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omments/comment1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2.xml" ContentType="application/vnd.openxmlformats-officedocument.presentationml.comment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1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2.xml" ContentType="application/vnd.openxmlformats-officedocument.presentationml.notesSlide+xml"/>
  <Override PartName="/ppt/tags/tag60.xml" ContentType="application/vnd.openxmlformats-officedocument.presentationml.tags+xml"/>
  <Override PartName="/ppt/notesSlides/notesSlide13.xml" ContentType="application/vnd.openxmlformats-officedocument.presentationml.notesSlide+xml"/>
  <Override PartName="/ppt/tags/tag61.xml" ContentType="application/vnd.openxmlformats-officedocument.presentationml.tags+xml"/>
  <Override PartName="/ppt/notesSlides/notesSlide14.xml" ContentType="application/vnd.openxmlformats-officedocument.presentationml.notesSlide+xml"/>
  <Override PartName="/ppt/tags/tag62.xml" ContentType="application/vnd.openxmlformats-officedocument.presentationml.tags+xml"/>
  <Override PartName="/ppt/notesSlides/notesSlide15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6.xml" ContentType="application/vnd.openxmlformats-officedocument.presentationml.notesSlide+xml"/>
  <Override PartName="/ppt/tags/tag65.xml" ContentType="application/vnd.openxmlformats-officedocument.presentationml.tags+xml"/>
  <Override PartName="/ppt/notesSlides/notesSlide17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9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20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21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2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23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24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25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26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27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12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29.xml" ContentType="application/vnd.openxmlformats-officedocument.presentationml.notesSl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30.xml" ContentType="application/vnd.openxmlformats-officedocument.presentationml.notesSl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31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32.xml" ContentType="application/vnd.openxmlformats-officedocument.presentationml.notesSl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33.xml" ContentType="application/vnd.openxmlformats-officedocument.presentationml.notesSl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34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35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notesSlides/notesSlide36.xml" ContentType="application/vnd.openxmlformats-officedocument.presentationml.notesSlide+xml"/>
  <Override PartName="/ppt/charts/chart13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notesSlides/notesSlide37.xml" ContentType="application/vnd.openxmlformats-officedocument.presentationml.notesSlid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notesSlides/notesSlide38.xml" ContentType="application/vnd.openxmlformats-officedocument.presentationml.notesSlide+xml"/>
  <Override PartName="/ppt/charts/chart14.xml" ContentType="application/vnd.openxmlformats-officedocument.drawingml.chart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notesSlides/notesSlide39.xml" ContentType="application/vnd.openxmlformats-officedocument.presentationml.notesSlide+xml"/>
  <Override PartName="/ppt/charts/chart15.xml" ContentType="application/vnd.openxmlformats-officedocument.drawingml.chart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notesSlides/notesSlide40.xml" ContentType="application/vnd.openxmlformats-officedocument.presentationml.notesSlide+xml"/>
  <Override PartName="/ppt/charts/chart16.xml" ContentType="application/vnd.openxmlformats-officedocument.drawingml.chart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notesSlides/notesSlide41.xml" ContentType="application/vnd.openxmlformats-officedocument.presentationml.notesSlide+xml"/>
  <Override PartName="/ppt/charts/chart17.xml" ContentType="application/vnd.openxmlformats-officedocument.drawingml.chart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notesSlides/notesSlide42.xml" ContentType="application/vnd.openxmlformats-officedocument.presentationml.notesSlide+xml"/>
  <Override PartName="/ppt/charts/chart18.xml" ContentType="application/vnd.openxmlformats-officedocument.drawingml.chart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notesSlides/notesSlide43.xml" ContentType="application/vnd.openxmlformats-officedocument.presentationml.notesSlide+xml"/>
  <Override PartName="/ppt/charts/chart19.xml" ContentType="application/vnd.openxmlformats-officedocument.drawingml.chart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notesSlides/notesSlide44.xml" ContentType="application/vnd.openxmlformats-officedocument.presentationml.notesSlide+xml"/>
  <Override PartName="/ppt/charts/chart20.xml" ContentType="application/vnd.openxmlformats-officedocument.drawingml.chart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notesSlides/notesSlide45.xml" ContentType="application/vnd.openxmlformats-officedocument.presentationml.notesSlide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notesSlides/notesSlide46.xml" ContentType="application/vnd.openxmlformats-officedocument.presentationml.notesSlide+xml"/>
  <Override PartName="/ppt/charts/chart21.xml" ContentType="application/vnd.openxmlformats-officedocument.drawingml.chart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67" r:id="rId1"/>
  </p:sldMasterIdLst>
  <p:notesMasterIdLst>
    <p:notesMasterId r:id="rId167"/>
  </p:notesMasterIdLst>
  <p:handoutMasterIdLst>
    <p:handoutMasterId r:id="rId168"/>
  </p:handoutMasterIdLst>
  <p:sldIdLst>
    <p:sldId id="1005" r:id="rId2"/>
    <p:sldId id="1006" r:id="rId3"/>
    <p:sldId id="1007" r:id="rId4"/>
    <p:sldId id="1043" r:id="rId5"/>
    <p:sldId id="1009" r:id="rId6"/>
    <p:sldId id="1010" r:id="rId7"/>
    <p:sldId id="1011" r:id="rId8"/>
    <p:sldId id="1044" r:id="rId9"/>
    <p:sldId id="799" r:id="rId10"/>
    <p:sldId id="981" r:id="rId11"/>
    <p:sldId id="1021" r:id="rId12"/>
    <p:sldId id="1042" r:id="rId13"/>
    <p:sldId id="1067" r:id="rId14"/>
    <p:sldId id="1068" r:id="rId15"/>
    <p:sldId id="1045" r:id="rId16"/>
    <p:sldId id="1064" r:id="rId17"/>
    <p:sldId id="1066" r:id="rId18"/>
    <p:sldId id="1073" r:id="rId19"/>
    <p:sldId id="1069" r:id="rId20"/>
    <p:sldId id="1071" r:id="rId21"/>
    <p:sldId id="1070" r:id="rId22"/>
    <p:sldId id="1072" r:id="rId23"/>
    <p:sldId id="923" r:id="rId24"/>
    <p:sldId id="1062" r:id="rId25"/>
    <p:sldId id="1012" r:id="rId26"/>
    <p:sldId id="978" r:id="rId27"/>
    <p:sldId id="1061" r:id="rId28"/>
    <p:sldId id="1025" r:id="rId29"/>
    <p:sldId id="1063" r:id="rId30"/>
    <p:sldId id="1065" r:id="rId31"/>
    <p:sldId id="1058" r:id="rId32"/>
    <p:sldId id="1060" r:id="rId33"/>
    <p:sldId id="959" r:id="rId34"/>
    <p:sldId id="1053" r:id="rId35"/>
    <p:sldId id="974" r:id="rId36"/>
    <p:sldId id="970" r:id="rId37"/>
    <p:sldId id="997" r:id="rId38"/>
    <p:sldId id="958" r:id="rId39"/>
    <p:sldId id="973" r:id="rId40"/>
    <p:sldId id="955" r:id="rId41"/>
    <p:sldId id="922" r:id="rId42"/>
    <p:sldId id="951" r:id="rId43"/>
    <p:sldId id="952" r:id="rId44"/>
    <p:sldId id="957" r:id="rId45"/>
    <p:sldId id="960" r:id="rId46"/>
    <p:sldId id="961" r:id="rId47"/>
    <p:sldId id="902" r:id="rId48"/>
    <p:sldId id="915" r:id="rId49"/>
    <p:sldId id="918" r:id="rId50"/>
    <p:sldId id="906" r:id="rId51"/>
    <p:sldId id="963" r:id="rId52"/>
    <p:sldId id="972" r:id="rId53"/>
    <p:sldId id="971" r:id="rId54"/>
    <p:sldId id="907" r:id="rId55"/>
    <p:sldId id="921" r:id="rId56"/>
    <p:sldId id="975" r:id="rId57"/>
    <p:sldId id="977" r:id="rId58"/>
    <p:sldId id="979" r:id="rId59"/>
    <p:sldId id="980" r:id="rId60"/>
    <p:sldId id="904" r:id="rId61"/>
    <p:sldId id="916" r:id="rId62"/>
    <p:sldId id="869" r:id="rId63"/>
    <p:sldId id="834" r:id="rId64"/>
    <p:sldId id="962" r:id="rId65"/>
    <p:sldId id="956" r:id="rId66"/>
    <p:sldId id="912" r:id="rId67"/>
    <p:sldId id="934" r:id="rId68"/>
    <p:sldId id="935" r:id="rId69"/>
    <p:sldId id="953" r:id="rId70"/>
    <p:sldId id="888" r:id="rId71"/>
    <p:sldId id="941" r:id="rId72"/>
    <p:sldId id="976" r:id="rId73"/>
    <p:sldId id="942" r:id="rId74"/>
    <p:sldId id="943" r:id="rId75"/>
    <p:sldId id="944" r:id="rId76"/>
    <p:sldId id="945" r:id="rId77"/>
    <p:sldId id="946" r:id="rId78"/>
    <p:sldId id="950" r:id="rId79"/>
    <p:sldId id="984" r:id="rId80"/>
    <p:sldId id="954" r:id="rId81"/>
    <p:sldId id="947" r:id="rId82"/>
    <p:sldId id="968" r:id="rId83"/>
    <p:sldId id="811" r:id="rId84"/>
    <p:sldId id="831" r:id="rId85"/>
    <p:sldId id="897" r:id="rId86"/>
    <p:sldId id="929" r:id="rId87"/>
    <p:sldId id="766" r:id="rId88"/>
    <p:sldId id="848" r:id="rId89"/>
    <p:sldId id="767" r:id="rId90"/>
    <p:sldId id="1046" r:id="rId91"/>
    <p:sldId id="1047" r:id="rId92"/>
    <p:sldId id="1048" r:id="rId93"/>
    <p:sldId id="1049" r:id="rId94"/>
    <p:sldId id="1050" r:id="rId95"/>
    <p:sldId id="1051" r:id="rId96"/>
    <p:sldId id="1052" r:id="rId97"/>
    <p:sldId id="649" r:id="rId98"/>
    <p:sldId id="650" r:id="rId99"/>
    <p:sldId id="651" r:id="rId100"/>
    <p:sldId id="652" r:id="rId101"/>
    <p:sldId id="983" r:id="rId102"/>
    <p:sldId id="993" r:id="rId103"/>
    <p:sldId id="257" r:id="rId104"/>
    <p:sldId id="264" r:id="rId105"/>
    <p:sldId id="265" r:id="rId106"/>
    <p:sldId id="266" r:id="rId107"/>
    <p:sldId id="271" r:id="rId108"/>
    <p:sldId id="274" r:id="rId109"/>
    <p:sldId id="277" r:id="rId110"/>
    <p:sldId id="278" r:id="rId111"/>
    <p:sldId id="279" r:id="rId112"/>
    <p:sldId id="293" r:id="rId113"/>
    <p:sldId id="280" r:id="rId114"/>
    <p:sldId id="281" r:id="rId115"/>
    <p:sldId id="282" r:id="rId116"/>
    <p:sldId id="283" r:id="rId117"/>
    <p:sldId id="284" r:id="rId118"/>
    <p:sldId id="285" r:id="rId119"/>
    <p:sldId id="286" r:id="rId120"/>
    <p:sldId id="287" r:id="rId121"/>
    <p:sldId id="288" r:id="rId122"/>
    <p:sldId id="289" r:id="rId123"/>
    <p:sldId id="290" r:id="rId124"/>
    <p:sldId id="291" r:id="rId125"/>
    <p:sldId id="292" r:id="rId126"/>
    <p:sldId id="294" r:id="rId127"/>
    <p:sldId id="295" r:id="rId128"/>
    <p:sldId id="296" r:id="rId129"/>
    <p:sldId id="297" r:id="rId130"/>
    <p:sldId id="298" r:id="rId131"/>
    <p:sldId id="299" r:id="rId132"/>
    <p:sldId id="300" r:id="rId133"/>
    <p:sldId id="301" r:id="rId134"/>
    <p:sldId id="302" r:id="rId135"/>
    <p:sldId id="303" r:id="rId136"/>
    <p:sldId id="304" r:id="rId137"/>
    <p:sldId id="305" r:id="rId138"/>
    <p:sldId id="260" r:id="rId139"/>
    <p:sldId id="261" r:id="rId140"/>
    <p:sldId id="263" r:id="rId141"/>
    <p:sldId id="426" r:id="rId142"/>
    <p:sldId id="427" r:id="rId143"/>
    <p:sldId id="443" r:id="rId144"/>
    <p:sldId id="444" r:id="rId145"/>
    <p:sldId id="445" r:id="rId146"/>
    <p:sldId id="447" r:id="rId147"/>
    <p:sldId id="994" r:id="rId148"/>
    <p:sldId id="995" r:id="rId149"/>
    <p:sldId id="462" r:id="rId150"/>
    <p:sldId id="996" r:id="rId151"/>
    <p:sldId id="493" r:id="rId152"/>
    <p:sldId id="495" r:id="rId153"/>
    <p:sldId id="498" r:id="rId154"/>
    <p:sldId id="507" r:id="rId155"/>
    <p:sldId id="512" r:id="rId156"/>
    <p:sldId id="503" r:id="rId157"/>
    <p:sldId id="518" r:id="rId158"/>
    <p:sldId id="527" r:id="rId159"/>
    <p:sldId id="475" r:id="rId160"/>
    <p:sldId id="534" r:id="rId161"/>
    <p:sldId id="536" r:id="rId162"/>
    <p:sldId id="546" r:id="rId163"/>
    <p:sldId id="538" r:id="rId164"/>
    <p:sldId id="542" r:id="rId165"/>
    <p:sldId id="543" r:id="rId166"/>
  </p:sldIdLst>
  <p:sldSz cx="24377650" cy="13716000"/>
  <p:notesSz cx="6858000" cy="9144000"/>
  <p:custDataLst>
    <p:tags r:id="rId169"/>
  </p:custDataLst>
  <p:defaultTextStyle>
    <a:defPPr>
      <a:defRPr lang="en-US"/>
    </a:defPPr>
    <a:lvl1pPr marL="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21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434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651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6868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086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5" userDrawn="1">
          <p15:clr>
            <a:srgbClr val="A4A3A4"/>
          </p15:clr>
        </p15:guide>
        <p15:guide id="2" orient="horz" pos="712" userDrawn="1">
          <p15:clr>
            <a:srgbClr val="A4A3A4"/>
          </p15:clr>
        </p15:guide>
        <p15:guide id="3" orient="horz" pos="3957" userDrawn="1">
          <p15:clr>
            <a:srgbClr val="A4A3A4"/>
          </p15:clr>
        </p15:guide>
        <p15:guide id="4" orient="horz" pos="3840" userDrawn="1">
          <p15:clr>
            <a:srgbClr val="A4A3A4"/>
          </p15:clr>
        </p15:guide>
        <p15:guide id="5" pos="103" userDrawn="1">
          <p15:clr>
            <a:srgbClr val="A4A3A4"/>
          </p15:clr>
        </p15:guide>
        <p15:guide id="6" pos="56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rk Laschat" initials="DL" lastIdx="10" clrIdx="0">
    <p:extLst>
      <p:ext uri="{19B8F6BF-5375-455C-9EA6-DF929625EA0E}">
        <p15:presenceInfo xmlns:p15="http://schemas.microsoft.com/office/powerpoint/2012/main" userId="S-1-5-21-3195097046-1215357049-2520781214-100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9FD8"/>
    <a:srgbClr val="F3C648"/>
    <a:srgbClr val="05CB5F"/>
    <a:srgbClr val="E66430"/>
    <a:srgbClr val="F5735D"/>
    <a:srgbClr val="F68876"/>
    <a:srgbClr val="FF3F3F"/>
    <a:srgbClr val="87BCED"/>
    <a:srgbClr val="2079CA"/>
    <a:srgbClr val="1EA2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58" autoAdjust="0"/>
    <p:restoredTop sz="90786" autoAdjust="0"/>
  </p:normalViewPr>
  <p:slideViewPr>
    <p:cSldViewPr snapToGrid="0" snapToObjects="1">
      <p:cViewPr>
        <p:scale>
          <a:sx n="25" d="100"/>
          <a:sy n="25" d="100"/>
        </p:scale>
        <p:origin x="1052" y="288"/>
      </p:cViewPr>
      <p:guideLst>
        <p:guide orient="horz" pos="895"/>
        <p:guide orient="horz" pos="712"/>
        <p:guide orient="horz" pos="3957"/>
        <p:guide orient="horz" pos="3840"/>
        <p:guide pos="103"/>
        <p:guide pos="56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4" d="100"/>
        <a:sy n="24" d="100"/>
      </p:scale>
      <p:origin x="0" y="0"/>
    </p:cViewPr>
  </p:sorterViewPr>
  <p:notesViewPr>
    <p:cSldViewPr snapToGrid="0" snapToObjects="1" showGuides="1">
      <p:cViewPr varScale="1">
        <p:scale>
          <a:sx n="63" d="100"/>
          <a:sy n="63" d="100"/>
        </p:scale>
        <p:origin x="3134" y="6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38" Type="http://schemas.openxmlformats.org/officeDocument/2006/relationships/slide" Target="slides/slide137.xml"/><Relationship Id="rId154" Type="http://schemas.openxmlformats.org/officeDocument/2006/relationships/slide" Target="slides/slide153.xml"/><Relationship Id="rId159" Type="http://schemas.openxmlformats.org/officeDocument/2006/relationships/slide" Target="slides/slide158.xml"/><Relationship Id="rId175" Type="http://schemas.microsoft.com/office/2016/11/relationships/changesInfo" Target="changesInfos/changesInfo1.xml"/><Relationship Id="rId170" Type="http://schemas.openxmlformats.org/officeDocument/2006/relationships/commentAuthors" Target="commentAuthors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144" Type="http://schemas.openxmlformats.org/officeDocument/2006/relationships/slide" Target="slides/slide143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165" Type="http://schemas.openxmlformats.org/officeDocument/2006/relationships/slide" Target="slides/slide16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55" Type="http://schemas.openxmlformats.org/officeDocument/2006/relationships/slide" Target="slides/slide154.xml"/><Relationship Id="rId171" Type="http://schemas.openxmlformats.org/officeDocument/2006/relationships/presProps" Target="presProps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slide" Target="slides/slide144.xml"/><Relationship Id="rId161" Type="http://schemas.openxmlformats.org/officeDocument/2006/relationships/slide" Target="slides/slide160.xml"/><Relationship Id="rId166" Type="http://schemas.openxmlformats.org/officeDocument/2006/relationships/slide" Target="slides/slide16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51" Type="http://schemas.openxmlformats.org/officeDocument/2006/relationships/slide" Target="slides/slide150.xml"/><Relationship Id="rId156" Type="http://schemas.openxmlformats.org/officeDocument/2006/relationships/slide" Target="slides/slide155.xml"/><Relationship Id="rId164" Type="http://schemas.openxmlformats.org/officeDocument/2006/relationships/slide" Target="slides/slide163.xml"/><Relationship Id="rId16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72" Type="http://schemas.openxmlformats.org/officeDocument/2006/relationships/viewProps" Target="viewProps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167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162" Type="http://schemas.openxmlformats.org/officeDocument/2006/relationships/slide" Target="slides/slide16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73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tableStyles" Target="tableStyle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rk Laschat" userId="9253a62a-3edb-4e48-8ef7-64f354bb20dc" providerId="ADAL" clId="{F40834C7-0DA5-4DB1-A929-605080315E23}"/>
    <pc:docChg chg="undo redo custSel addSld delSld modSld sldOrd modMainMaster">
      <pc:chgData name="Dirk Laschat" userId="9253a62a-3edb-4e48-8ef7-64f354bb20dc" providerId="ADAL" clId="{F40834C7-0DA5-4DB1-A929-605080315E23}" dt="2018-08-20T13:31:40.473" v="17668" actId="207"/>
      <pc:docMkLst>
        <pc:docMk/>
      </pc:docMkLst>
      <pc:sldChg chg="addSp delSp modSp add">
        <pc:chgData name="Dirk Laschat" userId="9253a62a-3edb-4e48-8ef7-64f354bb20dc" providerId="ADAL" clId="{F40834C7-0DA5-4DB1-A929-605080315E23}" dt="2018-08-01T16:31:11.221" v="4100" actId="478"/>
        <pc:sldMkLst>
          <pc:docMk/>
          <pc:sldMk cId="1560587935" sldId="257"/>
        </pc:sldMkLst>
        <pc:spChg chg="del">
          <ac:chgData name="Dirk Laschat" userId="9253a62a-3edb-4e48-8ef7-64f354bb20dc" providerId="ADAL" clId="{F40834C7-0DA5-4DB1-A929-605080315E23}" dt="2018-08-01T16:20:56.528" v="1049" actId="478"/>
          <ac:spMkLst>
            <pc:docMk/>
            <pc:sldMk cId="1560587935" sldId="257"/>
            <ac:spMk id="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0:47.975" v="1048" actId="207"/>
          <ac:spMkLst>
            <pc:docMk/>
            <pc:sldMk cId="1560587935" sldId="257"/>
            <ac:spMk id="4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20:31.509" v="1006" actId="478"/>
          <ac:spMkLst>
            <pc:docMk/>
            <pc:sldMk cId="1560587935" sldId="257"/>
            <ac:spMk id="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0:41.520" v="1047" actId="1036"/>
          <ac:spMkLst>
            <pc:docMk/>
            <pc:sldMk cId="1560587935" sldId="257"/>
            <ac:spMk id="9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1:11.221" v="4100" actId="478"/>
          <ac:spMkLst>
            <pc:docMk/>
            <pc:sldMk cId="1560587935" sldId="257"/>
            <ac:spMk id="38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21:45.971" v="1054" actId="478"/>
          <ac:spMkLst>
            <pc:docMk/>
            <pc:sldMk cId="1560587935" sldId="257"/>
            <ac:spMk id="39" creationId="{00000000-0000-0000-0000-000000000000}"/>
          </ac:spMkLst>
        </pc:spChg>
        <pc:picChg chg="add mod">
          <ac:chgData name="Dirk Laschat" userId="9253a62a-3edb-4e48-8ef7-64f354bb20dc" providerId="ADAL" clId="{F40834C7-0DA5-4DB1-A929-605080315E23}" dt="2018-08-01T16:20:41.520" v="1047" actId="1036"/>
          <ac:picMkLst>
            <pc:docMk/>
            <pc:sldMk cId="1560587935" sldId="257"/>
            <ac:picMk id="16" creationId="{39D389DC-E14F-460F-88AD-791D3B2B6E13}"/>
          </ac:picMkLst>
        </pc:picChg>
        <pc:cxnChg chg="mod">
          <ac:chgData name="Dirk Laschat" userId="9253a62a-3edb-4e48-8ef7-64f354bb20dc" providerId="ADAL" clId="{F40834C7-0DA5-4DB1-A929-605080315E23}" dt="2018-08-01T16:21:14.135" v="1050" actId="1582"/>
          <ac:cxnSpMkLst>
            <pc:docMk/>
            <pc:sldMk cId="1560587935" sldId="257"/>
            <ac:cxnSpMk id="11" creationId="{00000000-0000-0000-0000-000000000000}"/>
          </ac:cxnSpMkLst>
        </pc:cxnChg>
        <pc:cxnChg chg="mod">
          <ac:chgData name="Dirk Laschat" userId="9253a62a-3edb-4e48-8ef7-64f354bb20dc" providerId="ADAL" clId="{F40834C7-0DA5-4DB1-A929-605080315E23}" dt="2018-08-01T16:21:14.135" v="1050" actId="1582"/>
          <ac:cxnSpMkLst>
            <pc:docMk/>
            <pc:sldMk cId="1560587935" sldId="257"/>
            <ac:cxnSpMk id="12" creationId="{00000000-0000-0000-0000-000000000000}"/>
          </ac:cxnSpMkLst>
        </pc:cxnChg>
        <pc:cxnChg chg="mod">
          <ac:chgData name="Dirk Laschat" userId="9253a62a-3edb-4e48-8ef7-64f354bb20dc" providerId="ADAL" clId="{F40834C7-0DA5-4DB1-A929-605080315E23}" dt="2018-08-01T16:21:14.135" v="1050" actId="1582"/>
          <ac:cxnSpMkLst>
            <pc:docMk/>
            <pc:sldMk cId="1560587935" sldId="257"/>
            <ac:cxnSpMk id="13" creationId="{00000000-0000-0000-0000-000000000000}"/>
          </ac:cxnSpMkLst>
        </pc:cxnChg>
        <pc:cxnChg chg="mod">
          <ac:chgData name="Dirk Laschat" userId="9253a62a-3edb-4e48-8ef7-64f354bb20dc" providerId="ADAL" clId="{F40834C7-0DA5-4DB1-A929-605080315E23}" dt="2018-08-01T16:21:14.135" v="1050" actId="1582"/>
          <ac:cxnSpMkLst>
            <pc:docMk/>
            <pc:sldMk cId="1560587935" sldId="257"/>
            <ac:cxnSpMk id="14" creationId="{00000000-0000-0000-0000-000000000000}"/>
          </ac:cxnSpMkLst>
        </pc:cxnChg>
      </pc:sldChg>
      <pc:sldChg chg="delSp add">
        <pc:chgData name="Dirk Laschat" userId="9253a62a-3edb-4e48-8ef7-64f354bb20dc" providerId="ADAL" clId="{F40834C7-0DA5-4DB1-A929-605080315E23}" dt="2018-08-05T13:34:49.081" v="13452" actId="478"/>
        <pc:sldMkLst>
          <pc:docMk/>
          <pc:sldMk cId="2655557409" sldId="260"/>
        </pc:sldMkLst>
        <pc:spChg chg="del">
          <ac:chgData name="Dirk Laschat" userId="9253a62a-3edb-4e48-8ef7-64f354bb20dc" providerId="ADAL" clId="{F40834C7-0DA5-4DB1-A929-605080315E23}" dt="2018-08-05T13:34:49.081" v="13452" actId="478"/>
          <ac:spMkLst>
            <pc:docMk/>
            <pc:sldMk cId="2655557409" sldId="260"/>
            <ac:spMk id="198" creationId="{00000000-0000-0000-0000-000000000000}"/>
          </ac:spMkLst>
        </pc:spChg>
      </pc:sldChg>
      <pc:sldChg chg="delSp add">
        <pc:chgData name="Dirk Laschat" userId="9253a62a-3edb-4e48-8ef7-64f354bb20dc" providerId="ADAL" clId="{F40834C7-0DA5-4DB1-A929-605080315E23}" dt="2018-08-05T13:34:51.981" v="13453" actId="478"/>
        <pc:sldMkLst>
          <pc:docMk/>
          <pc:sldMk cId="2461571326" sldId="261"/>
        </pc:sldMkLst>
        <pc:spChg chg="del">
          <ac:chgData name="Dirk Laschat" userId="9253a62a-3edb-4e48-8ef7-64f354bb20dc" providerId="ADAL" clId="{F40834C7-0DA5-4DB1-A929-605080315E23}" dt="2018-08-05T13:34:51.981" v="13453" actId="478"/>
          <ac:spMkLst>
            <pc:docMk/>
            <pc:sldMk cId="2461571326" sldId="261"/>
            <ac:spMk id="170" creationId="{00000000-0000-0000-0000-000000000000}"/>
          </ac:spMkLst>
        </pc:spChg>
      </pc:sldChg>
      <pc:sldChg chg="delSp add">
        <pc:chgData name="Dirk Laschat" userId="9253a62a-3edb-4e48-8ef7-64f354bb20dc" providerId="ADAL" clId="{F40834C7-0DA5-4DB1-A929-605080315E23}" dt="2018-08-05T13:34:54.649" v="13454" actId="478"/>
        <pc:sldMkLst>
          <pc:docMk/>
          <pc:sldMk cId="435555318" sldId="263"/>
        </pc:sldMkLst>
        <pc:spChg chg="del">
          <ac:chgData name="Dirk Laschat" userId="9253a62a-3edb-4e48-8ef7-64f354bb20dc" providerId="ADAL" clId="{F40834C7-0DA5-4DB1-A929-605080315E23}" dt="2018-08-05T13:34:54.649" v="13454" actId="478"/>
          <ac:spMkLst>
            <pc:docMk/>
            <pc:sldMk cId="435555318" sldId="263"/>
            <ac:spMk id="209" creationId="{00000000-0000-0000-0000-000000000000}"/>
          </ac:spMkLst>
        </pc:spChg>
      </pc:sldChg>
      <pc:sldChg chg="delSp modSp add">
        <pc:chgData name="Dirk Laschat" userId="9253a62a-3edb-4e48-8ef7-64f354bb20dc" providerId="ADAL" clId="{F40834C7-0DA5-4DB1-A929-605080315E23}" dt="2018-08-01T16:31:08.701" v="4099" actId="478"/>
        <pc:sldMkLst>
          <pc:docMk/>
          <pc:sldMk cId="675492139" sldId="264"/>
        </pc:sldMkLst>
        <pc:spChg chg="mod">
          <ac:chgData name="Dirk Laschat" userId="9253a62a-3edb-4e48-8ef7-64f354bb20dc" providerId="ADAL" clId="{F40834C7-0DA5-4DB1-A929-605080315E23}" dt="2018-08-01T16:21:31.040" v="1052" actId="478"/>
          <ac:spMkLst>
            <pc:docMk/>
            <pc:sldMk cId="675492139" sldId="264"/>
            <ac:spMk id="5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1T16:21:32.821" v="1053" actId="478"/>
          <ac:spMkLst>
            <pc:docMk/>
            <pc:sldMk cId="675492139" sldId="264"/>
            <ac:spMk id="6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1:08.701" v="4099" actId="478"/>
          <ac:spMkLst>
            <pc:docMk/>
            <pc:sldMk cId="675492139" sldId="264"/>
            <ac:spMk id="43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21:48.514" v="1055" actId="478"/>
          <ac:spMkLst>
            <pc:docMk/>
            <pc:sldMk cId="675492139" sldId="264"/>
            <ac:spMk id="44" creationId="{00000000-0000-0000-0000-000000000000}"/>
          </ac:spMkLst>
        </pc:spChg>
      </pc:sldChg>
      <pc:sldChg chg="delSp modSp add">
        <pc:chgData name="Dirk Laschat" userId="9253a62a-3edb-4e48-8ef7-64f354bb20dc" providerId="ADAL" clId="{F40834C7-0DA5-4DB1-A929-605080315E23}" dt="2018-08-01T16:31:04.880" v="4098" actId="478"/>
        <pc:sldMkLst>
          <pc:docMk/>
          <pc:sldMk cId="1860311376" sldId="265"/>
        </pc:sldMkLst>
        <pc:spChg chg="mod">
          <ac:chgData name="Dirk Laschat" userId="9253a62a-3edb-4e48-8ef7-64f354bb20dc" providerId="ADAL" clId="{F40834C7-0DA5-4DB1-A929-605080315E23}" dt="2018-08-01T16:22:04.329" v="1060" actId="478"/>
          <ac:spMkLst>
            <pc:docMk/>
            <pc:sldMk cId="1860311376" sldId="265"/>
            <ac:spMk id="2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1T16:22:06.172" v="1061" actId="478"/>
          <ac:spMkLst>
            <pc:docMk/>
            <pc:sldMk cId="1860311376" sldId="265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1:54.521" v="1056" actId="2085"/>
          <ac:spMkLst>
            <pc:docMk/>
            <pc:sldMk cId="1860311376" sldId="265"/>
            <ac:spMk id="1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1:54.521" v="1056" actId="2085"/>
          <ac:spMkLst>
            <pc:docMk/>
            <pc:sldMk cId="1860311376" sldId="265"/>
            <ac:spMk id="15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1:04.880" v="4098" actId="478"/>
          <ac:spMkLst>
            <pc:docMk/>
            <pc:sldMk cId="1860311376" sldId="265"/>
            <ac:spMk id="31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1T16:31:03.712" v="4097" actId="478"/>
          <ac:spMkLst>
            <pc:docMk/>
            <pc:sldMk cId="1860311376" sldId="265"/>
            <ac:spMk id="32" creationId="{00000000-0000-0000-0000-000000000000}"/>
          </ac:spMkLst>
        </pc:spChg>
      </pc:sldChg>
      <pc:sldChg chg="delSp modSp add">
        <pc:chgData name="Dirk Laschat" userId="9253a62a-3edb-4e48-8ef7-64f354bb20dc" providerId="ADAL" clId="{F40834C7-0DA5-4DB1-A929-605080315E23}" dt="2018-08-01T16:30:59.731" v="4095" actId="478"/>
        <pc:sldMkLst>
          <pc:docMk/>
          <pc:sldMk cId="1337838679" sldId="266"/>
        </pc:sldMkLst>
        <pc:spChg chg="mod">
          <ac:chgData name="Dirk Laschat" userId="9253a62a-3edb-4e48-8ef7-64f354bb20dc" providerId="ADAL" clId="{F40834C7-0DA5-4DB1-A929-605080315E23}" dt="2018-08-01T16:22:16.127" v="1063" actId="478"/>
          <ac:spMkLst>
            <pc:docMk/>
            <pc:sldMk cId="1337838679" sldId="266"/>
            <ac:spMk id="2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1T16:22:20.844" v="1078" actId="478"/>
          <ac:spMkLst>
            <pc:docMk/>
            <pc:sldMk cId="1337838679" sldId="266"/>
            <ac:spMk id="3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0:59.731" v="4095" actId="478"/>
          <ac:spMkLst>
            <pc:docMk/>
            <pc:sldMk cId="1337838679" sldId="266"/>
            <ac:spMk id="25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0:57.635" v="4094" actId="478"/>
          <ac:spMkLst>
            <pc:docMk/>
            <pc:sldMk cId="1337838679" sldId="266"/>
            <ac:spMk id="26" creationId="{00000000-0000-0000-0000-000000000000}"/>
          </ac:spMkLst>
        </pc:spChg>
      </pc:sldChg>
      <pc:sldChg chg="addSp delSp modSp add">
        <pc:chgData name="Dirk Laschat" userId="9253a62a-3edb-4e48-8ef7-64f354bb20dc" providerId="ADAL" clId="{F40834C7-0DA5-4DB1-A929-605080315E23}" dt="2018-08-05T11:13:44.143" v="12917" actId="1036"/>
        <pc:sldMkLst>
          <pc:docMk/>
          <pc:sldMk cId="4087419363" sldId="271"/>
        </pc:sldMkLst>
        <pc:spChg chg="del">
          <ac:chgData name="Dirk Laschat" userId="9253a62a-3edb-4e48-8ef7-64f354bb20dc" providerId="ADAL" clId="{F40834C7-0DA5-4DB1-A929-605080315E23}" dt="2018-08-01T16:23:32.524" v="1142" actId="1036"/>
          <ac:spMkLst>
            <pc:docMk/>
            <pc:sldMk cId="4087419363" sldId="271"/>
            <ac:spMk id="3" creationId="{00000000-0000-0000-0000-000000000000}"/>
          </ac:spMkLst>
        </pc:spChg>
        <pc:spChg chg="add mod">
          <ac:chgData name="Dirk Laschat" userId="9253a62a-3edb-4e48-8ef7-64f354bb20dc" providerId="ADAL" clId="{F40834C7-0DA5-4DB1-A929-605080315E23}" dt="2018-08-01T16:23:36.823" v="1149" actId="27636"/>
          <ac:spMkLst>
            <pc:docMk/>
            <pc:sldMk cId="4087419363" sldId="271"/>
            <ac:spMk id="4" creationId="{AADC2AA6-5383-4D7D-B9DA-80A0710954EA}"/>
          </ac:spMkLst>
        </pc:spChg>
        <pc:spChg chg="mod">
          <ac:chgData name="Dirk Laschat" userId="9253a62a-3edb-4e48-8ef7-64f354bb20dc" providerId="ADAL" clId="{F40834C7-0DA5-4DB1-A929-605080315E23}" dt="2018-08-05T11:13:06.946" v="12894" actId="207"/>
          <ac:spMkLst>
            <pc:docMk/>
            <pc:sldMk cId="4087419363" sldId="271"/>
            <ac:spMk id="7" creationId="{26155123-2750-48BD-9337-E9A668ECFEEE}"/>
          </ac:spMkLst>
        </pc:spChg>
        <pc:spChg chg="mod">
          <ac:chgData name="Dirk Laschat" userId="9253a62a-3edb-4e48-8ef7-64f354bb20dc" providerId="ADAL" clId="{F40834C7-0DA5-4DB1-A929-605080315E23}" dt="2018-08-05T11:13:10.756" v="12895" actId="207"/>
          <ac:spMkLst>
            <pc:docMk/>
            <pc:sldMk cId="4087419363" sldId="271"/>
            <ac:spMk id="14" creationId="{C22488A6-C15A-48A5-B80A-DBF59B1F8477}"/>
          </ac:spMkLst>
        </pc:spChg>
        <pc:spChg chg="mod">
          <ac:chgData name="Dirk Laschat" userId="9253a62a-3edb-4e48-8ef7-64f354bb20dc" providerId="ADAL" clId="{F40834C7-0DA5-4DB1-A929-605080315E23}" dt="2018-08-01T16:19:37.539" v="1002" actId="20577"/>
          <ac:spMkLst>
            <pc:docMk/>
            <pc:sldMk cId="4087419363" sldId="271"/>
            <ac:spMk id="1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3:14.523" v="12896" actId="207"/>
          <ac:spMkLst>
            <pc:docMk/>
            <pc:sldMk cId="4087419363" sldId="271"/>
            <ac:spMk id="26" creationId="{15A2BA1F-4A27-425C-AAF8-149F23C6840B}"/>
          </ac:spMkLst>
        </pc:spChg>
        <pc:spChg chg="del">
          <ac:chgData name="Dirk Laschat" userId="9253a62a-3edb-4e48-8ef7-64f354bb20dc" providerId="ADAL" clId="{F40834C7-0DA5-4DB1-A929-605080315E23}" dt="2018-08-01T16:30:55.337" v="4093" actId="478"/>
          <ac:spMkLst>
            <pc:docMk/>
            <pc:sldMk cId="4087419363" sldId="271"/>
            <ac:spMk id="60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23:45.536" v="1151" actId="478"/>
          <ac:spMkLst>
            <pc:docMk/>
            <pc:sldMk cId="4087419363" sldId="271"/>
            <ac:spMk id="61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1T16:23:40.787" v="1150" actId="478"/>
          <ac:spMkLst>
            <pc:docMk/>
            <pc:sldMk cId="4087419363" sldId="271"/>
            <ac:spMk id="70" creationId="{00000000-0000-0000-0000-000000000000}"/>
          </ac:spMkLst>
        </pc:spChg>
        <pc:grpChg chg="mod">
          <ac:chgData name="Dirk Laschat" userId="9253a62a-3edb-4e48-8ef7-64f354bb20dc" providerId="ADAL" clId="{F40834C7-0DA5-4DB1-A929-605080315E23}" dt="2018-08-05T11:13:44.143" v="12917" actId="1036"/>
          <ac:grpSpMkLst>
            <pc:docMk/>
            <pc:sldMk cId="4087419363" sldId="271"/>
            <ac:grpSpMk id="3" creationId="{8088622F-0DFD-49E0-B771-D7CB77951D47}"/>
          </ac:grpSpMkLst>
        </pc:grpChg>
        <pc:grpChg chg="mod">
          <ac:chgData name="Dirk Laschat" userId="9253a62a-3edb-4e48-8ef7-64f354bb20dc" providerId="ADAL" clId="{F40834C7-0DA5-4DB1-A929-605080315E23}" dt="2018-08-05T11:13:42.940" v="12916" actId="1036"/>
          <ac:grpSpMkLst>
            <pc:docMk/>
            <pc:sldMk cId="4087419363" sldId="271"/>
            <ac:grpSpMk id="10" creationId="{7C8B87F7-D963-4548-8F6F-F2AB4C1F7E11}"/>
          </ac:grpSpMkLst>
        </pc:grpChg>
        <pc:grpChg chg="mod">
          <ac:chgData name="Dirk Laschat" userId="9253a62a-3edb-4e48-8ef7-64f354bb20dc" providerId="ADAL" clId="{F40834C7-0DA5-4DB1-A929-605080315E23}" dt="2018-08-05T11:13:42.339" v="12915" actId="1036"/>
          <ac:grpSpMkLst>
            <pc:docMk/>
            <pc:sldMk cId="4087419363" sldId="271"/>
            <ac:grpSpMk id="23" creationId="{B0C1A6A5-29F8-47FF-B73D-D0E613A44A85}"/>
          </ac:grpSpMkLst>
        </pc:grpChg>
        <pc:grpChg chg="add mod">
          <ac:chgData name="Dirk Laschat" userId="9253a62a-3edb-4e48-8ef7-64f354bb20dc" providerId="ADAL" clId="{F40834C7-0DA5-4DB1-A929-605080315E23}" dt="2018-08-05T11:13:32.775" v="12898" actId="1036"/>
          <ac:grpSpMkLst>
            <pc:docMk/>
            <pc:sldMk cId="4087419363" sldId="271"/>
            <ac:grpSpMk id="33" creationId="{BC643412-7758-4366-87E9-759D2BD200A4}"/>
          </ac:grpSpMkLst>
        </pc:grpChg>
        <pc:picChg chg="del">
          <ac:chgData name="Dirk Laschat" userId="9253a62a-3edb-4e48-8ef7-64f354bb20dc" providerId="ADAL" clId="{F40834C7-0DA5-4DB1-A929-605080315E23}" dt="2018-08-05T11:12:43.779" v="12891" actId="338"/>
          <ac:picMkLst>
            <pc:docMk/>
            <pc:sldMk cId="4087419363" sldId="271"/>
            <ac:picMk id="13" creationId="{00000000-0000-0000-0000-000000000000}"/>
          </ac:picMkLst>
        </pc:picChg>
        <pc:picChg chg="del">
          <ac:chgData name="Dirk Laschat" userId="9253a62a-3edb-4e48-8ef7-64f354bb20dc" providerId="ADAL" clId="{F40834C7-0DA5-4DB1-A929-605080315E23}" dt="2018-08-05T11:12:49.904" v="12892" actId="338"/>
          <ac:picMkLst>
            <pc:docMk/>
            <pc:sldMk cId="4087419363" sldId="271"/>
            <ac:picMk id="30" creationId="{00000000-0000-0000-0000-000000000000}"/>
          </ac:picMkLst>
        </pc:picChg>
        <pc:picChg chg="del">
          <ac:chgData name="Dirk Laschat" userId="9253a62a-3edb-4e48-8ef7-64f354bb20dc" providerId="ADAL" clId="{F40834C7-0DA5-4DB1-A929-605080315E23}" dt="2018-08-05T11:12:55.499" v="12893" actId="338"/>
          <ac:picMkLst>
            <pc:docMk/>
            <pc:sldMk cId="4087419363" sldId="271"/>
            <ac:picMk id="31" creationId="{00000000-0000-0000-0000-000000000000}"/>
          </ac:picMkLst>
        </pc:picChg>
      </pc:sldChg>
      <pc:sldChg chg="delSp modSp add">
        <pc:chgData name="Dirk Laschat" userId="9253a62a-3edb-4e48-8ef7-64f354bb20dc" providerId="ADAL" clId="{F40834C7-0DA5-4DB1-A929-605080315E23}" dt="2018-08-01T16:30:52.075" v="4092" actId="478"/>
        <pc:sldMkLst>
          <pc:docMk/>
          <pc:sldMk cId="2773955247" sldId="274"/>
        </pc:sldMkLst>
        <pc:spChg chg="mod">
          <ac:chgData name="Dirk Laschat" userId="9253a62a-3edb-4e48-8ef7-64f354bb20dc" providerId="ADAL" clId="{F40834C7-0DA5-4DB1-A929-605080315E23}" dt="2018-08-01T16:23:56.208" v="1155" actId="478"/>
          <ac:spMkLst>
            <pc:docMk/>
            <pc:sldMk cId="2773955247" sldId="274"/>
            <ac:spMk id="2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1T16:23:57.723" v="1156" actId="478"/>
          <ac:spMkLst>
            <pc:docMk/>
            <pc:sldMk cId="2773955247" sldId="274"/>
            <ac:spMk id="3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0:52.075" v="4092" actId="478"/>
          <ac:spMkLst>
            <pc:docMk/>
            <pc:sldMk cId="2773955247" sldId="274"/>
            <ac:spMk id="28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0:50.511" v="4091" actId="478"/>
          <ac:spMkLst>
            <pc:docMk/>
            <pc:sldMk cId="2773955247" sldId="274"/>
            <ac:spMk id="29" creationId="{00000000-0000-0000-0000-000000000000}"/>
          </ac:spMkLst>
        </pc:spChg>
      </pc:sldChg>
      <pc:sldChg chg="addSp delSp modSp add">
        <pc:chgData name="Dirk Laschat" userId="9253a62a-3edb-4e48-8ef7-64f354bb20dc" providerId="ADAL" clId="{F40834C7-0DA5-4DB1-A929-605080315E23}" dt="2018-08-05T11:14:53.982" v="12925" actId="207"/>
        <pc:sldMkLst>
          <pc:docMk/>
          <pc:sldMk cId="2967586546" sldId="277"/>
        </pc:sldMkLst>
        <pc:spChg chg="add del mod">
          <ac:chgData name="Dirk Laschat" userId="9253a62a-3edb-4e48-8ef7-64f354bb20dc" providerId="ADAL" clId="{F40834C7-0DA5-4DB1-A929-605080315E23}" dt="2018-08-01T16:24:38.339" v="1176" actId="207"/>
          <ac:spMkLst>
            <pc:docMk/>
            <pc:sldMk cId="2967586546" sldId="277"/>
            <ac:spMk id="2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1T16:24:42.865" v="1177" actId="478"/>
          <ac:spMkLst>
            <pc:docMk/>
            <pc:sldMk cId="2967586546" sldId="277"/>
            <ac:spMk id="3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10" creationId="{A6CE65AF-E894-4544-BE39-022AC385BB23}"/>
          </ac:spMkLst>
        </pc:spChg>
        <pc:spChg chg="add del mod">
          <ac:chgData name="Dirk Laschat" userId="9253a62a-3edb-4e48-8ef7-64f354bb20dc" providerId="ADAL" clId="{F40834C7-0DA5-4DB1-A929-605080315E23}" dt="2018-08-05T11:14:53.982" v="12925" actId="207"/>
          <ac:spMkLst>
            <pc:docMk/>
            <pc:sldMk cId="2967586546" sldId="277"/>
            <ac:spMk id="37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58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63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64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65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66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68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69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70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73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74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75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77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78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79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81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82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83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84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85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86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87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88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89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4:33.683" v="1173" actId="207"/>
          <ac:spMkLst>
            <pc:docMk/>
            <pc:sldMk cId="2967586546" sldId="277"/>
            <ac:spMk id="504" creationId="{00000000-0000-0000-0000-000000000000}"/>
          </ac:spMkLst>
        </pc:spChg>
        <pc:spChg chg="add del">
          <ac:chgData name="Dirk Laschat" userId="9253a62a-3edb-4e48-8ef7-64f354bb20dc" providerId="ADAL" clId="{F40834C7-0DA5-4DB1-A929-605080315E23}" dt="2018-08-01T16:25:10.716" v="1184" actId="478"/>
          <ac:spMkLst>
            <pc:docMk/>
            <pc:sldMk cId="2967586546" sldId="277"/>
            <ac:spMk id="505" creationId="{00000000-0000-0000-0000-000000000000}"/>
          </ac:spMkLst>
        </pc:spChg>
        <pc:graphicFrameChg chg="add del mod">
          <ac:chgData name="Dirk Laschat" userId="9253a62a-3edb-4e48-8ef7-64f354bb20dc" providerId="ADAL" clId="{F40834C7-0DA5-4DB1-A929-605080315E23}" dt="2018-08-05T11:14:36.369" v="12922" actId="1582"/>
          <ac:graphicFrameMkLst>
            <pc:docMk/>
            <pc:sldMk cId="2967586546" sldId="277"/>
            <ac:graphicFrameMk id="4" creationId="{00000000-0000-0000-0000-000000000000}"/>
          </ac:graphicFrameMkLst>
        </pc:graphicFrameChg>
        <pc:graphicFrameChg chg="add del mod">
          <ac:chgData name="Dirk Laschat" userId="9253a62a-3edb-4e48-8ef7-64f354bb20dc" providerId="ADAL" clId="{F40834C7-0DA5-4DB1-A929-605080315E23}" dt="2018-08-05T11:14:09.316" v="12918" actId="1582"/>
          <ac:graphicFrameMkLst>
            <pc:docMk/>
            <pc:sldMk cId="2967586546" sldId="277"/>
            <ac:graphicFrameMk id="5" creationId="{00000000-0000-0000-0000-000000000000}"/>
          </ac:graphicFrameMkLst>
        </pc:graphicFrameChg>
        <pc:graphicFrameChg chg="add del mod">
          <ac:chgData name="Dirk Laschat" userId="9253a62a-3edb-4e48-8ef7-64f354bb20dc" providerId="ADAL" clId="{F40834C7-0DA5-4DB1-A929-605080315E23}" dt="2018-08-05T11:14:44.033" v="12923" actId="1582"/>
          <ac:graphicFrameMkLst>
            <pc:docMk/>
            <pc:sldMk cId="2967586546" sldId="277"/>
            <ac:graphicFrameMk id="8" creationId="{00000000-0000-0000-0000-000000000000}"/>
          </ac:graphicFrameMkLst>
        </pc:graphicFrameChg>
        <pc:graphicFrameChg chg="add del mod">
          <ac:chgData name="Dirk Laschat" userId="9253a62a-3edb-4e48-8ef7-64f354bb20dc" providerId="ADAL" clId="{F40834C7-0DA5-4DB1-A929-605080315E23}" dt="2018-08-05T11:14:48.060" v="12924" actId="1582"/>
          <ac:graphicFrameMkLst>
            <pc:docMk/>
            <pc:sldMk cId="2967586546" sldId="277"/>
            <ac:graphicFrameMk id="9" creationId="{00000000-0000-0000-0000-000000000000}"/>
          </ac:graphicFrameMkLst>
        </pc:graphicFrameChg>
        <pc:cxnChg chg="add del mod">
          <ac:chgData name="Dirk Laschat" userId="9253a62a-3edb-4e48-8ef7-64f354bb20dc" providerId="ADAL" clId="{F40834C7-0DA5-4DB1-A929-605080315E23}" dt="2018-08-05T11:14:24.525" v="12921" actId="208"/>
          <ac:cxnSpMkLst>
            <pc:docMk/>
            <pc:sldMk cId="2967586546" sldId="277"/>
            <ac:cxnSpMk id="6" creationId="{00000000-0000-0000-0000-000000000000}"/>
          </ac:cxnSpMkLst>
        </pc:cxnChg>
        <pc:cxnChg chg="add del mod">
          <ac:chgData name="Dirk Laschat" userId="9253a62a-3edb-4e48-8ef7-64f354bb20dc" providerId="ADAL" clId="{F40834C7-0DA5-4DB1-A929-605080315E23}" dt="2018-08-01T16:24:33.683" v="1173" actId="207"/>
          <ac:cxnSpMkLst>
            <pc:docMk/>
            <pc:sldMk cId="2967586546" sldId="277"/>
            <ac:cxnSpMk id="7" creationId="{00000000-0000-0000-0000-000000000000}"/>
          </ac:cxnSpMkLst>
        </pc:cxnChg>
        <pc:cxnChg chg="add del">
          <ac:chgData name="Dirk Laschat" userId="9253a62a-3edb-4e48-8ef7-64f354bb20dc" providerId="ADAL" clId="{F40834C7-0DA5-4DB1-A929-605080315E23}" dt="2018-08-01T16:24:33.683" v="1173" actId="207"/>
          <ac:cxnSpMkLst>
            <pc:docMk/>
            <pc:sldMk cId="2967586546" sldId="277"/>
            <ac:cxnSpMk id="62" creationId="{00000000-0000-0000-0000-000000000000}"/>
          </ac:cxnSpMkLst>
        </pc:cxnChg>
      </pc:sldChg>
      <pc:sldChg chg="addSp delSp modSp add">
        <pc:chgData name="Dirk Laschat" userId="9253a62a-3edb-4e48-8ef7-64f354bb20dc" providerId="ADAL" clId="{F40834C7-0DA5-4DB1-A929-605080315E23}" dt="2018-08-05T11:16:06.574" v="12931" actId="207"/>
        <pc:sldMkLst>
          <pc:docMk/>
          <pc:sldMk cId="4287720027" sldId="278"/>
        </pc:sldMkLst>
        <pc:spChg chg="del">
          <ac:chgData name="Dirk Laschat" userId="9253a62a-3edb-4e48-8ef7-64f354bb20dc" providerId="ADAL" clId="{F40834C7-0DA5-4DB1-A929-605080315E23}" dt="2018-08-01T16:26:34.731" v="1200" actId="207"/>
          <ac:spMkLst>
            <pc:docMk/>
            <pc:sldMk cId="4287720027" sldId="278"/>
            <ac:spMk id="2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26:34.731" v="1200" actId="207"/>
          <ac:spMkLst>
            <pc:docMk/>
            <pc:sldMk cId="4287720027" sldId="278"/>
            <ac:spMk id="3" creationId="{00000000-0000-0000-0000-000000000000}"/>
          </ac:spMkLst>
        </pc:spChg>
        <pc:spChg chg="add mod">
          <ac:chgData name="Dirk Laschat" userId="9253a62a-3edb-4e48-8ef7-64f354bb20dc" providerId="ADAL" clId="{F40834C7-0DA5-4DB1-A929-605080315E23}" dt="2018-08-01T16:26:34.731" v="1200" actId="207"/>
          <ac:spMkLst>
            <pc:docMk/>
            <pc:sldMk cId="4287720027" sldId="278"/>
            <ac:spMk id="4" creationId="{68A160EB-4543-4A5B-943D-58FD53A39634}"/>
          </ac:spMkLst>
        </pc:spChg>
        <pc:spChg chg="mod">
          <ac:chgData name="Dirk Laschat" userId="9253a62a-3edb-4e48-8ef7-64f354bb20dc" providerId="ADAL" clId="{F40834C7-0DA5-4DB1-A929-605080315E23}" dt="2018-08-01T16:25:59.109" v="1192" actId="207"/>
          <ac:spMkLst>
            <pc:docMk/>
            <pc:sldMk cId="4287720027" sldId="278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5:33.087" v="12928" actId="207"/>
          <ac:spMkLst>
            <pc:docMk/>
            <pc:sldMk cId="4287720027" sldId="278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5:37.949" v="12929" actId="207"/>
          <ac:spMkLst>
            <pc:docMk/>
            <pc:sldMk cId="4287720027" sldId="278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5:48.421" v="1189" actId="207"/>
          <ac:spMkLst>
            <pc:docMk/>
            <pc:sldMk cId="4287720027" sldId="278"/>
            <ac:spMk id="1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6:05.724" v="1193" actId="207"/>
          <ac:spMkLst>
            <pc:docMk/>
            <pc:sldMk cId="4287720027" sldId="278"/>
            <ac:spMk id="1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6:01.434" v="12930" actId="207"/>
          <ac:spMkLst>
            <pc:docMk/>
            <pc:sldMk cId="4287720027" sldId="278"/>
            <ac:spMk id="2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6:06.574" v="12931" actId="207"/>
          <ac:spMkLst>
            <pc:docMk/>
            <pc:sldMk cId="4287720027" sldId="278"/>
            <ac:spMk id="2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7:01.929" v="1201" actId="207"/>
          <ac:spMkLst>
            <pc:docMk/>
            <pc:sldMk cId="4287720027" sldId="278"/>
            <ac:spMk id="2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7:01.929" v="1201" actId="207"/>
          <ac:spMkLst>
            <pc:docMk/>
            <pc:sldMk cId="4287720027" sldId="278"/>
            <ac:spMk id="2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7:01.929" v="1201" actId="207"/>
          <ac:spMkLst>
            <pc:docMk/>
            <pc:sldMk cId="4287720027" sldId="278"/>
            <ac:spMk id="2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7:01.929" v="1201" actId="207"/>
          <ac:spMkLst>
            <pc:docMk/>
            <pc:sldMk cId="4287720027" sldId="278"/>
            <ac:spMk id="2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7:01.929" v="1201" actId="207"/>
          <ac:spMkLst>
            <pc:docMk/>
            <pc:sldMk cId="4287720027" sldId="278"/>
            <ac:spMk id="2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7:01.929" v="1201" actId="207"/>
          <ac:spMkLst>
            <pc:docMk/>
            <pc:sldMk cId="4287720027" sldId="278"/>
            <ac:spMk id="3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7:01.929" v="1201" actId="207"/>
          <ac:spMkLst>
            <pc:docMk/>
            <pc:sldMk cId="4287720027" sldId="278"/>
            <ac:spMk id="3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7:01.929" v="1201" actId="207"/>
          <ac:spMkLst>
            <pc:docMk/>
            <pc:sldMk cId="4287720027" sldId="278"/>
            <ac:spMk id="3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7:01.929" v="1201" actId="207"/>
          <ac:spMkLst>
            <pc:docMk/>
            <pc:sldMk cId="4287720027" sldId="278"/>
            <ac:spMk id="3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7:01.929" v="1201" actId="207"/>
          <ac:spMkLst>
            <pc:docMk/>
            <pc:sldMk cId="4287720027" sldId="278"/>
            <ac:spMk id="3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6:22.381" v="1198" actId="207"/>
          <ac:spMkLst>
            <pc:docMk/>
            <pc:sldMk cId="4287720027" sldId="278"/>
            <ac:spMk id="3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6:22.381" v="1198" actId="207"/>
          <ac:spMkLst>
            <pc:docMk/>
            <pc:sldMk cId="4287720027" sldId="278"/>
            <ac:spMk id="3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6:22.381" v="1198" actId="207"/>
          <ac:spMkLst>
            <pc:docMk/>
            <pc:sldMk cId="4287720027" sldId="278"/>
            <ac:spMk id="3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6:22.381" v="1198" actId="207"/>
          <ac:spMkLst>
            <pc:docMk/>
            <pc:sldMk cId="4287720027" sldId="278"/>
            <ac:spMk id="3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6:22.381" v="1198" actId="207"/>
          <ac:spMkLst>
            <pc:docMk/>
            <pc:sldMk cId="4287720027" sldId="278"/>
            <ac:spMk id="39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0:47.928" v="4090" actId="478"/>
          <ac:spMkLst>
            <pc:docMk/>
            <pc:sldMk cId="4287720027" sldId="278"/>
            <ac:spMk id="213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26:31.551" v="1199" actId="478"/>
          <ac:spMkLst>
            <pc:docMk/>
            <pc:sldMk cId="4287720027" sldId="278"/>
            <ac:spMk id="214" creationId="{00000000-0000-0000-0000-000000000000}"/>
          </ac:spMkLst>
        </pc:spChg>
      </pc:sldChg>
      <pc:sldChg chg="addSp delSp modSp add">
        <pc:chgData name="Dirk Laschat" userId="9253a62a-3edb-4e48-8ef7-64f354bb20dc" providerId="ADAL" clId="{F40834C7-0DA5-4DB1-A929-605080315E23}" dt="2018-08-05T11:17:12.579" v="12939" actId="207"/>
        <pc:sldMkLst>
          <pc:docMk/>
          <pc:sldMk cId="2144598827" sldId="279"/>
        </pc:sldMkLst>
        <pc:spChg chg="del">
          <ac:chgData name="Dirk Laschat" userId="9253a62a-3edb-4e48-8ef7-64f354bb20dc" providerId="ADAL" clId="{F40834C7-0DA5-4DB1-A929-605080315E23}" dt="2018-08-01T16:27:23.486" v="1203" actId="207"/>
          <ac:spMkLst>
            <pc:docMk/>
            <pc:sldMk cId="2144598827" sldId="279"/>
            <ac:spMk id="2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27:23.486" v="1203" actId="207"/>
          <ac:spMkLst>
            <pc:docMk/>
            <pc:sldMk cId="2144598827" sldId="279"/>
            <ac:spMk id="3" creationId="{00000000-0000-0000-0000-000000000000}"/>
          </ac:spMkLst>
        </pc:spChg>
        <pc:spChg chg="add mod">
          <ac:chgData name="Dirk Laschat" userId="9253a62a-3edb-4e48-8ef7-64f354bb20dc" providerId="ADAL" clId="{F40834C7-0DA5-4DB1-A929-605080315E23}" dt="2018-08-01T16:27:23.486" v="1203" actId="207"/>
          <ac:spMkLst>
            <pc:docMk/>
            <pc:sldMk cId="2144598827" sldId="279"/>
            <ac:spMk id="4" creationId="{EB8B6BF5-5BAE-4523-9FC2-76F27BD420C5}"/>
          </ac:spMkLst>
        </pc:spChg>
        <pc:spChg chg="mod">
          <ac:chgData name="Dirk Laschat" userId="9253a62a-3edb-4e48-8ef7-64f354bb20dc" providerId="ADAL" clId="{F40834C7-0DA5-4DB1-A929-605080315E23}" dt="2018-08-05T11:16:38.038" v="12935" actId="207"/>
          <ac:spMkLst>
            <pc:docMk/>
            <pc:sldMk cId="2144598827" sldId="279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7:12.579" v="12939" actId="207"/>
          <ac:spMkLst>
            <pc:docMk/>
            <pc:sldMk cId="2144598827" sldId="279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6:49.720" v="12937" actId="207"/>
          <ac:spMkLst>
            <pc:docMk/>
            <pc:sldMk cId="2144598827" sldId="279"/>
            <ac:spMk id="1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6:18.576" v="12932" actId="208"/>
          <ac:spMkLst>
            <pc:docMk/>
            <pc:sldMk cId="2144598827" sldId="279"/>
            <ac:spMk id="17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0:43.769" v="4089" actId="478"/>
          <ac:spMkLst>
            <pc:docMk/>
            <pc:sldMk cId="2144598827" sldId="279"/>
            <ac:spMk id="38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0:42.440" v="4088" actId="478"/>
          <ac:spMkLst>
            <pc:docMk/>
            <pc:sldMk cId="2144598827" sldId="279"/>
            <ac:spMk id="39" creationId="{00000000-0000-0000-0000-000000000000}"/>
          </ac:spMkLst>
        </pc:spChg>
      </pc:sldChg>
      <pc:sldChg chg="delSp modSp add">
        <pc:chgData name="Dirk Laschat" userId="9253a62a-3edb-4e48-8ef7-64f354bb20dc" providerId="ADAL" clId="{F40834C7-0DA5-4DB1-A929-605080315E23}" dt="2018-08-01T16:30:39.340" v="4087" actId="478"/>
        <pc:sldMkLst>
          <pc:docMk/>
          <pc:sldMk cId="1912756106" sldId="280"/>
        </pc:sldMkLst>
        <pc:spChg chg="mod">
          <ac:chgData name="Dirk Laschat" userId="9253a62a-3edb-4e48-8ef7-64f354bb20dc" providerId="ADAL" clId="{F40834C7-0DA5-4DB1-A929-605080315E23}" dt="2018-08-01T16:27:35.561" v="1204" actId="207"/>
          <ac:spMkLst>
            <pc:docMk/>
            <pc:sldMk cId="1912756106" sldId="280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7:35.561" v="1204" actId="207"/>
          <ac:spMkLst>
            <pc:docMk/>
            <pc:sldMk cId="1912756106" sldId="280"/>
            <ac:spMk id="1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7:35.561" v="1204" actId="207"/>
          <ac:spMkLst>
            <pc:docMk/>
            <pc:sldMk cId="1912756106" sldId="280"/>
            <ac:spMk id="12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0:39.340" v="4087" actId="478"/>
          <ac:spMkLst>
            <pc:docMk/>
            <pc:sldMk cId="1912756106" sldId="280"/>
            <ac:spMk id="113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0:36.640" v="4086" actId="478"/>
          <ac:spMkLst>
            <pc:docMk/>
            <pc:sldMk cId="1912756106" sldId="280"/>
            <ac:spMk id="114" creationId="{00000000-0000-0000-0000-000000000000}"/>
          </ac:spMkLst>
        </pc:spChg>
      </pc:sldChg>
      <pc:sldChg chg="delSp modSp add">
        <pc:chgData name="Dirk Laschat" userId="9253a62a-3edb-4e48-8ef7-64f354bb20dc" providerId="ADAL" clId="{F40834C7-0DA5-4DB1-A929-605080315E23}" dt="2018-08-01T16:30:14.919" v="4082" actId="478"/>
        <pc:sldMkLst>
          <pc:docMk/>
          <pc:sldMk cId="124344850" sldId="281"/>
        </pc:sldMkLst>
        <pc:spChg chg="del">
          <ac:chgData name="Dirk Laschat" userId="9253a62a-3edb-4e48-8ef7-64f354bb20dc" providerId="ADAL" clId="{F40834C7-0DA5-4DB1-A929-605080315E23}" dt="2018-08-01T16:28:04.794" v="3915" actId="478"/>
          <ac:spMkLst>
            <pc:docMk/>
            <pc:sldMk cId="124344850" sldId="281"/>
            <ac:spMk id="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4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5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5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5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6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6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6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6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6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6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7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7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8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8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8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9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9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9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9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28:14.581" v="3920" actId="20577"/>
          <ac:spMkLst>
            <pc:docMk/>
            <pc:sldMk cId="124344850" sldId="281"/>
            <ac:spMk id="614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615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615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6164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0:14.919" v="4082" actId="478"/>
          <ac:spMkLst>
            <pc:docMk/>
            <pc:sldMk cId="124344850" sldId="281"/>
            <ac:spMk id="6168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28:18.693" v="3921" actId="478"/>
          <ac:spMkLst>
            <pc:docMk/>
            <pc:sldMk cId="124344850" sldId="281"/>
            <ac:spMk id="616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617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619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620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620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0:08.818" v="4081" actId="1036"/>
          <ac:spMkLst>
            <pc:docMk/>
            <pc:sldMk cId="124344850" sldId="281"/>
            <ac:spMk id="6206" creationId="{00000000-0000-0000-0000-000000000000}"/>
          </ac:spMkLst>
        </pc:spChg>
        <pc:picChg chg="mod">
          <ac:chgData name="Dirk Laschat" userId="9253a62a-3edb-4e48-8ef7-64f354bb20dc" providerId="ADAL" clId="{F40834C7-0DA5-4DB1-A929-605080315E23}" dt="2018-08-01T16:30:08.818" v="4081" actId="1036"/>
          <ac:picMkLst>
            <pc:docMk/>
            <pc:sldMk cId="124344850" sldId="281"/>
            <ac:picMk id="48" creationId="{00000000-0000-0000-0000-000000000000}"/>
          </ac:picMkLst>
        </pc:picChg>
        <pc:picChg chg="mod">
          <ac:chgData name="Dirk Laschat" userId="9253a62a-3edb-4e48-8ef7-64f354bb20dc" providerId="ADAL" clId="{F40834C7-0DA5-4DB1-A929-605080315E23}" dt="2018-08-01T16:30:08.818" v="4081" actId="1036"/>
          <ac:picMkLst>
            <pc:docMk/>
            <pc:sldMk cId="124344850" sldId="281"/>
            <ac:picMk id="49" creationId="{00000000-0000-0000-0000-000000000000}"/>
          </ac:picMkLst>
        </pc:picChg>
        <pc:picChg chg="mod">
          <ac:chgData name="Dirk Laschat" userId="9253a62a-3edb-4e48-8ef7-64f354bb20dc" providerId="ADAL" clId="{F40834C7-0DA5-4DB1-A929-605080315E23}" dt="2018-08-01T16:30:08.818" v="4081" actId="1036"/>
          <ac:picMkLst>
            <pc:docMk/>
            <pc:sldMk cId="124344850" sldId="281"/>
            <ac:picMk id="51" creationId="{00000000-0000-0000-0000-000000000000}"/>
          </ac:picMkLst>
        </pc:picChg>
        <pc:picChg chg="mod">
          <ac:chgData name="Dirk Laschat" userId="9253a62a-3edb-4e48-8ef7-64f354bb20dc" providerId="ADAL" clId="{F40834C7-0DA5-4DB1-A929-605080315E23}" dt="2018-08-01T16:30:08.818" v="4081" actId="1036"/>
          <ac:picMkLst>
            <pc:docMk/>
            <pc:sldMk cId="124344850" sldId="281"/>
            <ac:picMk id="52" creationId="{00000000-0000-0000-0000-000000000000}"/>
          </ac:picMkLst>
        </pc:picChg>
        <pc:picChg chg="mod">
          <ac:chgData name="Dirk Laschat" userId="9253a62a-3edb-4e48-8ef7-64f354bb20dc" providerId="ADAL" clId="{F40834C7-0DA5-4DB1-A929-605080315E23}" dt="2018-08-01T16:30:08.818" v="4081" actId="1036"/>
          <ac:picMkLst>
            <pc:docMk/>
            <pc:sldMk cId="124344850" sldId="281"/>
            <ac:picMk id="54" creationId="{00000000-0000-0000-0000-000000000000}"/>
          </ac:picMkLst>
        </pc:picChg>
        <pc:picChg chg="mod">
          <ac:chgData name="Dirk Laschat" userId="9253a62a-3edb-4e48-8ef7-64f354bb20dc" providerId="ADAL" clId="{F40834C7-0DA5-4DB1-A929-605080315E23}" dt="2018-08-01T16:30:08.818" v="4081" actId="1036"/>
          <ac:picMkLst>
            <pc:docMk/>
            <pc:sldMk cId="124344850" sldId="281"/>
            <ac:picMk id="55" creationId="{00000000-0000-0000-0000-000000000000}"/>
          </ac:picMkLst>
        </pc:picChg>
        <pc:picChg chg="mod">
          <ac:chgData name="Dirk Laschat" userId="9253a62a-3edb-4e48-8ef7-64f354bb20dc" providerId="ADAL" clId="{F40834C7-0DA5-4DB1-A929-605080315E23}" dt="2018-08-01T16:30:08.818" v="4081" actId="1036"/>
          <ac:picMkLst>
            <pc:docMk/>
            <pc:sldMk cId="124344850" sldId="281"/>
            <ac:picMk id="56" creationId="{00000000-0000-0000-0000-000000000000}"/>
          </ac:picMkLst>
        </pc:picChg>
        <pc:picChg chg="mod">
          <ac:chgData name="Dirk Laschat" userId="9253a62a-3edb-4e48-8ef7-64f354bb20dc" providerId="ADAL" clId="{F40834C7-0DA5-4DB1-A929-605080315E23}" dt="2018-08-01T16:30:08.818" v="4081" actId="1036"/>
          <ac:picMkLst>
            <pc:docMk/>
            <pc:sldMk cId="124344850" sldId="281"/>
            <ac:picMk id="57" creationId="{00000000-0000-0000-0000-000000000000}"/>
          </ac:picMkLst>
        </pc:picChg>
        <pc:picChg chg="mod">
          <ac:chgData name="Dirk Laschat" userId="9253a62a-3edb-4e48-8ef7-64f354bb20dc" providerId="ADAL" clId="{F40834C7-0DA5-4DB1-A929-605080315E23}" dt="2018-08-01T16:30:08.818" v="4081" actId="1036"/>
          <ac:picMkLst>
            <pc:docMk/>
            <pc:sldMk cId="124344850" sldId="281"/>
            <ac:picMk id="70" creationId="{00000000-0000-0000-0000-000000000000}"/>
          </ac:picMkLst>
        </pc:picChg>
      </pc:sldChg>
      <pc:sldChg chg="addSp delSp modSp add">
        <pc:chgData name="Dirk Laschat" userId="9253a62a-3edb-4e48-8ef7-64f354bb20dc" providerId="ADAL" clId="{F40834C7-0DA5-4DB1-A929-605080315E23}" dt="2018-08-01T16:30:34.708" v="4085" actId="478"/>
        <pc:sldMkLst>
          <pc:docMk/>
          <pc:sldMk cId="3675848735" sldId="282"/>
        </pc:sldMkLst>
        <pc:spChg chg="del">
          <ac:chgData name="Dirk Laschat" userId="9253a62a-3edb-4e48-8ef7-64f354bb20dc" providerId="ADAL" clId="{F40834C7-0DA5-4DB1-A929-605080315E23}" dt="2018-08-01T16:30:27.247" v="4083" actId="478"/>
          <ac:spMkLst>
            <pc:docMk/>
            <pc:sldMk cId="3675848735" sldId="282"/>
            <ac:spMk id="2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0:27.247" v="4083" actId="478"/>
          <ac:spMkLst>
            <pc:docMk/>
            <pc:sldMk cId="3675848735" sldId="282"/>
            <ac:spMk id="3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1T16:30:27.247" v="4083" actId="478"/>
          <ac:spMkLst>
            <pc:docMk/>
            <pc:sldMk cId="3675848735" sldId="282"/>
            <ac:spMk id="4" creationId="{A0FEA150-2A0B-4FD7-89F9-EB2527EF7923}"/>
          </ac:spMkLst>
        </pc:spChg>
        <pc:spChg chg="add del mod">
          <ac:chgData name="Dirk Laschat" userId="9253a62a-3edb-4e48-8ef7-64f354bb20dc" providerId="ADAL" clId="{F40834C7-0DA5-4DB1-A929-605080315E23}" dt="2018-08-01T16:30:27.247" v="4083" actId="478"/>
          <ac:spMkLst>
            <pc:docMk/>
            <pc:sldMk cId="3675848735" sldId="282"/>
            <ac:spMk id="5" creationId="{7C1C2FDE-34E6-4DF5-9FE8-EDADC1A96771}"/>
          </ac:spMkLst>
        </pc:spChg>
        <pc:spChg chg="add del mod">
          <ac:chgData name="Dirk Laschat" userId="9253a62a-3edb-4e48-8ef7-64f354bb20dc" providerId="ADAL" clId="{F40834C7-0DA5-4DB1-A929-605080315E23}" dt="2018-08-01T16:30:28.272" v="4084" actId="478"/>
          <ac:spMkLst>
            <pc:docMk/>
            <pc:sldMk cId="3675848735" sldId="282"/>
            <ac:spMk id="6" creationId="{C7F63CDB-CDBC-429B-98CD-B1DE86B3A36D}"/>
          </ac:spMkLst>
        </pc:spChg>
        <pc:spChg chg="add del mod">
          <ac:chgData name="Dirk Laschat" userId="9253a62a-3edb-4e48-8ef7-64f354bb20dc" providerId="ADAL" clId="{F40834C7-0DA5-4DB1-A929-605080315E23}" dt="2018-08-01T16:30:28.272" v="4084" actId="478"/>
          <ac:spMkLst>
            <pc:docMk/>
            <pc:sldMk cId="3675848735" sldId="282"/>
            <ac:spMk id="11" creationId="{60D66B46-89AE-4C4C-9BB1-D06BA59ED13A}"/>
          </ac:spMkLst>
        </pc:spChg>
        <pc:spChg chg="add mod">
          <ac:chgData name="Dirk Laschat" userId="9253a62a-3edb-4e48-8ef7-64f354bb20dc" providerId="ADAL" clId="{F40834C7-0DA5-4DB1-A929-605080315E23}" dt="2018-08-01T16:30:28.272" v="4084" actId="478"/>
          <ac:spMkLst>
            <pc:docMk/>
            <pc:sldMk cId="3675848735" sldId="282"/>
            <ac:spMk id="12" creationId="{A0DAF89A-53C4-4C18-820D-1234DDF0AA1D}"/>
          </ac:spMkLst>
        </pc:spChg>
        <pc:spChg chg="del">
          <ac:chgData name="Dirk Laschat" userId="9253a62a-3edb-4e48-8ef7-64f354bb20dc" providerId="ADAL" clId="{F40834C7-0DA5-4DB1-A929-605080315E23}" dt="2018-08-01T16:30:34.708" v="4085" actId="478"/>
          <ac:spMkLst>
            <pc:docMk/>
            <pc:sldMk cId="3675848735" sldId="282"/>
            <ac:spMk id="63" creationId="{00000000-0000-0000-0000-000000000000}"/>
          </ac:spMkLst>
        </pc:spChg>
      </pc:sldChg>
      <pc:sldChg chg="addSp delSp modSp add">
        <pc:chgData name="Dirk Laschat" userId="9253a62a-3edb-4e48-8ef7-64f354bb20dc" providerId="ADAL" clId="{F40834C7-0DA5-4DB1-A929-605080315E23}" dt="2018-08-05T11:17:35.196" v="12942" actId="207"/>
        <pc:sldMkLst>
          <pc:docMk/>
          <pc:sldMk cId="2161551773" sldId="283"/>
        </pc:sldMkLst>
        <pc:spChg chg="del">
          <ac:chgData name="Dirk Laschat" userId="9253a62a-3edb-4e48-8ef7-64f354bb20dc" providerId="ADAL" clId="{F40834C7-0DA5-4DB1-A929-605080315E23}" dt="2018-08-01T16:31:42.011" v="4149" actId="207"/>
          <ac:spMkLst>
            <pc:docMk/>
            <pc:sldMk cId="2161551773" sldId="283"/>
            <ac:spMk id="2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1:42.011" v="4149" actId="207"/>
          <ac:spMkLst>
            <pc:docMk/>
            <pc:sldMk cId="2161551773" sldId="283"/>
            <ac:spMk id="3" creationId="{00000000-0000-0000-0000-000000000000}"/>
          </ac:spMkLst>
        </pc:spChg>
        <pc:spChg chg="add mod">
          <ac:chgData name="Dirk Laschat" userId="9253a62a-3edb-4e48-8ef7-64f354bb20dc" providerId="ADAL" clId="{F40834C7-0DA5-4DB1-A929-605080315E23}" dt="2018-08-01T16:31:42.011" v="4149" actId="207"/>
          <ac:spMkLst>
            <pc:docMk/>
            <pc:sldMk cId="2161551773" sldId="283"/>
            <ac:spMk id="4" creationId="{1734230F-2DA0-4C6B-8A7F-F86035A4423D}"/>
          </ac:spMkLst>
        </pc:spChg>
        <pc:spChg chg="mod">
          <ac:chgData name="Dirk Laschat" userId="9253a62a-3edb-4e48-8ef7-64f354bb20dc" providerId="ADAL" clId="{F40834C7-0DA5-4DB1-A929-605080315E23}" dt="2018-08-05T11:17:24.274" v="12940" actId="207"/>
          <ac:spMkLst>
            <pc:docMk/>
            <pc:sldMk cId="2161551773" sldId="283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7:24.274" v="12940" actId="207"/>
          <ac:spMkLst>
            <pc:docMk/>
            <pc:sldMk cId="2161551773" sldId="283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7:24.274" v="12940" actId="207"/>
          <ac:spMkLst>
            <pc:docMk/>
            <pc:sldMk cId="2161551773" sldId="283"/>
            <ac:spMk id="1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1:30.072" v="4132" actId="1037"/>
          <ac:spMkLst>
            <pc:docMk/>
            <pc:sldMk cId="2161551773" sldId="283"/>
            <ac:spMk id="1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1:26.123" v="4115" actId="1036"/>
          <ac:spMkLst>
            <pc:docMk/>
            <pc:sldMk cId="2161551773" sldId="283"/>
            <ac:spMk id="1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1:34.692" v="4148" actId="1038"/>
          <ac:spMkLst>
            <pc:docMk/>
            <pc:sldMk cId="2161551773" sldId="283"/>
            <ac:spMk id="2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7:28.722" v="12941" actId="207"/>
          <ac:spMkLst>
            <pc:docMk/>
            <pc:sldMk cId="2161551773" sldId="283"/>
            <ac:spMk id="2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7:35.196" v="12942" actId="207"/>
          <ac:spMkLst>
            <pc:docMk/>
            <pc:sldMk cId="2161551773" sldId="283"/>
            <ac:spMk id="3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7:35.196" v="12942" actId="207"/>
          <ac:spMkLst>
            <pc:docMk/>
            <pc:sldMk cId="2161551773" sldId="283"/>
            <ac:spMk id="3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7:35.196" v="12942" actId="207"/>
          <ac:spMkLst>
            <pc:docMk/>
            <pc:sldMk cId="2161551773" sldId="283"/>
            <ac:spMk id="33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1:46.679" v="4151" actId="478"/>
          <ac:spMkLst>
            <pc:docMk/>
            <pc:sldMk cId="2161551773" sldId="283"/>
            <ac:spMk id="141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1:44.908" v="4150" actId="478"/>
          <ac:spMkLst>
            <pc:docMk/>
            <pc:sldMk cId="2161551773" sldId="283"/>
            <ac:spMk id="142" creationId="{00000000-0000-0000-0000-000000000000}"/>
          </ac:spMkLst>
        </pc:spChg>
      </pc:sldChg>
      <pc:sldChg chg="addSp delSp modSp add">
        <pc:chgData name="Dirk Laschat" userId="9253a62a-3edb-4e48-8ef7-64f354bb20dc" providerId="ADAL" clId="{F40834C7-0DA5-4DB1-A929-605080315E23}" dt="2018-08-05T11:18:08.549" v="12948" actId="208"/>
        <pc:sldMkLst>
          <pc:docMk/>
          <pc:sldMk cId="3938465148" sldId="284"/>
        </pc:sldMkLst>
        <pc:spChg chg="del">
          <ac:chgData name="Dirk Laschat" userId="9253a62a-3edb-4e48-8ef7-64f354bb20dc" providerId="ADAL" clId="{F40834C7-0DA5-4DB1-A929-605080315E23}" dt="2018-08-01T16:31:56.283" v="4154" actId="208"/>
          <ac:spMkLst>
            <pc:docMk/>
            <pc:sldMk cId="3938465148" sldId="284"/>
            <ac:spMk id="2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1:56.283" v="4154" actId="208"/>
          <ac:spMkLst>
            <pc:docMk/>
            <pc:sldMk cId="3938465148" sldId="284"/>
            <ac:spMk id="3" creationId="{00000000-0000-0000-0000-000000000000}"/>
          </ac:spMkLst>
        </pc:spChg>
        <pc:spChg chg="add mod">
          <ac:chgData name="Dirk Laschat" userId="9253a62a-3edb-4e48-8ef7-64f354bb20dc" providerId="ADAL" clId="{F40834C7-0DA5-4DB1-A929-605080315E23}" dt="2018-08-01T16:31:56.283" v="4154" actId="208"/>
          <ac:spMkLst>
            <pc:docMk/>
            <pc:sldMk cId="3938465148" sldId="284"/>
            <ac:spMk id="4" creationId="{C1D1D6CF-43E1-4501-AF16-0BF17900C07C}"/>
          </ac:spMkLst>
        </pc:spChg>
        <pc:spChg chg="mod">
          <ac:chgData name="Dirk Laschat" userId="9253a62a-3edb-4e48-8ef7-64f354bb20dc" providerId="ADAL" clId="{F40834C7-0DA5-4DB1-A929-605080315E23}" dt="2018-08-05T11:18:03.141" v="12946" actId="208"/>
          <ac:spMkLst>
            <pc:docMk/>
            <pc:sldMk cId="3938465148" sldId="284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7:52.998" v="12944" actId="208"/>
          <ac:spMkLst>
            <pc:docMk/>
            <pc:sldMk cId="3938465148" sldId="284"/>
            <ac:spMk id="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7:52.998" v="12944" actId="208"/>
          <ac:spMkLst>
            <pc:docMk/>
            <pc:sldMk cId="3938465148" sldId="284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7:52.998" v="12944" actId="208"/>
          <ac:spMkLst>
            <pc:docMk/>
            <pc:sldMk cId="3938465148" sldId="284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7:52.998" v="12944" actId="208"/>
          <ac:spMkLst>
            <pc:docMk/>
            <pc:sldMk cId="3938465148" sldId="284"/>
            <ac:spMk id="1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7:52.998" v="12944" actId="208"/>
          <ac:spMkLst>
            <pc:docMk/>
            <pc:sldMk cId="3938465148" sldId="284"/>
            <ac:spMk id="1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7:52.998" v="12944" actId="208"/>
          <ac:spMkLst>
            <pc:docMk/>
            <pc:sldMk cId="3938465148" sldId="284"/>
            <ac:spMk id="1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8:08.549" v="12948" actId="208"/>
          <ac:spMkLst>
            <pc:docMk/>
            <pc:sldMk cId="3938465148" sldId="284"/>
            <ac:spMk id="23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1:54.391" v="4153" actId="478"/>
          <ac:spMkLst>
            <pc:docMk/>
            <pc:sldMk cId="3938465148" sldId="284"/>
            <ac:spMk id="119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1:52.773" v="4152" actId="478"/>
          <ac:spMkLst>
            <pc:docMk/>
            <pc:sldMk cId="3938465148" sldId="284"/>
            <ac:spMk id="120" creationId="{00000000-0000-0000-0000-000000000000}"/>
          </ac:spMkLst>
        </pc:spChg>
      </pc:sldChg>
      <pc:sldChg chg="addSp delSp modSp add">
        <pc:chgData name="Dirk Laschat" userId="9253a62a-3edb-4e48-8ef7-64f354bb20dc" providerId="ADAL" clId="{F40834C7-0DA5-4DB1-A929-605080315E23}" dt="2018-08-01T16:32:06.257" v="4157" actId="207"/>
        <pc:sldMkLst>
          <pc:docMk/>
          <pc:sldMk cId="3667444626" sldId="285"/>
        </pc:sldMkLst>
        <pc:spChg chg="del">
          <ac:chgData name="Dirk Laschat" userId="9253a62a-3edb-4e48-8ef7-64f354bb20dc" providerId="ADAL" clId="{F40834C7-0DA5-4DB1-A929-605080315E23}" dt="2018-08-01T16:32:06.257" v="4157" actId="207"/>
          <ac:spMkLst>
            <pc:docMk/>
            <pc:sldMk cId="3667444626" sldId="285"/>
            <ac:spMk id="2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2:06.257" v="4157" actId="207"/>
          <ac:spMkLst>
            <pc:docMk/>
            <pc:sldMk cId="3667444626" sldId="285"/>
            <ac:spMk id="3" creationId="{00000000-0000-0000-0000-000000000000}"/>
          </ac:spMkLst>
        </pc:spChg>
        <pc:spChg chg="add mod">
          <ac:chgData name="Dirk Laschat" userId="9253a62a-3edb-4e48-8ef7-64f354bb20dc" providerId="ADAL" clId="{F40834C7-0DA5-4DB1-A929-605080315E23}" dt="2018-08-01T16:32:06.257" v="4157" actId="207"/>
          <ac:spMkLst>
            <pc:docMk/>
            <pc:sldMk cId="3667444626" sldId="285"/>
            <ac:spMk id="4" creationId="{6E3BE6E2-3F29-4D96-9D26-E64C83A766EC}"/>
          </ac:spMkLst>
        </pc:spChg>
        <pc:spChg chg="del">
          <ac:chgData name="Dirk Laschat" userId="9253a62a-3edb-4e48-8ef7-64f354bb20dc" providerId="ADAL" clId="{F40834C7-0DA5-4DB1-A929-605080315E23}" dt="2018-08-01T16:32:04.068" v="4156" actId="478"/>
          <ac:spMkLst>
            <pc:docMk/>
            <pc:sldMk cId="3667444626" sldId="285"/>
            <ac:spMk id="72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2:02.711" v="4155" actId="478"/>
          <ac:spMkLst>
            <pc:docMk/>
            <pc:sldMk cId="3667444626" sldId="285"/>
            <ac:spMk id="73" creationId="{00000000-0000-0000-0000-000000000000}"/>
          </ac:spMkLst>
        </pc:spChg>
      </pc:sldChg>
      <pc:sldChg chg="addSp delSp modSp add">
        <pc:chgData name="Dirk Laschat" userId="9253a62a-3edb-4e48-8ef7-64f354bb20dc" providerId="ADAL" clId="{F40834C7-0DA5-4DB1-A929-605080315E23}" dt="2018-08-05T11:19:07.330" v="12958" actId="208"/>
        <pc:sldMkLst>
          <pc:docMk/>
          <pc:sldMk cId="2627092279" sldId="286"/>
        </pc:sldMkLst>
        <pc:spChg chg="del">
          <ac:chgData name="Dirk Laschat" userId="9253a62a-3edb-4e48-8ef7-64f354bb20dc" providerId="ADAL" clId="{F40834C7-0DA5-4DB1-A929-605080315E23}" dt="2018-08-01T16:32:21.191" v="4160" actId="208"/>
          <ac:spMkLst>
            <pc:docMk/>
            <pc:sldMk cId="2627092279" sldId="286"/>
            <ac:spMk id="2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2:21.191" v="4160" actId="208"/>
          <ac:spMkLst>
            <pc:docMk/>
            <pc:sldMk cId="2627092279" sldId="286"/>
            <ac:spMk id="3" creationId="{00000000-0000-0000-0000-000000000000}"/>
          </ac:spMkLst>
        </pc:spChg>
        <pc:spChg chg="add mod">
          <ac:chgData name="Dirk Laschat" userId="9253a62a-3edb-4e48-8ef7-64f354bb20dc" providerId="ADAL" clId="{F40834C7-0DA5-4DB1-A929-605080315E23}" dt="2018-08-01T16:32:21.191" v="4160" actId="208"/>
          <ac:spMkLst>
            <pc:docMk/>
            <pc:sldMk cId="2627092279" sldId="286"/>
            <ac:spMk id="4" creationId="{4EFFFD5C-C7B2-4E34-85F5-45517BD8EA2C}"/>
          </ac:spMkLst>
        </pc:spChg>
        <pc:spChg chg="mod">
          <ac:chgData name="Dirk Laschat" userId="9253a62a-3edb-4e48-8ef7-64f354bb20dc" providerId="ADAL" clId="{F40834C7-0DA5-4DB1-A929-605080315E23}" dt="2018-08-05T11:18:37.237" v="12955" actId="208"/>
          <ac:spMkLst>
            <pc:docMk/>
            <pc:sldMk cId="2627092279" sldId="286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8:31.431" v="12953" actId="208"/>
          <ac:spMkLst>
            <pc:docMk/>
            <pc:sldMk cId="2627092279" sldId="286"/>
            <ac:spMk id="1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9:03.155" v="12957" actId="208"/>
          <ac:spMkLst>
            <pc:docMk/>
            <pc:sldMk cId="2627092279" sldId="286"/>
            <ac:spMk id="3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9:07.330" v="12958" actId="208"/>
          <ac:spMkLst>
            <pc:docMk/>
            <pc:sldMk cId="2627092279" sldId="286"/>
            <ac:spMk id="93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2:19.634" v="4159" actId="478"/>
          <ac:spMkLst>
            <pc:docMk/>
            <pc:sldMk cId="2627092279" sldId="286"/>
            <ac:spMk id="477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2:18.308" v="4158" actId="478"/>
          <ac:spMkLst>
            <pc:docMk/>
            <pc:sldMk cId="2627092279" sldId="286"/>
            <ac:spMk id="478" creationId="{00000000-0000-0000-0000-000000000000}"/>
          </ac:spMkLst>
        </pc:spChg>
      </pc:sldChg>
      <pc:sldChg chg="delSp modSp add">
        <pc:chgData name="Dirk Laschat" userId="9253a62a-3edb-4e48-8ef7-64f354bb20dc" providerId="ADAL" clId="{F40834C7-0DA5-4DB1-A929-605080315E23}" dt="2018-08-01T16:32:29.712" v="4163" actId="478"/>
        <pc:sldMkLst>
          <pc:docMk/>
          <pc:sldMk cId="162376920" sldId="287"/>
        </pc:sldMkLst>
        <pc:spChg chg="del mod">
          <ac:chgData name="Dirk Laschat" userId="9253a62a-3edb-4e48-8ef7-64f354bb20dc" providerId="ADAL" clId="{F40834C7-0DA5-4DB1-A929-605080315E23}" dt="2018-08-01T16:32:29.712" v="4163" actId="478"/>
          <ac:spMkLst>
            <pc:docMk/>
            <pc:sldMk cId="162376920" sldId="287"/>
            <ac:spMk id="103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2:27.987" v="4162" actId="478"/>
          <ac:spMkLst>
            <pc:docMk/>
            <pc:sldMk cId="162376920" sldId="287"/>
            <ac:spMk id="104" creationId="{00000000-0000-0000-0000-000000000000}"/>
          </ac:spMkLst>
        </pc:spChg>
      </pc:sldChg>
      <pc:sldChg chg="addSp delSp modSp add">
        <pc:chgData name="Dirk Laschat" userId="9253a62a-3edb-4e48-8ef7-64f354bb20dc" providerId="ADAL" clId="{F40834C7-0DA5-4DB1-A929-605080315E23}" dt="2018-08-01T16:32:36.449" v="4166" actId="207"/>
        <pc:sldMkLst>
          <pc:docMk/>
          <pc:sldMk cId="2560505082" sldId="288"/>
        </pc:sldMkLst>
        <pc:spChg chg="del">
          <ac:chgData name="Dirk Laschat" userId="9253a62a-3edb-4e48-8ef7-64f354bb20dc" providerId="ADAL" clId="{F40834C7-0DA5-4DB1-A929-605080315E23}" dt="2018-08-01T16:32:36.449" v="4166" actId="207"/>
          <ac:spMkLst>
            <pc:docMk/>
            <pc:sldMk cId="2560505082" sldId="288"/>
            <ac:spMk id="5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2:36.449" v="4166" actId="207"/>
          <ac:spMkLst>
            <pc:docMk/>
            <pc:sldMk cId="2560505082" sldId="288"/>
            <ac:spMk id="6" creationId="{00000000-0000-0000-0000-000000000000}"/>
          </ac:spMkLst>
        </pc:spChg>
        <pc:spChg chg="add mod">
          <ac:chgData name="Dirk Laschat" userId="9253a62a-3edb-4e48-8ef7-64f354bb20dc" providerId="ADAL" clId="{F40834C7-0DA5-4DB1-A929-605080315E23}" dt="2018-08-01T16:32:36.449" v="4166" actId="207"/>
          <ac:spMkLst>
            <pc:docMk/>
            <pc:sldMk cId="2560505082" sldId="288"/>
            <ac:spMk id="9" creationId="{04D14DF4-B74D-4CDF-8CF5-E07093A29D21}"/>
          </ac:spMkLst>
        </pc:spChg>
        <pc:spChg chg="del">
          <ac:chgData name="Dirk Laschat" userId="9253a62a-3edb-4e48-8ef7-64f354bb20dc" providerId="ADAL" clId="{F40834C7-0DA5-4DB1-A929-605080315E23}" dt="2018-08-01T16:32:33.860" v="4165" actId="478"/>
          <ac:spMkLst>
            <pc:docMk/>
            <pc:sldMk cId="2560505082" sldId="288"/>
            <ac:spMk id="61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2:32.171" v="4164" actId="478"/>
          <ac:spMkLst>
            <pc:docMk/>
            <pc:sldMk cId="2560505082" sldId="288"/>
            <ac:spMk id="62" creationId="{00000000-0000-0000-0000-000000000000}"/>
          </ac:spMkLst>
        </pc:spChg>
      </pc:sldChg>
      <pc:sldChg chg="delSp add">
        <pc:chgData name="Dirk Laschat" userId="9253a62a-3edb-4e48-8ef7-64f354bb20dc" providerId="ADAL" clId="{F40834C7-0DA5-4DB1-A929-605080315E23}" dt="2018-08-01T16:32:45.144" v="4168" actId="478"/>
        <pc:sldMkLst>
          <pc:docMk/>
          <pc:sldMk cId="2638583467" sldId="289"/>
        </pc:sldMkLst>
        <pc:spChg chg="del">
          <ac:chgData name="Dirk Laschat" userId="9253a62a-3edb-4e48-8ef7-64f354bb20dc" providerId="ADAL" clId="{F40834C7-0DA5-4DB1-A929-605080315E23}" dt="2018-08-01T16:32:45.144" v="4168" actId="478"/>
          <ac:spMkLst>
            <pc:docMk/>
            <pc:sldMk cId="2638583467" sldId="289"/>
            <ac:spMk id="35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2:43.468" v="4167" actId="478"/>
          <ac:spMkLst>
            <pc:docMk/>
            <pc:sldMk cId="2638583467" sldId="289"/>
            <ac:spMk id="36" creationId="{00000000-0000-0000-0000-000000000000}"/>
          </ac:spMkLst>
        </pc:spChg>
      </pc:sldChg>
      <pc:sldChg chg="delSp add">
        <pc:chgData name="Dirk Laschat" userId="9253a62a-3edb-4e48-8ef7-64f354bb20dc" providerId="ADAL" clId="{F40834C7-0DA5-4DB1-A929-605080315E23}" dt="2018-08-01T16:32:51.877" v="4170" actId="478"/>
        <pc:sldMkLst>
          <pc:docMk/>
          <pc:sldMk cId="1602739764" sldId="290"/>
        </pc:sldMkLst>
        <pc:spChg chg="del">
          <ac:chgData name="Dirk Laschat" userId="9253a62a-3edb-4e48-8ef7-64f354bb20dc" providerId="ADAL" clId="{F40834C7-0DA5-4DB1-A929-605080315E23}" dt="2018-08-01T16:32:51.877" v="4170" actId="478"/>
          <ac:spMkLst>
            <pc:docMk/>
            <pc:sldMk cId="1602739764" sldId="290"/>
            <ac:spMk id="40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6:32:49.859" v="4169" actId="478"/>
          <ac:spMkLst>
            <pc:docMk/>
            <pc:sldMk cId="1602739764" sldId="290"/>
            <ac:spMk id="41" creationId="{00000000-0000-0000-0000-000000000000}"/>
          </ac:spMkLst>
        </pc:spChg>
      </pc:sldChg>
      <pc:sldChg chg="delSp modSp add">
        <pc:chgData name="Dirk Laschat" userId="9253a62a-3edb-4e48-8ef7-64f354bb20dc" providerId="ADAL" clId="{F40834C7-0DA5-4DB1-A929-605080315E23}" dt="2018-08-05T13:32:04.550" v="13411" actId="478"/>
        <pc:sldMkLst>
          <pc:docMk/>
          <pc:sldMk cId="696733278" sldId="291"/>
        </pc:sldMkLst>
        <pc:spChg chg="del mod">
          <ac:chgData name="Dirk Laschat" userId="9253a62a-3edb-4e48-8ef7-64f354bb20dc" providerId="ADAL" clId="{F40834C7-0DA5-4DB1-A929-605080315E23}" dt="2018-08-05T13:32:04.550" v="13411" actId="478"/>
          <ac:spMkLst>
            <pc:docMk/>
            <pc:sldMk cId="696733278" sldId="291"/>
            <ac:spMk id="487" creationId="{00000000-0000-0000-0000-000000000000}"/>
          </ac:spMkLst>
        </pc:spChg>
      </pc:sldChg>
      <pc:sldChg chg="delSp add">
        <pc:chgData name="Dirk Laschat" userId="9253a62a-3edb-4e48-8ef7-64f354bb20dc" providerId="ADAL" clId="{F40834C7-0DA5-4DB1-A929-605080315E23}" dt="2018-08-05T13:32:07.906" v="13412" actId="478"/>
        <pc:sldMkLst>
          <pc:docMk/>
          <pc:sldMk cId="4290996979" sldId="292"/>
        </pc:sldMkLst>
        <pc:spChg chg="del">
          <ac:chgData name="Dirk Laschat" userId="9253a62a-3edb-4e48-8ef7-64f354bb20dc" providerId="ADAL" clId="{F40834C7-0DA5-4DB1-A929-605080315E23}" dt="2018-08-05T13:32:07.906" v="13412" actId="478"/>
          <ac:spMkLst>
            <pc:docMk/>
            <pc:sldMk cId="4290996979" sldId="292"/>
            <ac:spMk id="81" creationId="{00000000-0000-0000-0000-000000000000}"/>
          </ac:spMkLst>
        </pc:spChg>
      </pc:sldChg>
      <pc:sldChg chg="addSp delSp modSp add">
        <pc:chgData name="Dirk Laschat" userId="9253a62a-3edb-4e48-8ef7-64f354bb20dc" providerId="ADAL" clId="{F40834C7-0DA5-4DB1-A929-605080315E23}" dt="2018-08-05T13:32:29.726" v="13422" actId="478"/>
        <pc:sldMkLst>
          <pc:docMk/>
          <pc:sldMk cId="2205952844" sldId="293"/>
        </pc:sldMkLst>
        <pc:spChg chg="add del">
          <ac:chgData name="Dirk Laschat" userId="9253a62a-3edb-4e48-8ef7-64f354bb20dc" providerId="ADAL" clId="{F40834C7-0DA5-4DB1-A929-605080315E23}" dt="2018-08-05T13:32:23.860" v="13420" actId="478"/>
          <ac:spMkLst>
            <pc:docMk/>
            <pc:sldMk cId="2205952844" sldId="293"/>
            <ac:spMk id="103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5T13:32:29.726" v="13422" actId="478"/>
          <ac:spMkLst>
            <pc:docMk/>
            <pc:sldMk cId="2205952844" sldId="293"/>
            <ac:spMk id="104" creationId="{00000000-0000-0000-0000-000000000000}"/>
          </ac:spMkLst>
        </pc:spChg>
      </pc:sldChg>
      <pc:sldChg chg="delSp modSp add">
        <pc:chgData name="Dirk Laschat" userId="9253a62a-3edb-4e48-8ef7-64f354bb20dc" providerId="ADAL" clId="{F40834C7-0DA5-4DB1-A929-605080315E23}" dt="2018-08-05T13:32:34.126" v="13423" actId="478"/>
        <pc:sldMkLst>
          <pc:docMk/>
          <pc:sldMk cId="281303912" sldId="294"/>
        </pc:sldMkLst>
        <pc:spChg chg="mod">
          <ac:chgData name="Dirk Laschat" userId="9253a62a-3edb-4e48-8ef7-64f354bb20dc" providerId="ADAL" clId="{F40834C7-0DA5-4DB1-A929-605080315E23}" dt="2018-08-05T13:22:20.145" v="13339" actId="1582"/>
          <ac:spMkLst>
            <pc:docMk/>
            <pc:sldMk cId="281303912" sldId="294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20.145" v="13339" actId="1582"/>
          <ac:spMkLst>
            <pc:docMk/>
            <pc:sldMk cId="281303912" sldId="294"/>
            <ac:spMk id="1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20.145" v="13339" actId="1582"/>
          <ac:spMkLst>
            <pc:docMk/>
            <pc:sldMk cId="281303912" sldId="294"/>
            <ac:spMk id="1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20.145" v="13339" actId="1582"/>
          <ac:spMkLst>
            <pc:docMk/>
            <pc:sldMk cId="281303912" sldId="294"/>
            <ac:spMk id="1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20.145" v="13339" actId="1582"/>
          <ac:spMkLst>
            <pc:docMk/>
            <pc:sldMk cId="281303912" sldId="294"/>
            <ac:spMk id="1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20.145" v="13339" actId="1582"/>
          <ac:spMkLst>
            <pc:docMk/>
            <pc:sldMk cId="281303912" sldId="294"/>
            <ac:spMk id="1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20.145" v="13339" actId="1582"/>
          <ac:spMkLst>
            <pc:docMk/>
            <pc:sldMk cId="281303912" sldId="294"/>
            <ac:spMk id="2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20.145" v="13339" actId="1582"/>
          <ac:spMkLst>
            <pc:docMk/>
            <pc:sldMk cId="281303912" sldId="294"/>
            <ac:spMk id="2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20.145" v="13339" actId="1582"/>
          <ac:spMkLst>
            <pc:docMk/>
            <pc:sldMk cId="281303912" sldId="294"/>
            <ac:spMk id="2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32.357" v="13340" actId="1582"/>
          <ac:spMkLst>
            <pc:docMk/>
            <pc:sldMk cId="281303912" sldId="294"/>
            <ac:spMk id="2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32.357" v="13340" actId="1582"/>
          <ac:spMkLst>
            <pc:docMk/>
            <pc:sldMk cId="281303912" sldId="294"/>
            <ac:spMk id="2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32.357" v="13340" actId="1582"/>
          <ac:spMkLst>
            <pc:docMk/>
            <pc:sldMk cId="281303912" sldId="294"/>
            <ac:spMk id="2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32.357" v="13340" actId="1582"/>
          <ac:spMkLst>
            <pc:docMk/>
            <pc:sldMk cId="281303912" sldId="294"/>
            <ac:spMk id="2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32.357" v="13340" actId="1582"/>
          <ac:spMkLst>
            <pc:docMk/>
            <pc:sldMk cId="281303912" sldId="294"/>
            <ac:spMk id="2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32.357" v="13340" actId="1582"/>
          <ac:spMkLst>
            <pc:docMk/>
            <pc:sldMk cId="281303912" sldId="294"/>
            <ac:spMk id="3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32.357" v="13340" actId="1582"/>
          <ac:spMkLst>
            <pc:docMk/>
            <pc:sldMk cId="281303912" sldId="294"/>
            <ac:spMk id="3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32.357" v="13340" actId="1582"/>
          <ac:spMkLst>
            <pc:docMk/>
            <pc:sldMk cId="281303912" sldId="294"/>
            <ac:spMk id="3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2:39.012" v="13342" actId="207"/>
          <ac:spMkLst>
            <pc:docMk/>
            <pc:sldMk cId="281303912" sldId="294"/>
            <ac:spMk id="67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5T13:32:34.126" v="13423" actId="478"/>
          <ac:spMkLst>
            <pc:docMk/>
            <pc:sldMk cId="281303912" sldId="294"/>
            <ac:spMk id="134" creationId="{00000000-0000-0000-0000-000000000000}"/>
          </ac:spMkLst>
        </pc:spChg>
        <pc:cxnChg chg="mod">
          <ac:chgData name="Dirk Laschat" userId="9253a62a-3edb-4e48-8ef7-64f354bb20dc" providerId="ADAL" clId="{F40834C7-0DA5-4DB1-A929-605080315E23}" dt="2018-08-05T13:22:32.357" v="13340" actId="1582"/>
          <ac:cxnSpMkLst>
            <pc:docMk/>
            <pc:sldMk cId="281303912" sldId="294"/>
            <ac:cxnSpMk id="46" creationId="{00000000-0000-0000-0000-000000000000}"/>
          </ac:cxnSpMkLst>
        </pc:cxnChg>
        <pc:cxnChg chg="mod">
          <ac:chgData name="Dirk Laschat" userId="9253a62a-3edb-4e48-8ef7-64f354bb20dc" providerId="ADAL" clId="{F40834C7-0DA5-4DB1-A929-605080315E23}" dt="2018-08-05T13:22:20.145" v="13339" actId="1582"/>
          <ac:cxnSpMkLst>
            <pc:docMk/>
            <pc:sldMk cId="281303912" sldId="294"/>
            <ac:cxnSpMk id="53" creationId="{00000000-0000-0000-0000-000000000000}"/>
          </ac:cxnSpMkLst>
        </pc:cxnChg>
        <pc:cxnChg chg="mod">
          <ac:chgData name="Dirk Laschat" userId="9253a62a-3edb-4e48-8ef7-64f354bb20dc" providerId="ADAL" clId="{F40834C7-0DA5-4DB1-A929-605080315E23}" dt="2018-08-05T13:22:20.145" v="13339" actId="1582"/>
          <ac:cxnSpMkLst>
            <pc:docMk/>
            <pc:sldMk cId="281303912" sldId="294"/>
            <ac:cxnSpMk id="54" creationId="{00000000-0000-0000-0000-000000000000}"/>
          </ac:cxnSpMkLst>
        </pc:cxnChg>
        <pc:cxnChg chg="mod">
          <ac:chgData name="Dirk Laschat" userId="9253a62a-3edb-4e48-8ef7-64f354bb20dc" providerId="ADAL" clId="{F40834C7-0DA5-4DB1-A929-605080315E23}" dt="2018-08-05T13:22:32.357" v="13340" actId="1582"/>
          <ac:cxnSpMkLst>
            <pc:docMk/>
            <pc:sldMk cId="281303912" sldId="294"/>
            <ac:cxnSpMk id="55" creationId="{00000000-0000-0000-0000-000000000000}"/>
          </ac:cxnSpMkLst>
        </pc:cxnChg>
        <pc:cxnChg chg="mod">
          <ac:chgData name="Dirk Laschat" userId="9253a62a-3edb-4e48-8ef7-64f354bb20dc" providerId="ADAL" clId="{F40834C7-0DA5-4DB1-A929-605080315E23}" dt="2018-08-05T13:22:32.357" v="13340" actId="1582"/>
          <ac:cxnSpMkLst>
            <pc:docMk/>
            <pc:sldMk cId="281303912" sldId="294"/>
            <ac:cxnSpMk id="56" creationId="{00000000-0000-0000-0000-000000000000}"/>
          </ac:cxnSpMkLst>
        </pc:cxnChg>
        <pc:cxnChg chg="mod">
          <ac:chgData name="Dirk Laschat" userId="9253a62a-3edb-4e48-8ef7-64f354bb20dc" providerId="ADAL" clId="{F40834C7-0DA5-4DB1-A929-605080315E23}" dt="2018-08-05T13:22:32.357" v="13340" actId="1582"/>
          <ac:cxnSpMkLst>
            <pc:docMk/>
            <pc:sldMk cId="281303912" sldId="294"/>
            <ac:cxnSpMk id="57" creationId="{00000000-0000-0000-0000-000000000000}"/>
          </ac:cxnSpMkLst>
        </pc:cxnChg>
        <pc:cxnChg chg="mod">
          <ac:chgData name="Dirk Laschat" userId="9253a62a-3edb-4e48-8ef7-64f354bb20dc" providerId="ADAL" clId="{F40834C7-0DA5-4DB1-A929-605080315E23}" dt="2018-08-05T13:22:20.145" v="13339" actId="1582"/>
          <ac:cxnSpMkLst>
            <pc:docMk/>
            <pc:sldMk cId="281303912" sldId="294"/>
            <ac:cxnSpMk id="59" creationId="{00000000-0000-0000-0000-000000000000}"/>
          </ac:cxnSpMkLst>
        </pc:cxnChg>
        <pc:cxnChg chg="mod">
          <ac:chgData name="Dirk Laschat" userId="9253a62a-3edb-4e48-8ef7-64f354bb20dc" providerId="ADAL" clId="{F40834C7-0DA5-4DB1-A929-605080315E23}" dt="2018-08-05T13:22:20.145" v="13339" actId="1582"/>
          <ac:cxnSpMkLst>
            <pc:docMk/>
            <pc:sldMk cId="281303912" sldId="294"/>
            <ac:cxnSpMk id="62" creationId="{00000000-0000-0000-0000-000000000000}"/>
          </ac:cxnSpMkLst>
        </pc:cxnChg>
      </pc:sldChg>
      <pc:sldChg chg="delSp modSp add">
        <pc:chgData name="Dirk Laschat" userId="9253a62a-3edb-4e48-8ef7-64f354bb20dc" providerId="ADAL" clId="{F40834C7-0DA5-4DB1-A929-605080315E23}" dt="2018-08-05T13:32:38.785" v="13425" actId="478"/>
        <pc:sldMkLst>
          <pc:docMk/>
          <pc:sldMk cId="2399900178" sldId="295"/>
        </pc:sldMkLst>
        <pc:spChg chg="mod">
          <ac:chgData name="Dirk Laschat" userId="9253a62a-3edb-4e48-8ef7-64f354bb20dc" providerId="ADAL" clId="{F40834C7-0DA5-4DB1-A929-605080315E23}" dt="2018-08-05T13:24:19.430" v="13347" actId="207"/>
          <ac:spMkLst>
            <pc:docMk/>
            <pc:sldMk cId="2399900178" sldId="295"/>
            <ac:spMk id="1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5:50.546" v="13361" actId="207"/>
          <ac:spMkLst>
            <pc:docMk/>
            <pc:sldMk cId="2399900178" sldId="295"/>
            <ac:spMk id="2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5:53.060" v="13362" actId="207"/>
          <ac:spMkLst>
            <pc:docMk/>
            <pc:sldMk cId="2399900178" sldId="295"/>
            <ac:spMk id="2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5:55.969" v="13363" actId="207"/>
          <ac:spMkLst>
            <pc:docMk/>
            <pc:sldMk cId="2399900178" sldId="295"/>
            <ac:spMk id="2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5:59.247" v="13364" actId="207"/>
          <ac:spMkLst>
            <pc:docMk/>
            <pc:sldMk cId="2399900178" sldId="295"/>
            <ac:spMk id="2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6:03.867" v="13365" actId="207"/>
          <ac:spMkLst>
            <pc:docMk/>
            <pc:sldMk cId="2399900178" sldId="295"/>
            <ac:spMk id="3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6:06.427" v="13366" actId="207"/>
          <ac:spMkLst>
            <pc:docMk/>
            <pc:sldMk cId="2399900178" sldId="295"/>
            <ac:spMk id="3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6:11.059" v="13367" actId="207"/>
          <ac:spMkLst>
            <pc:docMk/>
            <pc:sldMk cId="2399900178" sldId="295"/>
            <ac:spMk id="3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6:39.774" v="13372" actId="207"/>
          <ac:spMkLst>
            <pc:docMk/>
            <pc:sldMk cId="2399900178" sldId="295"/>
            <ac:spMk id="3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6:15.790" v="13368" actId="207"/>
          <ac:spMkLst>
            <pc:docMk/>
            <pc:sldMk cId="2399900178" sldId="295"/>
            <ac:spMk id="39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5T13:32:38.785" v="13425" actId="478"/>
          <ac:spMkLst>
            <pc:docMk/>
            <pc:sldMk cId="2399900178" sldId="295"/>
            <ac:spMk id="267" creationId="{00000000-0000-0000-0000-000000000000}"/>
          </ac:spMkLst>
        </pc:spChg>
        <pc:graphicFrameChg chg="mod">
          <ac:chgData name="Dirk Laschat" userId="9253a62a-3edb-4e48-8ef7-64f354bb20dc" providerId="ADAL" clId="{F40834C7-0DA5-4DB1-A929-605080315E23}" dt="2018-08-05T13:25:37.103" v="13360" actId="207"/>
          <ac:graphicFrameMkLst>
            <pc:docMk/>
            <pc:sldMk cId="2399900178" sldId="295"/>
            <ac:graphicFrameMk id="2" creationId="{00000000-0000-0000-0000-000000000000}"/>
          </ac:graphicFrameMkLst>
        </pc:graphicFrameChg>
      </pc:sldChg>
      <pc:sldChg chg="delSp add">
        <pc:chgData name="Dirk Laschat" userId="9253a62a-3edb-4e48-8ef7-64f354bb20dc" providerId="ADAL" clId="{F40834C7-0DA5-4DB1-A929-605080315E23}" dt="2018-08-05T13:32:42.350" v="13426" actId="478"/>
        <pc:sldMkLst>
          <pc:docMk/>
          <pc:sldMk cId="3130143699" sldId="296"/>
        </pc:sldMkLst>
        <pc:spChg chg="del">
          <ac:chgData name="Dirk Laschat" userId="9253a62a-3edb-4e48-8ef7-64f354bb20dc" providerId="ADAL" clId="{F40834C7-0DA5-4DB1-A929-605080315E23}" dt="2018-08-05T13:32:42.350" v="13426" actId="478"/>
          <ac:spMkLst>
            <pc:docMk/>
            <pc:sldMk cId="3130143699" sldId="296"/>
            <ac:spMk id="467" creationId="{00000000-0000-0000-0000-000000000000}"/>
          </ac:spMkLst>
        </pc:spChg>
      </pc:sldChg>
      <pc:sldChg chg="delSp add">
        <pc:chgData name="Dirk Laschat" userId="9253a62a-3edb-4e48-8ef7-64f354bb20dc" providerId="ADAL" clId="{F40834C7-0DA5-4DB1-A929-605080315E23}" dt="2018-08-05T13:32:45.610" v="13427" actId="478"/>
        <pc:sldMkLst>
          <pc:docMk/>
          <pc:sldMk cId="364729515" sldId="297"/>
        </pc:sldMkLst>
        <pc:spChg chg="del">
          <ac:chgData name="Dirk Laschat" userId="9253a62a-3edb-4e48-8ef7-64f354bb20dc" providerId="ADAL" clId="{F40834C7-0DA5-4DB1-A929-605080315E23}" dt="2018-08-05T13:32:45.610" v="13427" actId="478"/>
          <ac:spMkLst>
            <pc:docMk/>
            <pc:sldMk cId="364729515" sldId="297"/>
            <ac:spMk id="214" creationId="{00000000-0000-0000-0000-000000000000}"/>
          </ac:spMkLst>
        </pc:spChg>
      </pc:sldChg>
      <pc:sldChg chg="delSp modSp add">
        <pc:chgData name="Dirk Laschat" userId="9253a62a-3edb-4e48-8ef7-64f354bb20dc" providerId="ADAL" clId="{F40834C7-0DA5-4DB1-A929-605080315E23}" dt="2018-08-05T13:33:56.454" v="13439" actId="1582"/>
        <pc:sldMkLst>
          <pc:docMk/>
          <pc:sldMk cId="898932004" sldId="298"/>
        </pc:sldMkLst>
        <pc:spChg chg="del">
          <ac:chgData name="Dirk Laschat" userId="9253a62a-3edb-4e48-8ef7-64f354bb20dc" providerId="ADAL" clId="{F40834C7-0DA5-4DB1-A929-605080315E23}" dt="2018-08-05T13:32:48.674" v="13428" actId="478"/>
          <ac:spMkLst>
            <pc:docMk/>
            <pc:sldMk cId="898932004" sldId="298"/>
            <ac:spMk id="159" creationId="{00000000-0000-0000-0000-000000000000}"/>
          </ac:spMkLst>
        </pc:spChg>
        <pc:graphicFrameChg chg="mod">
          <ac:chgData name="Dirk Laschat" userId="9253a62a-3edb-4e48-8ef7-64f354bb20dc" providerId="ADAL" clId="{F40834C7-0DA5-4DB1-A929-605080315E23}" dt="2018-08-05T13:33:56.454" v="13439" actId="1582"/>
          <ac:graphicFrameMkLst>
            <pc:docMk/>
            <pc:sldMk cId="898932004" sldId="298"/>
            <ac:graphicFrameMk id="2" creationId="{00000000-0000-0000-0000-000000000000}"/>
          </ac:graphicFrameMkLst>
        </pc:graphicFrameChg>
      </pc:sldChg>
      <pc:sldChg chg="delSp add">
        <pc:chgData name="Dirk Laschat" userId="9253a62a-3edb-4e48-8ef7-64f354bb20dc" providerId="ADAL" clId="{F40834C7-0DA5-4DB1-A929-605080315E23}" dt="2018-08-05T13:34:05.246" v="13440" actId="478"/>
        <pc:sldMkLst>
          <pc:docMk/>
          <pc:sldMk cId="3204253454" sldId="299"/>
        </pc:sldMkLst>
        <pc:spChg chg="del">
          <ac:chgData name="Dirk Laschat" userId="9253a62a-3edb-4e48-8ef7-64f354bb20dc" providerId="ADAL" clId="{F40834C7-0DA5-4DB1-A929-605080315E23}" dt="2018-08-05T13:34:05.246" v="13440" actId="478"/>
          <ac:spMkLst>
            <pc:docMk/>
            <pc:sldMk cId="3204253454" sldId="299"/>
            <ac:spMk id="365" creationId="{00000000-0000-0000-0000-000000000000}"/>
          </ac:spMkLst>
        </pc:spChg>
      </pc:sldChg>
      <pc:sldChg chg="delSp add">
        <pc:chgData name="Dirk Laschat" userId="9253a62a-3edb-4e48-8ef7-64f354bb20dc" providerId="ADAL" clId="{F40834C7-0DA5-4DB1-A929-605080315E23}" dt="2018-08-05T13:34:09.285" v="13441" actId="478"/>
        <pc:sldMkLst>
          <pc:docMk/>
          <pc:sldMk cId="3208962341" sldId="300"/>
        </pc:sldMkLst>
        <pc:spChg chg="del">
          <ac:chgData name="Dirk Laschat" userId="9253a62a-3edb-4e48-8ef7-64f354bb20dc" providerId="ADAL" clId="{F40834C7-0DA5-4DB1-A929-605080315E23}" dt="2018-08-05T13:34:09.285" v="13441" actId="478"/>
          <ac:spMkLst>
            <pc:docMk/>
            <pc:sldMk cId="3208962341" sldId="300"/>
            <ac:spMk id="187" creationId="{00000000-0000-0000-0000-000000000000}"/>
          </ac:spMkLst>
        </pc:spChg>
      </pc:sldChg>
      <pc:sldChg chg="delSp add">
        <pc:chgData name="Dirk Laschat" userId="9253a62a-3edb-4e48-8ef7-64f354bb20dc" providerId="ADAL" clId="{F40834C7-0DA5-4DB1-A929-605080315E23}" dt="2018-08-05T13:34:12.470" v="13442" actId="478"/>
        <pc:sldMkLst>
          <pc:docMk/>
          <pc:sldMk cId="1648689914" sldId="301"/>
        </pc:sldMkLst>
        <pc:spChg chg="del">
          <ac:chgData name="Dirk Laschat" userId="9253a62a-3edb-4e48-8ef7-64f354bb20dc" providerId="ADAL" clId="{F40834C7-0DA5-4DB1-A929-605080315E23}" dt="2018-08-05T13:34:12.470" v="13442" actId="478"/>
          <ac:spMkLst>
            <pc:docMk/>
            <pc:sldMk cId="1648689914" sldId="301"/>
            <ac:spMk id="59" creationId="{00000000-0000-0000-0000-000000000000}"/>
          </ac:spMkLst>
        </pc:spChg>
      </pc:sldChg>
      <pc:sldChg chg="delSp add">
        <pc:chgData name="Dirk Laschat" userId="9253a62a-3edb-4e48-8ef7-64f354bb20dc" providerId="ADAL" clId="{F40834C7-0DA5-4DB1-A929-605080315E23}" dt="2018-08-05T13:34:15.854" v="13443" actId="478"/>
        <pc:sldMkLst>
          <pc:docMk/>
          <pc:sldMk cId="657720536" sldId="302"/>
        </pc:sldMkLst>
        <pc:spChg chg="del">
          <ac:chgData name="Dirk Laschat" userId="9253a62a-3edb-4e48-8ef7-64f354bb20dc" providerId="ADAL" clId="{F40834C7-0DA5-4DB1-A929-605080315E23}" dt="2018-08-05T13:34:15.854" v="13443" actId="478"/>
          <ac:spMkLst>
            <pc:docMk/>
            <pc:sldMk cId="657720536" sldId="302"/>
            <ac:spMk id="61" creationId="{00000000-0000-0000-0000-000000000000}"/>
          </ac:spMkLst>
        </pc:spChg>
      </pc:sldChg>
      <pc:sldChg chg="delSp add">
        <pc:chgData name="Dirk Laschat" userId="9253a62a-3edb-4e48-8ef7-64f354bb20dc" providerId="ADAL" clId="{F40834C7-0DA5-4DB1-A929-605080315E23}" dt="2018-08-05T13:34:18.846" v="13444" actId="478"/>
        <pc:sldMkLst>
          <pc:docMk/>
          <pc:sldMk cId="3484131816" sldId="303"/>
        </pc:sldMkLst>
        <pc:spChg chg="del">
          <ac:chgData name="Dirk Laschat" userId="9253a62a-3edb-4e48-8ef7-64f354bb20dc" providerId="ADAL" clId="{F40834C7-0DA5-4DB1-A929-605080315E23}" dt="2018-08-05T13:34:18.846" v="13444" actId="478"/>
          <ac:spMkLst>
            <pc:docMk/>
            <pc:sldMk cId="3484131816" sldId="303"/>
            <ac:spMk id="210" creationId="{00000000-0000-0000-0000-000000000000}"/>
          </ac:spMkLst>
        </pc:spChg>
      </pc:sldChg>
      <pc:sldChg chg="delSp modSp add">
        <pc:chgData name="Dirk Laschat" userId="9253a62a-3edb-4e48-8ef7-64f354bb20dc" providerId="ADAL" clId="{F40834C7-0DA5-4DB1-A929-605080315E23}" dt="2018-08-05T13:34:36.333" v="13449" actId="1582"/>
        <pc:sldMkLst>
          <pc:docMk/>
          <pc:sldMk cId="3783263430" sldId="304"/>
        </pc:sldMkLst>
        <pc:spChg chg="mod">
          <ac:chgData name="Dirk Laschat" userId="9253a62a-3edb-4e48-8ef7-64f354bb20dc" providerId="ADAL" clId="{F40834C7-0DA5-4DB1-A929-605080315E23}" dt="2018-08-05T13:34:36.333" v="13449" actId="1582"/>
          <ac:spMkLst>
            <pc:docMk/>
            <pc:sldMk cId="3783263430" sldId="304"/>
            <ac:spMk id="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34:36.333" v="13449" actId="1582"/>
          <ac:spMkLst>
            <pc:docMk/>
            <pc:sldMk cId="3783263430" sldId="304"/>
            <ac:spMk id="1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34:36.333" v="13449" actId="1582"/>
          <ac:spMkLst>
            <pc:docMk/>
            <pc:sldMk cId="3783263430" sldId="304"/>
            <ac:spMk id="14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5T13:34:21.793" v="13445" actId="478"/>
          <ac:spMkLst>
            <pc:docMk/>
            <pc:sldMk cId="3783263430" sldId="304"/>
            <ac:spMk id="308" creationId="{00000000-0000-0000-0000-000000000000}"/>
          </ac:spMkLst>
        </pc:spChg>
      </pc:sldChg>
      <pc:sldChg chg="delSp modSp add">
        <pc:chgData name="Dirk Laschat" userId="9253a62a-3edb-4e48-8ef7-64f354bb20dc" providerId="ADAL" clId="{F40834C7-0DA5-4DB1-A929-605080315E23}" dt="2018-08-05T13:34:45.178" v="13451" actId="478"/>
        <pc:sldMkLst>
          <pc:docMk/>
          <pc:sldMk cId="72733784" sldId="305"/>
        </pc:sldMkLst>
        <pc:spChg chg="del mod">
          <ac:chgData name="Dirk Laschat" userId="9253a62a-3edb-4e48-8ef7-64f354bb20dc" providerId="ADAL" clId="{F40834C7-0DA5-4DB1-A929-605080315E23}" dt="2018-08-05T13:34:45.178" v="13451" actId="478"/>
          <ac:spMkLst>
            <pc:docMk/>
            <pc:sldMk cId="72733784" sldId="305"/>
            <ac:spMk id="99" creationId="{00000000-0000-0000-0000-000000000000}"/>
          </ac:spMkLst>
        </pc:spChg>
      </pc:sldChg>
      <pc:sldChg chg="addSp delSp modSp add del">
        <pc:chgData name="Dirk Laschat" userId="9253a62a-3edb-4e48-8ef7-64f354bb20dc" providerId="ADAL" clId="{F40834C7-0DA5-4DB1-A929-605080315E23}" dt="2018-08-05T11:19:41.957" v="12959" actId="207"/>
        <pc:sldMkLst>
          <pc:docMk/>
          <pc:sldMk cId="904981899" sldId="426"/>
        </pc:sldMkLst>
        <pc:spChg chg="del">
          <ac:chgData name="Dirk Laschat" userId="9253a62a-3edb-4e48-8ef7-64f354bb20dc" providerId="ADAL" clId="{F40834C7-0DA5-4DB1-A929-605080315E23}" dt="2018-08-02T11:02:39.922" v="4226" actId="478"/>
          <ac:spMkLst>
            <pc:docMk/>
            <pc:sldMk cId="904981899" sldId="426"/>
            <ac:spMk id="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2:37.059" v="5041" actId="207"/>
          <ac:spMkLst>
            <pc:docMk/>
            <pc:sldMk cId="904981899" sldId="426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2:40.589" v="5042" actId="207"/>
          <ac:spMkLst>
            <pc:docMk/>
            <pc:sldMk cId="904981899" sldId="426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3:13.348" v="5047" actId="207"/>
          <ac:spMkLst>
            <pc:docMk/>
            <pc:sldMk cId="904981899" sldId="426"/>
            <ac:spMk id="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2:49.911" v="5044" actId="207"/>
          <ac:spMkLst>
            <pc:docMk/>
            <pc:sldMk cId="904981899" sldId="426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2:53.317" v="5045" actId="207"/>
          <ac:spMkLst>
            <pc:docMk/>
            <pc:sldMk cId="904981899" sldId="426"/>
            <ac:spMk id="10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2T11:12:30.530" v="5040" actId="478"/>
          <ac:spMkLst>
            <pc:docMk/>
            <pc:sldMk cId="904981899" sldId="426"/>
            <ac:spMk id="1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2:23.173" v="5039" actId="1036"/>
          <ac:spMkLst>
            <pc:docMk/>
            <pc:sldMk cId="904981899" sldId="426"/>
            <ac:spMk id="1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19:41.957" v="12959" actId="207"/>
          <ac:spMkLst>
            <pc:docMk/>
            <pc:sldMk cId="904981899" sldId="426"/>
            <ac:spMk id="28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2T11:02:41.878" v="4227" actId="478"/>
          <ac:spMkLst>
            <pc:docMk/>
            <pc:sldMk cId="904981899" sldId="426"/>
            <ac:spMk id="29" creationId="{00000000-0000-0000-0000-000000000000}"/>
          </ac:spMkLst>
        </pc:spChg>
        <pc:spChg chg="add mod">
          <ac:chgData name="Dirk Laschat" userId="9253a62a-3edb-4e48-8ef7-64f354bb20dc" providerId="ADAL" clId="{F40834C7-0DA5-4DB1-A929-605080315E23}" dt="2018-08-02T11:11:25.148" v="5021" actId="1076"/>
          <ac:spMkLst>
            <pc:docMk/>
            <pc:sldMk cId="904981899" sldId="426"/>
            <ac:spMk id="30" creationId="{CB1F5810-6E4C-4BA9-B283-7E7F52E31B74}"/>
          </ac:spMkLst>
        </pc:spChg>
      </pc:sldChg>
      <pc:sldChg chg="delSp modSp add del">
        <pc:chgData name="Dirk Laschat" userId="9253a62a-3edb-4e48-8ef7-64f354bb20dc" providerId="ADAL" clId="{F40834C7-0DA5-4DB1-A929-605080315E23}" dt="2018-08-02T11:14:30.173" v="5061" actId="207"/>
        <pc:sldMkLst>
          <pc:docMk/>
          <pc:sldMk cId="552055594" sldId="427"/>
        </pc:sldMkLst>
        <pc:spChg chg="del">
          <ac:chgData name="Dirk Laschat" userId="9253a62a-3edb-4e48-8ef7-64f354bb20dc" providerId="ADAL" clId="{F40834C7-0DA5-4DB1-A929-605080315E23}" dt="2018-08-02T11:02:47.017" v="4229" actId="478"/>
          <ac:spMkLst>
            <pc:docMk/>
            <pc:sldMk cId="552055594" sldId="427"/>
            <ac:spMk id="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4:15.835" v="5056" actId="108"/>
          <ac:spMkLst>
            <pc:docMk/>
            <pc:sldMk cId="552055594" sldId="427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4:22.684" v="5059" actId="207"/>
          <ac:spMkLst>
            <pc:docMk/>
            <pc:sldMk cId="552055594" sldId="427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4:16.491" v="5057" actId="108"/>
          <ac:spMkLst>
            <pc:docMk/>
            <pc:sldMk cId="552055594" sldId="427"/>
            <ac:spMk id="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4:27.049" v="5060" actId="207"/>
          <ac:spMkLst>
            <pc:docMk/>
            <pc:sldMk cId="552055594" sldId="427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4:17.241" v="5058" actId="108"/>
          <ac:spMkLst>
            <pc:docMk/>
            <pc:sldMk cId="552055594" sldId="427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4:30.173" v="5061" actId="207"/>
          <ac:spMkLst>
            <pc:docMk/>
            <pc:sldMk cId="552055594" sldId="427"/>
            <ac:spMk id="1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4:10.087" v="5055" actId="208"/>
          <ac:spMkLst>
            <pc:docMk/>
            <pc:sldMk cId="552055594" sldId="427"/>
            <ac:spMk id="1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4:00.880" v="5053" actId="207"/>
          <ac:spMkLst>
            <pc:docMk/>
            <pc:sldMk cId="552055594" sldId="427"/>
            <ac:spMk id="13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2T11:02:45.299" v="4228" actId="478"/>
          <ac:spMkLst>
            <pc:docMk/>
            <pc:sldMk cId="552055594" sldId="427"/>
            <ac:spMk id="4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3:41.808" v="5049" actId="207"/>
          <ac:spMkLst>
            <pc:docMk/>
            <pc:sldMk cId="552055594" sldId="427"/>
            <ac:spMk id="6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3:54.268" v="5052" actId="207"/>
          <ac:spMkLst>
            <pc:docMk/>
            <pc:sldMk cId="552055594" sldId="427"/>
            <ac:spMk id="6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3:47.392" v="5050" actId="207"/>
          <ac:spMkLst>
            <pc:docMk/>
            <pc:sldMk cId="552055594" sldId="427"/>
            <ac:spMk id="6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3:50.704" v="5051" actId="207"/>
          <ac:spMkLst>
            <pc:docMk/>
            <pc:sldMk cId="552055594" sldId="427"/>
            <ac:spMk id="69" creationId="{00000000-0000-0000-0000-000000000000}"/>
          </ac:spMkLst>
        </pc:spChg>
      </pc:sldChg>
      <pc:sldChg chg="addSp delSp modSp add del">
        <pc:chgData name="Dirk Laschat" userId="9253a62a-3edb-4e48-8ef7-64f354bb20dc" providerId="ADAL" clId="{F40834C7-0DA5-4DB1-A929-605080315E23}" dt="2018-08-02T11:21:41.760" v="5393" actId="1038"/>
        <pc:sldMkLst>
          <pc:docMk/>
          <pc:sldMk cId="620967433" sldId="443"/>
        </pc:sldMkLst>
        <pc:spChg chg="add del mod">
          <ac:chgData name="Dirk Laschat" userId="9253a62a-3edb-4e48-8ef7-64f354bb20dc" providerId="ADAL" clId="{F40834C7-0DA5-4DB1-A929-605080315E23}" dt="2018-08-02T11:04:50.441" v="4806" actId="1038"/>
          <ac:spMkLst>
            <pc:docMk/>
            <pc:sldMk cId="620967433" sldId="443"/>
            <ac:spMk id="2" creationId="{F8834D77-FA07-4809-800F-D0C8BA01C3C5}"/>
          </ac:spMkLst>
        </pc:spChg>
        <pc:spChg chg="del">
          <ac:chgData name="Dirk Laschat" userId="9253a62a-3edb-4e48-8ef7-64f354bb20dc" providerId="ADAL" clId="{F40834C7-0DA5-4DB1-A929-605080315E23}" dt="2018-08-02T11:02:51.266" v="4230" actId="478"/>
          <ac:spMkLst>
            <pc:docMk/>
            <pc:sldMk cId="620967433" sldId="443"/>
            <ac:spMk id="4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2T11:04:55.834" v="4807" actId="1038"/>
          <ac:spMkLst>
            <pc:docMk/>
            <pc:sldMk cId="620967433" sldId="443"/>
            <ac:spMk id="5" creationId="{8A0B5313-2151-483A-A886-CAC5A1C61CC4}"/>
          </ac:spMkLst>
        </pc:spChg>
        <pc:spChg chg="mod">
          <ac:chgData name="Dirk Laschat" userId="9253a62a-3edb-4e48-8ef7-64f354bb20dc" providerId="ADAL" clId="{F40834C7-0DA5-4DB1-A929-605080315E23}" dt="2018-08-02T11:21:30.888" v="5320" actId="1038"/>
          <ac:spMkLst>
            <pc:docMk/>
            <pc:sldMk cId="620967433" sldId="443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1:38.073" v="5368" actId="1038"/>
          <ac:spMkLst>
            <pc:docMk/>
            <pc:sldMk cId="620967433" sldId="443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0:57.228" v="5201" actId="14100"/>
          <ac:spMkLst>
            <pc:docMk/>
            <pc:sldMk cId="620967433" sldId="443"/>
            <ac:spMk id="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1:02.805" v="5203" actId="14100"/>
          <ac:spMkLst>
            <pc:docMk/>
            <pc:sldMk cId="620967433" sldId="443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8:31.223" v="5084" actId="207"/>
          <ac:spMkLst>
            <pc:docMk/>
            <pc:sldMk cId="620967433" sldId="443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1:15.408" v="5268" actId="1035"/>
          <ac:spMkLst>
            <pc:docMk/>
            <pc:sldMk cId="620967433" sldId="443"/>
            <ac:spMk id="1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1:23.605" v="5302" actId="1035"/>
          <ac:spMkLst>
            <pc:docMk/>
            <pc:sldMk cId="620967433" sldId="443"/>
            <ac:spMk id="1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1:33.699" v="5338" actId="1038"/>
          <ac:spMkLst>
            <pc:docMk/>
            <pc:sldMk cId="620967433" sldId="443"/>
            <ac:spMk id="1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1:41.760" v="5393" actId="1038"/>
          <ac:spMkLst>
            <pc:docMk/>
            <pc:sldMk cId="620967433" sldId="443"/>
            <ac:spMk id="1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03:49.321" v="4797" actId="3064"/>
          <ac:spMkLst>
            <pc:docMk/>
            <pc:sldMk cId="620967433" sldId="443"/>
            <ac:spMk id="15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2T11:02:52.422" v="4231" actId="478"/>
          <ac:spMkLst>
            <pc:docMk/>
            <pc:sldMk cId="620967433" sldId="443"/>
            <ac:spMk id="16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2T11:05:52.412" v="4810" actId="1038"/>
          <ac:spMkLst>
            <pc:docMk/>
            <pc:sldMk cId="620967433" sldId="443"/>
            <ac:spMk id="17" creationId="{5D1EB9DA-058C-4C42-819B-A128F669856B}"/>
          </ac:spMkLst>
        </pc:spChg>
        <pc:spChg chg="add del mod">
          <ac:chgData name="Dirk Laschat" userId="9253a62a-3edb-4e48-8ef7-64f354bb20dc" providerId="ADAL" clId="{F40834C7-0DA5-4DB1-A929-605080315E23}" dt="2018-08-02T11:05:52.412" v="4810" actId="1038"/>
          <ac:spMkLst>
            <pc:docMk/>
            <pc:sldMk cId="620967433" sldId="443"/>
            <ac:spMk id="18" creationId="{52CC39BA-B140-4FD7-9963-18C4F07BEA07}"/>
          </ac:spMkLst>
        </pc:spChg>
        <pc:spChg chg="add mod">
          <ac:chgData name="Dirk Laschat" userId="9253a62a-3edb-4e48-8ef7-64f354bb20dc" providerId="ADAL" clId="{F40834C7-0DA5-4DB1-A929-605080315E23}" dt="2018-08-02T11:05:52.412" v="4810" actId="1038"/>
          <ac:spMkLst>
            <pc:docMk/>
            <pc:sldMk cId="620967433" sldId="443"/>
            <ac:spMk id="19" creationId="{39929928-E12F-42EC-9710-540CB58508B2}"/>
          </ac:spMkLst>
        </pc:spChg>
      </pc:sldChg>
      <pc:sldChg chg="addSp delSp modSp add del">
        <pc:chgData name="Dirk Laschat" userId="9253a62a-3edb-4e48-8ef7-64f354bb20dc" providerId="ADAL" clId="{F40834C7-0DA5-4DB1-A929-605080315E23}" dt="2018-08-02T11:20:37.248" v="5194" actId="1035"/>
        <pc:sldMkLst>
          <pc:docMk/>
          <pc:sldMk cId="3190295500" sldId="444"/>
        </pc:sldMkLst>
        <pc:spChg chg="del">
          <ac:chgData name="Dirk Laschat" userId="9253a62a-3edb-4e48-8ef7-64f354bb20dc" providerId="ADAL" clId="{F40834C7-0DA5-4DB1-A929-605080315E23}" dt="2018-08-02T11:02:57.121" v="4232" actId="478"/>
          <ac:spMkLst>
            <pc:docMk/>
            <pc:sldMk cId="3190295500" sldId="444"/>
            <ac:spMk id="4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2T11:06:01.763" v="4811" actId="1035"/>
          <ac:spMkLst>
            <pc:docMk/>
            <pc:sldMk cId="3190295500" sldId="444"/>
            <ac:spMk id="5" creationId="{A19758B6-41B0-411D-8ABF-3B84E505B4D4}"/>
          </ac:spMkLst>
        </pc:spChg>
        <pc:spChg chg="mod">
          <ac:chgData name="Dirk Laschat" userId="9253a62a-3edb-4e48-8ef7-64f354bb20dc" providerId="ADAL" clId="{F40834C7-0DA5-4DB1-A929-605080315E23}" dt="2018-08-02T11:20:23.040" v="5154" actId="207"/>
          <ac:spMkLst>
            <pc:docMk/>
            <pc:sldMk cId="3190295500" sldId="444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0:14.748" v="5153" actId="1035"/>
          <ac:spMkLst>
            <pc:docMk/>
            <pc:sldMk cId="3190295500" sldId="444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0:14.748" v="5153" actId="1035"/>
          <ac:spMkLst>
            <pc:docMk/>
            <pc:sldMk cId="3190295500" sldId="444"/>
            <ac:spMk id="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0:14.748" v="5153" actId="1035"/>
          <ac:spMkLst>
            <pc:docMk/>
            <pc:sldMk cId="3190295500" sldId="444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0:14.748" v="5153" actId="1035"/>
          <ac:spMkLst>
            <pc:docMk/>
            <pc:sldMk cId="3190295500" sldId="444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0:14.748" v="5153" actId="1035"/>
          <ac:spMkLst>
            <pc:docMk/>
            <pc:sldMk cId="3190295500" sldId="444"/>
            <ac:spMk id="1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0:37.248" v="5194" actId="1035"/>
          <ac:spMkLst>
            <pc:docMk/>
            <pc:sldMk cId="3190295500" sldId="444"/>
            <ac:spMk id="1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0:37.248" v="5194" actId="1035"/>
          <ac:spMkLst>
            <pc:docMk/>
            <pc:sldMk cId="3190295500" sldId="444"/>
            <ac:spMk id="1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0:27.926" v="5164" actId="1036"/>
          <ac:spMkLst>
            <pc:docMk/>
            <pc:sldMk cId="3190295500" sldId="444"/>
            <ac:spMk id="1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0:32.656" v="5181" actId="1035"/>
          <ac:spMkLst>
            <pc:docMk/>
            <pc:sldMk cId="3190295500" sldId="444"/>
            <ac:spMk id="15" creationId="{00000000-0000-0000-0000-000000000000}"/>
          </ac:spMkLst>
        </pc:spChg>
        <pc:spChg chg="add mod">
          <ac:chgData name="Dirk Laschat" userId="9253a62a-3edb-4e48-8ef7-64f354bb20dc" providerId="ADAL" clId="{F40834C7-0DA5-4DB1-A929-605080315E23}" dt="2018-08-02T11:06:01.763" v="4811" actId="1035"/>
          <ac:spMkLst>
            <pc:docMk/>
            <pc:sldMk cId="3190295500" sldId="444"/>
            <ac:spMk id="16" creationId="{7A3CFA70-0589-4969-87F7-7307B257F6B4}"/>
          </ac:spMkLst>
        </pc:spChg>
        <pc:spChg chg="add del">
          <ac:chgData name="Dirk Laschat" userId="9253a62a-3edb-4e48-8ef7-64f354bb20dc" providerId="ADAL" clId="{F40834C7-0DA5-4DB1-A929-605080315E23}" dt="2018-08-02T11:05:46.785" v="4809" actId="478"/>
          <ac:spMkLst>
            <pc:docMk/>
            <pc:sldMk cId="3190295500" sldId="444"/>
            <ac:spMk id="21" creationId="{00000000-0000-0000-0000-000000000000}"/>
          </ac:spMkLst>
        </pc:spChg>
      </pc:sldChg>
      <pc:sldChg chg="addSp delSp modSp add del">
        <pc:chgData name="Dirk Laschat" userId="9253a62a-3edb-4e48-8ef7-64f354bb20dc" providerId="ADAL" clId="{F40834C7-0DA5-4DB1-A929-605080315E23}" dt="2018-08-02T11:17:41.137" v="5083" actId="207"/>
        <pc:sldMkLst>
          <pc:docMk/>
          <pc:sldMk cId="1833132694" sldId="445"/>
        </pc:sldMkLst>
        <pc:spChg chg="del">
          <ac:chgData name="Dirk Laschat" userId="9253a62a-3edb-4e48-8ef7-64f354bb20dc" providerId="ADAL" clId="{F40834C7-0DA5-4DB1-A929-605080315E23}" dt="2018-08-02T11:06:10.050" v="4812" actId="478"/>
          <ac:spMkLst>
            <pc:docMk/>
            <pc:sldMk cId="1833132694" sldId="445"/>
            <ac:spMk id="1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7:41.137" v="5083" actId="207"/>
          <ac:spMkLst>
            <pc:docMk/>
            <pc:sldMk cId="1833132694" sldId="445"/>
            <ac:spMk id="15" creationId="{178145DB-EE1E-4140-A4A5-8BCD6CAD9CE9}"/>
          </ac:spMkLst>
        </pc:spChg>
        <pc:spChg chg="del mod">
          <ac:chgData name="Dirk Laschat" userId="9253a62a-3edb-4e48-8ef7-64f354bb20dc" providerId="ADAL" clId="{F40834C7-0DA5-4DB1-A929-605080315E23}" dt="2018-08-02T11:17:10.121" v="5078" actId="478"/>
          <ac:spMkLst>
            <pc:docMk/>
            <pc:sldMk cId="1833132694" sldId="445"/>
            <ac:spMk id="18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2T11:16:57.153" v="5072" actId="478"/>
          <ac:spMkLst>
            <pc:docMk/>
            <pc:sldMk cId="1833132694" sldId="445"/>
            <ac:spMk id="19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2T11:16:56.638" v="5071" actId="478"/>
          <ac:spMkLst>
            <pc:docMk/>
            <pc:sldMk cId="1833132694" sldId="445"/>
            <ac:spMk id="20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2T11:17:01.114" v="5074" actId="478"/>
          <ac:spMkLst>
            <pc:docMk/>
            <pc:sldMk cId="1833132694" sldId="445"/>
            <ac:spMk id="2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15:43.855" v="5062" actId="3064"/>
          <ac:spMkLst>
            <pc:docMk/>
            <pc:sldMk cId="1833132694" sldId="445"/>
            <ac:spMk id="22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2T11:17:01.114" v="5074" actId="478"/>
          <ac:spMkLst>
            <pc:docMk/>
            <pc:sldMk cId="1833132694" sldId="445"/>
            <ac:spMk id="23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2T11:17:05.104" v="5076" actId="478"/>
          <ac:spMkLst>
            <pc:docMk/>
            <pc:sldMk cId="1833132694" sldId="445"/>
            <ac:spMk id="24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2T11:17:02.963" v="5075" actId="478"/>
          <ac:spMkLst>
            <pc:docMk/>
            <pc:sldMk cId="1833132694" sldId="445"/>
            <ac:spMk id="25" creationId="{00000000-0000-0000-0000-000000000000}"/>
          </ac:spMkLst>
        </pc:spChg>
        <pc:grpChg chg="add mod">
          <ac:chgData name="Dirk Laschat" userId="9253a62a-3edb-4e48-8ef7-64f354bb20dc" providerId="ADAL" clId="{F40834C7-0DA5-4DB1-A929-605080315E23}" dt="2018-08-02T11:17:30.623" v="5081" actId="1076"/>
          <ac:grpSpMkLst>
            <pc:docMk/>
            <pc:sldMk cId="1833132694" sldId="445"/>
            <ac:grpSpMk id="14" creationId="{EE438BD7-9F35-4492-896E-B90AA2841B17}"/>
          </ac:grpSpMkLst>
        </pc:grpChg>
      </pc:sldChg>
      <pc:sldChg chg="delSp modSp add del">
        <pc:chgData name="Dirk Laschat" userId="9253a62a-3edb-4e48-8ef7-64f354bb20dc" providerId="ADAL" clId="{F40834C7-0DA5-4DB1-A929-605080315E23}" dt="2018-08-05T11:20:22.030" v="12961" actId="2085"/>
        <pc:sldMkLst>
          <pc:docMk/>
          <pc:sldMk cId="2106891007" sldId="447"/>
        </pc:sldMkLst>
        <pc:spChg chg="del">
          <ac:chgData name="Dirk Laschat" userId="9253a62a-3edb-4e48-8ef7-64f354bb20dc" providerId="ADAL" clId="{F40834C7-0DA5-4DB1-A929-605080315E23}" dt="2018-08-02T11:07:21.446" v="4979" actId="478"/>
          <ac:spMkLst>
            <pc:docMk/>
            <pc:sldMk cId="2106891007" sldId="447"/>
            <ac:spMk id="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0:17.737" v="12960" actId="2085"/>
          <ac:spMkLst>
            <pc:docMk/>
            <pc:sldMk cId="2106891007" sldId="447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0:17.737" v="12960" actId="2085"/>
          <ac:spMkLst>
            <pc:docMk/>
            <pc:sldMk cId="2106891007" sldId="447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0:17.737" v="12960" actId="2085"/>
          <ac:spMkLst>
            <pc:docMk/>
            <pc:sldMk cId="2106891007" sldId="447"/>
            <ac:spMk id="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0:17.737" v="12960" actId="2085"/>
          <ac:spMkLst>
            <pc:docMk/>
            <pc:sldMk cId="2106891007" sldId="447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0:17.737" v="12960" actId="2085"/>
          <ac:spMkLst>
            <pc:docMk/>
            <pc:sldMk cId="2106891007" sldId="447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0:22.030" v="12961" actId="2085"/>
          <ac:spMkLst>
            <pc:docMk/>
            <pc:sldMk cId="2106891007" sldId="447"/>
            <ac:spMk id="11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2T11:07:17.141" v="4978" actId="478"/>
          <ac:spMkLst>
            <pc:docMk/>
            <pc:sldMk cId="2106891007" sldId="447"/>
            <ac:spMk id="18" creationId="{00000000-0000-0000-0000-000000000000}"/>
          </ac:spMkLst>
        </pc:spChg>
      </pc:sldChg>
      <pc:sldChg chg="addSp delSp modSp add del">
        <pc:chgData name="Dirk Laschat" userId="9253a62a-3edb-4e48-8ef7-64f354bb20dc" providerId="ADAL" clId="{F40834C7-0DA5-4DB1-A929-605080315E23}" dt="2018-08-05T11:32:15.515" v="13117" actId="478"/>
        <pc:sldMkLst>
          <pc:docMk/>
          <pc:sldMk cId="103649944" sldId="462"/>
        </pc:sldMkLst>
        <pc:spChg chg="add del mod">
          <ac:chgData name="Dirk Laschat" userId="9253a62a-3edb-4e48-8ef7-64f354bb20dc" providerId="ADAL" clId="{F40834C7-0DA5-4DB1-A929-605080315E23}" dt="2018-08-05T11:32:15.515" v="13117" actId="478"/>
          <ac:spMkLst>
            <pc:docMk/>
            <pc:sldMk cId="103649944" sldId="462"/>
            <ac:spMk id="5" creationId="{17570BC8-1BB4-4EB1-B6BF-9CAA129773EB}"/>
          </ac:spMkLst>
        </pc:spChg>
        <pc:spChg chg="del">
          <ac:chgData name="Dirk Laschat" userId="9253a62a-3edb-4e48-8ef7-64f354bb20dc" providerId="ADAL" clId="{F40834C7-0DA5-4DB1-A929-605080315E23}" dt="2018-08-02T11:28:29.116" v="9659" actId="478"/>
          <ac:spMkLst>
            <pc:docMk/>
            <pc:sldMk cId="103649944" sldId="462"/>
            <ac:spMk id="6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2T11:28:29.116" v="9659" actId="478"/>
          <ac:spMkLst>
            <pc:docMk/>
            <pc:sldMk cId="103649944" sldId="462"/>
            <ac:spMk id="7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2T11:28:29.116" v="9659" actId="478"/>
          <ac:spMkLst>
            <pc:docMk/>
            <pc:sldMk cId="103649944" sldId="462"/>
            <ac:spMk id="8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2T11:28:29.116" v="9659" actId="478"/>
          <ac:spMkLst>
            <pc:docMk/>
            <pc:sldMk cId="103649944" sldId="462"/>
            <ac:spMk id="9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2T11:28:29.116" v="9659" actId="478"/>
          <ac:spMkLst>
            <pc:docMk/>
            <pc:sldMk cId="103649944" sldId="462"/>
            <ac:spMk id="10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2T11:28:29.116" v="9659" actId="478"/>
          <ac:spMkLst>
            <pc:docMk/>
            <pc:sldMk cId="103649944" sldId="462"/>
            <ac:spMk id="11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2T11:28:29.116" v="9659" actId="478"/>
          <ac:spMkLst>
            <pc:docMk/>
            <pc:sldMk cId="103649944" sldId="462"/>
            <ac:spMk id="12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2T11:28:29.116" v="9659" actId="478"/>
          <ac:spMkLst>
            <pc:docMk/>
            <pc:sldMk cId="103649944" sldId="462"/>
            <ac:spMk id="13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2T11:28:29.116" v="9659" actId="478"/>
          <ac:spMkLst>
            <pc:docMk/>
            <pc:sldMk cId="103649944" sldId="462"/>
            <ac:spMk id="14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2T11:28:29.116" v="9659" actId="478"/>
          <ac:spMkLst>
            <pc:docMk/>
            <pc:sldMk cId="103649944" sldId="462"/>
            <ac:spMk id="15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2T11:28:29.116" v="9659" actId="478"/>
          <ac:spMkLst>
            <pc:docMk/>
            <pc:sldMk cId="103649944" sldId="462"/>
            <ac:spMk id="16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2T11:28:29.116" v="9659" actId="478"/>
          <ac:spMkLst>
            <pc:docMk/>
            <pc:sldMk cId="103649944" sldId="462"/>
            <ac:spMk id="17" creationId="{00000000-0000-0000-0000-000000000000}"/>
          </ac:spMkLst>
        </pc:spChg>
        <pc:spChg chg="del mod">
          <ac:chgData name="Dirk Laschat" userId="9253a62a-3edb-4e48-8ef7-64f354bb20dc" providerId="ADAL" clId="{F40834C7-0DA5-4DB1-A929-605080315E23}" dt="2018-08-02T11:28:29.116" v="9659" actId="478"/>
          <ac:spMkLst>
            <pc:docMk/>
            <pc:sldMk cId="103649944" sldId="462"/>
            <ac:spMk id="18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2T11:28:29.116" v="9659" actId="478"/>
          <ac:spMkLst>
            <pc:docMk/>
            <pc:sldMk cId="103649944" sldId="462"/>
            <ac:spMk id="19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2T11:28:29.116" v="9659" actId="478"/>
          <ac:spMkLst>
            <pc:docMk/>
            <pc:sldMk cId="103649944" sldId="462"/>
            <ac:spMk id="20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5T11:32:13.504" v="13116" actId="478"/>
          <ac:spMkLst>
            <pc:docMk/>
            <pc:sldMk cId="103649944" sldId="462"/>
            <ac:spMk id="21" creationId="{00000000-0000-0000-0000-000000000000}"/>
          </ac:spMkLst>
        </pc:spChg>
        <pc:spChg chg="add mod">
          <ac:chgData name="Dirk Laschat" userId="9253a62a-3edb-4e48-8ef7-64f354bb20dc" providerId="ADAL" clId="{F40834C7-0DA5-4DB1-A929-605080315E23}" dt="2018-08-05T11:31:35.676" v="13111" actId="207"/>
          <ac:spMkLst>
            <pc:docMk/>
            <pc:sldMk cId="103649944" sldId="462"/>
            <ac:spMk id="22" creationId="{E6E197CF-D38C-4EE6-BDA1-E149282798C6}"/>
          </ac:spMkLst>
        </pc:spChg>
        <pc:spChg chg="add mod">
          <ac:chgData name="Dirk Laschat" userId="9253a62a-3edb-4e48-8ef7-64f354bb20dc" providerId="ADAL" clId="{F40834C7-0DA5-4DB1-A929-605080315E23}" dt="2018-08-05T11:31:33.088" v="13110" actId="207"/>
          <ac:spMkLst>
            <pc:docMk/>
            <pc:sldMk cId="103649944" sldId="462"/>
            <ac:spMk id="23" creationId="{76319C8B-C30F-43C7-989A-2FBA03B40D1E}"/>
          </ac:spMkLst>
        </pc:spChg>
        <pc:spChg chg="add mod">
          <ac:chgData name="Dirk Laschat" userId="9253a62a-3edb-4e48-8ef7-64f354bb20dc" providerId="ADAL" clId="{F40834C7-0DA5-4DB1-A929-605080315E23}" dt="2018-08-05T11:31:33.088" v="13110" actId="207"/>
          <ac:spMkLst>
            <pc:docMk/>
            <pc:sldMk cId="103649944" sldId="462"/>
            <ac:spMk id="24" creationId="{463AB81A-EEC2-4E90-8AA9-530E5FC60265}"/>
          </ac:spMkLst>
        </pc:spChg>
        <pc:spChg chg="add mod">
          <ac:chgData name="Dirk Laschat" userId="9253a62a-3edb-4e48-8ef7-64f354bb20dc" providerId="ADAL" clId="{F40834C7-0DA5-4DB1-A929-605080315E23}" dt="2018-08-05T11:31:40.918" v="13112" actId="207"/>
          <ac:spMkLst>
            <pc:docMk/>
            <pc:sldMk cId="103649944" sldId="462"/>
            <ac:spMk id="25" creationId="{050006B6-BB58-4599-96F8-217C98DBBC8B}"/>
          </ac:spMkLst>
        </pc:spChg>
        <pc:spChg chg="add mod">
          <ac:chgData name="Dirk Laschat" userId="9253a62a-3edb-4e48-8ef7-64f354bb20dc" providerId="ADAL" clId="{F40834C7-0DA5-4DB1-A929-605080315E23}" dt="2018-08-05T11:31:40.918" v="13112" actId="207"/>
          <ac:spMkLst>
            <pc:docMk/>
            <pc:sldMk cId="103649944" sldId="462"/>
            <ac:spMk id="26" creationId="{68B1F3AE-8D8B-4F65-AB0A-33CB28669ED9}"/>
          </ac:spMkLst>
        </pc:spChg>
        <pc:spChg chg="add mod">
          <ac:chgData name="Dirk Laschat" userId="9253a62a-3edb-4e48-8ef7-64f354bb20dc" providerId="ADAL" clId="{F40834C7-0DA5-4DB1-A929-605080315E23}" dt="2018-08-05T11:31:40.918" v="13112" actId="207"/>
          <ac:spMkLst>
            <pc:docMk/>
            <pc:sldMk cId="103649944" sldId="462"/>
            <ac:spMk id="27" creationId="{CA2E2A9D-A945-4E75-9186-ACC35BB86E69}"/>
          </ac:spMkLst>
        </pc:spChg>
        <pc:spChg chg="add mod">
          <ac:chgData name="Dirk Laschat" userId="9253a62a-3edb-4e48-8ef7-64f354bb20dc" providerId="ADAL" clId="{F40834C7-0DA5-4DB1-A929-605080315E23}" dt="2018-08-02T11:28:56.857" v="11335" actId="1035"/>
          <ac:spMkLst>
            <pc:docMk/>
            <pc:sldMk cId="103649944" sldId="462"/>
            <ac:spMk id="28" creationId="{9D4C47B5-3F46-49CB-880F-43EA77F1AA0A}"/>
          </ac:spMkLst>
        </pc:spChg>
        <pc:spChg chg="add mod">
          <ac:chgData name="Dirk Laschat" userId="9253a62a-3edb-4e48-8ef7-64f354bb20dc" providerId="ADAL" clId="{F40834C7-0DA5-4DB1-A929-605080315E23}" dt="2018-08-02T11:28:56.857" v="11335" actId="1035"/>
          <ac:spMkLst>
            <pc:docMk/>
            <pc:sldMk cId="103649944" sldId="462"/>
            <ac:spMk id="29" creationId="{2BCD9E8E-2527-4F04-AA66-B5952B99594E}"/>
          </ac:spMkLst>
        </pc:spChg>
        <pc:spChg chg="add mod">
          <ac:chgData name="Dirk Laschat" userId="9253a62a-3edb-4e48-8ef7-64f354bb20dc" providerId="ADAL" clId="{F40834C7-0DA5-4DB1-A929-605080315E23}" dt="2018-08-02T11:28:56.857" v="11335" actId="1035"/>
          <ac:spMkLst>
            <pc:docMk/>
            <pc:sldMk cId="103649944" sldId="462"/>
            <ac:spMk id="30" creationId="{534B1868-4E33-4F2D-A893-99D3C34F4FAE}"/>
          </ac:spMkLst>
        </pc:spChg>
        <pc:spChg chg="add mod">
          <ac:chgData name="Dirk Laschat" userId="9253a62a-3edb-4e48-8ef7-64f354bb20dc" providerId="ADAL" clId="{F40834C7-0DA5-4DB1-A929-605080315E23}" dt="2018-08-02T11:28:56.857" v="11335" actId="1035"/>
          <ac:spMkLst>
            <pc:docMk/>
            <pc:sldMk cId="103649944" sldId="462"/>
            <ac:spMk id="31" creationId="{37768B99-9D92-44B0-88C1-D6B78520C24D}"/>
          </ac:spMkLst>
        </pc:spChg>
        <pc:spChg chg="add mod">
          <ac:chgData name="Dirk Laschat" userId="9253a62a-3edb-4e48-8ef7-64f354bb20dc" providerId="ADAL" clId="{F40834C7-0DA5-4DB1-A929-605080315E23}" dt="2018-08-02T11:28:56.857" v="11335" actId="1035"/>
          <ac:spMkLst>
            <pc:docMk/>
            <pc:sldMk cId="103649944" sldId="462"/>
            <ac:spMk id="32" creationId="{F54A55EC-0F3F-48A4-A812-6ACE1D176F23}"/>
          </ac:spMkLst>
        </pc:spChg>
        <pc:spChg chg="add mod">
          <ac:chgData name="Dirk Laschat" userId="9253a62a-3edb-4e48-8ef7-64f354bb20dc" providerId="ADAL" clId="{F40834C7-0DA5-4DB1-A929-605080315E23}" dt="2018-08-02T11:28:56.857" v="11335" actId="1035"/>
          <ac:spMkLst>
            <pc:docMk/>
            <pc:sldMk cId="103649944" sldId="462"/>
            <ac:spMk id="33" creationId="{F9543B59-B8CE-41BE-8C5E-8F6E5E7DA9F5}"/>
          </ac:spMkLst>
        </pc:spChg>
        <pc:spChg chg="add mod">
          <ac:chgData name="Dirk Laschat" userId="9253a62a-3edb-4e48-8ef7-64f354bb20dc" providerId="ADAL" clId="{F40834C7-0DA5-4DB1-A929-605080315E23}" dt="2018-08-02T11:28:56.857" v="11335" actId="1035"/>
          <ac:spMkLst>
            <pc:docMk/>
            <pc:sldMk cId="103649944" sldId="462"/>
            <ac:spMk id="34" creationId="{8C08705F-648F-46B8-902A-AC7A4B68A783}"/>
          </ac:spMkLst>
        </pc:spChg>
        <pc:spChg chg="add mod">
          <ac:chgData name="Dirk Laschat" userId="9253a62a-3edb-4e48-8ef7-64f354bb20dc" providerId="ADAL" clId="{F40834C7-0DA5-4DB1-A929-605080315E23}" dt="2018-08-02T11:28:56.857" v="11335" actId="1035"/>
          <ac:spMkLst>
            <pc:docMk/>
            <pc:sldMk cId="103649944" sldId="462"/>
            <ac:spMk id="35" creationId="{5D7537E6-6CEB-4F4C-AA84-4CD589BF6C66}"/>
          </ac:spMkLst>
        </pc:spChg>
        <pc:spChg chg="add mod">
          <ac:chgData name="Dirk Laschat" userId="9253a62a-3edb-4e48-8ef7-64f354bb20dc" providerId="ADAL" clId="{F40834C7-0DA5-4DB1-A929-605080315E23}" dt="2018-08-02T11:28:56.857" v="11335" actId="1035"/>
          <ac:spMkLst>
            <pc:docMk/>
            <pc:sldMk cId="103649944" sldId="462"/>
            <ac:spMk id="36" creationId="{DF1F25D9-B791-4170-B1EA-2110AAB5DB27}"/>
          </ac:spMkLst>
        </pc:spChg>
        <pc:spChg chg="add mod">
          <ac:chgData name="Dirk Laschat" userId="9253a62a-3edb-4e48-8ef7-64f354bb20dc" providerId="ADAL" clId="{F40834C7-0DA5-4DB1-A929-605080315E23}" dt="2018-08-02T11:28:56.857" v="11335" actId="1035"/>
          <ac:spMkLst>
            <pc:docMk/>
            <pc:sldMk cId="103649944" sldId="462"/>
            <ac:spMk id="37" creationId="{6C6A5C6E-9AC0-4B29-B5A3-A3155CFFCA46}"/>
          </ac:spMkLst>
        </pc:spChg>
        <pc:spChg chg="add mod">
          <ac:chgData name="Dirk Laschat" userId="9253a62a-3edb-4e48-8ef7-64f354bb20dc" providerId="ADAL" clId="{F40834C7-0DA5-4DB1-A929-605080315E23}" dt="2018-08-05T11:31:52.463" v="13113" actId="207"/>
          <ac:spMkLst>
            <pc:docMk/>
            <pc:sldMk cId="103649944" sldId="462"/>
            <ac:spMk id="38" creationId="{2A5A3104-329B-44A1-B66F-E7D9F79D77EC}"/>
          </ac:spMkLst>
        </pc:spChg>
        <pc:spChg chg="add mod">
          <ac:chgData name="Dirk Laschat" userId="9253a62a-3edb-4e48-8ef7-64f354bb20dc" providerId="ADAL" clId="{F40834C7-0DA5-4DB1-A929-605080315E23}" dt="2018-08-02T11:28:56.857" v="11335" actId="1035"/>
          <ac:spMkLst>
            <pc:docMk/>
            <pc:sldMk cId="103649944" sldId="462"/>
            <ac:spMk id="39" creationId="{1EF568DC-CAB6-4A5B-8A6A-D225C2C929D7}"/>
          </ac:spMkLst>
        </pc:spChg>
        <pc:spChg chg="add mod">
          <ac:chgData name="Dirk Laschat" userId="9253a62a-3edb-4e48-8ef7-64f354bb20dc" providerId="ADAL" clId="{F40834C7-0DA5-4DB1-A929-605080315E23}" dt="2018-08-05T11:31:56.048" v="13114" actId="207"/>
          <ac:spMkLst>
            <pc:docMk/>
            <pc:sldMk cId="103649944" sldId="462"/>
            <ac:spMk id="40" creationId="{936FAA4E-3E56-4054-A88F-E48613938AD8}"/>
          </ac:spMkLst>
        </pc:spChg>
        <pc:spChg chg="add mod">
          <ac:chgData name="Dirk Laschat" userId="9253a62a-3edb-4e48-8ef7-64f354bb20dc" providerId="ADAL" clId="{F40834C7-0DA5-4DB1-A929-605080315E23}" dt="2018-08-02T11:28:56.857" v="11335" actId="1035"/>
          <ac:spMkLst>
            <pc:docMk/>
            <pc:sldMk cId="103649944" sldId="462"/>
            <ac:spMk id="41" creationId="{B4E7408B-F917-4FFC-B212-FA1E9604C746}"/>
          </ac:spMkLst>
        </pc:spChg>
        <pc:spChg chg="add mod">
          <ac:chgData name="Dirk Laschat" userId="9253a62a-3edb-4e48-8ef7-64f354bb20dc" providerId="ADAL" clId="{F40834C7-0DA5-4DB1-A929-605080315E23}" dt="2018-08-05T11:31:06.488" v="13106" actId="207"/>
          <ac:spMkLst>
            <pc:docMk/>
            <pc:sldMk cId="103649944" sldId="462"/>
            <ac:spMk id="42" creationId="{4E968A7B-C5A4-4B0F-9EBB-B11CE5CA5495}"/>
          </ac:spMkLst>
        </pc:spChg>
        <pc:spChg chg="add mod">
          <ac:chgData name="Dirk Laschat" userId="9253a62a-3edb-4e48-8ef7-64f354bb20dc" providerId="ADAL" clId="{F40834C7-0DA5-4DB1-A929-605080315E23}" dt="2018-08-02T11:28:56.857" v="11335" actId="1035"/>
          <ac:spMkLst>
            <pc:docMk/>
            <pc:sldMk cId="103649944" sldId="462"/>
            <ac:spMk id="43" creationId="{3CE9FE99-07FA-4F44-A4AE-E39F3776B306}"/>
          </ac:spMkLst>
        </pc:spChg>
        <pc:spChg chg="add mod">
          <ac:chgData name="Dirk Laschat" userId="9253a62a-3edb-4e48-8ef7-64f354bb20dc" providerId="ADAL" clId="{F40834C7-0DA5-4DB1-A929-605080315E23}" dt="2018-08-02T11:28:56.857" v="11335" actId="1035"/>
          <ac:spMkLst>
            <pc:docMk/>
            <pc:sldMk cId="103649944" sldId="462"/>
            <ac:spMk id="44" creationId="{220B9FD1-DBE7-47A0-B1A5-423ECD39A907}"/>
          </ac:spMkLst>
        </pc:spChg>
        <pc:spChg chg="add mod">
          <ac:chgData name="Dirk Laschat" userId="9253a62a-3edb-4e48-8ef7-64f354bb20dc" providerId="ADAL" clId="{F40834C7-0DA5-4DB1-A929-605080315E23}" dt="2018-08-02T11:28:56.857" v="11335" actId="1035"/>
          <ac:spMkLst>
            <pc:docMk/>
            <pc:sldMk cId="103649944" sldId="462"/>
            <ac:spMk id="45" creationId="{BEFEF9FE-8EFE-4387-9C72-6FE887B6BE80}"/>
          </ac:spMkLst>
        </pc:spChg>
        <pc:spChg chg="add mod">
          <ac:chgData name="Dirk Laschat" userId="9253a62a-3edb-4e48-8ef7-64f354bb20dc" providerId="ADAL" clId="{F40834C7-0DA5-4DB1-A929-605080315E23}" dt="2018-08-02T11:29:15.452" v="12253" actId="1035"/>
          <ac:spMkLst>
            <pc:docMk/>
            <pc:sldMk cId="103649944" sldId="462"/>
            <ac:spMk id="46" creationId="{BE741079-22A0-496E-A3C8-A71C079ED0D5}"/>
          </ac:spMkLst>
        </pc:spChg>
        <pc:spChg chg="add mod">
          <ac:chgData name="Dirk Laschat" userId="9253a62a-3edb-4e48-8ef7-64f354bb20dc" providerId="ADAL" clId="{F40834C7-0DA5-4DB1-A929-605080315E23}" dt="2018-08-02T11:29:15.452" v="12253" actId="1035"/>
          <ac:spMkLst>
            <pc:docMk/>
            <pc:sldMk cId="103649944" sldId="462"/>
            <ac:spMk id="47" creationId="{DE83C212-2B98-478A-969D-533C64056927}"/>
          </ac:spMkLst>
        </pc:spChg>
        <pc:spChg chg="add mod">
          <ac:chgData name="Dirk Laschat" userId="9253a62a-3edb-4e48-8ef7-64f354bb20dc" providerId="ADAL" clId="{F40834C7-0DA5-4DB1-A929-605080315E23}" dt="2018-08-05T11:32:10.966" v="13115" actId="207"/>
          <ac:spMkLst>
            <pc:docMk/>
            <pc:sldMk cId="103649944" sldId="462"/>
            <ac:spMk id="48" creationId="{F712D073-1E3E-4DC9-8C12-0FACC2B0EE91}"/>
          </ac:spMkLst>
        </pc:spChg>
        <pc:spChg chg="add mod">
          <ac:chgData name="Dirk Laschat" userId="9253a62a-3edb-4e48-8ef7-64f354bb20dc" providerId="ADAL" clId="{F40834C7-0DA5-4DB1-A929-605080315E23}" dt="2018-08-02T11:29:15.452" v="12253" actId="1035"/>
          <ac:spMkLst>
            <pc:docMk/>
            <pc:sldMk cId="103649944" sldId="462"/>
            <ac:spMk id="49" creationId="{84EE0400-30C2-4074-97BD-72DDF1D596BC}"/>
          </ac:spMkLst>
        </pc:spChg>
        <pc:spChg chg="add mod">
          <ac:chgData name="Dirk Laschat" userId="9253a62a-3edb-4e48-8ef7-64f354bb20dc" providerId="ADAL" clId="{F40834C7-0DA5-4DB1-A929-605080315E23}" dt="2018-08-05T11:32:10.966" v="13115" actId="207"/>
          <ac:spMkLst>
            <pc:docMk/>
            <pc:sldMk cId="103649944" sldId="462"/>
            <ac:spMk id="50" creationId="{D99B7098-620A-4FEB-A09C-050D947175E7}"/>
          </ac:spMkLst>
        </pc:spChg>
        <pc:spChg chg="add mod">
          <ac:chgData name="Dirk Laschat" userId="9253a62a-3edb-4e48-8ef7-64f354bb20dc" providerId="ADAL" clId="{F40834C7-0DA5-4DB1-A929-605080315E23}" dt="2018-08-02T11:29:15.452" v="12253" actId="1035"/>
          <ac:spMkLst>
            <pc:docMk/>
            <pc:sldMk cId="103649944" sldId="462"/>
            <ac:spMk id="51" creationId="{881CC7EF-AC62-48FA-9C5C-9A9BAF9082FF}"/>
          </ac:spMkLst>
        </pc:spChg>
        <pc:spChg chg="add mod">
          <ac:chgData name="Dirk Laschat" userId="9253a62a-3edb-4e48-8ef7-64f354bb20dc" providerId="ADAL" clId="{F40834C7-0DA5-4DB1-A929-605080315E23}" dt="2018-08-05T11:32:10.966" v="13115" actId="207"/>
          <ac:spMkLst>
            <pc:docMk/>
            <pc:sldMk cId="103649944" sldId="462"/>
            <ac:spMk id="52" creationId="{394C5D9C-9913-44CD-983E-B36674568123}"/>
          </ac:spMkLst>
        </pc:spChg>
        <pc:spChg chg="add mod">
          <ac:chgData name="Dirk Laschat" userId="9253a62a-3edb-4e48-8ef7-64f354bb20dc" providerId="ADAL" clId="{F40834C7-0DA5-4DB1-A929-605080315E23}" dt="2018-08-02T11:29:15.452" v="12253" actId="1035"/>
          <ac:spMkLst>
            <pc:docMk/>
            <pc:sldMk cId="103649944" sldId="462"/>
            <ac:spMk id="53" creationId="{D3FBB0EC-8427-4BB1-BD50-B3EF2CD636DC}"/>
          </ac:spMkLst>
        </pc:spChg>
        <pc:spChg chg="add mod">
          <ac:chgData name="Dirk Laschat" userId="9253a62a-3edb-4e48-8ef7-64f354bb20dc" providerId="ADAL" clId="{F40834C7-0DA5-4DB1-A929-605080315E23}" dt="2018-08-02T11:29:15.452" v="12253" actId="1035"/>
          <ac:spMkLst>
            <pc:docMk/>
            <pc:sldMk cId="103649944" sldId="462"/>
            <ac:spMk id="54" creationId="{C1B864F9-641A-4639-9F1F-A00CDC7EA772}"/>
          </ac:spMkLst>
        </pc:spChg>
        <pc:spChg chg="add mod">
          <ac:chgData name="Dirk Laschat" userId="9253a62a-3edb-4e48-8ef7-64f354bb20dc" providerId="ADAL" clId="{F40834C7-0DA5-4DB1-A929-605080315E23}" dt="2018-08-02T11:29:15.452" v="12253" actId="1035"/>
          <ac:spMkLst>
            <pc:docMk/>
            <pc:sldMk cId="103649944" sldId="462"/>
            <ac:spMk id="55" creationId="{44C88162-31CC-4400-A564-13E70E8757BE}"/>
          </ac:spMkLst>
        </pc:spChg>
        <pc:spChg chg="add mod">
          <ac:chgData name="Dirk Laschat" userId="9253a62a-3edb-4e48-8ef7-64f354bb20dc" providerId="ADAL" clId="{F40834C7-0DA5-4DB1-A929-605080315E23}" dt="2018-08-02T11:29:15.452" v="12253" actId="1035"/>
          <ac:spMkLst>
            <pc:docMk/>
            <pc:sldMk cId="103649944" sldId="462"/>
            <ac:spMk id="56" creationId="{65176235-CF61-42E2-B0BE-EBC556CC63A8}"/>
          </ac:spMkLst>
        </pc:spChg>
        <pc:spChg chg="add mod">
          <ac:chgData name="Dirk Laschat" userId="9253a62a-3edb-4e48-8ef7-64f354bb20dc" providerId="ADAL" clId="{F40834C7-0DA5-4DB1-A929-605080315E23}" dt="2018-08-02T11:29:15.452" v="12253" actId="1035"/>
          <ac:spMkLst>
            <pc:docMk/>
            <pc:sldMk cId="103649944" sldId="462"/>
            <ac:spMk id="57" creationId="{3BF5CAFB-74A9-47CF-B29E-F243716C19F6}"/>
          </ac:spMkLst>
        </pc:spChg>
        <pc:spChg chg="add mod">
          <ac:chgData name="Dirk Laschat" userId="9253a62a-3edb-4e48-8ef7-64f354bb20dc" providerId="ADAL" clId="{F40834C7-0DA5-4DB1-A929-605080315E23}" dt="2018-08-05T11:32:10.966" v="13115" actId="207"/>
          <ac:spMkLst>
            <pc:docMk/>
            <pc:sldMk cId="103649944" sldId="462"/>
            <ac:spMk id="58" creationId="{8C9FDFA7-79F6-4380-B616-9C6E1513A945}"/>
          </ac:spMkLst>
        </pc:spChg>
        <pc:spChg chg="add mod">
          <ac:chgData name="Dirk Laschat" userId="9253a62a-3edb-4e48-8ef7-64f354bb20dc" providerId="ADAL" clId="{F40834C7-0DA5-4DB1-A929-605080315E23}" dt="2018-08-02T11:29:15.452" v="12253" actId="1035"/>
          <ac:spMkLst>
            <pc:docMk/>
            <pc:sldMk cId="103649944" sldId="462"/>
            <ac:spMk id="59" creationId="{B1371675-7D74-4AB9-A632-09DB37353ABA}"/>
          </ac:spMkLst>
        </pc:spChg>
        <pc:spChg chg="add mod">
          <ac:chgData name="Dirk Laschat" userId="9253a62a-3edb-4e48-8ef7-64f354bb20dc" providerId="ADAL" clId="{F40834C7-0DA5-4DB1-A929-605080315E23}" dt="2018-08-02T11:29:15.452" v="12253" actId="1035"/>
          <ac:spMkLst>
            <pc:docMk/>
            <pc:sldMk cId="103649944" sldId="462"/>
            <ac:spMk id="60" creationId="{2181ED24-F109-46C2-87DB-937AB5DF860D}"/>
          </ac:spMkLst>
        </pc:spChg>
      </pc:sldChg>
      <pc:sldChg chg="addSp delSp modSp add del">
        <pc:chgData name="Dirk Laschat" userId="9253a62a-3edb-4e48-8ef7-64f354bb20dc" providerId="ADAL" clId="{F40834C7-0DA5-4DB1-A929-605080315E23}" dt="2018-08-05T11:27:28.687" v="13073" actId="478"/>
        <pc:sldMkLst>
          <pc:docMk/>
          <pc:sldMk cId="300676922" sldId="475"/>
        </pc:sldMkLst>
        <pc:spChg chg="add del mod">
          <ac:chgData name="Dirk Laschat" userId="9253a62a-3edb-4e48-8ef7-64f354bb20dc" providerId="ADAL" clId="{F40834C7-0DA5-4DB1-A929-605080315E23}" dt="2018-08-05T11:27:28.687" v="13073" actId="478"/>
          <ac:spMkLst>
            <pc:docMk/>
            <pc:sldMk cId="300676922" sldId="475"/>
            <ac:spMk id="5" creationId="{E70BCF87-EF63-4A79-8849-4769970B4963}"/>
          </ac:spMkLst>
        </pc:spChg>
        <pc:spChg chg="del">
          <ac:chgData name="Dirk Laschat" userId="9253a62a-3edb-4e48-8ef7-64f354bb20dc" providerId="ADAL" clId="{F40834C7-0DA5-4DB1-A929-605080315E23}" dt="2018-08-05T11:26:59.823" v="13063" actId="478"/>
          <ac:spMkLst>
            <pc:docMk/>
            <pc:sldMk cId="300676922" sldId="475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4:11.929" v="12991" actId="207"/>
          <ac:spMkLst>
            <pc:docMk/>
            <pc:sldMk cId="300676922" sldId="475"/>
            <ac:spMk id="1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57.162" v="12987" actId="207"/>
          <ac:spMkLst>
            <pc:docMk/>
            <pc:sldMk cId="300676922" sldId="475"/>
            <ac:spMk id="1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4:00.036" v="12988" actId="207"/>
          <ac:spMkLst>
            <pc:docMk/>
            <pc:sldMk cId="300676922" sldId="475"/>
            <ac:spMk id="1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4:03.098" v="12989" actId="207"/>
          <ac:spMkLst>
            <pc:docMk/>
            <pc:sldMk cId="300676922" sldId="475"/>
            <ac:spMk id="1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4:06.796" v="12990" actId="207"/>
          <ac:spMkLst>
            <pc:docMk/>
            <pc:sldMk cId="300676922" sldId="475"/>
            <ac:spMk id="1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4:06.796" v="12990" actId="207"/>
          <ac:spMkLst>
            <pc:docMk/>
            <pc:sldMk cId="300676922" sldId="475"/>
            <ac:spMk id="20" creationId="{00000000-0000-0000-0000-000000000000}"/>
          </ac:spMkLst>
        </pc:spChg>
      </pc:sldChg>
      <pc:sldChg chg="addSp delSp modSp add del">
        <pc:chgData name="Dirk Laschat" userId="9253a62a-3edb-4e48-8ef7-64f354bb20dc" providerId="ADAL" clId="{F40834C7-0DA5-4DB1-A929-605080315E23}" dt="2018-08-02T11:21:52.282" v="5396" actId="478"/>
        <pc:sldMkLst>
          <pc:docMk/>
          <pc:sldMk cId="2145263571" sldId="493"/>
        </pc:sldMkLst>
        <pc:spChg chg="del">
          <ac:chgData name="Dirk Laschat" userId="9253a62a-3edb-4e48-8ef7-64f354bb20dc" providerId="ADAL" clId="{F40834C7-0DA5-4DB1-A929-605080315E23}" dt="2018-08-02T11:21:50.531" v="5395" actId="478"/>
          <ac:spMkLst>
            <pc:docMk/>
            <pc:sldMk cId="2145263571" sldId="493"/>
            <ac:spMk id="4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2T11:21:49.063" v="5394" actId="478"/>
          <ac:spMkLst>
            <pc:docMk/>
            <pc:sldMk cId="2145263571" sldId="493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07:50.946" v="4985" actId="14100"/>
          <ac:spMkLst>
            <pc:docMk/>
            <pc:sldMk cId="2145263571" sldId="493"/>
            <ac:spMk id="1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08:34.769" v="4991" actId="14100"/>
          <ac:spMkLst>
            <pc:docMk/>
            <pc:sldMk cId="2145263571" sldId="493"/>
            <ac:spMk id="1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08:02.612" v="4986" actId="14100"/>
          <ac:spMkLst>
            <pc:docMk/>
            <pc:sldMk cId="2145263571" sldId="493"/>
            <ac:spMk id="20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2T11:21:52.282" v="5396" actId="478"/>
          <ac:spMkLst>
            <pc:docMk/>
            <pc:sldMk cId="2145263571" sldId="493"/>
            <ac:spMk id="22" creationId="{F15C1ECD-4DDB-4DFB-A73B-463E42C74BDD}"/>
          </ac:spMkLst>
        </pc:spChg>
      </pc:sldChg>
      <pc:sldChg chg="addSp delSp modSp">
        <pc:chgData name="Dirk Laschat" userId="9253a62a-3edb-4e48-8ef7-64f354bb20dc" providerId="ADAL" clId="{F40834C7-0DA5-4DB1-A929-605080315E23}" dt="2018-08-05T11:32:44.366" v="13119" actId="207"/>
        <pc:sldMkLst>
          <pc:docMk/>
          <pc:sldMk cId="1556060431" sldId="495"/>
        </pc:sldMkLst>
        <pc:spChg chg="del">
          <ac:chgData name="Dirk Laschat" userId="9253a62a-3edb-4e48-8ef7-64f354bb20dc" providerId="ADAL" clId="{F40834C7-0DA5-4DB1-A929-605080315E23}" dt="2018-08-02T11:21:55.890" v="5397" actId="478"/>
          <ac:spMkLst>
            <pc:docMk/>
            <pc:sldMk cId="1556060431" sldId="495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32:40.854" v="13118" actId="207"/>
          <ac:spMkLst>
            <pc:docMk/>
            <pc:sldMk cId="1556060431" sldId="495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32:44.366" v="13119" actId="207"/>
          <ac:spMkLst>
            <pc:docMk/>
            <pc:sldMk cId="1556060431" sldId="495"/>
            <ac:spMk id="11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2T11:21:59.421" v="5398" actId="478"/>
          <ac:spMkLst>
            <pc:docMk/>
            <pc:sldMk cId="1556060431" sldId="495"/>
            <ac:spMk id="32" creationId="{C1FDD73C-4389-4B1C-8607-2293C4D1FEFB}"/>
          </ac:spMkLst>
        </pc:spChg>
      </pc:sldChg>
      <pc:sldChg chg="addSp delSp modSp">
        <pc:chgData name="Dirk Laschat" userId="9253a62a-3edb-4e48-8ef7-64f354bb20dc" providerId="ADAL" clId="{F40834C7-0DA5-4DB1-A929-605080315E23}" dt="2018-08-05T13:19:19.051" v="13315" actId="207"/>
        <pc:sldMkLst>
          <pc:docMk/>
          <pc:sldMk cId="4220272001" sldId="498"/>
        </pc:sldMkLst>
        <pc:spChg chg="del">
          <ac:chgData name="Dirk Laschat" userId="9253a62a-3edb-4e48-8ef7-64f354bb20dc" providerId="ADAL" clId="{F40834C7-0DA5-4DB1-A929-605080315E23}" dt="2018-08-05T11:34:38.618" v="13148" actId="478"/>
          <ac:spMkLst>
            <pc:docMk/>
            <pc:sldMk cId="4220272001" sldId="498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19:19.051" v="13315" actId="207"/>
          <ac:spMkLst>
            <pc:docMk/>
            <pc:sldMk cId="4220272001" sldId="498"/>
            <ac:spMk id="6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3:18:26.613" v="13304" actId="207"/>
          <ac:spMkLst>
            <pc:docMk/>
            <pc:sldMk cId="4220272001" sldId="498"/>
            <ac:spMk id="10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3:18:26.613" v="13304" actId="207"/>
          <ac:spMkLst>
            <pc:docMk/>
            <pc:sldMk cId="4220272001" sldId="498"/>
            <ac:spMk id="11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3:18:54.499" v="13310" actId="207"/>
          <ac:spMkLst>
            <pc:docMk/>
            <pc:sldMk cId="4220272001" sldId="498"/>
            <ac:spMk id="12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3:18:26.613" v="13304" actId="207"/>
          <ac:spMkLst>
            <pc:docMk/>
            <pc:sldMk cId="4220272001" sldId="498"/>
            <ac:spMk id="13" creationId="{00000000-0000-0000-0000-000000000000}"/>
          </ac:spMkLst>
        </pc:spChg>
        <pc:spChg chg="add del mod topLvl">
          <ac:chgData name="Dirk Laschat" userId="9253a62a-3edb-4e48-8ef7-64f354bb20dc" providerId="ADAL" clId="{F40834C7-0DA5-4DB1-A929-605080315E23}" dt="2018-08-05T13:18:29.944" v="13305" actId="207"/>
          <ac:spMkLst>
            <pc:docMk/>
            <pc:sldMk cId="4220272001" sldId="498"/>
            <ac:spMk id="17" creationId="{00000000-0000-0000-0000-000000000000}"/>
          </ac:spMkLst>
        </pc:spChg>
        <pc:spChg chg="add del mod topLvl">
          <ac:chgData name="Dirk Laschat" userId="9253a62a-3edb-4e48-8ef7-64f354bb20dc" providerId="ADAL" clId="{F40834C7-0DA5-4DB1-A929-605080315E23}" dt="2018-08-05T13:18:29.944" v="13305" actId="207"/>
          <ac:spMkLst>
            <pc:docMk/>
            <pc:sldMk cId="4220272001" sldId="498"/>
            <ac:spMk id="18" creationId="{00000000-0000-0000-0000-000000000000}"/>
          </ac:spMkLst>
        </pc:spChg>
        <pc:spChg chg="add del mod topLvl">
          <ac:chgData name="Dirk Laschat" userId="9253a62a-3edb-4e48-8ef7-64f354bb20dc" providerId="ADAL" clId="{F40834C7-0DA5-4DB1-A929-605080315E23}" dt="2018-08-05T13:18:58.148" v="13311" actId="207"/>
          <ac:spMkLst>
            <pc:docMk/>
            <pc:sldMk cId="4220272001" sldId="498"/>
            <ac:spMk id="19" creationId="{00000000-0000-0000-0000-000000000000}"/>
          </ac:spMkLst>
        </pc:spChg>
        <pc:spChg chg="add del mod topLvl">
          <ac:chgData name="Dirk Laschat" userId="9253a62a-3edb-4e48-8ef7-64f354bb20dc" providerId="ADAL" clId="{F40834C7-0DA5-4DB1-A929-605080315E23}" dt="2018-08-05T13:18:29.944" v="13305" actId="207"/>
          <ac:spMkLst>
            <pc:docMk/>
            <pc:sldMk cId="4220272001" sldId="498"/>
            <ac:spMk id="2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17:17.952" v="13212" actId="207"/>
          <ac:spMkLst>
            <pc:docMk/>
            <pc:sldMk cId="4220272001" sldId="498"/>
            <ac:spMk id="21" creationId="{00000000-0000-0000-0000-000000000000}"/>
          </ac:spMkLst>
        </pc:spChg>
        <pc:spChg chg="add del mod topLvl">
          <ac:chgData name="Dirk Laschat" userId="9253a62a-3edb-4e48-8ef7-64f354bb20dc" providerId="ADAL" clId="{F40834C7-0DA5-4DB1-A929-605080315E23}" dt="2018-08-05T13:18:33.687" v="13306" actId="207"/>
          <ac:spMkLst>
            <pc:docMk/>
            <pc:sldMk cId="4220272001" sldId="498"/>
            <ac:spMk id="25" creationId="{00000000-0000-0000-0000-000000000000}"/>
          </ac:spMkLst>
        </pc:spChg>
        <pc:spChg chg="add del mod topLvl">
          <ac:chgData name="Dirk Laschat" userId="9253a62a-3edb-4e48-8ef7-64f354bb20dc" providerId="ADAL" clId="{F40834C7-0DA5-4DB1-A929-605080315E23}" dt="2018-08-05T13:18:33.687" v="13306" actId="207"/>
          <ac:spMkLst>
            <pc:docMk/>
            <pc:sldMk cId="4220272001" sldId="498"/>
            <ac:spMk id="26" creationId="{00000000-0000-0000-0000-000000000000}"/>
          </ac:spMkLst>
        </pc:spChg>
        <pc:spChg chg="add del mod topLvl">
          <ac:chgData name="Dirk Laschat" userId="9253a62a-3edb-4e48-8ef7-64f354bb20dc" providerId="ADAL" clId="{F40834C7-0DA5-4DB1-A929-605080315E23}" dt="2018-08-05T13:19:01.827" v="13312" actId="207"/>
          <ac:spMkLst>
            <pc:docMk/>
            <pc:sldMk cId="4220272001" sldId="498"/>
            <ac:spMk id="27" creationId="{00000000-0000-0000-0000-000000000000}"/>
          </ac:spMkLst>
        </pc:spChg>
        <pc:spChg chg="add del mod topLvl">
          <ac:chgData name="Dirk Laschat" userId="9253a62a-3edb-4e48-8ef7-64f354bb20dc" providerId="ADAL" clId="{F40834C7-0DA5-4DB1-A929-605080315E23}" dt="2018-08-05T13:18:33.687" v="13306" actId="207"/>
          <ac:spMkLst>
            <pc:docMk/>
            <pc:sldMk cId="4220272001" sldId="498"/>
            <ac:spMk id="28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3:18:36.519" v="13307" actId="207"/>
          <ac:spMkLst>
            <pc:docMk/>
            <pc:sldMk cId="4220272001" sldId="498"/>
            <ac:spMk id="32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3:18:36.519" v="13307" actId="207"/>
          <ac:spMkLst>
            <pc:docMk/>
            <pc:sldMk cId="4220272001" sldId="498"/>
            <ac:spMk id="33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3:19:05.270" v="13313" actId="207"/>
          <ac:spMkLst>
            <pc:docMk/>
            <pc:sldMk cId="4220272001" sldId="498"/>
            <ac:spMk id="34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3:18:36.519" v="13307" actId="207"/>
          <ac:spMkLst>
            <pc:docMk/>
            <pc:sldMk cId="4220272001" sldId="498"/>
            <ac:spMk id="35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5T11:34:39.912" v="13149" actId="478"/>
          <ac:spMkLst>
            <pc:docMk/>
            <pc:sldMk cId="4220272001" sldId="498"/>
            <ac:spMk id="36" creationId="{F4152B6A-4304-4065-BBFE-95C5A31981DF}"/>
          </ac:spMkLst>
        </pc:spChg>
        <pc:grpChg chg="add del mod">
          <ac:chgData name="Dirk Laschat" userId="9253a62a-3edb-4e48-8ef7-64f354bb20dc" providerId="ADAL" clId="{F40834C7-0DA5-4DB1-A929-605080315E23}" dt="2018-08-05T13:17:23.025" v="13213" actId="207"/>
          <ac:grpSpMkLst>
            <pc:docMk/>
            <pc:sldMk cId="4220272001" sldId="498"/>
            <ac:grpSpMk id="7" creationId="{00000000-0000-0000-0000-000000000000}"/>
          </ac:grpSpMkLst>
        </pc:grpChg>
        <pc:grpChg chg="del mod topLvl">
          <ac:chgData name="Dirk Laschat" userId="9253a62a-3edb-4e48-8ef7-64f354bb20dc" providerId="ADAL" clId="{F40834C7-0DA5-4DB1-A929-605080315E23}" dt="2018-08-05T13:17:28.867" v="13215" actId="207"/>
          <ac:grpSpMkLst>
            <pc:docMk/>
            <pc:sldMk cId="4220272001" sldId="498"/>
            <ac:grpSpMk id="8" creationId="{00000000-0000-0000-0000-000000000000}"/>
          </ac:grpSpMkLst>
        </pc:grpChg>
        <pc:grpChg chg="del mod topLvl">
          <ac:chgData name="Dirk Laschat" userId="9253a62a-3edb-4e48-8ef7-64f354bb20dc" providerId="ADAL" clId="{F40834C7-0DA5-4DB1-A929-605080315E23}" dt="2018-08-05T13:17:28.867" v="13215" actId="207"/>
          <ac:grpSpMkLst>
            <pc:docMk/>
            <pc:sldMk cId="4220272001" sldId="498"/>
            <ac:grpSpMk id="9" creationId="{00000000-0000-0000-0000-000000000000}"/>
          </ac:grpSpMkLst>
        </pc:grpChg>
        <pc:grpChg chg="add del mod">
          <ac:chgData name="Dirk Laschat" userId="9253a62a-3edb-4e48-8ef7-64f354bb20dc" providerId="ADAL" clId="{F40834C7-0DA5-4DB1-A929-605080315E23}" dt="2018-08-05T13:17:23.025" v="13213" actId="207"/>
          <ac:grpSpMkLst>
            <pc:docMk/>
            <pc:sldMk cId="4220272001" sldId="498"/>
            <ac:grpSpMk id="14" creationId="{00000000-0000-0000-0000-000000000000}"/>
          </ac:grpSpMkLst>
        </pc:grpChg>
        <pc:grpChg chg="del mod topLvl">
          <ac:chgData name="Dirk Laschat" userId="9253a62a-3edb-4e48-8ef7-64f354bb20dc" providerId="ADAL" clId="{F40834C7-0DA5-4DB1-A929-605080315E23}" dt="2018-08-05T13:17:28.867" v="13215" actId="207"/>
          <ac:grpSpMkLst>
            <pc:docMk/>
            <pc:sldMk cId="4220272001" sldId="498"/>
            <ac:grpSpMk id="15" creationId="{00000000-0000-0000-0000-000000000000}"/>
          </ac:grpSpMkLst>
        </pc:grpChg>
        <pc:grpChg chg="del mod topLvl">
          <ac:chgData name="Dirk Laschat" userId="9253a62a-3edb-4e48-8ef7-64f354bb20dc" providerId="ADAL" clId="{F40834C7-0DA5-4DB1-A929-605080315E23}" dt="2018-08-05T13:17:28.867" v="13215" actId="207"/>
          <ac:grpSpMkLst>
            <pc:docMk/>
            <pc:sldMk cId="4220272001" sldId="498"/>
            <ac:grpSpMk id="16" creationId="{00000000-0000-0000-0000-000000000000}"/>
          </ac:grpSpMkLst>
        </pc:grpChg>
        <pc:grpChg chg="add del mod">
          <ac:chgData name="Dirk Laschat" userId="9253a62a-3edb-4e48-8ef7-64f354bb20dc" providerId="ADAL" clId="{F40834C7-0DA5-4DB1-A929-605080315E23}" dt="2018-08-05T13:17:23.025" v="13213" actId="207"/>
          <ac:grpSpMkLst>
            <pc:docMk/>
            <pc:sldMk cId="4220272001" sldId="498"/>
            <ac:grpSpMk id="22" creationId="{00000000-0000-0000-0000-000000000000}"/>
          </ac:grpSpMkLst>
        </pc:grpChg>
        <pc:grpChg chg="del mod topLvl">
          <ac:chgData name="Dirk Laschat" userId="9253a62a-3edb-4e48-8ef7-64f354bb20dc" providerId="ADAL" clId="{F40834C7-0DA5-4DB1-A929-605080315E23}" dt="2018-08-05T13:17:28.867" v="13215" actId="207"/>
          <ac:grpSpMkLst>
            <pc:docMk/>
            <pc:sldMk cId="4220272001" sldId="498"/>
            <ac:grpSpMk id="23" creationId="{00000000-0000-0000-0000-000000000000}"/>
          </ac:grpSpMkLst>
        </pc:grpChg>
        <pc:grpChg chg="del mod topLvl">
          <ac:chgData name="Dirk Laschat" userId="9253a62a-3edb-4e48-8ef7-64f354bb20dc" providerId="ADAL" clId="{F40834C7-0DA5-4DB1-A929-605080315E23}" dt="2018-08-05T13:17:28.867" v="13215" actId="207"/>
          <ac:grpSpMkLst>
            <pc:docMk/>
            <pc:sldMk cId="4220272001" sldId="498"/>
            <ac:grpSpMk id="24" creationId="{00000000-0000-0000-0000-000000000000}"/>
          </ac:grpSpMkLst>
        </pc:grpChg>
        <pc:grpChg chg="add del mod">
          <ac:chgData name="Dirk Laschat" userId="9253a62a-3edb-4e48-8ef7-64f354bb20dc" providerId="ADAL" clId="{F40834C7-0DA5-4DB1-A929-605080315E23}" dt="2018-08-05T13:17:23.025" v="13213" actId="207"/>
          <ac:grpSpMkLst>
            <pc:docMk/>
            <pc:sldMk cId="4220272001" sldId="498"/>
            <ac:grpSpMk id="29" creationId="{00000000-0000-0000-0000-000000000000}"/>
          </ac:grpSpMkLst>
        </pc:grpChg>
        <pc:grpChg chg="add del mod topLvl">
          <ac:chgData name="Dirk Laschat" userId="9253a62a-3edb-4e48-8ef7-64f354bb20dc" providerId="ADAL" clId="{F40834C7-0DA5-4DB1-A929-605080315E23}" dt="2018-08-05T13:17:23.030" v="13214" actId="207"/>
          <ac:grpSpMkLst>
            <pc:docMk/>
            <pc:sldMk cId="4220272001" sldId="498"/>
            <ac:grpSpMk id="30" creationId="{00000000-0000-0000-0000-000000000000}"/>
          </ac:grpSpMkLst>
        </pc:grpChg>
        <pc:grpChg chg="add del mod topLvl">
          <ac:chgData name="Dirk Laschat" userId="9253a62a-3edb-4e48-8ef7-64f354bb20dc" providerId="ADAL" clId="{F40834C7-0DA5-4DB1-A929-605080315E23}" dt="2018-08-05T13:17:23.030" v="13214" actId="207"/>
          <ac:grpSpMkLst>
            <pc:docMk/>
            <pc:sldMk cId="4220272001" sldId="498"/>
            <ac:grpSpMk id="31" creationId="{00000000-0000-0000-0000-000000000000}"/>
          </ac:grpSpMkLst>
        </pc:grpChg>
        <pc:grpChg chg="add mod">
          <ac:chgData name="Dirk Laschat" userId="9253a62a-3edb-4e48-8ef7-64f354bb20dc" providerId="ADAL" clId="{F40834C7-0DA5-4DB1-A929-605080315E23}" dt="2018-08-05T13:18:49.438" v="13309" actId="207"/>
          <ac:grpSpMkLst>
            <pc:docMk/>
            <pc:sldMk cId="4220272001" sldId="498"/>
            <ac:grpSpMk id="37" creationId="{32487032-D5BE-4206-930F-0B9A3F2FEFA1}"/>
          </ac:grpSpMkLst>
        </pc:grpChg>
        <pc:grpChg chg="add mod">
          <ac:chgData name="Dirk Laschat" userId="9253a62a-3edb-4e48-8ef7-64f354bb20dc" providerId="ADAL" clId="{F40834C7-0DA5-4DB1-A929-605080315E23}" dt="2018-08-05T13:18:49.438" v="13309" actId="207"/>
          <ac:grpSpMkLst>
            <pc:docMk/>
            <pc:sldMk cId="4220272001" sldId="498"/>
            <ac:grpSpMk id="38" creationId="{B188017E-DFFD-4E93-8CEE-76521EECC494}"/>
          </ac:grpSpMkLst>
        </pc:grpChg>
        <pc:grpChg chg="add mod">
          <ac:chgData name="Dirk Laschat" userId="9253a62a-3edb-4e48-8ef7-64f354bb20dc" providerId="ADAL" clId="{F40834C7-0DA5-4DB1-A929-605080315E23}" dt="2018-08-05T13:18:49.438" v="13309" actId="207"/>
          <ac:grpSpMkLst>
            <pc:docMk/>
            <pc:sldMk cId="4220272001" sldId="498"/>
            <ac:grpSpMk id="39" creationId="{1D3522AC-1DC5-4FE7-B700-D2EDE84B2909}"/>
          </ac:grpSpMkLst>
        </pc:grpChg>
        <pc:grpChg chg="add mod">
          <ac:chgData name="Dirk Laschat" userId="9253a62a-3edb-4e48-8ef7-64f354bb20dc" providerId="ADAL" clId="{F40834C7-0DA5-4DB1-A929-605080315E23}" dt="2018-08-05T13:18:49.438" v="13309" actId="207"/>
          <ac:grpSpMkLst>
            <pc:docMk/>
            <pc:sldMk cId="4220272001" sldId="498"/>
            <ac:grpSpMk id="40" creationId="{38C051B1-F537-4C32-9EB4-F99506B926CF}"/>
          </ac:grpSpMkLst>
        </pc:grpChg>
      </pc:sldChg>
      <pc:sldChg chg="addSp delSp modSp">
        <pc:chgData name="Dirk Laschat" userId="9253a62a-3edb-4e48-8ef7-64f354bb20dc" providerId="ADAL" clId="{F40834C7-0DA5-4DB1-A929-605080315E23}" dt="2018-08-05T11:27:12.751" v="13067" actId="478"/>
        <pc:sldMkLst>
          <pc:docMk/>
          <pc:sldMk cId="1126907687" sldId="503"/>
        </pc:sldMkLst>
        <pc:spChg chg="del mod">
          <ac:chgData name="Dirk Laschat" userId="9253a62a-3edb-4e48-8ef7-64f354bb20dc" providerId="ADAL" clId="{F40834C7-0DA5-4DB1-A929-605080315E23}" dt="2018-08-02T11:23:51.928" v="5462" actId="478"/>
          <ac:spMkLst>
            <pc:docMk/>
            <pc:sldMk cId="1126907687" sldId="503"/>
            <ac:spMk id="3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5T11:27:12.751" v="13067" actId="478"/>
          <ac:spMkLst>
            <pc:docMk/>
            <pc:sldMk cId="1126907687" sldId="503"/>
            <ac:spMk id="3" creationId="{692FF40A-4FE7-4361-8077-E1C03991E68B}"/>
          </ac:spMkLst>
        </pc:spChg>
        <pc:spChg chg="del">
          <ac:chgData name="Dirk Laschat" userId="9253a62a-3edb-4e48-8ef7-64f354bb20dc" providerId="ADAL" clId="{F40834C7-0DA5-4DB1-A929-605080315E23}" dt="2018-08-05T11:27:07.414" v="13066" actId="478"/>
          <ac:spMkLst>
            <pc:docMk/>
            <pc:sldMk cId="1126907687" sldId="503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2:27.105" v="12973" actId="207"/>
          <ac:spMkLst>
            <pc:docMk/>
            <pc:sldMk cId="1126907687" sldId="503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2:33.354" v="12974" actId="207"/>
          <ac:spMkLst>
            <pc:docMk/>
            <pc:sldMk cId="1126907687" sldId="503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2:37.269" v="12975" actId="207"/>
          <ac:spMkLst>
            <pc:docMk/>
            <pc:sldMk cId="1126907687" sldId="503"/>
            <ac:spMk id="8" creationId="{00000000-0000-0000-0000-000000000000}"/>
          </ac:spMkLst>
        </pc:spChg>
      </pc:sldChg>
      <pc:sldChg chg="addSp delSp modSp add del">
        <pc:chgData name="Dirk Laschat" userId="9253a62a-3edb-4e48-8ef7-64f354bb20dc" providerId="ADAL" clId="{F40834C7-0DA5-4DB1-A929-605080315E23}" dt="2018-08-05T11:27:20.315" v="13070" actId="478"/>
        <pc:sldMkLst>
          <pc:docMk/>
          <pc:sldMk cId="4072778091" sldId="507"/>
        </pc:sldMkLst>
        <pc:spChg chg="del">
          <ac:chgData name="Dirk Laschat" userId="9253a62a-3edb-4e48-8ef7-64f354bb20dc" providerId="ADAL" clId="{F40834C7-0DA5-4DB1-A929-605080315E23}" dt="2018-08-05T11:27:17.958" v="13069" actId="478"/>
          <ac:spMkLst>
            <pc:docMk/>
            <pc:sldMk cId="4072778091" sldId="507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2:20.017" v="12972" actId="207"/>
          <ac:spMkLst>
            <pc:docMk/>
            <pc:sldMk cId="4072778091" sldId="507"/>
            <ac:spMk id="8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5T11:27:20.315" v="13070" actId="478"/>
          <ac:spMkLst>
            <pc:docMk/>
            <pc:sldMk cId="4072778091" sldId="507"/>
            <ac:spMk id="15" creationId="{9091767A-8BDD-4CE6-A242-385BAE83584A}"/>
          </ac:spMkLst>
        </pc:spChg>
      </pc:sldChg>
      <pc:sldChg chg="addSp delSp modSp">
        <pc:chgData name="Dirk Laschat" userId="9253a62a-3edb-4e48-8ef7-64f354bb20dc" providerId="ADAL" clId="{F40834C7-0DA5-4DB1-A929-605080315E23}" dt="2018-08-05T11:27:14.983" v="13068" actId="478"/>
        <pc:sldMkLst>
          <pc:docMk/>
          <pc:sldMk cId="2078079854" sldId="512"/>
        </pc:sldMkLst>
        <pc:spChg chg="del">
          <ac:chgData name="Dirk Laschat" userId="9253a62a-3edb-4e48-8ef7-64f354bb20dc" providerId="ADAL" clId="{F40834C7-0DA5-4DB1-A929-605080315E23}" dt="2018-08-02T11:23:48.882" v="5460" actId="478"/>
          <ac:spMkLst>
            <pc:docMk/>
            <pc:sldMk cId="2078079854" sldId="512"/>
            <ac:spMk id="3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2T11:23:45.067" v="5459" actId="478"/>
          <ac:spMkLst>
            <pc:docMk/>
            <pc:sldMk cId="2078079854" sldId="512"/>
            <ac:spMk id="5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2T11:23:32.865" v="5455" actId="207"/>
          <ac:spMkLst>
            <pc:docMk/>
            <pc:sldMk cId="2078079854" sldId="512"/>
            <ac:spMk id="7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2T11:22:26.834" v="5401" actId="478"/>
          <ac:spMkLst>
            <pc:docMk/>
            <pc:sldMk cId="2078079854" sldId="512"/>
            <ac:spMk id="8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2T11:22:26.834" v="5401" actId="478"/>
          <ac:spMkLst>
            <pc:docMk/>
            <pc:sldMk cId="2078079854" sldId="512"/>
            <ac:spMk id="9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2T11:22:26.834" v="5401" actId="478"/>
          <ac:spMkLst>
            <pc:docMk/>
            <pc:sldMk cId="2078079854" sldId="512"/>
            <ac:spMk id="10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2T11:23:30.314" v="5454" actId="207"/>
          <ac:spMkLst>
            <pc:docMk/>
            <pc:sldMk cId="2078079854" sldId="512"/>
            <ac:spMk id="12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2T11:22:26.834" v="5401" actId="478"/>
          <ac:spMkLst>
            <pc:docMk/>
            <pc:sldMk cId="2078079854" sldId="512"/>
            <ac:spMk id="13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2T11:22:26.834" v="5401" actId="478"/>
          <ac:spMkLst>
            <pc:docMk/>
            <pc:sldMk cId="2078079854" sldId="512"/>
            <ac:spMk id="14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2T11:22:26.834" v="5401" actId="478"/>
          <ac:spMkLst>
            <pc:docMk/>
            <pc:sldMk cId="2078079854" sldId="512"/>
            <ac:spMk id="15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2T11:23:40.700" v="5458" actId="207"/>
          <ac:spMkLst>
            <pc:docMk/>
            <pc:sldMk cId="2078079854" sldId="512"/>
            <ac:spMk id="17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2T11:22:26.834" v="5401" actId="478"/>
          <ac:spMkLst>
            <pc:docMk/>
            <pc:sldMk cId="2078079854" sldId="512"/>
            <ac:spMk id="18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2T11:22:26.834" v="5401" actId="478"/>
          <ac:spMkLst>
            <pc:docMk/>
            <pc:sldMk cId="2078079854" sldId="512"/>
            <ac:spMk id="19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2T11:22:26.834" v="5401" actId="478"/>
          <ac:spMkLst>
            <pc:docMk/>
            <pc:sldMk cId="2078079854" sldId="512"/>
            <ac:spMk id="20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2T11:23:38.403" v="5457" actId="207"/>
          <ac:spMkLst>
            <pc:docMk/>
            <pc:sldMk cId="2078079854" sldId="512"/>
            <ac:spMk id="22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2T11:22:26.834" v="5401" actId="478"/>
          <ac:spMkLst>
            <pc:docMk/>
            <pc:sldMk cId="2078079854" sldId="512"/>
            <ac:spMk id="23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2T11:22:26.834" v="5401" actId="478"/>
          <ac:spMkLst>
            <pc:docMk/>
            <pc:sldMk cId="2078079854" sldId="512"/>
            <ac:spMk id="24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2T11:22:26.834" v="5401" actId="478"/>
          <ac:spMkLst>
            <pc:docMk/>
            <pc:sldMk cId="2078079854" sldId="512"/>
            <ac:spMk id="25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5T11:27:14.983" v="13068" actId="478"/>
          <ac:spMkLst>
            <pc:docMk/>
            <pc:sldMk cId="2078079854" sldId="512"/>
            <ac:spMk id="26" creationId="{8722EA96-DE08-45BD-951D-344600FABDE5}"/>
          </ac:spMkLst>
        </pc:spChg>
        <pc:grpChg chg="del">
          <ac:chgData name="Dirk Laschat" userId="9253a62a-3edb-4e48-8ef7-64f354bb20dc" providerId="ADAL" clId="{F40834C7-0DA5-4DB1-A929-605080315E23}" dt="2018-08-02T11:22:26.834" v="5401" actId="478"/>
          <ac:grpSpMkLst>
            <pc:docMk/>
            <pc:sldMk cId="2078079854" sldId="512"/>
            <ac:grpSpMk id="6" creationId="{00000000-0000-0000-0000-000000000000}"/>
          </ac:grpSpMkLst>
        </pc:grpChg>
        <pc:grpChg chg="del">
          <ac:chgData name="Dirk Laschat" userId="9253a62a-3edb-4e48-8ef7-64f354bb20dc" providerId="ADAL" clId="{F40834C7-0DA5-4DB1-A929-605080315E23}" dt="2018-08-02T11:22:26.834" v="5401" actId="478"/>
          <ac:grpSpMkLst>
            <pc:docMk/>
            <pc:sldMk cId="2078079854" sldId="512"/>
            <ac:grpSpMk id="11" creationId="{00000000-0000-0000-0000-000000000000}"/>
          </ac:grpSpMkLst>
        </pc:grpChg>
        <pc:grpChg chg="del">
          <ac:chgData name="Dirk Laschat" userId="9253a62a-3edb-4e48-8ef7-64f354bb20dc" providerId="ADAL" clId="{F40834C7-0DA5-4DB1-A929-605080315E23}" dt="2018-08-02T11:22:26.834" v="5401" actId="478"/>
          <ac:grpSpMkLst>
            <pc:docMk/>
            <pc:sldMk cId="2078079854" sldId="512"/>
            <ac:grpSpMk id="16" creationId="{00000000-0000-0000-0000-000000000000}"/>
          </ac:grpSpMkLst>
        </pc:grpChg>
        <pc:grpChg chg="del">
          <ac:chgData name="Dirk Laschat" userId="9253a62a-3edb-4e48-8ef7-64f354bb20dc" providerId="ADAL" clId="{F40834C7-0DA5-4DB1-A929-605080315E23}" dt="2018-08-02T11:22:26.834" v="5401" actId="478"/>
          <ac:grpSpMkLst>
            <pc:docMk/>
            <pc:sldMk cId="2078079854" sldId="512"/>
            <ac:grpSpMk id="21" creationId="{00000000-0000-0000-0000-000000000000}"/>
          </ac:grpSpMkLst>
        </pc:grpChg>
      </pc:sldChg>
      <pc:sldChg chg="addSp delSp modSp">
        <pc:chgData name="Dirk Laschat" userId="9253a62a-3edb-4e48-8ef7-64f354bb20dc" providerId="ADAL" clId="{F40834C7-0DA5-4DB1-A929-605080315E23}" dt="2018-08-05T11:27:24.139" v="13071" actId="478"/>
        <pc:sldMkLst>
          <pc:docMk/>
          <pc:sldMk cId="953001574" sldId="518"/>
        </pc:sldMkLst>
        <pc:spChg chg="del">
          <ac:chgData name="Dirk Laschat" userId="9253a62a-3edb-4e48-8ef7-64f354bb20dc" providerId="ADAL" clId="{F40834C7-0DA5-4DB1-A929-605080315E23}" dt="2018-08-05T11:27:05.066" v="13065" actId="478"/>
          <ac:spMkLst>
            <pc:docMk/>
            <pc:sldMk cId="953001574" sldId="518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2:51.425" v="12979" actId="207"/>
          <ac:spMkLst>
            <pc:docMk/>
            <pc:sldMk cId="953001574" sldId="518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2:48.880" v="12978" actId="207"/>
          <ac:spMkLst>
            <pc:docMk/>
            <pc:sldMk cId="953001574" sldId="518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2:45.843" v="12977" actId="207"/>
          <ac:spMkLst>
            <pc:docMk/>
            <pc:sldMk cId="953001574" sldId="518"/>
            <ac:spMk id="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2:42.530" v="12976" actId="207"/>
          <ac:spMkLst>
            <pc:docMk/>
            <pc:sldMk cId="953001574" sldId="518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4:17.588" v="5466" actId="1076"/>
          <ac:spMkLst>
            <pc:docMk/>
            <pc:sldMk cId="953001574" sldId="518"/>
            <ac:spMk id="1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2T11:24:15.369" v="5465" actId="1076"/>
          <ac:spMkLst>
            <pc:docMk/>
            <pc:sldMk cId="953001574" sldId="518"/>
            <ac:spMk id="13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5T11:27:24.139" v="13071" actId="478"/>
          <ac:spMkLst>
            <pc:docMk/>
            <pc:sldMk cId="953001574" sldId="518"/>
            <ac:spMk id="14" creationId="{5D5A3F18-92D7-4D35-BBFD-5E75D135542D}"/>
          </ac:spMkLst>
        </pc:spChg>
      </pc:sldChg>
      <pc:sldChg chg="addSp delSp modSp">
        <pc:chgData name="Dirk Laschat" userId="9253a62a-3edb-4e48-8ef7-64f354bb20dc" providerId="ADAL" clId="{F40834C7-0DA5-4DB1-A929-605080315E23}" dt="2018-08-05T11:27:26.343" v="13072" actId="478"/>
        <pc:sldMkLst>
          <pc:docMk/>
          <pc:sldMk cId="3674685931" sldId="527"/>
        </pc:sldMkLst>
        <pc:spChg chg="del">
          <ac:chgData name="Dirk Laschat" userId="9253a62a-3edb-4e48-8ef7-64f354bb20dc" providerId="ADAL" clId="{F40834C7-0DA5-4DB1-A929-605080315E23}" dt="2018-08-05T11:27:02.542" v="13064" actId="478"/>
          <ac:spMkLst>
            <pc:docMk/>
            <pc:sldMk cId="3674685931" sldId="527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24.645" v="12982" actId="207"/>
          <ac:spMkLst>
            <pc:docMk/>
            <pc:sldMk cId="3674685931" sldId="527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32.152" v="12983" actId="207"/>
          <ac:spMkLst>
            <pc:docMk/>
            <pc:sldMk cId="3674685931" sldId="527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40.579" v="12984" actId="207"/>
          <ac:spMkLst>
            <pc:docMk/>
            <pc:sldMk cId="3674685931" sldId="527"/>
            <ac:spMk id="1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01.353" v="12980" actId="207"/>
          <ac:spMkLst>
            <pc:docMk/>
            <pc:sldMk cId="3674685931" sldId="527"/>
            <ac:spMk id="1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24.645" v="12982" actId="207"/>
          <ac:spMkLst>
            <pc:docMk/>
            <pc:sldMk cId="3674685931" sldId="527"/>
            <ac:spMk id="2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32.152" v="12983" actId="207"/>
          <ac:spMkLst>
            <pc:docMk/>
            <pc:sldMk cId="3674685931" sldId="527"/>
            <ac:spMk id="2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40.579" v="12984" actId="207"/>
          <ac:spMkLst>
            <pc:docMk/>
            <pc:sldMk cId="3674685931" sldId="527"/>
            <ac:spMk id="2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01.353" v="12980" actId="207"/>
          <ac:spMkLst>
            <pc:docMk/>
            <pc:sldMk cId="3674685931" sldId="527"/>
            <ac:spMk id="2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24.645" v="12982" actId="207"/>
          <ac:spMkLst>
            <pc:docMk/>
            <pc:sldMk cId="3674685931" sldId="527"/>
            <ac:spMk id="2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32.152" v="12983" actId="207"/>
          <ac:spMkLst>
            <pc:docMk/>
            <pc:sldMk cId="3674685931" sldId="527"/>
            <ac:spMk id="3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40.579" v="12984" actId="207"/>
          <ac:spMkLst>
            <pc:docMk/>
            <pc:sldMk cId="3674685931" sldId="527"/>
            <ac:spMk id="3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17.396" v="12981" actId="207"/>
          <ac:spMkLst>
            <pc:docMk/>
            <pc:sldMk cId="3674685931" sldId="527"/>
            <ac:spMk id="3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24.645" v="12982" actId="207"/>
          <ac:spMkLst>
            <pc:docMk/>
            <pc:sldMk cId="3674685931" sldId="527"/>
            <ac:spMk id="3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32.152" v="12983" actId="207"/>
          <ac:spMkLst>
            <pc:docMk/>
            <pc:sldMk cId="3674685931" sldId="527"/>
            <ac:spMk id="3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40.579" v="12984" actId="207"/>
          <ac:spMkLst>
            <pc:docMk/>
            <pc:sldMk cId="3674685931" sldId="527"/>
            <ac:spMk id="4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3:17.396" v="12981" actId="207"/>
          <ac:spMkLst>
            <pc:docMk/>
            <pc:sldMk cId="3674685931" sldId="527"/>
            <ac:spMk id="41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5T11:27:26.343" v="13072" actId="478"/>
          <ac:spMkLst>
            <pc:docMk/>
            <pc:sldMk cId="3674685931" sldId="527"/>
            <ac:spMk id="47" creationId="{A982D582-6A43-4E90-A473-DA670F4F5224}"/>
          </ac:spMkLst>
        </pc:spChg>
      </pc:sldChg>
      <pc:sldChg chg="addSp delSp modSp add del">
        <pc:chgData name="Dirk Laschat" userId="9253a62a-3edb-4e48-8ef7-64f354bb20dc" providerId="ADAL" clId="{F40834C7-0DA5-4DB1-A929-605080315E23}" dt="2018-08-05T11:29:35.434" v="13093" actId="207"/>
        <pc:sldMkLst>
          <pc:docMk/>
          <pc:sldMk cId="3398959823" sldId="534"/>
        </pc:sldMkLst>
        <pc:spChg chg="mod">
          <ac:chgData name="Dirk Laschat" userId="9253a62a-3edb-4e48-8ef7-64f354bb20dc" providerId="ADAL" clId="{F40834C7-0DA5-4DB1-A929-605080315E23}" dt="2018-08-05T11:26:22.789" v="13050" actId="1076"/>
          <ac:spMkLst>
            <pc:docMk/>
            <pc:sldMk cId="3398959823" sldId="534"/>
            <ac:spMk id="3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39.878" v="13058" actId="207"/>
          <ac:spMkLst>
            <pc:docMk/>
            <pc:sldMk cId="3398959823" sldId="534"/>
            <ac:spMk id="6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39.878" v="13058" actId="207"/>
          <ac:spMkLst>
            <pc:docMk/>
            <pc:sldMk cId="3398959823" sldId="534"/>
            <ac:spMk id="7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39.878" v="13058" actId="207"/>
          <ac:spMkLst>
            <pc:docMk/>
            <pc:sldMk cId="3398959823" sldId="534"/>
            <ac:spMk id="8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5T11:26:56.536" v="13062" actId="478"/>
          <ac:spMkLst>
            <pc:docMk/>
            <pc:sldMk cId="3398959823" sldId="534"/>
            <ac:spMk id="9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39.878" v="13058" actId="207"/>
          <ac:spMkLst>
            <pc:docMk/>
            <pc:sldMk cId="3398959823" sldId="534"/>
            <ac:spMk id="10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9:30.685" v="13090" actId="207"/>
          <ac:spMkLst>
            <pc:docMk/>
            <pc:sldMk cId="3398959823" sldId="534"/>
            <ac:spMk id="11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39.878" v="13058" actId="207"/>
          <ac:spMkLst>
            <pc:docMk/>
            <pc:sldMk cId="3398959823" sldId="534"/>
            <ac:spMk id="12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46.042" v="13059" actId="207"/>
          <ac:spMkLst>
            <pc:docMk/>
            <pc:sldMk cId="3398959823" sldId="534"/>
            <ac:spMk id="14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46.042" v="13059" actId="207"/>
          <ac:spMkLst>
            <pc:docMk/>
            <pc:sldMk cId="3398959823" sldId="534"/>
            <ac:spMk id="15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46.042" v="13059" actId="207"/>
          <ac:spMkLst>
            <pc:docMk/>
            <pc:sldMk cId="3398959823" sldId="534"/>
            <ac:spMk id="16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46.042" v="13059" actId="207"/>
          <ac:spMkLst>
            <pc:docMk/>
            <pc:sldMk cId="3398959823" sldId="534"/>
            <ac:spMk id="17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9:32.954" v="13091" actId="207"/>
          <ac:spMkLst>
            <pc:docMk/>
            <pc:sldMk cId="3398959823" sldId="534"/>
            <ac:spMk id="18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46.042" v="13059" actId="207"/>
          <ac:spMkLst>
            <pc:docMk/>
            <pc:sldMk cId="3398959823" sldId="534"/>
            <ac:spMk id="19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49.213" v="13060" actId="207"/>
          <ac:spMkLst>
            <pc:docMk/>
            <pc:sldMk cId="3398959823" sldId="534"/>
            <ac:spMk id="21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49.213" v="13060" actId="207"/>
          <ac:spMkLst>
            <pc:docMk/>
            <pc:sldMk cId="3398959823" sldId="534"/>
            <ac:spMk id="22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49.213" v="13060" actId="207"/>
          <ac:spMkLst>
            <pc:docMk/>
            <pc:sldMk cId="3398959823" sldId="534"/>
            <ac:spMk id="23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49.213" v="13060" actId="207"/>
          <ac:spMkLst>
            <pc:docMk/>
            <pc:sldMk cId="3398959823" sldId="534"/>
            <ac:spMk id="24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9:34.158" v="13092" actId="207"/>
          <ac:spMkLst>
            <pc:docMk/>
            <pc:sldMk cId="3398959823" sldId="534"/>
            <ac:spMk id="25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49.213" v="13060" actId="207"/>
          <ac:spMkLst>
            <pc:docMk/>
            <pc:sldMk cId="3398959823" sldId="534"/>
            <ac:spMk id="26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52.397" v="13061" actId="207"/>
          <ac:spMkLst>
            <pc:docMk/>
            <pc:sldMk cId="3398959823" sldId="534"/>
            <ac:spMk id="28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52.397" v="13061" actId="207"/>
          <ac:spMkLst>
            <pc:docMk/>
            <pc:sldMk cId="3398959823" sldId="534"/>
            <ac:spMk id="29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52.397" v="13061" actId="207"/>
          <ac:spMkLst>
            <pc:docMk/>
            <pc:sldMk cId="3398959823" sldId="534"/>
            <ac:spMk id="30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52.397" v="13061" actId="207"/>
          <ac:spMkLst>
            <pc:docMk/>
            <pc:sldMk cId="3398959823" sldId="534"/>
            <ac:spMk id="31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9:35.434" v="13093" actId="207"/>
          <ac:spMkLst>
            <pc:docMk/>
            <pc:sldMk cId="3398959823" sldId="534"/>
            <ac:spMk id="32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1:26:52.397" v="13061" actId="207"/>
          <ac:spMkLst>
            <pc:docMk/>
            <pc:sldMk cId="3398959823" sldId="534"/>
            <ac:spMk id="33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5T11:27:31.613" v="13074" actId="478"/>
          <ac:spMkLst>
            <pc:docMk/>
            <pc:sldMk cId="3398959823" sldId="534"/>
            <ac:spMk id="38" creationId="{228262CE-87E0-4053-87DD-A2788FC5C74B}"/>
          </ac:spMkLst>
        </pc:spChg>
        <pc:grpChg chg="add mod">
          <ac:chgData name="Dirk Laschat" userId="9253a62a-3edb-4e48-8ef7-64f354bb20dc" providerId="ADAL" clId="{F40834C7-0DA5-4DB1-A929-605080315E23}" dt="2018-08-05T11:26:39.878" v="13058" actId="207"/>
          <ac:grpSpMkLst>
            <pc:docMk/>
            <pc:sldMk cId="3398959823" sldId="534"/>
            <ac:grpSpMk id="2" creationId="{5BFE8B8A-19D6-42BD-8B2A-59DD4DDF94E5}"/>
          </ac:grpSpMkLst>
        </pc:grpChg>
        <pc:grpChg chg="del">
          <ac:chgData name="Dirk Laschat" userId="9253a62a-3edb-4e48-8ef7-64f354bb20dc" providerId="ADAL" clId="{F40834C7-0DA5-4DB1-A929-605080315E23}" dt="2018-08-05T11:26:26.712" v="13051" actId="207"/>
          <ac:grpSpMkLst>
            <pc:docMk/>
            <pc:sldMk cId="3398959823" sldId="534"/>
            <ac:grpSpMk id="5" creationId="{00000000-0000-0000-0000-000000000000}"/>
          </ac:grpSpMkLst>
        </pc:grpChg>
        <pc:grpChg chg="del">
          <ac:chgData name="Dirk Laschat" userId="9253a62a-3edb-4e48-8ef7-64f354bb20dc" providerId="ADAL" clId="{F40834C7-0DA5-4DB1-A929-605080315E23}" dt="2018-08-05T11:26:26.712" v="13051" actId="207"/>
          <ac:grpSpMkLst>
            <pc:docMk/>
            <pc:sldMk cId="3398959823" sldId="534"/>
            <ac:grpSpMk id="13" creationId="{00000000-0000-0000-0000-000000000000}"/>
          </ac:grpSpMkLst>
        </pc:grpChg>
        <pc:grpChg chg="del">
          <ac:chgData name="Dirk Laschat" userId="9253a62a-3edb-4e48-8ef7-64f354bb20dc" providerId="ADAL" clId="{F40834C7-0DA5-4DB1-A929-605080315E23}" dt="2018-08-05T11:26:26.712" v="13051" actId="207"/>
          <ac:grpSpMkLst>
            <pc:docMk/>
            <pc:sldMk cId="3398959823" sldId="534"/>
            <ac:grpSpMk id="20" creationId="{00000000-0000-0000-0000-000000000000}"/>
          </ac:grpSpMkLst>
        </pc:grpChg>
        <pc:grpChg chg="del mod">
          <ac:chgData name="Dirk Laschat" userId="9253a62a-3edb-4e48-8ef7-64f354bb20dc" providerId="ADAL" clId="{F40834C7-0DA5-4DB1-A929-605080315E23}" dt="2018-08-05T11:26:26.712" v="13051" actId="207"/>
          <ac:grpSpMkLst>
            <pc:docMk/>
            <pc:sldMk cId="3398959823" sldId="534"/>
            <ac:grpSpMk id="27" creationId="{00000000-0000-0000-0000-000000000000}"/>
          </ac:grpSpMkLst>
        </pc:grpChg>
        <pc:grpChg chg="add mod">
          <ac:chgData name="Dirk Laschat" userId="9253a62a-3edb-4e48-8ef7-64f354bb20dc" providerId="ADAL" clId="{F40834C7-0DA5-4DB1-A929-605080315E23}" dt="2018-08-05T11:26:46.042" v="13059" actId="207"/>
          <ac:grpSpMkLst>
            <pc:docMk/>
            <pc:sldMk cId="3398959823" sldId="534"/>
            <ac:grpSpMk id="34" creationId="{788C9977-3060-4977-93C8-4837DCBA1867}"/>
          </ac:grpSpMkLst>
        </pc:grpChg>
        <pc:grpChg chg="add mod">
          <ac:chgData name="Dirk Laschat" userId="9253a62a-3edb-4e48-8ef7-64f354bb20dc" providerId="ADAL" clId="{F40834C7-0DA5-4DB1-A929-605080315E23}" dt="2018-08-05T11:26:49.213" v="13060" actId="207"/>
          <ac:grpSpMkLst>
            <pc:docMk/>
            <pc:sldMk cId="3398959823" sldId="534"/>
            <ac:grpSpMk id="35" creationId="{0F2B57EA-CEE9-4C36-A486-D3D3DDBE067B}"/>
          </ac:grpSpMkLst>
        </pc:grpChg>
        <pc:grpChg chg="add mod">
          <ac:chgData name="Dirk Laschat" userId="9253a62a-3edb-4e48-8ef7-64f354bb20dc" providerId="ADAL" clId="{F40834C7-0DA5-4DB1-A929-605080315E23}" dt="2018-08-05T11:26:52.397" v="13061" actId="207"/>
          <ac:grpSpMkLst>
            <pc:docMk/>
            <pc:sldMk cId="3398959823" sldId="534"/>
            <ac:grpSpMk id="36" creationId="{9219DFA6-334A-4099-AC06-8A14DBB03FB2}"/>
          </ac:grpSpMkLst>
        </pc:grpChg>
      </pc:sldChg>
      <pc:sldChg chg="addSp delSp modSp">
        <pc:chgData name="Dirk Laschat" userId="9253a62a-3edb-4e48-8ef7-64f354bb20dc" providerId="ADAL" clId="{F40834C7-0DA5-4DB1-A929-605080315E23}" dt="2018-08-05T11:27:49.127" v="13078" actId="478"/>
        <pc:sldMkLst>
          <pc:docMk/>
          <pc:sldMk cId="1900884314" sldId="536"/>
        </pc:sldMkLst>
        <pc:spChg chg="mod">
          <ac:chgData name="Dirk Laschat" userId="9253a62a-3edb-4e48-8ef7-64f354bb20dc" providerId="ADAL" clId="{F40834C7-0DA5-4DB1-A929-605080315E23}" dt="2018-08-05T11:27:41.836" v="13076" actId="207"/>
          <ac:spMkLst>
            <pc:docMk/>
            <pc:sldMk cId="1900884314" sldId="536"/>
            <ac:spMk id="8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5T11:27:47.063" v="13077" actId="478"/>
          <ac:spMkLst>
            <pc:docMk/>
            <pc:sldMk cId="1900884314" sldId="536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7:41.836" v="13076" actId="207"/>
          <ac:spMkLst>
            <pc:docMk/>
            <pc:sldMk cId="1900884314" sldId="536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7:41.836" v="13076" actId="207"/>
          <ac:spMkLst>
            <pc:docMk/>
            <pc:sldMk cId="1900884314" sldId="536"/>
            <ac:spMk id="1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7:37.356" v="13075" actId="207"/>
          <ac:spMkLst>
            <pc:docMk/>
            <pc:sldMk cId="1900884314" sldId="536"/>
            <ac:spMk id="15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5T11:27:49.127" v="13078" actId="478"/>
          <ac:spMkLst>
            <pc:docMk/>
            <pc:sldMk cId="1900884314" sldId="536"/>
            <ac:spMk id="17" creationId="{C32E99E7-D3DB-438C-90C4-D19AD1A6F3FB}"/>
          </ac:spMkLst>
        </pc:spChg>
      </pc:sldChg>
      <pc:sldChg chg="addSp delSp modSp add del">
        <pc:chgData name="Dirk Laschat" userId="9253a62a-3edb-4e48-8ef7-64f354bb20dc" providerId="ADAL" clId="{F40834C7-0DA5-4DB1-A929-605080315E23}" dt="2018-08-05T11:30:29.593" v="13102" actId="207"/>
        <pc:sldMkLst>
          <pc:docMk/>
          <pc:sldMk cId="4251389527" sldId="538"/>
        </pc:sldMkLst>
        <pc:spChg chg="mod">
          <ac:chgData name="Dirk Laschat" userId="9253a62a-3edb-4e48-8ef7-64f354bb20dc" providerId="ADAL" clId="{F40834C7-0DA5-4DB1-A929-605080315E23}" dt="2018-08-05T11:30:04.343" v="13097" actId="207"/>
          <ac:spMkLst>
            <pc:docMk/>
            <pc:sldMk cId="4251389527" sldId="538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30:13.171" v="13098" actId="207"/>
          <ac:spMkLst>
            <pc:docMk/>
            <pc:sldMk cId="4251389527" sldId="538"/>
            <ac:spMk id="7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5T11:29:58.187" v="13095" actId="478"/>
          <ac:spMkLst>
            <pc:docMk/>
            <pc:sldMk cId="4251389527" sldId="538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30:17.790" v="13099" actId="108"/>
          <ac:spMkLst>
            <pc:docMk/>
            <pc:sldMk cId="4251389527" sldId="538"/>
            <ac:spMk id="1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30:29.593" v="13102" actId="207"/>
          <ac:spMkLst>
            <pc:docMk/>
            <pc:sldMk cId="4251389527" sldId="538"/>
            <ac:spMk id="13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5T11:30:00.951" v="13096" actId="478"/>
          <ac:spMkLst>
            <pc:docMk/>
            <pc:sldMk cId="4251389527" sldId="538"/>
            <ac:spMk id="18" creationId="{BF25FDDE-D884-4E23-91B2-2DA8DCA57B64}"/>
          </ac:spMkLst>
        </pc:spChg>
      </pc:sldChg>
      <pc:sldChg chg="addSp delSp modSp">
        <pc:chgData name="Dirk Laschat" userId="9253a62a-3edb-4e48-8ef7-64f354bb20dc" providerId="ADAL" clId="{F40834C7-0DA5-4DB1-A929-605080315E23}" dt="2018-08-05T13:30:09.473" v="13409" actId="478"/>
        <pc:sldMkLst>
          <pc:docMk/>
          <pc:sldMk cId="3849776590" sldId="542"/>
        </pc:sldMkLst>
        <pc:spChg chg="mod">
          <ac:chgData name="Dirk Laschat" userId="9253a62a-3edb-4e48-8ef7-64f354bb20dc" providerId="ADAL" clId="{F40834C7-0DA5-4DB1-A929-605080315E23}" dt="2018-08-05T13:27:04.884" v="13373" actId="207"/>
          <ac:spMkLst>
            <pc:docMk/>
            <pc:sldMk cId="3849776590" sldId="542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4.884" v="13373" actId="207"/>
          <ac:spMkLst>
            <pc:docMk/>
            <pc:sldMk cId="3849776590" sldId="542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4.884" v="13373" actId="207"/>
          <ac:spMkLst>
            <pc:docMk/>
            <pc:sldMk cId="3849776590" sldId="542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4.884" v="13373" actId="207"/>
          <ac:spMkLst>
            <pc:docMk/>
            <pc:sldMk cId="3849776590" sldId="542"/>
            <ac:spMk id="8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5T13:30:07.314" v="13408" actId="478"/>
          <ac:spMkLst>
            <pc:docMk/>
            <pc:sldMk cId="3849776590" sldId="542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4.884" v="13373" actId="207"/>
          <ac:spMkLst>
            <pc:docMk/>
            <pc:sldMk cId="3849776590" sldId="542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4.884" v="13373" actId="207"/>
          <ac:spMkLst>
            <pc:docMk/>
            <pc:sldMk cId="3849776590" sldId="542"/>
            <ac:spMk id="1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4.884" v="13373" actId="207"/>
          <ac:spMkLst>
            <pc:docMk/>
            <pc:sldMk cId="3849776590" sldId="542"/>
            <ac:spMk id="1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4.884" v="13373" actId="207"/>
          <ac:spMkLst>
            <pc:docMk/>
            <pc:sldMk cId="3849776590" sldId="542"/>
            <ac:spMk id="1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4.884" v="13373" actId="207"/>
          <ac:spMkLst>
            <pc:docMk/>
            <pc:sldMk cId="3849776590" sldId="542"/>
            <ac:spMk id="1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4.884" v="13373" actId="207"/>
          <ac:spMkLst>
            <pc:docMk/>
            <pc:sldMk cId="3849776590" sldId="542"/>
            <ac:spMk id="15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5T13:30:09.473" v="13409" actId="478"/>
          <ac:spMkLst>
            <pc:docMk/>
            <pc:sldMk cId="3849776590" sldId="542"/>
            <ac:spMk id="16" creationId="{D9C7B178-3C93-434C-BCC5-0FDAD82224B8}"/>
          </ac:spMkLst>
        </pc:spChg>
        <pc:spChg chg="mod">
          <ac:chgData name="Dirk Laschat" userId="9253a62a-3edb-4e48-8ef7-64f354bb20dc" providerId="ADAL" clId="{F40834C7-0DA5-4DB1-A929-605080315E23}" dt="2018-08-05T13:27:09.756" v="13374" actId="207"/>
          <ac:spMkLst>
            <pc:docMk/>
            <pc:sldMk cId="3849776590" sldId="542"/>
            <ac:spMk id="1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9.756" v="13374" actId="207"/>
          <ac:spMkLst>
            <pc:docMk/>
            <pc:sldMk cId="3849776590" sldId="542"/>
            <ac:spMk id="1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9.756" v="13374" actId="207"/>
          <ac:spMkLst>
            <pc:docMk/>
            <pc:sldMk cId="3849776590" sldId="542"/>
            <ac:spMk id="1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9.756" v="13374" actId="207"/>
          <ac:spMkLst>
            <pc:docMk/>
            <pc:sldMk cId="3849776590" sldId="542"/>
            <ac:spMk id="2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9.756" v="13374" actId="207"/>
          <ac:spMkLst>
            <pc:docMk/>
            <pc:sldMk cId="3849776590" sldId="542"/>
            <ac:spMk id="2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9.756" v="13374" actId="207"/>
          <ac:spMkLst>
            <pc:docMk/>
            <pc:sldMk cId="3849776590" sldId="542"/>
            <ac:spMk id="2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9.756" v="13374" actId="207"/>
          <ac:spMkLst>
            <pc:docMk/>
            <pc:sldMk cId="3849776590" sldId="542"/>
            <ac:spMk id="2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9.756" v="13374" actId="207"/>
          <ac:spMkLst>
            <pc:docMk/>
            <pc:sldMk cId="3849776590" sldId="542"/>
            <ac:spMk id="2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9.756" v="13374" actId="207"/>
          <ac:spMkLst>
            <pc:docMk/>
            <pc:sldMk cId="3849776590" sldId="542"/>
            <ac:spMk id="2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09.756" v="13374" actId="207"/>
          <ac:spMkLst>
            <pc:docMk/>
            <pc:sldMk cId="3849776590" sldId="542"/>
            <ac:spMk id="2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18.904" v="13375" actId="207"/>
          <ac:spMkLst>
            <pc:docMk/>
            <pc:sldMk cId="3849776590" sldId="542"/>
            <ac:spMk id="2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18.904" v="13375" actId="207"/>
          <ac:spMkLst>
            <pc:docMk/>
            <pc:sldMk cId="3849776590" sldId="542"/>
            <ac:spMk id="2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18.904" v="13375" actId="207"/>
          <ac:spMkLst>
            <pc:docMk/>
            <pc:sldMk cId="3849776590" sldId="542"/>
            <ac:spMk id="3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18.904" v="13375" actId="207"/>
          <ac:spMkLst>
            <pc:docMk/>
            <pc:sldMk cId="3849776590" sldId="542"/>
            <ac:spMk id="3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18.904" v="13375" actId="207"/>
          <ac:spMkLst>
            <pc:docMk/>
            <pc:sldMk cId="3849776590" sldId="542"/>
            <ac:spMk id="3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18.904" v="13375" actId="207"/>
          <ac:spMkLst>
            <pc:docMk/>
            <pc:sldMk cId="3849776590" sldId="542"/>
            <ac:spMk id="3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18.904" v="13375" actId="207"/>
          <ac:spMkLst>
            <pc:docMk/>
            <pc:sldMk cId="3849776590" sldId="542"/>
            <ac:spMk id="3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18.904" v="13375" actId="207"/>
          <ac:spMkLst>
            <pc:docMk/>
            <pc:sldMk cId="3849776590" sldId="542"/>
            <ac:spMk id="3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18.904" v="13375" actId="207"/>
          <ac:spMkLst>
            <pc:docMk/>
            <pc:sldMk cId="3849776590" sldId="542"/>
            <ac:spMk id="3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18.904" v="13375" actId="207"/>
          <ac:spMkLst>
            <pc:docMk/>
            <pc:sldMk cId="3849776590" sldId="542"/>
            <ac:spMk id="3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28.456" v="13376" actId="207"/>
          <ac:spMkLst>
            <pc:docMk/>
            <pc:sldMk cId="3849776590" sldId="542"/>
            <ac:spMk id="3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28.456" v="13376" actId="207"/>
          <ac:spMkLst>
            <pc:docMk/>
            <pc:sldMk cId="3849776590" sldId="542"/>
            <ac:spMk id="4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28.456" v="13376" actId="207"/>
          <ac:spMkLst>
            <pc:docMk/>
            <pc:sldMk cId="3849776590" sldId="542"/>
            <ac:spMk id="4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28.456" v="13376" actId="207"/>
          <ac:spMkLst>
            <pc:docMk/>
            <pc:sldMk cId="3849776590" sldId="542"/>
            <ac:spMk id="4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28.456" v="13376" actId="207"/>
          <ac:spMkLst>
            <pc:docMk/>
            <pc:sldMk cId="3849776590" sldId="542"/>
            <ac:spMk id="4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28.456" v="13376" actId="207"/>
          <ac:spMkLst>
            <pc:docMk/>
            <pc:sldMk cId="3849776590" sldId="542"/>
            <ac:spMk id="4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28.456" v="13376" actId="207"/>
          <ac:spMkLst>
            <pc:docMk/>
            <pc:sldMk cId="3849776590" sldId="542"/>
            <ac:spMk id="4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28.456" v="13376" actId="207"/>
          <ac:spMkLst>
            <pc:docMk/>
            <pc:sldMk cId="3849776590" sldId="542"/>
            <ac:spMk id="4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28.456" v="13376" actId="207"/>
          <ac:spMkLst>
            <pc:docMk/>
            <pc:sldMk cId="3849776590" sldId="542"/>
            <ac:spMk id="4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7:28.456" v="13376" actId="207"/>
          <ac:spMkLst>
            <pc:docMk/>
            <pc:sldMk cId="3849776590" sldId="542"/>
            <ac:spMk id="4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8:59.745" v="13401" actId="207"/>
          <ac:spMkLst>
            <pc:docMk/>
            <pc:sldMk cId="3849776590" sldId="542"/>
            <ac:spMk id="13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8:58.453" v="13400" actId="207"/>
          <ac:spMkLst>
            <pc:docMk/>
            <pc:sldMk cId="3849776590" sldId="542"/>
            <ac:spMk id="13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8:55.569" v="13399" actId="207"/>
          <ac:spMkLst>
            <pc:docMk/>
            <pc:sldMk cId="3849776590" sldId="542"/>
            <ac:spMk id="14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8:45.583" v="13392" actId="207"/>
          <ac:spMkLst>
            <pc:docMk/>
            <pc:sldMk cId="3849776590" sldId="542"/>
            <ac:spMk id="14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8:39.616" v="13388" actId="207"/>
          <ac:spMkLst>
            <pc:docMk/>
            <pc:sldMk cId="3849776590" sldId="542"/>
            <ac:spMk id="14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8:42.208" v="13389" actId="207"/>
          <ac:spMkLst>
            <pc:docMk/>
            <pc:sldMk cId="3849776590" sldId="542"/>
            <ac:spMk id="15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8:43.909" v="13390" actId="207"/>
          <ac:spMkLst>
            <pc:docMk/>
            <pc:sldMk cId="3849776590" sldId="542"/>
            <ac:spMk id="15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8:44.705" v="13391" actId="207"/>
          <ac:spMkLst>
            <pc:docMk/>
            <pc:sldMk cId="3849776590" sldId="542"/>
            <ac:spMk id="15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9:39.546" v="13405" actId="207"/>
          <ac:spMkLst>
            <pc:docMk/>
            <pc:sldMk cId="3849776590" sldId="542"/>
            <ac:spMk id="165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3:28:25.777" v="13385" actId="207"/>
          <ac:spMkLst>
            <pc:docMk/>
            <pc:sldMk cId="3849776590" sldId="542"/>
            <ac:spMk id="222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3:28:33.455" v="13387" actId="207"/>
          <ac:spMkLst>
            <pc:docMk/>
            <pc:sldMk cId="3849776590" sldId="542"/>
            <ac:spMk id="223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3:28:22.710" v="13384" actId="207"/>
          <ac:spMkLst>
            <pc:docMk/>
            <pc:sldMk cId="3849776590" sldId="542"/>
            <ac:spMk id="224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3:28:05.488" v="13379" actId="478"/>
          <ac:spMkLst>
            <pc:docMk/>
            <pc:sldMk cId="3849776590" sldId="542"/>
            <ac:spMk id="22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9:20.193" v="13404" actId="207"/>
          <ac:spMkLst>
            <pc:docMk/>
            <pc:sldMk cId="3849776590" sldId="542"/>
            <ac:spMk id="22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9:08.635" v="13403" actId="207"/>
          <ac:spMkLst>
            <pc:docMk/>
            <pc:sldMk cId="3849776590" sldId="542"/>
            <ac:spMk id="228" creationId="{00000000-0000-0000-0000-000000000000}"/>
          </ac:spMkLst>
        </pc:spChg>
        <pc:grpChg chg="mod">
          <ac:chgData name="Dirk Laschat" userId="9253a62a-3edb-4e48-8ef7-64f354bb20dc" providerId="ADAL" clId="{F40834C7-0DA5-4DB1-A929-605080315E23}" dt="2018-08-05T13:29:53.064" v="13406" actId="14861"/>
          <ac:grpSpMkLst>
            <pc:docMk/>
            <pc:sldMk cId="3849776590" sldId="542"/>
            <ac:grpSpMk id="164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05T13:27:52.764" v="13377" actId="207"/>
          <ac:grpSpMkLst>
            <pc:docMk/>
            <pc:sldMk cId="3849776590" sldId="542"/>
            <ac:grpSpMk id="215" creationId="{00000000-0000-0000-0000-000000000000}"/>
          </ac:grpSpMkLst>
        </pc:grpChg>
        <pc:grpChg chg="del">
          <ac:chgData name="Dirk Laschat" userId="9253a62a-3edb-4e48-8ef7-64f354bb20dc" providerId="ADAL" clId="{F40834C7-0DA5-4DB1-A929-605080315E23}" dt="2018-08-05T13:28:05.488" v="13379" actId="478"/>
          <ac:grpSpMkLst>
            <pc:docMk/>
            <pc:sldMk cId="3849776590" sldId="542"/>
            <ac:grpSpMk id="221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05T13:29:01.630" v="13402" actId="207"/>
          <ac:grpSpMkLst>
            <pc:docMk/>
            <pc:sldMk cId="3849776590" sldId="542"/>
            <ac:grpSpMk id="226" creationId="{00000000-0000-0000-0000-000000000000}"/>
          </ac:grpSpMkLst>
        </pc:grpChg>
        <pc:picChg chg="del">
          <ac:chgData name="Dirk Laschat" userId="9253a62a-3edb-4e48-8ef7-64f354bb20dc" providerId="ADAL" clId="{F40834C7-0DA5-4DB1-A929-605080315E23}" dt="2018-08-05T13:30:01.837" v="13407" actId="478"/>
          <ac:picMkLst>
            <pc:docMk/>
            <pc:sldMk cId="3849776590" sldId="542"/>
            <ac:picMk id="231" creationId="{00000000-0000-0000-0000-000000000000}"/>
          </ac:picMkLst>
        </pc:picChg>
      </pc:sldChg>
      <pc:sldChg chg="delSp modSp">
        <pc:chgData name="Dirk Laschat" userId="9253a62a-3edb-4e48-8ef7-64f354bb20dc" providerId="ADAL" clId="{F40834C7-0DA5-4DB1-A929-605080315E23}" dt="2018-08-05T13:35:08.122" v="13455" actId="478"/>
        <pc:sldMkLst>
          <pc:docMk/>
          <pc:sldMk cId="4183190601" sldId="543"/>
        </pc:sldMkLst>
        <pc:spChg chg="del">
          <ac:chgData name="Dirk Laschat" userId="9253a62a-3edb-4e48-8ef7-64f354bb20dc" providerId="ADAL" clId="{F40834C7-0DA5-4DB1-A929-605080315E23}" dt="2018-08-05T13:35:08.122" v="13455" actId="478"/>
          <ac:spMkLst>
            <pc:docMk/>
            <pc:sldMk cId="4183190601" sldId="543"/>
            <ac:spMk id="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0:07.833" v="13323" actId="207"/>
          <ac:spMkLst>
            <pc:docMk/>
            <pc:sldMk cId="4183190601" sldId="543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0:16.525" v="13326" actId="207"/>
          <ac:spMkLst>
            <pc:docMk/>
            <pc:sldMk cId="4183190601" sldId="543"/>
            <ac:spMk id="1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0:18.781" v="13327" actId="207"/>
          <ac:spMkLst>
            <pc:docMk/>
            <pc:sldMk cId="4183190601" sldId="543"/>
            <ac:spMk id="1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0:10.824" v="13324" actId="207"/>
          <ac:spMkLst>
            <pc:docMk/>
            <pc:sldMk cId="4183190601" sldId="543"/>
            <ac:spMk id="1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0:28.605" v="13329" actId="208"/>
          <ac:spMkLst>
            <pc:docMk/>
            <pc:sldMk cId="4183190601" sldId="543"/>
            <ac:spMk id="3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0:33.961" v="13331" actId="208"/>
          <ac:spMkLst>
            <pc:docMk/>
            <pc:sldMk cId="4183190601" sldId="543"/>
            <ac:spMk id="3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0:44.188" v="13335" actId="208"/>
          <ac:spMkLst>
            <pc:docMk/>
            <pc:sldMk cId="4183190601" sldId="543"/>
            <ac:spMk id="4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0:38.872" v="13333" actId="208"/>
          <ac:spMkLst>
            <pc:docMk/>
            <pc:sldMk cId="4183190601" sldId="543"/>
            <ac:spMk id="41" creationId="{00000000-0000-0000-0000-000000000000}"/>
          </ac:spMkLst>
        </pc:spChg>
      </pc:sldChg>
      <pc:sldChg chg="addSp delSp modSp add del">
        <pc:chgData name="Dirk Laschat" userId="9253a62a-3edb-4e48-8ef7-64f354bb20dc" providerId="ADAL" clId="{F40834C7-0DA5-4DB1-A929-605080315E23}" dt="2018-08-05T13:20:58.530" v="13336" actId="207"/>
        <pc:sldMkLst>
          <pc:docMk/>
          <pc:sldMk cId="3996936506" sldId="546"/>
        </pc:sldMkLst>
        <pc:spChg chg="mod">
          <ac:chgData name="Dirk Laschat" userId="9253a62a-3edb-4e48-8ef7-64f354bb20dc" providerId="ADAL" clId="{F40834C7-0DA5-4DB1-A929-605080315E23}" dt="2018-08-05T11:29:09.106" v="13084" actId="207"/>
          <ac:spMkLst>
            <pc:docMk/>
            <pc:sldMk cId="3996936506" sldId="546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7:55.109" v="13079" actId="207"/>
          <ac:spMkLst>
            <pc:docMk/>
            <pc:sldMk cId="3996936506" sldId="546"/>
            <ac:spMk id="8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5T11:29:21.502" v="13088" actId="478"/>
          <ac:spMkLst>
            <pc:docMk/>
            <pc:sldMk cId="3996936506" sldId="546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8:22.957" v="13080" actId="207"/>
          <ac:spMkLst>
            <pc:docMk/>
            <pc:sldMk cId="3996936506" sldId="546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9:16.463" v="13085" actId="207"/>
          <ac:spMkLst>
            <pc:docMk/>
            <pc:sldMk cId="3996936506" sldId="546"/>
            <ac:spMk id="1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9:18.055" v="13086" actId="207"/>
          <ac:spMkLst>
            <pc:docMk/>
            <pc:sldMk cId="3996936506" sldId="546"/>
            <ac:spMk id="2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9:19.318" v="13087" actId="207"/>
          <ac:spMkLst>
            <pc:docMk/>
            <pc:sldMk cId="3996936506" sldId="546"/>
            <ac:spMk id="2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9:04.898" v="13083" actId="207"/>
          <ac:spMkLst>
            <pc:docMk/>
            <pc:sldMk cId="3996936506" sldId="546"/>
            <ac:spMk id="3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3:20:58.530" v="13336" actId="207"/>
          <ac:spMkLst>
            <pc:docMk/>
            <pc:sldMk cId="3996936506" sldId="546"/>
            <ac:spMk id="3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1:28:27.577" v="13081" actId="207"/>
          <ac:spMkLst>
            <pc:docMk/>
            <pc:sldMk cId="3996936506" sldId="546"/>
            <ac:spMk id="38" creationId="{00000000-0000-0000-0000-000000000000}"/>
          </ac:spMkLst>
        </pc:spChg>
        <pc:spChg chg="add del mod">
          <ac:chgData name="Dirk Laschat" userId="9253a62a-3edb-4e48-8ef7-64f354bb20dc" providerId="ADAL" clId="{F40834C7-0DA5-4DB1-A929-605080315E23}" dt="2018-08-05T11:29:23.307" v="13089" actId="478"/>
          <ac:spMkLst>
            <pc:docMk/>
            <pc:sldMk cId="3996936506" sldId="546"/>
            <ac:spMk id="39" creationId="{9141A05A-8165-4522-8C14-4097F205119F}"/>
          </ac:spMkLst>
        </pc:spChg>
      </pc:sldChg>
      <pc:sldChg chg="modSp">
        <pc:chgData name="Dirk Laschat" userId="9253a62a-3edb-4e48-8ef7-64f354bb20dc" providerId="ADAL" clId="{F40834C7-0DA5-4DB1-A929-605080315E23}" dt="2018-08-01T15:25:56.996" v="17" actId="14100"/>
        <pc:sldMkLst>
          <pc:docMk/>
          <pc:sldMk cId="948334163" sldId="799"/>
        </pc:sldMkLst>
        <pc:spChg chg="mod">
          <ac:chgData name="Dirk Laschat" userId="9253a62a-3edb-4e48-8ef7-64f354bb20dc" providerId="ADAL" clId="{F40834C7-0DA5-4DB1-A929-605080315E23}" dt="2018-08-01T15:25:56.996" v="17" actId="14100"/>
          <ac:spMkLst>
            <pc:docMk/>
            <pc:sldMk cId="948334163" sldId="799"/>
            <ac:spMk id="2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20T13:10:43.213" v="16857" actId="207"/>
        <pc:sldMkLst>
          <pc:docMk/>
          <pc:sldMk cId="1256230483" sldId="869"/>
        </pc:sldMkLst>
        <pc:graphicFrameChg chg="modGraphic">
          <ac:chgData name="Dirk Laschat" userId="9253a62a-3edb-4e48-8ef7-64f354bb20dc" providerId="ADAL" clId="{F40834C7-0DA5-4DB1-A929-605080315E23}" dt="2018-08-20T13:10:43.213" v="16857" actId="207"/>
          <ac:graphicFrameMkLst>
            <pc:docMk/>
            <pc:sldMk cId="1256230483" sldId="869"/>
            <ac:graphicFrameMk id="2" creationId="{00000000-0000-0000-0000-000000000000}"/>
          </ac:graphicFrameMkLst>
        </pc:graphicFrameChg>
      </pc:sldChg>
      <pc:sldChg chg="modSp">
        <pc:chgData name="Dirk Laschat" userId="9253a62a-3edb-4e48-8ef7-64f354bb20dc" providerId="ADAL" clId="{F40834C7-0DA5-4DB1-A929-605080315E23}" dt="2018-08-20T12:58:13.648" v="16742" actId="207"/>
        <pc:sldMkLst>
          <pc:docMk/>
          <pc:sldMk cId="886151656" sldId="902"/>
        </pc:sldMkLst>
        <pc:spChg chg="mod">
          <ac:chgData name="Dirk Laschat" userId="9253a62a-3edb-4e48-8ef7-64f354bb20dc" providerId="ADAL" clId="{F40834C7-0DA5-4DB1-A929-605080315E23}" dt="2018-08-20T12:58:13.648" v="16742" actId="207"/>
          <ac:spMkLst>
            <pc:docMk/>
            <pc:sldMk cId="886151656" sldId="902"/>
            <ac:spMk id="1486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20T12:58:47.753" v="16750" actId="207"/>
        <pc:sldMkLst>
          <pc:docMk/>
          <pc:sldMk cId="1994116917" sldId="906"/>
        </pc:sldMkLst>
        <pc:spChg chg="mod">
          <ac:chgData name="Dirk Laschat" userId="9253a62a-3edb-4e48-8ef7-64f354bb20dc" providerId="ADAL" clId="{F40834C7-0DA5-4DB1-A929-605080315E23}" dt="2018-08-20T12:58:47.753" v="16750" actId="207"/>
          <ac:spMkLst>
            <pc:docMk/>
            <pc:sldMk cId="1994116917" sldId="906"/>
            <ac:spMk id="1701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20T13:01:12.344" v="16786" actId="207"/>
        <pc:sldMkLst>
          <pc:docMk/>
          <pc:sldMk cId="1493228937" sldId="907"/>
        </pc:sldMkLst>
        <pc:spChg chg="mod">
          <ac:chgData name="Dirk Laschat" userId="9253a62a-3edb-4e48-8ef7-64f354bb20dc" providerId="ADAL" clId="{F40834C7-0DA5-4DB1-A929-605080315E23}" dt="2018-08-20T13:01:08.571" v="16784" actId="207"/>
          <ac:spMkLst>
            <pc:docMk/>
            <pc:sldMk cId="1493228937" sldId="907"/>
            <ac:spMk id="175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1:02.510" v="16781" actId="207"/>
          <ac:spMkLst>
            <pc:docMk/>
            <pc:sldMk cId="1493228937" sldId="907"/>
            <ac:spMk id="175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1:11.219" v="16785" actId="207"/>
          <ac:spMkLst>
            <pc:docMk/>
            <pc:sldMk cId="1493228937" sldId="907"/>
            <ac:spMk id="175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1:12.344" v="16786" actId="207"/>
          <ac:spMkLst>
            <pc:docMk/>
            <pc:sldMk cId="1493228937" sldId="907"/>
            <ac:spMk id="175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1:03.603" v="16782" actId="207"/>
          <ac:spMkLst>
            <pc:docMk/>
            <pc:sldMk cId="1493228937" sldId="907"/>
            <ac:spMk id="1758" creationId="{00000000-0000-0000-0000-000000000000}"/>
          </ac:spMkLst>
        </pc:spChg>
        <pc:grpChg chg="mod">
          <ac:chgData name="Dirk Laschat" userId="9253a62a-3edb-4e48-8ef7-64f354bb20dc" providerId="ADAL" clId="{F40834C7-0DA5-4DB1-A929-605080315E23}" dt="2018-08-20T13:01:06.196" v="16783" actId="1076"/>
          <ac:grpSpMkLst>
            <pc:docMk/>
            <pc:sldMk cId="1493228937" sldId="907"/>
            <ac:grpSpMk id="1767" creationId="{00000000-0000-0000-0000-000000000000}"/>
          </ac:grpSpMkLst>
        </pc:grpChg>
      </pc:sldChg>
      <pc:sldChg chg="modSp">
        <pc:chgData name="Dirk Laschat" userId="9253a62a-3edb-4e48-8ef7-64f354bb20dc" providerId="ADAL" clId="{F40834C7-0DA5-4DB1-A929-605080315E23}" dt="2018-08-01T16:35:23.183" v="4183" actId="207"/>
        <pc:sldMkLst>
          <pc:docMk/>
          <pc:sldMk cId="1265727025" sldId="912"/>
        </pc:sldMkLst>
        <pc:spChg chg="mod">
          <ac:chgData name="Dirk Laschat" userId="9253a62a-3edb-4e48-8ef7-64f354bb20dc" providerId="ADAL" clId="{F40834C7-0DA5-4DB1-A929-605080315E23}" dt="2018-08-01T16:35:23.183" v="4183" actId="207"/>
          <ac:spMkLst>
            <pc:docMk/>
            <pc:sldMk cId="1265727025" sldId="912"/>
            <ac:spMk id="268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35:19.590" v="4182" actId="207"/>
          <ac:spMkLst>
            <pc:docMk/>
            <pc:sldMk cId="1265727025" sldId="912"/>
            <ac:spMk id="2689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20T12:58:37.706" v="16748" actId="207"/>
        <pc:sldMkLst>
          <pc:docMk/>
          <pc:sldMk cId="2119351940" sldId="915"/>
        </pc:sldMkLst>
        <pc:spChg chg="mod">
          <ac:chgData name="Dirk Laschat" userId="9253a62a-3edb-4e48-8ef7-64f354bb20dc" providerId="ADAL" clId="{F40834C7-0DA5-4DB1-A929-605080315E23}" dt="2018-08-20T12:58:22.749" v="16744" actId="207"/>
          <ac:spMkLst>
            <pc:docMk/>
            <pc:sldMk cId="2119351940" sldId="915"/>
            <ac:spMk id="1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8:27.295" v="16746" actId="207"/>
          <ac:spMkLst>
            <pc:docMk/>
            <pc:sldMk cId="2119351940" sldId="915"/>
            <ac:spMk id="1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8:37.706" v="16748" actId="207"/>
          <ac:spMkLst>
            <pc:docMk/>
            <pc:sldMk cId="2119351940" sldId="915"/>
            <ac:spMk id="2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8:31.669" v="16747" actId="207"/>
          <ac:spMkLst>
            <pc:docMk/>
            <pc:sldMk cId="2119351940" sldId="915"/>
            <ac:spMk id="2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8:20.337" v="16743" actId="207"/>
          <ac:spMkLst>
            <pc:docMk/>
            <pc:sldMk cId="2119351940" sldId="915"/>
            <ac:spMk id="2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5:50:59.654" v="533" actId="1036"/>
          <ac:spMkLst>
            <pc:docMk/>
            <pc:sldMk cId="2119351940" sldId="915"/>
            <ac:spMk id="3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5:51:02.773" v="548" actId="1035"/>
          <ac:spMkLst>
            <pc:docMk/>
            <pc:sldMk cId="2119351940" sldId="915"/>
            <ac:spMk id="3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5:51:04.761" v="556" actId="1035"/>
          <ac:spMkLst>
            <pc:docMk/>
            <pc:sldMk cId="2119351940" sldId="915"/>
            <ac:spMk id="36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20T12:58:43.111" v="16749" actId="207"/>
        <pc:sldMkLst>
          <pc:docMk/>
          <pc:sldMk cId="137868602" sldId="918"/>
        </pc:sldMkLst>
        <pc:spChg chg="mod">
          <ac:chgData name="Dirk Laschat" userId="9253a62a-3edb-4e48-8ef7-64f354bb20dc" providerId="ADAL" clId="{F40834C7-0DA5-4DB1-A929-605080315E23}" dt="2018-08-20T12:58:43.111" v="16749" actId="207"/>
          <ac:spMkLst>
            <pc:docMk/>
            <pc:sldMk cId="137868602" sldId="918"/>
            <ac:spMk id="21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20T13:02:07.522" v="16809" actId="207"/>
        <pc:sldMkLst>
          <pc:docMk/>
          <pc:sldMk cId="1533990132" sldId="921"/>
        </pc:sldMkLst>
        <pc:spChg chg="mod">
          <ac:chgData name="Dirk Laschat" userId="9253a62a-3edb-4e48-8ef7-64f354bb20dc" providerId="ADAL" clId="{F40834C7-0DA5-4DB1-A929-605080315E23}" dt="2018-08-20T13:01:57.608" v="16805" actId="207"/>
          <ac:spMkLst>
            <pc:docMk/>
            <pc:sldMk cId="1533990132" sldId="921"/>
            <ac:spMk id="1328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2:00.794" v="16806" actId="207"/>
          <ac:spMkLst>
            <pc:docMk/>
            <pc:sldMk cId="1533990132" sldId="921"/>
            <ac:spMk id="1328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2:02.265" v="16807" actId="207"/>
          <ac:spMkLst>
            <pc:docMk/>
            <pc:sldMk cId="1533990132" sldId="921"/>
            <ac:spMk id="1328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2:04.593" v="16808" actId="207"/>
          <ac:spMkLst>
            <pc:docMk/>
            <pc:sldMk cId="1533990132" sldId="921"/>
            <ac:spMk id="1329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2:07.522" v="16809" actId="207"/>
          <ac:spMkLst>
            <pc:docMk/>
            <pc:sldMk cId="1533990132" sldId="921"/>
            <ac:spMk id="13291" creationId="{00000000-0000-0000-0000-000000000000}"/>
          </ac:spMkLst>
        </pc:spChg>
      </pc:sldChg>
      <pc:sldChg chg="modSp ord">
        <pc:chgData name="Dirk Laschat" userId="9253a62a-3edb-4e48-8ef7-64f354bb20dc" providerId="ADAL" clId="{F40834C7-0DA5-4DB1-A929-605080315E23}" dt="2018-08-20T13:25:23.901" v="17628" actId="207"/>
        <pc:sldMkLst>
          <pc:docMk/>
          <pc:sldMk cId="1238967290" sldId="922"/>
        </pc:sldMkLst>
        <pc:spChg chg="mod">
          <ac:chgData name="Dirk Laschat" userId="9253a62a-3edb-4e48-8ef7-64f354bb20dc" providerId="ADAL" clId="{F40834C7-0DA5-4DB1-A929-605080315E23}" dt="2018-08-20T13:11:11.088" v="16858" actId="207"/>
          <ac:spMkLst>
            <pc:docMk/>
            <pc:sldMk cId="1238967290" sldId="922"/>
            <ac:spMk id="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11:13.244" v="16859" actId="207"/>
          <ac:spMkLst>
            <pc:docMk/>
            <pc:sldMk cId="1238967290" sldId="922"/>
            <ac:spMk id="5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11:15.649" v="16860" actId="207"/>
          <ac:spMkLst>
            <pc:docMk/>
            <pc:sldMk cId="1238967290" sldId="922"/>
            <ac:spMk id="5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11:17.680" v="16861" actId="207"/>
          <ac:spMkLst>
            <pc:docMk/>
            <pc:sldMk cId="1238967290" sldId="922"/>
            <ac:spMk id="56" creationId="{00000000-0000-0000-0000-000000000000}"/>
          </ac:spMkLst>
        </pc:spChg>
      </pc:sldChg>
      <pc:sldChg chg="addSp modSp ord">
        <pc:chgData name="Dirk Laschat" userId="9253a62a-3edb-4e48-8ef7-64f354bb20dc" providerId="ADAL" clId="{F40834C7-0DA5-4DB1-A929-605080315E23}" dt="2018-08-20T13:25:23.901" v="17628" actId="207"/>
        <pc:sldMkLst>
          <pc:docMk/>
          <pc:sldMk cId="1321801718" sldId="923"/>
        </pc:sldMkLst>
        <pc:spChg chg="add mod">
          <ac:chgData name="Dirk Laschat" userId="9253a62a-3edb-4e48-8ef7-64f354bb20dc" providerId="ADAL" clId="{F40834C7-0DA5-4DB1-A929-605080315E23}" dt="2018-08-20T13:19:16.283" v="17128" actId="207"/>
          <ac:spMkLst>
            <pc:docMk/>
            <pc:sldMk cId="1321801718" sldId="923"/>
            <ac:spMk id="15" creationId="{93F1C46E-6F88-4415-B0AE-19A85FA28D7C}"/>
          </ac:spMkLst>
        </pc:spChg>
        <pc:spChg chg="add mod">
          <ac:chgData name="Dirk Laschat" userId="9253a62a-3edb-4e48-8ef7-64f354bb20dc" providerId="ADAL" clId="{F40834C7-0DA5-4DB1-A929-605080315E23}" dt="2018-08-20T13:19:16.283" v="17128" actId="207"/>
          <ac:spMkLst>
            <pc:docMk/>
            <pc:sldMk cId="1321801718" sldId="923"/>
            <ac:spMk id="17" creationId="{27B5F129-9688-4F6C-89BE-5AE02FEF06AB}"/>
          </ac:spMkLst>
        </pc:spChg>
        <pc:spChg chg="mod">
          <ac:chgData name="Dirk Laschat" userId="9253a62a-3edb-4e48-8ef7-64f354bb20dc" providerId="ADAL" clId="{F40834C7-0DA5-4DB1-A929-605080315E23}" dt="2018-08-20T13:18:58.094" v="16980" actId="1035"/>
          <ac:spMkLst>
            <pc:docMk/>
            <pc:sldMk cId="1321801718" sldId="923"/>
            <ac:spMk id="2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18:58.094" v="16980" actId="1035"/>
          <ac:spMkLst>
            <pc:docMk/>
            <pc:sldMk cId="1321801718" sldId="923"/>
            <ac:spMk id="2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18:58.094" v="16980" actId="1035"/>
          <ac:spMkLst>
            <pc:docMk/>
            <pc:sldMk cId="1321801718" sldId="923"/>
            <ac:spMk id="2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18:58.094" v="16980" actId="1035"/>
          <ac:spMkLst>
            <pc:docMk/>
            <pc:sldMk cId="1321801718" sldId="923"/>
            <ac:spMk id="2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18:58.094" v="16980" actId="1035"/>
          <ac:spMkLst>
            <pc:docMk/>
            <pc:sldMk cId="1321801718" sldId="923"/>
            <ac:spMk id="2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18:58.094" v="16980" actId="1035"/>
          <ac:spMkLst>
            <pc:docMk/>
            <pc:sldMk cId="1321801718" sldId="923"/>
            <ac:spMk id="3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18:58.094" v="16980" actId="1035"/>
          <ac:spMkLst>
            <pc:docMk/>
            <pc:sldMk cId="1321801718" sldId="923"/>
            <ac:spMk id="3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18:58.094" v="16980" actId="1035"/>
          <ac:spMkLst>
            <pc:docMk/>
            <pc:sldMk cId="1321801718" sldId="923"/>
            <ac:spMk id="32" creationId="{00000000-0000-0000-0000-000000000000}"/>
          </ac:spMkLst>
        </pc:spChg>
        <pc:grpChg chg="add mod">
          <ac:chgData name="Dirk Laschat" userId="9253a62a-3edb-4e48-8ef7-64f354bb20dc" providerId="ADAL" clId="{F40834C7-0DA5-4DB1-A929-605080315E23}" dt="2018-08-20T13:19:38.516" v="17154" actId="1036"/>
          <ac:grpSpMkLst>
            <pc:docMk/>
            <pc:sldMk cId="1321801718" sldId="923"/>
            <ac:grpSpMk id="3" creationId="{1CFE377B-F59A-4966-8218-7A562AF306E8}"/>
          </ac:grpSpMkLst>
        </pc:grpChg>
        <pc:cxnChg chg="mod">
          <ac:chgData name="Dirk Laschat" userId="9253a62a-3edb-4e48-8ef7-64f354bb20dc" providerId="ADAL" clId="{F40834C7-0DA5-4DB1-A929-605080315E23}" dt="2018-08-20T13:18:58.094" v="16980" actId="1035"/>
          <ac:cxnSpMkLst>
            <pc:docMk/>
            <pc:sldMk cId="1321801718" sldId="923"/>
            <ac:cxnSpMk id="5" creationId="{00000000-0000-0000-0000-000000000000}"/>
          </ac:cxnSpMkLst>
        </pc:cxnChg>
        <pc:cxnChg chg="mod">
          <ac:chgData name="Dirk Laschat" userId="9253a62a-3edb-4e48-8ef7-64f354bb20dc" providerId="ADAL" clId="{F40834C7-0DA5-4DB1-A929-605080315E23}" dt="2018-08-20T13:18:58.094" v="16980" actId="1035"/>
          <ac:cxnSpMkLst>
            <pc:docMk/>
            <pc:sldMk cId="1321801718" sldId="923"/>
            <ac:cxnSpMk id="34" creationId="{00000000-0000-0000-0000-000000000000}"/>
          </ac:cxnSpMkLst>
        </pc:cxnChg>
        <pc:cxnChg chg="mod">
          <ac:chgData name="Dirk Laschat" userId="9253a62a-3edb-4e48-8ef7-64f354bb20dc" providerId="ADAL" clId="{F40834C7-0DA5-4DB1-A929-605080315E23}" dt="2018-08-20T13:18:58.094" v="16980" actId="1035"/>
          <ac:cxnSpMkLst>
            <pc:docMk/>
            <pc:sldMk cId="1321801718" sldId="923"/>
            <ac:cxnSpMk id="35" creationId="{00000000-0000-0000-0000-000000000000}"/>
          </ac:cxnSpMkLst>
        </pc:cxnChg>
      </pc:sldChg>
      <pc:sldChg chg="modSp">
        <pc:chgData name="Dirk Laschat" userId="9253a62a-3edb-4e48-8ef7-64f354bb20dc" providerId="ADAL" clId="{F40834C7-0DA5-4DB1-A929-605080315E23}" dt="2018-08-01T16:08:47.468" v="957" actId="207"/>
        <pc:sldMkLst>
          <pc:docMk/>
          <pc:sldMk cId="16842817" sldId="935"/>
        </pc:sldMkLst>
        <pc:graphicFrameChg chg="mod">
          <ac:chgData name="Dirk Laschat" userId="9253a62a-3edb-4e48-8ef7-64f354bb20dc" providerId="ADAL" clId="{F40834C7-0DA5-4DB1-A929-605080315E23}" dt="2018-08-01T16:08:47.468" v="957" actId="207"/>
          <ac:graphicFrameMkLst>
            <pc:docMk/>
            <pc:sldMk cId="16842817" sldId="935"/>
            <ac:graphicFrameMk id="2" creationId="{00000000-0000-0000-0000-000000000000}"/>
          </ac:graphicFrameMkLst>
        </pc:graphicFrameChg>
      </pc:sldChg>
      <pc:sldChg chg="addSp delSp modSp addCm delCm modCm">
        <pc:chgData name="Dirk Laschat" userId="9253a62a-3edb-4e48-8ef7-64f354bb20dc" providerId="ADAL" clId="{F40834C7-0DA5-4DB1-A929-605080315E23}" dt="2018-08-20T12:55:06.420" v="16715" actId="207"/>
        <pc:sldMkLst>
          <pc:docMk/>
          <pc:sldMk cId="1928286610" sldId="951"/>
        </pc:sldMkLst>
        <pc:spChg chg="mod">
          <ac:chgData name="Dirk Laschat" userId="9253a62a-3edb-4e48-8ef7-64f354bb20dc" providerId="ADAL" clId="{F40834C7-0DA5-4DB1-A929-605080315E23}" dt="2018-08-01T15:35:59.645" v="330" actId="1036"/>
          <ac:spMkLst>
            <pc:docMk/>
            <pc:sldMk cId="1928286610" sldId="951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4:29.787" v="16707" actId="207"/>
          <ac:spMkLst>
            <pc:docMk/>
            <pc:sldMk cId="1928286610" sldId="951"/>
            <ac:spMk id="1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4:32.630" v="16708" actId="207"/>
          <ac:spMkLst>
            <pc:docMk/>
            <pc:sldMk cId="1928286610" sldId="951"/>
            <ac:spMk id="1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4:35.489" v="16709" actId="207"/>
          <ac:spMkLst>
            <pc:docMk/>
            <pc:sldMk cId="1928286610" sldId="951"/>
            <ac:spMk id="1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4:53.285" v="16713" actId="207"/>
          <ac:spMkLst>
            <pc:docMk/>
            <pc:sldMk cId="1928286610" sldId="951"/>
            <ac:spMk id="1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4:50.224" v="16712" actId="207"/>
          <ac:spMkLst>
            <pc:docMk/>
            <pc:sldMk cId="1928286610" sldId="951"/>
            <ac:spMk id="1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4:46.262" v="16711" actId="207"/>
          <ac:spMkLst>
            <pc:docMk/>
            <pc:sldMk cId="1928286610" sldId="951"/>
            <ac:spMk id="1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4:42.268" v="16710" actId="207"/>
          <ac:spMkLst>
            <pc:docMk/>
            <pc:sldMk cId="1928286610" sldId="951"/>
            <ac:spMk id="1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5:06.420" v="16715" actId="207"/>
          <ac:spMkLst>
            <pc:docMk/>
            <pc:sldMk cId="1928286610" sldId="951"/>
            <ac:spMk id="20" creationId="{00000000-0000-0000-0000-000000000000}"/>
          </ac:spMkLst>
        </pc:spChg>
        <pc:spChg chg="add mod">
          <ac:chgData name="Dirk Laschat" userId="9253a62a-3edb-4e48-8ef7-64f354bb20dc" providerId="ADAL" clId="{F40834C7-0DA5-4DB1-A929-605080315E23}" dt="2018-08-01T15:43:02.635" v="381" actId="207"/>
          <ac:spMkLst>
            <pc:docMk/>
            <pc:sldMk cId="1928286610" sldId="951"/>
            <ac:spMk id="21" creationId="{5236733B-FFB1-47E9-BAF9-10772D81A4F0}"/>
          </ac:spMkLst>
        </pc:spChg>
        <pc:spChg chg="add mod">
          <ac:chgData name="Dirk Laschat" userId="9253a62a-3edb-4e48-8ef7-64f354bb20dc" providerId="ADAL" clId="{F40834C7-0DA5-4DB1-A929-605080315E23}" dt="2018-08-01T15:43:06.476" v="382" actId="207"/>
          <ac:spMkLst>
            <pc:docMk/>
            <pc:sldMk cId="1928286610" sldId="951"/>
            <ac:spMk id="22" creationId="{05AF8AE1-0FA5-4C38-8B3B-1E6F0EEC6B9E}"/>
          </ac:spMkLst>
        </pc:spChg>
        <pc:spChg chg="add mod">
          <ac:chgData name="Dirk Laschat" userId="9253a62a-3edb-4e48-8ef7-64f354bb20dc" providerId="ADAL" clId="{F40834C7-0DA5-4DB1-A929-605080315E23}" dt="2018-08-01T15:43:10.411" v="383" actId="207"/>
          <ac:spMkLst>
            <pc:docMk/>
            <pc:sldMk cId="1928286610" sldId="951"/>
            <ac:spMk id="23" creationId="{A93968E7-0C34-4646-95F2-5B2DE7B42059}"/>
          </ac:spMkLst>
        </pc:spChg>
        <pc:spChg chg="add mod">
          <ac:chgData name="Dirk Laschat" userId="9253a62a-3edb-4e48-8ef7-64f354bb20dc" providerId="ADAL" clId="{F40834C7-0DA5-4DB1-A929-605080315E23}" dt="2018-08-01T15:43:15.870" v="384" actId="207"/>
          <ac:spMkLst>
            <pc:docMk/>
            <pc:sldMk cId="1928286610" sldId="951"/>
            <ac:spMk id="24" creationId="{5F1C166C-A298-45B0-BF70-3A8DB1E99B8B}"/>
          </ac:spMkLst>
        </pc:spChg>
        <pc:spChg chg="add mod">
          <ac:chgData name="Dirk Laschat" userId="9253a62a-3edb-4e48-8ef7-64f354bb20dc" providerId="ADAL" clId="{F40834C7-0DA5-4DB1-A929-605080315E23}" dt="2018-08-01T15:43:19.769" v="385" actId="207"/>
          <ac:spMkLst>
            <pc:docMk/>
            <pc:sldMk cId="1928286610" sldId="951"/>
            <ac:spMk id="25" creationId="{5609DD75-3206-4A8F-95F5-8F3EE12D07BD}"/>
          </ac:spMkLst>
        </pc:spChg>
        <pc:grpChg chg="add del mod">
          <ac:chgData name="Dirk Laschat" userId="9253a62a-3edb-4e48-8ef7-64f354bb20dc" providerId="ADAL" clId="{F40834C7-0DA5-4DB1-A929-605080315E23}" dt="2018-08-01T15:49:40.391" v="473" actId="478"/>
          <ac:grpSpMkLst>
            <pc:docMk/>
            <pc:sldMk cId="1928286610" sldId="951"/>
            <ac:grpSpMk id="3" creationId="{8DA4BC4D-5149-4A3F-95A0-EEA9C65FADA9}"/>
          </ac:grpSpMkLst>
        </pc:grpChg>
      </pc:sldChg>
      <pc:sldChg chg="addSp delSp modSp">
        <pc:chgData name="Dirk Laschat" userId="9253a62a-3edb-4e48-8ef7-64f354bb20dc" providerId="ADAL" clId="{F40834C7-0DA5-4DB1-A929-605080315E23}" dt="2018-08-20T12:55:38.863" v="16721" actId="207"/>
        <pc:sldMkLst>
          <pc:docMk/>
          <pc:sldMk cId="1999046160" sldId="952"/>
        </pc:sldMkLst>
        <pc:spChg chg="mod">
          <ac:chgData name="Dirk Laschat" userId="9253a62a-3edb-4e48-8ef7-64f354bb20dc" providerId="ADAL" clId="{F40834C7-0DA5-4DB1-A929-605080315E23}" dt="2018-08-20T12:55:35.702" v="16720" actId="207"/>
          <ac:spMkLst>
            <pc:docMk/>
            <pc:sldMk cId="1999046160" sldId="952"/>
            <ac:spMk id="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5:38.863" v="16721" actId="207"/>
          <ac:spMkLst>
            <pc:docMk/>
            <pc:sldMk cId="1999046160" sldId="952"/>
            <ac:spMk id="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5:44:26.154" v="389" actId="207"/>
          <ac:spMkLst>
            <pc:docMk/>
            <pc:sldMk cId="1999046160" sldId="952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5:32.718" v="16719" actId="207"/>
          <ac:spMkLst>
            <pc:docMk/>
            <pc:sldMk cId="1999046160" sldId="952"/>
            <ac:spMk id="6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5:45:01.265" v="416" actId="478"/>
          <ac:spMkLst>
            <pc:docMk/>
            <pc:sldMk cId="1999046160" sldId="952"/>
            <ac:spMk id="29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5:45:01.265" v="416" actId="478"/>
          <ac:spMkLst>
            <pc:docMk/>
            <pc:sldMk cId="1999046160" sldId="952"/>
            <ac:spMk id="30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5:45:01.265" v="416" actId="478"/>
          <ac:spMkLst>
            <pc:docMk/>
            <pc:sldMk cId="1999046160" sldId="952"/>
            <ac:spMk id="33" creationId="{00000000-0000-0000-0000-000000000000}"/>
          </ac:spMkLst>
        </pc:spChg>
        <pc:spChg chg="del">
          <ac:chgData name="Dirk Laschat" userId="9253a62a-3edb-4e48-8ef7-64f354bb20dc" providerId="ADAL" clId="{F40834C7-0DA5-4DB1-A929-605080315E23}" dt="2018-08-01T15:45:01.265" v="416" actId="478"/>
          <ac:spMkLst>
            <pc:docMk/>
            <pc:sldMk cId="1999046160" sldId="952"/>
            <ac:spMk id="34" creationId="{00000000-0000-0000-0000-000000000000}"/>
          </ac:spMkLst>
        </pc:spChg>
        <pc:spChg chg="add mod">
          <ac:chgData name="Dirk Laschat" userId="9253a62a-3edb-4e48-8ef7-64f354bb20dc" providerId="ADAL" clId="{F40834C7-0DA5-4DB1-A929-605080315E23}" dt="2018-08-01T15:45:07.266" v="450" actId="1037"/>
          <ac:spMkLst>
            <pc:docMk/>
            <pc:sldMk cId="1999046160" sldId="952"/>
            <ac:spMk id="35" creationId="{892DD637-1D69-4F4E-8292-B9AEC7C835EE}"/>
          </ac:spMkLst>
        </pc:spChg>
        <pc:spChg chg="add mod">
          <ac:chgData name="Dirk Laschat" userId="9253a62a-3edb-4e48-8ef7-64f354bb20dc" providerId="ADAL" clId="{F40834C7-0DA5-4DB1-A929-605080315E23}" dt="2018-08-20T12:55:15.644" v="16716" actId="207"/>
          <ac:spMkLst>
            <pc:docMk/>
            <pc:sldMk cId="1999046160" sldId="952"/>
            <ac:spMk id="36" creationId="{47A45BC5-F18E-4E68-9BE3-967FE3520B68}"/>
          </ac:spMkLst>
        </pc:spChg>
        <pc:spChg chg="add mod">
          <ac:chgData name="Dirk Laschat" userId="9253a62a-3edb-4e48-8ef7-64f354bb20dc" providerId="ADAL" clId="{F40834C7-0DA5-4DB1-A929-605080315E23}" dt="2018-08-20T12:55:23.152" v="16717" actId="207"/>
          <ac:spMkLst>
            <pc:docMk/>
            <pc:sldMk cId="1999046160" sldId="952"/>
            <ac:spMk id="37" creationId="{9D25E38F-04E7-42C7-806C-2B91A1F3F606}"/>
          </ac:spMkLst>
        </pc:spChg>
        <pc:spChg chg="add mod">
          <ac:chgData name="Dirk Laschat" userId="9253a62a-3edb-4e48-8ef7-64f354bb20dc" providerId="ADAL" clId="{F40834C7-0DA5-4DB1-A929-605080315E23}" dt="2018-08-20T12:55:26.463" v="16718" actId="207"/>
          <ac:spMkLst>
            <pc:docMk/>
            <pc:sldMk cId="1999046160" sldId="952"/>
            <ac:spMk id="38" creationId="{986924E5-3CC9-4917-892A-C61B169AA35A}"/>
          </ac:spMkLst>
        </pc:spChg>
      </pc:sldChg>
      <pc:sldChg chg="modSp">
        <pc:chgData name="Dirk Laschat" userId="9253a62a-3edb-4e48-8ef7-64f354bb20dc" providerId="ADAL" clId="{F40834C7-0DA5-4DB1-A929-605080315E23}" dt="2018-08-20T13:31:40.473" v="17668" actId="207"/>
        <pc:sldMkLst>
          <pc:docMk/>
          <pc:sldMk cId="842333767" sldId="953"/>
        </pc:sldMkLst>
        <pc:spChg chg="mod">
          <ac:chgData name="Dirk Laschat" userId="9253a62a-3edb-4e48-8ef7-64f354bb20dc" providerId="ADAL" clId="{F40834C7-0DA5-4DB1-A929-605080315E23}" dt="2018-08-20T13:31:27.416" v="17664" actId="207"/>
          <ac:spMkLst>
            <pc:docMk/>
            <pc:sldMk cId="842333767" sldId="953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31:31.488" v="17665" actId="207"/>
          <ac:spMkLst>
            <pc:docMk/>
            <pc:sldMk cId="842333767" sldId="953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31:34.706" v="17666" actId="207"/>
          <ac:spMkLst>
            <pc:docMk/>
            <pc:sldMk cId="842333767" sldId="953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09:24.991" v="961" actId="207"/>
          <ac:spMkLst>
            <pc:docMk/>
            <pc:sldMk cId="842333767" sldId="953"/>
            <ac:spMk id="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31:38.096" v="17667" actId="207"/>
          <ac:spMkLst>
            <pc:docMk/>
            <pc:sldMk cId="842333767" sldId="953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31:40.473" v="17668" actId="207"/>
          <ac:spMkLst>
            <pc:docMk/>
            <pc:sldMk cId="842333767" sldId="953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09:10.826" v="960" actId="207"/>
          <ac:spMkLst>
            <pc:docMk/>
            <pc:sldMk cId="842333767" sldId="953"/>
            <ac:spMk id="11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01T16:10:59.909" v="974" actId="207"/>
        <pc:sldMkLst>
          <pc:docMk/>
          <pc:sldMk cId="50628712" sldId="954"/>
        </pc:sldMkLst>
        <pc:grpChg chg="mod">
          <ac:chgData name="Dirk Laschat" userId="9253a62a-3edb-4e48-8ef7-64f354bb20dc" providerId="ADAL" clId="{F40834C7-0DA5-4DB1-A929-605080315E23}" dt="2018-08-01T16:10:59.909" v="974" actId="207"/>
          <ac:grpSpMkLst>
            <pc:docMk/>
            <pc:sldMk cId="50628712" sldId="954"/>
            <ac:grpSpMk id="280" creationId="{00000000-0000-0000-0000-000000000000}"/>
          </ac:grpSpMkLst>
        </pc:grpChg>
      </pc:sldChg>
      <pc:sldChg chg="modSp ord">
        <pc:chgData name="Dirk Laschat" userId="9253a62a-3edb-4e48-8ef7-64f354bb20dc" providerId="ADAL" clId="{F40834C7-0DA5-4DB1-A929-605080315E23}" dt="2018-08-20T13:31:13.219" v="17663" actId="207"/>
        <pc:sldMkLst>
          <pc:docMk/>
          <pc:sldMk cId="201298582" sldId="955"/>
        </pc:sldMkLst>
        <pc:spChg chg="mod">
          <ac:chgData name="Dirk Laschat" userId="9253a62a-3edb-4e48-8ef7-64f354bb20dc" providerId="ADAL" clId="{F40834C7-0DA5-4DB1-A929-605080315E23}" dt="2018-08-20T13:31:13.219" v="17663" actId="207"/>
          <ac:spMkLst>
            <pc:docMk/>
            <pc:sldMk cId="201298582" sldId="955"/>
            <ac:spMk id="7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12T11:09:40.592" v="13510" actId="20577"/>
        <pc:sldMkLst>
          <pc:docMk/>
          <pc:sldMk cId="1854477529" sldId="956"/>
        </pc:sldMkLst>
        <pc:graphicFrameChg chg="modGraphic">
          <ac:chgData name="Dirk Laschat" userId="9253a62a-3edb-4e48-8ef7-64f354bb20dc" providerId="ADAL" clId="{F40834C7-0DA5-4DB1-A929-605080315E23}" dt="2018-08-12T11:09:40.592" v="13510" actId="20577"/>
          <ac:graphicFrameMkLst>
            <pc:docMk/>
            <pc:sldMk cId="1854477529" sldId="956"/>
            <ac:graphicFrameMk id="3" creationId="{00000000-0000-0000-0000-000000000000}"/>
          </ac:graphicFrameMkLst>
        </pc:graphicFrameChg>
      </pc:sldChg>
      <pc:sldChg chg="modSp">
        <pc:chgData name="Dirk Laschat" userId="9253a62a-3edb-4e48-8ef7-64f354bb20dc" providerId="ADAL" clId="{F40834C7-0DA5-4DB1-A929-605080315E23}" dt="2018-08-20T12:56:04.300" v="16726" actId="207"/>
        <pc:sldMkLst>
          <pc:docMk/>
          <pc:sldMk cId="1036762731" sldId="957"/>
        </pc:sldMkLst>
        <pc:spChg chg="mod">
          <ac:chgData name="Dirk Laschat" userId="9253a62a-3edb-4e48-8ef7-64f354bb20dc" providerId="ADAL" clId="{F40834C7-0DA5-4DB1-A929-605080315E23}" dt="2018-08-20T12:56:04.300" v="16726" actId="207"/>
          <ac:spMkLst>
            <pc:docMk/>
            <pc:sldMk cId="1036762731" sldId="957"/>
            <ac:spMk id="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6:01.488" v="16725" actId="207"/>
          <ac:spMkLst>
            <pc:docMk/>
            <pc:sldMk cId="1036762731" sldId="957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5:49.746" v="16724" actId="207"/>
          <ac:spMkLst>
            <pc:docMk/>
            <pc:sldMk cId="1036762731" sldId="957"/>
            <ac:spMk id="2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5:46.830" v="16723" actId="207"/>
          <ac:spMkLst>
            <pc:docMk/>
            <pc:sldMk cId="1036762731" sldId="957"/>
            <ac:spMk id="2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5:44.424" v="16722" actId="207"/>
          <ac:spMkLst>
            <pc:docMk/>
            <pc:sldMk cId="1036762731" sldId="957"/>
            <ac:spMk id="22" creationId="{00000000-0000-0000-0000-000000000000}"/>
          </ac:spMkLst>
        </pc:spChg>
      </pc:sldChg>
      <pc:sldChg chg="modSp ord">
        <pc:chgData name="Dirk Laschat" userId="9253a62a-3edb-4e48-8ef7-64f354bb20dc" providerId="ADAL" clId="{F40834C7-0DA5-4DB1-A929-605080315E23}" dt="2018-08-20T13:31:01.647" v="17660" actId="207"/>
        <pc:sldMkLst>
          <pc:docMk/>
          <pc:sldMk cId="852674624" sldId="958"/>
        </pc:sldMkLst>
        <pc:spChg chg="mod">
          <ac:chgData name="Dirk Laschat" userId="9253a62a-3edb-4e48-8ef7-64f354bb20dc" providerId="ADAL" clId="{F40834C7-0DA5-4DB1-A929-605080315E23}" dt="2018-08-20T13:31:01.647" v="17660" actId="207"/>
          <ac:spMkLst>
            <pc:docMk/>
            <pc:sldMk cId="852674624" sldId="958"/>
            <ac:spMk id="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30:26.059" v="17650" actId="207"/>
          <ac:spMkLst>
            <pc:docMk/>
            <pc:sldMk cId="852674624" sldId="958"/>
            <ac:spMk id="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30:59.357" v="17659" actId="207"/>
          <ac:spMkLst>
            <pc:docMk/>
            <pc:sldMk cId="852674624" sldId="958"/>
            <ac:spMk id="5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20T12:56:47.065" v="16734" actId="207"/>
        <pc:sldMkLst>
          <pc:docMk/>
          <pc:sldMk cId="1803757679" sldId="959"/>
        </pc:sldMkLst>
        <pc:spChg chg="mod">
          <ac:chgData name="Dirk Laschat" userId="9253a62a-3edb-4e48-8ef7-64f354bb20dc" providerId="ADAL" clId="{F40834C7-0DA5-4DB1-A929-605080315E23}" dt="2018-08-01T15:45:59.325" v="454" actId="207"/>
          <ac:spMkLst>
            <pc:docMk/>
            <pc:sldMk cId="1803757679" sldId="959"/>
            <ac:spMk id="25" creationId="{00000000-0000-0000-0000-000000000000}"/>
          </ac:spMkLst>
        </pc:spChg>
        <pc:grpChg chg="mod">
          <ac:chgData name="Dirk Laschat" userId="9253a62a-3edb-4e48-8ef7-64f354bb20dc" providerId="ADAL" clId="{F40834C7-0DA5-4DB1-A929-605080315E23}" dt="2018-08-20T12:56:10.814" v="16727" actId="207"/>
          <ac:grpSpMkLst>
            <pc:docMk/>
            <pc:sldMk cId="1803757679" sldId="959"/>
            <ac:grpSpMk id="15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20T12:56:35.605" v="16732" actId="207"/>
          <ac:grpSpMkLst>
            <pc:docMk/>
            <pc:sldMk cId="1803757679" sldId="959"/>
            <ac:grpSpMk id="18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20T12:56:13.313" v="16728" actId="207"/>
          <ac:grpSpMkLst>
            <pc:docMk/>
            <pc:sldMk cId="1803757679" sldId="959"/>
            <ac:grpSpMk id="21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20T12:56:42.822" v="16733" actId="207"/>
          <ac:grpSpMkLst>
            <pc:docMk/>
            <pc:sldMk cId="1803757679" sldId="959"/>
            <ac:grpSpMk id="24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20T12:56:32.074" v="16731" actId="207"/>
          <ac:grpSpMkLst>
            <pc:docMk/>
            <pc:sldMk cId="1803757679" sldId="959"/>
            <ac:grpSpMk id="31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20T12:56:47.065" v="16734" actId="207"/>
          <ac:grpSpMkLst>
            <pc:docMk/>
            <pc:sldMk cId="1803757679" sldId="959"/>
            <ac:grpSpMk id="34" creationId="{00000000-0000-0000-0000-000000000000}"/>
          </ac:grpSpMkLst>
        </pc:grpChg>
      </pc:sldChg>
      <pc:sldChg chg="modSp">
        <pc:chgData name="Dirk Laschat" userId="9253a62a-3edb-4e48-8ef7-64f354bb20dc" providerId="ADAL" clId="{F40834C7-0DA5-4DB1-A929-605080315E23}" dt="2018-08-20T12:57:57.053" v="16740" actId="207"/>
        <pc:sldMkLst>
          <pc:docMk/>
          <pc:sldMk cId="172199086" sldId="960"/>
        </pc:sldMkLst>
        <pc:spChg chg="mod">
          <ac:chgData name="Dirk Laschat" userId="9253a62a-3edb-4e48-8ef7-64f354bb20dc" providerId="ADAL" clId="{F40834C7-0DA5-4DB1-A929-605080315E23}" dt="2018-08-01T15:47:21.326" v="458" actId="207"/>
          <ac:spMkLst>
            <pc:docMk/>
            <pc:sldMk cId="172199086" sldId="960"/>
            <ac:spMk id="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5:47:24.963" v="459" actId="207"/>
          <ac:spMkLst>
            <pc:docMk/>
            <pc:sldMk cId="172199086" sldId="960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5:47:29.130" v="460" actId="207"/>
          <ac:spMkLst>
            <pc:docMk/>
            <pc:sldMk cId="172199086" sldId="960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5:47:36.825" v="461" actId="207"/>
          <ac:spMkLst>
            <pc:docMk/>
            <pc:sldMk cId="172199086" sldId="960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7:54.741" v="16739" actId="207"/>
          <ac:spMkLst>
            <pc:docMk/>
            <pc:sldMk cId="172199086" sldId="960"/>
            <ac:spMk id="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7:57.053" v="16740" actId="207"/>
          <ac:spMkLst>
            <pc:docMk/>
            <pc:sldMk cId="172199086" sldId="960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7:09.770" v="16737" actId="207"/>
          <ac:spMkLst>
            <pc:docMk/>
            <pc:sldMk cId="172199086" sldId="960"/>
            <ac:spMk id="2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7:13.319" v="16738" actId="207"/>
          <ac:spMkLst>
            <pc:docMk/>
            <pc:sldMk cId="172199086" sldId="960"/>
            <ac:spMk id="2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5:48:46.286" v="470" actId="207"/>
          <ac:spMkLst>
            <pc:docMk/>
            <pc:sldMk cId="172199086" sldId="960"/>
            <ac:spMk id="2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7:00.890" v="16736" actId="207"/>
          <ac:spMkLst>
            <pc:docMk/>
            <pc:sldMk cId="172199086" sldId="960"/>
            <ac:spMk id="2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5:48:34.938" v="468" actId="207"/>
          <ac:spMkLst>
            <pc:docMk/>
            <pc:sldMk cId="172199086" sldId="960"/>
            <ac:spMk id="26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20T12:58:06.120" v="16741" actId="207"/>
        <pc:sldMkLst>
          <pc:docMk/>
          <pc:sldMk cId="1844087663" sldId="961"/>
        </pc:sldMkLst>
        <pc:spChg chg="mod">
          <ac:chgData name="Dirk Laschat" userId="9253a62a-3edb-4e48-8ef7-64f354bb20dc" providerId="ADAL" clId="{F40834C7-0DA5-4DB1-A929-605080315E23}" dt="2018-08-20T12:58:06.120" v="16741" actId="207"/>
          <ac:spMkLst>
            <pc:docMk/>
            <pc:sldMk cId="1844087663" sldId="961"/>
            <ac:spMk id="5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01T16:08:35.207" v="956" actId="207"/>
        <pc:sldMkLst>
          <pc:docMk/>
          <pc:sldMk cId="1625646955" sldId="962"/>
        </pc:sldMkLst>
        <pc:graphicFrameChg chg="modGraphic">
          <ac:chgData name="Dirk Laschat" userId="9253a62a-3edb-4e48-8ef7-64f354bb20dc" providerId="ADAL" clId="{F40834C7-0DA5-4DB1-A929-605080315E23}" dt="2018-08-01T16:08:35.207" v="956" actId="207"/>
          <ac:graphicFrameMkLst>
            <pc:docMk/>
            <pc:sldMk cId="1625646955" sldId="962"/>
            <ac:graphicFrameMk id="3" creationId="{00000000-0000-0000-0000-000000000000}"/>
          </ac:graphicFrameMkLst>
        </pc:graphicFrameChg>
      </pc:sldChg>
      <pc:sldChg chg="modSp">
        <pc:chgData name="Dirk Laschat" userId="9253a62a-3edb-4e48-8ef7-64f354bb20dc" providerId="ADAL" clId="{F40834C7-0DA5-4DB1-A929-605080315E23}" dt="2018-08-20T12:59:09.273" v="16756" actId="207"/>
        <pc:sldMkLst>
          <pc:docMk/>
          <pc:sldMk cId="120141914" sldId="963"/>
        </pc:sldMkLst>
        <pc:spChg chg="mod">
          <ac:chgData name="Dirk Laschat" userId="9253a62a-3edb-4e48-8ef7-64f354bb20dc" providerId="ADAL" clId="{F40834C7-0DA5-4DB1-A929-605080315E23}" dt="2018-08-20T12:58:52.690" v="16751" actId="207"/>
          <ac:spMkLst>
            <pc:docMk/>
            <pc:sldMk cId="120141914" sldId="963"/>
            <ac:spMk id="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9:01.378" v="16753" actId="207"/>
          <ac:spMkLst>
            <pc:docMk/>
            <pc:sldMk cId="120141914" sldId="963"/>
            <ac:spMk id="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9:03.993" v="16754" actId="207"/>
          <ac:spMkLst>
            <pc:docMk/>
            <pc:sldMk cId="120141914" sldId="963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5:53:30.096" v="573" actId="207"/>
          <ac:spMkLst>
            <pc:docMk/>
            <pc:sldMk cId="120141914" sldId="963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9:09.273" v="16756" actId="207"/>
          <ac:spMkLst>
            <pc:docMk/>
            <pc:sldMk cId="120141914" sldId="963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9:06.977" v="16755" actId="207"/>
          <ac:spMkLst>
            <pc:docMk/>
            <pc:sldMk cId="120141914" sldId="963"/>
            <ac:spMk id="8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01T16:11:51.699" v="981" actId="207"/>
        <pc:sldMkLst>
          <pc:docMk/>
          <pc:sldMk cId="737910390" sldId="968"/>
        </pc:sldMkLst>
        <pc:spChg chg="mod">
          <ac:chgData name="Dirk Laschat" userId="9253a62a-3edb-4e48-8ef7-64f354bb20dc" providerId="ADAL" clId="{F40834C7-0DA5-4DB1-A929-605080315E23}" dt="2018-08-01T16:11:37.004" v="978" actId="207"/>
          <ac:spMkLst>
            <pc:docMk/>
            <pc:sldMk cId="737910390" sldId="968"/>
            <ac:spMk id="5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11:28.583" v="976" actId="207"/>
          <ac:spMkLst>
            <pc:docMk/>
            <pc:sldMk cId="737910390" sldId="968"/>
            <ac:spMk id="6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11:31.206" v="977" actId="207"/>
          <ac:spMkLst>
            <pc:docMk/>
            <pc:sldMk cId="737910390" sldId="968"/>
            <ac:spMk id="6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11:25.389" v="975" actId="207"/>
          <ac:spMkLst>
            <pc:docMk/>
            <pc:sldMk cId="737910390" sldId="968"/>
            <ac:spMk id="7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11:40.125" v="979" actId="207"/>
          <ac:spMkLst>
            <pc:docMk/>
            <pc:sldMk cId="737910390" sldId="968"/>
            <ac:spMk id="8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11:43.143" v="980" actId="207"/>
          <ac:spMkLst>
            <pc:docMk/>
            <pc:sldMk cId="737910390" sldId="968"/>
            <ac:spMk id="81" creationId="{00000000-0000-0000-0000-000000000000}"/>
          </ac:spMkLst>
        </pc:spChg>
        <pc:grpChg chg="mod">
          <ac:chgData name="Dirk Laschat" userId="9253a62a-3edb-4e48-8ef7-64f354bb20dc" providerId="ADAL" clId="{F40834C7-0DA5-4DB1-A929-605080315E23}" dt="2018-08-01T16:11:51.699" v="981" actId="207"/>
          <ac:grpSpMkLst>
            <pc:docMk/>
            <pc:sldMk cId="737910390" sldId="968"/>
            <ac:grpSpMk id="27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01T16:11:51.699" v="981" actId="207"/>
          <ac:grpSpMkLst>
            <pc:docMk/>
            <pc:sldMk cId="737910390" sldId="968"/>
            <ac:grpSpMk id="30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01T16:11:51.699" v="981" actId="207"/>
          <ac:grpSpMkLst>
            <pc:docMk/>
            <pc:sldMk cId="737910390" sldId="968"/>
            <ac:grpSpMk id="33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01T16:11:51.699" v="981" actId="207"/>
          <ac:grpSpMkLst>
            <pc:docMk/>
            <pc:sldMk cId="737910390" sldId="968"/>
            <ac:grpSpMk id="36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01T16:11:51.699" v="981" actId="207"/>
          <ac:grpSpMkLst>
            <pc:docMk/>
            <pc:sldMk cId="737910390" sldId="968"/>
            <ac:grpSpMk id="39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01T16:11:51.699" v="981" actId="207"/>
          <ac:grpSpMkLst>
            <pc:docMk/>
            <pc:sldMk cId="737910390" sldId="968"/>
            <ac:grpSpMk id="42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01T16:11:51.699" v="981" actId="207"/>
          <ac:grpSpMkLst>
            <pc:docMk/>
            <pc:sldMk cId="737910390" sldId="968"/>
            <ac:grpSpMk id="45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01T16:11:51.699" v="981" actId="207"/>
          <ac:grpSpMkLst>
            <pc:docMk/>
            <pc:sldMk cId="737910390" sldId="968"/>
            <ac:grpSpMk id="48" creationId="{00000000-0000-0000-0000-000000000000}"/>
          </ac:grpSpMkLst>
        </pc:grpChg>
      </pc:sldChg>
      <pc:sldChg chg="modSp ord">
        <pc:chgData name="Dirk Laschat" userId="9253a62a-3edb-4e48-8ef7-64f354bb20dc" providerId="ADAL" clId="{F40834C7-0DA5-4DB1-A929-605080315E23}" dt="2018-08-20T13:30:41.030" v="17654" actId="207"/>
        <pc:sldMkLst>
          <pc:docMk/>
          <pc:sldMk cId="1482551168" sldId="970"/>
        </pc:sldMkLst>
        <pc:spChg chg="mod">
          <ac:chgData name="Dirk Laschat" userId="9253a62a-3edb-4e48-8ef7-64f354bb20dc" providerId="ADAL" clId="{F40834C7-0DA5-4DB1-A929-605080315E23}" dt="2018-08-20T13:30:39.124" v="17653" actId="207"/>
          <ac:spMkLst>
            <pc:docMk/>
            <pc:sldMk cId="1482551168" sldId="970"/>
            <ac:spMk id="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30:41.030" v="17654" actId="207"/>
          <ac:spMkLst>
            <pc:docMk/>
            <pc:sldMk cId="1482551168" sldId="970"/>
            <ac:spMk id="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30:37.090" v="17652" actId="207"/>
          <ac:spMkLst>
            <pc:docMk/>
            <pc:sldMk cId="1482551168" sldId="970"/>
            <ac:spMk id="5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20T13:00:55.370" v="16780" actId="207"/>
        <pc:sldMkLst>
          <pc:docMk/>
          <pc:sldMk cId="1701045289" sldId="971"/>
        </pc:sldMkLst>
        <pc:spChg chg="mod">
          <ac:chgData name="Dirk Laschat" userId="9253a62a-3edb-4e48-8ef7-64f354bb20dc" providerId="ADAL" clId="{F40834C7-0DA5-4DB1-A929-605080315E23}" dt="2018-08-01T15:58:34.803" v="898" actId="207"/>
          <ac:spMkLst>
            <pc:docMk/>
            <pc:sldMk cId="1701045289" sldId="971"/>
            <ac:spMk id="1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0:43.288" v="16773" actId="207"/>
          <ac:spMkLst>
            <pc:docMk/>
            <pc:sldMk cId="1701045289" sldId="971"/>
            <ac:spMk id="1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0:53.214" v="16777" actId="207"/>
          <ac:spMkLst>
            <pc:docMk/>
            <pc:sldMk cId="1701045289" sldId="971"/>
            <ac:spMk id="1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0:45.724" v="16774" actId="207"/>
          <ac:spMkLst>
            <pc:docMk/>
            <pc:sldMk cId="1701045289" sldId="971"/>
            <ac:spMk id="1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0:54.105" v="16778" actId="207"/>
          <ac:spMkLst>
            <pc:docMk/>
            <pc:sldMk cId="1701045289" sldId="971"/>
            <ac:spMk id="1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0:48.521" v="16775" actId="207"/>
          <ac:spMkLst>
            <pc:docMk/>
            <pc:sldMk cId="1701045289" sldId="971"/>
            <ac:spMk id="1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0:54.667" v="16779" actId="207"/>
          <ac:spMkLst>
            <pc:docMk/>
            <pc:sldMk cId="1701045289" sldId="971"/>
            <ac:spMk id="1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0:50.536" v="16776" actId="207"/>
          <ac:spMkLst>
            <pc:docMk/>
            <pc:sldMk cId="1701045289" sldId="971"/>
            <ac:spMk id="2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0:55.370" v="16780" actId="207"/>
          <ac:spMkLst>
            <pc:docMk/>
            <pc:sldMk cId="1701045289" sldId="971"/>
            <ac:spMk id="2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5:58:38.504" v="899" actId="207"/>
          <ac:spMkLst>
            <pc:docMk/>
            <pc:sldMk cId="1701045289" sldId="971"/>
            <ac:spMk id="22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20T13:00:34.034" v="16772" actId="207"/>
        <pc:sldMkLst>
          <pc:docMk/>
          <pc:sldMk cId="1424186266" sldId="972"/>
        </pc:sldMkLst>
        <pc:spChg chg="mod">
          <ac:chgData name="Dirk Laschat" userId="9253a62a-3edb-4e48-8ef7-64f354bb20dc" providerId="ADAL" clId="{F40834C7-0DA5-4DB1-A929-605080315E23}" dt="2018-08-20T12:59:35.305" v="16762" actId="207"/>
          <ac:spMkLst>
            <pc:docMk/>
            <pc:sldMk cId="1424186266" sldId="972"/>
            <ac:spMk id="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9:53.924" v="16765" actId="207"/>
          <ac:spMkLst>
            <pc:docMk/>
            <pc:sldMk cId="1424186266" sldId="972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9:56.017" v="16766" actId="207"/>
          <ac:spMkLst>
            <pc:docMk/>
            <pc:sldMk cId="1424186266" sldId="972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9:32.118" v="16761" actId="207"/>
          <ac:spMkLst>
            <pc:docMk/>
            <pc:sldMk cId="1424186266" sldId="972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9:45.269" v="16764" actId="207"/>
          <ac:spMkLst>
            <pc:docMk/>
            <pc:sldMk cId="1424186266" sldId="972"/>
            <ac:spMk id="8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9:42.207" v="16763" actId="207"/>
          <ac:spMkLst>
            <pc:docMk/>
            <pc:sldMk cId="1424186266" sldId="972"/>
            <ac:spMk id="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0:12.658" v="16767" actId="207"/>
          <ac:spMkLst>
            <pc:docMk/>
            <pc:sldMk cId="1424186266" sldId="972"/>
            <ac:spMk id="1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0:15.844" v="16768" actId="207"/>
          <ac:spMkLst>
            <pc:docMk/>
            <pc:sldMk cId="1424186266" sldId="972"/>
            <ac:spMk id="1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0:18.391" v="16769" actId="207"/>
          <ac:spMkLst>
            <pc:docMk/>
            <pc:sldMk cId="1424186266" sldId="972"/>
            <ac:spMk id="1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0:26.004" v="16770" actId="207"/>
          <ac:spMkLst>
            <pc:docMk/>
            <pc:sldMk cId="1424186266" sldId="972"/>
            <ac:spMk id="1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0:29.395" v="16771" actId="207"/>
          <ac:spMkLst>
            <pc:docMk/>
            <pc:sldMk cId="1424186266" sldId="972"/>
            <ac:spMk id="2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0:34.034" v="16772" actId="207"/>
          <ac:spMkLst>
            <pc:docMk/>
            <pc:sldMk cId="1424186266" sldId="972"/>
            <ac:spMk id="2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5:57:24.260" v="872" actId="14100"/>
          <ac:spMkLst>
            <pc:docMk/>
            <pc:sldMk cId="1424186266" sldId="972"/>
            <ac:spMk id="27" creationId="{00000000-0000-0000-0000-000000000000}"/>
          </ac:spMkLst>
        </pc:spChg>
      </pc:sldChg>
      <pc:sldChg chg="modSp ord">
        <pc:chgData name="Dirk Laschat" userId="9253a62a-3edb-4e48-8ef7-64f354bb20dc" providerId="ADAL" clId="{F40834C7-0DA5-4DB1-A929-605080315E23}" dt="2018-08-20T13:31:09.001" v="17662" actId="207"/>
        <pc:sldMkLst>
          <pc:docMk/>
          <pc:sldMk cId="830370284" sldId="973"/>
        </pc:sldMkLst>
        <pc:spChg chg="mod">
          <ac:chgData name="Dirk Laschat" userId="9253a62a-3edb-4e48-8ef7-64f354bb20dc" providerId="ADAL" clId="{F40834C7-0DA5-4DB1-A929-605080315E23}" dt="2018-08-20T13:09:35.359" v="16852" actId="207"/>
          <ac:spMkLst>
            <pc:docMk/>
            <pc:sldMk cId="830370284" sldId="973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31:07.049" v="17661" actId="207"/>
          <ac:spMkLst>
            <pc:docMk/>
            <pc:sldMk cId="830370284" sldId="973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31:09.001" v="17662" actId="207"/>
          <ac:spMkLst>
            <pc:docMk/>
            <pc:sldMk cId="830370284" sldId="973"/>
            <ac:spMk id="7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01T16:35:01.268" v="4181" actId="207"/>
        <pc:sldMkLst>
          <pc:docMk/>
          <pc:sldMk cId="1486060266" sldId="974"/>
        </pc:sldMkLst>
        <pc:spChg chg="mod">
          <ac:chgData name="Dirk Laschat" userId="9253a62a-3edb-4e48-8ef7-64f354bb20dc" providerId="ADAL" clId="{F40834C7-0DA5-4DB1-A929-605080315E23}" dt="2018-08-01T16:35:01.268" v="4181" actId="207"/>
          <ac:spMkLst>
            <pc:docMk/>
            <pc:sldMk cId="1486060266" sldId="974"/>
            <ac:spMk id="14" creationId="{00000000-0000-0000-0000-000000000000}"/>
          </ac:spMkLst>
        </pc:spChg>
        <pc:grpChg chg="mod">
          <ac:chgData name="Dirk Laschat" userId="9253a62a-3edb-4e48-8ef7-64f354bb20dc" providerId="ADAL" clId="{F40834C7-0DA5-4DB1-A929-605080315E23}" dt="2018-08-01T16:34:47.681" v="4178" actId="207"/>
          <ac:grpSpMkLst>
            <pc:docMk/>
            <pc:sldMk cId="1486060266" sldId="974"/>
            <ac:grpSpMk id="10" creationId="{00000000-0000-0000-0000-000000000000}"/>
          </ac:grpSpMkLst>
        </pc:grpChg>
        <pc:cxnChg chg="mod">
          <ac:chgData name="Dirk Laschat" userId="9253a62a-3edb-4e48-8ef7-64f354bb20dc" providerId="ADAL" clId="{F40834C7-0DA5-4DB1-A929-605080315E23}" dt="2018-08-01T16:34:54.388" v="4179" actId="208"/>
          <ac:cxnSpMkLst>
            <pc:docMk/>
            <pc:sldMk cId="1486060266" sldId="974"/>
            <ac:cxnSpMk id="12" creationId="{00000000-0000-0000-0000-000000000000}"/>
          </ac:cxnSpMkLst>
        </pc:cxnChg>
        <pc:cxnChg chg="mod">
          <ac:chgData name="Dirk Laschat" userId="9253a62a-3edb-4e48-8ef7-64f354bb20dc" providerId="ADAL" clId="{F40834C7-0DA5-4DB1-A929-605080315E23}" dt="2018-08-01T16:34:57.748" v="4180" actId="208"/>
          <ac:cxnSpMkLst>
            <pc:docMk/>
            <pc:sldMk cId="1486060266" sldId="974"/>
            <ac:cxnSpMk id="15" creationId="{00000000-0000-0000-0000-000000000000}"/>
          </ac:cxnSpMkLst>
        </pc:cxnChg>
      </pc:sldChg>
      <pc:sldChg chg="modSp">
        <pc:chgData name="Dirk Laschat" userId="9253a62a-3edb-4e48-8ef7-64f354bb20dc" providerId="ADAL" clId="{F40834C7-0DA5-4DB1-A929-605080315E23}" dt="2018-08-20T13:02:15.332" v="16810" actId="207"/>
        <pc:sldMkLst>
          <pc:docMk/>
          <pc:sldMk cId="1901741006" sldId="975"/>
        </pc:sldMkLst>
        <pc:spChg chg="mod">
          <ac:chgData name="Dirk Laschat" userId="9253a62a-3edb-4e48-8ef7-64f354bb20dc" providerId="ADAL" clId="{F40834C7-0DA5-4DB1-A929-605080315E23}" dt="2018-08-20T13:02:15.332" v="16810" actId="207"/>
          <ac:spMkLst>
            <pc:docMk/>
            <pc:sldMk cId="1901741006" sldId="975"/>
            <ac:spMk id="16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20T13:02:22.987" v="16811" actId="207"/>
        <pc:sldMkLst>
          <pc:docMk/>
          <pc:sldMk cId="1418323538" sldId="977"/>
        </pc:sldMkLst>
        <pc:spChg chg="mod">
          <ac:chgData name="Dirk Laschat" userId="9253a62a-3edb-4e48-8ef7-64f354bb20dc" providerId="ADAL" clId="{F40834C7-0DA5-4DB1-A929-605080315E23}" dt="2018-08-01T16:01:54.945" v="923" actId="207"/>
          <ac:spMkLst>
            <pc:docMk/>
            <pc:sldMk cId="1418323538" sldId="977"/>
            <ac:spMk id="26" creationId="{00000000-0000-0000-0000-000000000000}"/>
          </ac:spMkLst>
        </pc:spChg>
        <pc:grpChg chg="mod">
          <ac:chgData name="Dirk Laschat" userId="9253a62a-3edb-4e48-8ef7-64f354bb20dc" providerId="ADAL" clId="{F40834C7-0DA5-4DB1-A929-605080315E23}" dt="2018-08-01T16:01:54.945" v="923" actId="207"/>
          <ac:grpSpMkLst>
            <pc:docMk/>
            <pc:sldMk cId="1418323538" sldId="977"/>
            <ac:grpSpMk id="30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01T16:01:54.945" v="923" actId="207"/>
          <ac:grpSpMkLst>
            <pc:docMk/>
            <pc:sldMk cId="1418323538" sldId="977"/>
            <ac:grpSpMk id="33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01T16:01:54.945" v="923" actId="207"/>
          <ac:grpSpMkLst>
            <pc:docMk/>
            <pc:sldMk cId="1418323538" sldId="977"/>
            <ac:grpSpMk id="36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01T16:01:54.945" v="923" actId="207"/>
          <ac:grpSpMkLst>
            <pc:docMk/>
            <pc:sldMk cId="1418323538" sldId="977"/>
            <ac:grpSpMk id="39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01T16:01:54.945" v="923" actId="207"/>
          <ac:grpSpMkLst>
            <pc:docMk/>
            <pc:sldMk cId="1418323538" sldId="977"/>
            <ac:grpSpMk id="42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01T16:01:54.945" v="923" actId="207"/>
          <ac:grpSpMkLst>
            <pc:docMk/>
            <pc:sldMk cId="1418323538" sldId="977"/>
            <ac:grpSpMk id="45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01T16:01:54.945" v="923" actId="207"/>
          <ac:grpSpMkLst>
            <pc:docMk/>
            <pc:sldMk cId="1418323538" sldId="977"/>
            <ac:grpSpMk id="48" creationId="{00000000-0000-0000-0000-000000000000}"/>
          </ac:grpSpMkLst>
        </pc:grpChg>
        <pc:grpChg chg="mod">
          <ac:chgData name="Dirk Laschat" userId="9253a62a-3edb-4e48-8ef7-64f354bb20dc" providerId="ADAL" clId="{F40834C7-0DA5-4DB1-A929-605080315E23}" dt="2018-08-01T16:01:54.945" v="923" actId="207"/>
          <ac:grpSpMkLst>
            <pc:docMk/>
            <pc:sldMk cId="1418323538" sldId="977"/>
            <ac:grpSpMk id="51" creationId="{00000000-0000-0000-0000-000000000000}"/>
          </ac:grpSpMkLst>
        </pc:grpChg>
        <pc:graphicFrameChg chg="mod">
          <ac:chgData name="Dirk Laschat" userId="9253a62a-3edb-4e48-8ef7-64f354bb20dc" providerId="ADAL" clId="{F40834C7-0DA5-4DB1-A929-605080315E23}" dt="2018-08-20T13:02:22.987" v="16811" actId="207"/>
          <ac:graphicFrameMkLst>
            <pc:docMk/>
            <pc:sldMk cId="1418323538" sldId="977"/>
            <ac:graphicFrameMk id="71" creationId="{00000000-0000-0000-0000-000000000000}"/>
          </ac:graphicFrameMkLst>
        </pc:graphicFrameChg>
      </pc:sldChg>
      <pc:sldChg chg="modSp ord">
        <pc:chgData name="Dirk Laschat" userId="9253a62a-3edb-4e48-8ef7-64f354bb20dc" providerId="ADAL" clId="{F40834C7-0DA5-4DB1-A929-605080315E23}" dt="2018-08-20T13:24:30.088" v="17623" actId="207"/>
        <pc:sldMkLst>
          <pc:docMk/>
          <pc:sldMk cId="1102050230" sldId="978"/>
        </pc:sldMkLst>
        <pc:spChg chg="mod">
          <ac:chgData name="Dirk Laschat" userId="9253a62a-3edb-4e48-8ef7-64f354bb20dc" providerId="ADAL" clId="{F40834C7-0DA5-4DB1-A929-605080315E23}" dt="2018-08-01T16:02:05.422" v="925" actId="207"/>
          <ac:spMkLst>
            <pc:docMk/>
            <pc:sldMk cId="1102050230" sldId="978"/>
            <ac:spMk id="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2:31.782" v="16812" actId="207"/>
          <ac:spMkLst>
            <pc:docMk/>
            <pc:sldMk cId="1102050230" sldId="978"/>
            <ac:spMk id="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2:50.179" v="16816" actId="207"/>
          <ac:spMkLst>
            <pc:docMk/>
            <pc:sldMk cId="1102050230" sldId="978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2:53.991" v="16817" actId="207"/>
          <ac:spMkLst>
            <pc:docMk/>
            <pc:sldMk cId="1102050230" sldId="978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2:47.133" v="16815" actId="207"/>
          <ac:spMkLst>
            <pc:docMk/>
            <pc:sldMk cId="1102050230" sldId="978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2:38.061" v="16813" actId="207"/>
          <ac:spMkLst>
            <pc:docMk/>
            <pc:sldMk cId="1102050230" sldId="978"/>
            <ac:spMk id="8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20T13:03:08.271" v="16821" actId="207"/>
        <pc:sldMkLst>
          <pc:docMk/>
          <pc:sldMk cId="1499961913" sldId="979"/>
        </pc:sldMkLst>
        <pc:spChg chg="mod">
          <ac:chgData name="Dirk Laschat" userId="9253a62a-3edb-4e48-8ef7-64f354bb20dc" providerId="ADAL" clId="{F40834C7-0DA5-4DB1-A929-605080315E23}" dt="2018-08-20T13:03:08.271" v="16821" actId="207"/>
          <ac:spMkLst>
            <pc:docMk/>
            <pc:sldMk cId="1499961913" sldId="979"/>
            <ac:spMk id="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3:00.351" v="16818" actId="207"/>
          <ac:spMkLst>
            <pc:docMk/>
            <pc:sldMk cId="1499961913" sldId="979"/>
            <ac:spMk id="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3:02.725" v="16819" actId="207"/>
          <ac:spMkLst>
            <pc:docMk/>
            <pc:sldMk cId="1499961913" sldId="979"/>
            <ac:spMk id="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3:03:05.724" v="16820" actId="207"/>
          <ac:spMkLst>
            <pc:docMk/>
            <pc:sldMk cId="1499961913" sldId="979"/>
            <ac:spMk id="6" creationId="{00000000-0000-0000-0000-000000000000}"/>
          </ac:spMkLst>
        </pc:spChg>
      </pc:sldChg>
      <pc:sldChg chg="modSp">
        <pc:chgData name="Dirk Laschat" userId="9253a62a-3edb-4e48-8ef7-64f354bb20dc" providerId="ADAL" clId="{F40834C7-0DA5-4DB1-A929-605080315E23}" dt="2018-08-20T13:03:18.331" v="16823" actId="207"/>
        <pc:sldMkLst>
          <pc:docMk/>
          <pc:sldMk cId="596140091" sldId="980"/>
        </pc:sldMkLst>
        <pc:spChg chg="mod">
          <ac:chgData name="Dirk Laschat" userId="9253a62a-3edb-4e48-8ef7-64f354bb20dc" providerId="ADAL" clId="{F40834C7-0DA5-4DB1-A929-605080315E23}" dt="2018-08-01T16:03:15.554" v="938" actId="207"/>
          <ac:spMkLst>
            <pc:docMk/>
            <pc:sldMk cId="596140091" sldId="980"/>
            <ac:spMk id="7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03:20.312" v="939" actId="207"/>
          <ac:spMkLst>
            <pc:docMk/>
            <pc:sldMk cId="596140091" sldId="980"/>
            <ac:spMk id="8" creationId="{00000000-0000-0000-0000-000000000000}"/>
          </ac:spMkLst>
        </pc:spChg>
        <pc:graphicFrameChg chg="mod">
          <ac:chgData name="Dirk Laschat" userId="9253a62a-3edb-4e48-8ef7-64f354bb20dc" providerId="ADAL" clId="{F40834C7-0DA5-4DB1-A929-605080315E23}" dt="2018-08-20T13:03:18.331" v="16823" actId="207"/>
          <ac:graphicFrameMkLst>
            <pc:docMk/>
            <pc:sldMk cId="596140091" sldId="980"/>
            <ac:graphicFrameMk id="3" creationId="{00000000-0000-0000-0000-000000000000}"/>
          </ac:graphicFrameMkLst>
        </pc:graphicFrameChg>
      </pc:sldChg>
      <pc:sldChg chg="addSp delSp modSp addCm delCm modCm">
        <pc:chgData name="Dirk Laschat" userId="9253a62a-3edb-4e48-8ef7-64f354bb20dc" providerId="ADAL" clId="{F40834C7-0DA5-4DB1-A929-605080315E23}" dt="2018-08-20T13:27:20.680" v="17640" actId="207"/>
        <pc:sldMkLst>
          <pc:docMk/>
          <pc:sldMk cId="1646682946" sldId="981"/>
        </pc:sldMkLst>
        <pc:spChg chg="mod topLvl">
          <ac:chgData name="Dirk Laschat" userId="9253a62a-3edb-4e48-8ef7-64f354bb20dc" providerId="ADAL" clId="{F40834C7-0DA5-4DB1-A929-605080315E23}" dt="2018-08-05T10:55:37.407" v="12630" actId="14100"/>
          <ac:spMkLst>
            <pc:docMk/>
            <pc:sldMk cId="1646682946" sldId="981"/>
            <ac:spMk id="6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0:55:04.995" v="12627" actId="207"/>
          <ac:spMkLst>
            <pc:docMk/>
            <pc:sldMk cId="1646682946" sldId="981"/>
            <ac:spMk id="7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0:55:37.407" v="12630" actId="14100"/>
          <ac:spMkLst>
            <pc:docMk/>
            <pc:sldMk cId="1646682946" sldId="981"/>
            <ac:spMk id="8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20T13:26:49.160" v="17636" actId="207"/>
          <ac:spMkLst>
            <pc:docMk/>
            <pc:sldMk cId="1646682946" sldId="981"/>
            <ac:spMk id="9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0:55:37.407" v="12630" actId="14100"/>
          <ac:spMkLst>
            <pc:docMk/>
            <pc:sldMk cId="1646682946" sldId="981"/>
            <ac:spMk id="10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0:55:04.995" v="12627" actId="207"/>
          <ac:spMkLst>
            <pc:docMk/>
            <pc:sldMk cId="1646682946" sldId="981"/>
            <ac:spMk id="11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0:55:37.407" v="12630" actId="14100"/>
          <ac:spMkLst>
            <pc:docMk/>
            <pc:sldMk cId="1646682946" sldId="981"/>
            <ac:spMk id="12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20T13:26:35.301" v="17634" actId="207"/>
          <ac:spMkLst>
            <pc:docMk/>
            <pc:sldMk cId="1646682946" sldId="981"/>
            <ac:spMk id="13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0:55:37.407" v="12630" actId="14100"/>
          <ac:spMkLst>
            <pc:docMk/>
            <pc:sldMk cId="1646682946" sldId="981"/>
            <ac:spMk id="14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20T13:26:44.317" v="17635" actId="207"/>
          <ac:spMkLst>
            <pc:docMk/>
            <pc:sldMk cId="1646682946" sldId="981"/>
            <ac:spMk id="15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0:55:37.407" v="12630" actId="14100"/>
          <ac:spMkLst>
            <pc:docMk/>
            <pc:sldMk cId="1646682946" sldId="981"/>
            <ac:spMk id="16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20T13:26:29.584" v="17632" actId="207"/>
          <ac:spMkLst>
            <pc:docMk/>
            <pc:sldMk cId="1646682946" sldId="981"/>
            <ac:spMk id="17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0:55:55.603" v="12632" actId="14100"/>
          <ac:spMkLst>
            <pc:docMk/>
            <pc:sldMk cId="1646682946" sldId="981"/>
            <ac:spMk id="18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20T13:26:31.958" v="17633" actId="207"/>
          <ac:spMkLst>
            <pc:docMk/>
            <pc:sldMk cId="1646682946" sldId="981"/>
            <ac:spMk id="19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0:54:21.255" v="12621" actId="207"/>
          <ac:spMkLst>
            <pc:docMk/>
            <pc:sldMk cId="1646682946" sldId="981"/>
            <ac:spMk id="22" creationId="{B97FB8C0-7142-4801-91FF-D11C6D7EEB85}"/>
          </ac:spMkLst>
        </pc:spChg>
        <pc:spChg chg="mod">
          <ac:chgData name="Dirk Laschat" userId="9253a62a-3edb-4e48-8ef7-64f354bb20dc" providerId="ADAL" clId="{F40834C7-0DA5-4DB1-A929-605080315E23}" dt="2018-08-05T10:54:28.883" v="12623" actId="207"/>
          <ac:spMkLst>
            <pc:docMk/>
            <pc:sldMk cId="1646682946" sldId="981"/>
            <ac:spMk id="23" creationId="{A2BA693E-A4A4-4704-A881-ACC0DD374F2A}"/>
          </ac:spMkLst>
        </pc:spChg>
        <pc:spChg chg="mod">
          <ac:chgData name="Dirk Laschat" userId="9253a62a-3edb-4e48-8ef7-64f354bb20dc" providerId="ADAL" clId="{F40834C7-0DA5-4DB1-A929-605080315E23}" dt="2018-08-20T13:27:10.233" v="17637" actId="207"/>
          <ac:spMkLst>
            <pc:docMk/>
            <pc:sldMk cId="1646682946" sldId="981"/>
            <ac:spMk id="24" creationId="{45C3905C-3DE7-4F8F-98DA-8C9004CA6CA7}"/>
          </ac:spMkLst>
        </pc:spChg>
        <pc:spChg chg="mod">
          <ac:chgData name="Dirk Laschat" userId="9253a62a-3edb-4e48-8ef7-64f354bb20dc" providerId="ADAL" clId="{F40834C7-0DA5-4DB1-A929-605080315E23}" dt="2018-08-20T13:27:13.280" v="17638" actId="207"/>
          <ac:spMkLst>
            <pc:docMk/>
            <pc:sldMk cId="1646682946" sldId="981"/>
            <ac:spMk id="25" creationId="{78BA59D1-7080-46AD-A725-242686707ADB}"/>
          </ac:spMkLst>
        </pc:spChg>
        <pc:spChg chg="mod">
          <ac:chgData name="Dirk Laschat" userId="9253a62a-3edb-4e48-8ef7-64f354bb20dc" providerId="ADAL" clId="{F40834C7-0DA5-4DB1-A929-605080315E23}" dt="2018-08-05T10:54:24.388" v="12622" actId="207"/>
          <ac:spMkLst>
            <pc:docMk/>
            <pc:sldMk cId="1646682946" sldId="981"/>
            <ac:spMk id="26" creationId="{7B9DD859-7139-4CC9-B176-8D0B920F0AB4}"/>
          </ac:spMkLst>
        </pc:spChg>
        <pc:spChg chg="mod">
          <ac:chgData name="Dirk Laschat" userId="9253a62a-3edb-4e48-8ef7-64f354bb20dc" providerId="ADAL" clId="{F40834C7-0DA5-4DB1-A929-605080315E23}" dt="2018-08-20T13:27:15.857" v="17639" actId="207"/>
          <ac:spMkLst>
            <pc:docMk/>
            <pc:sldMk cId="1646682946" sldId="981"/>
            <ac:spMk id="27" creationId="{C0C65E92-85DA-45F5-ACCD-47F976D75877}"/>
          </ac:spMkLst>
        </pc:spChg>
        <pc:spChg chg="mod">
          <ac:chgData name="Dirk Laschat" userId="9253a62a-3edb-4e48-8ef7-64f354bb20dc" providerId="ADAL" clId="{F40834C7-0DA5-4DB1-A929-605080315E23}" dt="2018-08-20T13:27:20.680" v="17640" actId="207"/>
          <ac:spMkLst>
            <pc:docMk/>
            <pc:sldMk cId="1646682946" sldId="981"/>
            <ac:spMk id="28" creationId="{52C57C1D-9B18-4AFC-AD8B-B9DE084DD616}"/>
          </ac:spMkLst>
        </pc:spChg>
        <pc:spChg chg="add mod">
          <ac:chgData name="Dirk Laschat" userId="9253a62a-3edb-4e48-8ef7-64f354bb20dc" providerId="ADAL" clId="{F40834C7-0DA5-4DB1-A929-605080315E23}" dt="2018-08-05T10:55:55.603" v="12632" actId="14100"/>
          <ac:spMkLst>
            <pc:docMk/>
            <pc:sldMk cId="1646682946" sldId="981"/>
            <ac:spMk id="29" creationId="{41A58576-73F4-4E55-80A3-94CAC15FAF2A}"/>
          </ac:spMkLst>
        </pc:spChg>
        <pc:spChg chg="add mod">
          <ac:chgData name="Dirk Laschat" userId="9253a62a-3edb-4e48-8ef7-64f354bb20dc" providerId="ADAL" clId="{F40834C7-0DA5-4DB1-A929-605080315E23}" dt="2018-08-05T10:55:55.603" v="12632" actId="14100"/>
          <ac:spMkLst>
            <pc:docMk/>
            <pc:sldMk cId="1646682946" sldId="981"/>
            <ac:spMk id="30" creationId="{404744C2-1C3D-4A20-BBD7-A904C9A09B7E}"/>
          </ac:spMkLst>
        </pc:spChg>
        <pc:spChg chg="add mod">
          <ac:chgData name="Dirk Laschat" userId="9253a62a-3edb-4e48-8ef7-64f354bb20dc" providerId="ADAL" clId="{F40834C7-0DA5-4DB1-A929-605080315E23}" dt="2018-08-05T10:55:55.603" v="12632" actId="14100"/>
          <ac:spMkLst>
            <pc:docMk/>
            <pc:sldMk cId="1646682946" sldId="981"/>
            <ac:spMk id="31" creationId="{4FCAAEBD-D6BD-45F1-BB0F-04DB442DAF88}"/>
          </ac:spMkLst>
        </pc:spChg>
        <pc:spChg chg="add mod">
          <ac:chgData name="Dirk Laschat" userId="9253a62a-3edb-4e48-8ef7-64f354bb20dc" providerId="ADAL" clId="{F40834C7-0DA5-4DB1-A929-605080315E23}" dt="2018-08-05T10:55:55.603" v="12632" actId="14100"/>
          <ac:spMkLst>
            <pc:docMk/>
            <pc:sldMk cId="1646682946" sldId="981"/>
            <ac:spMk id="32" creationId="{31F4E6EC-926B-4D84-8812-0F53A8D35E29}"/>
          </ac:spMkLst>
        </pc:spChg>
        <pc:spChg chg="add mod">
          <ac:chgData name="Dirk Laschat" userId="9253a62a-3edb-4e48-8ef7-64f354bb20dc" providerId="ADAL" clId="{F40834C7-0DA5-4DB1-A929-605080315E23}" dt="2018-08-05T10:55:55.603" v="12632" actId="14100"/>
          <ac:spMkLst>
            <pc:docMk/>
            <pc:sldMk cId="1646682946" sldId="981"/>
            <ac:spMk id="33" creationId="{31F24D67-11B0-483E-B2A8-F75DC747E008}"/>
          </ac:spMkLst>
        </pc:spChg>
        <pc:spChg chg="add mod">
          <ac:chgData name="Dirk Laschat" userId="9253a62a-3edb-4e48-8ef7-64f354bb20dc" providerId="ADAL" clId="{F40834C7-0DA5-4DB1-A929-605080315E23}" dt="2018-08-05T10:55:55.603" v="12632" actId="14100"/>
          <ac:spMkLst>
            <pc:docMk/>
            <pc:sldMk cId="1646682946" sldId="981"/>
            <ac:spMk id="34" creationId="{BF5B66B4-934C-408C-B88B-4C8FDEA48CA9}"/>
          </ac:spMkLst>
        </pc:spChg>
        <pc:grpChg chg="del mod">
          <ac:chgData name="Dirk Laschat" userId="9253a62a-3edb-4e48-8ef7-64f354bb20dc" providerId="ADAL" clId="{F40834C7-0DA5-4DB1-A929-605080315E23}" dt="2018-08-05T10:55:04.995" v="12627" actId="207"/>
          <ac:grpSpMkLst>
            <pc:docMk/>
            <pc:sldMk cId="1646682946" sldId="981"/>
            <ac:grpSpMk id="20" creationId="{00000000-0000-0000-0000-000000000000}"/>
          </ac:grpSpMkLst>
        </pc:grpChg>
        <pc:grpChg chg="add">
          <ac:chgData name="Dirk Laschat" userId="9253a62a-3edb-4e48-8ef7-64f354bb20dc" providerId="ADAL" clId="{F40834C7-0DA5-4DB1-A929-605080315E23}" dt="2018-08-05T10:54:01.380" v="12589" actId="207"/>
          <ac:grpSpMkLst>
            <pc:docMk/>
            <pc:sldMk cId="1646682946" sldId="981"/>
            <ac:grpSpMk id="21" creationId="{5C8132BB-0E1F-40E5-BF11-918A5B87E95D}"/>
          </ac:grpSpMkLst>
        </pc:grpChg>
      </pc:sldChg>
      <pc:sldChg chg="modSp">
        <pc:chgData name="Dirk Laschat" userId="9253a62a-3edb-4e48-8ef7-64f354bb20dc" providerId="ADAL" clId="{F40834C7-0DA5-4DB1-A929-605080315E23}" dt="2018-08-01T16:15:48.495" v="993" actId="207"/>
        <pc:sldMkLst>
          <pc:docMk/>
          <pc:sldMk cId="1603250142" sldId="983"/>
        </pc:sldMkLst>
        <pc:spChg chg="mod">
          <ac:chgData name="Dirk Laschat" userId="9253a62a-3edb-4e48-8ef7-64f354bb20dc" providerId="ADAL" clId="{F40834C7-0DA5-4DB1-A929-605080315E23}" dt="2018-08-01T16:13:33.569" v="983" actId="207"/>
          <ac:spMkLst>
            <pc:docMk/>
            <pc:sldMk cId="1603250142" sldId="983"/>
            <ac:spMk id="3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15:14.509" v="989" actId="207"/>
          <ac:spMkLst>
            <pc:docMk/>
            <pc:sldMk cId="1603250142" sldId="983"/>
            <ac:spMk id="31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15:19.275" v="990" actId="207"/>
          <ac:spMkLst>
            <pc:docMk/>
            <pc:sldMk cId="1603250142" sldId="983"/>
            <ac:spMk id="32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15:42.416" v="991" actId="207"/>
          <ac:spMkLst>
            <pc:docMk/>
            <pc:sldMk cId="1603250142" sldId="983"/>
            <ac:spMk id="33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13:37.370" v="984" actId="207"/>
          <ac:spMkLst>
            <pc:docMk/>
            <pc:sldMk cId="1603250142" sldId="983"/>
            <ac:spMk id="3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15:45.474" v="992" actId="207"/>
          <ac:spMkLst>
            <pc:docMk/>
            <pc:sldMk cId="1603250142" sldId="983"/>
            <ac:spMk id="35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1T16:15:48.495" v="993" actId="207"/>
          <ac:spMkLst>
            <pc:docMk/>
            <pc:sldMk cId="1603250142" sldId="983"/>
            <ac:spMk id="36" creationId="{00000000-0000-0000-0000-000000000000}"/>
          </ac:spMkLst>
        </pc:spChg>
      </pc:sldChg>
      <pc:sldChg chg="addSp modSp add">
        <pc:chgData name="Dirk Laschat" userId="9253a62a-3edb-4e48-8ef7-64f354bb20dc" providerId="ADAL" clId="{F40834C7-0DA5-4DB1-A929-605080315E23}" dt="2018-08-01T16:22:51.699" v="1129" actId="207"/>
        <pc:sldMkLst>
          <pc:docMk/>
          <pc:sldMk cId="764164988" sldId="993"/>
        </pc:sldMkLst>
        <pc:spChg chg="add mod">
          <ac:chgData name="Dirk Laschat" userId="9253a62a-3edb-4e48-8ef7-64f354bb20dc" providerId="ADAL" clId="{F40834C7-0DA5-4DB1-A929-605080315E23}" dt="2018-08-01T16:22:51.699" v="1129" actId="207"/>
          <ac:spMkLst>
            <pc:docMk/>
            <pc:sldMk cId="764164988" sldId="993"/>
            <ac:spMk id="2" creationId="{0B4270B2-B133-4132-BF7F-DD8DBDF75532}"/>
          </ac:spMkLst>
        </pc:spChg>
      </pc:sldChg>
      <pc:sldChg chg="addSp delSp modSp add">
        <pc:chgData name="Dirk Laschat" userId="9253a62a-3edb-4e48-8ef7-64f354bb20dc" providerId="ADAL" clId="{F40834C7-0DA5-4DB1-A929-605080315E23}" dt="2018-08-05T11:21:21.627" v="12967" actId="207"/>
        <pc:sldMkLst>
          <pc:docMk/>
          <pc:sldMk cId="2049787809" sldId="994"/>
        </pc:sldMkLst>
        <pc:spChg chg="del">
          <ac:chgData name="Dirk Laschat" userId="9253a62a-3edb-4e48-8ef7-64f354bb20dc" providerId="ADAL" clId="{F40834C7-0DA5-4DB1-A929-605080315E23}" dt="2018-08-02T11:25:17.168" v="5471" actId="207"/>
          <ac:spMkLst>
            <pc:docMk/>
            <pc:sldMk cId="2049787809" sldId="994"/>
            <ac:spMk id="2" creationId="{1534E0A4-2CAC-4325-B69D-FC5F575B5DFE}"/>
          </ac:spMkLst>
        </pc:spChg>
        <pc:spChg chg="del">
          <ac:chgData name="Dirk Laschat" userId="9253a62a-3edb-4e48-8ef7-64f354bb20dc" providerId="ADAL" clId="{F40834C7-0DA5-4DB1-A929-605080315E23}" dt="2018-08-02T11:25:17.168" v="5471" actId="207"/>
          <ac:spMkLst>
            <pc:docMk/>
            <pc:sldMk cId="2049787809" sldId="994"/>
            <ac:spMk id="3" creationId="{0EA2292D-EE6F-40DA-81F6-8AB07A7D5F0E}"/>
          </ac:spMkLst>
        </pc:spChg>
        <pc:spChg chg="add mod">
          <ac:chgData name="Dirk Laschat" userId="9253a62a-3edb-4e48-8ef7-64f354bb20dc" providerId="ADAL" clId="{F40834C7-0DA5-4DB1-A929-605080315E23}" dt="2018-08-02T11:25:17.168" v="5471" actId="207"/>
          <ac:spMkLst>
            <pc:docMk/>
            <pc:sldMk cId="2049787809" sldId="994"/>
            <ac:spMk id="4" creationId="{1BDA9802-9000-4FA0-91C9-EA4F704B42E8}"/>
          </ac:spMkLst>
        </pc:spChg>
        <pc:spChg chg="add mod">
          <ac:chgData name="Dirk Laschat" userId="9253a62a-3edb-4e48-8ef7-64f354bb20dc" providerId="ADAL" clId="{F40834C7-0DA5-4DB1-A929-605080315E23}" dt="2018-08-05T11:20:58.098" v="12964" actId="14100"/>
          <ac:spMkLst>
            <pc:docMk/>
            <pc:sldMk cId="2049787809" sldId="994"/>
            <ac:spMk id="5" creationId="{0BCFD82A-A729-45D6-A035-3D6DC5C25583}"/>
          </ac:spMkLst>
        </pc:spChg>
        <pc:spChg chg="add mod">
          <ac:chgData name="Dirk Laschat" userId="9253a62a-3edb-4e48-8ef7-64f354bb20dc" providerId="ADAL" clId="{F40834C7-0DA5-4DB1-A929-605080315E23}" dt="2018-08-05T11:21:21.627" v="12967" actId="207"/>
          <ac:spMkLst>
            <pc:docMk/>
            <pc:sldMk cId="2049787809" sldId="994"/>
            <ac:spMk id="6" creationId="{F8B7FB30-D8F5-4590-B789-A9EF3CA4CFFD}"/>
          </ac:spMkLst>
        </pc:spChg>
        <pc:spChg chg="add mod">
          <ac:chgData name="Dirk Laschat" userId="9253a62a-3edb-4e48-8ef7-64f354bb20dc" providerId="ADAL" clId="{F40834C7-0DA5-4DB1-A929-605080315E23}" dt="2018-08-05T11:20:58.098" v="12964" actId="14100"/>
          <ac:spMkLst>
            <pc:docMk/>
            <pc:sldMk cId="2049787809" sldId="994"/>
            <ac:spMk id="7" creationId="{FBAA7859-4089-4C24-9A07-132622080978}"/>
          </ac:spMkLst>
        </pc:spChg>
        <pc:spChg chg="add mod">
          <ac:chgData name="Dirk Laschat" userId="9253a62a-3edb-4e48-8ef7-64f354bb20dc" providerId="ADAL" clId="{F40834C7-0DA5-4DB1-A929-605080315E23}" dt="2018-08-02T11:25:37.449" v="7639" actId="1038"/>
          <ac:spMkLst>
            <pc:docMk/>
            <pc:sldMk cId="2049787809" sldId="994"/>
            <ac:spMk id="8" creationId="{76D58C23-2ED4-4F9A-85E9-F2C40D425805}"/>
          </ac:spMkLst>
        </pc:spChg>
        <pc:spChg chg="add mod">
          <ac:chgData name="Dirk Laschat" userId="9253a62a-3edb-4e48-8ef7-64f354bb20dc" providerId="ADAL" clId="{F40834C7-0DA5-4DB1-A929-605080315E23}" dt="2018-08-02T11:25:37.449" v="7639" actId="1038"/>
          <ac:spMkLst>
            <pc:docMk/>
            <pc:sldMk cId="2049787809" sldId="994"/>
            <ac:spMk id="9" creationId="{7B42036A-E55D-48C6-B89C-A9ABD00F1F6F}"/>
          </ac:spMkLst>
        </pc:spChg>
        <pc:spChg chg="add mod">
          <ac:chgData name="Dirk Laschat" userId="9253a62a-3edb-4e48-8ef7-64f354bb20dc" providerId="ADAL" clId="{F40834C7-0DA5-4DB1-A929-605080315E23}" dt="2018-08-05T11:21:07.531" v="12966" actId="14100"/>
          <ac:spMkLst>
            <pc:docMk/>
            <pc:sldMk cId="2049787809" sldId="994"/>
            <ac:spMk id="10" creationId="{72F1136E-5FD2-4695-8FD0-98027831D2B2}"/>
          </ac:spMkLst>
        </pc:spChg>
        <pc:spChg chg="add mod">
          <ac:chgData name="Dirk Laschat" userId="9253a62a-3edb-4e48-8ef7-64f354bb20dc" providerId="ADAL" clId="{F40834C7-0DA5-4DB1-A929-605080315E23}" dt="2018-08-05T11:21:04.039" v="12965" actId="14100"/>
          <ac:spMkLst>
            <pc:docMk/>
            <pc:sldMk cId="2049787809" sldId="994"/>
            <ac:spMk id="11" creationId="{8850000B-68E3-49DF-9931-72814F0DE10E}"/>
          </ac:spMkLst>
        </pc:spChg>
        <pc:spChg chg="add mod">
          <ac:chgData name="Dirk Laschat" userId="9253a62a-3edb-4e48-8ef7-64f354bb20dc" providerId="ADAL" clId="{F40834C7-0DA5-4DB1-A929-605080315E23}" dt="2018-08-02T11:25:37.449" v="7639" actId="1038"/>
          <ac:spMkLst>
            <pc:docMk/>
            <pc:sldMk cId="2049787809" sldId="994"/>
            <ac:spMk id="12" creationId="{EF217858-ABA6-4D75-8063-4897A8B44967}"/>
          </ac:spMkLst>
        </pc:spChg>
        <pc:spChg chg="add mod">
          <ac:chgData name="Dirk Laschat" userId="9253a62a-3edb-4e48-8ef7-64f354bb20dc" providerId="ADAL" clId="{F40834C7-0DA5-4DB1-A929-605080315E23}" dt="2018-08-02T11:25:37.449" v="7639" actId="1038"/>
          <ac:spMkLst>
            <pc:docMk/>
            <pc:sldMk cId="2049787809" sldId="994"/>
            <ac:spMk id="13" creationId="{B48B584A-545D-4D46-AC78-8F1BAA0E5C23}"/>
          </ac:spMkLst>
        </pc:spChg>
        <pc:spChg chg="add mod">
          <ac:chgData name="Dirk Laschat" userId="9253a62a-3edb-4e48-8ef7-64f354bb20dc" providerId="ADAL" clId="{F40834C7-0DA5-4DB1-A929-605080315E23}" dt="2018-08-02T11:25:37.449" v="7639" actId="1038"/>
          <ac:spMkLst>
            <pc:docMk/>
            <pc:sldMk cId="2049787809" sldId="994"/>
            <ac:spMk id="14" creationId="{D14EABBE-FD8E-41AD-94F3-DB0BAE4ACA3B}"/>
          </ac:spMkLst>
        </pc:spChg>
      </pc:sldChg>
      <pc:sldChg chg="addSp delSp modSp add">
        <pc:chgData name="Dirk Laschat" userId="9253a62a-3edb-4e48-8ef7-64f354bb20dc" providerId="ADAL" clId="{F40834C7-0DA5-4DB1-A929-605080315E23}" dt="2018-08-05T11:21:53.722" v="12971" actId="207"/>
        <pc:sldMkLst>
          <pc:docMk/>
          <pc:sldMk cId="399791279" sldId="995"/>
        </pc:sldMkLst>
        <pc:spChg chg="del">
          <ac:chgData name="Dirk Laschat" userId="9253a62a-3edb-4e48-8ef7-64f354bb20dc" providerId="ADAL" clId="{F40834C7-0DA5-4DB1-A929-605080315E23}" dt="2018-08-02T11:25:43.065" v="7641" actId="207"/>
          <ac:spMkLst>
            <pc:docMk/>
            <pc:sldMk cId="399791279" sldId="995"/>
            <ac:spMk id="2" creationId="{DC135A99-20F2-485B-9C60-B8F07902E162}"/>
          </ac:spMkLst>
        </pc:spChg>
        <pc:spChg chg="del">
          <ac:chgData name="Dirk Laschat" userId="9253a62a-3edb-4e48-8ef7-64f354bb20dc" providerId="ADAL" clId="{F40834C7-0DA5-4DB1-A929-605080315E23}" dt="2018-08-02T11:25:43.065" v="7641" actId="207"/>
          <ac:spMkLst>
            <pc:docMk/>
            <pc:sldMk cId="399791279" sldId="995"/>
            <ac:spMk id="3" creationId="{A7299E7C-0BEB-4CDB-9672-C43591656B9F}"/>
          </ac:spMkLst>
        </pc:spChg>
        <pc:spChg chg="add mod">
          <ac:chgData name="Dirk Laschat" userId="9253a62a-3edb-4e48-8ef7-64f354bb20dc" providerId="ADAL" clId="{F40834C7-0DA5-4DB1-A929-605080315E23}" dt="2018-08-02T11:25:43.065" v="7641" actId="207"/>
          <ac:spMkLst>
            <pc:docMk/>
            <pc:sldMk cId="399791279" sldId="995"/>
            <ac:spMk id="4" creationId="{D821EB7C-8826-4CF2-9F8F-79C94097A7A1}"/>
          </ac:spMkLst>
        </pc:spChg>
        <pc:spChg chg="add mod">
          <ac:chgData name="Dirk Laschat" userId="9253a62a-3edb-4e48-8ef7-64f354bb20dc" providerId="ADAL" clId="{F40834C7-0DA5-4DB1-A929-605080315E23}" dt="2018-08-05T11:21:44.118" v="12970" actId="207"/>
          <ac:spMkLst>
            <pc:docMk/>
            <pc:sldMk cId="399791279" sldId="995"/>
            <ac:spMk id="5" creationId="{194BF937-6398-44BF-8D72-079CABFEFE98}"/>
          </ac:spMkLst>
        </pc:spChg>
        <pc:spChg chg="mod topLvl">
          <ac:chgData name="Dirk Laschat" userId="9253a62a-3edb-4e48-8ef7-64f354bb20dc" providerId="ADAL" clId="{F40834C7-0DA5-4DB1-A929-605080315E23}" dt="2018-08-02T11:26:28.599" v="8600" actId="1037"/>
          <ac:spMkLst>
            <pc:docMk/>
            <pc:sldMk cId="399791279" sldId="995"/>
            <ac:spMk id="9" creationId="{E84B0635-B758-4493-9389-FAB750CBFC6A}"/>
          </ac:spMkLst>
        </pc:spChg>
        <pc:spChg chg="mod topLvl">
          <ac:chgData name="Dirk Laschat" userId="9253a62a-3edb-4e48-8ef7-64f354bb20dc" providerId="ADAL" clId="{F40834C7-0DA5-4DB1-A929-605080315E23}" dt="2018-08-02T11:26:28.599" v="8600" actId="1037"/>
          <ac:spMkLst>
            <pc:docMk/>
            <pc:sldMk cId="399791279" sldId="995"/>
            <ac:spMk id="10" creationId="{505B88A6-AE4F-4DBA-A71F-23D1EB2D03AC}"/>
          </ac:spMkLst>
        </pc:spChg>
        <pc:spChg chg="mod topLvl">
          <ac:chgData name="Dirk Laschat" userId="9253a62a-3edb-4e48-8ef7-64f354bb20dc" providerId="ADAL" clId="{F40834C7-0DA5-4DB1-A929-605080315E23}" dt="2018-08-05T11:21:30.565" v="12968" actId="207"/>
          <ac:spMkLst>
            <pc:docMk/>
            <pc:sldMk cId="399791279" sldId="995"/>
            <ac:spMk id="11" creationId="{EC1ACFE3-E757-4165-B5E9-E6F0CC3331A2}"/>
          </ac:spMkLst>
        </pc:spChg>
        <pc:spChg chg="mod topLvl">
          <ac:chgData name="Dirk Laschat" userId="9253a62a-3edb-4e48-8ef7-64f354bb20dc" providerId="ADAL" clId="{F40834C7-0DA5-4DB1-A929-605080315E23}" dt="2018-08-02T11:26:28.599" v="8600" actId="1037"/>
          <ac:spMkLst>
            <pc:docMk/>
            <pc:sldMk cId="399791279" sldId="995"/>
            <ac:spMk id="12" creationId="{19BFB1E7-F92F-412F-9965-AB6F7FB9A942}"/>
          </ac:spMkLst>
        </pc:spChg>
        <pc:spChg chg="mod topLvl">
          <ac:chgData name="Dirk Laschat" userId="9253a62a-3edb-4e48-8ef7-64f354bb20dc" providerId="ADAL" clId="{F40834C7-0DA5-4DB1-A929-605080315E23}" dt="2018-08-02T11:26:28.599" v="8600" actId="1037"/>
          <ac:spMkLst>
            <pc:docMk/>
            <pc:sldMk cId="399791279" sldId="995"/>
            <ac:spMk id="16" creationId="{AD360F0D-2D46-4093-AC65-29A7DDE903D0}"/>
          </ac:spMkLst>
        </pc:spChg>
        <pc:spChg chg="mod topLvl">
          <ac:chgData name="Dirk Laschat" userId="9253a62a-3edb-4e48-8ef7-64f354bb20dc" providerId="ADAL" clId="{F40834C7-0DA5-4DB1-A929-605080315E23}" dt="2018-08-02T11:26:28.599" v="8600" actId="1037"/>
          <ac:spMkLst>
            <pc:docMk/>
            <pc:sldMk cId="399791279" sldId="995"/>
            <ac:spMk id="17" creationId="{72F841F9-6EC0-437C-AD98-8016D5F17E25}"/>
          </ac:spMkLst>
        </pc:spChg>
        <pc:spChg chg="mod topLvl">
          <ac:chgData name="Dirk Laschat" userId="9253a62a-3edb-4e48-8ef7-64f354bb20dc" providerId="ADAL" clId="{F40834C7-0DA5-4DB1-A929-605080315E23}" dt="2018-08-05T11:21:30.565" v="12968" actId="207"/>
          <ac:spMkLst>
            <pc:docMk/>
            <pc:sldMk cId="399791279" sldId="995"/>
            <ac:spMk id="18" creationId="{9E776591-464C-4E2D-973B-D11440291D5B}"/>
          </ac:spMkLst>
        </pc:spChg>
        <pc:spChg chg="mod topLvl">
          <ac:chgData name="Dirk Laschat" userId="9253a62a-3edb-4e48-8ef7-64f354bb20dc" providerId="ADAL" clId="{F40834C7-0DA5-4DB1-A929-605080315E23}" dt="2018-08-02T11:26:28.599" v="8600" actId="1037"/>
          <ac:spMkLst>
            <pc:docMk/>
            <pc:sldMk cId="399791279" sldId="995"/>
            <ac:spMk id="19" creationId="{0D38FA3B-77AF-4FD7-9450-60DB89819A88}"/>
          </ac:spMkLst>
        </pc:spChg>
        <pc:spChg chg="add mod">
          <ac:chgData name="Dirk Laschat" userId="9253a62a-3edb-4e48-8ef7-64f354bb20dc" providerId="ADAL" clId="{F40834C7-0DA5-4DB1-A929-605080315E23}" dt="2018-08-05T11:21:53.722" v="12971" actId="207"/>
          <ac:spMkLst>
            <pc:docMk/>
            <pc:sldMk cId="399791279" sldId="995"/>
            <ac:spMk id="20" creationId="{9A420A05-D9FF-4B2B-A5B4-9218D00BB2BC}"/>
          </ac:spMkLst>
        </pc:spChg>
        <pc:spChg chg="mod topLvl">
          <ac:chgData name="Dirk Laschat" userId="9253a62a-3edb-4e48-8ef7-64f354bb20dc" providerId="ADAL" clId="{F40834C7-0DA5-4DB1-A929-605080315E23}" dt="2018-08-02T11:26:28.599" v="8600" actId="1037"/>
          <ac:spMkLst>
            <pc:docMk/>
            <pc:sldMk cId="399791279" sldId="995"/>
            <ac:spMk id="24" creationId="{4C2C205A-D68C-4AD2-8EA6-C62C6F4255CE}"/>
          </ac:spMkLst>
        </pc:spChg>
        <pc:spChg chg="mod topLvl">
          <ac:chgData name="Dirk Laschat" userId="9253a62a-3edb-4e48-8ef7-64f354bb20dc" providerId="ADAL" clId="{F40834C7-0DA5-4DB1-A929-605080315E23}" dt="2018-08-02T11:26:28.599" v="8600" actId="1037"/>
          <ac:spMkLst>
            <pc:docMk/>
            <pc:sldMk cId="399791279" sldId="995"/>
            <ac:spMk id="25" creationId="{188B5F88-DED1-4A08-86D5-23C178D20182}"/>
          </ac:spMkLst>
        </pc:spChg>
        <pc:spChg chg="mod topLvl">
          <ac:chgData name="Dirk Laschat" userId="9253a62a-3edb-4e48-8ef7-64f354bb20dc" providerId="ADAL" clId="{F40834C7-0DA5-4DB1-A929-605080315E23}" dt="2018-08-05T11:21:36.445" v="12969" actId="207"/>
          <ac:spMkLst>
            <pc:docMk/>
            <pc:sldMk cId="399791279" sldId="995"/>
            <ac:spMk id="26" creationId="{B561B2AD-5F5F-48AB-ADA0-115B0C3F8672}"/>
          </ac:spMkLst>
        </pc:spChg>
        <pc:spChg chg="mod topLvl">
          <ac:chgData name="Dirk Laschat" userId="9253a62a-3edb-4e48-8ef7-64f354bb20dc" providerId="ADAL" clId="{F40834C7-0DA5-4DB1-A929-605080315E23}" dt="2018-08-02T11:26:28.599" v="8600" actId="1037"/>
          <ac:spMkLst>
            <pc:docMk/>
            <pc:sldMk cId="399791279" sldId="995"/>
            <ac:spMk id="27" creationId="{16C86ECD-CC56-4305-8DC0-CD29D6046D5B}"/>
          </ac:spMkLst>
        </pc:spChg>
        <pc:spChg chg="mod topLvl">
          <ac:chgData name="Dirk Laschat" userId="9253a62a-3edb-4e48-8ef7-64f354bb20dc" providerId="ADAL" clId="{F40834C7-0DA5-4DB1-A929-605080315E23}" dt="2018-08-02T11:26:28.599" v="8600" actId="1037"/>
          <ac:spMkLst>
            <pc:docMk/>
            <pc:sldMk cId="399791279" sldId="995"/>
            <ac:spMk id="31" creationId="{D668DAE2-26D8-424A-BC2D-5E2F674B1D21}"/>
          </ac:spMkLst>
        </pc:spChg>
        <pc:spChg chg="mod topLvl">
          <ac:chgData name="Dirk Laschat" userId="9253a62a-3edb-4e48-8ef7-64f354bb20dc" providerId="ADAL" clId="{F40834C7-0DA5-4DB1-A929-605080315E23}" dt="2018-08-02T11:26:28.599" v="8600" actId="1037"/>
          <ac:spMkLst>
            <pc:docMk/>
            <pc:sldMk cId="399791279" sldId="995"/>
            <ac:spMk id="32" creationId="{8483D8C4-D942-4CE2-A22C-DFA8636E83DE}"/>
          </ac:spMkLst>
        </pc:spChg>
        <pc:spChg chg="mod topLvl">
          <ac:chgData name="Dirk Laschat" userId="9253a62a-3edb-4e48-8ef7-64f354bb20dc" providerId="ADAL" clId="{F40834C7-0DA5-4DB1-A929-605080315E23}" dt="2018-08-05T11:21:36.445" v="12969" actId="207"/>
          <ac:spMkLst>
            <pc:docMk/>
            <pc:sldMk cId="399791279" sldId="995"/>
            <ac:spMk id="33" creationId="{E32751B7-BCA9-49D9-B096-55F40BB3EAB3}"/>
          </ac:spMkLst>
        </pc:spChg>
        <pc:spChg chg="mod topLvl">
          <ac:chgData name="Dirk Laschat" userId="9253a62a-3edb-4e48-8ef7-64f354bb20dc" providerId="ADAL" clId="{F40834C7-0DA5-4DB1-A929-605080315E23}" dt="2018-08-02T11:26:28.599" v="8600" actId="1037"/>
          <ac:spMkLst>
            <pc:docMk/>
            <pc:sldMk cId="399791279" sldId="995"/>
            <ac:spMk id="34" creationId="{F7396521-3BDC-40BB-B0A5-7EA12B9C625C}"/>
          </ac:spMkLst>
        </pc:spChg>
        <pc:grpChg chg="add del">
          <ac:chgData name="Dirk Laschat" userId="9253a62a-3edb-4e48-8ef7-64f354bb20dc" providerId="ADAL" clId="{F40834C7-0DA5-4DB1-A929-605080315E23}" dt="2018-08-02T11:26:03.038" v="7643" actId="207"/>
          <ac:grpSpMkLst>
            <pc:docMk/>
            <pc:sldMk cId="399791279" sldId="995"/>
            <ac:grpSpMk id="6" creationId="{F37427F9-0723-478D-9D98-F610CDCD13E8}"/>
          </ac:grpSpMkLst>
        </pc:grpChg>
        <pc:grpChg chg="del mod topLvl">
          <ac:chgData name="Dirk Laschat" userId="9253a62a-3edb-4e48-8ef7-64f354bb20dc" providerId="ADAL" clId="{F40834C7-0DA5-4DB1-A929-605080315E23}" dt="2018-08-02T11:26:16.758" v="7645" actId="207"/>
          <ac:grpSpMkLst>
            <pc:docMk/>
            <pc:sldMk cId="399791279" sldId="995"/>
            <ac:grpSpMk id="7" creationId="{50A37AB4-AAA2-4368-AAB4-F9DDC5851166}"/>
          </ac:grpSpMkLst>
        </pc:grpChg>
        <pc:grpChg chg="del mod topLvl">
          <ac:chgData name="Dirk Laschat" userId="9253a62a-3edb-4e48-8ef7-64f354bb20dc" providerId="ADAL" clId="{F40834C7-0DA5-4DB1-A929-605080315E23}" dt="2018-08-02T11:26:16.758" v="7645" actId="207"/>
          <ac:grpSpMkLst>
            <pc:docMk/>
            <pc:sldMk cId="399791279" sldId="995"/>
            <ac:grpSpMk id="8" creationId="{6FFDC6E3-D7E4-4510-B568-8ABE906C7A9B}"/>
          </ac:grpSpMkLst>
        </pc:grpChg>
        <pc:grpChg chg="add del">
          <ac:chgData name="Dirk Laschat" userId="9253a62a-3edb-4e48-8ef7-64f354bb20dc" providerId="ADAL" clId="{F40834C7-0DA5-4DB1-A929-605080315E23}" dt="2018-08-02T11:26:03.038" v="7643" actId="207"/>
          <ac:grpSpMkLst>
            <pc:docMk/>
            <pc:sldMk cId="399791279" sldId="995"/>
            <ac:grpSpMk id="13" creationId="{CB336E19-1F8E-4C0A-BED9-9A897026F365}"/>
          </ac:grpSpMkLst>
        </pc:grpChg>
        <pc:grpChg chg="del mod topLvl">
          <ac:chgData name="Dirk Laschat" userId="9253a62a-3edb-4e48-8ef7-64f354bb20dc" providerId="ADAL" clId="{F40834C7-0DA5-4DB1-A929-605080315E23}" dt="2018-08-02T11:26:16.758" v="7645" actId="207"/>
          <ac:grpSpMkLst>
            <pc:docMk/>
            <pc:sldMk cId="399791279" sldId="995"/>
            <ac:grpSpMk id="14" creationId="{6CE2025C-A605-4A94-92BE-126A4F29BB03}"/>
          </ac:grpSpMkLst>
        </pc:grpChg>
        <pc:grpChg chg="del mod topLvl">
          <ac:chgData name="Dirk Laschat" userId="9253a62a-3edb-4e48-8ef7-64f354bb20dc" providerId="ADAL" clId="{F40834C7-0DA5-4DB1-A929-605080315E23}" dt="2018-08-02T11:26:16.758" v="7645" actId="207"/>
          <ac:grpSpMkLst>
            <pc:docMk/>
            <pc:sldMk cId="399791279" sldId="995"/>
            <ac:grpSpMk id="15" creationId="{27814F71-9B40-4814-9900-34AE0AA2689A}"/>
          </ac:grpSpMkLst>
        </pc:grpChg>
        <pc:grpChg chg="add del">
          <ac:chgData name="Dirk Laschat" userId="9253a62a-3edb-4e48-8ef7-64f354bb20dc" providerId="ADAL" clId="{F40834C7-0DA5-4DB1-A929-605080315E23}" dt="2018-08-02T11:26:03.038" v="7643" actId="207"/>
          <ac:grpSpMkLst>
            <pc:docMk/>
            <pc:sldMk cId="399791279" sldId="995"/>
            <ac:grpSpMk id="21" creationId="{2CDBFFC1-F7B7-46C3-89B4-9FE89F6AA23A}"/>
          </ac:grpSpMkLst>
        </pc:grpChg>
        <pc:grpChg chg="del mod topLvl">
          <ac:chgData name="Dirk Laschat" userId="9253a62a-3edb-4e48-8ef7-64f354bb20dc" providerId="ADAL" clId="{F40834C7-0DA5-4DB1-A929-605080315E23}" dt="2018-08-02T11:26:16.758" v="7645" actId="207"/>
          <ac:grpSpMkLst>
            <pc:docMk/>
            <pc:sldMk cId="399791279" sldId="995"/>
            <ac:grpSpMk id="22" creationId="{F85C847A-92A1-4733-8E79-A786B9D76ADC}"/>
          </ac:grpSpMkLst>
        </pc:grpChg>
        <pc:grpChg chg="del mod topLvl">
          <ac:chgData name="Dirk Laschat" userId="9253a62a-3edb-4e48-8ef7-64f354bb20dc" providerId="ADAL" clId="{F40834C7-0DA5-4DB1-A929-605080315E23}" dt="2018-08-02T11:26:16.758" v="7645" actId="207"/>
          <ac:grpSpMkLst>
            <pc:docMk/>
            <pc:sldMk cId="399791279" sldId="995"/>
            <ac:grpSpMk id="23" creationId="{2D70CA62-543E-45AF-A856-A73FB80DF2A8}"/>
          </ac:grpSpMkLst>
        </pc:grpChg>
        <pc:grpChg chg="add del">
          <ac:chgData name="Dirk Laschat" userId="9253a62a-3edb-4e48-8ef7-64f354bb20dc" providerId="ADAL" clId="{F40834C7-0DA5-4DB1-A929-605080315E23}" dt="2018-08-02T11:26:03.038" v="7643" actId="207"/>
          <ac:grpSpMkLst>
            <pc:docMk/>
            <pc:sldMk cId="399791279" sldId="995"/>
            <ac:grpSpMk id="28" creationId="{DAD83674-1EAB-4248-BBC4-D3504C917589}"/>
          </ac:grpSpMkLst>
        </pc:grpChg>
        <pc:grpChg chg="del mod topLvl">
          <ac:chgData name="Dirk Laschat" userId="9253a62a-3edb-4e48-8ef7-64f354bb20dc" providerId="ADAL" clId="{F40834C7-0DA5-4DB1-A929-605080315E23}" dt="2018-08-02T11:26:03.053" v="7644" actId="207"/>
          <ac:grpSpMkLst>
            <pc:docMk/>
            <pc:sldMk cId="399791279" sldId="995"/>
            <ac:grpSpMk id="29" creationId="{993CACB4-FC6E-4C2A-A6AB-736B366FDE39}"/>
          </ac:grpSpMkLst>
        </pc:grpChg>
        <pc:grpChg chg="del mod topLvl">
          <ac:chgData name="Dirk Laschat" userId="9253a62a-3edb-4e48-8ef7-64f354bb20dc" providerId="ADAL" clId="{F40834C7-0DA5-4DB1-A929-605080315E23}" dt="2018-08-02T11:26:03.053" v="7644" actId="207"/>
          <ac:grpSpMkLst>
            <pc:docMk/>
            <pc:sldMk cId="399791279" sldId="995"/>
            <ac:grpSpMk id="30" creationId="{7803CB3E-28EE-4FAB-9DF6-71D9C731ECA1}"/>
          </ac:grpSpMkLst>
        </pc:grpChg>
      </pc:sldChg>
      <pc:sldChg chg="addSp delSp modSp add">
        <pc:chgData name="Dirk Laschat" userId="9253a62a-3edb-4e48-8ef7-64f354bb20dc" providerId="ADAL" clId="{F40834C7-0DA5-4DB1-A929-605080315E23}" dt="2018-08-05T13:19:52.420" v="13321" actId="207"/>
        <pc:sldMkLst>
          <pc:docMk/>
          <pc:sldMk cId="2391600166" sldId="996"/>
        </pc:sldMkLst>
        <pc:spChg chg="del">
          <ac:chgData name="Dirk Laschat" userId="9253a62a-3edb-4e48-8ef7-64f354bb20dc" providerId="ADAL" clId="{F40834C7-0DA5-4DB1-A929-605080315E23}" dt="2018-08-02T11:26:48.790" v="8602" actId="207"/>
          <ac:spMkLst>
            <pc:docMk/>
            <pc:sldMk cId="2391600166" sldId="996"/>
            <ac:spMk id="2" creationId="{25C9CED1-B74F-4FDE-B45E-22EB11F817D0}"/>
          </ac:spMkLst>
        </pc:spChg>
        <pc:spChg chg="add mod">
          <ac:chgData name="Dirk Laschat" userId="9253a62a-3edb-4e48-8ef7-64f354bb20dc" providerId="ADAL" clId="{F40834C7-0DA5-4DB1-A929-605080315E23}" dt="2018-08-02T11:26:48.790" v="8602" actId="207"/>
          <ac:spMkLst>
            <pc:docMk/>
            <pc:sldMk cId="2391600166" sldId="996"/>
            <ac:spMk id="4" creationId="{0331CAC3-73E8-40A3-A617-8DF25891D595}"/>
          </ac:spMkLst>
        </pc:spChg>
        <pc:spChg chg="add mod">
          <ac:chgData name="Dirk Laschat" userId="9253a62a-3edb-4e48-8ef7-64f354bb20dc" providerId="ADAL" clId="{F40834C7-0DA5-4DB1-A929-605080315E23}" dt="2018-08-02T11:27:20.328" v="9643" actId="255"/>
          <ac:spMkLst>
            <pc:docMk/>
            <pc:sldMk cId="2391600166" sldId="996"/>
            <ac:spMk id="5" creationId="{ADE7C57C-5437-42AC-8DC1-82BDB508A78F}"/>
          </ac:spMkLst>
        </pc:spChg>
        <pc:spChg chg="add mod">
          <ac:chgData name="Dirk Laschat" userId="9253a62a-3edb-4e48-8ef7-64f354bb20dc" providerId="ADAL" clId="{F40834C7-0DA5-4DB1-A929-605080315E23}" dt="2018-08-02T11:27:20.328" v="9643" actId="255"/>
          <ac:spMkLst>
            <pc:docMk/>
            <pc:sldMk cId="2391600166" sldId="996"/>
            <ac:spMk id="6" creationId="{32355E93-C7F1-4967-9287-5E05055F4EA8}"/>
          </ac:spMkLst>
        </pc:spChg>
        <pc:spChg chg="add mod">
          <ac:chgData name="Dirk Laschat" userId="9253a62a-3edb-4e48-8ef7-64f354bb20dc" providerId="ADAL" clId="{F40834C7-0DA5-4DB1-A929-605080315E23}" dt="2018-08-05T13:19:26.965" v="13316" actId="207"/>
          <ac:spMkLst>
            <pc:docMk/>
            <pc:sldMk cId="2391600166" sldId="996"/>
            <ac:spMk id="7" creationId="{CD5866DC-05FB-4F15-9573-1FA395CE8AEE}"/>
          </ac:spMkLst>
        </pc:spChg>
        <pc:spChg chg="add mod">
          <ac:chgData name="Dirk Laschat" userId="9253a62a-3edb-4e48-8ef7-64f354bb20dc" providerId="ADAL" clId="{F40834C7-0DA5-4DB1-A929-605080315E23}" dt="2018-08-02T11:28:19.741" v="9658" actId="242"/>
          <ac:spMkLst>
            <pc:docMk/>
            <pc:sldMk cId="2391600166" sldId="996"/>
            <ac:spMk id="8" creationId="{9E7672A7-2E4F-4BA9-A560-1A40539A4389}"/>
          </ac:spMkLst>
        </pc:spChg>
        <pc:spChg chg="add mod">
          <ac:chgData name="Dirk Laschat" userId="9253a62a-3edb-4e48-8ef7-64f354bb20dc" providerId="ADAL" clId="{F40834C7-0DA5-4DB1-A929-605080315E23}" dt="2018-08-05T13:19:29.186" v="13317" actId="207"/>
          <ac:spMkLst>
            <pc:docMk/>
            <pc:sldMk cId="2391600166" sldId="996"/>
            <ac:spMk id="9" creationId="{00B93D84-C122-4B99-8B44-C92DB1C41A18}"/>
          </ac:spMkLst>
        </pc:spChg>
        <pc:spChg chg="add mod">
          <ac:chgData name="Dirk Laschat" userId="9253a62a-3edb-4e48-8ef7-64f354bb20dc" providerId="ADAL" clId="{F40834C7-0DA5-4DB1-A929-605080315E23}" dt="2018-08-02T11:28:13.324" v="9655" actId="242"/>
          <ac:spMkLst>
            <pc:docMk/>
            <pc:sldMk cId="2391600166" sldId="996"/>
            <ac:spMk id="10" creationId="{E7DCB338-01F2-4C84-A866-B5D6EA6B7922}"/>
          </ac:spMkLst>
        </pc:spChg>
        <pc:spChg chg="add mod">
          <ac:chgData name="Dirk Laschat" userId="9253a62a-3edb-4e48-8ef7-64f354bb20dc" providerId="ADAL" clId="{F40834C7-0DA5-4DB1-A929-605080315E23}" dt="2018-08-02T11:27:20.328" v="9643" actId="255"/>
          <ac:spMkLst>
            <pc:docMk/>
            <pc:sldMk cId="2391600166" sldId="996"/>
            <ac:spMk id="11" creationId="{1E9A1029-EBE9-45B1-A4A8-CDB9209429FF}"/>
          </ac:spMkLst>
        </pc:spChg>
        <pc:spChg chg="add mod">
          <ac:chgData name="Dirk Laschat" userId="9253a62a-3edb-4e48-8ef7-64f354bb20dc" providerId="ADAL" clId="{F40834C7-0DA5-4DB1-A929-605080315E23}" dt="2018-08-02T11:27:20.328" v="9643" actId="255"/>
          <ac:spMkLst>
            <pc:docMk/>
            <pc:sldMk cId="2391600166" sldId="996"/>
            <ac:spMk id="12" creationId="{26787179-C244-4D74-823E-E082BE6E1FD8}"/>
          </ac:spMkLst>
        </pc:spChg>
        <pc:spChg chg="add mod">
          <ac:chgData name="Dirk Laschat" userId="9253a62a-3edb-4e48-8ef7-64f354bb20dc" providerId="ADAL" clId="{F40834C7-0DA5-4DB1-A929-605080315E23}" dt="2018-08-02T11:27:20.328" v="9643" actId="255"/>
          <ac:spMkLst>
            <pc:docMk/>
            <pc:sldMk cId="2391600166" sldId="996"/>
            <ac:spMk id="13" creationId="{BC8B0524-FAC1-4679-B763-45A229265289}"/>
          </ac:spMkLst>
        </pc:spChg>
        <pc:spChg chg="add mod">
          <ac:chgData name="Dirk Laschat" userId="9253a62a-3edb-4e48-8ef7-64f354bb20dc" providerId="ADAL" clId="{F40834C7-0DA5-4DB1-A929-605080315E23}" dt="2018-08-02T11:27:20.328" v="9643" actId="255"/>
          <ac:spMkLst>
            <pc:docMk/>
            <pc:sldMk cId="2391600166" sldId="996"/>
            <ac:spMk id="14" creationId="{580B0676-B753-4187-9533-E6BBCA516C18}"/>
          </ac:spMkLst>
        </pc:spChg>
        <pc:spChg chg="add mod">
          <ac:chgData name="Dirk Laschat" userId="9253a62a-3edb-4e48-8ef7-64f354bb20dc" providerId="ADAL" clId="{F40834C7-0DA5-4DB1-A929-605080315E23}" dt="2018-08-05T13:19:40.735" v="13318" actId="207"/>
          <ac:spMkLst>
            <pc:docMk/>
            <pc:sldMk cId="2391600166" sldId="996"/>
            <ac:spMk id="15" creationId="{7C5B6577-13A3-4265-8055-EE881C063740}"/>
          </ac:spMkLst>
        </pc:spChg>
        <pc:spChg chg="add mod">
          <ac:chgData name="Dirk Laschat" userId="9253a62a-3edb-4e48-8ef7-64f354bb20dc" providerId="ADAL" clId="{F40834C7-0DA5-4DB1-A929-605080315E23}" dt="2018-08-02T11:27:20.328" v="9643" actId="255"/>
          <ac:spMkLst>
            <pc:docMk/>
            <pc:sldMk cId="2391600166" sldId="996"/>
            <ac:spMk id="16" creationId="{817D31B4-D777-42B6-8483-815F62962F8A}"/>
          </ac:spMkLst>
        </pc:spChg>
        <pc:spChg chg="add mod">
          <ac:chgData name="Dirk Laschat" userId="9253a62a-3edb-4e48-8ef7-64f354bb20dc" providerId="ADAL" clId="{F40834C7-0DA5-4DB1-A929-605080315E23}" dt="2018-08-05T13:19:43.463" v="13319" actId="207"/>
          <ac:spMkLst>
            <pc:docMk/>
            <pc:sldMk cId="2391600166" sldId="996"/>
            <ac:spMk id="17" creationId="{78872234-5F28-4EEE-BD6B-78DC614D707A}"/>
          </ac:spMkLst>
        </pc:spChg>
        <pc:spChg chg="add mod">
          <ac:chgData name="Dirk Laschat" userId="9253a62a-3edb-4e48-8ef7-64f354bb20dc" providerId="ADAL" clId="{F40834C7-0DA5-4DB1-A929-605080315E23}" dt="2018-08-02T11:27:20.328" v="9643" actId="255"/>
          <ac:spMkLst>
            <pc:docMk/>
            <pc:sldMk cId="2391600166" sldId="996"/>
            <ac:spMk id="18" creationId="{6E89FBFE-DA21-45E1-9E5C-7142AE01442D}"/>
          </ac:spMkLst>
        </pc:spChg>
        <pc:spChg chg="add mod">
          <ac:chgData name="Dirk Laschat" userId="9253a62a-3edb-4e48-8ef7-64f354bb20dc" providerId="ADAL" clId="{F40834C7-0DA5-4DB1-A929-605080315E23}" dt="2018-08-02T11:27:03.998" v="9642" actId="1037"/>
          <ac:spMkLst>
            <pc:docMk/>
            <pc:sldMk cId="2391600166" sldId="996"/>
            <ac:spMk id="19" creationId="{972E3480-6309-4898-8DC2-FB9424EE4E8F}"/>
          </ac:spMkLst>
        </pc:spChg>
        <pc:spChg chg="add mod">
          <ac:chgData name="Dirk Laschat" userId="9253a62a-3edb-4e48-8ef7-64f354bb20dc" providerId="ADAL" clId="{F40834C7-0DA5-4DB1-A929-605080315E23}" dt="2018-08-05T13:19:49.283" v="13320" actId="207"/>
          <ac:spMkLst>
            <pc:docMk/>
            <pc:sldMk cId="2391600166" sldId="996"/>
            <ac:spMk id="20" creationId="{E705DC0D-8A90-44F3-9C71-2B03FC275376}"/>
          </ac:spMkLst>
        </pc:spChg>
        <pc:spChg chg="add mod">
          <ac:chgData name="Dirk Laschat" userId="9253a62a-3edb-4e48-8ef7-64f354bb20dc" providerId="ADAL" clId="{F40834C7-0DA5-4DB1-A929-605080315E23}" dt="2018-08-05T13:19:52.420" v="13321" actId="207"/>
          <ac:spMkLst>
            <pc:docMk/>
            <pc:sldMk cId="2391600166" sldId="996"/>
            <ac:spMk id="21" creationId="{E2B38318-4563-40E7-9288-53FD6F82AA6E}"/>
          </ac:spMkLst>
        </pc:spChg>
      </pc:sldChg>
      <pc:sldChg chg="delSp modSp add ord">
        <pc:chgData name="Dirk Laschat" userId="9253a62a-3edb-4e48-8ef7-64f354bb20dc" providerId="ADAL" clId="{F40834C7-0DA5-4DB1-A929-605080315E23}" dt="2018-08-20T13:30:52.905" v="17658" actId="207"/>
        <pc:sldMkLst>
          <pc:docMk/>
          <pc:sldMk cId="1388703086" sldId="997"/>
        </pc:sldMkLst>
        <pc:spChg chg="mod topLvl">
          <ac:chgData name="Dirk Laschat" userId="9253a62a-3edb-4e48-8ef7-64f354bb20dc" providerId="ADAL" clId="{F40834C7-0DA5-4DB1-A929-605080315E23}" dt="2018-08-20T13:30:50.893" v="17657" actId="207"/>
          <ac:spMkLst>
            <pc:docMk/>
            <pc:sldMk cId="1388703086" sldId="997"/>
            <ac:spMk id="3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20T13:30:52.905" v="17658" actId="207"/>
          <ac:spMkLst>
            <pc:docMk/>
            <pc:sldMk cId="1388703086" sldId="997"/>
            <ac:spMk id="4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20T13:30:46.669" v="17655" actId="207"/>
          <ac:spMkLst>
            <pc:docMk/>
            <pc:sldMk cId="1388703086" sldId="997"/>
            <ac:spMk id="5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0:33:52.273" v="12287" actId="207"/>
          <ac:spMkLst>
            <pc:docMk/>
            <pc:sldMk cId="1388703086" sldId="997"/>
            <ac:spMk id="7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0:33:40.513" v="12279" actId="207"/>
          <ac:spMkLst>
            <pc:docMk/>
            <pc:sldMk cId="1388703086" sldId="997"/>
            <ac:spMk id="9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0:33:44.739" v="12283" actId="207"/>
          <ac:spMkLst>
            <pc:docMk/>
            <pc:sldMk cId="1388703086" sldId="997"/>
            <ac:spMk id="11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0:33:40.513" v="12279" actId="207"/>
          <ac:spMkLst>
            <pc:docMk/>
            <pc:sldMk cId="1388703086" sldId="997"/>
            <ac:spMk id="13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0:33:40.509" v="12278" actId="207"/>
          <ac:spMkLst>
            <pc:docMk/>
            <pc:sldMk cId="1388703086" sldId="997"/>
            <ac:spMk id="14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05T10:33:44.738" v="12281" actId="207"/>
          <ac:spMkLst>
            <pc:docMk/>
            <pc:sldMk cId="1388703086" sldId="997"/>
            <ac:spMk id="21" creationId="{4E9A5673-FB09-4C29-B36A-687A4CBAF64F}"/>
          </ac:spMkLst>
        </pc:spChg>
        <pc:spChg chg="mod">
          <ac:chgData name="Dirk Laschat" userId="9253a62a-3edb-4e48-8ef7-64f354bb20dc" providerId="ADAL" clId="{F40834C7-0DA5-4DB1-A929-605080315E23}" dt="2018-08-05T10:33:58.324" v="12305" actId="1035"/>
          <ac:spMkLst>
            <pc:docMk/>
            <pc:sldMk cId="1388703086" sldId="997"/>
            <ac:spMk id="22" creationId="{A4F1015C-199D-4A9A-ADB0-F076CEDE1A6E}"/>
          </ac:spMkLst>
        </pc:spChg>
        <pc:spChg chg="mod">
          <ac:chgData name="Dirk Laschat" userId="9253a62a-3edb-4e48-8ef7-64f354bb20dc" providerId="ADAL" clId="{F40834C7-0DA5-4DB1-A929-605080315E23}" dt="2018-08-05T10:34:08.396" v="12331" actId="1036"/>
          <ac:spMkLst>
            <pc:docMk/>
            <pc:sldMk cId="1388703086" sldId="997"/>
            <ac:spMk id="23" creationId="{B8DCBEFC-9AC4-4A42-8448-7261FBC50F09}"/>
          </ac:spMkLst>
        </pc:spChg>
        <pc:spChg chg="mod topLvl">
          <ac:chgData name="Dirk Laschat" userId="9253a62a-3edb-4e48-8ef7-64f354bb20dc" providerId="ADAL" clId="{F40834C7-0DA5-4DB1-A929-605080315E23}" dt="2018-08-05T10:33:40.509" v="12278" actId="207"/>
          <ac:spMkLst>
            <pc:docMk/>
            <pc:sldMk cId="1388703086" sldId="997"/>
            <ac:spMk id="27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0:33:40.513" v="12279" actId="207"/>
          <ac:spMkLst>
            <pc:docMk/>
            <pc:sldMk cId="1388703086" sldId="997"/>
            <ac:spMk id="29" creationId="{00000000-0000-0000-0000-000000000000}"/>
          </ac:spMkLst>
        </pc:spChg>
        <pc:spChg chg="mod topLvl">
          <ac:chgData name="Dirk Laschat" userId="9253a62a-3edb-4e48-8ef7-64f354bb20dc" providerId="ADAL" clId="{F40834C7-0DA5-4DB1-A929-605080315E23}" dt="2018-08-05T10:33:40.513" v="12279" actId="207"/>
          <ac:spMkLst>
            <pc:docMk/>
            <pc:sldMk cId="1388703086" sldId="997"/>
            <ac:spMk id="31" creationId="{00000000-0000-0000-0000-000000000000}"/>
          </ac:spMkLst>
        </pc:spChg>
        <pc:grpChg chg="del mod topLvl">
          <ac:chgData name="Dirk Laschat" userId="9253a62a-3edb-4e48-8ef7-64f354bb20dc" providerId="ADAL" clId="{F40834C7-0DA5-4DB1-A929-605080315E23}" dt="2018-08-05T10:33:40.513" v="12279" actId="207"/>
          <ac:grpSpMkLst>
            <pc:docMk/>
            <pc:sldMk cId="1388703086" sldId="997"/>
            <ac:grpSpMk id="6" creationId="{00000000-0000-0000-0000-000000000000}"/>
          </ac:grpSpMkLst>
        </pc:grpChg>
        <pc:grpChg chg="del mod topLvl">
          <ac:chgData name="Dirk Laschat" userId="9253a62a-3edb-4e48-8ef7-64f354bb20dc" providerId="ADAL" clId="{F40834C7-0DA5-4DB1-A929-605080315E23}" dt="2018-08-05T10:33:40.513" v="12279" actId="207"/>
          <ac:grpSpMkLst>
            <pc:docMk/>
            <pc:sldMk cId="1388703086" sldId="997"/>
            <ac:grpSpMk id="10" creationId="{00000000-0000-0000-0000-000000000000}"/>
          </ac:grpSpMkLst>
        </pc:grpChg>
        <pc:grpChg chg="del mod topLvl">
          <ac:chgData name="Dirk Laschat" userId="9253a62a-3edb-4e48-8ef7-64f354bb20dc" providerId="ADAL" clId="{F40834C7-0DA5-4DB1-A929-605080315E23}" dt="2018-08-05T10:33:40.513" v="12279" actId="207"/>
          <ac:grpSpMkLst>
            <pc:docMk/>
            <pc:sldMk cId="1388703086" sldId="997"/>
            <ac:grpSpMk id="28" creationId="{00000000-0000-0000-0000-000000000000}"/>
          </ac:grpSpMkLst>
        </pc:grpChg>
        <pc:grpChg chg="del">
          <ac:chgData name="Dirk Laschat" userId="9253a62a-3edb-4e48-8ef7-64f354bb20dc" providerId="ADAL" clId="{F40834C7-0DA5-4DB1-A929-605080315E23}" dt="2018-08-05T10:33:40.509" v="12278" actId="207"/>
          <ac:grpSpMkLst>
            <pc:docMk/>
            <pc:sldMk cId="1388703086" sldId="997"/>
            <ac:grpSpMk id="32" creationId="{00000000-0000-0000-0000-000000000000}"/>
          </ac:grpSpMkLst>
        </pc:grpChg>
      </pc:sldChg>
      <pc:sldChg chg="modSp add">
        <pc:chgData name="Dirk Laschat" userId="9253a62a-3edb-4e48-8ef7-64f354bb20dc" providerId="ADAL" clId="{F40834C7-0DA5-4DB1-A929-605080315E23}" dt="2018-08-05T10:44:24.045" v="12529" actId="207"/>
        <pc:sldMkLst>
          <pc:docMk/>
          <pc:sldMk cId="1784902378" sldId="1005"/>
        </pc:sldMkLst>
        <pc:spChg chg="mod">
          <ac:chgData name="Dirk Laschat" userId="9253a62a-3edb-4e48-8ef7-64f354bb20dc" providerId="ADAL" clId="{F40834C7-0DA5-4DB1-A929-605080315E23}" dt="2018-08-05T10:44:24.045" v="12529" actId="207"/>
          <ac:spMkLst>
            <pc:docMk/>
            <pc:sldMk cId="1784902378" sldId="1005"/>
            <ac:spMk id="13" creationId="{B032E2F0-23FA-3040-9150-9CD587F3C15E}"/>
          </ac:spMkLst>
        </pc:spChg>
        <pc:spChg chg="mod">
          <ac:chgData name="Dirk Laschat" userId="9253a62a-3edb-4e48-8ef7-64f354bb20dc" providerId="ADAL" clId="{F40834C7-0DA5-4DB1-A929-605080315E23}" dt="2018-08-05T10:44:18.666" v="12528" actId="108"/>
          <ac:spMkLst>
            <pc:docMk/>
            <pc:sldMk cId="1784902378" sldId="1005"/>
            <ac:spMk id="14" creationId="{4F10A762-EBCA-2242-83F7-A3DE0E5A0011}"/>
          </ac:spMkLst>
        </pc:spChg>
        <pc:spChg chg="mod">
          <ac:chgData name="Dirk Laschat" userId="9253a62a-3edb-4e48-8ef7-64f354bb20dc" providerId="ADAL" clId="{F40834C7-0DA5-4DB1-A929-605080315E23}" dt="2018-08-05T10:44:18.666" v="12528" actId="108"/>
          <ac:spMkLst>
            <pc:docMk/>
            <pc:sldMk cId="1784902378" sldId="1005"/>
            <ac:spMk id="15" creationId="{746FE6FB-44AD-B947-A386-1F1ABF432F30}"/>
          </ac:spMkLst>
        </pc:spChg>
        <pc:spChg chg="mod">
          <ac:chgData name="Dirk Laschat" userId="9253a62a-3edb-4e48-8ef7-64f354bb20dc" providerId="ADAL" clId="{F40834C7-0DA5-4DB1-A929-605080315E23}" dt="2018-08-05T10:44:18.666" v="12528" actId="108"/>
          <ac:spMkLst>
            <pc:docMk/>
            <pc:sldMk cId="1784902378" sldId="1005"/>
            <ac:spMk id="16" creationId="{CB0EDE14-1E34-894D-B11F-FE59F0BB2764}"/>
          </ac:spMkLst>
        </pc:spChg>
        <pc:spChg chg="mod">
          <ac:chgData name="Dirk Laschat" userId="9253a62a-3edb-4e48-8ef7-64f354bb20dc" providerId="ADAL" clId="{F40834C7-0DA5-4DB1-A929-605080315E23}" dt="2018-08-05T10:44:18.666" v="12528" actId="108"/>
          <ac:spMkLst>
            <pc:docMk/>
            <pc:sldMk cId="1784902378" sldId="1005"/>
            <ac:spMk id="17" creationId="{3A625522-F4A6-4B4B-8E38-1AE033A60484}"/>
          </ac:spMkLst>
        </pc:spChg>
        <pc:spChg chg="mod">
          <ac:chgData name="Dirk Laschat" userId="9253a62a-3edb-4e48-8ef7-64f354bb20dc" providerId="ADAL" clId="{F40834C7-0DA5-4DB1-A929-605080315E23}" dt="2018-08-05T10:44:18.666" v="12528" actId="108"/>
          <ac:spMkLst>
            <pc:docMk/>
            <pc:sldMk cId="1784902378" sldId="1005"/>
            <ac:spMk id="18" creationId="{04854D48-CD5A-8A42-8D84-655A8AF5C508}"/>
          </ac:spMkLst>
        </pc:spChg>
        <pc:spChg chg="mod">
          <ac:chgData name="Dirk Laschat" userId="9253a62a-3edb-4e48-8ef7-64f354bb20dc" providerId="ADAL" clId="{F40834C7-0DA5-4DB1-A929-605080315E23}" dt="2018-08-05T10:44:18.666" v="12528" actId="108"/>
          <ac:spMkLst>
            <pc:docMk/>
            <pc:sldMk cId="1784902378" sldId="1005"/>
            <ac:spMk id="19" creationId="{65ED6F0F-897F-404D-9B56-C17E92176049}"/>
          </ac:spMkLst>
        </pc:spChg>
        <pc:grpChg chg="mod">
          <ac:chgData name="Dirk Laschat" userId="9253a62a-3edb-4e48-8ef7-64f354bb20dc" providerId="ADAL" clId="{F40834C7-0DA5-4DB1-A929-605080315E23}" dt="2018-08-05T10:43:52.356" v="12526" actId="14100"/>
          <ac:grpSpMkLst>
            <pc:docMk/>
            <pc:sldMk cId="1784902378" sldId="1005"/>
            <ac:grpSpMk id="12" creationId="{F1006D82-007C-2A40-8453-B479404731E2}"/>
          </ac:grpSpMkLst>
        </pc:grpChg>
      </pc:sldChg>
      <pc:sldChg chg="addSp delSp modSp add">
        <pc:chgData name="Dirk Laschat" userId="9253a62a-3edb-4e48-8ef7-64f354bb20dc" providerId="ADAL" clId="{F40834C7-0DA5-4DB1-A929-605080315E23}" dt="2018-08-20T13:27:28.733" v="17641" actId="207"/>
        <pc:sldMkLst>
          <pc:docMk/>
          <pc:sldMk cId="659551941" sldId="1006"/>
        </pc:sldMkLst>
        <pc:spChg chg="mod">
          <ac:chgData name="Dirk Laschat" userId="9253a62a-3edb-4e48-8ef7-64f354bb20dc" providerId="ADAL" clId="{F40834C7-0DA5-4DB1-A929-605080315E23}" dt="2018-08-05T10:44:29.252" v="12530" actId="207"/>
          <ac:spMkLst>
            <pc:docMk/>
            <pc:sldMk cId="659551941" sldId="1006"/>
            <ac:spMk id="9" creationId="{4500B2E7-7B40-3D4E-8A78-41270B2BF199}"/>
          </ac:spMkLst>
        </pc:spChg>
        <pc:spChg chg="mod">
          <ac:chgData name="Dirk Laschat" userId="9253a62a-3edb-4e48-8ef7-64f354bb20dc" providerId="ADAL" clId="{F40834C7-0DA5-4DB1-A929-605080315E23}" dt="2018-08-05T10:47:43.964" v="12553" actId="108"/>
          <ac:spMkLst>
            <pc:docMk/>
            <pc:sldMk cId="659551941" sldId="1006"/>
            <ac:spMk id="21" creationId="{1358526D-9828-4610-9688-24386E092458}"/>
          </ac:spMkLst>
        </pc:spChg>
        <pc:spChg chg="mod">
          <ac:chgData name="Dirk Laschat" userId="9253a62a-3edb-4e48-8ef7-64f354bb20dc" providerId="ADAL" clId="{F40834C7-0DA5-4DB1-A929-605080315E23}" dt="2018-08-20T13:27:28.733" v="17641" actId="207"/>
          <ac:spMkLst>
            <pc:docMk/>
            <pc:sldMk cId="659551941" sldId="1006"/>
            <ac:spMk id="25" creationId="{BB6A0AC4-7780-4AE7-9555-3440F544873D}"/>
          </ac:spMkLst>
        </pc:spChg>
        <pc:grpChg chg="del">
          <ac:chgData name="Dirk Laschat" userId="9253a62a-3edb-4e48-8ef7-64f354bb20dc" providerId="ADAL" clId="{F40834C7-0DA5-4DB1-A929-605080315E23}" dt="2018-08-05T10:47:12.620" v="12541" actId="478"/>
          <ac:grpSpMkLst>
            <pc:docMk/>
            <pc:sldMk cId="659551941" sldId="1006"/>
            <ac:grpSpMk id="4" creationId="{93B81E3C-71FD-7C46-9779-319EBF5381A6}"/>
          </ac:grpSpMkLst>
        </pc:grpChg>
        <pc:grpChg chg="add del">
          <ac:chgData name="Dirk Laschat" userId="9253a62a-3edb-4e48-8ef7-64f354bb20dc" providerId="ADAL" clId="{F40834C7-0DA5-4DB1-A929-605080315E23}" dt="2018-08-05T10:47:10.928" v="12540" actId="207"/>
          <ac:grpSpMkLst>
            <pc:docMk/>
            <pc:sldMk cId="659551941" sldId="1006"/>
            <ac:grpSpMk id="12" creationId="{B3A5F5B0-D14C-441F-A7C6-927746E0A14C}"/>
          </ac:grpSpMkLst>
        </pc:grpChg>
        <pc:grpChg chg="add">
          <ac:chgData name="Dirk Laschat" userId="9253a62a-3edb-4e48-8ef7-64f354bb20dc" providerId="ADAL" clId="{F40834C7-0DA5-4DB1-A929-605080315E23}" dt="2018-08-05T10:47:13.890" v="12542" actId="207"/>
          <ac:grpSpMkLst>
            <pc:docMk/>
            <pc:sldMk cId="659551941" sldId="1006"/>
            <ac:grpSpMk id="20" creationId="{6A19B3F1-FFDD-43B1-89BB-5C805ACA0EFE}"/>
          </ac:grpSpMkLst>
        </pc:grpChg>
      </pc:sldChg>
      <pc:sldChg chg="addSp delSp modSp add">
        <pc:chgData name="Dirk Laschat" userId="9253a62a-3edb-4e48-8ef7-64f354bb20dc" providerId="ADAL" clId="{F40834C7-0DA5-4DB1-A929-605080315E23}" dt="2018-08-20T13:27:32.720" v="17642" actId="207"/>
        <pc:sldMkLst>
          <pc:docMk/>
          <pc:sldMk cId="3583921140" sldId="1007"/>
        </pc:sldMkLst>
        <pc:spChg chg="mod">
          <ac:chgData name="Dirk Laschat" userId="9253a62a-3edb-4e48-8ef7-64f354bb20dc" providerId="ADAL" clId="{F40834C7-0DA5-4DB1-A929-605080315E23}" dt="2018-08-05T10:44:35.649" v="12531" actId="207"/>
          <ac:spMkLst>
            <pc:docMk/>
            <pc:sldMk cId="3583921140" sldId="1007"/>
            <ac:spMk id="6" creationId="{04F26EB9-75CD-3243-8E99-9F1191651DBE}"/>
          </ac:spMkLst>
        </pc:spChg>
        <pc:spChg chg="mod">
          <ac:chgData name="Dirk Laschat" userId="9253a62a-3edb-4e48-8ef7-64f354bb20dc" providerId="ADAL" clId="{F40834C7-0DA5-4DB1-A929-605080315E23}" dt="2018-08-20T13:26:07.401" v="17631" actId="207"/>
          <ac:spMkLst>
            <pc:docMk/>
            <pc:sldMk cId="3583921140" sldId="1007"/>
            <ac:spMk id="13" creationId="{04040486-3E3D-40BE-A425-AE3EF126FF8E}"/>
          </ac:spMkLst>
        </pc:spChg>
        <pc:spChg chg="mod">
          <ac:chgData name="Dirk Laschat" userId="9253a62a-3edb-4e48-8ef7-64f354bb20dc" providerId="ADAL" clId="{F40834C7-0DA5-4DB1-A929-605080315E23}" dt="2018-08-20T13:27:32.720" v="17642" actId="207"/>
          <ac:spMkLst>
            <pc:docMk/>
            <pc:sldMk cId="3583921140" sldId="1007"/>
            <ac:spMk id="14" creationId="{978345C9-B482-4DF8-AB86-0525EED39932}"/>
          </ac:spMkLst>
        </pc:spChg>
        <pc:grpChg chg="del">
          <ac:chgData name="Dirk Laschat" userId="9253a62a-3edb-4e48-8ef7-64f354bb20dc" providerId="ADAL" clId="{F40834C7-0DA5-4DB1-A929-605080315E23}" dt="2018-08-05T10:47:18.613" v="12543" actId="478"/>
          <ac:grpSpMkLst>
            <pc:docMk/>
            <pc:sldMk cId="3583921140" sldId="1007"/>
            <ac:grpSpMk id="4" creationId="{C19E55D9-E0C3-AF4A-8151-9777E11C6DCF}"/>
          </ac:grpSpMkLst>
        </pc:grpChg>
        <pc:grpChg chg="add">
          <ac:chgData name="Dirk Laschat" userId="9253a62a-3edb-4e48-8ef7-64f354bb20dc" providerId="ADAL" clId="{F40834C7-0DA5-4DB1-A929-605080315E23}" dt="2018-08-05T10:47:19.718" v="12544" actId="207"/>
          <ac:grpSpMkLst>
            <pc:docMk/>
            <pc:sldMk cId="3583921140" sldId="1007"/>
            <ac:grpSpMk id="12" creationId="{1AC0C5BA-4880-44EF-9C57-CCC435F2C2F3}"/>
          </ac:grpSpMkLst>
        </pc:grpChg>
      </pc:sldChg>
      <pc:sldChg chg="addSp delSp modSp add">
        <pc:chgData name="Dirk Laschat" userId="9253a62a-3edb-4e48-8ef7-64f354bb20dc" providerId="ADAL" clId="{F40834C7-0DA5-4DB1-A929-605080315E23}" dt="2018-08-20T13:27:45.403" v="17644" actId="207"/>
        <pc:sldMkLst>
          <pc:docMk/>
          <pc:sldMk cId="1777907564" sldId="1009"/>
        </pc:sldMkLst>
        <pc:spChg chg="mod">
          <ac:chgData name="Dirk Laschat" userId="9253a62a-3edb-4e48-8ef7-64f354bb20dc" providerId="ADAL" clId="{F40834C7-0DA5-4DB1-A929-605080315E23}" dt="2018-08-05T10:46:44.834" v="12537" actId="207"/>
          <ac:spMkLst>
            <pc:docMk/>
            <pc:sldMk cId="1777907564" sldId="1009"/>
            <ac:spMk id="8" creationId="{0FDDAD0D-E862-BB48-B7AD-A04B0BDF40B5}"/>
          </ac:spMkLst>
        </pc:spChg>
        <pc:spChg chg="mod">
          <ac:chgData name="Dirk Laschat" userId="9253a62a-3edb-4e48-8ef7-64f354bb20dc" providerId="ADAL" clId="{F40834C7-0DA5-4DB1-A929-605080315E23}" dt="2018-08-05T10:47:48.598" v="12556" actId="108"/>
          <ac:spMkLst>
            <pc:docMk/>
            <pc:sldMk cId="1777907564" sldId="1009"/>
            <ac:spMk id="13" creationId="{3BCB667B-5A13-47E7-8CE1-24DD2FB60838}"/>
          </ac:spMkLst>
        </pc:spChg>
        <pc:spChg chg="mod">
          <ac:chgData name="Dirk Laschat" userId="9253a62a-3edb-4e48-8ef7-64f354bb20dc" providerId="ADAL" clId="{F40834C7-0DA5-4DB1-A929-605080315E23}" dt="2018-08-20T13:27:45.403" v="17644" actId="207"/>
          <ac:spMkLst>
            <pc:docMk/>
            <pc:sldMk cId="1777907564" sldId="1009"/>
            <ac:spMk id="16" creationId="{B41D6C40-E17F-4AA6-964B-E187CFED14F2}"/>
          </ac:spMkLst>
        </pc:spChg>
        <pc:grpChg chg="del">
          <ac:chgData name="Dirk Laschat" userId="9253a62a-3edb-4e48-8ef7-64f354bb20dc" providerId="ADAL" clId="{F40834C7-0DA5-4DB1-A929-605080315E23}" dt="2018-08-05T10:47:26.944" v="12547" actId="478"/>
          <ac:grpSpMkLst>
            <pc:docMk/>
            <pc:sldMk cId="1777907564" sldId="1009"/>
            <ac:grpSpMk id="4" creationId="{27982E2B-23CC-364A-BDCC-3DC3B16CCDFF}"/>
          </ac:grpSpMkLst>
        </pc:grpChg>
        <pc:grpChg chg="add">
          <ac:chgData name="Dirk Laschat" userId="9253a62a-3edb-4e48-8ef7-64f354bb20dc" providerId="ADAL" clId="{F40834C7-0DA5-4DB1-A929-605080315E23}" dt="2018-08-05T10:47:29.246" v="12548" actId="207"/>
          <ac:grpSpMkLst>
            <pc:docMk/>
            <pc:sldMk cId="1777907564" sldId="1009"/>
            <ac:grpSpMk id="12" creationId="{13C6CA07-D10C-43E7-B097-41BF5856CD3C}"/>
          </ac:grpSpMkLst>
        </pc:grpChg>
      </pc:sldChg>
      <pc:sldChg chg="addSp delSp modSp add">
        <pc:chgData name="Dirk Laschat" userId="9253a62a-3edb-4e48-8ef7-64f354bb20dc" providerId="ADAL" clId="{F40834C7-0DA5-4DB1-A929-605080315E23}" dt="2018-08-20T13:27:50.002" v="17645" actId="207"/>
        <pc:sldMkLst>
          <pc:docMk/>
          <pc:sldMk cId="3197506898" sldId="1010"/>
        </pc:sldMkLst>
        <pc:spChg chg="mod">
          <ac:chgData name="Dirk Laschat" userId="9253a62a-3edb-4e48-8ef7-64f354bb20dc" providerId="ADAL" clId="{F40834C7-0DA5-4DB1-A929-605080315E23}" dt="2018-08-05T10:46:50.401" v="12538" actId="207"/>
          <ac:spMkLst>
            <pc:docMk/>
            <pc:sldMk cId="3197506898" sldId="1010"/>
            <ac:spMk id="10" creationId="{B660E999-1550-9149-BF44-FDFD00607AF2}"/>
          </ac:spMkLst>
        </pc:spChg>
        <pc:spChg chg="mod">
          <ac:chgData name="Dirk Laschat" userId="9253a62a-3edb-4e48-8ef7-64f354bb20dc" providerId="ADAL" clId="{F40834C7-0DA5-4DB1-A929-605080315E23}" dt="2018-08-05T10:47:49.693" v="12557" actId="108"/>
          <ac:spMkLst>
            <pc:docMk/>
            <pc:sldMk cId="3197506898" sldId="1010"/>
            <ac:spMk id="13" creationId="{33B84082-0D95-4E46-8A5E-E11B64069CA5}"/>
          </ac:spMkLst>
        </pc:spChg>
        <pc:spChg chg="mod">
          <ac:chgData name="Dirk Laschat" userId="9253a62a-3edb-4e48-8ef7-64f354bb20dc" providerId="ADAL" clId="{F40834C7-0DA5-4DB1-A929-605080315E23}" dt="2018-08-20T13:27:50.002" v="17645" actId="207"/>
          <ac:spMkLst>
            <pc:docMk/>
            <pc:sldMk cId="3197506898" sldId="1010"/>
            <ac:spMk id="18" creationId="{213EC011-F210-41E6-9AE8-7ACC405AC6D9}"/>
          </ac:spMkLst>
        </pc:spChg>
        <pc:grpChg chg="del">
          <ac:chgData name="Dirk Laschat" userId="9253a62a-3edb-4e48-8ef7-64f354bb20dc" providerId="ADAL" clId="{F40834C7-0DA5-4DB1-A929-605080315E23}" dt="2018-08-05T10:47:32.156" v="12549" actId="478"/>
          <ac:grpSpMkLst>
            <pc:docMk/>
            <pc:sldMk cId="3197506898" sldId="1010"/>
            <ac:grpSpMk id="4" creationId="{C8463981-ACB5-0347-99EF-389C1D4D19A3}"/>
          </ac:grpSpMkLst>
        </pc:grpChg>
        <pc:grpChg chg="add">
          <ac:chgData name="Dirk Laschat" userId="9253a62a-3edb-4e48-8ef7-64f354bb20dc" providerId="ADAL" clId="{F40834C7-0DA5-4DB1-A929-605080315E23}" dt="2018-08-05T10:47:33.228" v="12550" actId="207"/>
          <ac:grpSpMkLst>
            <pc:docMk/>
            <pc:sldMk cId="3197506898" sldId="1010"/>
            <ac:grpSpMk id="12" creationId="{E60596E1-F77A-4C3B-9127-99B9ECD7FC57}"/>
          </ac:grpSpMkLst>
        </pc:grpChg>
      </pc:sldChg>
      <pc:sldChg chg="addSp delSp modSp add">
        <pc:chgData name="Dirk Laschat" userId="9253a62a-3edb-4e48-8ef7-64f354bb20dc" providerId="ADAL" clId="{F40834C7-0DA5-4DB1-A929-605080315E23}" dt="2018-08-20T13:27:56.423" v="17646" actId="207"/>
        <pc:sldMkLst>
          <pc:docMk/>
          <pc:sldMk cId="1542059285" sldId="1011"/>
        </pc:sldMkLst>
        <pc:spChg chg="mod">
          <ac:chgData name="Dirk Laschat" userId="9253a62a-3edb-4e48-8ef7-64f354bb20dc" providerId="ADAL" clId="{F40834C7-0DA5-4DB1-A929-605080315E23}" dt="2018-08-05T10:47:50.471" v="12558" actId="108"/>
          <ac:spMkLst>
            <pc:docMk/>
            <pc:sldMk cId="1542059285" sldId="1011"/>
            <ac:spMk id="14" creationId="{D1A3AA4D-35BE-44EB-AFA4-FF9C94971520}"/>
          </ac:spMkLst>
        </pc:spChg>
        <pc:spChg chg="mod">
          <ac:chgData name="Dirk Laschat" userId="9253a62a-3edb-4e48-8ef7-64f354bb20dc" providerId="ADAL" clId="{F40834C7-0DA5-4DB1-A929-605080315E23}" dt="2018-08-05T10:47:50.471" v="12558" actId="108"/>
          <ac:spMkLst>
            <pc:docMk/>
            <pc:sldMk cId="1542059285" sldId="1011"/>
            <ac:spMk id="15" creationId="{04F7F2D0-1897-4DC1-AEB0-23F870DD7316}"/>
          </ac:spMkLst>
        </pc:spChg>
        <pc:spChg chg="mod">
          <ac:chgData name="Dirk Laschat" userId="9253a62a-3edb-4e48-8ef7-64f354bb20dc" providerId="ADAL" clId="{F40834C7-0DA5-4DB1-A929-605080315E23}" dt="2018-08-05T10:47:50.471" v="12558" actId="108"/>
          <ac:spMkLst>
            <pc:docMk/>
            <pc:sldMk cId="1542059285" sldId="1011"/>
            <ac:spMk id="16" creationId="{48AF8092-1322-4E39-A626-DF3B1849B4B8}"/>
          </ac:spMkLst>
        </pc:spChg>
        <pc:spChg chg="mod">
          <ac:chgData name="Dirk Laschat" userId="9253a62a-3edb-4e48-8ef7-64f354bb20dc" providerId="ADAL" clId="{F40834C7-0DA5-4DB1-A929-605080315E23}" dt="2018-08-05T10:47:50.471" v="12558" actId="108"/>
          <ac:spMkLst>
            <pc:docMk/>
            <pc:sldMk cId="1542059285" sldId="1011"/>
            <ac:spMk id="17" creationId="{18B61E86-DA19-4545-B630-1FECF1102D4B}"/>
          </ac:spMkLst>
        </pc:spChg>
        <pc:spChg chg="mod">
          <ac:chgData name="Dirk Laschat" userId="9253a62a-3edb-4e48-8ef7-64f354bb20dc" providerId="ADAL" clId="{F40834C7-0DA5-4DB1-A929-605080315E23}" dt="2018-08-05T10:47:50.471" v="12558" actId="108"/>
          <ac:spMkLst>
            <pc:docMk/>
            <pc:sldMk cId="1542059285" sldId="1011"/>
            <ac:spMk id="18" creationId="{2797B5A6-7F6D-46D3-8FC3-A40759215C92}"/>
          </ac:spMkLst>
        </pc:spChg>
        <pc:spChg chg="mod">
          <ac:chgData name="Dirk Laschat" userId="9253a62a-3edb-4e48-8ef7-64f354bb20dc" providerId="ADAL" clId="{F40834C7-0DA5-4DB1-A929-605080315E23}" dt="2018-08-05T10:47:50.471" v="12558" actId="108"/>
          <ac:spMkLst>
            <pc:docMk/>
            <pc:sldMk cId="1542059285" sldId="1011"/>
            <ac:spMk id="19" creationId="{E4392C80-9BAF-43C1-8EA5-750545994902}"/>
          </ac:spMkLst>
        </pc:spChg>
        <pc:spChg chg="mod">
          <ac:chgData name="Dirk Laschat" userId="9253a62a-3edb-4e48-8ef7-64f354bb20dc" providerId="ADAL" clId="{F40834C7-0DA5-4DB1-A929-605080315E23}" dt="2018-08-20T13:27:56.423" v="17646" actId="207"/>
          <ac:spMkLst>
            <pc:docMk/>
            <pc:sldMk cId="1542059285" sldId="1011"/>
            <ac:spMk id="20" creationId="{C70759F1-E3FB-4B47-9C67-523922A0F629}"/>
          </ac:spMkLst>
        </pc:spChg>
        <pc:grpChg chg="del">
          <ac:chgData name="Dirk Laschat" userId="9253a62a-3edb-4e48-8ef7-64f354bb20dc" providerId="ADAL" clId="{F40834C7-0DA5-4DB1-A929-605080315E23}" dt="2018-08-05T10:47:35.708" v="12551" actId="478"/>
          <ac:grpSpMkLst>
            <pc:docMk/>
            <pc:sldMk cId="1542059285" sldId="1011"/>
            <ac:grpSpMk id="5" creationId="{7A094156-2B49-2B4B-8F87-328E2BCE00F4}"/>
          </ac:grpSpMkLst>
        </pc:grpChg>
        <pc:grpChg chg="add">
          <ac:chgData name="Dirk Laschat" userId="9253a62a-3edb-4e48-8ef7-64f354bb20dc" providerId="ADAL" clId="{F40834C7-0DA5-4DB1-A929-605080315E23}" dt="2018-08-05T10:47:36.770" v="12552" actId="207"/>
          <ac:grpSpMkLst>
            <pc:docMk/>
            <pc:sldMk cId="1542059285" sldId="1011"/>
            <ac:grpSpMk id="13" creationId="{AC9FCF3B-695B-4CE5-A024-6737CBC5E3D2}"/>
          </ac:grpSpMkLst>
        </pc:grpChg>
      </pc:sldChg>
      <pc:sldChg chg="addSp delSp modSp add ord">
        <pc:chgData name="Dirk Laschat" userId="9253a62a-3edb-4e48-8ef7-64f354bb20dc" providerId="ADAL" clId="{F40834C7-0DA5-4DB1-A929-605080315E23}" dt="2018-08-20T12:52:44.274" v="16706" actId="207"/>
        <pc:sldMkLst>
          <pc:docMk/>
          <pc:sldMk cId="3249751163" sldId="1012"/>
        </pc:sldMkLst>
        <pc:spChg chg="mod">
          <ac:chgData name="Dirk Laschat" userId="9253a62a-3edb-4e48-8ef7-64f354bb20dc" providerId="ADAL" clId="{F40834C7-0DA5-4DB1-A929-605080315E23}" dt="2018-08-05T11:04:17.746" v="12884" actId="3064"/>
          <ac:spMkLst>
            <pc:docMk/>
            <pc:sldMk cId="3249751163" sldId="1012"/>
            <ac:spMk id="4" creationId="{253FE405-B100-FF4A-A342-96B237113DDC}"/>
          </ac:spMkLst>
        </pc:spChg>
        <pc:spChg chg="del">
          <ac:chgData name="Dirk Laschat" userId="9253a62a-3edb-4e48-8ef7-64f354bb20dc" providerId="ADAL" clId="{F40834C7-0DA5-4DB1-A929-605080315E23}" dt="2018-08-05T11:02:01.965" v="12808" actId="478"/>
          <ac:spMkLst>
            <pc:docMk/>
            <pc:sldMk cId="3249751163" sldId="1012"/>
            <ac:spMk id="6" creationId="{763EE3E3-4659-2648-8700-AB20F4974348}"/>
          </ac:spMkLst>
        </pc:spChg>
        <pc:spChg chg="mod">
          <ac:chgData name="Dirk Laschat" userId="9253a62a-3edb-4e48-8ef7-64f354bb20dc" providerId="ADAL" clId="{F40834C7-0DA5-4DB1-A929-605080315E23}" dt="2018-08-20T12:52:44.274" v="16706" actId="207"/>
          <ac:spMkLst>
            <pc:docMk/>
            <pc:sldMk cId="3249751163" sldId="1012"/>
            <ac:spMk id="10" creationId="{9BD1C18A-4662-E442-8CBB-539B35C1A3D1}"/>
          </ac:spMkLst>
        </pc:spChg>
        <pc:spChg chg="mod">
          <ac:chgData name="Dirk Laschat" userId="9253a62a-3edb-4e48-8ef7-64f354bb20dc" providerId="ADAL" clId="{F40834C7-0DA5-4DB1-A929-605080315E23}" dt="2018-08-05T11:02:46.993" v="12849" actId="1037"/>
          <ac:spMkLst>
            <pc:docMk/>
            <pc:sldMk cId="3249751163" sldId="1012"/>
            <ac:spMk id="11" creationId="{88D65DAF-F9D6-C942-BDBF-3C24C092568F}"/>
          </ac:spMkLst>
        </pc:spChg>
        <pc:spChg chg="add mod">
          <ac:chgData name="Dirk Laschat" userId="9253a62a-3edb-4e48-8ef7-64f354bb20dc" providerId="ADAL" clId="{F40834C7-0DA5-4DB1-A929-605080315E23}" dt="2018-08-05T11:02:41.352" v="12826" actId="14100"/>
          <ac:spMkLst>
            <pc:docMk/>
            <pc:sldMk cId="3249751163" sldId="1012"/>
            <ac:spMk id="13" creationId="{144D38DD-E813-43DD-A420-3D6E1A5B93BE}"/>
          </ac:spMkLst>
        </pc:spChg>
        <pc:spChg chg="add mod">
          <ac:chgData name="Dirk Laschat" userId="9253a62a-3edb-4e48-8ef7-64f354bb20dc" providerId="ADAL" clId="{F40834C7-0DA5-4DB1-A929-605080315E23}" dt="2018-08-05T11:04:57.707" v="12887" actId="207"/>
          <ac:spMkLst>
            <pc:docMk/>
            <pc:sldMk cId="3249751163" sldId="1012"/>
            <ac:spMk id="14" creationId="{6114E38A-0380-4D4D-A85B-6E25B5BA4679}"/>
          </ac:spMkLst>
        </pc:spChg>
        <pc:spChg chg="add mod">
          <ac:chgData name="Dirk Laschat" userId="9253a62a-3edb-4e48-8ef7-64f354bb20dc" providerId="ADAL" clId="{F40834C7-0DA5-4DB1-A929-605080315E23}" dt="2018-08-05T11:02:41.352" v="12826" actId="14100"/>
          <ac:spMkLst>
            <pc:docMk/>
            <pc:sldMk cId="3249751163" sldId="1012"/>
            <ac:spMk id="15" creationId="{F1AF0249-F9A2-474D-AF5D-1F3EF5244610}"/>
          </ac:spMkLst>
        </pc:spChg>
        <pc:spChg chg="add mod">
          <ac:chgData name="Dirk Laschat" userId="9253a62a-3edb-4e48-8ef7-64f354bb20dc" providerId="ADAL" clId="{F40834C7-0DA5-4DB1-A929-605080315E23}" dt="2018-08-20T12:52:39.056" v="16705" actId="207"/>
          <ac:spMkLst>
            <pc:docMk/>
            <pc:sldMk cId="3249751163" sldId="1012"/>
            <ac:spMk id="16" creationId="{66C2E976-DFF2-45B7-8689-CD6EDF182921}"/>
          </ac:spMkLst>
        </pc:spChg>
        <pc:grpChg chg="mod">
          <ac:chgData name="Dirk Laschat" userId="9253a62a-3edb-4e48-8ef7-64f354bb20dc" providerId="ADAL" clId="{F40834C7-0DA5-4DB1-A929-605080315E23}" dt="2018-08-05T11:01:43.771" v="12803" actId="571"/>
          <ac:grpSpMkLst>
            <pc:docMk/>
            <pc:sldMk cId="3249751163" sldId="1012"/>
            <ac:grpSpMk id="5" creationId="{3E573ED2-B737-5E40-883A-1834B9BDE971}"/>
          </ac:grpSpMkLst>
        </pc:grpChg>
        <pc:grpChg chg="mod">
          <ac:chgData name="Dirk Laschat" userId="9253a62a-3edb-4e48-8ef7-64f354bb20dc" providerId="ADAL" clId="{F40834C7-0DA5-4DB1-A929-605080315E23}" dt="2018-08-05T11:01:43.771" v="12803" actId="571"/>
          <ac:grpSpMkLst>
            <pc:docMk/>
            <pc:sldMk cId="3249751163" sldId="1012"/>
            <ac:grpSpMk id="12" creationId="{B887879F-7CB0-D843-8ED8-CB6829DFB76F}"/>
          </ac:grpSpMkLst>
        </pc:grpChg>
      </pc:sldChg>
      <pc:sldChg chg="delSp modSp add">
        <pc:chgData name="Dirk Laschat" userId="9253a62a-3edb-4e48-8ef7-64f354bb20dc" providerId="ADAL" clId="{F40834C7-0DA5-4DB1-A929-605080315E23}" dt="2018-08-05T10:58:12.779" v="12687" actId="208"/>
        <pc:sldMkLst>
          <pc:docMk/>
          <pc:sldMk cId="2995813153" sldId="1021"/>
        </pc:sldMkLst>
        <pc:spChg chg="mod">
          <ac:chgData name="Dirk Laschat" userId="9253a62a-3edb-4e48-8ef7-64f354bb20dc" providerId="ADAL" clId="{F40834C7-0DA5-4DB1-A929-605080315E23}" dt="2018-08-05T10:38:55.556" v="12388" actId="208"/>
          <ac:spMkLst>
            <pc:docMk/>
            <pc:sldMk cId="2995813153" sldId="1021"/>
            <ac:spMk id="3" creationId="{9D46434C-2DBA-4116-A73A-31F9C768F5AC}"/>
          </ac:spMkLst>
        </pc:spChg>
        <pc:spChg chg="mod topLvl">
          <ac:chgData name="Dirk Laschat" userId="9253a62a-3edb-4e48-8ef7-64f354bb20dc" providerId="ADAL" clId="{F40834C7-0DA5-4DB1-A929-605080315E23}" dt="2018-08-05T10:36:51.642" v="12350" actId="208"/>
          <ac:spMkLst>
            <pc:docMk/>
            <pc:sldMk cId="2995813153" sldId="1021"/>
            <ac:spMk id="6" creationId="{94BBD381-3D79-6D4D-AB7D-024E6BEAAAEA}"/>
          </ac:spMkLst>
        </pc:spChg>
        <pc:spChg chg="mod">
          <ac:chgData name="Dirk Laschat" userId="9253a62a-3edb-4e48-8ef7-64f354bb20dc" providerId="ADAL" clId="{F40834C7-0DA5-4DB1-A929-605080315E23}" dt="2018-08-05T10:36:14.997" v="12344" actId="207"/>
          <ac:spMkLst>
            <pc:docMk/>
            <pc:sldMk cId="2995813153" sldId="1021"/>
            <ac:spMk id="29" creationId="{0DE2B426-2DD6-4744-86B9-1185F5CC8FDD}"/>
          </ac:spMkLst>
        </pc:spChg>
        <pc:spChg chg="mod">
          <ac:chgData name="Dirk Laschat" userId="9253a62a-3edb-4e48-8ef7-64f354bb20dc" providerId="ADAL" clId="{F40834C7-0DA5-4DB1-A929-605080315E23}" dt="2018-08-05T10:36:14.997" v="12344" actId="207"/>
          <ac:spMkLst>
            <pc:docMk/>
            <pc:sldMk cId="2995813153" sldId="1021"/>
            <ac:spMk id="31" creationId="{F292E017-8B95-40CB-8899-CED6A1CA2E51}"/>
          </ac:spMkLst>
        </pc:spChg>
        <pc:spChg chg="mod">
          <ac:chgData name="Dirk Laschat" userId="9253a62a-3edb-4e48-8ef7-64f354bb20dc" providerId="ADAL" clId="{F40834C7-0DA5-4DB1-A929-605080315E23}" dt="2018-08-05T10:36:20.196" v="12345" actId="207"/>
          <ac:spMkLst>
            <pc:docMk/>
            <pc:sldMk cId="2995813153" sldId="1021"/>
            <ac:spMk id="32" creationId="{F49BD5B4-16F5-48D6-BBC7-D0804E1D680D}"/>
          </ac:spMkLst>
        </pc:spChg>
        <pc:spChg chg="mod">
          <ac:chgData name="Dirk Laschat" userId="9253a62a-3edb-4e48-8ef7-64f354bb20dc" providerId="ADAL" clId="{F40834C7-0DA5-4DB1-A929-605080315E23}" dt="2018-08-05T10:36:14.997" v="12344" actId="207"/>
          <ac:spMkLst>
            <pc:docMk/>
            <pc:sldMk cId="2995813153" sldId="1021"/>
            <ac:spMk id="34" creationId="{DEAFBB35-150D-41E5-9B71-F5C28FFB002E}"/>
          </ac:spMkLst>
        </pc:spChg>
        <pc:spChg chg="mod">
          <ac:chgData name="Dirk Laschat" userId="9253a62a-3edb-4e48-8ef7-64f354bb20dc" providerId="ADAL" clId="{F40834C7-0DA5-4DB1-A929-605080315E23}" dt="2018-08-05T10:38:49.236" v="12386" actId="208"/>
          <ac:spMkLst>
            <pc:docMk/>
            <pc:sldMk cId="2995813153" sldId="1021"/>
            <ac:spMk id="36" creationId="{8D56D7DD-E4BF-4893-898A-3FFFBEEA29C3}"/>
          </ac:spMkLst>
        </pc:spChg>
        <pc:spChg chg="mod">
          <ac:chgData name="Dirk Laschat" userId="9253a62a-3edb-4e48-8ef7-64f354bb20dc" providerId="ADAL" clId="{F40834C7-0DA5-4DB1-A929-605080315E23}" dt="2018-08-05T10:38:28.657" v="12383" actId="1035"/>
          <ac:spMkLst>
            <pc:docMk/>
            <pc:sldMk cId="2995813153" sldId="1021"/>
            <ac:spMk id="37" creationId="{E8A08EE8-93C5-4686-999D-744706012966}"/>
          </ac:spMkLst>
        </pc:spChg>
        <pc:spChg chg="mod">
          <ac:chgData name="Dirk Laschat" userId="9253a62a-3edb-4e48-8ef7-64f354bb20dc" providerId="ADAL" clId="{F40834C7-0DA5-4DB1-A929-605080315E23}" dt="2018-08-05T10:38:28.657" v="12383" actId="1035"/>
          <ac:spMkLst>
            <pc:docMk/>
            <pc:sldMk cId="2995813153" sldId="1021"/>
            <ac:spMk id="38" creationId="{FDDFC215-0B8B-4BDD-9060-8B0A8D1170AD}"/>
          </ac:spMkLst>
        </pc:spChg>
        <pc:spChg chg="mod">
          <ac:chgData name="Dirk Laschat" userId="9253a62a-3edb-4e48-8ef7-64f354bb20dc" providerId="ADAL" clId="{F40834C7-0DA5-4DB1-A929-605080315E23}" dt="2018-08-05T10:38:28.657" v="12383" actId="1035"/>
          <ac:spMkLst>
            <pc:docMk/>
            <pc:sldMk cId="2995813153" sldId="1021"/>
            <ac:spMk id="39" creationId="{87F4C6A5-D8C6-492F-89B2-5DC21B91BBAB}"/>
          </ac:spMkLst>
        </pc:spChg>
        <pc:spChg chg="mod">
          <ac:chgData name="Dirk Laschat" userId="9253a62a-3edb-4e48-8ef7-64f354bb20dc" providerId="ADAL" clId="{F40834C7-0DA5-4DB1-A929-605080315E23}" dt="2018-08-05T10:38:19.462" v="12363" actId="403"/>
          <ac:spMkLst>
            <pc:docMk/>
            <pc:sldMk cId="2995813153" sldId="1021"/>
            <ac:spMk id="57" creationId="{5245954C-E6F6-4FEA-B8D0-E7834BEEB457}"/>
          </ac:spMkLst>
        </pc:spChg>
        <pc:spChg chg="mod">
          <ac:chgData name="Dirk Laschat" userId="9253a62a-3edb-4e48-8ef7-64f354bb20dc" providerId="ADAL" clId="{F40834C7-0DA5-4DB1-A929-605080315E23}" dt="2018-08-05T10:37:24.880" v="12355" actId="12"/>
          <ac:spMkLst>
            <pc:docMk/>
            <pc:sldMk cId="2995813153" sldId="1021"/>
            <ac:spMk id="77" creationId="{499EE263-65D5-2042-BC9A-ABFF15660DF1}"/>
          </ac:spMkLst>
        </pc:spChg>
        <pc:spChg chg="mod topLvl">
          <ac:chgData name="Dirk Laschat" userId="9253a62a-3edb-4e48-8ef7-64f354bb20dc" providerId="ADAL" clId="{F40834C7-0DA5-4DB1-A929-605080315E23}" dt="2018-08-05T10:36:51.644" v="12351" actId="208"/>
          <ac:spMkLst>
            <pc:docMk/>
            <pc:sldMk cId="2995813153" sldId="1021"/>
            <ac:spMk id="80" creationId="{DC662439-CAB0-514A-BE43-6BD72C16A5E4}"/>
          </ac:spMkLst>
        </pc:spChg>
        <pc:spChg chg="mod topLvl">
          <ac:chgData name="Dirk Laschat" userId="9253a62a-3edb-4e48-8ef7-64f354bb20dc" providerId="ADAL" clId="{F40834C7-0DA5-4DB1-A929-605080315E23}" dt="2018-08-05T10:37:03.743" v="12353" actId="208"/>
          <ac:spMkLst>
            <pc:docMk/>
            <pc:sldMk cId="2995813153" sldId="1021"/>
            <ac:spMk id="81" creationId="{F114131D-2588-8C40-80D5-F9D1FA0A75E0}"/>
          </ac:spMkLst>
        </pc:spChg>
        <pc:spChg chg="mod topLvl">
          <ac:chgData name="Dirk Laschat" userId="9253a62a-3edb-4e48-8ef7-64f354bb20dc" providerId="ADAL" clId="{F40834C7-0DA5-4DB1-A929-605080315E23}" dt="2018-08-05T10:36:51.647" v="12352" actId="208"/>
          <ac:spMkLst>
            <pc:docMk/>
            <pc:sldMk cId="2995813153" sldId="1021"/>
            <ac:spMk id="82" creationId="{C02AC9DE-FABD-3447-8AF0-C94C739DF3D5}"/>
          </ac:spMkLst>
        </pc:spChg>
        <pc:spChg chg="mod topLvl">
          <ac:chgData name="Dirk Laschat" userId="9253a62a-3edb-4e48-8ef7-64f354bb20dc" providerId="ADAL" clId="{F40834C7-0DA5-4DB1-A929-605080315E23}" dt="2018-08-05T10:37:03.743" v="12353" actId="208"/>
          <ac:spMkLst>
            <pc:docMk/>
            <pc:sldMk cId="2995813153" sldId="1021"/>
            <ac:spMk id="83" creationId="{BD1D819D-5FC3-D64C-9A26-0C14938E5E66}"/>
          </ac:spMkLst>
        </pc:spChg>
        <pc:spChg chg="mod topLvl">
          <ac:chgData name="Dirk Laschat" userId="9253a62a-3edb-4e48-8ef7-64f354bb20dc" providerId="ADAL" clId="{F40834C7-0DA5-4DB1-A929-605080315E23}" dt="2018-08-05T10:36:51.647" v="12352" actId="208"/>
          <ac:spMkLst>
            <pc:docMk/>
            <pc:sldMk cId="2995813153" sldId="1021"/>
            <ac:spMk id="84" creationId="{C48A8EA8-60C7-314D-9D79-0765D2D6B7A0}"/>
          </ac:spMkLst>
        </pc:spChg>
        <pc:spChg chg="mod topLvl">
          <ac:chgData name="Dirk Laschat" userId="9253a62a-3edb-4e48-8ef7-64f354bb20dc" providerId="ADAL" clId="{F40834C7-0DA5-4DB1-A929-605080315E23}" dt="2018-08-05T10:37:03.743" v="12353" actId="208"/>
          <ac:spMkLst>
            <pc:docMk/>
            <pc:sldMk cId="2995813153" sldId="1021"/>
            <ac:spMk id="85" creationId="{EE346E47-A4C9-6E46-B35D-023380CD8B5E}"/>
          </ac:spMkLst>
        </pc:spChg>
        <pc:spChg chg="mod topLvl">
          <ac:chgData name="Dirk Laschat" userId="9253a62a-3edb-4e48-8ef7-64f354bb20dc" providerId="ADAL" clId="{F40834C7-0DA5-4DB1-A929-605080315E23}" dt="2018-08-05T10:36:51.647" v="12352" actId="208"/>
          <ac:spMkLst>
            <pc:docMk/>
            <pc:sldMk cId="2995813153" sldId="1021"/>
            <ac:spMk id="86" creationId="{D1AAE79E-01C3-E44B-AC44-7BA8E71F0ED4}"/>
          </ac:spMkLst>
        </pc:spChg>
        <pc:spChg chg="mod topLvl">
          <ac:chgData name="Dirk Laschat" userId="9253a62a-3edb-4e48-8ef7-64f354bb20dc" providerId="ADAL" clId="{F40834C7-0DA5-4DB1-A929-605080315E23}" dt="2018-08-05T10:37:03.743" v="12353" actId="208"/>
          <ac:spMkLst>
            <pc:docMk/>
            <pc:sldMk cId="2995813153" sldId="1021"/>
            <ac:spMk id="87" creationId="{2E09527E-0527-0145-ADCA-3B6026AB2A8C}"/>
          </ac:spMkLst>
        </pc:spChg>
        <pc:spChg chg="mod topLvl">
          <ac:chgData name="Dirk Laschat" userId="9253a62a-3edb-4e48-8ef7-64f354bb20dc" providerId="ADAL" clId="{F40834C7-0DA5-4DB1-A929-605080315E23}" dt="2018-08-05T10:36:51.647" v="12352" actId="208"/>
          <ac:spMkLst>
            <pc:docMk/>
            <pc:sldMk cId="2995813153" sldId="1021"/>
            <ac:spMk id="88" creationId="{97BD9C78-7EAD-BE43-9024-061A7A2FDB61}"/>
          </ac:spMkLst>
        </pc:spChg>
        <pc:spChg chg="mod topLvl">
          <ac:chgData name="Dirk Laschat" userId="9253a62a-3edb-4e48-8ef7-64f354bb20dc" providerId="ADAL" clId="{F40834C7-0DA5-4DB1-A929-605080315E23}" dt="2018-08-05T10:36:51.647" v="12352" actId="208"/>
          <ac:spMkLst>
            <pc:docMk/>
            <pc:sldMk cId="2995813153" sldId="1021"/>
            <ac:spMk id="89" creationId="{8928C4E5-B904-EE48-9935-AB43613642EE}"/>
          </ac:spMkLst>
        </pc:spChg>
        <pc:spChg chg="mod">
          <ac:chgData name="Dirk Laschat" userId="9253a62a-3edb-4e48-8ef7-64f354bb20dc" providerId="ADAL" clId="{F40834C7-0DA5-4DB1-A929-605080315E23}" dt="2018-08-05T10:38:59.183" v="12389" actId="208"/>
          <ac:spMkLst>
            <pc:docMk/>
            <pc:sldMk cId="2995813153" sldId="1021"/>
            <ac:spMk id="91" creationId="{DEB9D2D9-DEC6-FE46-B78A-940420FA65C5}"/>
          </ac:spMkLst>
        </pc:spChg>
        <pc:grpChg chg="mod">
          <ac:chgData name="Dirk Laschat" userId="9253a62a-3edb-4e48-8ef7-64f354bb20dc" providerId="ADAL" clId="{F40834C7-0DA5-4DB1-A929-605080315E23}" dt="2018-08-05T10:38:28.657" v="12383" actId="1035"/>
          <ac:grpSpMkLst>
            <pc:docMk/>
            <pc:sldMk cId="2995813153" sldId="1021"/>
            <ac:grpSpMk id="4" creationId="{8CE4E1AB-2DDC-49ED-8E74-7BF5B5B68117}"/>
          </ac:grpSpMkLst>
        </pc:grpChg>
        <pc:grpChg chg="mod">
          <ac:chgData name="Dirk Laschat" userId="9253a62a-3edb-4e48-8ef7-64f354bb20dc" providerId="ADAL" clId="{F40834C7-0DA5-4DB1-A929-605080315E23}" dt="2018-08-05T10:35:15.802" v="12338" actId="14100"/>
          <ac:grpSpMkLst>
            <pc:docMk/>
            <pc:sldMk cId="2995813153" sldId="1021"/>
            <ac:grpSpMk id="5" creationId="{396F307F-2F39-4C2D-B192-D9128236624C}"/>
          </ac:grpSpMkLst>
        </pc:grpChg>
        <pc:grpChg chg="del">
          <ac:chgData name="Dirk Laschat" userId="9253a62a-3edb-4e48-8ef7-64f354bb20dc" providerId="ADAL" clId="{F40834C7-0DA5-4DB1-A929-605080315E23}" dt="2018-08-05T10:36:51.642" v="12350" actId="208"/>
          <ac:grpSpMkLst>
            <pc:docMk/>
            <pc:sldMk cId="2995813153" sldId="1021"/>
            <ac:grpSpMk id="7" creationId="{CFBB958F-F976-B54D-9976-28F2C11C4D8D}"/>
          </ac:grpSpMkLst>
        </pc:grpChg>
        <pc:grpChg chg="del mod topLvl">
          <ac:chgData name="Dirk Laschat" userId="9253a62a-3edb-4e48-8ef7-64f354bb20dc" providerId="ADAL" clId="{F40834C7-0DA5-4DB1-A929-605080315E23}" dt="2018-08-05T10:36:51.644" v="12351" actId="208"/>
          <ac:grpSpMkLst>
            <pc:docMk/>
            <pc:sldMk cId="2995813153" sldId="1021"/>
            <ac:grpSpMk id="78" creationId="{1538BCB1-44AF-234D-A771-3E25B880F2AC}"/>
          </ac:grpSpMkLst>
        </pc:grpChg>
        <pc:grpChg chg="del mod topLvl">
          <ac:chgData name="Dirk Laschat" userId="9253a62a-3edb-4e48-8ef7-64f354bb20dc" providerId="ADAL" clId="{F40834C7-0DA5-4DB1-A929-605080315E23}" dt="2018-08-05T10:36:51.647" v="12352" actId="208"/>
          <ac:grpSpMkLst>
            <pc:docMk/>
            <pc:sldMk cId="2995813153" sldId="1021"/>
            <ac:grpSpMk id="79" creationId="{503443DA-CCB9-6442-8328-E3CAEEE94FF7}"/>
          </ac:grpSpMkLst>
        </pc:grpChg>
        <pc:picChg chg="mod">
          <ac:chgData name="Dirk Laschat" userId="9253a62a-3edb-4e48-8ef7-64f354bb20dc" providerId="ADAL" clId="{F40834C7-0DA5-4DB1-A929-605080315E23}" dt="2018-08-05T10:58:12.779" v="12687" actId="208"/>
          <ac:picMkLst>
            <pc:docMk/>
            <pc:sldMk cId="2995813153" sldId="1021"/>
            <ac:picMk id="54" creationId="{B93CBFA2-EC7D-432C-BFC0-CE94D03E87D3}"/>
          </ac:picMkLst>
        </pc:picChg>
        <pc:picChg chg="mod">
          <ac:chgData name="Dirk Laschat" userId="9253a62a-3edb-4e48-8ef7-64f354bb20dc" providerId="ADAL" clId="{F40834C7-0DA5-4DB1-A929-605080315E23}" dt="2018-08-05T10:58:12.779" v="12687" actId="208"/>
          <ac:picMkLst>
            <pc:docMk/>
            <pc:sldMk cId="2995813153" sldId="1021"/>
            <ac:picMk id="56" creationId="{C6F6D8F6-E22C-4FEE-8B76-42046C5ACCBC}"/>
          </ac:picMkLst>
        </pc:picChg>
        <pc:picChg chg="mod">
          <ac:chgData name="Dirk Laschat" userId="9253a62a-3edb-4e48-8ef7-64f354bb20dc" providerId="ADAL" clId="{F40834C7-0DA5-4DB1-A929-605080315E23}" dt="2018-08-05T10:38:55.556" v="12388" actId="208"/>
          <ac:picMkLst>
            <pc:docMk/>
            <pc:sldMk cId="2995813153" sldId="1021"/>
            <ac:picMk id="1028" creationId="{EFA6635A-CF18-4867-A2E3-534BB42BFECD}"/>
          </ac:picMkLst>
        </pc:picChg>
      </pc:sldChg>
      <pc:sldChg chg="addSp delSp modSp del ord">
        <pc:chgData name="Dirk Laschat" userId="9253a62a-3edb-4e48-8ef7-64f354bb20dc" providerId="ADAL" clId="{F40834C7-0DA5-4DB1-A929-605080315E23}" dt="2018-08-20T13:24:30.088" v="17623" actId="207"/>
        <pc:sldMkLst>
          <pc:docMk/>
          <pc:sldMk cId="3948990405" sldId="1025"/>
        </pc:sldMkLst>
        <pc:spChg chg="add del mod">
          <ac:chgData name="Dirk Laschat" userId="9253a62a-3edb-4e48-8ef7-64f354bb20dc" providerId="ADAL" clId="{F40834C7-0DA5-4DB1-A929-605080315E23}" dt="2018-08-20T12:49:41.857" v="16689" actId="207"/>
          <ac:spMkLst>
            <pc:docMk/>
            <pc:sldMk cId="3948990405" sldId="1025"/>
            <ac:spMk id="2" creationId="{6AA9E879-EE4E-45FA-BC0C-E52935AF01E5}"/>
          </ac:spMkLst>
        </pc:spChg>
        <pc:spChg chg="mod">
          <ac:chgData name="Dirk Laschat" userId="9253a62a-3edb-4e48-8ef7-64f354bb20dc" providerId="ADAL" clId="{F40834C7-0DA5-4DB1-A929-605080315E23}" dt="2018-08-20T13:17:06.773" v="16897" actId="207"/>
          <ac:spMkLst>
            <pc:docMk/>
            <pc:sldMk cId="3948990405" sldId="1025"/>
            <ac:spMk id="15" creationId="{3F5CD795-0A42-4367-BF9D-542B77938F09}"/>
          </ac:spMkLst>
        </pc:spChg>
        <pc:spChg chg="mod">
          <ac:chgData name="Dirk Laschat" userId="9253a62a-3edb-4e48-8ef7-64f354bb20dc" providerId="ADAL" clId="{F40834C7-0DA5-4DB1-A929-605080315E23}" dt="2018-08-20T13:17:07.304" v="16898" actId="207"/>
          <ac:spMkLst>
            <pc:docMk/>
            <pc:sldMk cId="3948990405" sldId="1025"/>
            <ac:spMk id="16" creationId="{92E80CB6-A26F-4935-8B5C-DAC4DF0EADD0}"/>
          </ac:spMkLst>
        </pc:spChg>
        <pc:spChg chg="mod">
          <ac:chgData name="Dirk Laschat" userId="9253a62a-3edb-4e48-8ef7-64f354bb20dc" providerId="ADAL" clId="{F40834C7-0DA5-4DB1-A929-605080315E23}" dt="2018-08-20T13:17:07.804" v="16899" actId="207"/>
          <ac:spMkLst>
            <pc:docMk/>
            <pc:sldMk cId="3948990405" sldId="1025"/>
            <ac:spMk id="17" creationId="{C5807FC2-3282-4672-924A-62B7EB3E719A}"/>
          </ac:spMkLst>
        </pc:spChg>
        <pc:spChg chg="mod">
          <ac:chgData name="Dirk Laschat" userId="9253a62a-3edb-4e48-8ef7-64f354bb20dc" providerId="ADAL" clId="{F40834C7-0DA5-4DB1-A929-605080315E23}" dt="2018-08-20T13:17:03.618" v="16894" actId="207"/>
          <ac:spMkLst>
            <pc:docMk/>
            <pc:sldMk cId="3948990405" sldId="1025"/>
            <ac:spMk id="19" creationId="{AD80E5BF-1B79-4205-80CC-9D90A8949104}"/>
          </ac:spMkLst>
        </pc:spChg>
        <pc:spChg chg="mod">
          <ac:chgData name="Dirk Laschat" userId="9253a62a-3edb-4e48-8ef7-64f354bb20dc" providerId="ADAL" clId="{F40834C7-0DA5-4DB1-A929-605080315E23}" dt="2018-08-20T13:17:05.258" v="16895" actId="207"/>
          <ac:spMkLst>
            <pc:docMk/>
            <pc:sldMk cId="3948990405" sldId="1025"/>
            <ac:spMk id="20" creationId="{2329E04B-457A-4F85-A037-483F7712FCAC}"/>
          </ac:spMkLst>
        </pc:spChg>
        <pc:spChg chg="mod">
          <ac:chgData name="Dirk Laschat" userId="9253a62a-3edb-4e48-8ef7-64f354bb20dc" providerId="ADAL" clId="{F40834C7-0DA5-4DB1-A929-605080315E23}" dt="2018-08-20T13:17:06.133" v="16896" actId="207"/>
          <ac:spMkLst>
            <pc:docMk/>
            <pc:sldMk cId="3948990405" sldId="1025"/>
            <ac:spMk id="21" creationId="{3644AC1C-CC95-497C-A944-996AF79C634F}"/>
          </ac:spMkLst>
        </pc:spChg>
        <pc:spChg chg="mod">
          <ac:chgData name="Dirk Laschat" userId="9253a62a-3edb-4e48-8ef7-64f354bb20dc" providerId="ADAL" clId="{F40834C7-0DA5-4DB1-A929-605080315E23}" dt="2018-08-20T13:08:31.978" v="16837" actId="207"/>
          <ac:spMkLst>
            <pc:docMk/>
            <pc:sldMk cId="3948990405" sldId="1025"/>
            <ac:spMk id="22" creationId="{43910C55-BF02-44E0-80FD-F803975EECB4}"/>
          </ac:spMkLst>
        </pc:spChg>
        <pc:spChg chg="mod">
          <ac:chgData name="Dirk Laschat" userId="9253a62a-3edb-4e48-8ef7-64f354bb20dc" providerId="ADAL" clId="{F40834C7-0DA5-4DB1-A929-605080315E23}" dt="2018-08-20T13:08:34.134" v="16840" actId="207"/>
          <ac:spMkLst>
            <pc:docMk/>
            <pc:sldMk cId="3948990405" sldId="1025"/>
            <ac:spMk id="23" creationId="{A2B4DF05-FB31-4FED-A83F-CC69CD2BAD97}"/>
          </ac:spMkLst>
        </pc:spChg>
        <pc:spChg chg="mod">
          <ac:chgData name="Dirk Laschat" userId="9253a62a-3edb-4e48-8ef7-64f354bb20dc" providerId="ADAL" clId="{F40834C7-0DA5-4DB1-A929-605080315E23}" dt="2018-08-20T13:08:35.368" v="16842" actId="207"/>
          <ac:spMkLst>
            <pc:docMk/>
            <pc:sldMk cId="3948990405" sldId="1025"/>
            <ac:spMk id="24" creationId="{AD36797F-6493-4F04-9453-9D4D9DEED617}"/>
          </ac:spMkLst>
        </pc:spChg>
        <pc:spChg chg="mod">
          <ac:chgData name="Dirk Laschat" userId="9253a62a-3edb-4e48-8ef7-64f354bb20dc" providerId="ADAL" clId="{F40834C7-0DA5-4DB1-A929-605080315E23}" dt="2018-08-20T13:08:33.634" v="16839" actId="207"/>
          <ac:spMkLst>
            <pc:docMk/>
            <pc:sldMk cId="3948990405" sldId="1025"/>
            <ac:spMk id="26" creationId="{6436C656-5C84-486C-8D3A-079DEFC94E91}"/>
          </ac:spMkLst>
        </pc:spChg>
        <pc:spChg chg="mod">
          <ac:chgData name="Dirk Laschat" userId="9253a62a-3edb-4e48-8ef7-64f354bb20dc" providerId="ADAL" clId="{F40834C7-0DA5-4DB1-A929-605080315E23}" dt="2018-08-20T13:08:34.884" v="16841" actId="207"/>
          <ac:spMkLst>
            <pc:docMk/>
            <pc:sldMk cId="3948990405" sldId="1025"/>
            <ac:spMk id="27" creationId="{4B7CAE78-BF84-41C7-9AAC-1A32CF492728}"/>
          </ac:spMkLst>
        </pc:spChg>
        <pc:spChg chg="mod">
          <ac:chgData name="Dirk Laschat" userId="9253a62a-3edb-4e48-8ef7-64f354bb20dc" providerId="ADAL" clId="{F40834C7-0DA5-4DB1-A929-605080315E23}" dt="2018-08-20T13:08:32.743" v="16838" actId="207"/>
          <ac:spMkLst>
            <pc:docMk/>
            <pc:sldMk cId="3948990405" sldId="1025"/>
            <ac:spMk id="28" creationId="{14076CD2-BA0F-4288-97A6-D98EDCC81092}"/>
          </ac:spMkLst>
        </pc:spChg>
        <pc:spChg chg="mod">
          <ac:chgData name="Dirk Laschat" userId="9253a62a-3edb-4e48-8ef7-64f354bb20dc" providerId="ADAL" clId="{F40834C7-0DA5-4DB1-A929-605080315E23}" dt="2018-08-20T13:16:59.130" v="16893" actId="207"/>
          <ac:spMkLst>
            <pc:docMk/>
            <pc:sldMk cId="3948990405" sldId="1025"/>
            <ac:spMk id="29" creationId="{49715E1C-6AF2-4178-8628-B10E336D0FE6}"/>
          </ac:spMkLst>
        </pc:spChg>
        <pc:spChg chg="mod">
          <ac:chgData name="Dirk Laschat" userId="9253a62a-3edb-4e48-8ef7-64f354bb20dc" providerId="ADAL" clId="{F40834C7-0DA5-4DB1-A929-605080315E23}" dt="2018-08-20T13:16:57.240" v="16891" actId="207"/>
          <ac:spMkLst>
            <pc:docMk/>
            <pc:sldMk cId="3948990405" sldId="1025"/>
            <ac:spMk id="30" creationId="{BD47E40E-1538-443E-981C-383B0E8D0545}"/>
          </ac:spMkLst>
        </pc:spChg>
        <pc:spChg chg="mod">
          <ac:chgData name="Dirk Laschat" userId="9253a62a-3edb-4e48-8ef7-64f354bb20dc" providerId="ADAL" clId="{F40834C7-0DA5-4DB1-A929-605080315E23}" dt="2018-08-20T13:16:58.630" v="16892" actId="207"/>
          <ac:spMkLst>
            <pc:docMk/>
            <pc:sldMk cId="3948990405" sldId="1025"/>
            <ac:spMk id="31" creationId="{F04AEE0C-6670-4F7F-B0EE-1393C81FCE87}"/>
          </ac:spMkLst>
        </pc:spChg>
        <pc:graphicFrameChg chg="modGraphic">
          <ac:chgData name="Dirk Laschat" userId="9253a62a-3edb-4e48-8ef7-64f354bb20dc" providerId="ADAL" clId="{F40834C7-0DA5-4DB1-A929-605080315E23}" dt="2018-08-20T13:06:45.162" v="16834" actId="207"/>
          <ac:graphicFrameMkLst>
            <pc:docMk/>
            <pc:sldMk cId="3948990405" sldId="1025"/>
            <ac:graphicFrameMk id="11" creationId="{94B572F7-3F1B-4F16-8115-9E52F464CAAA}"/>
          </ac:graphicFrameMkLst>
        </pc:graphicFrameChg>
        <pc:cxnChg chg="mod">
          <ac:chgData name="Dirk Laschat" userId="9253a62a-3edb-4e48-8ef7-64f354bb20dc" providerId="ADAL" clId="{F40834C7-0DA5-4DB1-A929-605080315E23}" dt="2018-08-20T13:09:04.266" v="16849" actId="208"/>
          <ac:cxnSpMkLst>
            <pc:docMk/>
            <pc:sldMk cId="3948990405" sldId="1025"/>
            <ac:cxnSpMk id="38" creationId="{9ADBA5A9-ED7E-4728-A7D3-D82B570B539F}"/>
          </ac:cxnSpMkLst>
        </pc:cxnChg>
        <pc:cxnChg chg="mod">
          <ac:chgData name="Dirk Laschat" userId="9253a62a-3edb-4e48-8ef7-64f354bb20dc" providerId="ADAL" clId="{F40834C7-0DA5-4DB1-A929-605080315E23}" dt="2018-08-20T13:09:04.266" v="16849" actId="208"/>
          <ac:cxnSpMkLst>
            <pc:docMk/>
            <pc:sldMk cId="3948990405" sldId="1025"/>
            <ac:cxnSpMk id="39" creationId="{8B00DB2C-B890-4FBE-8285-CA3662BC5892}"/>
          </ac:cxnSpMkLst>
        </pc:cxnChg>
        <pc:cxnChg chg="mod">
          <ac:chgData name="Dirk Laschat" userId="9253a62a-3edb-4e48-8ef7-64f354bb20dc" providerId="ADAL" clId="{F40834C7-0DA5-4DB1-A929-605080315E23}" dt="2018-08-20T13:09:04.266" v="16849" actId="208"/>
          <ac:cxnSpMkLst>
            <pc:docMk/>
            <pc:sldMk cId="3948990405" sldId="1025"/>
            <ac:cxnSpMk id="40" creationId="{EC535180-4E6F-4DEB-B62F-12485066760E}"/>
          </ac:cxnSpMkLst>
        </pc:cxnChg>
      </pc:sldChg>
      <pc:sldChg chg="addSp delSp modSp add">
        <pc:chgData name="Dirk Laschat" userId="9253a62a-3edb-4e48-8ef7-64f354bb20dc" providerId="ADAL" clId="{F40834C7-0DA5-4DB1-A929-605080315E23}" dt="2018-08-05T10:57:46.686" v="12685" actId="1037"/>
        <pc:sldMkLst>
          <pc:docMk/>
          <pc:sldMk cId="3905844642" sldId="1042"/>
        </pc:sldMkLst>
        <pc:spChg chg="mod">
          <ac:chgData name="Dirk Laschat" userId="9253a62a-3edb-4e48-8ef7-64f354bb20dc" providerId="ADAL" clId="{F40834C7-0DA5-4DB1-A929-605080315E23}" dt="2018-08-05T10:35:49.801" v="12343" actId="207"/>
          <ac:spMkLst>
            <pc:docMk/>
            <pc:sldMk cId="3905844642" sldId="1042"/>
            <ac:spMk id="2" creationId="{F1950664-80CA-4B99-9AF0-7FA395534AF3}"/>
          </ac:spMkLst>
        </pc:spChg>
        <pc:spChg chg="mod">
          <ac:chgData name="Dirk Laschat" userId="9253a62a-3edb-4e48-8ef7-64f354bb20dc" providerId="ADAL" clId="{F40834C7-0DA5-4DB1-A929-605080315E23}" dt="2018-08-05T10:41:37.594" v="12503" actId="1037"/>
          <ac:spMkLst>
            <pc:docMk/>
            <pc:sldMk cId="3905844642" sldId="1042"/>
            <ac:spMk id="6" creationId="{C7E23B04-FBF3-43C9-AE14-33AE9BC8D3D2}"/>
          </ac:spMkLst>
        </pc:spChg>
        <pc:spChg chg="mod">
          <ac:chgData name="Dirk Laschat" userId="9253a62a-3edb-4e48-8ef7-64f354bb20dc" providerId="ADAL" clId="{F40834C7-0DA5-4DB1-A929-605080315E23}" dt="2018-08-05T10:41:31.193" v="12494" actId="1037"/>
          <ac:spMkLst>
            <pc:docMk/>
            <pc:sldMk cId="3905844642" sldId="1042"/>
            <ac:spMk id="27" creationId="{26A5ABDF-4495-4619-921B-C3085368C5FA}"/>
          </ac:spMkLst>
        </pc:spChg>
        <pc:spChg chg="mod">
          <ac:chgData name="Dirk Laschat" userId="9253a62a-3edb-4e48-8ef7-64f354bb20dc" providerId="ADAL" clId="{F40834C7-0DA5-4DB1-A929-605080315E23}" dt="2018-08-05T10:40:43.626" v="12401" actId="404"/>
          <ac:spMkLst>
            <pc:docMk/>
            <pc:sldMk cId="3905844642" sldId="1042"/>
            <ac:spMk id="28" creationId="{AC80D17D-5186-48C6-AAB8-F3A344F10CF8}"/>
          </ac:spMkLst>
        </pc:spChg>
        <pc:spChg chg="mod topLvl">
          <ac:chgData name="Dirk Laschat" userId="9253a62a-3edb-4e48-8ef7-64f354bb20dc" providerId="ADAL" clId="{F40834C7-0DA5-4DB1-A929-605080315E23}" dt="2018-08-05T10:40:33.862" v="12396" actId="208"/>
          <ac:spMkLst>
            <pc:docMk/>
            <pc:sldMk cId="3905844642" sldId="1042"/>
            <ac:spMk id="29" creationId="{242AB9D8-3D87-4144-9376-08C9156CD13E}"/>
          </ac:spMkLst>
        </pc:spChg>
        <pc:spChg chg="mod topLvl">
          <ac:chgData name="Dirk Laschat" userId="9253a62a-3edb-4e48-8ef7-64f354bb20dc" providerId="ADAL" clId="{F40834C7-0DA5-4DB1-A929-605080315E23}" dt="2018-08-05T10:40:33.862" v="12396" actId="208"/>
          <ac:spMkLst>
            <pc:docMk/>
            <pc:sldMk cId="3905844642" sldId="1042"/>
            <ac:spMk id="31" creationId="{C2E0666A-E0AB-4237-98BE-063A97CC9AB9}"/>
          </ac:spMkLst>
        </pc:spChg>
        <pc:spChg chg="mod topLvl">
          <ac:chgData name="Dirk Laschat" userId="9253a62a-3edb-4e48-8ef7-64f354bb20dc" providerId="ADAL" clId="{F40834C7-0DA5-4DB1-A929-605080315E23}" dt="2018-08-05T10:40:33.862" v="12396" actId="208"/>
          <ac:spMkLst>
            <pc:docMk/>
            <pc:sldMk cId="3905844642" sldId="1042"/>
            <ac:spMk id="32" creationId="{94BA0935-AA67-4721-8056-2687DB15F215}"/>
          </ac:spMkLst>
        </pc:spChg>
        <pc:spChg chg="mod topLvl">
          <ac:chgData name="Dirk Laschat" userId="9253a62a-3edb-4e48-8ef7-64f354bb20dc" providerId="ADAL" clId="{F40834C7-0DA5-4DB1-A929-605080315E23}" dt="2018-08-05T10:57:34.477" v="12663" actId="1037"/>
          <ac:spMkLst>
            <pc:docMk/>
            <pc:sldMk cId="3905844642" sldId="1042"/>
            <ac:spMk id="49" creationId="{F711784A-3B84-4EE9-A9C4-F2D251FED34E}"/>
          </ac:spMkLst>
        </pc:spChg>
        <pc:spChg chg="mod">
          <ac:chgData name="Dirk Laschat" userId="9253a62a-3edb-4e48-8ef7-64f354bb20dc" providerId="ADAL" clId="{F40834C7-0DA5-4DB1-A929-605080315E23}" dt="2018-08-05T10:57:46.686" v="12685" actId="1037"/>
          <ac:spMkLst>
            <pc:docMk/>
            <pc:sldMk cId="3905844642" sldId="1042"/>
            <ac:spMk id="52" creationId="{7BE0FCF5-16C8-4A1A-ABDB-41B216A4A7FC}"/>
          </ac:spMkLst>
        </pc:spChg>
        <pc:spChg chg="mod topLvl">
          <ac:chgData name="Dirk Laschat" userId="9253a62a-3edb-4e48-8ef7-64f354bb20dc" providerId="ADAL" clId="{F40834C7-0DA5-4DB1-A929-605080315E23}" dt="2018-08-05T10:57:34.477" v="12663" actId="1037"/>
          <ac:spMkLst>
            <pc:docMk/>
            <pc:sldMk cId="3905844642" sldId="1042"/>
            <ac:spMk id="53" creationId="{B2D6AE1A-E2BE-4675-B713-52BFC6B449B0}"/>
          </ac:spMkLst>
        </pc:spChg>
        <pc:spChg chg="mod topLvl">
          <ac:chgData name="Dirk Laschat" userId="9253a62a-3edb-4e48-8ef7-64f354bb20dc" providerId="ADAL" clId="{F40834C7-0DA5-4DB1-A929-605080315E23}" dt="2018-08-05T10:57:34.477" v="12663" actId="1037"/>
          <ac:spMkLst>
            <pc:docMk/>
            <pc:sldMk cId="3905844642" sldId="1042"/>
            <ac:spMk id="58" creationId="{6C06AD53-2DA8-470A-BEBB-DCEEA788BAEA}"/>
          </ac:spMkLst>
        </pc:spChg>
        <pc:spChg chg="mod">
          <ac:chgData name="Dirk Laschat" userId="9253a62a-3edb-4e48-8ef7-64f354bb20dc" providerId="ADAL" clId="{F40834C7-0DA5-4DB1-A929-605080315E23}" dt="2018-08-05T10:57:46.686" v="12685" actId="1037"/>
          <ac:spMkLst>
            <pc:docMk/>
            <pc:sldMk cId="3905844642" sldId="1042"/>
            <ac:spMk id="59" creationId="{20A93FFD-21A3-4635-B5BD-49277F6F803F}"/>
          </ac:spMkLst>
        </pc:spChg>
        <pc:grpChg chg="add del mod topLvl">
          <ac:chgData name="Dirk Laschat" userId="9253a62a-3edb-4e48-8ef7-64f354bb20dc" providerId="ADAL" clId="{F40834C7-0DA5-4DB1-A929-605080315E23}" dt="2018-08-05T10:57:29.495" v="12651" actId="1037"/>
          <ac:grpSpMkLst>
            <pc:docMk/>
            <pc:sldMk cId="3905844642" sldId="1042"/>
            <ac:grpSpMk id="3" creationId="{E7E11249-96F2-4A7B-A863-4C88C1CBD687}"/>
          </ac:grpSpMkLst>
        </pc:grpChg>
        <pc:grpChg chg="del">
          <ac:chgData name="Dirk Laschat" userId="9253a62a-3edb-4e48-8ef7-64f354bb20dc" providerId="ADAL" clId="{F40834C7-0DA5-4DB1-A929-605080315E23}" dt="2018-08-05T10:39:58.894" v="12393" actId="1037"/>
          <ac:grpSpMkLst>
            <pc:docMk/>
            <pc:sldMk cId="3905844642" sldId="1042"/>
            <ac:grpSpMk id="4" creationId="{FDA9F154-6BD1-48FD-ABC4-D1D0AE5D747C}"/>
          </ac:grpSpMkLst>
        </pc:grpChg>
        <pc:grpChg chg="add del mod topLvl">
          <ac:chgData name="Dirk Laschat" userId="9253a62a-3edb-4e48-8ef7-64f354bb20dc" providerId="ADAL" clId="{F40834C7-0DA5-4DB1-A929-605080315E23}" dt="2018-08-05T10:57:29.495" v="12651" actId="1037"/>
          <ac:grpSpMkLst>
            <pc:docMk/>
            <pc:sldMk cId="3905844642" sldId="1042"/>
            <ac:grpSpMk id="5" creationId="{5CB89F65-7288-4B3C-AA70-0B1D232E4802}"/>
          </ac:grpSpMkLst>
        </pc:grpChg>
        <pc:grpChg chg="add del mod topLvl">
          <ac:chgData name="Dirk Laschat" userId="9253a62a-3edb-4e48-8ef7-64f354bb20dc" providerId="ADAL" clId="{F40834C7-0DA5-4DB1-A929-605080315E23}" dt="2018-08-05T10:57:29.495" v="12651" actId="1037"/>
          <ac:grpSpMkLst>
            <pc:docMk/>
            <pc:sldMk cId="3905844642" sldId="1042"/>
            <ac:grpSpMk id="7" creationId="{F4F5C6BB-9389-4793-A998-27C60091130F}"/>
          </ac:grpSpMkLst>
        </pc:grpChg>
        <pc:grpChg chg="add del mod">
          <ac:chgData name="Dirk Laschat" userId="9253a62a-3edb-4e48-8ef7-64f354bb20dc" providerId="ADAL" clId="{F40834C7-0DA5-4DB1-A929-605080315E23}" dt="2018-08-05T10:57:29.492" v="12650" actId="1037"/>
          <ac:grpSpMkLst>
            <pc:docMk/>
            <pc:sldMk cId="3905844642" sldId="1042"/>
            <ac:grpSpMk id="8" creationId="{6C01475E-72EB-44BC-A57D-C9B93B84DEC5}"/>
          </ac:grpSpMkLst>
        </pc:grpChg>
        <pc:picChg chg="mod topLvl">
          <ac:chgData name="Dirk Laschat" userId="9253a62a-3edb-4e48-8ef7-64f354bb20dc" providerId="ADAL" clId="{F40834C7-0DA5-4DB1-A929-605080315E23}" dt="2018-08-05T10:57:29.495" v="12651" actId="1037"/>
          <ac:picMkLst>
            <pc:docMk/>
            <pc:sldMk cId="3905844642" sldId="1042"/>
            <ac:picMk id="10" creationId="{F211F56D-014D-4956-924E-64199D351608}"/>
          </ac:picMkLst>
        </pc:picChg>
        <pc:picChg chg="mod topLvl">
          <ac:chgData name="Dirk Laschat" userId="9253a62a-3edb-4e48-8ef7-64f354bb20dc" providerId="ADAL" clId="{F40834C7-0DA5-4DB1-A929-605080315E23}" dt="2018-08-05T10:57:29.495" v="12651" actId="1037"/>
          <ac:picMkLst>
            <pc:docMk/>
            <pc:sldMk cId="3905844642" sldId="1042"/>
            <ac:picMk id="12" creationId="{7FDBC96D-B777-48AA-8E08-011EC336182C}"/>
          </ac:picMkLst>
        </pc:picChg>
        <pc:picChg chg="mod topLvl">
          <ac:chgData name="Dirk Laschat" userId="9253a62a-3edb-4e48-8ef7-64f354bb20dc" providerId="ADAL" clId="{F40834C7-0DA5-4DB1-A929-605080315E23}" dt="2018-08-05T10:57:29.495" v="12651" actId="1037"/>
          <ac:picMkLst>
            <pc:docMk/>
            <pc:sldMk cId="3905844642" sldId="1042"/>
            <ac:picMk id="14" creationId="{BD855A9A-1031-4829-BDA6-1E5FB3EB8269}"/>
          </ac:picMkLst>
        </pc:picChg>
        <pc:picChg chg="mod">
          <ac:chgData name="Dirk Laschat" userId="9253a62a-3edb-4e48-8ef7-64f354bb20dc" providerId="ADAL" clId="{F40834C7-0DA5-4DB1-A929-605080315E23}" dt="2018-08-05T10:57:46.686" v="12685" actId="1037"/>
          <ac:picMkLst>
            <pc:docMk/>
            <pc:sldMk cId="3905844642" sldId="1042"/>
            <ac:picMk id="16" creationId="{CD764081-1CEF-487C-A80F-D6A679170026}"/>
          </ac:picMkLst>
        </pc:picChg>
        <pc:picChg chg="mod topLvl">
          <ac:chgData name="Dirk Laschat" userId="9253a62a-3edb-4e48-8ef7-64f354bb20dc" providerId="ADAL" clId="{F40834C7-0DA5-4DB1-A929-605080315E23}" dt="2018-08-05T10:40:05.451" v="12394" actId="207"/>
          <ac:picMkLst>
            <pc:docMk/>
            <pc:sldMk cId="3905844642" sldId="1042"/>
            <ac:picMk id="33" creationId="{5C0A0CF5-7BF7-4FBA-A654-CE840521F9DE}"/>
          </ac:picMkLst>
        </pc:picChg>
        <pc:picChg chg="mod topLvl">
          <ac:chgData name="Dirk Laschat" userId="9253a62a-3edb-4e48-8ef7-64f354bb20dc" providerId="ADAL" clId="{F40834C7-0DA5-4DB1-A929-605080315E23}" dt="2018-08-05T10:40:05.451" v="12394" actId="207"/>
          <ac:picMkLst>
            <pc:docMk/>
            <pc:sldMk cId="3905844642" sldId="1042"/>
            <ac:picMk id="34" creationId="{EFC7370E-B7D2-4742-8B31-7F21A6AC514C}"/>
          </ac:picMkLst>
        </pc:picChg>
        <pc:picChg chg="mod topLvl">
          <ac:chgData name="Dirk Laschat" userId="9253a62a-3edb-4e48-8ef7-64f354bb20dc" providerId="ADAL" clId="{F40834C7-0DA5-4DB1-A929-605080315E23}" dt="2018-08-05T10:40:05.451" v="12394" actId="207"/>
          <ac:picMkLst>
            <pc:docMk/>
            <pc:sldMk cId="3905844642" sldId="1042"/>
            <ac:picMk id="35" creationId="{7D04AB86-5B8D-41CA-A8E3-AF0AFAA8F764}"/>
          </ac:picMkLst>
        </pc:picChg>
        <pc:picChg chg="mod">
          <ac:chgData name="Dirk Laschat" userId="9253a62a-3edb-4e48-8ef7-64f354bb20dc" providerId="ADAL" clId="{F40834C7-0DA5-4DB1-A929-605080315E23}" dt="2018-08-05T10:41:31.192" v="12492" actId="1037"/>
          <ac:picMkLst>
            <pc:docMk/>
            <pc:sldMk cId="3905844642" sldId="1042"/>
            <ac:picMk id="36" creationId="{234C0C16-1B59-4301-9328-AB56CE0D0F47}"/>
          </ac:picMkLst>
        </pc:picChg>
        <pc:picChg chg="mod">
          <ac:chgData name="Dirk Laschat" userId="9253a62a-3edb-4e48-8ef7-64f354bb20dc" providerId="ADAL" clId="{F40834C7-0DA5-4DB1-A929-605080315E23}" dt="2018-08-05T10:41:51.738" v="12505" actId="1037"/>
          <ac:picMkLst>
            <pc:docMk/>
            <pc:sldMk cId="3905844642" sldId="1042"/>
            <ac:picMk id="37" creationId="{9351E7E5-681F-4A7D-9D34-751EA4C4DD59}"/>
          </ac:picMkLst>
        </pc:picChg>
        <pc:picChg chg="mod">
          <ac:chgData name="Dirk Laschat" userId="9253a62a-3edb-4e48-8ef7-64f354bb20dc" providerId="ADAL" clId="{F40834C7-0DA5-4DB1-A929-605080315E23}" dt="2018-08-05T10:41:37.594" v="12503" actId="1037"/>
          <ac:picMkLst>
            <pc:docMk/>
            <pc:sldMk cId="3905844642" sldId="1042"/>
            <ac:picMk id="45" creationId="{DA13EE64-00B1-45E9-BC9F-C82E5A8C4C50}"/>
          </ac:picMkLst>
        </pc:picChg>
        <pc:picChg chg="mod">
          <ac:chgData name="Dirk Laschat" userId="9253a62a-3edb-4e48-8ef7-64f354bb20dc" providerId="ADAL" clId="{F40834C7-0DA5-4DB1-A929-605080315E23}" dt="2018-08-05T10:42:15.992" v="12521" actId="1037"/>
          <ac:picMkLst>
            <pc:docMk/>
            <pc:sldMk cId="3905844642" sldId="1042"/>
            <ac:picMk id="46" creationId="{3A65A276-79E9-4C0D-869C-C8533741E081}"/>
          </ac:picMkLst>
        </pc:picChg>
        <pc:picChg chg="mod">
          <ac:chgData name="Dirk Laschat" userId="9253a62a-3edb-4e48-8ef7-64f354bb20dc" providerId="ADAL" clId="{F40834C7-0DA5-4DB1-A929-605080315E23}" dt="2018-08-05T10:42:22.428" v="12522" actId="14100"/>
          <ac:picMkLst>
            <pc:docMk/>
            <pc:sldMk cId="3905844642" sldId="1042"/>
            <ac:picMk id="47" creationId="{0C9A1999-54B8-4BC0-A1A2-97613814DF16}"/>
          </ac:picMkLst>
        </pc:picChg>
        <pc:picChg chg="mod">
          <ac:chgData name="Dirk Laschat" userId="9253a62a-3edb-4e48-8ef7-64f354bb20dc" providerId="ADAL" clId="{F40834C7-0DA5-4DB1-A929-605080315E23}" dt="2018-08-05T10:57:46.686" v="12685" actId="1037"/>
          <ac:picMkLst>
            <pc:docMk/>
            <pc:sldMk cId="3905844642" sldId="1042"/>
            <ac:picMk id="57" creationId="{34A42844-5F88-47E7-A943-D0A96B720CF8}"/>
          </ac:picMkLst>
        </pc:picChg>
      </pc:sldChg>
      <pc:sldChg chg="addSp delSp modSp add">
        <pc:chgData name="Dirk Laschat" userId="9253a62a-3edb-4e48-8ef7-64f354bb20dc" providerId="ADAL" clId="{F40834C7-0DA5-4DB1-A929-605080315E23}" dt="2018-08-20T13:27:39.424" v="17643" actId="207"/>
        <pc:sldMkLst>
          <pc:docMk/>
          <pc:sldMk cId="2047713597" sldId="1043"/>
        </pc:sldMkLst>
        <pc:spChg chg="mod">
          <ac:chgData name="Dirk Laschat" userId="9253a62a-3edb-4e48-8ef7-64f354bb20dc" providerId="ADAL" clId="{F40834C7-0DA5-4DB1-A929-605080315E23}" dt="2018-08-05T10:46:39.711" v="12536" actId="207"/>
          <ac:spMkLst>
            <pc:docMk/>
            <pc:sldMk cId="2047713597" sldId="1043"/>
            <ac:spMk id="7" creationId="{2F8611DA-D377-E14E-8A84-7769B9B2F6BB}"/>
          </ac:spMkLst>
        </pc:spChg>
        <pc:spChg chg="mod">
          <ac:chgData name="Dirk Laschat" userId="9253a62a-3edb-4e48-8ef7-64f354bb20dc" providerId="ADAL" clId="{F40834C7-0DA5-4DB1-A929-605080315E23}" dt="2018-08-05T10:46:07.431" v="12534" actId="207"/>
          <ac:spMkLst>
            <pc:docMk/>
            <pc:sldMk cId="2047713597" sldId="1043"/>
            <ac:spMk id="8" creationId="{F6AA3845-6AEF-8543-A6B2-0341C7DB35F8}"/>
          </ac:spMkLst>
        </pc:spChg>
        <pc:spChg chg="mod">
          <ac:chgData name="Dirk Laschat" userId="9253a62a-3edb-4e48-8ef7-64f354bb20dc" providerId="ADAL" clId="{F40834C7-0DA5-4DB1-A929-605080315E23}" dt="2018-08-05T10:47:47.372" v="12555" actId="108"/>
          <ac:spMkLst>
            <pc:docMk/>
            <pc:sldMk cId="2047713597" sldId="1043"/>
            <ac:spMk id="14" creationId="{90A9FA5B-395D-4B34-A240-5F6929FB663E}"/>
          </ac:spMkLst>
        </pc:spChg>
        <pc:spChg chg="mod">
          <ac:chgData name="Dirk Laschat" userId="9253a62a-3edb-4e48-8ef7-64f354bb20dc" providerId="ADAL" clId="{F40834C7-0DA5-4DB1-A929-605080315E23}" dt="2018-08-20T13:27:39.424" v="17643" actId="207"/>
          <ac:spMkLst>
            <pc:docMk/>
            <pc:sldMk cId="2047713597" sldId="1043"/>
            <ac:spMk id="16" creationId="{EFEDFA56-D9DE-4BB7-BD45-FCC32BB44063}"/>
          </ac:spMkLst>
        </pc:spChg>
        <pc:grpChg chg="del">
          <ac:chgData name="Dirk Laschat" userId="9253a62a-3edb-4e48-8ef7-64f354bb20dc" providerId="ADAL" clId="{F40834C7-0DA5-4DB1-A929-605080315E23}" dt="2018-08-05T10:47:22.409" v="12545" actId="478"/>
          <ac:grpSpMkLst>
            <pc:docMk/>
            <pc:sldMk cId="2047713597" sldId="1043"/>
            <ac:grpSpMk id="4" creationId="{BDD8EECB-F90B-2046-B251-2E42C5550A4C}"/>
          </ac:grpSpMkLst>
        </pc:grpChg>
        <pc:grpChg chg="add">
          <ac:chgData name="Dirk Laschat" userId="9253a62a-3edb-4e48-8ef7-64f354bb20dc" providerId="ADAL" clId="{F40834C7-0DA5-4DB1-A929-605080315E23}" dt="2018-08-05T10:47:23.518" v="12546" actId="207"/>
          <ac:grpSpMkLst>
            <pc:docMk/>
            <pc:sldMk cId="2047713597" sldId="1043"/>
            <ac:grpSpMk id="13" creationId="{50485CB3-2673-4394-8AF5-003CE90278A5}"/>
          </ac:grpSpMkLst>
        </pc:grpChg>
      </pc:sldChg>
      <pc:sldChg chg="add">
        <pc:chgData name="Dirk Laschat" userId="9253a62a-3edb-4e48-8ef7-64f354bb20dc" providerId="ADAL" clId="{F40834C7-0DA5-4DB1-A929-605080315E23}" dt="2018-08-05T10:43:22.714" v="12523" actId="207"/>
        <pc:sldMkLst>
          <pc:docMk/>
          <pc:sldMk cId="236198663" sldId="1044"/>
        </pc:sldMkLst>
      </pc:sldChg>
      <pc:sldChg chg="modSp add">
        <pc:chgData name="Dirk Laschat" userId="9253a62a-3edb-4e48-8ef7-64f354bb20dc" providerId="ADAL" clId="{F40834C7-0DA5-4DB1-A929-605080315E23}" dt="2018-08-20T12:51:53.408" v="16700" actId="207"/>
        <pc:sldMkLst>
          <pc:docMk/>
          <pc:sldMk cId="1082970942" sldId="1045"/>
        </pc:sldMkLst>
        <pc:spChg chg="mod">
          <ac:chgData name="Dirk Laschat" userId="9253a62a-3edb-4e48-8ef7-64f354bb20dc" providerId="ADAL" clId="{F40834C7-0DA5-4DB1-A929-605080315E23}" dt="2018-08-05T10:59:10.210" v="12694" actId="179"/>
          <ac:spMkLst>
            <pc:docMk/>
            <pc:sldMk cId="1082970942" sldId="1045"/>
            <ac:spMk id="6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1:53.408" v="16700" actId="207"/>
          <ac:spMkLst>
            <pc:docMk/>
            <pc:sldMk cId="1082970942" sldId="1045"/>
            <ac:spMk id="30" creationId="{00000000-0000-0000-0000-000000000000}"/>
          </ac:spMkLst>
        </pc:spChg>
        <pc:spChg chg="mod">
          <ac:chgData name="Dirk Laschat" userId="9253a62a-3edb-4e48-8ef7-64f354bb20dc" providerId="ADAL" clId="{F40834C7-0DA5-4DB1-A929-605080315E23}" dt="2018-08-20T12:51:16.336" v="16696" actId="207"/>
          <ac:spMkLst>
            <pc:docMk/>
            <pc:sldMk cId="1082970942" sldId="1045"/>
            <ac:spMk id="32" creationId="{00000000-0000-0000-0000-000000000000}"/>
          </ac:spMkLst>
        </pc:spChg>
        <pc:graphicFrameChg chg="mod">
          <ac:chgData name="Dirk Laschat" userId="9253a62a-3edb-4e48-8ef7-64f354bb20dc" providerId="ADAL" clId="{F40834C7-0DA5-4DB1-A929-605080315E23}" dt="2018-08-20T12:51:50.712" v="16699" actId="207"/>
          <ac:graphicFrameMkLst>
            <pc:docMk/>
            <pc:sldMk cId="1082970942" sldId="1045"/>
            <ac:graphicFrameMk id="5" creationId="{00000000-0000-0000-0000-000000000000}"/>
          </ac:graphicFrameMkLst>
        </pc:graphicFrameChg>
      </pc:sldChg>
      <pc:sldChg chg="add">
        <pc:chgData name="Dirk Laschat" userId="9253a62a-3edb-4e48-8ef7-64f354bb20dc" providerId="ADAL" clId="{F40834C7-0DA5-4DB1-A929-605080315E23}" dt="2018-08-05T11:11:28.098" v="12890" actId="207"/>
        <pc:sldMkLst>
          <pc:docMk/>
          <pc:sldMk cId="3506029133" sldId="1046"/>
        </pc:sldMkLst>
      </pc:sldChg>
      <pc:sldChg chg="add">
        <pc:chgData name="Dirk Laschat" userId="9253a62a-3edb-4e48-8ef7-64f354bb20dc" providerId="ADAL" clId="{F40834C7-0DA5-4DB1-A929-605080315E23}" dt="2018-08-05T11:11:28.098" v="12890" actId="207"/>
        <pc:sldMkLst>
          <pc:docMk/>
          <pc:sldMk cId="990148561" sldId="1047"/>
        </pc:sldMkLst>
      </pc:sldChg>
      <pc:sldChg chg="add">
        <pc:chgData name="Dirk Laschat" userId="9253a62a-3edb-4e48-8ef7-64f354bb20dc" providerId="ADAL" clId="{F40834C7-0DA5-4DB1-A929-605080315E23}" dt="2018-08-05T11:11:28.098" v="12890" actId="207"/>
        <pc:sldMkLst>
          <pc:docMk/>
          <pc:sldMk cId="2850571968" sldId="1048"/>
        </pc:sldMkLst>
      </pc:sldChg>
      <pc:sldChg chg="add">
        <pc:chgData name="Dirk Laschat" userId="9253a62a-3edb-4e48-8ef7-64f354bb20dc" providerId="ADAL" clId="{F40834C7-0DA5-4DB1-A929-605080315E23}" dt="2018-08-05T11:11:28.098" v="12890" actId="207"/>
        <pc:sldMkLst>
          <pc:docMk/>
          <pc:sldMk cId="3111821567" sldId="1049"/>
        </pc:sldMkLst>
      </pc:sldChg>
      <pc:sldChg chg="add">
        <pc:chgData name="Dirk Laschat" userId="9253a62a-3edb-4e48-8ef7-64f354bb20dc" providerId="ADAL" clId="{F40834C7-0DA5-4DB1-A929-605080315E23}" dt="2018-08-05T11:11:28.098" v="12890" actId="207"/>
        <pc:sldMkLst>
          <pc:docMk/>
          <pc:sldMk cId="1675245960" sldId="1050"/>
        </pc:sldMkLst>
      </pc:sldChg>
      <pc:sldChg chg="add">
        <pc:chgData name="Dirk Laschat" userId="9253a62a-3edb-4e48-8ef7-64f354bb20dc" providerId="ADAL" clId="{F40834C7-0DA5-4DB1-A929-605080315E23}" dt="2018-08-05T11:11:28.098" v="12890" actId="207"/>
        <pc:sldMkLst>
          <pc:docMk/>
          <pc:sldMk cId="346957331" sldId="1051"/>
        </pc:sldMkLst>
      </pc:sldChg>
      <pc:sldChg chg="add">
        <pc:chgData name="Dirk Laschat" userId="9253a62a-3edb-4e48-8ef7-64f354bb20dc" providerId="ADAL" clId="{F40834C7-0DA5-4DB1-A929-605080315E23}" dt="2018-08-05T11:11:28.098" v="12890" actId="207"/>
        <pc:sldMkLst>
          <pc:docMk/>
          <pc:sldMk cId="1582200624" sldId="1052"/>
        </pc:sldMkLst>
      </pc:sldChg>
      <pc:sldChg chg="addSp delSp modSp add ord">
        <pc:chgData name="Dirk Laschat" userId="9253a62a-3edb-4e48-8ef7-64f354bb20dc" providerId="ADAL" clId="{F40834C7-0DA5-4DB1-A929-605080315E23}" dt="2018-08-20T13:24:58.677" v="17627" actId="207"/>
        <pc:sldMkLst>
          <pc:docMk/>
          <pc:sldMk cId="2043543697" sldId="1053"/>
        </pc:sldMkLst>
        <pc:spChg chg="mod">
          <ac:chgData name="Dirk Laschat" userId="9253a62a-3edb-4e48-8ef7-64f354bb20dc" providerId="ADAL" clId="{F40834C7-0DA5-4DB1-A929-605080315E23}" dt="2018-08-20T13:24:57.615" v="17626" actId="207"/>
          <ac:spMkLst>
            <pc:docMk/>
            <pc:sldMk cId="2043543697" sldId="1053"/>
            <ac:spMk id="4" creationId="{5CA54802-8A0F-460F-A933-3D6A34DEF41E}"/>
          </ac:spMkLst>
        </pc:spChg>
        <pc:spChg chg="add del mod">
          <ac:chgData name="Dirk Laschat" userId="9253a62a-3edb-4e48-8ef7-64f354bb20dc" providerId="ADAL" clId="{F40834C7-0DA5-4DB1-A929-605080315E23}" dt="2018-08-12T11:16:08.135" v="13625" actId="478"/>
          <ac:spMkLst>
            <pc:docMk/>
            <pc:sldMk cId="2043543697" sldId="1053"/>
            <ac:spMk id="4" creationId="{E9175F7C-D2CE-46B2-8402-C334C1BEF9D8}"/>
          </ac:spMkLst>
        </pc:spChg>
        <pc:spChg chg="mod">
          <ac:chgData name="Dirk Laschat" userId="9253a62a-3edb-4e48-8ef7-64f354bb20dc" providerId="ADAL" clId="{F40834C7-0DA5-4DB1-A929-605080315E23}" dt="2018-08-20T13:24:58.677" v="17627" actId="207"/>
          <ac:spMkLst>
            <pc:docMk/>
            <pc:sldMk cId="2043543697" sldId="1053"/>
            <ac:spMk id="5" creationId="{6B3795D5-742D-4987-BFAC-C7070F1C68FE}"/>
          </ac:spMkLst>
        </pc:spChg>
        <pc:graphicFrameChg chg="mod modGraphic">
          <ac:chgData name="Dirk Laschat" userId="9253a62a-3edb-4e48-8ef7-64f354bb20dc" providerId="ADAL" clId="{F40834C7-0DA5-4DB1-A929-605080315E23}" dt="2018-08-20T13:24:55.334" v="17625" actId="207"/>
          <ac:graphicFrameMkLst>
            <pc:docMk/>
            <pc:sldMk cId="2043543697" sldId="1053"/>
            <ac:graphicFrameMk id="3" creationId="{00000000-0000-0000-0000-000000000000}"/>
          </ac:graphicFrameMkLst>
        </pc:graphicFrameChg>
        <pc:graphicFrameChg chg="add del mod">
          <ac:chgData name="Dirk Laschat" userId="9253a62a-3edb-4e48-8ef7-64f354bb20dc" providerId="ADAL" clId="{F40834C7-0DA5-4DB1-A929-605080315E23}" dt="2018-08-12T11:18:59.661" v="13656" actId="478"/>
          <ac:graphicFrameMkLst>
            <pc:docMk/>
            <pc:sldMk cId="2043543697" sldId="1053"/>
            <ac:graphicFrameMk id="5" creationId="{67AA8D3D-F7BD-469F-B643-B1D1F64E685F}"/>
          </ac:graphicFrameMkLst>
        </pc:graphicFrameChg>
      </pc:sldChg>
      <pc:sldChg chg="modSp ord">
        <pc:chgData name="Dirk Laschat" userId="9253a62a-3edb-4e48-8ef7-64f354bb20dc" providerId="ADAL" clId="{F40834C7-0DA5-4DB1-A929-605080315E23}" dt="2018-08-20T13:24:30.088" v="17623" actId="207"/>
        <pc:sldMkLst>
          <pc:docMk/>
          <pc:sldMk cId="3414999142" sldId="1058"/>
        </pc:sldMkLst>
        <pc:spChg chg="mod">
          <ac:chgData name="Dirk Laschat" userId="9253a62a-3edb-4e48-8ef7-64f354bb20dc" providerId="ADAL" clId="{F40834C7-0DA5-4DB1-A929-605080315E23}" dt="2018-08-20T13:04:12.482" v="16825" actId="207"/>
          <ac:spMkLst>
            <pc:docMk/>
            <pc:sldMk cId="3414999142" sldId="1058"/>
            <ac:spMk id="13" creationId="{B338E868-E4D9-4933-8856-F79642A625AD}"/>
          </ac:spMkLst>
        </pc:spChg>
        <pc:spChg chg="mod">
          <ac:chgData name="Dirk Laschat" userId="9253a62a-3edb-4e48-8ef7-64f354bb20dc" providerId="ADAL" clId="{F40834C7-0DA5-4DB1-A929-605080315E23}" dt="2018-08-20T13:04:58.514" v="16832" actId="207"/>
          <ac:spMkLst>
            <pc:docMk/>
            <pc:sldMk cId="3414999142" sldId="1058"/>
            <ac:spMk id="14" creationId="{193AE227-A1AE-4E10-BE6C-A3D9D4BF8DE5}"/>
          </ac:spMkLst>
        </pc:spChg>
        <pc:spChg chg="mod">
          <ac:chgData name="Dirk Laschat" userId="9253a62a-3edb-4e48-8ef7-64f354bb20dc" providerId="ADAL" clId="{F40834C7-0DA5-4DB1-A929-605080315E23}" dt="2018-08-20T13:04:08.858" v="16824" actId="207"/>
          <ac:spMkLst>
            <pc:docMk/>
            <pc:sldMk cId="3414999142" sldId="1058"/>
            <ac:spMk id="15" creationId="{8EF6AD51-2C72-4483-B825-927D51C6765B}"/>
          </ac:spMkLst>
        </pc:spChg>
        <pc:spChg chg="mod">
          <ac:chgData name="Dirk Laschat" userId="9253a62a-3edb-4e48-8ef7-64f354bb20dc" providerId="ADAL" clId="{F40834C7-0DA5-4DB1-A929-605080315E23}" dt="2018-08-20T13:05:05.104" v="16833" actId="207"/>
          <ac:spMkLst>
            <pc:docMk/>
            <pc:sldMk cId="3414999142" sldId="1058"/>
            <ac:spMk id="16" creationId="{4DC5D301-D721-4270-AF40-F9A7AE9237E1}"/>
          </ac:spMkLst>
        </pc:spChg>
        <pc:spChg chg="mod">
          <ac:chgData name="Dirk Laschat" userId="9253a62a-3edb-4e48-8ef7-64f354bb20dc" providerId="ADAL" clId="{F40834C7-0DA5-4DB1-A929-605080315E23}" dt="2018-08-20T13:04:23.879" v="16828" actId="207"/>
          <ac:spMkLst>
            <pc:docMk/>
            <pc:sldMk cId="3414999142" sldId="1058"/>
            <ac:spMk id="17" creationId="{6CA693C1-D115-490F-A169-F971C86F8597}"/>
          </ac:spMkLst>
        </pc:spChg>
        <pc:spChg chg="mod">
          <ac:chgData name="Dirk Laschat" userId="9253a62a-3edb-4e48-8ef7-64f354bb20dc" providerId="ADAL" clId="{F40834C7-0DA5-4DB1-A929-605080315E23}" dt="2018-08-20T13:04:29.769" v="16829" actId="207"/>
          <ac:spMkLst>
            <pc:docMk/>
            <pc:sldMk cId="3414999142" sldId="1058"/>
            <ac:spMk id="18" creationId="{53683E0D-14F2-4761-8EC7-746143484E5A}"/>
          </ac:spMkLst>
        </pc:spChg>
        <pc:spChg chg="mod">
          <ac:chgData name="Dirk Laschat" userId="9253a62a-3edb-4e48-8ef7-64f354bb20dc" providerId="ADAL" clId="{F40834C7-0DA5-4DB1-A929-605080315E23}" dt="2018-08-20T13:04:19.907" v="16827" actId="207"/>
          <ac:spMkLst>
            <pc:docMk/>
            <pc:sldMk cId="3414999142" sldId="1058"/>
            <ac:spMk id="19" creationId="{E1414F1F-A5CF-465A-A7F3-004F9FC4732A}"/>
          </ac:spMkLst>
        </pc:spChg>
        <pc:spChg chg="mod">
          <ac:chgData name="Dirk Laschat" userId="9253a62a-3edb-4e48-8ef7-64f354bb20dc" providerId="ADAL" clId="{F40834C7-0DA5-4DB1-A929-605080315E23}" dt="2018-08-20T13:04:33.799" v="16830" actId="207"/>
          <ac:spMkLst>
            <pc:docMk/>
            <pc:sldMk cId="3414999142" sldId="1058"/>
            <ac:spMk id="20" creationId="{2C7A47A9-682A-4953-A53A-049512136183}"/>
          </ac:spMkLst>
        </pc:spChg>
        <pc:spChg chg="mod">
          <ac:chgData name="Dirk Laschat" userId="9253a62a-3edb-4e48-8ef7-64f354bb20dc" providerId="ADAL" clId="{F40834C7-0DA5-4DB1-A929-605080315E23}" dt="2018-08-20T13:04:15.392" v="16826" actId="207"/>
          <ac:spMkLst>
            <pc:docMk/>
            <pc:sldMk cId="3414999142" sldId="1058"/>
            <ac:spMk id="21" creationId="{ADFCFF49-449B-4256-81DA-0342DB74628F}"/>
          </ac:spMkLst>
        </pc:spChg>
        <pc:spChg chg="mod">
          <ac:chgData name="Dirk Laschat" userId="9253a62a-3edb-4e48-8ef7-64f354bb20dc" providerId="ADAL" clId="{F40834C7-0DA5-4DB1-A929-605080315E23}" dt="2018-08-20T13:04:41.858" v="16831" actId="207"/>
          <ac:spMkLst>
            <pc:docMk/>
            <pc:sldMk cId="3414999142" sldId="1058"/>
            <ac:spMk id="22" creationId="{CFA00C06-520B-4DCA-A09B-3C4C61F7C437}"/>
          </ac:spMkLst>
        </pc:spChg>
      </pc:sldChg>
      <pc:sldChg chg="ord">
        <pc:chgData name="Dirk Laschat" userId="9253a62a-3edb-4e48-8ef7-64f354bb20dc" providerId="ADAL" clId="{F40834C7-0DA5-4DB1-A929-605080315E23}" dt="2018-08-20T13:24:30.088" v="17623" actId="207"/>
        <pc:sldMkLst>
          <pc:docMk/>
          <pc:sldMk cId="1019804307" sldId="1060"/>
        </pc:sldMkLst>
      </pc:sldChg>
      <pc:sldChg chg="delSp modSp ord">
        <pc:chgData name="Dirk Laschat" userId="9253a62a-3edb-4e48-8ef7-64f354bb20dc" providerId="ADAL" clId="{F40834C7-0DA5-4DB1-A929-605080315E23}" dt="2018-08-20T13:24:30.088" v="17623" actId="207"/>
        <pc:sldMkLst>
          <pc:docMk/>
          <pc:sldMk cId="1475519545" sldId="1061"/>
        </pc:sldMkLst>
        <pc:spChg chg="mod">
          <ac:chgData name="Dirk Laschat" userId="9253a62a-3edb-4e48-8ef7-64f354bb20dc" providerId="ADAL" clId="{F40834C7-0DA5-4DB1-A929-605080315E23}" dt="2018-08-20T13:15:21.571" v="16875" actId="207"/>
          <ac:spMkLst>
            <pc:docMk/>
            <pc:sldMk cId="1475519545" sldId="1061"/>
            <ac:spMk id="53" creationId="{A28B91AB-72CC-46EE-A25F-0CB031CF8ED6}"/>
          </ac:spMkLst>
        </pc:spChg>
        <pc:grpChg chg="del">
          <ac:chgData name="Dirk Laschat" userId="9253a62a-3edb-4e48-8ef7-64f354bb20dc" providerId="ADAL" clId="{F40834C7-0DA5-4DB1-A929-605080315E23}" dt="2018-08-20T13:14:08.734" v="16862" actId="478"/>
          <ac:grpSpMkLst>
            <pc:docMk/>
            <pc:sldMk cId="1475519545" sldId="1061"/>
            <ac:grpSpMk id="70" creationId="{2A71D33A-E156-429B-A804-926D2FA94DDC}"/>
          </ac:grpSpMkLst>
        </pc:grpChg>
        <pc:graphicFrameChg chg="modGraphic">
          <ac:chgData name="Dirk Laschat" userId="9253a62a-3edb-4e48-8ef7-64f354bb20dc" providerId="ADAL" clId="{F40834C7-0DA5-4DB1-A929-605080315E23}" dt="2018-08-20T13:17:23.191" v="16900" actId="2711"/>
          <ac:graphicFrameMkLst>
            <pc:docMk/>
            <pc:sldMk cId="1475519545" sldId="1061"/>
            <ac:graphicFrameMk id="2" creationId="{00000000-0000-0000-0000-000000000000}"/>
          </ac:graphicFrameMkLst>
        </pc:graphicFrameChg>
      </pc:sldChg>
      <pc:sldChg chg="addSp delSp modSp add ord addCm">
        <pc:chgData name="Dirk Laschat" userId="9253a62a-3edb-4e48-8ef7-64f354bb20dc" providerId="ADAL" clId="{F40834C7-0DA5-4DB1-A929-605080315E23}" dt="2018-08-20T13:24:30.088" v="17623" actId="207"/>
        <pc:sldMkLst>
          <pc:docMk/>
          <pc:sldMk cId="3826909318" sldId="1062"/>
        </pc:sldMkLst>
        <pc:spChg chg="del">
          <ac:chgData name="Dirk Laschat" userId="9253a62a-3edb-4e48-8ef7-64f354bb20dc" providerId="ADAL" clId="{F40834C7-0DA5-4DB1-A929-605080315E23}" dt="2018-08-20T13:20:16.467" v="17156" actId="207"/>
          <ac:spMkLst>
            <pc:docMk/>
            <pc:sldMk cId="3826909318" sldId="1062"/>
            <ac:spMk id="2" creationId="{F9E0102A-F24A-4E05-BCAE-245FDDF8FA54}"/>
          </ac:spMkLst>
        </pc:spChg>
        <pc:spChg chg="del">
          <ac:chgData name="Dirk Laschat" userId="9253a62a-3edb-4e48-8ef7-64f354bb20dc" providerId="ADAL" clId="{F40834C7-0DA5-4DB1-A929-605080315E23}" dt="2018-08-20T13:20:16.467" v="17156" actId="207"/>
          <ac:spMkLst>
            <pc:docMk/>
            <pc:sldMk cId="3826909318" sldId="1062"/>
            <ac:spMk id="3" creationId="{C875BD84-ED9A-4897-9E80-A7591BABB5A7}"/>
          </ac:spMkLst>
        </pc:spChg>
        <pc:spChg chg="add mod">
          <ac:chgData name="Dirk Laschat" userId="9253a62a-3edb-4e48-8ef7-64f354bb20dc" providerId="ADAL" clId="{F40834C7-0DA5-4DB1-A929-605080315E23}" dt="2018-08-20T13:20:22.888" v="17168" actId="20577"/>
          <ac:spMkLst>
            <pc:docMk/>
            <pc:sldMk cId="3826909318" sldId="1062"/>
            <ac:spMk id="4" creationId="{24258C89-E918-4AB2-BEEA-72EFCD7D0055}"/>
          </ac:spMkLst>
        </pc:spChg>
        <pc:spChg chg="add mod">
          <ac:chgData name="Dirk Laschat" userId="9253a62a-3edb-4e48-8ef7-64f354bb20dc" providerId="ADAL" clId="{F40834C7-0DA5-4DB1-A929-605080315E23}" dt="2018-08-20T13:23:35.320" v="17622" actId="1036"/>
          <ac:spMkLst>
            <pc:docMk/>
            <pc:sldMk cId="3826909318" sldId="1062"/>
            <ac:spMk id="18" creationId="{78DE9B95-D333-4918-B38F-6FA1E00D819E}"/>
          </ac:spMkLst>
        </pc:spChg>
        <pc:spChg chg="add mod">
          <ac:chgData name="Dirk Laschat" userId="9253a62a-3edb-4e48-8ef7-64f354bb20dc" providerId="ADAL" clId="{F40834C7-0DA5-4DB1-A929-605080315E23}" dt="2018-08-20T13:23:35.320" v="17622" actId="1036"/>
          <ac:spMkLst>
            <pc:docMk/>
            <pc:sldMk cId="3826909318" sldId="1062"/>
            <ac:spMk id="19" creationId="{4320B4B4-548F-4CAC-BA8E-BAC63EBC6D29}"/>
          </ac:spMkLst>
        </pc:spChg>
        <pc:spChg chg="add del mod">
          <ac:chgData name="Dirk Laschat" userId="9253a62a-3edb-4e48-8ef7-64f354bb20dc" providerId="ADAL" clId="{F40834C7-0DA5-4DB1-A929-605080315E23}" dt="2018-08-20T13:22:37.247" v="17214" actId="478"/>
          <ac:spMkLst>
            <pc:docMk/>
            <pc:sldMk cId="3826909318" sldId="1062"/>
            <ac:spMk id="20" creationId="{632B70DD-1675-4136-A25C-B6528A2B7605}"/>
          </ac:spMkLst>
        </pc:spChg>
        <pc:spChg chg="add mod">
          <ac:chgData name="Dirk Laschat" userId="9253a62a-3edb-4e48-8ef7-64f354bb20dc" providerId="ADAL" clId="{F40834C7-0DA5-4DB1-A929-605080315E23}" dt="2018-08-20T13:23:35.320" v="17622" actId="1036"/>
          <ac:spMkLst>
            <pc:docMk/>
            <pc:sldMk cId="3826909318" sldId="1062"/>
            <ac:spMk id="21" creationId="{A6E172B9-DA16-4BC1-9DEB-36AE2F0D93D1}"/>
          </ac:spMkLst>
        </pc:spChg>
        <pc:cxnChg chg="add mod">
          <ac:chgData name="Dirk Laschat" userId="9253a62a-3edb-4e48-8ef7-64f354bb20dc" providerId="ADAL" clId="{F40834C7-0DA5-4DB1-A929-605080315E23}" dt="2018-08-20T13:23:35.320" v="17622" actId="1036"/>
          <ac:cxnSpMkLst>
            <pc:docMk/>
            <pc:sldMk cId="3826909318" sldId="1062"/>
            <ac:cxnSpMk id="6" creationId="{33E4467E-A819-4602-BC56-07D7C1375690}"/>
          </ac:cxnSpMkLst>
        </pc:cxnChg>
        <pc:cxnChg chg="add mod">
          <ac:chgData name="Dirk Laschat" userId="9253a62a-3edb-4e48-8ef7-64f354bb20dc" providerId="ADAL" clId="{F40834C7-0DA5-4DB1-A929-605080315E23}" dt="2018-08-20T13:23:35.320" v="17622" actId="1036"/>
          <ac:cxnSpMkLst>
            <pc:docMk/>
            <pc:sldMk cId="3826909318" sldId="1062"/>
            <ac:cxnSpMk id="8" creationId="{F5584088-4D5E-41FF-8F8C-F5A08A863CC9}"/>
          </ac:cxnSpMkLst>
        </pc:cxnChg>
        <pc:cxnChg chg="add mod">
          <ac:chgData name="Dirk Laschat" userId="9253a62a-3edb-4e48-8ef7-64f354bb20dc" providerId="ADAL" clId="{F40834C7-0DA5-4DB1-A929-605080315E23}" dt="2018-08-20T13:23:35.320" v="17622" actId="1036"/>
          <ac:cxnSpMkLst>
            <pc:docMk/>
            <pc:sldMk cId="3826909318" sldId="1062"/>
            <ac:cxnSpMk id="13" creationId="{5869D424-C027-4E9E-AC55-28384D5443EF}"/>
          </ac:cxnSpMkLst>
        </pc:cxnChg>
      </pc:sldChg>
      <pc:sldMasterChg chg="modSldLayout">
        <pc:chgData name="Dirk Laschat" userId="9253a62a-3edb-4e48-8ef7-64f354bb20dc" providerId="ADAL" clId="{F40834C7-0DA5-4DB1-A929-605080315E23}" dt="2018-08-02T11:04:20.500" v="4804" actId="478"/>
        <pc:sldMasterMkLst>
          <pc:docMk/>
          <pc:sldMasterMk cId="1928189300" sldId="2147484067"/>
        </pc:sldMasterMkLst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overlay val="0"/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F042-44C7-B5C0-47567CCF7F98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3-F042-44C7-B5C0-47567CCF7F98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4-36C8-46F7-ADCB-6E2C81B9EF4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3600"/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.5</c:v>
                </c:pt>
                <c:pt idx="1">
                  <c:v>2.6</c:v>
                </c:pt>
                <c:pt idx="2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042-44C7-B5C0-47567CCF7F98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r"/>
      <c:overlay val="0"/>
      <c:txPr>
        <a:bodyPr/>
        <a:lstStyle/>
        <a:p>
          <a:pPr>
            <a:defRPr sz="2800">
              <a:solidFill>
                <a:schemeClr val="tx1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 b="0" i="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pPr>
      <a:endParaRPr lang="de-DE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11111111111111E-2"/>
          <c:y val="0.2011173184357542"/>
          <c:w val="0.94444444444444442"/>
          <c:h val="0.743016759776536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50800">
              <a:noFill/>
            </a:ln>
          </c:spPr>
          <c:invertIfNegative val="0"/>
          <c:dLbls>
            <c:dLbl>
              <c:idx val="0"/>
              <c:layout>
                <c:manualLayout>
                  <c:x val="1.6703799778605255E-2"/>
                  <c:y val="-3.5956636350507221E-2"/>
                </c:manualLayout>
              </c:layout>
              <c:spPr>
                <a:noFill/>
                <a:ln w="50800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E36-48ED-B476-55517D79C1FE}"/>
                </c:ext>
              </c:extLst>
            </c:dLbl>
            <c:dLbl>
              <c:idx val="1"/>
              <c:layout>
                <c:manualLayout>
                  <c:x val="1.5222365333972476E-2"/>
                  <c:y val="-2.9438954523206051E-2"/>
                </c:manualLayout>
              </c:layout>
              <c:spPr>
                <a:noFill/>
                <a:ln w="50800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E36-48ED-B476-55517D79C1FE}"/>
                </c:ext>
              </c:extLst>
            </c:dLbl>
            <c:dLbl>
              <c:idx val="2"/>
              <c:layout>
                <c:manualLayout>
                  <c:xMode val="edge"/>
                  <c:yMode val="edge"/>
                  <c:x val="0.7088888888888889"/>
                  <c:y val="5.027932960893855E-2"/>
                </c:manualLayout>
              </c:layout>
              <c:spPr>
                <a:noFill/>
                <a:ln w="50800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E36-48ED-B476-55517D79C1FE}"/>
                </c:ext>
              </c:extLst>
            </c:dLbl>
            <c:spPr>
              <a:noFill/>
              <a:ln w="508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#.##00;\-#.##00</c:formatCode>
                <c:ptCount val="3"/>
                <c:pt idx="0">
                  <c:v>4.1000000000004659</c:v>
                </c:pt>
                <c:pt idx="1">
                  <c:v>5.300000000000602</c:v>
                </c:pt>
                <c:pt idx="2">
                  <c:v>7.2000000000008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E36-48ED-B476-55517D79C1FE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/>
            </a:solidFill>
            <a:ln w="50800">
              <a:noFill/>
            </a:ln>
          </c:spPr>
          <c:invertIfNegative val="0"/>
          <c:dLbls>
            <c:dLbl>
              <c:idx val="0"/>
              <c:layout>
                <c:manualLayout>
                  <c:x val="1.7697454063001078E-2"/>
                  <c:y val="-2.6180086465760533E-2"/>
                </c:manualLayout>
              </c:layout>
              <c:spPr>
                <a:noFill/>
                <a:ln w="50800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E36-48ED-B476-55517D79C1FE}"/>
                </c:ext>
              </c:extLst>
            </c:dLbl>
            <c:dLbl>
              <c:idx val="1"/>
              <c:layout>
                <c:manualLayout>
                  <c:x val="1.6216019618368271E-2"/>
                  <c:y val="-2.9982081103583691E-2"/>
                </c:manualLayout>
              </c:layout>
              <c:spPr>
                <a:noFill/>
                <a:ln w="50800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E36-48ED-B476-55517D79C1FE}"/>
                </c:ext>
              </c:extLst>
            </c:dLbl>
            <c:dLbl>
              <c:idx val="2"/>
              <c:layout>
                <c:manualLayout>
                  <c:x val="1.4734585173735715E-2"/>
                  <c:y val="-2.9050991455053521E-2"/>
                </c:manualLayout>
              </c:layout>
              <c:spPr>
                <a:noFill/>
                <a:ln w="50800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E36-48ED-B476-55517D79C1FE}"/>
                </c:ext>
              </c:extLst>
            </c:dLbl>
            <c:spPr>
              <a:noFill/>
              <a:ln w="508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#.##00;\-#.##00</c:formatCode>
                <c:ptCount val="3"/>
                <c:pt idx="0">
                  <c:v>2.3000000000002614</c:v>
                </c:pt>
                <c:pt idx="1">
                  <c:v>3.4000000000003863</c:v>
                </c:pt>
                <c:pt idx="2">
                  <c:v>4.60000000000052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E36-48ED-B476-55517D79C1FE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accent3">
                <a:lumMod val="75000"/>
              </a:schemeClr>
            </a:solidFill>
            <a:ln w="50800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DE36-48ED-B476-55517D79C1FE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DE36-48ED-B476-55517D79C1FE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DE36-48ED-B476-55517D79C1FE}"/>
              </c:ext>
            </c:extLst>
          </c:dPt>
          <c:dLbls>
            <c:dLbl>
              <c:idx val="0"/>
              <c:layout>
                <c:manualLayout>
                  <c:x val="6.6816125825862605E-3"/>
                  <c:y val="-2.6568049533913118E-2"/>
                </c:manualLayout>
              </c:layout>
              <c:spPr>
                <a:noFill/>
                <a:ln w="50800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DE36-48ED-B476-55517D79C1FE}"/>
                </c:ext>
              </c:extLst>
            </c:dLbl>
            <c:dLbl>
              <c:idx val="1"/>
              <c:layout>
                <c:manualLayout>
                  <c:x val="1.7209673902764178E-2"/>
                  <c:y val="-3.6034218106619664E-2"/>
                </c:manualLayout>
              </c:layout>
              <c:spPr>
                <a:noFill/>
                <a:ln w="50800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E36-48ED-B476-55517D79C1FE}"/>
                </c:ext>
              </c:extLst>
            </c:dLbl>
            <c:dLbl>
              <c:idx val="2"/>
              <c:layout>
                <c:manualLayout>
                  <c:x val="1.5728239458131399E-2"/>
                  <c:y val="-2.9438954523206051E-2"/>
                </c:manualLayout>
              </c:layout>
              <c:spPr>
                <a:noFill/>
                <a:ln w="50800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E36-48ED-B476-55517D79C1FE}"/>
                </c:ext>
              </c:extLst>
            </c:dLbl>
            <c:spPr>
              <a:noFill/>
              <a:ln w="508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4:$D$4</c:f>
              <c:numCache>
                <c:formatCode>#.##00;\-#.##00</c:formatCode>
                <c:ptCount val="3"/>
                <c:pt idx="0">
                  <c:v>3.0000000000003411</c:v>
                </c:pt>
                <c:pt idx="1">
                  <c:v>2.8000000000003182</c:v>
                </c:pt>
                <c:pt idx="2">
                  <c:v>5.3000000000006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E36-48ED-B476-55517D79C1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1834206368"/>
        <c:axId val="1"/>
      </c:barChart>
      <c:catAx>
        <c:axId val="1834206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5">
            <a:solidFill>
              <a:srgbClr val="7F7F7F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7.2"/>
          <c:min val="0"/>
        </c:scaling>
        <c:delete val="0"/>
        <c:axPos val="l"/>
        <c:numFmt formatCode="#.##00;\-#.##00" sourceLinked="1"/>
        <c:majorTickMark val="none"/>
        <c:minorTickMark val="none"/>
        <c:tickLblPos val="none"/>
        <c:spPr>
          <a:ln w="12700">
            <a:noFill/>
          </a:ln>
        </c:spPr>
        <c:crossAx val="1834206368"/>
        <c:crosses val="autoZero"/>
        <c:crossBetween val="between"/>
      </c:valAx>
      <c:spPr>
        <a:noFill/>
        <a:ln w="508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4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27593818984545E-2"/>
          <c:y val="0.2011173184357542"/>
          <c:w val="0.9381898454746137"/>
          <c:h val="0.743016759776536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50798">
              <a:noFill/>
            </a:ln>
          </c:spPr>
          <c:invertIfNegative val="0"/>
          <c:dLbls>
            <c:dLbl>
              <c:idx val="0"/>
              <c:layout>
                <c:manualLayout>
                  <c:x val="1.6596026520449406E-2"/>
                  <c:y val="-3.5956636350507221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C2B-41C6-B49E-4FA74CDCBE69}"/>
                </c:ext>
              </c:extLst>
            </c:dLbl>
            <c:dLbl>
              <c:idx val="1"/>
              <c:layout>
                <c:manualLayout>
                  <c:x val="1.7331872327485509E-2"/>
                  <c:y val="-2.9438954523206051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C2B-41C6-B49E-4FA74CDCBE69}"/>
                </c:ext>
              </c:extLst>
            </c:dLbl>
            <c:dLbl>
              <c:idx val="2"/>
              <c:layout>
                <c:manualLayout>
                  <c:xMode val="edge"/>
                  <c:yMode val="edge"/>
                  <c:x val="0.71302428256070638"/>
                  <c:y val="5.027932960893855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C2B-41C6-B49E-4FA74CDCBE69}"/>
                </c:ext>
              </c:extLst>
            </c:dLbl>
            <c:spPr>
              <a:noFill/>
              <a:ln w="50798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#.##00;\-#.##00</c:formatCode>
                <c:ptCount val="3"/>
                <c:pt idx="0">
                  <c:v>4.1000000000004659</c:v>
                </c:pt>
                <c:pt idx="1">
                  <c:v>5.300000000000602</c:v>
                </c:pt>
                <c:pt idx="2">
                  <c:v>7.2000000000008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C2B-41C6-B49E-4FA74CDCBE6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/>
            </a:solidFill>
            <a:ln w="50798">
              <a:noFill/>
            </a:ln>
          </c:spPr>
          <c:invertIfNegative val="0"/>
          <c:dLbls>
            <c:dLbl>
              <c:idx val="0"/>
              <c:layout>
                <c:manualLayout>
                  <c:x val="1.5375731458095288E-2"/>
                  <c:y val="-2.6180086465760533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C2B-41C6-B49E-4FA74CDCBE69}"/>
                </c:ext>
              </c:extLst>
            </c:dLbl>
            <c:dLbl>
              <c:idx val="1"/>
              <c:layout>
                <c:manualLayout>
                  <c:x val="1.6111577265131349E-2"/>
                  <c:y val="-2.9982081103583691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C2B-41C6-B49E-4FA74CDCBE69}"/>
                </c:ext>
              </c:extLst>
            </c:dLbl>
            <c:dLbl>
              <c:idx val="2"/>
              <c:layout>
                <c:manualLayout>
                  <c:x val="1.6847423072167467E-2"/>
                  <c:y val="-2.9050991455053521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C2B-41C6-B49E-4FA74CDCBE69}"/>
                </c:ext>
              </c:extLst>
            </c:dLbl>
            <c:spPr>
              <a:noFill/>
              <a:ln w="50798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#.##00;\-#.##00</c:formatCode>
                <c:ptCount val="3"/>
                <c:pt idx="0">
                  <c:v>2.3000000000002614</c:v>
                </c:pt>
                <c:pt idx="1">
                  <c:v>3.4000000000003863</c:v>
                </c:pt>
                <c:pt idx="2">
                  <c:v>4.60000000000052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C2B-41C6-B49E-4FA74CDCBE69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accent3">
                <a:lumMod val="75000"/>
              </a:schemeClr>
            </a:solidFill>
            <a:ln w="50798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1C2B-41C6-B49E-4FA74CDCBE6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1C2B-41C6-B49E-4FA74CDCBE6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1C2B-41C6-B49E-4FA74CDCBE69}"/>
              </c:ext>
            </c:extLst>
          </c:dPt>
          <c:dLbls>
            <c:dLbl>
              <c:idx val="0"/>
              <c:layout>
                <c:manualLayout>
                  <c:x val="6.6397734459558988E-3"/>
                  <c:y val="-2.6568049533913118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C2B-41C6-B49E-4FA74CDCBE69}"/>
                </c:ext>
              </c:extLst>
            </c:dLbl>
            <c:dLbl>
              <c:idx val="1"/>
              <c:layout>
                <c:manualLayout>
                  <c:x val="1.4891167506252856E-2"/>
                  <c:y val="-3.6034218106619664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C2B-41C6-B49E-4FA74CDCBE69}"/>
                </c:ext>
              </c:extLst>
            </c:dLbl>
            <c:dLbl>
              <c:idx val="2"/>
              <c:layout>
                <c:manualLayout>
                  <c:x val="1.5627013313288862E-2"/>
                  <c:y val="-2.9438954523206051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C2B-41C6-B49E-4FA74CDCBE69}"/>
                </c:ext>
              </c:extLst>
            </c:dLbl>
            <c:spPr>
              <a:noFill/>
              <a:ln w="50798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4:$D$4</c:f>
              <c:numCache>
                <c:formatCode>#.##00;\-#.##00</c:formatCode>
                <c:ptCount val="3"/>
                <c:pt idx="0">
                  <c:v>3.0000000000003411</c:v>
                </c:pt>
                <c:pt idx="1">
                  <c:v>2.8000000000003182</c:v>
                </c:pt>
                <c:pt idx="2">
                  <c:v>5.3000000000006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C2B-41C6-B49E-4FA74CDCBE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0200672"/>
        <c:axId val="1"/>
      </c:barChart>
      <c:catAx>
        <c:axId val="40200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5">
            <a:solidFill>
              <a:srgbClr val="7F7F7F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7.2"/>
          <c:min val="0"/>
        </c:scaling>
        <c:delete val="0"/>
        <c:axPos val="l"/>
        <c:numFmt formatCode="#.##00;\-#.##00" sourceLinked="1"/>
        <c:majorTickMark val="none"/>
        <c:minorTickMark val="none"/>
        <c:tickLblPos val="none"/>
        <c:spPr>
          <a:ln w="12700">
            <a:noFill/>
          </a:ln>
        </c:spPr>
        <c:crossAx val="40200672"/>
        <c:crosses val="autoZero"/>
        <c:crossBetween val="between"/>
      </c:valAx>
      <c:spPr>
        <a:noFill/>
        <a:ln w="5079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4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.11240492099555692"/>
          <c:w val="1"/>
          <c:h val="0.8875950790044432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Input!$A$2</c:f>
              <c:strCache>
                <c:ptCount val="1"/>
                <c:pt idx="0">
                  <c:v>Stack 1</c:v>
                </c:pt>
              </c:strCache>
            </c:strRef>
          </c:tx>
          <c:spPr>
            <a:solidFill>
              <a:schemeClr val="accent1"/>
            </a:solidFill>
            <a:ln w="12700">
              <a:solidFill>
                <a:srgbClr val="7F7F7F"/>
              </a:solidFill>
              <a:prstDash val="solid"/>
            </a:ln>
            <a:effectLst/>
            <a:ex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2700">
                <a:solidFill>
                  <a:srgbClr val="7F7F7F"/>
                </a:solidFill>
                <a:prstDash val="solid"/>
              </a:ln>
              <a:effectLst/>
              <a:extLst/>
            </c:spPr>
            <c:extLst>
              <c:ext xmlns:c16="http://schemas.microsoft.com/office/drawing/2014/chart" uri="{C3380CC4-5D6E-409C-BE32-E72D297353CC}">
                <c16:uniqueId val="{00000001-8B38-44BC-8E8A-154D6BBB9AD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2700">
                <a:solidFill>
                  <a:srgbClr val="7F7F7F"/>
                </a:solidFill>
                <a:prstDash val="solid"/>
              </a:ln>
              <a:effectLst/>
              <a:extLst/>
            </c:spPr>
            <c:extLst>
              <c:ext xmlns:c16="http://schemas.microsoft.com/office/drawing/2014/chart" uri="{C3380CC4-5D6E-409C-BE32-E72D297353CC}">
                <c16:uniqueId val="{00000003-8B38-44BC-8E8A-154D6BBB9AD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2700">
                <a:solidFill>
                  <a:srgbClr val="7F7F7F"/>
                </a:solidFill>
                <a:prstDash val="solid"/>
              </a:ln>
              <a:effectLst/>
              <a:extLst/>
            </c:spPr>
            <c:extLst>
              <c:ext xmlns:c16="http://schemas.microsoft.com/office/drawing/2014/chart" uri="{C3380CC4-5D6E-409C-BE32-E72D297353CC}">
                <c16:uniqueId val="{00000005-8B38-44BC-8E8A-154D6BBB9AD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12700">
                <a:solidFill>
                  <a:srgbClr val="7F7F7F"/>
                </a:solidFill>
                <a:prstDash val="solid"/>
              </a:ln>
              <a:effectLst/>
              <a:extLst/>
            </c:spPr>
            <c:extLst>
              <c:ext xmlns:c16="http://schemas.microsoft.com/office/drawing/2014/chart" uri="{C3380CC4-5D6E-409C-BE32-E72D297353CC}">
                <c16:uniqueId val="{00000007-8B38-44BC-8E8A-154D6BBB9AD4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 w="12700">
                <a:solidFill>
                  <a:srgbClr val="7F7F7F"/>
                </a:solidFill>
                <a:prstDash val="solid"/>
              </a:ln>
              <a:effectLst/>
              <a:extLst/>
            </c:spPr>
            <c:extLst>
              <c:ext xmlns:c16="http://schemas.microsoft.com/office/drawing/2014/chart" uri="{C3380CC4-5D6E-409C-BE32-E72D297353CC}">
                <c16:uniqueId val="{00000009-8B38-44BC-8E8A-154D6BBB9AD4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 w="0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>
                    <a:solidFill>
                      <a:srgbClr val="FFFFFF"/>
                    </a:solidFill>
                    <a:prstDash val="solid"/>
                  </a14:hiddenLine>
                </a:ext>
              </a:extLst>
            </c:spPr>
            <c:extLst>
              <c:ext xmlns:c16="http://schemas.microsoft.com/office/drawing/2014/chart" uri="{C3380CC4-5D6E-409C-BE32-E72D297353CC}">
                <c16:uniqueId val="{0000000B-8B38-44BC-8E8A-154D6BBB9AD4}"/>
              </c:ext>
            </c:extLst>
          </c:dPt>
          <c:dLbls>
            <c:dLbl>
              <c:idx val="0"/>
              <c:numFmt formatCode="&quot;100&quot;" sourceLinked="0"/>
              <c:spPr>
                <a:noFill/>
                <a:ln>
                  <a:noFill/>
                </a:ln>
                <a:effectLst/>
                <a:ex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de-DE" sz="11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Arial"/>
                      <a:cs typeface="Segoe UI Light" panose="020B0502040204020203" pitchFamily="34" charset="0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8B38-44BC-8E8A-154D6BBB9AD4}"/>
                </c:ext>
              </c:extLst>
            </c:dLbl>
            <c:dLbl>
              <c:idx val="1"/>
              <c:numFmt formatCode="&quot;200&quot;" sourceLinked="0"/>
              <c:spPr>
                <a:noFill/>
                <a:ln>
                  <a:noFill/>
                </a:ln>
                <a:effectLst/>
                <a:ex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de-DE" sz="11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Arial"/>
                      <a:cs typeface="Segoe UI Light" panose="020B0502040204020203" pitchFamily="34" charset="0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8B38-44BC-8E8A-154D6BBB9AD4}"/>
                </c:ext>
              </c:extLst>
            </c:dLbl>
            <c:dLbl>
              <c:idx val="2"/>
              <c:numFmt formatCode="&quot;150&quot;" sourceLinked="0"/>
              <c:spPr>
                <a:noFill/>
                <a:ln>
                  <a:noFill/>
                </a:ln>
                <a:effectLst/>
                <a:ex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de-DE" sz="11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Arial"/>
                      <a:cs typeface="Segoe UI Light" panose="020B0502040204020203" pitchFamily="34" charset="0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8B38-44BC-8E8A-154D6BBB9AD4}"/>
                </c:ext>
              </c:extLst>
            </c:dLbl>
            <c:dLbl>
              <c:idx val="3"/>
              <c:numFmt formatCode="&quot;200&quot;" sourceLinked="0"/>
              <c:spPr>
                <a:noFill/>
                <a:ln>
                  <a:noFill/>
                </a:ln>
                <a:effectLst/>
                <a:ex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de-DE" sz="11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Arial"/>
                      <a:cs typeface="Segoe UI Light" panose="020B0502040204020203" pitchFamily="34" charset="0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7-8B38-44BC-8E8A-154D6BBB9AD4}"/>
                </c:ext>
              </c:extLst>
            </c:dLbl>
            <c:dLbl>
              <c:idx val="4"/>
              <c:numFmt formatCode="&quot;220&quot;" sourceLinked="0"/>
              <c:spPr>
                <a:noFill/>
                <a:ln>
                  <a:noFill/>
                </a:ln>
                <a:effectLst/>
                <a:ex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de-DE" sz="11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Arial"/>
                      <a:cs typeface="Segoe UI Light" panose="020B0502040204020203" pitchFamily="34" charset="0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9-8B38-44BC-8E8A-154D6BBB9AD4}"/>
                </c:ext>
              </c:extLst>
            </c:dLbl>
            <c:dLbl>
              <c:idx val="5"/>
              <c:numFmt formatCode="&quot;180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de-DE" sz="11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Arial"/>
                      <a:cs typeface="Segoe UI Light" panose="020B0502040204020203" pitchFamily="34" charset="0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B38-44BC-8E8A-154D6BBB9AD4}"/>
                </c:ext>
              </c:extLst>
            </c:dLbl>
            <c:dLbl>
              <c:idx val="6"/>
              <c:numFmt formatCode="&quot;190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de-DE" sz="11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Arial"/>
                      <a:cs typeface="Segoe UI Light" panose="020B0502040204020203" pitchFamily="34" charset="0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B38-44BC-8E8A-154D6BBB9AD4}"/>
                </c:ext>
              </c:extLst>
            </c:dLbl>
            <c:dLbl>
              <c:idx val="7"/>
              <c:numFmt formatCode="&quot;222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de-DE" sz="11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Arial"/>
                      <a:cs typeface="Segoe UI Light" panose="020B0502040204020203" pitchFamily="34" charset="0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B38-44BC-8E8A-154D6BBB9AD4}"/>
                </c:ext>
              </c:extLst>
            </c:dLbl>
            <c:dLbl>
              <c:idx val="8"/>
              <c:numFmt formatCode="&quot;189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de-DE" sz="11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Arial"/>
                      <a:cs typeface="Segoe UI Light" panose="020B0502040204020203" pitchFamily="34" charset="0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B38-44BC-8E8A-154D6BBB9AD4}"/>
                </c:ext>
              </c:extLst>
            </c:dLbl>
            <c:dLbl>
              <c:idx val="9"/>
              <c:numFmt formatCode="&quot;189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de-DE" sz="11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Arial"/>
                      <a:cs typeface="Segoe UI Light" panose="020B0502040204020203" pitchFamily="34" charset="0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B38-44BC-8E8A-154D6BBB9AD4}"/>
                </c:ext>
              </c:extLst>
            </c:dLbl>
            <c:dLbl>
              <c:idx val="10"/>
              <c:numFmt formatCode="&quot;200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de-DE" sz="11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Arial"/>
                      <a:cs typeface="Segoe UI Light" panose="020B0502040204020203" pitchFamily="34" charset="0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B38-44BC-8E8A-154D6BBB9A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de-DE" sz="1200" b="0" i="0" u="none" strike="noStrike" kern="1200" baseline="0">
                    <a:solidFill>
                      <a:schemeClr val="bg1"/>
                    </a:solidFill>
                    <a:latin typeface="+mj-lt"/>
                    <a:ea typeface="Arial"/>
                    <a:cs typeface="Segoe UI Light" panose="020B0502040204020203" pitchFamily="34" charset="0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Input!$B$1:$L$1</c:f>
              <c:strCache>
                <c:ptCount val="1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</c:strCache>
            </c:strRef>
          </c:cat>
          <c:val>
            <c:numRef>
              <c:f>Input!$B$2:$L$2</c:f>
              <c:numCache>
                <c:formatCode>General</c:formatCode>
                <c:ptCount val="11"/>
                <c:pt idx="0">
                  <c:v>100</c:v>
                </c:pt>
                <c:pt idx="1">
                  <c:v>200</c:v>
                </c:pt>
                <c:pt idx="2">
                  <c:v>150</c:v>
                </c:pt>
                <c:pt idx="3">
                  <c:v>200</c:v>
                </c:pt>
                <c:pt idx="4">
                  <c:v>220</c:v>
                </c:pt>
                <c:pt idx="5">
                  <c:v>180</c:v>
                </c:pt>
                <c:pt idx="6">
                  <c:v>190</c:v>
                </c:pt>
                <c:pt idx="7">
                  <c:v>222</c:v>
                </c:pt>
                <c:pt idx="8">
                  <c:v>189</c:v>
                </c:pt>
                <c:pt idx="9">
                  <c:v>189</c:v>
                </c:pt>
                <c:pt idx="10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9D0-4D23-921B-43CAE68F9B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895713520"/>
        <c:axId val="895713912"/>
      </c:barChart>
      <c:catAx>
        <c:axId val="895713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de-DE" sz="1100" b="0" i="0" u="none" strike="noStrike" kern="1200" baseline="0">
                <a:solidFill>
                  <a:schemeClr val="tx1"/>
                </a:solidFill>
                <a:latin typeface="+mj-lt"/>
                <a:ea typeface="Arial"/>
                <a:cs typeface="Segoe UI Light" panose="020B0502040204020203" pitchFamily="34" charset="0"/>
              </a:defRPr>
            </a:pPr>
            <a:endParaRPr lang="de-DE"/>
          </a:p>
        </c:txPr>
        <c:crossAx val="895713912"/>
        <c:crosses val="autoZero"/>
        <c:auto val="1"/>
        <c:lblAlgn val="ctr"/>
        <c:lblOffset val="100"/>
        <c:noMultiLvlLbl val="0"/>
      </c:catAx>
      <c:valAx>
        <c:axId val="8957139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95713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 algn="ctr">
        <a:defRPr lang="de-DE" sz="1200" b="0" i="0" u="none" strike="noStrike" kern="1200" baseline="0">
          <a:solidFill>
            <a:schemeClr val="tx1"/>
          </a:solidFill>
          <a:latin typeface="+mj-lt"/>
          <a:ea typeface="Arial"/>
          <a:cs typeface="Segoe UI Light" panose="020B0502040204020203" pitchFamily="34" charset="0"/>
        </a:defRPr>
      </a:pPr>
      <a:endParaRPr lang="de-DE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779342723004695E-2"/>
          <c:y val="2.1028037383177569E-2"/>
          <c:w val="0.96948356807511737"/>
          <c:h val="0.9649532710280374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613-4D2C-859C-89440F8F65A4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613-4D2C-859C-89440F8F65A4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613-4D2C-859C-89440F8F65A4}"/>
              </c:ext>
            </c:extLst>
          </c:dPt>
          <c:dPt>
            <c:idx val="3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613-4D2C-859C-89440F8F65A4}"/>
              </c:ext>
            </c:extLst>
          </c:dPt>
          <c:dPt>
            <c:idx val="4"/>
            <c:bubble3D val="0"/>
            <c:spPr>
              <a:solidFill>
                <a:srgbClr val="81E7E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B613-4D2C-859C-89440F8F65A4}"/>
              </c:ext>
            </c:extLst>
          </c:dPt>
          <c:dPt>
            <c:idx val="5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613-4D2C-859C-89440F8F65A4}"/>
              </c:ext>
            </c:extLst>
          </c:dPt>
          <c:dPt>
            <c:idx val="6"/>
            <c:bubble3D val="0"/>
            <c:spPr>
              <a:solidFill>
                <a:schemeClr val="accent3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B613-4D2C-859C-89440F8F65A4}"/>
              </c:ext>
            </c:extLst>
          </c:dPt>
          <c:dPt>
            <c:idx val="7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613-4D2C-859C-89440F8F65A4}"/>
              </c:ext>
            </c:extLst>
          </c:dPt>
          <c:dPt>
            <c:idx val="8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B613-4D2C-859C-89440F8F65A4}"/>
              </c:ext>
            </c:extLst>
          </c:dPt>
          <c:dPt>
            <c:idx val="9"/>
            <c:bubble3D val="0"/>
            <c:spPr>
              <a:solidFill>
                <a:schemeClr val="accent1">
                  <a:tint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613-4D2C-859C-89440F8F65A4}"/>
              </c:ext>
            </c:extLst>
          </c:dPt>
          <c:cat>
            <c:numRef>
              <c:f>Sheet1!$A$2:$A$10</c:f>
              <c:numCache>
                <c:formatCode>General</c:formatCode>
                <c:ptCount val="9"/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0.000000000001137</c:v>
                </c:pt>
                <c:pt idx="1">
                  <c:v>10.000000000001137</c:v>
                </c:pt>
                <c:pt idx="2">
                  <c:v>10.000000000001137</c:v>
                </c:pt>
                <c:pt idx="3">
                  <c:v>10.000000000001137</c:v>
                </c:pt>
                <c:pt idx="4">
                  <c:v>10.000000000001137</c:v>
                </c:pt>
                <c:pt idx="5">
                  <c:v>10.000000000001137</c:v>
                </c:pt>
                <c:pt idx="6">
                  <c:v>10.000000000001137</c:v>
                </c:pt>
                <c:pt idx="7">
                  <c:v>10.000000000001137</c:v>
                </c:pt>
                <c:pt idx="8">
                  <c:v>10.000000000001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613-4D2C-859C-89440F8F65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50798">
          <a:noFill/>
        </a:ln>
        <a:effectLst/>
      </c:spPr>
    </c:plotArea>
    <c:plotVisOnly val="1"/>
    <c:dispBlanksAs val="zero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24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38906752411574E-2"/>
          <c:y val="2.5806451612903226E-2"/>
          <c:w val="0.954983922829582"/>
          <c:h val="0.9580645161290322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25399">
              <a:solidFill>
                <a:srgbClr val="7F7F7F"/>
              </a:solidFill>
              <a:prstDash val="solid"/>
            </a:ln>
          </c:spPr>
          <c:dPt>
            <c:idx val="0"/>
            <c:bubble3D val="0"/>
            <c:spPr>
              <a:solidFill>
                <a:schemeClr val="accent1"/>
              </a:solidFill>
              <a:ln w="25399">
                <a:solidFill>
                  <a:schemeClr val="accent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D35-45D9-A66E-7D4C74A3DB2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399">
                <a:solidFill>
                  <a:schemeClr val="accent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D35-45D9-A66E-7D4C74A3DB2A}"/>
              </c:ext>
            </c:extLst>
          </c:dPt>
          <c:dPt>
            <c:idx val="2"/>
            <c:bubble3D val="0"/>
            <c:spPr>
              <a:solidFill>
                <a:srgbClr val="CDDFFE"/>
              </a:solidFill>
              <a:ln w="25399">
                <a:solidFill>
                  <a:srgbClr val="CDDFFE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0D35-45D9-A66E-7D4C74A3DB2A}"/>
              </c:ext>
            </c:extLst>
          </c:dPt>
          <c:dPt>
            <c:idx val="3"/>
            <c:bubble3D val="0"/>
            <c:spPr>
              <a:solidFill>
                <a:srgbClr val="C0C0C0"/>
              </a:solidFill>
              <a:ln w="25399">
                <a:solidFill>
                  <a:srgbClr val="C0C0C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0D35-45D9-A66E-7D4C74A3DB2A}"/>
              </c:ext>
            </c:extLst>
          </c:dPt>
          <c:dPt>
            <c:idx val="4"/>
            <c:bubble3D val="0"/>
            <c:spPr>
              <a:solidFill>
                <a:srgbClr val="D7D7D7"/>
              </a:solidFill>
              <a:ln w="25399">
                <a:solidFill>
                  <a:srgbClr val="D7D7D7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0D35-45D9-A66E-7D4C74A3DB2A}"/>
              </c:ext>
            </c:extLst>
          </c:dPt>
          <c:dPt>
            <c:idx val="5"/>
            <c:bubble3D val="0"/>
            <c:spPr>
              <a:solidFill>
                <a:srgbClr val="7FBA25"/>
              </a:solidFill>
              <a:ln w="25399">
                <a:solidFill>
                  <a:srgbClr val="7FBA25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0D35-45D9-A66E-7D4C74A3DB2A}"/>
              </c:ext>
            </c:extLst>
          </c:dPt>
          <c:dPt>
            <c:idx val="6"/>
            <c:bubble3D val="0"/>
            <c:spPr>
              <a:solidFill>
                <a:schemeClr val="hlink"/>
              </a:solidFill>
              <a:ln w="25399">
                <a:solidFill>
                  <a:schemeClr val="hlink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0D35-45D9-A66E-7D4C74A3DB2A}"/>
              </c:ext>
            </c:extLst>
          </c:dPt>
          <c:dPt>
            <c:idx val="7"/>
            <c:bubble3D val="0"/>
            <c:spPr>
              <a:solidFill>
                <a:schemeClr val="folHlink"/>
              </a:solidFill>
              <a:ln w="25399">
                <a:solidFill>
                  <a:schemeClr val="folHlink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0D35-45D9-A66E-7D4C74A3DB2A}"/>
              </c:ext>
            </c:extLst>
          </c:dPt>
          <c:dPt>
            <c:idx val="8"/>
            <c:bubble3D val="0"/>
            <c:spPr>
              <a:solidFill>
                <a:schemeClr val="bg2"/>
              </a:solidFill>
              <a:ln w="25399">
                <a:solidFill>
                  <a:schemeClr val="bg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0D35-45D9-A66E-7D4C74A3DB2A}"/>
              </c:ext>
            </c:extLst>
          </c:dPt>
          <c:dPt>
            <c:idx val="9"/>
            <c:bubble3D val="0"/>
            <c:spPr>
              <a:solidFill>
                <a:schemeClr val="tx2"/>
              </a:solidFill>
              <a:ln w="25399">
                <a:solidFill>
                  <a:srgbClr val="7F7F7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0D35-45D9-A66E-7D4C74A3DB2A}"/>
              </c:ext>
            </c:extLst>
          </c:dPt>
          <c:cat>
            <c:numRef>
              <c:f>Sheet1!$A$2:$A$10</c:f>
              <c:numCache>
                <c:formatCode>General</c:formatCode>
                <c:ptCount val="9"/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0.000000000001137</c:v>
                </c:pt>
                <c:pt idx="1">
                  <c:v>10.000000000001137</c:v>
                </c:pt>
                <c:pt idx="2">
                  <c:v>10.000000000001137</c:v>
                </c:pt>
                <c:pt idx="3">
                  <c:v>10.000000000001137</c:v>
                </c:pt>
                <c:pt idx="4">
                  <c:v>10.000000000001137</c:v>
                </c:pt>
                <c:pt idx="5">
                  <c:v>10.000000000001137</c:v>
                </c:pt>
                <c:pt idx="6">
                  <c:v>10.000000000001137</c:v>
                </c:pt>
                <c:pt idx="7">
                  <c:v>10.000000000001137</c:v>
                </c:pt>
                <c:pt idx="8">
                  <c:v>10.000000000001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D35-45D9-A66E-7D4C74A3DB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0"/>
      </c:pieChart>
      <c:spPr>
        <a:noFill/>
        <a:ln w="50798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24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644832605531296E-2"/>
          <c:y val="2.0460358056265986E-2"/>
          <c:w val="0.98253275109170302"/>
          <c:h val="0.96930946291560105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1"/>
            </a:solidFill>
            <a:ln w="25399">
              <a:solidFill>
                <a:schemeClr val="accent1"/>
              </a:solidFill>
              <a:prstDash val="solid"/>
            </a:ln>
          </c:spPr>
          <c:invertIfNegative val="0"/>
          <c:dLbls>
            <c:spPr>
              <a:noFill/>
              <a:ln w="50798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#.##0;\-#.##0</c:formatCode>
                <c:ptCount val="3"/>
                <c:pt idx="0">
                  <c:v>12.900000000001468</c:v>
                </c:pt>
                <c:pt idx="1">
                  <c:v>21.800000000002481</c:v>
                </c:pt>
                <c:pt idx="2">
                  <c:v>35.100000000003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1-426B-B335-2FCFE18A78EC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25399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invertIfNegative val="0"/>
          <c:dLbls>
            <c:spPr>
              <a:noFill/>
              <a:ln w="50798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4:$D$4</c:f>
              <c:numCache>
                <c:formatCode>#.##0;\-#.##0</c:formatCode>
                <c:ptCount val="3"/>
                <c:pt idx="0">
                  <c:v>5.1000000000005796</c:v>
                </c:pt>
                <c:pt idx="1">
                  <c:v>3.4000000000003849</c:v>
                </c:pt>
                <c:pt idx="2">
                  <c:v>7.20000000000082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91-426B-B335-2FCFE18A78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8635919"/>
        <c:axId val="1"/>
      </c:barChar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76197">
              <a:solidFill>
                <a:srgbClr val="7FBA25"/>
              </a:solidFill>
              <a:prstDash val="solid"/>
            </a:ln>
          </c:spPr>
          <c:marker>
            <c:symbol val="none"/>
          </c:marker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General</c:formatCode>
                <c:ptCount val="3"/>
                <c:pt idx="0">
                  <c:v>3.5000000000003979</c:v>
                </c:pt>
                <c:pt idx="1">
                  <c:v>5.300000000000602</c:v>
                </c:pt>
                <c:pt idx="2">
                  <c:v>3.20000000000036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391-426B-B335-2FCFE18A78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8635919"/>
        <c:axId val="1"/>
      </c:lineChart>
      <c:catAx>
        <c:axId val="148635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5">
            <a:solidFill>
              <a:srgbClr val="7F7F7F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42.300000000000004"/>
          <c:min val="0"/>
        </c:scaling>
        <c:delete val="0"/>
        <c:axPos val="r"/>
        <c:numFmt formatCode="#.##0;\-#.##0" sourceLinked="1"/>
        <c:majorTickMark val="none"/>
        <c:minorTickMark val="none"/>
        <c:tickLblPos val="none"/>
        <c:spPr>
          <a:ln w="12700">
            <a:noFill/>
          </a:ln>
        </c:spPr>
        <c:crossAx val="148635919"/>
        <c:crosses val="max"/>
        <c:crossBetween val="between"/>
        <c:majorUnit val="5"/>
      </c:valAx>
      <c:spPr>
        <a:noFill/>
        <a:ln w="5079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4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196480938416423E-2"/>
          <c:y val="2.0253164556962026E-2"/>
          <c:w val="0.97947214076246336"/>
          <c:h val="0.96962025316455691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25400">
              <a:solidFill>
                <a:schemeClr val="accent1"/>
              </a:solidFill>
              <a:prstDash val="solid"/>
            </a:ln>
          </c:spPr>
          <c:invertIfNegative val="0"/>
          <c:xVal>
            <c:numRef>
              <c:f>Sheet1!$A$2:$A$4</c:f>
              <c:numCache>
                <c:formatCode>General</c:formatCode>
                <c:ptCount val="3"/>
                <c:pt idx="0">
                  <c:v>0.50000000000005684</c:v>
                </c:pt>
                <c:pt idx="1">
                  <c:v>2.3000000000002618</c:v>
                </c:pt>
                <c:pt idx="2">
                  <c:v>1.7000000000001931</c:v>
                </c:pt>
              </c:numCache>
            </c:numRef>
          </c:xVal>
          <c:yVal>
            <c:numRef>
              <c:f>Sheet1!$B$2:$B$4</c:f>
              <c:numCache>
                <c:formatCode>General</c:formatCode>
                <c:ptCount val="3"/>
                <c:pt idx="0">
                  <c:v>0.60000000000006815</c:v>
                </c:pt>
                <c:pt idx="1">
                  <c:v>3.2000000000003639</c:v>
                </c:pt>
                <c:pt idx="2">
                  <c:v>1.2000000000001363</c:v>
                </c:pt>
              </c:numCache>
            </c:numRef>
          </c:yVal>
          <c:bubbleSize>
            <c:numRef>
              <c:f>Sheet1!$C$2:$C$4</c:f>
              <c:numCache>
                <c:formatCode>General</c:formatCode>
                <c:ptCount val="3"/>
                <c:pt idx="0">
                  <c:v>5.300000000000602</c:v>
                </c:pt>
                <c:pt idx="1">
                  <c:v>1.0000000000001137</c:v>
                </c:pt>
                <c:pt idx="2">
                  <c:v>8.0000000000009095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EE07-4304-8319-673E5E49BE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11"/>
        <c:showNegBubbles val="0"/>
        <c:axId val="1553504400"/>
        <c:axId val="1"/>
      </c:bubbleChart>
      <c:valAx>
        <c:axId val="1553504400"/>
        <c:scaling>
          <c:orientation val="minMax"/>
          <c:max val="2.4000000000000004"/>
          <c:min val="0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25400">
            <a:solidFill>
              <a:srgbClr val="7F7F7F"/>
            </a:solidFill>
            <a:prstDash val="solid"/>
          </a:ln>
        </c:spPr>
        <c:crossAx val="1"/>
        <c:crossesAt val="0"/>
        <c:crossBetween val="midCat"/>
        <c:majorUnit val="0.1"/>
      </c:valAx>
      <c:valAx>
        <c:axId val="1"/>
        <c:scaling>
          <c:orientation val="minMax"/>
          <c:max val="3.5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25400">
            <a:solidFill>
              <a:srgbClr val="7F7F7F"/>
            </a:solidFill>
            <a:prstDash val="solid"/>
          </a:ln>
        </c:spPr>
        <c:crossAx val="1553504400"/>
        <c:crossesAt val="0"/>
        <c:crossBetween val="midCat"/>
        <c:majorUnit val="0.5"/>
      </c:valAx>
      <c:spPr>
        <a:noFill/>
        <a:ln w="25400">
          <a:solidFill>
            <a:srgbClr val="7F7F7F"/>
          </a:solidFill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4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615733736762481E-2"/>
          <c:y val="1.5345268542199489E-2"/>
          <c:w val="0.97881996974281393"/>
          <c:h val="0.97186700767263423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76197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B$1:$D$1</c:f>
              <c:numCache>
                <c:formatCode>General</c:formatCode>
                <c:ptCount val="3"/>
                <c:pt idx="0">
                  <c:v>2011.0000000002287</c:v>
                </c:pt>
                <c:pt idx="1">
                  <c:v>2012.0000000002287</c:v>
                </c:pt>
                <c:pt idx="2">
                  <c:v>2013.0000000002287</c:v>
                </c:pt>
              </c:numCache>
            </c:numRef>
          </c:xVal>
          <c:yVal>
            <c:numRef>
              <c:f>Sheet1!$B$2:$D$2</c:f>
              <c:numCache>
                <c:formatCode>General</c:formatCode>
                <c:ptCount val="3"/>
                <c:pt idx="0">
                  <c:v>2.0000000000002274</c:v>
                </c:pt>
                <c:pt idx="1">
                  <c:v>5.0000000000005684</c:v>
                </c:pt>
                <c:pt idx="2">
                  <c:v>2.000000000000227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403-4FAA-B6EA-121A1140612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ln w="76197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B$1:$D$1</c:f>
              <c:numCache>
                <c:formatCode>General</c:formatCode>
                <c:ptCount val="3"/>
                <c:pt idx="0">
                  <c:v>2011.0000000002287</c:v>
                </c:pt>
                <c:pt idx="1">
                  <c:v>2012.0000000002287</c:v>
                </c:pt>
                <c:pt idx="2">
                  <c:v>2013.0000000002287</c:v>
                </c:pt>
              </c:numCache>
            </c:numRef>
          </c:xVal>
          <c:yVal>
            <c:numRef>
              <c:f>Sheet1!$B$3:$D$3</c:f>
              <c:numCache>
                <c:formatCode>General</c:formatCode>
                <c:ptCount val="3"/>
                <c:pt idx="0">
                  <c:v>3.0000000000003411</c:v>
                </c:pt>
                <c:pt idx="1">
                  <c:v>6.0000000000006821</c:v>
                </c:pt>
                <c:pt idx="2">
                  <c:v>3.000000000000341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403-4FAA-B6EA-121A11406128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ln w="76197">
              <a:solidFill>
                <a:srgbClr val="CDDFFE"/>
              </a:solidFill>
              <a:prstDash val="solid"/>
            </a:ln>
          </c:spPr>
          <c:marker>
            <c:symbol val="none"/>
          </c:marker>
          <c:xVal>
            <c:numRef>
              <c:f>Sheet1!$B$1:$D$1</c:f>
              <c:numCache>
                <c:formatCode>General</c:formatCode>
                <c:ptCount val="3"/>
                <c:pt idx="0">
                  <c:v>2011.0000000002287</c:v>
                </c:pt>
                <c:pt idx="1">
                  <c:v>2012.0000000002287</c:v>
                </c:pt>
                <c:pt idx="2">
                  <c:v>2013.0000000002287</c:v>
                </c:pt>
              </c:numCache>
            </c:numRef>
          </c:xVal>
          <c:yVal>
            <c:numRef>
              <c:f>Sheet1!$B$4:$D$4</c:f>
              <c:numCache>
                <c:formatCode>General</c:formatCode>
                <c:ptCount val="3"/>
                <c:pt idx="0">
                  <c:v>4.0000000000004547</c:v>
                </c:pt>
                <c:pt idx="1">
                  <c:v>7.0000000000007958</c:v>
                </c:pt>
                <c:pt idx="2">
                  <c:v>4.000000000000454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403-4FAA-B6EA-121A11406128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ln w="76197">
              <a:solidFill>
                <a:srgbClr val="C0C0C0"/>
              </a:solidFill>
              <a:prstDash val="solid"/>
            </a:ln>
          </c:spPr>
          <c:marker>
            <c:symbol val="none"/>
          </c:marker>
          <c:xVal>
            <c:numRef>
              <c:f>Sheet1!$B$1:$D$1</c:f>
              <c:numCache>
                <c:formatCode>General</c:formatCode>
                <c:ptCount val="3"/>
                <c:pt idx="0">
                  <c:v>2011.0000000002287</c:v>
                </c:pt>
                <c:pt idx="1">
                  <c:v>2012.0000000002287</c:v>
                </c:pt>
                <c:pt idx="2">
                  <c:v>2013.0000000002287</c:v>
                </c:pt>
              </c:numCache>
            </c:numRef>
          </c:xVal>
          <c:yVal>
            <c:numRef>
              <c:f>Sheet1!$B$5:$D$5</c:f>
              <c:numCache>
                <c:formatCode>General</c:formatCode>
                <c:ptCount val="3"/>
                <c:pt idx="0">
                  <c:v>5.0000000000005684</c:v>
                </c:pt>
                <c:pt idx="1">
                  <c:v>8.0000000000009095</c:v>
                </c:pt>
                <c:pt idx="2">
                  <c:v>5.000000000000568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0403-4FAA-B6EA-121A11406128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ln w="76197">
              <a:solidFill>
                <a:srgbClr val="D7D7D7"/>
              </a:solidFill>
              <a:prstDash val="solid"/>
            </a:ln>
          </c:spPr>
          <c:marker>
            <c:symbol val="none"/>
          </c:marker>
          <c:xVal>
            <c:numRef>
              <c:f>Sheet1!$B$1:$D$1</c:f>
              <c:numCache>
                <c:formatCode>General</c:formatCode>
                <c:ptCount val="3"/>
                <c:pt idx="0">
                  <c:v>2011.0000000002287</c:v>
                </c:pt>
                <c:pt idx="1">
                  <c:v>2012.0000000002287</c:v>
                </c:pt>
                <c:pt idx="2">
                  <c:v>2013.0000000002287</c:v>
                </c:pt>
              </c:numCache>
            </c:numRef>
          </c:xVal>
          <c:yVal>
            <c:numRef>
              <c:f>Sheet1!$B$6:$D$6</c:f>
              <c:numCache>
                <c:formatCode>General</c:formatCode>
                <c:ptCount val="3"/>
                <c:pt idx="0">
                  <c:v>6.0000000000006821</c:v>
                </c:pt>
                <c:pt idx="1">
                  <c:v>9.0000000000010232</c:v>
                </c:pt>
                <c:pt idx="2">
                  <c:v>6.000000000000682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0403-4FAA-B6EA-121A11406128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</c:strCache>
            </c:strRef>
          </c:tx>
          <c:spPr>
            <a:ln w="76197">
              <a:solidFill>
                <a:srgbClr val="7FBA25"/>
              </a:solidFill>
              <a:prstDash val="solid"/>
            </a:ln>
          </c:spPr>
          <c:marker>
            <c:symbol val="none"/>
          </c:marker>
          <c:xVal>
            <c:numRef>
              <c:f>Sheet1!$B$1:$D$1</c:f>
              <c:numCache>
                <c:formatCode>General</c:formatCode>
                <c:ptCount val="3"/>
                <c:pt idx="0">
                  <c:v>2011.0000000002287</c:v>
                </c:pt>
                <c:pt idx="1">
                  <c:v>2012.0000000002287</c:v>
                </c:pt>
                <c:pt idx="2">
                  <c:v>2013.0000000002287</c:v>
                </c:pt>
              </c:numCache>
            </c:numRef>
          </c:xVal>
          <c:yVal>
            <c:numRef>
              <c:f>Sheet1!$B$7:$D$7</c:f>
              <c:numCache>
                <c:formatCode>General</c:formatCode>
                <c:ptCount val="3"/>
                <c:pt idx="0">
                  <c:v>7.0000000000007958</c:v>
                </c:pt>
                <c:pt idx="1">
                  <c:v>10.000000000001137</c:v>
                </c:pt>
                <c:pt idx="2">
                  <c:v>7.000000000000795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0403-4FAA-B6EA-121A11406128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</c:strCache>
            </c:strRef>
          </c:tx>
          <c:spPr>
            <a:ln w="76197">
              <a:solidFill>
                <a:schemeClr val="hlink"/>
              </a:solidFill>
              <a:prstDash val="solid"/>
            </a:ln>
          </c:spPr>
          <c:marker>
            <c:symbol val="plus"/>
            <c:size val="17"/>
            <c:spPr>
              <a:noFill/>
              <a:ln>
                <a:solidFill>
                  <a:srgbClr val="008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B-0403-4FAA-B6EA-121A11406128}"/>
              </c:ext>
            </c:extLst>
          </c:dPt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0403-4FAA-B6EA-121A11406128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0403-4FAA-B6EA-121A11406128}"/>
              </c:ext>
            </c:extLst>
          </c:dPt>
          <c:xVal>
            <c:numRef>
              <c:f>Sheet1!$B$1:$D$1</c:f>
              <c:numCache>
                <c:formatCode>General</c:formatCode>
                <c:ptCount val="3"/>
                <c:pt idx="0">
                  <c:v>2011.0000000002287</c:v>
                </c:pt>
                <c:pt idx="1">
                  <c:v>2012.0000000002287</c:v>
                </c:pt>
                <c:pt idx="2">
                  <c:v>2013.0000000002287</c:v>
                </c:pt>
              </c:numCache>
            </c:numRef>
          </c:xVal>
          <c:yVal>
            <c:numRef>
              <c:f>Sheet1!$B$8:$D$8</c:f>
              <c:numCache>
                <c:formatCode>General</c:formatCode>
                <c:ptCount val="3"/>
                <c:pt idx="0">
                  <c:v>8.0000000000009095</c:v>
                </c:pt>
                <c:pt idx="1">
                  <c:v>11.000000000001251</c:v>
                </c:pt>
                <c:pt idx="2">
                  <c:v>8.00000000000090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0403-4FAA-B6EA-121A11406128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</c:strCache>
            </c:strRef>
          </c:tx>
          <c:spPr>
            <a:ln w="76197">
              <a:solidFill>
                <a:schemeClr val="folHlink"/>
              </a:solidFill>
              <a:prstDash val="solid"/>
            </a:ln>
          </c:spPr>
          <c:marker>
            <c:symbol val="none"/>
          </c:marker>
          <c:xVal>
            <c:numRef>
              <c:f>Sheet1!$B$1:$D$1</c:f>
              <c:numCache>
                <c:formatCode>General</c:formatCode>
                <c:ptCount val="3"/>
                <c:pt idx="0">
                  <c:v>2011.0000000002287</c:v>
                </c:pt>
                <c:pt idx="1">
                  <c:v>2012.0000000002287</c:v>
                </c:pt>
                <c:pt idx="2">
                  <c:v>2013.0000000002287</c:v>
                </c:pt>
              </c:numCache>
            </c:numRef>
          </c:xVal>
          <c:yVal>
            <c:numRef>
              <c:f>Sheet1!$B$9:$D$9</c:f>
              <c:numCache>
                <c:formatCode>General</c:formatCode>
                <c:ptCount val="3"/>
                <c:pt idx="0">
                  <c:v>9.0000000000010232</c:v>
                </c:pt>
                <c:pt idx="1">
                  <c:v>12.000000000001364</c:v>
                </c:pt>
                <c:pt idx="2">
                  <c:v>9.00000000000102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0403-4FAA-B6EA-121A114061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36000736"/>
        <c:axId val="1"/>
      </c:scatterChart>
      <c:valAx>
        <c:axId val="1336000736"/>
        <c:scaling>
          <c:orientation val="minMax"/>
          <c:max val="2013"/>
          <c:min val="2011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76197">
            <a:solidFill>
              <a:srgbClr val="7F7F7F"/>
            </a:solidFill>
            <a:prstDash val="solid"/>
          </a:ln>
        </c:spPr>
        <c:crossAx val="1"/>
        <c:crossesAt val="0"/>
        <c:crossBetween val="midCat"/>
        <c:majorUnit val="1"/>
      </c:valAx>
      <c:valAx>
        <c:axId val="1"/>
        <c:scaling>
          <c:orientation val="minMax"/>
          <c:max val="12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25399">
            <a:solidFill>
              <a:srgbClr val="7F7F7F"/>
            </a:solidFill>
            <a:prstDash val="solid"/>
          </a:ln>
        </c:spPr>
        <c:crossAx val="1336000736"/>
        <c:crossesAt val="2011"/>
        <c:crossBetween val="midCat"/>
        <c:majorUnit val="1"/>
      </c:valAx>
      <c:spPr>
        <a:noFill/>
        <a:ln w="5079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4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539579967689823E-2"/>
          <c:y val="2.2784810126582278E-2"/>
          <c:w val="0.97738287560581583"/>
          <c:h val="0.9645569620253164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CDDFFE"/>
            </a:solidFill>
            <a:ln w="25400">
              <a:solidFill>
                <a:srgbClr val="CDDFFE"/>
              </a:solidFill>
              <a:prstDash val="solid"/>
            </a:ln>
          </c:spPr>
          <c:invertIfNegative val="0"/>
          <c:dLbls>
            <c:spPr>
              <a:noFill/>
              <a:ln w="507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#.##0"%";\-#.##0"%"</c:formatCode>
                <c:ptCount val="3"/>
                <c:pt idx="0">
                  <c:v>10.000000000001137</c:v>
                </c:pt>
                <c:pt idx="1">
                  <c:v>10.000000000001137</c:v>
                </c:pt>
                <c:pt idx="2">
                  <c:v>10.000000000001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68-4BA9-9E88-1AAEC47FB5C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/>
            </a:solidFill>
            <a:ln w="25400">
              <a:solidFill>
                <a:schemeClr val="accent2"/>
              </a:solidFill>
              <a:prstDash val="solid"/>
            </a:ln>
          </c:spPr>
          <c:invertIfNegative val="0"/>
          <c:dLbls>
            <c:spPr>
              <a:noFill/>
              <a:ln w="507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#.##0"%";\-#.##0"%"</c:formatCode>
                <c:ptCount val="3"/>
                <c:pt idx="0">
                  <c:v>10.000000000001137</c:v>
                </c:pt>
                <c:pt idx="1">
                  <c:v>10.000000000001137</c:v>
                </c:pt>
                <c:pt idx="2">
                  <c:v>10.000000000001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68-4BA9-9E88-1AAEC47FB5C9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accent1"/>
            </a:solidFill>
            <a:ln w="25400">
              <a:solidFill>
                <a:schemeClr val="accent1"/>
              </a:solidFill>
              <a:prstDash val="solid"/>
            </a:ln>
          </c:spPr>
          <c:invertIfNegative val="0"/>
          <c:dLbls>
            <c:spPr>
              <a:noFill/>
              <a:ln w="507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4:$D$4</c:f>
              <c:numCache>
                <c:formatCode>#.##0"%";\-#.##0"%"</c:formatCode>
                <c:ptCount val="3"/>
                <c:pt idx="0">
                  <c:v>10.00000000000114</c:v>
                </c:pt>
                <c:pt idx="1">
                  <c:v>10.00000000000114</c:v>
                </c:pt>
                <c:pt idx="2">
                  <c:v>10.00000000000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68-4BA9-9E88-1AAEC47FB5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8417439"/>
        <c:axId val="1"/>
      </c:barChart>
      <c:catAx>
        <c:axId val="1484174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76199">
            <a:solidFill>
              <a:srgbClr val="7F7F7F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30.000000000000004"/>
          <c:min val="0"/>
        </c:scaling>
        <c:delete val="0"/>
        <c:axPos val="l"/>
        <c:numFmt formatCode="#.##0&quot;%&quot;;\-#.##0&quot;%&quot;" sourceLinked="1"/>
        <c:majorTickMark val="none"/>
        <c:minorTickMark val="none"/>
        <c:tickLblPos val="none"/>
        <c:spPr>
          <a:ln w="12700">
            <a:noFill/>
          </a:ln>
        </c:spPr>
        <c:crossAx val="148417439"/>
        <c:crosses val="autoZero"/>
        <c:crossBetween val="between"/>
      </c:valAx>
      <c:spPr>
        <a:noFill/>
        <a:ln w="507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4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363636363636364E-2"/>
          <c:y val="2.0460358056265986E-2"/>
          <c:w val="0.98153409090909094"/>
          <c:h val="0.969309462915601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CDDFFE"/>
            </a:solidFill>
            <a:ln w="25399">
              <a:solidFill>
                <a:srgbClr val="CDDFFE"/>
              </a:solidFill>
              <a:prstDash val="solid"/>
            </a:ln>
          </c:spPr>
          <c:invertIfNegative val="0"/>
          <c:dLbls>
            <c:spPr>
              <a:noFill/>
              <a:ln w="50798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#.##0;\-#.##0</c:formatCode>
                <c:ptCount val="3"/>
                <c:pt idx="0">
                  <c:v>12.900000000001468</c:v>
                </c:pt>
                <c:pt idx="1">
                  <c:v>21.800000000002481</c:v>
                </c:pt>
                <c:pt idx="2">
                  <c:v>35.100000000003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1A-4825-A165-D3F0A7F86F1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/>
            </a:solidFill>
            <a:ln w="25399">
              <a:solidFill>
                <a:schemeClr val="accent2"/>
              </a:solidFill>
              <a:prstDash val="solid"/>
            </a:ln>
          </c:spPr>
          <c:invertIfNegative val="0"/>
          <c:dLbls>
            <c:spPr>
              <a:noFill/>
              <a:ln w="50798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#.##0;\-#.##0</c:formatCode>
                <c:ptCount val="3"/>
                <c:pt idx="0">
                  <c:v>5.1000000000005796</c:v>
                </c:pt>
                <c:pt idx="1">
                  <c:v>3.9000000000004418</c:v>
                </c:pt>
                <c:pt idx="2">
                  <c:v>7.20000000000082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1A-4825-A165-D3F0A7F86F13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accent1"/>
            </a:solidFill>
            <a:ln w="25399">
              <a:solidFill>
                <a:schemeClr val="accent1"/>
              </a:solidFill>
              <a:prstDash val="solid"/>
            </a:ln>
          </c:spPr>
          <c:invertIfNegative val="0"/>
          <c:dLbls>
            <c:spPr>
              <a:noFill/>
              <a:ln w="50798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4:$D$4</c:f>
              <c:numCache>
                <c:formatCode>#.##0;\-#.##0</c:formatCode>
                <c:ptCount val="3"/>
                <c:pt idx="0">
                  <c:v>3.5000000000003979</c:v>
                </c:pt>
                <c:pt idx="1">
                  <c:v>5.3000000000006029</c:v>
                </c:pt>
                <c:pt idx="2">
                  <c:v>4.10000000000046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1A-4825-A165-D3F0A7F86F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4558352"/>
        <c:axId val="1"/>
      </c:barChart>
      <c:catAx>
        <c:axId val="584558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76197">
            <a:solidFill>
              <a:srgbClr val="7F7F7F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46.400000000000006"/>
          <c:min val="0"/>
        </c:scaling>
        <c:delete val="0"/>
        <c:axPos val="l"/>
        <c:numFmt formatCode="#.##0;\-#.##0" sourceLinked="1"/>
        <c:majorTickMark val="none"/>
        <c:minorTickMark val="none"/>
        <c:tickLblPos val="none"/>
        <c:spPr>
          <a:ln w="12700">
            <a:noFill/>
          </a:ln>
        </c:spPr>
        <c:crossAx val="584558352"/>
        <c:crosses val="autoZero"/>
        <c:crossBetween val="between"/>
      </c:valAx>
      <c:spPr>
        <a:noFill/>
        <a:ln w="5079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4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00-4799-A533-2466C182DFA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00-4799-A533-2466C182DFA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00-4799-A533-2466C182DFA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600-4799-A533-2466C182DF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437084224"/>
        <c:axId val="-1437081232"/>
      </c:barChart>
      <c:catAx>
        <c:axId val="-14370842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1437081232"/>
        <c:crosses val="autoZero"/>
        <c:auto val="1"/>
        <c:lblAlgn val="ctr"/>
        <c:lblOffset val="100"/>
        <c:noMultiLvlLbl val="0"/>
      </c:catAx>
      <c:valAx>
        <c:axId val="-143708123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2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143708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432098765432098E-2"/>
          <c:y val="2.0460358056265986E-2"/>
          <c:w val="0.97685185185185186"/>
          <c:h val="0.96930946291560105"/>
        </c:manualLayout>
      </c:layout>
      <c:areaChart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hlink"/>
            </a:solidFill>
            <a:ln w="25399">
              <a:solidFill>
                <a:schemeClr val="hlink"/>
              </a:solidFill>
              <a:prstDash val="solid"/>
            </a:ln>
          </c:spPr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General</c:formatCode>
                <c:ptCount val="3"/>
                <c:pt idx="0">
                  <c:v>3.0000000000003411</c:v>
                </c:pt>
                <c:pt idx="1">
                  <c:v>4.0000000000004547</c:v>
                </c:pt>
                <c:pt idx="2">
                  <c:v>2.00000000000022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07-4923-8E57-6F1141CF1785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7FBA25"/>
            </a:solidFill>
            <a:ln w="25399">
              <a:solidFill>
                <a:srgbClr val="7FBA25"/>
              </a:solidFill>
              <a:prstDash val="solid"/>
            </a:ln>
          </c:spPr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General</c:formatCode>
                <c:ptCount val="3"/>
                <c:pt idx="0">
                  <c:v>2.0000000000002274</c:v>
                </c:pt>
                <c:pt idx="1">
                  <c:v>1.0000000000001137</c:v>
                </c:pt>
                <c:pt idx="2">
                  <c:v>0.500000000000056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E07-4923-8E57-6F1141CF1785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D7D7D7"/>
            </a:solidFill>
            <a:ln w="25399">
              <a:solidFill>
                <a:srgbClr val="D7D7D7"/>
              </a:solidFill>
              <a:prstDash val="solid"/>
            </a:ln>
          </c:spPr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4:$D$4</c:f>
              <c:numCache>
                <c:formatCode>General</c:formatCode>
                <c:ptCount val="3"/>
                <c:pt idx="0">
                  <c:v>1.0000000000001137</c:v>
                </c:pt>
                <c:pt idx="1">
                  <c:v>1.0000000000001137</c:v>
                </c:pt>
                <c:pt idx="2">
                  <c:v>1.0000000000001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E07-4923-8E57-6F1141CF1785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0C0C0"/>
            </a:solidFill>
            <a:ln w="25399">
              <a:solidFill>
                <a:srgbClr val="C0C0C0"/>
              </a:solidFill>
              <a:prstDash val="solid"/>
            </a:ln>
          </c:spPr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5:$D$5</c:f>
              <c:numCache>
                <c:formatCode>General</c:formatCode>
                <c:ptCount val="3"/>
                <c:pt idx="0">
                  <c:v>1.0000000000001137</c:v>
                </c:pt>
                <c:pt idx="1">
                  <c:v>3.0000000000003411</c:v>
                </c:pt>
                <c:pt idx="2">
                  <c:v>2.00000000000022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E07-4923-8E57-6F1141CF1785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CDDFFE"/>
            </a:solidFill>
            <a:ln w="25399">
              <a:solidFill>
                <a:srgbClr val="CDDFFE"/>
              </a:solidFill>
              <a:prstDash val="solid"/>
            </a:ln>
          </c:spPr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6:$D$6</c:f>
              <c:numCache>
                <c:formatCode>General</c:formatCode>
                <c:ptCount val="3"/>
                <c:pt idx="0">
                  <c:v>6.0000000000006821</c:v>
                </c:pt>
                <c:pt idx="1">
                  <c:v>5.0000000000005684</c:v>
                </c:pt>
                <c:pt idx="2">
                  <c:v>4.0000000000004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E07-4923-8E57-6F1141CF1785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</c:strCache>
            </c:strRef>
          </c:tx>
          <c:spPr>
            <a:solidFill>
              <a:schemeClr val="accent2"/>
            </a:solidFill>
            <a:ln w="25399">
              <a:solidFill>
                <a:schemeClr val="accent2"/>
              </a:solidFill>
              <a:prstDash val="solid"/>
            </a:ln>
          </c:spPr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7:$D$7</c:f>
              <c:numCache>
                <c:formatCode>General</c:formatCode>
                <c:ptCount val="3"/>
                <c:pt idx="0">
                  <c:v>5.0000000000005684</c:v>
                </c:pt>
                <c:pt idx="1">
                  <c:v>3.0000000000003411</c:v>
                </c:pt>
                <c:pt idx="2">
                  <c:v>2.00000000000022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E07-4923-8E57-6F1141CF1785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</c:strCache>
            </c:strRef>
          </c:tx>
          <c:spPr>
            <a:solidFill>
              <a:schemeClr val="accent1"/>
            </a:solidFill>
            <a:ln w="25399">
              <a:solidFill>
                <a:schemeClr val="accent1"/>
              </a:solidFill>
              <a:prstDash val="solid"/>
            </a:ln>
          </c:spPr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8:$D$8</c:f>
              <c:numCache>
                <c:formatCode>General</c:formatCode>
                <c:ptCount val="3"/>
                <c:pt idx="0">
                  <c:v>4.0000000000004547</c:v>
                </c:pt>
                <c:pt idx="1">
                  <c:v>5.0000000000005684</c:v>
                </c:pt>
                <c:pt idx="2">
                  <c:v>3.00000000000034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E07-4923-8E57-6F1141CF17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5539200"/>
        <c:axId val="1"/>
      </c:areaChart>
      <c:catAx>
        <c:axId val="1365539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76197">
            <a:solidFill>
              <a:srgbClr val="7F7F7F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22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25399">
            <a:solidFill>
              <a:srgbClr val="7F7F7F"/>
            </a:solidFill>
            <a:prstDash val="solid"/>
          </a:ln>
        </c:spPr>
        <c:crossAx val="1365539200"/>
        <c:crosses val="autoZero"/>
        <c:crossBetween val="midCat"/>
        <c:majorUnit val="2"/>
      </c:valAx>
      <c:spPr>
        <a:noFill/>
        <a:ln w="50798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24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91240875912416E-3"/>
          <c:y val="2.0460358056265986E-2"/>
          <c:w val="0.98248175182481756"/>
          <c:h val="0.969309462915601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noFill/>
            <a:ln w="50798">
              <a:noFill/>
            </a:ln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General</c:formatCode>
                <c:ptCount val="3"/>
                <c:pt idx="1">
                  <c:v>10.000000000001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9E-44C6-A820-A72F3117881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CDDFFE"/>
            </a:solidFill>
            <a:ln w="25399">
              <a:solidFill>
                <a:srgbClr val="CDDFFE"/>
              </a:solidFill>
              <a:prstDash val="solid"/>
            </a:ln>
          </c:spPr>
          <c:invertIfNegative val="0"/>
          <c:dLbls>
            <c:spPr>
              <a:noFill/>
              <a:ln w="50798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#.##0;#.##0</c:formatCode>
                <c:ptCount val="3"/>
                <c:pt idx="0">
                  <c:v>2.0000000000002274</c:v>
                </c:pt>
                <c:pt idx="1">
                  <c:v>2.0000000000002274</c:v>
                </c:pt>
                <c:pt idx="2">
                  <c:v>4.0000000000004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9E-44C6-A820-A72F31178819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accent2"/>
            </a:solidFill>
            <a:ln w="25399">
              <a:solidFill>
                <a:schemeClr val="accent2"/>
              </a:solidFill>
              <a:prstDash val="solid"/>
            </a:ln>
          </c:spPr>
          <c:invertIfNegative val="0"/>
          <c:dLbls>
            <c:spPr>
              <a:noFill/>
              <a:ln w="50798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4:$D$4</c:f>
              <c:numCache>
                <c:formatCode>#.##0;#.##0</c:formatCode>
                <c:ptCount val="3"/>
                <c:pt idx="0">
                  <c:v>4.0000000000004547</c:v>
                </c:pt>
                <c:pt idx="1">
                  <c:v>6.0000000000006821</c:v>
                </c:pt>
                <c:pt idx="2">
                  <c:v>10.000000000001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9E-44C6-A820-A72F31178819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chemeClr val="accent1"/>
            </a:solidFill>
            <a:ln w="25399">
              <a:solidFill>
                <a:srgbClr val="7F7F7F"/>
              </a:solidFill>
              <a:prstDash val="solid"/>
            </a:ln>
          </c:spPr>
          <c:invertIfNegative val="0"/>
          <c:dLbls>
            <c:spPr>
              <a:noFill/>
              <a:ln w="50798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5:$D$5</c:f>
              <c:numCache>
                <c:formatCode>#.##0;#.##0</c:formatCode>
                <c:ptCount val="3"/>
                <c:pt idx="0">
                  <c:v>4.0000000000004547</c:v>
                </c:pt>
                <c:pt idx="1">
                  <c:v>3.0000000000003411</c:v>
                </c:pt>
                <c:pt idx="2">
                  <c:v>7.00000000000079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A9E-44C6-A820-A72F311788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81109808"/>
        <c:axId val="1"/>
      </c:barChart>
      <c:catAx>
        <c:axId val="1281109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76197">
            <a:solidFill>
              <a:srgbClr val="7F7F7F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21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12700">
            <a:noFill/>
          </a:ln>
        </c:spPr>
        <c:crossAx val="1281109808"/>
        <c:crosses val="autoZero"/>
        <c:crossBetween val="between"/>
      </c:valAx>
      <c:spPr>
        <a:noFill/>
        <a:ln w="5079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4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F8C-4729-BAA1-3BCEEA6BB121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F8C-4729-BAA1-3BCEEA6BB12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0</c:v>
                </c:pt>
                <c:pt idx="1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F8C-4729-BAA1-3BCEEA6BB1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AA-4864-8CAE-6662E4270CE8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AA-4864-8CAE-6662E4270CE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5</c:v>
                </c:pt>
                <c:pt idx="1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AA-4864-8CAE-6662E4270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DE4-4E03-B931-FF44C16C31ED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DE4-4E03-B931-FF44C16C31E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DE4-4E03-B931-FF44C16C3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A59-40B8-B2A1-8B2C67C0913D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A59-40B8-B2A1-8B2C67C0913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0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A59-40B8-B2A1-8B2C67C091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2E-492F-8188-1BB04520FCF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2E-492F-8188-1BB04520FCF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62E-492F-8188-1BB04520FC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4"/>
        <c:overlap val="-90"/>
        <c:axId val="-1437026368"/>
        <c:axId val="-1437023616"/>
      </c:barChart>
      <c:catAx>
        <c:axId val="-14370263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venir Book" charset="0"/>
                <a:ea typeface="Avenir Book" charset="0"/>
                <a:cs typeface="Avenir Book" charset="0"/>
              </a:defRPr>
            </a:pPr>
            <a:endParaRPr lang="de-DE"/>
          </a:p>
        </c:txPr>
        <c:crossAx val="-1437023616"/>
        <c:crosses val="autoZero"/>
        <c:auto val="1"/>
        <c:lblAlgn val="ctr"/>
        <c:lblOffset val="100"/>
        <c:noMultiLvlLbl val="0"/>
      </c:catAx>
      <c:valAx>
        <c:axId val="-14370236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1437026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11111111111111E-2"/>
          <c:y val="0.19101123595505617"/>
          <c:w val="0.94444444444444442"/>
          <c:h val="0.74719101123595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50799">
              <a:noFill/>
            </a:ln>
          </c:spPr>
          <c:invertIfNegative val="0"/>
          <c:dLbls>
            <c:dLbl>
              <c:idx val="0"/>
              <c:layout>
                <c:manualLayout>
                  <c:x val="1.6703799778605255E-2"/>
                  <c:y val="-3.0562681924531154E-2"/>
                </c:manualLayout>
              </c:layout>
              <c:spPr>
                <a:noFill/>
                <a:ln w="50799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667-43E3-A304-DB506E304FF4}"/>
                </c:ext>
              </c:extLst>
            </c:dLbl>
            <c:dLbl>
              <c:idx val="1"/>
              <c:layout>
                <c:manualLayout>
                  <c:x val="1.5222365333972476E-2"/>
                  <c:y val="-3.5244278203973689E-2"/>
                </c:manualLayout>
              </c:layout>
              <c:spPr>
                <a:noFill/>
                <a:ln w="50799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667-43E3-A304-DB506E304FF4}"/>
                </c:ext>
              </c:extLst>
            </c:dLbl>
            <c:dLbl>
              <c:idx val="2"/>
              <c:layout>
                <c:manualLayout>
                  <c:xMode val="edge"/>
                  <c:yMode val="edge"/>
                  <c:x val="0.7088888888888889"/>
                  <c:y val="3.9325842696629212E-2"/>
                </c:manualLayout>
              </c:layout>
              <c:spPr>
                <a:noFill/>
                <a:ln w="50799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667-43E3-A304-DB506E304FF4}"/>
                </c:ext>
              </c:extLst>
            </c:dLbl>
            <c:spPr>
              <a:noFill/>
              <a:ln w="507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#.##00;\-#.##00</c:formatCode>
                <c:ptCount val="3"/>
                <c:pt idx="0">
                  <c:v>4.1000000000004659</c:v>
                </c:pt>
                <c:pt idx="1">
                  <c:v>5.300000000000602</c:v>
                </c:pt>
                <c:pt idx="2">
                  <c:v>7.2000000000008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667-43E3-A304-DB506E304FF4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/>
            </a:solidFill>
            <a:ln w="50799">
              <a:noFill/>
            </a:ln>
          </c:spPr>
          <c:invertIfNegative val="0"/>
          <c:dLbls>
            <c:dLbl>
              <c:idx val="0"/>
              <c:layout>
                <c:manualLayout>
                  <c:x val="1.7697454063001078E-2"/>
                  <c:y val="-3.1967253797502093E-2"/>
                </c:manualLayout>
              </c:layout>
              <c:spPr>
                <a:noFill/>
                <a:ln w="50799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667-43E3-A304-DB506E304FF4}"/>
                </c:ext>
              </c:extLst>
            </c:dLbl>
            <c:dLbl>
              <c:idx val="1"/>
              <c:layout>
                <c:manualLayout>
                  <c:x val="1.6216019618368271E-2"/>
                  <c:y val="-3.0172431050426718E-2"/>
                </c:manualLayout>
              </c:layout>
              <c:spPr>
                <a:noFill/>
                <a:ln w="50799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667-43E3-A304-DB506E304FF4}"/>
                </c:ext>
              </c:extLst>
            </c:dLbl>
            <c:dLbl>
              <c:idx val="2"/>
              <c:layout>
                <c:manualLayout>
                  <c:x val="1.4734585173735715E-2"/>
                  <c:y val="-2.9236337164046777E-2"/>
                </c:manualLayout>
              </c:layout>
              <c:spPr>
                <a:noFill/>
                <a:ln w="50799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667-43E3-A304-DB506E304FF4}"/>
                </c:ext>
              </c:extLst>
            </c:dLbl>
            <c:spPr>
              <a:noFill/>
              <a:ln w="507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#.##00;\-#.##00</c:formatCode>
                <c:ptCount val="3"/>
                <c:pt idx="0">
                  <c:v>2.3000000000002614</c:v>
                </c:pt>
                <c:pt idx="1">
                  <c:v>3.4000000000003863</c:v>
                </c:pt>
                <c:pt idx="2">
                  <c:v>4.60000000000052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667-43E3-A304-DB506E304FF4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accent3">
                <a:lumMod val="75000"/>
              </a:schemeClr>
            </a:solidFill>
            <a:ln w="50799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6667-43E3-A304-DB506E304FF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6667-43E3-A304-DB506E304FF4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6667-43E3-A304-DB506E304FF4}"/>
              </c:ext>
            </c:extLst>
          </c:dPt>
          <c:dLbls>
            <c:dLbl>
              <c:idx val="0"/>
              <c:layout>
                <c:manualLayout>
                  <c:x val="6.6816125825862605E-3"/>
                  <c:y val="-2.6739239781249258E-2"/>
                </c:manualLayout>
              </c:layout>
              <c:spPr>
                <a:noFill/>
                <a:ln w="50799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667-43E3-A304-DB506E304FF4}"/>
                </c:ext>
              </c:extLst>
            </c:dLbl>
            <c:dLbl>
              <c:idx val="1"/>
              <c:layout>
                <c:manualLayout>
                  <c:x val="1.7209673902764178E-2"/>
                  <c:y val="-3.0640621674750457E-2"/>
                </c:manualLayout>
              </c:layout>
              <c:spPr>
                <a:noFill/>
                <a:ln w="50799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667-43E3-A304-DB506E304FF4}"/>
                </c:ext>
              </c:extLst>
            </c:dLbl>
            <c:dLbl>
              <c:idx val="2"/>
              <c:layout>
                <c:manualLayout>
                  <c:x val="1.5728239458131399E-2"/>
                  <c:y val="-3.5244278203973689E-2"/>
                </c:manualLayout>
              </c:layout>
              <c:spPr>
                <a:noFill/>
                <a:ln w="50799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667-43E3-A304-DB506E304FF4}"/>
                </c:ext>
              </c:extLst>
            </c:dLbl>
            <c:spPr>
              <a:noFill/>
              <a:ln w="507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4:$D$4</c:f>
              <c:numCache>
                <c:formatCode>#.##00;\-#.##00</c:formatCode>
                <c:ptCount val="3"/>
                <c:pt idx="0">
                  <c:v>3.0000000000003411</c:v>
                </c:pt>
                <c:pt idx="1">
                  <c:v>2.8000000000003182</c:v>
                </c:pt>
                <c:pt idx="2">
                  <c:v>5.3000000000006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667-43E3-A304-DB506E304F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1404123248"/>
        <c:axId val="1"/>
      </c:barChart>
      <c:catAx>
        <c:axId val="1404123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5">
            <a:solidFill>
              <a:srgbClr val="7F7F7F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7.2"/>
          <c:min val="0"/>
        </c:scaling>
        <c:delete val="0"/>
        <c:axPos val="l"/>
        <c:numFmt formatCode="#.##00;\-#.##00" sourceLinked="1"/>
        <c:majorTickMark val="none"/>
        <c:minorTickMark val="none"/>
        <c:tickLblPos val="none"/>
        <c:spPr>
          <a:ln w="12700">
            <a:noFill/>
          </a:ln>
        </c:spPr>
        <c:crossAx val="1404123248"/>
        <c:crosses val="autoZero"/>
        <c:crossBetween val="between"/>
      </c:valAx>
      <c:spPr>
        <a:noFill/>
        <a:ln w="507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4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27593818984545E-2"/>
          <c:y val="0.19101123595505617"/>
          <c:w val="0.9381898454746137"/>
          <c:h val="0.74719101123595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50798">
              <a:noFill/>
            </a:ln>
          </c:spPr>
          <c:invertIfNegative val="0"/>
          <c:dLbls>
            <c:dLbl>
              <c:idx val="0"/>
              <c:layout>
                <c:manualLayout>
                  <c:x val="1.6596026520449406E-2"/>
                  <c:y val="-3.0562681924531154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B64-4DC3-87F5-673A103894B4}"/>
                </c:ext>
              </c:extLst>
            </c:dLbl>
            <c:dLbl>
              <c:idx val="1"/>
              <c:layout>
                <c:manualLayout>
                  <c:x val="1.7331872327485509E-2"/>
                  <c:y val="-3.5244278203973689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B64-4DC3-87F5-673A103894B4}"/>
                </c:ext>
              </c:extLst>
            </c:dLbl>
            <c:dLbl>
              <c:idx val="2"/>
              <c:layout>
                <c:manualLayout>
                  <c:xMode val="edge"/>
                  <c:yMode val="edge"/>
                  <c:x val="0.71302428256070638"/>
                  <c:y val="3.9325842696629212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B64-4DC3-87F5-673A103894B4}"/>
                </c:ext>
              </c:extLst>
            </c:dLbl>
            <c:spPr>
              <a:noFill/>
              <a:ln w="50798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#.##00;\-#.##00</c:formatCode>
                <c:ptCount val="3"/>
                <c:pt idx="0">
                  <c:v>4.1000000000004659</c:v>
                </c:pt>
                <c:pt idx="1">
                  <c:v>5.300000000000602</c:v>
                </c:pt>
                <c:pt idx="2">
                  <c:v>7.2000000000008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B64-4DC3-87F5-673A103894B4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/>
            </a:solidFill>
            <a:ln w="50798">
              <a:noFill/>
            </a:ln>
          </c:spPr>
          <c:invertIfNegative val="0"/>
          <c:dLbls>
            <c:dLbl>
              <c:idx val="0"/>
              <c:layout>
                <c:manualLayout>
                  <c:x val="1.5375731458095288E-2"/>
                  <c:y val="-3.1967253797502093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64-4DC3-87F5-673A103894B4}"/>
                </c:ext>
              </c:extLst>
            </c:dLbl>
            <c:dLbl>
              <c:idx val="1"/>
              <c:layout>
                <c:manualLayout>
                  <c:x val="1.6111577265131349E-2"/>
                  <c:y val="-3.0172431050426718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B64-4DC3-87F5-673A103894B4}"/>
                </c:ext>
              </c:extLst>
            </c:dLbl>
            <c:dLbl>
              <c:idx val="2"/>
              <c:layout>
                <c:manualLayout>
                  <c:x val="1.6847423072167467E-2"/>
                  <c:y val="-2.9236337164046777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B64-4DC3-87F5-673A103894B4}"/>
                </c:ext>
              </c:extLst>
            </c:dLbl>
            <c:spPr>
              <a:noFill/>
              <a:ln w="50798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#.##00;\-#.##00</c:formatCode>
                <c:ptCount val="3"/>
                <c:pt idx="0">
                  <c:v>2.3000000000002614</c:v>
                </c:pt>
                <c:pt idx="1">
                  <c:v>3.4000000000003863</c:v>
                </c:pt>
                <c:pt idx="2">
                  <c:v>4.60000000000052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B64-4DC3-87F5-673A103894B4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accent3">
                <a:lumMod val="75000"/>
              </a:schemeClr>
            </a:solidFill>
            <a:ln w="50798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CB64-4DC3-87F5-673A103894B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CB64-4DC3-87F5-673A103894B4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CB64-4DC3-87F5-673A103894B4}"/>
              </c:ext>
            </c:extLst>
          </c:dPt>
          <c:dLbls>
            <c:dLbl>
              <c:idx val="0"/>
              <c:layout>
                <c:manualLayout>
                  <c:x val="6.6397734459558988E-3"/>
                  <c:y val="-2.6739239781249258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B64-4DC3-87F5-673A103894B4}"/>
                </c:ext>
              </c:extLst>
            </c:dLbl>
            <c:dLbl>
              <c:idx val="1"/>
              <c:layout>
                <c:manualLayout>
                  <c:x val="1.4891167506252856E-2"/>
                  <c:y val="-3.0640621674750457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B64-4DC3-87F5-673A103894B4}"/>
                </c:ext>
              </c:extLst>
            </c:dLbl>
            <c:dLbl>
              <c:idx val="2"/>
              <c:layout>
                <c:manualLayout>
                  <c:x val="1.5627013313288862E-2"/>
                  <c:y val="-3.5244278203973689E-2"/>
                </c:manualLayout>
              </c:layout>
              <c:spPr>
                <a:noFill/>
                <a:ln w="50798">
                  <a:noFill/>
                </a:ln>
              </c:spPr>
              <c:txPr>
                <a:bodyPr/>
                <a:lstStyle/>
                <a:p>
                  <a:pPr>
                    <a:defRPr sz="24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B64-4DC3-87F5-673A103894B4}"/>
                </c:ext>
              </c:extLst>
            </c:dLbl>
            <c:spPr>
              <a:noFill/>
              <a:ln w="50798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4:$D$4</c:f>
              <c:numCache>
                <c:formatCode>#.##00;\-#.##00</c:formatCode>
                <c:ptCount val="3"/>
                <c:pt idx="0">
                  <c:v>3.0000000000003411</c:v>
                </c:pt>
                <c:pt idx="1">
                  <c:v>2.8000000000003182</c:v>
                </c:pt>
                <c:pt idx="2">
                  <c:v>5.3000000000006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B64-4DC3-87F5-673A103894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1041981552"/>
        <c:axId val="1"/>
      </c:barChart>
      <c:catAx>
        <c:axId val="1041981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5">
            <a:solidFill>
              <a:srgbClr val="7F7F7F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7.2"/>
          <c:min val="0"/>
        </c:scaling>
        <c:delete val="0"/>
        <c:axPos val="l"/>
        <c:numFmt formatCode="#.##00;\-#.##00" sourceLinked="1"/>
        <c:majorTickMark val="none"/>
        <c:minorTickMark val="none"/>
        <c:tickLblPos val="none"/>
        <c:spPr>
          <a:ln w="12700">
            <a:noFill/>
          </a:ln>
        </c:spPr>
        <c:crossAx val="1041981552"/>
        <c:crosses val="autoZero"/>
        <c:crossBetween val="between"/>
      </c:valAx>
      <c:spPr>
        <a:noFill/>
        <a:ln w="5079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400" b="1" i="0" u="none" strike="noStrike" baseline="0">
          <a:solidFill>
            <a:schemeClr val="tx1"/>
          </a:solidFill>
          <a:latin typeface="Cambria"/>
          <a:ea typeface="Cambria"/>
          <a:cs typeface="Cambria"/>
        </a:defRPr>
      </a:pPr>
      <a:endParaRPr lang="de-DE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08-20T15:22:01.049" idx="10">
    <p:pos x="10" y="10"/>
    <p:text/>
    <p:extLst>
      <p:ext uri="{C676402C-5697-4E1C-873F-D02D1690AC5C}">
        <p15:threadingInfo xmlns:p15="http://schemas.microsoft.com/office/powerpoint/2012/main" timeZoneBias="-1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08-17T14:56:52.480" idx="9">
    <p:pos x="10" y="10"/>
    <p:text>Bessere Vorlage erstellen</p:text>
    <p:extLst>
      <p:ext uri="{C676402C-5697-4E1C-873F-D02D1690AC5C}">
        <p15:threadingInfo xmlns:p15="http://schemas.microsoft.com/office/powerpoint/2012/main" timeZoneBias="-12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F8E118-DB66-5E4A-8BBD-AFCA34A1D42F}" type="doc">
      <dgm:prSet loTypeId="urn:microsoft.com/office/officeart/2009/layout/CircleArrowProcess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E434163-9CC8-C949-9867-DFD42E7DCB7F}">
      <dgm:prSet phldrT="[Text]" custT="1"/>
      <dgm:spPr/>
      <dgm:t>
        <a:bodyPr/>
        <a:lstStyle/>
        <a:p>
          <a:r>
            <a:rPr lang="en-US" sz="3600" dirty="0"/>
            <a:t>Challenges</a:t>
          </a:r>
        </a:p>
      </dgm:t>
    </dgm:pt>
    <dgm:pt modelId="{F184296F-6EC2-C648-AA1F-A55878DA53E7}" type="parTrans" cxnId="{F3FB1AC2-C6C7-1B47-8DBA-1D3CC4B95B2E}">
      <dgm:prSet/>
      <dgm:spPr/>
      <dgm:t>
        <a:bodyPr/>
        <a:lstStyle/>
        <a:p>
          <a:endParaRPr lang="en-US" sz="3600"/>
        </a:p>
      </dgm:t>
    </dgm:pt>
    <dgm:pt modelId="{237D6E9F-253C-9349-92FF-99AA98B0DEF7}" type="sibTrans" cxnId="{F3FB1AC2-C6C7-1B47-8DBA-1D3CC4B95B2E}">
      <dgm:prSet/>
      <dgm:spPr/>
      <dgm:t>
        <a:bodyPr/>
        <a:lstStyle/>
        <a:p>
          <a:endParaRPr lang="en-US" sz="3600"/>
        </a:p>
      </dgm:t>
    </dgm:pt>
    <dgm:pt modelId="{681CAB01-7E85-304F-AD68-84ED32509CDA}">
      <dgm:prSet phldrT="[Text]" custT="1"/>
      <dgm:spPr/>
      <dgm:t>
        <a:bodyPr/>
        <a:lstStyle/>
        <a:p>
          <a:r>
            <a:rPr lang="en-US" sz="3600" dirty="0"/>
            <a:t>Strategy</a:t>
          </a:r>
        </a:p>
      </dgm:t>
    </dgm:pt>
    <dgm:pt modelId="{9BBAD924-95F1-BE4D-A5AF-45CC0F09D9B9}" type="parTrans" cxnId="{29284D57-2ED0-D74B-B0A1-DA92A2B8D205}">
      <dgm:prSet/>
      <dgm:spPr/>
      <dgm:t>
        <a:bodyPr/>
        <a:lstStyle/>
        <a:p>
          <a:endParaRPr lang="en-US" sz="3600"/>
        </a:p>
      </dgm:t>
    </dgm:pt>
    <dgm:pt modelId="{692C539E-D588-624B-ABB3-D567A3870309}" type="sibTrans" cxnId="{29284D57-2ED0-D74B-B0A1-DA92A2B8D205}">
      <dgm:prSet/>
      <dgm:spPr/>
      <dgm:t>
        <a:bodyPr/>
        <a:lstStyle/>
        <a:p>
          <a:endParaRPr lang="en-US" sz="3600"/>
        </a:p>
      </dgm:t>
    </dgm:pt>
    <dgm:pt modelId="{4C64E079-9961-424F-9BC2-FEC0175EBA2D}">
      <dgm:prSet phldrT="[Text]" custT="1"/>
      <dgm:spPr/>
      <dgm:t>
        <a:bodyPr/>
        <a:lstStyle/>
        <a:p>
          <a:r>
            <a:rPr lang="en-US" sz="3600" dirty="0"/>
            <a:t>Outcome</a:t>
          </a:r>
        </a:p>
      </dgm:t>
    </dgm:pt>
    <dgm:pt modelId="{718DCB2C-1983-C14B-98D4-F4DE048E1A84}" type="parTrans" cxnId="{51A602D8-3AAE-F542-BC78-CFB6C5D8364B}">
      <dgm:prSet/>
      <dgm:spPr/>
      <dgm:t>
        <a:bodyPr/>
        <a:lstStyle/>
        <a:p>
          <a:endParaRPr lang="en-US" sz="3600"/>
        </a:p>
      </dgm:t>
    </dgm:pt>
    <dgm:pt modelId="{D3DF35CF-0E0A-6C45-AA35-D5912E2C771E}" type="sibTrans" cxnId="{51A602D8-3AAE-F542-BC78-CFB6C5D8364B}">
      <dgm:prSet/>
      <dgm:spPr/>
      <dgm:t>
        <a:bodyPr/>
        <a:lstStyle/>
        <a:p>
          <a:endParaRPr lang="en-US" sz="3600"/>
        </a:p>
      </dgm:t>
    </dgm:pt>
    <dgm:pt modelId="{AFF8C470-9683-914F-8038-98BB86E1E99E}" type="pres">
      <dgm:prSet presAssocID="{85F8E118-DB66-5E4A-8BBD-AFCA34A1D42F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E3F99F4E-D473-6D48-BBE9-47BB1D10EB1F}" type="pres">
      <dgm:prSet presAssocID="{FE434163-9CC8-C949-9867-DFD42E7DCB7F}" presName="Accent1" presStyleCnt="0"/>
      <dgm:spPr/>
    </dgm:pt>
    <dgm:pt modelId="{A3EFF41B-6CA9-1148-898C-802AD4AC3096}" type="pres">
      <dgm:prSet presAssocID="{FE434163-9CC8-C949-9867-DFD42E7DCB7F}" presName="Accent" presStyleLbl="node1" presStyleIdx="0" presStyleCnt="3"/>
      <dgm:spPr>
        <a:solidFill>
          <a:schemeClr val="accent1"/>
        </a:solidFill>
      </dgm:spPr>
    </dgm:pt>
    <dgm:pt modelId="{AE2F84F9-C4FF-DE4B-B4CA-FB850704306F}" type="pres">
      <dgm:prSet presAssocID="{FE434163-9CC8-C949-9867-DFD42E7DCB7F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</dgm:pt>
    <dgm:pt modelId="{659CD29C-E5C0-8B40-879A-E310C0273C19}" type="pres">
      <dgm:prSet presAssocID="{681CAB01-7E85-304F-AD68-84ED32509CDA}" presName="Accent2" presStyleCnt="0"/>
      <dgm:spPr/>
    </dgm:pt>
    <dgm:pt modelId="{8A5520A8-A0A0-4245-A52F-ACEE9E7AB9E4}" type="pres">
      <dgm:prSet presAssocID="{681CAB01-7E85-304F-AD68-84ED32509CDA}" presName="Accent" presStyleLbl="node1" presStyleIdx="1" presStyleCnt="3"/>
      <dgm:spPr>
        <a:solidFill>
          <a:schemeClr val="accent2"/>
        </a:solidFill>
      </dgm:spPr>
    </dgm:pt>
    <dgm:pt modelId="{82D5CB78-0420-EB43-9C33-11717A6C2E98}" type="pres">
      <dgm:prSet presAssocID="{681CAB01-7E85-304F-AD68-84ED32509CDA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</dgm:pt>
    <dgm:pt modelId="{991FC3D3-7FCA-6F44-816F-98060ACDA519}" type="pres">
      <dgm:prSet presAssocID="{4C64E079-9961-424F-9BC2-FEC0175EBA2D}" presName="Accent3" presStyleCnt="0"/>
      <dgm:spPr/>
    </dgm:pt>
    <dgm:pt modelId="{22B2C583-FCBA-C54B-B5BE-9C649E92AF2C}" type="pres">
      <dgm:prSet presAssocID="{4C64E079-9961-424F-9BC2-FEC0175EBA2D}" presName="Accent" presStyleLbl="node1" presStyleIdx="2" presStyleCnt="3"/>
      <dgm:spPr>
        <a:solidFill>
          <a:schemeClr val="accent5"/>
        </a:solidFill>
      </dgm:spPr>
    </dgm:pt>
    <dgm:pt modelId="{714C56D7-D103-F548-8EC0-2F1893F61899}" type="pres">
      <dgm:prSet presAssocID="{4C64E079-9961-424F-9BC2-FEC0175EBA2D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C5123112-DE34-8346-B5E4-8EF7C0BA1D59}" type="presOf" srcId="{85F8E118-DB66-5E4A-8BBD-AFCA34A1D42F}" destId="{AFF8C470-9683-914F-8038-98BB86E1E99E}" srcOrd="0" destOrd="0" presId="urn:microsoft.com/office/officeart/2009/layout/CircleArrowProcess"/>
    <dgm:cxn modelId="{95E86B49-F454-9E41-BF6E-85987274E65B}" type="presOf" srcId="{4C64E079-9961-424F-9BC2-FEC0175EBA2D}" destId="{714C56D7-D103-F548-8EC0-2F1893F61899}" srcOrd="0" destOrd="0" presId="urn:microsoft.com/office/officeart/2009/layout/CircleArrowProcess"/>
    <dgm:cxn modelId="{29284D57-2ED0-D74B-B0A1-DA92A2B8D205}" srcId="{85F8E118-DB66-5E4A-8BBD-AFCA34A1D42F}" destId="{681CAB01-7E85-304F-AD68-84ED32509CDA}" srcOrd="1" destOrd="0" parTransId="{9BBAD924-95F1-BE4D-A5AF-45CC0F09D9B9}" sibTransId="{692C539E-D588-624B-ABB3-D567A3870309}"/>
    <dgm:cxn modelId="{44DF9186-B477-B04D-80B3-70C25E64E1F9}" type="presOf" srcId="{681CAB01-7E85-304F-AD68-84ED32509CDA}" destId="{82D5CB78-0420-EB43-9C33-11717A6C2E98}" srcOrd="0" destOrd="0" presId="urn:microsoft.com/office/officeart/2009/layout/CircleArrowProcess"/>
    <dgm:cxn modelId="{F3FB1AC2-C6C7-1B47-8DBA-1D3CC4B95B2E}" srcId="{85F8E118-DB66-5E4A-8BBD-AFCA34A1D42F}" destId="{FE434163-9CC8-C949-9867-DFD42E7DCB7F}" srcOrd="0" destOrd="0" parTransId="{F184296F-6EC2-C648-AA1F-A55878DA53E7}" sibTransId="{237D6E9F-253C-9349-92FF-99AA98B0DEF7}"/>
    <dgm:cxn modelId="{51A602D8-3AAE-F542-BC78-CFB6C5D8364B}" srcId="{85F8E118-DB66-5E4A-8BBD-AFCA34A1D42F}" destId="{4C64E079-9961-424F-9BC2-FEC0175EBA2D}" srcOrd="2" destOrd="0" parTransId="{718DCB2C-1983-C14B-98D4-F4DE048E1A84}" sibTransId="{D3DF35CF-0E0A-6C45-AA35-D5912E2C771E}"/>
    <dgm:cxn modelId="{5F14ABFE-C6D8-5C42-8FFB-FF8BEC329D01}" type="presOf" srcId="{FE434163-9CC8-C949-9867-DFD42E7DCB7F}" destId="{AE2F84F9-C4FF-DE4B-B4CA-FB850704306F}" srcOrd="0" destOrd="0" presId="urn:microsoft.com/office/officeart/2009/layout/CircleArrowProcess"/>
    <dgm:cxn modelId="{69E378BF-3B56-BD4E-A6D7-1CDF0CC8A2F3}" type="presParOf" srcId="{AFF8C470-9683-914F-8038-98BB86E1E99E}" destId="{E3F99F4E-D473-6D48-BBE9-47BB1D10EB1F}" srcOrd="0" destOrd="0" presId="urn:microsoft.com/office/officeart/2009/layout/CircleArrowProcess"/>
    <dgm:cxn modelId="{FE0F9BE2-AD37-6543-B294-AA86DE8D8388}" type="presParOf" srcId="{E3F99F4E-D473-6D48-BBE9-47BB1D10EB1F}" destId="{A3EFF41B-6CA9-1148-898C-802AD4AC3096}" srcOrd="0" destOrd="0" presId="urn:microsoft.com/office/officeart/2009/layout/CircleArrowProcess"/>
    <dgm:cxn modelId="{4EAD0C30-F48F-7849-884D-AB3B9A357A12}" type="presParOf" srcId="{AFF8C470-9683-914F-8038-98BB86E1E99E}" destId="{AE2F84F9-C4FF-DE4B-B4CA-FB850704306F}" srcOrd="1" destOrd="0" presId="urn:microsoft.com/office/officeart/2009/layout/CircleArrowProcess"/>
    <dgm:cxn modelId="{6897832B-8DA0-0044-A70C-156B80C370C4}" type="presParOf" srcId="{AFF8C470-9683-914F-8038-98BB86E1E99E}" destId="{659CD29C-E5C0-8B40-879A-E310C0273C19}" srcOrd="2" destOrd="0" presId="urn:microsoft.com/office/officeart/2009/layout/CircleArrowProcess"/>
    <dgm:cxn modelId="{AE8E3652-0010-4F48-9655-2A4006AFAFA1}" type="presParOf" srcId="{659CD29C-E5C0-8B40-879A-E310C0273C19}" destId="{8A5520A8-A0A0-4245-A52F-ACEE9E7AB9E4}" srcOrd="0" destOrd="0" presId="urn:microsoft.com/office/officeart/2009/layout/CircleArrowProcess"/>
    <dgm:cxn modelId="{E94FD780-5C34-354C-9D8B-D28AC7A52BE6}" type="presParOf" srcId="{AFF8C470-9683-914F-8038-98BB86E1E99E}" destId="{82D5CB78-0420-EB43-9C33-11717A6C2E98}" srcOrd="3" destOrd="0" presId="urn:microsoft.com/office/officeart/2009/layout/CircleArrowProcess"/>
    <dgm:cxn modelId="{D7176EDC-2C56-F54F-BF8E-C731F1AF655F}" type="presParOf" srcId="{AFF8C470-9683-914F-8038-98BB86E1E99E}" destId="{991FC3D3-7FCA-6F44-816F-98060ACDA519}" srcOrd="4" destOrd="0" presId="urn:microsoft.com/office/officeart/2009/layout/CircleArrowProcess"/>
    <dgm:cxn modelId="{C25EC186-ECB5-F04D-A016-4B8A8CE3EBD2}" type="presParOf" srcId="{991FC3D3-7FCA-6F44-816F-98060ACDA519}" destId="{22B2C583-FCBA-C54B-B5BE-9C649E92AF2C}" srcOrd="0" destOrd="0" presId="urn:microsoft.com/office/officeart/2009/layout/CircleArrowProcess"/>
    <dgm:cxn modelId="{A7B1E91D-94EF-EE44-A0D7-08A2A55C2DD1}" type="presParOf" srcId="{AFF8C470-9683-914F-8038-98BB86E1E99E}" destId="{714C56D7-D103-F548-8EC0-2F1893F61899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5F8E118-DB66-5E4A-8BBD-AFCA34A1D42F}" type="doc">
      <dgm:prSet loTypeId="urn:microsoft.com/office/officeart/2009/layout/CircleArrowProcess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E434163-9CC8-C949-9867-DFD42E7DCB7F}">
      <dgm:prSet phldrT="[Text]" custT="1"/>
      <dgm:spPr/>
      <dgm:t>
        <a:bodyPr/>
        <a:lstStyle/>
        <a:p>
          <a:r>
            <a:rPr lang="en-US" sz="3600" dirty="0"/>
            <a:t>Challenges</a:t>
          </a:r>
        </a:p>
      </dgm:t>
    </dgm:pt>
    <dgm:pt modelId="{F184296F-6EC2-C648-AA1F-A55878DA53E7}" type="parTrans" cxnId="{F3FB1AC2-C6C7-1B47-8DBA-1D3CC4B95B2E}">
      <dgm:prSet/>
      <dgm:spPr/>
      <dgm:t>
        <a:bodyPr/>
        <a:lstStyle/>
        <a:p>
          <a:endParaRPr lang="en-US" sz="3600"/>
        </a:p>
      </dgm:t>
    </dgm:pt>
    <dgm:pt modelId="{237D6E9F-253C-9349-92FF-99AA98B0DEF7}" type="sibTrans" cxnId="{F3FB1AC2-C6C7-1B47-8DBA-1D3CC4B95B2E}">
      <dgm:prSet/>
      <dgm:spPr/>
      <dgm:t>
        <a:bodyPr/>
        <a:lstStyle/>
        <a:p>
          <a:endParaRPr lang="en-US" sz="3600"/>
        </a:p>
      </dgm:t>
    </dgm:pt>
    <dgm:pt modelId="{681CAB01-7E85-304F-AD68-84ED32509CDA}">
      <dgm:prSet phldrT="[Text]" custT="1"/>
      <dgm:spPr/>
      <dgm:t>
        <a:bodyPr/>
        <a:lstStyle/>
        <a:p>
          <a:r>
            <a:rPr lang="en-US" sz="3600" dirty="0"/>
            <a:t>Strategy</a:t>
          </a:r>
        </a:p>
      </dgm:t>
    </dgm:pt>
    <dgm:pt modelId="{9BBAD924-95F1-BE4D-A5AF-45CC0F09D9B9}" type="parTrans" cxnId="{29284D57-2ED0-D74B-B0A1-DA92A2B8D205}">
      <dgm:prSet/>
      <dgm:spPr/>
      <dgm:t>
        <a:bodyPr/>
        <a:lstStyle/>
        <a:p>
          <a:endParaRPr lang="en-US" sz="3600"/>
        </a:p>
      </dgm:t>
    </dgm:pt>
    <dgm:pt modelId="{692C539E-D588-624B-ABB3-D567A3870309}" type="sibTrans" cxnId="{29284D57-2ED0-D74B-B0A1-DA92A2B8D205}">
      <dgm:prSet/>
      <dgm:spPr/>
      <dgm:t>
        <a:bodyPr/>
        <a:lstStyle/>
        <a:p>
          <a:endParaRPr lang="en-US" sz="3600"/>
        </a:p>
      </dgm:t>
    </dgm:pt>
    <dgm:pt modelId="{4C64E079-9961-424F-9BC2-FEC0175EBA2D}">
      <dgm:prSet phldrT="[Text]" custT="1"/>
      <dgm:spPr/>
      <dgm:t>
        <a:bodyPr/>
        <a:lstStyle/>
        <a:p>
          <a:r>
            <a:rPr lang="en-US" sz="3600" dirty="0"/>
            <a:t>Monday Morning Actions</a:t>
          </a:r>
        </a:p>
      </dgm:t>
    </dgm:pt>
    <dgm:pt modelId="{718DCB2C-1983-C14B-98D4-F4DE048E1A84}" type="parTrans" cxnId="{51A602D8-3AAE-F542-BC78-CFB6C5D8364B}">
      <dgm:prSet/>
      <dgm:spPr/>
      <dgm:t>
        <a:bodyPr/>
        <a:lstStyle/>
        <a:p>
          <a:endParaRPr lang="en-US" sz="3600"/>
        </a:p>
      </dgm:t>
    </dgm:pt>
    <dgm:pt modelId="{D3DF35CF-0E0A-6C45-AA35-D5912E2C771E}" type="sibTrans" cxnId="{51A602D8-3AAE-F542-BC78-CFB6C5D8364B}">
      <dgm:prSet/>
      <dgm:spPr/>
      <dgm:t>
        <a:bodyPr/>
        <a:lstStyle/>
        <a:p>
          <a:endParaRPr lang="en-US" sz="3600"/>
        </a:p>
      </dgm:t>
    </dgm:pt>
    <dgm:pt modelId="{AFF8C470-9683-914F-8038-98BB86E1E99E}" type="pres">
      <dgm:prSet presAssocID="{85F8E118-DB66-5E4A-8BBD-AFCA34A1D42F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E3F99F4E-D473-6D48-BBE9-47BB1D10EB1F}" type="pres">
      <dgm:prSet presAssocID="{FE434163-9CC8-C949-9867-DFD42E7DCB7F}" presName="Accent1" presStyleCnt="0"/>
      <dgm:spPr/>
    </dgm:pt>
    <dgm:pt modelId="{A3EFF41B-6CA9-1148-898C-802AD4AC3096}" type="pres">
      <dgm:prSet presAssocID="{FE434163-9CC8-C949-9867-DFD42E7DCB7F}" presName="Accent" presStyleLbl="node1" presStyleIdx="0" presStyleCnt="3"/>
      <dgm:spPr>
        <a:solidFill>
          <a:schemeClr val="accent1"/>
        </a:solidFill>
      </dgm:spPr>
    </dgm:pt>
    <dgm:pt modelId="{AE2F84F9-C4FF-DE4B-B4CA-FB850704306F}" type="pres">
      <dgm:prSet presAssocID="{FE434163-9CC8-C949-9867-DFD42E7DCB7F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</dgm:pt>
    <dgm:pt modelId="{659CD29C-E5C0-8B40-879A-E310C0273C19}" type="pres">
      <dgm:prSet presAssocID="{681CAB01-7E85-304F-AD68-84ED32509CDA}" presName="Accent2" presStyleCnt="0"/>
      <dgm:spPr/>
    </dgm:pt>
    <dgm:pt modelId="{8A5520A8-A0A0-4245-A52F-ACEE9E7AB9E4}" type="pres">
      <dgm:prSet presAssocID="{681CAB01-7E85-304F-AD68-84ED32509CDA}" presName="Accent" presStyleLbl="node1" presStyleIdx="1" presStyleCnt="3"/>
      <dgm:spPr>
        <a:solidFill>
          <a:schemeClr val="accent2"/>
        </a:solidFill>
      </dgm:spPr>
    </dgm:pt>
    <dgm:pt modelId="{82D5CB78-0420-EB43-9C33-11717A6C2E98}" type="pres">
      <dgm:prSet presAssocID="{681CAB01-7E85-304F-AD68-84ED32509CDA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</dgm:pt>
    <dgm:pt modelId="{991FC3D3-7FCA-6F44-816F-98060ACDA519}" type="pres">
      <dgm:prSet presAssocID="{4C64E079-9961-424F-9BC2-FEC0175EBA2D}" presName="Accent3" presStyleCnt="0"/>
      <dgm:spPr/>
    </dgm:pt>
    <dgm:pt modelId="{22B2C583-FCBA-C54B-B5BE-9C649E92AF2C}" type="pres">
      <dgm:prSet presAssocID="{4C64E079-9961-424F-9BC2-FEC0175EBA2D}" presName="Accent" presStyleLbl="node1" presStyleIdx="2" presStyleCnt="3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>
          <a:noFill/>
        </a:ln>
      </dgm:spPr>
    </dgm:pt>
    <dgm:pt modelId="{714C56D7-D103-F548-8EC0-2F1893F61899}" type="pres">
      <dgm:prSet presAssocID="{4C64E079-9961-424F-9BC2-FEC0175EBA2D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C5123112-DE34-8346-B5E4-8EF7C0BA1D59}" type="presOf" srcId="{85F8E118-DB66-5E4A-8BBD-AFCA34A1D42F}" destId="{AFF8C470-9683-914F-8038-98BB86E1E99E}" srcOrd="0" destOrd="0" presId="urn:microsoft.com/office/officeart/2009/layout/CircleArrowProcess"/>
    <dgm:cxn modelId="{95E86B49-F454-9E41-BF6E-85987274E65B}" type="presOf" srcId="{4C64E079-9961-424F-9BC2-FEC0175EBA2D}" destId="{714C56D7-D103-F548-8EC0-2F1893F61899}" srcOrd="0" destOrd="0" presId="urn:microsoft.com/office/officeart/2009/layout/CircleArrowProcess"/>
    <dgm:cxn modelId="{29284D57-2ED0-D74B-B0A1-DA92A2B8D205}" srcId="{85F8E118-DB66-5E4A-8BBD-AFCA34A1D42F}" destId="{681CAB01-7E85-304F-AD68-84ED32509CDA}" srcOrd="1" destOrd="0" parTransId="{9BBAD924-95F1-BE4D-A5AF-45CC0F09D9B9}" sibTransId="{692C539E-D588-624B-ABB3-D567A3870309}"/>
    <dgm:cxn modelId="{44DF9186-B477-B04D-80B3-70C25E64E1F9}" type="presOf" srcId="{681CAB01-7E85-304F-AD68-84ED32509CDA}" destId="{82D5CB78-0420-EB43-9C33-11717A6C2E98}" srcOrd="0" destOrd="0" presId="urn:microsoft.com/office/officeart/2009/layout/CircleArrowProcess"/>
    <dgm:cxn modelId="{F3FB1AC2-C6C7-1B47-8DBA-1D3CC4B95B2E}" srcId="{85F8E118-DB66-5E4A-8BBD-AFCA34A1D42F}" destId="{FE434163-9CC8-C949-9867-DFD42E7DCB7F}" srcOrd="0" destOrd="0" parTransId="{F184296F-6EC2-C648-AA1F-A55878DA53E7}" sibTransId="{237D6E9F-253C-9349-92FF-99AA98B0DEF7}"/>
    <dgm:cxn modelId="{51A602D8-3AAE-F542-BC78-CFB6C5D8364B}" srcId="{85F8E118-DB66-5E4A-8BBD-AFCA34A1D42F}" destId="{4C64E079-9961-424F-9BC2-FEC0175EBA2D}" srcOrd="2" destOrd="0" parTransId="{718DCB2C-1983-C14B-98D4-F4DE048E1A84}" sibTransId="{D3DF35CF-0E0A-6C45-AA35-D5912E2C771E}"/>
    <dgm:cxn modelId="{5F14ABFE-C6D8-5C42-8FFB-FF8BEC329D01}" type="presOf" srcId="{FE434163-9CC8-C949-9867-DFD42E7DCB7F}" destId="{AE2F84F9-C4FF-DE4B-B4CA-FB850704306F}" srcOrd="0" destOrd="0" presId="urn:microsoft.com/office/officeart/2009/layout/CircleArrowProcess"/>
    <dgm:cxn modelId="{69E378BF-3B56-BD4E-A6D7-1CDF0CC8A2F3}" type="presParOf" srcId="{AFF8C470-9683-914F-8038-98BB86E1E99E}" destId="{E3F99F4E-D473-6D48-BBE9-47BB1D10EB1F}" srcOrd="0" destOrd="0" presId="urn:microsoft.com/office/officeart/2009/layout/CircleArrowProcess"/>
    <dgm:cxn modelId="{FE0F9BE2-AD37-6543-B294-AA86DE8D8388}" type="presParOf" srcId="{E3F99F4E-D473-6D48-BBE9-47BB1D10EB1F}" destId="{A3EFF41B-6CA9-1148-898C-802AD4AC3096}" srcOrd="0" destOrd="0" presId="urn:microsoft.com/office/officeart/2009/layout/CircleArrowProcess"/>
    <dgm:cxn modelId="{4EAD0C30-F48F-7849-884D-AB3B9A357A12}" type="presParOf" srcId="{AFF8C470-9683-914F-8038-98BB86E1E99E}" destId="{AE2F84F9-C4FF-DE4B-B4CA-FB850704306F}" srcOrd="1" destOrd="0" presId="urn:microsoft.com/office/officeart/2009/layout/CircleArrowProcess"/>
    <dgm:cxn modelId="{6897832B-8DA0-0044-A70C-156B80C370C4}" type="presParOf" srcId="{AFF8C470-9683-914F-8038-98BB86E1E99E}" destId="{659CD29C-E5C0-8B40-879A-E310C0273C19}" srcOrd="2" destOrd="0" presId="urn:microsoft.com/office/officeart/2009/layout/CircleArrowProcess"/>
    <dgm:cxn modelId="{AE8E3652-0010-4F48-9655-2A4006AFAFA1}" type="presParOf" srcId="{659CD29C-E5C0-8B40-879A-E310C0273C19}" destId="{8A5520A8-A0A0-4245-A52F-ACEE9E7AB9E4}" srcOrd="0" destOrd="0" presId="urn:microsoft.com/office/officeart/2009/layout/CircleArrowProcess"/>
    <dgm:cxn modelId="{E94FD780-5C34-354C-9D8B-D28AC7A52BE6}" type="presParOf" srcId="{AFF8C470-9683-914F-8038-98BB86E1E99E}" destId="{82D5CB78-0420-EB43-9C33-11717A6C2E98}" srcOrd="3" destOrd="0" presId="urn:microsoft.com/office/officeart/2009/layout/CircleArrowProcess"/>
    <dgm:cxn modelId="{D7176EDC-2C56-F54F-BF8E-C731F1AF655F}" type="presParOf" srcId="{AFF8C470-9683-914F-8038-98BB86E1E99E}" destId="{991FC3D3-7FCA-6F44-816F-98060ACDA519}" srcOrd="4" destOrd="0" presId="urn:microsoft.com/office/officeart/2009/layout/CircleArrowProcess"/>
    <dgm:cxn modelId="{C25EC186-ECB5-F04D-A016-4B8A8CE3EBD2}" type="presParOf" srcId="{991FC3D3-7FCA-6F44-816F-98060ACDA519}" destId="{22B2C583-FCBA-C54B-B5BE-9C649E92AF2C}" srcOrd="0" destOrd="0" presId="urn:microsoft.com/office/officeart/2009/layout/CircleArrowProcess"/>
    <dgm:cxn modelId="{A7B1E91D-94EF-EE44-A0D7-08A2A55C2DD1}" type="presParOf" srcId="{AFF8C470-9683-914F-8038-98BB86E1E99E}" destId="{714C56D7-D103-F548-8EC0-2F1893F61899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EFF41B-6CA9-1148-898C-802AD4AC3096}">
      <dsp:nvSpPr>
        <dsp:cNvPr id="0" name=""/>
        <dsp:cNvSpPr/>
      </dsp:nvSpPr>
      <dsp:spPr>
        <a:xfrm>
          <a:off x="2635544" y="1157794"/>
          <a:ext cx="4561025" cy="4561720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E2F84F9-C4FF-DE4B-B4CA-FB850704306F}">
      <dsp:nvSpPr>
        <dsp:cNvPr id="0" name=""/>
        <dsp:cNvSpPr/>
      </dsp:nvSpPr>
      <dsp:spPr>
        <a:xfrm>
          <a:off x="3643681" y="2804714"/>
          <a:ext cx="2534474" cy="1266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Challenges</a:t>
          </a:r>
        </a:p>
      </dsp:txBody>
      <dsp:txXfrm>
        <a:off x="3643681" y="2804714"/>
        <a:ext cx="2534474" cy="1266933"/>
      </dsp:txXfrm>
    </dsp:sp>
    <dsp:sp modelId="{8A5520A8-A0A0-4245-A52F-ACEE9E7AB9E4}">
      <dsp:nvSpPr>
        <dsp:cNvPr id="0" name=""/>
        <dsp:cNvSpPr/>
      </dsp:nvSpPr>
      <dsp:spPr>
        <a:xfrm>
          <a:off x="1368736" y="3778841"/>
          <a:ext cx="4561025" cy="4561720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2D5CB78-0420-EB43-9C33-11717A6C2E98}">
      <dsp:nvSpPr>
        <dsp:cNvPr id="0" name=""/>
        <dsp:cNvSpPr/>
      </dsp:nvSpPr>
      <dsp:spPr>
        <a:xfrm>
          <a:off x="2382011" y="5440922"/>
          <a:ext cx="2534474" cy="1266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Strategy</a:t>
          </a:r>
        </a:p>
      </dsp:txBody>
      <dsp:txXfrm>
        <a:off x="2382011" y="5440922"/>
        <a:ext cx="2534474" cy="1266933"/>
      </dsp:txXfrm>
    </dsp:sp>
    <dsp:sp modelId="{22B2C583-FCBA-C54B-B5BE-9C649E92AF2C}">
      <dsp:nvSpPr>
        <dsp:cNvPr id="0" name=""/>
        <dsp:cNvSpPr/>
      </dsp:nvSpPr>
      <dsp:spPr>
        <a:xfrm>
          <a:off x="2960170" y="6713541"/>
          <a:ext cx="3918627" cy="3920198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14C56D7-D103-F548-8EC0-2F1893F61899}">
      <dsp:nvSpPr>
        <dsp:cNvPr id="0" name=""/>
        <dsp:cNvSpPr/>
      </dsp:nvSpPr>
      <dsp:spPr>
        <a:xfrm>
          <a:off x="3649677" y="8080920"/>
          <a:ext cx="2534474" cy="1266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Outcome</a:t>
          </a:r>
        </a:p>
      </dsp:txBody>
      <dsp:txXfrm>
        <a:off x="3649677" y="8080920"/>
        <a:ext cx="2534474" cy="126693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EFF41B-6CA9-1148-898C-802AD4AC3096}">
      <dsp:nvSpPr>
        <dsp:cNvPr id="0" name=""/>
        <dsp:cNvSpPr/>
      </dsp:nvSpPr>
      <dsp:spPr>
        <a:xfrm>
          <a:off x="2635544" y="1157794"/>
          <a:ext cx="4561025" cy="4561720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E2F84F9-C4FF-DE4B-B4CA-FB850704306F}">
      <dsp:nvSpPr>
        <dsp:cNvPr id="0" name=""/>
        <dsp:cNvSpPr/>
      </dsp:nvSpPr>
      <dsp:spPr>
        <a:xfrm>
          <a:off x="3643681" y="2804714"/>
          <a:ext cx="2534474" cy="1266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Challenges</a:t>
          </a:r>
        </a:p>
      </dsp:txBody>
      <dsp:txXfrm>
        <a:off x="3643681" y="2804714"/>
        <a:ext cx="2534474" cy="1266933"/>
      </dsp:txXfrm>
    </dsp:sp>
    <dsp:sp modelId="{8A5520A8-A0A0-4245-A52F-ACEE9E7AB9E4}">
      <dsp:nvSpPr>
        <dsp:cNvPr id="0" name=""/>
        <dsp:cNvSpPr/>
      </dsp:nvSpPr>
      <dsp:spPr>
        <a:xfrm>
          <a:off x="1368736" y="3778841"/>
          <a:ext cx="4561025" cy="4561720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2D5CB78-0420-EB43-9C33-11717A6C2E98}">
      <dsp:nvSpPr>
        <dsp:cNvPr id="0" name=""/>
        <dsp:cNvSpPr/>
      </dsp:nvSpPr>
      <dsp:spPr>
        <a:xfrm>
          <a:off x="2382011" y="5440922"/>
          <a:ext cx="2534474" cy="1266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Strategy</a:t>
          </a:r>
        </a:p>
      </dsp:txBody>
      <dsp:txXfrm>
        <a:off x="2382011" y="5440922"/>
        <a:ext cx="2534474" cy="1266933"/>
      </dsp:txXfrm>
    </dsp:sp>
    <dsp:sp modelId="{22B2C583-FCBA-C54B-B5BE-9C649E92AF2C}">
      <dsp:nvSpPr>
        <dsp:cNvPr id="0" name=""/>
        <dsp:cNvSpPr/>
      </dsp:nvSpPr>
      <dsp:spPr>
        <a:xfrm>
          <a:off x="2960170" y="6713541"/>
          <a:ext cx="3918627" cy="3920198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4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4C56D7-D103-F548-8EC0-2F1893F61899}">
      <dsp:nvSpPr>
        <dsp:cNvPr id="0" name=""/>
        <dsp:cNvSpPr/>
      </dsp:nvSpPr>
      <dsp:spPr>
        <a:xfrm>
          <a:off x="3649677" y="8080920"/>
          <a:ext cx="2534474" cy="1266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Monday Morning Actions</a:t>
          </a:r>
        </a:p>
      </dsp:txBody>
      <dsp:txXfrm>
        <a:off x="3649677" y="8080920"/>
        <a:ext cx="2534474" cy="12669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w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drawings/_rels/vmlDrawing18.vml.rels><?xml version="1.0" encoding="UTF-8" standalone="yes"?>
<Relationships xmlns="http://schemas.openxmlformats.org/package/2006/relationships"><Relationship Id="rId2" Type="http://schemas.openxmlformats.org/officeDocument/2006/relationships/image" Target="../media/image66.emf"/><Relationship Id="rId1" Type="http://schemas.openxmlformats.org/officeDocument/2006/relationships/image" Target="../media/image6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E3410412-31C2-4AB8-A51D-FA72BE3E35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1CBA0F8-B4D6-4152-A1A1-A8F8D4B9661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19C917-D5BA-4C74-AB16-931FF59E6540}" type="datetimeFigureOut">
              <a:rPr lang="de-DE" smtClean="0"/>
              <a:t>3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E603EA4-9472-45E4-8FB0-D6B81D320E8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91CE53-E495-47D5-8520-E4EB4F9BF3A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15BC21-C2E7-45B7-967E-8FFA1C271EB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19426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 Light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 Light"/>
              </a:defRPr>
            </a:lvl1pPr>
          </a:lstStyle>
          <a:p>
            <a:fld id="{EFC10EE1-B198-C942-8235-326C972CBB30}" type="datetimeFigureOut">
              <a:rPr lang="en-US" smtClean="0"/>
              <a:pPr/>
              <a:t>9/1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 Ligh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 Light"/>
              </a:defRPr>
            </a:lvl1pPr>
          </a:lstStyle>
          <a:p>
            <a:fld id="{006BE02D-20C0-F840-AFAC-BEA99C74FDC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1pPr>
    <a:lvl2pPr marL="914217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2pPr>
    <a:lvl3pPr marL="1828434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3pPr>
    <a:lvl4pPr marL="2742651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4pPr>
    <a:lvl5pPr marL="3656868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495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0432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410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68FC58-38E5-4AEC-B1A7-A7F3DCED9FD8}" type="slidenum">
              <a:rPr lang="en-US" smtClean="0"/>
              <a:t>10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6941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68FC58-38E5-4AEC-B1A7-A7F3DCED9FD8}" type="slidenum">
              <a:rPr lang="en-US" smtClean="0"/>
              <a:t>10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1276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68FC58-38E5-4AEC-B1A7-A7F3DCED9FD8}" type="slidenum">
              <a:rPr lang="en-US" smtClean="0"/>
              <a:t>10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6772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68FC58-38E5-4AEC-B1A7-A7F3DCED9FD8}" type="slidenum">
              <a:rPr lang="en-US" smtClean="0"/>
              <a:t>10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5493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3100" y="4686302"/>
            <a:ext cx="5389561" cy="444023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E00802-F23F-4B38-91A2-F48893798DA3}" type="slidenum">
              <a:rPr lang="en-US" smtClean="0"/>
              <a:pPr/>
              <a:t>10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1735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68FC58-38E5-4AEC-B1A7-A7F3DCED9FD8}" type="slidenum">
              <a:rPr lang="en-US" smtClean="0"/>
              <a:t>10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206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68FC58-38E5-4AEC-B1A7-A7F3DCED9FD8}" type="slidenum">
              <a:rPr lang="en-US" smtClean="0"/>
              <a:t>10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38805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9006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4249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86584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96368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72857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27534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95409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625999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02018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39115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00521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3488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69185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42541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01039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81743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00190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56876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3175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3577" y="4686498"/>
            <a:ext cx="5388610" cy="443984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A565F5-A301-4270-BD25-0067166CF7D0}" type="slidenum">
              <a:rPr lang="en-US" smtClean="0"/>
              <a:pPr/>
              <a:t>1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48136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3100" y="4686301"/>
            <a:ext cx="5389561" cy="444023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E00802-F23F-4B38-91A2-F48893798DA3}" type="slidenum">
              <a:rPr lang="en-US" smtClean="0"/>
              <a:pPr/>
              <a:t>1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53393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CA5ABA-5D77-4E83-958B-BFAEAB3E9083}" type="slidenum">
              <a:rPr lang="en-US" smtClean="0"/>
              <a:pPr/>
              <a:t>1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66106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3577" y="4686498"/>
            <a:ext cx="5388610" cy="443984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A565F5-A301-4270-BD25-0067166CF7D0}" type="slidenum">
              <a:rPr lang="en-US" smtClean="0"/>
              <a:pPr/>
              <a:t>1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68386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89497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3577" y="4686498"/>
            <a:ext cx="5388610" cy="443984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A565F5-A301-4270-BD25-0067166CF7D0}" type="slidenum">
              <a:rPr lang="en-US" smtClean="0"/>
              <a:pPr/>
              <a:t>1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79129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3577" y="4686498"/>
            <a:ext cx="5388610" cy="443984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A565F5-A301-4270-BD25-0067166CF7D0}" type="slidenum">
              <a:rPr lang="en-US" smtClean="0"/>
              <a:pPr/>
              <a:t>1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41159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3577" y="4686498"/>
            <a:ext cx="5388610" cy="443984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A565F5-A301-4270-BD25-0067166CF7D0}" type="slidenum">
              <a:rPr lang="en-US" smtClean="0"/>
              <a:pPr/>
              <a:t>1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85780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3577" y="4686498"/>
            <a:ext cx="5388610" cy="443984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A565F5-A301-4270-BD25-0067166CF7D0}" type="slidenum">
              <a:rPr lang="en-US" smtClean="0"/>
              <a:pPr/>
              <a:t>1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005326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3577" y="4686498"/>
            <a:ext cx="5388610" cy="443984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A565F5-A301-4270-BD25-0067166CF7D0}" type="slidenum">
              <a:rPr lang="en-US" smtClean="0"/>
              <a:pPr/>
              <a:t>1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5871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3577" y="4686498"/>
            <a:ext cx="5388610" cy="443984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A565F5-A301-4270-BD25-0067166CF7D0}" type="slidenum">
              <a:rPr lang="en-US" smtClean="0"/>
              <a:pPr/>
              <a:t>1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07746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3577" y="4686498"/>
            <a:ext cx="5388610" cy="443984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A565F5-A301-4270-BD25-0067166CF7D0}" type="slidenum">
              <a:rPr lang="en-US" smtClean="0"/>
              <a:pPr/>
              <a:t>1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29673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277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5391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8841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6248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6485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011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78" userDrawn="1">
          <p15:clr>
            <a:srgbClr val="FBAE40"/>
          </p15:clr>
        </p15:guide>
        <p15:guide id="3" orient="horz" pos="7949" userDrawn="1">
          <p15:clr>
            <a:srgbClr val="FBAE40"/>
          </p15:clr>
        </p15:guide>
        <p15:guide id="4" orient="horz" pos="691" userDrawn="1">
          <p15:clr>
            <a:srgbClr val="FBAE40"/>
          </p15:clr>
        </p15:guide>
        <p15:guide id="5" pos="647" userDrawn="1">
          <p15:clr>
            <a:srgbClr val="FBAE40"/>
          </p15:clr>
        </p15:guide>
        <p15:guide id="6" pos="1470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0" y="0"/>
            <a:ext cx="24377650" cy="13716000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14517126" y="2793603"/>
            <a:ext cx="6472241" cy="8651989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0160281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13513706" y="4534812"/>
            <a:ext cx="9151442" cy="566763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8657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1363851" y="3420381"/>
            <a:ext cx="8949729" cy="5394960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89900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14517126" y="2812653"/>
            <a:ext cx="6472241" cy="8651989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433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ceholder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13776945" y="0"/>
            <a:ext cx="7298860" cy="13716000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054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ceholder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14771496" y="-59312"/>
            <a:ext cx="9606154" cy="13775311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03677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ceholder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36"/>
          </p:nvPr>
        </p:nvSpPr>
        <p:spPr>
          <a:xfrm>
            <a:off x="-1" y="-38100"/>
            <a:ext cx="8125883" cy="6934200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37"/>
          </p:nvPr>
        </p:nvSpPr>
        <p:spPr>
          <a:xfrm>
            <a:off x="16251767" y="-38100"/>
            <a:ext cx="8125883" cy="6934200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38"/>
          </p:nvPr>
        </p:nvSpPr>
        <p:spPr>
          <a:xfrm>
            <a:off x="8125884" y="6896100"/>
            <a:ext cx="8125883" cy="6819900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3809786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laceholder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36"/>
          </p:nvPr>
        </p:nvSpPr>
        <p:spPr>
          <a:xfrm>
            <a:off x="-1" y="6781800"/>
            <a:ext cx="8125883" cy="6934200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37"/>
          </p:nvPr>
        </p:nvSpPr>
        <p:spPr>
          <a:xfrm>
            <a:off x="16251767" y="6781800"/>
            <a:ext cx="8125883" cy="6934200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38"/>
          </p:nvPr>
        </p:nvSpPr>
        <p:spPr>
          <a:xfrm>
            <a:off x="8125883" y="0"/>
            <a:ext cx="8125883" cy="6781800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6913019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laceholder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36"/>
          </p:nvPr>
        </p:nvSpPr>
        <p:spPr>
          <a:xfrm>
            <a:off x="-1" y="-38100"/>
            <a:ext cx="8125883" cy="6934200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38"/>
          </p:nvPr>
        </p:nvSpPr>
        <p:spPr>
          <a:xfrm>
            <a:off x="8125884" y="6896100"/>
            <a:ext cx="8125882" cy="6934200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39"/>
          </p:nvPr>
        </p:nvSpPr>
        <p:spPr>
          <a:xfrm>
            <a:off x="16251764" y="6896100"/>
            <a:ext cx="8125882" cy="6934200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2854523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laceholder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3"/>
          <p:cNvSpPr>
            <a:spLocks noGrp="1"/>
          </p:cNvSpPr>
          <p:nvPr>
            <p:ph type="pic" sz="quarter" idx="36"/>
          </p:nvPr>
        </p:nvSpPr>
        <p:spPr>
          <a:xfrm>
            <a:off x="0" y="-76200"/>
            <a:ext cx="12188824" cy="6934200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37"/>
          </p:nvPr>
        </p:nvSpPr>
        <p:spPr>
          <a:xfrm>
            <a:off x="12188824" y="6896100"/>
            <a:ext cx="12188824" cy="6934200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1425888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" y="19050"/>
            <a:ext cx="24377649" cy="13716000"/>
          </a:xfrm>
          <a:effectLst/>
        </p:spPr>
        <p:txBody>
          <a:bodyPr>
            <a:normAutofit/>
          </a:bodyPr>
          <a:lstStyle>
            <a:lvl1pPr marL="0" indent="0">
              <a:buNone/>
              <a:defRPr sz="42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187577" y="4371975"/>
            <a:ext cx="20002500" cy="4972050"/>
          </a:xfrm>
        </p:spPr>
        <p:txBody>
          <a:bodyPr anchor="ctr">
            <a:normAutofit/>
          </a:bodyPr>
          <a:lstStyle>
            <a:lvl1pPr algn="ctr">
              <a:defRPr sz="16600" b="0" i="0">
                <a:latin typeface="Avenir Medium" charset="0"/>
                <a:ea typeface="Avenir Medium" charset="0"/>
                <a:cs typeface="Avenir Medium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PLACEHOLDER</a:t>
            </a:r>
          </a:p>
        </p:txBody>
      </p:sp>
    </p:spTree>
    <p:extLst>
      <p:ext uri="{BB962C8B-B14F-4D97-AF65-F5344CB8AC3E}">
        <p14:creationId xmlns:p14="http://schemas.microsoft.com/office/powerpoint/2010/main" val="1794292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7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/>
          <p:cNvSpPr>
            <a:spLocks noGrp="1" noChangeAspect="1"/>
          </p:cNvSpPr>
          <p:nvPr>
            <p:ph type="pic" sz="quarter" idx="13"/>
          </p:nvPr>
        </p:nvSpPr>
        <p:spPr>
          <a:xfrm>
            <a:off x="1413074" y="4675825"/>
            <a:ext cx="3895344" cy="3895344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36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13"/>
          <p:cNvSpPr>
            <a:spLocks noGrp="1" noChangeAspect="1"/>
          </p:cNvSpPr>
          <p:nvPr>
            <p:ph type="pic" sz="quarter" idx="19"/>
          </p:nvPr>
        </p:nvSpPr>
        <p:spPr>
          <a:xfrm>
            <a:off x="12391298" y="4675825"/>
            <a:ext cx="3895344" cy="3895344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36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13"/>
          <p:cNvSpPr>
            <a:spLocks noGrp="1" noChangeAspect="1"/>
          </p:cNvSpPr>
          <p:nvPr>
            <p:ph type="pic" sz="quarter" idx="20"/>
          </p:nvPr>
        </p:nvSpPr>
        <p:spPr>
          <a:xfrm>
            <a:off x="8298547" y="8768951"/>
            <a:ext cx="3895344" cy="3895344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36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13"/>
          <p:cNvSpPr>
            <a:spLocks noGrp="1" noChangeAspect="1"/>
          </p:cNvSpPr>
          <p:nvPr>
            <p:ph type="pic" sz="quarter" idx="21"/>
          </p:nvPr>
        </p:nvSpPr>
        <p:spPr>
          <a:xfrm>
            <a:off x="19358487" y="8768951"/>
            <a:ext cx="3895344" cy="3895344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36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89183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86974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cbook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111023" y="8377295"/>
            <a:ext cx="1929384" cy="192938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1355470" y="8402287"/>
            <a:ext cx="1929384" cy="192938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18446906" y="8377295"/>
            <a:ext cx="1929384" cy="192938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3517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E45FE0-0B89-4E09-8A7B-6C901DACB3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7206" y="2244726"/>
            <a:ext cx="18283238" cy="4775200"/>
          </a:xfrm>
        </p:spPr>
        <p:txBody>
          <a:bodyPr anchor="b"/>
          <a:lstStyle>
            <a:lvl1pPr algn="ctr">
              <a:defRPr sz="11997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F41CCF2-A701-4D1A-8CAB-80AA29C374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7206" y="7204076"/>
            <a:ext cx="18283238" cy="3311524"/>
          </a:xfrm>
        </p:spPr>
        <p:txBody>
          <a:bodyPr/>
          <a:lstStyle>
            <a:lvl1pPr marL="0" indent="0" algn="ctr">
              <a:buNone/>
              <a:defRPr sz="4799"/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8710F30-5EF1-4F4E-8867-EC016FC8E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8E703D1-A491-45CC-AE06-6B93A1FF33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C31EBD7-E3CD-4DCC-8F27-7CB93D9984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6446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1027114" y="5286603"/>
            <a:ext cx="9573596" cy="7332435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42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5746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13609639" y="4216736"/>
            <a:ext cx="9740899" cy="8402302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42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8150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876874" y="5100492"/>
            <a:ext cx="2961091" cy="29618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399"/>
            </a:lvl1pPr>
          </a:lstStyle>
          <a:p>
            <a:r>
              <a:rPr lang="en-US" dirty="0"/>
              <a:t>Drag pictur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3908697" y="5100492"/>
            <a:ext cx="2961091" cy="29618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399"/>
            </a:lvl1pPr>
          </a:lstStyle>
          <a:p>
            <a:r>
              <a:rPr lang="en-US" dirty="0"/>
              <a:t>Drag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2876874" y="8883545"/>
            <a:ext cx="2961091" cy="29618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399"/>
            </a:lvl1pPr>
          </a:lstStyle>
          <a:p>
            <a:r>
              <a:rPr lang="en-US" dirty="0"/>
              <a:t>Drag pictur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3908697" y="8883545"/>
            <a:ext cx="2961091" cy="29618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399"/>
            </a:lvl1pPr>
          </a:lstStyle>
          <a:p>
            <a:r>
              <a:rPr lang="en-US" dirty="0"/>
              <a:t>Drag pictur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551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" y="1"/>
            <a:ext cx="12188822" cy="6858000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42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2188828" y="6858000"/>
            <a:ext cx="12188822" cy="6858000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42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64418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5096131" y="10301608"/>
            <a:ext cx="4591127" cy="2090189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5096131" y="4928842"/>
            <a:ext cx="4591127" cy="2090189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0040467" y="4928842"/>
            <a:ext cx="4591127" cy="2090189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5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5036671" y="4928842"/>
            <a:ext cx="4591127" cy="2090189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6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2421426" y="7535877"/>
            <a:ext cx="4591127" cy="2090189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7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7391697" y="7548545"/>
            <a:ext cx="4591127" cy="2090189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8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12361965" y="7548545"/>
            <a:ext cx="4591127" cy="2090189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9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17332233" y="7548545"/>
            <a:ext cx="4591127" cy="2090189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50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0040467" y="10287669"/>
            <a:ext cx="4591127" cy="2090189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51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15036671" y="10287669"/>
            <a:ext cx="4591127" cy="2090189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7156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1784187" y="5018052"/>
            <a:ext cx="6476630" cy="367990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8970480" y="5018052"/>
            <a:ext cx="6476629" cy="367990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29"/>
          </p:nvPr>
        </p:nvSpPr>
        <p:spPr>
          <a:xfrm>
            <a:off x="16156769" y="5018052"/>
            <a:ext cx="6476629" cy="367990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9325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1675966" y="3818448"/>
            <a:ext cx="4570412" cy="8102289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5284431" y="3818448"/>
            <a:ext cx="4570412" cy="8102289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3312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>
            <a:extLst>
              <a:ext uri="{FF2B5EF4-FFF2-40B4-BE49-F238E27FC236}">
                <a16:creationId xmlns:a16="http://schemas.microsoft.com/office/drawing/2014/main" id="{18184AA9-41D6-4C16-8FFD-E5843AD771F0}"/>
              </a:ext>
            </a:extLst>
          </p:cNvPr>
          <p:cNvSpPr/>
          <p:nvPr userDrawn="1"/>
        </p:nvSpPr>
        <p:spPr>
          <a:xfrm>
            <a:off x="-159026" y="0"/>
            <a:ext cx="24708678" cy="22508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latin typeface="Avenir Medium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114" y="2897188"/>
            <a:ext cx="22323423" cy="97218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22569838" y="219951"/>
            <a:ext cx="1169806" cy="553833"/>
          </a:xfrm>
          <a:prstGeom prst="rect">
            <a:avLst/>
          </a:prstGeom>
          <a:noFill/>
        </p:spPr>
        <p:txBody>
          <a:bodyPr wrap="square" lIns="182843" tIns="91422" rIns="182843" bIns="91422" rtlCol="0">
            <a:spAutoFit/>
          </a:bodyPr>
          <a:lstStyle/>
          <a:p>
            <a:pPr algn="r"/>
            <a:fld id="{260E2A6B-A809-4840-BF14-8648BC0BDF87}" type="slidenum">
              <a:rPr lang="id-ID" sz="2399" b="0" i="0" smtClean="0">
                <a:solidFill>
                  <a:schemeClr val="tx1"/>
                </a:solidFill>
                <a:latin typeface="Avenir Medium"/>
                <a:ea typeface="Avenir Medium" charset="0"/>
                <a:cs typeface="Avenir Medium" charset="0"/>
              </a:rPr>
              <a:pPr algn="r"/>
              <a:t>‹Nr.›</a:t>
            </a:fld>
            <a:endParaRPr lang="id-ID" sz="2399" b="0" i="0" dirty="0">
              <a:solidFill>
                <a:schemeClr val="tx1"/>
              </a:solidFill>
              <a:latin typeface="Avenir Medium"/>
              <a:ea typeface="Avenir Medium" charset="0"/>
              <a:cs typeface="Avenir Med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8189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1" r:id="rId1"/>
    <p:sldLayoutId id="2147484080" r:id="rId2"/>
    <p:sldLayoutId id="2147484143" r:id="rId3"/>
    <p:sldLayoutId id="2147484163" r:id="rId4"/>
    <p:sldLayoutId id="2147484126" r:id="rId5"/>
    <p:sldLayoutId id="2147484128" r:id="rId6"/>
    <p:sldLayoutId id="2147484130" r:id="rId7"/>
    <p:sldLayoutId id="2147484134" r:id="rId8"/>
    <p:sldLayoutId id="2147484136" r:id="rId9"/>
    <p:sldLayoutId id="2147484137" r:id="rId10"/>
    <p:sldLayoutId id="2147484139" r:id="rId11"/>
    <p:sldLayoutId id="2147484140" r:id="rId12"/>
    <p:sldLayoutId id="2147484159" r:id="rId13"/>
    <p:sldLayoutId id="2147484144" r:id="rId14"/>
    <p:sldLayoutId id="2147484153" r:id="rId15"/>
    <p:sldLayoutId id="2147484154" r:id="rId16"/>
    <p:sldLayoutId id="2147484162" r:id="rId17"/>
    <p:sldLayoutId id="2147484160" r:id="rId18"/>
    <p:sldLayoutId id="2147484161" r:id="rId19"/>
    <p:sldLayoutId id="2147484149" r:id="rId20"/>
    <p:sldLayoutId id="2147484150" r:id="rId21"/>
    <p:sldLayoutId id="2147484169" r:id="rId22"/>
    <p:sldLayoutId id="2147484193" r:id="rId23"/>
  </p:sldLayoutIdLst>
  <p:hf hdr="0" ftr="0" dt="0"/>
  <p:txStyles>
    <p:titleStyle>
      <a:lvl1pPr algn="l" defTabSz="1828403" rtl="0" eaLnBrk="1" latinLnBrk="0" hangingPunct="1">
        <a:lnSpc>
          <a:spcPct val="90000"/>
        </a:lnSpc>
        <a:spcBef>
          <a:spcPct val="0"/>
        </a:spcBef>
        <a:buNone/>
        <a:defRPr sz="6000" b="0" i="0" kern="1200">
          <a:solidFill>
            <a:schemeClr val="tx1"/>
          </a:solidFill>
          <a:latin typeface="Avenir Medium"/>
          <a:ea typeface="Avenir Medium"/>
          <a:cs typeface="Avenir Medium"/>
        </a:defRPr>
      </a:lvl1pPr>
    </p:titleStyle>
    <p:bodyStyle>
      <a:lvl1pPr marL="0" indent="0" algn="l" defTabSz="182840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4000" b="0" i="0" kern="1200">
          <a:solidFill>
            <a:schemeClr val="tx1"/>
          </a:solidFill>
          <a:latin typeface="Avenir Medium"/>
          <a:ea typeface="Avenir Medium"/>
          <a:cs typeface="Avenir Medium"/>
        </a:defRPr>
      </a:lvl1pPr>
      <a:lvl2pPr marL="914201" indent="0" algn="l" defTabSz="182840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201" b="0" i="0" kern="1200">
          <a:solidFill>
            <a:schemeClr val="tx1"/>
          </a:solidFill>
          <a:latin typeface="Avenir Medium"/>
          <a:ea typeface="Avenir Medium"/>
          <a:cs typeface="Avenir Medium"/>
        </a:defRPr>
      </a:lvl2pPr>
      <a:lvl3pPr marL="1828403" indent="0" algn="l" defTabSz="182840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399" b="0" i="0" kern="1200">
          <a:solidFill>
            <a:schemeClr val="tx1"/>
          </a:solidFill>
          <a:latin typeface="Avenir Medium"/>
          <a:ea typeface="Avenir Medium"/>
          <a:cs typeface="Avenir Medium"/>
        </a:defRPr>
      </a:lvl3pPr>
      <a:lvl4pPr marL="2742606" indent="0" algn="l" defTabSz="182840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b="0" i="0" kern="1200">
          <a:solidFill>
            <a:schemeClr val="tx1"/>
          </a:solidFill>
          <a:latin typeface="Avenir Medium"/>
          <a:ea typeface="Avenir Medium"/>
          <a:cs typeface="Avenir Medium"/>
        </a:defRPr>
      </a:lvl4pPr>
      <a:lvl5pPr marL="3656807" indent="0" algn="l" defTabSz="182840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b="0" i="0" kern="1200">
          <a:solidFill>
            <a:schemeClr val="tx1"/>
          </a:solidFill>
          <a:latin typeface="Avenir Medium"/>
          <a:ea typeface="Avenir Medium"/>
          <a:cs typeface="Avenir Medium"/>
        </a:defRPr>
      </a:lvl5pPr>
      <a:lvl6pPr marL="5028111" indent="-457102" algn="l" defTabSz="182840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311" indent="-457102" algn="l" defTabSz="182840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513" indent="-457102" algn="l" defTabSz="182840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716" indent="-457102" algn="l" defTabSz="182840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40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201" algn="l" defTabSz="182840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403" algn="l" defTabSz="182840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606" algn="l" defTabSz="182840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808" algn="l" defTabSz="182840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1009" algn="l" defTabSz="182840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210" algn="l" defTabSz="182840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412" algn="l" defTabSz="182840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614" algn="l" defTabSz="182840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320" userDrawn="1">
          <p15:clr>
            <a:srgbClr val="F26B43"/>
          </p15:clr>
        </p15:guide>
        <p15:guide id="2" pos="7678" userDrawn="1">
          <p15:clr>
            <a:srgbClr val="F26B43"/>
          </p15:clr>
        </p15:guide>
        <p15:guide id="3" orient="horz" pos="691" userDrawn="1">
          <p15:clr>
            <a:srgbClr val="F26B43"/>
          </p15:clr>
        </p15:guide>
        <p15:guide id="4" orient="horz" pos="7949" userDrawn="1">
          <p15:clr>
            <a:srgbClr val="F26B43"/>
          </p15:clr>
        </p15:guide>
        <p15:guide id="5" pos="647" userDrawn="1">
          <p15:clr>
            <a:srgbClr val="F26B43"/>
          </p15:clr>
        </p15:guide>
        <p15:guide id="6" pos="14709" userDrawn="1">
          <p15:clr>
            <a:srgbClr val="F26B43"/>
          </p15:clr>
        </p15:guide>
        <p15:guide id="7" orient="horz" pos="18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57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9.xml"/><Relationship Id="rId10" Type="http://schemas.openxmlformats.org/officeDocument/2006/relationships/image" Target="../media/image46.emf"/><Relationship Id="rId4" Type="http://schemas.openxmlformats.org/officeDocument/2006/relationships/tags" Target="../tags/tag58.xml"/><Relationship Id="rId9" Type="http://schemas.openxmlformats.org/officeDocument/2006/relationships/image" Target="../media/image45.emf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0.xml"/><Relationship Id="rId4" Type="http://schemas.openxmlformats.org/officeDocument/2006/relationships/image" Target="../media/image47.emf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1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2.xml"/></Relationships>
</file>

<file path=ppt/slides/_rels/slide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emf"/><Relationship Id="rId3" Type="http://schemas.openxmlformats.org/officeDocument/2006/relationships/tags" Target="../tags/tag64.xml"/><Relationship Id="rId7" Type="http://schemas.openxmlformats.org/officeDocument/2006/relationships/image" Target="../media/image48.png"/><Relationship Id="rId2" Type="http://schemas.openxmlformats.org/officeDocument/2006/relationships/tags" Target="../tags/tag6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50.emf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5.xml"/></Relationships>
</file>

<file path=ppt/slides/_rels/slide109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tags" Target="../tags/tag82.xml"/><Relationship Id="rId26" Type="http://schemas.openxmlformats.org/officeDocument/2006/relationships/tags" Target="../tags/tag90.xml"/><Relationship Id="rId3" Type="http://schemas.openxmlformats.org/officeDocument/2006/relationships/tags" Target="../tags/tag67.xml"/><Relationship Id="rId21" Type="http://schemas.openxmlformats.org/officeDocument/2006/relationships/tags" Target="../tags/tag85.xml"/><Relationship Id="rId34" Type="http://schemas.openxmlformats.org/officeDocument/2006/relationships/chart" Target="../charts/chart9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25" Type="http://schemas.openxmlformats.org/officeDocument/2006/relationships/tags" Target="../tags/tag89.xml"/><Relationship Id="rId33" Type="http://schemas.openxmlformats.org/officeDocument/2006/relationships/chart" Target="../charts/chart8.xml"/><Relationship Id="rId2" Type="http://schemas.openxmlformats.org/officeDocument/2006/relationships/tags" Target="../tags/tag66.xml"/><Relationship Id="rId16" Type="http://schemas.openxmlformats.org/officeDocument/2006/relationships/tags" Target="../tags/tag80.xml"/><Relationship Id="rId20" Type="http://schemas.openxmlformats.org/officeDocument/2006/relationships/tags" Target="../tags/tag84.xml"/><Relationship Id="rId29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24" Type="http://schemas.openxmlformats.org/officeDocument/2006/relationships/tags" Target="../tags/tag88.xml"/><Relationship Id="rId32" Type="http://schemas.openxmlformats.org/officeDocument/2006/relationships/image" Target="../media/image45.emf"/><Relationship Id="rId5" Type="http://schemas.openxmlformats.org/officeDocument/2006/relationships/tags" Target="../tags/tag69.xml"/><Relationship Id="rId15" Type="http://schemas.openxmlformats.org/officeDocument/2006/relationships/tags" Target="../tags/tag79.xml"/><Relationship Id="rId23" Type="http://schemas.openxmlformats.org/officeDocument/2006/relationships/tags" Target="../tags/tag87.xml"/><Relationship Id="rId28" Type="http://schemas.openxmlformats.org/officeDocument/2006/relationships/tags" Target="../tags/tag92.xml"/><Relationship Id="rId36" Type="http://schemas.openxmlformats.org/officeDocument/2006/relationships/chart" Target="../charts/chart11.xml"/><Relationship Id="rId10" Type="http://schemas.openxmlformats.org/officeDocument/2006/relationships/tags" Target="../tags/tag74.xml"/><Relationship Id="rId19" Type="http://schemas.openxmlformats.org/officeDocument/2006/relationships/tags" Target="../tags/tag83.xml"/><Relationship Id="rId31" Type="http://schemas.openxmlformats.org/officeDocument/2006/relationships/oleObject" Target="../embeddings/oleObject3.bin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Relationship Id="rId22" Type="http://schemas.openxmlformats.org/officeDocument/2006/relationships/tags" Target="../tags/tag86.xml"/><Relationship Id="rId27" Type="http://schemas.openxmlformats.org/officeDocument/2006/relationships/tags" Target="../tags/tag91.xml"/><Relationship Id="rId30" Type="http://schemas.openxmlformats.org/officeDocument/2006/relationships/notesSlide" Target="../notesSlides/notesSlide18.xml"/><Relationship Id="rId35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10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tags" Target="../tags/tag104.xml"/><Relationship Id="rId18" Type="http://schemas.openxmlformats.org/officeDocument/2006/relationships/image" Target="../media/image45.emf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17" Type="http://schemas.openxmlformats.org/officeDocument/2006/relationships/oleObject" Target="../embeddings/oleObject4.bin"/><Relationship Id="rId2" Type="http://schemas.openxmlformats.org/officeDocument/2006/relationships/tags" Target="../tags/tag93.xml"/><Relationship Id="rId16" Type="http://schemas.openxmlformats.org/officeDocument/2006/relationships/notesSlide" Target="../notesSlides/notesSlide19.xml"/><Relationship Id="rId1" Type="http://schemas.openxmlformats.org/officeDocument/2006/relationships/vmlDrawing" Target="../drawings/vmlDrawing5.v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5" Type="http://schemas.openxmlformats.org/officeDocument/2006/relationships/tags" Target="../tags/tag96.xml"/><Relationship Id="rId15" Type="http://schemas.openxmlformats.org/officeDocument/2006/relationships/slideLayout" Target="../slideLayouts/slideLayout1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tags" Target="../tags/tag105.xml"/></Relationships>
</file>

<file path=ppt/slides/_rels/slide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3" Type="http://schemas.openxmlformats.org/officeDocument/2006/relationships/tags" Target="../tags/tag107.xml"/><Relationship Id="rId7" Type="http://schemas.openxmlformats.org/officeDocument/2006/relationships/oleObject" Target="../embeddings/oleObject5.bin"/><Relationship Id="rId2" Type="http://schemas.openxmlformats.org/officeDocument/2006/relationships/tags" Target="../tags/tag106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08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4" Type="http://schemas.openxmlformats.org/officeDocument/2006/relationships/notesSlide" Target="../notesSlides/notesSlide21.xml"/></Relationships>
</file>

<file path=ppt/slides/_rels/slide1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15.xml"/><Relationship Id="rId11" Type="http://schemas.openxmlformats.org/officeDocument/2006/relationships/image" Target="../media/image45.emf"/><Relationship Id="rId5" Type="http://schemas.openxmlformats.org/officeDocument/2006/relationships/tags" Target="../tags/tag114.xml"/><Relationship Id="rId10" Type="http://schemas.openxmlformats.org/officeDocument/2006/relationships/oleObject" Target="../embeddings/oleObject6.bin"/><Relationship Id="rId4" Type="http://schemas.openxmlformats.org/officeDocument/2006/relationships/tags" Target="../tags/tag113.xml"/><Relationship Id="rId9" Type="http://schemas.openxmlformats.org/officeDocument/2006/relationships/notesSlide" Target="../notesSlides/notesSlide22.xml"/></Relationships>
</file>

<file path=ppt/slides/_rels/slide114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tags" Target="../tags/tag128.xml"/><Relationship Id="rId18" Type="http://schemas.openxmlformats.org/officeDocument/2006/relationships/image" Target="../media/image51.emf"/><Relationship Id="rId26" Type="http://schemas.openxmlformats.org/officeDocument/2006/relationships/image" Target="../media/image59.emf"/><Relationship Id="rId3" Type="http://schemas.openxmlformats.org/officeDocument/2006/relationships/tags" Target="../tags/tag118.xml"/><Relationship Id="rId21" Type="http://schemas.openxmlformats.org/officeDocument/2006/relationships/image" Target="../media/image54.emf"/><Relationship Id="rId7" Type="http://schemas.openxmlformats.org/officeDocument/2006/relationships/tags" Target="../tags/tag122.xml"/><Relationship Id="rId12" Type="http://schemas.openxmlformats.org/officeDocument/2006/relationships/tags" Target="../tags/tag127.xml"/><Relationship Id="rId17" Type="http://schemas.openxmlformats.org/officeDocument/2006/relationships/image" Target="../media/image45.emf"/><Relationship Id="rId25" Type="http://schemas.openxmlformats.org/officeDocument/2006/relationships/image" Target="../media/image58.emf"/><Relationship Id="rId2" Type="http://schemas.openxmlformats.org/officeDocument/2006/relationships/tags" Target="../tags/tag117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53.emf"/><Relationship Id="rId1" Type="http://schemas.openxmlformats.org/officeDocument/2006/relationships/vmlDrawing" Target="../drawings/vmlDrawing8.v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24" Type="http://schemas.openxmlformats.org/officeDocument/2006/relationships/image" Target="../media/image57.emf"/><Relationship Id="rId5" Type="http://schemas.openxmlformats.org/officeDocument/2006/relationships/tags" Target="../tags/tag120.xml"/><Relationship Id="rId15" Type="http://schemas.openxmlformats.org/officeDocument/2006/relationships/notesSlide" Target="../notesSlides/notesSlide23.xml"/><Relationship Id="rId23" Type="http://schemas.openxmlformats.org/officeDocument/2006/relationships/image" Target="../media/image56.emf"/><Relationship Id="rId10" Type="http://schemas.openxmlformats.org/officeDocument/2006/relationships/tags" Target="../tags/tag125.xml"/><Relationship Id="rId19" Type="http://schemas.openxmlformats.org/officeDocument/2006/relationships/image" Target="../media/image52.emf"/><Relationship Id="rId4" Type="http://schemas.openxmlformats.org/officeDocument/2006/relationships/tags" Target="../tags/tag119.xml"/><Relationship Id="rId9" Type="http://schemas.openxmlformats.org/officeDocument/2006/relationships/tags" Target="../tags/tag124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55.emf"/></Relationships>
</file>

<file path=ppt/slides/_rels/slide1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4.xml"/><Relationship Id="rId3" Type="http://schemas.openxmlformats.org/officeDocument/2006/relationships/tags" Target="../tags/tag131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59.emf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image" Target="../media/image55.emf"/><Relationship Id="rId5" Type="http://schemas.openxmlformats.org/officeDocument/2006/relationships/tags" Target="../tags/tag133.xml"/><Relationship Id="rId10" Type="http://schemas.openxmlformats.org/officeDocument/2006/relationships/image" Target="../media/image60.emf"/><Relationship Id="rId4" Type="http://schemas.openxmlformats.org/officeDocument/2006/relationships/tags" Target="../tags/tag132.xml"/><Relationship Id="rId9" Type="http://schemas.openxmlformats.org/officeDocument/2006/relationships/image" Target="../media/image52.emf"/></Relationships>
</file>

<file path=ppt/slides/_rels/slide1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tags" Target="../tags/tag139.xml"/><Relationship Id="rId11" Type="http://schemas.openxmlformats.org/officeDocument/2006/relationships/image" Target="../media/image45.emf"/><Relationship Id="rId5" Type="http://schemas.openxmlformats.org/officeDocument/2006/relationships/tags" Target="../tags/tag138.xml"/><Relationship Id="rId10" Type="http://schemas.openxmlformats.org/officeDocument/2006/relationships/oleObject" Target="../embeddings/oleObject8.bin"/><Relationship Id="rId4" Type="http://schemas.openxmlformats.org/officeDocument/2006/relationships/tags" Target="../tags/tag137.xml"/><Relationship Id="rId9" Type="http://schemas.openxmlformats.org/officeDocument/2006/relationships/notesSlide" Target="../notesSlides/notesSlide25.xml"/></Relationships>
</file>

<file path=ppt/slides/_rels/slide117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image" Target="../media/image45.emf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oleObject" Target="../embeddings/oleObject9.bin"/><Relationship Id="rId2" Type="http://schemas.openxmlformats.org/officeDocument/2006/relationships/tags" Target="../tags/tag141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45.xml"/><Relationship Id="rId11" Type="http://schemas.openxmlformats.org/officeDocument/2006/relationships/notesSlide" Target="../notesSlides/notesSlide26.xml"/><Relationship Id="rId5" Type="http://schemas.openxmlformats.org/officeDocument/2006/relationships/tags" Target="../tags/tag144.xml"/><Relationship Id="rId15" Type="http://schemas.openxmlformats.org/officeDocument/2006/relationships/image" Target="../media/image61.emf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image" Target="../media/image55.emf"/></Relationships>
</file>

<file path=ppt/slides/_rels/slide1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7.xml"/><Relationship Id="rId3" Type="http://schemas.openxmlformats.org/officeDocument/2006/relationships/tags" Target="../tags/tag151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5" Type="http://schemas.openxmlformats.org/officeDocument/2006/relationships/tags" Target="../tags/tag153.xml"/><Relationship Id="rId4" Type="http://schemas.openxmlformats.org/officeDocument/2006/relationships/tags" Target="../tags/tag152.xml"/></Relationships>
</file>

<file path=ppt/slides/_rels/slide1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56.xml"/><Relationship Id="rId7" Type="http://schemas.openxmlformats.org/officeDocument/2006/relationships/notesSlide" Target="../notesSlides/notesSlide28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58.xml"/><Relationship Id="rId10" Type="http://schemas.openxmlformats.org/officeDocument/2006/relationships/chart" Target="../charts/chart12.xml"/><Relationship Id="rId4" Type="http://schemas.openxmlformats.org/officeDocument/2006/relationships/tags" Target="../tags/tag157.xml"/><Relationship Id="rId9" Type="http://schemas.openxmlformats.org/officeDocument/2006/relationships/image" Target="../media/image62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5.png"/><Relationship Id="rId18" Type="http://schemas.openxmlformats.org/officeDocument/2006/relationships/image" Target="../media/image20.svg"/><Relationship Id="rId26" Type="http://schemas.openxmlformats.org/officeDocument/2006/relationships/image" Target="../media/image28.svg"/><Relationship Id="rId3" Type="http://schemas.openxmlformats.org/officeDocument/2006/relationships/image" Target="../media/image5.png"/><Relationship Id="rId21" Type="http://schemas.openxmlformats.org/officeDocument/2006/relationships/image" Target="../media/image23.svg"/><Relationship Id="rId7" Type="http://schemas.openxmlformats.org/officeDocument/2006/relationships/image" Target="../media/image9.png"/><Relationship Id="rId12" Type="http://schemas.openxmlformats.org/officeDocument/2006/relationships/image" Target="../media/image14.svg"/><Relationship Id="rId17" Type="http://schemas.openxmlformats.org/officeDocument/2006/relationships/image" Target="../media/image19.png"/><Relationship Id="rId25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8.svg"/><Relationship Id="rId20" Type="http://schemas.openxmlformats.org/officeDocument/2006/relationships/image" Target="../media/image22.png"/><Relationship Id="rId29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svg"/><Relationship Id="rId11" Type="http://schemas.openxmlformats.org/officeDocument/2006/relationships/image" Target="../media/image13.png"/><Relationship Id="rId24" Type="http://schemas.openxmlformats.org/officeDocument/2006/relationships/image" Target="../media/image26.tiff"/><Relationship Id="rId32" Type="http://schemas.openxmlformats.org/officeDocument/2006/relationships/image" Target="../media/image34.sv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23" Type="http://schemas.openxmlformats.org/officeDocument/2006/relationships/image" Target="../media/image25.tiff"/><Relationship Id="rId28" Type="http://schemas.openxmlformats.org/officeDocument/2006/relationships/image" Target="../media/image30.svg"/><Relationship Id="rId10" Type="http://schemas.openxmlformats.org/officeDocument/2006/relationships/image" Target="../media/image12.svg"/><Relationship Id="rId19" Type="http://schemas.openxmlformats.org/officeDocument/2006/relationships/image" Target="../media/image21.jpeg"/><Relationship Id="rId31" Type="http://schemas.openxmlformats.org/officeDocument/2006/relationships/image" Target="../media/image33.png"/><Relationship Id="rId4" Type="http://schemas.openxmlformats.org/officeDocument/2006/relationships/image" Target="../media/image6.svg"/><Relationship Id="rId9" Type="http://schemas.openxmlformats.org/officeDocument/2006/relationships/image" Target="../media/image11.png"/><Relationship Id="rId14" Type="http://schemas.openxmlformats.org/officeDocument/2006/relationships/image" Target="../media/image16.svg"/><Relationship Id="rId22" Type="http://schemas.openxmlformats.org/officeDocument/2006/relationships/image" Target="../media/image24.tiff"/><Relationship Id="rId27" Type="http://schemas.openxmlformats.org/officeDocument/2006/relationships/image" Target="../media/image29.png"/><Relationship Id="rId30" Type="http://schemas.openxmlformats.org/officeDocument/2006/relationships/image" Target="../media/image32.svg"/></Relationships>
</file>

<file path=ppt/slides/_rels/slide1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9.xml"/><Relationship Id="rId3" Type="http://schemas.openxmlformats.org/officeDocument/2006/relationships/tags" Target="../tags/tag160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10" Type="http://schemas.openxmlformats.org/officeDocument/2006/relationships/image" Target="../media/image62.emf"/><Relationship Id="rId4" Type="http://schemas.openxmlformats.org/officeDocument/2006/relationships/tags" Target="../tags/tag161.xml"/><Relationship Id="rId9" Type="http://schemas.openxmlformats.org/officeDocument/2006/relationships/oleObject" Target="../embeddings/oleObject11.bin"/></Relationships>
</file>

<file path=ppt/slides/_rels/slide121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13" Type="http://schemas.openxmlformats.org/officeDocument/2006/relationships/image" Target="../media/image45.emf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16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8.xml"/><Relationship Id="rId11" Type="http://schemas.openxmlformats.org/officeDocument/2006/relationships/notesSlide" Target="../notesSlides/notesSlide30.xml"/><Relationship Id="rId5" Type="http://schemas.openxmlformats.org/officeDocument/2006/relationships/tags" Target="../tags/tag167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166.xml"/><Relationship Id="rId9" Type="http://schemas.openxmlformats.org/officeDocument/2006/relationships/tags" Target="../tags/tag171.xml"/></Relationships>
</file>

<file path=ppt/slides/_rels/slide1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6.xml"/><Relationship Id="rId11" Type="http://schemas.openxmlformats.org/officeDocument/2006/relationships/image" Target="../media/image62.emf"/><Relationship Id="rId5" Type="http://schemas.openxmlformats.org/officeDocument/2006/relationships/tags" Target="../tags/tag175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74.xml"/><Relationship Id="rId9" Type="http://schemas.openxmlformats.org/officeDocument/2006/relationships/notesSlide" Target="../notesSlides/notesSlide31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7" Type="http://schemas.openxmlformats.org/officeDocument/2006/relationships/notesSlide" Target="../notesSlides/notesSlide32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82.xml"/><Relationship Id="rId4" Type="http://schemas.openxmlformats.org/officeDocument/2006/relationships/tags" Target="../tags/tag181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4" Type="http://schemas.openxmlformats.org/officeDocument/2006/relationships/notesSlide" Target="../notesSlides/notesSlide33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notesSlide" Target="../notesSlides/notesSlide34.xml"/><Relationship Id="rId4" Type="http://schemas.openxmlformats.org/officeDocument/2006/relationships/slideLayout" Target="../slideLayouts/slideLayout1.xml"/></Relationships>
</file>

<file path=ppt/slides/_rels/slide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emf"/><Relationship Id="rId3" Type="http://schemas.openxmlformats.org/officeDocument/2006/relationships/tags" Target="../tags/tag189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35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90.xml"/></Relationships>
</file>

<file path=ppt/slides/_rels/slide127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13" Type="http://schemas.openxmlformats.org/officeDocument/2006/relationships/tags" Target="../tags/tag202.xml"/><Relationship Id="rId18" Type="http://schemas.openxmlformats.org/officeDocument/2006/relationships/tags" Target="../tags/tag207.xml"/><Relationship Id="rId26" Type="http://schemas.openxmlformats.org/officeDocument/2006/relationships/tags" Target="../tags/tag215.xml"/><Relationship Id="rId3" Type="http://schemas.openxmlformats.org/officeDocument/2006/relationships/tags" Target="../tags/tag192.xml"/><Relationship Id="rId21" Type="http://schemas.openxmlformats.org/officeDocument/2006/relationships/tags" Target="../tags/tag210.xml"/><Relationship Id="rId34" Type="http://schemas.openxmlformats.org/officeDocument/2006/relationships/slideLayout" Target="../slideLayouts/slideLayout1.xml"/><Relationship Id="rId7" Type="http://schemas.openxmlformats.org/officeDocument/2006/relationships/tags" Target="../tags/tag196.xml"/><Relationship Id="rId12" Type="http://schemas.openxmlformats.org/officeDocument/2006/relationships/tags" Target="../tags/tag201.xml"/><Relationship Id="rId17" Type="http://schemas.openxmlformats.org/officeDocument/2006/relationships/tags" Target="../tags/tag206.xml"/><Relationship Id="rId25" Type="http://schemas.openxmlformats.org/officeDocument/2006/relationships/tags" Target="../tags/tag214.xml"/><Relationship Id="rId33" Type="http://schemas.openxmlformats.org/officeDocument/2006/relationships/tags" Target="../tags/tag222.xml"/><Relationship Id="rId38" Type="http://schemas.openxmlformats.org/officeDocument/2006/relationships/chart" Target="../charts/chart13.xml"/><Relationship Id="rId2" Type="http://schemas.openxmlformats.org/officeDocument/2006/relationships/tags" Target="../tags/tag191.xml"/><Relationship Id="rId16" Type="http://schemas.openxmlformats.org/officeDocument/2006/relationships/tags" Target="../tags/tag205.xml"/><Relationship Id="rId20" Type="http://schemas.openxmlformats.org/officeDocument/2006/relationships/tags" Target="../tags/tag209.xml"/><Relationship Id="rId29" Type="http://schemas.openxmlformats.org/officeDocument/2006/relationships/tags" Target="../tags/tag218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5.xml"/><Relationship Id="rId11" Type="http://schemas.openxmlformats.org/officeDocument/2006/relationships/tags" Target="../tags/tag200.xml"/><Relationship Id="rId24" Type="http://schemas.openxmlformats.org/officeDocument/2006/relationships/tags" Target="../tags/tag213.xml"/><Relationship Id="rId32" Type="http://schemas.openxmlformats.org/officeDocument/2006/relationships/tags" Target="../tags/tag221.xml"/><Relationship Id="rId37" Type="http://schemas.openxmlformats.org/officeDocument/2006/relationships/image" Target="../media/image63.emf"/><Relationship Id="rId5" Type="http://schemas.openxmlformats.org/officeDocument/2006/relationships/tags" Target="../tags/tag194.xml"/><Relationship Id="rId15" Type="http://schemas.openxmlformats.org/officeDocument/2006/relationships/tags" Target="../tags/tag204.xml"/><Relationship Id="rId23" Type="http://schemas.openxmlformats.org/officeDocument/2006/relationships/tags" Target="../tags/tag212.xml"/><Relationship Id="rId28" Type="http://schemas.openxmlformats.org/officeDocument/2006/relationships/tags" Target="../tags/tag217.xml"/><Relationship Id="rId36" Type="http://schemas.openxmlformats.org/officeDocument/2006/relationships/oleObject" Target="../embeddings/oleObject15.bin"/><Relationship Id="rId10" Type="http://schemas.openxmlformats.org/officeDocument/2006/relationships/tags" Target="../tags/tag199.xml"/><Relationship Id="rId19" Type="http://schemas.openxmlformats.org/officeDocument/2006/relationships/tags" Target="../tags/tag208.xml"/><Relationship Id="rId31" Type="http://schemas.openxmlformats.org/officeDocument/2006/relationships/tags" Target="../tags/tag220.xml"/><Relationship Id="rId4" Type="http://schemas.openxmlformats.org/officeDocument/2006/relationships/tags" Target="../tags/tag193.xml"/><Relationship Id="rId9" Type="http://schemas.openxmlformats.org/officeDocument/2006/relationships/tags" Target="../tags/tag198.xml"/><Relationship Id="rId14" Type="http://schemas.openxmlformats.org/officeDocument/2006/relationships/tags" Target="../tags/tag203.xml"/><Relationship Id="rId22" Type="http://schemas.openxmlformats.org/officeDocument/2006/relationships/tags" Target="../tags/tag211.xml"/><Relationship Id="rId27" Type="http://schemas.openxmlformats.org/officeDocument/2006/relationships/tags" Target="../tags/tag216.xml"/><Relationship Id="rId30" Type="http://schemas.openxmlformats.org/officeDocument/2006/relationships/tags" Target="../tags/tag219.xml"/><Relationship Id="rId35" Type="http://schemas.openxmlformats.org/officeDocument/2006/relationships/notesSlide" Target="../notesSlides/notesSlide36.xml"/></Relationships>
</file>

<file path=ppt/slides/_rels/slide128.xml.rels><?xml version="1.0" encoding="UTF-8" standalone="yes"?>
<Relationships xmlns="http://schemas.openxmlformats.org/package/2006/relationships"><Relationship Id="rId13" Type="http://schemas.openxmlformats.org/officeDocument/2006/relationships/tags" Target="../tags/tag234.xml"/><Relationship Id="rId18" Type="http://schemas.openxmlformats.org/officeDocument/2006/relationships/tags" Target="../tags/tag239.xml"/><Relationship Id="rId26" Type="http://schemas.openxmlformats.org/officeDocument/2006/relationships/tags" Target="../tags/tag247.xml"/><Relationship Id="rId39" Type="http://schemas.openxmlformats.org/officeDocument/2006/relationships/tags" Target="../tags/tag260.xml"/><Relationship Id="rId3" Type="http://schemas.openxmlformats.org/officeDocument/2006/relationships/tags" Target="../tags/tag224.xml"/><Relationship Id="rId21" Type="http://schemas.openxmlformats.org/officeDocument/2006/relationships/tags" Target="../tags/tag242.xml"/><Relationship Id="rId34" Type="http://schemas.openxmlformats.org/officeDocument/2006/relationships/tags" Target="../tags/tag255.xml"/><Relationship Id="rId42" Type="http://schemas.openxmlformats.org/officeDocument/2006/relationships/tags" Target="../tags/tag263.xml"/><Relationship Id="rId47" Type="http://schemas.openxmlformats.org/officeDocument/2006/relationships/slideLayout" Target="../slideLayouts/slideLayout1.xml"/><Relationship Id="rId50" Type="http://schemas.openxmlformats.org/officeDocument/2006/relationships/image" Target="../media/image64.emf"/><Relationship Id="rId7" Type="http://schemas.openxmlformats.org/officeDocument/2006/relationships/tags" Target="../tags/tag228.xml"/><Relationship Id="rId12" Type="http://schemas.openxmlformats.org/officeDocument/2006/relationships/tags" Target="../tags/tag233.xml"/><Relationship Id="rId17" Type="http://schemas.openxmlformats.org/officeDocument/2006/relationships/tags" Target="../tags/tag238.xml"/><Relationship Id="rId25" Type="http://schemas.openxmlformats.org/officeDocument/2006/relationships/tags" Target="../tags/tag246.xml"/><Relationship Id="rId33" Type="http://schemas.openxmlformats.org/officeDocument/2006/relationships/tags" Target="../tags/tag254.xml"/><Relationship Id="rId38" Type="http://schemas.openxmlformats.org/officeDocument/2006/relationships/tags" Target="../tags/tag259.xml"/><Relationship Id="rId46" Type="http://schemas.openxmlformats.org/officeDocument/2006/relationships/tags" Target="../tags/tag267.xml"/><Relationship Id="rId2" Type="http://schemas.openxmlformats.org/officeDocument/2006/relationships/tags" Target="../tags/tag223.xml"/><Relationship Id="rId16" Type="http://schemas.openxmlformats.org/officeDocument/2006/relationships/tags" Target="../tags/tag237.xml"/><Relationship Id="rId20" Type="http://schemas.openxmlformats.org/officeDocument/2006/relationships/tags" Target="../tags/tag241.xml"/><Relationship Id="rId29" Type="http://schemas.openxmlformats.org/officeDocument/2006/relationships/tags" Target="../tags/tag250.xml"/><Relationship Id="rId41" Type="http://schemas.openxmlformats.org/officeDocument/2006/relationships/tags" Target="../tags/tag26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27.xml"/><Relationship Id="rId11" Type="http://schemas.openxmlformats.org/officeDocument/2006/relationships/tags" Target="../tags/tag232.xml"/><Relationship Id="rId24" Type="http://schemas.openxmlformats.org/officeDocument/2006/relationships/tags" Target="../tags/tag245.xml"/><Relationship Id="rId32" Type="http://schemas.openxmlformats.org/officeDocument/2006/relationships/tags" Target="../tags/tag253.xml"/><Relationship Id="rId37" Type="http://schemas.openxmlformats.org/officeDocument/2006/relationships/tags" Target="../tags/tag258.xml"/><Relationship Id="rId40" Type="http://schemas.openxmlformats.org/officeDocument/2006/relationships/tags" Target="../tags/tag261.xml"/><Relationship Id="rId45" Type="http://schemas.openxmlformats.org/officeDocument/2006/relationships/tags" Target="../tags/tag266.xml"/><Relationship Id="rId5" Type="http://schemas.openxmlformats.org/officeDocument/2006/relationships/tags" Target="../tags/tag226.xml"/><Relationship Id="rId15" Type="http://schemas.openxmlformats.org/officeDocument/2006/relationships/tags" Target="../tags/tag236.xml"/><Relationship Id="rId23" Type="http://schemas.openxmlformats.org/officeDocument/2006/relationships/tags" Target="../tags/tag244.xml"/><Relationship Id="rId28" Type="http://schemas.openxmlformats.org/officeDocument/2006/relationships/tags" Target="../tags/tag249.xml"/><Relationship Id="rId36" Type="http://schemas.openxmlformats.org/officeDocument/2006/relationships/tags" Target="../tags/tag257.xml"/><Relationship Id="rId49" Type="http://schemas.openxmlformats.org/officeDocument/2006/relationships/oleObject" Target="../embeddings/oleObject16.bin"/><Relationship Id="rId10" Type="http://schemas.openxmlformats.org/officeDocument/2006/relationships/tags" Target="../tags/tag231.xml"/><Relationship Id="rId19" Type="http://schemas.openxmlformats.org/officeDocument/2006/relationships/tags" Target="../tags/tag240.xml"/><Relationship Id="rId31" Type="http://schemas.openxmlformats.org/officeDocument/2006/relationships/tags" Target="../tags/tag252.xml"/><Relationship Id="rId44" Type="http://schemas.openxmlformats.org/officeDocument/2006/relationships/tags" Target="../tags/tag265.xml"/><Relationship Id="rId4" Type="http://schemas.openxmlformats.org/officeDocument/2006/relationships/tags" Target="../tags/tag225.xml"/><Relationship Id="rId9" Type="http://schemas.openxmlformats.org/officeDocument/2006/relationships/tags" Target="../tags/tag230.xml"/><Relationship Id="rId14" Type="http://schemas.openxmlformats.org/officeDocument/2006/relationships/tags" Target="../tags/tag235.xml"/><Relationship Id="rId22" Type="http://schemas.openxmlformats.org/officeDocument/2006/relationships/tags" Target="../tags/tag243.xml"/><Relationship Id="rId27" Type="http://schemas.openxmlformats.org/officeDocument/2006/relationships/tags" Target="../tags/tag248.xml"/><Relationship Id="rId30" Type="http://schemas.openxmlformats.org/officeDocument/2006/relationships/tags" Target="../tags/tag251.xml"/><Relationship Id="rId35" Type="http://schemas.openxmlformats.org/officeDocument/2006/relationships/tags" Target="../tags/tag256.xml"/><Relationship Id="rId43" Type="http://schemas.openxmlformats.org/officeDocument/2006/relationships/tags" Target="../tags/tag264.xml"/><Relationship Id="rId48" Type="http://schemas.openxmlformats.org/officeDocument/2006/relationships/notesSlide" Target="../notesSlides/notesSlide37.xml"/><Relationship Id="rId8" Type="http://schemas.openxmlformats.org/officeDocument/2006/relationships/tags" Target="../tags/tag229.xml"/></Relationships>
</file>

<file path=ppt/slides/_rels/slide129.xml.rels><?xml version="1.0" encoding="UTF-8" standalone="yes"?>
<Relationships xmlns="http://schemas.openxmlformats.org/package/2006/relationships"><Relationship Id="rId8" Type="http://schemas.openxmlformats.org/officeDocument/2006/relationships/tags" Target="../tags/tag274.xml"/><Relationship Id="rId13" Type="http://schemas.openxmlformats.org/officeDocument/2006/relationships/tags" Target="../tags/tag279.xml"/><Relationship Id="rId18" Type="http://schemas.openxmlformats.org/officeDocument/2006/relationships/tags" Target="../tags/tag284.xml"/><Relationship Id="rId26" Type="http://schemas.openxmlformats.org/officeDocument/2006/relationships/tags" Target="../tags/tag292.xml"/><Relationship Id="rId39" Type="http://schemas.openxmlformats.org/officeDocument/2006/relationships/notesSlide" Target="../notesSlides/notesSlide38.xml"/><Relationship Id="rId3" Type="http://schemas.openxmlformats.org/officeDocument/2006/relationships/tags" Target="../tags/tag269.xml"/><Relationship Id="rId21" Type="http://schemas.openxmlformats.org/officeDocument/2006/relationships/tags" Target="../tags/tag287.xml"/><Relationship Id="rId34" Type="http://schemas.openxmlformats.org/officeDocument/2006/relationships/tags" Target="../tags/tag300.xml"/><Relationship Id="rId42" Type="http://schemas.openxmlformats.org/officeDocument/2006/relationships/chart" Target="../charts/chart14.xml"/><Relationship Id="rId7" Type="http://schemas.openxmlformats.org/officeDocument/2006/relationships/tags" Target="../tags/tag273.xml"/><Relationship Id="rId12" Type="http://schemas.openxmlformats.org/officeDocument/2006/relationships/tags" Target="../tags/tag278.xml"/><Relationship Id="rId17" Type="http://schemas.openxmlformats.org/officeDocument/2006/relationships/tags" Target="../tags/tag283.xml"/><Relationship Id="rId25" Type="http://schemas.openxmlformats.org/officeDocument/2006/relationships/tags" Target="../tags/tag291.xml"/><Relationship Id="rId33" Type="http://schemas.openxmlformats.org/officeDocument/2006/relationships/tags" Target="../tags/tag299.xml"/><Relationship Id="rId38" Type="http://schemas.openxmlformats.org/officeDocument/2006/relationships/slideLayout" Target="../slideLayouts/slideLayout1.xml"/><Relationship Id="rId2" Type="http://schemas.openxmlformats.org/officeDocument/2006/relationships/tags" Target="../tags/tag268.xml"/><Relationship Id="rId16" Type="http://schemas.openxmlformats.org/officeDocument/2006/relationships/tags" Target="../tags/tag282.xml"/><Relationship Id="rId20" Type="http://schemas.openxmlformats.org/officeDocument/2006/relationships/tags" Target="../tags/tag286.xml"/><Relationship Id="rId29" Type="http://schemas.openxmlformats.org/officeDocument/2006/relationships/tags" Target="../tags/tag295.xml"/><Relationship Id="rId41" Type="http://schemas.openxmlformats.org/officeDocument/2006/relationships/image" Target="../media/image65.emf"/><Relationship Id="rId1" Type="http://schemas.openxmlformats.org/officeDocument/2006/relationships/vmlDrawing" Target="../drawings/vmlDrawing18.vml"/><Relationship Id="rId6" Type="http://schemas.openxmlformats.org/officeDocument/2006/relationships/tags" Target="../tags/tag272.xml"/><Relationship Id="rId11" Type="http://schemas.openxmlformats.org/officeDocument/2006/relationships/tags" Target="../tags/tag277.xml"/><Relationship Id="rId24" Type="http://schemas.openxmlformats.org/officeDocument/2006/relationships/tags" Target="../tags/tag290.xml"/><Relationship Id="rId32" Type="http://schemas.openxmlformats.org/officeDocument/2006/relationships/tags" Target="../tags/tag298.xml"/><Relationship Id="rId37" Type="http://schemas.openxmlformats.org/officeDocument/2006/relationships/tags" Target="../tags/tag303.xml"/><Relationship Id="rId40" Type="http://schemas.openxmlformats.org/officeDocument/2006/relationships/oleObject" Target="../embeddings/oleObject17.bin"/><Relationship Id="rId5" Type="http://schemas.openxmlformats.org/officeDocument/2006/relationships/tags" Target="../tags/tag271.xml"/><Relationship Id="rId15" Type="http://schemas.openxmlformats.org/officeDocument/2006/relationships/tags" Target="../tags/tag281.xml"/><Relationship Id="rId23" Type="http://schemas.openxmlformats.org/officeDocument/2006/relationships/tags" Target="../tags/tag289.xml"/><Relationship Id="rId28" Type="http://schemas.openxmlformats.org/officeDocument/2006/relationships/tags" Target="../tags/tag294.xml"/><Relationship Id="rId36" Type="http://schemas.openxmlformats.org/officeDocument/2006/relationships/tags" Target="../tags/tag302.xml"/><Relationship Id="rId10" Type="http://schemas.openxmlformats.org/officeDocument/2006/relationships/tags" Target="../tags/tag276.xml"/><Relationship Id="rId19" Type="http://schemas.openxmlformats.org/officeDocument/2006/relationships/tags" Target="../tags/tag285.xml"/><Relationship Id="rId31" Type="http://schemas.openxmlformats.org/officeDocument/2006/relationships/tags" Target="../tags/tag297.xml"/><Relationship Id="rId44" Type="http://schemas.openxmlformats.org/officeDocument/2006/relationships/image" Target="../media/image66.emf"/><Relationship Id="rId4" Type="http://schemas.openxmlformats.org/officeDocument/2006/relationships/tags" Target="../tags/tag270.xml"/><Relationship Id="rId9" Type="http://schemas.openxmlformats.org/officeDocument/2006/relationships/tags" Target="../tags/tag275.xml"/><Relationship Id="rId14" Type="http://schemas.openxmlformats.org/officeDocument/2006/relationships/tags" Target="../tags/tag280.xml"/><Relationship Id="rId22" Type="http://schemas.openxmlformats.org/officeDocument/2006/relationships/tags" Target="../tags/tag288.xml"/><Relationship Id="rId27" Type="http://schemas.openxmlformats.org/officeDocument/2006/relationships/tags" Target="../tags/tag293.xml"/><Relationship Id="rId30" Type="http://schemas.openxmlformats.org/officeDocument/2006/relationships/tags" Target="../tags/tag296.xml"/><Relationship Id="rId35" Type="http://schemas.openxmlformats.org/officeDocument/2006/relationships/tags" Target="../tags/tag301.xml"/><Relationship Id="rId43" Type="http://schemas.openxmlformats.org/officeDocument/2006/relationships/oleObject" Target="../embeddings/oleObject18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30.xml.rels><?xml version="1.0" encoding="UTF-8" standalone="yes"?>
<Relationships xmlns="http://schemas.openxmlformats.org/package/2006/relationships"><Relationship Id="rId8" Type="http://schemas.openxmlformats.org/officeDocument/2006/relationships/tags" Target="../tags/tag310.xml"/><Relationship Id="rId13" Type="http://schemas.openxmlformats.org/officeDocument/2006/relationships/tags" Target="../tags/tag315.xml"/><Relationship Id="rId18" Type="http://schemas.openxmlformats.org/officeDocument/2006/relationships/tags" Target="../tags/tag320.xml"/><Relationship Id="rId3" Type="http://schemas.openxmlformats.org/officeDocument/2006/relationships/tags" Target="../tags/tag305.xml"/><Relationship Id="rId21" Type="http://schemas.openxmlformats.org/officeDocument/2006/relationships/oleObject" Target="../embeddings/oleObject19.bin"/><Relationship Id="rId7" Type="http://schemas.openxmlformats.org/officeDocument/2006/relationships/tags" Target="../tags/tag309.xml"/><Relationship Id="rId12" Type="http://schemas.openxmlformats.org/officeDocument/2006/relationships/tags" Target="../tags/tag314.xml"/><Relationship Id="rId17" Type="http://schemas.openxmlformats.org/officeDocument/2006/relationships/tags" Target="../tags/tag319.xml"/><Relationship Id="rId2" Type="http://schemas.openxmlformats.org/officeDocument/2006/relationships/tags" Target="../tags/tag304.xml"/><Relationship Id="rId16" Type="http://schemas.openxmlformats.org/officeDocument/2006/relationships/tags" Target="../tags/tag318.xml"/><Relationship Id="rId20" Type="http://schemas.openxmlformats.org/officeDocument/2006/relationships/notesSlide" Target="../notesSlides/notesSlide39.xml"/><Relationship Id="rId1" Type="http://schemas.openxmlformats.org/officeDocument/2006/relationships/vmlDrawing" Target="../drawings/vmlDrawing19.vml"/><Relationship Id="rId6" Type="http://schemas.openxmlformats.org/officeDocument/2006/relationships/tags" Target="../tags/tag308.xml"/><Relationship Id="rId11" Type="http://schemas.openxmlformats.org/officeDocument/2006/relationships/tags" Target="../tags/tag313.xml"/><Relationship Id="rId5" Type="http://schemas.openxmlformats.org/officeDocument/2006/relationships/tags" Target="../tags/tag307.xml"/><Relationship Id="rId15" Type="http://schemas.openxmlformats.org/officeDocument/2006/relationships/tags" Target="../tags/tag317.xml"/><Relationship Id="rId23" Type="http://schemas.openxmlformats.org/officeDocument/2006/relationships/chart" Target="../charts/chart15.xml"/><Relationship Id="rId10" Type="http://schemas.openxmlformats.org/officeDocument/2006/relationships/tags" Target="../tags/tag312.xml"/><Relationship Id="rId19" Type="http://schemas.openxmlformats.org/officeDocument/2006/relationships/slideLayout" Target="../slideLayouts/slideLayout1.xml"/><Relationship Id="rId4" Type="http://schemas.openxmlformats.org/officeDocument/2006/relationships/tags" Target="../tags/tag306.xml"/><Relationship Id="rId9" Type="http://schemas.openxmlformats.org/officeDocument/2006/relationships/tags" Target="../tags/tag311.xml"/><Relationship Id="rId14" Type="http://schemas.openxmlformats.org/officeDocument/2006/relationships/tags" Target="../tags/tag316.xml"/><Relationship Id="rId22" Type="http://schemas.openxmlformats.org/officeDocument/2006/relationships/image" Target="../media/image63.emf"/></Relationships>
</file>

<file path=ppt/slides/_rels/slide131.xml.rels><?xml version="1.0" encoding="UTF-8" standalone="yes"?>
<Relationships xmlns="http://schemas.openxmlformats.org/package/2006/relationships"><Relationship Id="rId13" Type="http://schemas.openxmlformats.org/officeDocument/2006/relationships/tags" Target="../tags/tag332.xml"/><Relationship Id="rId18" Type="http://schemas.openxmlformats.org/officeDocument/2006/relationships/tags" Target="../tags/tag337.xml"/><Relationship Id="rId26" Type="http://schemas.openxmlformats.org/officeDocument/2006/relationships/tags" Target="../tags/tag345.xml"/><Relationship Id="rId39" Type="http://schemas.openxmlformats.org/officeDocument/2006/relationships/tags" Target="../tags/tag358.xml"/><Relationship Id="rId3" Type="http://schemas.openxmlformats.org/officeDocument/2006/relationships/tags" Target="../tags/tag322.xml"/><Relationship Id="rId21" Type="http://schemas.openxmlformats.org/officeDocument/2006/relationships/tags" Target="../tags/tag340.xml"/><Relationship Id="rId34" Type="http://schemas.openxmlformats.org/officeDocument/2006/relationships/tags" Target="../tags/tag353.xml"/><Relationship Id="rId42" Type="http://schemas.openxmlformats.org/officeDocument/2006/relationships/tags" Target="../tags/tag361.xml"/><Relationship Id="rId47" Type="http://schemas.openxmlformats.org/officeDocument/2006/relationships/oleObject" Target="../embeddings/oleObject20.bin"/><Relationship Id="rId7" Type="http://schemas.openxmlformats.org/officeDocument/2006/relationships/tags" Target="../tags/tag326.xml"/><Relationship Id="rId12" Type="http://schemas.openxmlformats.org/officeDocument/2006/relationships/tags" Target="../tags/tag331.xml"/><Relationship Id="rId17" Type="http://schemas.openxmlformats.org/officeDocument/2006/relationships/tags" Target="../tags/tag336.xml"/><Relationship Id="rId25" Type="http://schemas.openxmlformats.org/officeDocument/2006/relationships/tags" Target="../tags/tag344.xml"/><Relationship Id="rId33" Type="http://schemas.openxmlformats.org/officeDocument/2006/relationships/tags" Target="../tags/tag352.xml"/><Relationship Id="rId38" Type="http://schemas.openxmlformats.org/officeDocument/2006/relationships/tags" Target="../tags/tag357.xml"/><Relationship Id="rId46" Type="http://schemas.openxmlformats.org/officeDocument/2006/relationships/notesSlide" Target="../notesSlides/notesSlide40.xml"/><Relationship Id="rId2" Type="http://schemas.openxmlformats.org/officeDocument/2006/relationships/tags" Target="../tags/tag321.xml"/><Relationship Id="rId16" Type="http://schemas.openxmlformats.org/officeDocument/2006/relationships/tags" Target="../tags/tag335.xml"/><Relationship Id="rId20" Type="http://schemas.openxmlformats.org/officeDocument/2006/relationships/tags" Target="../tags/tag339.xml"/><Relationship Id="rId29" Type="http://schemas.openxmlformats.org/officeDocument/2006/relationships/tags" Target="../tags/tag348.xml"/><Relationship Id="rId41" Type="http://schemas.openxmlformats.org/officeDocument/2006/relationships/tags" Target="../tags/tag360.xml"/><Relationship Id="rId1" Type="http://schemas.openxmlformats.org/officeDocument/2006/relationships/vmlDrawing" Target="../drawings/vmlDrawing20.vml"/><Relationship Id="rId6" Type="http://schemas.openxmlformats.org/officeDocument/2006/relationships/tags" Target="../tags/tag325.xml"/><Relationship Id="rId11" Type="http://schemas.openxmlformats.org/officeDocument/2006/relationships/tags" Target="../tags/tag330.xml"/><Relationship Id="rId24" Type="http://schemas.openxmlformats.org/officeDocument/2006/relationships/tags" Target="../tags/tag343.xml"/><Relationship Id="rId32" Type="http://schemas.openxmlformats.org/officeDocument/2006/relationships/tags" Target="../tags/tag351.xml"/><Relationship Id="rId37" Type="http://schemas.openxmlformats.org/officeDocument/2006/relationships/tags" Target="../tags/tag356.xml"/><Relationship Id="rId40" Type="http://schemas.openxmlformats.org/officeDocument/2006/relationships/tags" Target="../tags/tag359.xml"/><Relationship Id="rId45" Type="http://schemas.openxmlformats.org/officeDocument/2006/relationships/slideLayout" Target="../slideLayouts/slideLayout1.xml"/><Relationship Id="rId5" Type="http://schemas.openxmlformats.org/officeDocument/2006/relationships/tags" Target="../tags/tag324.xml"/><Relationship Id="rId15" Type="http://schemas.openxmlformats.org/officeDocument/2006/relationships/tags" Target="../tags/tag334.xml"/><Relationship Id="rId23" Type="http://schemas.openxmlformats.org/officeDocument/2006/relationships/tags" Target="../tags/tag342.xml"/><Relationship Id="rId28" Type="http://schemas.openxmlformats.org/officeDocument/2006/relationships/tags" Target="../tags/tag347.xml"/><Relationship Id="rId36" Type="http://schemas.openxmlformats.org/officeDocument/2006/relationships/tags" Target="../tags/tag355.xml"/><Relationship Id="rId49" Type="http://schemas.openxmlformats.org/officeDocument/2006/relationships/chart" Target="../charts/chart16.xml"/><Relationship Id="rId10" Type="http://schemas.openxmlformats.org/officeDocument/2006/relationships/tags" Target="../tags/tag329.xml"/><Relationship Id="rId19" Type="http://schemas.openxmlformats.org/officeDocument/2006/relationships/tags" Target="../tags/tag338.xml"/><Relationship Id="rId31" Type="http://schemas.openxmlformats.org/officeDocument/2006/relationships/tags" Target="../tags/tag350.xml"/><Relationship Id="rId44" Type="http://schemas.openxmlformats.org/officeDocument/2006/relationships/tags" Target="../tags/tag363.xml"/><Relationship Id="rId4" Type="http://schemas.openxmlformats.org/officeDocument/2006/relationships/tags" Target="../tags/tag323.xml"/><Relationship Id="rId9" Type="http://schemas.openxmlformats.org/officeDocument/2006/relationships/tags" Target="../tags/tag328.xml"/><Relationship Id="rId14" Type="http://schemas.openxmlformats.org/officeDocument/2006/relationships/tags" Target="../tags/tag333.xml"/><Relationship Id="rId22" Type="http://schemas.openxmlformats.org/officeDocument/2006/relationships/tags" Target="../tags/tag341.xml"/><Relationship Id="rId27" Type="http://schemas.openxmlformats.org/officeDocument/2006/relationships/tags" Target="../tags/tag346.xml"/><Relationship Id="rId30" Type="http://schemas.openxmlformats.org/officeDocument/2006/relationships/tags" Target="../tags/tag349.xml"/><Relationship Id="rId35" Type="http://schemas.openxmlformats.org/officeDocument/2006/relationships/tags" Target="../tags/tag354.xml"/><Relationship Id="rId43" Type="http://schemas.openxmlformats.org/officeDocument/2006/relationships/tags" Target="../tags/tag362.xml"/><Relationship Id="rId48" Type="http://schemas.openxmlformats.org/officeDocument/2006/relationships/image" Target="../media/image63.emf"/><Relationship Id="rId8" Type="http://schemas.openxmlformats.org/officeDocument/2006/relationships/tags" Target="../tags/tag327.xml"/></Relationships>
</file>

<file path=ppt/slides/_rels/slide132.xml.rels><?xml version="1.0" encoding="UTF-8" standalone="yes"?>
<Relationships xmlns="http://schemas.openxmlformats.org/package/2006/relationships"><Relationship Id="rId8" Type="http://schemas.openxmlformats.org/officeDocument/2006/relationships/tags" Target="../tags/tag370.xml"/><Relationship Id="rId13" Type="http://schemas.openxmlformats.org/officeDocument/2006/relationships/tags" Target="../tags/tag375.xml"/><Relationship Id="rId18" Type="http://schemas.openxmlformats.org/officeDocument/2006/relationships/tags" Target="../tags/tag380.xml"/><Relationship Id="rId26" Type="http://schemas.openxmlformats.org/officeDocument/2006/relationships/tags" Target="../tags/tag388.xml"/><Relationship Id="rId39" Type="http://schemas.openxmlformats.org/officeDocument/2006/relationships/slideLayout" Target="../slideLayouts/slideLayout1.xml"/><Relationship Id="rId3" Type="http://schemas.openxmlformats.org/officeDocument/2006/relationships/tags" Target="../tags/tag365.xml"/><Relationship Id="rId21" Type="http://schemas.openxmlformats.org/officeDocument/2006/relationships/tags" Target="../tags/tag383.xml"/><Relationship Id="rId34" Type="http://schemas.openxmlformats.org/officeDocument/2006/relationships/tags" Target="../tags/tag396.xml"/><Relationship Id="rId42" Type="http://schemas.openxmlformats.org/officeDocument/2006/relationships/image" Target="../media/image63.emf"/><Relationship Id="rId7" Type="http://schemas.openxmlformats.org/officeDocument/2006/relationships/tags" Target="../tags/tag369.xml"/><Relationship Id="rId12" Type="http://schemas.openxmlformats.org/officeDocument/2006/relationships/tags" Target="../tags/tag374.xml"/><Relationship Id="rId17" Type="http://schemas.openxmlformats.org/officeDocument/2006/relationships/tags" Target="../tags/tag379.xml"/><Relationship Id="rId25" Type="http://schemas.openxmlformats.org/officeDocument/2006/relationships/tags" Target="../tags/tag387.xml"/><Relationship Id="rId33" Type="http://schemas.openxmlformats.org/officeDocument/2006/relationships/tags" Target="../tags/tag395.xml"/><Relationship Id="rId38" Type="http://schemas.openxmlformats.org/officeDocument/2006/relationships/tags" Target="../tags/tag400.xml"/><Relationship Id="rId2" Type="http://schemas.openxmlformats.org/officeDocument/2006/relationships/tags" Target="../tags/tag364.xml"/><Relationship Id="rId16" Type="http://schemas.openxmlformats.org/officeDocument/2006/relationships/tags" Target="../tags/tag378.xml"/><Relationship Id="rId20" Type="http://schemas.openxmlformats.org/officeDocument/2006/relationships/tags" Target="../tags/tag382.xml"/><Relationship Id="rId29" Type="http://schemas.openxmlformats.org/officeDocument/2006/relationships/tags" Target="../tags/tag391.xml"/><Relationship Id="rId41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368.xml"/><Relationship Id="rId11" Type="http://schemas.openxmlformats.org/officeDocument/2006/relationships/tags" Target="../tags/tag373.xml"/><Relationship Id="rId24" Type="http://schemas.openxmlformats.org/officeDocument/2006/relationships/tags" Target="../tags/tag386.xml"/><Relationship Id="rId32" Type="http://schemas.openxmlformats.org/officeDocument/2006/relationships/tags" Target="../tags/tag394.xml"/><Relationship Id="rId37" Type="http://schemas.openxmlformats.org/officeDocument/2006/relationships/tags" Target="../tags/tag399.xml"/><Relationship Id="rId40" Type="http://schemas.openxmlformats.org/officeDocument/2006/relationships/notesSlide" Target="../notesSlides/notesSlide41.xml"/><Relationship Id="rId5" Type="http://schemas.openxmlformats.org/officeDocument/2006/relationships/tags" Target="../tags/tag367.xml"/><Relationship Id="rId15" Type="http://schemas.openxmlformats.org/officeDocument/2006/relationships/tags" Target="../tags/tag377.xml"/><Relationship Id="rId23" Type="http://schemas.openxmlformats.org/officeDocument/2006/relationships/tags" Target="../tags/tag385.xml"/><Relationship Id="rId28" Type="http://schemas.openxmlformats.org/officeDocument/2006/relationships/tags" Target="../tags/tag390.xml"/><Relationship Id="rId36" Type="http://schemas.openxmlformats.org/officeDocument/2006/relationships/tags" Target="../tags/tag398.xml"/><Relationship Id="rId10" Type="http://schemas.openxmlformats.org/officeDocument/2006/relationships/tags" Target="../tags/tag372.xml"/><Relationship Id="rId19" Type="http://schemas.openxmlformats.org/officeDocument/2006/relationships/tags" Target="../tags/tag381.xml"/><Relationship Id="rId31" Type="http://schemas.openxmlformats.org/officeDocument/2006/relationships/tags" Target="../tags/tag393.xml"/><Relationship Id="rId4" Type="http://schemas.openxmlformats.org/officeDocument/2006/relationships/tags" Target="../tags/tag366.xml"/><Relationship Id="rId9" Type="http://schemas.openxmlformats.org/officeDocument/2006/relationships/tags" Target="../tags/tag371.xml"/><Relationship Id="rId14" Type="http://schemas.openxmlformats.org/officeDocument/2006/relationships/tags" Target="../tags/tag376.xml"/><Relationship Id="rId22" Type="http://schemas.openxmlformats.org/officeDocument/2006/relationships/tags" Target="../tags/tag384.xml"/><Relationship Id="rId27" Type="http://schemas.openxmlformats.org/officeDocument/2006/relationships/tags" Target="../tags/tag389.xml"/><Relationship Id="rId30" Type="http://schemas.openxmlformats.org/officeDocument/2006/relationships/tags" Target="../tags/tag392.xml"/><Relationship Id="rId35" Type="http://schemas.openxmlformats.org/officeDocument/2006/relationships/tags" Target="../tags/tag397.xml"/><Relationship Id="rId43" Type="http://schemas.openxmlformats.org/officeDocument/2006/relationships/chart" Target="../charts/chart17.xml"/></Relationships>
</file>

<file path=ppt/slides/_rels/slide133.xml.rels><?xml version="1.0" encoding="UTF-8" standalone="yes"?>
<Relationships xmlns="http://schemas.openxmlformats.org/package/2006/relationships"><Relationship Id="rId8" Type="http://schemas.openxmlformats.org/officeDocument/2006/relationships/tags" Target="../tags/tag407.xml"/><Relationship Id="rId13" Type="http://schemas.openxmlformats.org/officeDocument/2006/relationships/tags" Target="../tags/tag412.xml"/><Relationship Id="rId18" Type="http://schemas.openxmlformats.org/officeDocument/2006/relationships/tags" Target="../tags/tag417.xml"/><Relationship Id="rId3" Type="http://schemas.openxmlformats.org/officeDocument/2006/relationships/tags" Target="../tags/tag402.xml"/><Relationship Id="rId21" Type="http://schemas.openxmlformats.org/officeDocument/2006/relationships/oleObject" Target="../embeddings/oleObject22.bin"/><Relationship Id="rId7" Type="http://schemas.openxmlformats.org/officeDocument/2006/relationships/tags" Target="../tags/tag406.xml"/><Relationship Id="rId12" Type="http://schemas.openxmlformats.org/officeDocument/2006/relationships/tags" Target="../tags/tag411.xml"/><Relationship Id="rId17" Type="http://schemas.openxmlformats.org/officeDocument/2006/relationships/tags" Target="../tags/tag416.xml"/><Relationship Id="rId2" Type="http://schemas.openxmlformats.org/officeDocument/2006/relationships/tags" Target="../tags/tag401.xml"/><Relationship Id="rId16" Type="http://schemas.openxmlformats.org/officeDocument/2006/relationships/tags" Target="../tags/tag415.xml"/><Relationship Id="rId20" Type="http://schemas.openxmlformats.org/officeDocument/2006/relationships/notesSlide" Target="../notesSlides/notesSlide42.xml"/><Relationship Id="rId1" Type="http://schemas.openxmlformats.org/officeDocument/2006/relationships/vmlDrawing" Target="../drawings/vmlDrawing22.vml"/><Relationship Id="rId6" Type="http://schemas.openxmlformats.org/officeDocument/2006/relationships/tags" Target="../tags/tag405.xml"/><Relationship Id="rId11" Type="http://schemas.openxmlformats.org/officeDocument/2006/relationships/tags" Target="../tags/tag410.xml"/><Relationship Id="rId5" Type="http://schemas.openxmlformats.org/officeDocument/2006/relationships/tags" Target="../tags/tag404.xml"/><Relationship Id="rId15" Type="http://schemas.openxmlformats.org/officeDocument/2006/relationships/tags" Target="../tags/tag414.xml"/><Relationship Id="rId23" Type="http://schemas.openxmlformats.org/officeDocument/2006/relationships/chart" Target="../charts/chart18.xml"/><Relationship Id="rId10" Type="http://schemas.openxmlformats.org/officeDocument/2006/relationships/tags" Target="../tags/tag409.xml"/><Relationship Id="rId19" Type="http://schemas.openxmlformats.org/officeDocument/2006/relationships/slideLayout" Target="../slideLayouts/slideLayout1.xml"/><Relationship Id="rId4" Type="http://schemas.openxmlformats.org/officeDocument/2006/relationships/tags" Target="../tags/tag403.xml"/><Relationship Id="rId9" Type="http://schemas.openxmlformats.org/officeDocument/2006/relationships/tags" Target="../tags/tag408.xml"/><Relationship Id="rId14" Type="http://schemas.openxmlformats.org/officeDocument/2006/relationships/tags" Target="../tags/tag413.xml"/><Relationship Id="rId22" Type="http://schemas.openxmlformats.org/officeDocument/2006/relationships/image" Target="../media/image63.emf"/></Relationships>
</file>

<file path=ppt/slides/_rels/slide134.xml.rels><?xml version="1.0" encoding="UTF-8" standalone="yes"?>
<Relationships xmlns="http://schemas.openxmlformats.org/package/2006/relationships"><Relationship Id="rId8" Type="http://schemas.openxmlformats.org/officeDocument/2006/relationships/tags" Target="../tags/tag424.xml"/><Relationship Id="rId13" Type="http://schemas.openxmlformats.org/officeDocument/2006/relationships/tags" Target="../tags/tag429.xml"/><Relationship Id="rId18" Type="http://schemas.openxmlformats.org/officeDocument/2006/relationships/tags" Target="../tags/tag434.xml"/><Relationship Id="rId3" Type="http://schemas.openxmlformats.org/officeDocument/2006/relationships/tags" Target="../tags/tag419.xml"/><Relationship Id="rId21" Type="http://schemas.openxmlformats.org/officeDocument/2006/relationships/oleObject" Target="../embeddings/oleObject23.bin"/><Relationship Id="rId7" Type="http://schemas.openxmlformats.org/officeDocument/2006/relationships/tags" Target="../tags/tag423.xml"/><Relationship Id="rId12" Type="http://schemas.openxmlformats.org/officeDocument/2006/relationships/tags" Target="../tags/tag428.xml"/><Relationship Id="rId17" Type="http://schemas.openxmlformats.org/officeDocument/2006/relationships/tags" Target="../tags/tag433.xml"/><Relationship Id="rId2" Type="http://schemas.openxmlformats.org/officeDocument/2006/relationships/tags" Target="../tags/tag418.xml"/><Relationship Id="rId16" Type="http://schemas.openxmlformats.org/officeDocument/2006/relationships/tags" Target="../tags/tag432.xml"/><Relationship Id="rId20" Type="http://schemas.openxmlformats.org/officeDocument/2006/relationships/notesSlide" Target="../notesSlides/notesSlide43.xml"/><Relationship Id="rId1" Type="http://schemas.openxmlformats.org/officeDocument/2006/relationships/vmlDrawing" Target="../drawings/vmlDrawing23.vml"/><Relationship Id="rId6" Type="http://schemas.openxmlformats.org/officeDocument/2006/relationships/tags" Target="../tags/tag422.xml"/><Relationship Id="rId11" Type="http://schemas.openxmlformats.org/officeDocument/2006/relationships/tags" Target="../tags/tag427.xml"/><Relationship Id="rId5" Type="http://schemas.openxmlformats.org/officeDocument/2006/relationships/tags" Target="../tags/tag421.xml"/><Relationship Id="rId15" Type="http://schemas.openxmlformats.org/officeDocument/2006/relationships/tags" Target="../tags/tag431.xml"/><Relationship Id="rId23" Type="http://schemas.openxmlformats.org/officeDocument/2006/relationships/chart" Target="../charts/chart19.xml"/><Relationship Id="rId10" Type="http://schemas.openxmlformats.org/officeDocument/2006/relationships/tags" Target="../tags/tag426.xml"/><Relationship Id="rId19" Type="http://schemas.openxmlformats.org/officeDocument/2006/relationships/slideLayout" Target="../slideLayouts/slideLayout1.xml"/><Relationship Id="rId4" Type="http://schemas.openxmlformats.org/officeDocument/2006/relationships/tags" Target="../tags/tag420.xml"/><Relationship Id="rId9" Type="http://schemas.openxmlformats.org/officeDocument/2006/relationships/tags" Target="../tags/tag425.xml"/><Relationship Id="rId14" Type="http://schemas.openxmlformats.org/officeDocument/2006/relationships/tags" Target="../tags/tag430.xml"/><Relationship Id="rId22" Type="http://schemas.openxmlformats.org/officeDocument/2006/relationships/image" Target="../media/image63.emf"/></Relationships>
</file>

<file path=ppt/slides/_rels/slide135.xml.rels><?xml version="1.0" encoding="UTF-8" standalone="yes"?>
<Relationships xmlns="http://schemas.openxmlformats.org/package/2006/relationships"><Relationship Id="rId8" Type="http://schemas.openxmlformats.org/officeDocument/2006/relationships/tags" Target="../tags/tag441.xml"/><Relationship Id="rId13" Type="http://schemas.openxmlformats.org/officeDocument/2006/relationships/tags" Target="../tags/tag446.xml"/><Relationship Id="rId18" Type="http://schemas.openxmlformats.org/officeDocument/2006/relationships/tags" Target="../tags/tag451.xml"/><Relationship Id="rId26" Type="http://schemas.openxmlformats.org/officeDocument/2006/relationships/tags" Target="../tags/tag459.xml"/><Relationship Id="rId39" Type="http://schemas.openxmlformats.org/officeDocument/2006/relationships/image" Target="../media/image63.emf"/><Relationship Id="rId3" Type="http://schemas.openxmlformats.org/officeDocument/2006/relationships/tags" Target="../tags/tag436.xml"/><Relationship Id="rId21" Type="http://schemas.openxmlformats.org/officeDocument/2006/relationships/tags" Target="../tags/tag454.xml"/><Relationship Id="rId34" Type="http://schemas.openxmlformats.org/officeDocument/2006/relationships/tags" Target="../tags/tag467.xml"/><Relationship Id="rId7" Type="http://schemas.openxmlformats.org/officeDocument/2006/relationships/tags" Target="../tags/tag440.xml"/><Relationship Id="rId12" Type="http://schemas.openxmlformats.org/officeDocument/2006/relationships/tags" Target="../tags/tag445.xml"/><Relationship Id="rId17" Type="http://schemas.openxmlformats.org/officeDocument/2006/relationships/tags" Target="../tags/tag450.xml"/><Relationship Id="rId25" Type="http://schemas.openxmlformats.org/officeDocument/2006/relationships/tags" Target="../tags/tag458.xml"/><Relationship Id="rId33" Type="http://schemas.openxmlformats.org/officeDocument/2006/relationships/tags" Target="../tags/tag466.xml"/><Relationship Id="rId38" Type="http://schemas.openxmlformats.org/officeDocument/2006/relationships/oleObject" Target="../embeddings/oleObject24.bin"/><Relationship Id="rId2" Type="http://schemas.openxmlformats.org/officeDocument/2006/relationships/tags" Target="../tags/tag435.xml"/><Relationship Id="rId16" Type="http://schemas.openxmlformats.org/officeDocument/2006/relationships/tags" Target="../tags/tag449.xml"/><Relationship Id="rId20" Type="http://schemas.openxmlformats.org/officeDocument/2006/relationships/tags" Target="../tags/tag453.xml"/><Relationship Id="rId29" Type="http://schemas.openxmlformats.org/officeDocument/2006/relationships/tags" Target="../tags/tag46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439.xml"/><Relationship Id="rId11" Type="http://schemas.openxmlformats.org/officeDocument/2006/relationships/tags" Target="../tags/tag444.xml"/><Relationship Id="rId24" Type="http://schemas.openxmlformats.org/officeDocument/2006/relationships/tags" Target="../tags/tag457.xml"/><Relationship Id="rId32" Type="http://schemas.openxmlformats.org/officeDocument/2006/relationships/tags" Target="../tags/tag465.xml"/><Relationship Id="rId37" Type="http://schemas.openxmlformats.org/officeDocument/2006/relationships/notesSlide" Target="../notesSlides/notesSlide44.xml"/><Relationship Id="rId40" Type="http://schemas.openxmlformats.org/officeDocument/2006/relationships/chart" Target="../charts/chart20.xml"/><Relationship Id="rId5" Type="http://schemas.openxmlformats.org/officeDocument/2006/relationships/tags" Target="../tags/tag438.xml"/><Relationship Id="rId15" Type="http://schemas.openxmlformats.org/officeDocument/2006/relationships/tags" Target="../tags/tag448.xml"/><Relationship Id="rId23" Type="http://schemas.openxmlformats.org/officeDocument/2006/relationships/tags" Target="../tags/tag456.xml"/><Relationship Id="rId28" Type="http://schemas.openxmlformats.org/officeDocument/2006/relationships/tags" Target="../tags/tag461.xml"/><Relationship Id="rId36" Type="http://schemas.openxmlformats.org/officeDocument/2006/relationships/slideLayout" Target="../slideLayouts/slideLayout1.xml"/><Relationship Id="rId10" Type="http://schemas.openxmlformats.org/officeDocument/2006/relationships/tags" Target="../tags/tag443.xml"/><Relationship Id="rId19" Type="http://schemas.openxmlformats.org/officeDocument/2006/relationships/tags" Target="../tags/tag452.xml"/><Relationship Id="rId31" Type="http://schemas.openxmlformats.org/officeDocument/2006/relationships/tags" Target="../tags/tag464.xml"/><Relationship Id="rId4" Type="http://schemas.openxmlformats.org/officeDocument/2006/relationships/tags" Target="../tags/tag437.xml"/><Relationship Id="rId9" Type="http://schemas.openxmlformats.org/officeDocument/2006/relationships/tags" Target="../tags/tag442.xml"/><Relationship Id="rId14" Type="http://schemas.openxmlformats.org/officeDocument/2006/relationships/tags" Target="../tags/tag447.xml"/><Relationship Id="rId22" Type="http://schemas.openxmlformats.org/officeDocument/2006/relationships/tags" Target="../tags/tag455.xml"/><Relationship Id="rId27" Type="http://schemas.openxmlformats.org/officeDocument/2006/relationships/tags" Target="../tags/tag460.xml"/><Relationship Id="rId30" Type="http://schemas.openxmlformats.org/officeDocument/2006/relationships/tags" Target="../tags/tag463.xml"/><Relationship Id="rId35" Type="http://schemas.openxmlformats.org/officeDocument/2006/relationships/tags" Target="../tags/tag468.xml"/></Relationships>
</file>

<file path=ppt/slides/_rels/slide136.xml.rels><?xml version="1.0" encoding="UTF-8" standalone="yes"?>
<Relationships xmlns="http://schemas.openxmlformats.org/package/2006/relationships"><Relationship Id="rId8" Type="http://schemas.openxmlformats.org/officeDocument/2006/relationships/tags" Target="../tags/tag475.xml"/><Relationship Id="rId13" Type="http://schemas.openxmlformats.org/officeDocument/2006/relationships/tags" Target="../tags/tag480.xml"/><Relationship Id="rId18" Type="http://schemas.openxmlformats.org/officeDocument/2006/relationships/tags" Target="../tags/tag485.xml"/><Relationship Id="rId26" Type="http://schemas.openxmlformats.org/officeDocument/2006/relationships/tags" Target="../tags/tag493.xml"/><Relationship Id="rId39" Type="http://schemas.openxmlformats.org/officeDocument/2006/relationships/oleObject" Target="../embeddings/oleObject25.bin"/><Relationship Id="rId3" Type="http://schemas.openxmlformats.org/officeDocument/2006/relationships/tags" Target="../tags/tag470.xml"/><Relationship Id="rId21" Type="http://schemas.openxmlformats.org/officeDocument/2006/relationships/tags" Target="../tags/tag488.xml"/><Relationship Id="rId34" Type="http://schemas.openxmlformats.org/officeDocument/2006/relationships/tags" Target="../tags/tag501.xml"/><Relationship Id="rId7" Type="http://schemas.openxmlformats.org/officeDocument/2006/relationships/tags" Target="../tags/tag474.xml"/><Relationship Id="rId12" Type="http://schemas.openxmlformats.org/officeDocument/2006/relationships/tags" Target="../tags/tag479.xml"/><Relationship Id="rId17" Type="http://schemas.openxmlformats.org/officeDocument/2006/relationships/tags" Target="../tags/tag484.xml"/><Relationship Id="rId25" Type="http://schemas.openxmlformats.org/officeDocument/2006/relationships/tags" Target="../tags/tag492.xml"/><Relationship Id="rId33" Type="http://schemas.openxmlformats.org/officeDocument/2006/relationships/tags" Target="../tags/tag500.xml"/><Relationship Id="rId38" Type="http://schemas.openxmlformats.org/officeDocument/2006/relationships/notesSlide" Target="../notesSlides/notesSlide45.xml"/><Relationship Id="rId2" Type="http://schemas.openxmlformats.org/officeDocument/2006/relationships/tags" Target="../tags/tag469.xml"/><Relationship Id="rId16" Type="http://schemas.openxmlformats.org/officeDocument/2006/relationships/tags" Target="../tags/tag483.xml"/><Relationship Id="rId20" Type="http://schemas.openxmlformats.org/officeDocument/2006/relationships/tags" Target="../tags/tag487.xml"/><Relationship Id="rId29" Type="http://schemas.openxmlformats.org/officeDocument/2006/relationships/tags" Target="../tags/tag496.xml"/><Relationship Id="rId1" Type="http://schemas.openxmlformats.org/officeDocument/2006/relationships/vmlDrawing" Target="../drawings/vmlDrawing25.vml"/><Relationship Id="rId6" Type="http://schemas.openxmlformats.org/officeDocument/2006/relationships/tags" Target="../tags/tag473.xml"/><Relationship Id="rId11" Type="http://schemas.openxmlformats.org/officeDocument/2006/relationships/tags" Target="../tags/tag478.xml"/><Relationship Id="rId24" Type="http://schemas.openxmlformats.org/officeDocument/2006/relationships/tags" Target="../tags/tag491.xml"/><Relationship Id="rId32" Type="http://schemas.openxmlformats.org/officeDocument/2006/relationships/tags" Target="../tags/tag499.xml"/><Relationship Id="rId37" Type="http://schemas.openxmlformats.org/officeDocument/2006/relationships/slideLayout" Target="../slideLayouts/slideLayout1.xml"/><Relationship Id="rId40" Type="http://schemas.openxmlformats.org/officeDocument/2006/relationships/image" Target="../media/image63.emf"/><Relationship Id="rId5" Type="http://schemas.openxmlformats.org/officeDocument/2006/relationships/tags" Target="../tags/tag472.xml"/><Relationship Id="rId15" Type="http://schemas.openxmlformats.org/officeDocument/2006/relationships/tags" Target="../tags/tag482.xml"/><Relationship Id="rId23" Type="http://schemas.openxmlformats.org/officeDocument/2006/relationships/tags" Target="../tags/tag490.xml"/><Relationship Id="rId28" Type="http://schemas.openxmlformats.org/officeDocument/2006/relationships/tags" Target="../tags/tag495.xml"/><Relationship Id="rId36" Type="http://schemas.openxmlformats.org/officeDocument/2006/relationships/tags" Target="../tags/tag503.xml"/><Relationship Id="rId10" Type="http://schemas.openxmlformats.org/officeDocument/2006/relationships/tags" Target="../tags/tag477.xml"/><Relationship Id="rId19" Type="http://schemas.openxmlformats.org/officeDocument/2006/relationships/tags" Target="../tags/tag486.xml"/><Relationship Id="rId31" Type="http://schemas.openxmlformats.org/officeDocument/2006/relationships/tags" Target="../tags/tag498.xml"/><Relationship Id="rId4" Type="http://schemas.openxmlformats.org/officeDocument/2006/relationships/tags" Target="../tags/tag471.xml"/><Relationship Id="rId9" Type="http://schemas.openxmlformats.org/officeDocument/2006/relationships/tags" Target="../tags/tag476.xml"/><Relationship Id="rId14" Type="http://schemas.openxmlformats.org/officeDocument/2006/relationships/tags" Target="../tags/tag481.xml"/><Relationship Id="rId22" Type="http://schemas.openxmlformats.org/officeDocument/2006/relationships/tags" Target="../tags/tag489.xml"/><Relationship Id="rId27" Type="http://schemas.openxmlformats.org/officeDocument/2006/relationships/tags" Target="../tags/tag494.xml"/><Relationship Id="rId30" Type="http://schemas.openxmlformats.org/officeDocument/2006/relationships/tags" Target="../tags/tag497.xml"/><Relationship Id="rId35" Type="http://schemas.openxmlformats.org/officeDocument/2006/relationships/tags" Target="../tags/tag502.xml"/></Relationships>
</file>

<file path=ppt/slides/_rels/slide137.xml.rels><?xml version="1.0" encoding="UTF-8" standalone="yes"?>
<Relationships xmlns="http://schemas.openxmlformats.org/package/2006/relationships"><Relationship Id="rId8" Type="http://schemas.openxmlformats.org/officeDocument/2006/relationships/tags" Target="../tags/tag510.xml"/><Relationship Id="rId13" Type="http://schemas.openxmlformats.org/officeDocument/2006/relationships/tags" Target="../tags/tag515.xml"/><Relationship Id="rId18" Type="http://schemas.openxmlformats.org/officeDocument/2006/relationships/tags" Target="../tags/tag520.xml"/><Relationship Id="rId3" Type="http://schemas.openxmlformats.org/officeDocument/2006/relationships/tags" Target="../tags/tag505.xml"/><Relationship Id="rId21" Type="http://schemas.openxmlformats.org/officeDocument/2006/relationships/slideLayout" Target="../slideLayouts/slideLayout1.xml"/><Relationship Id="rId7" Type="http://schemas.openxmlformats.org/officeDocument/2006/relationships/tags" Target="../tags/tag509.xml"/><Relationship Id="rId12" Type="http://schemas.openxmlformats.org/officeDocument/2006/relationships/tags" Target="../tags/tag514.xml"/><Relationship Id="rId17" Type="http://schemas.openxmlformats.org/officeDocument/2006/relationships/tags" Target="../tags/tag519.xml"/><Relationship Id="rId25" Type="http://schemas.openxmlformats.org/officeDocument/2006/relationships/chart" Target="../charts/chart21.xml"/><Relationship Id="rId2" Type="http://schemas.openxmlformats.org/officeDocument/2006/relationships/tags" Target="../tags/tag504.xml"/><Relationship Id="rId16" Type="http://schemas.openxmlformats.org/officeDocument/2006/relationships/tags" Target="../tags/tag518.xml"/><Relationship Id="rId20" Type="http://schemas.openxmlformats.org/officeDocument/2006/relationships/tags" Target="../tags/tag522.xml"/><Relationship Id="rId1" Type="http://schemas.openxmlformats.org/officeDocument/2006/relationships/vmlDrawing" Target="../drawings/vmlDrawing26.vml"/><Relationship Id="rId6" Type="http://schemas.openxmlformats.org/officeDocument/2006/relationships/tags" Target="../tags/tag508.xml"/><Relationship Id="rId11" Type="http://schemas.openxmlformats.org/officeDocument/2006/relationships/tags" Target="../tags/tag513.xml"/><Relationship Id="rId24" Type="http://schemas.openxmlformats.org/officeDocument/2006/relationships/image" Target="../media/image63.emf"/><Relationship Id="rId5" Type="http://schemas.openxmlformats.org/officeDocument/2006/relationships/tags" Target="../tags/tag507.xml"/><Relationship Id="rId15" Type="http://schemas.openxmlformats.org/officeDocument/2006/relationships/tags" Target="../tags/tag517.xml"/><Relationship Id="rId23" Type="http://schemas.openxmlformats.org/officeDocument/2006/relationships/oleObject" Target="../embeddings/oleObject26.bin"/><Relationship Id="rId10" Type="http://schemas.openxmlformats.org/officeDocument/2006/relationships/tags" Target="../tags/tag512.xml"/><Relationship Id="rId19" Type="http://schemas.openxmlformats.org/officeDocument/2006/relationships/tags" Target="../tags/tag521.xml"/><Relationship Id="rId4" Type="http://schemas.openxmlformats.org/officeDocument/2006/relationships/tags" Target="../tags/tag506.xml"/><Relationship Id="rId9" Type="http://schemas.openxmlformats.org/officeDocument/2006/relationships/tags" Target="../tags/tag511.xml"/><Relationship Id="rId14" Type="http://schemas.openxmlformats.org/officeDocument/2006/relationships/tags" Target="../tags/tag516.xml"/><Relationship Id="rId22" Type="http://schemas.openxmlformats.org/officeDocument/2006/relationships/notesSlide" Target="../notesSlides/notesSlide46.xml"/></Relationships>
</file>

<file path=ppt/slides/_rels/slide138.xml.rels><?xml version="1.0" encoding="UTF-8" standalone="yes"?>
<Relationships xmlns="http://schemas.openxmlformats.org/package/2006/relationships"><Relationship Id="rId26" Type="http://schemas.openxmlformats.org/officeDocument/2006/relationships/tags" Target="../tags/tag548.xml"/><Relationship Id="rId117" Type="http://schemas.openxmlformats.org/officeDocument/2006/relationships/image" Target="../media/image117.emf"/><Relationship Id="rId21" Type="http://schemas.openxmlformats.org/officeDocument/2006/relationships/tags" Target="../tags/tag543.xml"/><Relationship Id="rId42" Type="http://schemas.openxmlformats.org/officeDocument/2006/relationships/tags" Target="../tags/tag564.xml"/><Relationship Id="rId47" Type="http://schemas.openxmlformats.org/officeDocument/2006/relationships/tags" Target="../tags/tag569.xml"/><Relationship Id="rId63" Type="http://schemas.openxmlformats.org/officeDocument/2006/relationships/tags" Target="../tags/tag585.xml"/><Relationship Id="rId68" Type="http://schemas.openxmlformats.org/officeDocument/2006/relationships/image" Target="../media/image70.emf"/><Relationship Id="rId84" Type="http://schemas.openxmlformats.org/officeDocument/2006/relationships/image" Target="../media/image86.emf"/><Relationship Id="rId89" Type="http://schemas.openxmlformats.org/officeDocument/2006/relationships/image" Target="../media/image91.emf"/><Relationship Id="rId112" Type="http://schemas.openxmlformats.org/officeDocument/2006/relationships/image" Target="../media/image113.emf"/><Relationship Id="rId16" Type="http://schemas.openxmlformats.org/officeDocument/2006/relationships/tags" Target="../tags/tag538.xml"/><Relationship Id="rId107" Type="http://schemas.openxmlformats.org/officeDocument/2006/relationships/image" Target="../media/image108.emf"/><Relationship Id="rId11" Type="http://schemas.openxmlformats.org/officeDocument/2006/relationships/tags" Target="../tags/tag533.xml"/><Relationship Id="rId32" Type="http://schemas.openxmlformats.org/officeDocument/2006/relationships/tags" Target="../tags/tag554.xml"/><Relationship Id="rId37" Type="http://schemas.openxmlformats.org/officeDocument/2006/relationships/tags" Target="../tags/tag559.xml"/><Relationship Id="rId53" Type="http://schemas.openxmlformats.org/officeDocument/2006/relationships/tags" Target="../tags/tag575.xml"/><Relationship Id="rId58" Type="http://schemas.openxmlformats.org/officeDocument/2006/relationships/tags" Target="../tags/tag580.xml"/><Relationship Id="rId74" Type="http://schemas.openxmlformats.org/officeDocument/2006/relationships/image" Target="../media/image76.emf"/><Relationship Id="rId79" Type="http://schemas.openxmlformats.org/officeDocument/2006/relationships/image" Target="../media/image81.emf"/><Relationship Id="rId102" Type="http://schemas.openxmlformats.org/officeDocument/2006/relationships/image" Target="../media/image103.emf"/><Relationship Id="rId123" Type="http://schemas.openxmlformats.org/officeDocument/2006/relationships/image" Target="../media/image122.emf"/><Relationship Id="rId5" Type="http://schemas.openxmlformats.org/officeDocument/2006/relationships/tags" Target="../tags/tag527.xml"/><Relationship Id="rId90" Type="http://schemas.openxmlformats.org/officeDocument/2006/relationships/image" Target="../media/image92.emf"/><Relationship Id="rId95" Type="http://schemas.openxmlformats.org/officeDocument/2006/relationships/image" Target="../media/image97.emf"/><Relationship Id="rId19" Type="http://schemas.openxmlformats.org/officeDocument/2006/relationships/tags" Target="../tags/tag541.xml"/><Relationship Id="rId14" Type="http://schemas.openxmlformats.org/officeDocument/2006/relationships/tags" Target="../tags/tag536.xml"/><Relationship Id="rId22" Type="http://schemas.openxmlformats.org/officeDocument/2006/relationships/tags" Target="../tags/tag544.xml"/><Relationship Id="rId27" Type="http://schemas.openxmlformats.org/officeDocument/2006/relationships/tags" Target="../tags/tag549.xml"/><Relationship Id="rId30" Type="http://schemas.openxmlformats.org/officeDocument/2006/relationships/tags" Target="../tags/tag552.xml"/><Relationship Id="rId35" Type="http://schemas.openxmlformats.org/officeDocument/2006/relationships/tags" Target="../tags/tag557.xml"/><Relationship Id="rId43" Type="http://schemas.openxmlformats.org/officeDocument/2006/relationships/tags" Target="../tags/tag565.xml"/><Relationship Id="rId48" Type="http://schemas.openxmlformats.org/officeDocument/2006/relationships/tags" Target="../tags/tag570.xml"/><Relationship Id="rId56" Type="http://schemas.openxmlformats.org/officeDocument/2006/relationships/tags" Target="../tags/tag578.xml"/><Relationship Id="rId64" Type="http://schemas.openxmlformats.org/officeDocument/2006/relationships/slideLayout" Target="../slideLayouts/slideLayout1.xml"/><Relationship Id="rId69" Type="http://schemas.openxmlformats.org/officeDocument/2006/relationships/image" Target="../media/image71.emf"/><Relationship Id="rId77" Type="http://schemas.openxmlformats.org/officeDocument/2006/relationships/image" Target="../media/image79.emf"/><Relationship Id="rId100" Type="http://schemas.openxmlformats.org/officeDocument/2006/relationships/image" Target="../media/image101.emf"/><Relationship Id="rId105" Type="http://schemas.openxmlformats.org/officeDocument/2006/relationships/image" Target="../media/image106.emf"/><Relationship Id="rId113" Type="http://schemas.openxmlformats.org/officeDocument/2006/relationships/image" Target="../media/image114.emf"/><Relationship Id="rId118" Type="http://schemas.openxmlformats.org/officeDocument/2006/relationships/image" Target="../media/image118.emf"/><Relationship Id="rId126" Type="http://schemas.openxmlformats.org/officeDocument/2006/relationships/image" Target="../media/image125.emf"/><Relationship Id="rId8" Type="http://schemas.openxmlformats.org/officeDocument/2006/relationships/tags" Target="../tags/tag530.xml"/><Relationship Id="rId51" Type="http://schemas.openxmlformats.org/officeDocument/2006/relationships/tags" Target="../tags/tag573.xml"/><Relationship Id="rId72" Type="http://schemas.openxmlformats.org/officeDocument/2006/relationships/image" Target="../media/image74.emf"/><Relationship Id="rId80" Type="http://schemas.openxmlformats.org/officeDocument/2006/relationships/image" Target="../media/image82.emf"/><Relationship Id="rId85" Type="http://schemas.openxmlformats.org/officeDocument/2006/relationships/image" Target="../media/image87.emf"/><Relationship Id="rId93" Type="http://schemas.openxmlformats.org/officeDocument/2006/relationships/image" Target="../media/image95.emf"/><Relationship Id="rId98" Type="http://schemas.openxmlformats.org/officeDocument/2006/relationships/image" Target="../media/image55.emf"/><Relationship Id="rId121" Type="http://schemas.openxmlformats.org/officeDocument/2006/relationships/image" Target="../media/image120.emf"/><Relationship Id="rId3" Type="http://schemas.openxmlformats.org/officeDocument/2006/relationships/tags" Target="../tags/tag525.xml"/><Relationship Id="rId12" Type="http://schemas.openxmlformats.org/officeDocument/2006/relationships/tags" Target="../tags/tag534.xml"/><Relationship Id="rId17" Type="http://schemas.openxmlformats.org/officeDocument/2006/relationships/tags" Target="../tags/tag539.xml"/><Relationship Id="rId25" Type="http://schemas.openxmlformats.org/officeDocument/2006/relationships/tags" Target="../tags/tag547.xml"/><Relationship Id="rId33" Type="http://schemas.openxmlformats.org/officeDocument/2006/relationships/tags" Target="../tags/tag555.xml"/><Relationship Id="rId38" Type="http://schemas.openxmlformats.org/officeDocument/2006/relationships/tags" Target="../tags/tag560.xml"/><Relationship Id="rId46" Type="http://schemas.openxmlformats.org/officeDocument/2006/relationships/tags" Target="../tags/tag568.xml"/><Relationship Id="rId59" Type="http://schemas.openxmlformats.org/officeDocument/2006/relationships/tags" Target="../tags/tag581.xml"/><Relationship Id="rId67" Type="http://schemas.openxmlformats.org/officeDocument/2006/relationships/image" Target="../media/image69.emf"/><Relationship Id="rId103" Type="http://schemas.openxmlformats.org/officeDocument/2006/relationships/image" Target="../media/image104.emf"/><Relationship Id="rId108" Type="http://schemas.openxmlformats.org/officeDocument/2006/relationships/image" Target="../media/image109.emf"/><Relationship Id="rId116" Type="http://schemas.openxmlformats.org/officeDocument/2006/relationships/image" Target="../media/image57.emf"/><Relationship Id="rId124" Type="http://schemas.openxmlformats.org/officeDocument/2006/relationships/image" Target="../media/image123.emf"/><Relationship Id="rId20" Type="http://schemas.openxmlformats.org/officeDocument/2006/relationships/tags" Target="../tags/tag542.xml"/><Relationship Id="rId41" Type="http://schemas.openxmlformats.org/officeDocument/2006/relationships/tags" Target="../tags/tag563.xml"/><Relationship Id="rId54" Type="http://schemas.openxmlformats.org/officeDocument/2006/relationships/tags" Target="../tags/tag576.xml"/><Relationship Id="rId62" Type="http://schemas.openxmlformats.org/officeDocument/2006/relationships/tags" Target="../tags/tag584.xml"/><Relationship Id="rId70" Type="http://schemas.openxmlformats.org/officeDocument/2006/relationships/image" Target="../media/image72.emf"/><Relationship Id="rId75" Type="http://schemas.openxmlformats.org/officeDocument/2006/relationships/image" Target="../media/image77.emf"/><Relationship Id="rId83" Type="http://schemas.openxmlformats.org/officeDocument/2006/relationships/image" Target="../media/image85.emf"/><Relationship Id="rId88" Type="http://schemas.openxmlformats.org/officeDocument/2006/relationships/image" Target="../media/image90.emf"/><Relationship Id="rId91" Type="http://schemas.openxmlformats.org/officeDocument/2006/relationships/image" Target="../media/image93.emf"/><Relationship Id="rId96" Type="http://schemas.openxmlformats.org/officeDocument/2006/relationships/image" Target="../media/image98.emf"/><Relationship Id="rId111" Type="http://schemas.openxmlformats.org/officeDocument/2006/relationships/image" Target="../media/image112.emf"/><Relationship Id="rId1" Type="http://schemas.openxmlformats.org/officeDocument/2006/relationships/tags" Target="../tags/tag523.xml"/><Relationship Id="rId6" Type="http://schemas.openxmlformats.org/officeDocument/2006/relationships/tags" Target="../tags/tag528.xml"/><Relationship Id="rId15" Type="http://schemas.openxmlformats.org/officeDocument/2006/relationships/tags" Target="../tags/tag537.xml"/><Relationship Id="rId23" Type="http://schemas.openxmlformats.org/officeDocument/2006/relationships/tags" Target="../tags/tag545.xml"/><Relationship Id="rId28" Type="http://schemas.openxmlformats.org/officeDocument/2006/relationships/tags" Target="../tags/tag550.xml"/><Relationship Id="rId36" Type="http://schemas.openxmlformats.org/officeDocument/2006/relationships/tags" Target="../tags/tag558.xml"/><Relationship Id="rId49" Type="http://schemas.openxmlformats.org/officeDocument/2006/relationships/tags" Target="../tags/tag571.xml"/><Relationship Id="rId57" Type="http://schemas.openxmlformats.org/officeDocument/2006/relationships/tags" Target="../tags/tag579.xml"/><Relationship Id="rId106" Type="http://schemas.openxmlformats.org/officeDocument/2006/relationships/image" Target="../media/image107.emf"/><Relationship Id="rId114" Type="http://schemas.openxmlformats.org/officeDocument/2006/relationships/image" Target="../media/image115.emf"/><Relationship Id="rId119" Type="http://schemas.openxmlformats.org/officeDocument/2006/relationships/image" Target="../media/image46.emf"/><Relationship Id="rId127" Type="http://schemas.openxmlformats.org/officeDocument/2006/relationships/image" Target="../media/image126.emf"/><Relationship Id="rId10" Type="http://schemas.openxmlformats.org/officeDocument/2006/relationships/tags" Target="../tags/tag532.xml"/><Relationship Id="rId31" Type="http://schemas.openxmlformats.org/officeDocument/2006/relationships/tags" Target="../tags/tag553.xml"/><Relationship Id="rId44" Type="http://schemas.openxmlformats.org/officeDocument/2006/relationships/tags" Target="../tags/tag566.xml"/><Relationship Id="rId52" Type="http://schemas.openxmlformats.org/officeDocument/2006/relationships/tags" Target="../tags/tag574.xml"/><Relationship Id="rId60" Type="http://schemas.openxmlformats.org/officeDocument/2006/relationships/tags" Target="../tags/tag582.xml"/><Relationship Id="rId65" Type="http://schemas.openxmlformats.org/officeDocument/2006/relationships/image" Target="../media/image67.emf"/><Relationship Id="rId73" Type="http://schemas.openxmlformats.org/officeDocument/2006/relationships/image" Target="../media/image75.emf"/><Relationship Id="rId78" Type="http://schemas.openxmlformats.org/officeDocument/2006/relationships/image" Target="../media/image80.emf"/><Relationship Id="rId81" Type="http://schemas.openxmlformats.org/officeDocument/2006/relationships/image" Target="../media/image83.emf"/><Relationship Id="rId86" Type="http://schemas.openxmlformats.org/officeDocument/2006/relationships/image" Target="../media/image88.emf"/><Relationship Id="rId94" Type="http://schemas.openxmlformats.org/officeDocument/2006/relationships/image" Target="../media/image96.emf"/><Relationship Id="rId99" Type="http://schemas.openxmlformats.org/officeDocument/2006/relationships/image" Target="../media/image100.emf"/><Relationship Id="rId101" Type="http://schemas.openxmlformats.org/officeDocument/2006/relationships/image" Target="../media/image102.emf"/><Relationship Id="rId122" Type="http://schemas.openxmlformats.org/officeDocument/2006/relationships/image" Target="../media/image121.emf"/><Relationship Id="rId4" Type="http://schemas.openxmlformats.org/officeDocument/2006/relationships/tags" Target="../tags/tag526.xml"/><Relationship Id="rId9" Type="http://schemas.openxmlformats.org/officeDocument/2006/relationships/tags" Target="../tags/tag531.xml"/><Relationship Id="rId13" Type="http://schemas.openxmlformats.org/officeDocument/2006/relationships/tags" Target="../tags/tag535.xml"/><Relationship Id="rId18" Type="http://schemas.openxmlformats.org/officeDocument/2006/relationships/tags" Target="../tags/tag540.xml"/><Relationship Id="rId39" Type="http://schemas.openxmlformats.org/officeDocument/2006/relationships/tags" Target="../tags/tag561.xml"/><Relationship Id="rId109" Type="http://schemas.openxmlformats.org/officeDocument/2006/relationships/image" Target="../media/image110.emf"/><Relationship Id="rId34" Type="http://schemas.openxmlformats.org/officeDocument/2006/relationships/tags" Target="../tags/tag556.xml"/><Relationship Id="rId50" Type="http://schemas.openxmlformats.org/officeDocument/2006/relationships/tags" Target="../tags/tag572.xml"/><Relationship Id="rId55" Type="http://schemas.openxmlformats.org/officeDocument/2006/relationships/tags" Target="../tags/tag577.xml"/><Relationship Id="rId76" Type="http://schemas.openxmlformats.org/officeDocument/2006/relationships/image" Target="../media/image78.emf"/><Relationship Id="rId97" Type="http://schemas.openxmlformats.org/officeDocument/2006/relationships/image" Target="../media/image99.emf"/><Relationship Id="rId104" Type="http://schemas.openxmlformats.org/officeDocument/2006/relationships/image" Target="../media/image105.emf"/><Relationship Id="rId120" Type="http://schemas.openxmlformats.org/officeDocument/2006/relationships/image" Target="../media/image119.emf"/><Relationship Id="rId125" Type="http://schemas.openxmlformats.org/officeDocument/2006/relationships/image" Target="../media/image124.emf"/><Relationship Id="rId7" Type="http://schemas.openxmlformats.org/officeDocument/2006/relationships/tags" Target="../tags/tag529.xml"/><Relationship Id="rId71" Type="http://schemas.openxmlformats.org/officeDocument/2006/relationships/image" Target="../media/image73.emf"/><Relationship Id="rId92" Type="http://schemas.openxmlformats.org/officeDocument/2006/relationships/image" Target="../media/image94.emf"/><Relationship Id="rId2" Type="http://schemas.openxmlformats.org/officeDocument/2006/relationships/tags" Target="../tags/tag524.xml"/><Relationship Id="rId29" Type="http://schemas.openxmlformats.org/officeDocument/2006/relationships/tags" Target="../tags/tag551.xml"/><Relationship Id="rId24" Type="http://schemas.openxmlformats.org/officeDocument/2006/relationships/tags" Target="../tags/tag546.xml"/><Relationship Id="rId40" Type="http://schemas.openxmlformats.org/officeDocument/2006/relationships/tags" Target="../tags/tag562.xml"/><Relationship Id="rId45" Type="http://schemas.openxmlformats.org/officeDocument/2006/relationships/tags" Target="../tags/tag567.xml"/><Relationship Id="rId66" Type="http://schemas.openxmlformats.org/officeDocument/2006/relationships/image" Target="../media/image68.emf"/><Relationship Id="rId87" Type="http://schemas.openxmlformats.org/officeDocument/2006/relationships/image" Target="../media/image89.emf"/><Relationship Id="rId110" Type="http://schemas.openxmlformats.org/officeDocument/2006/relationships/image" Target="../media/image111.emf"/><Relationship Id="rId115" Type="http://schemas.openxmlformats.org/officeDocument/2006/relationships/image" Target="../media/image116.emf"/><Relationship Id="rId61" Type="http://schemas.openxmlformats.org/officeDocument/2006/relationships/tags" Target="../tags/tag583.xml"/><Relationship Id="rId82" Type="http://schemas.openxmlformats.org/officeDocument/2006/relationships/image" Target="../media/image84.emf"/></Relationships>
</file>

<file path=ppt/slides/_rels/slide139.xml.rels><?xml version="1.0" encoding="UTF-8" standalone="yes"?>
<Relationships xmlns="http://schemas.openxmlformats.org/package/2006/relationships"><Relationship Id="rId26" Type="http://schemas.openxmlformats.org/officeDocument/2006/relationships/tags" Target="../tags/tag611.xml"/><Relationship Id="rId21" Type="http://schemas.openxmlformats.org/officeDocument/2006/relationships/tags" Target="../tags/tag606.xml"/><Relationship Id="rId42" Type="http://schemas.openxmlformats.org/officeDocument/2006/relationships/tags" Target="../tags/tag627.xml"/><Relationship Id="rId47" Type="http://schemas.openxmlformats.org/officeDocument/2006/relationships/tags" Target="../tags/tag632.xml"/><Relationship Id="rId63" Type="http://schemas.openxmlformats.org/officeDocument/2006/relationships/image" Target="../media/image134.emf"/><Relationship Id="rId68" Type="http://schemas.openxmlformats.org/officeDocument/2006/relationships/image" Target="../media/image139.emf"/><Relationship Id="rId84" Type="http://schemas.openxmlformats.org/officeDocument/2006/relationships/image" Target="../media/image155.emf"/><Relationship Id="rId89" Type="http://schemas.openxmlformats.org/officeDocument/2006/relationships/image" Target="../media/image160.emf"/><Relationship Id="rId2" Type="http://schemas.openxmlformats.org/officeDocument/2006/relationships/tags" Target="../tags/tag587.xml"/><Relationship Id="rId16" Type="http://schemas.openxmlformats.org/officeDocument/2006/relationships/tags" Target="../tags/tag601.xml"/><Relationship Id="rId29" Type="http://schemas.openxmlformats.org/officeDocument/2006/relationships/tags" Target="../tags/tag614.xml"/><Relationship Id="rId107" Type="http://schemas.openxmlformats.org/officeDocument/2006/relationships/image" Target="../media/image178.emf"/><Relationship Id="rId11" Type="http://schemas.openxmlformats.org/officeDocument/2006/relationships/tags" Target="../tags/tag596.xml"/><Relationship Id="rId24" Type="http://schemas.openxmlformats.org/officeDocument/2006/relationships/tags" Target="../tags/tag609.xml"/><Relationship Id="rId32" Type="http://schemas.openxmlformats.org/officeDocument/2006/relationships/tags" Target="../tags/tag617.xml"/><Relationship Id="rId37" Type="http://schemas.openxmlformats.org/officeDocument/2006/relationships/tags" Target="../tags/tag622.xml"/><Relationship Id="rId40" Type="http://schemas.openxmlformats.org/officeDocument/2006/relationships/tags" Target="../tags/tag625.xml"/><Relationship Id="rId45" Type="http://schemas.openxmlformats.org/officeDocument/2006/relationships/tags" Target="../tags/tag630.xml"/><Relationship Id="rId53" Type="http://schemas.openxmlformats.org/officeDocument/2006/relationships/tags" Target="../tags/tag638.xml"/><Relationship Id="rId58" Type="http://schemas.openxmlformats.org/officeDocument/2006/relationships/image" Target="../media/image129.emf"/><Relationship Id="rId66" Type="http://schemas.openxmlformats.org/officeDocument/2006/relationships/image" Target="../media/image137.emf"/><Relationship Id="rId74" Type="http://schemas.openxmlformats.org/officeDocument/2006/relationships/image" Target="../media/image145.emf"/><Relationship Id="rId79" Type="http://schemas.openxmlformats.org/officeDocument/2006/relationships/image" Target="../media/image150.emf"/><Relationship Id="rId87" Type="http://schemas.openxmlformats.org/officeDocument/2006/relationships/image" Target="../media/image158.emf"/><Relationship Id="rId102" Type="http://schemas.openxmlformats.org/officeDocument/2006/relationships/image" Target="../media/image173.emf"/><Relationship Id="rId5" Type="http://schemas.openxmlformats.org/officeDocument/2006/relationships/tags" Target="../tags/tag590.xml"/><Relationship Id="rId61" Type="http://schemas.openxmlformats.org/officeDocument/2006/relationships/image" Target="../media/image132.emf"/><Relationship Id="rId82" Type="http://schemas.openxmlformats.org/officeDocument/2006/relationships/image" Target="../media/image153.emf"/><Relationship Id="rId90" Type="http://schemas.openxmlformats.org/officeDocument/2006/relationships/image" Target="../media/image161.emf"/><Relationship Id="rId95" Type="http://schemas.openxmlformats.org/officeDocument/2006/relationships/image" Target="../media/image166.emf"/><Relationship Id="rId19" Type="http://schemas.openxmlformats.org/officeDocument/2006/relationships/tags" Target="../tags/tag604.xml"/><Relationship Id="rId14" Type="http://schemas.openxmlformats.org/officeDocument/2006/relationships/tags" Target="../tags/tag599.xml"/><Relationship Id="rId22" Type="http://schemas.openxmlformats.org/officeDocument/2006/relationships/tags" Target="../tags/tag607.xml"/><Relationship Id="rId27" Type="http://schemas.openxmlformats.org/officeDocument/2006/relationships/tags" Target="../tags/tag612.xml"/><Relationship Id="rId30" Type="http://schemas.openxmlformats.org/officeDocument/2006/relationships/tags" Target="../tags/tag615.xml"/><Relationship Id="rId35" Type="http://schemas.openxmlformats.org/officeDocument/2006/relationships/tags" Target="../tags/tag620.xml"/><Relationship Id="rId43" Type="http://schemas.openxmlformats.org/officeDocument/2006/relationships/tags" Target="../tags/tag628.xml"/><Relationship Id="rId48" Type="http://schemas.openxmlformats.org/officeDocument/2006/relationships/tags" Target="../tags/tag633.xml"/><Relationship Id="rId56" Type="http://schemas.openxmlformats.org/officeDocument/2006/relationships/image" Target="../media/image127.emf"/><Relationship Id="rId64" Type="http://schemas.openxmlformats.org/officeDocument/2006/relationships/image" Target="../media/image135.emf"/><Relationship Id="rId69" Type="http://schemas.openxmlformats.org/officeDocument/2006/relationships/image" Target="../media/image140.emf"/><Relationship Id="rId77" Type="http://schemas.openxmlformats.org/officeDocument/2006/relationships/image" Target="../media/image148.emf"/><Relationship Id="rId100" Type="http://schemas.openxmlformats.org/officeDocument/2006/relationships/image" Target="../media/image171.emf"/><Relationship Id="rId105" Type="http://schemas.openxmlformats.org/officeDocument/2006/relationships/image" Target="../media/image176.emf"/><Relationship Id="rId8" Type="http://schemas.openxmlformats.org/officeDocument/2006/relationships/tags" Target="../tags/tag593.xml"/><Relationship Id="rId51" Type="http://schemas.openxmlformats.org/officeDocument/2006/relationships/tags" Target="../tags/tag636.xml"/><Relationship Id="rId72" Type="http://schemas.openxmlformats.org/officeDocument/2006/relationships/image" Target="../media/image143.emf"/><Relationship Id="rId80" Type="http://schemas.openxmlformats.org/officeDocument/2006/relationships/image" Target="../media/image151.emf"/><Relationship Id="rId85" Type="http://schemas.openxmlformats.org/officeDocument/2006/relationships/image" Target="../media/image156.emf"/><Relationship Id="rId93" Type="http://schemas.openxmlformats.org/officeDocument/2006/relationships/image" Target="../media/image164.emf"/><Relationship Id="rId98" Type="http://schemas.openxmlformats.org/officeDocument/2006/relationships/image" Target="../media/image169.emf"/><Relationship Id="rId3" Type="http://schemas.openxmlformats.org/officeDocument/2006/relationships/tags" Target="../tags/tag588.xml"/><Relationship Id="rId12" Type="http://schemas.openxmlformats.org/officeDocument/2006/relationships/tags" Target="../tags/tag597.xml"/><Relationship Id="rId17" Type="http://schemas.openxmlformats.org/officeDocument/2006/relationships/tags" Target="../tags/tag602.xml"/><Relationship Id="rId25" Type="http://schemas.openxmlformats.org/officeDocument/2006/relationships/tags" Target="../tags/tag610.xml"/><Relationship Id="rId33" Type="http://schemas.openxmlformats.org/officeDocument/2006/relationships/tags" Target="../tags/tag618.xml"/><Relationship Id="rId38" Type="http://schemas.openxmlformats.org/officeDocument/2006/relationships/tags" Target="../tags/tag623.xml"/><Relationship Id="rId46" Type="http://schemas.openxmlformats.org/officeDocument/2006/relationships/tags" Target="../tags/tag631.xml"/><Relationship Id="rId59" Type="http://schemas.openxmlformats.org/officeDocument/2006/relationships/image" Target="../media/image130.emf"/><Relationship Id="rId67" Type="http://schemas.openxmlformats.org/officeDocument/2006/relationships/image" Target="../media/image138.emf"/><Relationship Id="rId103" Type="http://schemas.openxmlformats.org/officeDocument/2006/relationships/image" Target="../media/image174.emf"/><Relationship Id="rId108" Type="http://schemas.openxmlformats.org/officeDocument/2006/relationships/image" Target="../media/image179.emf"/><Relationship Id="rId20" Type="http://schemas.openxmlformats.org/officeDocument/2006/relationships/tags" Target="../tags/tag605.xml"/><Relationship Id="rId41" Type="http://schemas.openxmlformats.org/officeDocument/2006/relationships/tags" Target="../tags/tag626.xml"/><Relationship Id="rId54" Type="http://schemas.openxmlformats.org/officeDocument/2006/relationships/tags" Target="../tags/tag639.xml"/><Relationship Id="rId62" Type="http://schemas.openxmlformats.org/officeDocument/2006/relationships/image" Target="../media/image133.emf"/><Relationship Id="rId70" Type="http://schemas.openxmlformats.org/officeDocument/2006/relationships/image" Target="../media/image141.emf"/><Relationship Id="rId75" Type="http://schemas.openxmlformats.org/officeDocument/2006/relationships/image" Target="../media/image146.emf"/><Relationship Id="rId83" Type="http://schemas.openxmlformats.org/officeDocument/2006/relationships/image" Target="../media/image154.emf"/><Relationship Id="rId88" Type="http://schemas.openxmlformats.org/officeDocument/2006/relationships/image" Target="../media/image159.emf"/><Relationship Id="rId91" Type="http://schemas.openxmlformats.org/officeDocument/2006/relationships/image" Target="../media/image162.emf"/><Relationship Id="rId96" Type="http://schemas.openxmlformats.org/officeDocument/2006/relationships/image" Target="../media/image167.emf"/><Relationship Id="rId1" Type="http://schemas.openxmlformats.org/officeDocument/2006/relationships/tags" Target="../tags/tag586.xml"/><Relationship Id="rId6" Type="http://schemas.openxmlformats.org/officeDocument/2006/relationships/tags" Target="../tags/tag591.xml"/><Relationship Id="rId15" Type="http://schemas.openxmlformats.org/officeDocument/2006/relationships/tags" Target="../tags/tag600.xml"/><Relationship Id="rId23" Type="http://schemas.openxmlformats.org/officeDocument/2006/relationships/tags" Target="../tags/tag608.xml"/><Relationship Id="rId28" Type="http://schemas.openxmlformats.org/officeDocument/2006/relationships/tags" Target="../tags/tag613.xml"/><Relationship Id="rId36" Type="http://schemas.openxmlformats.org/officeDocument/2006/relationships/tags" Target="../tags/tag621.xml"/><Relationship Id="rId49" Type="http://schemas.openxmlformats.org/officeDocument/2006/relationships/tags" Target="../tags/tag634.xml"/><Relationship Id="rId57" Type="http://schemas.openxmlformats.org/officeDocument/2006/relationships/image" Target="../media/image128.emf"/><Relationship Id="rId106" Type="http://schemas.openxmlformats.org/officeDocument/2006/relationships/image" Target="../media/image177.emf"/><Relationship Id="rId10" Type="http://schemas.openxmlformats.org/officeDocument/2006/relationships/tags" Target="../tags/tag595.xml"/><Relationship Id="rId31" Type="http://schemas.openxmlformats.org/officeDocument/2006/relationships/tags" Target="../tags/tag616.xml"/><Relationship Id="rId44" Type="http://schemas.openxmlformats.org/officeDocument/2006/relationships/tags" Target="../tags/tag629.xml"/><Relationship Id="rId52" Type="http://schemas.openxmlformats.org/officeDocument/2006/relationships/tags" Target="../tags/tag637.xml"/><Relationship Id="rId60" Type="http://schemas.openxmlformats.org/officeDocument/2006/relationships/image" Target="../media/image131.emf"/><Relationship Id="rId65" Type="http://schemas.openxmlformats.org/officeDocument/2006/relationships/image" Target="../media/image136.emf"/><Relationship Id="rId73" Type="http://schemas.openxmlformats.org/officeDocument/2006/relationships/image" Target="../media/image144.emf"/><Relationship Id="rId78" Type="http://schemas.openxmlformats.org/officeDocument/2006/relationships/image" Target="../media/image149.emf"/><Relationship Id="rId81" Type="http://schemas.openxmlformats.org/officeDocument/2006/relationships/image" Target="../media/image152.emf"/><Relationship Id="rId86" Type="http://schemas.openxmlformats.org/officeDocument/2006/relationships/image" Target="../media/image157.emf"/><Relationship Id="rId94" Type="http://schemas.openxmlformats.org/officeDocument/2006/relationships/image" Target="../media/image165.emf"/><Relationship Id="rId99" Type="http://schemas.openxmlformats.org/officeDocument/2006/relationships/image" Target="../media/image170.emf"/><Relationship Id="rId101" Type="http://schemas.openxmlformats.org/officeDocument/2006/relationships/image" Target="../media/image172.emf"/><Relationship Id="rId4" Type="http://schemas.openxmlformats.org/officeDocument/2006/relationships/tags" Target="../tags/tag589.xml"/><Relationship Id="rId9" Type="http://schemas.openxmlformats.org/officeDocument/2006/relationships/tags" Target="../tags/tag594.xml"/><Relationship Id="rId13" Type="http://schemas.openxmlformats.org/officeDocument/2006/relationships/tags" Target="../tags/tag598.xml"/><Relationship Id="rId18" Type="http://schemas.openxmlformats.org/officeDocument/2006/relationships/tags" Target="../tags/tag603.xml"/><Relationship Id="rId39" Type="http://schemas.openxmlformats.org/officeDocument/2006/relationships/tags" Target="../tags/tag624.xml"/><Relationship Id="rId109" Type="http://schemas.openxmlformats.org/officeDocument/2006/relationships/image" Target="../media/image180.emf"/><Relationship Id="rId34" Type="http://schemas.openxmlformats.org/officeDocument/2006/relationships/tags" Target="../tags/tag619.xml"/><Relationship Id="rId50" Type="http://schemas.openxmlformats.org/officeDocument/2006/relationships/tags" Target="../tags/tag635.xml"/><Relationship Id="rId55" Type="http://schemas.openxmlformats.org/officeDocument/2006/relationships/slideLayout" Target="../slideLayouts/slideLayout1.xml"/><Relationship Id="rId76" Type="http://schemas.openxmlformats.org/officeDocument/2006/relationships/image" Target="../media/image147.emf"/><Relationship Id="rId97" Type="http://schemas.openxmlformats.org/officeDocument/2006/relationships/image" Target="../media/image168.emf"/><Relationship Id="rId104" Type="http://schemas.openxmlformats.org/officeDocument/2006/relationships/image" Target="../media/image175.emf"/><Relationship Id="rId7" Type="http://schemas.openxmlformats.org/officeDocument/2006/relationships/tags" Target="../tags/tag592.xml"/><Relationship Id="rId71" Type="http://schemas.openxmlformats.org/officeDocument/2006/relationships/image" Target="../media/image142.emf"/><Relationship Id="rId92" Type="http://schemas.openxmlformats.org/officeDocument/2006/relationships/image" Target="../media/image16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40.xml.rels><?xml version="1.0" encoding="UTF-8" standalone="yes"?>
<Relationships xmlns="http://schemas.openxmlformats.org/package/2006/relationships"><Relationship Id="rId26" Type="http://schemas.openxmlformats.org/officeDocument/2006/relationships/tags" Target="../tags/tag665.xml"/><Relationship Id="rId117" Type="http://schemas.openxmlformats.org/officeDocument/2006/relationships/image" Target="../media/image231.emf"/><Relationship Id="rId21" Type="http://schemas.openxmlformats.org/officeDocument/2006/relationships/tags" Target="../tags/tag660.xml"/><Relationship Id="rId42" Type="http://schemas.openxmlformats.org/officeDocument/2006/relationships/tags" Target="../tags/tag681.xml"/><Relationship Id="rId47" Type="http://schemas.openxmlformats.org/officeDocument/2006/relationships/tags" Target="../tags/tag686.xml"/><Relationship Id="rId63" Type="http://schemas.openxmlformats.org/officeDocument/2006/relationships/tags" Target="../tags/tag702.xml"/><Relationship Id="rId68" Type="http://schemas.openxmlformats.org/officeDocument/2006/relationships/image" Target="../media/image183.emf"/><Relationship Id="rId84" Type="http://schemas.openxmlformats.org/officeDocument/2006/relationships/image" Target="../media/image198.emf"/><Relationship Id="rId89" Type="http://schemas.openxmlformats.org/officeDocument/2006/relationships/image" Target="../media/image203.emf"/><Relationship Id="rId112" Type="http://schemas.openxmlformats.org/officeDocument/2006/relationships/image" Target="../media/image226.emf"/><Relationship Id="rId16" Type="http://schemas.openxmlformats.org/officeDocument/2006/relationships/tags" Target="../tags/tag655.xml"/><Relationship Id="rId107" Type="http://schemas.openxmlformats.org/officeDocument/2006/relationships/image" Target="../media/image221.emf"/><Relationship Id="rId11" Type="http://schemas.openxmlformats.org/officeDocument/2006/relationships/tags" Target="../tags/tag650.xml"/><Relationship Id="rId32" Type="http://schemas.openxmlformats.org/officeDocument/2006/relationships/tags" Target="../tags/tag671.xml"/><Relationship Id="rId37" Type="http://schemas.openxmlformats.org/officeDocument/2006/relationships/tags" Target="../tags/tag676.xml"/><Relationship Id="rId53" Type="http://schemas.openxmlformats.org/officeDocument/2006/relationships/tags" Target="../tags/tag692.xml"/><Relationship Id="rId58" Type="http://schemas.openxmlformats.org/officeDocument/2006/relationships/tags" Target="../tags/tag697.xml"/><Relationship Id="rId74" Type="http://schemas.openxmlformats.org/officeDocument/2006/relationships/image" Target="../media/image51.emf"/><Relationship Id="rId79" Type="http://schemas.openxmlformats.org/officeDocument/2006/relationships/image" Target="../media/image193.emf"/><Relationship Id="rId102" Type="http://schemas.openxmlformats.org/officeDocument/2006/relationships/image" Target="../media/image216.emf"/><Relationship Id="rId123" Type="http://schemas.openxmlformats.org/officeDocument/2006/relationships/image" Target="../media/image237.emf"/><Relationship Id="rId5" Type="http://schemas.openxmlformats.org/officeDocument/2006/relationships/tags" Target="../tags/tag644.xml"/><Relationship Id="rId90" Type="http://schemas.openxmlformats.org/officeDocument/2006/relationships/image" Target="../media/image204.emf"/><Relationship Id="rId95" Type="http://schemas.openxmlformats.org/officeDocument/2006/relationships/image" Target="../media/image209.emf"/><Relationship Id="rId19" Type="http://schemas.openxmlformats.org/officeDocument/2006/relationships/tags" Target="../tags/tag658.xml"/><Relationship Id="rId14" Type="http://schemas.openxmlformats.org/officeDocument/2006/relationships/tags" Target="../tags/tag653.xml"/><Relationship Id="rId22" Type="http://schemas.openxmlformats.org/officeDocument/2006/relationships/tags" Target="../tags/tag661.xml"/><Relationship Id="rId27" Type="http://schemas.openxmlformats.org/officeDocument/2006/relationships/tags" Target="../tags/tag666.xml"/><Relationship Id="rId30" Type="http://schemas.openxmlformats.org/officeDocument/2006/relationships/tags" Target="../tags/tag669.xml"/><Relationship Id="rId35" Type="http://schemas.openxmlformats.org/officeDocument/2006/relationships/tags" Target="../tags/tag674.xml"/><Relationship Id="rId43" Type="http://schemas.openxmlformats.org/officeDocument/2006/relationships/tags" Target="../tags/tag682.xml"/><Relationship Id="rId48" Type="http://schemas.openxmlformats.org/officeDocument/2006/relationships/tags" Target="../tags/tag687.xml"/><Relationship Id="rId56" Type="http://schemas.openxmlformats.org/officeDocument/2006/relationships/tags" Target="../tags/tag695.xml"/><Relationship Id="rId64" Type="http://schemas.openxmlformats.org/officeDocument/2006/relationships/slideLayout" Target="../slideLayouts/slideLayout1.xml"/><Relationship Id="rId69" Type="http://schemas.openxmlformats.org/officeDocument/2006/relationships/image" Target="../media/image184.emf"/><Relationship Id="rId77" Type="http://schemas.openxmlformats.org/officeDocument/2006/relationships/image" Target="../media/image191.emf"/><Relationship Id="rId100" Type="http://schemas.openxmlformats.org/officeDocument/2006/relationships/image" Target="../media/image214.emf"/><Relationship Id="rId105" Type="http://schemas.openxmlformats.org/officeDocument/2006/relationships/image" Target="../media/image219.emf"/><Relationship Id="rId113" Type="http://schemas.openxmlformats.org/officeDocument/2006/relationships/image" Target="../media/image227.emf"/><Relationship Id="rId118" Type="http://schemas.openxmlformats.org/officeDocument/2006/relationships/image" Target="../media/image232.emf"/><Relationship Id="rId126" Type="http://schemas.openxmlformats.org/officeDocument/2006/relationships/image" Target="../media/image240.emf"/><Relationship Id="rId8" Type="http://schemas.openxmlformats.org/officeDocument/2006/relationships/tags" Target="../tags/tag647.xml"/><Relationship Id="rId51" Type="http://schemas.openxmlformats.org/officeDocument/2006/relationships/tags" Target="../tags/tag690.xml"/><Relationship Id="rId72" Type="http://schemas.openxmlformats.org/officeDocument/2006/relationships/image" Target="../media/image187.emf"/><Relationship Id="rId80" Type="http://schemas.openxmlformats.org/officeDocument/2006/relationships/image" Target="../media/image194.emf"/><Relationship Id="rId85" Type="http://schemas.openxmlformats.org/officeDocument/2006/relationships/image" Target="../media/image199.emf"/><Relationship Id="rId93" Type="http://schemas.openxmlformats.org/officeDocument/2006/relationships/image" Target="../media/image207.emf"/><Relationship Id="rId98" Type="http://schemas.openxmlformats.org/officeDocument/2006/relationships/image" Target="../media/image212.emf"/><Relationship Id="rId121" Type="http://schemas.openxmlformats.org/officeDocument/2006/relationships/image" Target="../media/image235.emf"/><Relationship Id="rId3" Type="http://schemas.openxmlformats.org/officeDocument/2006/relationships/tags" Target="../tags/tag642.xml"/><Relationship Id="rId12" Type="http://schemas.openxmlformats.org/officeDocument/2006/relationships/tags" Target="../tags/tag651.xml"/><Relationship Id="rId17" Type="http://schemas.openxmlformats.org/officeDocument/2006/relationships/tags" Target="../tags/tag656.xml"/><Relationship Id="rId25" Type="http://schemas.openxmlformats.org/officeDocument/2006/relationships/tags" Target="../tags/tag664.xml"/><Relationship Id="rId33" Type="http://schemas.openxmlformats.org/officeDocument/2006/relationships/tags" Target="../tags/tag672.xml"/><Relationship Id="rId38" Type="http://schemas.openxmlformats.org/officeDocument/2006/relationships/tags" Target="../tags/tag677.xml"/><Relationship Id="rId46" Type="http://schemas.openxmlformats.org/officeDocument/2006/relationships/tags" Target="../tags/tag685.xml"/><Relationship Id="rId59" Type="http://schemas.openxmlformats.org/officeDocument/2006/relationships/tags" Target="../tags/tag698.xml"/><Relationship Id="rId67" Type="http://schemas.openxmlformats.org/officeDocument/2006/relationships/image" Target="../media/image182.emf"/><Relationship Id="rId103" Type="http://schemas.openxmlformats.org/officeDocument/2006/relationships/image" Target="../media/image217.emf"/><Relationship Id="rId108" Type="http://schemas.openxmlformats.org/officeDocument/2006/relationships/image" Target="../media/image222.emf"/><Relationship Id="rId116" Type="http://schemas.openxmlformats.org/officeDocument/2006/relationships/image" Target="../media/image230.emf"/><Relationship Id="rId124" Type="http://schemas.openxmlformats.org/officeDocument/2006/relationships/image" Target="../media/image238.emf"/><Relationship Id="rId20" Type="http://schemas.openxmlformats.org/officeDocument/2006/relationships/tags" Target="../tags/tag659.xml"/><Relationship Id="rId41" Type="http://schemas.openxmlformats.org/officeDocument/2006/relationships/tags" Target="../tags/tag680.xml"/><Relationship Id="rId54" Type="http://schemas.openxmlformats.org/officeDocument/2006/relationships/tags" Target="../tags/tag693.xml"/><Relationship Id="rId62" Type="http://schemas.openxmlformats.org/officeDocument/2006/relationships/tags" Target="../tags/tag701.xml"/><Relationship Id="rId70" Type="http://schemas.openxmlformats.org/officeDocument/2006/relationships/image" Target="../media/image185.emf"/><Relationship Id="rId75" Type="http://schemas.openxmlformats.org/officeDocument/2006/relationships/image" Target="../media/image189.emf"/><Relationship Id="rId83" Type="http://schemas.openxmlformats.org/officeDocument/2006/relationships/image" Target="../media/image197.emf"/><Relationship Id="rId88" Type="http://schemas.openxmlformats.org/officeDocument/2006/relationships/image" Target="../media/image202.emf"/><Relationship Id="rId91" Type="http://schemas.openxmlformats.org/officeDocument/2006/relationships/image" Target="../media/image205.emf"/><Relationship Id="rId96" Type="http://schemas.openxmlformats.org/officeDocument/2006/relationships/image" Target="../media/image210.emf"/><Relationship Id="rId111" Type="http://schemas.openxmlformats.org/officeDocument/2006/relationships/image" Target="../media/image225.emf"/><Relationship Id="rId1" Type="http://schemas.openxmlformats.org/officeDocument/2006/relationships/tags" Target="../tags/tag640.xml"/><Relationship Id="rId6" Type="http://schemas.openxmlformats.org/officeDocument/2006/relationships/tags" Target="../tags/tag645.xml"/><Relationship Id="rId15" Type="http://schemas.openxmlformats.org/officeDocument/2006/relationships/tags" Target="../tags/tag654.xml"/><Relationship Id="rId23" Type="http://schemas.openxmlformats.org/officeDocument/2006/relationships/tags" Target="../tags/tag662.xml"/><Relationship Id="rId28" Type="http://schemas.openxmlformats.org/officeDocument/2006/relationships/tags" Target="../tags/tag667.xml"/><Relationship Id="rId36" Type="http://schemas.openxmlformats.org/officeDocument/2006/relationships/tags" Target="../tags/tag675.xml"/><Relationship Id="rId49" Type="http://schemas.openxmlformats.org/officeDocument/2006/relationships/tags" Target="../tags/tag688.xml"/><Relationship Id="rId57" Type="http://schemas.openxmlformats.org/officeDocument/2006/relationships/tags" Target="../tags/tag696.xml"/><Relationship Id="rId106" Type="http://schemas.openxmlformats.org/officeDocument/2006/relationships/image" Target="../media/image220.emf"/><Relationship Id="rId114" Type="http://schemas.openxmlformats.org/officeDocument/2006/relationships/image" Target="../media/image228.emf"/><Relationship Id="rId119" Type="http://schemas.openxmlformats.org/officeDocument/2006/relationships/image" Target="../media/image233.emf"/><Relationship Id="rId127" Type="http://schemas.openxmlformats.org/officeDocument/2006/relationships/image" Target="../media/image241.emf"/><Relationship Id="rId10" Type="http://schemas.openxmlformats.org/officeDocument/2006/relationships/tags" Target="../tags/tag649.xml"/><Relationship Id="rId31" Type="http://schemas.openxmlformats.org/officeDocument/2006/relationships/tags" Target="../tags/tag670.xml"/><Relationship Id="rId44" Type="http://schemas.openxmlformats.org/officeDocument/2006/relationships/tags" Target="../tags/tag683.xml"/><Relationship Id="rId52" Type="http://schemas.openxmlformats.org/officeDocument/2006/relationships/tags" Target="../tags/tag691.xml"/><Relationship Id="rId60" Type="http://schemas.openxmlformats.org/officeDocument/2006/relationships/tags" Target="../tags/tag699.xml"/><Relationship Id="rId65" Type="http://schemas.openxmlformats.org/officeDocument/2006/relationships/image" Target="../media/image54.emf"/><Relationship Id="rId73" Type="http://schemas.openxmlformats.org/officeDocument/2006/relationships/image" Target="../media/image188.emf"/><Relationship Id="rId78" Type="http://schemas.openxmlformats.org/officeDocument/2006/relationships/image" Target="../media/image192.emf"/><Relationship Id="rId81" Type="http://schemas.openxmlformats.org/officeDocument/2006/relationships/image" Target="../media/image195.emf"/><Relationship Id="rId86" Type="http://schemas.openxmlformats.org/officeDocument/2006/relationships/image" Target="../media/image200.emf"/><Relationship Id="rId94" Type="http://schemas.openxmlformats.org/officeDocument/2006/relationships/image" Target="../media/image208.emf"/><Relationship Id="rId99" Type="http://schemas.openxmlformats.org/officeDocument/2006/relationships/image" Target="../media/image213.emf"/><Relationship Id="rId101" Type="http://schemas.openxmlformats.org/officeDocument/2006/relationships/image" Target="../media/image215.emf"/><Relationship Id="rId122" Type="http://schemas.openxmlformats.org/officeDocument/2006/relationships/image" Target="../media/image236.emf"/><Relationship Id="rId4" Type="http://schemas.openxmlformats.org/officeDocument/2006/relationships/tags" Target="../tags/tag643.xml"/><Relationship Id="rId9" Type="http://schemas.openxmlformats.org/officeDocument/2006/relationships/tags" Target="../tags/tag648.xml"/><Relationship Id="rId13" Type="http://schemas.openxmlformats.org/officeDocument/2006/relationships/tags" Target="../tags/tag652.xml"/><Relationship Id="rId18" Type="http://schemas.openxmlformats.org/officeDocument/2006/relationships/tags" Target="../tags/tag657.xml"/><Relationship Id="rId39" Type="http://schemas.openxmlformats.org/officeDocument/2006/relationships/tags" Target="../tags/tag678.xml"/><Relationship Id="rId109" Type="http://schemas.openxmlformats.org/officeDocument/2006/relationships/image" Target="../media/image223.emf"/><Relationship Id="rId34" Type="http://schemas.openxmlformats.org/officeDocument/2006/relationships/tags" Target="../tags/tag673.xml"/><Relationship Id="rId50" Type="http://schemas.openxmlformats.org/officeDocument/2006/relationships/tags" Target="../tags/tag689.xml"/><Relationship Id="rId55" Type="http://schemas.openxmlformats.org/officeDocument/2006/relationships/tags" Target="../tags/tag694.xml"/><Relationship Id="rId76" Type="http://schemas.openxmlformats.org/officeDocument/2006/relationships/image" Target="../media/image190.emf"/><Relationship Id="rId97" Type="http://schemas.openxmlformats.org/officeDocument/2006/relationships/image" Target="../media/image211.emf"/><Relationship Id="rId104" Type="http://schemas.openxmlformats.org/officeDocument/2006/relationships/image" Target="../media/image218.emf"/><Relationship Id="rId120" Type="http://schemas.openxmlformats.org/officeDocument/2006/relationships/image" Target="../media/image234.emf"/><Relationship Id="rId125" Type="http://schemas.openxmlformats.org/officeDocument/2006/relationships/image" Target="../media/image239.emf"/><Relationship Id="rId7" Type="http://schemas.openxmlformats.org/officeDocument/2006/relationships/tags" Target="../tags/tag646.xml"/><Relationship Id="rId71" Type="http://schemas.openxmlformats.org/officeDocument/2006/relationships/image" Target="../media/image186.emf"/><Relationship Id="rId92" Type="http://schemas.openxmlformats.org/officeDocument/2006/relationships/image" Target="../media/image206.emf"/><Relationship Id="rId2" Type="http://schemas.openxmlformats.org/officeDocument/2006/relationships/tags" Target="../tags/tag641.xml"/><Relationship Id="rId29" Type="http://schemas.openxmlformats.org/officeDocument/2006/relationships/tags" Target="../tags/tag668.xml"/><Relationship Id="rId24" Type="http://schemas.openxmlformats.org/officeDocument/2006/relationships/tags" Target="../tags/tag663.xml"/><Relationship Id="rId40" Type="http://schemas.openxmlformats.org/officeDocument/2006/relationships/tags" Target="../tags/tag679.xml"/><Relationship Id="rId45" Type="http://schemas.openxmlformats.org/officeDocument/2006/relationships/tags" Target="../tags/tag684.xml"/><Relationship Id="rId66" Type="http://schemas.openxmlformats.org/officeDocument/2006/relationships/image" Target="../media/image181.emf"/><Relationship Id="rId87" Type="http://schemas.openxmlformats.org/officeDocument/2006/relationships/image" Target="../media/image201.emf"/><Relationship Id="rId110" Type="http://schemas.openxmlformats.org/officeDocument/2006/relationships/image" Target="../media/image224.emf"/><Relationship Id="rId115" Type="http://schemas.openxmlformats.org/officeDocument/2006/relationships/image" Target="../media/image229.emf"/><Relationship Id="rId61" Type="http://schemas.openxmlformats.org/officeDocument/2006/relationships/tags" Target="../tags/tag700.xml"/><Relationship Id="rId82" Type="http://schemas.openxmlformats.org/officeDocument/2006/relationships/image" Target="../media/image196.emf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9.xml.rels><?xml version="1.0" encoding="UTF-8" standalone="yes"?>
<Relationships xmlns="http://schemas.openxmlformats.org/package/2006/relationships"><Relationship Id="rId8" Type="http://schemas.openxmlformats.org/officeDocument/2006/relationships/tags" Target="../tags/tag710.xml"/><Relationship Id="rId13" Type="http://schemas.openxmlformats.org/officeDocument/2006/relationships/tags" Target="../tags/tag715.xml"/><Relationship Id="rId18" Type="http://schemas.openxmlformats.org/officeDocument/2006/relationships/tags" Target="../tags/tag720.xml"/><Relationship Id="rId26" Type="http://schemas.openxmlformats.org/officeDocument/2006/relationships/tags" Target="../tags/tag728.xml"/><Relationship Id="rId3" Type="http://schemas.openxmlformats.org/officeDocument/2006/relationships/tags" Target="../tags/tag705.xml"/><Relationship Id="rId21" Type="http://schemas.openxmlformats.org/officeDocument/2006/relationships/tags" Target="../tags/tag723.xml"/><Relationship Id="rId34" Type="http://schemas.openxmlformats.org/officeDocument/2006/relationships/tags" Target="../tags/tag736.xml"/><Relationship Id="rId7" Type="http://schemas.openxmlformats.org/officeDocument/2006/relationships/tags" Target="../tags/tag709.xml"/><Relationship Id="rId12" Type="http://schemas.openxmlformats.org/officeDocument/2006/relationships/tags" Target="../tags/tag714.xml"/><Relationship Id="rId17" Type="http://schemas.openxmlformats.org/officeDocument/2006/relationships/tags" Target="../tags/tag719.xml"/><Relationship Id="rId25" Type="http://schemas.openxmlformats.org/officeDocument/2006/relationships/tags" Target="../tags/tag727.xml"/><Relationship Id="rId33" Type="http://schemas.openxmlformats.org/officeDocument/2006/relationships/tags" Target="../tags/tag735.xml"/><Relationship Id="rId2" Type="http://schemas.openxmlformats.org/officeDocument/2006/relationships/tags" Target="../tags/tag704.xml"/><Relationship Id="rId16" Type="http://schemas.openxmlformats.org/officeDocument/2006/relationships/tags" Target="../tags/tag718.xml"/><Relationship Id="rId20" Type="http://schemas.openxmlformats.org/officeDocument/2006/relationships/tags" Target="../tags/tag722.xml"/><Relationship Id="rId29" Type="http://schemas.openxmlformats.org/officeDocument/2006/relationships/tags" Target="../tags/tag731.xml"/><Relationship Id="rId1" Type="http://schemas.openxmlformats.org/officeDocument/2006/relationships/tags" Target="../tags/tag703.xml"/><Relationship Id="rId6" Type="http://schemas.openxmlformats.org/officeDocument/2006/relationships/tags" Target="../tags/tag708.xml"/><Relationship Id="rId11" Type="http://schemas.openxmlformats.org/officeDocument/2006/relationships/tags" Target="../tags/tag713.xml"/><Relationship Id="rId24" Type="http://schemas.openxmlformats.org/officeDocument/2006/relationships/tags" Target="../tags/tag726.xml"/><Relationship Id="rId32" Type="http://schemas.openxmlformats.org/officeDocument/2006/relationships/tags" Target="../tags/tag734.xml"/><Relationship Id="rId5" Type="http://schemas.openxmlformats.org/officeDocument/2006/relationships/tags" Target="../tags/tag707.xml"/><Relationship Id="rId15" Type="http://schemas.openxmlformats.org/officeDocument/2006/relationships/tags" Target="../tags/tag717.xml"/><Relationship Id="rId23" Type="http://schemas.openxmlformats.org/officeDocument/2006/relationships/tags" Target="../tags/tag725.xml"/><Relationship Id="rId28" Type="http://schemas.openxmlformats.org/officeDocument/2006/relationships/tags" Target="../tags/tag730.xml"/><Relationship Id="rId36" Type="http://schemas.openxmlformats.org/officeDocument/2006/relationships/slideLayout" Target="../slideLayouts/slideLayout1.xml"/><Relationship Id="rId10" Type="http://schemas.openxmlformats.org/officeDocument/2006/relationships/tags" Target="../tags/tag712.xml"/><Relationship Id="rId19" Type="http://schemas.openxmlformats.org/officeDocument/2006/relationships/tags" Target="../tags/tag721.xml"/><Relationship Id="rId31" Type="http://schemas.openxmlformats.org/officeDocument/2006/relationships/tags" Target="../tags/tag733.xml"/><Relationship Id="rId4" Type="http://schemas.openxmlformats.org/officeDocument/2006/relationships/tags" Target="../tags/tag706.xml"/><Relationship Id="rId9" Type="http://schemas.openxmlformats.org/officeDocument/2006/relationships/tags" Target="../tags/tag711.xml"/><Relationship Id="rId14" Type="http://schemas.openxmlformats.org/officeDocument/2006/relationships/tags" Target="../tags/tag716.xml"/><Relationship Id="rId22" Type="http://schemas.openxmlformats.org/officeDocument/2006/relationships/tags" Target="../tags/tag724.xml"/><Relationship Id="rId27" Type="http://schemas.openxmlformats.org/officeDocument/2006/relationships/tags" Target="../tags/tag729.xml"/><Relationship Id="rId30" Type="http://schemas.openxmlformats.org/officeDocument/2006/relationships/tags" Target="../tags/tag732.xml"/><Relationship Id="rId35" Type="http://schemas.openxmlformats.org/officeDocument/2006/relationships/tags" Target="../tags/tag73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1.xml.rels><?xml version="1.0" encoding="UTF-8" standalone="yes"?>
<Relationships xmlns="http://schemas.openxmlformats.org/package/2006/relationships"><Relationship Id="rId8" Type="http://schemas.openxmlformats.org/officeDocument/2006/relationships/tags" Target="../tags/tag744.xml"/><Relationship Id="rId13" Type="http://schemas.openxmlformats.org/officeDocument/2006/relationships/tags" Target="../tags/tag749.xml"/><Relationship Id="rId18" Type="http://schemas.openxmlformats.org/officeDocument/2006/relationships/slideLayout" Target="../slideLayouts/slideLayout1.xml"/><Relationship Id="rId3" Type="http://schemas.openxmlformats.org/officeDocument/2006/relationships/tags" Target="../tags/tag739.xml"/><Relationship Id="rId7" Type="http://schemas.openxmlformats.org/officeDocument/2006/relationships/tags" Target="../tags/tag743.xml"/><Relationship Id="rId12" Type="http://schemas.openxmlformats.org/officeDocument/2006/relationships/tags" Target="../tags/tag748.xml"/><Relationship Id="rId17" Type="http://schemas.openxmlformats.org/officeDocument/2006/relationships/tags" Target="../tags/tag753.xml"/><Relationship Id="rId2" Type="http://schemas.openxmlformats.org/officeDocument/2006/relationships/tags" Target="../tags/tag738.xml"/><Relationship Id="rId16" Type="http://schemas.openxmlformats.org/officeDocument/2006/relationships/tags" Target="../tags/tag752.xml"/><Relationship Id="rId20" Type="http://schemas.openxmlformats.org/officeDocument/2006/relationships/image" Target="../media/image242.emf"/><Relationship Id="rId1" Type="http://schemas.openxmlformats.org/officeDocument/2006/relationships/vmlDrawing" Target="../drawings/vmlDrawing27.vml"/><Relationship Id="rId6" Type="http://schemas.openxmlformats.org/officeDocument/2006/relationships/tags" Target="../tags/tag742.xml"/><Relationship Id="rId11" Type="http://schemas.openxmlformats.org/officeDocument/2006/relationships/tags" Target="../tags/tag747.xml"/><Relationship Id="rId5" Type="http://schemas.openxmlformats.org/officeDocument/2006/relationships/tags" Target="../tags/tag741.xml"/><Relationship Id="rId15" Type="http://schemas.openxmlformats.org/officeDocument/2006/relationships/tags" Target="../tags/tag751.xml"/><Relationship Id="rId10" Type="http://schemas.openxmlformats.org/officeDocument/2006/relationships/tags" Target="../tags/tag746.xml"/><Relationship Id="rId19" Type="http://schemas.openxmlformats.org/officeDocument/2006/relationships/oleObject" Target="../embeddings/oleObject27.bin"/><Relationship Id="rId4" Type="http://schemas.openxmlformats.org/officeDocument/2006/relationships/tags" Target="../tags/tag740.xml"/><Relationship Id="rId9" Type="http://schemas.openxmlformats.org/officeDocument/2006/relationships/tags" Target="../tags/tag745.xml"/><Relationship Id="rId14" Type="http://schemas.openxmlformats.org/officeDocument/2006/relationships/tags" Target="../tags/tag750.xml"/></Relationships>
</file>

<file path=ppt/slides/_rels/slide152.xml.rels><?xml version="1.0" encoding="UTF-8" standalone="yes"?>
<Relationships xmlns="http://schemas.openxmlformats.org/package/2006/relationships"><Relationship Id="rId8" Type="http://schemas.openxmlformats.org/officeDocument/2006/relationships/tags" Target="../tags/tag761.xml"/><Relationship Id="rId3" Type="http://schemas.openxmlformats.org/officeDocument/2006/relationships/tags" Target="../tags/tag756.xml"/><Relationship Id="rId7" Type="http://schemas.openxmlformats.org/officeDocument/2006/relationships/tags" Target="../tags/tag760.xml"/><Relationship Id="rId2" Type="http://schemas.openxmlformats.org/officeDocument/2006/relationships/tags" Target="../tags/tag755.xml"/><Relationship Id="rId1" Type="http://schemas.openxmlformats.org/officeDocument/2006/relationships/tags" Target="../tags/tag754.xml"/><Relationship Id="rId6" Type="http://schemas.openxmlformats.org/officeDocument/2006/relationships/tags" Target="../tags/tag759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758.xml"/><Relationship Id="rId10" Type="http://schemas.openxmlformats.org/officeDocument/2006/relationships/tags" Target="../tags/tag763.xml"/><Relationship Id="rId4" Type="http://schemas.openxmlformats.org/officeDocument/2006/relationships/tags" Target="../tags/tag757.xml"/><Relationship Id="rId9" Type="http://schemas.openxmlformats.org/officeDocument/2006/relationships/tags" Target="../tags/tag762.xml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766.xml"/><Relationship Id="rId7" Type="http://schemas.openxmlformats.org/officeDocument/2006/relationships/tags" Target="../tags/tag770.xml"/><Relationship Id="rId2" Type="http://schemas.openxmlformats.org/officeDocument/2006/relationships/tags" Target="../tags/tag765.xml"/><Relationship Id="rId1" Type="http://schemas.openxmlformats.org/officeDocument/2006/relationships/tags" Target="../tags/tag764.xml"/><Relationship Id="rId6" Type="http://schemas.openxmlformats.org/officeDocument/2006/relationships/tags" Target="../tags/tag769.xml"/><Relationship Id="rId5" Type="http://schemas.openxmlformats.org/officeDocument/2006/relationships/tags" Target="../tags/tag768.xml"/><Relationship Id="rId4" Type="http://schemas.openxmlformats.org/officeDocument/2006/relationships/tags" Target="../tags/tag767.xml"/></Relationships>
</file>

<file path=ppt/slides/_rels/slide1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8.xml.rels><?xml version="1.0" encoding="UTF-8" standalone="yes"?>
<Relationships xmlns="http://schemas.openxmlformats.org/package/2006/relationships"><Relationship Id="rId8" Type="http://schemas.openxmlformats.org/officeDocument/2006/relationships/tags" Target="../tags/tag778.xml"/><Relationship Id="rId13" Type="http://schemas.openxmlformats.org/officeDocument/2006/relationships/tags" Target="../tags/tag783.xml"/><Relationship Id="rId18" Type="http://schemas.openxmlformats.org/officeDocument/2006/relationships/tags" Target="../tags/tag788.xml"/><Relationship Id="rId26" Type="http://schemas.openxmlformats.org/officeDocument/2006/relationships/tags" Target="../tags/tag796.xml"/><Relationship Id="rId3" Type="http://schemas.openxmlformats.org/officeDocument/2006/relationships/tags" Target="../tags/tag773.xml"/><Relationship Id="rId21" Type="http://schemas.openxmlformats.org/officeDocument/2006/relationships/tags" Target="../tags/tag791.xml"/><Relationship Id="rId7" Type="http://schemas.openxmlformats.org/officeDocument/2006/relationships/tags" Target="../tags/tag777.xml"/><Relationship Id="rId12" Type="http://schemas.openxmlformats.org/officeDocument/2006/relationships/tags" Target="../tags/tag782.xml"/><Relationship Id="rId17" Type="http://schemas.openxmlformats.org/officeDocument/2006/relationships/tags" Target="../tags/tag787.xml"/><Relationship Id="rId25" Type="http://schemas.openxmlformats.org/officeDocument/2006/relationships/tags" Target="../tags/tag795.xml"/><Relationship Id="rId33" Type="http://schemas.openxmlformats.org/officeDocument/2006/relationships/slideLayout" Target="../slideLayouts/slideLayout1.xml"/><Relationship Id="rId2" Type="http://schemas.openxmlformats.org/officeDocument/2006/relationships/tags" Target="../tags/tag772.xml"/><Relationship Id="rId16" Type="http://schemas.openxmlformats.org/officeDocument/2006/relationships/tags" Target="../tags/tag786.xml"/><Relationship Id="rId20" Type="http://schemas.openxmlformats.org/officeDocument/2006/relationships/tags" Target="../tags/tag790.xml"/><Relationship Id="rId29" Type="http://schemas.openxmlformats.org/officeDocument/2006/relationships/tags" Target="../tags/tag799.xml"/><Relationship Id="rId1" Type="http://schemas.openxmlformats.org/officeDocument/2006/relationships/tags" Target="../tags/tag771.xml"/><Relationship Id="rId6" Type="http://schemas.openxmlformats.org/officeDocument/2006/relationships/tags" Target="../tags/tag776.xml"/><Relationship Id="rId11" Type="http://schemas.openxmlformats.org/officeDocument/2006/relationships/tags" Target="../tags/tag781.xml"/><Relationship Id="rId24" Type="http://schemas.openxmlformats.org/officeDocument/2006/relationships/tags" Target="../tags/tag794.xml"/><Relationship Id="rId32" Type="http://schemas.openxmlformats.org/officeDocument/2006/relationships/tags" Target="../tags/tag802.xml"/><Relationship Id="rId5" Type="http://schemas.openxmlformats.org/officeDocument/2006/relationships/tags" Target="../tags/tag775.xml"/><Relationship Id="rId15" Type="http://schemas.openxmlformats.org/officeDocument/2006/relationships/tags" Target="../tags/tag785.xml"/><Relationship Id="rId23" Type="http://schemas.openxmlformats.org/officeDocument/2006/relationships/tags" Target="../tags/tag793.xml"/><Relationship Id="rId28" Type="http://schemas.openxmlformats.org/officeDocument/2006/relationships/tags" Target="../tags/tag798.xml"/><Relationship Id="rId10" Type="http://schemas.openxmlformats.org/officeDocument/2006/relationships/tags" Target="../tags/tag780.xml"/><Relationship Id="rId19" Type="http://schemas.openxmlformats.org/officeDocument/2006/relationships/tags" Target="../tags/tag789.xml"/><Relationship Id="rId31" Type="http://schemas.openxmlformats.org/officeDocument/2006/relationships/tags" Target="../tags/tag801.xml"/><Relationship Id="rId4" Type="http://schemas.openxmlformats.org/officeDocument/2006/relationships/tags" Target="../tags/tag774.xml"/><Relationship Id="rId9" Type="http://schemas.openxmlformats.org/officeDocument/2006/relationships/tags" Target="../tags/tag779.xml"/><Relationship Id="rId14" Type="http://schemas.openxmlformats.org/officeDocument/2006/relationships/tags" Target="../tags/tag784.xml"/><Relationship Id="rId22" Type="http://schemas.openxmlformats.org/officeDocument/2006/relationships/tags" Target="../tags/tag792.xml"/><Relationship Id="rId27" Type="http://schemas.openxmlformats.org/officeDocument/2006/relationships/tags" Target="../tags/tag797.xml"/><Relationship Id="rId30" Type="http://schemas.openxmlformats.org/officeDocument/2006/relationships/tags" Target="../tags/tag800.xml"/></Relationships>
</file>

<file path=ppt/slides/_rels/slide159.xml.rels><?xml version="1.0" encoding="UTF-8" standalone="yes"?>
<Relationships xmlns="http://schemas.openxmlformats.org/package/2006/relationships"><Relationship Id="rId8" Type="http://schemas.openxmlformats.org/officeDocument/2006/relationships/tags" Target="../tags/tag810.xml"/><Relationship Id="rId13" Type="http://schemas.openxmlformats.org/officeDocument/2006/relationships/tags" Target="../tags/tag815.xml"/><Relationship Id="rId18" Type="http://schemas.openxmlformats.org/officeDocument/2006/relationships/slideLayout" Target="../slideLayouts/slideLayout1.xml"/><Relationship Id="rId3" Type="http://schemas.openxmlformats.org/officeDocument/2006/relationships/tags" Target="../tags/tag805.xml"/><Relationship Id="rId7" Type="http://schemas.openxmlformats.org/officeDocument/2006/relationships/tags" Target="../tags/tag809.xml"/><Relationship Id="rId12" Type="http://schemas.openxmlformats.org/officeDocument/2006/relationships/tags" Target="../tags/tag814.xml"/><Relationship Id="rId17" Type="http://schemas.openxmlformats.org/officeDocument/2006/relationships/tags" Target="../tags/tag819.xml"/><Relationship Id="rId2" Type="http://schemas.openxmlformats.org/officeDocument/2006/relationships/tags" Target="../tags/tag804.xml"/><Relationship Id="rId16" Type="http://schemas.openxmlformats.org/officeDocument/2006/relationships/tags" Target="../tags/tag818.xml"/><Relationship Id="rId1" Type="http://schemas.openxmlformats.org/officeDocument/2006/relationships/tags" Target="../tags/tag803.xml"/><Relationship Id="rId6" Type="http://schemas.openxmlformats.org/officeDocument/2006/relationships/tags" Target="../tags/tag808.xml"/><Relationship Id="rId11" Type="http://schemas.openxmlformats.org/officeDocument/2006/relationships/tags" Target="../tags/tag813.xml"/><Relationship Id="rId5" Type="http://schemas.openxmlformats.org/officeDocument/2006/relationships/tags" Target="../tags/tag807.xml"/><Relationship Id="rId15" Type="http://schemas.openxmlformats.org/officeDocument/2006/relationships/tags" Target="../tags/tag817.xml"/><Relationship Id="rId10" Type="http://schemas.openxmlformats.org/officeDocument/2006/relationships/tags" Target="../tags/tag812.xml"/><Relationship Id="rId4" Type="http://schemas.openxmlformats.org/officeDocument/2006/relationships/tags" Target="../tags/tag806.xml"/><Relationship Id="rId9" Type="http://schemas.openxmlformats.org/officeDocument/2006/relationships/tags" Target="../tags/tag811.xml"/><Relationship Id="rId14" Type="http://schemas.openxmlformats.org/officeDocument/2006/relationships/tags" Target="../tags/tag8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2.xml.rels><?xml version="1.0" encoding="UTF-8" standalone="yes"?>
<Relationships xmlns="http://schemas.openxmlformats.org/package/2006/relationships"><Relationship Id="rId8" Type="http://schemas.openxmlformats.org/officeDocument/2006/relationships/tags" Target="../tags/tag827.xml"/><Relationship Id="rId13" Type="http://schemas.openxmlformats.org/officeDocument/2006/relationships/tags" Target="../tags/tag832.xml"/><Relationship Id="rId18" Type="http://schemas.openxmlformats.org/officeDocument/2006/relationships/tags" Target="../tags/tag837.xml"/><Relationship Id="rId26" Type="http://schemas.openxmlformats.org/officeDocument/2006/relationships/tags" Target="../tags/tag845.xml"/><Relationship Id="rId3" Type="http://schemas.openxmlformats.org/officeDocument/2006/relationships/tags" Target="../tags/tag822.xml"/><Relationship Id="rId21" Type="http://schemas.openxmlformats.org/officeDocument/2006/relationships/tags" Target="../tags/tag840.xml"/><Relationship Id="rId7" Type="http://schemas.openxmlformats.org/officeDocument/2006/relationships/tags" Target="../tags/tag826.xml"/><Relationship Id="rId12" Type="http://schemas.openxmlformats.org/officeDocument/2006/relationships/tags" Target="../tags/tag831.xml"/><Relationship Id="rId17" Type="http://schemas.openxmlformats.org/officeDocument/2006/relationships/tags" Target="../tags/tag836.xml"/><Relationship Id="rId25" Type="http://schemas.openxmlformats.org/officeDocument/2006/relationships/tags" Target="../tags/tag844.xml"/><Relationship Id="rId2" Type="http://schemas.openxmlformats.org/officeDocument/2006/relationships/tags" Target="../tags/tag821.xml"/><Relationship Id="rId16" Type="http://schemas.openxmlformats.org/officeDocument/2006/relationships/tags" Target="../tags/tag835.xml"/><Relationship Id="rId20" Type="http://schemas.openxmlformats.org/officeDocument/2006/relationships/tags" Target="../tags/tag839.xml"/><Relationship Id="rId1" Type="http://schemas.openxmlformats.org/officeDocument/2006/relationships/tags" Target="../tags/tag820.xml"/><Relationship Id="rId6" Type="http://schemas.openxmlformats.org/officeDocument/2006/relationships/tags" Target="../tags/tag825.xml"/><Relationship Id="rId11" Type="http://schemas.openxmlformats.org/officeDocument/2006/relationships/tags" Target="../tags/tag830.xml"/><Relationship Id="rId24" Type="http://schemas.openxmlformats.org/officeDocument/2006/relationships/tags" Target="../tags/tag843.xml"/><Relationship Id="rId5" Type="http://schemas.openxmlformats.org/officeDocument/2006/relationships/tags" Target="../tags/tag824.xml"/><Relationship Id="rId15" Type="http://schemas.openxmlformats.org/officeDocument/2006/relationships/tags" Target="../tags/tag834.xml"/><Relationship Id="rId23" Type="http://schemas.openxmlformats.org/officeDocument/2006/relationships/tags" Target="../tags/tag842.xml"/><Relationship Id="rId10" Type="http://schemas.openxmlformats.org/officeDocument/2006/relationships/tags" Target="../tags/tag829.xml"/><Relationship Id="rId19" Type="http://schemas.openxmlformats.org/officeDocument/2006/relationships/tags" Target="../tags/tag838.xml"/><Relationship Id="rId4" Type="http://schemas.openxmlformats.org/officeDocument/2006/relationships/tags" Target="../tags/tag823.xml"/><Relationship Id="rId9" Type="http://schemas.openxmlformats.org/officeDocument/2006/relationships/tags" Target="../tags/tag828.xml"/><Relationship Id="rId14" Type="http://schemas.openxmlformats.org/officeDocument/2006/relationships/tags" Target="../tags/tag833.xml"/><Relationship Id="rId22" Type="http://schemas.openxmlformats.org/officeDocument/2006/relationships/tags" Target="../tags/tag841.xml"/><Relationship Id="rId27" Type="http://schemas.openxmlformats.org/officeDocument/2006/relationships/slideLayout" Target="../slideLayouts/slideLayout1.xml"/></Relationships>
</file>

<file path=ppt/slides/_rels/slide163.xml.rels><?xml version="1.0" encoding="UTF-8" standalone="yes"?>
<Relationships xmlns="http://schemas.openxmlformats.org/package/2006/relationships"><Relationship Id="rId8" Type="http://schemas.openxmlformats.org/officeDocument/2006/relationships/tags" Target="../tags/tag853.xml"/><Relationship Id="rId3" Type="http://schemas.openxmlformats.org/officeDocument/2006/relationships/tags" Target="../tags/tag848.xml"/><Relationship Id="rId7" Type="http://schemas.openxmlformats.org/officeDocument/2006/relationships/tags" Target="../tags/tag852.xml"/><Relationship Id="rId2" Type="http://schemas.openxmlformats.org/officeDocument/2006/relationships/tags" Target="../tags/tag847.xml"/><Relationship Id="rId1" Type="http://schemas.openxmlformats.org/officeDocument/2006/relationships/tags" Target="../tags/tag846.xml"/><Relationship Id="rId6" Type="http://schemas.openxmlformats.org/officeDocument/2006/relationships/tags" Target="../tags/tag851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850.xml"/><Relationship Id="rId10" Type="http://schemas.openxmlformats.org/officeDocument/2006/relationships/tags" Target="../tags/tag855.xml"/><Relationship Id="rId4" Type="http://schemas.openxmlformats.org/officeDocument/2006/relationships/tags" Target="../tags/tag849.xml"/><Relationship Id="rId9" Type="http://schemas.openxmlformats.org/officeDocument/2006/relationships/tags" Target="../tags/tag854.xml"/></Relationships>
</file>

<file path=ppt/slides/_rels/slide164.xml.rels><?xml version="1.0" encoding="UTF-8" standalone="yes"?>
<Relationships xmlns="http://schemas.openxmlformats.org/package/2006/relationships"><Relationship Id="rId8" Type="http://schemas.openxmlformats.org/officeDocument/2006/relationships/tags" Target="../tags/tag863.xml"/><Relationship Id="rId13" Type="http://schemas.openxmlformats.org/officeDocument/2006/relationships/tags" Target="../tags/tag868.xml"/><Relationship Id="rId18" Type="http://schemas.openxmlformats.org/officeDocument/2006/relationships/tags" Target="../tags/tag873.xml"/><Relationship Id="rId26" Type="http://schemas.openxmlformats.org/officeDocument/2006/relationships/tags" Target="../tags/tag881.xml"/><Relationship Id="rId39" Type="http://schemas.openxmlformats.org/officeDocument/2006/relationships/tags" Target="../tags/tag894.xml"/><Relationship Id="rId3" Type="http://schemas.openxmlformats.org/officeDocument/2006/relationships/tags" Target="../tags/tag858.xml"/><Relationship Id="rId21" Type="http://schemas.openxmlformats.org/officeDocument/2006/relationships/tags" Target="../tags/tag876.xml"/><Relationship Id="rId34" Type="http://schemas.openxmlformats.org/officeDocument/2006/relationships/tags" Target="../tags/tag889.xml"/><Relationship Id="rId42" Type="http://schemas.openxmlformats.org/officeDocument/2006/relationships/slideLayout" Target="../slideLayouts/slideLayout1.xml"/><Relationship Id="rId7" Type="http://schemas.openxmlformats.org/officeDocument/2006/relationships/tags" Target="../tags/tag862.xml"/><Relationship Id="rId12" Type="http://schemas.openxmlformats.org/officeDocument/2006/relationships/tags" Target="../tags/tag867.xml"/><Relationship Id="rId17" Type="http://schemas.openxmlformats.org/officeDocument/2006/relationships/tags" Target="../tags/tag872.xml"/><Relationship Id="rId25" Type="http://schemas.openxmlformats.org/officeDocument/2006/relationships/tags" Target="../tags/tag880.xml"/><Relationship Id="rId33" Type="http://schemas.openxmlformats.org/officeDocument/2006/relationships/tags" Target="../tags/tag888.xml"/><Relationship Id="rId38" Type="http://schemas.openxmlformats.org/officeDocument/2006/relationships/tags" Target="../tags/tag893.xml"/><Relationship Id="rId2" Type="http://schemas.openxmlformats.org/officeDocument/2006/relationships/tags" Target="../tags/tag857.xml"/><Relationship Id="rId16" Type="http://schemas.openxmlformats.org/officeDocument/2006/relationships/tags" Target="../tags/tag871.xml"/><Relationship Id="rId20" Type="http://schemas.openxmlformats.org/officeDocument/2006/relationships/tags" Target="../tags/tag875.xml"/><Relationship Id="rId29" Type="http://schemas.openxmlformats.org/officeDocument/2006/relationships/tags" Target="../tags/tag884.xml"/><Relationship Id="rId41" Type="http://schemas.openxmlformats.org/officeDocument/2006/relationships/tags" Target="../tags/tag896.xml"/><Relationship Id="rId1" Type="http://schemas.openxmlformats.org/officeDocument/2006/relationships/tags" Target="../tags/tag856.xml"/><Relationship Id="rId6" Type="http://schemas.openxmlformats.org/officeDocument/2006/relationships/tags" Target="../tags/tag861.xml"/><Relationship Id="rId11" Type="http://schemas.openxmlformats.org/officeDocument/2006/relationships/tags" Target="../tags/tag866.xml"/><Relationship Id="rId24" Type="http://schemas.openxmlformats.org/officeDocument/2006/relationships/tags" Target="../tags/tag879.xml"/><Relationship Id="rId32" Type="http://schemas.openxmlformats.org/officeDocument/2006/relationships/tags" Target="../tags/tag887.xml"/><Relationship Id="rId37" Type="http://schemas.openxmlformats.org/officeDocument/2006/relationships/tags" Target="../tags/tag892.xml"/><Relationship Id="rId40" Type="http://schemas.openxmlformats.org/officeDocument/2006/relationships/tags" Target="../tags/tag895.xml"/><Relationship Id="rId45" Type="http://schemas.openxmlformats.org/officeDocument/2006/relationships/image" Target="../media/image245.emf"/><Relationship Id="rId5" Type="http://schemas.openxmlformats.org/officeDocument/2006/relationships/tags" Target="../tags/tag860.xml"/><Relationship Id="rId15" Type="http://schemas.openxmlformats.org/officeDocument/2006/relationships/tags" Target="../tags/tag870.xml"/><Relationship Id="rId23" Type="http://schemas.openxmlformats.org/officeDocument/2006/relationships/tags" Target="../tags/tag878.xml"/><Relationship Id="rId28" Type="http://schemas.openxmlformats.org/officeDocument/2006/relationships/tags" Target="../tags/tag883.xml"/><Relationship Id="rId36" Type="http://schemas.openxmlformats.org/officeDocument/2006/relationships/tags" Target="../tags/tag891.xml"/><Relationship Id="rId10" Type="http://schemas.openxmlformats.org/officeDocument/2006/relationships/tags" Target="../tags/tag865.xml"/><Relationship Id="rId19" Type="http://schemas.openxmlformats.org/officeDocument/2006/relationships/tags" Target="../tags/tag874.xml"/><Relationship Id="rId31" Type="http://schemas.openxmlformats.org/officeDocument/2006/relationships/tags" Target="../tags/tag886.xml"/><Relationship Id="rId44" Type="http://schemas.openxmlformats.org/officeDocument/2006/relationships/image" Target="../media/image244.emf"/><Relationship Id="rId4" Type="http://schemas.openxmlformats.org/officeDocument/2006/relationships/tags" Target="../tags/tag859.xml"/><Relationship Id="rId9" Type="http://schemas.openxmlformats.org/officeDocument/2006/relationships/tags" Target="../tags/tag864.xml"/><Relationship Id="rId14" Type="http://schemas.openxmlformats.org/officeDocument/2006/relationships/tags" Target="../tags/tag869.xml"/><Relationship Id="rId22" Type="http://schemas.openxmlformats.org/officeDocument/2006/relationships/tags" Target="../tags/tag877.xml"/><Relationship Id="rId27" Type="http://schemas.openxmlformats.org/officeDocument/2006/relationships/tags" Target="../tags/tag882.xml"/><Relationship Id="rId30" Type="http://schemas.openxmlformats.org/officeDocument/2006/relationships/tags" Target="../tags/tag885.xml"/><Relationship Id="rId35" Type="http://schemas.openxmlformats.org/officeDocument/2006/relationships/tags" Target="../tags/tag890.xml"/><Relationship Id="rId43" Type="http://schemas.openxmlformats.org/officeDocument/2006/relationships/image" Target="../media/image243.emf"/></Relationships>
</file>

<file path=ppt/slides/_rels/slide165.xml.rels><?xml version="1.0" encoding="UTF-8" standalone="yes"?>
<Relationships xmlns="http://schemas.openxmlformats.org/package/2006/relationships"><Relationship Id="rId13" Type="http://schemas.openxmlformats.org/officeDocument/2006/relationships/tags" Target="../tags/tag909.xml"/><Relationship Id="rId18" Type="http://schemas.openxmlformats.org/officeDocument/2006/relationships/tags" Target="../tags/tag914.xml"/><Relationship Id="rId26" Type="http://schemas.openxmlformats.org/officeDocument/2006/relationships/tags" Target="../tags/tag922.xml"/><Relationship Id="rId39" Type="http://schemas.openxmlformats.org/officeDocument/2006/relationships/tags" Target="../tags/tag935.xml"/><Relationship Id="rId21" Type="http://schemas.openxmlformats.org/officeDocument/2006/relationships/tags" Target="../tags/tag917.xml"/><Relationship Id="rId34" Type="http://schemas.openxmlformats.org/officeDocument/2006/relationships/tags" Target="../tags/tag930.xml"/><Relationship Id="rId42" Type="http://schemas.openxmlformats.org/officeDocument/2006/relationships/tags" Target="../tags/tag938.xml"/><Relationship Id="rId47" Type="http://schemas.openxmlformats.org/officeDocument/2006/relationships/tags" Target="../tags/tag943.xml"/><Relationship Id="rId50" Type="http://schemas.openxmlformats.org/officeDocument/2006/relationships/tags" Target="../tags/tag946.xml"/><Relationship Id="rId55" Type="http://schemas.openxmlformats.org/officeDocument/2006/relationships/tags" Target="../tags/tag951.xml"/><Relationship Id="rId7" Type="http://schemas.openxmlformats.org/officeDocument/2006/relationships/tags" Target="../tags/tag903.xml"/><Relationship Id="rId12" Type="http://schemas.openxmlformats.org/officeDocument/2006/relationships/tags" Target="../tags/tag908.xml"/><Relationship Id="rId17" Type="http://schemas.openxmlformats.org/officeDocument/2006/relationships/tags" Target="../tags/tag913.xml"/><Relationship Id="rId25" Type="http://schemas.openxmlformats.org/officeDocument/2006/relationships/tags" Target="../tags/tag921.xml"/><Relationship Id="rId33" Type="http://schemas.openxmlformats.org/officeDocument/2006/relationships/tags" Target="../tags/tag929.xml"/><Relationship Id="rId38" Type="http://schemas.openxmlformats.org/officeDocument/2006/relationships/tags" Target="../tags/tag934.xml"/><Relationship Id="rId46" Type="http://schemas.openxmlformats.org/officeDocument/2006/relationships/tags" Target="../tags/tag942.xml"/><Relationship Id="rId2" Type="http://schemas.openxmlformats.org/officeDocument/2006/relationships/tags" Target="../tags/tag898.xml"/><Relationship Id="rId16" Type="http://schemas.openxmlformats.org/officeDocument/2006/relationships/tags" Target="../tags/tag912.xml"/><Relationship Id="rId20" Type="http://schemas.openxmlformats.org/officeDocument/2006/relationships/tags" Target="../tags/tag916.xml"/><Relationship Id="rId29" Type="http://schemas.openxmlformats.org/officeDocument/2006/relationships/tags" Target="../tags/tag925.xml"/><Relationship Id="rId41" Type="http://schemas.openxmlformats.org/officeDocument/2006/relationships/tags" Target="../tags/tag937.xml"/><Relationship Id="rId54" Type="http://schemas.openxmlformats.org/officeDocument/2006/relationships/tags" Target="../tags/tag950.xml"/><Relationship Id="rId1" Type="http://schemas.openxmlformats.org/officeDocument/2006/relationships/tags" Target="../tags/tag897.xml"/><Relationship Id="rId6" Type="http://schemas.openxmlformats.org/officeDocument/2006/relationships/tags" Target="../tags/tag902.xml"/><Relationship Id="rId11" Type="http://schemas.openxmlformats.org/officeDocument/2006/relationships/tags" Target="../tags/tag907.xml"/><Relationship Id="rId24" Type="http://schemas.openxmlformats.org/officeDocument/2006/relationships/tags" Target="../tags/tag920.xml"/><Relationship Id="rId32" Type="http://schemas.openxmlformats.org/officeDocument/2006/relationships/tags" Target="../tags/tag928.xml"/><Relationship Id="rId37" Type="http://schemas.openxmlformats.org/officeDocument/2006/relationships/tags" Target="../tags/tag933.xml"/><Relationship Id="rId40" Type="http://schemas.openxmlformats.org/officeDocument/2006/relationships/tags" Target="../tags/tag936.xml"/><Relationship Id="rId45" Type="http://schemas.openxmlformats.org/officeDocument/2006/relationships/tags" Target="../tags/tag941.xml"/><Relationship Id="rId53" Type="http://schemas.openxmlformats.org/officeDocument/2006/relationships/tags" Target="../tags/tag949.xml"/><Relationship Id="rId58" Type="http://schemas.openxmlformats.org/officeDocument/2006/relationships/slideLayout" Target="../slideLayouts/slideLayout1.xml"/><Relationship Id="rId5" Type="http://schemas.openxmlformats.org/officeDocument/2006/relationships/tags" Target="../tags/tag901.xml"/><Relationship Id="rId15" Type="http://schemas.openxmlformats.org/officeDocument/2006/relationships/tags" Target="../tags/tag911.xml"/><Relationship Id="rId23" Type="http://schemas.openxmlformats.org/officeDocument/2006/relationships/tags" Target="../tags/tag919.xml"/><Relationship Id="rId28" Type="http://schemas.openxmlformats.org/officeDocument/2006/relationships/tags" Target="../tags/tag924.xml"/><Relationship Id="rId36" Type="http://schemas.openxmlformats.org/officeDocument/2006/relationships/tags" Target="../tags/tag932.xml"/><Relationship Id="rId49" Type="http://schemas.openxmlformats.org/officeDocument/2006/relationships/tags" Target="../tags/tag945.xml"/><Relationship Id="rId57" Type="http://schemas.openxmlformats.org/officeDocument/2006/relationships/tags" Target="../tags/tag953.xml"/><Relationship Id="rId10" Type="http://schemas.openxmlformats.org/officeDocument/2006/relationships/tags" Target="../tags/tag906.xml"/><Relationship Id="rId19" Type="http://schemas.openxmlformats.org/officeDocument/2006/relationships/tags" Target="../tags/tag915.xml"/><Relationship Id="rId31" Type="http://schemas.openxmlformats.org/officeDocument/2006/relationships/tags" Target="../tags/tag927.xml"/><Relationship Id="rId44" Type="http://schemas.openxmlformats.org/officeDocument/2006/relationships/tags" Target="../tags/tag940.xml"/><Relationship Id="rId52" Type="http://schemas.openxmlformats.org/officeDocument/2006/relationships/tags" Target="../tags/tag948.xml"/><Relationship Id="rId4" Type="http://schemas.openxmlformats.org/officeDocument/2006/relationships/tags" Target="../tags/tag900.xml"/><Relationship Id="rId9" Type="http://schemas.openxmlformats.org/officeDocument/2006/relationships/tags" Target="../tags/tag905.xml"/><Relationship Id="rId14" Type="http://schemas.openxmlformats.org/officeDocument/2006/relationships/tags" Target="../tags/tag910.xml"/><Relationship Id="rId22" Type="http://schemas.openxmlformats.org/officeDocument/2006/relationships/tags" Target="../tags/tag918.xml"/><Relationship Id="rId27" Type="http://schemas.openxmlformats.org/officeDocument/2006/relationships/tags" Target="../tags/tag923.xml"/><Relationship Id="rId30" Type="http://schemas.openxmlformats.org/officeDocument/2006/relationships/tags" Target="../tags/tag926.xml"/><Relationship Id="rId35" Type="http://schemas.openxmlformats.org/officeDocument/2006/relationships/tags" Target="../tags/tag931.xml"/><Relationship Id="rId43" Type="http://schemas.openxmlformats.org/officeDocument/2006/relationships/tags" Target="../tags/tag939.xml"/><Relationship Id="rId48" Type="http://schemas.openxmlformats.org/officeDocument/2006/relationships/tags" Target="../tags/tag944.xml"/><Relationship Id="rId56" Type="http://schemas.openxmlformats.org/officeDocument/2006/relationships/tags" Target="../tags/tag952.xml"/><Relationship Id="rId8" Type="http://schemas.openxmlformats.org/officeDocument/2006/relationships/tags" Target="../tags/tag904.xml"/><Relationship Id="rId51" Type="http://schemas.openxmlformats.org/officeDocument/2006/relationships/tags" Target="../tags/tag947.xml"/><Relationship Id="rId3" Type="http://schemas.openxmlformats.org/officeDocument/2006/relationships/tags" Target="../tags/tag89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image" Target="../media/image37.wmf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package" Target="../embeddings/Microsoft_Excel_Worksheet.xlsx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slideLayout" Target="../slideLayouts/slideLayout3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0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1006D82-007C-2A40-8453-B479404731E2}"/>
              </a:ext>
            </a:extLst>
          </p:cNvPr>
          <p:cNvGrpSpPr/>
          <p:nvPr/>
        </p:nvGrpSpPr>
        <p:grpSpPr>
          <a:xfrm>
            <a:off x="-12700" y="12841264"/>
            <a:ext cx="24390350" cy="874736"/>
            <a:chOff x="8962256" y="6857999"/>
            <a:chExt cx="6215041" cy="874736"/>
          </a:xfrm>
        </p:grpSpPr>
        <p:sp>
          <p:nvSpPr>
            <p:cNvPr id="13" name="Text Box 37">
              <a:extLst>
                <a:ext uri="{FF2B5EF4-FFF2-40B4-BE49-F238E27FC236}">
                  <a16:creationId xmlns:a16="http://schemas.microsoft.com/office/drawing/2014/main" id="{B032E2F0-23FA-3040-9150-9CD587F3C15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962256" y="6857999"/>
              <a:ext cx="887863" cy="870075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Management</a:t>
              </a:r>
              <a:b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</a:br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Summary</a:t>
              </a:r>
            </a:p>
          </p:txBody>
        </p:sp>
        <p:sp>
          <p:nvSpPr>
            <p:cNvPr id="14" name="Text Box 39">
              <a:extLst>
                <a:ext uri="{FF2B5EF4-FFF2-40B4-BE49-F238E27FC236}">
                  <a16:creationId xmlns:a16="http://schemas.microsoft.com/office/drawing/2014/main" id="{4F10A762-EBCA-2242-83F7-A3DE0E5A001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0737982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lternatives</a:t>
              </a:r>
            </a:p>
          </p:txBody>
        </p:sp>
        <p:sp>
          <p:nvSpPr>
            <p:cNvPr id="15" name="Text Box 41">
              <a:extLst>
                <a:ext uri="{FF2B5EF4-FFF2-40B4-BE49-F238E27FC236}">
                  <a16:creationId xmlns:a16="http://schemas.microsoft.com/office/drawing/2014/main" id="{746FE6FB-44AD-B947-A386-1F1ABF432F3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625845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Implementation</a:t>
              </a:r>
            </a:p>
          </p:txBody>
        </p:sp>
        <p:sp>
          <p:nvSpPr>
            <p:cNvPr id="16" name="Text Box 43">
              <a:extLst>
                <a:ext uri="{FF2B5EF4-FFF2-40B4-BE49-F238E27FC236}">
                  <a16:creationId xmlns:a16="http://schemas.microsoft.com/office/drawing/2014/main" id="{CB0EDE14-1E34-894D-B11F-FE59F0BB276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2513708" y="6862659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Financials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7" name="Text Box 47">
              <a:extLst>
                <a:ext uri="{FF2B5EF4-FFF2-40B4-BE49-F238E27FC236}">
                  <a16:creationId xmlns:a16="http://schemas.microsoft.com/office/drawing/2014/main" id="{3A625522-F4A6-4B4B-8E38-1AE033A6048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9850119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nalysis</a:t>
              </a:r>
            </a:p>
          </p:txBody>
        </p:sp>
        <p:sp>
          <p:nvSpPr>
            <p:cNvPr id="18" name="Text Box 43">
              <a:extLst>
                <a:ext uri="{FF2B5EF4-FFF2-40B4-BE49-F238E27FC236}">
                  <a16:creationId xmlns:a16="http://schemas.microsoft.com/office/drawing/2014/main" id="{04854D48-CD5A-8A42-8D84-655A8AF5C50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401571" y="686266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Risk</a:t>
              </a:r>
            </a:p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Mitigation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9" name="Text Box 43">
              <a:extLst>
                <a:ext uri="{FF2B5EF4-FFF2-40B4-BE49-F238E27FC236}">
                  <a16:creationId xmlns:a16="http://schemas.microsoft.com/office/drawing/2014/main" id="{65ED6F0F-897F-404D-9B56-C17E9217604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4289434" y="686266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Conclusion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C2BC226-F872-924C-8952-BACF21B82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849023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Rectangle 36"/>
          <p:cNvSpPr>
            <a:spLocks noChangeArrowheads="1"/>
          </p:cNvSpPr>
          <p:nvPr/>
        </p:nvSpPr>
        <p:spPr bwMode="gray">
          <a:xfrm>
            <a:off x="2570244" y="2693990"/>
            <a:ext cx="20359475" cy="115979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324000" tIns="54000" rIns="54000" bIns="54000" anchor="ctr"/>
          <a:lstStyle/>
          <a:p>
            <a:pPr>
              <a:tabLst>
                <a:tab pos="6096000" algn="r"/>
              </a:tabLst>
            </a:pPr>
            <a:r>
              <a:rPr lang="de-DE" dirty="0">
                <a:latin typeface="Avenir Medium"/>
                <a:ea typeface="Avenir Book" charset="0"/>
                <a:cs typeface="Avenir Book" charset="0"/>
              </a:rPr>
              <a:t>Management Summary</a:t>
            </a:r>
          </a:p>
        </p:txBody>
      </p:sp>
      <p:sp>
        <p:nvSpPr>
          <p:cNvPr id="7" name="Text Box 37"/>
          <p:cNvSpPr txBox="1">
            <a:spLocks noChangeArrowheads="1"/>
          </p:cNvSpPr>
          <p:nvPr/>
        </p:nvSpPr>
        <p:spPr bwMode="gray">
          <a:xfrm>
            <a:off x="1030302" y="2693990"/>
            <a:ext cx="1159200" cy="11592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54000" tIns="54000" rIns="54000" bIns="5400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1</a:t>
            </a:r>
          </a:p>
        </p:txBody>
      </p:sp>
      <p:sp>
        <p:nvSpPr>
          <p:cNvPr id="8" name="Rectangle 38"/>
          <p:cNvSpPr>
            <a:spLocks noChangeArrowheads="1"/>
          </p:cNvSpPr>
          <p:nvPr/>
        </p:nvSpPr>
        <p:spPr bwMode="gray">
          <a:xfrm>
            <a:off x="2570244" y="5529054"/>
            <a:ext cx="20359475" cy="115979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324000" tIns="54000" rIns="54000" bIns="54000" anchor="ctr"/>
          <a:lstStyle/>
          <a:p>
            <a:pPr>
              <a:tabLst>
                <a:tab pos="6096000" algn="r"/>
              </a:tabLst>
            </a:pPr>
            <a:r>
              <a:rPr lang="de-DE" dirty="0">
                <a:latin typeface="Avenir Medium"/>
                <a:ea typeface="Avenir Book" charset="0"/>
                <a:cs typeface="Avenir Book" charset="0"/>
              </a:rPr>
              <a:t>Alternatives</a:t>
            </a:r>
          </a:p>
        </p:txBody>
      </p:sp>
      <p:sp>
        <p:nvSpPr>
          <p:cNvPr id="9" name="Text Box 39"/>
          <p:cNvSpPr txBox="1">
            <a:spLocks noChangeArrowheads="1"/>
          </p:cNvSpPr>
          <p:nvPr/>
        </p:nvSpPr>
        <p:spPr bwMode="gray">
          <a:xfrm>
            <a:off x="1030303" y="5529054"/>
            <a:ext cx="1159200" cy="11592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54000" tIns="54000" rIns="54000" bIns="5400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3</a:t>
            </a:r>
          </a:p>
        </p:txBody>
      </p:sp>
      <p:sp>
        <p:nvSpPr>
          <p:cNvPr id="10" name="Rectangle 40"/>
          <p:cNvSpPr>
            <a:spLocks noChangeArrowheads="1"/>
          </p:cNvSpPr>
          <p:nvPr/>
        </p:nvSpPr>
        <p:spPr bwMode="gray">
          <a:xfrm>
            <a:off x="2570244" y="6969327"/>
            <a:ext cx="20359475" cy="115979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324000" tIns="54000" rIns="54000" bIns="54000" anchor="ctr"/>
          <a:lstStyle/>
          <a:p>
            <a:pPr>
              <a:tabLst>
                <a:tab pos="6096000" algn="r"/>
              </a:tabLst>
            </a:pPr>
            <a:r>
              <a:rPr lang="de-DE" dirty="0">
                <a:latin typeface="Avenir Medium"/>
                <a:ea typeface="Avenir Book" charset="0"/>
                <a:cs typeface="Avenir Book" charset="0"/>
              </a:rPr>
              <a:t>Implementation</a:t>
            </a:r>
          </a:p>
        </p:txBody>
      </p:sp>
      <p:sp>
        <p:nvSpPr>
          <p:cNvPr id="11" name="Text Box 41"/>
          <p:cNvSpPr txBox="1">
            <a:spLocks noChangeArrowheads="1"/>
          </p:cNvSpPr>
          <p:nvPr/>
        </p:nvSpPr>
        <p:spPr bwMode="gray">
          <a:xfrm>
            <a:off x="1030303" y="6969327"/>
            <a:ext cx="1159200" cy="11592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54000" tIns="54000" rIns="54000" bIns="5400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4</a:t>
            </a:r>
          </a:p>
        </p:txBody>
      </p:sp>
      <p:sp>
        <p:nvSpPr>
          <p:cNvPr id="12" name="Rectangle 42"/>
          <p:cNvSpPr>
            <a:spLocks noChangeArrowheads="1"/>
          </p:cNvSpPr>
          <p:nvPr/>
        </p:nvSpPr>
        <p:spPr bwMode="gray">
          <a:xfrm>
            <a:off x="2570244" y="8413393"/>
            <a:ext cx="20359475" cy="115979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324000" tIns="54000" rIns="54000" bIns="54000" anchor="ctr"/>
          <a:lstStyle/>
          <a:p>
            <a:pPr>
              <a:tabLst>
                <a:tab pos="6096000" algn="r"/>
              </a:tabLst>
            </a:pPr>
            <a:r>
              <a:rPr lang="en-US" noProof="0" dirty="0">
                <a:latin typeface="Avenir Medium"/>
                <a:ea typeface="Avenir Book" charset="0"/>
                <a:cs typeface="Avenir Book" charset="0"/>
              </a:rPr>
              <a:t>Financials</a:t>
            </a:r>
          </a:p>
        </p:txBody>
      </p:sp>
      <p:sp>
        <p:nvSpPr>
          <p:cNvPr id="13" name="Text Box 43"/>
          <p:cNvSpPr txBox="1">
            <a:spLocks noChangeArrowheads="1"/>
          </p:cNvSpPr>
          <p:nvPr/>
        </p:nvSpPr>
        <p:spPr bwMode="gray">
          <a:xfrm>
            <a:off x="1030303" y="8413393"/>
            <a:ext cx="1159200" cy="1159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54000" tIns="54000" rIns="54000" bIns="5400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5</a:t>
            </a:r>
          </a:p>
        </p:txBody>
      </p:sp>
      <p:sp>
        <p:nvSpPr>
          <p:cNvPr id="14" name="Rectangle 46"/>
          <p:cNvSpPr>
            <a:spLocks noChangeArrowheads="1"/>
          </p:cNvSpPr>
          <p:nvPr/>
        </p:nvSpPr>
        <p:spPr bwMode="gray">
          <a:xfrm>
            <a:off x="2570244" y="4092573"/>
            <a:ext cx="20359475" cy="115956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324000" tIns="54000" rIns="54000" bIns="54000" anchor="ctr"/>
          <a:lstStyle/>
          <a:p>
            <a:pPr>
              <a:tabLst>
                <a:tab pos="6096000" algn="r"/>
              </a:tabLst>
            </a:pPr>
            <a:r>
              <a:rPr lang="en-US" noProof="0" dirty="0">
                <a:latin typeface="Avenir Medium"/>
                <a:ea typeface="Avenir Book" charset="0"/>
                <a:cs typeface="Avenir Book" charset="0"/>
              </a:rPr>
              <a:t>Analysis</a:t>
            </a:r>
          </a:p>
        </p:txBody>
      </p:sp>
      <p:sp>
        <p:nvSpPr>
          <p:cNvPr id="15" name="Text Box 47"/>
          <p:cNvSpPr txBox="1">
            <a:spLocks noChangeArrowheads="1"/>
          </p:cNvSpPr>
          <p:nvPr/>
        </p:nvSpPr>
        <p:spPr bwMode="gray">
          <a:xfrm>
            <a:off x="1030303" y="4092573"/>
            <a:ext cx="1159200" cy="11592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54000" tIns="54000" rIns="54000" bIns="5400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2</a:t>
            </a:r>
          </a:p>
        </p:txBody>
      </p:sp>
      <p:sp>
        <p:nvSpPr>
          <p:cNvPr id="16" name="Rectangle 42"/>
          <p:cNvSpPr>
            <a:spLocks noChangeArrowheads="1"/>
          </p:cNvSpPr>
          <p:nvPr/>
        </p:nvSpPr>
        <p:spPr bwMode="gray">
          <a:xfrm>
            <a:off x="2567055" y="9857459"/>
            <a:ext cx="20370765" cy="115979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324000" tIns="54000" rIns="54000" bIns="54000" anchor="ctr"/>
          <a:lstStyle/>
          <a:p>
            <a:pPr>
              <a:tabLst>
                <a:tab pos="6096000" algn="r"/>
              </a:tabLst>
            </a:pPr>
            <a:r>
              <a:rPr lang="en-US" noProof="0" dirty="0">
                <a:latin typeface="Avenir Medium"/>
                <a:ea typeface="Avenir Book" charset="0"/>
                <a:cs typeface="Avenir Book" charset="0"/>
              </a:rPr>
              <a:t>Risks</a:t>
            </a:r>
          </a:p>
        </p:txBody>
      </p:sp>
      <p:sp>
        <p:nvSpPr>
          <p:cNvPr id="17" name="Text Box 43"/>
          <p:cNvSpPr txBox="1">
            <a:spLocks noChangeArrowheads="1"/>
          </p:cNvSpPr>
          <p:nvPr/>
        </p:nvSpPr>
        <p:spPr bwMode="gray">
          <a:xfrm>
            <a:off x="1027113" y="9857459"/>
            <a:ext cx="1159200" cy="1159200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54000" tIns="54000" rIns="54000" bIns="5400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6</a:t>
            </a:r>
          </a:p>
        </p:txBody>
      </p:sp>
      <p:sp>
        <p:nvSpPr>
          <p:cNvPr id="18" name="Rectangle 42"/>
          <p:cNvSpPr>
            <a:spLocks noChangeArrowheads="1"/>
          </p:cNvSpPr>
          <p:nvPr/>
        </p:nvSpPr>
        <p:spPr bwMode="gray">
          <a:xfrm>
            <a:off x="2567055" y="11256042"/>
            <a:ext cx="20370765" cy="115979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324000" tIns="54000" rIns="54000" bIns="54000" anchor="ctr"/>
          <a:lstStyle/>
          <a:p>
            <a:pPr>
              <a:tabLst>
                <a:tab pos="6096000" algn="r"/>
              </a:tabLst>
            </a:pPr>
            <a:r>
              <a:rPr lang="en-US" noProof="0" dirty="0">
                <a:latin typeface="Avenir Medium"/>
                <a:ea typeface="Avenir Book" charset="0"/>
                <a:cs typeface="Avenir Book" charset="0"/>
              </a:rPr>
              <a:t>Conclusion</a:t>
            </a:r>
          </a:p>
        </p:txBody>
      </p:sp>
      <p:sp>
        <p:nvSpPr>
          <p:cNvPr id="19" name="Text Box 43"/>
          <p:cNvSpPr txBox="1">
            <a:spLocks noChangeArrowheads="1"/>
          </p:cNvSpPr>
          <p:nvPr/>
        </p:nvSpPr>
        <p:spPr bwMode="gray">
          <a:xfrm>
            <a:off x="1027113" y="11256042"/>
            <a:ext cx="1159200" cy="1159200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wrap="none" lIns="54000" tIns="54000" rIns="54000" bIns="5400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7</a:t>
            </a:r>
          </a:p>
        </p:txBody>
      </p:sp>
      <p:grpSp>
        <p:nvGrpSpPr>
          <p:cNvPr id="21" name="Group 11">
            <a:extLst>
              <a:ext uri="{FF2B5EF4-FFF2-40B4-BE49-F238E27FC236}">
                <a16:creationId xmlns:a16="http://schemas.microsoft.com/office/drawing/2014/main" id="{5C8132BB-0E1F-40E5-BF11-918A5B87E95D}"/>
              </a:ext>
            </a:extLst>
          </p:cNvPr>
          <p:cNvGrpSpPr/>
          <p:nvPr/>
        </p:nvGrpSpPr>
        <p:grpSpPr>
          <a:xfrm>
            <a:off x="-12700" y="12841264"/>
            <a:ext cx="24390350" cy="874736"/>
            <a:chOff x="8962256" y="6857999"/>
            <a:chExt cx="6215041" cy="874736"/>
          </a:xfrm>
        </p:grpSpPr>
        <p:sp>
          <p:nvSpPr>
            <p:cNvPr id="22" name="Text Box 37">
              <a:extLst>
                <a:ext uri="{FF2B5EF4-FFF2-40B4-BE49-F238E27FC236}">
                  <a16:creationId xmlns:a16="http://schemas.microsoft.com/office/drawing/2014/main" id="{B97FB8C0-7142-4801-91FF-D11C6D7EEB8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962256" y="6857999"/>
              <a:ext cx="887863" cy="870075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de-DE" dirty="0">
                  <a:latin typeface="Avenir Medium"/>
                </a:rPr>
                <a:t>Management</a:t>
              </a:r>
              <a:br>
                <a:rPr lang="de-DE" dirty="0">
                  <a:latin typeface="Avenir Medium"/>
                </a:rPr>
              </a:br>
              <a:r>
                <a:rPr lang="de-DE" dirty="0">
                  <a:latin typeface="Avenir Medium"/>
                </a:rPr>
                <a:t>Summary</a:t>
              </a:r>
            </a:p>
          </p:txBody>
        </p:sp>
        <p:sp>
          <p:nvSpPr>
            <p:cNvPr id="23" name="Text Box 39">
              <a:extLst>
                <a:ext uri="{FF2B5EF4-FFF2-40B4-BE49-F238E27FC236}">
                  <a16:creationId xmlns:a16="http://schemas.microsoft.com/office/drawing/2014/main" id="{A2BA693E-A4A4-4704-A881-ACC0DD374F2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0737982" y="6858000"/>
              <a:ext cx="887863" cy="870075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de-DE" dirty="0">
                  <a:latin typeface="Avenir Medium"/>
                </a:rPr>
                <a:t>Alternatives</a:t>
              </a:r>
            </a:p>
          </p:txBody>
        </p:sp>
        <p:sp>
          <p:nvSpPr>
            <p:cNvPr id="24" name="Text Box 41">
              <a:extLst>
                <a:ext uri="{FF2B5EF4-FFF2-40B4-BE49-F238E27FC236}">
                  <a16:creationId xmlns:a16="http://schemas.microsoft.com/office/drawing/2014/main" id="{45C3905C-3DE7-4F8F-98DA-8C9004CA6CA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625845" y="6858000"/>
              <a:ext cx="887863" cy="870075"/>
            </a:xfrm>
            <a:prstGeom prst="rect">
              <a:avLst/>
            </a:prstGeom>
            <a:solidFill>
              <a:schemeClr val="accent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de-DE" dirty="0">
                  <a:latin typeface="Avenir Medium"/>
                </a:rPr>
                <a:t>Implementation</a:t>
              </a:r>
            </a:p>
          </p:txBody>
        </p:sp>
        <p:sp>
          <p:nvSpPr>
            <p:cNvPr id="25" name="Text Box 43">
              <a:extLst>
                <a:ext uri="{FF2B5EF4-FFF2-40B4-BE49-F238E27FC236}">
                  <a16:creationId xmlns:a16="http://schemas.microsoft.com/office/drawing/2014/main" id="{78BA59D1-7080-46AD-A725-242686707AD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2513708" y="6862659"/>
              <a:ext cx="887863" cy="870075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en-US">
                  <a:latin typeface="Avenir Medium"/>
                </a:rPr>
                <a:t>Financials</a:t>
              </a:r>
              <a:endParaRPr lang="en-US" dirty="0">
                <a:latin typeface="Avenir Medium"/>
              </a:endParaRPr>
            </a:p>
          </p:txBody>
        </p:sp>
        <p:sp>
          <p:nvSpPr>
            <p:cNvPr id="26" name="Text Box 47">
              <a:extLst>
                <a:ext uri="{FF2B5EF4-FFF2-40B4-BE49-F238E27FC236}">
                  <a16:creationId xmlns:a16="http://schemas.microsoft.com/office/drawing/2014/main" id="{7B9DD859-7139-4CC9-B176-8D0B920F0AB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9850119" y="6858000"/>
              <a:ext cx="887863" cy="870075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de-DE" dirty="0">
                  <a:latin typeface="Avenir Medium"/>
                </a:rPr>
                <a:t>Analysis</a:t>
              </a:r>
            </a:p>
          </p:txBody>
        </p:sp>
        <p:sp>
          <p:nvSpPr>
            <p:cNvPr id="27" name="Text Box 43">
              <a:extLst>
                <a:ext uri="{FF2B5EF4-FFF2-40B4-BE49-F238E27FC236}">
                  <a16:creationId xmlns:a16="http://schemas.microsoft.com/office/drawing/2014/main" id="{C0C65E92-85DA-45F5-ACCD-47F976D7587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401571" y="6862660"/>
              <a:ext cx="887863" cy="870075"/>
            </a:xfrm>
            <a:prstGeom prst="rect">
              <a:avLst/>
            </a:prstGeom>
            <a:solidFill>
              <a:schemeClr val="accent4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en-US">
                  <a:latin typeface="Avenir Medium"/>
                </a:rPr>
                <a:t>Risk</a:t>
              </a:r>
            </a:p>
            <a:p>
              <a:r>
                <a:rPr lang="en-US">
                  <a:latin typeface="Avenir Medium"/>
                </a:rPr>
                <a:t>Mitigation</a:t>
              </a:r>
              <a:endParaRPr lang="en-US" dirty="0">
                <a:latin typeface="Avenir Medium"/>
              </a:endParaRPr>
            </a:p>
          </p:txBody>
        </p:sp>
        <p:sp>
          <p:nvSpPr>
            <p:cNvPr id="28" name="Text Box 43">
              <a:extLst>
                <a:ext uri="{FF2B5EF4-FFF2-40B4-BE49-F238E27FC236}">
                  <a16:creationId xmlns:a16="http://schemas.microsoft.com/office/drawing/2014/main" id="{52C57C1D-9B18-4AFC-AD8B-B9DE084DD61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4289434" y="6862660"/>
              <a:ext cx="887863" cy="870075"/>
            </a:xfrm>
            <a:prstGeom prst="rect">
              <a:avLst/>
            </a:prstGeom>
            <a:solidFill>
              <a:schemeClr val="accent5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en-US">
                  <a:latin typeface="Avenir Medium"/>
                </a:rPr>
                <a:t>Conclusion</a:t>
              </a:r>
              <a:endParaRPr lang="en-US" dirty="0">
                <a:latin typeface="Avenir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6682946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3" name="Shape 2893"/>
          <p:cNvSpPr/>
          <p:nvPr/>
        </p:nvSpPr>
        <p:spPr>
          <a:xfrm>
            <a:off x="1758543" y="286620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07" y="14380"/>
                </a:moveTo>
                <a:cubicBezTo>
                  <a:pt x="12819" y="14469"/>
                  <a:pt x="12764" y="14592"/>
                  <a:pt x="12764" y="14727"/>
                </a:cubicBezTo>
                <a:cubicBezTo>
                  <a:pt x="12764" y="14999"/>
                  <a:pt x="12984" y="15218"/>
                  <a:pt x="13255" y="15218"/>
                </a:cubicBezTo>
                <a:cubicBezTo>
                  <a:pt x="13390" y="15218"/>
                  <a:pt x="13513" y="15164"/>
                  <a:pt x="13602" y="15074"/>
                </a:cubicBezTo>
                <a:lnTo>
                  <a:pt x="17529" y="11147"/>
                </a:lnTo>
                <a:cubicBezTo>
                  <a:pt x="17618" y="11058"/>
                  <a:pt x="17673" y="10936"/>
                  <a:pt x="17673" y="10800"/>
                </a:cubicBezTo>
                <a:cubicBezTo>
                  <a:pt x="17673" y="10665"/>
                  <a:pt x="17618" y="10542"/>
                  <a:pt x="17529" y="10453"/>
                </a:cubicBezTo>
                <a:lnTo>
                  <a:pt x="13602" y="6526"/>
                </a:lnTo>
                <a:cubicBezTo>
                  <a:pt x="13513" y="6437"/>
                  <a:pt x="13390" y="6382"/>
                  <a:pt x="13255" y="6382"/>
                </a:cubicBezTo>
                <a:cubicBezTo>
                  <a:pt x="12984" y="6382"/>
                  <a:pt x="12764" y="6601"/>
                  <a:pt x="12764" y="6873"/>
                </a:cubicBezTo>
                <a:cubicBezTo>
                  <a:pt x="12764" y="7008"/>
                  <a:pt x="12819" y="7131"/>
                  <a:pt x="12907" y="7220"/>
                </a:cubicBezTo>
                <a:lnTo>
                  <a:pt x="15997" y="10309"/>
                </a:lnTo>
                <a:lnTo>
                  <a:pt x="491" y="10309"/>
                </a:lnTo>
                <a:cubicBezTo>
                  <a:pt x="220" y="10309"/>
                  <a:pt x="0" y="10529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lnTo>
                  <a:pt x="15997" y="11291"/>
                </a:lnTo>
                <a:cubicBezTo>
                  <a:pt x="15997" y="11291"/>
                  <a:pt x="12907" y="14380"/>
                  <a:pt x="12907" y="14380"/>
                </a:cubicBezTo>
                <a:close/>
                <a:moveTo>
                  <a:pt x="21109" y="0"/>
                </a:moveTo>
                <a:lnTo>
                  <a:pt x="3436" y="0"/>
                </a:lnTo>
                <a:cubicBezTo>
                  <a:pt x="3166" y="0"/>
                  <a:pt x="2945" y="220"/>
                  <a:pt x="2945" y="491"/>
                </a:cubicBezTo>
                <a:lnTo>
                  <a:pt x="2945" y="7855"/>
                </a:lnTo>
                <a:cubicBezTo>
                  <a:pt x="2945" y="8126"/>
                  <a:pt x="3166" y="8345"/>
                  <a:pt x="3436" y="8345"/>
                </a:cubicBezTo>
                <a:cubicBezTo>
                  <a:pt x="3707" y="8345"/>
                  <a:pt x="3927" y="8126"/>
                  <a:pt x="3927" y="7855"/>
                </a:cubicBezTo>
                <a:lnTo>
                  <a:pt x="3927" y="982"/>
                </a:lnTo>
                <a:lnTo>
                  <a:pt x="20618" y="982"/>
                </a:lnTo>
                <a:lnTo>
                  <a:pt x="20618" y="20618"/>
                </a:lnTo>
                <a:lnTo>
                  <a:pt x="3927" y="20618"/>
                </a:lnTo>
                <a:lnTo>
                  <a:pt x="3927" y="13745"/>
                </a:lnTo>
                <a:cubicBezTo>
                  <a:pt x="3927" y="13475"/>
                  <a:pt x="3707" y="13255"/>
                  <a:pt x="3436" y="13255"/>
                </a:cubicBezTo>
                <a:cubicBezTo>
                  <a:pt x="3166" y="13255"/>
                  <a:pt x="2945" y="13475"/>
                  <a:pt x="2945" y="13745"/>
                </a:cubicBezTo>
                <a:lnTo>
                  <a:pt x="2945" y="21109"/>
                </a:lnTo>
                <a:cubicBezTo>
                  <a:pt x="2945" y="21380"/>
                  <a:pt x="3166" y="21600"/>
                  <a:pt x="3436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380" y="0"/>
                  <a:pt x="21109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894" name="Shape 2894"/>
          <p:cNvSpPr/>
          <p:nvPr/>
        </p:nvSpPr>
        <p:spPr>
          <a:xfrm>
            <a:off x="2825064" y="286620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0309"/>
                </a:moveTo>
                <a:lnTo>
                  <a:pt x="5604" y="10309"/>
                </a:lnTo>
                <a:lnTo>
                  <a:pt x="8693" y="7220"/>
                </a:lnTo>
                <a:cubicBezTo>
                  <a:pt x="8781" y="7131"/>
                  <a:pt x="8836" y="7008"/>
                  <a:pt x="8836" y="6873"/>
                </a:cubicBezTo>
                <a:cubicBezTo>
                  <a:pt x="8836" y="6601"/>
                  <a:pt x="8616" y="6382"/>
                  <a:pt x="8345" y="6382"/>
                </a:cubicBezTo>
                <a:cubicBezTo>
                  <a:pt x="8210" y="6382"/>
                  <a:pt x="8087" y="6437"/>
                  <a:pt x="7998" y="6526"/>
                </a:cubicBezTo>
                <a:lnTo>
                  <a:pt x="4071" y="10453"/>
                </a:lnTo>
                <a:cubicBezTo>
                  <a:pt x="3982" y="10542"/>
                  <a:pt x="3927" y="10665"/>
                  <a:pt x="3927" y="10800"/>
                </a:cubicBezTo>
                <a:cubicBezTo>
                  <a:pt x="3927" y="10936"/>
                  <a:pt x="3982" y="11058"/>
                  <a:pt x="4071" y="11147"/>
                </a:cubicBezTo>
                <a:lnTo>
                  <a:pt x="7998" y="15074"/>
                </a:lnTo>
                <a:cubicBezTo>
                  <a:pt x="8087" y="15164"/>
                  <a:pt x="8210" y="15218"/>
                  <a:pt x="8345" y="15218"/>
                </a:cubicBezTo>
                <a:cubicBezTo>
                  <a:pt x="8616" y="15218"/>
                  <a:pt x="8836" y="14999"/>
                  <a:pt x="8836" y="14727"/>
                </a:cubicBezTo>
                <a:cubicBezTo>
                  <a:pt x="8836" y="14592"/>
                  <a:pt x="8781" y="14469"/>
                  <a:pt x="8693" y="14380"/>
                </a:cubicBezTo>
                <a:lnTo>
                  <a:pt x="5604" y="11291"/>
                </a:lnTo>
                <a:lnTo>
                  <a:pt x="21109" y="11291"/>
                </a:lnTo>
                <a:cubicBezTo>
                  <a:pt x="21380" y="11291"/>
                  <a:pt x="21600" y="11071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  <a:moveTo>
                  <a:pt x="18164" y="13255"/>
                </a:moveTo>
                <a:cubicBezTo>
                  <a:pt x="17893" y="13255"/>
                  <a:pt x="17673" y="13475"/>
                  <a:pt x="17673" y="13745"/>
                </a:cubicBezTo>
                <a:lnTo>
                  <a:pt x="17673" y="20618"/>
                </a:lnTo>
                <a:lnTo>
                  <a:pt x="982" y="20618"/>
                </a:lnTo>
                <a:lnTo>
                  <a:pt x="982" y="982"/>
                </a:lnTo>
                <a:lnTo>
                  <a:pt x="17673" y="982"/>
                </a:lnTo>
                <a:lnTo>
                  <a:pt x="17673" y="7855"/>
                </a:lnTo>
                <a:cubicBezTo>
                  <a:pt x="17673" y="8126"/>
                  <a:pt x="17893" y="8345"/>
                  <a:pt x="18164" y="8345"/>
                </a:cubicBezTo>
                <a:cubicBezTo>
                  <a:pt x="18434" y="8345"/>
                  <a:pt x="18655" y="8126"/>
                  <a:pt x="18655" y="7855"/>
                </a:cubicBezTo>
                <a:lnTo>
                  <a:pt x="18655" y="491"/>
                </a:lnTo>
                <a:cubicBezTo>
                  <a:pt x="18655" y="220"/>
                  <a:pt x="18434" y="0"/>
                  <a:pt x="18164" y="0"/>
                </a:cubicBezTo>
                <a:lnTo>
                  <a:pt x="491" y="0"/>
                </a:lnTo>
                <a:cubicBezTo>
                  <a:pt x="220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18164" y="21600"/>
                </a:lnTo>
                <a:cubicBezTo>
                  <a:pt x="18434" y="21600"/>
                  <a:pt x="18655" y="21380"/>
                  <a:pt x="18655" y="21109"/>
                </a:cubicBezTo>
                <a:lnTo>
                  <a:pt x="18655" y="13745"/>
                </a:lnTo>
                <a:cubicBezTo>
                  <a:pt x="18655" y="13475"/>
                  <a:pt x="18434" y="13255"/>
                  <a:pt x="18164" y="132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895" name="Shape 2895"/>
          <p:cNvSpPr/>
          <p:nvPr/>
        </p:nvSpPr>
        <p:spPr>
          <a:xfrm>
            <a:off x="4031252" y="2866201"/>
            <a:ext cx="27932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5709"/>
                </a:moveTo>
                <a:cubicBezTo>
                  <a:pt x="20347" y="15709"/>
                  <a:pt x="20102" y="15764"/>
                  <a:pt x="19924" y="15853"/>
                </a:cubicBezTo>
                <a:lnTo>
                  <a:pt x="11782" y="19924"/>
                </a:lnTo>
                <a:lnTo>
                  <a:pt x="11782" y="491"/>
                </a:lnTo>
                <a:cubicBezTo>
                  <a:pt x="11782" y="220"/>
                  <a:pt x="11342" y="0"/>
                  <a:pt x="10800" y="0"/>
                </a:cubicBezTo>
                <a:cubicBezTo>
                  <a:pt x="10258" y="0"/>
                  <a:pt x="9818" y="220"/>
                  <a:pt x="9818" y="491"/>
                </a:cubicBezTo>
                <a:lnTo>
                  <a:pt x="9818" y="19924"/>
                </a:lnTo>
                <a:lnTo>
                  <a:pt x="1676" y="15853"/>
                </a:lnTo>
                <a:cubicBezTo>
                  <a:pt x="1498" y="15764"/>
                  <a:pt x="1253" y="15709"/>
                  <a:pt x="982" y="15709"/>
                </a:cubicBezTo>
                <a:cubicBezTo>
                  <a:pt x="440" y="15709"/>
                  <a:pt x="0" y="15929"/>
                  <a:pt x="0" y="16200"/>
                </a:cubicBezTo>
                <a:cubicBezTo>
                  <a:pt x="0" y="16336"/>
                  <a:pt x="110" y="16458"/>
                  <a:pt x="288" y="16547"/>
                </a:cubicBezTo>
                <a:lnTo>
                  <a:pt x="10106" y="21456"/>
                </a:lnTo>
                <a:cubicBezTo>
                  <a:pt x="10284" y="21545"/>
                  <a:pt x="10529" y="21600"/>
                  <a:pt x="10800" y="21600"/>
                </a:cubicBezTo>
                <a:cubicBezTo>
                  <a:pt x="11071" y="21600"/>
                  <a:pt x="11316" y="21545"/>
                  <a:pt x="11494" y="21456"/>
                </a:cubicBezTo>
                <a:lnTo>
                  <a:pt x="21312" y="16547"/>
                </a:lnTo>
                <a:cubicBezTo>
                  <a:pt x="21490" y="16458"/>
                  <a:pt x="21600" y="16336"/>
                  <a:pt x="21600" y="16200"/>
                </a:cubicBezTo>
                <a:cubicBezTo>
                  <a:pt x="21600" y="15929"/>
                  <a:pt x="21160" y="15709"/>
                  <a:pt x="20618" y="157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896" name="Shape 2896"/>
          <p:cNvSpPr/>
          <p:nvPr/>
        </p:nvSpPr>
        <p:spPr>
          <a:xfrm>
            <a:off x="5097774" y="2866201"/>
            <a:ext cx="27932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312" y="5053"/>
                </a:moveTo>
                <a:lnTo>
                  <a:pt x="11494" y="144"/>
                </a:lnTo>
                <a:cubicBezTo>
                  <a:pt x="11316" y="55"/>
                  <a:pt x="11071" y="0"/>
                  <a:pt x="10800" y="0"/>
                </a:cubicBezTo>
                <a:cubicBezTo>
                  <a:pt x="10529" y="0"/>
                  <a:pt x="10284" y="55"/>
                  <a:pt x="10106" y="144"/>
                </a:cubicBezTo>
                <a:lnTo>
                  <a:pt x="288" y="5053"/>
                </a:lnTo>
                <a:cubicBezTo>
                  <a:pt x="110" y="5142"/>
                  <a:pt x="0" y="5264"/>
                  <a:pt x="0" y="5400"/>
                </a:cubicBezTo>
                <a:cubicBezTo>
                  <a:pt x="0" y="5671"/>
                  <a:pt x="440" y="5891"/>
                  <a:pt x="982" y="5891"/>
                </a:cubicBezTo>
                <a:cubicBezTo>
                  <a:pt x="1253" y="5891"/>
                  <a:pt x="1498" y="5836"/>
                  <a:pt x="1676" y="5747"/>
                </a:cubicBezTo>
                <a:lnTo>
                  <a:pt x="9818" y="1676"/>
                </a:lnTo>
                <a:lnTo>
                  <a:pt x="9818" y="21109"/>
                </a:lnTo>
                <a:cubicBezTo>
                  <a:pt x="9818" y="21380"/>
                  <a:pt x="10258" y="21600"/>
                  <a:pt x="10800" y="21600"/>
                </a:cubicBezTo>
                <a:cubicBezTo>
                  <a:pt x="11342" y="21600"/>
                  <a:pt x="11782" y="21380"/>
                  <a:pt x="11782" y="21109"/>
                </a:cubicBezTo>
                <a:lnTo>
                  <a:pt x="11782" y="1676"/>
                </a:lnTo>
                <a:lnTo>
                  <a:pt x="19924" y="5747"/>
                </a:lnTo>
                <a:cubicBezTo>
                  <a:pt x="20102" y="5836"/>
                  <a:pt x="20347" y="5891"/>
                  <a:pt x="20618" y="5891"/>
                </a:cubicBezTo>
                <a:cubicBezTo>
                  <a:pt x="21160" y="5891"/>
                  <a:pt x="21600" y="5671"/>
                  <a:pt x="21600" y="5400"/>
                </a:cubicBezTo>
                <a:cubicBezTo>
                  <a:pt x="21600" y="5264"/>
                  <a:pt x="21490" y="5142"/>
                  <a:pt x="21312" y="505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897" name="Shape 2897"/>
          <p:cNvSpPr/>
          <p:nvPr/>
        </p:nvSpPr>
        <p:spPr>
          <a:xfrm>
            <a:off x="6024631" y="3005864"/>
            <a:ext cx="558654" cy="2793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9818"/>
                </a:moveTo>
                <a:lnTo>
                  <a:pt x="1676" y="9818"/>
                </a:lnTo>
                <a:lnTo>
                  <a:pt x="5747" y="1676"/>
                </a:lnTo>
                <a:cubicBezTo>
                  <a:pt x="5836" y="1499"/>
                  <a:pt x="5891" y="1253"/>
                  <a:pt x="5891" y="982"/>
                </a:cubicBezTo>
                <a:cubicBezTo>
                  <a:pt x="5891" y="439"/>
                  <a:pt x="5671" y="0"/>
                  <a:pt x="5400" y="0"/>
                </a:cubicBezTo>
                <a:cubicBezTo>
                  <a:pt x="5265" y="0"/>
                  <a:pt x="5142" y="110"/>
                  <a:pt x="5053" y="288"/>
                </a:cubicBezTo>
                <a:lnTo>
                  <a:pt x="144" y="10106"/>
                </a:lnTo>
                <a:cubicBezTo>
                  <a:pt x="55" y="10284"/>
                  <a:pt x="0" y="10530"/>
                  <a:pt x="0" y="10800"/>
                </a:cubicBezTo>
                <a:cubicBezTo>
                  <a:pt x="0" y="11071"/>
                  <a:pt x="55" y="11317"/>
                  <a:pt x="144" y="11494"/>
                </a:cubicBezTo>
                <a:lnTo>
                  <a:pt x="5053" y="21312"/>
                </a:lnTo>
                <a:cubicBezTo>
                  <a:pt x="5142" y="21491"/>
                  <a:pt x="5265" y="21600"/>
                  <a:pt x="5400" y="21600"/>
                </a:cubicBezTo>
                <a:cubicBezTo>
                  <a:pt x="5671" y="21600"/>
                  <a:pt x="5891" y="21161"/>
                  <a:pt x="5891" y="20618"/>
                </a:cubicBezTo>
                <a:cubicBezTo>
                  <a:pt x="5891" y="20348"/>
                  <a:pt x="5836" y="20102"/>
                  <a:pt x="5747" y="19924"/>
                </a:cubicBezTo>
                <a:lnTo>
                  <a:pt x="1676" y="11782"/>
                </a:lnTo>
                <a:lnTo>
                  <a:pt x="21109" y="11782"/>
                </a:lnTo>
                <a:cubicBezTo>
                  <a:pt x="21380" y="11782"/>
                  <a:pt x="21600" y="11343"/>
                  <a:pt x="21600" y="10800"/>
                </a:cubicBezTo>
                <a:cubicBezTo>
                  <a:pt x="21600" y="10257"/>
                  <a:pt x="21380" y="9818"/>
                  <a:pt x="21109" y="98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898" name="Shape 2898"/>
          <p:cNvSpPr/>
          <p:nvPr/>
        </p:nvSpPr>
        <p:spPr>
          <a:xfrm>
            <a:off x="7091154" y="3005864"/>
            <a:ext cx="558654" cy="2793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456" y="10106"/>
                </a:moveTo>
                <a:lnTo>
                  <a:pt x="16547" y="288"/>
                </a:lnTo>
                <a:cubicBezTo>
                  <a:pt x="16458" y="110"/>
                  <a:pt x="16336" y="0"/>
                  <a:pt x="16200" y="0"/>
                </a:cubicBezTo>
                <a:cubicBezTo>
                  <a:pt x="15929" y="0"/>
                  <a:pt x="15709" y="439"/>
                  <a:pt x="15709" y="982"/>
                </a:cubicBezTo>
                <a:cubicBezTo>
                  <a:pt x="15709" y="1253"/>
                  <a:pt x="15764" y="1499"/>
                  <a:pt x="15853" y="1676"/>
                </a:cubicBezTo>
                <a:lnTo>
                  <a:pt x="19924" y="9818"/>
                </a:lnTo>
                <a:lnTo>
                  <a:pt x="491" y="9818"/>
                </a:lnTo>
                <a:cubicBezTo>
                  <a:pt x="220" y="9818"/>
                  <a:pt x="0" y="10257"/>
                  <a:pt x="0" y="10800"/>
                </a:cubicBezTo>
                <a:cubicBezTo>
                  <a:pt x="0" y="11343"/>
                  <a:pt x="220" y="11782"/>
                  <a:pt x="491" y="11782"/>
                </a:cubicBezTo>
                <a:lnTo>
                  <a:pt x="19924" y="11782"/>
                </a:lnTo>
                <a:lnTo>
                  <a:pt x="15853" y="19924"/>
                </a:lnTo>
                <a:cubicBezTo>
                  <a:pt x="15764" y="20102"/>
                  <a:pt x="15709" y="20347"/>
                  <a:pt x="15709" y="20618"/>
                </a:cubicBezTo>
                <a:cubicBezTo>
                  <a:pt x="15709" y="21161"/>
                  <a:pt x="15929" y="21600"/>
                  <a:pt x="16200" y="21600"/>
                </a:cubicBezTo>
                <a:cubicBezTo>
                  <a:pt x="16336" y="21600"/>
                  <a:pt x="16458" y="21491"/>
                  <a:pt x="16547" y="21312"/>
                </a:cubicBezTo>
                <a:lnTo>
                  <a:pt x="21456" y="11494"/>
                </a:lnTo>
                <a:cubicBezTo>
                  <a:pt x="21545" y="11317"/>
                  <a:pt x="21600" y="11071"/>
                  <a:pt x="21600" y="10800"/>
                </a:cubicBezTo>
                <a:cubicBezTo>
                  <a:pt x="21600" y="10529"/>
                  <a:pt x="21545" y="10284"/>
                  <a:pt x="21456" y="1010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899" name="Shape 2899"/>
          <p:cNvSpPr/>
          <p:nvPr/>
        </p:nvSpPr>
        <p:spPr>
          <a:xfrm>
            <a:off x="8183070" y="3018562"/>
            <a:ext cx="507869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60" y="0"/>
                </a:moveTo>
                <a:cubicBezTo>
                  <a:pt x="20911" y="0"/>
                  <a:pt x="20776" y="121"/>
                  <a:pt x="20678" y="316"/>
                </a:cubicBezTo>
                <a:lnTo>
                  <a:pt x="10800" y="19033"/>
                </a:lnTo>
                <a:lnTo>
                  <a:pt x="922" y="316"/>
                </a:lnTo>
                <a:cubicBezTo>
                  <a:pt x="824" y="121"/>
                  <a:pt x="689" y="0"/>
                  <a:pt x="540" y="0"/>
                </a:cubicBezTo>
                <a:cubicBezTo>
                  <a:pt x="242" y="0"/>
                  <a:pt x="0" y="483"/>
                  <a:pt x="0" y="1080"/>
                </a:cubicBezTo>
                <a:cubicBezTo>
                  <a:pt x="0" y="1378"/>
                  <a:pt x="60" y="1648"/>
                  <a:pt x="158" y="1844"/>
                </a:cubicBezTo>
                <a:lnTo>
                  <a:pt x="10418" y="21284"/>
                </a:lnTo>
                <a:cubicBezTo>
                  <a:pt x="10516" y="21480"/>
                  <a:pt x="10651" y="21600"/>
                  <a:pt x="10800" y="21600"/>
                </a:cubicBezTo>
                <a:cubicBezTo>
                  <a:pt x="10949" y="21600"/>
                  <a:pt x="11084" y="21480"/>
                  <a:pt x="11182" y="21284"/>
                </a:cubicBezTo>
                <a:lnTo>
                  <a:pt x="21442" y="1844"/>
                </a:lnTo>
                <a:cubicBezTo>
                  <a:pt x="21540" y="1648"/>
                  <a:pt x="21600" y="1378"/>
                  <a:pt x="21600" y="1080"/>
                </a:cubicBezTo>
                <a:cubicBezTo>
                  <a:pt x="21600" y="483"/>
                  <a:pt x="21358" y="0"/>
                  <a:pt x="2106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00" name="Shape 2900"/>
          <p:cNvSpPr/>
          <p:nvPr/>
        </p:nvSpPr>
        <p:spPr>
          <a:xfrm>
            <a:off x="9249593" y="3018562"/>
            <a:ext cx="507869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442" y="19756"/>
                </a:moveTo>
                <a:lnTo>
                  <a:pt x="11182" y="316"/>
                </a:lnTo>
                <a:cubicBezTo>
                  <a:pt x="11084" y="121"/>
                  <a:pt x="10949" y="0"/>
                  <a:pt x="10800" y="0"/>
                </a:cubicBezTo>
                <a:cubicBezTo>
                  <a:pt x="10651" y="0"/>
                  <a:pt x="10516" y="121"/>
                  <a:pt x="10418" y="316"/>
                </a:cubicBezTo>
                <a:lnTo>
                  <a:pt x="158" y="19756"/>
                </a:lnTo>
                <a:cubicBezTo>
                  <a:pt x="60" y="19953"/>
                  <a:pt x="0" y="20222"/>
                  <a:pt x="0" y="20520"/>
                </a:cubicBezTo>
                <a:cubicBezTo>
                  <a:pt x="0" y="21117"/>
                  <a:pt x="242" y="21600"/>
                  <a:pt x="540" y="21600"/>
                </a:cubicBezTo>
                <a:cubicBezTo>
                  <a:pt x="689" y="21600"/>
                  <a:pt x="824" y="21480"/>
                  <a:pt x="922" y="21284"/>
                </a:cubicBezTo>
                <a:lnTo>
                  <a:pt x="10800" y="2567"/>
                </a:lnTo>
                <a:lnTo>
                  <a:pt x="20678" y="21284"/>
                </a:lnTo>
                <a:cubicBezTo>
                  <a:pt x="20776" y="21480"/>
                  <a:pt x="20911" y="21600"/>
                  <a:pt x="21060" y="21600"/>
                </a:cubicBezTo>
                <a:cubicBezTo>
                  <a:pt x="21358" y="21600"/>
                  <a:pt x="21600" y="21117"/>
                  <a:pt x="21600" y="20520"/>
                </a:cubicBezTo>
                <a:cubicBezTo>
                  <a:pt x="21600" y="20222"/>
                  <a:pt x="21540" y="19953"/>
                  <a:pt x="21442" y="1975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01" name="Shape 2901"/>
          <p:cNvSpPr/>
          <p:nvPr/>
        </p:nvSpPr>
        <p:spPr>
          <a:xfrm>
            <a:off x="10443082" y="2891595"/>
            <a:ext cx="253935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567" y="10800"/>
                </a:moveTo>
                <a:lnTo>
                  <a:pt x="21284" y="922"/>
                </a:lnTo>
                <a:cubicBezTo>
                  <a:pt x="21480" y="824"/>
                  <a:pt x="21600" y="689"/>
                  <a:pt x="21600" y="540"/>
                </a:cubicBezTo>
                <a:cubicBezTo>
                  <a:pt x="21600" y="242"/>
                  <a:pt x="21117" y="0"/>
                  <a:pt x="20520" y="0"/>
                </a:cubicBezTo>
                <a:cubicBezTo>
                  <a:pt x="20222" y="0"/>
                  <a:pt x="19953" y="61"/>
                  <a:pt x="19756" y="158"/>
                </a:cubicBezTo>
                <a:lnTo>
                  <a:pt x="316" y="10418"/>
                </a:lnTo>
                <a:cubicBezTo>
                  <a:pt x="121" y="10516"/>
                  <a:pt x="0" y="10651"/>
                  <a:pt x="0" y="10800"/>
                </a:cubicBezTo>
                <a:cubicBezTo>
                  <a:pt x="0" y="10949"/>
                  <a:pt x="120" y="11084"/>
                  <a:pt x="316" y="11182"/>
                </a:cubicBezTo>
                <a:lnTo>
                  <a:pt x="19756" y="21442"/>
                </a:lnTo>
                <a:cubicBezTo>
                  <a:pt x="19953" y="21540"/>
                  <a:pt x="20222" y="21600"/>
                  <a:pt x="20520" y="21600"/>
                </a:cubicBezTo>
                <a:cubicBezTo>
                  <a:pt x="21117" y="21600"/>
                  <a:pt x="21600" y="21358"/>
                  <a:pt x="21600" y="21060"/>
                </a:cubicBezTo>
                <a:cubicBezTo>
                  <a:pt x="21600" y="20911"/>
                  <a:pt x="21480" y="20776"/>
                  <a:pt x="21284" y="20678"/>
                </a:cubicBezTo>
                <a:cubicBezTo>
                  <a:pt x="21284" y="20678"/>
                  <a:pt x="2567" y="10800"/>
                  <a:pt x="2567" y="108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02" name="Shape 2902"/>
          <p:cNvSpPr/>
          <p:nvPr/>
        </p:nvSpPr>
        <p:spPr>
          <a:xfrm>
            <a:off x="11509604" y="2891595"/>
            <a:ext cx="253935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284" y="10418"/>
                </a:moveTo>
                <a:lnTo>
                  <a:pt x="1844" y="158"/>
                </a:lnTo>
                <a:cubicBezTo>
                  <a:pt x="1648" y="61"/>
                  <a:pt x="1378" y="0"/>
                  <a:pt x="1080" y="0"/>
                </a:cubicBezTo>
                <a:cubicBezTo>
                  <a:pt x="483" y="0"/>
                  <a:pt x="0" y="242"/>
                  <a:pt x="0" y="540"/>
                </a:cubicBezTo>
                <a:cubicBezTo>
                  <a:pt x="0" y="689"/>
                  <a:pt x="121" y="824"/>
                  <a:pt x="316" y="922"/>
                </a:cubicBezTo>
                <a:lnTo>
                  <a:pt x="19033" y="10800"/>
                </a:lnTo>
                <a:lnTo>
                  <a:pt x="316" y="20678"/>
                </a:lnTo>
                <a:cubicBezTo>
                  <a:pt x="121" y="20776"/>
                  <a:pt x="0" y="20911"/>
                  <a:pt x="0" y="21060"/>
                </a:cubicBezTo>
                <a:cubicBezTo>
                  <a:pt x="0" y="21358"/>
                  <a:pt x="483" y="21600"/>
                  <a:pt x="1080" y="21600"/>
                </a:cubicBezTo>
                <a:cubicBezTo>
                  <a:pt x="1378" y="21600"/>
                  <a:pt x="1648" y="21540"/>
                  <a:pt x="1844" y="21442"/>
                </a:cubicBezTo>
                <a:lnTo>
                  <a:pt x="21284" y="11182"/>
                </a:lnTo>
                <a:cubicBezTo>
                  <a:pt x="21479" y="11084"/>
                  <a:pt x="21600" y="10949"/>
                  <a:pt x="21600" y="10800"/>
                </a:cubicBezTo>
                <a:cubicBezTo>
                  <a:pt x="21600" y="10651"/>
                  <a:pt x="21479" y="10516"/>
                  <a:pt x="21284" y="104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03" name="Shape 2903"/>
          <p:cNvSpPr/>
          <p:nvPr/>
        </p:nvSpPr>
        <p:spPr>
          <a:xfrm>
            <a:off x="1758543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6223"/>
                  <a:pt x="16222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6200" y="8836"/>
                </a:moveTo>
                <a:cubicBezTo>
                  <a:pt x="16065" y="8836"/>
                  <a:pt x="15942" y="8891"/>
                  <a:pt x="15852" y="8980"/>
                </a:cubicBezTo>
                <a:lnTo>
                  <a:pt x="10800" y="13574"/>
                </a:lnTo>
                <a:lnTo>
                  <a:pt x="5747" y="8980"/>
                </a:lnTo>
                <a:cubicBezTo>
                  <a:pt x="5658" y="8891"/>
                  <a:pt x="5535" y="8836"/>
                  <a:pt x="5400" y="8836"/>
                </a:cubicBezTo>
                <a:cubicBezTo>
                  <a:pt x="5129" y="8836"/>
                  <a:pt x="4909" y="9056"/>
                  <a:pt x="4909" y="9327"/>
                </a:cubicBezTo>
                <a:cubicBezTo>
                  <a:pt x="4909" y="9463"/>
                  <a:pt x="4964" y="9586"/>
                  <a:pt x="5053" y="9674"/>
                </a:cubicBezTo>
                <a:lnTo>
                  <a:pt x="10453" y="14583"/>
                </a:lnTo>
                <a:cubicBezTo>
                  <a:pt x="10542" y="14673"/>
                  <a:pt x="10665" y="14727"/>
                  <a:pt x="10800" y="14727"/>
                </a:cubicBezTo>
                <a:cubicBezTo>
                  <a:pt x="10935" y="14727"/>
                  <a:pt x="11058" y="14673"/>
                  <a:pt x="11147" y="14583"/>
                </a:cubicBezTo>
                <a:lnTo>
                  <a:pt x="16547" y="9674"/>
                </a:lnTo>
                <a:cubicBezTo>
                  <a:pt x="16636" y="9586"/>
                  <a:pt x="16691" y="9463"/>
                  <a:pt x="16691" y="9327"/>
                </a:cubicBezTo>
                <a:cubicBezTo>
                  <a:pt x="16691" y="9056"/>
                  <a:pt x="16471" y="8836"/>
                  <a:pt x="16200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04" name="Shape 2904"/>
          <p:cNvSpPr/>
          <p:nvPr/>
        </p:nvSpPr>
        <p:spPr>
          <a:xfrm>
            <a:off x="2825064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147" y="7017"/>
                </a:moveTo>
                <a:cubicBezTo>
                  <a:pt x="11058" y="6927"/>
                  <a:pt x="10935" y="6873"/>
                  <a:pt x="10800" y="6873"/>
                </a:cubicBezTo>
                <a:cubicBezTo>
                  <a:pt x="10665" y="6873"/>
                  <a:pt x="10542" y="6927"/>
                  <a:pt x="10453" y="7017"/>
                </a:cubicBezTo>
                <a:lnTo>
                  <a:pt x="5053" y="11926"/>
                </a:lnTo>
                <a:cubicBezTo>
                  <a:pt x="4964" y="12015"/>
                  <a:pt x="4909" y="12138"/>
                  <a:pt x="4909" y="12273"/>
                </a:cubicBezTo>
                <a:cubicBezTo>
                  <a:pt x="4909" y="12544"/>
                  <a:pt x="5129" y="12764"/>
                  <a:pt x="5400" y="12764"/>
                </a:cubicBezTo>
                <a:cubicBezTo>
                  <a:pt x="5535" y="12764"/>
                  <a:pt x="5658" y="12709"/>
                  <a:pt x="5747" y="12620"/>
                </a:cubicBezTo>
                <a:lnTo>
                  <a:pt x="10800" y="8026"/>
                </a:lnTo>
                <a:lnTo>
                  <a:pt x="15853" y="12620"/>
                </a:lnTo>
                <a:cubicBezTo>
                  <a:pt x="15942" y="12709"/>
                  <a:pt x="16065" y="12764"/>
                  <a:pt x="16200" y="12764"/>
                </a:cubicBezTo>
                <a:cubicBezTo>
                  <a:pt x="16471" y="12764"/>
                  <a:pt x="16691" y="12544"/>
                  <a:pt x="16691" y="12273"/>
                </a:cubicBezTo>
                <a:cubicBezTo>
                  <a:pt x="16691" y="12138"/>
                  <a:pt x="16636" y="12015"/>
                  <a:pt x="16547" y="11926"/>
                </a:cubicBezTo>
                <a:cubicBezTo>
                  <a:pt x="16547" y="11926"/>
                  <a:pt x="11147" y="7017"/>
                  <a:pt x="11147" y="7017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6223"/>
                  <a:pt x="16222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05" name="Shape 2905"/>
          <p:cNvSpPr/>
          <p:nvPr/>
        </p:nvSpPr>
        <p:spPr>
          <a:xfrm>
            <a:off x="3891587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2764" y="5400"/>
                </a:moveTo>
                <a:cubicBezTo>
                  <a:pt x="12764" y="5129"/>
                  <a:pt x="12544" y="4909"/>
                  <a:pt x="12273" y="4909"/>
                </a:cubicBezTo>
                <a:cubicBezTo>
                  <a:pt x="12137" y="4909"/>
                  <a:pt x="12015" y="4964"/>
                  <a:pt x="11926" y="5053"/>
                </a:cubicBezTo>
                <a:lnTo>
                  <a:pt x="7017" y="10453"/>
                </a:lnTo>
                <a:cubicBezTo>
                  <a:pt x="6928" y="10542"/>
                  <a:pt x="6873" y="10665"/>
                  <a:pt x="6873" y="10800"/>
                </a:cubicBezTo>
                <a:cubicBezTo>
                  <a:pt x="6873" y="10936"/>
                  <a:pt x="6928" y="11058"/>
                  <a:pt x="7017" y="11147"/>
                </a:cubicBezTo>
                <a:lnTo>
                  <a:pt x="11926" y="16547"/>
                </a:lnTo>
                <a:cubicBezTo>
                  <a:pt x="12015" y="16636"/>
                  <a:pt x="12137" y="16691"/>
                  <a:pt x="12273" y="16691"/>
                </a:cubicBezTo>
                <a:cubicBezTo>
                  <a:pt x="12544" y="16691"/>
                  <a:pt x="12764" y="16471"/>
                  <a:pt x="12764" y="16200"/>
                </a:cubicBezTo>
                <a:cubicBezTo>
                  <a:pt x="12764" y="16065"/>
                  <a:pt x="12709" y="15942"/>
                  <a:pt x="12620" y="15853"/>
                </a:cubicBezTo>
                <a:lnTo>
                  <a:pt x="8026" y="10800"/>
                </a:lnTo>
                <a:lnTo>
                  <a:pt x="12620" y="5747"/>
                </a:lnTo>
                <a:cubicBezTo>
                  <a:pt x="12709" y="5658"/>
                  <a:pt x="12764" y="5536"/>
                  <a:pt x="12764" y="54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06" name="Shape 2906"/>
          <p:cNvSpPr/>
          <p:nvPr/>
        </p:nvSpPr>
        <p:spPr>
          <a:xfrm>
            <a:off x="4958109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9674" y="5053"/>
                </a:moveTo>
                <a:cubicBezTo>
                  <a:pt x="9585" y="4964"/>
                  <a:pt x="9463" y="4909"/>
                  <a:pt x="9327" y="4909"/>
                </a:cubicBezTo>
                <a:cubicBezTo>
                  <a:pt x="9056" y="4909"/>
                  <a:pt x="8836" y="5129"/>
                  <a:pt x="8836" y="5400"/>
                </a:cubicBezTo>
                <a:cubicBezTo>
                  <a:pt x="8836" y="5536"/>
                  <a:pt x="8891" y="5658"/>
                  <a:pt x="8980" y="5747"/>
                </a:cubicBezTo>
                <a:lnTo>
                  <a:pt x="13574" y="10800"/>
                </a:lnTo>
                <a:lnTo>
                  <a:pt x="8980" y="15853"/>
                </a:lnTo>
                <a:cubicBezTo>
                  <a:pt x="8891" y="15942"/>
                  <a:pt x="8836" y="16065"/>
                  <a:pt x="8836" y="16200"/>
                </a:cubicBezTo>
                <a:cubicBezTo>
                  <a:pt x="8836" y="16471"/>
                  <a:pt x="9056" y="16691"/>
                  <a:pt x="9327" y="16691"/>
                </a:cubicBezTo>
                <a:cubicBezTo>
                  <a:pt x="9463" y="16691"/>
                  <a:pt x="9585" y="16636"/>
                  <a:pt x="9674" y="16547"/>
                </a:cubicBezTo>
                <a:lnTo>
                  <a:pt x="14583" y="11147"/>
                </a:lnTo>
                <a:cubicBezTo>
                  <a:pt x="14672" y="11058"/>
                  <a:pt x="14727" y="10936"/>
                  <a:pt x="14727" y="10800"/>
                </a:cubicBezTo>
                <a:cubicBezTo>
                  <a:pt x="14727" y="10665"/>
                  <a:pt x="14672" y="10542"/>
                  <a:pt x="14583" y="10453"/>
                </a:cubicBezTo>
                <a:cubicBezTo>
                  <a:pt x="14583" y="10453"/>
                  <a:pt x="9674" y="5053"/>
                  <a:pt x="9674" y="5053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07" name="Shape 2907"/>
          <p:cNvSpPr/>
          <p:nvPr/>
        </p:nvSpPr>
        <p:spPr>
          <a:xfrm>
            <a:off x="6024631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73" y="235"/>
                </a:moveTo>
                <a:cubicBezTo>
                  <a:pt x="12909" y="205"/>
                  <a:pt x="12840" y="184"/>
                  <a:pt x="12764" y="184"/>
                </a:cubicBezTo>
                <a:cubicBezTo>
                  <a:pt x="12493" y="184"/>
                  <a:pt x="12273" y="404"/>
                  <a:pt x="12273" y="675"/>
                </a:cubicBezTo>
                <a:cubicBezTo>
                  <a:pt x="12273" y="946"/>
                  <a:pt x="12493" y="1166"/>
                  <a:pt x="12764" y="1166"/>
                </a:cubicBezTo>
                <a:lnTo>
                  <a:pt x="12764" y="1179"/>
                </a:lnTo>
                <a:cubicBezTo>
                  <a:pt x="17245" y="2089"/>
                  <a:pt x="20618" y="6050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6050"/>
                  <a:pt x="4355" y="2089"/>
                  <a:pt x="8836" y="1179"/>
                </a:cubicBezTo>
                <a:lnTo>
                  <a:pt x="8836" y="1166"/>
                </a:lnTo>
                <a:cubicBezTo>
                  <a:pt x="9107" y="1166"/>
                  <a:pt x="9327" y="946"/>
                  <a:pt x="9327" y="675"/>
                </a:cubicBezTo>
                <a:cubicBezTo>
                  <a:pt x="9327" y="404"/>
                  <a:pt x="9107" y="184"/>
                  <a:pt x="8836" y="184"/>
                </a:cubicBezTo>
                <a:cubicBezTo>
                  <a:pt x="8761" y="184"/>
                  <a:pt x="8691" y="205"/>
                  <a:pt x="8627" y="235"/>
                </a:cubicBezTo>
                <a:cubicBezTo>
                  <a:pt x="3706" y="1243"/>
                  <a:pt x="0" y="5582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5582"/>
                  <a:pt x="17893" y="1243"/>
                  <a:pt x="12973" y="235"/>
                </a:cubicBezTo>
                <a:moveTo>
                  <a:pt x="6873" y="9818"/>
                </a:moveTo>
                <a:cubicBezTo>
                  <a:pt x="6602" y="9818"/>
                  <a:pt x="6382" y="10038"/>
                  <a:pt x="6382" y="10309"/>
                </a:cubicBezTo>
                <a:cubicBezTo>
                  <a:pt x="6382" y="10445"/>
                  <a:pt x="6437" y="10567"/>
                  <a:pt x="6526" y="10656"/>
                </a:cubicBezTo>
                <a:lnTo>
                  <a:pt x="10453" y="14583"/>
                </a:lnTo>
                <a:cubicBezTo>
                  <a:pt x="10542" y="14673"/>
                  <a:pt x="10664" y="14727"/>
                  <a:pt x="10800" y="14727"/>
                </a:cubicBezTo>
                <a:cubicBezTo>
                  <a:pt x="10936" y="14727"/>
                  <a:pt x="11059" y="14673"/>
                  <a:pt x="11147" y="14583"/>
                </a:cubicBezTo>
                <a:lnTo>
                  <a:pt x="15074" y="10656"/>
                </a:lnTo>
                <a:cubicBezTo>
                  <a:pt x="15163" y="10567"/>
                  <a:pt x="15218" y="10445"/>
                  <a:pt x="15218" y="10309"/>
                </a:cubicBezTo>
                <a:cubicBezTo>
                  <a:pt x="15218" y="10038"/>
                  <a:pt x="14998" y="9818"/>
                  <a:pt x="14727" y="9818"/>
                </a:cubicBezTo>
                <a:cubicBezTo>
                  <a:pt x="14592" y="9818"/>
                  <a:pt x="14469" y="9873"/>
                  <a:pt x="14380" y="9962"/>
                </a:cubicBezTo>
                <a:lnTo>
                  <a:pt x="11291" y="13051"/>
                </a:ln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3051"/>
                </a:lnTo>
                <a:lnTo>
                  <a:pt x="7220" y="9962"/>
                </a:lnTo>
                <a:cubicBezTo>
                  <a:pt x="7131" y="9873"/>
                  <a:pt x="7009" y="9818"/>
                  <a:pt x="6873" y="98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08" name="Shape 2908"/>
          <p:cNvSpPr/>
          <p:nvPr/>
        </p:nvSpPr>
        <p:spPr>
          <a:xfrm>
            <a:off x="7091154" y="4059688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9397"/>
                </a:moveTo>
                <a:lnTo>
                  <a:pt x="1638" y="1800"/>
                </a:lnTo>
                <a:lnTo>
                  <a:pt x="19962" y="1800"/>
                </a:lnTo>
                <a:cubicBezTo>
                  <a:pt x="19962" y="1800"/>
                  <a:pt x="10800" y="19397"/>
                  <a:pt x="10800" y="19397"/>
                </a:cubicBezTo>
                <a:close/>
                <a:moveTo>
                  <a:pt x="21600" y="900"/>
                </a:moveTo>
                <a:cubicBezTo>
                  <a:pt x="21600" y="403"/>
                  <a:pt x="21380" y="0"/>
                  <a:pt x="21109" y="0"/>
                </a:cubicBezTo>
                <a:lnTo>
                  <a:pt x="491" y="0"/>
                </a:lnTo>
                <a:cubicBezTo>
                  <a:pt x="220" y="0"/>
                  <a:pt x="0" y="403"/>
                  <a:pt x="0" y="900"/>
                </a:cubicBezTo>
                <a:cubicBezTo>
                  <a:pt x="0" y="1141"/>
                  <a:pt x="53" y="1357"/>
                  <a:pt x="137" y="1519"/>
                </a:cubicBezTo>
                <a:lnTo>
                  <a:pt x="136" y="1521"/>
                </a:lnTo>
                <a:lnTo>
                  <a:pt x="10445" y="21321"/>
                </a:lnTo>
                <a:lnTo>
                  <a:pt x="10446" y="21319"/>
                </a:lnTo>
                <a:cubicBezTo>
                  <a:pt x="10536" y="21491"/>
                  <a:pt x="10660" y="21600"/>
                  <a:pt x="10800" y="21600"/>
                </a:cubicBezTo>
                <a:cubicBezTo>
                  <a:pt x="10940" y="21600"/>
                  <a:pt x="11064" y="21491"/>
                  <a:pt x="11154" y="21319"/>
                </a:cubicBezTo>
                <a:lnTo>
                  <a:pt x="11155" y="21321"/>
                </a:lnTo>
                <a:lnTo>
                  <a:pt x="21464" y="1521"/>
                </a:lnTo>
                <a:lnTo>
                  <a:pt x="21463" y="1519"/>
                </a:lnTo>
                <a:cubicBezTo>
                  <a:pt x="21547" y="1357"/>
                  <a:pt x="21600" y="1141"/>
                  <a:pt x="21600" y="9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09" name="Shape 2909"/>
          <p:cNvSpPr/>
          <p:nvPr/>
        </p:nvSpPr>
        <p:spPr>
          <a:xfrm>
            <a:off x="8157677" y="4059688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38" y="19800"/>
                </a:moveTo>
                <a:lnTo>
                  <a:pt x="10800" y="2203"/>
                </a:lnTo>
                <a:lnTo>
                  <a:pt x="19962" y="19800"/>
                </a:lnTo>
                <a:cubicBezTo>
                  <a:pt x="19962" y="19800"/>
                  <a:pt x="1638" y="19800"/>
                  <a:pt x="1638" y="19800"/>
                </a:cubicBezTo>
                <a:close/>
                <a:moveTo>
                  <a:pt x="21463" y="20081"/>
                </a:moveTo>
                <a:lnTo>
                  <a:pt x="21464" y="20079"/>
                </a:lnTo>
                <a:lnTo>
                  <a:pt x="11155" y="279"/>
                </a:lnTo>
                <a:lnTo>
                  <a:pt x="11154" y="282"/>
                </a:lnTo>
                <a:cubicBezTo>
                  <a:pt x="11064" y="109"/>
                  <a:pt x="10940" y="0"/>
                  <a:pt x="10800" y="0"/>
                </a:cubicBezTo>
                <a:cubicBezTo>
                  <a:pt x="10660" y="0"/>
                  <a:pt x="10536" y="109"/>
                  <a:pt x="10446" y="282"/>
                </a:cubicBezTo>
                <a:lnTo>
                  <a:pt x="10445" y="279"/>
                </a:lnTo>
                <a:lnTo>
                  <a:pt x="136" y="20079"/>
                </a:lnTo>
                <a:lnTo>
                  <a:pt x="137" y="20081"/>
                </a:lnTo>
                <a:cubicBezTo>
                  <a:pt x="54" y="20243"/>
                  <a:pt x="0" y="20459"/>
                  <a:pt x="0" y="20700"/>
                </a:cubicBezTo>
                <a:cubicBezTo>
                  <a:pt x="0" y="21197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197"/>
                  <a:pt x="21600" y="20700"/>
                </a:cubicBezTo>
                <a:cubicBezTo>
                  <a:pt x="21600" y="20459"/>
                  <a:pt x="21547" y="20243"/>
                  <a:pt x="21463" y="2008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10" name="Shape 2910"/>
          <p:cNvSpPr/>
          <p:nvPr/>
        </p:nvSpPr>
        <p:spPr>
          <a:xfrm>
            <a:off x="9351163" y="3932724"/>
            <a:ext cx="30472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800" y="19962"/>
                </a:moveTo>
                <a:lnTo>
                  <a:pt x="2203" y="10800"/>
                </a:lnTo>
                <a:lnTo>
                  <a:pt x="19800" y="1638"/>
                </a:lnTo>
                <a:cubicBezTo>
                  <a:pt x="19800" y="1638"/>
                  <a:pt x="19800" y="19962"/>
                  <a:pt x="19800" y="19962"/>
                </a:cubicBezTo>
                <a:close/>
                <a:moveTo>
                  <a:pt x="20700" y="0"/>
                </a:moveTo>
                <a:cubicBezTo>
                  <a:pt x="20459" y="0"/>
                  <a:pt x="20243" y="53"/>
                  <a:pt x="20080" y="137"/>
                </a:cubicBezTo>
                <a:lnTo>
                  <a:pt x="20079" y="136"/>
                </a:lnTo>
                <a:lnTo>
                  <a:pt x="279" y="10445"/>
                </a:lnTo>
                <a:lnTo>
                  <a:pt x="281" y="10446"/>
                </a:lnTo>
                <a:cubicBezTo>
                  <a:pt x="109" y="10536"/>
                  <a:pt x="0" y="10660"/>
                  <a:pt x="0" y="10800"/>
                </a:cubicBezTo>
                <a:cubicBezTo>
                  <a:pt x="0" y="10940"/>
                  <a:pt x="109" y="11065"/>
                  <a:pt x="281" y="11154"/>
                </a:cubicBezTo>
                <a:lnTo>
                  <a:pt x="279" y="11155"/>
                </a:lnTo>
                <a:lnTo>
                  <a:pt x="20079" y="21465"/>
                </a:lnTo>
                <a:lnTo>
                  <a:pt x="20080" y="21463"/>
                </a:lnTo>
                <a:cubicBezTo>
                  <a:pt x="20243" y="21547"/>
                  <a:pt x="20459" y="21600"/>
                  <a:pt x="20700" y="21600"/>
                </a:cubicBezTo>
                <a:cubicBezTo>
                  <a:pt x="21197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197" y="0"/>
                  <a:pt x="207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11" name="Shape 2911"/>
          <p:cNvSpPr/>
          <p:nvPr/>
        </p:nvSpPr>
        <p:spPr>
          <a:xfrm>
            <a:off x="10417688" y="3932724"/>
            <a:ext cx="30472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0" y="19962"/>
                </a:moveTo>
                <a:lnTo>
                  <a:pt x="1800" y="1638"/>
                </a:lnTo>
                <a:lnTo>
                  <a:pt x="19397" y="10800"/>
                </a:lnTo>
                <a:cubicBezTo>
                  <a:pt x="19397" y="10800"/>
                  <a:pt x="1800" y="19962"/>
                  <a:pt x="1800" y="19962"/>
                </a:cubicBezTo>
                <a:close/>
                <a:moveTo>
                  <a:pt x="21600" y="10800"/>
                </a:moveTo>
                <a:cubicBezTo>
                  <a:pt x="21600" y="10660"/>
                  <a:pt x="21491" y="10536"/>
                  <a:pt x="21318" y="10446"/>
                </a:cubicBezTo>
                <a:lnTo>
                  <a:pt x="21321" y="10445"/>
                </a:lnTo>
                <a:lnTo>
                  <a:pt x="1521" y="136"/>
                </a:lnTo>
                <a:lnTo>
                  <a:pt x="1519" y="137"/>
                </a:lnTo>
                <a:cubicBezTo>
                  <a:pt x="1357" y="53"/>
                  <a:pt x="1141" y="0"/>
                  <a:pt x="900" y="0"/>
                </a:cubicBezTo>
                <a:cubicBezTo>
                  <a:pt x="403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403" y="21600"/>
                  <a:pt x="900" y="21600"/>
                </a:cubicBezTo>
                <a:cubicBezTo>
                  <a:pt x="1141" y="21600"/>
                  <a:pt x="1357" y="21547"/>
                  <a:pt x="1519" y="21463"/>
                </a:cubicBezTo>
                <a:lnTo>
                  <a:pt x="1521" y="21465"/>
                </a:lnTo>
                <a:lnTo>
                  <a:pt x="21321" y="11155"/>
                </a:lnTo>
                <a:lnTo>
                  <a:pt x="21318" y="11154"/>
                </a:lnTo>
                <a:cubicBezTo>
                  <a:pt x="21491" y="11065"/>
                  <a:pt x="21600" y="10940"/>
                  <a:pt x="21600" y="10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12" name="Shape 2912"/>
          <p:cNvSpPr/>
          <p:nvPr/>
        </p:nvSpPr>
        <p:spPr>
          <a:xfrm>
            <a:off x="11357242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456" y="10453"/>
                </a:moveTo>
                <a:lnTo>
                  <a:pt x="18511" y="7507"/>
                </a:lnTo>
                <a:cubicBezTo>
                  <a:pt x="18422" y="7419"/>
                  <a:pt x="18299" y="7364"/>
                  <a:pt x="18164" y="7364"/>
                </a:cubicBezTo>
                <a:cubicBezTo>
                  <a:pt x="17892" y="7364"/>
                  <a:pt x="17673" y="7584"/>
                  <a:pt x="17673" y="7855"/>
                </a:cubicBezTo>
                <a:cubicBezTo>
                  <a:pt x="17673" y="7990"/>
                  <a:pt x="17728" y="8113"/>
                  <a:pt x="17817" y="8202"/>
                </a:cubicBezTo>
                <a:lnTo>
                  <a:pt x="19924" y="10309"/>
                </a:lnTo>
                <a:lnTo>
                  <a:pt x="11291" y="10309"/>
                </a:lnTo>
                <a:lnTo>
                  <a:pt x="11291" y="1676"/>
                </a:lnTo>
                <a:lnTo>
                  <a:pt x="13398" y="3783"/>
                </a:lnTo>
                <a:cubicBezTo>
                  <a:pt x="13487" y="3873"/>
                  <a:pt x="13610" y="3927"/>
                  <a:pt x="13745" y="3927"/>
                </a:cubicBezTo>
                <a:cubicBezTo>
                  <a:pt x="14017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6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8" y="3178"/>
                  <a:pt x="7364" y="3301"/>
                  <a:pt x="7364" y="3436"/>
                </a:cubicBezTo>
                <a:cubicBezTo>
                  <a:pt x="7364" y="3708"/>
                  <a:pt x="7583" y="3927"/>
                  <a:pt x="7855" y="3927"/>
                </a:cubicBezTo>
                <a:cubicBezTo>
                  <a:pt x="7990" y="3927"/>
                  <a:pt x="8113" y="3873"/>
                  <a:pt x="8202" y="3783"/>
                </a:cubicBezTo>
                <a:lnTo>
                  <a:pt x="10309" y="1676"/>
                </a:lnTo>
                <a:lnTo>
                  <a:pt x="10309" y="10309"/>
                </a:lnTo>
                <a:lnTo>
                  <a:pt x="1676" y="10309"/>
                </a:lnTo>
                <a:lnTo>
                  <a:pt x="3783" y="8202"/>
                </a:lnTo>
                <a:cubicBezTo>
                  <a:pt x="3873" y="8113"/>
                  <a:pt x="3927" y="7990"/>
                  <a:pt x="3927" y="7855"/>
                </a:cubicBezTo>
                <a:cubicBezTo>
                  <a:pt x="3927" y="7584"/>
                  <a:pt x="3708" y="7364"/>
                  <a:pt x="3436" y="7364"/>
                </a:cubicBezTo>
                <a:cubicBezTo>
                  <a:pt x="3301" y="7364"/>
                  <a:pt x="3178" y="7419"/>
                  <a:pt x="3089" y="7507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0936"/>
                  <a:pt x="55" y="11058"/>
                  <a:pt x="144" y="11148"/>
                </a:cubicBezTo>
                <a:lnTo>
                  <a:pt x="3089" y="14093"/>
                </a:lnTo>
                <a:cubicBezTo>
                  <a:pt x="3178" y="14182"/>
                  <a:pt x="3301" y="14236"/>
                  <a:pt x="3436" y="14236"/>
                </a:cubicBezTo>
                <a:cubicBezTo>
                  <a:pt x="3708" y="14236"/>
                  <a:pt x="3927" y="14017"/>
                  <a:pt x="3927" y="13745"/>
                </a:cubicBezTo>
                <a:cubicBezTo>
                  <a:pt x="3927" y="13610"/>
                  <a:pt x="3873" y="13488"/>
                  <a:pt x="3783" y="13398"/>
                </a:cubicBezTo>
                <a:lnTo>
                  <a:pt x="1676" y="11291"/>
                </a:lnTo>
                <a:lnTo>
                  <a:pt x="10309" y="11291"/>
                </a:ln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8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5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  <a:cubicBezTo>
                  <a:pt x="13610" y="17673"/>
                  <a:pt x="13487" y="17728"/>
                  <a:pt x="13398" y="17817"/>
                </a:cubicBezTo>
                <a:lnTo>
                  <a:pt x="11291" y="19924"/>
                </a:lnTo>
                <a:lnTo>
                  <a:pt x="11291" y="11291"/>
                </a:lnTo>
                <a:lnTo>
                  <a:pt x="19924" y="11291"/>
                </a:lnTo>
                <a:lnTo>
                  <a:pt x="17817" y="13398"/>
                </a:lnTo>
                <a:cubicBezTo>
                  <a:pt x="17728" y="13488"/>
                  <a:pt x="17673" y="13610"/>
                  <a:pt x="17673" y="13745"/>
                </a:cubicBezTo>
                <a:cubicBezTo>
                  <a:pt x="17673" y="14017"/>
                  <a:pt x="17892" y="14236"/>
                  <a:pt x="18164" y="14236"/>
                </a:cubicBezTo>
                <a:cubicBezTo>
                  <a:pt x="18299" y="14236"/>
                  <a:pt x="18422" y="14182"/>
                  <a:pt x="18511" y="14093"/>
                </a:cubicBezTo>
                <a:lnTo>
                  <a:pt x="21456" y="11148"/>
                </a:lnTo>
                <a:cubicBezTo>
                  <a:pt x="21545" y="11058"/>
                  <a:pt x="21600" y="10936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13" name="Shape 2913"/>
          <p:cNvSpPr/>
          <p:nvPr/>
        </p:nvSpPr>
        <p:spPr>
          <a:xfrm>
            <a:off x="12423765" y="286620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6200" y="7855"/>
                </a:moveTo>
                <a:cubicBezTo>
                  <a:pt x="16073" y="7855"/>
                  <a:pt x="15959" y="7905"/>
                  <a:pt x="15873" y="7985"/>
                </a:cubicBezTo>
                <a:lnTo>
                  <a:pt x="15870" y="7982"/>
                </a:lnTo>
                <a:lnTo>
                  <a:pt x="10800" y="12591"/>
                </a:lnTo>
                <a:lnTo>
                  <a:pt x="5730" y="7982"/>
                </a:lnTo>
                <a:lnTo>
                  <a:pt x="5727" y="7985"/>
                </a:lnTo>
                <a:cubicBezTo>
                  <a:pt x="5641" y="7905"/>
                  <a:pt x="5527" y="7855"/>
                  <a:pt x="5400" y="7855"/>
                </a:cubicBezTo>
                <a:cubicBezTo>
                  <a:pt x="5129" y="7855"/>
                  <a:pt x="4909" y="8074"/>
                  <a:pt x="4909" y="8345"/>
                </a:cubicBezTo>
                <a:cubicBezTo>
                  <a:pt x="4909" y="8489"/>
                  <a:pt x="4973" y="8616"/>
                  <a:pt x="5073" y="8706"/>
                </a:cubicBezTo>
                <a:lnTo>
                  <a:pt x="5070" y="8709"/>
                </a:lnTo>
                <a:lnTo>
                  <a:pt x="10470" y="13618"/>
                </a:lnTo>
                <a:lnTo>
                  <a:pt x="10473" y="13615"/>
                </a:lnTo>
                <a:cubicBezTo>
                  <a:pt x="10559" y="13695"/>
                  <a:pt x="10673" y="13745"/>
                  <a:pt x="10800" y="13745"/>
                </a:cubicBezTo>
                <a:cubicBezTo>
                  <a:pt x="10927" y="13745"/>
                  <a:pt x="11041" y="13695"/>
                  <a:pt x="11127" y="13615"/>
                </a:cubicBezTo>
                <a:lnTo>
                  <a:pt x="11130" y="13618"/>
                </a:lnTo>
                <a:lnTo>
                  <a:pt x="16530" y="8709"/>
                </a:lnTo>
                <a:lnTo>
                  <a:pt x="16527" y="8706"/>
                </a:lnTo>
                <a:cubicBezTo>
                  <a:pt x="16627" y="8616"/>
                  <a:pt x="16691" y="8489"/>
                  <a:pt x="16691" y="8345"/>
                </a:cubicBezTo>
                <a:cubicBezTo>
                  <a:pt x="16691" y="8074"/>
                  <a:pt x="16471" y="7855"/>
                  <a:pt x="16200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14" name="Shape 2914"/>
          <p:cNvSpPr/>
          <p:nvPr/>
        </p:nvSpPr>
        <p:spPr>
          <a:xfrm>
            <a:off x="13490288" y="286620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530" y="12891"/>
                </a:moveTo>
                <a:lnTo>
                  <a:pt x="11130" y="7982"/>
                </a:lnTo>
                <a:lnTo>
                  <a:pt x="11128" y="7985"/>
                </a:lnTo>
                <a:cubicBezTo>
                  <a:pt x="11040" y="7906"/>
                  <a:pt x="10927" y="7855"/>
                  <a:pt x="10800" y="7855"/>
                </a:cubicBezTo>
                <a:cubicBezTo>
                  <a:pt x="10673" y="7855"/>
                  <a:pt x="10559" y="7906"/>
                  <a:pt x="10473" y="7985"/>
                </a:cubicBezTo>
                <a:lnTo>
                  <a:pt x="10469" y="7982"/>
                </a:lnTo>
                <a:lnTo>
                  <a:pt x="5069" y="12891"/>
                </a:lnTo>
                <a:lnTo>
                  <a:pt x="5073" y="12895"/>
                </a:lnTo>
                <a:cubicBezTo>
                  <a:pt x="4973" y="12984"/>
                  <a:pt x="4909" y="13111"/>
                  <a:pt x="4909" y="13255"/>
                </a:cubicBezTo>
                <a:cubicBezTo>
                  <a:pt x="4909" y="13526"/>
                  <a:pt x="5129" y="13745"/>
                  <a:pt x="5400" y="13745"/>
                </a:cubicBezTo>
                <a:cubicBezTo>
                  <a:pt x="5527" y="13745"/>
                  <a:pt x="5640" y="13694"/>
                  <a:pt x="5728" y="13615"/>
                </a:cubicBezTo>
                <a:lnTo>
                  <a:pt x="5730" y="13618"/>
                </a:lnTo>
                <a:lnTo>
                  <a:pt x="10800" y="9009"/>
                </a:lnTo>
                <a:lnTo>
                  <a:pt x="15869" y="13618"/>
                </a:lnTo>
                <a:lnTo>
                  <a:pt x="15873" y="13615"/>
                </a:lnTo>
                <a:cubicBezTo>
                  <a:pt x="15959" y="13694"/>
                  <a:pt x="16073" y="13745"/>
                  <a:pt x="16200" y="13745"/>
                </a:cubicBezTo>
                <a:cubicBezTo>
                  <a:pt x="16471" y="13745"/>
                  <a:pt x="16691" y="13526"/>
                  <a:pt x="16691" y="13255"/>
                </a:cubicBezTo>
                <a:cubicBezTo>
                  <a:pt x="16691" y="13111"/>
                  <a:pt x="16627" y="12984"/>
                  <a:pt x="16527" y="12895"/>
                </a:cubicBezTo>
                <a:cubicBezTo>
                  <a:pt x="16527" y="12895"/>
                  <a:pt x="16530" y="12891"/>
                  <a:pt x="16530" y="12891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15" name="Shape 2915"/>
          <p:cNvSpPr/>
          <p:nvPr/>
        </p:nvSpPr>
        <p:spPr>
          <a:xfrm>
            <a:off x="14556808" y="286620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273" y="4909"/>
                </a:moveTo>
                <a:cubicBezTo>
                  <a:pt x="12128" y="4909"/>
                  <a:pt x="12002" y="4974"/>
                  <a:pt x="11912" y="5073"/>
                </a:cubicBezTo>
                <a:lnTo>
                  <a:pt x="11909" y="5070"/>
                </a:lnTo>
                <a:lnTo>
                  <a:pt x="7000" y="10470"/>
                </a:lnTo>
                <a:lnTo>
                  <a:pt x="7003" y="10473"/>
                </a:lnTo>
                <a:cubicBezTo>
                  <a:pt x="6924" y="10559"/>
                  <a:pt x="6873" y="10673"/>
                  <a:pt x="6873" y="10800"/>
                </a:cubicBezTo>
                <a:cubicBezTo>
                  <a:pt x="6873" y="10927"/>
                  <a:pt x="6924" y="11041"/>
                  <a:pt x="7003" y="11127"/>
                </a:cubicBezTo>
                <a:lnTo>
                  <a:pt x="7000" y="11130"/>
                </a:lnTo>
                <a:lnTo>
                  <a:pt x="11909" y="16530"/>
                </a:lnTo>
                <a:lnTo>
                  <a:pt x="11912" y="16527"/>
                </a:lnTo>
                <a:cubicBezTo>
                  <a:pt x="12002" y="16627"/>
                  <a:pt x="12128" y="16691"/>
                  <a:pt x="12273" y="16691"/>
                </a:cubicBezTo>
                <a:cubicBezTo>
                  <a:pt x="12544" y="16691"/>
                  <a:pt x="12764" y="16471"/>
                  <a:pt x="12764" y="16200"/>
                </a:cubicBezTo>
                <a:cubicBezTo>
                  <a:pt x="12764" y="16073"/>
                  <a:pt x="12713" y="15960"/>
                  <a:pt x="12633" y="15873"/>
                </a:cubicBezTo>
                <a:lnTo>
                  <a:pt x="12636" y="15870"/>
                </a:lnTo>
                <a:lnTo>
                  <a:pt x="8027" y="10800"/>
                </a:lnTo>
                <a:lnTo>
                  <a:pt x="12636" y="5730"/>
                </a:lnTo>
                <a:lnTo>
                  <a:pt x="12633" y="5728"/>
                </a:lnTo>
                <a:cubicBezTo>
                  <a:pt x="12713" y="5641"/>
                  <a:pt x="12764" y="5527"/>
                  <a:pt x="12764" y="5400"/>
                </a:cubicBezTo>
                <a:cubicBezTo>
                  <a:pt x="12764" y="5129"/>
                  <a:pt x="12544" y="4909"/>
                  <a:pt x="12273" y="49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16" name="Shape 2916"/>
          <p:cNvSpPr/>
          <p:nvPr/>
        </p:nvSpPr>
        <p:spPr>
          <a:xfrm>
            <a:off x="15623331" y="286620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597" y="10473"/>
                </a:moveTo>
                <a:lnTo>
                  <a:pt x="14600" y="10470"/>
                </a:lnTo>
                <a:lnTo>
                  <a:pt x="9691" y="5070"/>
                </a:lnTo>
                <a:lnTo>
                  <a:pt x="9688" y="5073"/>
                </a:lnTo>
                <a:cubicBezTo>
                  <a:pt x="9598" y="4974"/>
                  <a:pt x="9471" y="4909"/>
                  <a:pt x="9327" y="4909"/>
                </a:cubicBezTo>
                <a:cubicBezTo>
                  <a:pt x="9056" y="4909"/>
                  <a:pt x="8836" y="5129"/>
                  <a:pt x="8836" y="5400"/>
                </a:cubicBezTo>
                <a:cubicBezTo>
                  <a:pt x="8836" y="5527"/>
                  <a:pt x="8887" y="5641"/>
                  <a:pt x="8967" y="5728"/>
                </a:cubicBezTo>
                <a:lnTo>
                  <a:pt x="8964" y="5730"/>
                </a:lnTo>
                <a:lnTo>
                  <a:pt x="13573" y="10800"/>
                </a:lnTo>
                <a:lnTo>
                  <a:pt x="8964" y="15870"/>
                </a:lnTo>
                <a:lnTo>
                  <a:pt x="8967" y="15873"/>
                </a:lnTo>
                <a:cubicBezTo>
                  <a:pt x="8887" y="15960"/>
                  <a:pt x="8836" y="16073"/>
                  <a:pt x="8836" y="16200"/>
                </a:cubicBezTo>
                <a:cubicBezTo>
                  <a:pt x="8836" y="16471"/>
                  <a:pt x="9056" y="16691"/>
                  <a:pt x="9327" y="16691"/>
                </a:cubicBezTo>
                <a:cubicBezTo>
                  <a:pt x="9471" y="16691"/>
                  <a:pt x="9598" y="16627"/>
                  <a:pt x="9688" y="16527"/>
                </a:cubicBezTo>
                <a:lnTo>
                  <a:pt x="9691" y="16530"/>
                </a:lnTo>
                <a:lnTo>
                  <a:pt x="14600" y="11130"/>
                </a:lnTo>
                <a:lnTo>
                  <a:pt x="14597" y="11127"/>
                </a:lnTo>
                <a:cubicBezTo>
                  <a:pt x="14676" y="11041"/>
                  <a:pt x="14727" y="10927"/>
                  <a:pt x="14727" y="10800"/>
                </a:cubicBezTo>
                <a:cubicBezTo>
                  <a:pt x="14727" y="10673"/>
                  <a:pt x="14676" y="10559"/>
                  <a:pt x="14597" y="104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17" name="Shape 2917"/>
          <p:cNvSpPr/>
          <p:nvPr/>
        </p:nvSpPr>
        <p:spPr>
          <a:xfrm>
            <a:off x="16778730" y="2866201"/>
            <a:ext cx="38090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415"/>
                </a:moveTo>
                <a:lnTo>
                  <a:pt x="2459" y="14727"/>
                </a:lnTo>
                <a:lnTo>
                  <a:pt x="8640" y="14727"/>
                </a:lnTo>
                <a:lnTo>
                  <a:pt x="8640" y="1964"/>
                </a:lnTo>
                <a:cubicBezTo>
                  <a:pt x="8640" y="1422"/>
                  <a:pt x="9285" y="982"/>
                  <a:pt x="10080" y="982"/>
                </a:cubicBezTo>
                <a:lnTo>
                  <a:pt x="11520" y="982"/>
                </a:lnTo>
                <a:cubicBezTo>
                  <a:pt x="12315" y="982"/>
                  <a:pt x="12960" y="1422"/>
                  <a:pt x="12960" y="1964"/>
                </a:cubicBezTo>
                <a:lnTo>
                  <a:pt x="12960" y="14727"/>
                </a:lnTo>
                <a:lnTo>
                  <a:pt x="19142" y="14727"/>
                </a:lnTo>
                <a:cubicBezTo>
                  <a:pt x="19142" y="14727"/>
                  <a:pt x="10800" y="20415"/>
                  <a:pt x="10800" y="20415"/>
                </a:cubicBezTo>
                <a:close/>
                <a:moveTo>
                  <a:pt x="20880" y="13745"/>
                </a:moveTo>
                <a:lnTo>
                  <a:pt x="14400" y="13745"/>
                </a:lnTo>
                <a:lnTo>
                  <a:pt x="14400" y="1964"/>
                </a:lnTo>
                <a:cubicBezTo>
                  <a:pt x="14400" y="879"/>
                  <a:pt x="13110" y="0"/>
                  <a:pt x="11520" y="0"/>
                </a:cubicBezTo>
                <a:lnTo>
                  <a:pt x="10080" y="0"/>
                </a:lnTo>
                <a:cubicBezTo>
                  <a:pt x="8490" y="0"/>
                  <a:pt x="7200" y="879"/>
                  <a:pt x="7200" y="1964"/>
                </a:cubicBezTo>
                <a:lnTo>
                  <a:pt x="7200" y="13745"/>
                </a:lnTo>
                <a:lnTo>
                  <a:pt x="720" y="13745"/>
                </a:lnTo>
                <a:cubicBezTo>
                  <a:pt x="323" y="13745"/>
                  <a:pt x="0" y="13966"/>
                  <a:pt x="0" y="14236"/>
                </a:cubicBezTo>
                <a:cubicBezTo>
                  <a:pt x="0" y="14373"/>
                  <a:pt x="81" y="14495"/>
                  <a:pt x="212" y="14584"/>
                </a:cubicBezTo>
                <a:lnTo>
                  <a:pt x="10290" y="21456"/>
                </a:lnTo>
                <a:cubicBezTo>
                  <a:pt x="10421" y="21545"/>
                  <a:pt x="10601" y="21600"/>
                  <a:pt x="10800" y="21600"/>
                </a:cubicBezTo>
                <a:cubicBezTo>
                  <a:pt x="10999" y="21600"/>
                  <a:pt x="11179" y="21545"/>
                  <a:pt x="11310" y="21456"/>
                </a:cubicBezTo>
                <a:lnTo>
                  <a:pt x="21388" y="14584"/>
                </a:lnTo>
                <a:cubicBezTo>
                  <a:pt x="21519" y="14495"/>
                  <a:pt x="21600" y="14373"/>
                  <a:pt x="21600" y="14236"/>
                </a:cubicBezTo>
                <a:cubicBezTo>
                  <a:pt x="21600" y="13966"/>
                  <a:pt x="21277" y="13745"/>
                  <a:pt x="20880" y="137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18" name="Shape 2918"/>
          <p:cNvSpPr/>
          <p:nvPr/>
        </p:nvSpPr>
        <p:spPr>
          <a:xfrm>
            <a:off x="17845252" y="2866201"/>
            <a:ext cx="38090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60" y="6873"/>
                </a:moveTo>
                <a:lnTo>
                  <a:pt x="12960" y="19636"/>
                </a:lnTo>
                <a:cubicBezTo>
                  <a:pt x="12960" y="20178"/>
                  <a:pt x="12315" y="20618"/>
                  <a:pt x="11520" y="20618"/>
                </a:cubicBezTo>
                <a:lnTo>
                  <a:pt x="10080" y="20618"/>
                </a:lnTo>
                <a:cubicBezTo>
                  <a:pt x="9285" y="20618"/>
                  <a:pt x="8640" y="20178"/>
                  <a:pt x="8640" y="19636"/>
                </a:cubicBezTo>
                <a:lnTo>
                  <a:pt x="8640" y="6873"/>
                </a:lnTo>
                <a:lnTo>
                  <a:pt x="2458" y="6873"/>
                </a:lnTo>
                <a:lnTo>
                  <a:pt x="10800" y="1185"/>
                </a:lnTo>
                <a:lnTo>
                  <a:pt x="19142" y="6873"/>
                </a:lnTo>
                <a:cubicBezTo>
                  <a:pt x="19142" y="6873"/>
                  <a:pt x="12960" y="6873"/>
                  <a:pt x="12960" y="6873"/>
                </a:cubicBezTo>
                <a:close/>
                <a:moveTo>
                  <a:pt x="21389" y="7017"/>
                </a:moveTo>
                <a:lnTo>
                  <a:pt x="11309" y="144"/>
                </a:lnTo>
                <a:cubicBezTo>
                  <a:pt x="11179" y="55"/>
                  <a:pt x="10999" y="0"/>
                  <a:pt x="10800" y="0"/>
                </a:cubicBezTo>
                <a:cubicBezTo>
                  <a:pt x="10601" y="0"/>
                  <a:pt x="10422" y="55"/>
                  <a:pt x="10291" y="144"/>
                </a:cubicBezTo>
                <a:lnTo>
                  <a:pt x="211" y="7017"/>
                </a:lnTo>
                <a:cubicBezTo>
                  <a:pt x="81" y="7106"/>
                  <a:pt x="0" y="7228"/>
                  <a:pt x="0" y="7364"/>
                </a:cubicBezTo>
                <a:cubicBezTo>
                  <a:pt x="0" y="7635"/>
                  <a:pt x="322" y="7855"/>
                  <a:pt x="720" y="7855"/>
                </a:cubicBezTo>
                <a:lnTo>
                  <a:pt x="7200" y="7855"/>
                </a:lnTo>
                <a:lnTo>
                  <a:pt x="7200" y="19636"/>
                </a:lnTo>
                <a:cubicBezTo>
                  <a:pt x="7200" y="20721"/>
                  <a:pt x="8490" y="21600"/>
                  <a:pt x="10080" y="21600"/>
                </a:cubicBezTo>
                <a:lnTo>
                  <a:pt x="11520" y="21600"/>
                </a:lnTo>
                <a:cubicBezTo>
                  <a:pt x="13110" y="21600"/>
                  <a:pt x="14400" y="20721"/>
                  <a:pt x="14400" y="19636"/>
                </a:cubicBezTo>
                <a:lnTo>
                  <a:pt x="14400" y="7855"/>
                </a:lnTo>
                <a:lnTo>
                  <a:pt x="20880" y="7855"/>
                </a:lnTo>
                <a:cubicBezTo>
                  <a:pt x="21278" y="7855"/>
                  <a:pt x="21600" y="7635"/>
                  <a:pt x="21600" y="7364"/>
                </a:cubicBezTo>
                <a:cubicBezTo>
                  <a:pt x="21600" y="7228"/>
                  <a:pt x="21519" y="7106"/>
                  <a:pt x="21389" y="701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19" name="Shape 2919"/>
          <p:cNvSpPr/>
          <p:nvPr/>
        </p:nvSpPr>
        <p:spPr>
          <a:xfrm>
            <a:off x="18822898" y="2955076"/>
            <a:ext cx="558654" cy="380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520"/>
                </a:moveTo>
                <a:cubicBezTo>
                  <a:pt x="20618" y="12315"/>
                  <a:pt x="20178" y="12960"/>
                  <a:pt x="19636" y="12960"/>
                </a:cubicBezTo>
                <a:lnTo>
                  <a:pt x="6873" y="12960"/>
                </a:lnTo>
                <a:lnTo>
                  <a:pt x="6873" y="19142"/>
                </a:lnTo>
                <a:lnTo>
                  <a:pt x="1185" y="10800"/>
                </a:lnTo>
                <a:lnTo>
                  <a:pt x="6873" y="2458"/>
                </a:lnTo>
                <a:lnTo>
                  <a:pt x="6873" y="8640"/>
                </a:lnTo>
                <a:lnTo>
                  <a:pt x="19636" y="8640"/>
                </a:lnTo>
                <a:cubicBezTo>
                  <a:pt x="20178" y="8640"/>
                  <a:pt x="20618" y="9285"/>
                  <a:pt x="20618" y="10080"/>
                </a:cubicBezTo>
                <a:cubicBezTo>
                  <a:pt x="20618" y="10080"/>
                  <a:pt x="20618" y="11520"/>
                  <a:pt x="20618" y="11520"/>
                </a:cubicBezTo>
                <a:close/>
                <a:moveTo>
                  <a:pt x="19636" y="7200"/>
                </a:moveTo>
                <a:lnTo>
                  <a:pt x="7855" y="7200"/>
                </a:lnTo>
                <a:lnTo>
                  <a:pt x="7855" y="720"/>
                </a:lnTo>
                <a:cubicBezTo>
                  <a:pt x="7855" y="322"/>
                  <a:pt x="7635" y="0"/>
                  <a:pt x="7364" y="0"/>
                </a:cubicBezTo>
                <a:cubicBezTo>
                  <a:pt x="7228" y="0"/>
                  <a:pt x="7105" y="81"/>
                  <a:pt x="7017" y="212"/>
                </a:cubicBezTo>
                <a:lnTo>
                  <a:pt x="144" y="10291"/>
                </a:lnTo>
                <a:cubicBezTo>
                  <a:pt x="55" y="10422"/>
                  <a:pt x="0" y="10602"/>
                  <a:pt x="0" y="10800"/>
                </a:cubicBezTo>
                <a:cubicBezTo>
                  <a:pt x="0" y="11000"/>
                  <a:pt x="55" y="11180"/>
                  <a:pt x="144" y="11310"/>
                </a:cubicBezTo>
                <a:lnTo>
                  <a:pt x="7017" y="21389"/>
                </a:lnTo>
                <a:cubicBezTo>
                  <a:pt x="7105" y="21520"/>
                  <a:pt x="7228" y="21600"/>
                  <a:pt x="7364" y="21600"/>
                </a:cubicBezTo>
                <a:cubicBezTo>
                  <a:pt x="7635" y="21600"/>
                  <a:pt x="7855" y="21278"/>
                  <a:pt x="7855" y="20880"/>
                </a:cubicBezTo>
                <a:lnTo>
                  <a:pt x="7855" y="14400"/>
                </a:lnTo>
                <a:lnTo>
                  <a:pt x="19636" y="14400"/>
                </a:lnTo>
                <a:cubicBezTo>
                  <a:pt x="20721" y="14400"/>
                  <a:pt x="21600" y="13110"/>
                  <a:pt x="21600" y="11520"/>
                </a:cubicBezTo>
                <a:lnTo>
                  <a:pt x="21600" y="10080"/>
                </a:lnTo>
                <a:cubicBezTo>
                  <a:pt x="21600" y="8490"/>
                  <a:pt x="20721" y="7200"/>
                  <a:pt x="19636" y="7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20" name="Shape 2920"/>
          <p:cNvSpPr/>
          <p:nvPr/>
        </p:nvSpPr>
        <p:spPr>
          <a:xfrm>
            <a:off x="19889419" y="2955076"/>
            <a:ext cx="558654" cy="380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9142"/>
                </a:moveTo>
                <a:lnTo>
                  <a:pt x="14727" y="12960"/>
                </a:lnTo>
                <a:lnTo>
                  <a:pt x="1964" y="12960"/>
                </a:lnTo>
                <a:cubicBezTo>
                  <a:pt x="1421" y="12960"/>
                  <a:pt x="982" y="12316"/>
                  <a:pt x="982" y="11520"/>
                </a:cubicBezTo>
                <a:lnTo>
                  <a:pt x="982" y="10080"/>
                </a:lnTo>
                <a:cubicBezTo>
                  <a:pt x="982" y="9285"/>
                  <a:pt x="1421" y="8640"/>
                  <a:pt x="1964" y="8640"/>
                </a:cubicBezTo>
                <a:lnTo>
                  <a:pt x="14727" y="8640"/>
                </a:lnTo>
                <a:lnTo>
                  <a:pt x="14727" y="2458"/>
                </a:lnTo>
                <a:lnTo>
                  <a:pt x="20415" y="10800"/>
                </a:lnTo>
                <a:cubicBezTo>
                  <a:pt x="20415" y="10800"/>
                  <a:pt x="14727" y="19142"/>
                  <a:pt x="14727" y="19142"/>
                </a:cubicBezTo>
                <a:close/>
                <a:moveTo>
                  <a:pt x="21456" y="10291"/>
                </a:moveTo>
                <a:lnTo>
                  <a:pt x="14584" y="212"/>
                </a:lnTo>
                <a:cubicBezTo>
                  <a:pt x="14495" y="81"/>
                  <a:pt x="14372" y="0"/>
                  <a:pt x="14236" y="0"/>
                </a:cubicBezTo>
                <a:cubicBezTo>
                  <a:pt x="13965" y="0"/>
                  <a:pt x="13745" y="322"/>
                  <a:pt x="13745" y="720"/>
                </a:cubicBezTo>
                <a:lnTo>
                  <a:pt x="13745" y="7200"/>
                </a:lnTo>
                <a:lnTo>
                  <a:pt x="1964" y="7200"/>
                </a:lnTo>
                <a:cubicBezTo>
                  <a:pt x="879" y="7200"/>
                  <a:pt x="0" y="8490"/>
                  <a:pt x="0" y="10080"/>
                </a:cubicBezTo>
                <a:lnTo>
                  <a:pt x="0" y="11520"/>
                </a:lnTo>
                <a:cubicBezTo>
                  <a:pt x="0" y="13110"/>
                  <a:pt x="879" y="14400"/>
                  <a:pt x="1964" y="14400"/>
                </a:cubicBezTo>
                <a:lnTo>
                  <a:pt x="13745" y="14400"/>
                </a:lnTo>
                <a:lnTo>
                  <a:pt x="13745" y="20880"/>
                </a:lnTo>
                <a:cubicBezTo>
                  <a:pt x="13745" y="21278"/>
                  <a:pt x="13965" y="21600"/>
                  <a:pt x="14236" y="21600"/>
                </a:cubicBezTo>
                <a:cubicBezTo>
                  <a:pt x="14372" y="21600"/>
                  <a:pt x="14495" y="21520"/>
                  <a:pt x="14583" y="21389"/>
                </a:cubicBezTo>
                <a:lnTo>
                  <a:pt x="21456" y="11310"/>
                </a:lnTo>
                <a:cubicBezTo>
                  <a:pt x="21545" y="11180"/>
                  <a:pt x="21600" y="11000"/>
                  <a:pt x="21600" y="10800"/>
                </a:cubicBezTo>
                <a:cubicBezTo>
                  <a:pt x="21600" y="10601"/>
                  <a:pt x="21545" y="10421"/>
                  <a:pt x="21456" y="102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21" name="Shape 2921"/>
          <p:cNvSpPr/>
          <p:nvPr/>
        </p:nvSpPr>
        <p:spPr>
          <a:xfrm>
            <a:off x="21032124" y="2866201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402" y="5052"/>
                </a:moveTo>
                <a:lnTo>
                  <a:pt x="14652" y="144"/>
                </a:lnTo>
                <a:cubicBezTo>
                  <a:pt x="14530" y="55"/>
                  <a:pt x="14362" y="0"/>
                  <a:pt x="14175" y="0"/>
                </a:cubicBezTo>
                <a:cubicBezTo>
                  <a:pt x="13802" y="0"/>
                  <a:pt x="13500" y="220"/>
                  <a:pt x="13500" y="491"/>
                </a:cubicBezTo>
                <a:cubicBezTo>
                  <a:pt x="13500" y="627"/>
                  <a:pt x="13576" y="749"/>
                  <a:pt x="13698" y="838"/>
                </a:cubicBezTo>
                <a:lnTo>
                  <a:pt x="19296" y="4909"/>
                </a:lnTo>
                <a:lnTo>
                  <a:pt x="675" y="4909"/>
                </a:lnTo>
                <a:cubicBezTo>
                  <a:pt x="302" y="4909"/>
                  <a:pt x="0" y="5129"/>
                  <a:pt x="0" y="5400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1048" y="21600"/>
                  <a:pt x="1350" y="21380"/>
                  <a:pt x="1350" y="21109"/>
                </a:cubicBezTo>
                <a:lnTo>
                  <a:pt x="1350" y="5891"/>
                </a:lnTo>
                <a:lnTo>
                  <a:pt x="19296" y="5891"/>
                </a:lnTo>
                <a:lnTo>
                  <a:pt x="13698" y="9962"/>
                </a:lnTo>
                <a:cubicBezTo>
                  <a:pt x="13575" y="10051"/>
                  <a:pt x="13500" y="10173"/>
                  <a:pt x="13500" y="10309"/>
                </a:cubicBezTo>
                <a:cubicBezTo>
                  <a:pt x="13500" y="10580"/>
                  <a:pt x="13802" y="10800"/>
                  <a:pt x="14175" y="10800"/>
                </a:cubicBezTo>
                <a:cubicBezTo>
                  <a:pt x="14362" y="10800"/>
                  <a:pt x="14531" y="10745"/>
                  <a:pt x="14653" y="10656"/>
                </a:cubicBezTo>
                <a:lnTo>
                  <a:pt x="21402" y="5747"/>
                </a:lnTo>
                <a:cubicBezTo>
                  <a:pt x="21525" y="5658"/>
                  <a:pt x="21600" y="5536"/>
                  <a:pt x="21600" y="5400"/>
                </a:cubicBezTo>
                <a:cubicBezTo>
                  <a:pt x="21600" y="5264"/>
                  <a:pt x="21524" y="5142"/>
                  <a:pt x="21402" y="505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22" name="Shape 2922"/>
          <p:cNvSpPr/>
          <p:nvPr/>
        </p:nvSpPr>
        <p:spPr>
          <a:xfrm>
            <a:off x="22022464" y="2942382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2546"/>
                </a:moveTo>
                <a:lnTo>
                  <a:pt x="16691" y="2304"/>
                </a:lnTo>
                <a:lnTo>
                  <a:pt x="20415" y="7425"/>
                </a:lnTo>
                <a:cubicBezTo>
                  <a:pt x="20415" y="7425"/>
                  <a:pt x="16691" y="12546"/>
                  <a:pt x="16691" y="12546"/>
                </a:cubicBezTo>
                <a:close/>
                <a:moveTo>
                  <a:pt x="21456" y="6948"/>
                </a:moveTo>
                <a:lnTo>
                  <a:pt x="16548" y="198"/>
                </a:lnTo>
                <a:cubicBezTo>
                  <a:pt x="16458" y="76"/>
                  <a:pt x="16336" y="0"/>
                  <a:pt x="16200" y="0"/>
                </a:cubicBezTo>
                <a:cubicBezTo>
                  <a:pt x="15929" y="0"/>
                  <a:pt x="15709" y="302"/>
                  <a:pt x="15709" y="675"/>
                </a:cubicBezTo>
                <a:lnTo>
                  <a:pt x="15709" y="6750"/>
                </a:lnTo>
                <a:lnTo>
                  <a:pt x="491" y="6750"/>
                </a:lnTo>
                <a:cubicBezTo>
                  <a:pt x="220" y="6750"/>
                  <a:pt x="0" y="7052"/>
                  <a:pt x="0" y="7425"/>
                </a:cubicBezTo>
                <a:lnTo>
                  <a:pt x="0" y="20925"/>
                </a:lnTo>
                <a:cubicBezTo>
                  <a:pt x="0" y="21298"/>
                  <a:pt x="220" y="21600"/>
                  <a:pt x="491" y="21600"/>
                </a:cubicBezTo>
                <a:cubicBezTo>
                  <a:pt x="762" y="21600"/>
                  <a:pt x="982" y="21298"/>
                  <a:pt x="982" y="20925"/>
                </a:cubicBezTo>
                <a:lnTo>
                  <a:pt x="982" y="8100"/>
                </a:lnTo>
                <a:lnTo>
                  <a:pt x="15709" y="8100"/>
                </a:lnTo>
                <a:lnTo>
                  <a:pt x="15709" y="14175"/>
                </a:lnTo>
                <a:cubicBezTo>
                  <a:pt x="15709" y="14548"/>
                  <a:pt x="15929" y="14850"/>
                  <a:pt x="16200" y="14850"/>
                </a:cubicBezTo>
                <a:cubicBezTo>
                  <a:pt x="16336" y="14850"/>
                  <a:pt x="16458" y="14775"/>
                  <a:pt x="16547" y="14652"/>
                </a:cubicBezTo>
                <a:lnTo>
                  <a:pt x="21456" y="7903"/>
                </a:lnTo>
                <a:cubicBezTo>
                  <a:pt x="21545" y="7781"/>
                  <a:pt x="21600" y="7612"/>
                  <a:pt x="21600" y="7425"/>
                </a:cubicBezTo>
                <a:cubicBezTo>
                  <a:pt x="21600" y="7238"/>
                  <a:pt x="21545" y="7070"/>
                  <a:pt x="21456" y="694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23" name="Shape 2923"/>
          <p:cNvSpPr/>
          <p:nvPr/>
        </p:nvSpPr>
        <p:spPr>
          <a:xfrm>
            <a:off x="12423765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0"/>
                </a:moveTo>
                <a:lnTo>
                  <a:pt x="14236" y="0"/>
                </a:lnTo>
                <a:cubicBezTo>
                  <a:pt x="13966" y="0"/>
                  <a:pt x="13745" y="220"/>
                  <a:pt x="13745" y="491"/>
                </a:cubicBezTo>
                <a:cubicBezTo>
                  <a:pt x="13745" y="762"/>
                  <a:pt x="13966" y="982"/>
                  <a:pt x="14236" y="982"/>
                </a:cubicBezTo>
                <a:lnTo>
                  <a:pt x="19924" y="982"/>
                </a:lnTo>
                <a:lnTo>
                  <a:pt x="11926" y="8980"/>
                </a:lnTo>
                <a:cubicBezTo>
                  <a:pt x="11837" y="9069"/>
                  <a:pt x="11782" y="9192"/>
                  <a:pt x="11782" y="9327"/>
                </a:cubicBezTo>
                <a:cubicBezTo>
                  <a:pt x="11782" y="9599"/>
                  <a:pt x="12002" y="9818"/>
                  <a:pt x="12273" y="9818"/>
                </a:cubicBezTo>
                <a:cubicBezTo>
                  <a:pt x="12408" y="9818"/>
                  <a:pt x="12531" y="9764"/>
                  <a:pt x="12620" y="9674"/>
                </a:cubicBezTo>
                <a:lnTo>
                  <a:pt x="20618" y="1676"/>
                </a:lnTo>
                <a:lnTo>
                  <a:pt x="20618" y="7364"/>
                </a:lnTo>
                <a:cubicBezTo>
                  <a:pt x="20618" y="7635"/>
                  <a:pt x="20838" y="7855"/>
                  <a:pt x="21109" y="7855"/>
                </a:cubicBezTo>
                <a:cubicBezTo>
                  <a:pt x="21380" y="7855"/>
                  <a:pt x="21600" y="7635"/>
                  <a:pt x="21600" y="7364"/>
                </a:cubicBezTo>
                <a:lnTo>
                  <a:pt x="21600" y="491"/>
                </a:lnTo>
                <a:cubicBezTo>
                  <a:pt x="21600" y="220"/>
                  <a:pt x="21380" y="0"/>
                  <a:pt x="21109" y="0"/>
                </a:cubicBezTo>
                <a:moveTo>
                  <a:pt x="9327" y="11782"/>
                </a:moveTo>
                <a:cubicBezTo>
                  <a:pt x="9192" y="11782"/>
                  <a:pt x="9069" y="11837"/>
                  <a:pt x="8980" y="11926"/>
                </a:cubicBezTo>
                <a:lnTo>
                  <a:pt x="982" y="19924"/>
                </a:lnTo>
                <a:lnTo>
                  <a:pt x="982" y="14236"/>
                </a:lnTo>
                <a:cubicBezTo>
                  <a:pt x="982" y="13966"/>
                  <a:pt x="762" y="13745"/>
                  <a:pt x="491" y="13745"/>
                </a:cubicBezTo>
                <a:cubicBezTo>
                  <a:pt x="220" y="13745"/>
                  <a:pt x="0" y="13966"/>
                  <a:pt x="0" y="14236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7364" y="21600"/>
                </a:lnTo>
                <a:cubicBezTo>
                  <a:pt x="7634" y="21600"/>
                  <a:pt x="7855" y="21380"/>
                  <a:pt x="7855" y="21109"/>
                </a:cubicBezTo>
                <a:cubicBezTo>
                  <a:pt x="7855" y="20838"/>
                  <a:pt x="7634" y="20618"/>
                  <a:pt x="7364" y="20618"/>
                </a:cubicBezTo>
                <a:lnTo>
                  <a:pt x="1676" y="20618"/>
                </a:lnTo>
                <a:lnTo>
                  <a:pt x="9674" y="12620"/>
                </a:lnTo>
                <a:cubicBezTo>
                  <a:pt x="9763" y="12531"/>
                  <a:pt x="9818" y="12408"/>
                  <a:pt x="9818" y="12273"/>
                </a:cubicBezTo>
                <a:cubicBezTo>
                  <a:pt x="9818" y="12002"/>
                  <a:pt x="9598" y="11782"/>
                  <a:pt x="9327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24" name="Shape 2924"/>
          <p:cNvSpPr/>
          <p:nvPr/>
        </p:nvSpPr>
        <p:spPr>
          <a:xfrm>
            <a:off x="13490288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0974" y="0"/>
                  <a:pt x="20851" y="55"/>
                  <a:pt x="20762" y="144"/>
                </a:cubicBezTo>
                <a:lnTo>
                  <a:pt x="12764" y="8142"/>
                </a:lnTo>
                <a:lnTo>
                  <a:pt x="12764" y="2455"/>
                </a:lnTo>
                <a:cubicBezTo>
                  <a:pt x="12764" y="2184"/>
                  <a:pt x="12544" y="1964"/>
                  <a:pt x="12273" y="1964"/>
                </a:cubicBezTo>
                <a:cubicBezTo>
                  <a:pt x="12002" y="1964"/>
                  <a:pt x="11782" y="2184"/>
                  <a:pt x="11782" y="2455"/>
                </a:cubicBezTo>
                <a:lnTo>
                  <a:pt x="11782" y="9327"/>
                </a:lnTo>
                <a:cubicBezTo>
                  <a:pt x="11782" y="9599"/>
                  <a:pt x="12002" y="9818"/>
                  <a:pt x="12273" y="9818"/>
                </a:cubicBezTo>
                <a:lnTo>
                  <a:pt x="19145" y="9818"/>
                </a:lnTo>
                <a:cubicBezTo>
                  <a:pt x="19416" y="9818"/>
                  <a:pt x="19636" y="9599"/>
                  <a:pt x="19636" y="9327"/>
                </a:cubicBezTo>
                <a:cubicBezTo>
                  <a:pt x="19636" y="9056"/>
                  <a:pt x="19416" y="8836"/>
                  <a:pt x="19145" y="8836"/>
                </a:cubicBezTo>
                <a:lnTo>
                  <a:pt x="13458" y="8836"/>
                </a:lnTo>
                <a:lnTo>
                  <a:pt x="21456" y="838"/>
                </a:lnTo>
                <a:cubicBezTo>
                  <a:pt x="21545" y="750"/>
                  <a:pt x="21600" y="627"/>
                  <a:pt x="21600" y="491"/>
                </a:cubicBezTo>
                <a:moveTo>
                  <a:pt x="9327" y="11782"/>
                </a:moveTo>
                <a:lnTo>
                  <a:pt x="2455" y="11782"/>
                </a:lnTo>
                <a:cubicBezTo>
                  <a:pt x="2184" y="11782"/>
                  <a:pt x="1964" y="12002"/>
                  <a:pt x="1964" y="12273"/>
                </a:cubicBezTo>
                <a:cubicBezTo>
                  <a:pt x="1964" y="12544"/>
                  <a:pt x="2184" y="12764"/>
                  <a:pt x="2455" y="12764"/>
                </a:cubicBezTo>
                <a:lnTo>
                  <a:pt x="8142" y="12764"/>
                </a:lnTo>
                <a:lnTo>
                  <a:pt x="144" y="20762"/>
                </a:lnTo>
                <a:cubicBezTo>
                  <a:pt x="55" y="20851"/>
                  <a:pt x="0" y="20973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cubicBezTo>
                  <a:pt x="626" y="21600"/>
                  <a:pt x="749" y="21545"/>
                  <a:pt x="838" y="21456"/>
                </a:cubicBezTo>
                <a:lnTo>
                  <a:pt x="8836" y="13458"/>
                </a:lnTo>
                <a:lnTo>
                  <a:pt x="8836" y="19145"/>
                </a:lnTo>
                <a:cubicBezTo>
                  <a:pt x="8836" y="19417"/>
                  <a:pt x="9056" y="19636"/>
                  <a:pt x="9327" y="19636"/>
                </a:cubicBezTo>
                <a:cubicBezTo>
                  <a:pt x="9598" y="19636"/>
                  <a:pt x="9818" y="19417"/>
                  <a:pt x="9818" y="19145"/>
                </a:cubicBezTo>
                <a:lnTo>
                  <a:pt x="9818" y="12273"/>
                </a:lnTo>
                <a:cubicBezTo>
                  <a:pt x="9818" y="12002"/>
                  <a:pt x="9598" y="11782"/>
                  <a:pt x="9327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25" name="Shape 2925"/>
          <p:cNvSpPr/>
          <p:nvPr/>
        </p:nvSpPr>
        <p:spPr>
          <a:xfrm>
            <a:off x="14556808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0"/>
                </a:moveTo>
                <a:lnTo>
                  <a:pt x="16200" y="0"/>
                </a:lnTo>
                <a:cubicBezTo>
                  <a:pt x="15929" y="0"/>
                  <a:pt x="15709" y="220"/>
                  <a:pt x="15709" y="491"/>
                </a:cubicBezTo>
                <a:cubicBezTo>
                  <a:pt x="15709" y="762"/>
                  <a:pt x="15929" y="982"/>
                  <a:pt x="16200" y="982"/>
                </a:cubicBezTo>
                <a:lnTo>
                  <a:pt x="19924" y="982"/>
                </a:lnTo>
                <a:lnTo>
                  <a:pt x="6035" y="14871"/>
                </a:lnTo>
                <a:cubicBezTo>
                  <a:pt x="5946" y="14960"/>
                  <a:pt x="5891" y="15083"/>
                  <a:pt x="5891" y="15218"/>
                </a:cubicBezTo>
                <a:cubicBezTo>
                  <a:pt x="5891" y="15489"/>
                  <a:pt x="6111" y="15709"/>
                  <a:pt x="6382" y="15709"/>
                </a:cubicBezTo>
                <a:cubicBezTo>
                  <a:pt x="6517" y="15709"/>
                  <a:pt x="6640" y="15654"/>
                  <a:pt x="6729" y="15565"/>
                </a:cubicBezTo>
                <a:lnTo>
                  <a:pt x="20618" y="1676"/>
                </a:lnTo>
                <a:lnTo>
                  <a:pt x="20618" y="5400"/>
                </a:lnTo>
                <a:cubicBezTo>
                  <a:pt x="20618" y="5671"/>
                  <a:pt x="20838" y="5890"/>
                  <a:pt x="21109" y="5890"/>
                </a:cubicBezTo>
                <a:cubicBezTo>
                  <a:pt x="21380" y="5890"/>
                  <a:pt x="21600" y="5671"/>
                  <a:pt x="21600" y="5400"/>
                </a:cubicBezTo>
                <a:lnTo>
                  <a:pt x="21600" y="491"/>
                </a:lnTo>
                <a:cubicBezTo>
                  <a:pt x="21600" y="220"/>
                  <a:pt x="21380" y="0"/>
                  <a:pt x="21109" y="0"/>
                </a:cubicBezTo>
                <a:moveTo>
                  <a:pt x="17182" y="6873"/>
                </a:moveTo>
                <a:cubicBezTo>
                  <a:pt x="16911" y="6873"/>
                  <a:pt x="16691" y="7092"/>
                  <a:pt x="16691" y="7364"/>
                </a:cubicBezTo>
                <a:lnTo>
                  <a:pt x="16691" y="20618"/>
                </a:lnTo>
                <a:lnTo>
                  <a:pt x="982" y="20618"/>
                </a:lnTo>
                <a:lnTo>
                  <a:pt x="982" y="4909"/>
                </a:lnTo>
                <a:lnTo>
                  <a:pt x="14236" y="4909"/>
                </a:lnTo>
                <a:cubicBezTo>
                  <a:pt x="14507" y="4909"/>
                  <a:pt x="14727" y="4689"/>
                  <a:pt x="14727" y="4418"/>
                </a:cubicBezTo>
                <a:cubicBezTo>
                  <a:pt x="14727" y="4147"/>
                  <a:pt x="14507" y="3927"/>
                  <a:pt x="14236" y="3927"/>
                </a:cubicBezTo>
                <a:lnTo>
                  <a:pt x="491" y="3927"/>
                </a:lnTo>
                <a:cubicBezTo>
                  <a:pt x="220" y="3927"/>
                  <a:pt x="0" y="4147"/>
                  <a:pt x="0" y="4418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0"/>
                  <a:pt x="17673" y="21109"/>
                </a:cubicBezTo>
                <a:lnTo>
                  <a:pt x="17673" y="7364"/>
                </a:lnTo>
                <a:cubicBezTo>
                  <a:pt x="17673" y="7092"/>
                  <a:pt x="17453" y="6873"/>
                  <a:pt x="17182" y="68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26" name="Shape 2926"/>
          <p:cNvSpPr/>
          <p:nvPr/>
        </p:nvSpPr>
        <p:spPr>
          <a:xfrm>
            <a:off x="15623331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20383"/>
                </a:moveTo>
                <a:lnTo>
                  <a:pt x="11424" y="15709"/>
                </a:lnTo>
                <a:lnTo>
                  <a:pt x="13255" y="15709"/>
                </a:lnTo>
                <a:cubicBezTo>
                  <a:pt x="13525" y="15709"/>
                  <a:pt x="13745" y="15490"/>
                  <a:pt x="13745" y="15218"/>
                </a:cubicBezTo>
                <a:lnTo>
                  <a:pt x="13745" y="14727"/>
                </a:lnTo>
                <a:cubicBezTo>
                  <a:pt x="13635" y="12724"/>
                  <a:pt x="12844" y="5590"/>
                  <a:pt x="7448" y="1949"/>
                </a:cubicBezTo>
                <a:cubicBezTo>
                  <a:pt x="16407" y="4809"/>
                  <a:pt x="17536" y="12588"/>
                  <a:pt x="17673" y="14727"/>
                </a:cubicBezTo>
                <a:lnTo>
                  <a:pt x="17673" y="15218"/>
                </a:lnTo>
                <a:cubicBezTo>
                  <a:pt x="17673" y="15490"/>
                  <a:pt x="17893" y="15709"/>
                  <a:pt x="18164" y="15709"/>
                </a:cubicBezTo>
                <a:lnTo>
                  <a:pt x="19994" y="15709"/>
                </a:lnTo>
                <a:cubicBezTo>
                  <a:pt x="19994" y="15709"/>
                  <a:pt x="15709" y="20383"/>
                  <a:pt x="15709" y="20383"/>
                </a:cubicBezTo>
                <a:close/>
                <a:moveTo>
                  <a:pt x="21109" y="14727"/>
                </a:moveTo>
                <a:lnTo>
                  <a:pt x="18658" y="14727"/>
                </a:lnTo>
                <a:cubicBezTo>
                  <a:pt x="18450" y="12130"/>
                  <a:pt x="16610" y="0"/>
                  <a:pt x="491" y="0"/>
                </a:cubicBezTo>
                <a:cubicBezTo>
                  <a:pt x="219" y="0"/>
                  <a:pt x="0" y="220"/>
                  <a:pt x="0" y="491"/>
                </a:cubicBezTo>
                <a:cubicBezTo>
                  <a:pt x="0" y="762"/>
                  <a:pt x="219" y="982"/>
                  <a:pt x="491" y="982"/>
                </a:cubicBezTo>
                <a:cubicBezTo>
                  <a:pt x="5558" y="982"/>
                  <a:pt x="9160" y="3417"/>
                  <a:pt x="11196" y="8250"/>
                </a:cubicBezTo>
                <a:cubicBezTo>
                  <a:pt x="12394" y="11093"/>
                  <a:pt x="12657" y="13684"/>
                  <a:pt x="12715" y="14727"/>
                </a:cubicBezTo>
                <a:lnTo>
                  <a:pt x="10309" y="14727"/>
                </a:lnTo>
                <a:cubicBezTo>
                  <a:pt x="10038" y="14727"/>
                  <a:pt x="9818" y="14947"/>
                  <a:pt x="9818" y="15218"/>
                </a:cubicBezTo>
                <a:cubicBezTo>
                  <a:pt x="9818" y="15354"/>
                  <a:pt x="9873" y="15477"/>
                  <a:pt x="9962" y="15566"/>
                </a:cubicBezTo>
                <a:lnTo>
                  <a:pt x="15362" y="21456"/>
                </a:lnTo>
                <a:cubicBezTo>
                  <a:pt x="15450" y="21545"/>
                  <a:pt x="15574" y="21600"/>
                  <a:pt x="15709" y="21600"/>
                </a:cubicBezTo>
                <a:cubicBezTo>
                  <a:pt x="15845" y="21600"/>
                  <a:pt x="15967" y="21545"/>
                  <a:pt x="16056" y="21456"/>
                </a:cubicBezTo>
                <a:lnTo>
                  <a:pt x="21456" y="15566"/>
                </a:lnTo>
                <a:cubicBezTo>
                  <a:pt x="21545" y="15477"/>
                  <a:pt x="21600" y="15354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27" name="Shape 2927"/>
          <p:cNvSpPr/>
          <p:nvPr/>
        </p:nvSpPr>
        <p:spPr>
          <a:xfrm>
            <a:off x="16689853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5891"/>
                </a:moveTo>
                <a:cubicBezTo>
                  <a:pt x="17893" y="5891"/>
                  <a:pt x="17673" y="6111"/>
                  <a:pt x="17673" y="6382"/>
                </a:cubicBezTo>
                <a:lnTo>
                  <a:pt x="17673" y="6873"/>
                </a:lnTo>
                <a:cubicBezTo>
                  <a:pt x="17536" y="9012"/>
                  <a:pt x="16407" y="16791"/>
                  <a:pt x="7448" y="19651"/>
                </a:cubicBezTo>
                <a:cubicBezTo>
                  <a:pt x="12844" y="16010"/>
                  <a:pt x="13635" y="8876"/>
                  <a:pt x="13745" y="6873"/>
                </a:cubicBezTo>
                <a:lnTo>
                  <a:pt x="13745" y="6382"/>
                </a:lnTo>
                <a:cubicBezTo>
                  <a:pt x="13745" y="6111"/>
                  <a:pt x="13525" y="5891"/>
                  <a:pt x="13255" y="5891"/>
                </a:cubicBezTo>
                <a:lnTo>
                  <a:pt x="11424" y="5891"/>
                </a:lnTo>
                <a:lnTo>
                  <a:pt x="15709" y="1217"/>
                </a:lnTo>
                <a:lnTo>
                  <a:pt x="19994" y="5891"/>
                </a:lnTo>
                <a:cubicBezTo>
                  <a:pt x="19994" y="5891"/>
                  <a:pt x="18164" y="5891"/>
                  <a:pt x="18164" y="5891"/>
                </a:cubicBezTo>
                <a:close/>
                <a:moveTo>
                  <a:pt x="21456" y="6035"/>
                </a:moveTo>
                <a:lnTo>
                  <a:pt x="16056" y="144"/>
                </a:lnTo>
                <a:cubicBezTo>
                  <a:pt x="15967" y="55"/>
                  <a:pt x="15845" y="0"/>
                  <a:pt x="15709" y="0"/>
                </a:cubicBezTo>
                <a:cubicBezTo>
                  <a:pt x="15573" y="0"/>
                  <a:pt x="15450" y="55"/>
                  <a:pt x="15362" y="144"/>
                </a:cubicBezTo>
                <a:lnTo>
                  <a:pt x="9962" y="6035"/>
                </a:lnTo>
                <a:cubicBezTo>
                  <a:pt x="9873" y="6124"/>
                  <a:pt x="9818" y="6247"/>
                  <a:pt x="9818" y="6382"/>
                </a:cubicBezTo>
                <a:cubicBezTo>
                  <a:pt x="9818" y="6653"/>
                  <a:pt x="10038" y="6873"/>
                  <a:pt x="10309" y="6873"/>
                </a:cubicBezTo>
                <a:lnTo>
                  <a:pt x="12715" y="6873"/>
                </a:lnTo>
                <a:cubicBezTo>
                  <a:pt x="12657" y="7916"/>
                  <a:pt x="12394" y="10507"/>
                  <a:pt x="11196" y="13351"/>
                </a:cubicBezTo>
                <a:cubicBezTo>
                  <a:pt x="9160" y="18184"/>
                  <a:pt x="5558" y="20618"/>
                  <a:pt x="491" y="20618"/>
                </a:cubicBezTo>
                <a:cubicBezTo>
                  <a:pt x="219" y="20618"/>
                  <a:pt x="0" y="20838"/>
                  <a:pt x="0" y="21109"/>
                </a:cubicBezTo>
                <a:cubicBezTo>
                  <a:pt x="0" y="21380"/>
                  <a:pt x="219" y="21600"/>
                  <a:pt x="491" y="21600"/>
                </a:cubicBezTo>
                <a:cubicBezTo>
                  <a:pt x="16610" y="21600"/>
                  <a:pt x="18450" y="9470"/>
                  <a:pt x="18658" y="6873"/>
                </a:cubicBezTo>
                <a:lnTo>
                  <a:pt x="21109" y="6873"/>
                </a:lnTo>
                <a:cubicBezTo>
                  <a:pt x="21380" y="6873"/>
                  <a:pt x="21600" y="6653"/>
                  <a:pt x="21600" y="6382"/>
                </a:cubicBezTo>
                <a:cubicBezTo>
                  <a:pt x="21600" y="6247"/>
                  <a:pt x="21545" y="6124"/>
                  <a:pt x="21456" y="603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28" name="Shape 2928"/>
          <p:cNvSpPr/>
          <p:nvPr/>
        </p:nvSpPr>
        <p:spPr>
          <a:xfrm>
            <a:off x="17756375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873" y="7855"/>
                </a:moveTo>
                <a:lnTo>
                  <a:pt x="6382" y="7855"/>
                </a:lnTo>
                <a:cubicBezTo>
                  <a:pt x="6110" y="7855"/>
                  <a:pt x="5891" y="8075"/>
                  <a:pt x="5891" y="8345"/>
                </a:cubicBezTo>
                <a:lnTo>
                  <a:pt x="5891" y="10176"/>
                </a:lnTo>
                <a:lnTo>
                  <a:pt x="1216" y="5891"/>
                </a:lnTo>
                <a:lnTo>
                  <a:pt x="5891" y="1606"/>
                </a:lnTo>
                <a:lnTo>
                  <a:pt x="5891" y="3436"/>
                </a:lnTo>
                <a:cubicBezTo>
                  <a:pt x="5891" y="3708"/>
                  <a:pt x="6110" y="3927"/>
                  <a:pt x="6382" y="3927"/>
                </a:cubicBezTo>
                <a:lnTo>
                  <a:pt x="6873" y="3927"/>
                </a:lnTo>
                <a:cubicBezTo>
                  <a:pt x="9012" y="4064"/>
                  <a:pt x="16791" y="5193"/>
                  <a:pt x="19651" y="14152"/>
                </a:cubicBezTo>
                <a:cubicBezTo>
                  <a:pt x="16010" y="8756"/>
                  <a:pt x="8876" y="7965"/>
                  <a:pt x="6873" y="7855"/>
                </a:cubicBezTo>
                <a:moveTo>
                  <a:pt x="6873" y="2942"/>
                </a:moveTo>
                <a:lnTo>
                  <a:pt x="6873" y="491"/>
                </a:lnTo>
                <a:cubicBezTo>
                  <a:pt x="6873" y="220"/>
                  <a:pt x="6653" y="0"/>
                  <a:pt x="6382" y="0"/>
                </a:cubicBezTo>
                <a:cubicBezTo>
                  <a:pt x="6246" y="0"/>
                  <a:pt x="6123" y="55"/>
                  <a:pt x="6035" y="144"/>
                </a:cubicBezTo>
                <a:lnTo>
                  <a:pt x="144" y="5544"/>
                </a:lnTo>
                <a:cubicBezTo>
                  <a:pt x="55" y="5633"/>
                  <a:pt x="0" y="5756"/>
                  <a:pt x="0" y="5891"/>
                </a:cubicBezTo>
                <a:cubicBezTo>
                  <a:pt x="0" y="6027"/>
                  <a:pt x="55" y="6150"/>
                  <a:pt x="144" y="6238"/>
                </a:cubicBezTo>
                <a:lnTo>
                  <a:pt x="6035" y="11638"/>
                </a:lnTo>
                <a:cubicBezTo>
                  <a:pt x="6123" y="11727"/>
                  <a:pt x="6246" y="11782"/>
                  <a:pt x="6382" y="11782"/>
                </a:cubicBezTo>
                <a:cubicBezTo>
                  <a:pt x="6653" y="11782"/>
                  <a:pt x="6873" y="11562"/>
                  <a:pt x="6873" y="11291"/>
                </a:cubicBezTo>
                <a:lnTo>
                  <a:pt x="6873" y="8884"/>
                </a:lnTo>
                <a:cubicBezTo>
                  <a:pt x="7916" y="8943"/>
                  <a:pt x="10507" y="9206"/>
                  <a:pt x="13350" y="10404"/>
                </a:cubicBezTo>
                <a:cubicBezTo>
                  <a:pt x="18183" y="12440"/>
                  <a:pt x="20618" y="16042"/>
                  <a:pt x="20618" y="21109"/>
                </a:cubicBezTo>
                <a:cubicBezTo>
                  <a:pt x="20618" y="21380"/>
                  <a:pt x="20838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4990"/>
                  <a:pt x="9470" y="3150"/>
                  <a:pt x="6873" y="294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29" name="Shape 2929"/>
          <p:cNvSpPr/>
          <p:nvPr/>
        </p:nvSpPr>
        <p:spPr>
          <a:xfrm>
            <a:off x="18822898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176"/>
                </a:moveTo>
                <a:lnTo>
                  <a:pt x="15709" y="8345"/>
                </a:lnTo>
                <a:cubicBezTo>
                  <a:pt x="15709" y="8075"/>
                  <a:pt x="15490" y="7855"/>
                  <a:pt x="15218" y="7855"/>
                </a:cubicBezTo>
                <a:lnTo>
                  <a:pt x="14727" y="7855"/>
                </a:lnTo>
                <a:cubicBezTo>
                  <a:pt x="12724" y="7965"/>
                  <a:pt x="5590" y="8756"/>
                  <a:pt x="1949" y="14152"/>
                </a:cubicBezTo>
                <a:cubicBezTo>
                  <a:pt x="4809" y="5193"/>
                  <a:pt x="12588" y="4064"/>
                  <a:pt x="14727" y="3927"/>
                </a:cubicBezTo>
                <a:lnTo>
                  <a:pt x="15218" y="3927"/>
                </a:lnTo>
                <a:cubicBezTo>
                  <a:pt x="15490" y="3927"/>
                  <a:pt x="15709" y="3708"/>
                  <a:pt x="15709" y="3436"/>
                </a:cubicBezTo>
                <a:lnTo>
                  <a:pt x="15709" y="1606"/>
                </a:lnTo>
                <a:lnTo>
                  <a:pt x="20383" y="5891"/>
                </a:lnTo>
                <a:cubicBezTo>
                  <a:pt x="20383" y="5891"/>
                  <a:pt x="15709" y="10176"/>
                  <a:pt x="15709" y="10176"/>
                </a:cubicBezTo>
                <a:close/>
                <a:moveTo>
                  <a:pt x="21456" y="5544"/>
                </a:moveTo>
                <a:lnTo>
                  <a:pt x="15565" y="144"/>
                </a:lnTo>
                <a:cubicBezTo>
                  <a:pt x="15477" y="55"/>
                  <a:pt x="15354" y="0"/>
                  <a:pt x="15218" y="0"/>
                </a:cubicBezTo>
                <a:cubicBezTo>
                  <a:pt x="14947" y="0"/>
                  <a:pt x="14727" y="220"/>
                  <a:pt x="14727" y="491"/>
                </a:cubicBezTo>
                <a:lnTo>
                  <a:pt x="14727" y="2942"/>
                </a:lnTo>
                <a:cubicBezTo>
                  <a:pt x="12130" y="3150"/>
                  <a:pt x="0" y="4991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cubicBezTo>
                  <a:pt x="762" y="21600"/>
                  <a:pt x="982" y="21380"/>
                  <a:pt x="982" y="21109"/>
                </a:cubicBezTo>
                <a:cubicBezTo>
                  <a:pt x="982" y="16042"/>
                  <a:pt x="3417" y="12440"/>
                  <a:pt x="8250" y="10404"/>
                </a:cubicBezTo>
                <a:cubicBezTo>
                  <a:pt x="11093" y="9206"/>
                  <a:pt x="13684" y="8943"/>
                  <a:pt x="14727" y="8884"/>
                </a:cubicBezTo>
                <a:lnTo>
                  <a:pt x="14727" y="11291"/>
                </a:lnTo>
                <a:cubicBezTo>
                  <a:pt x="14727" y="11562"/>
                  <a:pt x="14947" y="11782"/>
                  <a:pt x="15218" y="11782"/>
                </a:cubicBezTo>
                <a:cubicBezTo>
                  <a:pt x="15354" y="11782"/>
                  <a:pt x="15477" y="11727"/>
                  <a:pt x="15565" y="11638"/>
                </a:cubicBezTo>
                <a:lnTo>
                  <a:pt x="21456" y="6238"/>
                </a:lnTo>
                <a:cubicBezTo>
                  <a:pt x="21545" y="6150"/>
                  <a:pt x="21600" y="6027"/>
                  <a:pt x="21600" y="5891"/>
                </a:cubicBezTo>
                <a:cubicBezTo>
                  <a:pt x="21600" y="5756"/>
                  <a:pt x="21545" y="5633"/>
                  <a:pt x="21456" y="554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30" name="Shape 2930"/>
          <p:cNvSpPr/>
          <p:nvPr/>
        </p:nvSpPr>
        <p:spPr>
          <a:xfrm>
            <a:off x="19889419" y="4034297"/>
            <a:ext cx="558654" cy="3555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955" y="1543"/>
                </a:moveTo>
                <a:cubicBezTo>
                  <a:pt x="12837" y="1543"/>
                  <a:pt x="10309" y="5515"/>
                  <a:pt x="10309" y="10414"/>
                </a:cubicBezTo>
                <a:lnTo>
                  <a:pt x="10309" y="11186"/>
                </a:lnTo>
                <a:cubicBezTo>
                  <a:pt x="10309" y="15233"/>
                  <a:pt x="8221" y="18514"/>
                  <a:pt x="5645" y="18514"/>
                </a:cubicBezTo>
                <a:cubicBezTo>
                  <a:pt x="3070" y="18514"/>
                  <a:pt x="982" y="15233"/>
                  <a:pt x="982" y="11186"/>
                </a:cubicBezTo>
                <a:lnTo>
                  <a:pt x="982" y="10414"/>
                </a:lnTo>
                <a:cubicBezTo>
                  <a:pt x="982" y="6367"/>
                  <a:pt x="3070" y="3086"/>
                  <a:pt x="5645" y="3086"/>
                </a:cubicBezTo>
                <a:cubicBezTo>
                  <a:pt x="6670" y="3086"/>
                  <a:pt x="7575" y="3630"/>
                  <a:pt x="8321" y="4629"/>
                </a:cubicBezTo>
                <a:lnTo>
                  <a:pt x="6382" y="4629"/>
                </a:lnTo>
                <a:cubicBezTo>
                  <a:pt x="6110" y="4629"/>
                  <a:pt x="5891" y="4974"/>
                  <a:pt x="5891" y="5400"/>
                </a:cubicBezTo>
                <a:cubicBezTo>
                  <a:pt x="5891" y="5826"/>
                  <a:pt x="6110" y="6171"/>
                  <a:pt x="6382" y="6171"/>
                </a:cubicBezTo>
                <a:lnTo>
                  <a:pt x="9327" y="6171"/>
                </a:lnTo>
                <a:cubicBezTo>
                  <a:pt x="9599" y="6171"/>
                  <a:pt x="9818" y="5826"/>
                  <a:pt x="9818" y="5400"/>
                </a:cubicBezTo>
                <a:lnTo>
                  <a:pt x="9818" y="771"/>
                </a:lnTo>
                <a:cubicBezTo>
                  <a:pt x="9818" y="346"/>
                  <a:pt x="9599" y="0"/>
                  <a:pt x="9327" y="0"/>
                </a:cubicBezTo>
                <a:cubicBezTo>
                  <a:pt x="9056" y="0"/>
                  <a:pt x="8836" y="346"/>
                  <a:pt x="8836" y="771"/>
                </a:cubicBezTo>
                <a:lnTo>
                  <a:pt x="8836" y="3321"/>
                </a:lnTo>
                <a:cubicBezTo>
                  <a:pt x="7879" y="2160"/>
                  <a:pt x="6706" y="1543"/>
                  <a:pt x="5645" y="1543"/>
                </a:cubicBezTo>
                <a:cubicBezTo>
                  <a:pt x="2527" y="1543"/>
                  <a:pt x="0" y="5515"/>
                  <a:pt x="0" y="10414"/>
                </a:cubicBezTo>
                <a:lnTo>
                  <a:pt x="0" y="11186"/>
                </a:lnTo>
                <a:cubicBezTo>
                  <a:pt x="0" y="16085"/>
                  <a:pt x="2527" y="20057"/>
                  <a:pt x="5645" y="20057"/>
                </a:cubicBezTo>
                <a:cubicBezTo>
                  <a:pt x="8763" y="20057"/>
                  <a:pt x="11291" y="16085"/>
                  <a:pt x="11291" y="11186"/>
                </a:cubicBezTo>
                <a:lnTo>
                  <a:pt x="11291" y="10414"/>
                </a:lnTo>
                <a:cubicBezTo>
                  <a:pt x="11291" y="6367"/>
                  <a:pt x="13379" y="3086"/>
                  <a:pt x="15955" y="3086"/>
                </a:cubicBezTo>
                <a:cubicBezTo>
                  <a:pt x="18530" y="3086"/>
                  <a:pt x="20618" y="6367"/>
                  <a:pt x="20618" y="10414"/>
                </a:cubicBezTo>
                <a:lnTo>
                  <a:pt x="20618" y="11186"/>
                </a:lnTo>
                <a:cubicBezTo>
                  <a:pt x="20618" y="15233"/>
                  <a:pt x="18530" y="18514"/>
                  <a:pt x="15955" y="18514"/>
                </a:cubicBezTo>
                <a:cubicBezTo>
                  <a:pt x="14930" y="18514"/>
                  <a:pt x="14025" y="17970"/>
                  <a:pt x="13279" y="16971"/>
                </a:cubicBezTo>
                <a:lnTo>
                  <a:pt x="15218" y="16971"/>
                </a:lnTo>
                <a:cubicBezTo>
                  <a:pt x="15490" y="16971"/>
                  <a:pt x="15709" y="16626"/>
                  <a:pt x="15709" y="16200"/>
                </a:cubicBezTo>
                <a:cubicBezTo>
                  <a:pt x="15709" y="15774"/>
                  <a:pt x="15490" y="15429"/>
                  <a:pt x="15218" y="15429"/>
                </a:cubicBezTo>
                <a:lnTo>
                  <a:pt x="12273" y="15429"/>
                </a:lnTo>
                <a:cubicBezTo>
                  <a:pt x="12001" y="15429"/>
                  <a:pt x="11782" y="15774"/>
                  <a:pt x="11782" y="16200"/>
                </a:cubicBezTo>
                <a:lnTo>
                  <a:pt x="11782" y="20829"/>
                </a:lnTo>
                <a:cubicBezTo>
                  <a:pt x="11782" y="21255"/>
                  <a:pt x="12001" y="21600"/>
                  <a:pt x="12273" y="21600"/>
                </a:cubicBezTo>
                <a:cubicBezTo>
                  <a:pt x="12544" y="21600"/>
                  <a:pt x="12764" y="21255"/>
                  <a:pt x="12764" y="20829"/>
                </a:cubicBezTo>
                <a:lnTo>
                  <a:pt x="12764" y="18279"/>
                </a:lnTo>
                <a:cubicBezTo>
                  <a:pt x="13721" y="19441"/>
                  <a:pt x="14894" y="20057"/>
                  <a:pt x="15955" y="20057"/>
                </a:cubicBezTo>
                <a:cubicBezTo>
                  <a:pt x="19073" y="20057"/>
                  <a:pt x="21600" y="16085"/>
                  <a:pt x="21600" y="11186"/>
                </a:cubicBezTo>
                <a:lnTo>
                  <a:pt x="21600" y="10414"/>
                </a:lnTo>
                <a:cubicBezTo>
                  <a:pt x="21600" y="5515"/>
                  <a:pt x="19073" y="1543"/>
                  <a:pt x="15955" y="154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31" name="Shape 2931"/>
          <p:cNvSpPr/>
          <p:nvPr/>
        </p:nvSpPr>
        <p:spPr>
          <a:xfrm>
            <a:off x="20955942" y="4008904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924" y="4050"/>
                </a:moveTo>
                <a:lnTo>
                  <a:pt x="18798" y="5598"/>
                </a:lnTo>
                <a:cubicBezTo>
                  <a:pt x="18709" y="5720"/>
                  <a:pt x="18655" y="5889"/>
                  <a:pt x="18655" y="6075"/>
                </a:cubicBezTo>
                <a:cubicBezTo>
                  <a:pt x="18655" y="6448"/>
                  <a:pt x="18874" y="6750"/>
                  <a:pt x="19145" y="6750"/>
                </a:cubicBezTo>
                <a:cubicBezTo>
                  <a:pt x="19281" y="6750"/>
                  <a:pt x="19404" y="6674"/>
                  <a:pt x="19493" y="6552"/>
                </a:cubicBezTo>
                <a:lnTo>
                  <a:pt x="21456" y="3853"/>
                </a:lnTo>
                <a:cubicBezTo>
                  <a:pt x="21545" y="3731"/>
                  <a:pt x="21600" y="3562"/>
                  <a:pt x="21600" y="3375"/>
                </a:cubicBezTo>
                <a:cubicBezTo>
                  <a:pt x="21600" y="3189"/>
                  <a:pt x="21545" y="3020"/>
                  <a:pt x="21456" y="2898"/>
                </a:cubicBezTo>
                <a:lnTo>
                  <a:pt x="19493" y="198"/>
                </a:lnTo>
                <a:cubicBezTo>
                  <a:pt x="19403" y="76"/>
                  <a:pt x="19281" y="0"/>
                  <a:pt x="19145" y="0"/>
                </a:cubicBezTo>
                <a:cubicBezTo>
                  <a:pt x="18874" y="0"/>
                  <a:pt x="18655" y="303"/>
                  <a:pt x="18655" y="675"/>
                </a:cubicBezTo>
                <a:cubicBezTo>
                  <a:pt x="18655" y="862"/>
                  <a:pt x="18709" y="1031"/>
                  <a:pt x="18799" y="1153"/>
                </a:cubicBezTo>
                <a:lnTo>
                  <a:pt x="19924" y="2700"/>
                </a:lnTo>
                <a:lnTo>
                  <a:pt x="15218" y="2700"/>
                </a:lnTo>
                <a:cubicBezTo>
                  <a:pt x="15065" y="2700"/>
                  <a:pt x="14933" y="2803"/>
                  <a:pt x="14843" y="2954"/>
                </a:cubicBezTo>
                <a:lnTo>
                  <a:pt x="14838" y="2948"/>
                </a:lnTo>
                <a:lnTo>
                  <a:pt x="6149" y="17550"/>
                </a:lnTo>
                <a:lnTo>
                  <a:pt x="491" y="17550"/>
                </a:lnTo>
                <a:cubicBezTo>
                  <a:pt x="220" y="17550"/>
                  <a:pt x="0" y="17853"/>
                  <a:pt x="0" y="18225"/>
                </a:cubicBezTo>
                <a:cubicBezTo>
                  <a:pt x="0" y="18598"/>
                  <a:pt x="220" y="18900"/>
                  <a:pt x="491" y="18900"/>
                </a:cubicBezTo>
                <a:lnTo>
                  <a:pt x="6382" y="18900"/>
                </a:lnTo>
                <a:cubicBezTo>
                  <a:pt x="6535" y="18900"/>
                  <a:pt x="6667" y="18798"/>
                  <a:pt x="6757" y="18647"/>
                </a:cubicBezTo>
                <a:lnTo>
                  <a:pt x="6762" y="18652"/>
                </a:lnTo>
                <a:lnTo>
                  <a:pt x="15451" y="4050"/>
                </a:lnTo>
                <a:cubicBezTo>
                  <a:pt x="15451" y="4050"/>
                  <a:pt x="19924" y="4050"/>
                  <a:pt x="19924" y="4050"/>
                </a:cubicBezTo>
                <a:close/>
                <a:moveTo>
                  <a:pt x="19493" y="15048"/>
                </a:moveTo>
                <a:cubicBezTo>
                  <a:pt x="19403" y="14926"/>
                  <a:pt x="19281" y="14850"/>
                  <a:pt x="19145" y="14850"/>
                </a:cubicBezTo>
                <a:cubicBezTo>
                  <a:pt x="18874" y="14850"/>
                  <a:pt x="18655" y="15153"/>
                  <a:pt x="18655" y="15525"/>
                </a:cubicBezTo>
                <a:cubicBezTo>
                  <a:pt x="18655" y="15712"/>
                  <a:pt x="18709" y="15880"/>
                  <a:pt x="18798" y="16002"/>
                </a:cubicBezTo>
                <a:lnTo>
                  <a:pt x="19924" y="17550"/>
                </a:lnTo>
                <a:lnTo>
                  <a:pt x="15451" y="17550"/>
                </a:lnTo>
                <a:lnTo>
                  <a:pt x="12386" y="12399"/>
                </a:lnTo>
                <a:lnTo>
                  <a:pt x="11751" y="13465"/>
                </a:lnTo>
                <a:lnTo>
                  <a:pt x="14838" y="18652"/>
                </a:lnTo>
                <a:lnTo>
                  <a:pt x="14843" y="18647"/>
                </a:lnTo>
                <a:cubicBezTo>
                  <a:pt x="14933" y="18798"/>
                  <a:pt x="15065" y="18900"/>
                  <a:pt x="15218" y="18900"/>
                </a:cubicBezTo>
                <a:lnTo>
                  <a:pt x="19924" y="18900"/>
                </a:lnTo>
                <a:lnTo>
                  <a:pt x="18798" y="20448"/>
                </a:lnTo>
                <a:cubicBezTo>
                  <a:pt x="18709" y="20570"/>
                  <a:pt x="18655" y="20739"/>
                  <a:pt x="18655" y="20925"/>
                </a:cubicBezTo>
                <a:cubicBezTo>
                  <a:pt x="18655" y="21298"/>
                  <a:pt x="18874" y="21600"/>
                  <a:pt x="19145" y="21600"/>
                </a:cubicBezTo>
                <a:cubicBezTo>
                  <a:pt x="19281" y="21600"/>
                  <a:pt x="19403" y="21525"/>
                  <a:pt x="19493" y="21402"/>
                </a:cubicBezTo>
                <a:lnTo>
                  <a:pt x="21456" y="18702"/>
                </a:lnTo>
                <a:cubicBezTo>
                  <a:pt x="21545" y="18580"/>
                  <a:pt x="21600" y="18412"/>
                  <a:pt x="21600" y="18225"/>
                </a:cubicBezTo>
                <a:cubicBezTo>
                  <a:pt x="21600" y="18039"/>
                  <a:pt x="21545" y="17870"/>
                  <a:pt x="21456" y="17748"/>
                </a:cubicBezTo>
                <a:cubicBezTo>
                  <a:pt x="21456" y="17748"/>
                  <a:pt x="19493" y="15048"/>
                  <a:pt x="19493" y="15048"/>
                </a:cubicBezTo>
                <a:close/>
                <a:moveTo>
                  <a:pt x="491" y="4050"/>
                </a:moveTo>
                <a:lnTo>
                  <a:pt x="6148" y="4050"/>
                </a:lnTo>
                <a:lnTo>
                  <a:pt x="9214" y="9201"/>
                </a:lnTo>
                <a:lnTo>
                  <a:pt x="9849" y="8136"/>
                </a:lnTo>
                <a:lnTo>
                  <a:pt x="6762" y="2948"/>
                </a:lnTo>
                <a:lnTo>
                  <a:pt x="6756" y="2954"/>
                </a:lnTo>
                <a:cubicBezTo>
                  <a:pt x="6667" y="2803"/>
                  <a:pt x="6535" y="2700"/>
                  <a:pt x="6382" y="2700"/>
                </a:cubicBezTo>
                <a:lnTo>
                  <a:pt x="491" y="2700"/>
                </a:lnTo>
                <a:cubicBezTo>
                  <a:pt x="220" y="2700"/>
                  <a:pt x="0" y="3003"/>
                  <a:pt x="0" y="3375"/>
                </a:cubicBezTo>
                <a:cubicBezTo>
                  <a:pt x="0" y="3748"/>
                  <a:pt x="220" y="4050"/>
                  <a:pt x="491" y="405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32" name="Shape 2932"/>
          <p:cNvSpPr/>
          <p:nvPr/>
        </p:nvSpPr>
        <p:spPr>
          <a:xfrm>
            <a:off x="22022464" y="3983508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12000"/>
                </a:moveTo>
                <a:cubicBezTo>
                  <a:pt x="1421" y="12000"/>
                  <a:pt x="982" y="11462"/>
                  <a:pt x="982" y="10800"/>
                </a:cubicBezTo>
                <a:cubicBezTo>
                  <a:pt x="982" y="10138"/>
                  <a:pt x="1421" y="9600"/>
                  <a:pt x="1964" y="9600"/>
                </a:cubicBezTo>
                <a:cubicBezTo>
                  <a:pt x="2505" y="9600"/>
                  <a:pt x="2945" y="10138"/>
                  <a:pt x="2945" y="10800"/>
                </a:cubicBezTo>
                <a:cubicBezTo>
                  <a:pt x="2945" y="11462"/>
                  <a:pt x="2505" y="12000"/>
                  <a:pt x="1964" y="12000"/>
                </a:cubicBezTo>
                <a:moveTo>
                  <a:pt x="21456" y="10376"/>
                </a:moveTo>
                <a:lnTo>
                  <a:pt x="18511" y="6776"/>
                </a:lnTo>
                <a:cubicBezTo>
                  <a:pt x="18422" y="6667"/>
                  <a:pt x="18299" y="6600"/>
                  <a:pt x="18164" y="6600"/>
                </a:cubicBezTo>
                <a:cubicBezTo>
                  <a:pt x="17892" y="6600"/>
                  <a:pt x="17673" y="6869"/>
                  <a:pt x="17673" y="7200"/>
                </a:cubicBezTo>
                <a:cubicBezTo>
                  <a:pt x="17673" y="7366"/>
                  <a:pt x="17728" y="7516"/>
                  <a:pt x="17817" y="7624"/>
                </a:cubicBezTo>
                <a:lnTo>
                  <a:pt x="19924" y="10200"/>
                </a:lnTo>
                <a:lnTo>
                  <a:pt x="8058" y="10200"/>
                </a:lnTo>
                <a:lnTo>
                  <a:pt x="14727" y="2048"/>
                </a:lnTo>
                <a:lnTo>
                  <a:pt x="14727" y="5400"/>
                </a:lnTo>
                <a:cubicBezTo>
                  <a:pt x="14727" y="5732"/>
                  <a:pt x="14947" y="6000"/>
                  <a:pt x="15218" y="6000"/>
                </a:cubicBezTo>
                <a:cubicBezTo>
                  <a:pt x="15489" y="6000"/>
                  <a:pt x="15709" y="5732"/>
                  <a:pt x="15709" y="5400"/>
                </a:cubicBezTo>
                <a:lnTo>
                  <a:pt x="15709" y="600"/>
                </a:lnTo>
                <a:cubicBezTo>
                  <a:pt x="15709" y="269"/>
                  <a:pt x="15489" y="0"/>
                  <a:pt x="15218" y="0"/>
                </a:cubicBezTo>
                <a:lnTo>
                  <a:pt x="11291" y="0"/>
                </a:lnTo>
                <a:cubicBezTo>
                  <a:pt x="11020" y="0"/>
                  <a:pt x="10800" y="269"/>
                  <a:pt x="10800" y="600"/>
                </a:cubicBezTo>
                <a:cubicBezTo>
                  <a:pt x="10800" y="932"/>
                  <a:pt x="11020" y="1200"/>
                  <a:pt x="11291" y="1200"/>
                </a:cubicBezTo>
                <a:lnTo>
                  <a:pt x="14033" y="1200"/>
                </a:lnTo>
                <a:lnTo>
                  <a:pt x="6669" y="10200"/>
                </a:lnTo>
                <a:lnTo>
                  <a:pt x="3858" y="10200"/>
                </a:lnTo>
                <a:cubicBezTo>
                  <a:pt x="3639" y="9167"/>
                  <a:pt x="2877" y="8400"/>
                  <a:pt x="1964" y="8400"/>
                </a:cubicBezTo>
                <a:cubicBezTo>
                  <a:pt x="879" y="8400"/>
                  <a:pt x="0" y="9475"/>
                  <a:pt x="0" y="10800"/>
                </a:cubicBezTo>
                <a:cubicBezTo>
                  <a:pt x="0" y="12125"/>
                  <a:pt x="879" y="13200"/>
                  <a:pt x="1964" y="13200"/>
                </a:cubicBezTo>
                <a:cubicBezTo>
                  <a:pt x="2877" y="13200"/>
                  <a:pt x="3639" y="12434"/>
                  <a:pt x="3858" y="11400"/>
                </a:cubicBezTo>
                <a:lnTo>
                  <a:pt x="6669" y="11400"/>
                </a:lnTo>
                <a:lnTo>
                  <a:pt x="14033" y="20400"/>
                </a:lnTo>
                <a:lnTo>
                  <a:pt x="11291" y="20400"/>
                </a:lnTo>
                <a:cubicBezTo>
                  <a:pt x="11020" y="20400"/>
                  <a:pt x="10800" y="20669"/>
                  <a:pt x="10800" y="21000"/>
                </a:cubicBezTo>
                <a:cubicBezTo>
                  <a:pt x="10800" y="21332"/>
                  <a:pt x="11020" y="21600"/>
                  <a:pt x="11291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6200"/>
                </a:lnTo>
                <a:cubicBezTo>
                  <a:pt x="15709" y="15869"/>
                  <a:pt x="15489" y="15600"/>
                  <a:pt x="15218" y="15600"/>
                </a:cubicBezTo>
                <a:cubicBezTo>
                  <a:pt x="14947" y="15600"/>
                  <a:pt x="14727" y="15869"/>
                  <a:pt x="14727" y="16200"/>
                </a:cubicBezTo>
                <a:lnTo>
                  <a:pt x="14727" y="19552"/>
                </a:lnTo>
                <a:lnTo>
                  <a:pt x="8058" y="11400"/>
                </a:lnTo>
                <a:lnTo>
                  <a:pt x="19924" y="11400"/>
                </a:lnTo>
                <a:lnTo>
                  <a:pt x="17817" y="13976"/>
                </a:lnTo>
                <a:cubicBezTo>
                  <a:pt x="17728" y="14085"/>
                  <a:pt x="17673" y="14235"/>
                  <a:pt x="17673" y="14400"/>
                </a:cubicBezTo>
                <a:cubicBezTo>
                  <a:pt x="17673" y="14732"/>
                  <a:pt x="17892" y="15000"/>
                  <a:pt x="18164" y="15000"/>
                </a:cubicBezTo>
                <a:cubicBezTo>
                  <a:pt x="18299" y="15000"/>
                  <a:pt x="18422" y="14933"/>
                  <a:pt x="18511" y="14824"/>
                </a:cubicBezTo>
                <a:lnTo>
                  <a:pt x="21456" y="11224"/>
                </a:lnTo>
                <a:cubicBezTo>
                  <a:pt x="21545" y="11116"/>
                  <a:pt x="21600" y="10966"/>
                  <a:pt x="21600" y="10800"/>
                </a:cubicBezTo>
                <a:cubicBezTo>
                  <a:pt x="21600" y="10635"/>
                  <a:pt x="21545" y="10485"/>
                  <a:pt x="21456" y="1037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34" name="Shape 2934"/>
          <p:cNvSpPr/>
          <p:nvPr/>
        </p:nvSpPr>
        <p:spPr>
          <a:xfrm>
            <a:off x="1834724" y="6591790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800"/>
                </a:moveTo>
                <a:cubicBezTo>
                  <a:pt x="8563" y="10800"/>
                  <a:pt x="6750" y="9481"/>
                  <a:pt x="6750" y="7855"/>
                </a:cubicBezTo>
                <a:cubicBezTo>
                  <a:pt x="6750" y="6228"/>
                  <a:pt x="8563" y="4909"/>
                  <a:pt x="10800" y="4909"/>
                </a:cubicBezTo>
                <a:cubicBezTo>
                  <a:pt x="13037" y="4909"/>
                  <a:pt x="14850" y="6228"/>
                  <a:pt x="14850" y="7855"/>
                </a:cubicBezTo>
                <a:cubicBezTo>
                  <a:pt x="14850" y="9481"/>
                  <a:pt x="13037" y="10800"/>
                  <a:pt x="10800" y="10800"/>
                </a:cubicBezTo>
                <a:moveTo>
                  <a:pt x="10800" y="3927"/>
                </a:moveTo>
                <a:cubicBezTo>
                  <a:pt x="7817" y="3927"/>
                  <a:pt x="5400" y="5686"/>
                  <a:pt x="5400" y="7855"/>
                </a:cubicBezTo>
                <a:cubicBezTo>
                  <a:pt x="5400" y="10023"/>
                  <a:pt x="7817" y="11782"/>
                  <a:pt x="10800" y="11782"/>
                </a:cubicBezTo>
                <a:cubicBezTo>
                  <a:pt x="13783" y="11782"/>
                  <a:pt x="16200" y="10023"/>
                  <a:pt x="16200" y="7855"/>
                </a:cubicBezTo>
                <a:cubicBezTo>
                  <a:pt x="16200" y="5686"/>
                  <a:pt x="13783" y="3927"/>
                  <a:pt x="10800" y="3927"/>
                </a:cubicBezTo>
                <a:moveTo>
                  <a:pt x="10800" y="20127"/>
                </a:moveTo>
                <a:cubicBezTo>
                  <a:pt x="10800" y="20127"/>
                  <a:pt x="1350" y="13745"/>
                  <a:pt x="1350" y="7855"/>
                </a:cubicBezTo>
                <a:cubicBezTo>
                  <a:pt x="1350" y="4059"/>
                  <a:pt x="5581" y="982"/>
                  <a:pt x="10800" y="982"/>
                </a:cubicBezTo>
                <a:cubicBezTo>
                  <a:pt x="16019" y="982"/>
                  <a:pt x="20250" y="4059"/>
                  <a:pt x="20250" y="7855"/>
                </a:cubicBezTo>
                <a:cubicBezTo>
                  <a:pt x="20250" y="13745"/>
                  <a:pt x="10800" y="20127"/>
                  <a:pt x="10800" y="20127"/>
                </a:cubicBezTo>
                <a:moveTo>
                  <a:pt x="10800" y="0"/>
                </a:moveTo>
                <a:cubicBezTo>
                  <a:pt x="4836" y="0"/>
                  <a:pt x="0" y="3517"/>
                  <a:pt x="0" y="7855"/>
                </a:cubicBezTo>
                <a:cubicBezTo>
                  <a:pt x="0" y="14236"/>
                  <a:pt x="10800" y="21600"/>
                  <a:pt x="10800" y="21600"/>
                </a:cubicBezTo>
                <a:cubicBezTo>
                  <a:pt x="10800" y="21600"/>
                  <a:pt x="21600" y="14236"/>
                  <a:pt x="21600" y="7855"/>
                </a:cubicBezTo>
                <a:cubicBezTo>
                  <a:pt x="21600" y="3517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35" name="Shape 2935"/>
          <p:cNvSpPr/>
          <p:nvPr/>
        </p:nvSpPr>
        <p:spPr>
          <a:xfrm>
            <a:off x="2825063" y="6591790"/>
            <a:ext cx="558252" cy="5583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600" extrusionOk="0">
                <a:moveTo>
                  <a:pt x="6365" y="15409"/>
                </a:moveTo>
                <a:cubicBezTo>
                  <a:pt x="5782" y="14888"/>
                  <a:pt x="4858" y="14006"/>
                  <a:pt x="3935" y="12895"/>
                </a:cubicBezTo>
                <a:cubicBezTo>
                  <a:pt x="2587" y="11273"/>
                  <a:pt x="979" y="8835"/>
                  <a:pt x="979" y="6430"/>
                </a:cubicBezTo>
                <a:cubicBezTo>
                  <a:pt x="979" y="3427"/>
                  <a:pt x="3396" y="982"/>
                  <a:pt x="6366" y="982"/>
                </a:cubicBezTo>
                <a:cubicBezTo>
                  <a:pt x="9336" y="982"/>
                  <a:pt x="11752" y="3427"/>
                  <a:pt x="11752" y="6430"/>
                </a:cubicBezTo>
                <a:cubicBezTo>
                  <a:pt x="11752" y="10208"/>
                  <a:pt x="7888" y="14044"/>
                  <a:pt x="6365" y="15409"/>
                </a:cubicBezTo>
                <a:moveTo>
                  <a:pt x="6366" y="0"/>
                </a:moveTo>
                <a:cubicBezTo>
                  <a:pt x="2850" y="0"/>
                  <a:pt x="0" y="2879"/>
                  <a:pt x="0" y="6430"/>
                </a:cubicBezTo>
                <a:cubicBezTo>
                  <a:pt x="0" y="11655"/>
                  <a:pt x="6366" y="16701"/>
                  <a:pt x="6366" y="16701"/>
                </a:cubicBezTo>
                <a:cubicBezTo>
                  <a:pt x="6366" y="16701"/>
                  <a:pt x="12732" y="11655"/>
                  <a:pt x="12732" y="6430"/>
                </a:cubicBezTo>
                <a:cubicBezTo>
                  <a:pt x="12732" y="2879"/>
                  <a:pt x="9882" y="0"/>
                  <a:pt x="6366" y="0"/>
                </a:cubicBezTo>
                <a:moveTo>
                  <a:pt x="17357" y="19604"/>
                </a:moveTo>
                <a:cubicBezTo>
                  <a:pt x="17127" y="19764"/>
                  <a:pt x="16856" y="19909"/>
                  <a:pt x="16554" y="20033"/>
                </a:cubicBezTo>
                <a:cubicBezTo>
                  <a:pt x="16304" y="20137"/>
                  <a:pt x="16185" y="20424"/>
                  <a:pt x="16288" y="20675"/>
                </a:cubicBezTo>
                <a:cubicBezTo>
                  <a:pt x="16365" y="20865"/>
                  <a:pt x="16548" y="20979"/>
                  <a:pt x="16740" y="20979"/>
                </a:cubicBezTo>
                <a:cubicBezTo>
                  <a:pt x="16802" y="20979"/>
                  <a:pt x="16866" y="20967"/>
                  <a:pt x="16926" y="20942"/>
                </a:cubicBezTo>
                <a:cubicBezTo>
                  <a:pt x="17294" y="20790"/>
                  <a:pt x="17627" y="20611"/>
                  <a:pt x="17915" y="20411"/>
                </a:cubicBezTo>
                <a:cubicBezTo>
                  <a:pt x="18138" y="20256"/>
                  <a:pt x="18193" y="19950"/>
                  <a:pt x="18039" y="19727"/>
                </a:cubicBezTo>
                <a:cubicBezTo>
                  <a:pt x="17885" y="19505"/>
                  <a:pt x="17579" y="19449"/>
                  <a:pt x="17357" y="19604"/>
                </a:cubicBezTo>
                <a:moveTo>
                  <a:pt x="16249" y="13042"/>
                </a:moveTo>
                <a:cubicBezTo>
                  <a:pt x="16109" y="12790"/>
                  <a:pt x="16024" y="12529"/>
                  <a:pt x="15995" y="12265"/>
                </a:cubicBezTo>
                <a:cubicBezTo>
                  <a:pt x="15966" y="11995"/>
                  <a:pt x="15731" y="11801"/>
                  <a:pt x="15456" y="11829"/>
                </a:cubicBezTo>
                <a:cubicBezTo>
                  <a:pt x="15187" y="11859"/>
                  <a:pt x="14992" y="12100"/>
                  <a:pt x="15022" y="12370"/>
                </a:cubicBezTo>
                <a:cubicBezTo>
                  <a:pt x="15064" y="12767"/>
                  <a:pt x="15190" y="13154"/>
                  <a:pt x="15395" y="13522"/>
                </a:cubicBezTo>
                <a:cubicBezTo>
                  <a:pt x="15484" y="13682"/>
                  <a:pt x="15651" y="13773"/>
                  <a:pt x="15822" y="13773"/>
                </a:cubicBezTo>
                <a:cubicBezTo>
                  <a:pt x="15904" y="13773"/>
                  <a:pt x="15985" y="13753"/>
                  <a:pt x="16061" y="13710"/>
                </a:cubicBezTo>
                <a:cubicBezTo>
                  <a:pt x="16297" y="13578"/>
                  <a:pt x="16382" y="13279"/>
                  <a:pt x="16249" y="13042"/>
                </a:cubicBezTo>
                <a:moveTo>
                  <a:pt x="18249" y="15254"/>
                </a:moveTo>
                <a:cubicBezTo>
                  <a:pt x="18041" y="14981"/>
                  <a:pt x="17803" y="14708"/>
                  <a:pt x="17538" y="14439"/>
                </a:cubicBezTo>
                <a:cubicBezTo>
                  <a:pt x="17349" y="14246"/>
                  <a:pt x="17039" y="14244"/>
                  <a:pt x="16845" y="14434"/>
                </a:cubicBezTo>
                <a:cubicBezTo>
                  <a:pt x="16653" y="14624"/>
                  <a:pt x="16651" y="14935"/>
                  <a:pt x="16841" y="15129"/>
                </a:cubicBezTo>
                <a:cubicBezTo>
                  <a:pt x="17076" y="15368"/>
                  <a:pt x="17288" y="15612"/>
                  <a:pt x="17471" y="15851"/>
                </a:cubicBezTo>
                <a:cubicBezTo>
                  <a:pt x="17568" y="15977"/>
                  <a:pt x="17713" y="16043"/>
                  <a:pt x="17860" y="16043"/>
                </a:cubicBezTo>
                <a:cubicBezTo>
                  <a:pt x="17964" y="16043"/>
                  <a:pt x="18068" y="16011"/>
                  <a:pt x="18157" y="15942"/>
                </a:cubicBezTo>
                <a:cubicBezTo>
                  <a:pt x="18373" y="15777"/>
                  <a:pt x="18413" y="15469"/>
                  <a:pt x="18249" y="15254"/>
                </a:cubicBezTo>
                <a:moveTo>
                  <a:pt x="21476" y="5928"/>
                </a:moveTo>
                <a:cubicBezTo>
                  <a:pt x="21352" y="5687"/>
                  <a:pt x="21057" y="5592"/>
                  <a:pt x="20817" y="5717"/>
                </a:cubicBezTo>
                <a:cubicBezTo>
                  <a:pt x="20817" y="5717"/>
                  <a:pt x="20650" y="5803"/>
                  <a:pt x="20371" y="5962"/>
                </a:cubicBezTo>
                <a:cubicBezTo>
                  <a:pt x="20136" y="6096"/>
                  <a:pt x="20054" y="6396"/>
                  <a:pt x="20188" y="6632"/>
                </a:cubicBezTo>
                <a:cubicBezTo>
                  <a:pt x="20278" y="6791"/>
                  <a:pt x="20444" y="6880"/>
                  <a:pt x="20614" y="6880"/>
                </a:cubicBezTo>
                <a:cubicBezTo>
                  <a:pt x="20697" y="6880"/>
                  <a:pt x="20780" y="6859"/>
                  <a:pt x="20856" y="6815"/>
                </a:cubicBezTo>
                <a:cubicBezTo>
                  <a:pt x="21108" y="6672"/>
                  <a:pt x="21261" y="6592"/>
                  <a:pt x="21265" y="6590"/>
                </a:cubicBezTo>
                <a:cubicBezTo>
                  <a:pt x="21506" y="6466"/>
                  <a:pt x="21600" y="6170"/>
                  <a:pt x="21476" y="5928"/>
                </a:cubicBezTo>
                <a:moveTo>
                  <a:pt x="18659" y="16886"/>
                </a:moveTo>
                <a:cubicBezTo>
                  <a:pt x="18395" y="16941"/>
                  <a:pt x="18225" y="17201"/>
                  <a:pt x="18280" y="17467"/>
                </a:cubicBezTo>
                <a:cubicBezTo>
                  <a:pt x="18312" y="17625"/>
                  <a:pt x="18330" y="17781"/>
                  <a:pt x="18330" y="17929"/>
                </a:cubicBezTo>
                <a:cubicBezTo>
                  <a:pt x="18330" y="18050"/>
                  <a:pt x="18318" y="18171"/>
                  <a:pt x="18296" y="18287"/>
                </a:cubicBezTo>
                <a:cubicBezTo>
                  <a:pt x="18244" y="18554"/>
                  <a:pt x="18418" y="18811"/>
                  <a:pt x="18683" y="18862"/>
                </a:cubicBezTo>
                <a:cubicBezTo>
                  <a:pt x="18715" y="18869"/>
                  <a:pt x="18746" y="18871"/>
                  <a:pt x="18777" y="18871"/>
                </a:cubicBezTo>
                <a:cubicBezTo>
                  <a:pt x="19007" y="18871"/>
                  <a:pt x="19212" y="18708"/>
                  <a:pt x="19257" y="18473"/>
                </a:cubicBezTo>
                <a:cubicBezTo>
                  <a:pt x="19292" y="18296"/>
                  <a:pt x="19309" y="18114"/>
                  <a:pt x="19309" y="17929"/>
                </a:cubicBezTo>
                <a:cubicBezTo>
                  <a:pt x="19309" y="17715"/>
                  <a:pt x="19285" y="17492"/>
                  <a:pt x="19239" y="17267"/>
                </a:cubicBezTo>
                <a:cubicBezTo>
                  <a:pt x="19183" y="17001"/>
                  <a:pt x="18923" y="16832"/>
                  <a:pt x="18659" y="16886"/>
                </a:cubicBezTo>
                <a:moveTo>
                  <a:pt x="18590" y="7106"/>
                </a:moveTo>
                <a:cubicBezTo>
                  <a:pt x="18317" y="7303"/>
                  <a:pt x="18035" y="7518"/>
                  <a:pt x="17756" y="7745"/>
                </a:cubicBezTo>
                <a:cubicBezTo>
                  <a:pt x="17546" y="7917"/>
                  <a:pt x="17515" y="8226"/>
                  <a:pt x="17686" y="8436"/>
                </a:cubicBezTo>
                <a:cubicBezTo>
                  <a:pt x="17783" y="8556"/>
                  <a:pt x="17924" y="8617"/>
                  <a:pt x="18066" y="8617"/>
                </a:cubicBezTo>
                <a:cubicBezTo>
                  <a:pt x="18174" y="8617"/>
                  <a:pt x="18284" y="8581"/>
                  <a:pt x="18374" y="8507"/>
                </a:cubicBezTo>
                <a:cubicBezTo>
                  <a:pt x="18637" y="8292"/>
                  <a:pt x="18903" y="8090"/>
                  <a:pt x="19161" y="7905"/>
                </a:cubicBezTo>
                <a:cubicBezTo>
                  <a:pt x="19380" y="7747"/>
                  <a:pt x="19431" y="7440"/>
                  <a:pt x="19273" y="7220"/>
                </a:cubicBezTo>
                <a:cubicBezTo>
                  <a:pt x="19116" y="6999"/>
                  <a:pt x="18810" y="6949"/>
                  <a:pt x="18590" y="7106"/>
                </a:cubicBezTo>
                <a:moveTo>
                  <a:pt x="14704" y="20512"/>
                </a:moveTo>
                <a:cubicBezTo>
                  <a:pt x="14393" y="20556"/>
                  <a:pt x="14065" y="20590"/>
                  <a:pt x="13729" y="20611"/>
                </a:cubicBezTo>
                <a:cubicBezTo>
                  <a:pt x="13459" y="20629"/>
                  <a:pt x="13254" y="20863"/>
                  <a:pt x="13272" y="21134"/>
                </a:cubicBezTo>
                <a:cubicBezTo>
                  <a:pt x="13289" y="21394"/>
                  <a:pt x="13504" y="21593"/>
                  <a:pt x="13760" y="21593"/>
                </a:cubicBezTo>
                <a:cubicBezTo>
                  <a:pt x="13771" y="21593"/>
                  <a:pt x="13781" y="21592"/>
                  <a:pt x="13792" y="21592"/>
                </a:cubicBezTo>
                <a:cubicBezTo>
                  <a:pt x="14152" y="21568"/>
                  <a:pt x="14506" y="21533"/>
                  <a:pt x="14842" y="21485"/>
                </a:cubicBezTo>
                <a:cubicBezTo>
                  <a:pt x="15110" y="21447"/>
                  <a:pt x="15296" y="21198"/>
                  <a:pt x="15258" y="20929"/>
                </a:cubicBezTo>
                <a:cubicBezTo>
                  <a:pt x="15220" y="20661"/>
                  <a:pt x="14973" y="20472"/>
                  <a:pt x="14704" y="20512"/>
                </a:cubicBezTo>
                <a:moveTo>
                  <a:pt x="8893" y="20109"/>
                </a:moveTo>
                <a:cubicBezTo>
                  <a:pt x="8582" y="19997"/>
                  <a:pt x="8299" y="19866"/>
                  <a:pt x="8052" y="19721"/>
                </a:cubicBezTo>
                <a:cubicBezTo>
                  <a:pt x="7818" y="19582"/>
                  <a:pt x="7519" y="19663"/>
                  <a:pt x="7382" y="19896"/>
                </a:cubicBezTo>
                <a:cubicBezTo>
                  <a:pt x="7244" y="20130"/>
                  <a:pt x="7323" y="20432"/>
                  <a:pt x="7556" y="20568"/>
                </a:cubicBezTo>
                <a:cubicBezTo>
                  <a:pt x="7856" y="20744"/>
                  <a:pt x="8194" y="20901"/>
                  <a:pt x="8562" y="21034"/>
                </a:cubicBezTo>
                <a:cubicBezTo>
                  <a:pt x="8617" y="21053"/>
                  <a:pt x="8672" y="21062"/>
                  <a:pt x="8728" y="21062"/>
                </a:cubicBezTo>
                <a:cubicBezTo>
                  <a:pt x="8928" y="21062"/>
                  <a:pt x="9117" y="20938"/>
                  <a:pt x="9189" y="20737"/>
                </a:cubicBezTo>
                <a:cubicBezTo>
                  <a:pt x="9280" y="20482"/>
                  <a:pt x="9148" y="20200"/>
                  <a:pt x="8893" y="20109"/>
                </a:cubicBezTo>
                <a:moveTo>
                  <a:pt x="11751" y="20618"/>
                </a:moveTo>
                <a:cubicBezTo>
                  <a:pt x="11412" y="20600"/>
                  <a:pt x="11082" y="20572"/>
                  <a:pt x="10771" y="20533"/>
                </a:cubicBezTo>
                <a:cubicBezTo>
                  <a:pt x="10502" y="20493"/>
                  <a:pt x="10258" y="20690"/>
                  <a:pt x="10225" y="20959"/>
                </a:cubicBezTo>
                <a:cubicBezTo>
                  <a:pt x="10191" y="21229"/>
                  <a:pt x="10382" y="21474"/>
                  <a:pt x="10650" y="21507"/>
                </a:cubicBezTo>
                <a:cubicBezTo>
                  <a:pt x="10984" y="21549"/>
                  <a:pt x="11337" y="21580"/>
                  <a:pt x="11699" y="21600"/>
                </a:cubicBezTo>
                <a:cubicBezTo>
                  <a:pt x="11708" y="21600"/>
                  <a:pt x="11716" y="21600"/>
                  <a:pt x="11725" y="21600"/>
                </a:cubicBezTo>
                <a:cubicBezTo>
                  <a:pt x="11984" y="21600"/>
                  <a:pt x="12200" y="21397"/>
                  <a:pt x="12214" y="21135"/>
                </a:cubicBezTo>
                <a:cubicBezTo>
                  <a:pt x="12228" y="20863"/>
                  <a:pt x="12021" y="20632"/>
                  <a:pt x="11751" y="20618"/>
                </a:cubicBezTo>
                <a:moveTo>
                  <a:pt x="6840" y="18180"/>
                </a:moveTo>
                <a:cubicBezTo>
                  <a:pt x="6836" y="17912"/>
                  <a:pt x="6619" y="17696"/>
                  <a:pt x="6351" y="17696"/>
                </a:cubicBezTo>
                <a:cubicBezTo>
                  <a:pt x="6080" y="17696"/>
                  <a:pt x="5861" y="17916"/>
                  <a:pt x="5861" y="18188"/>
                </a:cubicBezTo>
                <a:cubicBezTo>
                  <a:pt x="5861" y="18234"/>
                  <a:pt x="5867" y="18484"/>
                  <a:pt x="5997" y="18834"/>
                </a:cubicBezTo>
                <a:cubicBezTo>
                  <a:pt x="6070" y="19033"/>
                  <a:pt x="6257" y="19155"/>
                  <a:pt x="6456" y="19155"/>
                </a:cubicBezTo>
                <a:cubicBezTo>
                  <a:pt x="6512" y="19155"/>
                  <a:pt x="6570" y="19145"/>
                  <a:pt x="6626" y="19124"/>
                </a:cubicBezTo>
                <a:cubicBezTo>
                  <a:pt x="6880" y="19030"/>
                  <a:pt x="7009" y="18748"/>
                  <a:pt x="6915" y="18493"/>
                </a:cubicBezTo>
                <a:cubicBezTo>
                  <a:pt x="6849" y="18314"/>
                  <a:pt x="6841" y="18191"/>
                  <a:pt x="6840" y="18180"/>
                </a:cubicBezTo>
                <a:moveTo>
                  <a:pt x="15760" y="10798"/>
                </a:moveTo>
                <a:cubicBezTo>
                  <a:pt x="15838" y="10844"/>
                  <a:pt x="15924" y="10866"/>
                  <a:pt x="16008" y="10866"/>
                </a:cubicBezTo>
                <a:cubicBezTo>
                  <a:pt x="16176" y="10866"/>
                  <a:pt x="16339" y="10780"/>
                  <a:pt x="16431" y="10625"/>
                </a:cubicBezTo>
                <a:cubicBezTo>
                  <a:pt x="16577" y="10376"/>
                  <a:pt x="16761" y="10120"/>
                  <a:pt x="16977" y="9861"/>
                </a:cubicBezTo>
                <a:cubicBezTo>
                  <a:pt x="17151" y="9653"/>
                  <a:pt x="17124" y="9343"/>
                  <a:pt x="16917" y="9169"/>
                </a:cubicBezTo>
                <a:cubicBezTo>
                  <a:pt x="16709" y="8994"/>
                  <a:pt x="16400" y="9022"/>
                  <a:pt x="16227" y="9230"/>
                </a:cubicBezTo>
                <a:cubicBezTo>
                  <a:pt x="15976" y="9529"/>
                  <a:pt x="15761" y="9832"/>
                  <a:pt x="15587" y="10125"/>
                </a:cubicBezTo>
                <a:cubicBezTo>
                  <a:pt x="15450" y="10359"/>
                  <a:pt x="15527" y="10659"/>
                  <a:pt x="15760" y="10798"/>
                </a:cubicBezTo>
                <a:moveTo>
                  <a:pt x="6366" y="8841"/>
                </a:moveTo>
                <a:cubicBezTo>
                  <a:pt x="5014" y="8841"/>
                  <a:pt x="3917" y="7741"/>
                  <a:pt x="3917" y="6384"/>
                </a:cubicBezTo>
                <a:cubicBezTo>
                  <a:pt x="3917" y="5027"/>
                  <a:pt x="5014" y="3927"/>
                  <a:pt x="6366" y="3927"/>
                </a:cubicBezTo>
                <a:cubicBezTo>
                  <a:pt x="7719" y="3927"/>
                  <a:pt x="8814" y="5027"/>
                  <a:pt x="8814" y="6384"/>
                </a:cubicBezTo>
                <a:cubicBezTo>
                  <a:pt x="8814" y="7741"/>
                  <a:pt x="7719" y="8841"/>
                  <a:pt x="6366" y="8841"/>
                </a:cubicBezTo>
                <a:moveTo>
                  <a:pt x="6366" y="2955"/>
                </a:moveTo>
                <a:cubicBezTo>
                  <a:pt x="4473" y="2955"/>
                  <a:pt x="2938" y="4494"/>
                  <a:pt x="2938" y="6392"/>
                </a:cubicBezTo>
                <a:cubicBezTo>
                  <a:pt x="2938" y="8291"/>
                  <a:pt x="4473" y="9831"/>
                  <a:pt x="6366" y="9831"/>
                </a:cubicBezTo>
                <a:cubicBezTo>
                  <a:pt x="8259" y="9831"/>
                  <a:pt x="9794" y="8291"/>
                  <a:pt x="9794" y="6392"/>
                </a:cubicBezTo>
                <a:cubicBezTo>
                  <a:pt x="9794" y="4494"/>
                  <a:pt x="8259" y="2955"/>
                  <a:pt x="6366" y="29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36" name="Shape 2936"/>
          <p:cNvSpPr/>
          <p:nvPr/>
        </p:nvSpPr>
        <p:spPr>
          <a:xfrm>
            <a:off x="4043949" y="6591790"/>
            <a:ext cx="25393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964"/>
                </a:moveTo>
                <a:cubicBezTo>
                  <a:pt x="10800" y="1964"/>
                  <a:pt x="4320" y="1964"/>
                  <a:pt x="4320" y="4909"/>
                </a:cubicBezTo>
                <a:cubicBezTo>
                  <a:pt x="4320" y="5180"/>
                  <a:pt x="4804" y="5400"/>
                  <a:pt x="5400" y="5400"/>
                </a:cubicBezTo>
                <a:cubicBezTo>
                  <a:pt x="5996" y="5400"/>
                  <a:pt x="6480" y="5180"/>
                  <a:pt x="6480" y="4909"/>
                </a:cubicBezTo>
                <a:cubicBezTo>
                  <a:pt x="6480" y="2945"/>
                  <a:pt x="10800" y="2945"/>
                  <a:pt x="10800" y="2945"/>
                </a:cubicBezTo>
                <a:cubicBezTo>
                  <a:pt x="11396" y="2945"/>
                  <a:pt x="11880" y="2726"/>
                  <a:pt x="11880" y="2455"/>
                </a:cubicBezTo>
                <a:cubicBezTo>
                  <a:pt x="11880" y="2183"/>
                  <a:pt x="11396" y="1964"/>
                  <a:pt x="10800" y="1964"/>
                </a:cubicBezTo>
                <a:moveTo>
                  <a:pt x="10800" y="8836"/>
                </a:moveTo>
                <a:cubicBezTo>
                  <a:pt x="6029" y="8836"/>
                  <a:pt x="2160" y="7078"/>
                  <a:pt x="2160" y="4909"/>
                </a:cubicBezTo>
                <a:cubicBezTo>
                  <a:pt x="2160" y="2740"/>
                  <a:pt x="6029" y="982"/>
                  <a:pt x="10800" y="982"/>
                </a:cubicBezTo>
                <a:cubicBezTo>
                  <a:pt x="15571" y="982"/>
                  <a:pt x="19440" y="2740"/>
                  <a:pt x="19440" y="4909"/>
                </a:cubicBezTo>
                <a:cubicBezTo>
                  <a:pt x="19440" y="7078"/>
                  <a:pt x="15571" y="8836"/>
                  <a:pt x="10800" y="8836"/>
                </a:cubicBezTo>
                <a:moveTo>
                  <a:pt x="10800" y="17182"/>
                </a:moveTo>
                <a:lnTo>
                  <a:pt x="8154" y="9664"/>
                </a:lnTo>
                <a:cubicBezTo>
                  <a:pt x="9002" y="9761"/>
                  <a:pt x="9885" y="9818"/>
                  <a:pt x="10800" y="9818"/>
                </a:cubicBezTo>
                <a:cubicBezTo>
                  <a:pt x="11715" y="9818"/>
                  <a:pt x="12598" y="9761"/>
                  <a:pt x="13446" y="9664"/>
                </a:cubicBezTo>
                <a:cubicBezTo>
                  <a:pt x="13446" y="9664"/>
                  <a:pt x="10800" y="17182"/>
                  <a:pt x="10800" y="17182"/>
                </a:cubicBezTo>
                <a:close/>
                <a:moveTo>
                  <a:pt x="10800" y="0"/>
                </a:moveTo>
                <a:cubicBezTo>
                  <a:pt x="4835" y="0"/>
                  <a:pt x="0" y="2199"/>
                  <a:pt x="0" y="4909"/>
                </a:cubicBezTo>
                <a:cubicBezTo>
                  <a:pt x="0" y="6830"/>
                  <a:pt x="2431" y="8487"/>
                  <a:pt x="5966" y="9295"/>
                </a:cubicBezTo>
                <a:lnTo>
                  <a:pt x="10800" y="21600"/>
                </a:lnTo>
                <a:lnTo>
                  <a:pt x="15635" y="9295"/>
                </a:lnTo>
                <a:cubicBezTo>
                  <a:pt x="19169" y="8487"/>
                  <a:pt x="21600" y="6830"/>
                  <a:pt x="21600" y="4909"/>
                </a:cubicBezTo>
                <a:cubicBezTo>
                  <a:pt x="21600" y="2199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37" name="Shape 2937"/>
          <p:cNvSpPr/>
          <p:nvPr/>
        </p:nvSpPr>
        <p:spPr>
          <a:xfrm>
            <a:off x="4958109" y="659179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20593"/>
                </a:moveTo>
                <a:lnTo>
                  <a:pt x="11291" y="19145"/>
                </a:lnTo>
                <a:cubicBezTo>
                  <a:pt x="11291" y="18875"/>
                  <a:pt x="11071" y="18655"/>
                  <a:pt x="10800" y="18655"/>
                </a:cubicBezTo>
                <a:cubicBezTo>
                  <a:pt x="10529" y="18655"/>
                  <a:pt x="10309" y="18875"/>
                  <a:pt x="10309" y="19145"/>
                </a:cubicBezTo>
                <a:lnTo>
                  <a:pt x="10309" y="20593"/>
                </a:lnTo>
                <a:cubicBezTo>
                  <a:pt x="5280" y="20344"/>
                  <a:pt x="1255" y="16319"/>
                  <a:pt x="1006" y="11291"/>
                </a:cubicBezTo>
                <a:lnTo>
                  <a:pt x="2455" y="11291"/>
                </a:lnTo>
                <a:cubicBezTo>
                  <a:pt x="2725" y="11291"/>
                  <a:pt x="2945" y="11071"/>
                  <a:pt x="2945" y="10800"/>
                </a:cubicBezTo>
                <a:cubicBezTo>
                  <a:pt x="2945" y="10529"/>
                  <a:pt x="2725" y="10309"/>
                  <a:pt x="2455" y="10309"/>
                </a:cubicBezTo>
                <a:lnTo>
                  <a:pt x="1006" y="10309"/>
                </a:lnTo>
                <a:cubicBezTo>
                  <a:pt x="1255" y="5281"/>
                  <a:pt x="5280" y="1256"/>
                  <a:pt x="10309" y="1007"/>
                </a:cubicBezTo>
                <a:lnTo>
                  <a:pt x="10309" y="2455"/>
                </a:lnTo>
                <a:cubicBezTo>
                  <a:pt x="10309" y="2726"/>
                  <a:pt x="10529" y="2945"/>
                  <a:pt x="10800" y="2945"/>
                </a:cubicBezTo>
                <a:cubicBezTo>
                  <a:pt x="11071" y="2945"/>
                  <a:pt x="11291" y="2726"/>
                  <a:pt x="11291" y="2455"/>
                </a:cubicBezTo>
                <a:lnTo>
                  <a:pt x="11291" y="1007"/>
                </a:lnTo>
                <a:cubicBezTo>
                  <a:pt x="16320" y="1256"/>
                  <a:pt x="20345" y="5281"/>
                  <a:pt x="20594" y="10309"/>
                </a:cubicBezTo>
                <a:lnTo>
                  <a:pt x="19145" y="10309"/>
                </a:lnTo>
                <a:cubicBezTo>
                  <a:pt x="18875" y="10309"/>
                  <a:pt x="18655" y="10529"/>
                  <a:pt x="18655" y="10800"/>
                </a:cubicBezTo>
                <a:cubicBezTo>
                  <a:pt x="18655" y="11071"/>
                  <a:pt x="18875" y="11291"/>
                  <a:pt x="19145" y="11291"/>
                </a:cubicBezTo>
                <a:lnTo>
                  <a:pt x="20594" y="11291"/>
                </a:lnTo>
                <a:cubicBezTo>
                  <a:pt x="20345" y="16319"/>
                  <a:pt x="16320" y="20344"/>
                  <a:pt x="11291" y="20593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965" y="6634"/>
                </a:moveTo>
                <a:lnTo>
                  <a:pt x="12189" y="12188"/>
                </a:lnTo>
                <a:lnTo>
                  <a:pt x="6635" y="14966"/>
                </a:lnTo>
                <a:lnTo>
                  <a:pt x="9411" y="9412"/>
                </a:lnTo>
                <a:cubicBezTo>
                  <a:pt x="9411" y="9412"/>
                  <a:pt x="14965" y="6634"/>
                  <a:pt x="14965" y="6634"/>
                </a:cubicBezTo>
                <a:close/>
                <a:moveTo>
                  <a:pt x="4552" y="17048"/>
                </a:moveTo>
                <a:lnTo>
                  <a:pt x="12883" y="12883"/>
                </a:lnTo>
                <a:lnTo>
                  <a:pt x="17048" y="4551"/>
                </a:lnTo>
                <a:lnTo>
                  <a:pt x="8717" y="8717"/>
                </a:lnTo>
                <a:cubicBezTo>
                  <a:pt x="8717" y="8717"/>
                  <a:pt x="4552" y="17048"/>
                  <a:pt x="4552" y="17048"/>
                </a:cubicBezTo>
                <a:close/>
                <a:moveTo>
                  <a:pt x="11494" y="11494"/>
                </a:moveTo>
                <a:cubicBezTo>
                  <a:pt x="11877" y="11111"/>
                  <a:pt x="11877" y="10489"/>
                  <a:pt x="11494" y="10106"/>
                </a:cubicBezTo>
                <a:cubicBezTo>
                  <a:pt x="11111" y="9722"/>
                  <a:pt x="10489" y="9722"/>
                  <a:pt x="10106" y="10106"/>
                </a:cubicBezTo>
                <a:cubicBezTo>
                  <a:pt x="9723" y="10489"/>
                  <a:pt x="9723" y="11111"/>
                  <a:pt x="10106" y="11494"/>
                </a:cubicBezTo>
                <a:cubicBezTo>
                  <a:pt x="10489" y="11878"/>
                  <a:pt x="11111" y="11878"/>
                  <a:pt x="11494" y="1149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38" name="Shape 2938"/>
          <p:cNvSpPr/>
          <p:nvPr/>
        </p:nvSpPr>
        <p:spPr>
          <a:xfrm>
            <a:off x="6024631" y="659179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58"/>
                </a:moveTo>
                <a:lnTo>
                  <a:pt x="14727" y="18775"/>
                </a:lnTo>
                <a:lnTo>
                  <a:pt x="14727" y="1142"/>
                </a:lnTo>
                <a:lnTo>
                  <a:pt x="20618" y="2825"/>
                </a:lnTo>
                <a:cubicBezTo>
                  <a:pt x="20618" y="2825"/>
                  <a:pt x="20618" y="20458"/>
                  <a:pt x="20618" y="20458"/>
                </a:cubicBezTo>
                <a:close/>
                <a:moveTo>
                  <a:pt x="13745" y="18775"/>
                </a:moveTo>
                <a:lnTo>
                  <a:pt x="7855" y="20458"/>
                </a:lnTo>
                <a:lnTo>
                  <a:pt x="7855" y="2825"/>
                </a:lnTo>
                <a:lnTo>
                  <a:pt x="13745" y="1142"/>
                </a:lnTo>
                <a:cubicBezTo>
                  <a:pt x="13745" y="1142"/>
                  <a:pt x="13745" y="18775"/>
                  <a:pt x="13745" y="18775"/>
                </a:cubicBezTo>
                <a:close/>
                <a:moveTo>
                  <a:pt x="6873" y="20458"/>
                </a:moveTo>
                <a:lnTo>
                  <a:pt x="982" y="18775"/>
                </a:lnTo>
                <a:lnTo>
                  <a:pt x="982" y="1142"/>
                </a:lnTo>
                <a:lnTo>
                  <a:pt x="6873" y="2825"/>
                </a:lnTo>
                <a:cubicBezTo>
                  <a:pt x="6873" y="2825"/>
                  <a:pt x="6873" y="20458"/>
                  <a:pt x="6873" y="20458"/>
                </a:cubicBezTo>
                <a:close/>
                <a:moveTo>
                  <a:pt x="21242" y="1990"/>
                </a:moveTo>
                <a:lnTo>
                  <a:pt x="21244" y="1983"/>
                </a:lnTo>
                <a:lnTo>
                  <a:pt x="14371" y="19"/>
                </a:lnTo>
                <a:lnTo>
                  <a:pt x="14369" y="27"/>
                </a:lnTo>
                <a:cubicBezTo>
                  <a:pt x="14326" y="14"/>
                  <a:pt x="14284" y="0"/>
                  <a:pt x="14236" y="0"/>
                </a:cubicBezTo>
                <a:cubicBezTo>
                  <a:pt x="14189" y="0"/>
                  <a:pt x="14147" y="14"/>
                  <a:pt x="14104" y="27"/>
                </a:cubicBezTo>
                <a:lnTo>
                  <a:pt x="14102" y="19"/>
                </a:lnTo>
                <a:lnTo>
                  <a:pt x="7364" y="1944"/>
                </a:lnTo>
                <a:lnTo>
                  <a:pt x="626" y="19"/>
                </a:lnTo>
                <a:lnTo>
                  <a:pt x="623" y="27"/>
                </a:lnTo>
                <a:cubicBezTo>
                  <a:pt x="581" y="14"/>
                  <a:pt x="538" y="0"/>
                  <a:pt x="491" y="0"/>
                </a:cubicBezTo>
                <a:cubicBezTo>
                  <a:pt x="220" y="0"/>
                  <a:pt x="0" y="220"/>
                  <a:pt x="0" y="491"/>
                </a:cubicBezTo>
                <a:lnTo>
                  <a:pt x="0" y="19145"/>
                </a:lnTo>
                <a:cubicBezTo>
                  <a:pt x="0" y="19370"/>
                  <a:pt x="153" y="19551"/>
                  <a:pt x="358" y="19610"/>
                </a:cubicBezTo>
                <a:lnTo>
                  <a:pt x="356" y="19618"/>
                </a:lnTo>
                <a:lnTo>
                  <a:pt x="7229" y="21581"/>
                </a:lnTo>
                <a:lnTo>
                  <a:pt x="7231" y="21573"/>
                </a:lnTo>
                <a:cubicBezTo>
                  <a:pt x="7274" y="21586"/>
                  <a:pt x="7316" y="21600"/>
                  <a:pt x="7364" y="21600"/>
                </a:cubicBezTo>
                <a:cubicBezTo>
                  <a:pt x="7411" y="21600"/>
                  <a:pt x="7454" y="21586"/>
                  <a:pt x="7496" y="21573"/>
                </a:cubicBezTo>
                <a:lnTo>
                  <a:pt x="7499" y="21581"/>
                </a:lnTo>
                <a:lnTo>
                  <a:pt x="14236" y="19656"/>
                </a:lnTo>
                <a:lnTo>
                  <a:pt x="20975" y="21581"/>
                </a:lnTo>
                <a:lnTo>
                  <a:pt x="20977" y="21573"/>
                </a:lnTo>
                <a:cubicBezTo>
                  <a:pt x="21020" y="21586"/>
                  <a:pt x="21062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lnTo>
                  <a:pt x="21600" y="2455"/>
                </a:lnTo>
                <a:cubicBezTo>
                  <a:pt x="21600" y="2231"/>
                  <a:pt x="21447" y="2049"/>
                  <a:pt x="21242" y="199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39" name="Shape 2939"/>
          <p:cNvSpPr/>
          <p:nvPr/>
        </p:nvSpPr>
        <p:spPr>
          <a:xfrm>
            <a:off x="7091154" y="659179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47" y="12509"/>
                </a:moveTo>
                <a:lnTo>
                  <a:pt x="18520" y="12645"/>
                </a:lnTo>
                <a:cubicBezTo>
                  <a:pt x="18572" y="12276"/>
                  <a:pt x="18589" y="11922"/>
                  <a:pt x="18572" y="11593"/>
                </a:cubicBezTo>
                <a:lnTo>
                  <a:pt x="17592" y="11644"/>
                </a:lnTo>
                <a:cubicBezTo>
                  <a:pt x="17606" y="11910"/>
                  <a:pt x="17591" y="12201"/>
                  <a:pt x="17547" y="12509"/>
                </a:cubicBezTo>
                <a:moveTo>
                  <a:pt x="17444" y="10833"/>
                </a:moveTo>
                <a:lnTo>
                  <a:pt x="18374" y="10520"/>
                </a:lnTo>
                <a:cubicBezTo>
                  <a:pt x="18262" y="10187"/>
                  <a:pt x="18104" y="9869"/>
                  <a:pt x="17890" y="9546"/>
                </a:cubicBezTo>
                <a:lnTo>
                  <a:pt x="17072" y="10089"/>
                </a:lnTo>
                <a:cubicBezTo>
                  <a:pt x="17237" y="10339"/>
                  <a:pt x="17359" y="10582"/>
                  <a:pt x="17444" y="10833"/>
                </a:cubicBezTo>
                <a:moveTo>
                  <a:pt x="17529" y="13890"/>
                </a:moveTo>
                <a:cubicBezTo>
                  <a:pt x="17440" y="13801"/>
                  <a:pt x="17317" y="13745"/>
                  <a:pt x="17182" y="13745"/>
                </a:cubicBezTo>
                <a:cubicBezTo>
                  <a:pt x="16910" y="13745"/>
                  <a:pt x="16691" y="13965"/>
                  <a:pt x="16691" y="14236"/>
                </a:cubicBezTo>
                <a:cubicBezTo>
                  <a:pt x="16691" y="14372"/>
                  <a:pt x="16746" y="14495"/>
                  <a:pt x="16835" y="14583"/>
                </a:cubicBezTo>
                <a:lnTo>
                  <a:pt x="17469" y="15218"/>
                </a:lnTo>
                <a:lnTo>
                  <a:pt x="16835" y="15853"/>
                </a:lnTo>
                <a:cubicBezTo>
                  <a:pt x="16746" y="15942"/>
                  <a:pt x="16691" y="16064"/>
                  <a:pt x="16691" y="16200"/>
                </a:cubicBezTo>
                <a:cubicBezTo>
                  <a:pt x="16691" y="16471"/>
                  <a:pt x="16910" y="16691"/>
                  <a:pt x="17182" y="16691"/>
                </a:cubicBezTo>
                <a:cubicBezTo>
                  <a:pt x="17317" y="16691"/>
                  <a:pt x="17440" y="16636"/>
                  <a:pt x="17529" y="16547"/>
                </a:cubicBezTo>
                <a:lnTo>
                  <a:pt x="18164" y="15912"/>
                </a:lnTo>
                <a:lnTo>
                  <a:pt x="18798" y="16547"/>
                </a:lnTo>
                <a:cubicBezTo>
                  <a:pt x="18887" y="16636"/>
                  <a:pt x="19010" y="16691"/>
                  <a:pt x="19145" y="16691"/>
                </a:cubicBezTo>
                <a:cubicBezTo>
                  <a:pt x="19417" y="16691"/>
                  <a:pt x="19636" y="16471"/>
                  <a:pt x="19636" y="16200"/>
                </a:cubicBezTo>
                <a:cubicBezTo>
                  <a:pt x="19636" y="16064"/>
                  <a:pt x="19582" y="15942"/>
                  <a:pt x="19493" y="15853"/>
                </a:cubicBezTo>
                <a:lnTo>
                  <a:pt x="18858" y="15218"/>
                </a:lnTo>
                <a:lnTo>
                  <a:pt x="19493" y="14583"/>
                </a:lnTo>
                <a:cubicBezTo>
                  <a:pt x="19582" y="14495"/>
                  <a:pt x="19636" y="14372"/>
                  <a:pt x="19636" y="14236"/>
                </a:cubicBezTo>
                <a:cubicBezTo>
                  <a:pt x="19636" y="13965"/>
                  <a:pt x="19417" y="13745"/>
                  <a:pt x="19145" y="13745"/>
                </a:cubicBezTo>
                <a:cubicBezTo>
                  <a:pt x="19009" y="13745"/>
                  <a:pt x="18887" y="13801"/>
                  <a:pt x="18798" y="13890"/>
                </a:cubicBezTo>
                <a:lnTo>
                  <a:pt x="18164" y="14524"/>
                </a:lnTo>
                <a:cubicBezTo>
                  <a:pt x="18164" y="14524"/>
                  <a:pt x="17529" y="13890"/>
                  <a:pt x="17529" y="13890"/>
                </a:cubicBezTo>
                <a:close/>
                <a:moveTo>
                  <a:pt x="20618" y="20458"/>
                </a:moveTo>
                <a:lnTo>
                  <a:pt x="14727" y="18775"/>
                </a:lnTo>
                <a:lnTo>
                  <a:pt x="14727" y="7698"/>
                </a:lnTo>
                <a:cubicBezTo>
                  <a:pt x="14950" y="7802"/>
                  <a:pt x="15155" y="7914"/>
                  <a:pt x="15324" y="8034"/>
                </a:cubicBezTo>
                <a:lnTo>
                  <a:pt x="15893" y="7234"/>
                </a:lnTo>
                <a:cubicBezTo>
                  <a:pt x="15627" y="7044"/>
                  <a:pt x="15313" y="6872"/>
                  <a:pt x="14959" y="6721"/>
                </a:cubicBezTo>
                <a:lnTo>
                  <a:pt x="14727" y="7263"/>
                </a:lnTo>
                <a:lnTo>
                  <a:pt x="14727" y="1142"/>
                </a:lnTo>
                <a:lnTo>
                  <a:pt x="20618" y="2825"/>
                </a:lnTo>
                <a:cubicBezTo>
                  <a:pt x="20618" y="2825"/>
                  <a:pt x="20618" y="20458"/>
                  <a:pt x="20618" y="20458"/>
                </a:cubicBezTo>
                <a:close/>
                <a:moveTo>
                  <a:pt x="13745" y="18775"/>
                </a:moveTo>
                <a:lnTo>
                  <a:pt x="7855" y="20458"/>
                </a:lnTo>
                <a:lnTo>
                  <a:pt x="7855" y="9347"/>
                </a:lnTo>
                <a:lnTo>
                  <a:pt x="8249" y="10199"/>
                </a:lnTo>
                <a:cubicBezTo>
                  <a:pt x="8580" y="10045"/>
                  <a:pt x="8881" y="9843"/>
                  <a:pt x="9168" y="9581"/>
                </a:cubicBezTo>
                <a:lnTo>
                  <a:pt x="8505" y="8857"/>
                </a:lnTo>
                <a:cubicBezTo>
                  <a:pt x="8297" y="9048"/>
                  <a:pt x="8088" y="9187"/>
                  <a:pt x="7855" y="9299"/>
                </a:cubicBezTo>
                <a:lnTo>
                  <a:pt x="7855" y="2825"/>
                </a:lnTo>
                <a:lnTo>
                  <a:pt x="13745" y="1142"/>
                </a:lnTo>
                <a:cubicBezTo>
                  <a:pt x="13745" y="1142"/>
                  <a:pt x="13745" y="18775"/>
                  <a:pt x="13745" y="18775"/>
                </a:cubicBezTo>
                <a:close/>
                <a:moveTo>
                  <a:pt x="6873" y="20458"/>
                </a:moveTo>
                <a:lnTo>
                  <a:pt x="982" y="18775"/>
                </a:lnTo>
                <a:lnTo>
                  <a:pt x="982" y="1142"/>
                </a:lnTo>
                <a:lnTo>
                  <a:pt x="6873" y="2825"/>
                </a:lnTo>
                <a:cubicBezTo>
                  <a:pt x="6873" y="2825"/>
                  <a:pt x="6873" y="20458"/>
                  <a:pt x="6873" y="20458"/>
                </a:cubicBezTo>
                <a:close/>
                <a:moveTo>
                  <a:pt x="21241" y="1990"/>
                </a:moveTo>
                <a:lnTo>
                  <a:pt x="21244" y="1983"/>
                </a:lnTo>
                <a:lnTo>
                  <a:pt x="14372" y="19"/>
                </a:lnTo>
                <a:lnTo>
                  <a:pt x="14369" y="27"/>
                </a:lnTo>
                <a:cubicBezTo>
                  <a:pt x="14326" y="14"/>
                  <a:pt x="14283" y="0"/>
                  <a:pt x="14236" y="0"/>
                </a:cubicBezTo>
                <a:cubicBezTo>
                  <a:pt x="14189" y="0"/>
                  <a:pt x="14147" y="14"/>
                  <a:pt x="14104" y="27"/>
                </a:cubicBezTo>
                <a:lnTo>
                  <a:pt x="14102" y="19"/>
                </a:lnTo>
                <a:lnTo>
                  <a:pt x="7364" y="1944"/>
                </a:lnTo>
                <a:lnTo>
                  <a:pt x="626" y="19"/>
                </a:lnTo>
                <a:lnTo>
                  <a:pt x="623" y="27"/>
                </a:lnTo>
                <a:cubicBezTo>
                  <a:pt x="580" y="14"/>
                  <a:pt x="538" y="0"/>
                  <a:pt x="491" y="0"/>
                </a:cubicBezTo>
                <a:cubicBezTo>
                  <a:pt x="220" y="0"/>
                  <a:pt x="0" y="220"/>
                  <a:pt x="0" y="491"/>
                </a:cubicBezTo>
                <a:lnTo>
                  <a:pt x="0" y="19145"/>
                </a:lnTo>
                <a:cubicBezTo>
                  <a:pt x="0" y="19370"/>
                  <a:pt x="153" y="19551"/>
                  <a:pt x="359" y="19610"/>
                </a:cubicBezTo>
                <a:lnTo>
                  <a:pt x="356" y="19618"/>
                </a:lnTo>
                <a:lnTo>
                  <a:pt x="7228" y="21581"/>
                </a:lnTo>
                <a:lnTo>
                  <a:pt x="7231" y="21573"/>
                </a:lnTo>
                <a:cubicBezTo>
                  <a:pt x="7274" y="21586"/>
                  <a:pt x="7317" y="21600"/>
                  <a:pt x="7364" y="21600"/>
                </a:cubicBezTo>
                <a:cubicBezTo>
                  <a:pt x="7411" y="21600"/>
                  <a:pt x="7453" y="21586"/>
                  <a:pt x="7496" y="21573"/>
                </a:cubicBezTo>
                <a:lnTo>
                  <a:pt x="7499" y="21581"/>
                </a:lnTo>
                <a:lnTo>
                  <a:pt x="14236" y="19656"/>
                </a:lnTo>
                <a:lnTo>
                  <a:pt x="20975" y="21581"/>
                </a:lnTo>
                <a:lnTo>
                  <a:pt x="20977" y="21573"/>
                </a:lnTo>
                <a:cubicBezTo>
                  <a:pt x="21020" y="21586"/>
                  <a:pt x="21062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lnTo>
                  <a:pt x="21600" y="2455"/>
                </a:lnTo>
                <a:cubicBezTo>
                  <a:pt x="21600" y="2231"/>
                  <a:pt x="21447" y="2049"/>
                  <a:pt x="21241" y="1990"/>
                </a:cubicBezTo>
                <a:moveTo>
                  <a:pt x="16435" y="9275"/>
                </a:moveTo>
                <a:lnTo>
                  <a:pt x="16518" y="9374"/>
                </a:lnTo>
                <a:lnTo>
                  <a:pt x="17269" y="8740"/>
                </a:lnTo>
                <a:lnTo>
                  <a:pt x="17184" y="8640"/>
                </a:lnTo>
                <a:cubicBezTo>
                  <a:pt x="17013" y="8438"/>
                  <a:pt x="16840" y="8236"/>
                  <a:pt x="16677" y="8019"/>
                </a:cubicBezTo>
                <a:lnTo>
                  <a:pt x="15891" y="8606"/>
                </a:lnTo>
                <a:cubicBezTo>
                  <a:pt x="16066" y="8840"/>
                  <a:pt x="16251" y="9059"/>
                  <a:pt x="16435" y="9275"/>
                </a:cubicBezTo>
                <a:moveTo>
                  <a:pt x="6270" y="11022"/>
                </a:moveTo>
                <a:lnTo>
                  <a:pt x="5739" y="10196"/>
                </a:lnTo>
                <a:cubicBezTo>
                  <a:pt x="5432" y="10394"/>
                  <a:pt x="5153" y="10605"/>
                  <a:pt x="4909" y="10825"/>
                </a:cubicBezTo>
                <a:lnTo>
                  <a:pt x="5568" y="11554"/>
                </a:lnTo>
                <a:cubicBezTo>
                  <a:pt x="5772" y="11370"/>
                  <a:pt x="6008" y="11191"/>
                  <a:pt x="6270" y="11022"/>
                </a:cubicBezTo>
                <a:moveTo>
                  <a:pt x="5004" y="12185"/>
                </a:moveTo>
                <a:lnTo>
                  <a:pt x="4196" y="11628"/>
                </a:lnTo>
                <a:cubicBezTo>
                  <a:pt x="3975" y="11949"/>
                  <a:pt x="3812" y="12288"/>
                  <a:pt x="3713" y="12634"/>
                </a:cubicBezTo>
                <a:lnTo>
                  <a:pt x="4656" y="12906"/>
                </a:lnTo>
                <a:cubicBezTo>
                  <a:pt x="4727" y="12661"/>
                  <a:pt x="4844" y="12418"/>
                  <a:pt x="5004" y="12185"/>
                </a:cubicBezTo>
                <a:moveTo>
                  <a:pt x="10467" y="8318"/>
                </a:moveTo>
                <a:lnTo>
                  <a:pt x="9972" y="7470"/>
                </a:lnTo>
                <a:cubicBezTo>
                  <a:pt x="9623" y="7674"/>
                  <a:pt x="9362" y="7936"/>
                  <a:pt x="9132" y="8189"/>
                </a:cubicBezTo>
                <a:lnTo>
                  <a:pt x="9857" y="8850"/>
                </a:lnTo>
                <a:cubicBezTo>
                  <a:pt x="10063" y="8624"/>
                  <a:pt x="10245" y="8448"/>
                  <a:pt x="10467" y="8318"/>
                </a:cubicBezTo>
                <a:moveTo>
                  <a:pt x="3927" y="15709"/>
                </a:moveTo>
                <a:cubicBezTo>
                  <a:pt x="4469" y="15709"/>
                  <a:pt x="4909" y="15270"/>
                  <a:pt x="4909" y="14727"/>
                </a:cubicBezTo>
                <a:cubicBezTo>
                  <a:pt x="4909" y="14185"/>
                  <a:pt x="4469" y="13745"/>
                  <a:pt x="3927" y="13745"/>
                </a:cubicBezTo>
                <a:cubicBezTo>
                  <a:pt x="3385" y="13745"/>
                  <a:pt x="2945" y="14185"/>
                  <a:pt x="2945" y="14727"/>
                </a:cubicBezTo>
                <a:cubicBezTo>
                  <a:pt x="2945" y="15270"/>
                  <a:pt x="3385" y="15709"/>
                  <a:pt x="3927" y="15709"/>
                </a:cubicBezTo>
                <a:moveTo>
                  <a:pt x="12273" y="7855"/>
                </a:moveTo>
                <a:cubicBezTo>
                  <a:pt x="12815" y="7855"/>
                  <a:pt x="13255" y="7415"/>
                  <a:pt x="13255" y="6873"/>
                </a:cubicBezTo>
                <a:cubicBezTo>
                  <a:pt x="13255" y="6331"/>
                  <a:pt x="12815" y="5891"/>
                  <a:pt x="12273" y="5891"/>
                </a:cubicBezTo>
                <a:cubicBezTo>
                  <a:pt x="11730" y="5891"/>
                  <a:pt x="11291" y="6331"/>
                  <a:pt x="11291" y="6873"/>
                </a:cubicBezTo>
                <a:cubicBezTo>
                  <a:pt x="11291" y="7415"/>
                  <a:pt x="11730" y="7855"/>
                  <a:pt x="12273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40" name="Shape 2940"/>
          <p:cNvSpPr/>
          <p:nvPr/>
        </p:nvSpPr>
        <p:spPr>
          <a:xfrm>
            <a:off x="8157677" y="659179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345"/>
                </a:moveTo>
                <a:cubicBezTo>
                  <a:pt x="9444" y="8345"/>
                  <a:pt x="8345" y="9444"/>
                  <a:pt x="8345" y="10800"/>
                </a:cubicBezTo>
                <a:cubicBezTo>
                  <a:pt x="8345" y="12156"/>
                  <a:pt x="9444" y="13255"/>
                  <a:pt x="10800" y="13255"/>
                </a:cubicBezTo>
                <a:cubicBezTo>
                  <a:pt x="12156" y="13255"/>
                  <a:pt x="13255" y="12156"/>
                  <a:pt x="13255" y="10800"/>
                </a:cubicBezTo>
                <a:cubicBezTo>
                  <a:pt x="13255" y="9444"/>
                  <a:pt x="12156" y="8345"/>
                  <a:pt x="10800" y="8345"/>
                </a:cubicBezTo>
                <a:moveTo>
                  <a:pt x="11291" y="20593"/>
                </a:moveTo>
                <a:lnTo>
                  <a:pt x="11291" y="17182"/>
                </a:lnTo>
                <a:cubicBezTo>
                  <a:pt x="11291" y="16910"/>
                  <a:pt x="11071" y="16691"/>
                  <a:pt x="10800" y="16691"/>
                </a:cubicBezTo>
                <a:cubicBezTo>
                  <a:pt x="10529" y="16691"/>
                  <a:pt x="10309" y="16910"/>
                  <a:pt x="10309" y="17182"/>
                </a:cubicBezTo>
                <a:lnTo>
                  <a:pt x="10309" y="20593"/>
                </a:lnTo>
                <a:cubicBezTo>
                  <a:pt x="5280" y="20344"/>
                  <a:pt x="1255" y="16319"/>
                  <a:pt x="1006" y="11291"/>
                </a:cubicBezTo>
                <a:lnTo>
                  <a:pt x="4418" y="11291"/>
                </a:lnTo>
                <a:cubicBezTo>
                  <a:pt x="4690" y="11291"/>
                  <a:pt x="4909" y="11071"/>
                  <a:pt x="4909" y="10800"/>
                </a:cubicBezTo>
                <a:cubicBezTo>
                  <a:pt x="4909" y="10529"/>
                  <a:pt x="4690" y="10309"/>
                  <a:pt x="4418" y="10309"/>
                </a:cubicBezTo>
                <a:lnTo>
                  <a:pt x="1006" y="10309"/>
                </a:lnTo>
                <a:cubicBezTo>
                  <a:pt x="1255" y="5281"/>
                  <a:pt x="5280" y="1256"/>
                  <a:pt x="10309" y="1007"/>
                </a:cubicBezTo>
                <a:lnTo>
                  <a:pt x="10309" y="4418"/>
                </a:lnTo>
                <a:cubicBezTo>
                  <a:pt x="10309" y="4690"/>
                  <a:pt x="10529" y="4909"/>
                  <a:pt x="10800" y="4909"/>
                </a:cubicBezTo>
                <a:cubicBezTo>
                  <a:pt x="11071" y="4909"/>
                  <a:pt x="11291" y="4690"/>
                  <a:pt x="11291" y="4418"/>
                </a:cubicBezTo>
                <a:lnTo>
                  <a:pt x="11291" y="1007"/>
                </a:lnTo>
                <a:cubicBezTo>
                  <a:pt x="16320" y="1256"/>
                  <a:pt x="20345" y="5281"/>
                  <a:pt x="20594" y="10309"/>
                </a:cubicBezTo>
                <a:lnTo>
                  <a:pt x="17182" y="10309"/>
                </a:lnTo>
                <a:cubicBezTo>
                  <a:pt x="16910" y="10309"/>
                  <a:pt x="16691" y="10529"/>
                  <a:pt x="16691" y="10800"/>
                </a:cubicBezTo>
                <a:cubicBezTo>
                  <a:pt x="16691" y="11071"/>
                  <a:pt x="16910" y="11291"/>
                  <a:pt x="17182" y="11291"/>
                </a:cubicBezTo>
                <a:lnTo>
                  <a:pt x="20594" y="11291"/>
                </a:lnTo>
                <a:cubicBezTo>
                  <a:pt x="20345" y="16319"/>
                  <a:pt x="16320" y="20344"/>
                  <a:pt x="11291" y="20593"/>
                </a:cubicBezTo>
                <a:moveTo>
                  <a:pt x="10800" y="0"/>
                </a:moveTo>
                <a:cubicBezTo>
                  <a:pt x="10800" y="0"/>
                  <a:pt x="10800" y="0"/>
                  <a:pt x="10800" y="0"/>
                </a:cubicBezTo>
                <a:cubicBezTo>
                  <a:pt x="10800" y="0"/>
                  <a:pt x="10800" y="0"/>
                  <a:pt x="10800" y="0"/>
                </a:cubicBez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41" name="Shape 2941"/>
          <p:cNvSpPr/>
          <p:nvPr/>
        </p:nvSpPr>
        <p:spPr>
          <a:xfrm>
            <a:off x="9224197" y="659179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20593"/>
                </a:moveTo>
                <a:lnTo>
                  <a:pt x="11291" y="17648"/>
                </a:lnTo>
                <a:cubicBezTo>
                  <a:pt x="14694" y="17407"/>
                  <a:pt x="17408" y="14693"/>
                  <a:pt x="17649" y="11291"/>
                </a:cubicBezTo>
                <a:lnTo>
                  <a:pt x="20594" y="11291"/>
                </a:lnTo>
                <a:cubicBezTo>
                  <a:pt x="20345" y="16319"/>
                  <a:pt x="16320" y="20344"/>
                  <a:pt x="11291" y="20593"/>
                </a:cubicBezTo>
                <a:moveTo>
                  <a:pt x="11291" y="13205"/>
                </a:moveTo>
                <a:cubicBezTo>
                  <a:pt x="12252" y="13010"/>
                  <a:pt x="13005" y="12252"/>
                  <a:pt x="13201" y="11291"/>
                </a:cubicBezTo>
                <a:lnTo>
                  <a:pt x="16667" y="11291"/>
                </a:lnTo>
                <a:cubicBezTo>
                  <a:pt x="16431" y="14152"/>
                  <a:pt x="14152" y="16429"/>
                  <a:pt x="11291" y="16666"/>
                </a:cubicBezTo>
                <a:cubicBezTo>
                  <a:pt x="11291" y="16666"/>
                  <a:pt x="11291" y="13205"/>
                  <a:pt x="11291" y="13205"/>
                </a:cubicBezTo>
                <a:close/>
                <a:moveTo>
                  <a:pt x="11291" y="4934"/>
                </a:moveTo>
                <a:cubicBezTo>
                  <a:pt x="12233" y="5012"/>
                  <a:pt x="13111" y="5315"/>
                  <a:pt x="13875" y="5784"/>
                </a:cubicBezTo>
                <a:cubicBezTo>
                  <a:pt x="13793" y="5967"/>
                  <a:pt x="13745" y="6168"/>
                  <a:pt x="13745" y="6382"/>
                </a:cubicBezTo>
                <a:cubicBezTo>
                  <a:pt x="13745" y="7195"/>
                  <a:pt x="14405" y="7855"/>
                  <a:pt x="15218" y="7855"/>
                </a:cubicBezTo>
                <a:cubicBezTo>
                  <a:pt x="15432" y="7855"/>
                  <a:pt x="15633" y="7807"/>
                  <a:pt x="15816" y="7725"/>
                </a:cubicBezTo>
                <a:cubicBezTo>
                  <a:pt x="16286" y="8489"/>
                  <a:pt x="16589" y="9367"/>
                  <a:pt x="16667" y="10309"/>
                </a:cubicBezTo>
                <a:lnTo>
                  <a:pt x="13201" y="10309"/>
                </a:lnTo>
                <a:cubicBezTo>
                  <a:pt x="13005" y="9348"/>
                  <a:pt x="12252" y="8590"/>
                  <a:pt x="11291" y="8395"/>
                </a:cubicBezTo>
                <a:cubicBezTo>
                  <a:pt x="11291" y="8395"/>
                  <a:pt x="11291" y="4934"/>
                  <a:pt x="11291" y="4934"/>
                </a:cubicBezTo>
                <a:close/>
                <a:moveTo>
                  <a:pt x="11291" y="1007"/>
                </a:moveTo>
                <a:cubicBezTo>
                  <a:pt x="16320" y="1256"/>
                  <a:pt x="20345" y="5281"/>
                  <a:pt x="20594" y="10309"/>
                </a:cubicBezTo>
                <a:lnTo>
                  <a:pt x="17649" y="10309"/>
                </a:lnTo>
                <a:cubicBezTo>
                  <a:pt x="17563" y="9102"/>
                  <a:pt x="17162" y="7985"/>
                  <a:pt x="16534" y="7031"/>
                </a:cubicBezTo>
                <a:cubicBezTo>
                  <a:pt x="16631" y="6835"/>
                  <a:pt x="16691" y="6616"/>
                  <a:pt x="16691" y="6382"/>
                </a:cubicBezTo>
                <a:cubicBezTo>
                  <a:pt x="16691" y="5569"/>
                  <a:pt x="16032" y="4909"/>
                  <a:pt x="15218" y="4909"/>
                </a:cubicBezTo>
                <a:cubicBezTo>
                  <a:pt x="14984" y="4909"/>
                  <a:pt x="14765" y="4969"/>
                  <a:pt x="14568" y="5066"/>
                </a:cubicBezTo>
                <a:cubicBezTo>
                  <a:pt x="13614" y="4439"/>
                  <a:pt x="12498" y="4038"/>
                  <a:pt x="11291" y="3952"/>
                </a:cubicBezTo>
                <a:cubicBezTo>
                  <a:pt x="11291" y="3952"/>
                  <a:pt x="11291" y="1007"/>
                  <a:pt x="11291" y="1007"/>
                </a:cubicBezTo>
                <a:close/>
                <a:moveTo>
                  <a:pt x="10309" y="3949"/>
                </a:moveTo>
                <a:cubicBezTo>
                  <a:pt x="7225" y="4167"/>
                  <a:pt x="4703" y="6417"/>
                  <a:pt x="4078" y="9370"/>
                </a:cubicBezTo>
                <a:cubicBezTo>
                  <a:pt x="3590" y="9486"/>
                  <a:pt x="3196" y="9843"/>
                  <a:pt x="3030" y="10309"/>
                </a:cubicBezTo>
                <a:lnTo>
                  <a:pt x="1006" y="10309"/>
                </a:lnTo>
                <a:cubicBezTo>
                  <a:pt x="1255" y="5281"/>
                  <a:pt x="5280" y="1256"/>
                  <a:pt x="10309" y="1007"/>
                </a:cubicBezTo>
                <a:cubicBezTo>
                  <a:pt x="10309" y="1007"/>
                  <a:pt x="10309" y="3949"/>
                  <a:pt x="10309" y="3949"/>
                </a:cubicBezTo>
                <a:close/>
                <a:moveTo>
                  <a:pt x="10309" y="8395"/>
                </a:moveTo>
                <a:cubicBezTo>
                  <a:pt x="9348" y="8590"/>
                  <a:pt x="8595" y="9348"/>
                  <a:pt x="8399" y="10309"/>
                </a:cubicBezTo>
                <a:lnTo>
                  <a:pt x="5796" y="10309"/>
                </a:lnTo>
                <a:cubicBezTo>
                  <a:pt x="5666" y="9948"/>
                  <a:pt x="5405" y="9649"/>
                  <a:pt x="5062" y="9482"/>
                </a:cubicBezTo>
                <a:cubicBezTo>
                  <a:pt x="5626" y="7018"/>
                  <a:pt x="7730" y="5144"/>
                  <a:pt x="10309" y="4930"/>
                </a:cubicBezTo>
                <a:cubicBezTo>
                  <a:pt x="10309" y="4930"/>
                  <a:pt x="10309" y="8395"/>
                  <a:pt x="10309" y="8395"/>
                </a:cubicBezTo>
                <a:close/>
                <a:moveTo>
                  <a:pt x="10309" y="16670"/>
                </a:moveTo>
                <a:cubicBezTo>
                  <a:pt x="7730" y="16456"/>
                  <a:pt x="5626" y="14582"/>
                  <a:pt x="5062" y="12118"/>
                </a:cubicBezTo>
                <a:cubicBezTo>
                  <a:pt x="5405" y="11951"/>
                  <a:pt x="5666" y="11652"/>
                  <a:pt x="5796" y="11291"/>
                </a:cubicBezTo>
                <a:lnTo>
                  <a:pt x="8399" y="11291"/>
                </a:lnTo>
                <a:cubicBezTo>
                  <a:pt x="8595" y="12252"/>
                  <a:pt x="9348" y="13010"/>
                  <a:pt x="10309" y="13205"/>
                </a:cubicBezTo>
                <a:cubicBezTo>
                  <a:pt x="10309" y="13205"/>
                  <a:pt x="10309" y="16670"/>
                  <a:pt x="10309" y="16670"/>
                </a:cubicBezTo>
                <a:close/>
                <a:moveTo>
                  <a:pt x="10309" y="20593"/>
                </a:moveTo>
                <a:cubicBezTo>
                  <a:pt x="5280" y="20344"/>
                  <a:pt x="1255" y="16319"/>
                  <a:pt x="1006" y="11291"/>
                </a:cubicBezTo>
                <a:lnTo>
                  <a:pt x="3030" y="11291"/>
                </a:lnTo>
                <a:cubicBezTo>
                  <a:pt x="3196" y="11757"/>
                  <a:pt x="3590" y="12114"/>
                  <a:pt x="4078" y="12230"/>
                </a:cubicBezTo>
                <a:cubicBezTo>
                  <a:pt x="4703" y="15183"/>
                  <a:pt x="7225" y="17434"/>
                  <a:pt x="10309" y="17651"/>
                </a:cubicBezTo>
                <a:cubicBezTo>
                  <a:pt x="10309" y="17651"/>
                  <a:pt x="10309" y="20593"/>
                  <a:pt x="10309" y="20593"/>
                </a:cubicBezTo>
                <a:close/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42" name="Shape 2942"/>
          <p:cNvSpPr/>
          <p:nvPr/>
        </p:nvSpPr>
        <p:spPr>
          <a:xfrm>
            <a:off x="10341508" y="6591790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2524"/>
                </a:moveTo>
                <a:cubicBezTo>
                  <a:pt x="19362" y="12218"/>
                  <a:pt x="17455" y="11782"/>
                  <a:pt x="15000" y="11782"/>
                </a:cubicBezTo>
                <a:cubicBezTo>
                  <a:pt x="12625" y="11782"/>
                  <a:pt x="11514" y="12089"/>
                  <a:pt x="10534" y="12360"/>
                </a:cubicBezTo>
                <a:cubicBezTo>
                  <a:pt x="9751" y="12577"/>
                  <a:pt x="9076" y="12764"/>
                  <a:pt x="7800" y="12764"/>
                </a:cubicBezTo>
                <a:cubicBezTo>
                  <a:pt x="6097" y="12764"/>
                  <a:pt x="5268" y="12537"/>
                  <a:pt x="4390" y="12298"/>
                </a:cubicBezTo>
                <a:cubicBezTo>
                  <a:pt x="3564" y="12073"/>
                  <a:pt x="2709" y="11842"/>
                  <a:pt x="1200" y="11792"/>
                </a:cubicBezTo>
                <a:lnTo>
                  <a:pt x="1200" y="992"/>
                </a:lnTo>
                <a:cubicBezTo>
                  <a:pt x="2511" y="1038"/>
                  <a:pt x="3242" y="1238"/>
                  <a:pt x="4010" y="1448"/>
                </a:cubicBezTo>
                <a:cubicBezTo>
                  <a:pt x="4941" y="1701"/>
                  <a:pt x="5903" y="1964"/>
                  <a:pt x="7800" y="1964"/>
                </a:cubicBezTo>
                <a:cubicBezTo>
                  <a:pt x="9273" y="1964"/>
                  <a:pt x="10109" y="1733"/>
                  <a:pt x="10918" y="1508"/>
                </a:cubicBezTo>
                <a:cubicBezTo>
                  <a:pt x="11854" y="1250"/>
                  <a:pt x="12823" y="982"/>
                  <a:pt x="15000" y="982"/>
                </a:cubicBezTo>
                <a:cubicBezTo>
                  <a:pt x="17661" y="982"/>
                  <a:pt x="19648" y="1545"/>
                  <a:pt x="20400" y="1794"/>
                </a:cubicBezTo>
                <a:cubicBezTo>
                  <a:pt x="20400" y="1794"/>
                  <a:pt x="20400" y="12524"/>
                  <a:pt x="20400" y="12524"/>
                </a:cubicBezTo>
                <a:close/>
                <a:moveTo>
                  <a:pt x="21594" y="1473"/>
                </a:moveTo>
                <a:cubicBezTo>
                  <a:pt x="21594" y="1293"/>
                  <a:pt x="21478" y="1120"/>
                  <a:pt x="21268" y="1034"/>
                </a:cubicBezTo>
                <a:cubicBezTo>
                  <a:pt x="21165" y="991"/>
                  <a:pt x="18699" y="0"/>
                  <a:pt x="15000" y="0"/>
                </a:cubicBezTo>
                <a:cubicBezTo>
                  <a:pt x="12625" y="0"/>
                  <a:pt x="11514" y="308"/>
                  <a:pt x="10534" y="579"/>
                </a:cubicBezTo>
                <a:cubicBezTo>
                  <a:pt x="9751" y="795"/>
                  <a:pt x="9076" y="982"/>
                  <a:pt x="7800" y="982"/>
                </a:cubicBezTo>
                <a:cubicBezTo>
                  <a:pt x="6097" y="982"/>
                  <a:pt x="5268" y="756"/>
                  <a:pt x="4390" y="516"/>
                </a:cubicBezTo>
                <a:cubicBezTo>
                  <a:pt x="3459" y="263"/>
                  <a:pt x="2497" y="0"/>
                  <a:pt x="600" y="0"/>
                </a:cubicBezTo>
                <a:cubicBezTo>
                  <a:pt x="268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932" y="21600"/>
                  <a:pt x="1200" y="21380"/>
                  <a:pt x="1200" y="21109"/>
                </a:cubicBezTo>
                <a:lnTo>
                  <a:pt x="1200" y="12774"/>
                </a:lnTo>
                <a:cubicBezTo>
                  <a:pt x="2511" y="12820"/>
                  <a:pt x="3242" y="13020"/>
                  <a:pt x="4010" y="13230"/>
                </a:cubicBezTo>
                <a:cubicBezTo>
                  <a:pt x="4941" y="13483"/>
                  <a:pt x="5903" y="13745"/>
                  <a:pt x="7800" y="13745"/>
                </a:cubicBezTo>
                <a:cubicBezTo>
                  <a:pt x="9273" y="13745"/>
                  <a:pt x="10109" y="13514"/>
                  <a:pt x="10918" y="13291"/>
                </a:cubicBezTo>
                <a:cubicBezTo>
                  <a:pt x="11854" y="13031"/>
                  <a:pt x="12823" y="12764"/>
                  <a:pt x="15000" y="12764"/>
                </a:cubicBezTo>
                <a:cubicBezTo>
                  <a:pt x="18400" y="12764"/>
                  <a:pt x="20709" y="13685"/>
                  <a:pt x="20733" y="13694"/>
                </a:cubicBezTo>
                <a:cubicBezTo>
                  <a:pt x="21029" y="13814"/>
                  <a:pt x="21389" y="13716"/>
                  <a:pt x="21537" y="13473"/>
                </a:cubicBezTo>
                <a:cubicBezTo>
                  <a:pt x="21580" y="13403"/>
                  <a:pt x="21594" y="13328"/>
                  <a:pt x="21594" y="13255"/>
                </a:cubicBezTo>
                <a:lnTo>
                  <a:pt x="21600" y="13255"/>
                </a:lnTo>
                <a:lnTo>
                  <a:pt x="21600" y="1473"/>
                </a:lnTo>
                <a:cubicBezTo>
                  <a:pt x="21600" y="1473"/>
                  <a:pt x="21594" y="1473"/>
                  <a:pt x="21594" y="1473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43" name="Shape 2943"/>
          <p:cNvSpPr/>
          <p:nvPr/>
        </p:nvSpPr>
        <p:spPr>
          <a:xfrm>
            <a:off x="11408029" y="6591790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11782"/>
                </a:moveTo>
                <a:lnTo>
                  <a:pt x="9600" y="10800"/>
                </a:lnTo>
                <a:lnTo>
                  <a:pt x="11400" y="10800"/>
                </a:lnTo>
                <a:cubicBezTo>
                  <a:pt x="11732" y="10800"/>
                  <a:pt x="12000" y="10580"/>
                  <a:pt x="12000" y="10309"/>
                </a:cubicBezTo>
                <a:lnTo>
                  <a:pt x="12000" y="2945"/>
                </a:lnTo>
                <a:lnTo>
                  <a:pt x="19940" y="2945"/>
                </a:lnTo>
                <a:lnTo>
                  <a:pt x="16886" y="7111"/>
                </a:lnTo>
                <a:lnTo>
                  <a:pt x="16894" y="7115"/>
                </a:lnTo>
                <a:cubicBezTo>
                  <a:pt x="16840" y="7189"/>
                  <a:pt x="16800" y="7272"/>
                  <a:pt x="16800" y="7364"/>
                </a:cubicBezTo>
                <a:cubicBezTo>
                  <a:pt x="16800" y="7457"/>
                  <a:pt x="16840" y="7538"/>
                  <a:pt x="16894" y="7612"/>
                </a:cubicBezTo>
                <a:lnTo>
                  <a:pt x="16886" y="7616"/>
                </a:lnTo>
                <a:lnTo>
                  <a:pt x="19940" y="11782"/>
                </a:lnTo>
                <a:cubicBezTo>
                  <a:pt x="19940" y="11782"/>
                  <a:pt x="9600" y="11782"/>
                  <a:pt x="9600" y="11782"/>
                </a:cubicBezTo>
                <a:close/>
                <a:moveTo>
                  <a:pt x="1200" y="982"/>
                </a:moveTo>
                <a:lnTo>
                  <a:pt x="10800" y="982"/>
                </a:lnTo>
                <a:lnTo>
                  <a:pt x="10800" y="9818"/>
                </a:lnTo>
                <a:lnTo>
                  <a:pt x="1200" y="9818"/>
                </a:lnTo>
                <a:cubicBezTo>
                  <a:pt x="1200" y="9818"/>
                  <a:pt x="1200" y="982"/>
                  <a:pt x="1200" y="982"/>
                </a:cubicBezTo>
                <a:close/>
                <a:moveTo>
                  <a:pt x="21514" y="12020"/>
                </a:moveTo>
                <a:lnTo>
                  <a:pt x="18100" y="7364"/>
                </a:lnTo>
                <a:lnTo>
                  <a:pt x="21514" y="2707"/>
                </a:lnTo>
                <a:lnTo>
                  <a:pt x="21506" y="2703"/>
                </a:lnTo>
                <a:cubicBezTo>
                  <a:pt x="21560" y="2629"/>
                  <a:pt x="21600" y="2547"/>
                  <a:pt x="21600" y="2455"/>
                </a:cubicBezTo>
                <a:cubicBezTo>
                  <a:pt x="21600" y="2183"/>
                  <a:pt x="21332" y="1964"/>
                  <a:pt x="21000" y="1964"/>
                </a:cubicBezTo>
                <a:lnTo>
                  <a:pt x="12000" y="1964"/>
                </a:lnTo>
                <a:lnTo>
                  <a:pt x="12000" y="491"/>
                </a:lnTo>
                <a:cubicBezTo>
                  <a:pt x="12000" y="220"/>
                  <a:pt x="11732" y="0"/>
                  <a:pt x="11400" y="0"/>
                </a:cubicBezTo>
                <a:lnTo>
                  <a:pt x="600" y="0"/>
                </a:lnTo>
                <a:cubicBezTo>
                  <a:pt x="268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932" y="21600"/>
                  <a:pt x="1200" y="21380"/>
                  <a:pt x="1200" y="21109"/>
                </a:cubicBezTo>
                <a:lnTo>
                  <a:pt x="1200" y="10800"/>
                </a:lnTo>
                <a:lnTo>
                  <a:pt x="8400" y="10800"/>
                </a:lnTo>
                <a:lnTo>
                  <a:pt x="8400" y="12273"/>
                </a:lnTo>
                <a:cubicBezTo>
                  <a:pt x="8400" y="12544"/>
                  <a:pt x="8668" y="12764"/>
                  <a:pt x="9000" y="12764"/>
                </a:cubicBezTo>
                <a:lnTo>
                  <a:pt x="21000" y="12764"/>
                </a:lnTo>
                <a:cubicBezTo>
                  <a:pt x="21332" y="12764"/>
                  <a:pt x="21600" y="12544"/>
                  <a:pt x="21600" y="12273"/>
                </a:cubicBezTo>
                <a:cubicBezTo>
                  <a:pt x="21600" y="12181"/>
                  <a:pt x="21560" y="12098"/>
                  <a:pt x="21506" y="12024"/>
                </a:cubicBezTo>
                <a:cubicBezTo>
                  <a:pt x="21506" y="12024"/>
                  <a:pt x="21514" y="12020"/>
                  <a:pt x="21514" y="1202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44" name="Shape 2944"/>
          <p:cNvSpPr/>
          <p:nvPr/>
        </p:nvSpPr>
        <p:spPr>
          <a:xfrm>
            <a:off x="12499946" y="657867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45" name="Shape 2945"/>
          <p:cNvSpPr/>
          <p:nvPr/>
        </p:nvSpPr>
        <p:spPr>
          <a:xfrm>
            <a:off x="13566466" y="657867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58" y="8342"/>
                </a:moveTo>
                <a:cubicBezTo>
                  <a:pt x="17614" y="6914"/>
                  <a:pt x="17383" y="5576"/>
                  <a:pt x="17008" y="4408"/>
                </a:cubicBezTo>
                <a:cubicBezTo>
                  <a:pt x="17543" y="4130"/>
                  <a:pt x="18018" y="3797"/>
                  <a:pt x="18435" y="3427"/>
                </a:cubicBezTo>
                <a:cubicBezTo>
                  <a:pt x="19673" y="4722"/>
                  <a:pt x="20474" y="6437"/>
                  <a:pt x="20593" y="8342"/>
                </a:cubicBezTo>
                <a:cubicBezTo>
                  <a:pt x="20593" y="8342"/>
                  <a:pt x="17658" y="8342"/>
                  <a:pt x="17658" y="8342"/>
                </a:cubicBezTo>
                <a:close/>
                <a:moveTo>
                  <a:pt x="15485" y="1482"/>
                </a:moveTo>
                <a:cubicBezTo>
                  <a:pt x="16306" y="1786"/>
                  <a:pt x="17058" y="2226"/>
                  <a:pt x="17723" y="2769"/>
                </a:cubicBezTo>
                <a:cubicBezTo>
                  <a:pt x="17412" y="3036"/>
                  <a:pt x="17056" y="3275"/>
                  <a:pt x="16666" y="3486"/>
                </a:cubicBezTo>
                <a:cubicBezTo>
                  <a:pt x="16337" y="2707"/>
                  <a:pt x="15939" y="2026"/>
                  <a:pt x="15485" y="1482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7"/>
                </a:cubicBezTo>
                <a:cubicBezTo>
                  <a:pt x="6514" y="3197"/>
                  <a:pt x="7287" y="3044"/>
                  <a:pt x="8086" y="2983"/>
                </a:cubicBezTo>
                <a:cubicBezTo>
                  <a:pt x="7991" y="2912"/>
                  <a:pt x="7892" y="2844"/>
                  <a:pt x="7804" y="2769"/>
                </a:cubicBezTo>
                <a:cubicBezTo>
                  <a:pt x="8469" y="2226"/>
                  <a:pt x="9222" y="1786"/>
                  <a:pt x="10042" y="1482"/>
                </a:cubicBezTo>
                <a:cubicBezTo>
                  <a:pt x="9694" y="1899"/>
                  <a:pt x="9380" y="2398"/>
                  <a:pt x="9104" y="2959"/>
                </a:cubicBezTo>
                <a:cubicBezTo>
                  <a:pt x="9451" y="2968"/>
                  <a:pt x="9793" y="2996"/>
                  <a:pt x="10131" y="3040"/>
                </a:cubicBezTo>
                <a:cubicBezTo>
                  <a:pt x="10712" y="1983"/>
                  <a:pt x="11449" y="1263"/>
                  <a:pt x="12269" y="1056"/>
                </a:cubicBezTo>
                <a:lnTo>
                  <a:pt x="12269" y="3575"/>
                </a:lnTo>
                <a:cubicBezTo>
                  <a:pt x="12608" y="3701"/>
                  <a:pt x="12938" y="3844"/>
                  <a:pt x="13258" y="4006"/>
                </a:cubicBezTo>
                <a:lnTo>
                  <a:pt x="13258" y="1056"/>
                </a:lnTo>
                <a:cubicBezTo>
                  <a:pt x="14282" y="1315"/>
                  <a:pt x="15181" y="2363"/>
                  <a:pt x="15801" y="3883"/>
                </a:cubicBezTo>
                <a:cubicBezTo>
                  <a:pt x="15207" y="4107"/>
                  <a:pt x="14555" y="4261"/>
                  <a:pt x="13865" y="4342"/>
                </a:cubicBezTo>
                <a:cubicBezTo>
                  <a:pt x="14263" y="4581"/>
                  <a:pt x="14647" y="4840"/>
                  <a:pt x="15006" y="5131"/>
                </a:cubicBezTo>
                <a:cubicBezTo>
                  <a:pt x="15391" y="5041"/>
                  <a:pt x="15767" y="4935"/>
                  <a:pt x="16122" y="4801"/>
                </a:cubicBezTo>
                <a:cubicBezTo>
                  <a:pt x="16296" y="5379"/>
                  <a:pt x="16430" y="6009"/>
                  <a:pt x="16526" y="6670"/>
                </a:cubicBezTo>
                <a:cubicBezTo>
                  <a:pt x="17157" y="7466"/>
                  <a:pt x="17663" y="8363"/>
                  <a:pt x="18025" y="9331"/>
                </a:cubicBezTo>
                <a:lnTo>
                  <a:pt x="20593" y="9331"/>
                </a:lnTo>
                <a:cubicBezTo>
                  <a:pt x="20478" y="11173"/>
                  <a:pt x="19721" y="12834"/>
                  <a:pt x="18551" y="14114"/>
                </a:cubicBezTo>
                <a:cubicBezTo>
                  <a:pt x="18470" y="14700"/>
                  <a:pt x="18342" y="15272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13731" y="12269"/>
                </a:moveTo>
                <a:cubicBezTo>
                  <a:pt x="13687" y="10842"/>
                  <a:pt x="13456" y="9504"/>
                  <a:pt x="13081" y="8335"/>
                </a:cubicBezTo>
                <a:cubicBezTo>
                  <a:pt x="13616" y="8057"/>
                  <a:pt x="14091" y="7725"/>
                  <a:pt x="14507" y="7354"/>
                </a:cubicBezTo>
                <a:cubicBezTo>
                  <a:pt x="15746" y="8649"/>
                  <a:pt x="16547" y="10365"/>
                  <a:pt x="16666" y="12269"/>
                </a:cubicBezTo>
                <a:cubicBezTo>
                  <a:pt x="16666" y="12269"/>
                  <a:pt x="13731" y="12269"/>
                  <a:pt x="13731" y="12269"/>
                </a:cubicBezTo>
                <a:close/>
                <a:moveTo>
                  <a:pt x="14507" y="18173"/>
                </a:moveTo>
                <a:cubicBezTo>
                  <a:pt x="14091" y="17803"/>
                  <a:pt x="13616" y="17470"/>
                  <a:pt x="13081" y="17192"/>
                </a:cubicBezTo>
                <a:cubicBezTo>
                  <a:pt x="13456" y="16024"/>
                  <a:pt x="13687" y="14686"/>
                  <a:pt x="13731" y="13258"/>
                </a:cubicBezTo>
                <a:lnTo>
                  <a:pt x="16666" y="13258"/>
                </a:lnTo>
                <a:cubicBezTo>
                  <a:pt x="16547" y="15163"/>
                  <a:pt x="15746" y="16878"/>
                  <a:pt x="14507" y="18173"/>
                </a:cubicBezTo>
                <a:moveTo>
                  <a:pt x="11558" y="20118"/>
                </a:moveTo>
                <a:cubicBezTo>
                  <a:pt x="12012" y="19574"/>
                  <a:pt x="12409" y="18893"/>
                  <a:pt x="12738" y="18114"/>
                </a:cubicBezTo>
                <a:cubicBezTo>
                  <a:pt x="13129" y="18325"/>
                  <a:pt x="13485" y="18564"/>
                  <a:pt x="13796" y="18831"/>
                </a:cubicBezTo>
                <a:cubicBezTo>
                  <a:pt x="13131" y="19374"/>
                  <a:pt x="12378" y="19814"/>
                  <a:pt x="11558" y="20118"/>
                </a:cubicBezTo>
                <a:moveTo>
                  <a:pt x="9331" y="20544"/>
                </a:moveTo>
                <a:lnTo>
                  <a:pt x="9331" y="17204"/>
                </a:lnTo>
                <a:cubicBezTo>
                  <a:pt x="10246" y="17253"/>
                  <a:pt x="11108" y="17428"/>
                  <a:pt x="11874" y="17717"/>
                </a:cubicBezTo>
                <a:cubicBezTo>
                  <a:pt x="11254" y="19237"/>
                  <a:pt x="10355" y="20286"/>
                  <a:pt x="9331" y="20544"/>
                </a:cubicBezTo>
                <a:moveTo>
                  <a:pt x="9331" y="13258"/>
                </a:moveTo>
                <a:lnTo>
                  <a:pt x="12749" y="13258"/>
                </a:lnTo>
                <a:cubicBezTo>
                  <a:pt x="12709" y="14550"/>
                  <a:pt x="12510" y="15752"/>
                  <a:pt x="12195" y="16799"/>
                </a:cubicBezTo>
                <a:cubicBezTo>
                  <a:pt x="11327" y="16471"/>
                  <a:pt x="10357" y="16273"/>
                  <a:pt x="9331" y="16223"/>
                </a:cubicBezTo>
                <a:cubicBezTo>
                  <a:pt x="9331" y="16223"/>
                  <a:pt x="9331" y="13258"/>
                  <a:pt x="9331" y="13258"/>
                </a:cubicBezTo>
                <a:close/>
                <a:moveTo>
                  <a:pt x="9331" y="9305"/>
                </a:moveTo>
                <a:cubicBezTo>
                  <a:pt x="10357" y="9254"/>
                  <a:pt x="11327" y="9056"/>
                  <a:pt x="12195" y="8728"/>
                </a:cubicBezTo>
                <a:cubicBezTo>
                  <a:pt x="12510" y="9775"/>
                  <a:pt x="12709" y="10977"/>
                  <a:pt x="12749" y="12269"/>
                </a:cubicBezTo>
                <a:lnTo>
                  <a:pt x="9331" y="12269"/>
                </a:lnTo>
                <a:cubicBezTo>
                  <a:pt x="9331" y="12269"/>
                  <a:pt x="9331" y="9305"/>
                  <a:pt x="9331" y="9305"/>
                </a:cubicBezTo>
                <a:close/>
                <a:moveTo>
                  <a:pt x="9331" y="4983"/>
                </a:moveTo>
                <a:cubicBezTo>
                  <a:pt x="10355" y="5242"/>
                  <a:pt x="11254" y="6290"/>
                  <a:pt x="11874" y="7810"/>
                </a:cubicBezTo>
                <a:cubicBezTo>
                  <a:pt x="11108" y="8099"/>
                  <a:pt x="10246" y="8275"/>
                  <a:pt x="9331" y="8323"/>
                </a:cubicBezTo>
                <a:cubicBezTo>
                  <a:pt x="9331" y="8323"/>
                  <a:pt x="9331" y="4983"/>
                  <a:pt x="9331" y="4983"/>
                </a:cubicBezTo>
                <a:close/>
                <a:moveTo>
                  <a:pt x="13796" y="6696"/>
                </a:moveTo>
                <a:cubicBezTo>
                  <a:pt x="13485" y="6963"/>
                  <a:pt x="13129" y="7203"/>
                  <a:pt x="12738" y="7413"/>
                </a:cubicBezTo>
                <a:cubicBezTo>
                  <a:pt x="12409" y="6634"/>
                  <a:pt x="12012" y="5954"/>
                  <a:pt x="11557" y="5410"/>
                </a:cubicBezTo>
                <a:cubicBezTo>
                  <a:pt x="12378" y="5714"/>
                  <a:pt x="13131" y="6153"/>
                  <a:pt x="13796" y="6696"/>
                </a:cubicBezTo>
                <a:moveTo>
                  <a:pt x="8342" y="8323"/>
                </a:moveTo>
                <a:cubicBezTo>
                  <a:pt x="7427" y="8275"/>
                  <a:pt x="6564" y="8099"/>
                  <a:pt x="5799" y="7810"/>
                </a:cubicBezTo>
                <a:cubicBezTo>
                  <a:pt x="6419" y="6290"/>
                  <a:pt x="7318" y="5242"/>
                  <a:pt x="8342" y="4983"/>
                </a:cubicBezTo>
                <a:cubicBezTo>
                  <a:pt x="8342" y="4983"/>
                  <a:pt x="8342" y="8323"/>
                  <a:pt x="8342" y="8323"/>
                </a:cubicBezTo>
                <a:close/>
                <a:moveTo>
                  <a:pt x="8342" y="12269"/>
                </a:moveTo>
                <a:lnTo>
                  <a:pt x="4923" y="12269"/>
                </a:lnTo>
                <a:cubicBezTo>
                  <a:pt x="4964" y="10977"/>
                  <a:pt x="5163" y="9775"/>
                  <a:pt x="5478" y="8728"/>
                </a:cubicBezTo>
                <a:cubicBezTo>
                  <a:pt x="6346" y="9056"/>
                  <a:pt x="7316" y="9254"/>
                  <a:pt x="8342" y="9305"/>
                </a:cubicBezTo>
                <a:cubicBezTo>
                  <a:pt x="8342" y="9305"/>
                  <a:pt x="8342" y="12269"/>
                  <a:pt x="8342" y="12269"/>
                </a:cubicBezTo>
                <a:close/>
                <a:moveTo>
                  <a:pt x="8342" y="16223"/>
                </a:moveTo>
                <a:cubicBezTo>
                  <a:pt x="7316" y="16273"/>
                  <a:pt x="6346" y="16471"/>
                  <a:pt x="5478" y="16799"/>
                </a:cubicBezTo>
                <a:cubicBezTo>
                  <a:pt x="5163" y="15752"/>
                  <a:pt x="4964" y="14550"/>
                  <a:pt x="4923" y="13258"/>
                </a:cubicBezTo>
                <a:lnTo>
                  <a:pt x="8342" y="13258"/>
                </a:lnTo>
                <a:cubicBezTo>
                  <a:pt x="8342" y="13258"/>
                  <a:pt x="8342" y="16223"/>
                  <a:pt x="8342" y="16223"/>
                </a:cubicBezTo>
                <a:close/>
                <a:moveTo>
                  <a:pt x="8342" y="20544"/>
                </a:moveTo>
                <a:cubicBezTo>
                  <a:pt x="7318" y="20286"/>
                  <a:pt x="6419" y="19237"/>
                  <a:pt x="5799" y="17717"/>
                </a:cubicBezTo>
                <a:cubicBezTo>
                  <a:pt x="6564" y="17428"/>
                  <a:pt x="7427" y="17253"/>
                  <a:pt x="8342" y="17204"/>
                </a:cubicBezTo>
                <a:cubicBezTo>
                  <a:pt x="8342" y="17204"/>
                  <a:pt x="8342" y="20544"/>
                  <a:pt x="8342" y="20544"/>
                </a:cubicBezTo>
                <a:close/>
                <a:moveTo>
                  <a:pt x="3877" y="18831"/>
                </a:moveTo>
                <a:cubicBezTo>
                  <a:pt x="4188" y="18564"/>
                  <a:pt x="4544" y="18325"/>
                  <a:pt x="4935" y="18114"/>
                </a:cubicBezTo>
                <a:cubicBezTo>
                  <a:pt x="5264" y="18893"/>
                  <a:pt x="5661" y="19574"/>
                  <a:pt x="6115" y="20118"/>
                </a:cubicBezTo>
                <a:cubicBezTo>
                  <a:pt x="5295" y="19814"/>
                  <a:pt x="4541" y="19374"/>
                  <a:pt x="3877" y="18831"/>
                </a:cubicBezTo>
                <a:moveTo>
                  <a:pt x="1007" y="13258"/>
                </a:moveTo>
                <a:lnTo>
                  <a:pt x="3942" y="13258"/>
                </a:lnTo>
                <a:cubicBezTo>
                  <a:pt x="3986" y="14686"/>
                  <a:pt x="4217" y="16024"/>
                  <a:pt x="4591" y="17192"/>
                </a:cubicBezTo>
                <a:cubicBezTo>
                  <a:pt x="4057" y="17470"/>
                  <a:pt x="3582" y="17803"/>
                  <a:pt x="3166" y="18173"/>
                </a:cubicBezTo>
                <a:cubicBezTo>
                  <a:pt x="1927" y="16878"/>
                  <a:pt x="1126" y="15163"/>
                  <a:pt x="1007" y="13258"/>
                </a:cubicBezTo>
                <a:moveTo>
                  <a:pt x="3166" y="7354"/>
                </a:moveTo>
                <a:cubicBezTo>
                  <a:pt x="3582" y="7725"/>
                  <a:pt x="4057" y="8057"/>
                  <a:pt x="4591" y="8335"/>
                </a:cubicBezTo>
                <a:cubicBezTo>
                  <a:pt x="4217" y="9504"/>
                  <a:pt x="3986" y="10842"/>
                  <a:pt x="3942" y="12269"/>
                </a:cubicBezTo>
                <a:lnTo>
                  <a:pt x="1007" y="12269"/>
                </a:lnTo>
                <a:cubicBezTo>
                  <a:pt x="1126" y="10365"/>
                  <a:pt x="1927" y="8649"/>
                  <a:pt x="3166" y="7354"/>
                </a:cubicBezTo>
                <a:moveTo>
                  <a:pt x="6115" y="5410"/>
                </a:moveTo>
                <a:cubicBezTo>
                  <a:pt x="5661" y="5954"/>
                  <a:pt x="5264" y="6634"/>
                  <a:pt x="4935" y="7413"/>
                </a:cubicBezTo>
                <a:cubicBezTo>
                  <a:pt x="4544" y="7203"/>
                  <a:pt x="4188" y="6963"/>
                  <a:pt x="3877" y="6696"/>
                </a:cubicBezTo>
                <a:cubicBezTo>
                  <a:pt x="4542" y="6153"/>
                  <a:pt x="5295" y="5714"/>
                  <a:pt x="6115" y="5410"/>
                </a:cubicBezTo>
                <a:moveTo>
                  <a:pt x="8836" y="3927"/>
                </a:moveTo>
                <a:cubicBezTo>
                  <a:pt x="3956" y="3927"/>
                  <a:pt x="0" y="7883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3"/>
                  <a:pt x="13717" y="3927"/>
                  <a:pt x="8836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46" name="Shape 2946"/>
          <p:cNvSpPr/>
          <p:nvPr/>
        </p:nvSpPr>
        <p:spPr>
          <a:xfrm>
            <a:off x="14632989" y="657867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595" y="9980"/>
                </a:moveTo>
                <a:cubicBezTo>
                  <a:pt x="19587" y="9894"/>
                  <a:pt x="19575" y="9811"/>
                  <a:pt x="19565" y="9726"/>
                </a:cubicBezTo>
                <a:cubicBezTo>
                  <a:pt x="19542" y="9539"/>
                  <a:pt x="19514" y="9355"/>
                  <a:pt x="19480" y="9172"/>
                </a:cubicBezTo>
                <a:cubicBezTo>
                  <a:pt x="19463" y="9078"/>
                  <a:pt x="19444" y="8986"/>
                  <a:pt x="19424" y="8893"/>
                </a:cubicBezTo>
                <a:cubicBezTo>
                  <a:pt x="19384" y="8712"/>
                  <a:pt x="19337" y="8533"/>
                  <a:pt x="19286" y="8356"/>
                </a:cubicBezTo>
                <a:cubicBezTo>
                  <a:pt x="19263" y="8276"/>
                  <a:pt x="19244" y="8195"/>
                  <a:pt x="19218" y="8116"/>
                </a:cubicBezTo>
                <a:cubicBezTo>
                  <a:pt x="19143" y="7879"/>
                  <a:pt x="19057" y="7646"/>
                  <a:pt x="18963" y="7418"/>
                </a:cubicBezTo>
                <a:cubicBezTo>
                  <a:pt x="18923" y="7321"/>
                  <a:pt x="18876" y="7229"/>
                  <a:pt x="18833" y="7134"/>
                </a:cubicBezTo>
                <a:cubicBezTo>
                  <a:pt x="18771" y="6999"/>
                  <a:pt x="18708" y="6865"/>
                  <a:pt x="18640" y="6734"/>
                </a:cubicBezTo>
                <a:cubicBezTo>
                  <a:pt x="18580" y="6618"/>
                  <a:pt x="18516" y="6504"/>
                  <a:pt x="18450" y="6391"/>
                </a:cubicBezTo>
                <a:cubicBezTo>
                  <a:pt x="18392" y="6291"/>
                  <a:pt x="18331" y="6192"/>
                  <a:pt x="18269" y="6094"/>
                </a:cubicBezTo>
                <a:cubicBezTo>
                  <a:pt x="18192" y="5971"/>
                  <a:pt x="18114" y="5849"/>
                  <a:pt x="18031" y="5731"/>
                </a:cubicBezTo>
                <a:cubicBezTo>
                  <a:pt x="17986" y="5667"/>
                  <a:pt x="17936" y="5605"/>
                  <a:pt x="17889" y="5541"/>
                </a:cubicBezTo>
                <a:cubicBezTo>
                  <a:pt x="17544" y="5080"/>
                  <a:pt x="17159" y="4651"/>
                  <a:pt x="16732" y="4265"/>
                </a:cubicBezTo>
                <a:cubicBezTo>
                  <a:pt x="16705" y="4241"/>
                  <a:pt x="16679" y="4216"/>
                  <a:pt x="16652" y="4192"/>
                </a:cubicBezTo>
                <a:cubicBezTo>
                  <a:pt x="16499" y="4058"/>
                  <a:pt x="16343" y="3927"/>
                  <a:pt x="16181" y="3803"/>
                </a:cubicBezTo>
                <a:cubicBezTo>
                  <a:pt x="16173" y="3796"/>
                  <a:pt x="16165" y="3790"/>
                  <a:pt x="16156" y="3784"/>
                </a:cubicBezTo>
                <a:cubicBezTo>
                  <a:pt x="15459" y="3252"/>
                  <a:pt x="14680" y="2821"/>
                  <a:pt x="13842" y="2513"/>
                </a:cubicBezTo>
                <a:cubicBezTo>
                  <a:pt x="13592" y="2912"/>
                  <a:pt x="13337" y="3420"/>
                  <a:pt x="13040" y="3590"/>
                </a:cubicBezTo>
                <a:cubicBezTo>
                  <a:pt x="12610" y="3835"/>
                  <a:pt x="12641" y="4817"/>
                  <a:pt x="13469" y="4725"/>
                </a:cubicBezTo>
                <a:cubicBezTo>
                  <a:pt x="13469" y="4725"/>
                  <a:pt x="13224" y="4970"/>
                  <a:pt x="13469" y="5860"/>
                </a:cubicBezTo>
                <a:cubicBezTo>
                  <a:pt x="13715" y="6750"/>
                  <a:pt x="14126" y="6943"/>
                  <a:pt x="15341" y="6443"/>
                </a:cubicBezTo>
                <a:cubicBezTo>
                  <a:pt x="15862" y="6228"/>
                  <a:pt x="16258" y="6340"/>
                  <a:pt x="16200" y="6873"/>
                </a:cubicBezTo>
                <a:cubicBezTo>
                  <a:pt x="16077" y="8008"/>
                  <a:pt x="15202" y="7960"/>
                  <a:pt x="15862" y="9788"/>
                </a:cubicBezTo>
                <a:cubicBezTo>
                  <a:pt x="16261" y="10892"/>
                  <a:pt x="17243" y="11322"/>
                  <a:pt x="17611" y="12181"/>
                </a:cubicBezTo>
                <a:cubicBezTo>
                  <a:pt x="17814" y="12653"/>
                  <a:pt x="18591" y="13088"/>
                  <a:pt x="19250" y="13384"/>
                </a:cubicBezTo>
                <a:cubicBezTo>
                  <a:pt x="19321" y="13153"/>
                  <a:pt x="19380" y="12917"/>
                  <a:pt x="19432" y="12677"/>
                </a:cubicBezTo>
                <a:cubicBezTo>
                  <a:pt x="19452" y="12587"/>
                  <a:pt x="19467" y="12494"/>
                  <a:pt x="19484" y="12402"/>
                </a:cubicBezTo>
                <a:cubicBezTo>
                  <a:pt x="19517" y="12224"/>
                  <a:pt x="19545" y="12044"/>
                  <a:pt x="19566" y="11862"/>
                </a:cubicBezTo>
                <a:cubicBezTo>
                  <a:pt x="19576" y="11776"/>
                  <a:pt x="19588" y="11691"/>
                  <a:pt x="19596" y="11604"/>
                </a:cubicBezTo>
                <a:cubicBezTo>
                  <a:pt x="19620" y="11340"/>
                  <a:pt x="19636" y="11072"/>
                  <a:pt x="19636" y="10800"/>
                </a:cubicBezTo>
                <a:cubicBezTo>
                  <a:pt x="19636" y="10523"/>
                  <a:pt x="19620" y="10250"/>
                  <a:pt x="19595" y="998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6223"/>
                  <a:pt x="1622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8407" y="9726"/>
                </a:moveTo>
                <a:cubicBezTo>
                  <a:pt x="8468" y="9020"/>
                  <a:pt x="9603" y="8284"/>
                  <a:pt x="10370" y="7947"/>
                </a:cubicBezTo>
                <a:cubicBezTo>
                  <a:pt x="11137" y="7609"/>
                  <a:pt x="11843" y="7486"/>
                  <a:pt x="11751" y="6903"/>
                </a:cubicBezTo>
                <a:cubicBezTo>
                  <a:pt x="11659" y="6320"/>
                  <a:pt x="11444" y="5891"/>
                  <a:pt x="10248" y="5891"/>
                </a:cubicBezTo>
                <a:cubicBezTo>
                  <a:pt x="9051" y="5891"/>
                  <a:pt x="9573" y="7486"/>
                  <a:pt x="8591" y="6535"/>
                </a:cubicBezTo>
                <a:cubicBezTo>
                  <a:pt x="7609" y="5584"/>
                  <a:pt x="8805" y="5830"/>
                  <a:pt x="9296" y="5615"/>
                </a:cubicBezTo>
                <a:cubicBezTo>
                  <a:pt x="9787" y="5400"/>
                  <a:pt x="10278" y="4510"/>
                  <a:pt x="9419" y="4449"/>
                </a:cubicBezTo>
                <a:cubicBezTo>
                  <a:pt x="8560" y="4388"/>
                  <a:pt x="8744" y="4817"/>
                  <a:pt x="8069" y="4572"/>
                </a:cubicBezTo>
                <a:cubicBezTo>
                  <a:pt x="7394" y="4326"/>
                  <a:pt x="7087" y="5431"/>
                  <a:pt x="6658" y="5277"/>
                </a:cubicBezTo>
                <a:cubicBezTo>
                  <a:pt x="6373" y="5176"/>
                  <a:pt x="5613" y="4605"/>
                  <a:pt x="5110" y="4044"/>
                </a:cubicBezTo>
                <a:cubicBezTo>
                  <a:pt x="4094" y="4900"/>
                  <a:pt x="3277" y="5982"/>
                  <a:pt x="2729" y="7212"/>
                </a:cubicBezTo>
                <a:cubicBezTo>
                  <a:pt x="2875" y="8862"/>
                  <a:pt x="3774" y="9726"/>
                  <a:pt x="3774" y="9726"/>
                </a:cubicBezTo>
                <a:cubicBezTo>
                  <a:pt x="3774" y="9726"/>
                  <a:pt x="4234" y="10800"/>
                  <a:pt x="6995" y="12119"/>
                </a:cubicBezTo>
                <a:cubicBezTo>
                  <a:pt x="6995" y="12119"/>
                  <a:pt x="7517" y="12150"/>
                  <a:pt x="6903" y="11536"/>
                </a:cubicBezTo>
                <a:cubicBezTo>
                  <a:pt x="6290" y="10923"/>
                  <a:pt x="5615" y="10156"/>
                  <a:pt x="6382" y="9757"/>
                </a:cubicBezTo>
                <a:cubicBezTo>
                  <a:pt x="7149" y="9358"/>
                  <a:pt x="7364" y="9389"/>
                  <a:pt x="7548" y="10125"/>
                </a:cubicBezTo>
                <a:cubicBezTo>
                  <a:pt x="7732" y="10861"/>
                  <a:pt x="8345" y="10432"/>
                  <a:pt x="8407" y="9726"/>
                </a:cubicBezTo>
                <a:moveTo>
                  <a:pt x="16246" y="12871"/>
                </a:moveTo>
                <a:cubicBezTo>
                  <a:pt x="15893" y="13086"/>
                  <a:pt x="15908" y="13561"/>
                  <a:pt x="16200" y="13822"/>
                </a:cubicBezTo>
                <a:cubicBezTo>
                  <a:pt x="16491" y="14083"/>
                  <a:pt x="17074" y="14420"/>
                  <a:pt x="17258" y="13822"/>
                </a:cubicBezTo>
                <a:cubicBezTo>
                  <a:pt x="17442" y="13224"/>
                  <a:pt x="16599" y="12656"/>
                  <a:pt x="16246" y="12871"/>
                </a:cubicBezTo>
                <a:moveTo>
                  <a:pt x="12027" y="12948"/>
                </a:moveTo>
                <a:cubicBezTo>
                  <a:pt x="10984" y="12058"/>
                  <a:pt x="11107" y="11659"/>
                  <a:pt x="9787" y="11659"/>
                </a:cubicBezTo>
                <a:cubicBezTo>
                  <a:pt x="8468" y="11659"/>
                  <a:pt x="7640" y="11966"/>
                  <a:pt x="7977" y="13807"/>
                </a:cubicBezTo>
                <a:cubicBezTo>
                  <a:pt x="8315" y="15648"/>
                  <a:pt x="9296" y="14819"/>
                  <a:pt x="9205" y="16231"/>
                </a:cubicBezTo>
                <a:cubicBezTo>
                  <a:pt x="9112" y="17642"/>
                  <a:pt x="9450" y="17949"/>
                  <a:pt x="9665" y="18286"/>
                </a:cubicBezTo>
                <a:cubicBezTo>
                  <a:pt x="9880" y="18624"/>
                  <a:pt x="10524" y="19606"/>
                  <a:pt x="10769" y="18225"/>
                </a:cubicBezTo>
                <a:cubicBezTo>
                  <a:pt x="11015" y="16844"/>
                  <a:pt x="11475" y="16077"/>
                  <a:pt x="11996" y="15402"/>
                </a:cubicBezTo>
                <a:cubicBezTo>
                  <a:pt x="12518" y="14727"/>
                  <a:pt x="13070" y="13837"/>
                  <a:pt x="12027" y="1294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47" name="Shape 2947"/>
          <p:cNvSpPr/>
          <p:nvPr/>
        </p:nvSpPr>
        <p:spPr>
          <a:xfrm>
            <a:off x="15699511" y="657867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367" y="17673"/>
                </a:moveTo>
                <a:lnTo>
                  <a:pt x="20127" y="17673"/>
                </a:lnTo>
                <a:cubicBezTo>
                  <a:pt x="20398" y="17673"/>
                  <a:pt x="20618" y="17453"/>
                  <a:pt x="20618" y="17182"/>
                </a:cubicBezTo>
                <a:cubicBezTo>
                  <a:pt x="20618" y="16910"/>
                  <a:pt x="20398" y="16691"/>
                  <a:pt x="20127" y="16691"/>
                </a:cubicBezTo>
                <a:lnTo>
                  <a:pt x="17182" y="16691"/>
                </a:lnTo>
                <a:cubicBezTo>
                  <a:pt x="16911" y="16691"/>
                  <a:pt x="16691" y="16910"/>
                  <a:pt x="16691" y="17182"/>
                </a:cubicBezTo>
                <a:lnTo>
                  <a:pt x="16691" y="20127"/>
                </a:lnTo>
                <a:cubicBezTo>
                  <a:pt x="16691" y="20399"/>
                  <a:pt x="16911" y="20618"/>
                  <a:pt x="17182" y="20618"/>
                </a:cubicBezTo>
                <a:cubicBezTo>
                  <a:pt x="17453" y="20618"/>
                  <a:pt x="17673" y="20399"/>
                  <a:pt x="17673" y="20127"/>
                </a:cubicBezTo>
                <a:lnTo>
                  <a:pt x="17673" y="18367"/>
                </a:lnTo>
                <a:lnTo>
                  <a:pt x="20762" y="21456"/>
                </a:lnTo>
                <a:cubicBezTo>
                  <a:pt x="20851" y="21545"/>
                  <a:pt x="20974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8367" y="17673"/>
                  <a:pt x="18367" y="17673"/>
                </a:cubicBezTo>
                <a:close/>
                <a:moveTo>
                  <a:pt x="4418" y="16691"/>
                </a:moveTo>
                <a:lnTo>
                  <a:pt x="1473" y="16691"/>
                </a:lnTo>
                <a:cubicBezTo>
                  <a:pt x="1202" y="16691"/>
                  <a:pt x="982" y="16910"/>
                  <a:pt x="982" y="17182"/>
                </a:cubicBezTo>
                <a:cubicBezTo>
                  <a:pt x="982" y="17453"/>
                  <a:pt x="1202" y="17673"/>
                  <a:pt x="1473" y="17673"/>
                </a:cubicBezTo>
                <a:lnTo>
                  <a:pt x="3233" y="17673"/>
                </a:lnTo>
                <a:lnTo>
                  <a:pt x="144" y="20762"/>
                </a:lnTo>
                <a:cubicBezTo>
                  <a:pt x="55" y="20851"/>
                  <a:pt x="0" y="20974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cubicBezTo>
                  <a:pt x="626" y="21600"/>
                  <a:pt x="749" y="21545"/>
                  <a:pt x="838" y="21456"/>
                </a:cubicBezTo>
                <a:lnTo>
                  <a:pt x="3927" y="18367"/>
                </a:lnTo>
                <a:lnTo>
                  <a:pt x="3927" y="20127"/>
                </a:lnTo>
                <a:cubicBezTo>
                  <a:pt x="3927" y="20399"/>
                  <a:pt x="4147" y="20618"/>
                  <a:pt x="4418" y="20618"/>
                </a:cubicBezTo>
                <a:cubicBezTo>
                  <a:pt x="4689" y="20618"/>
                  <a:pt x="4909" y="20399"/>
                  <a:pt x="4909" y="20127"/>
                </a:cubicBezTo>
                <a:lnTo>
                  <a:pt x="4909" y="17182"/>
                </a:lnTo>
                <a:cubicBezTo>
                  <a:pt x="4909" y="16910"/>
                  <a:pt x="4689" y="16691"/>
                  <a:pt x="4418" y="16691"/>
                </a:cubicBezTo>
                <a:moveTo>
                  <a:pt x="14578" y="13923"/>
                </a:moveTo>
                <a:cubicBezTo>
                  <a:pt x="14366" y="13756"/>
                  <a:pt x="14123" y="13606"/>
                  <a:pt x="13863" y="13470"/>
                </a:cubicBezTo>
                <a:cubicBezTo>
                  <a:pt x="14060" y="12810"/>
                  <a:pt x="14189" y="12080"/>
                  <a:pt x="14228" y="11304"/>
                </a:cubicBezTo>
                <a:lnTo>
                  <a:pt x="15676" y="11304"/>
                </a:lnTo>
                <a:cubicBezTo>
                  <a:pt x="15574" y="12295"/>
                  <a:pt x="15177" y="13195"/>
                  <a:pt x="14578" y="13923"/>
                </a:cubicBezTo>
                <a:moveTo>
                  <a:pt x="13136" y="15120"/>
                </a:moveTo>
                <a:cubicBezTo>
                  <a:pt x="13280" y="14892"/>
                  <a:pt x="13410" y="14641"/>
                  <a:pt x="13529" y="14374"/>
                </a:cubicBezTo>
                <a:cubicBezTo>
                  <a:pt x="13660" y="14445"/>
                  <a:pt x="13781" y="14521"/>
                  <a:pt x="13893" y="14602"/>
                </a:cubicBezTo>
                <a:cubicBezTo>
                  <a:pt x="13656" y="14795"/>
                  <a:pt x="13407" y="14973"/>
                  <a:pt x="13136" y="15120"/>
                </a:cubicBezTo>
                <a:moveTo>
                  <a:pt x="11304" y="12785"/>
                </a:moveTo>
                <a:lnTo>
                  <a:pt x="11304" y="11304"/>
                </a:lnTo>
                <a:lnTo>
                  <a:pt x="13226" y="11304"/>
                </a:lnTo>
                <a:cubicBezTo>
                  <a:pt x="13193" y="11948"/>
                  <a:pt x="13093" y="12547"/>
                  <a:pt x="12949" y="13093"/>
                </a:cubicBezTo>
                <a:cubicBezTo>
                  <a:pt x="12443" y="12931"/>
                  <a:pt x="11890" y="12824"/>
                  <a:pt x="11304" y="12785"/>
                </a:cubicBezTo>
                <a:moveTo>
                  <a:pt x="11304" y="15605"/>
                </a:moveTo>
                <a:lnTo>
                  <a:pt x="11304" y="13766"/>
                </a:lnTo>
                <a:cubicBezTo>
                  <a:pt x="11784" y="13800"/>
                  <a:pt x="12233" y="13886"/>
                  <a:pt x="12642" y="14009"/>
                </a:cubicBezTo>
                <a:cubicBezTo>
                  <a:pt x="12301" y="14805"/>
                  <a:pt x="11837" y="15382"/>
                  <a:pt x="11304" y="15605"/>
                </a:cubicBezTo>
                <a:moveTo>
                  <a:pt x="11304" y="8815"/>
                </a:moveTo>
                <a:cubicBezTo>
                  <a:pt x="11890" y="8776"/>
                  <a:pt x="12443" y="8669"/>
                  <a:pt x="12949" y="8507"/>
                </a:cubicBezTo>
                <a:cubicBezTo>
                  <a:pt x="13093" y="9053"/>
                  <a:pt x="13193" y="9652"/>
                  <a:pt x="13226" y="10297"/>
                </a:cubicBezTo>
                <a:lnTo>
                  <a:pt x="11304" y="10297"/>
                </a:lnTo>
                <a:cubicBezTo>
                  <a:pt x="11304" y="10297"/>
                  <a:pt x="11304" y="8815"/>
                  <a:pt x="11304" y="8815"/>
                </a:cubicBezTo>
                <a:close/>
                <a:moveTo>
                  <a:pt x="11304" y="5995"/>
                </a:moveTo>
                <a:cubicBezTo>
                  <a:pt x="11837" y="6218"/>
                  <a:pt x="12301" y="6795"/>
                  <a:pt x="12642" y="7591"/>
                </a:cubicBezTo>
                <a:cubicBezTo>
                  <a:pt x="12233" y="7714"/>
                  <a:pt x="11784" y="7800"/>
                  <a:pt x="11304" y="7835"/>
                </a:cubicBezTo>
                <a:cubicBezTo>
                  <a:pt x="11304" y="7835"/>
                  <a:pt x="11304" y="5995"/>
                  <a:pt x="11304" y="5995"/>
                </a:cubicBezTo>
                <a:close/>
                <a:moveTo>
                  <a:pt x="13893" y="6998"/>
                </a:moveTo>
                <a:cubicBezTo>
                  <a:pt x="13781" y="7079"/>
                  <a:pt x="13660" y="7155"/>
                  <a:pt x="13529" y="7227"/>
                </a:cubicBezTo>
                <a:cubicBezTo>
                  <a:pt x="13410" y="6960"/>
                  <a:pt x="13280" y="6708"/>
                  <a:pt x="13136" y="6480"/>
                </a:cubicBezTo>
                <a:cubicBezTo>
                  <a:pt x="13407" y="6627"/>
                  <a:pt x="13656" y="6805"/>
                  <a:pt x="13893" y="6998"/>
                </a:cubicBezTo>
                <a:moveTo>
                  <a:pt x="15676" y="10297"/>
                </a:moveTo>
                <a:lnTo>
                  <a:pt x="14228" y="10297"/>
                </a:lnTo>
                <a:cubicBezTo>
                  <a:pt x="14189" y="9520"/>
                  <a:pt x="14060" y="8790"/>
                  <a:pt x="13863" y="8130"/>
                </a:cubicBezTo>
                <a:cubicBezTo>
                  <a:pt x="14123" y="7994"/>
                  <a:pt x="14366" y="7844"/>
                  <a:pt x="14578" y="7677"/>
                </a:cubicBezTo>
                <a:cubicBezTo>
                  <a:pt x="15177" y="8405"/>
                  <a:pt x="15574" y="9305"/>
                  <a:pt x="15676" y="10297"/>
                </a:cubicBezTo>
                <a:moveTo>
                  <a:pt x="10296" y="7835"/>
                </a:moveTo>
                <a:cubicBezTo>
                  <a:pt x="9816" y="7800"/>
                  <a:pt x="9367" y="7714"/>
                  <a:pt x="8958" y="7591"/>
                </a:cubicBezTo>
                <a:cubicBezTo>
                  <a:pt x="9299" y="6795"/>
                  <a:pt x="9764" y="6218"/>
                  <a:pt x="10296" y="5995"/>
                </a:cubicBezTo>
                <a:cubicBezTo>
                  <a:pt x="10296" y="5995"/>
                  <a:pt x="10296" y="7835"/>
                  <a:pt x="10296" y="7835"/>
                </a:cubicBezTo>
                <a:close/>
                <a:moveTo>
                  <a:pt x="10296" y="10297"/>
                </a:moveTo>
                <a:lnTo>
                  <a:pt x="8374" y="10297"/>
                </a:lnTo>
                <a:cubicBezTo>
                  <a:pt x="8407" y="9652"/>
                  <a:pt x="8507" y="9053"/>
                  <a:pt x="8651" y="8507"/>
                </a:cubicBezTo>
                <a:cubicBezTo>
                  <a:pt x="9158" y="8669"/>
                  <a:pt x="9710" y="8776"/>
                  <a:pt x="10296" y="8815"/>
                </a:cubicBezTo>
                <a:cubicBezTo>
                  <a:pt x="10296" y="8815"/>
                  <a:pt x="10296" y="10297"/>
                  <a:pt x="10296" y="10297"/>
                </a:cubicBezTo>
                <a:close/>
                <a:moveTo>
                  <a:pt x="10296" y="12785"/>
                </a:moveTo>
                <a:cubicBezTo>
                  <a:pt x="9710" y="12824"/>
                  <a:pt x="9158" y="12931"/>
                  <a:pt x="8651" y="13093"/>
                </a:cubicBezTo>
                <a:cubicBezTo>
                  <a:pt x="8507" y="12547"/>
                  <a:pt x="8407" y="11948"/>
                  <a:pt x="8374" y="11304"/>
                </a:cubicBezTo>
                <a:lnTo>
                  <a:pt x="10296" y="11304"/>
                </a:lnTo>
                <a:cubicBezTo>
                  <a:pt x="10296" y="11304"/>
                  <a:pt x="10296" y="12785"/>
                  <a:pt x="10296" y="12785"/>
                </a:cubicBezTo>
                <a:close/>
                <a:moveTo>
                  <a:pt x="10296" y="15605"/>
                </a:moveTo>
                <a:cubicBezTo>
                  <a:pt x="9764" y="15382"/>
                  <a:pt x="9299" y="14805"/>
                  <a:pt x="8958" y="14009"/>
                </a:cubicBezTo>
                <a:cubicBezTo>
                  <a:pt x="9367" y="13886"/>
                  <a:pt x="9816" y="13800"/>
                  <a:pt x="10296" y="13766"/>
                </a:cubicBezTo>
                <a:cubicBezTo>
                  <a:pt x="10296" y="13766"/>
                  <a:pt x="10296" y="15605"/>
                  <a:pt x="10296" y="15605"/>
                </a:cubicBezTo>
                <a:close/>
                <a:moveTo>
                  <a:pt x="7707" y="14602"/>
                </a:moveTo>
                <a:cubicBezTo>
                  <a:pt x="7819" y="14521"/>
                  <a:pt x="7941" y="14445"/>
                  <a:pt x="8071" y="14374"/>
                </a:cubicBezTo>
                <a:cubicBezTo>
                  <a:pt x="8190" y="14641"/>
                  <a:pt x="8321" y="14892"/>
                  <a:pt x="8464" y="15120"/>
                </a:cubicBezTo>
                <a:cubicBezTo>
                  <a:pt x="8193" y="14973"/>
                  <a:pt x="7944" y="14795"/>
                  <a:pt x="7707" y="14602"/>
                </a:cubicBezTo>
                <a:moveTo>
                  <a:pt x="5925" y="11304"/>
                </a:moveTo>
                <a:lnTo>
                  <a:pt x="7372" y="11304"/>
                </a:lnTo>
                <a:cubicBezTo>
                  <a:pt x="7411" y="12080"/>
                  <a:pt x="7540" y="12810"/>
                  <a:pt x="7737" y="13470"/>
                </a:cubicBezTo>
                <a:cubicBezTo>
                  <a:pt x="7477" y="13606"/>
                  <a:pt x="7235" y="13756"/>
                  <a:pt x="7022" y="13923"/>
                </a:cubicBezTo>
                <a:cubicBezTo>
                  <a:pt x="6423" y="13195"/>
                  <a:pt x="6026" y="12295"/>
                  <a:pt x="5925" y="11304"/>
                </a:cubicBezTo>
                <a:moveTo>
                  <a:pt x="7022" y="7677"/>
                </a:moveTo>
                <a:cubicBezTo>
                  <a:pt x="7235" y="7844"/>
                  <a:pt x="7477" y="7994"/>
                  <a:pt x="7737" y="8130"/>
                </a:cubicBezTo>
                <a:cubicBezTo>
                  <a:pt x="7540" y="8790"/>
                  <a:pt x="7411" y="9520"/>
                  <a:pt x="7372" y="10297"/>
                </a:cubicBezTo>
                <a:lnTo>
                  <a:pt x="5925" y="10297"/>
                </a:lnTo>
                <a:cubicBezTo>
                  <a:pt x="6026" y="9305"/>
                  <a:pt x="6423" y="8405"/>
                  <a:pt x="7022" y="7677"/>
                </a:cubicBezTo>
                <a:moveTo>
                  <a:pt x="8464" y="6480"/>
                </a:moveTo>
                <a:cubicBezTo>
                  <a:pt x="8321" y="6708"/>
                  <a:pt x="8190" y="6960"/>
                  <a:pt x="8071" y="7227"/>
                </a:cubicBezTo>
                <a:cubicBezTo>
                  <a:pt x="7941" y="7155"/>
                  <a:pt x="7819" y="7079"/>
                  <a:pt x="7707" y="6998"/>
                </a:cubicBezTo>
                <a:cubicBezTo>
                  <a:pt x="7944" y="6805"/>
                  <a:pt x="8193" y="6627"/>
                  <a:pt x="8464" y="6480"/>
                </a:cubicBezTo>
                <a:moveTo>
                  <a:pt x="10800" y="4909"/>
                </a:moveTo>
                <a:cubicBezTo>
                  <a:pt x="7546" y="4909"/>
                  <a:pt x="4909" y="7546"/>
                  <a:pt x="4909" y="10800"/>
                </a:cubicBezTo>
                <a:cubicBezTo>
                  <a:pt x="4909" y="14053"/>
                  <a:pt x="7546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6"/>
                  <a:pt x="14053" y="4909"/>
                  <a:pt x="10800" y="4909"/>
                </a:cubicBezTo>
                <a:moveTo>
                  <a:pt x="3233" y="3927"/>
                </a:moveTo>
                <a:lnTo>
                  <a:pt x="1473" y="3927"/>
                </a:lnTo>
                <a:cubicBezTo>
                  <a:pt x="1202" y="3927"/>
                  <a:pt x="982" y="4147"/>
                  <a:pt x="982" y="4418"/>
                </a:cubicBezTo>
                <a:cubicBezTo>
                  <a:pt x="982" y="4690"/>
                  <a:pt x="1202" y="4909"/>
                  <a:pt x="1473" y="4909"/>
                </a:cubicBezTo>
                <a:lnTo>
                  <a:pt x="4418" y="4909"/>
                </a:lnTo>
                <a:cubicBezTo>
                  <a:pt x="4689" y="4909"/>
                  <a:pt x="4909" y="4690"/>
                  <a:pt x="4909" y="4418"/>
                </a:cubicBezTo>
                <a:lnTo>
                  <a:pt x="4909" y="1473"/>
                </a:lnTo>
                <a:cubicBezTo>
                  <a:pt x="4909" y="1201"/>
                  <a:pt x="4689" y="982"/>
                  <a:pt x="4418" y="982"/>
                </a:cubicBezTo>
                <a:cubicBezTo>
                  <a:pt x="4147" y="982"/>
                  <a:pt x="3927" y="1201"/>
                  <a:pt x="3927" y="1473"/>
                </a:cubicBezTo>
                <a:lnTo>
                  <a:pt x="3927" y="3233"/>
                </a:lnTo>
                <a:lnTo>
                  <a:pt x="838" y="144"/>
                </a:lnTo>
                <a:cubicBezTo>
                  <a:pt x="749" y="55"/>
                  <a:pt x="626" y="0"/>
                  <a:pt x="491" y="0"/>
                </a:cubicBezTo>
                <a:cubicBezTo>
                  <a:pt x="220" y="0"/>
                  <a:pt x="0" y="220"/>
                  <a:pt x="0" y="491"/>
                </a:cubicBezTo>
                <a:cubicBezTo>
                  <a:pt x="0" y="627"/>
                  <a:pt x="55" y="749"/>
                  <a:pt x="144" y="838"/>
                </a:cubicBezTo>
                <a:cubicBezTo>
                  <a:pt x="144" y="838"/>
                  <a:pt x="3233" y="3927"/>
                  <a:pt x="3233" y="3927"/>
                </a:cubicBezTo>
                <a:close/>
                <a:moveTo>
                  <a:pt x="17182" y="4909"/>
                </a:moveTo>
                <a:lnTo>
                  <a:pt x="20127" y="4909"/>
                </a:lnTo>
                <a:cubicBezTo>
                  <a:pt x="20398" y="4909"/>
                  <a:pt x="20618" y="4690"/>
                  <a:pt x="20618" y="4418"/>
                </a:cubicBezTo>
                <a:cubicBezTo>
                  <a:pt x="20618" y="4147"/>
                  <a:pt x="20398" y="3927"/>
                  <a:pt x="20127" y="3927"/>
                </a:cubicBezTo>
                <a:lnTo>
                  <a:pt x="18367" y="3927"/>
                </a:lnTo>
                <a:lnTo>
                  <a:pt x="21456" y="838"/>
                </a:lnTo>
                <a:cubicBezTo>
                  <a:pt x="21545" y="749"/>
                  <a:pt x="21600" y="627"/>
                  <a:pt x="21600" y="491"/>
                </a:cubicBezTo>
                <a:cubicBezTo>
                  <a:pt x="21600" y="220"/>
                  <a:pt x="21380" y="0"/>
                  <a:pt x="21109" y="0"/>
                </a:cubicBezTo>
                <a:cubicBezTo>
                  <a:pt x="20974" y="0"/>
                  <a:pt x="20851" y="55"/>
                  <a:pt x="20762" y="144"/>
                </a:cubicBezTo>
                <a:lnTo>
                  <a:pt x="17673" y="3233"/>
                </a:lnTo>
                <a:lnTo>
                  <a:pt x="17673" y="1473"/>
                </a:lnTo>
                <a:cubicBezTo>
                  <a:pt x="17673" y="1201"/>
                  <a:pt x="17453" y="982"/>
                  <a:pt x="17182" y="982"/>
                </a:cubicBezTo>
                <a:cubicBezTo>
                  <a:pt x="16911" y="982"/>
                  <a:pt x="16691" y="1201"/>
                  <a:pt x="16691" y="1473"/>
                </a:cubicBezTo>
                <a:lnTo>
                  <a:pt x="16691" y="4418"/>
                </a:lnTo>
                <a:cubicBezTo>
                  <a:pt x="16691" y="4690"/>
                  <a:pt x="16911" y="4909"/>
                  <a:pt x="17182" y="49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48" name="Shape 2948"/>
          <p:cNvSpPr/>
          <p:nvPr/>
        </p:nvSpPr>
        <p:spPr>
          <a:xfrm>
            <a:off x="16842215" y="6578673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275" y="6273"/>
                </a:moveTo>
                <a:cubicBezTo>
                  <a:pt x="6275" y="6273"/>
                  <a:pt x="6661" y="6914"/>
                  <a:pt x="8976" y="7703"/>
                </a:cubicBezTo>
                <a:cubicBezTo>
                  <a:pt x="8976" y="7703"/>
                  <a:pt x="9413" y="7721"/>
                  <a:pt x="8899" y="7354"/>
                </a:cubicBezTo>
                <a:cubicBezTo>
                  <a:pt x="8384" y="6987"/>
                  <a:pt x="7819" y="6529"/>
                  <a:pt x="8462" y="6291"/>
                </a:cubicBezTo>
                <a:cubicBezTo>
                  <a:pt x="9104" y="6052"/>
                  <a:pt x="9285" y="6071"/>
                  <a:pt x="9439" y="6511"/>
                </a:cubicBezTo>
                <a:cubicBezTo>
                  <a:pt x="9594" y="6950"/>
                  <a:pt x="10108" y="6694"/>
                  <a:pt x="10159" y="6273"/>
                </a:cubicBezTo>
                <a:cubicBezTo>
                  <a:pt x="10211" y="5851"/>
                  <a:pt x="11163" y="5411"/>
                  <a:pt x="11806" y="5209"/>
                </a:cubicBezTo>
                <a:cubicBezTo>
                  <a:pt x="12449" y="5007"/>
                  <a:pt x="13040" y="4934"/>
                  <a:pt x="12963" y="4585"/>
                </a:cubicBezTo>
                <a:cubicBezTo>
                  <a:pt x="12886" y="4237"/>
                  <a:pt x="12706" y="3980"/>
                  <a:pt x="11703" y="3980"/>
                </a:cubicBezTo>
                <a:cubicBezTo>
                  <a:pt x="10699" y="3980"/>
                  <a:pt x="11137" y="4934"/>
                  <a:pt x="10314" y="4365"/>
                </a:cubicBezTo>
                <a:cubicBezTo>
                  <a:pt x="9491" y="3797"/>
                  <a:pt x="10493" y="3944"/>
                  <a:pt x="10905" y="3816"/>
                </a:cubicBezTo>
                <a:cubicBezTo>
                  <a:pt x="11317" y="3687"/>
                  <a:pt x="11729" y="3155"/>
                  <a:pt x="11009" y="3119"/>
                </a:cubicBezTo>
                <a:cubicBezTo>
                  <a:pt x="10287" y="3082"/>
                  <a:pt x="10442" y="3339"/>
                  <a:pt x="9876" y="3192"/>
                </a:cubicBezTo>
                <a:cubicBezTo>
                  <a:pt x="9310" y="3045"/>
                  <a:pt x="9053" y="3706"/>
                  <a:pt x="8693" y="3614"/>
                </a:cubicBezTo>
                <a:cubicBezTo>
                  <a:pt x="8519" y="3570"/>
                  <a:pt x="8131" y="3374"/>
                  <a:pt x="7770" y="3142"/>
                </a:cubicBezTo>
                <a:cubicBezTo>
                  <a:pt x="6767" y="3765"/>
                  <a:pt x="6022" y="4597"/>
                  <a:pt x="5656" y="5546"/>
                </a:cubicBezTo>
                <a:cubicBezTo>
                  <a:pt x="5919" y="6021"/>
                  <a:pt x="6275" y="6273"/>
                  <a:pt x="6275" y="6273"/>
                </a:cubicBezTo>
                <a:moveTo>
                  <a:pt x="20588" y="12027"/>
                </a:moveTo>
                <a:cubicBezTo>
                  <a:pt x="20407" y="12027"/>
                  <a:pt x="20245" y="12080"/>
                  <a:pt x="20124" y="12164"/>
                </a:cubicBezTo>
                <a:lnTo>
                  <a:pt x="20119" y="12161"/>
                </a:lnTo>
                <a:cubicBezTo>
                  <a:pt x="18145" y="13734"/>
                  <a:pt x="15310" y="14727"/>
                  <a:pt x="12150" y="14727"/>
                </a:cubicBezTo>
                <a:cubicBezTo>
                  <a:pt x="6186" y="14727"/>
                  <a:pt x="1350" y="11211"/>
                  <a:pt x="1350" y="6873"/>
                </a:cubicBezTo>
                <a:cubicBezTo>
                  <a:pt x="1350" y="4606"/>
                  <a:pt x="2678" y="2571"/>
                  <a:pt x="4788" y="1137"/>
                </a:cubicBezTo>
                <a:lnTo>
                  <a:pt x="4777" y="1127"/>
                </a:lnTo>
                <a:cubicBezTo>
                  <a:pt x="4945" y="1037"/>
                  <a:pt x="5062" y="900"/>
                  <a:pt x="5062" y="736"/>
                </a:cubicBezTo>
                <a:cubicBezTo>
                  <a:pt x="5062" y="465"/>
                  <a:pt x="4760" y="245"/>
                  <a:pt x="4388" y="245"/>
                </a:cubicBezTo>
                <a:cubicBezTo>
                  <a:pt x="4192" y="245"/>
                  <a:pt x="4020" y="308"/>
                  <a:pt x="3897" y="405"/>
                </a:cubicBezTo>
                <a:lnTo>
                  <a:pt x="3895" y="403"/>
                </a:lnTo>
                <a:cubicBezTo>
                  <a:pt x="1505" y="2016"/>
                  <a:pt x="0" y="4314"/>
                  <a:pt x="0" y="6873"/>
                </a:cubicBezTo>
                <a:cubicBezTo>
                  <a:pt x="0" y="11587"/>
                  <a:pt x="5081" y="15428"/>
                  <a:pt x="11475" y="15684"/>
                </a:cubicBezTo>
                <a:lnTo>
                  <a:pt x="11475" y="20618"/>
                </a:lnTo>
                <a:lnTo>
                  <a:pt x="7425" y="20618"/>
                </a:lnTo>
                <a:cubicBezTo>
                  <a:pt x="7052" y="20618"/>
                  <a:pt x="6750" y="20838"/>
                  <a:pt x="6750" y="21109"/>
                </a:cubicBezTo>
                <a:cubicBezTo>
                  <a:pt x="6750" y="21380"/>
                  <a:pt x="7052" y="21600"/>
                  <a:pt x="7425" y="21600"/>
                </a:cubicBezTo>
                <a:lnTo>
                  <a:pt x="16875" y="21600"/>
                </a:lnTo>
                <a:cubicBezTo>
                  <a:pt x="17247" y="21600"/>
                  <a:pt x="17550" y="21380"/>
                  <a:pt x="17550" y="21109"/>
                </a:cubicBezTo>
                <a:cubicBezTo>
                  <a:pt x="17550" y="20838"/>
                  <a:pt x="17247" y="20618"/>
                  <a:pt x="16875" y="20618"/>
                </a:cubicBezTo>
                <a:lnTo>
                  <a:pt x="12825" y="20618"/>
                </a:lnTo>
                <a:lnTo>
                  <a:pt x="12825" y="15684"/>
                </a:lnTo>
                <a:cubicBezTo>
                  <a:pt x="16068" y="15554"/>
                  <a:pt x="18970" y="14500"/>
                  <a:pt x="21045" y="12880"/>
                </a:cubicBezTo>
                <a:lnTo>
                  <a:pt x="21041" y="12877"/>
                </a:lnTo>
                <a:cubicBezTo>
                  <a:pt x="21175" y="12788"/>
                  <a:pt x="21262" y="12661"/>
                  <a:pt x="21262" y="12518"/>
                </a:cubicBezTo>
                <a:cubicBezTo>
                  <a:pt x="21262" y="12247"/>
                  <a:pt x="20960" y="12027"/>
                  <a:pt x="20588" y="12027"/>
                </a:cubicBezTo>
                <a:moveTo>
                  <a:pt x="12150" y="982"/>
                </a:moveTo>
                <a:cubicBezTo>
                  <a:pt x="16623" y="982"/>
                  <a:pt x="20250" y="3619"/>
                  <a:pt x="20250" y="6873"/>
                </a:cubicBezTo>
                <a:cubicBezTo>
                  <a:pt x="20250" y="10127"/>
                  <a:pt x="16623" y="12764"/>
                  <a:pt x="12150" y="12764"/>
                </a:cubicBezTo>
                <a:cubicBezTo>
                  <a:pt x="7677" y="12764"/>
                  <a:pt x="4050" y="10127"/>
                  <a:pt x="4050" y="6873"/>
                </a:cubicBezTo>
                <a:cubicBezTo>
                  <a:pt x="4050" y="3619"/>
                  <a:pt x="7677" y="982"/>
                  <a:pt x="12150" y="982"/>
                </a:cubicBezTo>
                <a:moveTo>
                  <a:pt x="12150" y="13745"/>
                </a:moveTo>
                <a:cubicBezTo>
                  <a:pt x="17369" y="13745"/>
                  <a:pt x="21600" y="10669"/>
                  <a:pt x="21600" y="6873"/>
                </a:cubicBezTo>
                <a:cubicBezTo>
                  <a:pt x="21600" y="3077"/>
                  <a:pt x="17369" y="0"/>
                  <a:pt x="12150" y="0"/>
                </a:cubicBezTo>
                <a:cubicBezTo>
                  <a:pt x="6931" y="0"/>
                  <a:pt x="2700" y="3077"/>
                  <a:pt x="2700" y="6873"/>
                </a:cubicBezTo>
                <a:cubicBezTo>
                  <a:pt x="2700" y="10669"/>
                  <a:pt x="6931" y="13745"/>
                  <a:pt x="12150" y="13745"/>
                </a:cubicBezTo>
                <a:moveTo>
                  <a:pt x="16733" y="8152"/>
                </a:moveTo>
                <a:cubicBezTo>
                  <a:pt x="16437" y="8280"/>
                  <a:pt x="16449" y="8564"/>
                  <a:pt x="16693" y="8720"/>
                </a:cubicBezTo>
                <a:cubicBezTo>
                  <a:pt x="16938" y="8876"/>
                  <a:pt x="17427" y="9078"/>
                  <a:pt x="17581" y="8720"/>
                </a:cubicBezTo>
                <a:cubicBezTo>
                  <a:pt x="17736" y="8362"/>
                  <a:pt x="17028" y="8023"/>
                  <a:pt x="16733" y="8152"/>
                </a:cubicBezTo>
                <a:moveTo>
                  <a:pt x="11317" y="7428"/>
                </a:moveTo>
                <a:cubicBezTo>
                  <a:pt x="10211" y="7428"/>
                  <a:pt x="9516" y="7611"/>
                  <a:pt x="9800" y="8711"/>
                </a:cubicBezTo>
                <a:cubicBezTo>
                  <a:pt x="10082" y="9811"/>
                  <a:pt x="10905" y="9316"/>
                  <a:pt x="10828" y="10160"/>
                </a:cubicBezTo>
                <a:cubicBezTo>
                  <a:pt x="10751" y="11003"/>
                  <a:pt x="11034" y="11186"/>
                  <a:pt x="11214" y="11388"/>
                </a:cubicBezTo>
                <a:cubicBezTo>
                  <a:pt x="11315" y="11501"/>
                  <a:pt x="11532" y="11731"/>
                  <a:pt x="11738" y="11767"/>
                </a:cubicBezTo>
                <a:cubicBezTo>
                  <a:pt x="11768" y="11768"/>
                  <a:pt x="11798" y="11769"/>
                  <a:pt x="11828" y="11770"/>
                </a:cubicBezTo>
                <a:cubicBezTo>
                  <a:pt x="11954" y="11751"/>
                  <a:pt x="12068" y="11642"/>
                  <a:pt x="12140" y="11351"/>
                </a:cubicBezTo>
                <a:cubicBezTo>
                  <a:pt x="12346" y="10526"/>
                  <a:pt x="12732" y="10067"/>
                  <a:pt x="13169" y="9664"/>
                </a:cubicBezTo>
                <a:cubicBezTo>
                  <a:pt x="13606" y="9261"/>
                  <a:pt x="14070" y="8729"/>
                  <a:pt x="13195" y="8197"/>
                </a:cubicBezTo>
                <a:cubicBezTo>
                  <a:pt x="12320" y="7666"/>
                  <a:pt x="12423" y="7428"/>
                  <a:pt x="11317" y="7428"/>
                </a:cubicBezTo>
                <a:moveTo>
                  <a:pt x="14404" y="3284"/>
                </a:moveTo>
                <a:cubicBezTo>
                  <a:pt x="14404" y="3284"/>
                  <a:pt x="14198" y="3431"/>
                  <a:pt x="14404" y="3962"/>
                </a:cubicBezTo>
                <a:cubicBezTo>
                  <a:pt x="14610" y="4494"/>
                  <a:pt x="14955" y="4609"/>
                  <a:pt x="15974" y="4311"/>
                </a:cubicBezTo>
                <a:cubicBezTo>
                  <a:pt x="16411" y="4182"/>
                  <a:pt x="16742" y="4248"/>
                  <a:pt x="16693" y="4567"/>
                </a:cubicBezTo>
                <a:cubicBezTo>
                  <a:pt x="16591" y="5246"/>
                  <a:pt x="15858" y="5217"/>
                  <a:pt x="16411" y="6309"/>
                </a:cubicBezTo>
                <a:cubicBezTo>
                  <a:pt x="16745" y="6969"/>
                  <a:pt x="17568" y="7226"/>
                  <a:pt x="17877" y="7739"/>
                </a:cubicBezTo>
                <a:cubicBezTo>
                  <a:pt x="17984" y="7918"/>
                  <a:pt x="18288" y="8083"/>
                  <a:pt x="18633" y="8228"/>
                </a:cubicBezTo>
                <a:cubicBezTo>
                  <a:pt x="18803" y="7797"/>
                  <a:pt x="18900" y="7344"/>
                  <a:pt x="18900" y="6873"/>
                </a:cubicBezTo>
                <a:cubicBezTo>
                  <a:pt x="18900" y="4752"/>
                  <a:pt x="17047" y="2950"/>
                  <a:pt x="14457" y="2264"/>
                </a:cubicBezTo>
                <a:cubicBezTo>
                  <a:pt x="14328" y="2411"/>
                  <a:pt x="14192" y="2545"/>
                  <a:pt x="14044" y="2605"/>
                </a:cubicBezTo>
                <a:cubicBezTo>
                  <a:pt x="13684" y="2752"/>
                  <a:pt x="13710" y="3339"/>
                  <a:pt x="14404" y="328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49" name="Shape 2949"/>
          <p:cNvSpPr/>
          <p:nvPr/>
        </p:nvSpPr>
        <p:spPr>
          <a:xfrm>
            <a:off x="17883341" y="6578673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52" y="16691"/>
                </a:moveTo>
                <a:lnTo>
                  <a:pt x="3600" y="16691"/>
                </a:lnTo>
                <a:lnTo>
                  <a:pt x="3600" y="11782"/>
                </a:lnTo>
                <a:lnTo>
                  <a:pt x="17152" y="11782"/>
                </a:lnTo>
                <a:lnTo>
                  <a:pt x="20152" y="14236"/>
                </a:lnTo>
                <a:cubicBezTo>
                  <a:pt x="20152" y="14236"/>
                  <a:pt x="17152" y="16691"/>
                  <a:pt x="17152" y="16691"/>
                </a:cubicBezTo>
                <a:close/>
                <a:moveTo>
                  <a:pt x="11400" y="20618"/>
                </a:moveTo>
                <a:lnTo>
                  <a:pt x="10200" y="20618"/>
                </a:lnTo>
                <a:lnTo>
                  <a:pt x="10200" y="17673"/>
                </a:lnTo>
                <a:lnTo>
                  <a:pt x="11400" y="17673"/>
                </a:lnTo>
                <a:cubicBezTo>
                  <a:pt x="11400" y="17673"/>
                  <a:pt x="11400" y="20618"/>
                  <a:pt x="11400" y="20618"/>
                </a:cubicBezTo>
                <a:close/>
                <a:moveTo>
                  <a:pt x="11400" y="10800"/>
                </a:moveTo>
                <a:lnTo>
                  <a:pt x="10200" y="10800"/>
                </a:lnTo>
                <a:lnTo>
                  <a:pt x="10200" y="8836"/>
                </a:lnTo>
                <a:lnTo>
                  <a:pt x="11400" y="8836"/>
                </a:lnTo>
                <a:cubicBezTo>
                  <a:pt x="11400" y="8836"/>
                  <a:pt x="11400" y="10800"/>
                  <a:pt x="11400" y="10800"/>
                </a:cubicBezTo>
                <a:close/>
                <a:moveTo>
                  <a:pt x="4448" y="7855"/>
                </a:moveTo>
                <a:lnTo>
                  <a:pt x="1448" y="5400"/>
                </a:lnTo>
                <a:lnTo>
                  <a:pt x="4448" y="2945"/>
                </a:lnTo>
                <a:lnTo>
                  <a:pt x="18000" y="2945"/>
                </a:lnTo>
                <a:lnTo>
                  <a:pt x="18000" y="7855"/>
                </a:lnTo>
                <a:cubicBezTo>
                  <a:pt x="18000" y="7855"/>
                  <a:pt x="4448" y="7855"/>
                  <a:pt x="4448" y="7855"/>
                </a:cubicBezTo>
                <a:close/>
                <a:moveTo>
                  <a:pt x="10200" y="982"/>
                </a:moveTo>
                <a:lnTo>
                  <a:pt x="11400" y="982"/>
                </a:lnTo>
                <a:lnTo>
                  <a:pt x="11400" y="1964"/>
                </a:lnTo>
                <a:lnTo>
                  <a:pt x="10200" y="1964"/>
                </a:lnTo>
                <a:cubicBezTo>
                  <a:pt x="10200" y="1964"/>
                  <a:pt x="10200" y="982"/>
                  <a:pt x="10200" y="982"/>
                </a:cubicBezTo>
                <a:close/>
                <a:moveTo>
                  <a:pt x="21424" y="13889"/>
                </a:moveTo>
                <a:lnTo>
                  <a:pt x="17824" y="10944"/>
                </a:lnTo>
                <a:cubicBezTo>
                  <a:pt x="17715" y="10855"/>
                  <a:pt x="17565" y="10800"/>
                  <a:pt x="17400" y="10800"/>
                </a:cubicBezTo>
                <a:lnTo>
                  <a:pt x="12600" y="10800"/>
                </a:lnTo>
                <a:lnTo>
                  <a:pt x="12600" y="8836"/>
                </a:lnTo>
                <a:lnTo>
                  <a:pt x="18600" y="8836"/>
                </a:lnTo>
                <a:cubicBezTo>
                  <a:pt x="18932" y="8836"/>
                  <a:pt x="19200" y="8616"/>
                  <a:pt x="19200" y="8345"/>
                </a:cubicBezTo>
                <a:lnTo>
                  <a:pt x="19200" y="2455"/>
                </a:lnTo>
                <a:cubicBezTo>
                  <a:pt x="19200" y="2184"/>
                  <a:pt x="18932" y="1964"/>
                  <a:pt x="18600" y="1964"/>
                </a:cubicBezTo>
                <a:lnTo>
                  <a:pt x="12600" y="1964"/>
                </a:lnTo>
                <a:lnTo>
                  <a:pt x="12600" y="982"/>
                </a:lnTo>
                <a:cubicBezTo>
                  <a:pt x="12600" y="440"/>
                  <a:pt x="12063" y="0"/>
                  <a:pt x="11400" y="0"/>
                </a:cubicBezTo>
                <a:lnTo>
                  <a:pt x="10200" y="0"/>
                </a:lnTo>
                <a:cubicBezTo>
                  <a:pt x="9537" y="0"/>
                  <a:pt x="9000" y="440"/>
                  <a:pt x="9000" y="982"/>
                </a:cubicBezTo>
                <a:lnTo>
                  <a:pt x="9000" y="1964"/>
                </a:lnTo>
                <a:lnTo>
                  <a:pt x="4200" y="1964"/>
                </a:lnTo>
                <a:cubicBezTo>
                  <a:pt x="4034" y="1964"/>
                  <a:pt x="3885" y="2019"/>
                  <a:pt x="3776" y="2107"/>
                </a:cubicBezTo>
                <a:lnTo>
                  <a:pt x="176" y="5053"/>
                </a:lnTo>
                <a:cubicBezTo>
                  <a:pt x="67" y="5142"/>
                  <a:pt x="0" y="5265"/>
                  <a:pt x="0" y="5400"/>
                </a:cubicBezTo>
                <a:cubicBezTo>
                  <a:pt x="0" y="5536"/>
                  <a:pt x="67" y="5658"/>
                  <a:pt x="176" y="5747"/>
                </a:cubicBezTo>
                <a:lnTo>
                  <a:pt x="3776" y="8693"/>
                </a:lnTo>
                <a:cubicBezTo>
                  <a:pt x="3885" y="8782"/>
                  <a:pt x="4034" y="8836"/>
                  <a:pt x="4200" y="8836"/>
                </a:cubicBezTo>
                <a:lnTo>
                  <a:pt x="9000" y="8836"/>
                </a:lnTo>
                <a:lnTo>
                  <a:pt x="9000" y="10800"/>
                </a:lnTo>
                <a:lnTo>
                  <a:pt x="3000" y="10800"/>
                </a:lnTo>
                <a:cubicBezTo>
                  <a:pt x="2668" y="10800"/>
                  <a:pt x="2400" y="11020"/>
                  <a:pt x="2400" y="11291"/>
                </a:cubicBezTo>
                <a:lnTo>
                  <a:pt x="2400" y="17182"/>
                </a:lnTo>
                <a:cubicBezTo>
                  <a:pt x="2400" y="17453"/>
                  <a:pt x="2668" y="17673"/>
                  <a:pt x="3000" y="17673"/>
                </a:cubicBezTo>
                <a:lnTo>
                  <a:pt x="9000" y="17673"/>
                </a:lnTo>
                <a:lnTo>
                  <a:pt x="9000" y="20618"/>
                </a:lnTo>
                <a:cubicBezTo>
                  <a:pt x="9000" y="21160"/>
                  <a:pt x="9537" y="21600"/>
                  <a:pt x="10200" y="21600"/>
                </a:cubicBezTo>
                <a:lnTo>
                  <a:pt x="11400" y="21600"/>
                </a:lnTo>
                <a:cubicBezTo>
                  <a:pt x="12063" y="21600"/>
                  <a:pt x="12600" y="21160"/>
                  <a:pt x="12600" y="20618"/>
                </a:cubicBezTo>
                <a:lnTo>
                  <a:pt x="12600" y="17673"/>
                </a:lnTo>
                <a:lnTo>
                  <a:pt x="17400" y="17673"/>
                </a:lnTo>
                <a:cubicBezTo>
                  <a:pt x="17565" y="17673"/>
                  <a:pt x="17715" y="17618"/>
                  <a:pt x="17824" y="17529"/>
                </a:cubicBezTo>
                <a:lnTo>
                  <a:pt x="21424" y="14583"/>
                </a:lnTo>
                <a:cubicBezTo>
                  <a:pt x="21533" y="14495"/>
                  <a:pt x="21600" y="14372"/>
                  <a:pt x="21600" y="14236"/>
                </a:cubicBezTo>
                <a:cubicBezTo>
                  <a:pt x="21600" y="14101"/>
                  <a:pt x="21533" y="13978"/>
                  <a:pt x="21424" y="1388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50" name="Shape 2950"/>
          <p:cNvSpPr/>
          <p:nvPr/>
        </p:nvSpPr>
        <p:spPr>
          <a:xfrm>
            <a:off x="18949863" y="6578673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200" y="7855"/>
                </a:moveTo>
                <a:lnTo>
                  <a:pt x="7800" y="7855"/>
                </a:lnTo>
                <a:cubicBezTo>
                  <a:pt x="8132" y="7855"/>
                  <a:pt x="8400" y="7635"/>
                  <a:pt x="8400" y="7364"/>
                </a:cubicBezTo>
                <a:cubicBezTo>
                  <a:pt x="8400" y="7092"/>
                  <a:pt x="8132" y="6873"/>
                  <a:pt x="7800" y="6873"/>
                </a:cubicBezTo>
                <a:lnTo>
                  <a:pt x="4200" y="6873"/>
                </a:lnTo>
                <a:cubicBezTo>
                  <a:pt x="3868" y="6873"/>
                  <a:pt x="3600" y="7092"/>
                  <a:pt x="3600" y="7364"/>
                </a:cubicBezTo>
                <a:cubicBezTo>
                  <a:pt x="3600" y="7635"/>
                  <a:pt x="3868" y="7855"/>
                  <a:pt x="4200" y="7855"/>
                </a:cubicBezTo>
                <a:moveTo>
                  <a:pt x="4200" y="11782"/>
                </a:moveTo>
                <a:lnTo>
                  <a:pt x="16200" y="11782"/>
                </a:lnTo>
                <a:cubicBezTo>
                  <a:pt x="16532" y="11782"/>
                  <a:pt x="16800" y="11562"/>
                  <a:pt x="16800" y="11291"/>
                </a:cubicBezTo>
                <a:cubicBezTo>
                  <a:pt x="16800" y="11020"/>
                  <a:pt x="16532" y="10800"/>
                  <a:pt x="16200" y="10800"/>
                </a:cubicBezTo>
                <a:lnTo>
                  <a:pt x="4200" y="10800"/>
                </a:lnTo>
                <a:cubicBezTo>
                  <a:pt x="3868" y="10800"/>
                  <a:pt x="3600" y="11020"/>
                  <a:pt x="3600" y="11291"/>
                </a:cubicBezTo>
                <a:cubicBezTo>
                  <a:pt x="3600" y="11562"/>
                  <a:pt x="3868" y="11782"/>
                  <a:pt x="4200" y="11782"/>
                </a:cubicBezTo>
                <a:moveTo>
                  <a:pt x="4200" y="9818"/>
                </a:moveTo>
                <a:lnTo>
                  <a:pt x="11400" y="9818"/>
                </a:lnTo>
                <a:cubicBezTo>
                  <a:pt x="11732" y="9818"/>
                  <a:pt x="12000" y="9599"/>
                  <a:pt x="12000" y="9327"/>
                </a:cubicBezTo>
                <a:cubicBezTo>
                  <a:pt x="12000" y="9056"/>
                  <a:pt x="11732" y="8836"/>
                  <a:pt x="114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4200" y="5891"/>
                </a:moveTo>
                <a:lnTo>
                  <a:pt x="15000" y="5891"/>
                </a:lnTo>
                <a:cubicBezTo>
                  <a:pt x="15332" y="5891"/>
                  <a:pt x="15600" y="5671"/>
                  <a:pt x="15600" y="5400"/>
                </a:cubicBezTo>
                <a:cubicBezTo>
                  <a:pt x="15600" y="5129"/>
                  <a:pt x="15332" y="4909"/>
                  <a:pt x="15000" y="4909"/>
                </a:cubicBezTo>
                <a:lnTo>
                  <a:pt x="4200" y="4909"/>
                </a:lnTo>
                <a:cubicBezTo>
                  <a:pt x="3868" y="4909"/>
                  <a:pt x="3600" y="5129"/>
                  <a:pt x="3600" y="5400"/>
                </a:cubicBezTo>
                <a:cubicBezTo>
                  <a:pt x="3600" y="5671"/>
                  <a:pt x="3868" y="5891"/>
                  <a:pt x="4200" y="5891"/>
                </a:cubicBezTo>
                <a:moveTo>
                  <a:pt x="20400" y="13745"/>
                </a:moveTo>
                <a:lnTo>
                  <a:pt x="1200" y="13745"/>
                </a:lnTo>
                <a:lnTo>
                  <a:pt x="1200" y="2945"/>
                </a:lnTo>
                <a:lnTo>
                  <a:pt x="20400" y="2945"/>
                </a:lnTo>
                <a:cubicBezTo>
                  <a:pt x="20400" y="2945"/>
                  <a:pt x="20400" y="13745"/>
                  <a:pt x="20400" y="13745"/>
                </a:cubicBezTo>
                <a:close/>
                <a:moveTo>
                  <a:pt x="11400" y="20618"/>
                </a:moveTo>
                <a:lnTo>
                  <a:pt x="10200" y="20618"/>
                </a:lnTo>
                <a:lnTo>
                  <a:pt x="10200" y="14727"/>
                </a:lnTo>
                <a:lnTo>
                  <a:pt x="11400" y="14727"/>
                </a:lnTo>
                <a:cubicBezTo>
                  <a:pt x="11400" y="14727"/>
                  <a:pt x="11400" y="20618"/>
                  <a:pt x="11400" y="20618"/>
                </a:cubicBezTo>
                <a:close/>
                <a:moveTo>
                  <a:pt x="10200" y="982"/>
                </a:moveTo>
                <a:lnTo>
                  <a:pt x="11400" y="982"/>
                </a:lnTo>
                <a:lnTo>
                  <a:pt x="11400" y="1964"/>
                </a:lnTo>
                <a:lnTo>
                  <a:pt x="10200" y="1964"/>
                </a:lnTo>
                <a:cubicBezTo>
                  <a:pt x="10200" y="1964"/>
                  <a:pt x="10200" y="982"/>
                  <a:pt x="10200" y="982"/>
                </a:cubicBezTo>
                <a:close/>
                <a:moveTo>
                  <a:pt x="20400" y="1964"/>
                </a:moveTo>
                <a:lnTo>
                  <a:pt x="12600" y="1964"/>
                </a:lnTo>
                <a:lnTo>
                  <a:pt x="12600" y="982"/>
                </a:lnTo>
                <a:cubicBezTo>
                  <a:pt x="12600" y="440"/>
                  <a:pt x="12062" y="0"/>
                  <a:pt x="11400" y="0"/>
                </a:cubicBezTo>
                <a:lnTo>
                  <a:pt x="10200" y="0"/>
                </a:lnTo>
                <a:cubicBezTo>
                  <a:pt x="9537" y="0"/>
                  <a:pt x="9000" y="440"/>
                  <a:pt x="9000" y="982"/>
                </a:cubicBezTo>
                <a:lnTo>
                  <a:pt x="9000" y="1964"/>
                </a:lnTo>
                <a:lnTo>
                  <a:pt x="1200" y="1964"/>
                </a:lnTo>
                <a:cubicBezTo>
                  <a:pt x="537" y="1964"/>
                  <a:pt x="0" y="2404"/>
                  <a:pt x="0" y="2945"/>
                </a:cubicBezTo>
                <a:lnTo>
                  <a:pt x="0" y="13745"/>
                </a:lnTo>
                <a:cubicBezTo>
                  <a:pt x="0" y="14287"/>
                  <a:pt x="537" y="14727"/>
                  <a:pt x="1200" y="14727"/>
                </a:cubicBezTo>
                <a:lnTo>
                  <a:pt x="9000" y="14727"/>
                </a:lnTo>
                <a:lnTo>
                  <a:pt x="9000" y="20618"/>
                </a:lnTo>
                <a:cubicBezTo>
                  <a:pt x="9000" y="21160"/>
                  <a:pt x="9537" y="21600"/>
                  <a:pt x="10200" y="21600"/>
                </a:cubicBezTo>
                <a:lnTo>
                  <a:pt x="11400" y="21600"/>
                </a:lnTo>
                <a:cubicBezTo>
                  <a:pt x="12062" y="21600"/>
                  <a:pt x="12600" y="21160"/>
                  <a:pt x="12600" y="20618"/>
                </a:cubicBezTo>
                <a:lnTo>
                  <a:pt x="12600" y="14727"/>
                </a:lnTo>
                <a:lnTo>
                  <a:pt x="20400" y="14727"/>
                </a:lnTo>
                <a:cubicBezTo>
                  <a:pt x="21062" y="14727"/>
                  <a:pt x="21600" y="14287"/>
                  <a:pt x="21600" y="13745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17400" y="8836"/>
                </a:moveTo>
                <a:lnTo>
                  <a:pt x="13800" y="8836"/>
                </a:lnTo>
                <a:cubicBezTo>
                  <a:pt x="13468" y="8836"/>
                  <a:pt x="13200" y="9056"/>
                  <a:pt x="13200" y="9327"/>
                </a:cubicBezTo>
                <a:cubicBezTo>
                  <a:pt x="13200" y="9599"/>
                  <a:pt x="13468" y="9818"/>
                  <a:pt x="13800" y="9818"/>
                </a:cubicBezTo>
                <a:lnTo>
                  <a:pt x="17400" y="9818"/>
                </a:lnTo>
                <a:cubicBezTo>
                  <a:pt x="17732" y="9818"/>
                  <a:pt x="18000" y="9599"/>
                  <a:pt x="18000" y="9327"/>
                </a:cubicBezTo>
                <a:cubicBezTo>
                  <a:pt x="18000" y="9056"/>
                  <a:pt x="17732" y="8836"/>
                  <a:pt x="17400" y="8836"/>
                </a:cubicBezTo>
                <a:moveTo>
                  <a:pt x="9600" y="7364"/>
                </a:moveTo>
                <a:cubicBezTo>
                  <a:pt x="9600" y="7635"/>
                  <a:pt x="9868" y="7855"/>
                  <a:pt x="10200" y="7855"/>
                </a:cubicBezTo>
                <a:lnTo>
                  <a:pt x="17400" y="7855"/>
                </a:lnTo>
                <a:cubicBezTo>
                  <a:pt x="17732" y="7855"/>
                  <a:pt x="18000" y="7635"/>
                  <a:pt x="18000" y="7364"/>
                </a:cubicBezTo>
                <a:cubicBezTo>
                  <a:pt x="18000" y="7092"/>
                  <a:pt x="17732" y="6873"/>
                  <a:pt x="17400" y="6873"/>
                </a:cubicBezTo>
                <a:lnTo>
                  <a:pt x="10200" y="6873"/>
                </a:lnTo>
                <a:cubicBezTo>
                  <a:pt x="9868" y="6873"/>
                  <a:pt x="9600" y="7092"/>
                  <a:pt x="9600" y="73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51" name="Shape 2951"/>
          <p:cNvSpPr/>
          <p:nvPr/>
        </p:nvSpPr>
        <p:spPr>
          <a:xfrm>
            <a:off x="19965600" y="6629462"/>
            <a:ext cx="558654" cy="4570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6" y="18796"/>
                  <a:pt x="1048" y="18735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5" y="1873"/>
                </a:lnTo>
                <a:cubicBezTo>
                  <a:pt x="9929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5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3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7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5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5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3255" y="8400"/>
                </a:moveTo>
                <a:lnTo>
                  <a:pt x="10309" y="8400"/>
                </a:lnTo>
                <a:cubicBezTo>
                  <a:pt x="10038" y="8400"/>
                  <a:pt x="9818" y="8668"/>
                  <a:pt x="9818" y="9000"/>
                </a:cubicBezTo>
                <a:cubicBezTo>
                  <a:pt x="9818" y="9332"/>
                  <a:pt x="10038" y="9600"/>
                  <a:pt x="10309" y="9600"/>
                </a:cubicBezTo>
                <a:lnTo>
                  <a:pt x="11821" y="9600"/>
                </a:lnTo>
                <a:cubicBezTo>
                  <a:pt x="10310" y="11177"/>
                  <a:pt x="7852" y="14224"/>
                  <a:pt x="7852" y="17384"/>
                </a:cubicBezTo>
                <a:lnTo>
                  <a:pt x="7857" y="17384"/>
                </a:lnTo>
                <a:cubicBezTo>
                  <a:pt x="7857" y="17389"/>
                  <a:pt x="7855" y="17394"/>
                  <a:pt x="7855" y="17400"/>
                </a:cubicBezTo>
                <a:cubicBezTo>
                  <a:pt x="7855" y="17732"/>
                  <a:pt x="8074" y="18000"/>
                  <a:pt x="8345" y="18000"/>
                </a:cubicBezTo>
                <a:cubicBezTo>
                  <a:pt x="8617" y="18000"/>
                  <a:pt x="8836" y="17732"/>
                  <a:pt x="8836" y="17400"/>
                </a:cubicBezTo>
                <a:cubicBezTo>
                  <a:pt x="8836" y="17394"/>
                  <a:pt x="8833" y="17389"/>
                  <a:pt x="8833" y="17384"/>
                </a:cubicBezTo>
                <a:cubicBezTo>
                  <a:pt x="8833" y="14516"/>
                  <a:pt x="11431" y="11542"/>
                  <a:pt x="12764" y="10204"/>
                </a:cubicBezTo>
                <a:lnTo>
                  <a:pt x="12764" y="12600"/>
                </a:lnTo>
                <a:cubicBezTo>
                  <a:pt x="12764" y="12932"/>
                  <a:pt x="12983" y="13200"/>
                  <a:pt x="13255" y="13200"/>
                </a:cubicBezTo>
                <a:cubicBezTo>
                  <a:pt x="13526" y="13200"/>
                  <a:pt x="13745" y="12932"/>
                  <a:pt x="13745" y="12600"/>
                </a:cubicBezTo>
                <a:lnTo>
                  <a:pt x="13745" y="9000"/>
                </a:lnTo>
                <a:cubicBezTo>
                  <a:pt x="13745" y="8668"/>
                  <a:pt x="13526" y="8400"/>
                  <a:pt x="13255" y="84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52" name="Shape 2952"/>
          <p:cNvSpPr/>
          <p:nvPr/>
        </p:nvSpPr>
        <p:spPr>
          <a:xfrm>
            <a:off x="21032122" y="657867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3745"/>
                </a:moveTo>
                <a:lnTo>
                  <a:pt x="982" y="13745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3745"/>
                  <a:pt x="20618" y="13745"/>
                </a:cubicBezTo>
                <a:close/>
                <a:moveTo>
                  <a:pt x="17673" y="15015"/>
                </a:moveTo>
                <a:lnTo>
                  <a:pt x="16691" y="15997"/>
                </a:lnTo>
                <a:lnTo>
                  <a:pt x="16691" y="14727"/>
                </a:lnTo>
                <a:lnTo>
                  <a:pt x="17673" y="14727"/>
                </a:lnTo>
                <a:cubicBezTo>
                  <a:pt x="17673" y="14727"/>
                  <a:pt x="17673" y="15015"/>
                  <a:pt x="17673" y="15015"/>
                </a:cubicBezTo>
                <a:close/>
                <a:moveTo>
                  <a:pt x="17673" y="17960"/>
                </a:moveTo>
                <a:lnTo>
                  <a:pt x="16894" y="17182"/>
                </a:lnTo>
                <a:lnTo>
                  <a:pt x="17673" y="16403"/>
                </a:lnTo>
                <a:cubicBezTo>
                  <a:pt x="17673" y="16403"/>
                  <a:pt x="17673" y="17960"/>
                  <a:pt x="17673" y="17960"/>
                </a:cubicBezTo>
                <a:close/>
                <a:moveTo>
                  <a:pt x="16691" y="19924"/>
                </a:moveTo>
                <a:lnTo>
                  <a:pt x="16691" y="18367"/>
                </a:lnTo>
                <a:lnTo>
                  <a:pt x="17469" y="19145"/>
                </a:lnTo>
                <a:cubicBezTo>
                  <a:pt x="17469" y="19145"/>
                  <a:pt x="16691" y="19924"/>
                  <a:pt x="16691" y="19924"/>
                </a:cubicBezTo>
                <a:close/>
                <a:moveTo>
                  <a:pt x="4909" y="15997"/>
                </a:moveTo>
                <a:lnTo>
                  <a:pt x="3927" y="15015"/>
                </a:lnTo>
                <a:lnTo>
                  <a:pt x="3927" y="14727"/>
                </a:lnTo>
                <a:lnTo>
                  <a:pt x="4909" y="14727"/>
                </a:lnTo>
                <a:cubicBezTo>
                  <a:pt x="4909" y="14727"/>
                  <a:pt x="4909" y="15997"/>
                  <a:pt x="4909" y="15997"/>
                </a:cubicBezTo>
                <a:close/>
                <a:moveTo>
                  <a:pt x="3927" y="17960"/>
                </a:moveTo>
                <a:lnTo>
                  <a:pt x="3927" y="16403"/>
                </a:lnTo>
                <a:lnTo>
                  <a:pt x="4706" y="17182"/>
                </a:lnTo>
                <a:cubicBezTo>
                  <a:pt x="4706" y="17182"/>
                  <a:pt x="3927" y="17960"/>
                  <a:pt x="3927" y="17960"/>
                </a:cubicBezTo>
                <a:close/>
                <a:moveTo>
                  <a:pt x="4909" y="19924"/>
                </a:moveTo>
                <a:lnTo>
                  <a:pt x="4131" y="19145"/>
                </a:lnTo>
                <a:lnTo>
                  <a:pt x="4909" y="18367"/>
                </a:lnTo>
                <a:cubicBezTo>
                  <a:pt x="4909" y="18367"/>
                  <a:pt x="4909" y="19924"/>
                  <a:pt x="4909" y="19924"/>
                </a:cubicBezTo>
                <a:close/>
                <a:moveTo>
                  <a:pt x="1964" y="1964"/>
                </a:moveTo>
                <a:lnTo>
                  <a:pt x="19636" y="1964"/>
                </a:lnTo>
                <a:lnTo>
                  <a:pt x="19636" y="11782"/>
                </a:lnTo>
                <a:lnTo>
                  <a:pt x="1964" y="11782"/>
                </a:lnTo>
                <a:cubicBezTo>
                  <a:pt x="1964" y="11782"/>
                  <a:pt x="1964" y="1964"/>
                  <a:pt x="1964" y="1964"/>
                </a:cubicBezTo>
                <a:close/>
                <a:moveTo>
                  <a:pt x="20618" y="11782"/>
                </a:moveTo>
                <a:lnTo>
                  <a:pt x="20618" y="1964"/>
                </a:lnTo>
                <a:cubicBezTo>
                  <a:pt x="20618" y="1422"/>
                  <a:pt x="20178" y="982"/>
                  <a:pt x="19636" y="982"/>
                </a:cubicBezTo>
                <a:lnTo>
                  <a:pt x="17673" y="982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982"/>
                </a:lnTo>
                <a:lnTo>
                  <a:pt x="4909" y="982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982"/>
                </a:lnTo>
                <a:lnTo>
                  <a:pt x="1964" y="982"/>
                </a:lnTo>
                <a:cubicBezTo>
                  <a:pt x="1422" y="982"/>
                  <a:pt x="982" y="1422"/>
                  <a:pt x="982" y="1964"/>
                </a:cubicBez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3745"/>
                </a:lnTo>
                <a:cubicBezTo>
                  <a:pt x="0" y="14287"/>
                  <a:pt x="440" y="14727"/>
                  <a:pt x="982" y="14727"/>
                </a:cubicBezTo>
                <a:lnTo>
                  <a:pt x="2945" y="14727"/>
                </a:lnTo>
                <a:lnTo>
                  <a:pt x="2945" y="21109"/>
                </a:lnTo>
                <a:cubicBezTo>
                  <a:pt x="2945" y="21380"/>
                  <a:pt x="3165" y="21600"/>
                  <a:pt x="3436" y="21600"/>
                </a:cubicBezTo>
                <a:cubicBezTo>
                  <a:pt x="3708" y="21600"/>
                  <a:pt x="3927" y="21380"/>
                  <a:pt x="3927" y="21109"/>
                </a:cubicBezTo>
                <a:lnTo>
                  <a:pt x="3927" y="20331"/>
                </a:lnTo>
                <a:lnTo>
                  <a:pt x="5053" y="21456"/>
                </a:lnTo>
                <a:cubicBezTo>
                  <a:pt x="5141" y="21545"/>
                  <a:pt x="5264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4727"/>
                </a:lnTo>
                <a:lnTo>
                  <a:pt x="15709" y="14727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336" y="21600"/>
                  <a:pt x="16459" y="21545"/>
                  <a:pt x="16548" y="21456"/>
                </a:cubicBezTo>
                <a:lnTo>
                  <a:pt x="17673" y="20331"/>
                </a:lnTo>
                <a:lnTo>
                  <a:pt x="17673" y="21109"/>
                </a:lnTo>
                <a:cubicBezTo>
                  <a:pt x="17673" y="21380"/>
                  <a:pt x="17892" y="21600"/>
                  <a:pt x="18164" y="21600"/>
                </a:cubicBezTo>
                <a:cubicBezTo>
                  <a:pt x="18435" y="21600"/>
                  <a:pt x="18655" y="21380"/>
                  <a:pt x="18655" y="21109"/>
                </a:cubicBezTo>
                <a:lnTo>
                  <a:pt x="18655" y="14727"/>
                </a:lnTo>
                <a:lnTo>
                  <a:pt x="20618" y="14727"/>
                </a:lnTo>
                <a:cubicBezTo>
                  <a:pt x="21160" y="14727"/>
                  <a:pt x="21600" y="14287"/>
                  <a:pt x="21600" y="13745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53" name="Shape 2953"/>
          <p:cNvSpPr/>
          <p:nvPr/>
        </p:nvSpPr>
        <p:spPr>
          <a:xfrm>
            <a:off x="22098644" y="657867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3745"/>
                </a:moveTo>
                <a:lnTo>
                  <a:pt x="982" y="13745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3745"/>
                  <a:pt x="20618" y="13745"/>
                </a:cubicBezTo>
                <a:close/>
                <a:moveTo>
                  <a:pt x="17673" y="15015"/>
                </a:moveTo>
                <a:lnTo>
                  <a:pt x="16691" y="15997"/>
                </a:lnTo>
                <a:lnTo>
                  <a:pt x="16691" y="14727"/>
                </a:lnTo>
                <a:lnTo>
                  <a:pt x="17673" y="14727"/>
                </a:lnTo>
                <a:cubicBezTo>
                  <a:pt x="17673" y="14727"/>
                  <a:pt x="17673" y="15015"/>
                  <a:pt x="17673" y="15015"/>
                </a:cubicBezTo>
                <a:close/>
                <a:moveTo>
                  <a:pt x="17673" y="17960"/>
                </a:moveTo>
                <a:lnTo>
                  <a:pt x="16894" y="17182"/>
                </a:lnTo>
                <a:lnTo>
                  <a:pt x="17673" y="16403"/>
                </a:lnTo>
                <a:cubicBezTo>
                  <a:pt x="17673" y="16403"/>
                  <a:pt x="17673" y="17960"/>
                  <a:pt x="17673" y="17960"/>
                </a:cubicBezTo>
                <a:close/>
                <a:moveTo>
                  <a:pt x="16691" y="19924"/>
                </a:moveTo>
                <a:lnTo>
                  <a:pt x="16691" y="18367"/>
                </a:lnTo>
                <a:lnTo>
                  <a:pt x="17469" y="19145"/>
                </a:lnTo>
                <a:cubicBezTo>
                  <a:pt x="17469" y="19145"/>
                  <a:pt x="16691" y="19924"/>
                  <a:pt x="16691" y="19924"/>
                </a:cubicBezTo>
                <a:close/>
                <a:moveTo>
                  <a:pt x="4909" y="15997"/>
                </a:moveTo>
                <a:lnTo>
                  <a:pt x="3927" y="15015"/>
                </a:lnTo>
                <a:lnTo>
                  <a:pt x="3927" y="14727"/>
                </a:lnTo>
                <a:lnTo>
                  <a:pt x="4909" y="14727"/>
                </a:lnTo>
                <a:cubicBezTo>
                  <a:pt x="4909" y="14727"/>
                  <a:pt x="4909" y="15997"/>
                  <a:pt x="4909" y="15997"/>
                </a:cubicBezTo>
                <a:close/>
                <a:moveTo>
                  <a:pt x="3927" y="17960"/>
                </a:moveTo>
                <a:lnTo>
                  <a:pt x="3927" y="16403"/>
                </a:lnTo>
                <a:lnTo>
                  <a:pt x="4706" y="17182"/>
                </a:lnTo>
                <a:cubicBezTo>
                  <a:pt x="4706" y="17182"/>
                  <a:pt x="3927" y="17960"/>
                  <a:pt x="3927" y="17960"/>
                </a:cubicBezTo>
                <a:close/>
                <a:moveTo>
                  <a:pt x="4909" y="19924"/>
                </a:moveTo>
                <a:lnTo>
                  <a:pt x="4131" y="19145"/>
                </a:lnTo>
                <a:lnTo>
                  <a:pt x="4909" y="18367"/>
                </a:lnTo>
                <a:cubicBezTo>
                  <a:pt x="4909" y="18367"/>
                  <a:pt x="4909" y="19924"/>
                  <a:pt x="4909" y="19924"/>
                </a:cubicBezTo>
                <a:close/>
                <a:moveTo>
                  <a:pt x="1964" y="1964"/>
                </a:moveTo>
                <a:lnTo>
                  <a:pt x="19636" y="1964"/>
                </a:lnTo>
                <a:lnTo>
                  <a:pt x="19636" y="11782"/>
                </a:lnTo>
                <a:lnTo>
                  <a:pt x="1964" y="11782"/>
                </a:lnTo>
                <a:cubicBezTo>
                  <a:pt x="1964" y="11782"/>
                  <a:pt x="1964" y="1964"/>
                  <a:pt x="1964" y="1964"/>
                </a:cubicBezTo>
                <a:close/>
                <a:moveTo>
                  <a:pt x="20618" y="11782"/>
                </a:moveTo>
                <a:lnTo>
                  <a:pt x="20618" y="1964"/>
                </a:lnTo>
                <a:cubicBezTo>
                  <a:pt x="20618" y="1422"/>
                  <a:pt x="20178" y="982"/>
                  <a:pt x="19636" y="982"/>
                </a:cubicBezTo>
                <a:lnTo>
                  <a:pt x="17673" y="982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982"/>
                </a:lnTo>
                <a:lnTo>
                  <a:pt x="4909" y="982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982"/>
                </a:lnTo>
                <a:lnTo>
                  <a:pt x="1964" y="982"/>
                </a:lnTo>
                <a:cubicBezTo>
                  <a:pt x="1422" y="982"/>
                  <a:pt x="982" y="1422"/>
                  <a:pt x="982" y="1964"/>
                </a:cubicBez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3745"/>
                </a:lnTo>
                <a:cubicBezTo>
                  <a:pt x="0" y="14287"/>
                  <a:pt x="440" y="14727"/>
                  <a:pt x="982" y="14727"/>
                </a:cubicBezTo>
                <a:lnTo>
                  <a:pt x="2945" y="14727"/>
                </a:lnTo>
                <a:lnTo>
                  <a:pt x="2945" y="21109"/>
                </a:lnTo>
                <a:cubicBezTo>
                  <a:pt x="2945" y="21380"/>
                  <a:pt x="3165" y="21600"/>
                  <a:pt x="3436" y="21600"/>
                </a:cubicBezTo>
                <a:cubicBezTo>
                  <a:pt x="3708" y="21600"/>
                  <a:pt x="3927" y="21380"/>
                  <a:pt x="3927" y="21109"/>
                </a:cubicBezTo>
                <a:lnTo>
                  <a:pt x="3927" y="20331"/>
                </a:lnTo>
                <a:lnTo>
                  <a:pt x="5053" y="21456"/>
                </a:lnTo>
                <a:cubicBezTo>
                  <a:pt x="5141" y="21545"/>
                  <a:pt x="5264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4727"/>
                </a:lnTo>
                <a:lnTo>
                  <a:pt x="15709" y="14727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336" y="21600"/>
                  <a:pt x="16458" y="21545"/>
                  <a:pt x="16548" y="21456"/>
                </a:cubicBezTo>
                <a:lnTo>
                  <a:pt x="17673" y="20331"/>
                </a:lnTo>
                <a:lnTo>
                  <a:pt x="17673" y="21109"/>
                </a:lnTo>
                <a:cubicBezTo>
                  <a:pt x="17673" y="21380"/>
                  <a:pt x="17892" y="21600"/>
                  <a:pt x="18164" y="21600"/>
                </a:cubicBezTo>
                <a:cubicBezTo>
                  <a:pt x="18435" y="21600"/>
                  <a:pt x="18655" y="21380"/>
                  <a:pt x="18655" y="21109"/>
                </a:cubicBezTo>
                <a:lnTo>
                  <a:pt x="18655" y="14727"/>
                </a:lnTo>
                <a:lnTo>
                  <a:pt x="20618" y="14727"/>
                </a:lnTo>
                <a:cubicBezTo>
                  <a:pt x="21160" y="14727"/>
                  <a:pt x="21600" y="14287"/>
                  <a:pt x="21600" y="13745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12620" y="4072"/>
                </a:moveTo>
                <a:cubicBezTo>
                  <a:pt x="12531" y="3982"/>
                  <a:pt x="12408" y="3927"/>
                  <a:pt x="12273" y="3927"/>
                </a:cubicBezTo>
                <a:cubicBezTo>
                  <a:pt x="12001" y="3927"/>
                  <a:pt x="11782" y="4147"/>
                  <a:pt x="11782" y="4418"/>
                </a:cubicBezTo>
                <a:cubicBezTo>
                  <a:pt x="11782" y="4554"/>
                  <a:pt x="11837" y="4677"/>
                  <a:pt x="11926" y="4765"/>
                </a:cubicBezTo>
                <a:lnTo>
                  <a:pt x="13542" y="6382"/>
                </a:lnTo>
                <a:lnTo>
                  <a:pt x="6873" y="6382"/>
                </a:lnTo>
                <a:cubicBezTo>
                  <a:pt x="6601" y="6382"/>
                  <a:pt x="6382" y="6602"/>
                  <a:pt x="6382" y="6873"/>
                </a:cubicBezTo>
                <a:cubicBezTo>
                  <a:pt x="6382" y="7144"/>
                  <a:pt x="6601" y="7364"/>
                  <a:pt x="6873" y="7364"/>
                </a:cubicBezTo>
                <a:lnTo>
                  <a:pt x="13542" y="7364"/>
                </a:lnTo>
                <a:lnTo>
                  <a:pt x="11926" y="8980"/>
                </a:lnTo>
                <a:cubicBezTo>
                  <a:pt x="11837" y="9069"/>
                  <a:pt x="11782" y="9192"/>
                  <a:pt x="11782" y="9327"/>
                </a:cubicBezTo>
                <a:cubicBezTo>
                  <a:pt x="11782" y="9599"/>
                  <a:pt x="12001" y="9818"/>
                  <a:pt x="12273" y="9818"/>
                </a:cubicBezTo>
                <a:cubicBezTo>
                  <a:pt x="12408" y="9818"/>
                  <a:pt x="12531" y="9764"/>
                  <a:pt x="12620" y="9674"/>
                </a:cubicBezTo>
                <a:lnTo>
                  <a:pt x="15074" y="7220"/>
                </a:lnTo>
                <a:cubicBezTo>
                  <a:pt x="15163" y="7131"/>
                  <a:pt x="15218" y="7008"/>
                  <a:pt x="15218" y="6873"/>
                </a:cubicBezTo>
                <a:cubicBezTo>
                  <a:pt x="15218" y="6738"/>
                  <a:pt x="15163" y="6614"/>
                  <a:pt x="15074" y="6526"/>
                </a:cubicBezTo>
                <a:cubicBezTo>
                  <a:pt x="15074" y="6526"/>
                  <a:pt x="12620" y="4072"/>
                  <a:pt x="12620" y="4072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55" name="Shape 2955"/>
          <p:cNvSpPr/>
          <p:nvPr/>
        </p:nvSpPr>
        <p:spPr>
          <a:xfrm>
            <a:off x="1758543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7673"/>
                </a:moveTo>
                <a:cubicBezTo>
                  <a:pt x="10529" y="17673"/>
                  <a:pt x="10309" y="17892"/>
                  <a:pt x="10309" y="18164"/>
                </a:cubicBezTo>
                <a:lnTo>
                  <a:pt x="10309" y="21109"/>
                </a:lnTo>
                <a:cubicBezTo>
                  <a:pt x="10309" y="21380"/>
                  <a:pt x="10529" y="21600"/>
                  <a:pt x="10800" y="21600"/>
                </a:cubicBezTo>
                <a:cubicBezTo>
                  <a:pt x="11071" y="21600"/>
                  <a:pt x="11291" y="21380"/>
                  <a:pt x="11291" y="21109"/>
                </a:cubicBezTo>
                <a:lnTo>
                  <a:pt x="11291" y="18164"/>
                </a:lnTo>
                <a:cubicBezTo>
                  <a:pt x="11291" y="17892"/>
                  <a:pt x="11071" y="17673"/>
                  <a:pt x="10800" y="17673"/>
                </a:cubicBezTo>
                <a:moveTo>
                  <a:pt x="10800" y="15709"/>
                </a:moveTo>
                <a:cubicBezTo>
                  <a:pt x="8089" y="15709"/>
                  <a:pt x="5891" y="13511"/>
                  <a:pt x="5891" y="10800"/>
                </a:cubicBezTo>
                <a:cubicBezTo>
                  <a:pt x="5891" y="8088"/>
                  <a:pt x="8089" y="5891"/>
                  <a:pt x="10800" y="5891"/>
                </a:cubicBezTo>
                <a:cubicBezTo>
                  <a:pt x="13511" y="5891"/>
                  <a:pt x="15709" y="8088"/>
                  <a:pt x="15709" y="10800"/>
                </a:cubicBezTo>
                <a:cubicBezTo>
                  <a:pt x="15709" y="13511"/>
                  <a:pt x="13511" y="15709"/>
                  <a:pt x="10800" y="15709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16354" y="15660"/>
                </a:moveTo>
                <a:cubicBezTo>
                  <a:pt x="16162" y="15468"/>
                  <a:pt x="15851" y="15468"/>
                  <a:pt x="15659" y="15660"/>
                </a:cubicBezTo>
                <a:cubicBezTo>
                  <a:pt x="15468" y="15851"/>
                  <a:pt x="15468" y="16163"/>
                  <a:pt x="15659" y="16354"/>
                </a:cubicBezTo>
                <a:lnTo>
                  <a:pt x="17742" y="18437"/>
                </a:lnTo>
                <a:cubicBezTo>
                  <a:pt x="17934" y="18629"/>
                  <a:pt x="18245" y="18629"/>
                  <a:pt x="18437" y="18437"/>
                </a:cubicBezTo>
                <a:cubicBezTo>
                  <a:pt x="18628" y="18245"/>
                  <a:pt x="18628" y="17934"/>
                  <a:pt x="18437" y="17743"/>
                </a:cubicBezTo>
                <a:cubicBezTo>
                  <a:pt x="18437" y="17743"/>
                  <a:pt x="16354" y="15660"/>
                  <a:pt x="16354" y="15660"/>
                </a:cubicBezTo>
                <a:close/>
                <a:moveTo>
                  <a:pt x="21109" y="10309"/>
                </a:moveTo>
                <a:lnTo>
                  <a:pt x="18164" y="10309"/>
                </a:lnTo>
                <a:cubicBezTo>
                  <a:pt x="17893" y="10309"/>
                  <a:pt x="17673" y="10529"/>
                  <a:pt x="17673" y="10800"/>
                </a:cubicBezTo>
                <a:cubicBezTo>
                  <a:pt x="17673" y="11071"/>
                  <a:pt x="17893" y="11291"/>
                  <a:pt x="18164" y="11291"/>
                </a:cubicBezTo>
                <a:lnTo>
                  <a:pt x="21109" y="11291"/>
                </a:lnTo>
                <a:cubicBezTo>
                  <a:pt x="21380" y="11291"/>
                  <a:pt x="21600" y="11071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  <a:moveTo>
                  <a:pt x="5246" y="15660"/>
                </a:moveTo>
                <a:lnTo>
                  <a:pt x="3163" y="17743"/>
                </a:lnTo>
                <a:cubicBezTo>
                  <a:pt x="2972" y="17934"/>
                  <a:pt x="2972" y="18245"/>
                  <a:pt x="3163" y="18437"/>
                </a:cubicBezTo>
                <a:cubicBezTo>
                  <a:pt x="3355" y="18629"/>
                  <a:pt x="3666" y="18629"/>
                  <a:pt x="3858" y="18437"/>
                </a:cubicBezTo>
                <a:lnTo>
                  <a:pt x="5941" y="16354"/>
                </a:lnTo>
                <a:cubicBezTo>
                  <a:pt x="6132" y="16163"/>
                  <a:pt x="6132" y="15851"/>
                  <a:pt x="5941" y="15660"/>
                </a:cubicBezTo>
                <a:cubicBezTo>
                  <a:pt x="5749" y="15468"/>
                  <a:pt x="5438" y="15468"/>
                  <a:pt x="5246" y="15660"/>
                </a:cubicBezTo>
                <a:moveTo>
                  <a:pt x="16354" y="5941"/>
                </a:moveTo>
                <a:lnTo>
                  <a:pt x="18437" y="3857"/>
                </a:lnTo>
                <a:cubicBezTo>
                  <a:pt x="18628" y="3666"/>
                  <a:pt x="18628" y="3355"/>
                  <a:pt x="18437" y="3163"/>
                </a:cubicBezTo>
                <a:cubicBezTo>
                  <a:pt x="18245" y="2971"/>
                  <a:pt x="17934" y="2971"/>
                  <a:pt x="17742" y="3163"/>
                </a:cubicBezTo>
                <a:lnTo>
                  <a:pt x="15659" y="5247"/>
                </a:lnTo>
                <a:cubicBezTo>
                  <a:pt x="15468" y="5437"/>
                  <a:pt x="15468" y="5749"/>
                  <a:pt x="15659" y="5941"/>
                </a:cubicBezTo>
                <a:cubicBezTo>
                  <a:pt x="15851" y="6132"/>
                  <a:pt x="16162" y="6132"/>
                  <a:pt x="16354" y="5941"/>
                </a:cubicBezTo>
                <a:moveTo>
                  <a:pt x="10800" y="3927"/>
                </a:moveTo>
                <a:cubicBezTo>
                  <a:pt x="11071" y="3927"/>
                  <a:pt x="11291" y="3708"/>
                  <a:pt x="11291" y="3436"/>
                </a:cubicBez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3436"/>
                </a:lnTo>
                <a:cubicBezTo>
                  <a:pt x="10309" y="3708"/>
                  <a:pt x="10529" y="3927"/>
                  <a:pt x="10800" y="3927"/>
                </a:cubicBezTo>
                <a:moveTo>
                  <a:pt x="3927" y="10800"/>
                </a:moveTo>
                <a:cubicBezTo>
                  <a:pt x="3927" y="10529"/>
                  <a:pt x="3707" y="10309"/>
                  <a:pt x="3436" y="10309"/>
                </a:cubicBezTo>
                <a:lnTo>
                  <a:pt x="491" y="10309"/>
                </a:lnTo>
                <a:cubicBezTo>
                  <a:pt x="220" y="10309"/>
                  <a:pt x="0" y="10529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lnTo>
                  <a:pt x="3436" y="11291"/>
                </a:lnTo>
                <a:cubicBezTo>
                  <a:pt x="3707" y="11291"/>
                  <a:pt x="3927" y="11071"/>
                  <a:pt x="3927" y="10800"/>
                </a:cubicBezTo>
                <a:moveTo>
                  <a:pt x="5246" y="5941"/>
                </a:moveTo>
                <a:cubicBezTo>
                  <a:pt x="5438" y="6132"/>
                  <a:pt x="5749" y="6132"/>
                  <a:pt x="5941" y="5941"/>
                </a:cubicBezTo>
                <a:cubicBezTo>
                  <a:pt x="6132" y="5749"/>
                  <a:pt x="6132" y="5437"/>
                  <a:pt x="5941" y="5247"/>
                </a:cubicBezTo>
                <a:lnTo>
                  <a:pt x="3858" y="3163"/>
                </a:lnTo>
                <a:cubicBezTo>
                  <a:pt x="3666" y="2971"/>
                  <a:pt x="3355" y="2971"/>
                  <a:pt x="3163" y="3163"/>
                </a:cubicBezTo>
                <a:cubicBezTo>
                  <a:pt x="2972" y="3355"/>
                  <a:pt x="2972" y="3666"/>
                  <a:pt x="3163" y="3857"/>
                </a:cubicBezTo>
                <a:cubicBezTo>
                  <a:pt x="3163" y="3857"/>
                  <a:pt x="5246" y="5941"/>
                  <a:pt x="5246" y="5941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56" name="Shape 2956"/>
          <p:cNvSpPr/>
          <p:nvPr/>
        </p:nvSpPr>
        <p:spPr>
          <a:xfrm>
            <a:off x="2825064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415"/>
                </a:moveTo>
                <a:lnTo>
                  <a:pt x="9040" y="18655"/>
                </a:lnTo>
                <a:lnTo>
                  <a:pt x="9327" y="18655"/>
                </a:lnTo>
                <a:cubicBezTo>
                  <a:pt x="9598" y="18655"/>
                  <a:pt x="9818" y="18435"/>
                  <a:pt x="9818" y="18164"/>
                </a:cubicBezTo>
                <a:lnTo>
                  <a:pt x="9818" y="15709"/>
                </a:lnTo>
                <a:lnTo>
                  <a:pt x="11782" y="15709"/>
                </a:lnTo>
                <a:lnTo>
                  <a:pt x="11782" y="18164"/>
                </a:lnTo>
                <a:cubicBezTo>
                  <a:pt x="11782" y="18435"/>
                  <a:pt x="12002" y="18655"/>
                  <a:pt x="12273" y="18655"/>
                </a:cubicBezTo>
                <a:lnTo>
                  <a:pt x="12560" y="18655"/>
                </a:lnTo>
                <a:cubicBezTo>
                  <a:pt x="12560" y="18655"/>
                  <a:pt x="10800" y="20415"/>
                  <a:pt x="10800" y="20415"/>
                </a:cubicBezTo>
                <a:close/>
                <a:moveTo>
                  <a:pt x="13745" y="17673"/>
                </a:moveTo>
                <a:lnTo>
                  <a:pt x="12764" y="17673"/>
                </a:lnTo>
                <a:lnTo>
                  <a:pt x="12764" y="15218"/>
                </a:lnTo>
                <a:cubicBezTo>
                  <a:pt x="12764" y="14947"/>
                  <a:pt x="12544" y="14727"/>
                  <a:pt x="12273" y="14727"/>
                </a:cubicBezTo>
                <a:lnTo>
                  <a:pt x="9327" y="14727"/>
                </a:lnTo>
                <a:cubicBezTo>
                  <a:pt x="9056" y="14727"/>
                  <a:pt x="8836" y="14947"/>
                  <a:pt x="8836" y="15218"/>
                </a:cubicBezTo>
                <a:lnTo>
                  <a:pt x="8836" y="17673"/>
                </a:lnTo>
                <a:lnTo>
                  <a:pt x="7855" y="17673"/>
                </a:lnTo>
                <a:cubicBezTo>
                  <a:pt x="7584" y="17673"/>
                  <a:pt x="7364" y="17892"/>
                  <a:pt x="7364" y="18164"/>
                </a:cubicBezTo>
                <a:cubicBezTo>
                  <a:pt x="7364" y="18299"/>
                  <a:pt x="7419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5" y="21600"/>
                  <a:pt x="10800" y="21600"/>
                </a:cubicBezTo>
                <a:cubicBezTo>
                  <a:pt x="10935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1" y="18422"/>
                  <a:pt x="14236" y="18299"/>
                  <a:pt x="14236" y="18164"/>
                </a:cubicBezTo>
                <a:cubicBezTo>
                  <a:pt x="14236" y="17892"/>
                  <a:pt x="14016" y="17673"/>
                  <a:pt x="13745" y="17673"/>
                </a:cubicBezTo>
                <a:moveTo>
                  <a:pt x="5891" y="10800"/>
                </a:moveTo>
                <a:cubicBezTo>
                  <a:pt x="5891" y="8088"/>
                  <a:pt x="8089" y="5891"/>
                  <a:pt x="10800" y="5891"/>
                </a:cubicBezTo>
                <a:cubicBezTo>
                  <a:pt x="13511" y="5891"/>
                  <a:pt x="15709" y="8088"/>
                  <a:pt x="15709" y="10800"/>
                </a:cubicBezTo>
                <a:cubicBezTo>
                  <a:pt x="15709" y="10800"/>
                  <a:pt x="5891" y="10800"/>
                  <a:pt x="5891" y="10800"/>
                </a:cubicBezTo>
                <a:close/>
                <a:moveTo>
                  <a:pt x="21109" y="10800"/>
                </a:moveTo>
                <a:lnTo>
                  <a:pt x="16691" y="10800"/>
                </a:lnTo>
                <a:cubicBezTo>
                  <a:pt x="16691" y="7547"/>
                  <a:pt x="14053" y="4909"/>
                  <a:pt x="10800" y="4909"/>
                </a:cubicBezTo>
                <a:cubicBezTo>
                  <a:pt x="7547" y="4909"/>
                  <a:pt x="4909" y="7547"/>
                  <a:pt x="4909" y="10800"/>
                </a:cubicBezTo>
                <a:lnTo>
                  <a:pt x="491" y="10800"/>
                </a:lnTo>
                <a:cubicBezTo>
                  <a:pt x="220" y="10800"/>
                  <a:pt x="0" y="11020"/>
                  <a:pt x="0" y="11291"/>
                </a:cubicBezTo>
                <a:cubicBezTo>
                  <a:pt x="0" y="11562"/>
                  <a:pt x="220" y="11782"/>
                  <a:pt x="491" y="11782"/>
                </a:cubicBezTo>
                <a:lnTo>
                  <a:pt x="21109" y="11782"/>
                </a:lnTo>
                <a:cubicBezTo>
                  <a:pt x="21380" y="11782"/>
                  <a:pt x="21600" y="11562"/>
                  <a:pt x="21600" y="11291"/>
                </a:cubicBezTo>
                <a:cubicBezTo>
                  <a:pt x="21600" y="11020"/>
                  <a:pt x="21380" y="10800"/>
                  <a:pt x="21109" y="10800"/>
                </a:cubicBezTo>
                <a:moveTo>
                  <a:pt x="10800" y="3927"/>
                </a:moveTo>
                <a:cubicBezTo>
                  <a:pt x="11071" y="3927"/>
                  <a:pt x="11291" y="3708"/>
                  <a:pt x="11291" y="3436"/>
                </a:cubicBez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3436"/>
                </a:lnTo>
                <a:cubicBezTo>
                  <a:pt x="10309" y="3708"/>
                  <a:pt x="10529" y="3927"/>
                  <a:pt x="10800" y="3927"/>
                </a:cubicBezTo>
                <a:moveTo>
                  <a:pt x="16354" y="5940"/>
                </a:moveTo>
                <a:lnTo>
                  <a:pt x="18437" y="3857"/>
                </a:lnTo>
                <a:cubicBezTo>
                  <a:pt x="18628" y="3666"/>
                  <a:pt x="18628" y="3355"/>
                  <a:pt x="18437" y="3163"/>
                </a:cubicBezTo>
                <a:cubicBezTo>
                  <a:pt x="18245" y="2971"/>
                  <a:pt x="17934" y="2971"/>
                  <a:pt x="17742" y="3163"/>
                </a:cubicBezTo>
                <a:lnTo>
                  <a:pt x="15659" y="5247"/>
                </a:lnTo>
                <a:cubicBezTo>
                  <a:pt x="15468" y="5437"/>
                  <a:pt x="15468" y="5749"/>
                  <a:pt x="15659" y="5940"/>
                </a:cubicBezTo>
                <a:cubicBezTo>
                  <a:pt x="15851" y="6132"/>
                  <a:pt x="16162" y="6132"/>
                  <a:pt x="16354" y="5940"/>
                </a:cubicBezTo>
                <a:moveTo>
                  <a:pt x="5246" y="5940"/>
                </a:moveTo>
                <a:cubicBezTo>
                  <a:pt x="5438" y="6132"/>
                  <a:pt x="5749" y="6132"/>
                  <a:pt x="5941" y="5940"/>
                </a:cubicBezTo>
                <a:cubicBezTo>
                  <a:pt x="6132" y="5749"/>
                  <a:pt x="6132" y="5437"/>
                  <a:pt x="5941" y="5247"/>
                </a:cubicBezTo>
                <a:lnTo>
                  <a:pt x="3858" y="3163"/>
                </a:lnTo>
                <a:cubicBezTo>
                  <a:pt x="3666" y="2971"/>
                  <a:pt x="3355" y="2971"/>
                  <a:pt x="3163" y="3163"/>
                </a:cubicBezTo>
                <a:cubicBezTo>
                  <a:pt x="2972" y="3355"/>
                  <a:pt x="2972" y="3666"/>
                  <a:pt x="3163" y="3857"/>
                </a:cubicBezTo>
                <a:cubicBezTo>
                  <a:pt x="3163" y="3857"/>
                  <a:pt x="5246" y="5940"/>
                  <a:pt x="5246" y="594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57" name="Shape 2957"/>
          <p:cNvSpPr/>
          <p:nvPr/>
        </p:nvSpPr>
        <p:spPr>
          <a:xfrm>
            <a:off x="3891587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185"/>
                </a:moveTo>
                <a:lnTo>
                  <a:pt x="12560" y="2945"/>
                </a:lnTo>
                <a:lnTo>
                  <a:pt x="12273" y="2945"/>
                </a:lnTo>
                <a:cubicBezTo>
                  <a:pt x="12002" y="2945"/>
                  <a:pt x="11782" y="3165"/>
                  <a:pt x="11782" y="3436"/>
                </a:cubicBezTo>
                <a:lnTo>
                  <a:pt x="11782" y="5891"/>
                </a:lnTo>
                <a:lnTo>
                  <a:pt x="9818" y="5891"/>
                </a:lnTo>
                <a:lnTo>
                  <a:pt x="9818" y="3436"/>
                </a:lnTo>
                <a:cubicBezTo>
                  <a:pt x="9818" y="3165"/>
                  <a:pt x="9598" y="2945"/>
                  <a:pt x="9327" y="2945"/>
                </a:cubicBezTo>
                <a:lnTo>
                  <a:pt x="9040" y="2945"/>
                </a:lnTo>
                <a:cubicBezTo>
                  <a:pt x="9040" y="2945"/>
                  <a:pt x="10800" y="1185"/>
                  <a:pt x="10800" y="1185"/>
                </a:cubicBezTo>
                <a:close/>
                <a:moveTo>
                  <a:pt x="7855" y="3927"/>
                </a:moveTo>
                <a:lnTo>
                  <a:pt x="8836" y="3927"/>
                </a:lnTo>
                <a:lnTo>
                  <a:pt x="8836" y="6382"/>
                </a:lnTo>
                <a:cubicBezTo>
                  <a:pt x="8836" y="6653"/>
                  <a:pt x="9056" y="6873"/>
                  <a:pt x="9327" y="6873"/>
                </a:cubicBezTo>
                <a:lnTo>
                  <a:pt x="12273" y="6873"/>
                </a:lnTo>
                <a:cubicBezTo>
                  <a:pt x="12544" y="6873"/>
                  <a:pt x="12764" y="6653"/>
                  <a:pt x="12764" y="6382"/>
                </a:cubicBezTo>
                <a:lnTo>
                  <a:pt x="12764" y="3927"/>
                </a:lnTo>
                <a:lnTo>
                  <a:pt x="13745" y="3927"/>
                </a:lnTo>
                <a:cubicBezTo>
                  <a:pt x="14016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9" y="55"/>
                  <a:pt x="10935" y="0"/>
                  <a:pt x="10800" y="0"/>
                </a:cubicBezTo>
                <a:cubicBezTo>
                  <a:pt x="10665" y="0"/>
                  <a:pt x="10542" y="55"/>
                  <a:pt x="10452" y="144"/>
                </a:cubicBezTo>
                <a:lnTo>
                  <a:pt x="7507" y="3089"/>
                </a:lnTo>
                <a:cubicBezTo>
                  <a:pt x="7419" y="3178"/>
                  <a:pt x="7364" y="3301"/>
                  <a:pt x="7364" y="3436"/>
                </a:cubicBezTo>
                <a:cubicBezTo>
                  <a:pt x="7364" y="3708"/>
                  <a:pt x="7584" y="3927"/>
                  <a:pt x="7855" y="3927"/>
                </a:cubicBezTo>
                <a:moveTo>
                  <a:pt x="5246" y="15759"/>
                </a:moveTo>
                <a:cubicBezTo>
                  <a:pt x="5438" y="15950"/>
                  <a:pt x="5749" y="15950"/>
                  <a:pt x="5941" y="15759"/>
                </a:cubicBezTo>
                <a:cubicBezTo>
                  <a:pt x="6132" y="15567"/>
                  <a:pt x="6132" y="15256"/>
                  <a:pt x="5941" y="15064"/>
                </a:cubicBezTo>
                <a:lnTo>
                  <a:pt x="3858" y="12981"/>
                </a:lnTo>
                <a:cubicBezTo>
                  <a:pt x="3666" y="12790"/>
                  <a:pt x="3355" y="12790"/>
                  <a:pt x="3163" y="12981"/>
                </a:cubicBezTo>
                <a:cubicBezTo>
                  <a:pt x="2971" y="13173"/>
                  <a:pt x="2971" y="13484"/>
                  <a:pt x="3163" y="13675"/>
                </a:cubicBezTo>
                <a:cubicBezTo>
                  <a:pt x="3163" y="13675"/>
                  <a:pt x="5246" y="15759"/>
                  <a:pt x="5246" y="15759"/>
                </a:cubicBezTo>
                <a:close/>
                <a:moveTo>
                  <a:pt x="10309" y="10309"/>
                </a:moveTo>
                <a:lnTo>
                  <a:pt x="10309" y="13255"/>
                </a:lnTo>
                <a:cubicBezTo>
                  <a:pt x="10309" y="13526"/>
                  <a:pt x="10529" y="13745"/>
                  <a:pt x="10800" y="13745"/>
                </a:cubicBezTo>
                <a:cubicBezTo>
                  <a:pt x="11071" y="13745"/>
                  <a:pt x="11291" y="13526"/>
                  <a:pt x="11291" y="13255"/>
                </a:cubicBezTo>
                <a:lnTo>
                  <a:pt x="11291" y="10309"/>
                </a:lnTo>
                <a:cubicBezTo>
                  <a:pt x="11291" y="10038"/>
                  <a:pt x="11071" y="9818"/>
                  <a:pt x="10800" y="9818"/>
                </a:cubicBezTo>
                <a:cubicBezTo>
                  <a:pt x="10529" y="9818"/>
                  <a:pt x="10309" y="10038"/>
                  <a:pt x="10309" y="10309"/>
                </a:cubicBezTo>
                <a:moveTo>
                  <a:pt x="16354" y="15759"/>
                </a:moveTo>
                <a:lnTo>
                  <a:pt x="18437" y="13675"/>
                </a:lnTo>
                <a:cubicBezTo>
                  <a:pt x="18628" y="13484"/>
                  <a:pt x="18628" y="13173"/>
                  <a:pt x="18437" y="12981"/>
                </a:cubicBezTo>
                <a:cubicBezTo>
                  <a:pt x="18245" y="12790"/>
                  <a:pt x="17934" y="12790"/>
                  <a:pt x="17742" y="12981"/>
                </a:cubicBezTo>
                <a:lnTo>
                  <a:pt x="15659" y="15064"/>
                </a:lnTo>
                <a:cubicBezTo>
                  <a:pt x="15468" y="15256"/>
                  <a:pt x="15468" y="15567"/>
                  <a:pt x="15659" y="15759"/>
                </a:cubicBezTo>
                <a:cubicBezTo>
                  <a:pt x="15851" y="15950"/>
                  <a:pt x="16162" y="15950"/>
                  <a:pt x="16354" y="15759"/>
                </a:cubicBezTo>
                <a:moveTo>
                  <a:pt x="5891" y="20618"/>
                </a:moveTo>
                <a:cubicBezTo>
                  <a:pt x="5891" y="17907"/>
                  <a:pt x="8089" y="15709"/>
                  <a:pt x="10800" y="15709"/>
                </a:cubicBezTo>
                <a:cubicBezTo>
                  <a:pt x="13511" y="15709"/>
                  <a:pt x="15709" y="17907"/>
                  <a:pt x="15709" y="20618"/>
                </a:cubicBezTo>
                <a:cubicBezTo>
                  <a:pt x="15709" y="20618"/>
                  <a:pt x="5891" y="20618"/>
                  <a:pt x="5891" y="20618"/>
                </a:cubicBezTo>
                <a:close/>
                <a:moveTo>
                  <a:pt x="21109" y="20618"/>
                </a:moveTo>
                <a:lnTo>
                  <a:pt x="16691" y="20618"/>
                </a:lnTo>
                <a:cubicBezTo>
                  <a:pt x="16691" y="17365"/>
                  <a:pt x="14053" y="14727"/>
                  <a:pt x="10800" y="14727"/>
                </a:cubicBezTo>
                <a:cubicBezTo>
                  <a:pt x="7547" y="14727"/>
                  <a:pt x="4909" y="17365"/>
                  <a:pt x="4909" y="20618"/>
                </a:cubicBezTo>
                <a:lnTo>
                  <a:pt x="491" y="20618"/>
                </a:lnTo>
                <a:cubicBezTo>
                  <a:pt x="220" y="20618"/>
                  <a:pt x="0" y="20838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cubicBezTo>
                  <a:pt x="21600" y="20838"/>
                  <a:pt x="21380" y="20618"/>
                  <a:pt x="21109" y="206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58" name="Shape 2958"/>
          <p:cNvSpPr/>
          <p:nvPr/>
        </p:nvSpPr>
        <p:spPr>
          <a:xfrm>
            <a:off x="4958109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964"/>
                </a:moveTo>
                <a:lnTo>
                  <a:pt x="19636" y="1964"/>
                </a:lnTo>
                <a:lnTo>
                  <a:pt x="18900" y="0"/>
                </a:lnTo>
                <a:lnTo>
                  <a:pt x="18164" y="1964"/>
                </a:lnTo>
                <a:lnTo>
                  <a:pt x="16200" y="1964"/>
                </a:lnTo>
                <a:lnTo>
                  <a:pt x="17795" y="3191"/>
                </a:lnTo>
                <a:lnTo>
                  <a:pt x="17059" y="5400"/>
                </a:lnTo>
                <a:lnTo>
                  <a:pt x="18900" y="4050"/>
                </a:lnTo>
                <a:lnTo>
                  <a:pt x="20741" y="5400"/>
                </a:lnTo>
                <a:lnTo>
                  <a:pt x="20005" y="3191"/>
                </a:lnTo>
                <a:cubicBezTo>
                  <a:pt x="20005" y="3191"/>
                  <a:pt x="21600" y="1964"/>
                  <a:pt x="21600" y="1964"/>
                </a:cubicBezTo>
                <a:close/>
                <a:moveTo>
                  <a:pt x="10800" y="20616"/>
                </a:moveTo>
                <a:cubicBezTo>
                  <a:pt x="5386" y="20616"/>
                  <a:pt x="982" y="16203"/>
                  <a:pt x="982" y="10777"/>
                </a:cubicBezTo>
                <a:cubicBezTo>
                  <a:pt x="982" y="6434"/>
                  <a:pt x="3745" y="2741"/>
                  <a:pt x="7690" y="1441"/>
                </a:cubicBezTo>
                <a:cubicBezTo>
                  <a:pt x="6837" y="3102"/>
                  <a:pt x="6382" y="4957"/>
                  <a:pt x="6382" y="6841"/>
                </a:cubicBezTo>
                <a:cubicBezTo>
                  <a:pt x="6382" y="13004"/>
                  <a:pt x="11118" y="18079"/>
                  <a:pt x="17134" y="18604"/>
                </a:cubicBezTo>
                <a:cubicBezTo>
                  <a:pt x="15361" y="19863"/>
                  <a:pt x="13065" y="20616"/>
                  <a:pt x="10800" y="20616"/>
                </a:cubicBezTo>
                <a:moveTo>
                  <a:pt x="7364" y="6841"/>
                </a:moveTo>
                <a:cubicBezTo>
                  <a:pt x="7364" y="4248"/>
                  <a:pt x="8276" y="1870"/>
                  <a:pt x="9794" y="5"/>
                </a:cubicBezTo>
                <a:cubicBezTo>
                  <a:pt x="4302" y="514"/>
                  <a:pt x="0" y="5140"/>
                  <a:pt x="0" y="10777"/>
                </a:cubicBezTo>
                <a:cubicBezTo>
                  <a:pt x="0" y="16755"/>
                  <a:pt x="4836" y="21600"/>
                  <a:pt x="10800" y="21600"/>
                </a:cubicBezTo>
                <a:cubicBezTo>
                  <a:pt x="14176" y="21600"/>
                  <a:pt x="17656" y="20045"/>
                  <a:pt x="19636" y="17613"/>
                </a:cubicBezTo>
                <a:cubicBezTo>
                  <a:pt x="19305" y="17644"/>
                  <a:pt x="18503" y="17665"/>
                  <a:pt x="18164" y="17665"/>
                </a:cubicBezTo>
                <a:cubicBezTo>
                  <a:pt x="12199" y="17665"/>
                  <a:pt x="7364" y="12819"/>
                  <a:pt x="7364" y="6841"/>
                </a:cubicBezTo>
                <a:moveTo>
                  <a:pt x="17673" y="10309"/>
                </a:moveTo>
                <a:lnTo>
                  <a:pt x="17137" y="11737"/>
                </a:lnTo>
                <a:lnTo>
                  <a:pt x="15709" y="11737"/>
                </a:lnTo>
                <a:lnTo>
                  <a:pt x="16869" y="12629"/>
                </a:lnTo>
                <a:lnTo>
                  <a:pt x="16334" y="14236"/>
                </a:lnTo>
                <a:lnTo>
                  <a:pt x="17673" y="13255"/>
                </a:lnTo>
                <a:lnTo>
                  <a:pt x="19011" y="14236"/>
                </a:lnTo>
                <a:lnTo>
                  <a:pt x="18476" y="12629"/>
                </a:lnTo>
                <a:lnTo>
                  <a:pt x="19636" y="11737"/>
                </a:lnTo>
                <a:lnTo>
                  <a:pt x="18208" y="11737"/>
                </a:lnTo>
                <a:cubicBezTo>
                  <a:pt x="18208" y="11737"/>
                  <a:pt x="17673" y="10309"/>
                  <a:pt x="17673" y="10309"/>
                </a:cubicBezTo>
                <a:close/>
                <a:moveTo>
                  <a:pt x="11425" y="9327"/>
                </a:moveTo>
                <a:lnTo>
                  <a:pt x="12764" y="8345"/>
                </a:lnTo>
                <a:lnTo>
                  <a:pt x="14102" y="9327"/>
                </a:lnTo>
                <a:lnTo>
                  <a:pt x="13567" y="7721"/>
                </a:lnTo>
                <a:lnTo>
                  <a:pt x="14727" y="6828"/>
                </a:lnTo>
                <a:lnTo>
                  <a:pt x="13299" y="6828"/>
                </a:lnTo>
                <a:lnTo>
                  <a:pt x="12764" y="5400"/>
                </a:lnTo>
                <a:lnTo>
                  <a:pt x="12228" y="6828"/>
                </a:lnTo>
                <a:lnTo>
                  <a:pt x="10800" y="6828"/>
                </a:lnTo>
                <a:lnTo>
                  <a:pt x="11960" y="7721"/>
                </a:lnTo>
                <a:cubicBezTo>
                  <a:pt x="11960" y="7721"/>
                  <a:pt x="11425" y="9327"/>
                  <a:pt x="11425" y="9327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59" name="Shape 2959"/>
          <p:cNvSpPr/>
          <p:nvPr/>
        </p:nvSpPr>
        <p:spPr>
          <a:xfrm>
            <a:off x="6024631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8836"/>
                </a:moveTo>
                <a:cubicBezTo>
                  <a:pt x="6770" y="8836"/>
                  <a:pt x="5891" y="7957"/>
                  <a:pt x="5891" y="6873"/>
                </a:cubicBezTo>
                <a:cubicBezTo>
                  <a:pt x="5891" y="5788"/>
                  <a:pt x="6770" y="4909"/>
                  <a:pt x="7855" y="4909"/>
                </a:cubicBezTo>
                <a:cubicBezTo>
                  <a:pt x="8939" y="4909"/>
                  <a:pt x="9818" y="5788"/>
                  <a:pt x="9818" y="6873"/>
                </a:cubicBezTo>
                <a:cubicBezTo>
                  <a:pt x="9818" y="7957"/>
                  <a:pt x="8939" y="8836"/>
                  <a:pt x="7855" y="8836"/>
                </a:cubicBezTo>
                <a:moveTo>
                  <a:pt x="7855" y="3927"/>
                </a:moveTo>
                <a:cubicBezTo>
                  <a:pt x="6228" y="3927"/>
                  <a:pt x="4909" y="5247"/>
                  <a:pt x="4909" y="6873"/>
                </a:cubicBezTo>
                <a:cubicBezTo>
                  <a:pt x="4909" y="8500"/>
                  <a:pt x="6228" y="9818"/>
                  <a:pt x="7855" y="9818"/>
                </a:cubicBezTo>
                <a:cubicBezTo>
                  <a:pt x="9481" y="9818"/>
                  <a:pt x="10800" y="8500"/>
                  <a:pt x="10800" y="6873"/>
                </a:cubicBezTo>
                <a:cubicBezTo>
                  <a:pt x="10800" y="5247"/>
                  <a:pt x="9481" y="3927"/>
                  <a:pt x="7855" y="3927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2273" y="10800"/>
                </a:moveTo>
                <a:cubicBezTo>
                  <a:pt x="12002" y="10800"/>
                  <a:pt x="11782" y="11020"/>
                  <a:pt x="11782" y="11291"/>
                </a:cubicBezTo>
                <a:cubicBezTo>
                  <a:pt x="11782" y="11562"/>
                  <a:pt x="12002" y="11782"/>
                  <a:pt x="12273" y="11782"/>
                </a:cubicBezTo>
                <a:cubicBezTo>
                  <a:pt x="12544" y="11782"/>
                  <a:pt x="12764" y="11562"/>
                  <a:pt x="12764" y="11291"/>
                </a:cubicBezTo>
                <a:cubicBezTo>
                  <a:pt x="12764" y="11020"/>
                  <a:pt x="12544" y="10800"/>
                  <a:pt x="12273" y="10800"/>
                </a:cubicBezTo>
                <a:moveTo>
                  <a:pt x="9327" y="15709"/>
                </a:moveTo>
                <a:cubicBezTo>
                  <a:pt x="9056" y="15709"/>
                  <a:pt x="8836" y="15490"/>
                  <a:pt x="8836" y="15218"/>
                </a:cubicBezTo>
                <a:cubicBezTo>
                  <a:pt x="8836" y="14947"/>
                  <a:pt x="9056" y="14727"/>
                  <a:pt x="9327" y="14727"/>
                </a:cubicBezTo>
                <a:cubicBezTo>
                  <a:pt x="9598" y="14727"/>
                  <a:pt x="9818" y="14947"/>
                  <a:pt x="9818" y="15218"/>
                </a:cubicBezTo>
                <a:cubicBezTo>
                  <a:pt x="9818" y="15490"/>
                  <a:pt x="9598" y="15709"/>
                  <a:pt x="9327" y="15709"/>
                </a:cubicBezTo>
                <a:moveTo>
                  <a:pt x="9327" y="13745"/>
                </a:moveTo>
                <a:cubicBezTo>
                  <a:pt x="8514" y="13745"/>
                  <a:pt x="7855" y="14405"/>
                  <a:pt x="7855" y="15218"/>
                </a:cubicBezTo>
                <a:cubicBezTo>
                  <a:pt x="7855" y="16032"/>
                  <a:pt x="8514" y="16691"/>
                  <a:pt x="9327" y="16691"/>
                </a:cubicBezTo>
                <a:cubicBezTo>
                  <a:pt x="10141" y="16691"/>
                  <a:pt x="10800" y="16032"/>
                  <a:pt x="10800" y="15218"/>
                </a:cubicBezTo>
                <a:cubicBezTo>
                  <a:pt x="10800" y="14405"/>
                  <a:pt x="10141" y="13745"/>
                  <a:pt x="9327" y="13745"/>
                </a:cubicBezTo>
                <a:moveTo>
                  <a:pt x="4909" y="11782"/>
                </a:moveTo>
                <a:cubicBezTo>
                  <a:pt x="4367" y="11782"/>
                  <a:pt x="3927" y="12222"/>
                  <a:pt x="3927" y="12764"/>
                </a:cubicBezTo>
                <a:cubicBezTo>
                  <a:pt x="3927" y="13305"/>
                  <a:pt x="4367" y="13745"/>
                  <a:pt x="4909" y="13745"/>
                </a:cubicBezTo>
                <a:cubicBezTo>
                  <a:pt x="5451" y="13745"/>
                  <a:pt x="5891" y="13305"/>
                  <a:pt x="5891" y="12764"/>
                </a:cubicBezTo>
                <a:cubicBezTo>
                  <a:pt x="5891" y="12222"/>
                  <a:pt x="5451" y="11782"/>
                  <a:pt x="4909" y="11782"/>
                </a:cubicBezTo>
                <a:moveTo>
                  <a:pt x="14236" y="16691"/>
                </a:moveTo>
                <a:cubicBezTo>
                  <a:pt x="13966" y="16691"/>
                  <a:pt x="13745" y="16911"/>
                  <a:pt x="13745" y="17182"/>
                </a:cubicBezTo>
                <a:cubicBezTo>
                  <a:pt x="13745" y="17453"/>
                  <a:pt x="13966" y="17673"/>
                  <a:pt x="14236" y="17673"/>
                </a:cubicBezTo>
                <a:cubicBezTo>
                  <a:pt x="14507" y="17673"/>
                  <a:pt x="14727" y="17453"/>
                  <a:pt x="14727" y="17182"/>
                </a:cubicBezTo>
                <a:cubicBezTo>
                  <a:pt x="14727" y="16911"/>
                  <a:pt x="14507" y="16691"/>
                  <a:pt x="14236" y="16691"/>
                </a:cubicBezTo>
                <a:moveTo>
                  <a:pt x="16691" y="11782"/>
                </a:moveTo>
                <a:cubicBezTo>
                  <a:pt x="16149" y="11782"/>
                  <a:pt x="15709" y="11342"/>
                  <a:pt x="15709" y="10800"/>
                </a:cubicBezTo>
                <a:cubicBezTo>
                  <a:pt x="15709" y="10258"/>
                  <a:pt x="16149" y="9818"/>
                  <a:pt x="16691" y="9818"/>
                </a:cubicBezTo>
                <a:cubicBezTo>
                  <a:pt x="17233" y="9818"/>
                  <a:pt x="17673" y="10258"/>
                  <a:pt x="17673" y="10800"/>
                </a:cubicBezTo>
                <a:cubicBezTo>
                  <a:pt x="17673" y="11342"/>
                  <a:pt x="17233" y="11782"/>
                  <a:pt x="16691" y="11782"/>
                </a:cubicBezTo>
                <a:moveTo>
                  <a:pt x="16691" y="8836"/>
                </a:moveTo>
                <a:cubicBezTo>
                  <a:pt x="15606" y="8836"/>
                  <a:pt x="14727" y="9716"/>
                  <a:pt x="14727" y="10800"/>
                </a:cubicBezTo>
                <a:cubicBezTo>
                  <a:pt x="14727" y="11884"/>
                  <a:pt x="15606" y="12764"/>
                  <a:pt x="16691" y="12764"/>
                </a:cubicBezTo>
                <a:cubicBezTo>
                  <a:pt x="17775" y="12764"/>
                  <a:pt x="18655" y="11884"/>
                  <a:pt x="18655" y="10800"/>
                </a:cubicBezTo>
                <a:cubicBezTo>
                  <a:pt x="18655" y="9716"/>
                  <a:pt x="17775" y="8836"/>
                  <a:pt x="16691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60" name="Shape 2960"/>
          <p:cNvSpPr/>
          <p:nvPr/>
        </p:nvSpPr>
        <p:spPr>
          <a:xfrm>
            <a:off x="7091151" y="9354631"/>
            <a:ext cx="55872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16" h="21600" extrusionOk="0">
                <a:moveTo>
                  <a:pt x="17140" y="11946"/>
                </a:moveTo>
                <a:cubicBezTo>
                  <a:pt x="15736" y="13192"/>
                  <a:pt x="13853" y="14375"/>
                  <a:pt x="11542" y="15211"/>
                </a:cubicBezTo>
                <a:cubicBezTo>
                  <a:pt x="9755" y="15857"/>
                  <a:pt x="7947" y="16197"/>
                  <a:pt x="6315" y="16197"/>
                </a:cubicBezTo>
                <a:cubicBezTo>
                  <a:pt x="5843" y="16197"/>
                  <a:pt x="5401" y="16158"/>
                  <a:pt x="4974" y="16102"/>
                </a:cubicBezTo>
                <a:cubicBezTo>
                  <a:pt x="4247" y="14590"/>
                  <a:pt x="3822" y="12766"/>
                  <a:pt x="3822" y="10800"/>
                </a:cubicBezTo>
                <a:cubicBezTo>
                  <a:pt x="3822" y="5581"/>
                  <a:pt x="6815" y="1350"/>
                  <a:pt x="10508" y="1350"/>
                </a:cubicBezTo>
                <a:cubicBezTo>
                  <a:pt x="14201" y="1350"/>
                  <a:pt x="17194" y="5581"/>
                  <a:pt x="17194" y="10800"/>
                </a:cubicBezTo>
                <a:cubicBezTo>
                  <a:pt x="17194" y="11189"/>
                  <a:pt x="17172" y="11570"/>
                  <a:pt x="17140" y="11946"/>
                </a:cubicBezTo>
                <a:moveTo>
                  <a:pt x="10508" y="20250"/>
                </a:moveTo>
                <a:cubicBezTo>
                  <a:pt x="8681" y="20250"/>
                  <a:pt x="7028" y="19212"/>
                  <a:pt x="5821" y="17534"/>
                </a:cubicBezTo>
                <a:cubicBezTo>
                  <a:pt x="5984" y="17541"/>
                  <a:pt x="6147" y="17547"/>
                  <a:pt x="6315" y="17547"/>
                </a:cubicBezTo>
                <a:cubicBezTo>
                  <a:pt x="7976" y="17547"/>
                  <a:pt x="9848" y="17215"/>
                  <a:pt x="11778" y="16518"/>
                </a:cubicBezTo>
                <a:cubicBezTo>
                  <a:pt x="13697" y="15824"/>
                  <a:pt x="15425" y="14854"/>
                  <a:pt x="16859" y="13742"/>
                </a:cubicBezTo>
                <a:cubicBezTo>
                  <a:pt x="15984" y="17519"/>
                  <a:pt x="13473" y="20250"/>
                  <a:pt x="10508" y="20250"/>
                </a:cubicBezTo>
                <a:moveTo>
                  <a:pt x="20938" y="6356"/>
                </a:moveTo>
                <a:cubicBezTo>
                  <a:pt x="20592" y="4617"/>
                  <a:pt x="19141" y="3452"/>
                  <a:pt x="17072" y="2964"/>
                </a:cubicBezTo>
                <a:cubicBezTo>
                  <a:pt x="17380" y="3481"/>
                  <a:pt x="17660" y="4034"/>
                  <a:pt x="17905" y="4620"/>
                </a:cubicBezTo>
                <a:cubicBezTo>
                  <a:pt x="19058" y="5088"/>
                  <a:pt x="19838" y="5815"/>
                  <a:pt x="20018" y="6721"/>
                </a:cubicBezTo>
                <a:cubicBezTo>
                  <a:pt x="20123" y="7246"/>
                  <a:pt x="20033" y="7861"/>
                  <a:pt x="19752" y="8549"/>
                </a:cubicBezTo>
                <a:cubicBezTo>
                  <a:pt x="19449" y="9292"/>
                  <a:pt x="18904" y="10122"/>
                  <a:pt x="18143" y="10958"/>
                </a:cubicBezTo>
                <a:cubicBezTo>
                  <a:pt x="18144" y="10905"/>
                  <a:pt x="18149" y="10853"/>
                  <a:pt x="18149" y="10800"/>
                </a:cubicBezTo>
                <a:cubicBezTo>
                  <a:pt x="18149" y="4835"/>
                  <a:pt x="14728" y="0"/>
                  <a:pt x="10508" y="0"/>
                </a:cubicBezTo>
                <a:cubicBezTo>
                  <a:pt x="6288" y="0"/>
                  <a:pt x="2867" y="4835"/>
                  <a:pt x="2867" y="10800"/>
                </a:cubicBezTo>
                <a:cubicBezTo>
                  <a:pt x="2867" y="12627"/>
                  <a:pt x="3190" y="14345"/>
                  <a:pt x="3756" y="15853"/>
                </a:cubicBezTo>
                <a:cubicBezTo>
                  <a:pt x="2245" y="15418"/>
                  <a:pt x="1209" y="14595"/>
                  <a:pt x="997" y="13528"/>
                </a:cubicBezTo>
                <a:cubicBezTo>
                  <a:pt x="893" y="13003"/>
                  <a:pt x="982" y="12389"/>
                  <a:pt x="1263" y="11700"/>
                </a:cubicBezTo>
                <a:cubicBezTo>
                  <a:pt x="1416" y="11327"/>
                  <a:pt x="1650" y="10926"/>
                  <a:pt x="1922" y="10518"/>
                </a:cubicBezTo>
                <a:cubicBezTo>
                  <a:pt x="1933" y="9817"/>
                  <a:pt x="1982" y="9128"/>
                  <a:pt x="2074" y="8461"/>
                </a:cubicBezTo>
                <a:cubicBezTo>
                  <a:pt x="528" y="10248"/>
                  <a:pt x="-261" y="12188"/>
                  <a:pt x="78" y="13893"/>
                </a:cubicBezTo>
                <a:cubicBezTo>
                  <a:pt x="452" y="15777"/>
                  <a:pt x="2118" y="16988"/>
                  <a:pt x="4465" y="17394"/>
                </a:cubicBezTo>
                <a:cubicBezTo>
                  <a:pt x="5863" y="19948"/>
                  <a:pt x="8046" y="21600"/>
                  <a:pt x="10508" y="21600"/>
                </a:cubicBezTo>
                <a:cubicBezTo>
                  <a:pt x="14255" y="21600"/>
                  <a:pt x="17365" y="17785"/>
                  <a:pt x="18017" y="12755"/>
                </a:cubicBezTo>
                <a:cubicBezTo>
                  <a:pt x="20167" y="10724"/>
                  <a:pt x="21339" y="8374"/>
                  <a:pt x="20938" y="635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61" name="Shape 2961"/>
          <p:cNvSpPr/>
          <p:nvPr/>
        </p:nvSpPr>
        <p:spPr>
          <a:xfrm>
            <a:off x="8233857" y="9278448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581" y="20618"/>
                  <a:pt x="1350" y="17422"/>
                  <a:pt x="1350" y="13478"/>
                </a:cubicBezTo>
                <a:cubicBezTo>
                  <a:pt x="1350" y="8836"/>
                  <a:pt x="10125" y="1166"/>
                  <a:pt x="10800" y="1166"/>
                </a:cubicBezTo>
                <a:cubicBezTo>
                  <a:pt x="11475" y="1166"/>
                  <a:pt x="20250" y="8836"/>
                  <a:pt x="20250" y="13478"/>
                </a:cubicBezTo>
                <a:cubicBezTo>
                  <a:pt x="20250" y="17422"/>
                  <a:pt x="16019" y="20618"/>
                  <a:pt x="10800" y="20618"/>
                </a:cubicBezTo>
                <a:moveTo>
                  <a:pt x="10800" y="0"/>
                </a:moveTo>
                <a:cubicBezTo>
                  <a:pt x="9450" y="0"/>
                  <a:pt x="0" y="8345"/>
                  <a:pt x="0" y="13745"/>
                </a:cubicBezTo>
                <a:cubicBezTo>
                  <a:pt x="0" y="18083"/>
                  <a:pt x="4836" y="21600"/>
                  <a:pt x="10800" y="21600"/>
                </a:cubicBezTo>
                <a:cubicBezTo>
                  <a:pt x="16765" y="21600"/>
                  <a:pt x="21600" y="18083"/>
                  <a:pt x="21600" y="13745"/>
                </a:cubicBezTo>
                <a:cubicBezTo>
                  <a:pt x="21600" y="8345"/>
                  <a:pt x="12150" y="0"/>
                  <a:pt x="10800" y="0"/>
                </a:cubicBezTo>
                <a:moveTo>
                  <a:pt x="10800" y="18655"/>
                </a:moveTo>
                <a:cubicBezTo>
                  <a:pt x="7072" y="18655"/>
                  <a:pt x="4050" y="16456"/>
                  <a:pt x="4050" y="13745"/>
                </a:cubicBezTo>
                <a:cubicBezTo>
                  <a:pt x="4050" y="13474"/>
                  <a:pt x="3748" y="13255"/>
                  <a:pt x="3375" y="13255"/>
                </a:cubicBezTo>
                <a:cubicBezTo>
                  <a:pt x="3002" y="13255"/>
                  <a:pt x="2700" y="13474"/>
                  <a:pt x="2700" y="13745"/>
                </a:cubicBezTo>
                <a:cubicBezTo>
                  <a:pt x="2700" y="16999"/>
                  <a:pt x="6327" y="19636"/>
                  <a:pt x="10800" y="19636"/>
                </a:cubicBezTo>
                <a:cubicBezTo>
                  <a:pt x="11173" y="19636"/>
                  <a:pt x="11475" y="19417"/>
                  <a:pt x="11475" y="19145"/>
                </a:cubicBezTo>
                <a:cubicBezTo>
                  <a:pt x="11475" y="18875"/>
                  <a:pt x="11173" y="18655"/>
                  <a:pt x="10800" y="186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62" name="Shape 2962"/>
          <p:cNvSpPr/>
          <p:nvPr/>
        </p:nvSpPr>
        <p:spPr>
          <a:xfrm>
            <a:off x="9224197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745" y="3927"/>
                </a:moveTo>
                <a:cubicBezTo>
                  <a:pt x="13204" y="3927"/>
                  <a:pt x="12764" y="4367"/>
                  <a:pt x="12764" y="4909"/>
                </a:cubicBezTo>
                <a:cubicBezTo>
                  <a:pt x="12764" y="5451"/>
                  <a:pt x="13204" y="5891"/>
                  <a:pt x="13745" y="5891"/>
                </a:cubicBezTo>
                <a:cubicBezTo>
                  <a:pt x="14287" y="5891"/>
                  <a:pt x="14727" y="5451"/>
                  <a:pt x="14727" y="4909"/>
                </a:cubicBezTo>
                <a:cubicBezTo>
                  <a:pt x="14727" y="4367"/>
                  <a:pt x="14287" y="3927"/>
                  <a:pt x="13745" y="3927"/>
                </a:cubicBezTo>
                <a:moveTo>
                  <a:pt x="16691" y="7855"/>
                </a:moveTo>
                <a:cubicBezTo>
                  <a:pt x="16149" y="7855"/>
                  <a:pt x="15709" y="8295"/>
                  <a:pt x="15709" y="8836"/>
                </a:cubicBezTo>
                <a:cubicBezTo>
                  <a:pt x="15709" y="9378"/>
                  <a:pt x="16149" y="9818"/>
                  <a:pt x="16691" y="9818"/>
                </a:cubicBezTo>
                <a:cubicBezTo>
                  <a:pt x="17233" y="9818"/>
                  <a:pt x="17673" y="9378"/>
                  <a:pt x="17673" y="8836"/>
                </a:cubicBezTo>
                <a:cubicBezTo>
                  <a:pt x="17673" y="8295"/>
                  <a:pt x="17233" y="7855"/>
                  <a:pt x="16691" y="7855"/>
                </a:cubicBezTo>
                <a:moveTo>
                  <a:pt x="7855" y="4909"/>
                </a:moveTo>
                <a:cubicBezTo>
                  <a:pt x="7313" y="4909"/>
                  <a:pt x="6873" y="5349"/>
                  <a:pt x="6873" y="5891"/>
                </a:cubicBezTo>
                <a:cubicBezTo>
                  <a:pt x="6873" y="6433"/>
                  <a:pt x="7313" y="6873"/>
                  <a:pt x="7855" y="6873"/>
                </a:cubicBezTo>
                <a:cubicBezTo>
                  <a:pt x="8396" y="6873"/>
                  <a:pt x="8836" y="6433"/>
                  <a:pt x="8836" y="5891"/>
                </a:cubicBezTo>
                <a:cubicBezTo>
                  <a:pt x="8836" y="5349"/>
                  <a:pt x="8396" y="4909"/>
                  <a:pt x="7855" y="4909"/>
                </a:cubicBezTo>
                <a:moveTo>
                  <a:pt x="3927" y="7855"/>
                </a:moveTo>
                <a:cubicBezTo>
                  <a:pt x="3385" y="7855"/>
                  <a:pt x="2945" y="8295"/>
                  <a:pt x="2945" y="8836"/>
                </a:cubicBezTo>
                <a:cubicBezTo>
                  <a:pt x="2945" y="9378"/>
                  <a:pt x="3385" y="9818"/>
                  <a:pt x="3927" y="9818"/>
                </a:cubicBezTo>
                <a:cubicBezTo>
                  <a:pt x="4469" y="9818"/>
                  <a:pt x="4909" y="9378"/>
                  <a:pt x="4909" y="8836"/>
                </a:cubicBezTo>
                <a:cubicBezTo>
                  <a:pt x="4909" y="8295"/>
                  <a:pt x="4469" y="7855"/>
                  <a:pt x="3927" y="7855"/>
                </a:cubicBezTo>
                <a:moveTo>
                  <a:pt x="1008" y="10800"/>
                </a:moveTo>
                <a:cubicBezTo>
                  <a:pt x="1278" y="5878"/>
                  <a:pt x="5552" y="1964"/>
                  <a:pt x="10800" y="1964"/>
                </a:cubicBezTo>
                <a:cubicBezTo>
                  <a:pt x="16048" y="1964"/>
                  <a:pt x="20322" y="5878"/>
                  <a:pt x="20592" y="10800"/>
                </a:cubicBezTo>
                <a:cubicBezTo>
                  <a:pt x="20592" y="10800"/>
                  <a:pt x="1008" y="10800"/>
                  <a:pt x="1008" y="10800"/>
                </a:cubicBezTo>
                <a:close/>
                <a:moveTo>
                  <a:pt x="11291" y="1005"/>
                </a:move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005"/>
                </a:lnTo>
                <a:cubicBezTo>
                  <a:pt x="4574" y="1252"/>
                  <a:pt x="0" y="5756"/>
                  <a:pt x="0" y="11291"/>
                </a:cubicBezTo>
                <a:cubicBezTo>
                  <a:pt x="0" y="11562"/>
                  <a:pt x="220" y="11782"/>
                  <a:pt x="491" y="11782"/>
                </a:cubicBezTo>
                <a:lnTo>
                  <a:pt x="10309" y="11782"/>
                </a:lnTo>
                <a:lnTo>
                  <a:pt x="10309" y="18655"/>
                </a:lnTo>
                <a:cubicBezTo>
                  <a:pt x="10309" y="19739"/>
                  <a:pt x="9430" y="20618"/>
                  <a:pt x="8345" y="20618"/>
                </a:cubicBezTo>
                <a:cubicBezTo>
                  <a:pt x="7261" y="20618"/>
                  <a:pt x="6382" y="19739"/>
                  <a:pt x="6382" y="18655"/>
                </a:cubicBezTo>
                <a:cubicBezTo>
                  <a:pt x="6382" y="18383"/>
                  <a:pt x="6162" y="18164"/>
                  <a:pt x="5891" y="18164"/>
                </a:cubicBezTo>
                <a:cubicBezTo>
                  <a:pt x="5620" y="18164"/>
                  <a:pt x="5400" y="18383"/>
                  <a:pt x="5400" y="18655"/>
                </a:cubicBezTo>
                <a:cubicBezTo>
                  <a:pt x="5400" y="20281"/>
                  <a:pt x="6719" y="21600"/>
                  <a:pt x="8345" y="21600"/>
                </a:cubicBezTo>
                <a:cubicBezTo>
                  <a:pt x="9804" y="21600"/>
                  <a:pt x="11007" y="20537"/>
                  <a:pt x="11242" y="19145"/>
                </a:cubicBezTo>
                <a:lnTo>
                  <a:pt x="11291" y="19145"/>
                </a:lnTo>
                <a:lnTo>
                  <a:pt x="11291" y="11782"/>
                </a:lnTo>
                <a:lnTo>
                  <a:pt x="21109" y="11782"/>
                </a:lnTo>
                <a:cubicBezTo>
                  <a:pt x="21380" y="11782"/>
                  <a:pt x="21600" y="11562"/>
                  <a:pt x="21600" y="11291"/>
                </a:cubicBezTo>
                <a:cubicBezTo>
                  <a:pt x="21600" y="5756"/>
                  <a:pt x="17026" y="1252"/>
                  <a:pt x="11291" y="1005"/>
                </a:cubicBezTo>
                <a:moveTo>
                  <a:pt x="10800" y="6873"/>
                </a:moveTo>
                <a:cubicBezTo>
                  <a:pt x="10258" y="6873"/>
                  <a:pt x="9818" y="7313"/>
                  <a:pt x="9818" y="7855"/>
                </a:cubicBezTo>
                <a:cubicBezTo>
                  <a:pt x="9818" y="8396"/>
                  <a:pt x="10258" y="8836"/>
                  <a:pt x="10800" y="8836"/>
                </a:cubicBezTo>
                <a:cubicBezTo>
                  <a:pt x="11342" y="8836"/>
                  <a:pt x="11782" y="8396"/>
                  <a:pt x="11782" y="7855"/>
                </a:cubicBezTo>
                <a:cubicBezTo>
                  <a:pt x="11782" y="7313"/>
                  <a:pt x="11342" y="6873"/>
                  <a:pt x="10800" y="68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63" name="Shape 2963"/>
          <p:cNvSpPr/>
          <p:nvPr/>
        </p:nvSpPr>
        <p:spPr>
          <a:xfrm>
            <a:off x="10290720" y="9405417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2" y="19800"/>
                </a:moveTo>
                <a:cubicBezTo>
                  <a:pt x="18391" y="11772"/>
                  <a:pt x="14982" y="5400"/>
                  <a:pt x="10800" y="5400"/>
                </a:cubicBezTo>
                <a:cubicBezTo>
                  <a:pt x="6618" y="5400"/>
                  <a:pt x="3209" y="11772"/>
                  <a:pt x="2968" y="19800"/>
                </a:cubicBezTo>
                <a:lnTo>
                  <a:pt x="1005" y="19800"/>
                </a:lnTo>
                <a:cubicBezTo>
                  <a:pt x="1251" y="9783"/>
                  <a:pt x="5535" y="1800"/>
                  <a:pt x="10800" y="1800"/>
                </a:cubicBezTo>
                <a:cubicBezTo>
                  <a:pt x="16065" y="1800"/>
                  <a:pt x="20349" y="9783"/>
                  <a:pt x="20595" y="19800"/>
                </a:cubicBezTo>
                <a:cubicBezTo>
                  <a:pt x="20595" y="19800"/>
                  <a:pt x="18632" y="19800"/>
                  <a:pt x="18632" y="19800"/>
                </a:cubicBezTo>
                <a:close/>
                <a:moveTo>
                  <a:pt x="15687" y="19800"/>
                </a:moveTo>
                <a:cubicBezTo>
                  <a:pt x="15461" y="14755"/>
                  <a:pt x="13360" y="10800"/>
                  <a:pt x="10800" y="10800"/>
                </a:cubicBezTo>
                <a:cubicBezTo>
                  <a:pt x="8240" y="10800"/>
                  <a:pt x="6139" y="14755"/>
                  <a:pt x="5913" y="19800"/>
                </a:cubicBezTo>
                <a:lnTo>
                  <a:pt x="3950" y="19800"/>
                </a:lnTo>
                <a:cubicBezTo>
                  <a:pt x="4187" y="12767"/>
                  <a:pt x="7159" y="7200"/>
                  <a:pt x="10800" y="7200"/>
                </a:cubicBezTo>
                <a:cubicBezTo>
                  <a:pt x="14441" y="7200"/>
                  <a:pt x="17413" y="12767"/>
                  <a:pt x="17650" y="19800"/>
                </a:cubicBezTo>
                <a:cubicBezTo>
                  <a:pt x="17650" y="19800"/>
                  <a:pt x="15687" y="19800"/>
                  <a:pt x="15687" y="19800"/>
                </a:cubicBezTo>
                <a:close/>
                <a:moveTo>
                  <a:pt x="12724" y="19800"/>
                </a:moveTo>
                <a:cubicBezTo>
                  <a:pt x="12542" y="17747"/>
                  <a:pt x="11750" y="16200"/>
                  <a:pt x="10800" y="16200"/>
                </a:cubicBezTo>
                <a:cubicBezTo>
                  <a:pt x="9850" y="16200"/>
                  <a:pt x="9058" y="17747"/>
                  <a:pt x="8876" y="19800"/>
                </a:cubicBezTo>
                <a:lnTo>
                  <a:pt x="6899" y="19800"/>
                </a:lnTo>
                <a:cubicBezTo>
                  <a:pt x="7115" y="15751"/>
                  <a:pt x="8779" y="12600"/>
                  <a:pt x="10800" y="12600"/>
                </a:cubicBezTo>
                <a:cubicBezTo>
                  <a:pt x="12821" y="12600"/>
                  <a:pt x="14485" y="15751"/>
                  <a:pt x="14701" y="19800"/>
                </a:cubicBezTo>
                <a:cubicBezTo>
                  <a:pt x="14701" y="19800"/>
                  <a:pt x="12724" y="19800"/>
                  <a:pt x="12724" y="19800"/>
                </a:cubicBezTo>
                <a:close/>
                <a:moveTo>
                  <a:pt x="10800" y="0"/>
                </a:moveTo>
                <a:cubicBezTo>
                  <a:pt x="4835" y="0"/>
                  <a:pt x="0" y="9268"/>
                  <a:pt x="0" y="20700"/>
                </a:cubicBezTo>
                <a:cubicBezTo>
                  <a:pt x="0" y="21197"/>
                  <a:pt x="220" y="21600"/>
                  <a:pt x="491" y="21600"/>
                </a:cubicBezTo>
                <a:lnTo>
                  <a:pt x="9327" y="21600"/>
                </a:lnTo>
                <a:cubicBezTo>
                  <a:pt x="9599" y="21600"/>
                  <a:pt x="9818" y="21197"/>
                  <a:pt x="9818" y="20700"/>
                </a:cubicBezTo>
                <a:cubicBezTo>
                  <a:pt x="9818" y="19209"/>
                  <a:pt x="10258" y="18000"/>
                  <a:pt x="10800" y="18000"/>
                </a:cubicBezTo>
                <a:cubicBezTo>
                  <a:pt x="11342" y="18000"/>
                  <a:pt x="11782" y="19209"/>
                  <a:pt x="11782" y="20700"/>
                </a:cubicBezTo>
                <a:cubicBezTo>
                  <a:pt x="11782" y="21197"/>
                  <a:pt x="12001" y="21600"/>
                  <a:pt x="12273" y="21600"/>
                </a:cubicBezTo>
                <a:lnTo>
                  <a:pt x="21109" y="21600"/>
                </a:lnTo>
                <a:cubicBezTo>
                  <a:pt x="21380" y="21600"/>
                  <a:pt x="21600" y="21197"/>
                  <a:pt x="21600" y="20700"/>
                </a:cubicBezTo>
                <a:cubicBezTo>
                  <a:pt x="21600" y="9268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64" name="Shape 2964"/>
          <p:cNvSpPr/>
          <p:nvPr/>
        </p:nvSpPr>
        <p:spPr>
          <a:xfrm>
            <a:off x="11357242" y="9354631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250"/>
                </a:moveTo>
                <a:lnTo>
                  <a:pt x="4418" y="20250"/>
                </a:lnTo>
                <a:cubicBezTo>
                  <a:pt x="2524" y="20250"/>
                  <a:pt x="982" y="18130"/>
                  <a:pt x="982" y="15525"/>
                </a:cubicBezTo>
                <a:cubicBezTo>
                  <a:pt x="982" y="13489"/>
                  <a:pt x="1926" y="11690"/>
                  <a:pt x="3333" y="11045"/>
                </a:cubicBezTo>
                <a:lnTo>
                  <a:pt x="4165" y="10664"/>
                </a:lnTo>
                <a:lnTo>
                  <a:pt x="3982" y="9484"/>
                </a:lnTo>
                <a:cubicBezTo>
                  <a:pt x="3946" y="9247"/>
                  <a:pt x="3927" y="9008"/>
                  <a:pt x="3927" y="8775"/>
                </a:cubicBezTo>
                <a:cubicBezTo>
                  <a:pt x="3927" y="6914"/>
                  <a:pt x="5028" y="5400"/>
                  <a:pt x="6382" y="5400"/>
                </a:cubicBezTo>
                <a:cubicBezTo>
                  <a:pt x="6662" y="5400"/>
                  <a:pt x="6942" y="5470"/>
                  <a:pt x="7215" y="5605"/>
                </a:cubicBezTo>
                <a:lnTo>
                  <a:pt x="8019" y="6006"/>
                </a:lnTo>
                <a:lnTo>
                  <a:pt x="8418" y="4965"/>
                </a:lnTo>
                <a:cubicBezTo>
                  <a:pt x="9272" y="2735"/>
                  <a:pt x="10937" y="1350"/>
                  <a:pt x="12764" y="1350"/>
                </a:cubicBezTo>
                <a:cubicBezTo>
                  <a:pt x="15470" y="1350"/>
                  <a:pt x="17673" y="4378"/>
                  <a:pt x="17673" y="8100"/>
                </a:cubicBezTo>
                <a:cubicBezTo>
                  <a:pt x="17673" y="8218"/>
                  <a:pt x="17666" y="8333"/>
                  <a:pt x="17660" y="8449"/>
                </a:cubicBezTo>
                <a:lnTo>
                  <a:pt x="17655" y="8565"/>
                </a:lnTo>
                <a:lnTo>
                  <a:pt x="17610" y="9515"/>
                </a:lnTo>
                <a:lnTo>
                  <a:pt x="18245" y="9892"/>
                </a:lnTo>
                <a:cubicBezTo>
                  <a:pt x="19687" y="10747"/>
                  <a:pt x="20618" y="12693"/>
                  <a:pt x="20618" y="14850"/>
                </a:cubicBezTo>
                <a:cubicBezTo>
                  <a:pt x="20618" y="17828"/>
                  <a:pt x="18856" y="20250"/>
                  <a:pt x="16691" y="20250"/>
                </a:cubicBezTo>
                <a:moveTo>
                  <a:pt x="18634" y="8652"/>
                </a:moveTo>
                <a:cubicBezTo>
                  <a:pt x="18643" y="8469"/>
                  <a:pt x="18655" y="8287"/>
                  <a:pt x="18655" y="8100"/>
                </a:cubicBezTo>
                <a:cubicBezTo>
                  <a:pt x="18655" y="3627"/>
                  <a:pt x="16017" y="0"/>
                  <a:pt x="12764" y="0"/>
                </a:cubicBezTo>
                <a:cubicBezTo>
                  <a:pt x="10499" y="0"/>
                  <a:pt x="8536" y="1759"/>
                  <a:pt x="7550" y="4336"/>
                </a:cubicBezTo>
                <a:cubicBezTo>
                  <a:pt x="7185" y="4154"/>
                  <a:pt x="6793" y="4050"/>
                  <a:pt x="6382" y="4050"/>
                </a:cubicBezTo>
                <a:cubicBezTo>
                  <a:pt x="4484" y="4050"/>
                  <a:pt x="2945" y="6165"/>
                  <a:pt x="2945" y="8775"/>
                </a:cubicBezTo>
                <a:cubicBezTo>
                  <a:pt x="2945" y="9114"/>
                  <a:pt x="2973" y="9445"/>
                  <a:pt x="3022" y="9764"/>
                </a:cubicBezTo>
                <a:cubicBezTo>
                  <a:pt x="1267" y="10569"/>
                  <a:pt x="0" y="12841"/>
                  <a:pt x="0" y="15525"/>
                </a:cubicBezTo>
                <a:cubicBezTo>
                  <a:pt x="0" y="18880"/>
                  <a:pt x="1978" y="21600"/>
                  <a:pt x="4418" y="21600"/>
                </a:cubicBezTo>
                <a:lnTo>
                  <a:pt x="16691" y="21600"/>
                </a:lnTo>
                <a:cubicBezTo>
                  <a:pt x="19401" y="21600"/>
                  <a:pt x="21600" y="18578"/>
                  <a:pt x="21600" y="14850"/>
                </a:cubicBezTo>
                <a:cubicBezTo>
                  <a:pt x="21600" y="12072"/>
                  <a:pt x="20378" y="9687"/>
                  <a:pt x="18634" y="865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65" name="Shape 2965"/>
          <p:cNvSpPr/>
          <p:nvPr/>
        </p:nvSpPr>
        <p:spPr>
          <a:xfrm>
            <a:off x="1758543" y="10471939"/>
            <a:ext cx="558654" cy="3301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19938"/>
                </a:moveTo>
                <a:lnTo>
                  <a:pt x="3927" y="19938"/>
                </a:lnTo>
                <a:cubicBezTo>
                  <a:pt x="2303" y="19938"/>
                  <a:pt x="982" y="17703"/>
                  <a:pt x="982" y="14954"/>
                </a:cubicBezTo>
                <a:cubicBezTo>
                  <a:pt x="982" y="12638"/>
                  <a:pt x="1912" y="10647"/>
                  <a:pt x="3244" y="10110"/>
                </a:cubicBezTo>
                <a:cubicBezTo>
                  <a:pt x="3634" y="9954"/>
                  <a:pt x="3929" y="9410"/>
                  <a:pt x="3988" y="8739"/>
                </a:cubicBezTo>
                <a:cubicBezTo>
                  <a:pt x="4343" y="4704"/>
                  <a:pt x="6427" y="1662"/>
                  <a:pt x="8836" y="1662"/>
                </a:cubicBezTo>
                <a:cubicBezTo>
                  <a:pt x="10501" y="1662"/>
                  <a:pt x="12038" y="3081"/>
                  <a:pt x="12948" y="5461"/>
                </a:cubicBezTo>
                <a:cubicBezTo>
                  <a:pt x="13103" y="5866"/>
                  <a:pt x="13354" y="6137"/>
                  <a:pt x="13636" y="6203"/>
                </a:cubicBezTo>
                <a:cubicBezTo>
                  <a:pt x="13682" y="6215"/>
                  <a:pt x="13727" y="6219"/>
                  <a:pt x="13773" y="6219"/>
                </a:cubicBezTo>
                <a:cubicBezTo>
                  <a:pt x="14009" y="6219"/>
                  <a:pt x="14238" y="6076"/>
                  <a:pt x="14419" y="5809"/>
                </a:cubicBezTo>
                <a:cubicBezTo>
                  <a:pt x="14777" y="5278"/>
                  <a:pt x="15236" y="4985"/>
                  <a:pt x="15709" y="4985"/>
                </a:cubicBezTo>
                <a:cubicBezTo>
                  <a:pt x="16792" y="4985"/>
                  <a:pt x="17673" y="6476"/>
                  <a:pt x="17671" y="8326"/>
                </a:cubicBezTo>
                <a:lnTo>
                  <a:pt x="17667" y="8447"/>
                </a:lnTo>
                <a:cubicBezTo>
                  <a:pt x="17646" y="9234"/>
                  <a:pt x="17953" y="9937"/>
                  <a:pt x="18404" y="10132"/>
                </a:cubicBezTo>
                <a:cubicBezTo>
                  <a:pt x="19708" y="10697"/>
                  <a:pt x="20618" y="12680"/>
                  <a:pt x="20618" y="14954"/>
                </a:cubicBezTo>
                <a:cubicBezTo>
                  <a:pt x="20618" y="17703"/>
                  <a:pt x="19297" y="19938"/>
                  <a:pt x="17673" y="19938"/>
                </a:cubicBezTo>
                <a:moveTo>
                  <a:pt x="18648" y="8523"/>
                </a:moveTo>
                <a:cubicBezTo>
                  <a:pt x="18650" y="8451"/>
                  <a:pt x="18655" y="8381"/>
                  <a:pt x="18655" y="8308"/>
                </a:cubicBezTo>
                <a:cubicBezTo>
                  <a:pt x="18655" y="5556"/>
                  <a:pt x="17335" y="3323"/>
                  <a:pt x="15709" y="3323"/>
                </a:cubicBezTo>
                <a:cubicBezTo>
                  <a:pt x="14967" y="3323"/>
                  <a:pt x="14290" y="3791"/>
                  <a:pt x="13773" y="4558"/>
                </a:cubicBezTo>
                <a:cubicBezTo>
                  <a:pt x="12724" y="1819"/>
                  <a:pt x="10909" y="0"/>
                  <a:pt x="8836" y="0"/>
                </a:cubicBezTo>
                <a:cubicBezTo>
                  <a:pt x="5880" y="0"/>
                  <a:pt x="3439" y="3690"/>
                  <a:pt x="3017" y="8494"/>
                </a:cubicBezTo>
                <a:cubicBezTo>
                  <a:pt x="1288" y="9190"/>
                  <a:pt x="0" y="11814"/>
                  <a:pt x="0" y="14954"/>
                </a:cubicBezTo>
                <a:cubicBezTo>
                  <a:pt x="0" y="18624"/>
                  <a:pt x="1758" y="21600"/>
                  <a:pt x="3927" y="21600"/>
                </a:cubicBezTo>
                <a:lnTo>
                  <a:pt x="17673" y="21600"/>
                </a:lnTo>
                <a:cubicBezTo>
                  <a:pt x="19842" y="21600"/>
                  <a:pt x="21600" y="18624"/>
                  <a:pt x="21600" y="14954"/>
                </a:cubicBezTo>
                <a:cubicBezTo>
                  <a:pt x="21600" y="11855"/>
                  <a:pt x="20344" y="9259"/>
                  <a:pt x="18648" y="852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66" name="Shape 2966"/>
          <p:cNvSpPr/>
          <p:nvPr/>
        </p:nvSpPr>
        <p:spPr>
          <a:xfrm>
            <a:off x="2825064" y="10395759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20400"/>
                </a:moveTo>
                <a:lnTo>
                  <a:pt x="3927" y="20400"/>
                </a:lnTo>
                <a:cubicBezTo>
                  <a:pt x="2303" y="20400"/>
                  <a:pt x="982" y="18785"/>
                  <a:pt x="982" y="16800"/>
                </a:cubicBezTo>
                <a:cubicBezTo>
                  <a:pt x="982" y="15128"/>
                  <a:pt x="1912" y="13690"/>
                  <a:pt x="3244" y="13302"/>
                </a:cubicBezTo>
                <a:cubicBezTo>
                  <a:pt x="3634" y="13189"/>
                  <a:pt x="3929" y="12796"/>
                  <a:pt x="3988" y="12312"/>
                </a:cubicBezTo>
                <a:cubicBezTo>
                  <a:pt x="4343" y="9397"/>
                  <a:pt x="6427" y="7200"/>
                  <a:pt x="8836" y="7200"/>
                </a:cubicBezTo>
                <a:cubicBezTo>
                  <a:pt x="10501" y="7200"/>
                  <a:pt x="11547" y="7626"/>
                  <a:pt x="12457" y="9344"/>
                </a:cubicBezTo>
                <a:cubicBezTo>
                  <a:pt x="12612" y="9636"/>
                  <a:pt x="13354" y="10432"/>
                  <a:pt x="13636" y="10480"/>
                </a:cubicBezTo>
                <a:cubicBezTo>
                  <a:pt x="13682" y="10488"/>
                  <a:pt x="13773" y="10492"/>
                  <a:pt x="13773" y="10492"/>
                </a:cubicBezTo>
                <a:cubicBezTo>
                  <a:pt x="14009" y="10492"/>
                  <a:pt x="14238" y="10388"/>
                  <a:pt x="14419" y="10195"/>
                </a:cubicBezTo>
                <a:cubicBezTo>
                  <a:pt x="14777" y="9812"/>
                  <a:pt x="15236" y="9600"/>
                  <a:pt x="15709" y="9600"/>
                </a:cubicBezTo>
                <a:cubicBezTo>
                  <a:pt x="16792" y="9600"/>
                  <a:pt x="17673" y="10677"/>
                  <a:pt x="17671" y="12013"/>
                </a:cubicBezTo>
                <a:lnTo>
                  <a:pt x="17667" y="12101"/>
                </a:lnTo>
                <a:cubicBezTo>
                  <a:pt x="17646" y="12669"/>
                  <a:pt x="17953" y="13177"/>
                  <a:pt x="18404" y="13318"/>
                </a:cubicBezTo>
                <a:cubicBezTo>
                  <a:pt x="19708" y="13726"/>
                  <a:pt x="20618" y="15158"/>
                  <a:pt x="20618" y="16800"/>
                </a:cubicBezTo>
                <a:cubicBezTo>
                  <a:pt x="20618" y="18785"/>
                  <a:pt x="19297" y="20400"/>
                  <a:pt x="17673" y="20400"/>
                </a:cubicBezTo>
                <a:moveTo>
                  <a:pt x="15709" y="1200"/>
                </a:moveTo>
                <a:cubicBezTo>
                  <a:pt x="18420" y="1200"/>
                  <a:pt x="20618" y="3887"/>
                  <a:pt x="20618" y="7200"/>
                </a:cubicBezTo>
                <a:cubicBezTo>
                  <a:pt x="20618" y="9162"/>
                  <a:pt x="19844" y="10898"/>
                  <a:pt x="18654" y="11992"/>
                </a:cubicBezTo>
                <a:cubicBezTo>
                  <a:pt x="18651" y="10008"/>
                  <a:pt x="17334" y="8400"/>
                  <a:pt x="15709" y="8400"/>
                </a:cubicBezTo>
                <a:cubicBezTo>
                  <a:pt x="14967" y="8400"/>
                  <a:pt x="14290" y="8738"/>
                  <a:pt x="13773" y="9292"/>
                </a:cubicBezTo>
                <a:cubicBezTo>
                  <a:pt x="13082" y="7989"/>
                  <a:pt x="12054" y="6984"/>
                  <a:pt x="10843" y="6443"/>
                </a:cubicBezTo>
                <a:cubicBezTo>
                  <a:pt x="11149" y="3488"/>
                  <a:pt x="13208" y="1200"/>
                  <a:pt x="15709" y="1200"/>
                </a:cubicBezTo>
                <a:moveTo>
                  <a:pt x="19575" y="12625"/>
                </a:moveTo>
                <a:cubicBezTo>
                  <a:pt x="20814" y="11304"/>
                  <a:pt x="21600" y="9367"/>
                  <a:pt x="21600" y="7200"/>
                </a:cubicBezTo>
                <a:cubicBezTo>
                  <a:pt x="21600" y="3224"/>
                  <a:pt x="18962" y="0"/>
                  <a:pt x="15709" y="0"/>
                </a:cubicBezTo>
                <a:cubicBezTo>
                  <a:pt x="12754" y="0"/>
                  <a:pt x="10314" y="2663"/>
                  <a:pt x="9890" y="6130"/>
                </a:cubicBezTo>
                <a:cubicBezTo>
                  <a:pt x="9547" y="6053"/>
                  <a:pt x="9198" y="6000"/>
                  <a:pt x="8836" y="6000"/>
                </a:cubicBezTo>
                <a:cubicBezTo>
                  <a:pt x="5880" y="6000"/>
                  <a:pt x="3439" y="8665"/>
                  <a:pt x="3017" y="12135"/>
                </a:cubicBezTo>
                <a:cubicBezTo>
                  <a:pt x="1288" y="12638"/>
                  <a:pt x="0" y="14532"/>
                  <a:pt x="0" y="16800"/>
                </a:cubicBezTo>
                <a:cubicBezTo>
                  <a:pt x="0" y="19451"/>
                  <a:pt x="1758" y="21600"/>
                  <a:pt x="3927" y="21600"/>
                </a:cubicBezTo>
                <a:lnTo>
                  <a:pt x="17673" y="21600"/>
                </a:lnTo>
                <a:cubicBezTo>
                  <a:pt x="19842" y="21600"/>
                  <a:pt x="21600" y="19451"/>
                  <a:pt x="21600" y="16800"/>
                </a:cubicBezTo>
                <a:cubicBezTo>
                  <a:pt x="21600" y="14997"/>
                  <a:pt x="20778" y="13443"/>
                  <a:pt x="19575" y="1262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67" name="Shape 2967"/>
          <p:cNvSpPr/>
          <p:nvPr/>
        </p:nvSpPr>
        <p:spPr>
          <a:xfrm>
            <a:off x="3891587" y="10370366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9440"/>
                </a:moveTo>
                <a:cubicBezTo>
                  <a:pt x="14727" y="20036"/>
                  <a:pt x="15167" y="20520"/>
                  <a:pt x="15709" y="20520"/>
                </a:cubicBezTo>
                <a:cubicBezTo>
                  <a:pt x="16251" y="20520"/>
                  <a:pt x="16691" y="20036"/>
                  <a:pt x="16691" y="19440"/>
                </a:cubicBezTo>
                <a:cubicBezTo>
                  <a:pt x="16691" y="18360"/>
                  <a:pt x="15709" y="17280"/>
                  <a:pt x="15709" y="17280"/>
                </a:cubicBezTo>
                <a:cubicBezTo>
                  <a:pt x="15709" y="17280"/>
                  <a:pt x="14727" y="18360"/>
                  <a:pt x="14727" y="19440"/>
                </a:cubicBezTo>
                <a:moveTo>
                  <a:pt x="4909" y="20520"/>
                </a:moveTo>
                <a:cubicBezTo>
                  <a:pt x="4909" y="21117"/>
                  <a:pt x="5349" y="21600"/>
                  <a:pt x="5891" y="21600"/>
                </a:cubicBezTo>
                <a:cubicBezTo>
                  <a:pt x="6433" y="21600"/>
                  <a:pt x="6873" y="21117"/>
                  <a:pt x="6873" y="20520"/>
                </a:cubicBezTo>
                <a:cubicBezTo>
                  <a:pt x="6873" y="19440"/>
                  <a:pt x="5891" y="18360"/>
                  <a:pt x="5891" y="18360"/>
                </a:cubicBezTo>
                <a:cubicBezTo>
                  <a:pt x="5891" y="18360"/>
                  <a:pt x="4909" y="19440"/>
                  <a:pt x="4909" y="20520"/>
                </a:cubicBezTo>
                <a:moveTo>
                  <a:pt x="9818" y="17280"/>
                </a:moveTo>
                <a:cubicBezTo>
                  <a:pt x="9818" y="17876"/>
                  <a:pt x="10258" y="18360"/>
                  <a:pt x="10800" y="18360"/>
                </a:cubicBezTo>
                <a:cubicBezTo>
                  <a:pt x="11342" y="18360"/>
                  <a:pt x="11782" y="17876"/>
                  <a:pt x="11782" y="17280"/>
                </a:cubicBezTo>
                <a:cubicBezTo>
                  <a:pt x="11782" y="16200"/>
                  <a:pt x="10800" y="15120"/>
                  <a:pt x="10800" y="15120"/>
                </a:cubicBezTo>
                <a:cubicBezTo>
                  <a:pt x="10800" y="15120"/>
                  <a:pt x="9818" y="16200"/>
                  <a:pt x="9818" y="17280"/>
                </a:cubicBezTo>
                <a:moveTo>
                  <a:pt x="17673" y="12960"/>
                </a:moveTo>
                <a:lnTo>
                  <a:pt x="3927" y="12960"/>
                </a:lnTo>
                <a:cubicBezTo>
                  <a:pt x="2303" y="12960"/>
                  <a:pt x="982" y="11507"/>
                  <a:pt x="982" y="9720"/>
                </a:cubicBezTo>
                <a:cubicBezTo>
                  <a:pt x="982" y="8215"/>
                  <a:pt x="1912" y="6920"/>
                  <a:pt x="3244" y="6572"/>
                </a:cubicBezTo>
                <a:cubicBezTo>
                  <a:pt x="3634" y="6470"/>
                  <a:pt x="3929" y="6117"/>
                  <a:pt x="3988" y="5681"/>
                </a:cubicBezTo>
                <a:cubicBezTo>
                  <a:pt x="4343" y="3058"/>
                  <a:pt x="6427" y="1080"/>
                  <a:pt x="8836" y="1080"/>
                </a:cubicBezTo>
                <a:cubicBezTo>
                  <a:pt x="10501" y="1080"/>
                  <a:pt x="11547" y="1463"/>
                  <a:pt x="12457" y="3010"/>
                </a:cubicBezTo>
                <a:cubicBezTo>
                  <a:pt x="12612" y="3273"/>
                  <a:pt x="13354" y="3989"/>
                  <a:pt x="13636" y="4032"/>
                </a:cubicBezTo>
                <a:cubicBezTo>
                  <a:pt x="13682" y="4039"/>
                  <a:pt x="13773" y="4043"/>
                  <a:pt x="13773" y="4043"/>
                </a:cubicBezTo>
                <a:cubicBezTo>
                  <a:pt x="14009" y="4043"/>
                  <a:pt x="14238" y="3949"/>
                  <a:pt x="14419" y="3776"/>
                </a:cubicBezTo>
                <a:cubicBezTo>
                  <a:pt x="14777" y="3431"/>
                  <a:pt x="15236" y="3240"/>
                  <a:pt x="15709" y="3240"/>
                </a:cubicBezTo>
                <a:cubicBezTo>
                  <a:pt x="16792" y="3240"/>
                  <a:pt x="17673" y="4209"/>
                  <a:pt x="17671" y="5412"/>
                </a:cubicBezTo>
                <a:lnTo>
                  <a:pt x="17667" y="5491"/>
                </a:lnTo>
                <a:cubicBezTo>
                  <a:pt x="17646" y="6002"/>
                  <a:pt x="17953" y="6459"/>
                  <a:pt x="18404" y="6586"/>
                </a:cubicBezTo>
                <a:cubicBezTo>
                  <a:pt x="19708" y="6954"/>
                  <a:pt x="20618" y="8242"/>
                  <a:pt x="20618" y="9720"/>
                </a:cubicBezTo>
                <a:cubicBezTo>
                  <a:pt x="20618" y="11507"/>
                  <a:pt x="19297" y="12960"/>
                  <a:pt x="17673" y="12960"/>
                </a:cubicBezTo>
                <a:moveTo>
                  <a:pt x="18648" y="5540"/>
                </a:moveTo>
                <a:cubicBezTo>
                  <a:pt x="18650" y="5493"/>
                  <a:pt x="18655" y="5447"/>
                  <a:pt x="18655" y="5400"/>
                </a:cubicBezTo>
                <a:cubicBezTo>
                  <a:pt x="18655" y="3611"/>
                  <a:pt x="17335" y="2160"/>
                  <a:pt x="15709" y="2160"/>
                </a:cubicBezTo>
                <a:cubicBezTo>
                  <a:pt x="14967" y="2160"/>
                  <a:pt x="14290" y="2464"/>
                  <a:pt x="13773" y="2963"/>
                </a:cubicBezTo>
                <a:cubicBezTo>
                  <a:pt x="12724" y="1182"/>
                  <a:pt x="10909" y="0"/>
                  <a:pt x="8836" y="0"/>
                </a:cubicBezTo>
                <a:cubicBezTo>
                  <a:pt x="5880" y="0"/>
                  <a:pt x="3439" y="2398"/>
                  <a:pt x="3017" y="5521"/>
                </a:cubicBezTo>
                <a:cubicBezTo>
                  <a:pt x="1288" y="5974"/>
                  <a:pt x="0" y="7679"/>
                  <a:pt x="0" y="9720"/>
                </a:cubicBezTo>
                <a:cubicBezTo>
                  <a:pt x="0" y="12106"/>
                  <a:pt x="1758" y="14040"/>
                  <a:pt x="3927" y="14040"/>
                </a:cubicBezTo>
                <a:lnTo>
                  <a:pt x="17673" y="14040"/>
                </a:lnTo>
                <a:cubicBezTo>
                  <a:pt x="19842" y="14040"/>
                  <a:pt x="21600" y="12106"/>
                  <a:pt x="21600" y="9720"/>
                </a:cubicBezTo>
                <a:cubicBezTo>
                  <a:pt x="21600" y="7706"/>
                  <a:pt x="20344" y="6018"/>
                  <a:pt x="18648" y="554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68" name="Shape 2968"/>
          <p:cNvSpPr/>
          <p:nvPr/>
        </p:nvSpPr>
        <p:spPr>
          <a:xfrm>
            <a:off x="4958109" y="10395759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14400"/>
                </a:moveTo>
                <a:lnTo>
                  <a:pt x="3927" y="14400"/>
                </a:lnTo>
                <a:cubicBezTo>
                  <a:pt x="2303" y="14400"/>
                  <a:pt x="982" y="12785"/>
                  <a:pt x="982" y="10800"/>
                </a:cubicBezTo>
                <a:cubicBezTo>
                  <a:pt x="982" y="9128"/>
                  <a:pt x="1912" y="7690"/>
                  <a:pt x="3244" y="7302"/>
                </a:cubicBezTo>
                <a:cubicBezTo>
                  <a:pt x="3634" y="7189"/>
                  <a:pt x="3929" y="6796"/>
                  <a:pt x="3988" y="6312"/>
                </a:cubicBezTo>
                <a:cubicBezTo>
                  <a:pt x="4343" y="3397"/>
                  <a:pt x="6427" y="1200"/>
                  <a:pt x="8836" y="1200"/>
                </a:cubicBezTo>
                <a:cubicBezTo>
                  <a:pt x="10501" y="1200"/>
                  <a:pt x="11547" y="1626"/>
                  <a:pt x="12457" y="3344"/>
                </a:cubicBezTo>
                <a:cubicBezTo>
                  <a:pt x="12612" y="3636"/>
                  <a:pt x="13354" y="4432"/>
                  <a:pt x="13636" y="4480"/>
                </a:cubicBezTo>
                <a:cubicBezTo>
                  <a:pt x="13682" y="4488"/>
                  <a:pt x="13773" y="4492"/>
                  <a:pt x="13773" y="4492"/>
                </a:cubicBezTo>
                <a:cubicBezTo>
                  <a:pt x="14009" y="4492"/>
                  <a:pt x="14238" y="4388"/>
                  <a:pt x="14419" y="4195"/>
                </a:cubicBezTo>
                <a:cubicBezTo>
                  <a:pt x="14777" y="3812"/>
                  <a:pt x="15236" y="3600"/>
                  <a:pt x="15709" y="3600"/>
                </a:cubicBezTo>
                <a:cubicBezTo>
                  <a:pt x="16792" y="3600"/>
                  <a:pt x="17673" y="4676"/>
                  <a:pt x="17671" y="6013"/>
                </a:cubicBezTo>
                <a:lnTo>
                  <a:pt x="17667" y="6101"/>
                </a:lnTo>
                <a:cubicBezTo>
                  <a:pt x="17646" y="6669"/>
                  <a:pt x="17953" y="7177"/>
                  <a:pt x="18404" y="7318"/>
                </a:cubicBezTo>
                <a:cubicBezTo>
                  <a:pt x="19708" y="7726"/>
                  <a:pt x="20618" y="9158"/>
                  <a:pt x="20618" y="10800"/>
                </a:cubicBezTo>
                <a:cubicBezTo>
                  <a:pt x="20618" y="12785"/>
                  <a:pt x="19297" y="14400"/>
                  <a:pt x="17673" y="14400"/>
                </a:cubicBezTo>
                <a:moveTo>
                  <a:pt x="18648" y="6156"/>
                </a:moveTo>
                <a:cubicBezTo>
                  <a:pt x="18650" y="6104"/>
                  <a:pt x="18655" y="6053"/>
                  <a:pt x="18655" y="6000"/>
                </a:cubicBezTo>
                <a:cubicBezTo>
                  <a:pt x="18655" y="4012"/>
                  <a:pt x="17335" y="2400"/>
                  <a:pt x="15709" y="2400"/>
                </a:cubicBezTo>
                <a:cubicBezTo>
                  <a:pt x="14967" y="2400"/>
                  <a:pt x="14290" y="2738"/>
                  <a:pt x="13773" y="3292"/>
                </a:cubicBezTo>
                <a:cubicBezTo>
                  <a:pt x="12724" y="1314"/>
                  <a:pt x="10909" y="0"/>
                  <a:pt x="8836" y="0"/>
                </a:cubicBezTo>
                <a:cubicBezTo>
                  <a:pt x="5880" y="0"/>
                  <a:pt x="3439" y="2665"/>
                  <a:pt x="3017" y="6135"/>
                </a:cubicBezTo>
                <a:cubicBezTo>
                  <a:pt x="1288" y="6638"/>
                  <a:pt x="0" y="8532"/>
                  <a:pt x="0" y="10800"/>
                </a:cubicBezTo>
                <a:cubicBezTo>
                  <a:pt x="0" y="13451"/>
                  <a:pt x="1758" y="15600"/>
                  <a:pt x="3927" y="15600"/>
                </a:cubicBezTo>
                <a:lnTo>
                  <a:pt x="17673" y="15600"/>
                </a:lnTo>
                <a:cubicBezTo>
                  <a:pt x="19842" y="15600"/>
                  <a:pt x="21600" y="13451"/>
                  <a:pt x="21600" y="10800"/>
                </a:cubicBezTo>
                <a:cubicBezTo>
                  <a:pt x="21600" y="8562"/>
                  <a:pt x="20344" y="6687"/>
                  <a:pt x="18648" y="6156"/>
                </a:cubicBezTo>
                <a:moveTo>
                  <a:pt x="15218" y="16800"/>
                </a:moveTo>
                <a:cubicBezTo>
                  <a:pt x="15083" y="16800"/>
                  <a:pt x="14960" y="16867"/>
                  <a:pt x="14871" y="16976"/>
                </a:cubicBezTo>
                <a:lnTo>
                  <a:pt x="11926" y="20575"/>
                </a:lnTo>
                <a:cubicBezTo>
                  <a:pt x="11837" y="20685"/>
                  <a:pt x="11782" y="20835"/>
                  <a:pt x="11782" y="21000"/>
                </a:cubicBezTo>
                <a:cubicBezTo>
                  <a:pt x="11782" y="21332"/>
                  <a:pt x="12002" y="21600"/>
                  <a:pt x="12273" y="21600"/>
                </a:cubicBezTo>
                <a:cubicBezTo>
                  <a:pt x="12408" y="21600"/>
                  <a:pt x="12531" y="21533"/>
                  <a:pt x="12620" y="21424"/>
                </a:cubicBezTo>
                <a:lnTo>
                  <a:pt x="15565" y="17824"/>
                </a:lnTo>
                <a:cubicBezTo>
                  <a:pt x="15654" y="17716"/>
                  <a:pt x="15709" y="17566"/>
                  <a:pt x="15709" y="17400"/>
                </a:cubicBezTo>
                <a:cubicBezTo>
                  <a:pt x="15709" y="17069"/>
                  <a:pt x="15489" y="16800"/>
                  <a:pt x="15218" y="16800"/>
                </a:cubicBezTo>
                <a:moveTo>
                  <a:pt x="12764" y="17400"/>
                </a:moveTo>
                <a:cubicBezTo>
                  <a:pt x="12764" y="17069"/>
                  <a:pt x="12544" y="16800"/>
                  <a:pt x="12273" y="16800"/>
                </a:cubicBezTo>
                <a:cubicBezTo>
                  <a:pt x="12137" y="16800"/>
                  <a:pt x="12015" y="16867"/>
                  <a:pt x="11925" y="16976"/>
                </a:cubicBezTo>
                <a:lnTo>
                  <a:pt x="8981" y="20575"/>
                </a:lnTo>
                <a:cubicBezTo>
                  <a:pt x="8891" y="20685"/>
                  <a:pt x="8836" y="20835"/>
                  <a:pt x="8836" y="21000"/>
                </a:cubicBezTo>
                <a:cubicBezTo>
                  <a:pt x="8836" y="21332"/>
                  <a:pt x="9056" y="21600"/>
                  <a:pt x="9327" y="21600"/>
                </a:cubicBezTo>
                <a:cubicBezTo>
                  <a:pt x="9463" y="21600"/>
                  <a:pt x="9585" y="21533"/>
                  <a:pt x="9674" y="21424"/>
                </a:cubicBezTo>
                <a:lnTo>
                  <a:pt x="12620" y="17824"/>
                </a:lnTo>
                <a:cubicBezTo>
                  <a:pt x="12709" y="17716"/>
                  <a:pt x="12764" y="17566"/>
                  <a:pt x="12764" y="17400"/>
                </a:cubicBezTo>
                <a:moveTo>
                  <a:pt x="6873" y="17400"/>
                </a:moveTo>
                <a:cubicBezTo>
                  <a:pt x="6873" y="17069"/>
                  <a:pt x="6653" y="16800"/>
                  <a:pt x="6382" y="16800"/>
                </a:cubicBezTo>
                <a:cubicBezTo>
                  <a:pt x="6246" y="16800"/>
                  <a:pt x="6124" y="16867"/>
                  <a:pt x="6034" y="16976"/>
                </a:cubicBezTo>
                <a:lnTo>
                  <a:pt x="3090" y="20575"/>
                </a:lnTo>
                <a:cubicBezTo>
                  <a:pt x="3000" y="20685"/>
                  <a:pt x="2945" y="20835"/>
                  <a:pt x="2945" y="21000"/>
                </a:cubicBezTo>
                <a:cubicBezTo>
                  <a:pt x="2945" y="21332"/>
                  <a:pt x="3166" y="21600"/>
                  <a:pt x="3436" y="21600"/>
                </a:cubicBezTo>
                <a:cubicBezTo>
                  <a:pt x="3572" y="21600"/>
                  <a:pt x="3695" y="21533"/>
                  <a:pt x="3783" y="21424"/>
                </a:cubicBezTo>
                <a:lnTo>
                  <a:pt x="6729" y="17824"/>
                </a:lnTo>
                <a:cubicBezTo>
                  <a:pt x="6818" y="17716"/>
                  <a:pt x="6873" y="17566"/>
                  <a:pt x="6873" y="17400"/>
                </a:cubicBezTo>
                <a:moveTo>
                  <a:pt x="9818" y="17400"/>
                </a:moveTo>
                <a:cubicBezTo>
                  <a:pt x="9818" y="17069"/>
                  <a:pt x="9598" y="16800"/>
                  <a:pt x="9327" y="16800"/>
                </a:cubicBezTo>
                <a:cubicBezTo>
                  <a:pt x="9192" y="16800"/>
                  <a:pt x="9069" y="16867"/>
                  <a:pt x="8980" y="16976"/>
                </a:cubicBezTo>
                <a:lnTo>
                  <a:pt x="6035" y="20575"/>
                </a:lnTo>
                <a:cubicBezTo>
                  <a:pt x="5946" y="20685"/>
                  <a:pt x="5891" y="20835"/>
                  <a:pt x="5891" y="21000"/>
                </a:cubicBezTo>
                <a:cubicBezTo>
                  <a:pt x="5891" y="21332"/>
                  <a:pt x="6111" y="21600"/>
                  <a:pt x="6382" y="21600"/>
                </a:cubicBezTo>
                <a:cubicBezTo>
                  <a:pt x="6517" y="21600"/>
                  <a:pt x="6640" y="21533"/>
                  <a:pt x="6729" y="21424"/>
                </a:cubicBezTo>
                <a:lnTo>
                  <a:pt x="9674" y="17824"/>
                </a:lnTo>
                <a:cubicBezTo>
                  <a:pt x="9763" y="17716"/>
                  <a:pt x="9818" y="17566"/>
                  <a:pt x="9818" y="174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69" name="Shape 2969"/>
          <p:cNvSpPr/>
          <p:nvPr/>
        </p:nvSpPr>
        <p:spPr>
          <a:xfrm>
            <a:off x="6024631" y="10370366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15120"/>
                </a:moveTo>
                <a:cubicBezTo>
                  <a:pt x="17893" y="15120"/>
                  <a:pt x="17673" y="15362"/>
                  <a:pt x="17673" y="15660"/>
                </a:cubicBezTo>
                <a:lnTo>
                  <a:pt x="17673" y="17820"/>
                </a:lnTo>
                <a:cubicBezTo>
                  <a:pt x="17673" y="18118"/>
                  <a:pt x="17893" y="18360"/>
                  <a:pt x="18164" y="18360"/>
                </a:cubicBezTo>
                <a:cubicBezTo>
                  <a:pt x="18434" y="18360"/>
                  <a:pt x="18655" y="18118"/>
                  <a:pt x="18655" y="17820"/>
                </a:cubicBezTo>
                <a:lnTo>
                  <a:pt x="18655" y="15660"/>
                </a:lnTo>
                <a:cubicBezTo>
                  <a:pt x="18655" y="15362"/>
                  <a:pt x="18434" y="15120"/>
                  <a:pt x="18164" y="15120"/>
                </a:cubicBezTo>
                <a:moveTo>
                  <a:pt x="15218" y="15120"/>
                </a:moveTo>
                <a:cubicBezTo>
                  <a:pt x="14947" y="15120"/>
                  <a:pt x="14727" y="15362"/>
                  <a:pt x="14727" y="15660"/>
                </a:cubicBezTo>
                <a:lnTo>
                  <a:pt x="14727" y="18900"/>
                </a:lnTo>
                <a:cubicBezTo>
                  <a:pt x="14727" y="19198"/>
                  <a:pt x="14947" y="19440"/>
                  <a:pt x="15218" y="19440"/>
                </a:cubicBezTo>
                <a:cubicBezTo>
                  <a:pt x="15489" y="19440"/>
                  <a:pt x="15709" y="19198"/>
                  <a:pt x="15709" y="18900"/>
                </a:cubicBezTo>
                <a:lnTo>
                  <a:pt x="15709" y="15660"/>
                </a:lnTo>
                <a:cubicBezTo>
                  <a:pt x="15709" y="15362"/>
                  <a:pt x="15489" y="15120"/>
                  <a:pt x="15218" y="15120"/>
                </a:cubicBezTo>
                <a:moveTo>
                  <a:pt x="17673" y="12960"/>
                </a:moveTo>
                <a:lnTo>
                  <a:pt x="3927" y="12960"/>
                </a:lnTo>
                <a:cubicBezTo>
                  <a:pt x="2303" y="12960"/>
                  <a:pt x="982" y="11507"/>
                  <a:pt x="982" y="9720"/>
                </a:cubicBezTo>
                <a:cubicBezTo>
                  <a:pt x="982" y="8215"/>
                  <a:pt x="1912" y="6920"/>
                  <a:pt x="3244" y="6572"/>
                </a:cubicBezTo>
                <a:cubicBezTo>
                  <a:pt x="3634" y="6470"/>
                  <a:pt x="3929" y="6117"/>
                  <a:pt x="3988" y="5681"/>
                </a:cubicBezTo>
                <a:cubicBezTo>
                  <a:pt x="4343" y="3058"/>
                  <a:pt x="6427" y="1080"/>
                  <a:pt x="8836" y="1080"/>
                </a:cubicBezTo>
                <a:cubicBezTo>
                  <a:pt x="10501" y="1080"/>
                  <a:pt x="11547" y="1463"/>
                  <a:pt x="12457" y="3010"/>
                </a:cubicBezTo>
                <a:cubicBezTo>
                  <a:pt x="12612" y="3273"/>
                  <a:pt x="13354" y="3989"/>
                  <a:pt x="13636" y="4032"/>
                </a:cubicBezTo>
                <a:cubicBezTo>
                  <a:pt x="13682" y="4039"/>
                  <a:pt x="13773" y="4043"/>
                  <a:pt x="13773" y="4043"/>
                </a:cubicBezTo>
                <a:cubicBezTo>
                  <a:pt x="14009" y="4043"/>
                  <a:pt x="14238" y="3949"/>
                  <a:pt x="14419" y="3776"/>
                </a:cubicBezTo>
                <a:cubicBezTo>
                  <a:pt x="14777" y="3431"/>
                  <a:pt x="15236" y="3240"/>
                  <a:pt x="15709" y="3240"/>
                </a:cubicBezTo>
                <a:cubicBezTo>
                  <a:pt x="16792" y="3240"/>
                  <a:pt x="17673" y="4209"/>
                  <a:pt x="17671" y="5412"/>
                </a:cubicBezTo>
                <a:lnTo>
                  <a:pt x="17667" y="5491"/>
                </a:lnTo>
                <a:cubicBezTo>
                  <a:pt x="17646" y="6002"/>
                  <a:pt x="17953" y="6459"/>
                  <a:pt x="18404" y="6586"/>
                </a:cubicBezTo>
                <a:cubicBezTo>
                  <a:pt x="19708" y="6954"/>
                  <a:pt x="20618" y="8242"/>
                  <a:pt x="20618" y="9720"/>
                </a:cubicBezTo>
                <a:cubicBezTo>
                  <a:pt x="20618" y="11507"/>
                  <a:pt x="19297" y="12960"/>
                  <a:pt x="17673" y="12960"/>
                </a:cubicBezTo>
                <a:moveTo>
                  <a:pt x="18648" y="5540"/>
                </a:moveTo>
                <a:cubicBezTo>
                  <a:pt x="18650" y="5493"/>
                  <a:pt x="18655" y="5447"/>
                  <a:pt x="18655" y="5400"/>
                </a:cubicBezTo>
                <a:cubicBezTo>
                  <a:pt x="18655" y="3611"/>
                  <a:pt x="17335" y="2160"/>
                  <a:pt x="15709" y="2160"/>
                </a:cubicBezTo>
                <a:cubicBezTo>
                  <a:pt x="14967" y="2160"/>
                  <a:pt x="14290" y="2464"/>
                  <a:pt x="13773" y="2963"/>
                </a:cubicBezTo>
                <a:cubicBezTo>
                  <a:pt x="12724" y="1182"/>
                  <a:pt x="10909" y="0"/>
                  <a:pt x="8836" y="0"/>
                </a:cubicBezTo>
                <a:cubicBezTo>
                  <a:pt x="5880" y="0"/>
                  <a:pt x="3439" y="2398"/>
                  <a:pt x="3017" y="5521"/>
                </a:cubicBezTo>
                <a:cubicBezTo>
                  <a:pt x="1288" y="5974"/>
                  <a:pt x="0" y="7679"/>
                  <a:pt x="0" y="9720"/>
                </a:cubicBezTo>
                <a:cubicBezTo>
                  <a:pt x="0" y="12106"/>
                  <a:pt x="1758" y="14040"/>
                  <a:pt x="3927" y="14040"/>
                </a:cubicBezTo>
                <a:lnTo>
                  <a:pt x="17673" y="14040"/>
                </a:lnTo>
                <a:cubicBezTo>
                  <a:pt x="19842" y="14040"/>
                  <a:pt x="21600" y="12106"/>
                  <a:pt x="21600" y="9720"/>
                </a:cubicBezTo>
                <a:cubicBezTo>
                  <a:pt x="21600" y="7706"/>
                  <a:pt x="20344" y="6018"/>
                  <a:pt x="18648" y="5540"/>
                </a:cubicBezTo>
                <a:moveTo>
                  <a:pt x="6382" y="16200"/>
                </a:moveTo>
                <a:cubicBezTo>
                  <a:pt x="6111" y="16200"/>
                  <a:pt x="5891" y="16442"/>
                  <a:pt x="5891" y="16740"/>
                </a:cubicBezTo>
                <a:lnTo>
                  <a:pt x="5891" y="18900"/>
                </a:lnTo>
                <a:cubicBezTo>
                  <a:pt x="5891" y="19198"/>
                  <a:pt x="6111" y="19440"/>
                  <a:pt x="6382" y="19440"/>
                </a:cubicBezTo>
                <a:cubicBezTo>
                  <a:pt x="6653" y="19440"/>
                  <a:pt x="6873" y="19198"/>
                  <a:pt x="6873" y="18900"/>
                </a:cubicBezTo>
                <a:lnTo>
                  <a:pt x="6873" y="16740"/>
                </a:lnTo>
                <a:cubicBezTo>
                  <a:pt x="6873" y="16442"/>
                  <a:pt x="6653" y="16200"/>
                  <a:pt x="6382" y="16200"/>
                </a:cubicBezTo>
                <a:moveTo>
                  <a:pt x="3436" y="15120"/>
                </a:moveTo>
                <a:cubicBezTo>
                  <a:pt x="3166" y="15120"/>
                  <a:pt x="2945" y="15362"/>
                  <a:pt x="2945" y="15660"/>
                </a:cubicBezTo>
                <a:lnTo>
                  <a:pt x="2945" y="18900"/>
                </a:lnTo>
                <a:cubicBezTo>
                  <a:pt x="2945" y="19198"/>
                  <a:pt x="3166" y="19440"/>
                  <a:pt x="3436" y="19440"/>
                </a:cubicBezTo>
                <a:cubicBezTo>
                  <a:pt x="3707" y="19440"/>
                  <a:pt x="3927" y="19198"/>
                  <a:pt x="3927" y="18900"/>
                </a:cubicBezTo>
                <a:lnTo>
                  <a:pt x="3927" y="15660"/>
                </a:lnTo>
                <a:cubicBezTo>
                  <a:pt x="3927" y="15362"/>
                  <a:pt x="3707" y="15120"/>
                  <a:pt x="3436" y="15120"/>
                </a:cubicBezTo>
                <a:moveTo>
                  <a:pt x="12273" y="16200"/>
                </a:moveTo>
                <a:cubicBezTo>
                  <a:pt x="12002" y="16200"/>
                  <a:pt x="11782" y="16442"/>
                  <a:pt x="11782" y="16740"/>
                </a:cubicBezTo>
                <a:lnTo>
                  <a:pt x="11782" y="19980"/>
                </a:lnTo>
                <a:cubicBezTo>
                  <a:pt x="11782" y="20278"/>
                  <a:pt x="12002" y="20520"/>
                  <a:pt x="12273" y="20520"/>
                </a:cubicBezTo>
                <a:cubicBezTo>
                  <a:pt x="12544" y="20520"/>
                  <a:pt x="12764" y="20278"/>
                  <a:pt x="12764" y="19980"/>
                </a:cubicBezTo>
                <a:lnTo>
                  <a:pt x="12764" y="16740"/>
                </a:lnTo>
                <a:cubicBezTo>
                  <a:pt x="12764" y="16442"/>
                  <a:pt x="12544" y="16200"/>
                  <a:pt x="12273" y="16200"/>
                </a:cubicBezTo>
                <a:moveTo>
                  <a:pt x="9327" y="17280"/>
                </a:moveTo>
                <a:cubicBezTo>
                  <a:pt x="9056" y="17280"/>
                  <a:pt x="8836" y="17522"/>
                  <a:pt x="8836" y="17820"/>
                </a:cubicBezTo>
                <a:lnTo>
                  <a:pt x="8836" y="21060"/>
                </a:lnTo>
                <a:cubicBezTo>
                  <a:pt x="8836" y="21358"/>
                  <a:pt x="9056" y="21600"/>
                  <a:pt x="9327" y="21600"/>
                </a:cubicBezTo>
                <a:cubicBezTo>
                  <a:pt x="9598" y="21600"/>
                  <a:pt x="9818" y="21358"/>
                  <a:pt x="9818" y="21060"/>
                </a:cubicBezTo>
                <a:lnTo>
                  <a:pt x="9818" y="17820"/>
                </a:lnTo>
                <a:cubicBezTo>
                  <a:pt x="9818" y="17522"/>
                  <a:pt x="9598" y="17280"/>
                  <a:pt x="9327" y="1728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70" name="Shape 2970"/>
          <p:cNvSpPr/>
          <p:nvPr/>
        </p:nvSpPr>
        <p:spPr>
          <a:xfrm>
            <a:off x="7091154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9636"/>
                </a:moveTo>
                <a:cubicBezTo>
                  <a:pt x="15167" y="19636"/>
                  <a:pt x="14727" y="20076"/>
                  <a:pt x="14727" y="20618"/>
                </a:cubicBezTo>
                <a:cubicBezTo>
                  <a:pt x="14727" y="21160"/>
                  <a:pt x="15167" y="21600"/>
                  <a:pt x="15709" y="21600"/>
                </a:cubicBezTo>
                <a:cubicBezTo>
                  <a:pt x="16251" y="21600"/>
                  <a:pt x="16691" y="21160"/>
                  <a:pt x="16691" y="20618"/>
                </a:cubicBezTo>
                <a:cubicBezTo>
                  <a:pt x="16691" y="20076"/>
                  <a:pt x="16251" y="19636"/>
                  <a:pt x="15709" y="19636"/>
                </a:cubicBezTo>
                <a:moveTo>
                  <a:pt x="18655" y="16691"/>
                </a:moveTo>
                <a:cubicBezTo>
                  <a:pt x="18113" y="16691"/>
                  <a:pt x="17673" y="17131"/>
                  <a:pt x="17673" y="17673"/>
                </a:cubicBezTo>
                <a:cubicBezTo>
                  <a:pt x="17673" y="18215"/>
                  <a:pt x="18113" y="18655"/>
                  <a:pt x="18655" y="18655"/>
                </a:cubicBezTo>
                <a:cubicBezTo>
                  <a:pt x="19196" y="18655"/>
                  <a:pt x="19636" y="18215"/>
                  <a:pt x="19636" y="17673"/>
                </a:cubicBezTo>
                <a:cubicBezTo>
                  <a:pt x="19636" y="17131"/>
                  <a:pt x="19196" y="16691"/>
                  <a:pt x="18655" y="16691"/>
                </a:cubicBezTo>
                <a:moveTo>
                  <a:pt x="17673" y="11782"/>
                </a:moveTo>
                <a:lnTo>
                  <a:pt x="3927" y="11782"/>
                </a:lnTo>
                <a:cubicBezTo>
                  <a:pt x="2303" y="11782"/>
                  <a:pt x="982" y="10461"/>
                  <a:pt x="982" y="8836"/>
                </a:cubicBezTo>
                <a:cubicBezTo>
                  <a:pt x="982" y="7468"/>
                  <a:pt x="1911" y="6292"/>
                  <a:pt x="3244" y="5975"/>
                </a:cubicBezTo>
                <a:cubicBezTo>
                  <a:pt x="3634" y="5882"/>
                  <a:pt x="3929" y="5561"/>
                  <a:pt x="3988" y="5164"/>
                </a:cubicBezTo>
                <a:cubicBezTo>
                  <a:pt x="4342" y="2780"/>
                  <a:pt x="6427" y="982"/>
                  <a:pt x="8836" y="982"/>
                </a:cubicBezTo>
                <a:cubicBezTo>
                  <a:pt x="10501" y="982"/>
                  <a:pt x="11547" y="1330"/>
                  <a:pt x="12457" y="2736"/>
                </a:cubicBezTo>
                <a:cubicBezTo>
                  <a:pt x="12612" y="2975"/>
                  <a:pt x="13354" y="3626"/>
                  <a:pt x="13636" y="3666"/>
                </a:cubicBezTo>
                <a:cubicBezTo>
                  <a:pt x="13682" y="3672"/>
                  <a:pt x="13772" y="3675"/>
                  <a:pt x="13772" y="3675"/>
                </a:cubicBezTo>
                <a:cubicBezTo>
                  <a:pt x="14009" y="3675"/>
                  <a:pt x="14238" y="3590"/>
                  <a:pt x="14419" y="3433"/>
                </a:cubicBezTo>
                <a:cubicBezTo>
                  <a:pt x="14777" y="3119"/>
                  <a:pt x="15236" y="2945"/>
                  <a:pt x="15709" y="2945"/>
                </a:cubicBezTo>
                <a:cubicBezTo>
                  <a:pt x="16792" y="2945"/>
                  <a:pt x="17673" y="3826"/>
                  <a:pt x="17671" y="4920"/>
                </a:cubicBezTo>
                <a:lnTo>
                  <a:pt x="17667" y="4992"/>
                </a:lnTo>
                <a:cubicBezTo>
                  <a:pt x="17646" y="5457"/>
                  <a:pt x="17954" y="5872"/>
                  <a:pt x="18404" y="5987"/>
                </a:cubicBezTo>
                <a:cubicBezTo>
                  <a:pt x="19708" y="6321"/>
                  <a:pt x="20618" y="7493"/>
                  <a:pt x="20618" y="8836"/>
                </a:cubicBezTo>
                <a:cubicBezTo>
                  <a:pt x="20618" y="10461"/>
                  <a:pt x="19297" y="11782"/>
                  <a:pt x="17673" y="11782"/>
                </a:cubicBezTo>
                <a:moveTo>
                  <a:pt x="18648" y="5036"/>
                </a:moveTo>
                <a:cubicBezTo>
                  <a:pt x="18650" y="4994"/>
                  <a:pt x="18655" y="4952"/>
                  <a:pt x="18655" y="4909"/>
                </a:cubicBezTo>
                <a:cubicBezTo>
                  <a:pt x="18655" y="3283"/>
                  <a:pt x="17335" y="1964"/>
                  <a:pt x="15709" y="1964"/>
                </a:cubicBezTo>
                <a:cubicBezTo>
                  <a:pt x="14967" y="1964"/>
                  <a:pt x="14291" y="2240"/>
                  <a:pt x="13772" y="2693"/>
                </a:cubicBezTo>
                <a:cubicBezTo>
                  <a:pt x="12724" y="1075"/>
                  <a:pt x="10909" y="0"/>
                  <a:pt x="8836" y="0"/>
                </a:cubicBezTo>
                <a:cubicBezTo>
                  <a:pt x="5879" y="0"/>
                  <a:pt x="3439" y="2180"/>
                  <a:pt x="3017" y="5019"/>
                </a:cubicBezTo>
                <a:cubicBezTo>
                  <a:pt x="1288" y="5431"/>
                  <a:pt x="0" y="6981"/>
                  <a:pt x="0" y="8836"/>
                </a:cubicBezTo>
                <a:cubicBezTo>
                  <a:pt x="0" y="11005"/>
                  <a:pt x="1758" y="12764"/>
                  <a:pt x="3927" y="12764"/>
                </a:cubicBezTo>
                <a:lnTo>
                  <a:pt x="17673" y="12764"/>
                </a:lnTo>
                <a:cubicBezTo>
                  <a:pt x="19842" y="12764"/>
                  <a:pt x="21600" y="11005"/>
                  <a:pt x="21600" y="8836"/>
                </a:cubicBezTo>
                <a:cubicBezTo>
                  <a:pt x="21600" y="7005"/>
                  <a:pt x="20344" y="5471"/>
                  <a:pt x="18648" y="5036"/>
                </a:cubicBezTo>
                <a:moveTo>
                  <a:pt x="15709" y="15709"/>
                </a:moveTo>
                <a:cubicBezTo>
                  <a:pt x="15709" y="15167"/>
                  <a:pt x="15269" y="14727"/>
                  <a:pt x="14727" y="14727"/>
                </a:cubicBezTo>
                <a:cubicBezTo>
                  <a:pt x="14186" y="14727"/>
                  <a:pt x="13745" y="15167"/>
                  <a:pt x="13745" y="15709"/>
                </a:cubicBezTo>
                <a:cubicBezTo>
                  <a:pt x="13745" y="16252"/>
                  <a:pt x="14186" y="16691"/>
                  <a:pt x="14727" y="16691"/>
                </a:cubicBezTo>
                <a:cubicBezTo>
                  <a:pt x="15269" y="16691"/>
                  <a:pt x="15709" y="16252"/>
                  <a:pt x="15709" y="15709"/>
                </a:cubicBezTo>
                <a:moveTo>
                  <a:pt x="10800" y="17673"/>
                </a:moveTo>
                <a:cubicBezTo>
                  <a:pt x="10258" y="17673"/>
                  <a:pt x="9818" y="18113"/>
                  <a:pt x="9818" y="18655"/>
                </a:cubicBezTo>
                <a:cubicBezTo>
                  <a:pt x="9818" y="19196"/>
                  <a:pt x="10258" y="19636"/>
                  <a:pt x="10800" y="19636"/>
                </a:cubicBezTo>
                <a:cubicBezTo>
                  <a:pt x="11342" y="19636"/>
                  <a:pt x="11782" y="19196"/>
                  <a:pt x="11782" y="18655"/>
                </a:cubicBezTo>
                <a:cubicBezTo>
                  <a:pt x="11782" y="18113"/>
                  <a:pt x="11342" y="17673"/>
                  <a:pt x="10800" y="17673"/>
                </a:cubicBezTo>
                <a:moveTo>
                  <a:pt x="2945" y="15709"/>
                </a:moveTo>
                <a:cubicBezTo>
                  <a:pt x="2404" y="15709"/>
                  <a:pt x="1964" y="16149"/>
                  <a:pt x="1964" y="16691"/>
                </a:cubicBezTo>
                <a:cubicBezTo>
                  <a:pt x="1964" y="17233"/>
                  <a:pt x="2404" y="17673"/>
                  <a:pt x="2945" y="17673"/>
                </a:cubicBezTo>
                <a:cubicBezTo>
                  <a:pt x="3487" y="17673"/>
                  <a:pt x="3927" y="17233"/>
                  <a:pt x="3927" y="16691"/>
                </a:cubicBezTo>
                <a:cubicBezTo>
                  <a:pt x="3927" y="16149"/>
                  <a:pt x="3487" y="15709"/>
                  <a:pt x="2945" y="15709"/>
                </a:cubicBezTo>
                <a:moveTo>
                  <a:pt x="4909" y="18655"/>
                </a:moveTo>
                <a:cubicBezTo>
                  <a:pt x="4367" y="18655"/>
                  <a:pt x="3927" y="19095"/>
                  <a:pt x="3927" y="19636"/>
                </a:cubicBezTo>
                <a:cubicBezTo>
                  <a:pt x="3927" y="20179"/>
                  <a:pt x="4367" y="20618"/>
                  <a:pt x="4909" y="20618"/>
                </a:cubicBezTo>
                <a:cubicBezTo>
                  <a:pt x="5451" y="20618"/>
                  <a:pt x="5891" y="20179"/>
                  <a:pt x="5891" y="19636"/>
                </a:cubicBezTo>
                <a:cubicBezTo>
                  <a:pt x="5891" y="19095"/>
                  <a:pt x="5451" y="18655"/>
                  <a:pt x="4909" y="18655"/>
                </a:cubicBezTo>
                <a:moveTo>
                  <a:pt x="7855" y="13745"/>
                </a:moveTo>
                <a:cubicBezTo>
                  <a:pt x="7313" y="13745"/>
                  <a:pt x="6873" y="14186"/>
                  <a:pt x="6873" y="14727"/>
                </a:cubicBezTo>
                <a:cubicBezTo>
                  <a:pt x="6873" y="15270"/>
                  <a:pt x="7313" y="15709"/>
                  <a:pt x="7855" y="15709"/>
                </a:cubicBezTo>
                <a:cubicBezTo>
                  <a:pt x="8396" y="15709"/>
                  <a:pt x="8836" y="15270"/>
                  <a:pt x="8836" y="14727"/>
                </a:cubicBezTo>
                <a:cubicBezTo>
                  <a:pt x="8836" y="14186"/>
                  <a:pt x="8396" y="13745"/>
                  <a:pt x="7855" y="137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71" name="Shape 2971"/>
          <p:cNvSpPr/>
          <p:nvPr/>
        </p:nvSpPr>
        <p:spPr>
          <a:xfrm>
            <a:off x="8157677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5709"/>
                </a:moveTo>
                <a:cubicBezTo>
                  <a:pt x="16555" y="15709"/>
                  <a:pt x="16433" y="15764"/>
                  <a:pt x="16344" y="15853"/>
                </a:cubicBezTo>
                <a:lnTo>
                  <a:pt x="13399" y="18798"/>
                </a:lnTo>
                <a:cubicBezTo>
                  <a:pt x="13310" y="18888"/>
                  <a:pt x="13255" y="19010"/>
                  <a:pt x="13255" y="19145"/>
                </a:cubicBezTo>
                <a:cubicBezTo>
                  <a:pt x="13255" y="19417"/>
                  <a:pt x="13474" y="19636"/>
                  <a:pt x="13745" y="19636"/>
                </a:cubicBezTo>
                <a:cubicBezTo>
                  <a:pt x="13881" y="19636"/>
                  <a:pt x="14003" y="19582"/>
                  <a:pt x="14093" y="19493"/>
                </a:cubicBezTo>
                <a:lnTo>
                  <a:pt x="17038" y="16547"/>
                </a:lnTo>
                <a:cubicBezTo>
                  <a:pt x="17127" y="16458"/>
                  <a:pt x="17182" y="16336"/>
                  <a:pt x="17182" y="16200"/>
                </a:cubicBezTo>
                <a:cubicBezTo>
                  <a:pt x="17182" y="15929"/>
                  <a:pt x="16962" y="15709"/>
                  <a:pt x="16691" y="15709"/>
                </a:cubicBezTo>
                <a:moveTo>
                  <a:pt x="17673" y="11782"/>
                </a:moveTo>
                <a:lnTo>
                  <a:pt x="3927" y="11782"/>
                </a:lnTo>
                <a:cubicBezTo>
                  <a:pt x="2303" y="11782"/>
                  <a:pt x="982" y="10461"/>
                  <a:pt x="982" y="8836"/>
                </a:cubicBezTo>
                <a:cubicBezTo>
                  <a:pt x="982" y="7468"/>
                  <a:pt x="1911" y="6292"/>
                  <a:pt x="3244" y="5975"/>
                </a:cubicBezTo>
                <a:cubicBezTo>
                  <a:pt x="3634" y="5882"/>
                  <a:pt x="3929" y="5561"/>
                  <a:pt x="3988" y="5164"/>
                </a:cubicBezTo>
                <a:cubicBezTo>
                  <a:pt x="4342" y="2780"/>
                  <a:pt x="6427" y="982"/>
                  <a:pt x="8836" y="982"/>
                </a:cubicBezTo>
                <a:cubicBezTo>
                  <a:pt x="10501" y="982"/>
                  <a:pt x="11547" y="1330"/>
                  <a:pt x="12457" y="2736"/>
                </a:cubicBezTo>
                <a:cubicBezTo>
                  <a:pt x="12612" y="2975"/>
                  <a:pt x="13354" y="3626"/>
                  <a:pt x="13636" y="3666"/>
                </a:cubicBezTo>
                <a:cubicBezTo>
                  <a:pt x="13682" y="3672"/>
                  <a:pt x="13772" y="3675"/>
                  <a:pt x="13772" y="3675"/>
                </a:cubicBezTo>
                <a:cubicBezTo>
                  <a:pt x="14009" y="3675"/>
                  <a:pt x="14238" y="3590"/>
                  <a:pt x="14419" y="3433"/>
                </a:cubicBezTo>
                <a:cubicBezTo>
                  <a:pt x="14777" y="3119"/>
                  <a:pt x="15236" y="2945"/>
                  <a:pt x="15709" y="2945"/>
                </a:cubicBezTo>
                <a:cubicBezTo>
                  <a:pt x="16792" y="2945"/>
                  <a:pt x="17673" y="3826"/>
                  <a:pt x="17671" y="4920"/>
                </a:cubicBezTo>
                <a:lnTo>
                  <a:pt x="17667" y="4992"/>
                </a:lnTo>
                <a:cubicBezTo>
                  <a:pt x="17646" y="5457"/>
                  <a:pt x="17954" y="5872"/>
                  <a:pt x="18404" y="5987"/>
                </a:cubicBezTo>
                <a:cubicBezTo>
                  <a:pt x="19707" y="6321"/>
                  <a:pt x="20618" y="7493"/>
                  <a:pt x="20618" y="8836"/>
                </a:cubicBezTo>
                <a:cubicBezTo>
                  <a:pt x="20618" y="10461"/>
                  <a:pt x="19297" y="11782"/>
                  <a:pt x="17673" y="11782"/>
                </a:cubicBezTo>
                <a:moveTo>
                  <a:pt x="18648" y="5037"/>
                </a:moveTo>
                <a:cubicBezTo>
                  <a:pt x="18650" y="4994"/>
                  <a:pt x="18655" y="4952"/>
                  <a:pt x="18655" y="4909"/>
                </a:cubicBezTo>
                <a:cubicBezTo>
                  <a:pt x="18655" y="3283"/>
                  <a:pt x="17335" y="1964"/>
                  <a:pt x="15709" y="1964"/>
                </a:cubicBezTo>
                <a:cubicBezTo>
                  <a:pt x="14967" y="1964"/>
                  <a:pt x="14291" y="2240"/>
                  <a:pt x="13772" y="2693"/>
                </a:cubicBezTo>
                <a:cubicBezTo>
                  <a:pt x="12724" y="1075"/>
                  <a:pt x="10909" y="0"/>
                  <a:pt x="8836" y="0"/>
                </a:cubicBezTo>
                <a:cubicBezTo>
                  <a:pt x="5879" y="0"/>
                  <a:pt x="3439" y="2180"/>
                  <a:pt x="3016" y="5019"/>
                </a:cubicBezTo>
                <a:cubicBezTo>
                  <a:pt x="1288" y="5431"/>
                  <a:pt x="0" y="6981"/>
                  <a:pt x="0" y="8836"/>
                </a:cubicBezTo>
                <a:cubicBezTo>
                  <a:pt x="0" y="11005"/>
                  <a:pt x="1758" y="12764"/>
                  <a:pt x="3927" y="12764"/>
                </a:cubicBezTo>
                <a:lnTo>
                  <a:pt x="17673" y="12764"/>
                </a:lnTo>
                <a:cubicBezTo>
                  <a:pt x="19842" y="12764"/>
                  <a:pt x="21600" y="11005"/>
                  <a:pt x="21600" y="8836"/>
                </a:cubicBezTo>
                <a:cubicBezTo>
                  <a:pt x="21600" y="7005"/>
                  <a:pt x="20344" y="5471"/>
                  <a:pt x="18648" y="5037"/>
                </a:cubicBezTo>
                <a:moveTo>
                  <a:pt x="6382" y="15709"/>
                </a:moveTo>
                <a:cubicBezTo>
                  <a:pt x="6246" y="15709"/>
                  <a:pt x="6123" y="15764"/>
                  <a:pt x="6035" y="15853"/>
                </a:cubicBezTo>
                <a:lnTo>
                  <a:pt x="3090" y="18798"/>
                </a:lnTo>
                <a:cubicBezTo>
                  <a:pt x="3001" y="18888"/>
                  <a:pt x="2945" y="19010"/>
                  <a:pt x="2945" y="19145"/>
                </a:cubicBezTo>
                <a:cubicBezTo>
                  <a:pt x="2945" y="19417"/>
                  <a:pt x="3165" y="19636"/>
                  <a:pt x="3436" y="19636"/>
                </a:cubicBezTo>
                <a:cubicBezTo>
                  <a:pt x="3572" y="19636"/>
                  <a:pt x="3695" y="19582"/>
                  <a:pt x="3783" y="19493"/>
                </a:cubicBezTo>
                <a:lnTo>
                  <a:pt x="6729" y="16547"/>
                </a:lnTo>
                <a:cubicBezTo>
                  <a:pt x="6818" y="16458"/>
                  <a:pt x="6873" y="16336"/>
                  <a:pt x="6873" y="16200"/>
                </a:cubicBezTo>
                <a:cubicBezTo>
                  <a:pt x="6873" y="15929"/>
                  <a:pt x="6653" y="15709"/>
                  <a:pt x="6382" y="15709"/>
                </a:cubicBezTo>
                <a:moveTo>
                  <a:pt x="11782" y="15218"/>
                </a:moveTo>
                <a:cubicBezTo>
                  <a:pt x="11782" y="14947"/>
                  <a:pt x="11562" y="14727"/>
                  <a:pt x="11291" y="14727"/>
                </a:cubicBezTo>
                <a:cubicBezTo>
                  <a:pt x="11155" y="14727"/>
                  <a:pt x="11032" y="14782"/>
                  <a:pt x="10944" y="14872"/>
                </a:cubicBezTo>
                <a:lnTo>
                  <a:pt x="7999" y="17816"/>
                </a:lnTo>
                <a:cubicBezTo>
                  <a:pt x="7910" y="17906"/>
                  <a:pt x="7855" y="18028"/>
                  <a:pt x="7855" y="18164"/>
                </a:cubicBezTo>
                <a:cubicBezTo>
                  <a:pt x="7855" y="18435"/>
                  <a:pt x="8074" y="18655"/>
                  <a:pt x="8345" y="18655"/>
                </a:cubicBezTo>
                <a:lnTo>
                  <a:pt x="10106" y="18655"/>
                </a:lnTo>
                <a:lnTo>
                  <a:pt x="7998" y="20762"/>
                </a:lnTo>
                <a:cubicBezTo>
                  <a:pt x="7910" y="20851"/>
                  <a:pt x="7855" y="20974"/>
                  <a:pt x="7855" y="21109"/>
                </a:cubicBezTo>
                <a:cubicBezTo>
                  <a:pt x="7855" y="21380"/>
                  <a:pt x="8074" y="21600"/>
                  <a:pt x="8345" y="21600"/>
                </a:cubicBezTo>
                <a:cubicBezTo>
                  <a:pt x="8481" y="21600"/>
                  <a:pt x="8604" y="21545"/>
                  <a:pt x="8693" y="21456"/>
                </a:cubicBezTo>
                <a:lnTo>
                  <a:pt x="11638" y="18511"/>
                </a:lnTo>
                <a:cubicBezTo>
                  <a:pt x="11727" y="18422"/>
                  <a:pt x="11782" y="18299"/>
                  <a:pt x="11782" y="18164"/>
                </a:cubicBezTo>
                <a:cubicBezTo>
                  <a:pt x="11782" y="17892"/>
                  <a:pt x="11562" y="17673"/>
                  <a:pt x="11291" y="17673"/>
                </a:cubicBezTo>
                <a:lnTo>
                  <a:pt x="11290" y="17673"/>
                </a:lnTo>
                <a:lnTo>
                  <a:pt x="9531" y="17673"/>
                </a:lnTo>
                <a:lnTo>
                  <a:pt x="11638" y="15565"/>
                </a:lnTo>
                <a:cubicBezTo>
                  <a:pt x="11727" y="15477"/>
                  <a:pt x="11782" y="15354"/>
                  <a:pt x="11782" y="152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72" name="Shape 2972"/>
          <p:cNvSpPr/>
          <p:nvPr/>
        </p:nvSpPr>
        <p:spPr>
          <a:xfrm>
            <a:off x="9224197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11782"/>
                </a:moveTo>
                <a:lnTo>
                  <a:pt x="3927" y="11782"/>
                </a:lnTo>
                <a:cubicBezTo>
                  <a:pt x="2303" y="11782"/>
                  <a:pt x="982" y="10461"/>
                  <a:pt x="982" y="8836"/>
                </a:cubicBezTo>
                <a:cubicBezTo>
                  <a:pt x="982" y="7468"/>
                  <a:pt x="1911" y="6292"/>
                  <a:pt x="3244" y="5975"/>
                </a:cubicBezTo>
                <a:cubicBezTo>
                  <a:pt x="3634" y="5882"/>
                  <a:pt x="3929" y="5561"/>
                  <a:pt x="3988" y="5164"/>
                </a:cubicBezTo>
                <a:cubicBezTo>
                  <a:pt x="4342" y="2780"/>
                  <a:pt x="6427" y="982"/>
                  <a:pt x="8836" y="982"/>
                </a:cubicBezTo>
                <a:cubicBezTo>
                  <a:pt x="10501" y="982"/>
                  <a:pt x="11547" y="1330"/>
                  <a:pt x="12457" y="2736"/>
                </a:cubicBezTo>
                <a:cubicBezTo>
                  <a:pt x="12612" y="2975"/>
                  <a:pt x="13354" y="3626"/>
                  <a:pt x="13636" y="3666"/>
                </a:cubicBezTo>
                <a:cubicBezTo>
                  <a:pt x="13682" y="3672"/>
                  <a:pt x="13772" y="3675"/>
                  <a:pt x="13772" y="3675"/>
                </a:cubicBezTo>
                <a:cubicBezTo>
                  <a:pt x="14009" y="3675"/>
                  <a:pt x="14238" y="3590"/>
                  <a:pt x="14419" y="3433"/>
                </a:cubicBezTo>
                <a:cubicBezTo>
                  <a:pt x="14777" y="3119"/>
                  <a:pt x="15236" y="2945"/>
                  <a:pt x="15709" y="2945"/>
                </a:cubicBezTo>
                <a:cubicBezTo>
                  <a:pt x="16792" y="2945"/>
                  <a:pt x="17673" y="3826"/>
                  <a:pt x="17671" y="4920"/>
                </a:cubicBezTo>
                <a:lnTo>
                  <a:pt x="17667" y="4992"/>
                </a:lnTo>
                <a:cubicBezTo>
                  <a:pt x="17646" y="5457"/>
                  <a:pt x="17954" y="5872"/>
                  <a:pt x="18404" y="5987"/>
                </a:cubicBezTo>
                <a:cubicBezTo>
                  <a:pt x="19708" y="6321"/>
                  <a:pt x="20618" y="7493"/>
                  <a:pt x="20618" y="8836"/>
                </a:cubicBezTo>
                <a:cubicBezTo>
                  <a:pt x="20618" y="10461"/>
                  <a:pt x="19297" y="11782"/>
                  <a:pt x="17673" y="11782"/>
                </a:cubicBezTo>
                <a:moveTo>
                  <a:pt x="18648" y="5037"/>
                </a:moveTo>
                <a:cubicBezTo>
                  <a:pt x="18650" y="4994"/>
                  <a:pt x="18655" y="4952"/>
                  <a:pt x="18655" y="4909"/>
                </a:cubicBezTo>
                <a:cubicBezTo>
                  <a:pt x="18655" y="3283"/>
                  <a:pt x="17335" y="1964"/>
                  <a:pt x="15709" y="1964"/>
                </a:cubicBezTo>
                <a:cubicBezTo>
                  <a:pt x="14967" y="1964"/>
                  <a:pt x="14291" y="2240"/>
                  <a:pt x="13772" y="2693"/>
                </a:cubicBezTo>
                <a:cubicBezTo>
                  <a:pt x="12724" y="1075"/>
                  <a:pt x="10909" y="0"/>
                  <a:pt x="8836" y="0"/>
                </a:cubicBezTo>
                <a:cubicBezTo>
                  <a:pt x="5879" y="0"/>
                  <a:pt x="3439" y="2180"/>
                  <a:pt x="3016" y="5019"/>
                </a:cubicBezTo>
                <a:cubicBezTo>
                  <a:pt x="1288" y="5431"/>
                  <a:pt x="0" y="6981"/>
                  <a:pt x="0" y="8836"/>
                </a:cubicBezTo>
                <a:cubicBezTo>
                  <a:pt x="0" y="11005"/>
                  <a:pt x="1758" y="12764"/>
                  <a:pt x="3927" y="12764"/>
                </a:cubicBezTo>
                <a:lnTo>
                  <a:pt x="17673" y="12764"/>
                </a:lnTo>
                <a:cubicBezTo>
                  <a:pt x="19842" y="12764"/>
                  <a:pt x="21600" y="11005"/>
                  <a:pt x="21600" y="8836"/>
                </a:cubicBezTo>
                <a:cubicBezTo>
                  <a:pt x="21600" y="7005"/>
                  <a:pt x="20344" y="5471"/>
                  <a:pt x="18648" y="5037"/>
                </a:cubicBezTo>
                <a:moveTo>
                  <a:pt x="11782" y="15218"/>
                </a:moveTo>
                <a:cubicBezTo>
                  <a:pt x="11782" y="14947"/>
                  <a:pt x="11562" y="14727"/>
                  <a:pt x="11291" y="14727"/>
                </a:cubicBezTo>
                <a:cubicBezTo>
                  <a:pt x="11155" y="14727"/>
                  <a:pt x="11032" y="14782"/>
                  <a:pt x="10944" y="14872"/>
                </a:cubicBezTo>
                <a:lnTo>
                  <a:pt x="7999" y="17816"/>
                </a:lnTo>
                <a:cubicBezTo>
                  <a:pt x="7910" y="17906"/>
                  <a:pt x="7855" y="18028"/>
                  <a:pt x="7855" y="18164"/>
                </a:cubicBezTo>
                <a:cubicBezTo>
                  <a:pt x="7855" y="18435"/>
                  <a:pt x="8074" y="18655"/>
                  <a:pt x="8345" y="18655"/>
                </a:cubicBezTo>
                <a:lnTo>
                  <a:pt x="10106" y="18655"/>
                </a:lnTo>
                <a:lnTo>
                  <a:pt x="7998" y="20762"/>
                </a:lnTo>
                <a:cubicBezTo>
                  <a:pt x="7909" y="20851"/>
                  <a:pt x="7855" y="20974"/>
                  <a:pt x="7855" y="21109"/>
                </a:cubicBezTo>
                <a:cubicBezTo>
                  <a:pt x="7855" y="21380"/>
                  <a:pt x="8074" y="21600"/>
                  <a:pt x="8345" y="21600"/>
                </a:cubicBezTo>
                <a:cubicBezTo>
                  <a:pt x="8481" y="21600"/>
                  <a:pt x="8603" y="21545"/>
                  <a:pt x="8693" y="21456"/>
                </a:cubicBezTo>
                <a:lnTo>
                  <a:pt x="11638" y="18511"/>
                </a:lnTo>
                <a:cubicBezTo>
                  <a:pt x="11727" y="18422"/>
                  <a:pt x="11782" y="18299"/>
                  <a:pt x="11782" y="18164"/>
                </a:cubicBezTo>
                <a:cubicBezTo>
                  <a:pt x="11782" y="17892"/>
                  <a:pt x="11562" y="17673"/>
                  <a:pt x="11291" y="17673"/>
                </a:cubicBezTo>
                <a:lnTo>
                  <a:pt x="11290" y="17673"/>
                </a:lnTo>
                <a:lnTo>
                  <a:pt x="9531" y="17673"/>
                </a:lnTo>
                <a:lnTo>
                  <a:pt x="11638" y="15565"/>
                </a:lnTo>
                <a:cubicBezTo>
                  <a:pt x="11727" y="15477"/>
                  <a:pt x="11782" y="15354"/>
                  <a:pt x="11782" y="152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73" name="Shape 2973"/>
          <p:cNvSpPr/>
          <p:nvPr/>
        </p:nvSpPr>
        <p:spPr>
          <a:xfrm>
            <a:off x="10290720" y="10383062"/>
            <a:ext cx="558654" cy="4824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82" y="12505"/>
                </a:moveTo>
                <a:lnTo>
                  <a:pt x="4418" y="12505"/>
                </a:lnTo>
                <a:cubicBezTo>
                  <a:pt x="4147" y="12505"/>
                  <a:pt x="3927" y="12759"/>
                  <a:pt x="3927" y="13074"/>
                </a:cubicBezTo>
                <a:cubicBezTo>
                  <a:pt x="3927" y="13388"/>
                  <a:pt x="4147" y="13642"/>
                  <a:pt x="4418" y="13642"/>
                </a:cubicBezTo>
                <a:lnTo>
                  <a:pt x="11782" y="13642"/>
                </a:lnTo>
                <a:cubicBezTo>
                  <a:pt x="13408" y="13642"/>
                  <a:pt x="14727" y="15170"/>
                  <a:pt x="14727" y="17053"/>
                </a:cubicBezTo>
                <a:cubicBezTo>
                  <a:pt x="14727" y="18937"/>
                  <a:pt x="13408" y="20463"/>
                  <a:pt x="11782" y="20463"/>
                </a:cubicBezTo>
                <a:lnTo>
                  <a:pt x="11291" y="20463"/>
                </a:lnTo>
                <a:cubicBezTo>
                  <a:pt x="11020" y="20463"/>
                  <a:pt x="10800" y="20717"/>
                  <a:pt x="10800" y="21032"/>
                </a:cubicBezTo>
                <a:cubicBezTo>
                  <a:pt x="10800" y="21346"/>
                  <a:pt x="11020" y="21600"/>
                  <a:pt x="11291" y="21600"/>
                </a:cubicBezTo>
                <a:lnTo>
                  <a:pt x="11782" y="21600"/>
                </a:lnTo>
                <a:cubicBezTo>
                  <a:pt x="13951" y="21600"/>
                  <a:pt x="15709" y="19564"/>
                  <a:pt x="15709" y="17053"/>
                </a:cubicBezTo>
                <a:cubicBezTo>
                  <a:pt x="15709" y="14541"/>
                  <a:pt x="13951" y="12505"/>
                  <a:pt x="11782" y="12505"/>
                </a:cubicBezTo>
                <a:moveTo>
                  <a:pt x="18655" y="10232"/>
                </a:moveTo>
                <a:lnTo>
                  <a:pt x="2455" y="10232"/>
                </a:lnTo>
                <a:cubicBezTo>
                  <a:pt x="2183" y="10232"/>
                  <a:pt x="1964" y="10486"/>
                  <a:pt x="1964" y="10800"/>
                </a:cubicBezTo>
                <a:cubicBezTo>
                  <a:pt x="1964" y="11114"/>
                  <a:pt x="2183" y="11368"/>
                  <a:pt x="2455" y="11368"/>
                </a:cubicBezTo>
                <a:lnTo>
                  <a:pt x="18655" y="11368"/>
                </a:lnTo>
                <a:cubicBezTo>
                  <a:pt x="19739" y="11368"/>
                  <a:pt x="20618" y="12386"/>
                  <a:pt x="20618" y="13642"/>
                </a:cubicBezTo>
                <a:cubicBezTo>
                  <a:pt x="20618" y="14898"/>
                  <a:pt x="19739" y="15916"/>
                  <a:pt x="18655" y="15916"/>
                </a:cubicBezTo>
                <a:lnTo>
                  <a:pt x="18164" y="15916"/>
                </a:lnTo>
                <a:cubicBezTo>
                  <a:pt x="17892" y="15916"/>
                  <a:pt x="17673" y="16170"/>
                  <a:pt x="17673" y="16484"/>
                </a:cubicBezTo>
                <a:cubicBezTo>
                  <a:pt x="17673" y="16798"/>
                  <a:pt x="17892" y="17053"/>
                  <a:pt x="18164" y="17053"/>
                </a:cubicBezTo>
                <a:lnTo>
                  <a:pt x="18655" y="17053"/>
                </a:lnTo>
                <a:cubicBezTo>
                  <a:pt x="20281" y="17053"/>
                  <a:pt x="21600" y="15526"/>
                  <a:pt x="21600" y="13642"/>
                </a:cubicBezTo>
                <a:cubicBezTo>
                  <a:pt x="21600" y="11759"/>
                  <a:pt x="20281" y="10232"/>
                  <a:pt x="18655" y="10232"/>
                </a:cubicBezTo>
                <a:moveTo>
                  <a:pt x="17673" y="6821"/>
                </a:moveTo>
                <a:cubicBezTo>
                  <a:pt x="17673" y="5565"/>
                  <a:pt x="16794" y="4547"/>
                  <a:pt x="15709" y="4547"/>
                </a:cubicBezTo>
                <a:lnTo>
                  <a:pt x="15218" y="4547"/>
                </a:lnTo>
                <a:cubicBezTo>
                  <a:pt x="14947" y="4547"/>
                  <a:pt x="14727" y="4802"/>
                  <a:pt x="14727" y="5116"/>
                </a:cubicBezTo>
                <a:cubicBezTo>
                  <a:pt x="14727" y="5430"/>
                  <a:pt x="14947" y="5684"/>
                  <a:pt x="15218" y="5684"/>
                </a:cubicBezTo>
                <a:lnTo>
                  <a:pt x="15709" y="5684"/>
                </a:lnTo>
                <a:cubicBezTo>
                  <a:pt x="16251" y="5684"/>
                  <a:pt x="16691" y="6194"/>
                  <a:pt x="16691" y="6821"/>
                </a:cubicBezTo>
                <a:cubicBezTo>
                  <a:pt x="16691" y="7448"/>
                  <a:pt x="16251" y="7958"/>
                  <a:pt x="15709" y="7958"/>
                </a:cubicBezTo>
                <a:lnTo>
                  <a:pt x="491" y="7958"/>
                </a:lnTo>
                <a:cubicBezTo>
                  <a:pt x="220" y="7958"/>
                  <a:pt x="0" y="8212"/>
                  <a:pt x="0" y="8526"/>
                </a:cubicBezTo>
                <a:cubicBezTo>
                  <a:pt x="0" y="8841"/>
                  <a:pt x="220" y="9095"/>
                  <a:pt x="491" y="9095"/>
                </a:cubicBezTo>
                <a:lnTo>
                  <a:pt x="15709" y="9095"/>
                </a:lnTo>
                <a:cubicBezTo>
                  <a:pt x="16794" y="9095"/>
                  <a:pt x="17673" y="8077"/>
                  <a:pt x="17673" y="6821"/>
                </a:cubicBezTo>
                <a:moveTo>
                  <a:pt x="2455" y="6821"/>
                </a:moveTo>
                <a:lnTo>
                  <a:pt x="9818" y="6821"/>
                </a:lnTo>
                <a:cubicBezTo>
                  <a:pt x="11444" y="6821"/>
                  <a:pt x="12764" y="5294"/>
                  <a:pt x="12764" y="3411"/>
                </a:cubicBezTo>
                <a:cubicBezTo>
                  <a:pt x="12764" y="1528"/>
                  <a:pt x="11444" y="0"/>
                  <a:pt x="9818" y="0"/>
                </a:cubicBezTo>
                <a:lnTo>
                  <a:pt x="9327" y="0"/>
                </a:lnTo>
                <a:cubicBezTo>
                  <a:pt x="9056" y="0"/>
                  <a:pt x="8836" y="254"/>
                  <a:pt x="8836" y="568"/>
                </a:cubicBezTo>
                <a:cubicBezTo>
                  <a:pt x="8836" y="883"/>
                  <a:pt x="9056" y="1137"/>
                  <a:pt x="9327" y="1137"/>
                </a:cubicBezTo>
                <a:lnTo>
                  <a:pt x="9818" y="1137"/>
                </a:lnTo>
                <a:cubicBezTo>
                  <a:pt x="10903" y="1137"/>
                  <a:pt x="11782" y="2155"/>
                  <a:pt x="11782" y="3411"/>
                </a:cubicBezTo>
                <a:cubicBezTo>
                  <a:pt x="11782" y="4666"/>
                  <a:pt x="10903" y="5684"/>
                  <a:pt x="9818" y="5684"/>
                </a:cubicBezTo>
                <a:lnTo>
                  <a:pt x="2455" y="5684"/>
                </a:lnTo>
                <a:cubicBezTo>
                  <a:pt x="2183" y="5684"/>
                  <a:pt x="1964" y="5938"/>
                  <a:pt x="1964" y="6253"/>
                </a:cubicBezTo>
                <a:cubicBezTo>
                  <a:pt x="1964" y="6567"/>
                  <a:pt x="2183" y="6821"/>
                  <a:pt x="2455" y="682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74" name="Shape 2974"/>
          <p:cNvSpPr/>
          <p:nvPr/>
        </p:nvSpPr>
        <p:spPr>
          <a:xfrm>
            <a:off x="11357242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480" y="13937"/>
                </a:moveTo>
                <a:cubicBezTo>
                  <a:pt x="14147" y="14117"/>
                  <a:pt x="13804" y="14208"/>
                  <a:pt x="13451" y="14208"/>
                </a:cubicBezTo>
                <a:cubicBezTo>
                  <a:pt x="12999" y="14208"/>
                  <a:pt x="12590" y="14119"/>
                  <a:pt x="12225" y="13943"/>
                </a:cubicBezTo>
                <a:cubicBezTo>
                  <a:pt x="11859" y="13768"/>
                  <a:pt x="11545" y="13525"/>
                  <a:pt x="11282" y="13217"/>
                </a:cubicBezTo>
                <a:cubicBezTo>
                  <a:pt x="11020" y="12909"/>
                  <a:pt x="10816" y="12544"/>
                  <a:pt x="10672" y="12121"/>
                </a:cubicBezTo>
                <a:cubicBezTo>
                  <a:pt x="10529" y="11698"/>
                  <a:pt x="10457" y="11236"/>
                  <a:pt x="10457" y="10734"/>
                </a:cubicBezTo>
                <a:cubicBezTo>
                  <a:pt x="10457" y="10268"/>
                  <a:pt x="10529" y="9832"/>
                  <a:pt x="10672" y="9427"/>
                </a:cubicBezTo>
                <a:cubicBezTo>
                  <a:pt x="10816" y="9022"/>
                  <a:pt x="11020" y="8668"/>
                  <a:pt x="11282" y="8364"/>
                </a:cubicBezTo>
                <a:cubicBezTo>
                  <a:pt x="11545" y="8060"/>
                  <a:pt x="11859" y="7823"/>
                  <a:pt x="12225" y="7651"/>
                </a:cubicBezTo>
                <a:cubicBezTo>
                  <a:pt x="12590" y="7479"/>
                  <a:pt x="12999" y="7393"/>
                  <a:pt x="13451" y="7393"/>
                </a:cubicBezTo>
                <a:cubicBezTo>
                  <a:pt x="13755" y="7393"/>
                  <a:pt x="14057" y="7456"/>
                  <a:pt x="14357" y="7579"/>
                </a:cubicBezTo>
                <a:cubicBezTo>
                  <a:pt x="14656" y="7702"/>
                  <a:pt x="14966" y="7948"/>
                  <a:pt x="15287" y="8318"/>
                </a:cubicBezTo>
                <a:lnTo>
                  <a:pt x="16494" y="7367"/>
                </a:lnTo>
                <a:cubicBezTo>
                  <a:pt x="16059" y="6830"/>
                  <a:pt x="15589" y="6449"/>
                  <a:pt x="15083" y="6225"/>
                </a:cubicBezTo>
                <a:cubicBezTo>
                  <a:pt x="14578" y="6000"/>
                  <a:pt x="14030" y="5888"/>
                  <a:pt x="13439" y="5888"/>
                </a:cubicBezTo>
                <a:cubicBezTo>
                  <a:pt x="12765" y="5888"/>
                  <a:pt x="12147" y="6005"/>
                  <a:pt x="11584" y="6238"/>
                </a:cubicBezTo>
                <a:cubicBezTo>
                  <a:pt x="11021" y="6471"/>
                  <a:pt x="10537" y="6804"/>
                  <a:pt x="10131" y="7235"/>
                </a:cubicBezTo>
                <a:cubicBezTo>
                  <a:pt x="9724" y="7666"/>
                  <a:pt x="9405" y="8188"/>
                  <a:pt x="9176" y="8800"/>
                </a:cubicBezTo>
                <a:cubicBezTo>
                  <a:pt x="8946" y="9412"/>
                  <a:pt x="8831" y="10092"/>
                  <a:pt x="8831" y="10840"/>
                </a:cubicBezTo>
                <a:cubicBezTo>
                  <a:pt x="8831" y="11571"/>
                  <a:pt x="8946" y="12235"/>
                  <a:pt x="9176" y="12835"/>
                </a:cubicBezTo>
                <a:cubicBezTo>
                  <a:pt x="9405" y="13433"/>
                  <a:pt x="9724" y="13946"/>
                  <a:pt x="10131" y="14373"/>
                </a:cubicBezTo>
                <a:cubicBezTo>
                  <a:pt x="10537" y="14800"/>
                  <a:pt x="11021" y="15130"/>
                  <a:pt x="11584" y="15363"/>
                </a:cubicBezTo>
                <a:cubicBezTo>
                  <a:pt x="12147" y="15597"/>
                  <a:pt x="12765" y="15713"/>
                  <a:pt x="13439" y="15713"/>
                </a:cubicBezTo>
                <a:cubicBezTo>
                  <a:pt x="14079" y="15713"/>
                  <a:pt x="14683" y="15581"/>
                  <a:pt x="15250" y="15317"/>
                </a:cubicBezTo>
                <a:cubicBezTo>
                  <a:pt x="15816" y="15053"/>
                  <a:pt x="16297" y="14630"/>
                  <a:pt x="16691" y="14049"/>
                </a:cubicBezTo>
                <a:lnTo>
                  <a:pt x="15410" y="13072"/>
                </a:lnTo>
                <a:cubicBezTo>
                  <a:pt x="15122" y="13468"/>
                  <a:pt x="14813" y="13756"/>
                  <a:pt x="14480" y="13937"/>
                </a:cubicBezTo>
                <a:moveTo>
                  <a:pt x="5891" y="6873"/>
                </a:moveTo>
                <a:cubicBezTo>
                  <a:pt x="5349" y="6873"/>
                  <a:pt x="4909" y="6433"/>
                  <a:pt x="4909" y="5891"/>
                </a:cubicBezTo>
                <a:cubicBezTo>
                  <a:pt x="4909" y="5349"/>
                  <a:pt x="5349" y="4909"/>
                  <a:pt x="5891" y="4909"/>
                </a:cubicBezTo>
                <a:cubicBezTo>
                  <a:pt x="6433" y="4909"/>
                  <a:pt x="6873" y="5349"/>
                  <a:pt x="6873" y="5891"/>
                </a:cubicBezTo>
                <a:cubicBezTo>
                  <a:pt x="6873" y="6433"/>
                  <a:pt x="6433" y="6873"/>
                  <a:pt x="5891" y="6873"/>
                </a:cubicBezTo>
                <a:moveTo>
                  <a:pt x="5891" y="3927"/>
                </a:moveTo>
                <a:cubicBezTo>
                  <a:pt x="4806" y="3927"/>
                  <a:pt x="3927" y="4806"/>
                  <a:pt x="3927" y="5891"/>
                </a:cubicBezTo>
                <a:cubicBezTo>
                  <a:pt x="3927" y="6975"/>
                  <a:pt x="4806" y="7855"/>
                  <a:pt x="5891" y="7855"/>
                </a:cubicBezTo>
                <a:cubicBezTo>
                  <a:pt x="6975" y="7855"/>
                  <a:pt x="7855" y="6975"/>
                  <a:pt x="7855" y="5891"/>
                </a:cubicBezTo>
                <a:cubicBezTo>
                  <a:pt x="7855" y="4806"/>
                  <a:pt x="6975" y="3927"/>
                  <a:pt x="5891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75" name="Shape 2975"/>
          <p:cNvSpPr/>
          <p:nvPr/>
        </p:nvSpPr>
        <p:spPr>
          <a:xfrm>
            <a:off x="12576124" y="93546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9825" y="15704"/>
                </a:moveTo>
                <a:lnTo>
                  <a:pt x="11291" y="15709"/>
                </a:lnTo>
                <a:lnTo>
                  <a:pt x="11291" y="11782"/>
                </a:lnTo>
                <a:lnTo>
                  <a:pt x="15218" y="11782"/>
                </a:lnTo>
                <a:lnTo>
                  <a:pt x="15218" y="10309"/>
                </a:lnTo>
                <a:lnTo>
                  <a:pt x="11291" y="10309"/>
                </a:lnTo>
                <a:lnTo>
                  <a:pt x="11291" y="7364"/>
                </a:lnTo>
                <a:lnTo>
                  <a:pt x="15709" y="7364"/>
                </a:lnTo>
                <a:lnTo>
                  <a:pt x="15711" y="5897"/>
                </a:lnTo>
                <a:lnTo>
                  <a:pt x="9825" y="5897"/>
                </a:lnTo>
                <a:cubicBezTo>
                  <a:pt x="9825" y="5897"/>
                  <a:pt x="9825" y="15704"/>
                  <a:pt x="9825" y="15704"/>
                </a:cubicBezTo>
                <a:close/>
                <a:moveTo>
                  <a:pt x="5891" y="6873"/>
                </a:moveTo>
                <a:cubicBezTo>
                  <a:pt x="5349" y="6873"/>
                  <a:pt x="4909" y="6434"/>
                  <a:pt x="4909" y="5891"/>
                </a:cubicBezTo>
                <a:cubicBezTo>
                  <a:pt x="4909" y="5349"/>
                  <a:pt x="5349" y="4909"/>
                  <a:pt x="5891" y="4909"/>
                </a:cubicBezTo>
                <a:cubicBezTo>
                  <a:pt x="6433" y="4909"/>
                  <a:pt x="6873" y="5349"/>
                  <a:pt x="6873" y="5891"/>
                </a:cubicBezTo>
                <a:cubicBezTo>
                  <a:pt x="6873" y="6434"/>
                  <a:pt x="6433" y="6873"/>
                  <a:pt x="5891" y="6873"/>
                </a:cubicBezTo>
                <a:moveTo>
                  <a:pt x="5891" y="3927"/>
                </a:moveTo>
                <a:cubicBezTo>
                  <a:pt x="4806" y="3927"/>
                  <a:pt x="3927" y="4806"/>
                  <a:pt x="3927" y="5891"/>
                </a:cubicBezTo>
                <a:cubicBezTo>
                  <a:pt x="3927" y="6975"/>
                  <a:pt x="4806" y="7855"/>
                  <a:pt x="5891" y="7855"/>
                </a:cubicBezTo>
                <a:cubicBezTo>
                  <a:pt x="6975" y="7855"/>
                  <a:pt x="7855" y="6975"/>
                  <a:pt x="7855" y="5891"/>
                </a:cubicBezTo>
                <a:cubicBezTo>
                  <a:pt x="7855" y="4806"/>
                  <a:pt x="6975" y="3927"/>
                  <a:pt x="5891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76" name="Shape 2976"/>
          <p:cNvSpPr/>
          <p:nvPr/>
        </p:nvSpPr>
        <p:spPr>
          <a:xfrm>
            <a:off x="13642647" y="93546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77" name="Shape 2977"/>
          <p:cNvSpPr/>
          <p:nvPr/>
        </p:nvSpPr>
        <p:spPr>
          <a:xfrm>
            <a:off x="14709169" y="93546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86" y="20524"/>
                </a:moveTo>
                <a:cubicBezTo>
                  <a:pt x="11664" y="20580"/>
                  <a:pt x="11237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1237" y="982"/>
                  <a:pt x="11665" y="1020"/>
                  <a:pt x="12086" y="1076"/>
                </a:cubicBezTo>
                <a:cubicBezTo>
                  <a:pt x="14339" y="3664"/>
                  <a:pt x="15709" y="7100"/>
                  <a:pt x="15709" y="10800"/>
                </a:cubicBezTo>
                <a:cubicBezTo>
                  <a:pt x="15709" y="14500"/>
                  <a:pt x="14339" y="17936"/>
                  <a:pt x="12086" y="20524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78" name="Shape 2978"/>
          <p:cNvSpPr/>
          <p:nvPr/>
        </p:nvSpPr>
        <p:spPr>
          <a:xfrm>
            <a:off x="15775691" y="93546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0800" y="982"/>
                  <a:pt x="10800" y="20618"/>
                  <a:pt x="10800" y="20618"/>
                </a:cubicBezTo>
                <a:close/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79" name="Shape 2979"/>
          <p:cNvSpPr/>
          <p:nvPr/>
        </p:nvSpPr>
        <p:spPr>
          <a:xfrm>
            <a:off x="16842214" y="93546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70" y="20533"/>
                </a:moveTo>
                <a:cubicBezTo>
                  <a:pt x="4730" y="19927"/>
                  <a:pt x="982" y="15805"/>
                  <a:pt x="982" y="10800"/>
                </a:cubicBezTo>
                <a:cubicBezTo>
                  <a:pt x="982" y="5795"/>
                  <a:pt x="4730" y="1673"/>
                  <a:pt x="9570" y="1067"/>
                </a:cubicBezTo>
                <a:cubicBezTo>
                  <a:pt x="7282" y="3663"/>
                  <a:pt x="5891" y="7068"/>
                  <a:pt x="5891" y="10800"/>
                </a:cubicBezTo>
                <a:cubicBezTo>
                  <a:pt x="5891" y="14532"/>
                  <a:pt x="7282" y="17937"/>
                  <a:pt x="9570" y="20533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80" name="Shape 2980"/>
          <p:cNvSpPr/>
          <p:nvPr/>
        </p:nvSpPr>
        <p:spPr>
          <a:xfrm>
            <a:off x="17908737" y="9354629"/>
            <a:ext cx="558654" cy="558654"/>
          </a:xfrm>
          <a:prstGeom prst="ellipse">
            <a:avLst/>
          </a:pr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81" name="Shape 2981"/>
          <p:cNvSpPr/>
          <p:nvPr/>
        </p:nvSpPr>
        <p:spPr>
          <a:xfrm>
            <a:off x="18975257" y="93546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30" y="20533"/>
                </a:moveTo>
                <a:cubicBezTo>
                  <a:pt x="14318" y="17937"/>
                  <a:pt x="15709" y="14532"/>
                  <a:pt x="15709" y="10800"/>
                </a:cubicBezTo>
                <a:cubicBezTo>
                  <a:pt x="15709" y="7068"/>
                  <a:pt x="14318" y="3663"/>
                  <a:pt x="12030" y="1067"/>
                </a:cubicBezTo>
                <a:cubicBezTo>
                  <a:pt x="16870" y="1673"/>
                  <a:pt x="20618" y="5795"/>
                  <a:pt x="20618" y="10800"/>
                </a:cubicBezTo>
                <a:cubicBezTo>
                  <a:pt x="20618" y="15805"/>
                  <a:pt x="16870" y="19927"/>
                  <a:pt x="12030" y="20533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82" name="Shape 2982"/>
          <p:cNvSpPr/>
          <p:nvPr/>
        </p:nvSpPr>
        <p:spPr>
          <a:xfrm>
            <a:off x="20041780" y="93546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lnTo>
                  <a:pt x="10800" y="982"/>
                </a:ln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83" name="Shape 2983"/>
          <p:cNvSpPr/>
          <p:nvPr/>
        </p:nvSpPr>
        <p:spPr>
          <a:xfrm>
            <a:off x="21108302" y="93546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10378" y="20618"/>
                  <a:pt x="9964" y="20583"/>
                  <a:pt x="9556" y="20531"/>
                </a:cubicBezTo>
                <a:cubicBezTo>
                  <a:pt x="7276" y="17937"/>
                  <a:pt x="5891" y="14524"/>
                  <a:pt x="5891" y="10800"/>
                </a:cubicBezTo>
                <a:cubicBezTo>
                  <a:pt x="5891" y="7076"/>
                  <a:pt x="7276" y="3663"/>
                  <a:pt x="9556" y="1069"/>
                </a:cubicBezTo>
                <a:cubicBezTo>
                  <a:pt x="9964" y="1017"/>
                  <a:pt x="10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984" name="Shape 2984"/>
          <p:cNvSpPr/>
          <p:nvPr/>
        </p:nvSpPr>
        <p:spPr>
          <a:xfrm>
            <a:off x="22327186" y="9354629"/>
            <a:ext cx="25393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6029" y="20618"/>
                  <a:pt x="2160" y="18860"/>
                  <a:pt x="2160" y="16691"/>
                </a:cubicBezTo>
                <a:cubicBezTo>
                  <a:pt x="2160" y="15238"/>
                  <a:pt x="3900" y="13973"/>
                  <a:pt x="6480" y="13293"/>
                </a:cubicBezTo>
                <a:lnTo>
                  <a:pt x="6480" y="2945"/>
                </a:lnTo>
                <a:cubicBezTo>
                  <a:pt x="6480" y="1861"/>
                  <a:pt x="8414" y="982"/>
                  <a:pt x="10800" y="982"/>
                </a:cubicBezTo>
                <a:cubicBezTo>
                  <a:pt x="13186" y="982"/>
                  <a:pt x="15120" y="1861"/>
                  <a:pt x="15120" y="2945"/>
                </a:cubicBezTo>
                <a:lnTo>
                  <a:pt x="15120" y="13293"/>
                </a:lnTo>
                <a:cubicBezTo>
                  <a:pt x="17700" y="13973"/>
                  <a:pt x="19440" y="15238"/>
                  <a:pt x="19440" y="16691"/>
                </a:cubicBezTo>
                <a:cubicBezTo>
                  <a:pt x="19440" y="18860"/>
                  <a:pt x="15571" y="20618"/>
                  <a:pt x="10800" y="20618"/>
                </a:cubicBezTo>
                <a:moveTo>
                  <a:pt x="17280" y="12770"/>
                </a:moveTo>
                <a:lnTo>
                  <a:pt x="17280" y="2945"/>
                </a:lnTo>
                <a:cubicBezTo>
                  <a:pt x="17280" y="1318"/>
                  <a:pt x="14378" y="0"/>
                  <a:pt x="10800" y="0"/>
                </a:cubicBezTo>
                <a:cubicBezTo>
                  <a:pt x="7221" y="0"/>
                  <a:pt x="4320" y="1318"/>
                  <a:pt x="4320" y="2945"/>
                </a:cubicBezTo>
                <a:lnTo>
                  <a:pt x="4320" y="12770"/>
                </a:lnTo>
                <a:cubicBezTo>
                  <a:pt x="1701" y="13666"/>
                  <a:pt x="0" y="15087"/>
                  <a:pt x="0" y="16691"/>
                </a:cubicBezTo>
                <a:cubicBezTo>
                  <a:pt x="0" y="19402"/>
                  <a:pt x="4835" y="21600"/>
                  <a:pt x="10800" y="21600"/>
                </a:cubicBezTo>
                <a:cubicBezTo>
                  <a:pt x="16763" y="21600"/>
                  <a:pt x="21600" y="19402"/>
                  <a:pt x="21600" y="16691"/>
                </a:cubicBezTo>
                <a:cubicBezTo>
                  <a:pt x="21600" y="15087"/>
                  <a:pt x="19899" y="13666"/>
                  <a:pt x="17280" y="12770"/>
                </a:cubicBezTo>
                <a:moveTo>
                  <a:pt x="12960" y="13917"/>
                </a:moveTo>
                <a:lnTo>
                  <a:pt x="12960" y="7855"/>
                </a:lnTo>
                <a:cubicBezTo>
                  <a:pt x="12960" y="7313"/>
                  <a:pt x="11992" y="6873"/>
                  <a:pt x="10800" y="6873"/>
                </a:cubicBezTo>
                <a:cubicBezTo>
                  <a:pt x="9608" y="6873"/>
                  <a:pt x="8640" y="7313"/>
                  <a:pt x="8640" y="7855"/>
                </a:cubicBezTo>
                <a:lnTo>
                  <a:pt x="8640" y="13917"/>
                </a:lnTo>
                <a:cubicBezTo>
                  <a:pt x="6126" y="14322"/>
                  <a:pt x="4320" y="15409"/>
                  <a:pt x="4320" y="16691"/>
                </a:cubicBezTo>
                <a:cubicBezTo>
                  <a:pt x="4320" y="18318"/>
                  <a:pt x="7221" y="19636"/>
                  <a:pt x="10800" y="19636"/>
                </a:cubicBezTo>
                <a:cubicBezTo>
                  <a:pt x="14378" y="19636"/>
                  <a:pt x="17280" y="18318"/>
                  <a:pt x="17280" y="16691"/>
                </a:cubicBezTo>
                <a:cubicBezTo>
                  <a:pt x="17280" y="15409"/>
                  <a:pt x="15475" y="14322"/>
                  <a:pt x="12960" y="1391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96" name="Shape 2707"/>
          <p:cNvSpPr/>
          <p:nvPr/>
        </p:nvSpPr>
        <p:spPr>
          <a:xfrm>
            <a:off x="11346872" y="8208685"/>
            <a:ext cx="1739879" cy="6309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8090" tIns="38090" rIns="38090" bIns="38090" anchor="ctr">
            <a:spAutoFit/>
          </a:bodyPr>
          <a:lstStyle>
            <a:lvl1pPr algn="l">
              <a:defRPr sz="3000" b="1" cap="none" spc="-90">
                <a:solidFill>
                  <a:srgbClr val="1C1D21"/>
                </a:solidFill>
                <a:latin typeface="+mj-lt"/>
                <a:ea typeface="+mj-ea"/>
                <a:cs typeface="+mj-cs"/>
                <a:sym typeface="Karla"/>
              </a:defRPr>
            </a:lvl1pPr>
          </a:lstStyle>
          <a:p>
            <a:pPr algn="ctr"/>
            <a:r>
              <a:rPr lang="en-US" sz="3600" b="0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Weather</a:t>
            </a:r>
          </a:p>
        </p:txBody>
      </p:sp>
      <p:sp>
        <p:nvSpPr>
          <p:cNvPr id="97" name="Shape 2707"/>
          <p:cNvSpPr/>
          <p:nvPr/>
        </p:nvSpPr>
        <p:spPr>
          <a:xfrm>
            <a:off x="11502199" y="1753101"/>
            <a:ext cx="1429217" cy="6309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8090" tIns="38090" rIns="38090" bIns="38090" anchor="ctr">
            <a:spAutoFit/>
          </a:bodyPr>
          <a:lstStyle>
            <a:lvl1pPr algn="l">
              <a:defRPr sz="3000" b="1" cap="none" spc="-90">
                <a:solidFill>
                  <a:srgbClr val="1C1D21"/>
                </a:solidFill>
                <a:latin typeface="+mj-lt"/>
                <a:ea typeface="+mj-ea"/>
                <a:cs typeface="+mj-cs"/>
                <a:sym typeface="Karla"/>
              </a:defRPr>
            </a:lvl1pPr>
          </a:lstStyle>
          <a:p>
            <a:pPr algn="ctr"/>
            <a:r>
              <a:rPr lang="en-US" sz="3600" b="0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Arrows</a:t>
            </a:r>
          </a:p>
        </p:txBody>
      </p:sp>
      <p:sp>
        <p:nvSpPr>
          <p:cNvPr id="98" name="Shape 2707"/>
          <p:cNvSpPr/>
          <p:nvPr/>
        </p:nvSpPr>
        <p:spPr>
          <a:xfrm>
            <a:off x="11343665" y="5478000"/>
            <a:ext cx="1746292" cy="6309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8090" tIns="38090" rIns="38090" bIns="38090" anchor="ctr">
            <a:spAutoFit/>
          </a:bodyPr>
          <a:lstStyle>
            <a:lvl1pPr algn="l">
              <a:defRPr sz="3000" b="1" cap="none" spc="-90">
                <a:solidFill>
                  <a:srgbClr val="1C1D21"/>
                </a:solidFill>
                <a:latin typeface="+mj-lt"/>
                <a:ea typeface="+mj-ea"/>
                <a:cs typeface="+mj-cs"/>
                <a:sym typeface="Karla"/>
              </a:defRPr>
            </a:lvl1pPr>
          </a:lstStyle>
          <a:p>
            <a:pPr algn="ctr"/>
            <a:r>
              <a:rPr lang="en-US" sz="3600" b="0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Location</a:t>
            </a:r>
          </a:p>
        </p:txBody>
      </p:sp>
    </p:spTree>
    <p:extLst>
      <p:ext uri="{BB962C8B-B14F-4D97-AF65-F5344CB8AC3E}">
        <p14:creationId xmlns:p14="http://schemas.microsoft.com/office/powerpoint/2010/main" val="1859031536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porate Identity</a:t>
            </a:r>
          </a:p>
        </p:txBody>
      </p:sp>
      <p:sp>
        <p:nvSpPr>
          <p:cNvPr id="3" name="Rectangle 2"/>
          <p:cNvSpPr/>
          <p:nvPr/>
        </p:nvSpPr>
        <p:spPr>
          <a:xfrm>
            <a:off x="1027114" y="8416138"/>
            <a:ext cx="1979136" cy="19791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latin typeface="Avenir Book" charset="0"/>
                <a:ea typeface="Avenir Book" charset="0"/>
                <a:cs typeface="Avenir Book" charset="0"/>
              </a:rPr>
              <a:t>1D6FB8</a:t>
            </a:r>
          </a:p>
        </p:txBody>
      </p:sp>
      <p:sp>
        <p:nvSpPr>
          <p:cNvPr id="4" name="Rectangle 3"/>
          <p:cNvSpPr/>
          <p:nvPr/>
        </p:nvSpPr>
        <p:spPr>
          <a:xfrm>
            <a:off x="3250879" y="8416137"/>
            <a:ext cx="1979136" cy="19791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latin typeface="Avenir Book" charset="0"/>
                <a:ea typeface="Avenir Book" charset="0"/>
                <a:cs typeface="Avenir Book" charset="0"/>
              </a:rPr>
              <a:t>419FD8</a:t>
            </a:r>
            <a:endParaRPr lang="en-US" sz="2400" dirty="0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474644" y="8416138"/>
            <a:ext cx="1979136" cy="19791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latin typeface="Avenir Book" charset="0"/>
                <a:ea typeface="Avenir Book" charset="0"/>
                <a:cs typeface="Avenir Book" charset="0"/>
              </a:rPr>
              <a:t>40DBD6</a:t>
            </a:r>
          </a:p>
        </p:txBody>
      </p:sp>
      <p:sp>
        <p:nvSpPr>
          <p:cNvPr id="6" name="Rectangle 5"/>
          <p:cNvSpPr/>
          <p:nvPr/>
        </p:nvSpPr>
        <p:spPr>
          <a:xfrm>
            <a:off x="7698409" y="8416136"/>
            <a:ext cx="1979136" cy="197913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latin typeface="Avenir Book" charset="0"/>
                <a:ea typeface="Avenir Book" charset="0"/>
                <a:cs typeface="Avenir Book" charset="0"/>
              </a:rPr>
              <a:t>AFE75F</a:t>
            </a:r>
          </a:p>
        </p:txBody>
      </p:sp>
      <p:sp>
        <p:nvSpPr>
          <p:cNvPr id="7" name="Rectangle 6"/>
          <p:cNvSpPr/>
          <p:nvPr/>
        </p:nvSpPr>
        <p:spPr>
          <a:xfrm>
            <a:off x="9922174" y="8416138"/>
            <a:ext cx="1979136" cy="197913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2400" dirty="0">
                <a:latin typeface="Avenir Book" charset="0"/>
                <a:ea typeface="Avenir Book" charset="0"/>
                <a:cs typeface="Avenir Book" charset="0"/>
              </a:rPr>
              <a:t>F3C648</a:t>
            </a:r>
            <a:endParaRPr lang="en-US" sz="2400" dirty="0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2145939" y="8416138"/>
            <a:ext cx="1979136" cy="197913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2400" dirty="0">
                <a:latin typeface="Avenir Book" charset="0"/>
                <a:ea typeface="Avenir Book" charset="0"/>
                <a:cs typeface="Avenir Book" charset="0"/>
              </a:rPr>
              <a:t>E66430</a:t>
            </a:r>
            <a:endParaRPr lang="en-US" sz="2400" dirty="0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27114" y="10639902"/>
            <a:ext cx="1979136" cy="19791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latin typeface="Avenir Book" charset="0"/>
                <a:ea typeface="Avenir Book" charset="0"/>
                <a:cs typeface="Avenir Book" charset="0"/>
              </a:rPr>
              <a:t>696969</a:t>
            </a:r>
          </a:p>
        </p:txBody>
      </p:sp>
      <p:sp>
        <p:nvSpPr>
          <p:cNvPr id="10" name="Rectangle 9"/>
          <p:cNvSpPr/>
          <p:nvPr/>
        </p:nvSpPr>
        <p:spPr>
          <a:xfrm>
            <a:off x="3250879" y="10639901"/>
            <a:ext cx="1979136" cy="197913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2400" dirty="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rPr>
              <a:t>E1E1E1</a:t>
            </a:r>
            <a:endParaRPr lang="en-US" sz="2400" dirty="0">
              <a:solidFill>
                <a:schemeClr val="bg1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27114" y="2897188"/>
            <a:ext cx="11161711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latin typeface="Avenir Medium" charset="0"/>
                <a:ea typeface="Avenir Medium" charset="0"/>
                <a:cs typeface="Avenir Medium" charset="0"/>
              </a:rPr>
              <a:t>Headline: </a:t>
            </a:r>
            <a:r>
              <a:rPr lang="en-US" sz="6000" dirty="0" err="1">
                <a:latin typeface="Avenir Medium" charset="0"/>
                <a:ea typeface="Avenir Medium" charset="0"/>
                <a:cs typeface="Avenir Medium" charset="0"/>
              </a:rPr>
              <a:t>Avenir</a:t>
            </a:r>
            <a:r>
              <a:rPr lang="en-US" sz="6000" dirty="0">
                <a:latin typeface="Avenir Medium" charset="0"/>
                <a:ea typeface="Avenir Medium" charset="0"/>
                <a:cs typeface="Avenir Medium" charset="0"/>
              </a:rPr>
              <a:t> Medium (60pt)</a:t>
            </a:r>
          </a:p>
          <a:p>
            <a:endParaRPr lang="en-US" sz="3200" dirty="0">
              <a:latin typeface="Avenir Book" charset="0"/>
              <a:ea typeface="Avenir Book" charset="0"/>
              <a:cs typeface="Avenir Book" charset="0"/>
            </a:endParaRPr>
          </a:p>
          <a:p>
            <a:r>
              <a:rPr lang="en-US" dirty="0">
                <a:latin typeface="Avenir Book" charset="0"/>
                <a:ea typeface="Avenir Book" charset="0"/>
                <a:cs typeface="Avenir Book" charset="0"/>
              </a:rPr>
              <a:t>Header: </a:t>
            </a:r>
            <a:r>
              <a:rPr lang="en-US" dirty="0" err="1">
                <a:latin typeface="Avenir Book" charset="0"/>
                <a:ea typeface="Avenir Book" charset="0"/>
                <a:cs typeface="Avenir Book" charset="0"/>
              </a:rPr>
              <a:t>Avenir</a:t>
            </a:r>
            <a:r>
              <a:rPr lang="en-US" dirty="0">
                <a:latin typeface="Avenir Book" charset="0"/>
                <a:ea typeface="Avenir Book" charset="0"/>
                <a:cs typeface="Avenir Book" charset="0"/>
              </a:rPr>
              <a:t> Medium (36pt)</a:t>
            </a:r>
          </a:p>
          <a:p>
            <a:endParaRPr lang="en-US" sz="3200" dirty="0">
              <a:latin typeface="Avenir Book" charset="0"/>
              <a:ea typeface="Avenir Book" charset="0"/>
              <a:cs typeface="Avenir Book" charset="0"/>
            </a:endParaRPr>
          </a:p>
          <a:p>
            <a:r>
              <a:rPr lang="en-US" sz="2800" dirty="0">
                <a:latin typeface="Avenir Book" charset="0"/>
                <a:ea typeface="Avenir Book" charset="0"/>
                <a:cs typeface="Avenir Book" charset="0"/>
              </a:rPr>
              <a:t>Text/List: </a:t>
            </a:r>
            <a:r>
              <a:rPr lang="en-US" sz="2800" dirty="0" err="1">
                <a:latin typeface="Avenir Book" charset="0"/>
                <a:ea typeface="Avenir Book" charset="0"/>
                <a:cs typeface="Avenir Book" charset="0"/>
              </a:rPr>
              <a:t>Avenir</a:t>
            </a:r>
            <a:r>
              <a:rPr lang="en-US" sz="2800" dirty="0">
                <a:latin typeface="Avenir Book" charset="0"/>
                <a:ea typeface="Avenir Book" charset="0"/>
                <a:cs typeface="Avenir Book" charset="0"/>
              </a:rPr>
              <a:t> Medium (28pt)</a:t>
            </a:r>
          </a:p>
          <a:p>
            <a:endParaRPr lang="en-US" dirty="0">
              <a:latin typeface="Avenir Book" charset="0"/>
              <a:ea typeface="Avenir Book" charset="0"/>
              <a:cs typeface="Avenir Book" charset="0"/>
            </a:endParaRPr>
          </a:p>
          <a:p>
            <a:pPr marL="571500" indent="-571500">
              <a:buFont typeface="Wingdings" charset="2"/>
              <a:buChar char="§"/>
            </a:pPr>
            <a:r>
              <a:rPr lang="en-US" sz="2800" dirty="0">
                <a:latin typeface="Avenir Book" charset="0"/>
                <a:ea typeface="Avenir Book" charset="0"/>
                <a:cs typeface="Avenir Book" charset="0"/>
              </a:rPr>
              <a:t>First row</a:t>
            </a:r>
          </a:p>
          <a:p>
            <a:pPr marL="1485717" lvl="1" indent="-571500">
              <a:buFont typeface=".AppleSystemUIFont" charset="-120"/>
              <a:buChar char="-"/>
            </a:pPr>
            <a:r>
              <a:rPr lang="en-US" sz="2800" dirty="0">
                <a:latin typeface="Avenir Book" charset="0"/>
                <a:ea typeface="Avenir Book" charset="0"/>
                <a:cs typeface="Avenir Book" charset="0"/>
              </a:rPr>
              <a:t>Second Row</a:t>
            </a:r>
          </a:p>
          <a:p>
            <a:pPr marL="2399934" lvl="2" indent="-571500">
              <a:buFont typeface="Courier New" charset="0"/>
              <a:buChar char="o"/>
            </a:pPr>
            <a:r>
              <a:rPr lang="en-US" sz="2800" dirty="0">
                <a:latin typeface="Avenir Book" charset="0"/>
                <a:ea typeface="Avenir Book" charset="0"/>
                <a:cs typeface="Avenir Book" charset="0"/>
              </a:rPr>
              <a:t>Third Row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23211103" y="2897188"/>
            <a:ext cx="1186698" cy="9721850"/>
            <a:chOff x="1027113" y="2897188"/>
            <a:chExt cx="1186698" cy="9721850"/>
          </a:xfrm>
        </p:grpSpPr>
        <p:sp>
          <p:nvSpPr>
            <p:cNvPr id="30" name="Text Box 37"/>
            <p:cNvSpPr txBox="1">
              <a:spLocks noChangeArrowheads="1"/>
            </p:cNvSpPr>
            <p:nvPr/>
          </p:nvSpPr>
          <p:spPr bwMode="gray">
            <a:xfrm>
              <a:off x="1030302" y="2897188"/>
              <a:ext cx="1183509" cy="115979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54000" tIns="54000" rIns="54000" bIns="5400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</a:rPr>
                <a:t>1</a:t>
              </a:r>
            </a:p>
          </p:txBody>
        </p:sp>
        <p:sp>
          <p:nvSpPr>
            <p:cNvPr id="31" name="Text Box 39"/>
            <p:cNvSpPr txBox="1">
              <a:spLocks noChangeArrowheads="1"/>
            </p:cNvSpPr>
            <p:nvPr/>
          </p:nvSpPr>
          <p:spPr bwMode="gray">
            <a:xfrm>
              <a:off x="1030302" y="5732251"/>
              <a:ext cx="1183509" cy="1159798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54000" tIns="54000" rIns="54000" bIns="5400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</a:rPr>
                <a:t>3</a:t>
              </a:r>
            </a:p>
          </p:txBody>
        </p:sp>
        <p:sp>
          <p:nvSpPr>
            <p:cNvPr id="32" name="Text Box 41"/>
            <p:cNvSpPr txBox="1">
              <a:spLocks noChangeArrowheads="1"/>
            </p:cNvSpPr>
            <p:nvPr/>
          </p:nvSpPr>
          <p:spPr bwMode="gray">
            <a:xfrm>
              <a:off x="1030302" y="7172525"/>
              <a:ext cx="1183509" cy="1159798"/>
            </a:xfrm>
            <a:prstGeom prst="rect">
              <a:avLst/>
            </a:prstGeom>
            <a:solidFill>
              <a:schemeClr val="accent2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54000" tIns="54000" rIns="54000" bIns="5400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</a:rPr>
                <a:t>4</a:t>
              </a:r>
            </a:p>
          </p:txBody>
        </p:sp>
        <p:sp>
          <p:nvSpPr>
            <p:cNvPr id="33" name="Text Box 43"/>
            <p:cNvSpPr txBox="1">
              <a:spLocks noChangeArrowheads="1"/>
            </p:cNvSpPr>
            <p:nvPr/>
          </p:nvSpPr>
          <p:spPr bwMode="gray">
            <a:xfrm>
              <a:off x="1030302" y="8616591"/>
              <a:ext cx="1183509" cy="115979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54000" tIns="54000" rIns="54000" bIns="5400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</a:rPr>
                <a:t>5</a:t>
              </a:r>
            </a:p>
          </p:txBody>
        </p:sp>
        <p:sp>
          <p:nvSpPr>
            <p:cNvPr id="34" name="Text Box 47"/>
            <p:cNvSpPr txBox="1">
              <a:spLocks noChangeArrowheads="1"/>
            </p:cNvSpPr>
            <p:nvPr/>
          </p:nvSpPr>
          <p:spPr bwMode="gray">
            <a:xfrm>
              <a:off x="1030302" y="4295771"/>
              <a:ext cx="1183509" cy="1159798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54000" tIns="54000" rIns="54000" bIns="5400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</a:rPr>
                <a:t>2</a:t>
              </a:r>
            </a:p>
          </p:txBody>
        </p:sp>
        <p:sp>
          <p:nvSpPr>
            <p:cNvPr id="35" name="Text Box 43"/>
            <p:cNvSpPr txBox="1">
              <a:spLocks noChangeArrowheads="1"/>
            </p:cNvSpPr>
            <p:nvPr/>
          </p:nvSpPr>
          <p:spPr bwMode="gray">
            <a:xfrm>
              <a:off x="1027113" y="10060656"/>
              <a:ext cx="1183509" cy="115979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54000" tIns="54000" rIns="54000" bIns="5400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</a:rPr>
                <a:t>6</a:t>
              </a:r>
            </a:p>
          </p:txBody>
        </p:sp>
        <p:sp>
          <p:nvSpPr>
            <p:cNvPr id="36" name="Text Box 43"/>
            <p:cNvSpPr txBox="1">
              <a:spLocks noChangeArrowheads="1"/>
            </p:cNvSpPr>
            <p:nvPr/>
          </p:nvSpPr>
          <p:spPr bwMode="gray">
            <a:xfrm>
              <a:off x="1027113" y="11459240"/>
              <a:ext cx="1183509" cy="1159798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54000" tIns="54000" rIns="54000" bIns="5400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</a:rPr>
                <a:t>7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21656339" y="2891499"/>
            <a:ext cx="1186698" cy="9721850"/>
            <a:chOff x="1027113" y="2897188"/>
            <a:chExt cx="1186698" cy="9721850"/>
          </a:xfrm>
        </p:grpSpPr>
        <p:sp>
          <p:nvSpPr>
            <p:cNvPr id="38" name="Text Box 37"/>
            <p:cNvSpPr txBox="1">
              <a:spLocks noChangeArrowheads="1"/>
            </p:cNvSpPr>
            <p:nvPr/>
          </p:nvSpPr>
          <p:spPr bwMode="gray">
            <a:xfrm>
              <a:off x="1030302" y="2897188"/>
              <a:ext cx="1183509" cy="1159798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54000" tIns="54000" rIns="54000" bIns="5400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</a:rPr>
                <a:t>1</a:t>
              </a:r>
            </a:p>
          </p:txBody>
        </p:sp>
        <p:sp>
          <p:nvSpPr>
            <p:cNvPr id="39" name="Text Box 39"/>
            <p:cNvSpPr txBox="1">
              <a:spLocks noChangeArrowheads="1"/>
            </p:cNvSpPr>
            <p:nvPr/>
          </p:nvSpPr>
          <p:spPr bwMode="gray">
            <a:xfrm>
              <a:off x="1030302" y="5732251"/>
              <a:ext cx="1183509" cy="115979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54000" tIns="54000" rIns="54000" bIns="5400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</a:rPr>
                <a:t>3</a:t>
              </a:r>
            </a:p>
          </p:txBody>
        </p:sp>
        <p:sp>
          <p:nvSpPr>
            <p:cNvPr id="40" name="Text Box 41"/>
            <p:cNvSpPr txBox="1">
              <a:spLocks noChangeArrowheads="1"/>
            </p:cNvSpPr>
            <p:nvPr/>
          </p:nvSpPr>
          <p:spPr bwMode="gray">
            <a:xfrm>
              <a:off x="1030302" y="7172525"/>
              <a:ext cx="1183509" cy="115979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54000" tIns="54000" rIns="54000" bIns="5400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</a:rPr>
                <a:t>4</a:t>
              </a:r>
            </a:p>
          </p:txBody>
        </p:sp>
        <p:sp>
          <p:nvSpPr>
            <p:cNvPr id="41" name="Text Box 43"/>
            <p:cNvSpPr txBox="1">
              <a:spLocks noChangeArrowheads="1"/>
            </p:cNvSpPr>
            <p:nvPr/>
          </p:nvSpPr>
          <p:spPr bwMode="gray">
            <a:xfrm>
              <a:off x="1030302" y="8616591"/>
              <a:ext cx="1183509" cy="115979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54000" tIns="54000" rIns="54000" bIns="5400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</a:rPr>
                <a:t>5</a:t>
              </a:r>
            </a:p>
          </p:txBody>
        </p:sp>
        <p:sp>
          <p:nvSpPr>
            <p:cNvPr id="42" name="Text Box 47"/>
            <p:cNvSpPr txBox="1">
              <a:spLocks noChangeArrowheads="1"/>
            </p:cNvSpPr>
            <p:nvPr/>
          </p:nvSpPr>
          <p:spPr bwMode="gray">
            <a:xfrm>
              <a:off x="1030302" y="4295771"/>
              <a:ext cx="1183509" cy="115979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54000" tIns="54000" rIns="54000" bIns="5400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</a:rPr>
                <a:t>2</a:t>
              </a:r>
            </a:p>
          </p:txBody>
        </p:sp>
        <p:sp>
          <p:nvSpPr>
            <p:cNvPr id="43" name="Text Box 43"/>
            <p:cNvSpPr txBox="1">
              <a:spLocks noChangeArrowheads="1"/>
            </p:cNvSpPr>
            <p:nvPr/>
          </p:nvSpPr>
          <p:spPr bwMode="gray">
            <a:xfrm>
              <a:off x="1027113" y="10060656"/>
              <a:ext cx="1183509" cy="115979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54000" tIns="54000" rIns="54000" bIns="5400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</a:rPr>
                <a:t>6</a:t>
              </a:r>
            </a:p>
          </p:txBody>
        </p:sp>
        <p:sp>
          <p:nvSpPr>
            <p:cNvPr id="44" name="Text Box 43"/>
            <p:cNvSpPr txBox="1">
              <a:spLocks noChangeArrowheads="1"/>
            </p:cNvSpPr>
            <p:nvPr/>
          </p:nvSpPr>
          <p:spPr bwMode="gray">
            <a:xfrm>
              <a:off x="1027113" y="11459240"/>
              <a:ext cx="1183509" cy="115979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54000" tIns="54000" rIns="54000" bIns="54000" anchor="ctr"/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</a:rPr>
                <a:t>7</a:t>
              </a:r>
            </a:p>
          </p:txBody>
        </p:sp>
      </p:grpSp>
      <p:sp>
        <p:nvSpPr>
          <p:cNvPr id="46" name="Shape 2976"/>
          <p:cNvSpPr/>
          <p:nvPr/>
        </p:nvSpPr>
        <p:spPr>
          <a:xfrm>
            <a:off x="11098535" y="1145355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47" name="Shape 2539"/>
          <p:cNvSpPr/>
          <p:nvPr/>
        </p:nvSpPr>
        <p:spPr>
          <a:xfrm>
            <a:off x="10236787" y="11593213"/>
            <a:ext cx="558654" cy="380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48" name="Shape 2541"/>
          <p:cNvSpPr/>
          <p:nvPr/>
        </p:nvSpPr>
        <p:spPr>
          <a:xfrm>
            <a:off x="11960284" y="11555123"/>
            <a:ext cx="457082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49" name="Shape 2934"/>
          <p:cNvSpPr/>
          <p:nvPr/>
        </p:nvSpPr>
        <p:spPr>
          <a:xfrm>
            <a:off x="12720461" y="11453551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800"/>
                </a:moveTo>
                <a:cubicBezTo>
                  <a:pt x="8563" y="10800"/>
                  <a:pt x="6750" y="9481"/>
                  <a:pt x="6750" y="7855"/>
                </a:cubicBezTo>
                <a:cubicBezTo>
                  <a:pt x="6750" y="6228"/>
                  <a:pt x="8563" y="4909"/>
                  <a:pt x="10800" y="4909"/>
                </a:cubicBezTo>
                <a:cubicBezTo>
                  <a:pt x="13037" y="4909"/>
                  <a:pt x="14850" y="6228"/>
                  <a:pt x="14850" y="7855"/>
                </a:cubicBezTo>
                <a:cubicBezTo>
                  <a:pt x="14850" y="9481"/>
                  <a:pt x="13037" y="10800"/>
                  <a:pt x="10800" y="10800"/>
                </a:cubicBezTo>
                <a:moveTo>
                  <a:pt x="10800" y="3927"/>
                </a:moveTo>
                <a:cubicBezTo>
                  <a:pt x="7817" y="3927"/>
                  <a:pt x="5400" y="5686"/>
                  <a:pt x="5400" y="7855"/>
                </a:cubicBezTo>
                <a:cubicBezTo>
                  <a:pt x="5400" y="10023"/>
                  <a:pt x="7817" y="11782"/>
                  <a:pt x="10800" y="11782"/>
                </a:cubicBezTo>
                <a:cubicBezTo>
                  <a:pt x="13783" y="11782"/>
                  <a:pt x="16200" y="10023"/>
                  <a:pt x="16200" y="7855"/>
                </a:cubicBezTo>
                <a:cubicBezTo>
                  <a:pt x="16200" y="5686"/>
                  <a:pt x="13783" y="3927"/>
                  <a:pt x="10800" y="3927"/>
                </a:cubicBezTo>
                <a:moveTo>
                  <a:pt x="10800" y="20127"/>
                </a:moveTo>
                <a:cubicBezTo>
                  <a:pt x="10800" y="20127"/>
                  <a:pt x="1350" y="13745"/>
                  <a:pt x="1350" y="7855"/>
                </a:cubicBezTo>
                <a:cubicBezTo>
                  <a:pt x="1350" y="4059"/>
                  <a:pt x="5581" y="982"/>
                  <a:pt x="10800" y="982"/>
                </a:cubicBezTo>
                <a:cubicBezTo>
                  <a:pt x="16019" y="982"/>
                  <a:pt x="20250" y="4059"/>
                  <a:pt x="20250" y="7855"/>
                </a:cubicBezTo>
                <a:cubicBezTo>
                  <a:pt x="20250" y="13745"/>
                  <a:pt x="10800" y="20127"/>
                  <a:pt x="10800" y="20127"/>
                </a:cubicBezTo>
                <a:moveTo>
                  <a:pt x="10800" y="0"/>
                </a:moveTo>
                <a:cubicBezTo>
                  <a:pt x="4836" y="0"/>
                  <a:pt x="0" y="3517"/>
                  <a:pt x="0" y="7855"/>
                </a:cubicBezTo>
                <a:cubicBezTo>
                  <a:pt x="0" y="14236"/>
                  <a:pt x="10800" y="21600"/>
                  <a:pt x="10800" y="21600"/>
                </a:cubicBezTo>
                <a:cubicBezTo>
                  <a:pt x="10800" y="21600"/>
                  <a:pt x="21600" y="14236"/>
                  <a:pt x="21600" y="7855"/>
                </a:cubicBezTo>
                <a:cubicBezTo>
                  <a:pt x="21600" y="3517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50" name="Shape 2579"/>
          <p:cNvSpPr/>
          <p:nvPr/>
        </p:nvSpPr>
        <p:spPr>
          <a:xfrm>
            <a:off x="13429851" y="1145355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57" y="18984"/>
                </a:moveTo>
                <a:lnTo>
                  <a:pt x="11380" y="15408"/>
                </a:lnTo>
                <a:lnTo>
                  <a:pt x="10800" y="14983"/>
                </a:lnTo>
                <a:lnTo>
                  <a:pt x="10219" y="15408"/>
                </a:lnTo>
                <a:lnTo>
                  <a:pt x="5343" y="18984"/>
                </a:lnTo>
                <a:lnTo>
                  <a:pt x="7313" y="13075"/>
                </a:lnTo>
                <a:lnTo>
                  <a:pt x="7534" y="12411"/>
                </a:lnTo>
                <a:lnTo>
                  <a:pt x="6980" y="11985"/>
                </a:lnTo>
                <a:lnTo>
                  <a:pt x="2887" y="8836"/>
                </a:lnTo>
                <a:lnTo>
                  <a:pt x="8535" y="8836"/>
                </a:lnTo>
                <a:lnTo>
                  <a:pt x="8774" y="8199"/>
                </a:lnTo>
                <a:lnTo>
                  <a:pt x="10800" y="2796"/>
                </a:lnTo>
                <a:lnTo>
                  <a:pt x="12826" y="8199"/>
                </a:lnTo>
                <a:lnTo>
                  <a:pt x="13065" y="8836"/>
                </a:lnTo>
                <a:lnTo>
                  <a:pt x="18714" y="8836"/>
                </a:lnTo>
                <a:lnTo>
                  <a:pt x="14619" y="11985"/>
                </a:lnTo>
                <a:lnTo>
                  <a:pt x="14066" y="12411"/>
                </a:lnTo>
                <a:cubicBezTo>
                  <a:pt x="14066" y="12411"/>
                  <a:pt x="16257" y="18984"/>
                  <a:pt x="16257" y="18984"/>
                </a:cubicBezTo>
                <a:close/>
                <a:moveTo>
                  <a:pt x="21600" y="7855"/>
                </a:moveTo>
                <a:lnTo>
                  <a:pt x="13745" y="7855"/>
                </a:lnTo>
                <a:lnTo>
                  <a:pt x="10800" y="0"/>
                </a:lnTo>
                <a:lnTo>
                  <a:pt x="7855" y="7855"/>
                </a:lnTo>
                <a:lnTo>
                  <a:pt x="0" y="7855"/>
                </a:lnTo>
                <a:lnTo>
                  <a:pt x="6382" y="12764"/>
                </a:lnTo>
                <a:lnTo>
                  <a:pt x="3436" y="21600"/>
                </a:lnTo>
                <a:lnTo>
                  <a:pt x="10800" y="16200"/>
                </a:lnTo>
                <a:lnTo>
                  <a:pt x="18164" y="21600"/>
                </a:lnTo>
                <a:lnTo>
                  <a:pt x="15218" y="12764"/>
                </a:lnTo>
                <a:cubicBezTo>
                  <a:pt x="15218" y="12764"/>
                  <a:pt x="21600" y="7855"/>
                  <a:pt x="21600" y="785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4644" y="10634866"/>
            <a:ext cx="1984172" cy="1984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250142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0B4270B2-B133-4132-BF7F-DD8DBDF75532}"/>
              </a:ext>
            </a:extLst>
          </p:cNvPr>
          <p:cNvSpPr/>
          <p:nvPr/>
        </p:nvSpPr>
        <p:spPr>
          <a:xfrm>
            <a:off x="3616960" y="4450080"/>
            <a:ext cx="17962880" cy="508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600" dirty="0">
                <a:solidFill>
                  <a:schemeClr val="tx2"/>
                </a:solidFill>
                <a:latin typeface="Avenir Medium"/>
              </a:rPr>
              <a:t>Ab hier von Dirk hinzugefügte Foli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863F422-B3AC-433D-929B-10B0EF361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</p:spTree>
    <p:extLst>
      <p:ext uri="{BB962C8B-B14F-4D97-AF65-F5344CB8AC3E}">
        <p14:creationId xmlns:p14="http://schemas.microsoft.com/office/powerpoint/2010/main" val="764164988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2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048002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4"/>
            </p:custDataLst>
          </p:nvPr>
        </p:nvSpPr>
        <p:spPr bwMode="auto">
          <a:xfrm>
            <a:off x="3044825" y="0"/>
            <a:ext cx="317500" cy="3175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20000"/>
                <a:lumOff val="8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ct val="100000"/>
            </a:pPr>
            <a:endParaRPr lang="en-US" sz="28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Avenir Medium"/>
              </a:rPr>
              <a:t>Aufbau</a:t>
            </a:r>
            <a:r>
              <a:rPr lang="en-US" dirty="0">
                <a:latin typeface="Avenir Medium"/>
              </a:rPr>
              <a:t> </a:t>
            </a:r>
            <a:r>
              <a:rPr lang="en-US" dirty="0" err="1">
                <a:latin typeface="Avenir Medium"/>
              </a:rPr>
              <a:t>Folie</a:t>
            </a:r>
            <a:r>
              <a:rPr lang="en-US" dirty="0">
                <a:latin typeface="Avenir Medium"/>
              </a:rPr>
              <a:t> </a:t>
            </a:r>
            <a:r>
              <a:rPr lang="en-US" dirty="0" err="1">
                <a:latin typeface="Avenir Medium"/>
              </a:rPr>
              <a:t>für</a:t>
            </a:r>
            <a:r>
              <a:rPr lang="en-US" dirty="0">
                <a:latin typeface="Avenir Medium"/>
              </a:rPr>
              <a:t> </a:t>
            </a:r>
            <a:r>
              <a:rPr lang="en-US" dirty="0" err="1">
                <a:latin typeface="Avenir Medium"/>
              </a:rPr>
              <a:t>Zusammenfassung</a:t>
            </a:r>
            <a:r>
              <a:rPr lang="en-US" dirty="0">
                <a:latin typeface="Avenir Medium"/>
              </a:rPr>
              <a:t>/</a:t>
            </a:r>
            <a:r>
              <a:rPr lang="en-US" dirty="0" err="1">
                <a:latin typeface="Avenir Medium"/>
              </a:rPr>
              <a:t>Fazit</a:t>
            </a:r>
            <a:endParaRPr lang="en-US" dirty="0">
              <a:latin typeface="Avenir Medium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6999914" y="7349453"/>
            <a:ext cx="91438" cy="1238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cxnSp>
        <p:nvCxnSpPr>
          <p:cNvPr id="11" name="Gewinkelte Verbindung 10"/>
          <p:cNvCxnSpPr>
            <a:endCxn id="9" idx="3"/>
          </p:cNvCxnSpPr>
          <p:nvPr/>
        </p:nvCxnSpPr>
        <p:spPr>
          <a:xfrm rot="10800000">
            <a:off x="7091354" y="7411369"/>
            <a:ext cx="1725550" cy="361911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winkelte Verbindung 11"/>
          <p:cNvCxnSpPr>
            <a:endCxn id="9" idx="3"/>
          </p:cNvCxnSpPr>
          <p:nvPr/>
        </p:nvCxnSpPr>
        <p:spPr>
          <a:xfrm rot="10800000">
            <a:off x="7091354" y="7411366"/>
            <a:ext cx="1725550" cy="119677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winkelte Verbindung 12"/>
          <p:cNvCxnSpPr>
            <a:endCxn id="9" idx="3"/>
          </p:cNvCxnSpPr>
          <p:nvPr/>
        </p:nvCxnSpPr>
        <p:spPr>
          <a:xfrm rot="10800000" flipV="1">
            <a:off x="7091354" y="6185810"/>
            <a:ext cx="1725550" cy="1225556"/>
          </a:xfrm>
          <a:prstGeom prst="bentConnector3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winkelte Verbindung 13"/>
          <p:cNvCxnSpPr>
            <a:endCxn id="9" idx="3"/>
          </p:cNvCxnSpPr>
          <p:nvPr/>
        </p:nvCxnSpPr>
        <p:spPr>
          <a:xfrm rot="10800000" flipV="1">
            <a:off x="7091354" y="3763478"/>
            <a:ext cx="1725550" cy="3647888"/>
          </a:xfrm>
          <a:prstGeom prst="bentConnector3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>
            <a:extLst>
              <a:ext uri="{FF2B5EF4-FFF2-40B4-BE49-F238E27FC236}">
                <a16:creationId xmlns:a16="http://schemas.microsoft.com/office/drawing/2014/main" id="{39D389DC-E14F-460F-88AD-791D3B2B6E1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1845" y="5179290"/>
            <a:ext cx="4464151" cy="446415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560587935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Avenir Medium"/>
              </a:rPr>
              <a:t>Lessons</a:t>
            </a:r>
            <a:r>
              <a:rPr lang="de-DE" dirty="0">
                <a:latin typeface="Avenir Medium"/>
              </a:rPr>
              <a:t> </a:t>
            </a:r>
            <a:r>
              <a:rPr lang="de-DE" dirty="0" err="1">
                <a:latin typeface="Avenir Medium"/>
              </a:rPr>
              <a:t>Learned</a:t>
            </a:r>
            <a:endParaRPr lang="de-DE" dirty="0">
              <a:latin typeface="Avenir Medium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5638996" y="3054447"/>
            <a:ext cx="14469706" cy="121126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2400"/>
              </a:spcAft>
            </a:pPr>
            <a:r>
              <a:rPr lang="en-US" sz="3200" dirty="0">
                <a:solidFill>
                  <a:schemeClr val="dk2"/>
                </a:solidFill>
                <a:latin typeface="Avenir Medium"/>
              </a:rPr>
              <a:t>xxx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8057" y="3156078"/>
            <a:ext cx="1008000" cy="1008000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5638996" y="4782639"/>
            <a:ext cx="14469706" cy="121126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2400"/>
              </a:spcAft>
            </a:pPr>
            <a:r>
              <a:rPr lang="en-US" sz="3200" dirty="0">
                <a:solidFill>
                  <a:schemeClr val="dk2"/>
                </a:solidFill>
                <a:latin typeface="Avenir Medium"/>
              </a:rPr>
              <a:t>xxx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8057" y="4884270"/>
            <a:ext cx="1008000" cy="1008000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5638996" y="6475995"/>
            <a:ext cx="14469706" cy="121126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2400"/>
              </a:spcAft>
            </a:pPr>
            <a:r>
              <a:rPr lang="en-US" sz="3200" dirty="0">
                <a:solidFill>
                  <a:schemeClr val="dk2"/>
                </a:solidFill>
                <a:latin typeface="Avenir Medium"/>
              </a:rPr>
              <a:t>xxx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8057" y="6577626"/>
            <a:ext cx="1008000" cy="1008000"/>
          </a:xfrm>
          <a:prstGeom prst="rect">
            <a:avLst/>
          </a:prstGeom>
        </p:spPr>
      </p:pic>
      <p:sp>
        <p:nvSpPr>
          <p:cNvPr id="13" name="Rechteck 12"/>
          <p:cNvSpPr/>
          <p:nvPr/>
        </p:nvSpPr>
        <p:spPr>
          <a:xfrm>
            <a:off x="5638996" y="8095007"/>
            <a:ext cx="14469706" cy="121126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2400"/>
              </a:spcAft>
            </a:pPr>
            <a:r>
              <a:rPr lang="en-US" sz="3200" dirty="0">
                <a:solidFill>
                  <a:schemeClr val="dk2"/>
                </a:solidFill>
                <a:latin typeface="Avenir Medium"/>
              </a:rPr>
              <a:t>xxx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8057" y="8196638"/>
            <a:ext cx="1008000" cy="1008000"/>
          </a:xfrm>
          <a:prstGeom prst="rect">
            <a:avLst/>
          </a:prstGeom>
        </p:spPr>
      </p:pic>
      <p:sp>
        <p:nvSpPr>
          <p:cNvPr id="15" name="Rechteck 14"/>
          <p:cNvSpPr/>
          <p:nvPr/>
        </p:nvSpPr>
        <p:spPr>
          <a:xfrm>
            <a:off x="5638996" y="9679183"/>
            <a:ext cx="14469706" cy="121126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2400"/>
              </a:spcAft>
            </a:pPr>
            <a:r>
              <a:rPr lang="en-US" sz="3200" dirty="0">
                <a:solidFill>
                  <a:schemeClr val="dk2"/>
                </a:solidFill>
                <a:latin typeface="Avenir Medium"/>
              </a:rPr>
              <a:t>xxx</a:t>
            </a: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8057" y="9780814"/>
            <a:ext cx="1008000" cy="100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5492139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venir Medium"/>
              </a:rPr>
              <a:t>Felder mit vollfarbiger Fläche im Hintergrund</a:t>
            </a:r>
          </a:p>
        </p:txBody>
      </p:sp>
      <p:sp>
        <p:nvSpPr>
          <p:cNvPr id="13" name="Rechteck 12"/>
          <p:cNvSpPr/>
          <p:nvPr/>
        </p:nvSpPr>
        <p:spPr>
          <a:xfrm>
            <a:off x="3260721" y="3834592"/>
            <a:ext cx="8352000" cy="835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20000"/>
                <a:lumOff val="80000"/>
              </a:schemeClr>
            </a:solidFill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3260726" y="3113584"/>
            <a:ext cx="2736946" cy="619915"/>
          </a:xfrm>
          <a:prstGeom prst="rect">
            <a:avLst/>
          </a:prstGeom>
          <a:noFill/>
        </p:spPr>
        <p:txBody>
          <a:bodyPr wrap="square" lIns="0" tIns="93600" rIns="0" bIns="93600" rtlCol="0">
            <a:spAutoFit/>
          </a:bodyPr>
          <a:lstStyle/>
          <a:p>
            <a:pPr defTabSz="1828800">
              <a:buClr>
                <a:schemeClr val="tx1"/>
              </a:buClr>
            </a:pPr>
            <a:r>
              <a:rPr lang="de-DE" sz="2800" dirty="0">
                <a:solidFill>
                  <a:schemeClr val="accent1"/>
                </a:solidFill>
                <a:latin typeface="Avenir Medium"/>
              </a:rPr>
              <a:t>ÜBERSCHRIFT</a:t>
            </a:r>
          </a:p>
        </p:txBody>
      </p:sp>
      <p:sp>
        <p:nvSpPr>
          <p:cNvPr id="15" name="Rechteck 14"/>
          <p:cNvSpPr/>
          <p:nvPr/>
        </p:nvSpPr>
        <p:spPr>
          <a:xfrm>
            <a:off x="12765817" y="3834592"/>
            <a:ext cx="8352000" cy="8352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2765820" y="3113584"/>
            <a:ext cx="2736946" cy="619915"/>
          </a:xfrm>
          <a:prstGeom prst="rect">
            <a:avLst/>
          </a:prstGeom>
          <a:noFill/>
        </p:spPr>
        <p:txBody>
          <a:bodyPr wrap="square" lIns="0" tIns="93600" rIns="0" bIns="93600" rtlCol="0">
            <a:spAutoFit/>
          </a:bodyPr>
          <a:lstStyle/>
          <a:p>
            <a:pPr defTabSz="1828800">
              <a:buClr>
                <a:schemeClr val="tx1"/>
              </a:buClr>
            </a:pPr>
            <a:r>
              <a:rPr lang="de-DE" sz="2800" dirty="0">
                <a:solidFill>
                  <a:schemeClr val="accent1"/>
                </a:solidFill>
                <a:latin typeface="Avenir Medium"/>
              </a:rPr>
              <a:t>ÜBERSCHRIFT</a:t>
            </a:r>
          </a:p>
        </p:txBody>
      </p:sp>
      <p:sp>
        <p:nvSpPr>
          <p:cNvPr id="4" name="Pfeil nach rechts 3"/>
          <p:cNvSpPr/>
          <p:nvPr/>
        </p:nvSpPr>
        <p:spPr>
          <a:xfrm>
            <a:off x="9884569" y="8991266"/>
            <a:ext cx="2737232" cy="2160240"/>
          </a:xfrm>
          <a:prstGeom prst="rightArrow">
            <a:avLst>
              <a:gd name="adj1" fmla="val 50000"/>
              <a:gd name="adj2" fmla="val 33915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20000"/>
                <a:lumOff val="8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8776" indent="-358776" algn="ctr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2" name="Pfeil nach rechts 11"/>
          <p:cNvSpPr/>
          <p:nvPr/>
        </p:nvSpPr>
        <p:spPr>
          <a:xfrm flipH="1">
            <a:off x="11755849" y="4943030"/>
            <a:ext cx="2737232" cy="2160240"/>
          </a:xfrm>
          <a:prstGeom prst="rightArrow">
            <a:avLst>
              <a:gd name="adj1" fmla="val 50000"/>
              <a:gd name="adj2" fmla="val 33915"/>
            </a:avLst>
          </a:prstGeom>
          <a:solidFill>
            <a:schemeClr val="bg1">
              <a:lumMod val="85000"/>
            </a:schemeClr>
          </a:solidFill>
          <a:ln w="12700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0311376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ausalzusammenhang</a:t>
            </a:r>
          </a:p>
        </p:txBody>
      </p:sp>
      <p:sp>
        <p:nvSpPr>
          <p:cNvPr id="6" name="Richtungspfeil 5"/>
          <p:cNvSpPr/>
          <p:nvPr/>
        </p:nvSpPr>
        <p:spPr>
          <a:xfrm rot="5400000">
            <a:off x="10100825" y="-3582502"/>
            <a:ext cx="4176000" cy="17856204"/>
          </a:xfrm>
          <a:prstGeom prst="homePlate">
            <a:avLst>
              <a:gd name="adj" fmla="val 9813"/>
            </a:avLst>
          </a:prstGeom>
          <a:solidFill>
            <a:schemeClr val="bg1"/>
          </a:solidFill>
          <a:ln w="19050">
            <a:solidFill>
              <a:schemeClr val="accent1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260721" y="7866592"/>
            <a:ext cx="17856000" cy="4320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  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3260723" y="3257601"/>
            <a:ext cx="6039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latin typeface="Arial" panose="020B0604020202020204" pitchFamily="34" charset="0"/>
              </a:rPr>
              <a:t>ÜBERSCHRIFT INNERHALB AUTOFORM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3260725" y="7866593"/>
            <a:ext cx="6039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latin typeface="Arial" panose="020B0604020202020204" pitchFamily="34" charset="0"/>
              </a:rPr>
              <a:t>ÜBERSCHRIFT INNERHALB AUTOFOR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838679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3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3044825" y="0"/>
          <a:ext cx="317500" cy="317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Folie" r:id="rId6" imgW="0" imgH="0" progId="TCLayout.ActiveDocument.1">
                  <p:embed/>
                </p:oleObj>
              </mc:Choice>
              <mc:Fallback>
                <p:oleObj name="think-cell Folie" r:id="rId6" imgW="0" imgH="0" progId="TCLayout.ActiveDocument.1">
                  <p:embed/>
                  <p:pic>
                    <p:nvPicPr>
                      <p:cNvPr id="1026" name="Rectangle 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4825" y="0"/>
                        <a:ext cx="317500" cy="317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ichtungspfeil 17"/>
          <p:cNvSpPr/>
          <p:nvPr/>
        </p:nvSpPr>
        <p:spPr>
          <a:xfrm rot="5400000">
            <a:off x="10604825" y="-1206000"/>
            <a:ext cx="3168000" cy="17856204"/>
          </a:xfrm>
          <a:prstGeom prst="homePlate">
            <a:avLst>
              <a:gd name="adj" fmla="val 13517"/>
            </a:avLst>
          </a:prstGeom>
          <a:solidFill>
            <a:schemeClr val="bg1"/>
          </a:solidFill>
          <a:ln w="19050">
            <a:solidFill>
              <a:schemeClr val="accent1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9" name="Rechteck 18"/>
          <p:cNvSpPr/>
          <p:nvPr/>
        </p:nvSpPr>
        <p:spPr>
          <a:xfrm rot="5400000">
            <a:off x="10532825" y="2178186"/>
            <a:ext cx="3312000" cy="1785620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5" name="Richtungspfeil 14"/>
          <p:cNvSpPr/>
          <p:nvPr/>
        </p:nvSpPr>
        <p:spPr>
          <a:xfrm rot="5400000">
            <a:off x="10604825" y="-4518550"/>
            <a:ext cx="3168000" cy="17856204"/>
          </a:xfrm>
          <a:prstGeom prst="homePlate">
            <a:avLst>
              <a:gd name="adj" fmla="val 13517"/>
            </a:avLst>
          </a:prstGeom>
          <a:solidFill>
            <a:schemeClr val="bg1"/>
          </a:solidFill>
          <a:ln w="19050">
            <a:solidFill>
              <a:schemeClr val="accent1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ADC2AA6-5383-4D7D-B9DA-80A071095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Avenir Medium"/>
              </a:rPr>
              <a:t>Project profile: …</a:t>
            </a:r>
            <a:endParaRPr lang="de-DE" dirty="0">
              <a:latin typeface="Avenir Medium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3606440" y="4841585"/>
            <a:ext cx="3118266" cy="461665"/>
          </a:xfrm>
          <a:prstGeom prst="rect">
            <a:avLst/>
          </a:prstGeom>
          <a:noFill/>
        </p:spPr>
        <p:txBody>
          <a:bodyPr wrap="none" lIns="180000" rtlCol="0">
            <a:spAutoFit/>
          </a:bodyPr>
          <a:lstStyle/>
          <a:p>
            <a:pPr algn="ctr"/>
            <a:r>
              <a:rPr lang="en-US" sz="2400" cap="all" dirty="0">
                <a:solidFill>
                  <a:schemeClr val="accent1"/>
                </a:solidFill>
                <a:latin typeface="Avenir Medium"/>
              </a:rPr>
              <a:t>Project assignment</a:t>
            </a:r>
          </a:p>
        </p:txBody>
      </p:sp>
      <p:sp>
        <p:nvSpPr>
          <p:cNvPr id="93" name="Rechteck 92"/>
          <p:cNvSpPr/>
          <p:nvPr/>
        </p:nvSpPr>
        <p:spPr>
          <a:xfrm>
            <a:off x="17373401" y="3401584"/>
            <a:ext cx="3168000" cy="115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venir Medium"/>
              </a:rPr>
              <a:t>Bank logo,</a:t>
            </a:r>
            <a:br>
              <a:rPr lang="en-US" sz="2800" dirty="0">
                <a:solidFill>
                  <a:schemeClr val="tx1"/>
                </a:solidFill>
                <a:latin typeface="Avenir Medium"/>
              </a:rPr>
            </a:br>
            <a:r>
              <a:rPr lang="en-US" sz="2400" dirty="0">
                <a:solidFill>
                  <a:schemeClr val="tx1"/>
                </a:solidFill>
                <a:latin typeface="Avenir Medium"/>
              </a:rPr>
              <a:t>delete placeholder after insertion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7070421" y="3113585"/>
            <a:ext cx="10016192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5126" indent="-365126">
              <a:spcAft>
                <a:spcPts val="600"/>
              </a:spcAft>
              <a:buFont typeface="Wingdings 2" panose="05020102010507070707" pitchFamily="18" charset="2"/>
              <a:buChar char=""/>
            </a:pPr>
            <a:r>
              <a:rPr lang="en-US" sz="2800" dirty="0">
                <a:latin typeface="Avenir Medium"/>
              </a:rPr>
              <a:t>Text</a:t>
            </a:r>
          </a:p>
          <a:p>
            <a:pPr marL="365126" indent="-365126">
              <a:spcAft>
                <a:spcPts val="600"/>
              </a:spcAft>
              <a:buFont typeface="Wingdings 2" panose="05020102010507070707" pitchFamily="18" charset="2"/>
              <a:buChar char=""/>
            </a:pPr>
            <a:r>
              <a:rPr lang="en-US" sz="2800" dirty="0">
                <a:latin typeface="Avenir Medium"/>
              </a:rPr>
              <a:t>Text</a:t>
            </a:r>
          </a:p>
          <a:p>
            <a:pPr marL="365126" indent="-365126">
              <a:spcAft>
                <a:spcPts val="600"/>
              </a:spcAft>
              <a:buFont typeface="Wingdings 2" panose="05020102010507070707" pitchFamily="18" charset="2"/>
              <a:buChar char=""/>
            </a:pPr>
            <a:r>
              <a:rPr lang="en-US" sz="2800" dirty="0">
                <a:latin typeface="Avenir Medium"/>
              </a:rPr>
              <a:t>Text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4069837" y="8153769"/>
            <a:ext cx="2191475" cy="461665"/>
          </a:xfrm>
          <a:prstGeom prst="rect">
            <a:avLst/>
          </a:prstGeom>
          <a:noFill/>
        </p:spPr>
        <p:txBody>
          <a:bodyPr wrap="none" lIns="180000" rtlCol="0">
            <a:spAutoFit/>
          </a:bodyPr>
          <a:lstStyle/>
          <a:p>
            <a:pPr algn="ctr"/>
            <a:r>
              <a:rPr lang="en-US" sz="2400" cap="all" dirty="0">
                <a:solidFill>
                  <a:schemeClr val="accent1"/>
                </a:solidFill>
                <a:latin typeface="Avenir Medium"/>
              </a:rPr>
              <a:t>Role of UMCC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7070421" y="6425769"/>
            <a:ext cx="13615348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5126" indent="-365126">
              <a:spcAft>
                <a:spcPts val="600"/>
              </a:spcAft>
              <a:buFont typeface="Wingdings 2" panose="05020102010507070707" pitchFamily="18" charset="2"/>
              <a:buChar char=""/>
            </a:pPr>
            <a:r>
              <a:rPr lang="en-US" sz="2800" dirty="0">
                <a:latin typeface="Avenir Medium"/>
              </a:rPr>
              <a:t>Text</a:t>
            </a:r>
          </a:p>
          <a:p>
            <a:pPr marL="365126" indent="-365126">
              <a:spcAft>
                <a:spcPts val="600"/>
              </a:spcAft>
              <a:buFont typeface="Wingdings 2" panose="05020102010507070707" pitchFamily="18" charset="2"/>
              <a:buChar char=""/>
            </a:pPr>
            <a:r>
              <a:rPr lang="en-US" sz="2800" dirty="0">
                <a:latin typeface="Avenir Medium"/>
              </a:rPr>
              <a:t>Text</a:t>
            </a:r>
          </a:p>
          <a:p>
            <a:pPr marL="365126" indent="-365126">
              <a:spcAft>
                <a:spcPts val="600"/>
              </a:spcAft>
              <a:buFont typeface="Wingdings 2" panose="05020102010507070707" pitchFamily="18" charset="2"/>
              <a:buChar char=""/>
            </a:pPr>
            <a:r>
              <a:rPr lang="en-US" sz="2800" dirty="0">
                <a:latin typeface="Avenir Medium"/>
              </a:rPr>
              <a:t>Text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4128095" y="11754353"/>
            <a:ext cx="2074968" cy="461665"/>
          </a:xfrm>
          <a:prstGeom prst="rect">
            <a:avLst/>
          </a:prstGeom>
          <a:noFill/>
        </p:spPr>
        <p:txBody>
          <a:bodyPr wrap="none" lIns="180000" rtlCol="0">
            <a:spAutoFit/>
          </a:bodyPr>
          <a:lstStyle/>
          <a:p>
            <a:pPr algn="ctr"/>
            <a:r>
              <a:rPr lang="en-US" sz="2400" cap="all" dirty="0">
                <a:solidFill>
                  <a:schemeClr val="accent1"/>
                </a:solidFill>
                <a:latin typeface="Avenir Medium"/>
              </a:rPr>
              <a:t>Core results</a:t>
            </a:r>
          </a:p>
        </p:txBody>
      </p:sp>
      <p:pic>
        <p:nvPicPr>
          <p:cNvPr id="25" name="Grafik 24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1571" y="10026352"/>
            <a:ext cx="1728000" cy="1728000"/>
          </a:xfrm>
          <a:prstGeom prst="rect">
            <a:avLst/>
          </a:prstGeom>
        </p:spPr>
      </p:pic>
      <p:sp>
        <p:nvSpPr>
          <p:cNvPr id="28" name="Textfeld 27"/>
          <p:cNvSpPr txBox="1"/>
          <p:nvPr/>
        </p:nvSpPr>
        <p:spPr>
          <a:xfrm>
            <a:off x="7070421" y="9681409"/>
            <a:ext cx="13615348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5126">
              <a:spcAft>
                <a:spcPts val="1200"/>
              </a:spcAft>
            </a:pPr>
            <a:r>
              <a:rPr lang="en-US" sz="2800" dirty="0">
                <a:latin typeface="Avenir Medium"/>
              </a:rPr>
              <a:t>Text</a:t>
            </a:r>
          </a:p>
          <a:p>
            <a:pPr marL="365126">
              <a:spcAft>
                <a:spcPts val="1200"/>
              </a:spcAft>
            </a:pPr>
            <a:r>
              <a:rPr lang="en-US" sz="2800" dirty="0">
                <a:latin typeface="Avenir Medium"/>
              </a:rPr>
              <a:t>Text</a:t>
            </a:r>
          </a:p>
          <a:p>
            <a:pPr marL="365126">
              <a:spcAft>
                <a:spcPts val="1200"/>
              </a:spcAft>
            </a:pPr>
            <a:r>
              <a:rPr lang="en-US" sz="2800" dirty="0">
                <a:latin typeface="Avenir Medium"/>
              </a:rPr>
              <a:t>Text</a:t>
            </a:r>
          </a:p>
        </p:txBody>
      </p:sp>
      <p:pic>
        <p:nvPicPr>
          <p:cNvPr id="32" name="Grafik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01571" y="3113584"/>
            <a:ext cx="1728000" cy="172800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1571" y="6425768"/>
            <a:ext cx="1728000" cy="1728000"/>
          </a:xfrm>
          <a:prstGeom prst="rect">
            <a:avLst/>
          </a:prstGeom>
        </p:spPr>
      </p:pic>
      <p:grpSp>
        <p:nvGrpSpPr>
          <p:cNvPr id="3" name="Group 5">
            <a:extLst>
              <a:ext uri="{FF2B5EF4-FFF2-40B4-BE49-F238E27FC236}">
                <a16:creationId xmlns:a16="http://schemas.microsoft.com/office/drawing/2014/main" id="{8088622F-0DFD-49E0-B771-D7CB77951D4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40563" y="9728200"/>
            <a:ext cx="465137" cy="465138"/>
            <a:chOff x="4435" y="6152"/>
            <a:chExt cx="293" cy="293"/>
          </a:xfrm>
        </p:grpSpPr>
        <p:sp>
          <p:nvSpPr>
            <p:cNvPr id="6" name="AutoShape 4">
              <a:extLst>
                <a:ext uri="{FF2B5EF4-FFF2-40B4-BE49-F238E27FC236}">
                  <a16:creationId xmlns:a16="http://schemas.microsoft.com/office/drawing/2014/main" id="{EC8CACD8-82EB-4601-A1B7-1E782491E91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35" y="6152"/>
              <a:ext cx="293" cy="2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Avenir Medium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26155123-2750-48BD-9337-E9A668ECFE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0" y="6158"/>
              <a:ext cx="280" cy="281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Avenir Medium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92A95EEF-2D0F-4580-87A5-E9BD84DF54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0" y="6158"/>
              <a:ext cx="280" cy="281"/>
            </a:xfrm>
            <a:prstGeom prst="ellipse">
              <a:avLst/>
            </a:prstGeom>
            <a:noFill/>
            <a:ln w="2063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Avenir Medium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6BDCC943-C3A4-4D9A-B1C5-DF62F7391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5" y="6239"/>
              <a:ext cx="164" cy="108"/>
            </a:xfrm>
            <a:custGeom>
              <a:avLst/>
              <a:gdLst>
                <a:gd name="T0" fmla="*/ 0 w 164"/>
                <a:gd name="T1" fmla="*/ 58 h 108"/>
                <a:gd name="T2" fmla="*/ 53 w 164"/>
                <a:gd name="T3" fmla="*/ 108 h 108"/>
                <a:gd name="T4" fmla="*/ 164 w 164"/>
                <a:gd name="T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4" h="108">
                  <a:moveTo>
                    <a:pt x="0" y="58"/>
                  </a:moveTo>
                  <a:lnTo>
                    <a:pt x="53" y="108"/>
                  </a:lnTo>
                  <a:lnTo>
                    <a:pt x="164" y="0"/>
                  </a:lnTo>
                </a:path>
              </a:pathLst>
            </a:custGeom>
            <a:noFill/>
            <a:ln w="603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Avenir Medium"/>
              </a:endParaRPr>
            </a:p>
          </p:txBody>
        </p:sp>
      </p:grpSp>
      <p:grpSp>
        <p:nvGrpSpPr>
          <p:cNvPr id="10" name="Group 11">
            <a:extLst>
              <a:ext uri="{FF2B5EF4-FFF2-40B4-BE49-F238E27FC236}">
                <a16:creationId xmlns:a16="http://schemas.microsoft.com/office/drawing/2014/main" id="{7C8B87F7-D963-4548-8F6F-F2AB4C1F7E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40563" y="10310813"/>
            <a:ext cx="465137" cy="465137"/>
            <a:chOff x="4435" y="6525"/>
            <a:chExt cx="293" cy="293"/>
          </a:xfrm>
        </p:grpSpPr>
        <p:sp>
          <p:nvSpPr>
            <p:cNvPr id="12" name="AutoShape 10">
              <a:extLst>
                <a:ext uri="{FF2B5EF4-FFF2-40B4-BE49-F238E27FC236}">
                  <a16:creationId xmlns:a16="http://schemas.microsoft.com/office/drawing/2014/main" id="{F44F3E3E-DC59-44E5-8B16-128214BA95E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35" y="6525"/>
              <a:ext cx="293" cy="2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Avenir Medium"/>
              </a:endParaRPr>
            </a:p>
          </p:txBody>
        </p:sp>
        <p:sp>
          <p:nvSpPr>
            <p:cNvPr id="14" name="Oval 12">
              <a:extLst>
                <a:ext uri="{FF2B5EF4-FFF2-40B4-BE49-F238E27FC236}">
                  <a16:creationId xmlns:a16="http://schemas.microsoft.com/office/drawing/2014/main" id="{C22488A6-C15A-48A5-B80A-DBF59B1F84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0" y="6531"/>
              <a:ext cx="280" cy="281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Avenir Medium"/>
              </a:endParaRPr>
            </a:p>
          </p:txBody>
        </p:sp>
        <p:sp>
          <p:nvSpPr>
            <p:cNvPr id="17" name="Oval 13">
              <a:extLst>
                <a:ext uri="{FF2B5EF4-FFF2-40B4-BE49-F238E27FC236}">
                  <a16:creationId xmlns:a16="http://schemas.microsoft.com/office/drawing/2014/main" id="{55FD8F85-D8CF-455D-ACFF-FC556F1B43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0" y="6531"/>
              <a:ext cx="280" cy="281"/>
            </a:xfrm>
            <a:prstGeom prst="ellipse">
              <a:avLst/>
            </a:prstGeom>
            <a:noFill/>
            <a:ln w="2063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Avenir Medium"/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C5005F71-AF6E-4F2A-A9FF-C57F53B96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5" y="6612"/>
              <a:ext cx="164" cy="108"/>
            </a:xfrm>
            <a:custGeom>
              <a:avLst/>
              <a:gdLst>
                <a:gd name="T0" fmla="*/ 0 w 164"/>
                <a:gd name="T1" fmla="*/ 58 h 108"/>
                <a:gd name="T2" fmla="*/ 53 w 164"/>
                <a:gd name="T3" fmla="*/ 108 h 108"/>
                <a:gd name="T4" fmla="*/ 164 w 164"/>
                <a:gd name="T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4" h="108">
                  <a:moveTo>
                    <a:pt x="0" y="58"/>
                  </a:moveTo>
                  <a:lnTo>
                    <a:pt x="53" y="108"/>
                  </a:lnTo>
                  <a:lnTo>
                    <a:pt x="164" y="0"/>
                  </a:lnTo>
                </a:path>
              </a:pathLst>
            </a:custGeom>
            <a:noFill/>
            <a:ln w="603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Avenir Medium"/>
              </a:endParaRPr>
            </a:p>
          </p:txBody>
        </p:sp>
      </p:grpSp>
      <p:grpSp>
        <p:nvGrpSpPr>
          <p:cNvPr id="23" name="Group 17">
            <a:extLst>
              <a:ext uri="{FF2B5EF4-FFF2-40B4-BE49-F238E27FC236}">
                <a16:creationId xmlns:a16="http://schemas.microsoft.com/office/drawing/2014/main" id="{B0C1A6A5-29F8-47FF-B73D-D0E613A44A8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40563" y="10904538"/>
            <a:ext cx="465137" cy="465137"/>
            <a:chOff x="4435" y="6881"/>
            <a:chExt cx="293" cy="293"/>
          </a:xfrm>
        </p:grpSpPr>
        <p:sp>
          <p:nvSpPr>
            <p:cNvPr id="24" name="AutoShape 16">
              <a:extLst>
                <a:ext uri="{FF2B5EF4-FFF2-40B4-BE49-F238E27FC236}">
                  <a16:creationId xmlns:a16="http://schemas.microsoft.com/office/drawing/2014/main" id="{6911439B-D214-457E-A8B7-3378E7C42EF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35" y="6881"/>
              <a:ext cx="293" cy="2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Avenir Medium"/>
              </a:endParaRPr>
            </a:p>
          </p:txBody>
        </p:sp>
        <p:sp>
          <p:nvSpPr>
            <p:cNvPr id="26" name="Oval 18">
              <a:extLst>
                <a:ext uri="{FF2B5EF4-FFF2-40B4-BE49-F238E27FC236}">
                  <a16:creationId xmlns:a16="http://schemas.microsoft.com/office/drawing/2014/main" id="{15A2BA1F-4A27-425C-AAF8-149F23C684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0" y="6887"/>
              <a:ext cx="280" cy="281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Avenir Medium"/>
              </a:endParaRPr>
            </a:p>
          </p:txBody>
        </p:sp>
        <p:sp>
          <p:nvSpPr>
            <p:cNvPr id="27" name="Oval 19">
              <a:extLst>
                <a:ext uri="{FF2B5EF4-FFF2-40B4-BE49-F238E27FC236}">
                  <a16:creationId xmlns:a16="http://schemas.microsoft.com/office/drawing/2014/main" id="{A565486E-08C0-4F57-94F4-8F9344F28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0" y="6887"/>
              <a:ext cx="280" cy="281"/>
            </a:xfrm>
            <a:prstGeom prst="ellipse">
              <a:avLst/>
            </a:prstGeom>
            <a:noFill/>
            <a:ln w="2063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Avenir Medium"/>
              </a:endParaRPr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47BF0088-4CED-48EC-B4C9-17F698151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5" y="6968"/>
              <a:ext cx="164" cy="108"/>
            </a:xfrm>
            <a:custGeom>
              <a:avLst/>
              <a:gdLst>
                <a:gd name="T0" fmla="*/ 0 w 164"/>
                <a:gd name="T1" fmla="*/ 58 h 108"/>
                <a:gd name="T2" fmla="*/ 53 w 164"/>
                <a:gd name="T3" fmla="*/ 108 h 108"/>
                <a:gd name="T4" fmla="*/ 164 w 164"/>
                <a:gd name="T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4" h="108">
                  <a:moveTo>
                    <a:pt x="0" y="58"/>
                  </a:moveTo>
                  <a:lnTo>
                    <a:pt x="53" y="108"/>
                  </a:lnTo>
                  <a:lnTo>
                    <a:pt x="164" y="0"/>
                  </a:lnTo>
                </a:path>
              </a:pathLst>
            </a:custGeom>
            <a:noFill/>
            <a:ln w="603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Avenir Medium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087419363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venir Medium"/>
              </a:rPr>
              <a:t>Gestrichelte Kästen</a:t>
            </a:r>
          </a:p>
        </p:txBody>
      </p:sp>
      <p:sp>
        <p:nvSpPr>
          <p:cNvPr id="13" name="Rechteck 12"/>
          <p:cNvSpPr/>
          <p:nvPr/>
        </p:nvSpPr>
        <p:spPr>
          <a:xfrm>
            <a:off x="3260723" y="3834592"/>
            <a:ext cx="8640000" cy="8352000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dash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5126" indent="-365126">
              <a:spcAft>
                <a:spcPts val="1200"/>
              </a:spcAft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Text</a:t>
            </a:r>
          </a:p>
          <a:p>
            <a:pPr marL="365126" indent="-365126">
              <a:spcAft>
                <a:spcPts val="1200"/>
              </a:spcAft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Text</a:t>
            </a:r>
          </a:p>
          <a:p>
            <a:pPr marL="365126" indent="-365126">
              <a:spcAft>
                <a:spcPts val="1200"/>
              </a:spcAft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Text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3260726" y="3113584"/>
            <a:ext cx="2736946" cy="619915"/>
          </a:xfrm>
          <a:prstGeom prst="rect">
            <a:avLst/>
          </a:prstGeom>
          <a:noFill/>
        </p:spPr>
        <p:txBody>
          <a:bodyPr wrap="square" lIns="0" tIns="93600" rIns="0" bIns="93600" rtlCol="0">
            <a:spAutoFit/>
          </a:bodyPr>
          <a:lstStyle/>
          <a:p>
            <a:pPr defTabSz="1828800">
              <a:buClr>
                <a:schemeClr val="tx1"/>
              </a:buClr>
            </a:pPr>
            <a:r>
              <a:rPr lang="de-DE" sz="2800" dirty="0">
                <a:solidFill>
                  <a:schemeClr val="accent1"/>
                </a:solidFill>
                <a:latin typeface="Avenir Medium"/>
              </a:rPr>
              <a:t>ÜBERSCHRIFT</a:t>
            </a:r>
          </a:p>
        </p:txBody>
      </p:sp>
      <p:sp>
        <p:nvSpPr>
          <p:cNvPr id="15" name="Rechteck 14"/>
          <p:cNvSpPr/>
          <p:nvPr/>
        </p:nvSpPr>
        <p:spPr>
          <a:xfrm>
            <a:off x="12476925" y="3834592"/>
            <a:ext cx="8640000" cy="8352000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dash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5126" indent="-365126">
              <a:spcAft>
                <a:spcPts val="1200"/>
              </a:spcAft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Text</a:t>
            </a:r>
          </a:p>
          <a:p>
            <a:pPr marL="365126" indent="-365126">
              <a:spcAft>
                <a:spcPts val="1200"/>
              </a:spcAft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Text</a:t>
            </a:r>
          </a:p>
          <a:p>
            <a:pPr marL="365126" indent="-365126">
              <a:spcAft>
                <a:spcPts val="1200"/>
              </a:spcAft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Text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12476928" y="3113584"/>
            <a:ext cx="2736946" cy="619915"/>
          </a:xfrm>
          <a:prstGeom prst="rect">
            <a:avLst/>
          </a:prstGeom>
          <a:noFill/>
        </p:spPr>
        <p:txBody>
          <a:bodyPr wrap="square" lIns="0" tIns="93600" rIns="0" bIns="93600" rtlCol="0">
            <a:spAutoFit/>
          </a:bodyPr>
          <a:lstStyle/>
          <a:p>
            <a:pPr defTabSz="1828800">
              <a:buClr>
                <a:schemeClr val="tx1"/>
              </a:buClr>
            </a:pPr>
            <a:r>
              <a:rPr lang="de-DE" sz="2800" dirty="0">
                <a:solidFill>
                  <a:schemeClr val="accent1"/>
                </a:solidFill>
                <a:latin typeface="Avenir Medium"/>
              </a:rPr>
              <a:t>ÜBERSCHRIFT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12476925" y="3833665"/>
            <a:ext cx="49782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latin typeface="Avenir Medium"/>
              </a:rPr>
              <a:t>ÜBERSCHRIFT INNERHALB AUTOFOR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73955247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kt 60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2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Folie" r:id="rId31" imgW="270" imgH="270" progId="TCLayout.ActiveDocument.1">
                  <p:embed/>
                </p:oleObj>
              </mc:Choice>
              <mc:Fallback>
                <p:oleObj name="think-cell Folie" r:id="rId31" imgW="270" imgH="270" progId="TCLayout.ActiveDocument.1">
                  <p:embed/>
                  <p:pic>
                    <p:nvPicPr>
                      <p:cNvPr id="61" name="Objekt 60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3048002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Rechteck 59" hidden="1"/>
          <p:cNvSpPr/>
          <p:nvPr>
            <p:custDataLst>
              <p:tags r:id="rId4"/>
            </p:custDataLst>
          </p:nvPr>
        </p:nvSpPr>
        <p:spPr bwMode="auto">
          <a:xfrm>
            <a:off x="3044825" y="0"/>
            <a:ext cx="317500" cy="3175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20000"/>
                <a:lumOff val="8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ct val="100000"/>
            </a:pPr>
            <a:endParaRPr lang="en-US" sz="2400" b="1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venir Medium"/>
              </a:rPr>
              <a:t>Beispiel Diagramme – mit CAGR</a:t>
            </a:r>
          </a:p>
        </p:txBody>
      </p:sp>
      <p:cxnSp>
        <p:nvCxnSpPr>
          <p:cNvPr id="7" name="Gerader Verbinder 6"/>
          <p:cNvCxnSpPr/>
          <p:nvPr/>
        </p:nvCxnSpPr>
        <p:spPr>
          <a:xfrm flipH="1" flipV="1">
            <a:off x="3261617" y="7889240"/>
            <a:ext cx="17856200" cy="0"/>
          </a:xfrm>
          <a:prstGeom prst="line">
            <a:avLst/>
          </a:prstGeom>
          <a:ln w="1905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213101" y="10890250"/>
            <a:ext cx="1368000" cy="648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Ins="72000" bIns="72000" rtlCol="0" anchor="ctr"/>
          <a:lstStyle/>
          <a:p>
            <a:endParaRPr lang="en-US" sz="2000" b="1" dirty="0">
              <a:solidFill>
                <a:schemeClr val="tx1"/>
              </a:solidFill>
              <a:latin typeface="Avenir Medium"/>
            </a:endParaRPr>
          </a:p>
          <a:p>
            <a:endParaRPr lang="en-US" sz="2000" b="1" dirty="0">
              <a:solidFill>
                <a:schemeClr val="tx1"/>
              </a:solidFill>
              <a:latin typeface="Avenir Medium"/>
            </a:endParaRPr>
          </a:p>
          <a:p>
            <a:endParaRPr lang="en-US" sz="2000" b="1" dirty="0">
              <a:solidFill>
                <a:schemeClr val="tx1"/>
              </a:solidFill>
              <a:latin typeface="Avenir Medium"/>
            </a:endParaRPr>
          </a:p>
          <a:p>
            <a:endParaRPr lang="en-US" sz="2000" b="1" dirty="0">
              <a:solidFill>
                <a:schemeClr val="tx1"/>
              </a:solidFill>
              <a:latin typeface="Avenir Medium"/>
            </a:endParaRPr>
          </a:p>
          <a:p>
            <a:endParaRPr lang="en-US" sz="2000" b="1" dirty="0">
              <a:solidFill>
                <a:schemeClr val="tx1"/>
              </a:solidFill>
              <a:latin typeface="Avenir Medium"/>
            </a:endParaRPr>
          </a:p>
          <a:p>
            <a:endParaRPr lang="en-US" sz="2000" b="1" dirty="0">
              <a:solidFill>
                <a:schemeClr val="tx1"/>
              </a:solidFill>
              <a:latin typeface="Avenir Medium"/>
            </a:endParaRPr>
          </a:p>
          <a:p>
            <a:endParaRPr lang="en-US" sz="2000" b="1" dirty="0">
              <a:solidFill>
                <a:schemeClr val="tx1"/>
              </a:solidFill>
              <a:latin typeface="Avenir Medium"/>
            </a:endParaRPr>
          </a:p>
          <a:p>
            <a:endParaRPr lang="en-US" sz="2000" b="1" dirty="0">
              <a:solidFill>
                <a:schemeClr val="tx1"/>
              </a:solidFill>
              <a:latin typeface="Avenir Medium"/>
            </a:endParaRPr>
          </a:p>
          <a:p>
            <a:endParaRPr lang="en-US" sz="2000" b="1" dirty="0">
              <a:solidFill>
                <a:schemeClr val="tx1"/>
              </a:solidFill>
              <a:latin typeface="Avenir Medium"/>
            </a:endParaRPr>
          </a:p>
          <a:p>
            <a:endParaRPr lang="en-US" sz="2000" b="1" dirty="0">
              <a:solidFill>
                <a:schemeClr val="tx1"/>
              </a:solidFill>
              <a:latin typeface="Avenir Medium"/>
            </a:endParaRPr>
          </a:p>
          <a:p>
            <a:endParaRPr lang="en-US" sz="2000" b="1" dirty="0">
              <a:solidFill>
                <a:schemeClr val="tx1"/>
              </a:solidFill>
              <a:latin typeface="Avenir Medium"/>
            </a:endParaRPr>
          </a:p>
        </p:txBody>
      </p:sp>
      <p:cxnSp>
        <p:nvCxnSpPr>
          <p:cNvPr id="62" name="Gerader Verbinder 61"/>
          <p:cNvCxnSpPr/>
          <p:nvPr/>
        </p:nvCxnSpPr>
        <p:spPr>
          <a:xfrm>
            <a:off x="12188825" y="2825552"/>
            <a:ext cx="0" cy="9937948"/>
          </a:xfrm>
          <a:prstGeom prst="line">
            <a:avLst/>
          </a:prstGeom>
          <a:ln w="1905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feld 62"/>
          <p:cNvSpPr txBox="1"/>
          <p:nvPr/>
        </p:nvSpPr>
        <p:spPr>
          <a:xfrm>
            <a:off x="3260724" y="3257601"/>
            <a:ext cx="4758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latin typeface="Avenir Medium"/>
              </a:rPr>
              <a:t>ÜBERSCHRIFT DIAGRAMM – EINHEIT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12766880" y="3257601"/>
            <a:ext cx="4758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latin typeface="Avenir Medium"/>
              </a:rPr>
              <a:t>ÜBERSCHRIFT DIAGRAMM – EINHEIT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3260724" y="8120115"/>
            <a:ext cx="4758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latin typeface="Avenir Medium"/>
              </a:rPr>
              <a:t>ÜBERSCHRIFT DIAGRAMM – EINHEIT</a:t>
            </a:r>
          </a:p>
        </p:txBody>
      </p:sp>
      <p:sp>
        <p:nvSpPr>
          <p:cNvPr id="66" name="Textfeld 65"/>
          <p:cNvSpPr txBox="1"/>
          <p:nvPr/>
        </p:nvSpPr>
        <p:spPr>
          <a:xfrm>
            <a:off x="12766880" y="8120115"/>
            <a:ext cx="4758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latin typeface="Avenir Medium"/>
              </a:rPr>
              <a:t>ÜBERSCHRIFT DIAGRAMM – EINHEIT</a:t>
            </a:r>
          </a:p>
        </p:txBody>
      </p:sp>
      <p:graphicFrame>
        <p:nvGraphicFramePr>
          <p:cNvPr id="5" name="Objekt 66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73114610"/>
              </p:ext>
            </p:extLst>
          </p:nvPr>
        </p:nvGraphicFramePr>
        <p:xfrm>
          <a:off x="3248025" y="3860800"/>
          <a:ext cx="8661452" cy="3479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cxnSp>
        <p:nvCxnSpPr>
          <p:cNvPr id="6" name="Gerader Verbinder 5"/>
          <p:cNvCxnSpPr/>
          <p:nvPr>
            <p:custDataLst>
              <p:tags r:id="rId6"/>
            </p:custDataLst>
          </p:nvPr>
        </p:nvCxnSpPr>
        <p:spPr bwMode="gray">
          <a:xfrm flipV="1">
            <a:off x="4235452" y="3803651"/>
            <a:ext cx="5391150" cy="108585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platzhalter 1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934575" y="7245351"/>
            <a:ext cx="69850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5B667AAB-C75A-46BC-B2AA-C1FCE73A4430}" type="datetime'2''''''0''13'''">
              <a:rPr lang="en-US" altLang="en-US" sz="2400" b="1">
                <a:latin typeface="Avenir Medium"/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2400" b="1" dirty="0">
              <a:latin typeface="Avenir Medium"/>
              <a:sym typeface="+mn-lt"/>
            </a:endParaRPr>
          </a:p>
        </p:txBody>
      </p:sp>
      <p:sp>
        <p:nvSpPr>
          <p:cNvPr id="69" name="Textplatzhalter 1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239001" y="7245351"/>
            <a:ext cx="69850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B5C7EF6E-4A39-4496-B3D4-A41818129F06}" type="datetime'''''''2''''''''''''0''''''''''''''1''2'''''''">
              <a:rPr lang="en-US" altLang="en-US" sz="2400" b="1">
                <a:latin typeface="Avenir Medium"/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2400" b="1" dirty="0">
              <a:latin typeface="Avenir Medium"/>
              <a:sym typeface="+mn-lt"/>
            </a:endParaRPr>
          </a:p>
        </p:txBody>
      </p:sp>
      <p:sp>
        <p:nvSpPr>
          <p:cNvPr id="68" name="Textplatzhalter 1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52952" y="7245351"/>
            <a:ext cx="6826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7325812B-A0CF-4C7F-82D2-6966E7C58CE5}" type="datetime'''''20''''''''''''1''''''''''''1'''''''">
              <a:rPr lang="en-US" altLang="en-US" sz="2400" b="1">
                <a:latin typeface="Avenir Medium"/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2400" b="1" dirty="0">
              <a:latin typeface="Avenir Medium"/>
              <a:sym typeface="+mn-lt"/>
            </a:endParaRPr>
          </a:p>
        </p:txBody>
      </p:sp>
      <p:sp>
        <p:nvSpPr>
          <p:cNvPr id="37" name="Textplatzhalter 1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375402" y="4111626"/>
            <a:ext cx="1111250" cy="4699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accent3">
                <a:lumMod val="50000"/>
              </a:schemeClr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01AEB8CA-12D2-4973-9512-BD4768F5D518}" type="datetime'''+3''''3''''''''''''''''''''''''%'''">
              <a:rPr lang="en-US" altLang="en-US" sz="2400" b="1">
                <a:solidFill>
                  <a:schemeClr val="bg1"/>
                </a:solidFill>
                <a:latin typeface="Avenir Medium"/>
                <a:sym typeface="+mn-lt"/>
              </a:rPr>
              <a:pPr marL="0" lvl="1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+33%</a:t>
            </a:fld>
            <a:endParaRPr lang="en-US" sz="2400" b="1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graphicFrame>
        <p:nvGraphicFramePr>
          <p:cNvPr id="4" name="Objekt 7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39620833"/>
              </p:ext>
            </p:extLst>
          </p:nvPr>
        </p:nvGraphicFramePr>
        <p:xfrm>
          <a:off x="12239625" y="3860800"/>
          <a:ext cx="8718660" cy="3479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74" name="Textplatzhalter 1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8983325" y="7245351"/>
            <a:ext cx="69850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921A65C5-AE34-4810-BA31-69180EFDFFD2}" type="datetime'''''''''''''''''''''''20''''''''''''''''''1''''3'''''''''''''">
              <a:rPr lang="en-US" altLang="en-US" sz="2400" b="1">
                <a:latin typeface="Avenir Medium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2400" b="1" dirty="0">
              <a:latin typeface="Avenir Medium"/>
              <a:sym typeface="+mn-lt"/>
            </a:endParaRPr>
          </a:p>
        </p:txBody>
      </p:sp>
      <p:sp>
        <p:nvSpPr>
          <p:cNvPr id="73" name="Textplatzhalter 1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6287751" y="7245351"/>
            <a:ext cx="69850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128A11D-04E7-4326-BFBF-11226C94B83A}" type="datetime'''''''2''''''''''''''''0''1''''2'''''''''">
              <a:rPr lang="en-US" altLang="en-US" sz="2400" b="1">
                <a:latin typeface="Avenir Medium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2400" b="1" dirty="0">
              <a:latin typeface="Avenir Medium"/>
              <a:sym typeface="+mn-lt"/>
            </a:endParaRPr>
          </a:p>
        </p:txBody>
      </p:sp>
      <p:sp>
        <p:nvSpPr>
          <p:cNvPr id="75" name="Textplatzhalter 1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3601702" y="7245351"/>
            <a:ext cx="6826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D6F3A2F-67CD-4B3E-A5CC-A0B54418BD36}" type="datetime'''''''''''''''2''''0''''''''''''''''''''''''11'''">
              <a:rPr lang="en-US" altLang="en-US" sz="2400" b="1">
                <a:latin typeface="Avenir Medium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2400" b="1" dirty="0">
              <a:latin typeface="Avenir Medium"/>
              <a:sym typeface="+mn-lt"/>
            </a:endParaRPr>
          </a:p>
        </p:txBody>
      </p:sp>
      <p:graphicFrame>
        <p:nvGraphicFramePr>
          <p:cNvPr id="8" name="Objekt 75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54263412"/>
              </p:ext>
            </p:extLst>
          </p:nvPr>
        </p:nvGraphicFramePr>
        <p:xfrm>
          <a:off x="3248025" y="8737601"/>
          <a:ext cx="8661452" cy="3498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78" name="Textplatzhalter 1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934575" y="12160251"/>
            <a:ext cx="69850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EA66710-D5D1-4C43-A1E9-EC5F6D61C6E9}" type="datetime'''2''''''''''''''''''''''''''''''''''0''''''1''''3'''">
              <a:rPr lang="en-US" altLang="en-US" sz="2400" b="1">
                <a:latin typeface="Avenir Medium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2400" b="1" dirty="0">
              <a:latin typeface="Avenir Medium"/>
              <a:sym typeface="+mn-lt"/>
            </a:endParaRPr>
          </a:p>
        </p:txBody>
      </p:sp>
      <p:sp>
        <p:nvSpPr>
          <p:cNvPr id="77" name="Textplatzhalter 1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239001" y="12160251"/>
            <a:ext cx="69850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45171AF-1196-47C0-B1DA-BB45B8F08D5D}" type="datetime'''''''''20''''''''''1''''''''''''''''''''2'''''''''''''''">
              <a:rPr lang="en-US" altLang="en-US" sz="2400" b="1">
                <a:latin typeface="Avenir Medium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2400" b="1" dirty="0">
              <a:latin typeface="Avenir Medium"/>
              <a:sym typeface="+mn-lt"/>
            </a:endParaRPr>
          </a:p>
        </p:txBody>
      </p:sp>
      <p:sp>
        <p:nvSpPr>
          <p:cNvPr id="79" name="Textplatzhalter 1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552952" y="12160251"/>
            <a:ext cx="6826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00852CCC-E34A-424E-9B0D-F2BF7B6B8A97}" type="datetime'''2''''''''''''''''''0''''''''1''''''''''''''''''1'''''''''''">
              <a:rPr lang="en-US" altLang="en-US" sz="2400" b="1">
                <a:latin typeface="Avenir Medium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2400" b="1" dirty="0">
              <a:latin typeface="Avenir Medium"/>
              <a:sym typeface="+mn-lt"/>
            </a:endParaRPr>
          </a:p>
        </p:txBody>
      </p:sp>
      <p:graphicFrame>
        <p:nvGraphicFramePr>
          <p:cNvPr id="9" name="Objekt 79"/>
          <p:cNvGraphicFramePr>
            <a:graphicFrameLocks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134384599"/>
              </p:ext>
            </p:extLst>
          </p:nvPr>
        </p:nvGraphicFramePr>
        <p:xfrm>
          <a:off x="12239623" y="8737601"/>
          <a:ext cx="8718660" cy="3498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83" name="Textplatzhalter 1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601702" y="12160251"/>
            <a:ext cx="6826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4D0569E7-F1FC-4D18-8187-D851E1B84502}" type="datetime'''''''''''''''''''2''''''''0''''1''''1'''''''''''''''''">
              <a:rPr lang="en-US" altLang="en-US" sz="2400" b="1">
                <a:latin typeface="Avenir Medium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2400" b="1" dirty="0">
              <a:latin typeface="Avenir Medium"/>
              <a:sym typeface="+mn-lt"/>
            </a:endParaRPr>
          </a:p>
        </p:txBody>
      </p:sp>
      <p:sp>
        <p:nvSpPr>
          <p:cNvPr id="81" name="Textplatzhalter 1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6287751" y="12160251"/>
            <a:ext cx="69850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9D246600-0AF7-4BCF-B7B4-D29D45C99374}" type="datetime'''''2''''''''''''''''''''0''''''1''''''''''''''''2'''">
              <a:rPr lang="en-US" altLang="en-US" sz="2400" b="1">
                <a:latin typeface="Avenir Medium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2400" b="1" dirty="0">
              <a:latin typeface="Avenir Medium"/>
              <a:sym typeface="+mn-lt"/>
            </a:endParaRPr>
          </a:p>
        </p:txBody>
      </p:sp>
      <p:sp>
        <p:nvSpPr>
          <p:cNvPr id="82" name="Textplatzhalter 1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8983325" y="12160251"/>
            <a:ext cx="69850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224DE486-56F9-4EEA-8D31-CDA896F79C69}" type="datetime'''''''20''''''1''''''''''''''''''''''''''''3'''''''">
              <a:rPr lang="en-US" altLang="en-US" sz="2400" b="1">
                <a:latin typeface="Avenir Medium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2400" b="1" dirty="0">
              <a:latin typeface="Avenir Medium"/>
              <a:sym typeface="+mn-lt"/>
            </a:endParaRPr>
          </a:p>
        </p:txBody>
      </p:sp>
      <p:sp>
        <p:nvSpPr>
          <p:cNvPr id="88" name="Rechteck 87"/>
          <p:cNvSpPr/>
          <p:nvPr>
            <p:custDataLst>
              <p:tags r:id="rId23"/>
            </p:custDataLst>
          </p:nvPr>
        </p:nvSpPr>
        <p:spPr bwMode="auto">
          <a:xfrm>
            <a:off x="18319751" y="2456817"/>
            <a:ext cx="428624" cy="32067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>
                    <a:lumMod val="20000"/>
                    <a:lumOff val="8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8776" indent="-358776" algn="ctr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87" name="Rechteck 86"/>
          <p:cNvSpPr/>
          <p:nvPr>
            <p:custDataLst>
              <p:tags r:id="rId24"/>
            </p:custDataLst>
          </p:nvPr>
        </p:nvSpPr>
        <p:spPr bwMode="auto">
          <a:xfrm>
            <a:off x="16878301" y="2456816"/>
            <a:ext cx="428624" cy="32067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>
                    <a:lumMod val="20000"/>
                    <a:lumOff val="8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8776" indent="-358776" algn="ctr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89" name="Rechteck 88"/>
          <p:cNvSpPr/>
          <p:nvPr>
            <p:custDataLst>
              <p:tags r:id="rId25"/>
            </p:custDataLst>
          </p:nvPr>
        </p:nvSpPr>
        <p:spPr bwMode="auto">
          <a:xfrm>
            <a:off x="19761201" y="2456816"/>
            <a:ext cx="428624" cy="32067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27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8776" indent="-358776" algn="ctr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86" name="Textplatzhalter 1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0291426" y="2447291"/>
            <a:ext cx="7080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F0FA7846-6E96-4DC0-A202-4370EBAC6F2F}" type="datetime'''''''''''''''''''''''''S''''''''''e''''''''r''i''''''''e'''">
              <a:rPr lang="en-US" altLang="en-US" sz="2400">
                <a:latin typeface="Avenir Medium"/>
              </a:rPr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84" name="Textplatzhalter 1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8849976" y="2447291"/>
            <a:ext cx="7080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D4871193-1374-49EE-BA15-11FBA00C3608}" type="datetime'''S''''''''''e''''''''''''ri''''''''''''e'''''''''''''">
              <a:rPr lang="en-US" altLang="en-US" sz="2400">
                <a:latin typeface="Avenir Medium"/>
              </a:rPr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85" name="Textplatzhalter 1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7408526" y="2447291"/>
            <a:ext cx="7080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DD2AAD15-FC32-42C6-B86F-E56923451422}" type="datetime'''''S''e''''''''''''''''''''ri''e'''''''''''''''">
              <a:rPr lang="en-US" altLang="en-US" sz="2400">
                <a:latin typeface="Avenir Medium"/>
              </a:rPr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en-US" sz="2400" dirty="0">
              <a:latin typeface="Avenir Medium"/>
              <a:sym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675865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396F307F-2F39-4C2D-B192-D9128236624C}"/>
              </a:ext>
            </a:extLst>
          </p:cNvPr>
          <p:cNvGrpSpPr/>
          <p:nvPr/>
        </p:nvGrpSpPr>
        <p:grpSpPr>
          <a:xfrm>
            <a:off x="-8702" y="0"/>
            <a:ext cx="24377650" cy="13716000"/>
            <a:chOff x="0" y="-455295"/>
            <a:chExt cx="24377650" cy="14626590"/>
          </a:xfrm>
        </p:grpSpPr>
        <p:pic>
          <p:nvPicPr>
            <p:cNvPr id="1028" name="Picture 4" descr="Algorithm leverages Titan supercomputer to create high-performing deep neural networks">
              <a:extLst>
                <a:ext uri="{FF2B5EF4-FFF2-40B4-BE49-F238E27FC236}">
                  <a16:creationId xmlns:a16="http://schemas.microsoft.com/office/drawing/2014/main" id="{EFA6635A-CF18-4867-A2E3-534BB42BFE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455295"/>
              <a:ext cx="24377650" cy="146265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9D46434C-2DBA-4116-A73A-31F9C768F5AC}"/>
                </a:ext>
              </a:extLst>
            </p:cNvPr>
            <p:cNvSpPr/>
            <p:nvPr/>
          </p:nvSpPr>
          <p:spPr>
            <a:xfrm>
              <a:off x="0" y="-455295"/>
              <a:ext cx="24377650" cy="14626590"/>
            </a:xfrm>
            <a:prstGeom prst="rect">
              <a:avLst/>
            </a:prstGeom>
            <a:solidFill>
              <a:schemeClr val="bg1">
                <a:lumMod val="95000"/>
                <a:alpha val="8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venir Medium"/>
              </a:endParaRPr>
            </a:p>
          </p:txBody>
        </p:sp>
      </p:grpSp>
      <p:sp>
        <p:nvSpPr>
          <p:cNvPr id="36" name="Freeform 44">
            <a:extLst>
              <a:ext uri="{FF2B5EF4-FFF2-40B4-BE49-F238E27FC236}">
                <a16:creationId xmlns:a16="http://schemas.microsoft.com/office/drawing/2014/main" id="{8D56D7DD-E4BF-4893-898A-3FFFBEEA29C3}"/>
              </a:ext>
            </a:extLst>
          </p:cNvPr>
          <p:cNvSpPr/>
          <p:nvPr/>
        </p:nvSpPr>
        <p:spPr>
          <a:xfrm>
            <a:off x="644340" y="8042001"/>
            <a:ext cx="10732886" cy="890019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QUANNECTION STRATEGY</a:t>
            </a:r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B93CBFA2-EC7D-432C-BFC0-CE94D03E87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340" y="9408402"/>
            <a:ext cx="4106564" cy="3505807"/>
          </a:xfrm>
          <a:prstGeom prst="ellipse">
            <a:avLst/>
          </a:prstGeom>
          <a:ln w="3175" cap="rnd">
            <a:solidFill>
              <a:schemeClr val="accent1">
                <a:lumMod val="60000"/>
                <a:lumOff val="40000"/>
              </a:schemeClr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55" name="Picture 2" descr="Bildergebnis fÃ¼r network">
            <a:extLst>
              <a:ext uri="{FF2B5EF4-FFF2-40B4-BE49-F238E27FC236}">
                <a16:creationId xmlns:a16="http://schemas.microsoft.com/office/drawing/2014/main" id="{1563F95F-A667-488D-A41C-FAEB6BB1EF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7051" y="10399640"/>
            <a:ext cx="1520886" cy="1523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" descr="Bildergebnis fÃ¼r company">
            <a:extLst>
              <a:ext uri="{FF2B5EF4-FFF2-40B4-BE49-F238E27FC236}">
                <a16:creationId xmlns:a16="http://schemas.microsoft.com/office/drawing/2014/main" id="{C6F6D8F6-E22C-4FEE-8B76-42046C5ACCBC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39"/>
          <a:stretch/>
        </p:blipFill>
        <p:spPr bwMode="auto">
          <a:xfrm>
            <a:off x="6904084" y="9408402"/>
            <a:ext cx="4107600" cy="3506400"/>
          </a:xfrm>
          <a:prstGeom prst="ellipse">
            <a:avLst/>
          </a:prstGeom>
          <a:ln w="3175" cap="rnd">
            <a:solidFill>
              <a:schemeClr val="accent1">
                <a:lumMod val="60000"/>
                <a:lumOff val="40000"/>
              </a:schemeClr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CE4E1AB-2DDC-49ED-8E74-7BF5B5B68117}"/>
              </a:ext>
            </a:extLst>
          </p:cNvPr>
          <p:cNvGrpSpPr/>
          <p:nvPr/>
        </p:nvGrpSpPr>
        <p:grpSpPr>
          <a:xfrm>
            <a:off x="761436" y="2312307"/>
            <a:ext cx="1925840" cy="4678465"/>
            <a:chOff x="4499748" y="1150993"/>
            <a:chExt cx="1925840" cy="4678465"/>
          </a:xfrm>
        </p:grpSpPr>
        <p:sp>
          <p:nvSpPr>
            <p:cNvPr id="29" name="Shape 2801">
              <a:extLst>
                <a:ext uri="{FF2B5EF4-FFF2-40B4-BE49-F238E27FC236}">
                  <a16:creationId xmlns:a16="http://schemas.microsoft.com/office/drawing/2014/main" id="{0DE2B426-2DD6-4744-86B9-1185F5CC8FDD}"/>
                </a:ext>
              </a:extLst>
            </p:cNvPr>
            <p:cNvSpPr/>
            <p:nvPr/>
          </p:nvSpPr>
          <p:spPr>
            <a:xfrm>
              <a:off x="4499748" y="1150993"/>
              <a:ext cx="1925840" cy="10505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58" y="9506"/>
                  </a:moveTo>
                  <a:lnTo>
                    <a:pt x="11671" y="10299"/>
                  </a:lnTo>
                  <a:lnTo>
                    <a:pt x="9907" y="10299"/>
                  </a:lnTo>
                  <a:cubicBezTo>
                    <a:pt x="9902" y="10340"/>
                    <a:pt x="9900" y="10398"/>
                    <a:pt x="9900" y="10472"/>
                  </a:cubicBezTo>
                  <a:lnTo>
                    <a:pt x="9900" y="10757"/>
                  </a:lnTo>
                  <a:cubicBezTo>
                    <a:pt x="9900" y="10972"/>
                    <a:pt x="9902" y="11100"/>
                    <a:pt x="9907" y="11141"/>
                  </a:cubicBezTo>
                  <a:lnTo>
                    <a:pt x="11570" y="11141"/>
                  </a:lnTo>
                  <a:lnTo>
                    <a:pt x="11390" y="11921"/>
                  </a:lnTo>
                  <a:lnTo>
                    <a:pt x="9943" y="11921"/>
                  </a:lnTo>
                  <a:cubicBezTo>
                    <a:pt x="10001" y="12589"/>
                    <a:pt x="10123" y="13114"/>
                    <a:pt x="10311" y="13494"/>
                  </a:cubicBezTo>
                  <a:cubicBezTo>
                    <a:pt x="10527" y="13964"/>
                    <a:pt x="10819" y="14199"/>
                    <a:pt x="11189" y="14199"/>
                  </a:cubicBezTo>
                  <a:cubicBezTo>
                    <a:pt x="11429" y="14199"/>
                    <a:pt x="11628" y="14134"/>
                    <a:pt x="11786" y="14001"/>
                  </a:cubicBezTo>
                  <a:cubicBezTo>
                    <a:pt x="11930" y="13878"/>
                    <a:pt x="12093" y="13671"/>
                    <a:pt x="12276" y="13382"/>
                  </a:cubicBezTo>
                  <a:lnTo>
                    <a:pt x="12276" y="14756"/>
                  </a:lnTo>
                  <a:cubicBezTo>
                    <a:pt x="11949" y="15119"/>
                    <a:pt x="11587" y="15301"/>
                    <a:pt x="11189" y="15301"/>
                  </a:cubicBezTo>
                  <a:cubicBezTo>
                    <a:pt x="10546" y="15301"/>
                    <a:pt x="10044" y="14963"/>
                    <a:pt x="9683" y="14287"/>
                  </a:cubicBezTo>
                  <a:cubicBezTo>
                    <a:pt x="9372" y="13700"/>
                    <a:pt x="9177" y="12912"/>
                    <a:pt x="9100" y="11921"/>
                  </a:cubicBezTo>
                  <a:lnTo>
                    <a:pt x="8546" y="11921"/>
                  </a:lnTo>
                  <a:lnTo>
                    <a:pt x="8740" y="11141"/>
                  </a:lnTo>
                  <a:lnTo>
                    <a:pt x="9065" y="11141"/>
                  </a:lnTo>
                  <a:cubicBezTo>
                    <a:pt x="9060" y="11083"/>
                    <a:pt x="9056" y="11022"/>
                    <a:pt x="9054" y="10955"/>
                  </a:cubicBezTo>
                  <a:cubicBezTo>
                    <a:pt x="9051" y="10889"/>
                    <a:pt x="9050" y="10819"/>
                    <a:pt x="9050" y="10744"/>
                  </a:cubicBezTo>
                  <a:cubicBezTo>
                    <a:pt x="9050" y="10687"/>
                    <a:pt x="9051" y="10620"/>
                    <a:pt x="9054" y="10547"/>
                  </a:cubicBezTo>
                  <a:cubicBezTo>
                    <a:pt x="9056" y="10472"/>
                    <a:pt x="9060" y="10389"/>
                    <a:pt x="9065" y="10299"/>
                  </a:cubicBezTo>
                  <a:lnTo>
                    <a:pt x="8546" y="10299"/>
                  </a:lnTo>
                  <a:lnTo>
                    <a:pt x="8734" y="9506"/>
                  </a:lnTo>
                  <a:lnTo>
                    <a:pt x="9115" y="9506"/>
                  </a:lnTo>
                  <a:cubicBezTo>
                    <a:pt x="9235" y="8557"/>
                    <a:pt x="9453" y="7806"/>
                    <a:pt x="9770" y="7253"/>
                  </a:cubicBezTo>
                  <a:cubicBezTo>
                    <a:pt x="10140" y="6617"/>
                    <a:pt x="10612" y="6299"/>
                    <a:pt x="11189" y="6299"/>
                  </a:cubicBezTo>
                  <a:cubicBezTo>
                    <a:pt x="11606" y="6299"/>
                    <a:pt x="12034" y="6555"/>
                    <a:pt x="12470" y="7066"/>
                  </a:cubicBezTo>
                  <a:lnTo>
                    <a:pt x="12139" y="8193"/>
                  </a:lnTo>
                  <a:cubicBezTo>
                    <a:pt x="11832" y="7666"/>
                    <a:pt x="11496" y="7401"/>
                    <a:pt x="11131" y="7401"/>
                  </a:cubicBezTo>
                  <a:cubicBezTo>
                    <a:pt x="10809" y="7401"/>
                    <a:pt x="10541" y="7620"/>
                    <a:pt x="10325" y="8058"/>
                  </a:cubicBezTo>
                  <a:cubicBezTo>
                    <a:pt x="10142" y="8445"/>
                    <a:pt x="10020" y="8929"/>
                    <a:pt x="9957" y="9506"/>
                  </a:cubicBezTo>
                  <a:cubicBezTo>
                    <a:pt x="9957" y="9506"/>
                    <a:pt x="11858" y="9506"/>
                    <a:pt x="11858" y="9506"/>
                  </a:cubicBezTo>
                  <a:close/>
                  <a:moveTo>
                    <a:pt x="10800" y="3601"/>
                  </a:moveTo>
                  <a:cubicBezTo>
                    <a:pt x="8631" y="3601"/>
                    <a:pt x="6873" y="6824"/>
                    <a:pt x="6873" y="10799"/>
                  </a:cubicBezTo>
                  <a:cubicBezTo>
                    <a:pt x="6873" y="14777"/>
                    <a:pt x="8631" y="18000"/>
                    <a:pt x="10800" y="18000"/>
                  </a:cubicBezTo>
                  <a:cubicBezTo>
                    <a:pt x="12969" y="18000"/>
                    <a:pt x="14727" y="14777"/>
                    <a:pt x="14727" y="10799"/>
                  </a:cubicBezTo>
                  <a:cubicBezTo>
                    <a:pt x="14727" y="6824"/>
                    <a:pt x="12969" y="3601"/>
                    <a:pt x="10800" y="3601"/>
                  </a:cubicBezTo>
                  <a:moveTo>
                    <a:pt x="5400" y="3601"/>
                  </a:moveTo>
                  <a:lnTo>
                    <a:pt x="4418" y="3601"/>
                  </a:lnTo>
                  <a:cubicBezTo>
                    <a:pt x="4147" y="3601"/>
                    <a:pt x="3927" y="4003"/>
                    <a:pt x="3927" y="4501"/>
                  </a:cubicBezTo>
                  <a:cubicBezTo>
                    <a:pt x="3927" y="4998"/>
                    <a:pt x="4147" y="5401"/>
                    <a:pt x="4418" y="5401"/>
                  </a:cubicBezTo>
                  <a:lnTo>
                    <a:pt x="5400" y="5401"/>
                  </a:lnTo>
                  <a:cubicBezTo>
                    <a:pt x="5671" y="5401"/>
                    <a:pt x="5891" y="4998"/>
                    <a:pt x="5891" y="4501"/>
                  </a:cubicBezTo>
                  <a:cubicBezTo>
                    <a:pt x="5891" y="4003"/>
                    <a:pt x="5671" y="3601"/>
                    <a:pt x="5400" y="3601"/>
                  </a:cubicBezTo>
                  <a:moveTo>
                    <a:pt x="17182" y="16199"/>
                  </a:moveTo>
                  <a:lnTo>
                    <a:pt x="16200" y="16199"/>
                  </a:lnTo>
                  <a:cubicBezTo>
                    <a:pt x="15929" y="16199"/>
                    <a:pt x="15709" y="16603"/>
                    <a:pt x="15709" y="17100"/>
                  </a:cubicBezTo>
                  <a:cubicBezTo>
                    <a:pt x="15709" y="17597"/>
                    <a:pt x="15929" y="18000"/>
                    <a:pt x="16200" y="18000"/>
                  </a:cubicBezTo>
                  <a:lnTo>
                    <a:pt x="17182" y="18000"/>
                  </a:lnTo>
                  <a:cubicBezTo>
                    <a:pt x="17453" y="18000"/>
                    <a:pt x="17673" y="17597"/>
                    <a:pt x="17673" y="17100"/>
                  </a:cubicBezTo>
                  <a:cubicBezTo>
                    <a:pt x="17673" y="16603"/>
                    <a:pt x="17453" y="16199"/>
                    <a:pt x="17182" y="16199"/>
                  </a:cubicBezTo>
                  <a:moveTo>
                    <a:pt x="20127" y="3601"/>
                  </a:moveTo>
                  <a:cubicBezTo>
                    <a:pt x="19856" y="3601"/>
                    <a:pt x="19636" y="3198"/>
                    <a:pt x="19636" y="2701"/>
                  </a:cubicBezTo>
                  <a:cubicBezTo>
                    <a:pt x="19636" y="2203"/>
                    <a:pt x="19856" y="1800"/>
                    <a:pt x="20127" y="1800"/>
                  </a:cubicBezTo>
                  <a:cubicBezTo>
                    <a:pt x="20398" y="1800"/>
                    <a:pt x="20618" y="2203"/>
                    <a:pt x="20618" y="2701"/>
                  </a:cubicBezTo>
                  <a:cubicBezTo>
                    <a:pt x="20618" y="3198"/>
                    <a:pt x="20398" y="3601"/>
                    <a:pt x="20127" y="3601"/>
                  </a:cubicBezTo>
                  <a:moveTo>
                    <a:pt x="20618" y="16365"/>
                  </a:moveTo>
                  <a:cubicBezTo>
                    <a:pt x="20464" y="16264"/>
                    <a:pt x="20300" y="16199"/>
                    <a:pt x="20127" y="16199"/>
                  </a:cubicBezTo>
                  <a:cubicBezTo>
                    <a:pt x="19314" y="16199"/>
                    <a:pt x="18655" y="17409"/>
                    <a:pt x="18655" y="18900"/>
                  </a:cubicBezTo>
                  <a:cubicBezTo>
                    <a:pt x="18655" y="19217"/>
                    <a:pt x="18689" y="19517"/>
                    <a:pt x="18744" y="19800"/>
                  </a:cubicBezTo>
                  <a:lnTo>
                    <a:pt x="2855" y="19800"/>
                  </a:lnTo>
                  <a:cubicBezTo>
                    <a:pt x="2910" y="19517"/>
                    <a:pt x="2945" y="19217"/>
                    <a:pt x="2945" y="18900"/>
                  </a:cubicBezTo>
                  <a:cubicBezTo>
                    <a:pt x="2945" y="17409"/>
                    <a:pt x="2286" y="16199"/>
                    <a:pt x="1473" y="16199"/>
                  </a:cubicBezTo>
                  <a:cubicBezTo>
                    <a:pt x="1299" y="16199"/>
                    <a:pt x="1136" y="16264"/>
                    <a:pt x="982" y="16365"/>
                  </a:cubicBezTo>
                  <a:lnTo>
                    <a:pt x="982" y="5235"/>
                  </a:lnTo>
                  <a:cubicBezTo>
                    <a:pt x="1136" y="5336"/>
                    <a:pt x="1299" y="5401"/>
                    <a:pt x="1473" y="5401"/>
                  </a:cubicBezTo>
                  <a:cubicBezTo>
                    <a:pt x="2286" y="5401"/>
                    <a:pt x="2945" y="4192"/>
                    <a:pt x="2945" y="2701"/>
                  </a:cubicBezTo>
                  <a:cubicBezTo>
                    <a:pt x="2945" y="2383"/>
                    <a:pt x="2910" y="2083"/>
                    <a:pt x="2855" y="1800"/>
                  </a:cubicBezTo>
                  <a:lnTo>
                    <a:pt x="18744" y="1800"/>
                  </a:lnTo>
                  <a:cubicBezTo>
                    <a:pt x="18689" y="2083"/>
                    <a:pt x="18655" y="2383"/>
                    <a:pt x="18655" y="2701"/>
                  </a:cubicBezTo>
                  <a:cubicBezTo>
                    <a:pt x="18655" y="4192"/>
                    <a:pt x="19314" y="5401"/>
                    <a:pt x="20127" y="5401"/>
                  </a:cubicBezTo>
                  <a:cubicBezTo>
                    <a:pt x="20300" y="5401"/>
                    <a:pt x="20464" y="5336"/>
                    <a:pt x="20618" y="5235"/>
                  </a:cubicBezTo>
                  <a:cubicBezTo>
                    <a:pt x="20618" y="5235"/>
                    <a:pt x="20618" y="16365"/>
                    <a:pt x="20618" y="16365"/>
                  </a:cubicBezTo>
                  <a:close/>
                  <a:moveTo>
                    <a:pt x="20127" y="19800"/>
                  </a:moveTo>
                  <a:cubicBezTo>
                    <a:pt x="19856" y="19800"/>
                    <a:pt x="19636" y="19397"/>
                    <a:pt x="19636" y="18900"/>
                  </a:cubicBezTo>
                  <a:cubicBezTo>
                    <a:pt x="19636" y="18402"/>
                    <a:pt x="19856" y="18000"/>
                    <a:pt x="20127" y="18000"/>
                  </a:cubicBezTo>
                  <a:cubicBezTo>
                    <a:pt x="20398" y="18000"/>
                    <a:pt x="20618" y="18402"/>
                    <a:pt x="20618" y="18900"/>
                  </a:cubicBezTo>
                  <a:cubicBezTo>
                    <a:pt x="20618" y="19397"/>
                    <a:pt x="20398" y="19800"/>
                    <a:pt x="20127" y="19800"/>
                  </a:cubicBezTo>
                  <a:moveTo>
                    <a:pt x="1473" y="19800"/>
                  </a:moveTo>
                  <a:cubicBezTo>
                    <a:pt x="1202" y="19800"/>
                    <a:pt x="982" y="19397"/>
                    <a:pt x="982" y="18900"/>
                  </a:cubicBezTo>
                  <a:cubicBezTo>
                    <a:pt x="982" y="18402"/>
                    <a:pt x="1202" y="18000"/>
                    <a:pt x="1473" y="18000"/>
                  </a:cubicBezTo>
                  <a:cubicBezTo>
                    <a:pt x="1744" y="18000"/>
                    <a:pt x="1964" y="18402"/>
                    <a:pt x="1964" y="18900"/>
                  </a:cubicBezTo>
                  <a:cubicBezTo>
                    <a:pt x="1964" y="19397"/>
                    <a:pt x="1744" y="19800"/>
                    <a:pt x="1473" y="19800"/>
                  </a:cubicBezTo>
                  <a:moveTo>
                    <a:pt x="1473" y="1800"/>
                  </a:moveTo>
                  <a:cubicBezTo>
                    <a:pt x="1744" y="1800"/>
                    <a:pt x="1964" y="2203"/>
                    <a:pt x="1964" y="2701"/>
                  </a:cubicBezTo>
                  <a:cubicBezTo>
                    <a:pt x="1964" y="3198"/>
                    <a:pt x="1744" y="3601"/>
                    <a:pt x="1473" y="3601"/>
                  </a:cubicBezTo>
                  <a:cubicBezTo>
                    <a:pt x="1202" y="3601"/>
                    <a:pt x="982" y="3198"/>
                    <a:pt x="982" y="2701"/>
                  </a:cubicBezTo>
                  <a:cubicBezTo>
                    <a:pt x="982" y="2203"/>
                    <a:pt x="1202" y="1800"/>
                    <a:pt x="1473" y="1800"/>
                  </a:cubicBezTo>
                  <a:moveTo>
                    <a:pt x="20618" y="0"/>
                  </a:moveTo>
                  <a:lnTo>
                    <a:pt x="982" y="0"/>
                  </a:lnTo>
                  <a:cubicBezTo>
                    <a:pt x="439" y="0"/>
                    <a:pt x="0" y="806"/>
                    <a:pt x="0" y="1800"/>
                  </a:cubicBezTo>
                  <a:lnTo>
                    <a:pt x="0" y="19800"/>
                  </a:lnTo>
                  <a:cubicBezTo>
                    <a:pt x="0" y="20793"/>
                    <a:pt x="439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0793"/>
                    <a:pt x="21600" y="19800"/>
                  </a:cubicBezTo>
                  <a:lnTo>
                    <a:pt x="21600" y="1800"/>
                  </a:lnTo>
                  <a:cubicBezTo>
                    <a:pt x="21600" y="806"/>
                    <a:pt x="21160" y="0"/>
                    <a:pt x="20618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>
              <a:miter lim="400000"/>
            </a:ln>
          </p:spPr>
          <p:txBody>
            <a:bodyPr lIns="38090" tIns="38090" rIns="38090" bIns="38090" anchor="ctr"/>
            <a:lstStyle/>
            <a:p>
              <a:pPr defTabSz="457079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999">
                <a:latin typeface="Avenir Medium"/>
              </a:endParaRPr>
            </a:p>
          </p:txBody>
        </p:sp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AAFE1679-2987-4221-B2B7-545AF9C3A705}"/>
                </a:ext>
              </a:extLst>
            </p:cNvPr>
            <p:cNvGrpSpPr/>
            <p:nvPr/>
          </p:nvGrpSpPr>
          <p:grpSpPr>
            <a:xfrm>
              <a:off x="4952072" y="2548503"/>
              <a:ext cx="983641" cy="1482309"/>
              <a:chOff x="17429241" y="4961225"/>
              <a:chExt cx="983641" cy="1482309"/>
            </a:xfrm>
          </p:grpSpPr>
          <p:sp>
            <p:nvSpPr>
              <p:cNvPr id="31" name="Freeform 35">
                <a:extLst>
                  <a:ext uri="{FF2B5EF4-FFF2-40B4-BE49-F238E27FC236}">
                    <a16:creationId xmlns:a16="http://schemas.microsoft.com/office/drawing/2014/main" id="{F292E017-8B95-40CB-8899-CED6A1CA2E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429241" y="4961225"/>
                <a:ext cx="983641" cy="1139817"/>
              </a:xfrm>
              <a:custGeom>
                <a:avLst/>
                <a:gdLst/>
                <a:ahLst/>
                <a:cxnLst>
                  <a:cxn ang="0">
                    <a:pos x="76" y="176"/>
                  </a:cxn>
                  <a:cxn ang="0">
                    <a:pos x="44" y="176"/>
                  </a:cxn>
                  <a:cxn ang="0">
                    <a:pos x="40" y="173"/>
                  </a:cxn>
                  <a:cxn ang="0">
                    <a:pos x="40" y="152"/>
                  </a:cxn>
                  <a:cxn ang="0">
                    <a:pos x="29" y="131"/>
                  </a:cxn>
                  <a:cxn ang="0">
                    <a:pos x="5" y="85"/>
                  </a:cxn>
                  <a:cxn ang="0">
                    <a:pos x="65" y="6"/>
                  </a:cxn>
                  <a:cxn ang="0">
                    <a:pos x="146" y="62"/>
                  </a:cxn>
                  <a:cxn ang="0">
                    <a:pos x="123" y="131"/>
                  </a:cxn>
                  <a:cxn ang="0">
                    <a:pos x="112" y="153"/>
                  </a:cxn>
                  <a:cxn ang="0">
                    <a:pos x="112" y="174"/>
                  </a:cxn>
                  <a:cxn ang="0">
                    <a:pos x="109" y="176"/>
                  </a:cxn>
                  <a:cxn ang="0">
                    <a:pos x="76" y="176"/>
                  </a:cxn>
                  <a:cxn ang="0">
                    <a:pos x="76" y="29"/>
                  </a:cxn>
                  <a:cxn ang="0">
                    <a:pos x="76" y="22"/>
                  </a:cxn>
                  <a:cxn ang="0">
                    <a:pos x="74" y="20"/>
                  </a:cxn>
                  <a:cxn ang="0">
                    <a:pos x="35" y="38"/>
                  </a:cxn>
                  <a:cxn ang="0">
                    <a:pos x="20" y="74"/>
                  </a:cxn>
                  <a:cxn ang="0">
                    <a:pos x="23" y="77"/>
                  </a:cxn>
                  <a:cxn ang="0">
                    <a:pos x="34" y="77"/>
                  </a:cxn>
                  <a:cxn ang="0">
                    <a:pos x="36" y="75"/>
                  </a:cxn>
                  <a:cxn ang="0">
                    <a:pos x="39" y="63"/>
                  </a:cxn>
                  <a:cxn ang="0">
                    <a:pos x="74" y="37"/>
                  </a:cxn>
                  <a:cxn ang="0">
                    <a:pos x="76" y="34"/>
                  </a:cxn>
                  <a:cxn ang="0">
                    <a:pos x="76" y="29"/>
                  </a:cxn>
                </a:cxnLst>
                <a:rect l="0" t="0" r="r" b="b"/>
                <a:pathLst>
                  <a:path w="152" h="176">
                    <a:moveTo>
                      <a:pt x="76" y="176"/>
                    </a:moveTo>
                    <a:cubicBezTo>
                      <a:pt x="65" y="176"/>
                      <a:pt x="54" y="176"/>
                      <a:pt x="44" y="176"/>
                    </a:cubicBezTo>
                    <a:cubicBezTo>
                      <a:pt x="40" y="176"/>
                      <a:pt x="40" y="176"/>
                      <a:pt x="40" y="173"/>
                    </a:cubicBezTo>
                    <a:cubicBezTo>
                      <a:pt x="40" y="166"/>
                      <a:pt x="40" y="159"/>
                      <a:pt x="40" y="152"/>
                    </a:cubicBezTo>
                    <a:cubicBezTo>
                      <a:pt x="39" y="144"/>
                      <a:pt x="35" y="136"/>
                      <a:pt x="29" y="131"/>
                    </a:cubicBezTo>
                    <a:cubicBezTo>
                      <a:pt x="15" y="119"/>
                      <a:pt x="7" y="103"/>
                      <a:pt x="5" y="85"/>
                    </a:cubicBezTo>
                    <a:cubicBezTo>
                      <a:pt x="0" y="47"/>
                      <a:pt x="27" y="12"/>
                      <a:pt x="65" y="6"/>
                    </a:cubicBezTo>
                    <a:cubicBezTo>
                      <a:pt x="103" y="0"/>
                      <a:pt x="139" y="25"/>
                      <a:pt x="146" y="62"/>
                    </a:cubicBezTo>
                    <a:cubicBezTo>
                      <a:pt x="152" y="89"/>
                      <a:pt x="143" y="113"/>
                      <a:pt x="123" y="131"/>
                    </a:cubicBezTo>
                    <a:cubicBezTo>
                      <a:pt x="116" y="137"/>
                      <a:pt x="113" y="145"/>
                      <a:pt x="112" y="153"/>
                    </a:cubicBezTo>
                    <a:cubicBezTo>
                      <a:pt x="112" y="160"/>
                      <a:pt x="112" y="167"/>
                      <a:pt x="112" y="174"/>
                    </a:cubicBezTo>
                    <a:cubicBezTo>
                      <a:pt x="112" y="176"/>
                      <a:pt x="111" y="176"/>
                      <a:pt x="109" y="176"/>
                    </a:cubicBezTo>
                    <a:cubicBezTo>
                      <a:pt x="98" y="176"/>
                      <a:pt x="87" y="176"/>
                      <a:pt x="76" y="176"/>
                    </a:cubicBezTo>
                    <a:close/>
                    <a:moveTo>
                      <a:pt x="76" y="29"/>
                    </a:moveTo>
                    <a:cubicBezTo>
                      <a:pt x="76" y="27"/>
                      <a:pt x="76" y="25"/>
                      <a:pt x="76" y="22"/>
                    </a:cubicBezTo>
                    <a:cubicBezTo>
                      <a:pt x="76" y="21"/>
                      <a:pt x="76" y="20"/>
                      <a:pt x="74" y="20"/>
                    </a:cubicBezTo>
                    <a:cubicBezTo>
                      <a:pt x="59" y="21"/>
                      <a:pt x="46" y="27"/>
                      <a:pt x="35" y="38"/>
                    </a:cubicBezTo>
                    <a:cubicBezTo>
                      <a:pt x="26" y="48"/>
                      <a:pt x="21" y="60"/>
                      <a:pt x="20" y="74"/>
                    </a:cubicBezTo>
                    <a:cubicBezTo>
                      <a:pt x="20" y="76"/>
                      <a:pt x="21" y="77"/>
                      <a:pt x="23" y="77"/>
                    </a:cubicBezTo>
                    <a:cubicBezTo>
                      <a:pt x="26" y="77"/>
                      <a:pt x="30" y="77"/>
                      <a:pt x="34" y="77"/>
                    </a:cubicBezTo>
                    <a:cubicBezTo>
                      <a:pt x="36" y="77"/>
                      <a:pt x="36" y="76"/>
                      <a:pt x="36" y="75"/>
                    </a:cubicBezTo>
                    <a:cubicBezTo>
                      <a:pt x="37" y="71"/>
                      <a:pt x="37" y="67"/>
                      <a:pt x="39" y="63"/>
                    </a:cubicBezTo>
                    <a:cubicBezTo>
                      <a:pt x="44" y="48"/>
                      <a:pt x="58" y="38"/>
                      <a:pt x="74" y="37"/>
                    </a:cubicBezTo>
                    <a:cubicBezTo>
                      <a:pt x="76" y="37"/>
                      <a:pt x="76" y="36"/>
                      <a:pt x="76" y="34"/>
                    </a:cubicBezTo>
                    <a:cubicBezTo>
                      <a:pt x="76" y="32"/>
                      <a:pt x="76" y="31"/>
                      <a:pt x="76" y="29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>
                  <a:latin typeface="Avenir Medium"/>
                </a:endParaRPr>
              </a:p>
            </p:txBody>
          </p:sp>
          <p:sp>
            <p:nvSpPr>
              <p:cNvPr id="32" name="Freeform 36">
                <a:extLst>
                  <a:ext uri="{FF2B5EF4-FFF2-40B4-BE49-F238E27FC236}">
                    <a16:creationId xmlns:a16="http://schemas.microsoft.com/office/drawing/2014/main" id="{F49BD5B4-16F5-48D6-BBC7-D0804E1D6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81316" y="6158580"/>
                <a:ext cx="474011" cy="284954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5" y="12"/>
                  </a:cxn>
                  <a:cxn ang="0">
                    <a:pos x="5" y="8"/>
                  </a:cxn>
                  <a:cxn ang="0">
                    <a:pos x="1" y="7"/>
                  </a:cxn>
                  <a:cxn ang="0">
                    <a:pos x="1" y="1"/>
                  </a:cxn>
                  <a:cxn ang="0">
                    <a:pos x="3" y="0"/>
                  </a:cxn>
                  <a:cxn ang="0">
                    <a:pos x="5" y="0"/>
                  </a:cxn>
                  <a:cxn ang="0">
                    <a:pos x="69" y="0"/>
                  </a:cxn>
                  <a:cxn ang="0">
                    <a:pos x="73" y="3"/>
                  </a:cxn>
                  <a:cxn ang="0">
                    <a:pos x="73" y="5"/>
                  </a:cxn>
                  <a:cxn ang="0">
                    <a:pos x="71" y="7"/>
                  </a:cxn>
                  <a:cxn ang="0">
                    <a:pos x="69" y="9"/>
                  </a:cxn>
                  <a:cxn ang="0">
                    <a:pos x="69" y="13"/>
                  </a:cxn>
                  <a:cxn ang="0">
                    <a:pos x="71" y="16"/>
                  </a:cxn>
                  <a:cxn ang="0">
                    <a:pos x="73" y="18"/>
                  </a:cxn>
                  <a:cxn ang="0">
                    <a:pos x="62" y="31"/>
                  </a:cxn>
                  <a:cxn ang="0">
                    <a:pos x="61" y="32"/>
                  </a:cxn>
                  <a:cxn ang="0">
                    <a:pos x="60" y="35"/>
                  </a:cxn>
                  <a:cxn ang="0">
                    <a:pos x="49" y="43"/>
                  </a:cxn>
                  <a:cxn ang="0">
                    <a:pos x="25" y="43"/>
                  </a:cxn>
                  <a:cxn ang="0">
                    <a:pos x="13" y="33"/>
                  </a:cxn>
                  <a:cxn ang="0">
                    <a:pos x="12" y="31"/>
                  </a:cxn>
                  <a:cxn ang="0">
                    <a:pos x="2" y="16"/>
                  </a:cxn>
                </a:cxnLst>
                <a:rect l="0" t="0" r="r" b="b"/>
                <a:pathLst>
                  <a:path w="73" h="44">
                    <a:moveTo>
                      <a:pt x="2" y="16"/>
                    </a:moveTo>
                    <a:cubicBezTo>
                      <a:pt x="5" y="16"/>
                      <a:pt x="5" y="16"/>
                      <a:pt x="5" y="12"/>
                    </a:cubicBezTo>
                    <a:cubicBezTo>
                      <a:pt x="5" y="11"/>
                      <a:pt x="5" y="9"/>
                      <a:pt x="5" y="8"/>
                    </a:cubicBezTo>
                    <a:cubicBezTo>
                      <a:pt x="4" y="8"/>
                      <a:pt x="3" y="7"/>
                      <a:pt x="1" y="7"/>
                    </a:cubicBezTo>
                    <a:cubicBezTo>
                      <a:pt x="1" y="5"/>
                      <a:pt x="1" y="3"/>
                      <a:pt x="1" y="1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26" y="0"/>
                      <a:pt x="48" y="0"/>
                      <a:pt x="69" y="0"/>
                    </a:cubicBezTo>
                    <a:cubicBezTo>
                      <a:pt x="73" y="0"/>
                      <a:pt x="73" y="0"/>
                      <a:pt x="73" y="3"/>
                    </a:cubicBezTo>
                    <a:cubicBezTo>
                      <a:pt x="73" y="4"/>
                      <a:pt x="73" y="5"/>
                      <a:pt x="73" y="5"/>
                    </a:cubicBezTo>
                    <a:cubicBezTo>
                      <a:pt x="73" y="7"/>
                      <a:pt x="72" y="8"/>
                      <a:pt x="71" y="7"/>
                    </a:cubicBezTo>
                    <a:cubicBezTo>
                      <a:pt x="69" y="7"/>
                      <a:pt x="69" y="8"/>
                      <a:pt x="69" y="9"/>
                    </a:cubicBezTo>
                    <a:cubicBezTo>
                      <a:pt x="69" y="11"/>
                      <a:pt x="69" y="12"/>
                      <a:pt x="69" y="13"/>
                    </a:cubicBezTo>
                    <a:cubicBezTo>
                      <a:pt x="69" y="15"/>
                      <a:pt x="69" y="16"/>
                      <a:pt x="71" y="16"/>
                    </a:cubicBezTo>
                    <a:cubicBezTo>
                      <a:pt x="72" y="16"/>
                      <a:pt x="73" y="17"/>
                      <a:pt x="73" y="18"/>
                    </a:cubicBezTo>
                    <a:cubicBezTo>
                      <a:pt x="73" y="25"/>
                      <a:pt x="69" y="30"/>
                      <a:pt x="62" y="31"/>
                    </a:cubicBezTo>
                    <a:cubicBezTo>
                      <a:pt x="62" y="32"/>
                      <a:pt x="61" y="32"/>
                      <a:pt x="61" y="32"/>
                    </a:cubicBezTo>
                    <a:cubicBezTo>
                      <a:pt x="61" y="33"/>
                      <a:pt x="61" y="34"/>
                      <a:pt x="60" y="35"/>
                    </a:cubicBezTo>
                    <a:cubicBezTo>
                      <a:pt x="59" y="40"/>
                      <a:pt x="54" y="43"/>
                      <a:pt x="49" y="43"/>
                    </a:cubicBezTo>
                    <a:cubicBezTo>
                      <a:pt x="41" y="44"/>
                      <a:pt x="33" y="44"/>
                      <a:pt x="25" y="43"/>
                    </a:cubicBezTo>
                    <a:cubicBezTo>
                      <a:pt x="19" y="43"/>
                      <a:pt x="14" y="39"/>
                      <a:pt x="13" y="33"/>
                    </a:cubicBezTo>
                    <a:cubicBezTo>
                      <a:pt x="13" y="32"/>
                      <a:pt x="13" y="32"/>
                      <a:pt x="12" y="31"/>
                    </a:cubicBezTo>
                    <a:cubicBezTo>
                      <a:pt x="4" y="30"/>
                      <a:pt x="0" y="24"/>
                      <a:pt x="2" y="16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>
                  <a:latin typeface="Avenir Medium"/>
                </a:endParaRPr>
              </a:p>
            </p:txBody>
          </p:sp>
        </p:grpSp>
        <p:sp>
          <p:nvSpPr>
            <p:cNvPr id="34" name="Freeform 74">
              <a:extLst>
                <a:ext uri="{FF2B5EF4-FFF2-40B4-BE49-F238E27FC236}">
                  <a16:creationId xmlns:a16="http://schemas.microsoft.com/office/drawing/2014/main" id="{DEAFBB35-150D-41E5-9B71-F5C28FFB00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3597" y="4377792"/>
              <a:ext cx="1208628" cy="1451666"/>
            </a:xfrm>
            <a:custGeom>
              <a:avLst/>
              <a:gdLst/>
              <a:ahLst/>
              <a:cxnLst>
                <a:cxn ang="0">
                  <a:pos x="1160" y="629"/>
                </a:cxn>
                <a:cxn ang="0">
                  <a:pos x="985" y="688"/>
                </a:cxn>
                <a:cxn ang="0">
                  <a:pos x="835" y="791"/>
                </a:cxn>
                <a:cxn ang="0">
                  <a:pos x="718" y="932"/>
                </a:cxn>
                <a:cxn ang="0">
                  <a:pos x="643" y="1099"/>
                </a:cxn>
                <a:cxn ang="0">
                  <a:pos x="616" y="1288"/>
                </a:cxn>
                <a:cxn ang="0">
                  <a:pos x="643" y="1477"/>
                </a:cxn>
                <a:cxn ang="0">
                  <a:pos x="718" y="1645"/>
                </a:cxn>
                <a:cxn ang="0">
                  <a:pos x="835" y="1784"/>
                </a:cxn>
                <a:cxn ang="0">
                  <a:pos x="985" y="1887"/>
                </a:cxn>
                <a:cxn ang="0">
                  <a:pos x="1160" y="1948"/>
                </a:cxn>
                <a:cxn ang="0">
                  <a:pos x="1353" y="1957"/>
                </a:cxn>
                <a:cxn ang="0">
                  <a:pos x="1536" y="1913"/>
                </a:cxn>
                <a:cxn ang="0">
                  <a:pos x="1694" y="1823"/>
                </a:cxn>
                <a:cxn ang="0">
                  <a:pos x="1823" y="1695"/>
                </a:cxn>
                <a:cxn ang="0">
                  <a:pos x="1914" y="1535"/>
                </a:cxn>
                <a:cxn ang="0">
                  <a:pos x="1957" y="1353"/>
                </a:cxn>
                <a:cxn ang="0">
                  <a:pos x="1948" y="1161"/>
                </a:cxn>
                <a:cxn ang="0">
                  <a:pos x="1888" y="985"/>
                </a:cxn>
                <a:cxn ang="0">
                  <a:pos x="1784" y="835"/>
                </a:cxn>
                <a:cxn ang="0">
                  <a:pos x="1644" y="719"/>
                </a:cxn>
                <a:cxn ang="0">
                  <a:pos x="1477" y="643"/>
                </a:cxn>
                <a:cxn ang="0">
                  <a:pos x="1288" y="616"/>
                </a:cxn>
                <a:cxn ang="0">
                  <a:pos x="1452" y="11"/>
                </a:cxn>
                <a:cxn ang="0">
                  <a:pos x="1694" y="66"/>
                </a:cxn>
                <a:cxn ang="0">
                  <a:pos x="1924" y="168"/>
                </a:cxn>
                <a:cxn ang="0">
                  <a:pos x="2134" y="317"/>
                </a:cxn>
                <a:cxn ang="0">
                  <a:pos x="2314" y="509"/>
                </a:cxn>
                <a:cxn ang="0">
                  <a:pos x="2448" y="726"/>
                </a:cxn>
                <a:cxn ang="0">
                  <a:pos x="2534" y="961"/>
                </a:cxn>
                <a:cxn ang="0">
                  <a:pos x="2574" y="1205"/>
                </a:cxn>
                <a:cxn ang="0">
                  <a:pos x="2565" y="1453"/>
                </a:cxn>
                <a:cxn ang="0">
                  <a:pos x="2511" y="1694"/>
                </a:cxn>
                <a:cxn ang="0">
                  <a:pos x="2409" y="1924"/>
                </a:cxn>
                <a:cxn ang="0">
                  <a:pos x="2259" y="2134"/>
                </a:cxn>
                <a:cxn ang="0">
                  <a:pos x="377" y="2199"/>
                </a:cxn>
                <a:cxn ang="0">
                  <a:pos x="212" y="1997"/>
                </a:cxn>
                <a:cxn ang="0">
                  <a:pos x="94" y="1772"/>
                </a:cxn>
                <a:cxn ang="0">
                  <a:pos x="24" y="1534"/>
                </a:cxn>
                <a:cxn ang="0">
                  <a:pos x="0" y="1288"/>
                </a:cxn>
                <a:cxn ang="0">
                  <a:pos x="24" y="1042"/>
                </a:cxn>
                <a:cxn ang="0">
                  <a:pos x="94" y="803"/>
                </a:cxn>
                <a:cxn ang="0">
                  <a:pos x="212" y="580"/>
                </a:cxn>
                <a:cxn ang="0">
                  <a:pos x="377" y="378"/>
                </a:cxn>
                <a:cxn ang="0">
                  <a:pos x="579" y="213"/>
                </a:cxn>
                <a:cxn ang="0">
                  <a:pos x="804" y="94"/>
                </a:cxn>
                <a:cxn ang="0">
                  <a:pos x="1041" y="24"/>
                </a:cxn>
                <a:cxn ang="0">
                  <a:pos x="1287" y="0"/>
                </a:cxn>
              </a:cxnLst>
              <a:rect l="0" t="0" r="r" b="b"/>
              <a:pathLst>
                <a:path w="2576" h="3095">
                  <a:moveTo>
                    <a:pt x="1288" y="616"/>
                  </a:moveTo>
                  <a:lnTo>
                    <a:pt x="1223" y="619"/>
                  </a:lnTo>
                  <a:lnTo>
                    <a:pt x="1160" y="629"/>
                  </a:lnTo>
                  <a:lnTo>
                    <a:pt x="1099" y="643"/>
                  </a:lnTo>
                  <a:lnTo>
                    <a:pt x="1040" y="663"/>
                  </a:lnTo>
                  <a:lnTo>
                    <a:pt x="985" y="688"/>
                  </a:lnTo>
                  <a:lnTo>
                    <a:pt x="932" y="719"/>
                  </a:lnTo>
                  <a:lnTo>
                    <a:pt x="882" y="753"/>
                  </a:lnTo>
                  <a:lnTo>
                    <a:pt x="835" y="791"/>
                  </a:lnTo>
                  <a:lnTo>
                    <a:pt x="792" y="835"/>
                  </a:lnTo>
                  <a:lnTo>
                    <a:pt x="753" y="882"/>
                  </a:lnTo>
                  <a:lnTo>
                    <a:pt x="718" y="932"/>
                  </a:lnTo>
                  <a:lnTo>
                    <a:pt x="688" y="985"/>
                  </a:lnTo>
                  <a:lnTo>
                    <a:pt x="662" y="1040"/>
                  </a:lnTo>
                  <a:lnTo>
                    <a:pt x="643" y="1099"/>
                  </a:lnTo>
                  <a:lnTo>
                    <a:pt x="628" y="1161"/>
                  </a:lnTo>
                  <a:lnTo>
                    <a:pt x="619" y="1224"/>
                  </a:lnTo>
                  <a:lnTo>
                    <a:pt x="616" y="1288"/>
                  </a:lnTo>
                  <a:lnTo>
                    <a:pt x="619" y="1353"/>
                  </a:lnTo>
                  <a:lnTo>
                    <a:pt x="628" y="1416"/>
                  </a:lnTo>
                  <a:lnTo>
                    <a:pt x="643" y="1477"/>
                  </a:lnTo>
                  <a:lnTo>
                    <a:pt x="662" y="1535"/>
                  </a:lnTo>
                  <a:lnTo>
                    <a:pt x="688" y="1592"/>
                  </a:lnTo>
                  <a:lnTo>
                    <a:pt x="718" y="1645"/>
                  </a:lnTo>
                  <a:lnTo>
                    <a:pt x="753" y="1695"/>
                  </a:lnTo>
                  <a:lnTo>
                    <a:pt x="792" y="1742"/>
                  </a:lnTo>
                  <a:lnTo>
                    <a:pt x="835" y="1784"/>
                  </a:lnTo>
                  <a:lnTo>
                    <a:pt x="882" y="1823"/>
                  </a:lnTo>
                  <a:lnTo>
                    <a:pt x="932" y="1858"/>
                  </a:lnTo>
                  <a:lnTo>
                    <a:pt x="985" y="1887"/>
                  </a:lnTo>
                  <a:lnTo>
                    <a:pt x="1040" y="1913"/>
                  </a:lnTo>
                  <a:lnTo>
                    <a:pt x="1099" y="1933"/>
                  </a:lnTo>
                  <a:lnTo>
                    <a:pt x="1160" y="1948"/>
                  </a:lnTo>
                  <a:lnTo>
                    <a:pt x="1223" y="1957"/>
                  </a:lnTo>
                  <a:lnTo>
                    <a:pt x="1288" y="1960"/>
                  </a:lnTo>
                  <a:lnTo>
                    <a:pt x="1353" y="1957"/>
                  </a:lnTo>
                  <a:lnTo>
                    <a:pt x="1416" y="1948"/>
                  </a:lnTo>
                  <a:lnTo>
                    <a:pt x="1477" y="1933"/>
                  </a:lnTo>
                  <a:lnTo>
                    <a:pt x="1536" y="1913"/>
                  </a:lnTo>
                  <a:lnTo>
                    <a:pt x="1591" y="1887"/>
                  </a:lnTo>
                  <a:lnTo>
                    <a:pt x="1644" y="1858"/>
                  </a:lnTo>
                  <a:lnTo>
                    <a:pt x="1694" y="1823"/>
                  </a:lnTo>
                  <a:lnTo>
                    <a:pt x="1741" y="1784"/>
                  </a:lnTo>
                  <a:lnTo>
                    <a:pt x="1784" y="1742"/>
                  </a:lnTo>
                  <a:lnTo>
                    <a:pt x="1823" y="1695"/>
                  </a:lnTo>
                  <a:lnTo>
                    <a:pt x="1858" y="1645"/>
                  </a:lnTo>
                  <a:lnTo>
                    <a:pt x="1888" y="1592"/>
                  </a:lnTo>
                  <a:lnTo>
                    <a:pt x="1914" y="1535"/>
                  </a:lnTo>
                  <a:lnTo>
                    <a:pt x="1933" y="1477"/>
                  </a:lnTo>
                  <a:lnTo>
                    <a:pt x="1948" y="1416"/>
                  </a:lnTo>
                  <a:lnTo>
                    <a:pt x="1957" y="1353"/>
                  </a:lnTo>
                  <a:lnTo>
                    <a:pt x="1960" y="1288"/>
                  </a:lnTo>
                  <a:lnTo>
                    <a:pt x="1957" y="1224"/>
                  </a:lnTo>
                  <a:lnTo>
                    <a:pt x="1948" y="1161"/>
                  </a:lnTo>
                  <a:lnTo>
                    <a:pt x="1933" y="1099"/>
                  </a:lnTo>
                  <a:lnTo>
                    <a:pt x="1914" y="1040"/>
                  </a:lnTo>
                  <a:lnTo>
                    <a:pt x="1888" y="985"/>
                  </a:lnTo>
                  <a:lnTo>
                    <a:pt x="1858" y="932"/>
                  </a:lnTo>
                  <a:lnTo>
                    <a:pt x="1823" y="882"/>
                  </a:lnTo>
                  <a:lnTo>
                    <a:pt x="1784" y="835"/>
                  </a:lnTo>
                  <a:lnTo>
                    <a:pt x="1741" y="791"/>
                  </a:lnTo>
                  <a:lnTo>
                    <a:pt x="1694" y="753"/>
                  </a:lnTo>
                  <a:lnTo>
                    <a:pt x="1644" y="719"/>
                  </a:lnTo>
                  <a:lnTo>
                    <a:pt x="1591" y="688"/>
                  </a:lnTo>
                  <a:lnTo>
                    <a:pt x="1536" y="663"/>
                  </a:lnTo>
                  <a:lnTo>
                    <a:pt x="1477" y="643"/>
                  </a:lnTo>
                  <a:lnTo>
                    <a:pt x="1416" y="629"/>
                  </a:lnTo>
                  <a:lnTo>
                    <a:pt x="1353" y="619"/>
                  </a:lnTo>
                  <a:lnTo>
                    <a:pt x="1288" y="616"/>
                  </a:lnTo>
                  <a:close/>
                  <a:moveTo>
                    <a:pt x="1287" y="0"/>
                  </a:moveTo>
                  <a:lnTo>
                    <a:pt x="1371" y="3"/>
                  </a:lnTo>
                  <a:lnTo>
                    <a:pt x="1452" y="11"/>
                  </a:lnTo>
                  <a:lnTo>
                    <a:pt x="1535" y="24"/>
                  </a:lnTo>
                  <a:lnTo>
                    <a:pt x="1615" y="42"/>
                  </a:lnTo>
                  <a:lnTo>
                    <a:pt x="1694" y="66"/>
                  </a:lnTo>
                  <a:lnTo>
                    <a:pt x="1772" y="94"/>
                  </a:lnTo>
                  <a:lnTo>
                    <a:pt x="1849" y="128"/>
                  </a:lnTo>
                  <a:lnTo>
                    <a:pt x="1924" y="168"/>
                  </a:lnTo>
                  <a:lnTo>
                    <a:pt x="1997" y="213"/>
                  </a:lnTo>
                  <a:lnTo>
                    <a:pt x="2067" y="261"/>
                  </a:lnTo>
                  <a:lnTo>
                    <a:pt x="2134" y="317"/>
                  </a:lnTo>
                  <a:lnTo>
                    <a:pt x="2199" y="378"/>
                  </a:lnTo>
                  <a:lnTo>
                    <a:pt x="2259" y="442"/>
                  </a:lnTo>
                  <a:lnTo>
                    <a:pt x="2314" y="509"/>
                  </a:lnTo>
                  <a:lnTo>
                    <a:pt x="2364" y="580"/>
                  </a:lnTo>
                  <a:lnTo>
                    <a:pt x="2409" y="651"/>
                  </a:lnTo>
                  <a:lnTo>
                    <a:pt x="2448" y="726"/>
                  </a:lnTo>
                  <a:lnTo>
                    <a:pt x="2482" y="803"/>
                  </a:lnTo>
                  <a:lnTo>
                    <a:pt x="2511" y="882"/>
                  </a:lnTo>
                  <a:lnTo>
                    <a:pt x="2534" y="961"/>
                  </a:lnTo>
                  <a:lnTo>
                    <a:pt x="2552" y="1042"/>
                  </a:lnTo>
                  <a:lnTo>
                    <a:pt x="2565" y="1124"/>
                  </a:lnTo>
                  <a:lnTo>
                    <a:pt x="2574" y="1205"/>
                  </a:lnTo>
                  <a:lnTo>
                    <a:pt x="2576" y="1288"/>
                  </a:lnTo>
                  <a:lnTo>
                    <a:pt x="2574" y="1370"/>
                  </a:lnTo>
                  <a:lnTo>
                    <a:pt x="2565" y="1453"/>
                  </a:lnTo>
                  <a:lnTo>
                    <a:pt x="2552" y="1534"/>
                  </a:lnTo>
                  <a:lnTo>
                    <a:pt x="2534" y="1615"/>
                  </a:lnTo>
                  <a:lnTo>
                    <a:pt x="2511" y="1694"/>
                  </a:lnTo>
                  <a:lnTo>
                    <a:pt x="2482" y="1772"/>
                  </a:lnTo>
                  <a:lnTo>
                    <a:pt x="2448" y="1849"/>
                  </a:lnTo>
                  <a:lnTo>
                    <a:pt x="2409" y="1924"/>
                  </a:lnTo>
                  <a:lnTo>
                    <a:pt x="2364" y="1997"/>
                  </a:lnTo>
                  <a:lnTo>
                    <a:pt x="2314" y="2067"/>
                  </a:lnTo>
                  <a:lnTo>
                    <a:pt x="2259" y="2134"/>
                  </a:lnTo>
                  <a:lnTo>
                    <a:pt x="2199" y="2199"/>
                  </a:lnTo>
                  <a:lnTo>
                    <a:pt x="1288" y="3095"/>
                  </a:lnTo>
                  <a:lnTo>
                    <a:pt x="377" y="2199"/>
                  </a:lnTo>
                  <a:lnTo>
                    <a:pt x="317" y="2134"/>
                  </a:lnTo>
                  <a:lnTo>
                    <a:pt x="262" y="2067"/>
                  </a:lnTo>
                  <a:lnTo>
                    <a:pt x="212" y="1997"/>
                  </a:lnTo>
                  <a:lnTo>
                    <a:pt x="167" y="1924"/>
                  </a:lnTo>
                  <a:lnTo>
                    <a:pt x="128" y="1849"/>
                  </a:lnTo>
                  <a:lnTo>
                    <a:pt x="94" y="1772"/>
                  </a:lnTo>
                  <a:lnTo>
                    <a:pt x="65" y="1694"/>
                  </a:lnTo>
                  <a:lnTo>
                    <a:pt x="42" y="1615"/>
                  </a:lnTo>
                  <a:lnTo>
                    <a:pt x="24" y="1534"/>
                  </a:lnTo>
                  <a:lnTo>
                    <a:pt x="11" y="1453"/>
                  </a:lnTo>
                  <a:lnTo>
                    <a:pt x="2" y="1370"/>
                  </a:lnTo>
                  <a:lnTo>
                    <a:pt x="0" y="1288"/>
                  </a:lnTo>
                  <a:lnTo>
                    <a:pt x="2" y="1205"/>
                  </a:lnTo>
                  <a:lnTo>
                    <a:pt x="11" y="1124"/>
                  </a:lnTo>
                  <a:lnTo>
                    <a:pt x="24" y="1042"/>
                  </a:lnTo>
                  <a:lnTo>
                    <a:pt x="42" y="961"/>
                  </a:lnTo>
                  <a:lnTo>
                    <a:pt x="65" y="882"/>
                  </a:lnTo>
                  <a:lnTo>
                    <a:pt x="94" y="803"/>
                  </a:lnTo>
                  <a:lnTo>
                    <a:pt x="128" y="726"/>
                  </a:lnTo>
                  <a:lnTo>
                    <a:pt x="167" y="651"/>
                  </a:lnTo>
                  <a:lnTo>
                    <a:pt x="212" y="580"/>
                  </a:lnTo>
                  <a:lnTo>
                    <a:pt x="262" y="509"/>
                  </a:lnTo>
                  <a:lnTo>
                    <a:pt x="317" y="442"/>
                  </a:lnTo>
                  <a:lnTo>
                    <a:pt x="377" y="378"/>
                  </a:lnTo>
                  <a:lnTo>
                    <a:pt x="442" y="317"/>
                  </a:lnTo>
                  <a:lnTo>
                    <a:pt x="509" y="261"/>
                  </a:lnTo>
                  <a:lnTo>
                    <a:pt x="579" y="213"/>
                  </a:lnTo>
                  <a:lnTo>
                    <a:pt x="652" y="168"/>
                  </a:lnTo>
                  <a:lnTo>
                    <a:pt x="727" y="128"/>
                  </a:lnTo>
                  <a:lnTo>
                    <a:pt x="804" y="94"/>
                  </a:lnTo>
                  <a:lnTo>
                    <a:pt x="882" y="66"/>
                  </a:lnTo>
                  <a:lnTo>
                    <a:pt x="961" y="42"/>
                  </a:lnTo>
                  <a:lnTo>
                    <a:pt x="1041" y="24"/>
                  </a:lnTo>
                  <a:lnTo>
                    <a:pt x="1124" y="11"/>
                  </a:lnTo>
                  <a:lnTo>
                    <a:pt x="1205" y="3"/>
                  </a:lnTo>
                  <a:lnTo>
                    <a:pt x="1287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de-DE" sz="2701">
                <a:latin typeface="Avenir Medium"/>
              </a:endParaRPr>
            </a:p>
          </p:txBody>
        </p:sp>
      </p:grpSp>
      <p:sp>
        <p:nvSpPr>
          <p:cNvPr id="37" name="Freeform 37">
            <a:extLst>
              <a:ext uri="{FF2B5EF4-FFF2-40B4-BE49-F238E27FC236}">
                <a16:creationId xmlns:a16="http://schemas.microsoft.com/office/drawing/2014/main" id="{E8A08EE8-93C5-4686-999D-744706012966}"/>
              </a:ext>
            </a:extLst>
          </p:cNvPr>
          <p:cNvSpPr/>
          <p:nvPr/>
        </p:nvSpPr>
        <p:spPr>
          <a:xfrm>
            <a:off x="3571475" y="2317435"/>
            <a:ext cx="7807822" cy="976445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MONETIZE </a:t>
            </a:r>
            <a:r>
              <a:rPr lang="en-US" b="1" dirty="0" err="1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Quantopian</a:t>
            </a:r>
            <a:endParaRPr lang="en-US" b="1" dirty="0">
              <a:solidFill>
                <a:schemeClr val="tx1">
                  <a:lumMod val="50000"/>
                </a:schemeClr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FDDFC215-0B8B-4BDD-9060-8B0A8D1170AD}"/>
              </a:ext>
            </a:extLst>
          </p:cNvPr>
          <p:cNvSpPr/>
          <p:nvPr/>
        </p:nvSpPr>
        <p:spPr>
          <a:xfrm>
            <a:off x="3568498" y="3971487"/>
            <a:ext cx="7807822" cy="976445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venir Medium"/>
              </a:rPr>
              <a:t>ENGAGE Crowd Intelligence</a:t>
            </a:r>
          </a:p>
        </p:txBody>
      </p:sp>
      <p:sp>
        <p:nvSpPr>
          <p:cNvPr id="39" name="Freeform 37">
            <a:extLst>
              <a:ext uri="{FF2B5EF4-FFF2-40B4-BE49-F238E27FC236}">
                <a16:creationId xmlns:a16="http://schemas.microsoft.com/office/drawing/2014/main" id="{87F4C6A5-D8C6-492F-89B2-5DC21B91BBAB}"/>
              </a:ext>
            </a:extLst>
          </p:cNvPr>
          <p:cNvSpPr/>
          <p:nvPr/>
        </p:nvSpPr>
        <p:spPr>
          <a:xfrm>
            <a:off x="3571475" y="5625540"/>
            <a:ext cx="7807822" cy="976445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venir Medium"/>
              </a:rPr>
              <a:t>CREATE Unique Selling Proposition</a:t>
            </a:r>
          </a:p>
        </p:txBody>
      </p:sp>
      <p:sp>
        <p:nvSpPr>
          <p:cNvPr id="57" name="Freeform 37">
            <a:extLst>
              <a:ext uri="{FF2B5EF4-FFF2-40B4-BE49-F238E27FC236}">
                <a16:creationId xmlns:a16="http://schemas.microsoft.com/office/drawing/2014/main" id="{5245954C-E6F6-4FEA-B8D0-E7834BEEB457}"/>
              </a:ext>
            </a:extLst>
          </p:cNvPr>
          <p:cNvSpPr/>
          <p:nvPr/>
        </p:nvSpPr>
        <p:spPr>
          <a:xfrm>
            <a:off x="0" y="456187"/>
            <a:ext cx="24377650" cy="1324368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6000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QUANNECTION - Executive Summary</a:t>
            </a:r>
          </a:p>
        </p:txBody>
      </p:sp>
      <p:sp>
        <p:nvSpPr>
          <p:cNvPr id="77" name="Freeform 37">
            <a:extLst>
              <a:ext uri="{FF2B5EF4-FFF2-40B4-BE49-F238E27FC236}">
                <a16:creationId xmlns:a16="http://schemas.microsoft.com/office/drawing/2014/main" id="{499EE263-65D5-2042-BC9A-ABFF15660DF1}"/>
              </a:ext>
            </a:extLst>
          </p:cNvPr>
          <p:cNvSpPr/>
          <p:nvPr/>
        </p:nvSpPr>
        <p:spPr>
          <a:xfrm>
            <a:off x="19478646" y="2013368"/>
            <a:ext cx="4571999" cy="6820220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venir Medium"/>
              <a:ea typeface="Avenir Book" charset="0"/>
              <a:cs typeface="Avenir Book" charset="0"/>
            </a:endParaRPr>
          </a:p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venir Medium"/>
              <a:ea typeface="Avenir Book" charset="0"/>
              <a:cs typeface="Avenir Book" charset="0"/>
            </a:endParaRPr>
          </a:p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venir Medium"/>
              <a:ea typeface="Avenir Book" charset="0"/>
              <a:cs typeface="Avenir Book" charset="0"/>
            </a:endParaRPr>
          </a:p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venir Medium"/>
              <a:ea typeface="Avenir Book" charset="0"/>
              <a:cs typeface="Avenir Book" charset="0"/>
            </a:endParaRPr>
          </a:p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venir Medium"/>
              <a:ea typeface="Avenir Book" charset="0"/>
              <a:cs typeface="Avenir Book" charset="0"/>
            </a:endParaRPr>
          </a:p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ADVANTAGES</a:t>
            </a:r>
          </a:p>
          <a:p>
            <a:pPr marL="571500" indent="-571500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chemeClr val="accent1">
                  <a:lumMod val="60000"/>
                  <a:lumOff val="40000"/>
                </a:schemeClr>
              </a:buClr>
              <a:buFont typeface="Wingdings" pitchFamily="2" charset="2"/>
              <a:buChar char="ü"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 Access to huge algorithm portfolio</a:t>
            </a:r>
          </a:p>
          <a:p>
            <a:pPr marL="571500" indent="-571500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chemeClr val="accent1">
                  <a:lumMod val="60000"/>
                  <a:lumOff val="40000"/>
                </a:schemeClr>
              </a:buClr>
              <a:buFont typeface="Wingdings" pitchFamily="2" charset="2"/>
              <a:buChar char="ü"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Diversification of income streams</a:t>
            </a:r>
          </a:p>
          <a:p>
            <a:pPr marL="571500" indent="-571500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chemeClr val="accent1">
                  <a:lumMod val="60000"/>
                  <a:lumOff val="40000"/>
                </a:schemeClr>
              </a:buClr>
              <a:buFont typeface="Wingdings" pitchFamily="2" charset="2"/>
              <a:buChar char="ü"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Sustainable business model</a:t>
            </a:r>
          </a:p>
          <a:p>
            <a:pPr marL="571500" indent="-571500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chemeClr val="accent1">
                  <a:lumMod val="60000"/>
                  <a:lumOff val="40000"/>
                </a:schemeClr>
              </a:buClr>
              <a:buFont typeface="Wingdings" pitchFamily="2" charset="2"/>
              <a:buChar char="ü"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Connecting High Potentials to Companies</a:t>
            </a:r>
          </a:p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venir Medium"/>
              <a:ea typeface="Avenir Book" charset="0"/>
              <a:cs typeface="Avenir Book" charset="0"/>
            </a:endParaRPr>
          </a:p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venir Medium"/>
              <a:ea typeface="Avenir Book" charset="0"/>
              <a:cs typeface="Avenir Book" charset="0"/>
            </a:endParaRPr>
          </a:p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venir Medium"/>
              <a:ea typeface="Avenir Book" charset="0"/>
              <a:cs typeface="Avenir Book" charset="0"/>
            </a:endParaRPr>
          </a:p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venir Medium"/>
              <a:ea typeface="Avenir Book" charset="0"/>
              <a:cs typeface="Avenir Book" charset="0"/>
            </a:endParaRPr>
          </a:p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venir Medium"/>
              <a:ea typeface="Avenir Book" charset="0"/>
              <a:cs typeface="Avenir Book" charset="0"/>
            </a:endParaRPr>
          </a:p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81" name="Freeform 80">
            <a:extLst>
              <a:ext uri="{FF2B5EF4-FFF2-40B4-BE49-F238E27FC236}">
                <a16:creationId xmlns:a16="http://schemas.microsoft.com/office/drawing/2014/main" id="{F114131D-2588-8C40-80D5-F9D1FA0A75E0}"/>
              </a:ext>
            </a:extLst>
          </p:cNvPr>
          <p:cNvSpPr/>
          <p:nvPr/>
        </p:nvSpPr>
        <p:spPr>
          <a:xfrm>
            <a:off x="14851384" y="2283119"/>
            <a:ext cx="1883803" cy="1839424"/>
          </a:xfrm>
          <a:custGeom>
            <a:avLst/>
            <a:gdLst>
              <a:gd name="connsiteX0" fmla="*/ 0 w 2194257"/>
              <a:gd name="connsiteY0" fmla="*/ 1097129 h 2194257"/>
              <a:gd name="connsiteX1" fmla="*/ 1097129 w 2194257"/>
              <a:gd name="connsiteY1" fmla="*/ 0 h 2194257"/>
              <a:gd name="connsiteX2" fmla="*/ 2194258 w 2194257"/>
              <a:gd name="connsiteY2" fmla="*/ 1097129 h 2194257"/>
              <a:gd name="connsiteX3" fmla="*/ 1097129 w 2194257"/>
              <a:gd name="connsiteY3" fmla="*/ 2194258 h 2194257"/>
              <a:gd name="connsiteX4" fmla="*/ 0 w 2194257"/>
              <a:gd name="connsiteY4" fmla="*/ 1097129 h 219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4257" h="2194257">
                <a:moveTo>
                  <a:pt x="0" y="1097129"/>
                </a:moveTo>
                <a:cubicBezTo>
                  <a:pt x="0" y="491201"/>
                  <a:pt x="491201" y="0"/>
                  <a:pt x="1097129" y="0"/>
                </a:cubicBezTo>
                <a:cubicBezTo>
                  <a:pt x="1703057" y="0"/>
                  <a:pt x="2194258" y="491201"/>
                  <a:pt x="2194258" y="1097129"/>
                </a:cubicBezTo>
                <a:cubicBezTo>
                  <a:pt x="2194258" y="1703057"/>
                  <a:pt x="1703057" y="2194258"/>
                  <a:pt x="1097129" y="2194258"/>
                </a:cubicBezTo>
                <a:cubicBezTo>
                  <a:pt x="491201" y="2194258"/>
                  <a:pt x="0" y="1703057"/>
                  <a:pt x="0" y="1097129"/>
                </a:cubicBez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56901" tIns="356901" rIns="356901" bIns="356901" numCol="1" spcCol="1270" anchor="ctr" anchorCtr="0">
            <a:noAutofit/>
          </a:bodyPr>
          <a:lstStyle/>
          <a:p>
            <a:pPr marL="0" lvl="0" indent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ES" sz="2400" b="1" kern="1200" dirty="0">
                <a:solidFill>
                  <a:srgbClr val="000000"/>
                </a:solidFill>
                <a:latin typeface="Avenir Medium"/>
              </a:rPr>
              <a:t>Idea</a:t>
            </a:r>
          </a:p>
        </p:txBody>
      </p:sp>
      <p:sp>
        <p:nvSpPr>
          <p:cNvPr id="82" name="Freeform 81">
            <a:extLst>
              <a:ext uri="{FF2B5EF4-FFF2-40B4-BE49-F238E27FC236}">
                <a16:creationId xmlns:a16="http://schemas.microsoft.com/office/drawing/2014/main" id="{C02AC9DE-FABD-3447-8AF0-C94C739DF3D5}"/>
              </a:ext>
            </a:extLst>
          </p:cNvPr>
          <p:cNvSpPr/>
          <p:nvPr/>
        </p:nvSpPr>
        <p:spPr>
          <a:xfrm rot="2160000">
            <a:off x="16675414" y="3695518"/>
            <a:ext cx="499795" cy="620805"/>
          </a:xfrm>
          <a:custGeom>
            <a:avLst/>
            <a:gdLst>
              <a:gd name="connsiteX0" fmla="*/ 0 w 582162"/>
              <a:gd name="connsiteY0" fmla="*/ 148112 h 740561"/>
              <a:gd name="connsiteX1" fmla="*/ 291081 w 582162"/>
              <a:gd name="connsiteY1" fmla="*/ 148112 h 740561"/>
              <a:gd name="connsiteX2" fmla="*/ 291081 w 582162"/>
              <a:gd name="connsiteY2" fmla="*/ 0 h 740561"/>
              <a:gd name="connsiteX3" fmla="*/ 582162 w 582162"/>
              <a:gd name="connsiteY3" fmla="*/ 370281 h 740561"/>
              <a:gd name="connsiteX4" fmla="*/ 291081 w 582162"/>
              <a:gd name="connsiteY4" fmla="*/ 740561 h 740561"/>
              <a:gd name="connsiteX5" fmla="*/ 291081 w 582162"/>
              <a:gd name="connsiteY5" fmla="*/ 592449 h 740561"/>
              <a:gd name="connsiteX6" fmla="*/ 0 w 582162"/>
              <a:gd name="connsiteY6" fmla="*/ 592449 h 740561"/>
              <a:gd name="connsiteX7" fmla="*/ 0 w 582162"/>
              <a:gd name="connsiteY7" fmla="*/ 148112 h 740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2162" h="740561">
                <a:moveTo>
                  <a:pt x="0" y="148112"/>
                </a:moveTo>
                <a:lnTo>
                  <a:pt x="291081" y="148112"/>
                </a:lnTo>
                <a:lnTo>
                  <a:pt x="291081" y="0"/>
                </a:lnTo>
                <a:lnTo>
                  <a:pt x="582162" y="370281"/>
                </a:lnTo>
                <a:lnTo>
                  <a:pt x="291081" y="740561"/>
                </a:lnTo>
                <a:lnTo>
                  <a:pt x="291081" y="592449"/>
                </a:lnTo>
                <a:lnTo>
                  <a:pt x="0" y="592449"/>
                </a:lnTo>
                <a:lnTo>
                  <a:pt x="0" y="148112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-1" tIns="148112" rIns="174649" bIns="148111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2000" b="1" kern="1200">
              <a:latin typeface="Avenir Medium"/>
            </a:endParaRPr>
          </a:p>
        </p:txBody>
      </p:sp>
      <p:sp>
        <p:nvSpPr>
          <p:cNvPr id="83" name="Freeform 82">
            <a:extLst>
              <a:ext uri="{FF2B5EF4-FFF2-40B4-BE49-F238E27FC236}">
                <a16:creationId xmlns:a16="http://schemas.microsoft.com/office/drawing/2014/main" id="{BD1D819D-5FC3-D64C-9A26-0C14938E5E66}"/>
              </a:ext>
            </a:extLst>
          </p:cNvPr>
          <p:cNvSpPr/>
          <p:nvPr/>
        </p:nvSpPr>
        <p:spPr>
          <a:xfrm>
            <a:off x="17138323" y="3905535"/>
            <a:ext cx="1883803" cy="1839424"/>
          </a:xfrm>
          <a:custGeom>
            <a:avLst/>
            <a:gdLst>
              <a:gd name="connsiteX0" fmla="*/ 0 w 2194257"/>
              <a:gd name="connsiteY0" fmla="*/ 1097129 h 2194257"/>
              <a:gd name="connsiteX1" fmla="*/ 1097129 w 2194257"/>
              <a:gd name="connsiteY1" fmla="*/ 0 h 2194257"/>
              <a:gd name="connsiteX2" fmla="*/ 2194258 w 2194257"/>
              <a:gd name="connsiteY2" fmla="*/ 1097129 h 2194257"/>
              <a:gd name="connsiteX3" fmla="*/ 1097129 w 2194257"/>
              <a:gd name="connsiteY3" fmla="*/ 2194258 h 2194257"/>
              <a:gd name="connsiteX4" fmla="*/ 0 w 2194257"/>
              <a:gd name="connsiteY4" fmla="*/ 1097129 h 219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4257" h="2194257">
                <a:moveTo>
                  <a:pt x="0" y="1097129"/>
                </a:moveTo>
                <a:cubicBezTo>
                  <a:pt x="0" y="491201"/>
                  <a:pt x="491201" y="0"/>
                  <a:pt x="1097129" y="0"/>
                </a:cubicBezTo>
                <a:cubicBezTo>
                  <a:pt x="1703057" y="0"/>
                  <a:pt x="2194258" y="491201"/>
                  <a:pt x="2194258" y="1097129"/>
                </a:cubicBezTo>
                <a:cubicBezTo>
                  <a:pt x="2194258" y="1703057"/>
                  <a:pt x="1703057" y="2194258"/>
                  <a:pt x="1097129" y="2194258"/>
                </a:cubicBezTo>
                <a:cubicBezTo>
                  <a:pt x="491201" y="2194258"/>
                  <a:pt x="0" y="1703057"/>
                  <a:pt x="0" y="1097129"/>
                </a:cubicBez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56901" tIns="356901" rIns="356901" bIns="356901" numCol="1" spcCol="1270" anchor="ctr" anchorCtr="0">
            <a:noAutofit/>
          </a:bodyPr>
          <a:lstStyle/>
          <a:p>
            <a:pPr marL="0" lvl="0" indent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ES" sz="2400" b="1" kern="1200" dirty="0" err="1">
                <a:solidFill>
                  <a:srgbClr val="000000"/>
                </a:solidFill>
                <a:latin typeface="Avenir Medium"/>
              </a:rPr>
              <a:t>Coding</a:t>
            </a:r>
            <a:endParaRPr lang="es-ES" sz="2400" b="1" kern="1200" dirty="0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84" name="Freeform 83">
            <a:extLst>
              <a:ext uri="{FF2B5EF4-FFF2-40B4-BE49-F238E27FC236}">
                <a16:creationId xmlns:a16="http://schemas.microsoft.com/office/drawing/2014/main" id="{C48A8EA8-60C7-314D-9D79-0765D2D6B7A0}"/>
              </a:ext>
            </a:extLst>
          </p:cNvPr>
          <p:cNvSpPr/>
          <p:nvPr/>
        </p:nvSpPr>
        <p:spPr>
          <a:xfrm rot="17280000">
            <a:off x="17403819" y="5806781"/>
            <a:ext cx="488021" cy="635784"/>
          </a:xfrm>
          <a:custGeom>
            <a:avLst/>
            <a:gdLst>
              <a:gd name="connsiteX0" fmla="*/ 0 w 582162"/>
              <a:gd name="connsiteY0" fmla="*/ 148112 h 740561"/>
              <a:gd name="connsiteX1" fmla="*/ 291081 w 582162"/>
              <a:gd name="connsiteY1" fmla="*/ 148112 h 740561"/>
              <a:gd name="connsiteX2" fmla="*/ 291081 w 582162"/>
              <a:gd name="connsiteY2" fmla="*/ 0 h 740561"/>
              <a:gd name="connsiteX3" fmla="*/ 582162 w 582162"/>
              <a:gd name="connsiteY3" fmla="*/ 370281 h 740561"/>
              <a:gd name="connsiteX4" fmla="*/ 291081 w 582162"/>
              <a:gd name="connsiteY4" fmla="*/ 740561 h 740561"/>
              <a:gd name="connsiteX5" fmla="*/ 291081 w 582162"/>
              <a:gd name="connsiteY5" fmla="*/ 592449 h 740561"/>
              <a:gd name="connsiteX6" fmla="*/ 0 w 582162"/>
              <a:gd name="connsiteY6" fmla="*/ 592449 h 740561"/>
              <a:gd name="connsiteX7" fmla="*/ 0 w 582162"/>
              <a:gd name="connsiteY7" fmla="*/ 148112 h 740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2162" h="740561">
                <a:moveTo>
                  <a:pt x="582162" y="592449"/>
                </a:moveTo>
                <a:lnTo>
                  <a:pt x="291081" y="592449"/>
                </a:lnTo>
                <a:lnTo>
                  <a:pt x="291081" y="740561"/>
                </a:lnTo>
                <a:lnTo>
                  <a:pt x="0" y="370280"/>
                </a:lnTo>
                <a:lnTo>
                  <a:pt x="291081" y="0"/>
                </a:lnTo>
                <a:lnTo>
                  <a:pt x="291081" y="148112"/>
                </a:lnTo>
                <a:lnTo>
                  <a:pt x="582162" y="148112"/>
                </a:lnTo>
                <a:lnTo>
                  <a:pt x="582162" y="592449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4648" tIns="148112" rIns="0" bIns="148112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2000" b="1" kern="1200">
              <a:latin typeface="Avenir Medium"/>
            </a:endParaRPr>
          </a:p>
        </p:txBody>
      </p:sp>
      <p:sp>
        <p:nvSpPr>
          <p:cNvPr id="85" name="Freeform 84">
            <a:extLst>
              <a:ext uri="{FF2B5EF4-FFF2-40B4-BE49-F238E27FC236}">
                <a16:creationId xmlns:a16="http://schemas.microsoft.com/office/drawing/2014/main" id="{EE346E47-A4C9-6E46-B35D-023380CD8B5E}"/>
              </a:ext>
            </a:extLst>
          </p:cNvPr>
          <p:cNvSpPr/>
          <p:nvPr/>
        </p:nvSpPr>
        <p:spPr>
          <a:xfrm>
            <a:off x="16264791" y="6530659"/>
            <a:ext cx="1883803" cy="1839424"/>
          </a:xfrm>
          <a:custGeom>
            <a:avLst/>
            <a:gdLst>
              <a:gd name="connsiteX0" fmla="*/ 0 w 2194257"/>
              <a:gd name="connsiteY0" fmla="*/ 1097129 h 2194257"/>
              <a:gd name="connsiteX1" fmla="*/ 1097129 w 2194257"/>
              <a:gd name="connsiteY1" fmla="*/ 0 h 2194257"/>
              <a:gd name="connsiteX2" fmla="*/ 2194258 w 2194257"/>
              <a:gd name="connsiteY2" fmla="*/ 1097129 h 2194257"/>
              <a:gd name="connsiteX3" fmla="*/ 1097129 w 2194257"/>
              <a:gd name="connsiteY3" fmla="*/ 2194258 h 2194257"/>
              <a:gd name="connsiteX4" fmla="*/ 0 w 2194257"/>
              <a:gd name="connsiteY4" fmla="*/ 1097129 h 219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4257" h="2194257">
                <a:moveTo>
                  <a:pt x="0" y="1097129"/>
                </a:moveTo>
                <a:cubicBezTo>
                  <a:pt x="0" y="491201"/>
                  <a:pt x="491201" y="0"/>
                  <a:pt x="1097129" y="0"/>
                </a:cubicBezTo>
                <a:cubicBezTo>
                  <a:pt x="1703057" y="0"/>
                  <a:pt x="2194258" y="491201"/>
                  <a:pt x="2194258" y="1097129"/>
                </a:cubicBezTo>
                <a:cubicBezTo>
                  <a:pt x="2194258" y="1703057"/>
                  <a:pt x="1703057" y="2194258"/>
                  <a:pt x="1097129" y="2194258"/>
                </a:cubicBezTo>
                <a:cubicBezTo>
                  <a:pt x="491201" y="2194258"/>
                  <a:pt x="0" y="1703057"/>
                  <a:pt x="0" y="1097129"/>
                </a:cubicBez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56901" tIns="356901" rIns="356901" bIns="356901" numCol="1" spcCol="1270" anchor="ctr" anchorCtr="0">
            <a:noAutofit/>
          </a:bodyPr>
          <a:lstStyle/>
          <a:p>
            <a:pPr marL="0" lvl="0" indent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ES" sz="2400" b="1" kern="1200" dirty="0" err="1">
                <a:solidFill>
                  <a:srgbClr val="000000"/>
                </a:solidFill>
                <a:latin typeface="Avenir Medium"/>
              </a:rPr>
              <a:t>Backtest</a:t>
            </a:r>
            <a:r>
              <a:rPr lang="es-ES" sz="2400" b="1" kern="1200" dirty="0">
                <a:solidFill>
                  <a:srgbClr val="000000"/>
                </a:solidFill>
                <a:latin typeface="Avenir Medium"/>
              </a:rPr>
              <a:t> </a:t>
            </a:r>
          </a:p>
        </p:txBody>
      </p:sp>
      <p:sp>
        <p:nvSpPr>
          <p:cNvPr id="86" name="Freeform 85">
            <a:extLst>
              <a:ext uri="{FF2B5EF4-FFF2-40B4-BE49-F238E27FC236}">
                <a16:creationId xmlns:a16="http://schemas.microsoft.com/office/drawing/2014/main" id="{D1AAE79E-01C3-E44B-AC44-7BA8E71F0ED4}"/>
              </a:ext>
            </a:extLst>
          </p:cNvPr>
          <p:cNvSpPr/>
          <p:nvPr/>
        </p:nvSpPr>
        <p:spPr>
          <a:xfrm>
            <a:off x="15557533" y="7139968"/>
            <a:ext cx="499796" cy="620806"/>
          </a:xfrm>
          <a:custGeom>
            <a:avLst/>
            <a:gdLst>
              <a:gd name="connsiteX0" fmla="*/ 0 w 582162"/>
              <a:gd name="connsiteY0" fmla="*/ 148112 h 740561"/>
              <a:gd name="connsiteX1" fmla="*/ 291081 w 582162"/>
              <a:gd name="connsiteY1" fmla="*/ 148112 h 740561"/>
              <a:gd name="connsiteX2" fmla="*/ 291081 w 582162"/>
              <a:gd name="connsiteY2" fmla="*/ 0 h 740561"/>
              <a:gd name="connsiteX3" fmla="*/ 582162 w 582162"/>
              <a:gd name="connsiteY3" fmla="*/ 370281 h 740561"/>
              <a:gd name="connsiteX4" fmla="*/ 291081 w 582162"/>
              <a:gd name="connsiteY4" fmla="*/ 740561 h 740561"/>
              <a:gd name="connsiteX5" fmla="*/ 291081 w 582162"/>
              <a:gd name="connsiteY5" fmla="*/ 592449 h 740561"/>
              <a:gd name="connsiteX6" fmla="*/ 0 w 582162"/>
              <a:gd name="connsiteY6" fmla="*/ 592449 h 740561"/>
              <a:gd name="connsiteX7" fmla="*/ 0 w 582162"/>
              <a:gd name="connsiteY7" fmla="*/ 148112 h 740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2162" h="740561">
                <a:moveTo>
                  <a:pt x="582162" y="592449"/>
                </a:moveTo>
                <a:lnTo>
                  <a:pt x="291081" y="592449"/>
                </a:lnTo>
                <a:lnTo>
                  <a:pt x="291081" y="740561"/>
                </a:lnTo>
                <a:lnTo>
                  <a:pt x="0" y="370280"/>
                </a:lnTo>
                <a:lnTo>
                  <a:pt x="291081" y="0"/>
                </a:lnTo>
                <a:lnTo>
                  <a:pt x="291081" y="148112"/>
                </a:lnTo>
                <a:lnTo>
                  <a:pt x="582162" y="148112"/>
                </a:lnTo>
                <a:lnTo>
                  <a:pt x="582162" y="592449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4649" tIns="148113" rIns="1" bIns="148112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2000" b="1" kern="1200">
              <a:latin typeface="Avenir Medium"/>
            </a:endParaRPr>
          </a:p>
        </p:txBody>
      </p:sp>
      <p:sp>
        <p:nvSpPr>
          <p:cNvPr id="87" name="Freeform 86">
            <a:extLst>
              <a:ext uri="{FF2B5EF4-FFF2-40B4-BE49-F238E27FC236}">
                <a16:creationId xmlns:a16="http://schemas.microsoft.com/office/drawing/2014/main" id="{2E09527E-0527-0145-ADCA-3B6026AB2A8C}"/>
              </a:ext>
            </a:extLst>
          </p:cNvPr>
          <p:cNvSpPr/>
          <p:nvPr/>
        </p:nvSpPr>
        <p:spPr>
          <a:xfrm>
            <a:off x="13437978" y="6530659"/>
            <a:ext cx="1883803" cy="1839424"/>
          </a:xfrm>
          <a:custGeom>
            <a:avLst/>
            <a:gdLst>
              <a:gd name="connsiteX0" fmla="*/ 0 w 2194257"/>
              <a:gd name="connsiteY0" fmla="*/ 1097129 h 2194257"/>
              <a:gd name="connsiteX1" fmla="*/ 1097129 w 2194257"/>
              <a:gd name="connsiteY1" fmla="*/ 0 h 2194257"/>
              <a:gd name="connsiteX2" fmla="*/ 2194258 w 2194257"/>
              <a:gd name="connsiteY2" fmla="*/ 1097129 h 2194257"/>
              <a:gd name="connsiteX3" fmla="*/ 1097129 w 2194257"/>
              <a:gd name="connsiteY3" fmla="*/ 2194258 h 2194257"/>
              <a:gd name="connsiteX4" fmla="*/ 0 w 2194257"/>
              <a:gd name="connsiteY4" fmla="*/ 1097129 h 219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4257" h="2194257">
                <a:moveTo>
                  <a:pt x="0" y="1097129"/>
                </a:moveTo>
                <a:cubicBezTo>
                  <a:pt x="0" y="491201"/>
                  <a:pt x="491201" y="0"/>
                  <a:pt x="1097129" y="0"/>
                </a:cubicBezTo>
                <a:cubicBezTo>
                  <a:pt x="1703057" y="0"/>
                  <a:pt x="2194258" y="491201"/>
                  <a:pt x="2194258" y="1097129"/>
                </a:cubicBezTo>
                <a:cubicBezTo>
                  <a:pt x="2194258" y="1703057"/>
                  <a:pt x="1703057" y="2194258"/>
                  <a:pt x="1097129" y="2194258"/>
                </a:cubicBezTo>
                <a:cubicBezTo>
                  <a:pt x="491201" y="2194258"/>
                  <a:pt x="0" y="1703057"/>
                  <a:pt x="0" y="1097129"/>
                </a:cubicBez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56901" tIns="356901" rIns="356901" bIns="356901" numCol="1" spcCol="1270" anchor="ctr" anchorCtr="0">
            <a:noAutofit/>
          </a:bodyPr>
          <a:lstStyle/>
          <a:p>
            <a:pPr marL="0" lvl="0" indent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ES" sz="2400" b="1" kern="1200" dirty="0" err="1">
                <a:solidFill>
                  <a:srgbClr val="000000"/>
                </a:solidFill>
                <a:latin typeface="Avenir Medium"/>
              </a:rPr>
              <a:t>Selection</a:t>
            </a:r>
            <a:endParaRPr lang="es-ES" sz="2400" b="1" kern="1200" dirty="0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88" name="Freeform 87">
            <a:extLst>
              <a:ext uri="{FF2B5EF4-FFF2-40B4-BE49-F238E27FC236}">
                <a16:creationId xmlns:a16="http://schemas.microsoft.com/office/drawing/2014/main" id="{97BD9C78-7EAD-BE43-9024-061A7A2FDB61}"/>
              </a:ext>
            </a:extLst>
          </p:cNvPr>
          <p:cNvSpPr/>
          <p:nvPr/>
        </p:nvSpPr>
        <p:spPr>
          <a:xfrm rot="4320000">
            <a:off x="13703473" y="5833053"/>
            <a:ext cx="488021" cy="635784"/>
          </a:xfrm>
          <a:custGeom>
            <a:avLst/>
            <a:gdLst>
              <a:gd name="connsiteX0" fmla="*/ 0 w 582162"/>
              <a:gd name="connsiteY0" fmla="*/ 148112 h 740561"/>
              <a:gd name="connsiteX1" fmla="*/ 291081 w 582162"/>
              <a:gd name="connsiteY1" fmla="*/ 148112 h 740561"/>
              <a:gd name="connsiteX2" fmla="*/ 291081 w 582162"/>
              <a:gd name="connsiteY2" fmla="*/ 0 h 740561"/>
              <a:gd name="connsiteX3" fmla="*/ 582162 w 582162"/>
              <a:gd name="connsiteY3" fmla="*/ 370281 h 740561"/>
              <a:gd name="connsiteX4" fmla="*/ 291081 w 582162"/>
              <a:gd name="connsiteY4" fmla="*/ 740561 h 740561"/>
              <a:gd name="connsiteX5" fmla="*/ 291081 w 582162"/>
              <a:gd name="connsiteY5" fmla="*/ 592449 h 740561"/>
              <a:gd name="connsiteX6" fmla="*/ 0 w 582162"/>
              <a:gd name="connsiteY6" fmla="*/ 592449 h 740561"/>
              <a:gd name="connsiteX7" fmla="*/ 0 w 582162"/>
              <a:gd name="connsiteY7" fmla="*/ 148112 h 740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2162" h="740561">
                <a:moveTo>
                  <a:pt x="582162" y="592449"/>
                </a:moveTo>
                <a:lnTo>
                  <a:pt x="291081" y="592449"/>
                </a:lnTo>
                <a:lnTo>
                  <a:pt x="291081" y="740561"/>
                </a:lnTo>
                <a:lnTo>
                  <a:pt x="0" y="370280"/>
                </a:lnTo>
                <a:lnTo>
                  <a:pt x="291081" y="0"/>
                </a:lnTo>
                <a:lnTo>
                  <a:pt x="291081" y="148112"/>
                </a:lnTo>
                <a:lnTo>
                  <a:pt x="582162" y="148112"/>
                </a:lnTo>
                <a:lnTo>
                  <a:pt x="582162" y="592449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4649" tIns="148113" rIns="-1" bIns="148111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2000" b="1" kern="1200" dirty="0">
              <a:latin typeface="Avenir Medium"/>
            </a:endParaRPr>
          </a:p>
        </p:txBody>
      </p:sp>
      <p:sp>
        <p:nvSpPr>
          <p:cNvPr id="89" name="Freeform 88">
            <a:extLst>
              <a:ext uri="{FF2B5EF4-FFF2-40B4-BE49-F238E27FC236}">
                <a16:creationId xmlns:a16="http://schemas.microsoft.com/office/drawing/2014/main" id="{8928C4E5-B904-EE48-9935-AB43613642EE}"/>
              </a:ext>
            </a:extLst>
          </p:cNvPr>
          <p:cNvSpPr/>
          <p:nvPr/>
        </p:nvSpPr>
        <p:spPr>
          <a:xfrm>
            <a:off x="12564445" y="3905535"/>
            <a:ext cx="1883803" cy="1839424"/>
          </a:xfrm>
          <a:custGeom>
            <a:avLst/>
            <a:gdLst>
              <a:gd name="connsiteX0" fmla="*/ 0 w 2194257"/>
              <a:gd name="connsiteY0" fmla="*/ 1097129 h 2194257"/>
              <a:gd name="connsiteX1" fmla="*/ 1097129 w 2194257"/>
              <a:gd name="connsiteY1" fmla="*/ 0 h 2194257"/>
              <a:gd name="connsiteX2" fmla="*/ 2194258 w 2194257"/>
              <a:gd name="connsiteY2" fmla="*/ 1097129 h 2194257"/>
              <a:gd name="connsiteX3" fmla="*/ 1097129 w 2194257"/>
              <a:gd name="connsiteY3" fmla="*/ 2194258 h 2194257"/>
              <a:gd name="connsiteX4" fmla="*/ 0 w 2194257"/>
              <a:gd name="connsiteY4" fmla="*/ 1097129 h 219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4257" h="2194257">
                <a:moveTo>
                  <a:pt x="0" y="1097129"/>
                </a:moveTo>
                <a:cubicBezTo>
                  <a:pt x="0" y="491201"/>
                  <a:pt x="491201" y="0"/>
                  <a:pt x="1097129" y="0"/>
                </a:cubicBezTo>
                <a:cubicBezTo>
                  <a:pt x="1703057" y="0"/>
                  <a:pt x="2194258" y="491201"/>
                  <a:pt x="2194258" y="1097129"/>
                </a:cubicBezTo>
                <a:cubicBezTo>
                  <a:pt x="2194258" y="1703057"/>
                  <a:pt x="1703057" y="2194258"/>
                  <a:pt x="1097129" y="2194258"/>
                </a:cubicBezTo>
                <a:cubicBezTo>
                  <a:pt x="491201" y="2194258"/>
                  <a:pt x="0" y="1703057"/>
                  <a:pt x="0" y="1097129"/>
                </a:cubicBez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56901" tIns="356901" rIns="356901" bIns="356901" numCol="1" spcCol="1270" anchor="ctr" anchorCtr="0">
            <a:noAutofit/>
          </a:bodyPr>
          <a:lstStyle/>
          <a:p>
            <a:pPr marL="0" lvl="0" indent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ES" sz="2400" b="1" kern="1200" dirty="0" err="1">
                <a:solidFill>
                  <a:srgbClr val="000000"/>
                </a:solidFill>
                <a:latin typeface="Avenir Medium"/>
              </a:rPr>
              <a:t>Purchase</a:t>
            </a:r>
            <a:endParaRPr lang="es-ES" sz="2400" b="1" kern="1200" dirty="0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80" name="Block Arc 79">
            <a:extLst>
              <a:ext uri="{FF2B5EF4-FFF2-40B4-BE49-F238E27FC236}">
                <a16:creationId xmlns:a16="http://schemas.microsoft.com/office/drawing/2014/main" id="{DC662439-CAB0-514A-BE43-6BD72C16A5E4}"/>
              </a:ext>
            </a:extLst>
          </p:cNvPr>
          <p:cNvSpPr/>
          <p:nvPr/>
        </p:nvSpPr>
        <p:spPr>
          <a:xfrm rot="19403621">
            <a:off x="13378839" y="2867100"/>
            <a:ext cx="1588187" cy="1030291"/>
          </a:xfrm>
          <a:prstGeom prst="blockArc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200" b="1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4BBD381-3D79-6D4D-AB7D-024E6BEAAAEA}"/>
              </a:ext>
            </a:extLst>
          </p:cNvPr>
          <p:cNvSpPr txBox="1"/>
          <p:nvPr/>
        </p:nvSpPr>
        <p:spPr>
          <a:xfrm rot="19092438">
            <a:off x="12827996" y="2623072"/>
            <a:ext cx="12199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dirty="0">
                <a:solidFill>
                  <a:srgbClr val="000000"/>
                </a:solidFill>
                <a:latin typeface="Avenir Medium"/>
              </a:rPr>
              <a:t>Mone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CF8EC8-3FD7-8A40-BF1E-2688B2994C61}"/>
              </a:ext>
            </a:extLst>
          </p:cNvPr>
          <p:cNvSpPr txBox="1"/>
          <p:nvPr/>
        </p:nvSpPr>
        <p:spPr>
          <a:xfrm>
            <a:off x="13164864" y="10660946"/>
            <a:ext cx="1030521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800" b="1" dirty="0">
                <a:solidFill>
                  <a:schemeClr val="tx1">
                    <a:lumMod val="50000"/>
                  </a:schemeClr>
                </a:solidFill>
                <a:latin typeface="Avenir Medium"/>
              </a:rPr>
              <a:t>46M $ NPV</a:t>
            </a:r>
          </a:p>
          <a:p>
            <a:r>
              <a:rPr lang="es-ES" sz="4800" b="1" dirty="0">
                <a:solidFill>
                  <a:schemeClr val="tx1">
                    <a:lumMod val="50000"/>
                  </a:schemeClr>
                </a:solidFill>
                <a:latin typeface="Avenir Medium"/>
              </a:rPr>
              <a:t>1,000 </a:t>
            </a:r>
            <a:r>
              <a:rPr lang="es-ES" sz="4800" b="1" dirty="0" err="1">
                <a:solidFill>
                  <a:schemeClr val="tx1">
                    <a:lumMod val="50000"/>
                  </a:schemeClr>
                </a:solidFill>
                <a:latin typeface="Avenir Medium"/>
              </a:rPr>
              <a:t>Companies</a:t>
            </a:r>
            <a:r>
              <a:rPr lang="es-ES" sz="4800" b="1" dirty="0">
                <a:solidFill>
                  <a:schemeClr val="tx1">
                    <a:lumMod val="50000"/>
                  </a:schemeClr>
                </a:solidFill>
                <a:latin typeface="Avenir Medium"/>
              </a:rPr>
              <a:t> as </a:t>
            </a:r>
            <a:r>
              <a:rPr lang="es-ES" sz="4800" b="1" dirty="0" err="1">
                <a:solidFill>
                  <a:schemeClr val="tx1">
                    <a:lumMod val="50000"/>
                  </a:schemeClr>
                </a:solidFill>
                <a:latin typeface="Avenir Medium"/>
              </a:rPr>
              <a:t>Customers</a:t>
            </a:r>
            <a:endParaRPr lang="es-ES" sz="4800" b="1" dirty="0">
              <a:solidFill>
                <a:schemeClr val="tx1">
                  <a:lumMod val="50000"/>
                </a:schemeClr>
              </a:solidFill>
              <a:latin typeface="Avenir Medium"/>
            </a:endParaRPr>
          </a:p>
          <a:p>
            <a:r>
              <a:rPr lang="es-ES" sz="4800" b="1" dirty="0">
                <a:solidFill>
                  <a:schemeClr val="tx1">
                    <a:lumMod val="50000"/>
                  </a:schemeClr>
                </a:solidFill>
                <a:latin typeface="Avenir Medium"/>
              </a:rPr>
              <a:t>100 </a:t>
            </a:r>
            <a:r>
              <a:rPr lang="es-ES" sz="4800" b="1" dirty="0" err="1">
                <a:solidFill>
                  <a:schemeClr val="tx1">
                    <a:lumMod val="50000"/>
                  </a:schemeClr>
                </a:solidFill>
                <a:latin typeface="Avenir Medium"/>
              </a:rPr>
              <a:t>yearly</a:t>
            </a:r>
            <a:r>
              <a:rPr lang="es-ES" sz="4800" b="1" dirty="0">
                <a:solidFill>
                  <a:schemeClr val="tx1">
                    <a:lumMod val="50000"/>
                  </a:schemeClr>
                </a:solidFill>
                <a:latin typeface="Avenir Medium"/>
              </a:rPr>
              <a:t> </a:t>
            </a:r>
            <a:r>
              <a:rPr lang="es-ES" sz="4800" b="1" dirty="0" err="1">
                <a:solidFill>
                  <a:schemeClr val="tx1">
                    <a:lumMod val="50000"/>
                  </a:schemeClr>
                </a:solidFill>
                <a:latin typeface="Avenir Medium"/>
              </a:rPr>
              <a:t>Innovations</a:t>
            </a:r>
            <a:endParaRPr lang="es-ES" sz="4800" b="1" dirty="0">
              <a:solidFill>
                <a:schemeClr val="tx1">
                  <a:lumMod val="50000"/>
                </a:schemeClr>
              </a:solidFill>
              <a:latin typeface="Avenir Medium"/>
            </a:endParaRPr>
          </a:p>
          <a:p>
            <a:endParaRPr lang="es-ES" sz="4800" b="1" dirty="0">
              <a:solidFill>
                <a:schemeClr val="tx1">
                  <a:lumMod val="50000"/>
                </a:schemeClr>
              </a:solidFill>
              <a:latin typeface="Avenir Medium"/>
            </a:endParaRPr>
          </a:p>
          <a:p>
            <a:endParaRPr lang="es-ES" sz="4800" b="1" dirty="0">
              <a:solidFill>
                <a:schemeClr val="tx1">
                  <a:lumMod val="50000"/>
                </a:schemeClr>
              </a:solidFill>
              <a:latin typeface="Avenir Medium"/>
            </a:endParaRPr>
          </a:p>
        </p:txBody>
      </p:sp>
      <p:sp>
        <p:nvSpPr>
          <p:cNvPr id="91" name="Freeform 44">
            <a:extLst>
              <a:ext uri="{FF2B5EF4-FFF2-40B4-BE49-F238E27FC236}">
                <a16:creationId xmlns:a16="http://schemas.microsoft.com/office/drawing/2014/main" id="{DEB9D2D9-DEC6-FE46-B78A-940420FA65C5}"/>
              </a:ext>
            </a:extLst>
          </p:cNvPr>
          <p:cNvSpPr/>
          <p:nvPr/>
        </p:nvSpPr>
        <p:spPr>
          <a:xfrm>
            <a:off x="13228284" y="9579637"/>
            <a:ext cx="10732886" cy="890019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YOUR OUTCOME</a:t>
            </a:r>
          </a:p>
        </p:txBody>
      </p:sp>
    </p:spTree>
    <p:extLst>
      <p:ext uri="{BB962C8B-B14F-4D97-AF65-F5344CB8AC3E}">
        <p14:creationId xmlns:p14="http://schemas.microsoft.com/office/powerpoint/2010/main" val="2995813153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2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3048002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0A8C8DC-016F-48D2-9DDC-01C10C716A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7" name="Freeform 3"/>
          <p:cNvSpPr>
            <a:spLocks/>
          </p:cNvSpPr>
          <p:nvPr/>
        </p:nvSpPr>
        <p:spPr bwMode="gray">
          <a:xfrm>
            <a:off x="17517817" y="2897808"/>
            <a:ext cx="3600000" cy="2016000"/>
          </a:xfrm>
          <a:custGeom>
            <a:avLst/>
            <a:gdLst>
              <a:gd name="T0" fmla="*/ 0 w 1585"/>
              <a:gd name="T1" fmla="*/ 2147483647 h 1345"/>
              <a:gd name="T2" fmla="*/ 2147483647 w 1585"/>
              <a:gd name="T3" fmla="*/ 2147483647 h 1345"/>
              <a:gd name="T4" fmla="*/ 2147483647 w 1585"/>
              <a:gd name="T5" fmla="*/ 0 h 1345"/>
              <a:gd name="T6" fmla="*/ 2147483647 w 1585"/>
              <a:gd name="T7" fmla="*/ 2147483647 h 1345"/>
              <a:gd name="T8" fmla="*/ 2147483647 w 1585"/>
              <a:gd name="T9" fmla="*/ 2147483647 h 1345"/>
              <a:gd name="T10" fmla="*/ 2147483647 w 1585"/>
              <a:gd name="T11" fmla="*/ 2147483647 h 1345"/>
              <a:gd name="T12" fmla="*/ 0 w 1585"/>
              <a:gd name="T13" fmla="*/ 2147483647 h 134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585"/>
              <a:gd name="T22" fmla="*/ 0 h 1345"/>
              <a:gd name="T23" fmla="*/ 1585 w 1585"/>
              <a:gd name="T24" fmla="*/ 1345 h 134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585" h="1345">
                <a:moveTo>
                  <a:pt x="0" y="336"/>
                </a:moveTo>
                <a:lnTo>
                  <a:pt x="1248" y="144"/>
                </a:lnTo>
                <a:lnTo>
                  <a:pt x="1248" y="0"/>
                </a:lnTo>
                <a:lnTo>
                  <a:pt x="1584" y="672"/>
                </a:lnTo>
                <a:lnTo>
                  <a:pt x="1248" y="1344"/>
                </a:lnTo>
                <a:lnTo>
                  <a:pt x="1248" y="1200"/>
                </a:lnTo>
                <a:lnTo>
                  <a:pt x="0" y="1200"/>
                </a:lnTo>
              </a:path>
            </a:pathLst>
          </a:custGeom>
          <a:solidFill>
            <a:schemeClr val="accent1"/>
          </a:solidFill>
          <a:ln w="19050" cap="rnd">
            <a:solidFill>
              <a:schemeClr val="bg1"/>
            </a:solidFill>
            <a:round/>
            <a:headEnd type="none" w="sm" len="sm"/>
            <a:tailEnd type="none" w="sm" len="sm"/>
          </a:ln>
          <a:effectLst/>
        </p:spPr>
        <p:txBody>
          <a:bodyPr bIns="93600" anchor="ctr" anchorCtr="0"/>
          <a:lstStyle/>
          <a:p>
            <a:pPr marL="904876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2800" b="1" dirty="0" err="1">
                <a:solidFill>
                  <a:srgbClr val="FFFFFF"/>
                </a:solidFill>
                <a:latin typeface="Avenir Medium"/>
              </a:rPr>
              <a:t>Überschrift</a:t>
            </a:r>
            <a:endParaRPr lang="en-US" sz="2800" b="1" dirty="0">
              <a:solidFill>
                <a:srgbClr val="FFFFFF"/>
              </a:solidFill>
              <a:latin typeface="Avenir Medium"/>
            </a:endParaRPr>
          </a:p>
        </p:txBody>
      </p:sp>
      <p:sp>
        <p:nvSpPr>
          <p:cNvPr id="9" name="Freeform 3"/>
          <p:cNvSpPr>
            <a:spLocks/>
          </p:cNvSpPr>
          <p:nvPr/>
        </p:nvSpPr>
        <p:spPr bwMode="gray">
          <a:xfrm>
            <a:off x="14493481" y="3113792"/>
            <a:ext cx="3600000" cy="1872000"/>
          </a:xfrm>
          <a:custGeom>
            <a:avLst/>
            <a:gdLst>
              <a:gd name="T0" fmla="*/ 0 w 1585"/>
              <a:gd name="T1" fmla="*/ 2147483647 h 1345"/>
              <a:gd name="T2" fmla="*/ 2147483647 w 1585"/>
              <a:gd name="T3" fmla="*/ 2147483647 h 1345"/>
              <a:gd name="T4" fmla="*/ 2147483647 w 1585"/>
              <a:gd name="T5" fmla="*/ 0 h 1345"/>
              <a:gd name="T6" fmla="*/ 2147483647 w 1585"/>
              <a:gd name="T7" fmla="*/ 2147483647 h 1345"/>
              <a:gd name="T8" fmla="*/ 2147483647 w 1585"/>
              <a:gd name="T9" fmla="*/ 2147483647 h 1345"/>
              <a:gd name="T10" fmla="*/ 2147483647 w 1585"/>
              <a:gd name="T11" fmla="*/ 2147483647 h 1345"/>
              <a:gd name="T12" fmla="*/ 0 w 1585"/>
              <a:gd name="T13" fmla="*/ 2147483647 h 134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585"/>
              <a:gd name="T22" fmla="*/ 0 h 1345"/>
              <a:gd name="T23" fmla="*/ 1585 w 1585"/>
              <a:gd name="T24" fmla="*/ 1345 h 134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585" h="1345">
                <a:moveTo>
                  <a:pt x="0" y="336"/>
                </a:moveTo>
                <a:lnTo>
                  <a:pt x="1248" y="144"/>
                </a:lnTo>
                <a:lnTo>
                  <a:pt x="1248" y="0"/>
                </a:lnTo>
                <a:lnTo>
                  <a:pt x="1584" y="672"/>
                </a:lnTo>
                <a:lnTo>
                  <a:pt x="1248" y="1344"/>
                </a:lnTo>
                <a:lnTo>
                  <a:pt x="1248" y="1200"/>
                </a:lnTo>
                <a:lnTo>
                  <a:pt x="0" y="1200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9050" cap="rnd">
            <a:solidFill>
              <a:schemeClr val="bg1"/>
            </a:solidFill>
            <a:round/>
            <a:headEnd type="none" w="sm" len="sm"/>
            <a:tailEnd type="none" w="sm" len="sm"/>
          </a:ln>
          <a:effectLst/>
        </p:spPr>
        <p:txBody>
          <a:bodyPr bIns="93600" anchor="ctr" anchorCtr="0"/>
          <a:lstStyle/>
          <a:p>
            <a:pPr marL="53975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err="1">
                <a:solidFill>
                  <a:srgbClr val="FFFFFF"/>
                </a:solidFill>
                <a:latin typeface="Avenir Medium"/>
              </a:rPr>
              <a:t>Überschrift</a:t>
            </a:r>
            <a:endParaRPr lang="en-US" sz="2800" b="1" dirty="0">
              <a:solidFill>
                <a:srgbClr val="FFFFFF"/>
              </a:solidFill>
              <a:latin typeface="Avenir Medium"/>
            </a:endParaRPr>
          </a:p>
        </p:txBody>
      </p:sp>
      <p:sp>
        <p:nvSpPr>
          <p:cNvPr id="10" name="Freeform 4"/>
          <p:cNvSpPr>
            <a:spLocks/>
          </p:cNvSpPr>
          <p:nvPr/>
        </p:nvSpPr>
        <p:spPr bwMode="gray">
          <a:xfrm>
            <a:off x="11469145" y="3349136"/>
            <a:ext cx="3600000" cy="1584000"/>
          </a:xfrm>
          <a:custGeom>
            <a:avLst/>
            <a:gdLst>
              <a:gd name="T0" fmla="*/ 2147483647 w 1345"/>
              <a:gd name="T1" fmla="*/ 0 h 1105"/>
              <a:gd name="T2" fmla="*/ 2147483647 w 1345"/>
              <a:gd name="T3" fmla="*/ 2147483647 h 1105"/>
              <a:gd name="T4" fmla="*/ 0 w 1345"/>
              <a:gd name="T5" fmla="*/ 2147483647 h 1105"/>
              <a:gd name="T6" fmla="*/ 0 w 1345"/>
              <a:gd name="T7" fmla="*/ 2147483647 h 1105"/>
              <a:gd name="T8" fmla="*/ 2147483647 w 1345"/>
              <a:gd name="T9" fmla="*/ 2147483647 h 1105"/>
              <a:gd name="T10" fmla="*/ 2147483647 w 1345"/>
              <a:gd name="T11" fmla="*/ 2147483647 h 1105"/>
              <a:gd name="T12" fmla="*/ 2147483647 w 1345"/>
              <a:gd name="T13" fmla="*/ 2147483647 h 1105"/>
              <a:gd name="T14" fmla="*/ 2147483647 w 1345"/>
              <a:gd name="T15" fmla="*/ 0 h 110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345"/>
              <a:gd name="T25" fmla="*/ 0 h 1105"/>
              <a:gd name="T26" fmla="*/ 1345 w 1345"/>
              <a:gd name="T27" fmla="*/ 1105 h 110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345" h="1105">
                <a:moveTo>
                  <a:pt x="1056" y="0"/>
                </a:moveTo>
                <a:lnTo>
                  <a:pt x="1056" y="144"/>
                </a:lnTo>
                <a:lnTo>
                  <a:pt x="0" y="336"/>
                </a:lnTo>
                <a:lnTo>
                  <a:pt x="0" y="1008"/>
                </a:lnTo>
                <a:lnTo>
                  <a:pt x="1056" y="1008"/>
                </a:lnTo>
                <a:lnTo>
                  <a:pt x="1056" y="1104"/>
                </a:lnTo>
                <a:lnTo>
                  <a:pt x="1344" y="576"/>
                </a:lnTo>
                <a:lnTo>
                  <a:pt x="1056" y="0"/>
                </a:lnTo>
              </a:path>
            </a:pathLst>
          </a:custGeom>
          <a:solidFill>
            <a:srgbClr val="BDDAF5"/>
          </a:solidFill>
          <a:ln w="19050" cap="rnd">
            <a:solidFill>
              <a:schemeClr val="bg1"/>
            </a:solidFill>
            <a:round/>
            <a:headEnd/>
            <a:tailEnd/>
          </a:ln>
          <a:effectLst/>
        </p:spPr>
        <p:txBody>
          <a:bodyPr bIns="93600" anchor="ctr" anchorCtr="0"/>
          <a:lstStyle/>
          <a:p>
            <a:pPr marL="53975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err="1">
                <a:solidFill>
                  <a:schemeClr val="bg1"/>
                </a:solidFill>
                <a:latin typeface="Avenir Medium"/>
              </a:rPr>
              <a:t>Überschrift</a:t>
            </a:r>
            <a:endParaRPr lang="en-US" sz="2800" b="1" dirty="0">
              <a:solidFill>
                <a:schemeClr val="bg1"/>
              </a:solidFill>
              <a:latin typeface="Avenir Medium"/>
            </a:endParaRPr>
          </a:p>
        </p:txBody>
      </p:sp>
      <p:sp>
        <p:nvSpPr>
          <p:cNvPr id="11" name="Freeform 5"/>
          <p:cNvSpPr>
            <a:spLocks/>
          </p:cNvSpPr>
          <p:nvPr/>
        </p:nvSpPr>
        <p:spPr bwMode="gray">
          <a:xfrm>
            <a:off x="8588825" y="3618042"/>
            <a:ext cx="3600000" cy="1296000"/>
          </a:xfrm>
          <a:custGeom>
            <a:avLst/>
            <a:gdLst>
              <a:gd name="T0" fmla="*/ 2147483647 w 1249"/>
              <a:gd name="T1" fmla="*/ 0 h 913"/>
              <a:gd name="T2" fmla="*/ 2147483647 w 1249"/>
              <a:gd name="T3" fmla="*/ 2147483647 h 913"/>
              <a:gd name="T4" fmla="*/ 0 w 1249"/>
              <a:gd name="T5" fmla="*/ 2147483647 h 913"/>
              <a:gd name="T6" fmla="*/ 0 w 1249"/>
              <a:gd name="T7" fmla="*/ 2147483647 h 913"/>
              <a:gd name="T8" fmla="*/ 2147483647 w 1249"/>
              <a:gd name="T9" fmla="*/ 2147483647 h 913"/>
              <a:gd name="T10" fmla="*/ 2147483647 w 1249"/>
              <a:gd name="T11" fmla="*/ 2147483647 h 913"/>
              <a:gd name="T12" fmla="*/ 2147483647 w 1249"/>
              <a:gd name="T13" fmla="*/ 2147483647 h 913"/>
              <a:gd name="T14" fmla="*/ 2147483647 w 1249"/>
              <a:gd name="T15" fmla="*/ 0 h 91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49"/>
              <a:gd name="T25" fmla="*/ 0 h 913"/>
              <a:gd name="T26" fmla="*/ 1249 w 1249"/>
              <a:gd name="T27" fmla="*/ 913 h 91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49" h="913">
                <a:moveTo>
                  <a:pt x="913" y="0"/>
                </a:moveTo>
                <a:lnTo>
                  <a:pt x="913" y="144"/>
                </a:lnTo>
                <a:lnTo>
                  <a:pt x="0" y="288"/>
                </a:lnTo>
                <a:lnTo>
                  <a:pt x="0" y="816"/>
                </a:lnTo>
                <a:lnTo>
                  <a:pt x="911" y="816"/>
                </a:lnTo>
                <a:lnTo>
                  <a:pt x="911" y="912"/>
                </a:lnTo>
                <a:lnTo>
                  <a:pt x="1248" y="480"/>
                </a:lnTo>
                <a:lnTo>
                  <a:pt x="913" y="0"/>
                </a:lnTo>
              </a:path>
            </a:pathLst>
          </a:custGeom>
          <a:solidFill>
            <a:schemeClr val="accent3">
              <a:lumMod val="75000"/>
            </a:schemeClr>
          </a:solidFill>
          <a:ln w="19050" cap="rnd">
            <a:solidFill>
              <a:schemeClr val="bg1"/>
            </a:solidFill>
            <a:round/>
            <a:headEnd/>
            <a:tailEnd/>
          </a:ln>
          <a:effectLst/>
        </p:spPr>
        <p:txBody>
          <a:bodyPr bIns="93600" anchor="ctr" anchorCtr="0"/>
          <a:lstStyle/>
          <a:p>
            <a:pPr marL="482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2800" b="1" dirty="0" err="1">
                <a:solidFill>
                  <a:schemeClr val="bg1"/>
                </a:solidFill>
                <a:latin typeface="Avenir Medium"/>
              </a:rPr>
              <a:t>Überschrift</a:t>
            </a:r>
            <a:endParaRPr lang="en-US" sz="2800" b="1" dirty="0">
              <a:solidFill>
                <a:schemeClr val="bg1"/>
              </a:solidFill>
              <a:latin typeface="Avenir Medium"/>
            </a:endParaRPr>
          </a:p>
        </p:txBody>
      </p:sp>
      <p:sp>
        <p:nvSpPr>
          <p:cNvPr id="12" name="Freeform 6"/>
          <p:cNvSpPr>
            <a:spLocks/>
          </p:cNvSpPr>
          <p:nvPr/>
        </p:nvSpPr>
        <p:spPr bwMode="gray">
          <a:xfrm>
            <a:off x="5564489" y="3904235"/>
            <a:ext cx="3600000" cy="1009798"/>
          </a:xfrm>
          <a:custGeom>
            <a:avLst/>
            <a:gdLst>
              <a:gd name="T0" fmla="*/ 2147483647 w 1106"/>
              <a:gd name="T1" fmla="*/ 0 h 721"/>
              <a:gd name="T2" fmla="*/ 2147483647 w 1106"/>
              <a:gd name="T3" fmla="*/ 2147483647 h 721"/>
              <a:gd name="T4" fmla="*/ 0 w 1106"/>
              <a:gd name="T5" fmla="*/ 2147483647 h 721"/>
              <a:gd name="T6" fmla="*/ 0 w 1106"/>
              <a:gd name="T7" fmla="*/ 2147483647 h 721"/>
              <a:gd name="T8" fmla="*/ 2147483647 w 1106"/>
              <a:gd name="T9" fmla="*/ 2147483647 h 721"/>
              <a:gd name="T10" fmla="*/ 2147483647 w 1106"/>
              <a:gd name="T11" fmla="*/ 2147483647 h 721"/>
              <a:gd name="T12" fmla="*/ 2147483647 w 1106"/>
              <a:gd name="T13" fmla="*/ 2147483647 h 721"/>
              <a:gd name="T14" fmla="*/ 2147483647 w 1106"/>
              <a:gd name="T15" fmla="*/ 0 h 72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106"/>
              <a:gd name="T25" fmla="*/ 0 h 721"/>
              <a:gd name="T26" fmla="*/ 1106 w 1106"/>
              <a:gd name="T27" fmla="*/ 721 h 72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106" h="721">
                <a:moveTo>
                  <a:pt x="863" y="0"/>
                </a:moveTo>
                <a:lnTo>
                  <a:pt x="863" y="96"/>
                </a:lnTo>
                <a:lnTo>
                  <a:pt x="0" y="240"/>
                </a:lnTo>
                <a:lnTo>
                  <a:pt x="0" y="624"/>
                </a:lnTo>
                <a:lnTo>
                  <a:pt x="863" y="624"/>
                </a:lnTo>
                <a:lnTo>
                  <a:pt x="863" y="720"/>
                </a:lnTo>
                <a:lnTo>
                  <a:pt x="1105" y="384"/>
                </a:lnTo>
                <a:lnTo>
                  <a:pt x="863" y="0"/>
                </a:lnTo>
              </a:path>
            </a:pathLst>
          </a:custGeom>
          <a:solidFill>
            <a:schemeClr val="accent3">
              <a:lumMod val="50000"/>
            </a:schemeClr>
          </a:solidFill>
          <a:ln w="19050" cap="rnd">
            <a:solidFill>
              <a:schemeClr val="bg1"/>
            </a:solidFill>
            <a:round/>
            <a:headEnd/>
            <a:tailEnd/>
          </a:ln>
          <a:effectLst/>
        </p:spPr>
        <p:txBody>
          <a:bodyPr bIns="216000" anchor="b" anchorCtr="0"/>
          <a:lstStyle/>
          <a:p>
            <a:pPr marL="174626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err="1">
                <a:solidFill>
                  <a:schemeClr val="bg1"/>
                </a:solidFill>
                <a:latin typeface="Avenir Medium"/>
              </a:rPr>
              <a:t>Überschrift</a:t>
            </a:r>
            <a:endParaRPr lang="en-US" sz="2800" b="1" dirty="0">
              <a:solidFill>
                <a:schemeClr val="bg1"/>
              </a:solidFill>
              <a:latin typeface="Avenir Medium"/>
            </a:endParaRPr>
          </a:p>
        </p:txBody>
      </p:sp>
      <p:sp>
        <p:nvSpPr>
          <p:cNvPr id="20" name="Rectangle 19"/>
          <p:cNvSpPr>
            <a:spLocks/>
          </p:cNvSpPr>
          <p:nvPr/>
        </p:nvSpPr>
        <p:spPr bwMode="auto">
          <a:xfrm>
            <a:off x="3259833" y="5130224"/>
            <a:ext cx="17856000" cy="360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t" anchorCtr="0" compatLnSpc="1">
            <a:prstTxWarp prst="textNoShape">
              <a:avLst/>
            </a:prstTxWarp>
          </a:bodyPr>
          <a:lstStyle/>
          <a:p>
            <a:pPr marL="355600" indent="-355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AUFGABE</a:t>
            </a:r>
          </a:p>
        </p:txBody>
      </p:sp>
      <p:sp>
        <p:nvSpPr>
          <p:cNvPr id="21" name="Rectangle 20"/>
          <p:cNvSpPr>
            <a:spLocks/>
          </p:cNvSpPr>
          <p:nvPr/>
        </p:nvSpPr>
        <p:spPr bwMode="auto">
          <a:xfrm>
            <a:off x="3259833" y="9018240"/>
            <a:ext cx="17856000" cy="314976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VERANT-</a:t>
            </a:r>
            <a:br>
              <a:rPr lang="en-US" sz="2800" dirty="0">
                <a:solidFill>
                  <a:srgbClr val="000000"/>
                </a:solidFill>
                <a:latin typeface="Avenir Medium"/>
              </a:rPr>
            </a:br>
            <a:r>
              <a:rPr lang="en-US" sz="2800" dirty="0">
                <a:solidFill>
                  <a:srgbClr val="000000"/>
                </a:solidFill>
                <a:latin typeface="Avenir Medium"/>
              </a:rPr>
              <a:t>WORTLICH</a:t>
            </a:r>
          </a:p>
        </p:txBody>
      </p:sp>
      <p:sp>
        <p:nvSpPr>
          <p:cNvPr id="23" name="Footnot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  <p:sp>
        <p:nvSpPr>
          <p:cNvPr id="25" name="Rectangle 24"/>
          <p:cNvSpPr/>
          <p:nvPr>
            <p:custDataLst>
              <p:tags r:id="rId5"/>
            </p:custDataLst>
          </p:nvPr>
        </p:nvSpPr>
        <p:spPr>
          <a:xfrm>
            <a:off x="5564489" y="5130224"/>
            <a:ext cx="2880000" cy="3600000"/>
          </a:xfrm>
          <a:prstGeom prst="rect">
            <a:avLst/>
          </a:prstGeom>
          <a:noFill/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</p:txBody>
      </p:sp>
      <p:sp>
        <p:nvSpPr>
          <p:cNvPr id="26" name="Rectangle 25"/>
          <p:cNvSpPr/>
          <p:nvPr>
            <p:custDataLst>
              <p:tags r:id="rId6"/>
            </p:custDataLst>
          </p:nvPr>
        </p:nvSpPr>
        <p:spPr>
          <a:xfrm>
            <a:off x="8588425" y="5130224"/>
            <a:ext cx="2880000" cy="3600000"/>
          </a:xfrm>
          <a:prstGeom prst="rect">
            <a:avLst/>
          </a:prstGeom>
          <a:noFill/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</p:txBody>
      </p:sp>
      <p:sp>
        <p:nvSpPr>
          <p:cNvPr id="27" name="Rectangle 26"/>
          <p:cNvSpPr/>
          <p:nvPr>
            <p:custDataLst>
              <p:tags r:id="rId7"/>
            </p:custDataLst>
          </p:nvPr>
        </p:nvSpPr>
        <p:spPr>
          <a:xfrm>
            <a:off x="11612761" y="5130224"/>
            <a:ext cx="2880000" cy="3600000"/>
          </a:xfrm>
          <a:prstGeom prst="rect">
            <a:avLst/>
          </a:prstGeom>
          <a:noFill/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</p:txBody>
      </p:sp>
      <p:sp>
        <p:nvSpPr>
          <p:cNvPr id="28" name="Rectangle 27"/>
          <p:cNvSpPr/>
          <p:nvPr>
            <p:custDataLst>
              <p:tags r:id="rId8"/>
            </p:custDataLst>
          </p:nvPr>
        </p:nvSpPr>
        <p:spPr>
          <a:xfrm>
            <a:off x="14637097" y="5130224"/>
            <a:ext cx="2880000" cy="3600000"/>
          </a:xfrm>
          <a:prstGeom prst="rect">
            <a:avLst/>
          </a:prstGeom>
          <a:noFill/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</p:txBody>
      </p:sp>
      <p:sp>
        <p:nvSpPr>
          <p:cNvPr id="29" name="Rectangle 28"/>
          <p:cNvSpPr/>
          <p:nvPr>
            <p:custDataLst>
              <p:tags r:id="rId9"/>
            </p:custDataLst>
          </p:nvPr>
        </p:nvSpPr>
        <p:spPr>
          <a:xfrm>
            <a:off x="17661433" y="5130224"/>
            <a:ext cx="2880000" cy="3600000"/>
          </a:xfrm>
          <a:prstGeom prst="rect">
            <a:avLst/>
          </a:prstGeom>
          <a:noFill/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</p:txBody>
      </p:sp>
      <p:sp>
        <p:nvSpPr>
          <p:cNvPr id="30" name="Rectangle 29"/>
          <p:cNvSpPr/>
          <p:nvPr>
            <p:custDataLst>
              <p:tags r:id="rId10"/>
            </p:custDataLst>
          </p:nvPr>
        </p:nvSpPr>
        <p:spPr>
          <a:xfrm>
            <a:off x="5564489" y="9018239"/>
            <a:ext cx="2880000" cy="3167410"/>
          </a:xfrm>
          <a:prstGeom prst="rect">
            <a:avLst/>
          </a:prstGeom>
          <a:noFill/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</p:txBody>
      </p:sp>
      <p:sp>
        <p:nvSpPr>
          <p:cNvPr id="31" name="Rectangle 30"/>
          <p:cNvSpPr/>
          <p:nvPr>
            <p:custDataLst>
              <p:tags r:id="rId11"/>
            </p:custDataLst>
          </p:nvPr>
        </p:nvSpPr>
        <p:spPr>
          <a:xfrm>
            <a:off x="8588425" y="9018239"/>
            <a:ext cx="2880000" cy="3167410"/>
          </a:xfrm>
          <a:prstGeom prst="rect">
            <a:avLst/>
          </a:prstGeom>
          <a:noFill/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</p:txBody>
      </p:sp>
      <p:sp>
        <p:nvSpPr>
          <p:cNvPr id="32" name="Rectangle 31"/>
          <p:cNvSpPr/>
          <p:nvPr>
            <p:custDataLst>
              <p:tags r:id="rId12"/>
            </p:custDataLst>
          </p:nvPr>
        </p:nvSpPr>
        <p:spPr>
          <a:xfrm>
            <a:off x="11612761" y="9018239"/>
            <a:ext cx="2880000" cy="3167410"/>
          </a:xfrm>
          <a:prstGeom prst="rect">
            <a:avLst/>
          </a:prstGeom>
          <a:noFill/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</p:txBody>
      </p:sp>
      <p:sp>
        <p:nvSpPr>
          <p:cNvPr id="33" name="Rectangle 32"/>
          <p:cNvSpPr/>
          <p:nvPr>
            <p:custDataLst>
              <p:tags r:id="rId13"/>
            </p:custDataLst>
          </p:nvPr>
        </p:nvSpPr>
        <p:spPr>
          <a:xfrm>
            <a:off x="14637097" y="9018239"/>
            <a:ext cx="2880000" cy="3167410"/>
          </a:xfrm>
          <a:prstGeom prst="rect">
            <a:avLst/>
          </a:prstGeom>
          <a:noFill/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</p:txBody>
      </p:sp>
      <p:sp>
        <p:nvSpPr>
          <p:cNvPr id="34" name="Rectangle 33"/>
          <p:cNvSpPr/>
          <p:nvPr>
            <p:custDataLst>
              <p:tags r:id="rId14"/>
            </p:custDataLst>
          </p:nvPr>
        </p:nvSpPr>
        <p:spPr>
          <a:xfrm>
            <a:off x="17661433" y="9018239"/>
            <a:ext cx="2880000" cy="3167410"/>
          </a:xfrm>
          <a:prstGeom prst="rect">
            <a:avLst/>
          </a:prstGeom>
          <a:noFill/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rgbClr val="000000"/>
                </a:solidFill>
                <a:latin typeface="Avenir Medium"/>
              </a:rPr>
              <a:t>Xxx</a:t>
            </a:r>
          </a:p>
        </p:txBody>
      </p:sp>
      <p:sp>
        <p:nvSpPr>
          <p:cNvPr id="35" name="Oval 34"/>
          <p:cNvSpPr/>
          <p:nvPr/>
        </p:nvSpPr>
        <p:spPr>
          <a:xfrm>
            <a:off x="8012409" y="3708834"/>
            <a:ext cx="432000" cy="43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Avenir Medium"/>
              </a:rPr>
              <a:t>1</a:t>
            </a:r>
          </a:p>
        </p:txBody>
      </p:sp>
      <p:sp>
        <p:nvSpPr>
          <p:cNvPr id="36" name="Oval 35"/>
          <p:cNvSpPr/>
          <p:nvPr/>
        </p:nvSpPr>
        <p:spPr>
          <a:xfrm>
            <a:off x="10785241" y="3507132"/>
            <a:ext cx="432000" cy="43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Avenir Medium"/>
              </a:rPr>
              <a:t>2</a:t>
            </a:r>
          </a:p>
        </p:txBody>
      </p:sp>
      <p:sp>
        <p:nvSpPr>
          <p:cNvPr id="37" name="Oval 36"/>
          <p:cNvSpPr/>
          <p:nvPr/>
        </p:nvSpPr>
        <p:spPr>
          <a:xfrm>
            <a:off x="13917065" y="3257536"/>
            <a:ext cx="432000" cy="43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Avenir Medium"/>
              </a:rPr>
              <a:t>3</a:t>
            </a:r>
          </a:p>
        </p:txBody>
      </p:sp>
      <p:sp>
        <p:nvSpPr>
          <p:cNvPr id="38" name="Oval 37"/>
          <p:cNvSpPr/>
          <p:nvPr/>
        </p:nvSpPr>
        <p:spPr>
          <a:xfrm>
            <a:off x="16941401" y="3046504"/>
            <a:ext cx="432000" cy="43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Avenir Medium"/>
              </a:rPr>
              <a:t>4</a:t>
            </a:r>
          </a:p>
        </p:txBody>
      </p:sp>
      <p:sp>
        <p:nvSpPr>
          <p:cNvPr id="39" name="Oval 38"/>
          <p:cNvSpPr/>
          <p:nvPr/>
        </p:nvSpPr>
        <p:spPr>
          <a:xfrm>
            <a:off x="19965737" y="2825552"/>
            <a:ext cx="432000" cy="43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Avenir Medium"/>
              </a:rPr>
              <a:t>5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87720027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2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048002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5"/>
          <p:cNvSpPr/>
          <p:nvPr/>
        </p:nvSpPr>
        <p:spPr>
          <a:xfrm>
            <a:off x="8581189" y="3978592"/>
            <a:ext cx="7200000" cy="8208000"/>
          </a:xfrm>
          <a:custGeom>
            <a:avLst/>
            <a:gdLst>
              <a:gd name="connsiteX0" fmla="*/ 4032000 w 4032000"/>
              <a:gd name="connsiteY0" fmla="*/ 0 h 3283705"/>
              <a:gd name="connsiteX1" fmla="*/ 4032000 w 4032000"/>
              <a:gd name="connsiteY1" fmla="*/ 763705 h 3283705"/>
              <a:gd name="connsiteX2" fmla="*/ 4032000 w 4032000"/>
              <a:gd name="connsiteY2" fmla="*/ 788769 h 3283705"/>
              <a:gd name="connsiteX3" fmla="*/ 4032000 w 4032000"/>
              <a:gd name="connsiteY3" fmla="*/ 3283705 h 3283705"/>
              <a:gd name="connsiteX4" fmla="*/ 0 w 4032000"/>
              <a:gd name="connsiteY4" fmla="*/ 3283705 h 3283705"/>
              <a:gd name="connsiteX5" fmla="*/ 0 w 4032000"/>
              <a:gd name="connsiteY5" fmla="*/ 763705 h 3283705"/>
              <a:gd name="connsiteX6" fmla="*/ 5242 w 4032000"/>
              <a:gd name="connsiteY6" fmla="*/ 763705 h 3283705"/>
              <a:gd name="connsiteX7" fmla="*/ 12274 w 4032000"/>
              <a:gd name="connsiteY7" fmla="*/ 724642 h 3283705"/>
              <a:gd name="connsiteX8" fmla="*/ 3133720 w 4032000"/>
              <a:gd name="connsiteY8" fmla="*/ 22833 h 3283705"/>
              <a:gd name="connsiteX9" fmla="*/ 3641516 w 4032000"/>
              <a:gd name="connsiteY9" fmla="*/ 4655 h 3283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32000" h="3283705">
                <a:moveTo>
                  <a:pt x="4032000" y="0"/>
                </a:moveTo>
                <a:lnTo>
                  <a:pt x="4032000" y="763705"/>
                </a:lnTo>
                <a:lnTo>
                  <a:pt x="4032000" y="788769"/>
                </a:lnTo>
                <a:lnTo>
                  <a:pt x="4032000" y="3283705"/>
                </a:lnTo>
                <a:lnTo>
                  <a:pt x="0" y="3283705"/>
                </a:lnTo>
                <a:lnTo>
                  <a:pt x="0" y="763705"/>
                </a:lnTo>
                <a:lnTo>
                  <a:pt x="5242" y="763705"/>
                </a:lnTo>
                <a:lnTo>
                  <a:pt x="12274" y="724642"/>
                </a:lnTo>
                <a:cubicBezTo>
                  <a:pt x="147825" y="390924"/>
                  <a:pt x="1393593" y="106599"/>
                  <a:pt x="3133720" y="22833"/>
                </a:cubicBezTo>
                <a:cubicBezTo>
                  <a:pt x="3301319" y="14765"/>
                  <a:pt x="3470915" y="8705"/>
                  <a:pt x="3641516" y="4655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EEF0A9-9D9A-4822-9836-B8059D62D1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244561" y="5850592"/>
            <a:ext cx="5040000" cy="6336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6077817" y="3546592"/>
            <a:ext cx="5040000" cy="864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7" name="Freeform 9"/>
          <p:cNvSpPr>
            <a:spLocks/>
          </p:cNvSpPr>
          <p:nvPr/>
        </p:nvSpPr>
        <p:spPr bwMode="auto">
          <a:xfrm rot="21314800">
            <a:off x="8432291" y="4164387"/>
            <a:ext cx="7442920" cy="1090962"/>
          </a:xfrm>
          <a:custGeom>
            <a:avLst/>
            <a:gdLst>
              <a:gd name="T0" fmla="*/ 0 w 1849"/>
              <a:gd name="T1" fmla="*/ 0 h 726"/>
              <a:gd name="T2" fmla="*/ 0 w 1849"/>
              <a:gd name="T3" fmla="*/ 0 h 726"/>
              <a:gd name="T4" fmla="*/ 0 w 1849"/>
              <a:gd name="T5" fmla="*/ 0 h 726"/>
              <a:gd name="T6" fmla="*/ 0 w 1849"/>
              <a:gd name="T7" fmla="*/ 0 h 726"/>
              <a:gd name="T8" fmla="*/ 0 60000 65536"/>
              <a:gd name="T9" fmla="*/ 0 60000 65536"/>
              <a:gd name="T10" fmla="*/ 0 60000 65536"/>
              <a:gd name="T11" fmla="*/ 0 60000 65536"/>
              <a:gd name="T12" fmla="*/ 0 w 1849"/>
              <a:gd name="T13" fmla="*/ 0 h 726"/>
              <a:gd name="T14" fmla="*/ 1849 w 1849"/>
              <a:gd name="T15" fmla="*/ 726 h 7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49" h="726">
                <a:moveTo>
                  <a:pt x="0" y="726"/>
                </a:moveTo>
                <a:cubicBezTo>
                  <a:pt x="167" y="557"/>
                  <a:pt x="334" y="388"/>
                  <a:pt x="537" y="272"/>
                </a:cubicBezTo>
                <a:cubicBezTo>
                  <a:pt x="740" y="156"/>
                  <a:pt x="1002" y="56"/>
                  <a:pt x="1221" y="28"/>
                </a:cubicBezTo>
                <a:cubicBezTo>
                  <a:pt x="1440" y="0"/>
                  <a:pt x="1695" y="56"/>
                  <a:pt x="1849" y="105"/>
                </a:cubicBezTo>
              </a:path>
            </a:pathLst>
          </a:custGeom>
          <a:noFill/>
          <a:ln w="9525">
            <a:solidFill>
              <a:schemeClr val="accent3">
                <a:lumMod val="50000"/>
              </a:schemeClr>
            </a:solidFill>
            <a:round/>
            <a:headEnd/>
            <a:tailEnd/>
          </a:ln>
          <a:scene3d>
            <a:camera prst="legacyObliqueTopRight"/>
            <a:lightRig rig="legacyFlat3" dir="b"/>
          </a:scene3d>
          <a:sp3d extrusionH="227000" prstMaterial="legacyMatte">
            <a:bevelT w="13500" h="13500" prst="angle"/>
            <a:bevelB w="13500" h="13500" prst="angle"/>
            <a:extrusionClr>
              <a:schemeClr val="hlink"/>
            </a:extrusionClr>
          </a:sp3d>
        </p:spPr>
        <p:txBody>
          <a:bodyPr wrap="none" anchor="ctr">
            <a:flatTx/>
          </a:bodyPr>
          <a:lstStyle/>
          <a:p>
            <a:r>
              <a:rPr lang="en-US" sz="7200" dirty="0">
                <a:latin typeface="Avenir Medium"/>
              </a:rPr>
              <a:t>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8150422" y="2681536"/>
            <a:ext cx="89479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800" dirty="0">
                <a:solidFill>
                  <a:schemeClr val="tx2"/>
                </a:solidFill>
                <a:latin typeface="Avenir Medium"/>
              </a:rPr>
              <a:t>TEXT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733824" y="3218110"/>
            <a:ext cx="89479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800" dirty="0">
                <a:solidFill>
                  <a:schemeClr val="tx2"/>
                </a:solidFill>
                <a:latin typeface="Avenir Medium"/>
              </a:rPr>
              <a:t>TEX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317166" y="4985792"/>
            <a:ext cx="89479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800" dirty="0">
                <a:solidFill>
                  <a:schemeClr val="tx2"/>
                </a:solidFill>
                <a:latin typeface="Avenir Medium"/>
              </a:rPr>
              <a:t>TEXT</a:t>
            </a:r>
          </a:p>
        </p:txBody>
      </p:sp>
      <p:sp>
        <p:nvSpPr>
          <p:cNvPr id="21" name="Footnot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44598827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A3D7ABB-5A4F-4A51-9EA1-2F120A5812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8" name="Footnot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21903" y="2970544"/>
            <a:ext cx="8784000" cy="8784000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dirty="0">
                <a:solidFill>
                  <a:schemeClr val="tx2"/>
                </a:solidFill>
                <a:latin typeface="Avenir Medium"/>
              </a:rPr>
              <a:t>ZWEIGLEISIGER ANSATZ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1992033" y="5658614"/>
            <a:ext cx="4320000" cy="504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244561" y="7146592"/>
            <a:ext cx="4320000" cy="504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6797817" y="4593794"/>
            <a:ext cx="4320000" cy="504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8" name="Freeform 9"/>
          <p:cNvSpPr>
            <a:spLocks/>
          </p:cNvSpPr>
          <p:nvPr/>
        </p:nvSpPr>
        <p:spPr bwMode="auto">
          <a:xfrm rot="21314800">
            <a:off x="8310374" y="5275424"/>
            <a:ext cx="3530546" cy="387372"/>
          </a:xfrm>
          <a:custGeom>
            <a:avLst/>
            <a:gdLst>
              <a:gd name="T0" fmla="*/ 0 w 1849"/>
              <a:gd name="T1" fmla="*/ 0 h 726"/>
              <a:gd name="T2" fmla="*/ 0 w 1849"/>
              <a:gd name="T3" fmla="*/ 0 h 726"/>
              <a:gd name="T4" fmla="*/ 0 w 1849"/>
              <a:gd name="T5" fmla="*/ 0 h 726"/>
              <a:gd name="T6" fmla="*/ 0 w 1849"/>
              <a:gd name="T7" fmla="*/ 0 h 726"/>
              <a:gd name="T8" fmla="*/ 0 60000 65536"/>
              <a:gd name="T9" fmla="*/ 0 60000 65536"/>
              <a:gd name="T10" fmla="*/ 0 60000 65536"/>
              <a:gd name="T11" fmla="*/ 0 60000 65536"/>
              <a:gd name="T12" fmla="*/ 0 w 1849"/>
              <a:gd name="T13" fmla="*/ 0 h 726"/>
              <a:gd name="T14" fmla="*/ 1849 w 1849"/>
              <a:gd name="T15" fmla="*/ 726 h 7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49" h="726">
                <a:moveTo>
                  <a:pt x="0" y="726"/>
                </a:moveTo>
                <a:cubicBezTo>
                  <a:pt x="167" y="557"/>
                  <a:pt x="334" y="388"/>
                  <a:pt x="537" y="272"/>
                </a:cubicBezTo>
                <a:cubicBezTo>
                  <a:pt x="740" y="156"/>
                  <a:pt x="1002" y="56"/>
                  <a:pt x="1221" y="28"/>
                </a:cubicBezTo>
                <a:cubicBezTo>
                  <a:pt x="1440" y="0"/>
                  <a:pt x="1695" y="56"/>
                  <a:pt x="1849" y="105"/>
                </a:cubicBezTo>
              </a:path>
            </a:pathLst>
          </a:custGeom>
          <a:noFill/>
          <a:ln w="9525">
            <a:solidFill>
              <a:schemeClr val="hlink"/>
            </a:solidFill>
            <a:round/>
            <a:headEnd/>
            <a:tailEnd/>
          </a:ln>
          <a:effectLst/>
          <a:scene3d>
            <a:camera prst="legacyObliqueTopRight"/>
            <a:lightRig rig="legacyFlat3" dir="b"/>
          </a:scene3d>
          <a:sp3d extrusionH="227000" prstMaterial="legacyMatte">
            <a:bevelT w="13500" h="13500" prst="angle"/>
            <a:bevelB w="13500" h="13500" prst="angle"/>
            <a:extrusionClr>
              <a:schemeClr val="hlink"/>
            </a:extrusionClr>
          </a:sp3d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anchor="ctr">
            <a:flatTx/>
          </a:bodyPr>
          <a:lstStyle/>
          <a:p>
            <a:r>
              <a:rPr lang="en-US" sz="7200" dirty="0">
                <a:latin typeface="Avenir Medium"/>
              </a:rPr>
              <a:t>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8559216" y="3833664"/>
            <a:ext cx="797206" cy="523220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rtlCol="0">
            <a:spAutoFit/>
          </a:bodyPr>
          <a:lstStyle/>
          <a:p>
            <a:pPr algn="ctr"/>
            <a:r>
              <a:rPr lang="en-GB" sz="2800" b="1" dirty="0">
                <a:latin typeface="Avenir Medium"/>
              </a:rPr>
              <a:t>Tex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3753432" y="4754468"/>
            <a:ext cx="797206" cy="523220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rtlCol="0">
            <a:spAutoFit/>
          </a:bodyPr>
          <a:lstStyle/>
          <a:p>
            <a:pPr algn="ctr"/>
            <a:r>
              <a:rPr lang="en-GB" sz="2800" b="1" dirty="0">
                <a:latin typeface="Avenir Medium"/>
              </a:rPr>
              <a:t>Tex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005960" y="6386462"/>
            <a:ext cx="797206" cy="523220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rtlCol="0">
            <a:spAutoFit/>
          </a:bodyPr>
          <a:lstStyle/>
          <a:p>
            <a:pPr algn="ctr"/>
            <a:r>
              <a:rPr lang="en-GB" sz="2800" b="1" dirty="0">
                <a:latin typeface="Avenir Medium"/>
              </a:rPr>
              <a:t>Text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774240" y="5658054"/>
            <a:ext cx="797206" cy="523220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rtlCol="0">
            <a:spAutoFit/>
          </a:bodyPr>
          <a:lstStyle/>
          <a:p>
            <a:pPr algn="ctr"/>
            <a:r>
              <a:rPr lang="en-GB" sz="2800" b="1" dirty="0">
                <a:latin typeface="Avenir Medium"/>
              </a:rPr>
              <a:t>Text</a:t>
            </a:r>
          </a:p>
        </p:txBody>
      </p:sp>
      <p:sp>
        <p:nvSpPr>
          <p:cNvPr id="23" name="Freeform 9"/>
          <p:cNvSpPr>
            <a:spLocks/>
          </p:cNvSpPr>
          <p:nvPr/>
        </p:nvSpPr>
        <p:spPr bwMode="auto">
          <a:xfrm rot="21314800">
            <a:off x="3304659" y="6099060"/>
            <a:ext cx="4693340" cy="541428"/>
          </a:xfrm>
          <a:custGeom>
            <a:avLst/>
            <a:gdLst>
              <a:gd name="T0" fmla="*/ 0 w 1849"/>
              <a:gd name="T1" fmla="*/ 0 h 726"/>
              <a:gd name="T2" fmla="*/ 0 w 1849"/>
              <a:gd name="T3" fmla="*/ 0 h 726"/>
              <a:gd name="T4" fmla="*/ 0 w 1849"/>
              <a:gd name="T5" fmla="*/ 0 h 726"/>
              <a:gd name="T6" fmla="*/ 0 w 1849"/>
              <a:gd name="T7" fmla="*/ 0 h 726"/>
              <a:gd name="T8" fmla="*/ 0 60000 65536"/>
              <a:gd name="T9" fmla="*/ 0 60000 65536"/>
              <a:gd name="T10" fmla="*/ 0 60000 65536"/>
              <a:gd name="T11" fmla="*/ 0 60000 65536"/>
              <a:gd name="T12" fmla="*/ 0 w 1849"/>
              <a:gd name="T13" fmla="*/ 0 h 726"/>
              <a:gd name="T14" fmla="*/ 1849 w 1849"/>
              <a:gd name="T15" fmla="*/ 726 h 7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49" h="726">
                <a:moveTo>
                  <a:pt x="0" y="726"/>
                </a:moveTo>
                <a:cubicBezTo>
                  <a:pt x="167" y="557"/>
                  <a:pt x="334" y="388"/>
                  <a:pt x="537" y="272"/>
                </a:cubicBezTo>
                <a:cubicBezTo>
                  <a:pt x="740" y="156"/>
                  <a:pt x="1002" y="56"/>
                  <a:pt x="1221" y="28"/>
                </a:cubicBezTo>
                <a:cubicBezTo>
                  <a:pt x="1440" y="0"/>
                  <a:pt x="1695" y="56"/>
                  <a:pt x="1849" y="105"/>
                </a:cubicBezTo>
              </a:path>
            </a:pathLst>
          </a:custGeom>
          <a:noFill/>
          <a:ln w="9525">
            <a:solidFill>
              <a:schemeClr val="hlink"/>
            </a:solidFill>
            <a:round/>
            <a:headEnd/>
            <a:tailEnd/>
          </a:ln>
          <a:effectLst/>
          <a:scene3d>
            <a:camera prst="legacyObliqueTopRight"/>
            <a:lightRig rig="legacyFlat3" dir="b"/>
          </a:scene3d>
          <a:sp3d extrusionH="227000" prstMaterial="legacyMatte">
            <a:bevelT w="13500" h="13500" prst="angle"/>
            <a:bevelB w="13500" h="13500" prst="angle"/>
            <a:extrusionClr>
              <a:schemeClr val="hlink"/>
            </a:extrusionClr>
          </a:sp3d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anchor="ctr">
            <a:flatTx/>
          </a:bodyPr>
          <a:lstStyle/>
          <a:p>
            <a:r>
              <a:rPr lang="en-US" sz="7200" dirty="0">
                <a:latin typeface="Avenir Medium"/>
              </a:rPr>
              <a:t> </a:t>
            </a:r>
          </a:p>
        </p:txBody>
      </p:sp>
      <p:sp>
        <p:nvSpPr>
          <p:cNvPr id="24" name="Freeform 9"/>
          <p:cNvSpPr>
            <a:spLocks/>
          </p:cNvSpPr>
          <p:nvPr/>
        </p:nvSpPr>
        <p:spPr bwMode="auto">
          <a:xfrm rot="21314800">
            <a:off x="12046904" y="4346141"/>
            <a:ext cx="5475818" cy="560990"/>
          </a:xfrm>
          <a:custGeom>
            <a:avLst/>
            <a:gdLst>
              <a:gd name="T0" fmla="*/ 0 w 1849"/>
              <a:gd name="T1" fmla="*/ 0 h 726"/>
              <a:gd name="T2" fmla="*/ 0 w 1849"/>
              <a:gd name="T3" fmla="*/ 0 h 726"/>
              <a:gd name="T4" fmla="*/ 0 w 1849"/>
              <a:gd name="T5" fmla="*/ 0 h 726"/>
              <a:gd name="T6" fmla="*/ 0 w 1849"/>
              <a:gd name="T7" fmla="*/ 0 h 726"/>
              <a:gd name="T8" fmla="*/ 0 60000 65536"/>
              <a:gd name="T9" fmla="*/ 0 60000 65536"/>
              <a:gd name="T10" fmla="*/ 0 60000 65536"/>
              <a:gd name="T11" fmla="*/ 0 60000 65536"/>
              <a:gd name="T12" fmla="*/ 0 w 1849"/>
              <a:gd name="T13" fmla="*/ 0 h 726"/>
              <a:gd name="T14" fmla="*/ 1849 w 1849"/>
              <a:gd name="T15" fmla="*/ 726 h 7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49" h="726">
                <a:moveTo>
                  <a:pt x="0" y="726"/>
                </a:moveTo>
                <a:cubicBezTo>
                  <a:pt x="167" y="557"/>
                  <a:pt x="334" y="388"/>
                  <a:pt x="537" y="272"/>
                </a:cubicBezTo>
                <a:cubicBezTo>
                  <a:pt x="740" y="156"/>
                  <a:pt x="1002" y="56"/>
                  <a:pt x="1221" y="28"/>
                </a:cubicBezTo>
                <a:cubicBezTo>
                  <a:pt x="1440" y="0"/>
                  <a:pt x="1695" y="56"/>
                  <a:pt x="1849" y="105"/>
                </a:cubicBezTo>
              </a:path>
            </a:pathLst>
          </a:custGeom>
          <a:noFill/>
          <a:ln w="9525">
            <a:solidFill>
              <a:schemeClr val="hlink"/>
            </a:solidFill>
            <a:round/>
            <a:headEnd/>
            <a:tailEnd/>
          </a:ln>
          <a:effectLst/>
          <a:scene3d>
            <a:camera prst="legacyObliqueTopRight"/>
            <a:lightRig rig="legacyFlat3" dir="b"/>
          </a:scene3d>
          <a:sp3d extrusionH="227000" prstMaterial="legacyMatte">
            <a:bevelT w="13500" h="13500" prst="angle"/>
            <a:bevelB w="13500" h="13500" prst="angle"/>
            <a:extrusionClr>
              <a:schemeClr val="hlink"/>
            </a:extrusionClr>
          </a:sp3d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anchor="ctr">
            <a:flatTx/>
          </a:bodyPr>
          <a:lstStyle/>
          <a:p>
            <a:r>
              <a:rPr lang="en-US" sz="7200" dirty="0">
                <a:latin typeface="Avenir Medium"/>
              </a:rPr>
              <a:t>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1560796" y="3794174"/>
            <a:ext cx="797206" cy="523220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rtlCol="0">
            <a:spAutoFit/>
          </a:bodyPr>
          <a:lstStyle/>
          <a:p>
            <a:pPr algn="ctr"/>
            <a:r>
              <a:rPr lang="en-GB" sz="2800" b="1" dirty="0">
                <a:latin typeface="Avenir Medium"/>
              </a:rPr>
              <a:t>Text</a:t>
            </a:r>
          </a:p>
        </p:txBody>
      </p:sp>
      <p:sp>
        <p:nvSpPr>
          <p:cNvPr id="26" name="Freeform 9"/>
          <p:cNvSpPr>
            <a:spLocks/>
          </p:cNvSpPr>
          <p:nvPr/>
        </p:nvSpPr>
        <p:spPr bwMode="auto">
          <a:xfrm rot="21238564">
            <a:off x="8169172" y="4211386"/>
            <a:ext cx="3225102" cy="1218940"/>
          </a:xfrm>
          <a:custGeom>
            <a:avLst/>
            <a:gdLst>
              <a:gd name="T0" fmla="*/ 0 w 1849"/>
              <a:gd name="T1" fmla="*/ 0 h 726"/>
              <a:gd name="T2" fmla="*/ 0 w 1849"/>
              <a:gd name="T3" fmla="*/ 0 h 726"/>
              <a:gd name="T4" fmla="*/ 0 w 1849"/>
              <a:gd name="T5" fmla="*/ 0 h 726"/>
              <a:gd name="T6" fmla="*/ 0 w 1849"/>
              <a:gd name="T7" fmla="*/ 0 h 726"/>
              <a:gd name="T8" fmla="*/ 0 60000 65536"/>
              <a:gd name="T9" fmla="*/ 0 60000 65536"/>
              <a:gd name="T10" fmla="*/ 0 60000 65536"/>
              <a:gd name="T11" fmla="*/ 0 60000 65536"/>
              <a:gd name="T12" fmla="*/ 0 w 1849"/>
              <a:gd name="T13" fmla="*/ 0 h 726"/>
              <a:gd name="T14" fmla="*/ 1849 w 1849"/>
              <a:gd name="T15" fmla="*/ 726 h 7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49" h="726">
                <a:moveTo>
                  <a:pt x="0" y="726"/>
                </a:moveTo>
                <a:cubicBezTo>
                  <a:pt x="167" y="557"/>
                  <a:pt x="334" y="388"/>
                  <a:pt x="537" y="272"/>
                </a:cubicBezTo>
                <a:cubicBezTo>
                  <a:pt x="740" y="156"/>
                  <a:pt x="1002" y="56"/>
                  <a:pt x="1221" y="28"/>
                </a:cubicBezTo>
                <a:cubicBezTo>
                  <a:pt x="1440" y="0"/>
                  <a:pt x="1695" y="56"/>
                  <a:pt x="1849" y="105"/>
                </a:cubicBezTo>
              </a:path>
            </a:pathLst>
          </a:custGeom>
          <a:noFill/>
          <a:ln w="9525">
            <a:solidFill>
              <a:schemeClr val="hlink"/>
            </a:solidFill>
            <a:round/>
            <a:headEnd/>
            <a:tailEnd/>
          </a:ln>
          <a:effectLst/>
          <a:scene3d>
            <a:camera prst="legacyObliqueTopRight"/>
            <a:lightRig rig="legacyFlat3" dir="b"/>
          </a:scene3d>
          <a:sp3d extrusionH="227000" prstMaterial="legacyMatte">
            <a:bevelT w="13500" h="13500" prst="angle"/>
            <a:bevelB w="13500" h="13500" prst="angle"/>
            <a:extrusionClr>
              <a:schemeClr val="hlink"/>
            </a:extrusionClr>
          </a:sp3d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anchor="ctr">
            <a:flatTx/>
          </a:bodyPr>
          <a:lstStyle/>
          <a:p>
            <a:r>
              <a:rPr lang="en-US" sz="7200" dirty="0">
                <a:latin typeface="Avenir Medium"/>
              </a:rPr>
              <a:t> </a:t>
            </a:r>
          </a:p>
        </p:txBody>
      </p:sp>
      <p:sp>
        <p:nvSpPr>
          <p:cNvPr id="27" name="Freeform 9"/>
          <p:cNvSpPr>
            <a:spLocks/>
          </p:cNvSpPr>
          <p:nvPr/>
        </p:nvSpPr>
        <p:spPr bwMode="auto">
          <a:xfrm rot="478490">
            <a:off x="12447219" y="3261854"/>
            <a:ext cx="5134840" cy="940236"/>
          </a:xfrm>
          <a:custGeom>
            <a:avLst/>
            <a:gdLst>
              <a:gd name="T0" fmla="*/ 0 w 1849"/>
              <a:gd name="T1" fmla="*/ 0 h 726"/>
              <a:gd name="T2" fmla="*/ 0 w 1849"/>
              <a:gd name="T3" fmla="*/ 0 h 726"/>
              <a:gd name="T4" fmla="*/ 0 w 1849"/>
              <a:gd name="T5" fmla="*/ 0 h 726"/>
              <a:gd name="T6" fmla="*/ 0 w 1849"/>
              <a:gd name="T7" fmla="*/ 0 h 726"/>
              <a:gd name="T8" fmla="*/ 0 60000 65536"/>
              <a:gd name="T9" fmla="*/ 0 60000 65536"/>
              <a:gd name="T10" fmla="*/ 0 60000 65536"/>
              <a:gd name="T11" fmla="*/ 0 60000 65536"/>
              <a:gd name="T12" fmla="*/ 0 w 1849"/>
              <a:gd name="T13" fmla="*/ 0 h 726"/>
              <a:gd name="T14" fmla="*/ 1849 w 1849"/>
              <a:gd name="T15" fmla="*/ 726 h 7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49" h="726">
                <a:moveTo>
                  <a:pt x="0" y="726"/>
                </a:moveTo>
                <a:cubicBezTo>
                  <a:pt x="167" y="557"/>
                  <a:pt x="334" y="388"/>
                  <a:pt x="537" y="272"/>
                </a:cubicBezTo>
                <a:cubicBezTo>
                  <a:pt x="740" y="156"/>
                  <a:pt x="1002" y="56"/>
                  <a:pt x="1221" y="28"/>
                </a:cubicBezTo>
                <a:cubicBezTo>
                  <a:pt x="1440" y="0"/>
                  <a:pt x="1695" y="56"/>
                  <a:pt x="1849" y="105"/>
                </a:cubicBezTo>
              </a:path>
            </a:pathLst>
          </a:custGeom>
          <a:noFill/>
          <a:ln w="9525">
            <a:solidFill>
              <a:schemeClr val="hlink"/>
            </a:solidFill>
            <a:round/>
            <a:headEnd/>
            <a:tailEnd/>
          </a:ln>
          <a:effectLst/>
          <a:scene3d>
            <a:camera prst="legacyObliqueTopRight"/>
            <a:lightRig rig="legacyFlat3" dir="b"/>
          </a:scene3d>
          <a:sp3d extrusionH="227000" prstMaterial="legacyMatte">
            <a:bevelT w="13500" h="13500" prst="angle"/>
            <a:bevelB w="13500" h="13500" prst="angle"/>
            <a:extrusionClr>
              <a:schemeClr val="hlink"/>
            </a:extrusionClr>
          </a:sp3d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anchor="ctr">
            <a:flatTx/>
          </a:bodyPr>
          <a:lstStyle/>
          <a:p>
            <a:r>
              <a:rPr lang="en-US" sz="7200" dirty="0">
                <a:latin typeface="Avenir Medium"/>
              </a:rPr>
              <a:t> 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6797817" y="8913794"/>
            <a:ext cx="4320000" cy="720000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1992033" y="9978614"/>
            <a:ext cx="4320000" cy="720000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244561" y="11466592"/>
            <a:ext cx="4320000" cy="720000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8012841" y="6426512"/>
            <a:ext cx="4320000" cy="504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8012841" y="10746512"/>
            <a:ext cx="4320000" cy="720000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5952844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2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048002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entagon 7"/>
          <p:cNvSpPr/>
          <p:nvPr/>
        </p:nvSpPr>
        <p:spPr>
          <a:xfrm flipH="1">
            <a:off x="5708105" y="2814942"/>
            <a:ext cx="15408000" cy="9360000"/>
          </a:xfrm>
          <a:prstGeom prst="homePlate">
            <a:avLst>
              <a:gd name="adj" fmla="val 17435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88D0000-61B6-4D2A-AB87-E422E6CCF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259833" y="5694942"/>
            <a:ext cx="3600000" cy="3600000"/>
          </a:xfrm>
          <a:prstGeom prst="ellipse">
            <a:avLst/>
          </a:prstGeom>
          <a:solidFill>
            <a:schemeClr val="accent1"/>
          </a:solidFill>
          <a:ln w="152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Avenir Medium"/>
              </a:rPr>
              <a:t>text</a:t>
            </a:r>
          </a:p>
        </p:txBody>
      </p:sp>
      <p:sp>
        <p:nvSpPr>
          <p:cNvPr id="11" name="Rectangle 10"/>
          <p:cNvSpPr/>
          <p:nvPr/>
        </p:nvSpPr>
        <p:spPr>
          <a:xfrm>
            <a:off x="8732841" y="6252102"/>
            <a:ext cx="3600000" cy="244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tx1"/>
                </a:solidFill>
                <a:latin typeface="Avenir Medium"/>
              </a:rPr>
              <a:t>text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308905" y="9102588"/>
            <a:ext cx="3600000" cy="244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tx1"/>
                </a:solidFill>
                <a:latin typeface="Avenir Medium"/>
              </a:rPr>
              <a:t>text</a:t>
            </a:r>
          </a:p>
        </p:txBody>
      </p:sp>
      <p:sp>
        <p:nvSpPr>
          <p:cNvPr id="13" name="Rectangle 12"/>
          <p:cNvSpPr/>
          <p:nvPr>
            <p:custDataLst>
              <p:tags r:id="rId4"/>
            </p:custDataLst>
          </p:nvPr>
        </p:nvSpPr>
        <p:spPr>
          <a:xfrm>
            <a:off x="12044809" y="3401616"/>
            <a:ext cx="8784000" cy="244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b="1" dirty="0">
                <a:solidFill>
                  <a:schemeClr val="tx1"/>
                </a:solidFill>
                <a:latin typeface="Avenir Medium"/>
              </a:rPr>
              <a:t>text</a:t>
            </a:r>
          </a:p>
        </p:txBody>
      </p:sp>
      <p:sp>
        <p:nvSpPr>
          <p:cNvPr id="14" name="Rectangle 13"/>
          <p:cNvSpPr/>
          <p:nvPr>
            <p:custDataLst>
              <p:tags r:id="rId5"/>
            </p:custDataLst>
          </p:nvPr>
        </p:nvSpPr>
        <p:spPr>
          <a:xfrm>
            <a:off x="12620873" y="6252102"/>
            <a:ext cx="8208000" cy="244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b="1" dirty="0">
                <a:solidFill>
                  <a:schemeClr val="tx1"/>
                </a:solidFill>
                <a:latin typeface="Avenir Medium"/>
              </a:rPr>
              <a:t>text</a:t>
            </a:r>
          </a:p>
        </p:txBody>
      </p:sp>
      <p:sp>
        <p:nvSpPr>
          <p:cNvPr id="15" name="Rectangle 14"/>
          <p:cNvSpPr/>
          <p:nvPr>
            <p:custDataLst>
              <p:tags r:id="rId6"/>
            </p:custDataLst>
          </p:nvPr>
        </p:nvSpPr>
        <p:spPr>
          <a:xfrm>
            <a:off x="13197785" y="9102588"/>
            <a:ext cx="7632000" cy="244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b="1" dirty="0">
                <a:solidFill>
                  <a:schemeClr val="tx1"/>
                </a:solidFill>
                <a:latin typeface="Avenir Medium"/>
              </a:rPr>
              <a:t>text</a:t>
            </a:r>
          </a:p>
        </p:txBody>
      </p:sp>
      <p:sp>
        <p:nvSpPr>
          <p:cNvPr id="10" name="Rectangle 9"/>
          <p:cNvSpPr/>
          <p:nvPr/>
        </p:nvSpPr>
        <p:spPr>
          <a:xfrm>
            <a:off x="8156377" y="3401616"/>
            <a:ext cx="3600000" cy="244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tx1"/>
                </a:solidFill>
                <a:latin typeface="Avenir Medium"/>
              </a:rPr>
              <a:t>text</a:t>
            </a:r>
          </a:p>
        </p:txBody>
      </p:sp>
      <p:sp>
        <p:nvSpPr>
          <p:cNvPr id="18" name="Footnote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  <p:cxnSp>
        <p:nvCxnSpPr>
          <p:cNvPr id="3" name="Gewinkelte Verbindung 2"/>
          <p:cNvCxnSpPr/>
          <p:nvPr/>
        </p:nvCxnSpPr>
        <p:spPr>
          <a:xfrm rot="16200000" flipH="1">
            <a:off x="8011631" y="6281207"/>
            <a:ext cx="1584636" cy="721078"/>
          </a:xfrm>
          <a:prstGeom prst="bentConnector2">
            <a:avLst/>
          </a:prstGeom>
          <a:ln w="60325">
            <a:solidFill>
              <a:schemeClr val="accent1"/>
            </a:solidFill>
            <a:prstDash val="sysDash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winkelte Verbindung 26"/>
          <p:cNvCxnSpPr/>
          <p:nvPr/>
        </p:nvCxnSpPr>
        <p:spPr>
          <a:xfrm rot="16200000" flipH="1">
            <a:off x="8587695" y="9161989"/>
            <a:ext cx="1584636" cy="721078"/>
          </a:xfrm>
          <a:prstGeom prst="bentConnector2">
            <a:avLst/>
          </a:prstGeom>
          <a:ln w="60325">
            <a:solidFill>
              <a:schemeClr val="accent1"/>
            </a:solidFill>
            <a:prstDash val="sysDash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912756106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2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3048002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Rectangle 88"/>
          <p:cNvSpPr/>
          <p:nvPr/>
        </p:nvSpPr>
        <p:spPr>
          <a:xfrm>
            <a:off x="2254222" y="9875870"/>
            <a:ext cx="9295291" cy="126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1168" tIns="100584" rIns="201168" bIns="1005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08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90" name="Rectangle 89"/>
          <p:cNvSpPr/>
          <p:nvPr/>
        </p:nvSpPr>
        <p:spPr>
          <a:xfrm>
            <a:off x="13599201" y="9875870"/>
            <a:ext cx="9342078" cy="126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1168" tIns="100584" rIns="201168" bIns="1005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08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91" name="Rectangle 90"/>
          <p:cNvSpPr/>
          <p:nvPr/>
        </p:nvSpPr>
        <p:spPr>
          <a:xfrm>
            <a:off x="11856147" y="9875870"/>
            <a:ext cx="1584000" cy="126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11856606" y="2905338"/>
            <a:ext cx="1584000" cy="126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11856606" y="6392489"/>
            <a:ext cx="1584000" cy="126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13599198" y="2905338"/>
            <a:ext cx="9342081" cy="126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1168" tIns="100584" rIns="201168" bIns="1005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08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4" name="Rectangle 3"/>
          <p:cNvSpPr/>
          <p:nvPr/>
        </p:nvSpPr>
        <p:spPr>
          <a:xfrm>
            <a:off x="511696" y="2905338"/>
            <a:ext cx="1584000" cy="126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2255315" y="2975509"/>
            <a:ext cx="9294200" cy="126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1168" tIns="100584" rIns="201168" bIns="1005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08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59" name="Rectangle 58"/>
          <p:cNvSpPr/>
          <p:nvPr/>
        </p:nvSpPr>
        <p:spPr>
          <a:xfrm>
            <a:off x="509733" y="6392489"/>
            <a:ext cx="1584000" cy="126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2254223" y="6392489"/>
            <a:ext cx="9295292" cy="126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1168" tIns="100584" rIns="201168" bIns="1005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08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8752" y="8133118"/>
            <a:ext cx="1584000" cy="126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6204" name="Rectangle 60"/>
          <p:cNvSpPr>
            <a:spLocks noChangeArrowheads="1"/>
          </p:cNvSpPr>
          <p:nvPr/>
        </p:nvSpPr>
        <p:spPr bwMode="auto">
          <a:xfrm>
            <a:off x="11711096" y="9384146"/>
            <a:ext cx="1532663" cy="5078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100584" tIns="50292" rIns="100584" bIns="50292" anchor="ctr">
            <a:noAutofit/>
          </a:bodyPr>
          <a:lstStyle/>
          <a:p>
            <a:pPr defTabSz="1708150" fontAlgn="base">
              <a:spcBef>
                <a:spcPct val="44000"/>
              </a:spcBef>
              <a:spcAft>
                <a:spcPct val="0"/>
              </a:spcAft>
              <a:buClr>
                <a:srgbClr val="003D8F"/>
              </a:buClr>
            </a:pPr>
            <a:r>
              <a:rPr lang="de-DE" sz="2640" dirty="0">
                <a:solidFill>
                  <a:schemeClr val="tx2"/>
                </a:solidFill>
                <a:latin typeface="Avenir Medium"/>
              </a:rPr>
              <a:t>AUSBLICK</a:t>
            </a:r>
          </a:p>
        </p:txBody>
      </p:sp>
      <p:sp>
        <p:nvSpPr>
          <p:cNvPr id="6205" name="Rectangle 61"/>
          <p:cNvSpPr>
            <a:spLocks noChangeArrowheads="1"/>
          </p:cNvSpPr>
          <p:nvPr/>
        </p:nvSpPr>
        <p:spPr bwMode="auto">
          <a:xfrm>
            <a:off x="366184" y="9384146"/>
            <a:ext cx="4136498" cy="5078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100584" tIns="50292" rIns="100584" bIns="50292" anchor="ctr">
            <a:noAutofit/>
          </a:bodyPr>
          <a:lstStyle/>
          <a:p>
            <a:pPr defTabSz="1708150" fontAlgn="base">
              <a:spcBef>
                <a:spcPct val="44000"/>
              </a:spcBef>
              <a:spcAft>
                <a:spcPct val="0"/>
              </a:spcAft>
              <a:buClr>
                <a:srgbClr val="003D8F"/>
              </a:buClr>
            </a:pPr>
            <a:r>
              <a:rPr lang="de-DE" sz="2640" dirty="0">
                <a:solidFill>
                  <a:schemeClr val="tx2"/>
                </a:solidFill>
                <a:latin typeface="Avenir Medium"/>
              </a:rPr>
              <a:t>IMPLEMENTIERUNGSSTATUS</a:t>
            </a: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>
                <a:latin typeface="Avenir Medium"/>
              </a:rPr>
              <a:t>Steckbrief:Produktions</a:t>
            </a:r>
            <a:r>
              <a:rPr lang="en-US" dirty="0">
                <a:latin typeface="Avenir Medium"/>
              </a:rPr>
              <a:t>- und </a:t>
            </a:r>
            <a:r>
              <a:rPr lang="en-US" dirty="0" err="1">
                <a:latin typeface="Avenir Medium"/>
              </a:rPr>
              <a:t>Servicematrix</a:t>
            </a:r>
            <a:endParaRPr lang="en-US" dirty="0">
              <a:latin typeface="Avenir Medium"/>
            </a:endParaRPr>
          </a:p>
        </p:txBody>
      </p:sp>
      <p:sp>
        <p:nvSpPr>
          <p:cNvPr id="6151" name="Rectangle 7"/>
          <p:cNvSpPr>
            <a:spLocks noChangeArrowheads="1"/>
          </p:cNvSpPr>
          <p:nvPr/>
        </p:nvSpPr>
        <p:spPr bwMode="auto">
          <a:xfrm>
            <a:off x="3128723" y="2413823"/>
            <a:ext cx="2811128" cy="5078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100584" tIns="50292" rIns="100584" bIns="50292" anchor="ctr">
            <a:noAutofit/>
          </a:bodyPr>
          <a:lstStyle/>
          <a:p>
            <a:pPr defTabSz="1708150" fontAlgn="base">
              <a:spcBef>
                <a:spcPct val="44000"/>
              </a:spcBef>
              <a:spcAft>
                <a:spcPct val="0"/>
              </a:spcAft>
              <a:buClr>
                <a:srgbClr val="003D8F"/>
              </a:buClr>
            </a:pPr>
            <a:r>
              <a:rPr lang="de-DE" sz="2640" dirty="0">
                <a:solidFill>
                  <a:schemeClr val="tx2"/>
                </a:solidFill>
                <a:latin typeface="Avenir Medium"/>
              </a:rPr>
              <a:t>VERANTWORTLICH</a:t>
            </a:r>
          </a:p>
        </p:txBody>
      </p:sp>
      <p:sp>
        <p:nvSpPr>
          <p:cNvPr id="6154" name="Rectangle 10"/>
          <p:cNvSpPr>
            <a:spLocks noChangeArrowheads="1"/>
          </p:cNvSpPr>
          <p:nvPr/>
        </p:nvSpPr>
        <p:spPr bwMode="auto">
          <a:xfrm>
            <a:off x="365202" y="5900923"/>
            <a:ext cx="755047" cy="5078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100584" tIns="50292" rIns="100584" bIns="50292" anchor="ctr">
            <a:noAutofit/>
          </a:bodyPr>
          <a:lstStyle/>
          <a:p>
            <a:pPr defTabSz="1708150" fontAlgn="base">
              <a:spcBef>
                <a:spcPct val="44000"/>
              </a:spcBef>
              <a:spcAft>
                <a:spcPct val="0"/>
              </a:spcAft>
              <a:buClr>
                <a:srgbClr val="003D8F"/>
              </a:buClr>
            </a:pPr>
            <a:r>
              <a:rPr lang="de-DE" sz="2640" dirty="0">
                <a:solidFill>
                  <a:schemeClr val="tx2"/>
                </a:solidFill>
                <a:latin typeface="Avenir Medium"/>
              </a:rPr>
              <a:t>ZIEL</a:t>
            </a:r>
          </a:p>
        </p:txBody>
      </p:sp>
      <p:sp>
        <p:nvSpPr>
          <p:cNvPr id="6164" name="Rectangle 20"/>
          <p:cNvSpPr>
            <a:spLocks noChangeArrowheads="1"/>
          </p:cNvSpPr>
          <p:nvPr/>
        </p:nvSpPr>
        <p:spPr bwMode="auto">
          <a:xfrm>
            <a:off x="366184" y="4156364"/>
            <a:ext cx="1197494" cy="507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0584" tIns="50292" rIns="100584" bIns="50292" anchor="ctr">
            <a:noAutofit/>
          </a:bodyPr>
          <a:lstStyle/>
          <a:p>
            <a:pPr defTabSz="1708150" fontAlgn="base">
              <a:spcBef>
                <a:spcPct val="44000"/>
              </a:spcBef>
              <a:spcAft>
                <a:spcPct val="0"/>
              </a:spcAft>
              <a:buClr>
                <a:srgbClr val="003D8F"/>
              </a:buClr>
            </a:pPr>
            <a:r>
              <a:rPr lang="de-DE" sz="2640" dirty="0">
                <a:solidFill>
                  <a:schemeClr val="tx2"/>
                </a:solidFill>
                <a:latin typeface="Avenir Medium"/>
              </a:rPr>
              <a:t>INHALT</a:t>
            </a:r>
          </a:p>
        </p:txBody>
      </p:sp>
      <p:sp>
        <p:nvSpPr>
          <p:cNvPr id="6177" name="Rectangle 33"/>
          <p:cNvSpPr>
            <a:spLocks noChangeArrowheads="1"/>
          </p:cNvSpPr>
          <p:nvPr/>
        </p:nvSpPr>
        <p:spPr bwMode="auto">
          <a:xfrm>
            <a:off x="11711096" y="5898958"/>
            <a:ext cx="1347516" cy="5078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100584" tIns="50292" rIns="100584" bIns="50292" anchor="ctr">
            <a:noAutofit/>
          </a:bodyPr>
          <a:lstStyle/>
          <a:p>
            <a:pPr defTabSz="1708150" fontAlgn="base">
              <a:spcBef>
                <a:spcPct val="44000"/>
              </a:spcBef>
              <a:spcAft>
                <a:spcPct val="0"/>
              </a:spcAft>
              <a:buClr>
                <a:srgbClr val="003D8F"/>
              </a:buClr>
            </a:pPr>
            <a:r>
              <a:rPr lang="de-DE" sz="2640" dirty="0">
                <a:solidFill>
                  <a:schemeClr val="tx2"/>
                </a:solidFill>
                <a:latin typeface="Avenir Medium"/>
              </a:rPr>
              <a:t>NUTZEN</a:t>
            </a:r>
          </a:p>
        </p:txBody>
      </p:sp>
      <p:sp>
        <p:nvSpPr>
          <p:cNvPr id="6194" name="Rectangle 50"/>
          <p:cNvSpPr>
            <a:spLocks noChangeArrowheads="1"/>
          </p:cNvSpPr>
          <p:nvPr/>
        </p:nvSpPr>
        <p:spPr bwMode="auto">
          <a:xfrm>
            <a:off x="14474616" y="2413771"/>
            <a:ext cx="3126689" cy="5078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100584" tIns="50292" rIns="100584" bIns="50292" anchor="ctr">
            <a:noAutofit/>
          </a:bodyPr>
          <a:lstStyle/>
          <a:p>
            <a:pPr defTabSz="1708150" fontAlgn="base">
              <a:spcBef>
                <a:spcPct val="44000"/>
              </a:spcBef>
              <a:spcAft>
                <a:spcPct val="0"/>
              </a:spcAft>
              <a:buClr>
                <a:srgbClr val="003D8F"/>
              </a:buClr>
            </a:pPr>
            <a:r>
              <a:rPr lang="de-DE" sz="2640" dirty="0">
                <a:solidFill>
                  <a:schemeClr val="tx2"/>
                </a:solidFill>
                <a:latin typeface="Avenir Medium"/>
              </a:rPr>
              <a:t>ZIELBILD-DIMENSION</a:t>
            </a:r>
          </a:p>
        </p:txBody>
      </p:sp>
      <p:sp>
        <p:nvSpPr>
          <p:cNvPr id="6206" name="Rectangle 62"/>
          <p:cNvSpPr>
            <a:spLocks noChangeArrowheads="1"/>
          </p:cNvSpPr>
          <p:nvPr/>
        </p:nvSpPr>
        <p:spPr bwMode="auto">
          <a:xfrm>
            <a:off x="363240" y="7641552"/>
            <a:ext cx="1739111" cy="5078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100584" tIns="50292" rIns="100584" bIns="50292" anchor="ctr">
            <a:noAutofit/>
          </a:bodyPr>
          <a:lstStyle/>
          <a:p>
            <a:pPr defTabSz="1708150" fontAlgn="base">
              <a:spcBef>
                <a:spcPct val="44000"/>
              </a:spcBef>
              <a:spcAft>
                <a:spcPct val="0"/>
              </a:spcAft>
              <a:buClr>
                <a:srgbClr val="003D8F"/>
              </a:buClr>
            </a:pPr>
            <a:r>
              <a:rPr lang="de-DE" sz="2640" dirty="0">
                <a:solidFill>
                  <a:schemeClr val="tx2"/>
                </a:solidFill>
                <a:latin typeface="Avenir Medium"/>
              </a:rPr>
              <a:t>BETEILIGTE</a:t>
            </a:r>
          </a:p>
        </p:txBody>
      </p:sp>
      <p:sp>
        <p:nvSpPr>
          <p:cNvPr id="53" name="Rectangle 61"/>
          <p:cNvSpPr>
            <a:spLocks noChangeArrowheads="1"/>
          </p:cNvSpPr>
          <p:nvPr/>
        </p:nvSpPr>
        <p:spPr bwMode="auto">
          <a:xfrm>
            <a:off x="352298" y="11126739"/>
            <a:ext cx="2719014" cy="5078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100584" tIns="50292" rIns="100584" bIns="50292" anchor="ctr">
            <a:noAutofit/>
          </a:bodyPr>
          <a:lstStyle/>
          <a:p>
            <a:pPr defTabSz="1708150" fontAlgn="base">
              <a:spcBef>
                <a:spcPct val="44000"/>
              </a:spcBef>
              <a:spcAft>
                <a:spcPct val="0"/>
              </a:spcAft>
              <a:buClr>
                <a:srgbClr val="003D8F"/>
              </a:buClr>
            </a:pPr>
            <a:r>
              <a:rPr lang="de-DE" sz="2640" dirty="0">
                <a:solidFill>
                  <a:schemeClr val="tx2"/>
                </a:solidFill>
                <a:latin typeface="Avenir Medium"/>
              </a:rPr>
              <a:t>MITBESTIMMUNG</a:t>
            </a:r>
          </a:p>
        </p:txBody>
      </p:sp>
      <p:sp>
        <p:nvSpPr>
          <p:cNvPr id="58" name="Rectangle 57"/>
          <p:cNvSpPr/>
          <p:nvPr/>
        </p:nvSpPr>
        <p:spPr>
          <a:xfrm>
            <a:off x="510714" y="4647931"/>
            <a:ext cx="1584000" cy="126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510714" y="9875870"/>
            <a:ext cx="1584000" cy="126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2330352" y="4683999"/>
            <a:ext cx="20610928" cy="126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1168" tIns="100584" rIns="201168" bIns="1005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08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72" name="Rectangle 71"/>
          <p:cNvSpPr/>
          <p:nvPr/>
        </p:nvSpPr>
        <p:spPr>
          <a:xfrm>
            <a:off x="2255314" y="8133118"/>
            <a:ext cx="20685966" cy="126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1168" tIns="100584" rIns="201168" bIns="1005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08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86" name="Rectangle 85"/>
          <p:cNvSpPr/>
          <p:nvPr/>
        </p:nvSpPr>
        <p:spPr>
          <a:xfrm>
            <a:off x="13599198" y="6392489"/>
            <a:ext cx="9342081" cy="126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1168" tIns="100584" rIns="201168" bIns="1005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08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92" name="Rectangle 91"/>
          <p:cNvSpPr/>
          <p:nvPr/>
        </p:nvSpPr>
        <p:spPr>
          <a:xfrm>
            <a:off x="510714" y="11618464"/>
            <a:ext cx="1584000" cy="11088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2255313" y="11618305"/>
            <a:ext cx="20685965" cy="11088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095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1168" tIns="100584" rIns="201168" bIns="1005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08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45" name="Footnot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10714" y="1271664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  <p:pic>
        <p:nvPicPr>
          <p:cNvPr id="48" name="Grafik 47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94206" y="6471690"/>
            <a:ext cx="1108800" cy="1108800"/>
          </a:xfrm>
          <a:prstGeom prst="rect">
            <a:avLst/>
          </a:prstGeom>
        </p:spPr>
      </p:pic>
      <p:pic>
        <p:nvPicPr>
          <p:cNvPr id="49" name="Grafik 48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352" y="6471690"/>
            <a:ext cx="1108800" cy="1108800"/>
          </a:xfrm>
          <a:prstGeom prst="rect">
            <a:avLst/>
          </a:prstGeom>
        </p:spPr>
      </p:pic>
      <p:pic>
        <p:nvPicPr>
          <p:cNvPr id="51" name="Grafik 50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352" y="2984537"/>
            <a:ext cx="1108800" cy="1108800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15" y="11697664"/>
            <a:ext cx="950400" cy="950400"/>
          </a:xfrm>
          <a:prstGeom prst="rect">
            <a:avLst/>
          </a:prstGeom>
        </p:spPr>
      </p:pic>
      <p:pic>
        <p:nvPicPr>
          <p:cNvPr id="54" name="Grafik 53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315" y="9955070"/>
            <a:ext cx="1108800" cy="1108800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94206" y="2984537"/>
            <a:ext cx="1108800" cy="1108800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94206" y="9955070"/>
            <a:ext cx="1108800" cy="1108800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352" y="8212319"/>
            <a:ext cx="1108800" cy="1108800"/>
          </a:xfrm>
          <a:prstGeom prst="rect">
            <a:avLst/>
          </a:prstGeom>
        </p:spPr>
      </p:pic>
      <p:pic>
        <p:nvPicPr>
          <p:cNvPr id="70" name="Grafik 69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352" y="4727131"/>
            <a:ext cx="1108800" cy="11088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4344850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5443CF-14B2-486B-A391-48B17E812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18794" y="2805777"/>
            <a:ext cx="1127553" cy="615553"/>
          </a:xfrm>
          <a:prstGeom prst="rect">
            <a:avLst/>
          </a:prstGeom>
          <a:noFill/>
          <a:ln w="1270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2880" tIns="91440" rIns="18288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2800" dirty="0">
                <a:solidFill>
                  <a:schemeClr val="dk2"/>
                </a:solidFill>
                <a:latin typeface="Avenir Medium"/>
              </a:rPr>
              <a:t>ZIELE</a:t>
            </a:r>
          </a:p>
        </p:txBody>
      </p:sp>
      <p:sp>
        <p:nvSpPr>
          <p:cNvPr id="8" name="Rectangle 7"/>
          <p:cNvSpPr/>
          <p:nvPr/>
        </p:nvSpPr>
        <p:spPr>
          <a:xfrm>
            <a:off x="3117802" y="5110033"/>
            <a:ext cx="1423467" cy="615553"/>
          </a:xfrm>
          <a:prstGeom prst="rect">
            <a:avLst/>
          </a:prstGeom>
          <a:noFill/>
          <a:ln w="1270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2880" tIns="91440" rIns="18288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2800" dirty="0">
                <a:solidFill>
                  <a:schemeClr val="dk2"/>
                </a:solidFill>
                <a:latin typeface="Avenir Medium"/>
              </a:rPr>
              <a:t>INHALT</a:t>
            </a:r>
          </a:p>
        </p:txBody>
      </p:sp>
      <p:sp>
        <p:nvSpPr>
          <p:cNvPr id="9" name="Rectangle 8"/>
          <p:cNvSpPr/>
          <p:nvPr/>
        </p:nvSpPr>
        <p:spPr>
          <a:xfrm>
            <a:off x="3116810" y="7414289"/>
            <a:ext cx="2029979" cy="615553"/>
          </a:xfrm>
          <a:prstGeom prst="rect">
            <a:avLst/>
          </a:prstGeom>
          <a:noFill/>
          <a:ln w="1270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2880" tIns="91440" rIns="18288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2800" dirty="0">
                <a:solidFill>
                  <a:schemeClr val="dk2"/>
                </a:solidFill>
                <a:latin typeface="Avenir Medium"/>
              </a:rPr>
              <a:t>VORGEHEN</a:t>
            </a:r>
          </a:p>
        </p:txBody>
      </p:sp>
      <p:sp>
        <p:nvSpPr>
          <p:cNvPr id="10" name="Rectangle 9"/>
          <p:cNvSpPr/>
          <p:nvPr/>
        </p:nvSpPr>
        <p:spPr>
          <a:xfrm>
            <a:off x="3115817" y="9718545"/>
            <a:ext cx="1763944" cy="615553"/>
          </a:xfrm>
          <a:prstGeom prst="rect">
            <a:avLst/>
          </a:prstGeom>
          <a:noFill/>
          <a:ln w="1270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2880" tIns="91440" rIns="18288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2800" dirty="0">
                <a:solidFill>
                  <a:schemeClr val="dk2"/>
                </a:solidFill>
                <a:latin typeface="Avenir Medium"/>
              </a:rPr>
              <a:t>TIMELIN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988825" y="3545792"/>
            <a:ext cx="16128000" cy="144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b="1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988825" y="5849888"/>
            <a:ext cx="16128000" cy="144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b="1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988825" y="8154144"/>
            <a:ext cx="16128000" cy="144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b="1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988825" y="10458576"/>
            <a:ext cx="16128000" cy="144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62809" y="3545792"/>
            <a:ext cx="1584000" cy="144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800" b="1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261817" y="5849888"/>
            <a:ext cx="1584000" cy="144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800" b="1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260825" y="8154144"/>
            <a:ext cx="1584000" cy="144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800" b="1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259833" y="10458456"/>
            <a:ext cx="1584000" cy="144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3" name="Footnot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  <p:pic>
        <p:nvPicPr>
          <p:cNvPr id="25" name="Grafik 24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7817" y="3689792"/>
            <a:ext cx="1152000" cy="1152000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5833" y="10602456"/>
            <a:ext cx="1152000" cy="1152000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5833" y="8298144"/>
            <a:ext cx="1152000" cy="1152000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7817" y="5993888"/>
            <a:ext cx="1152000" cy="115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75848735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2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048002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/>
          <p:cNvSpPr/>
          <p:nvPr>
            <p:custDataLst>
              <p:tags r:id="rId4"/>
            </p:custDataLst>
          </p:nvPr>
        </p:nvSpPr>
        <p:spPr>
          <a:xfrm>
            <a:off x="15357495" y="4930058"/>
            <a:ext cx="5760000" cy="475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93600" rIns="180000" bIns="93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 eaLnBrk="0" hangingPunct="0">
              <a:lnSpc>
                <a:spcPct val="95000"/>
              </a:lnSpc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400" dirty="0">
                <a:solidFill>
                  <a:schemeClr val="tx1"/>
                </a:solidFill>
                <a:latin typeface="Avenir Medium"/>
              </a:rPr>
              <a:t>Xxx</a:t>
            </a:r>
          </a:p>
          <a:p>
            <a:pPr marL="358776" lvl="1" indent="-358776" eaLnBrk="0" hangingPunct="0">
              <a:lnSpc>
                <a:spcPct val="95000"/>
              </a:lnSpc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4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32" name="Rectangle 31"/>
          <p:cNvSpPr/>
          <p:nvPr>
            <p:custDataLst>
              <p:tags r:id="rId5"/>
            </p:custDataLst>
          </p:nvPr>
        </p:nvSpPr>
        <p:spPr>
          <a:xfrm>
            <a:off x="15357497" y="2825552"/>
            <a:ext cx="5760000" cy="172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93600" rIns="180000" bIns="93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 eaLnBrk="0" hangingPunct="0">
              <a:lnSpc>
                <a:spcPct val="95000"/>
              </a:lnSpc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400" dirty="0">
                <a:solidFill>
                  <a:schemeClr val="tx1"/>
                </a:solidFill>
                <a:latin typeface="Avenir Medium"/>
              </a:rPr>
              <a:t>Xxx</a:t>
            </a:r>
          </a:p>
          <a:p>
            <a:pPr marL="358776" lvl="1" indent="-358776" eaLnBrk="0" hangingPunct="0">
              <a:lnSpc>
                <a:spcPct val="95000"/>
              </a:lnSpc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4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33" name="Rectangle 32"/>
          <p:cNvSpPr/>
          <p:nvPr>
            <p:custDataLst>
              <p:tags r:id="rId6"/>
            </p:custDataLst>
          </p:nvPr>
        </p:nvSpPr>
        <p:spPr>
          <a:xfrm>
            <a:off x="15357495" y="10058564"/>
            <a:ext cx="5760000" cy="216046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93600" rIns="180000" bIns="936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 eaLnBrk="0" hangingPunct="0">
              <a:lnSpc>
                <a:spcPct val="95000"/>
              </a:lnSpc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400" dirty="0">
                <a:solidFill>
                  <a:schemeClr val="tx1"/>
                </a:solidFill>
                <a:latin typeface="Avenir Medium"/>
              </a:rPr>
              <a:t>Xxx</a:t>
            </a:r>
          </a:p>
          <a:p>
            <a:pPr marL="358776" lvl="1" indent="-358776" eaLnBrk="0" hangingPunct="0">
              <a:lnSpc>
                <a:spcPct val="95000"/>
              </a:lnSpc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4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25" name="Rectangle 24"/>
          <p:cNvSpPr/>
          <p:nvPr/>
        </p:nvSpPr>
        <p:spPr>
          <a:xfrm>
            <a:off x="3260725" y="4409728"/>
            <a:ext cx="7776000" cy="633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8051F2-D1FA-404A-89D2-B86561126E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</p:spPr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2162755" y="4930058"/>
            <a:ext cx="2880000" cy="47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44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39750" eaLnBrk="0" hangingPunct="0">
              <a:lnSpc>
                <a:spcPct val="95000"/>
              </a:lnSpc>
            </a:pPr>
            <a:r>
              <a:rPr lang="en-US" sz="24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10" name="Rectangle 9"/>
          <p:cNvSpPr/>
          <p:nvPr/>
        </p:nvSpPr>
        <p:spPr>
          <a:xfrm>
            <a:off x="12162757" y="2825552"/>
            <a:ext cx="2880000" cy="172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44000" rIns="180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39750" eaLnBrk="0" hangingPunct="0">
              <a:lnSpc>
                <a:spcPct val="95000"/>
              </a:lnSpc>
            </a:pPr>
            <a:r>
              <a:rPr lang="en-US" sz="24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2162755" y="10058564"/>
            <a:ext cx="2880000" cy="216046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44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39750" eaLnBrk="0" hangingPunct="0">
              <a:lnSpc>
                <a:spcPct val="95000"/>
              </a:lnSpc>
            </a:pPr>
            <a:r>
              <a:rPr lang="en-US" sz="24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18" name="Rectangle 17"/>
          <p:cNvSpPr>
            <a:spLocks noChangeAspect="1"/>
          </p:cNvSpPr>
          <p:nvPr/>
        </p:nvSpPr>
        <p:spPr>
          <a:xfrm>
            <a:off x="12304995" y="2967792"/>
            <a:ext cx="576000" cy="57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7200" b="1" dirty="0">
                <a:solidFill>
                  <a:schemeClr val="bg1"/>
                </a:solidFill>
                <a:latin typeface="Avenir Medium"/>
              </a:rPr>
              <a:t>1</a:t>
            </a:r>
          </a:p>
        </p:txBody>
      </p:sp>
      <p:sp>
        <p:nvSpPr>
          <p:cNvPr id="19" name="Rectangle 18"/>
          <p:cNvSpPr>
            <a:spLocks noChangeAspect="1"/>
          </p:cNvSpPr>
          <p:nvPr/>
        </p:nvSpPr>
        <p:spPr>
          <a:xfrm>
            <a:off x="12284675" y="5153578"/>
            <a:ext cx="576000" cy="57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7200" b="1" dirty="0">
                <a:solidFill>
                  <a:schemeClr val="bg1"/>
                </a:solidFill>
                <a:latin typeface="Avenir Medium"/>
              </a:rPr>
              <a:t>2</a:t>
            </a:r>
          </a:p>
        </p:txBody>
      </p:sp>
      <p:sp>
        <p:nvSpPr>
          <p:cNvPr id="20" name="Rectangle 19"/>
          <p:cNvSpPr>
            <a:spLocks noChangeAspect="1"/>
          </p:cNvSpPr>
          <p:nvPr/>
        </p:nvSpPr>
        <p:spPr>
          <a:xfrm>
            <a:off x="12325315" y="10200804"/>
            <a:ext cx="576000" cy="57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7200" b="1" dirty="0">
                <a:solidFill>
                  <a:schemeClr val="bg1"/>
                </a:solidFill>
                <a:latin typeface="Avenir Medium"/>
              </a:rPr>
              <a:t>3</a:t>
            </a:r>
          </a:p>
        </p:txBody>
      </p:sp>
      <p:cxnSp>
        <p:nvCxnSpPr>
          <p:cNvPr id="21" name="Gerade Verbindung 26"/>
          <p:cNvCxnSpPr/>
          <p:nvPr/>
        </p:nvCxnSpPr>
        <p:spPr bwMode="auto">
          <a:xfrm>
            <a:off x="11285945" y="8154146"/>
            <a:ext cx="0" cy="1872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2" name="Gerade Verbindung 27"/>
          <p:cNvCxnSpPr/>
          <p:nvPr/>
        </p:nvCxnSpPr>
        <p:spPr bwMode="auto">
          <a:xfrm>
            <a:off x="11756777" y="2825552"/>
            <a:ext cx="0" cy="9360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3" name="Gerade Verbindung 32"/>
          <p:cNvCxnSpPr/>
          <p:nvPr/>
        </p:nvCxnSpPr>
        <p:spPr bwMode="auto">
          <a:xfrm>
            <a:off x="11285946" y="9306192"/>
            <a:ext cx="45005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Rectangle 26"/>
          <p:cNvSpPr/>
          <p:nvPr/>
        </p:nvSpPr>
        <p:spPr>
          <a:xfrm>
            <a:off x="3547865" y="8154146"/>
            <a:ext cx="1440000" cy="18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28" name="Rectangle 27"/>
          <p:cNvSpPr/>
          <p:nvPr/>
        </p:nvSpPr>
        <p:spPr>
          <a:xfrm>
            <a:off x="5204265" y="8154146"/>
            <a:ext cx="1728000" cy="18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148665" y="8154146"/>
            <a:ext cx="3600000" cy="18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547865" y="5129808"/>
            <a:ext cx="7200800" cy="259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34" name="Rectangle 33"/>
          <p:cNvSpPr>
            <a:spLocks noChangeAspect="1"/>
          </p:cNvSpPr>
          <p:nvPr/>
        </p:nvSpPr>
        <p:spPr>
          <a:xfrm>
            <a:off x="3547865" y="8154146"/>
            <a:ext cx="432000" cy="432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3200" b="1" dirty="0">
                <a:solidFill>
                  <a:schemeClr val="tx2"/>
                </a:solidFill>
                <a:latin typeface="Avenir Medium"/>
              </a:rPr>
              <a:t>1</a:t>
            </a:r>
          </a:p>
        </p:txBody>
      </p:sp>
      <p:sp>
        <p:nvSpPr>
          <p:cNvPr id="35" name="Rectangle 34"/>
          <p:cNvSpPr>
            <a:spLocks noChangeAspect="1"/>
          </p:cNvSpPr>
          <p:nvPr/>
        </p:nvSpPr>
        <p:spPr>
          <a:xfrm>
            <a:off x="5204265" y="8154146"/>
            <a:ext cx="432000" cy="432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3200" b="1" dirty="0">
                <a:solidFill>
                  <a:schemeClr val="tx2"/>
                </a:solidFill>
                <a:latin typeface="Avenir Medium"/>
              </a:rPr>
              <a:t>2</a:t>
            </a:r>
          </a:p>
        </p:txBody>
      </p:sp>
      <p:sp>
        <p:nvSpPr>
          <p:cNvPr id="36" name="Rectangle 35"/>
          <p:cNvSpPr>
            <a:spLocks noChangeAspect="1"/>
          </p:cNvSpPr>
          <p:nvPr/>
        </p:nvSpPr>
        <p:spPr>
          <a:xfrm>
            <a:off x="7148665" y="8154146"/>
            <a:ext cx="432000" cy="432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3200" b="1" dirty="0">
                <a:solidFill>
                  <a:schemeClr val="tx2"/>
                </a:solidFill>
                <a:latin typeface="Avenir Medium"/>
              </a:rPr>
              <a:t>3</a:t>
            </a:r>
          </a:p>
        </p:txBody>
      </p:sp>
      <p:sp>
        <p:nvSpPr>
          <p:cNvPr id="37" name="Footnote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61551773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2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048002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FD0960D-C476-416E-A110-944BB243F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7" name="Pentagon 6"/>
          <p:cNvSpPr/>
          <p:nvPr/>
        </p:nvSpPr>
        <p:spPr>
          <a:xfrm rot="16200000">
            <a:off x="11540827" y="-5166446"/>
            <a:ext cx="1296000" cy="17280000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20000"/>
                <a:lumOff val="80000"/>
              </a:schemeClr>
            </a:solidFill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dirty="0">
                <a:solidFill>
                  <a:schemeClr val="tx2"/>
                </a:solidFill>
                <a:latin typeface="Avenir Medium"/>
              </a:rPr>
              <a:t>XXX</a:t>
            </a:r>
          </a:p>
        </p:txBody>
      </p:sp>
      <p:sp>
        <p:nvSpPr>
          <p:cNvPr id="9" name="Rectangle 8"/>
          <p:cNvSpPr/>
          <p:nvPr/>
        </p:nvSpPr>
        <p:spPr>
          <a:xfrm>
            <a:off x="12836057" y="5130352"/>
            <a:ext cx="7200000" cy="4896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accent1">
                <a:lumMod val="60000"/>
                <a:lumOff val="40000"/>
              </a:schemeClr>
            </a:solidFill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2476057" y="4265712"/>
            <a:ext cx="7920000" cy="86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accent1">
                <a:lumMod val="60000"/>
                <a:lumOff val="40000"/>
              </a:schemeClr>
            </a:solidFill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Avenir Medium"/>
              </a:rPr>
              <a:t>xxx</a:t>
            </a:r>
          </a:p>
        </p:txBody>
      </p:sp>
      <p:sp>
        <p:nvSpPr>
          <p:cNvPr id="8" name="Rectangle 7"/>
          <p:cNvSpPr/>
          <p:nvPr/>
        </p:nvSpPr>
        <p:spPr>
          <a:xfrm>
            <a:off x="4195897" y="5129808"/>
            <a:ext cx="7200000" cy="4896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accent1">
                <a:lumMod val="60000"/>
                <a:lumOff val="40000"/>
              </a:schemeClr>
            </a:solidFill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35897" y="10026352"/>
            <a:ext cx="7920000" cy="86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accent1">
                <a:lumMod val="60000"/>
                <a:lumOff val="40000"/>
              </a:schemeClr>
            </a:solidFill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2476057" y="10026352"/>
            <a:ext cx="7920000" cy="86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accent1">
                <a:lumMod val="60000"/>
                <a:lumOff val="40000"/>
              </a:schemeClr>
            </a:solidFill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835897" y="4265712"/>
            <a:ext cx="7920000" cy="86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accent1">
                <a:lumMod val="60000"/>
                <a:lumOff val="40000"/>
              </a:schemeClr>
            </a:solidFill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Avenir Medium"/>
              </a:rPr>
              <a:t>xxx</a:t>
            </a:r>
          </a:p>
        </p:txBody>
      </p:sp>
      <p:sp>
        <p:nvSpPr>
          <p:cNvPr id="15" name="Rectangle 14"/>
          <p:cNvSpPr/>
          <p:nvPr>
            <p:custDataLst>
              <p:tags r:id="rId4"/>
            </p:custDataLst>
          </p:nvPr>
        </p:nvSpPr>
        <p:spPr>
          <a:xfrm>
            <a:off x="13268057" y="5129808"/>
            <a:ext cx="6336000" cy="475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16" name="Rectangle 15"/>
          <p:cNvSpPr/>
          <p:nvPr>
            <p:custDataLst>
              <p:tags r:id="rId5"/>
            </p:custDataLst>
          </p:nvPr>
        </p:nvSpPr>
        <p:spPr>
          <a:xfrm>
            <a:off x="4627897" y="5129808"/>
            <a:ext cx="6336000" cy="475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21" name="Footnote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  <p:sp>
        <p:nvSpPr>
          <p:cNvPr id="23" name="Rectangle 18"/>
          <p:cNvSpPr/>
          <p:nvPr>
            <p:custDataLst>
              <p:tags r:id="rId7"/>
            </p:custDataLst>
          </p:nvPr>
        </p:nvSpPr>
        <p:spPr>
          <a:xfrm>
            <a:off x="3259833" y="11178480"/>
            <a:ext cx="17856000" cy="100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pic>
        <p:nvPicPr>
          <p:cNvPr id="25" name="Grafik 24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25529" y="4337712"/>
            <a:ext cx="720000" cy="720000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2521" y="4337712"/>
            <a:ext cx="720000" cy="720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938465148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B95ADC-3B44-40DB-A0C6-6DCFDAEF96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263157" y="3546144"/>
            <a:ext cx="17856000" cy="273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8" name="Rectangle 7"/>
          <p:cNvSpPr/>
          <p:nvPr>
            <p:custDataLst>
              <p:tags r:id="rId2"/>
            </p:custDataLst>
          </p:nvPr>
        </p:nvSpPr>
        <p:spPr>
          <a:xfrm>
            <a:off x="3548425" y="3978400"/>
            <a:ext cx="5040000" cy="18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9" name="Rectangle 8"/>
          <p:cNvSpPr/>
          <p:nvPr>
            <p:custDataLst>
              <p:tags r:id="rId3"/>
            </p:custDataLst>
          </p:nvPr>
        </p:nvSpPr>
        <p:spPr>
          <a:xfrm>
            <a:off x="8877065" y="3978400"/>
            <a:ext cx="5472000" cy="18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10" name="Rectangle 9"/>
          <p:cNvSpPr/>
          <p:nvPr/>
        </p:nvSpPr>
        <p:spPr>
          <a:xfrm>
            <a:off x="14637785" y="3978400"/>
            <a:ext cx="6192000" cy="1872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259833" y="6858512"/>
            <a:ext cx="17856000" cy="46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2" name="Rectangle 11"/>
          <p:cNvSpPr/>
          <p:nvPr>
            <p:custDataLst>
              <p:tags r:id="rId4"/>
            </p:custDataLst>
          </p:nvPr>
        </p:nvSpPr>
        <p:spPr>
          <a:xfrm>
            <a:off x="3547865" y="7146544"/>
            <a:ext cx="8496000" cy="403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13" name="Rectangle 12"/>
          <p:cNvSpPr/>
          <p:nvPr>
            <p:custDataLst>
              <p:tags r:id="rId5"/>
            </p:custDataLst>
          </p:nvPr>
        </p:nvSpPr>
        <p:spPr>
          <a:xfrm>
            <a:off x="12333785" y="7146544"/>
            <a:ext cx="8496000" cy="403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cxnSp>
        <p:nvCxnSpPr>
          <p:cNvPr id="14" name="Gerade Verbindung 66"/>
          <p:cNvCxnSpPr>
            <a:stCxn id="10" idx="2"/>
            <a:endCxn id="11" idx="0"/>
          </p:cNvCxnSpPr>
          <p:nvPr/>
        </p:nvCxnSpPr>
        <p:spPr bwMode="auto">
          <a:xfrm flipH="1">
            <a:off x="12187833" y="5850400"/>
            <a:ext cx="5545952" cy="100811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16" name="Footnote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7444626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2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048002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reeform 13"/>
          <p:cNvSpPr/>
          <p:nvPr/>
        </p:nvSpPr>
        <p:spPr>
          <a:xfrm flipV="1">
            <a:off x="3260725" y="6282592"/>
            <a:ext cx="17856200" cy="5904000"/>
          </a:xfrm>
          <a:custGeom>
            <a:avLst/>
            <a:gdLst>
              <a:gd name="connsiteX0" fmla="*/ 2736050 w 8928100"/>
              <a:gd name="connsiteY0" fmla="*/ 2880608 h 2880608"/>
              <a:gd name="connsiteX1" fmla="*/ 6192050 w 8928100"/>
              <a:gd name="connsiteY1" fmla="*/ 2880608 h 2880608"/>
              <a:gd name="connsiteX2" fmla="*/ 7114755 w 8928100"/>
              <a:gd name="connsiteY2" fmla="*/ 2592000 h 2880608"/>
              <a:gd name="connsiteX3" fmla="*/ 8928100 w 8928100"/>
              <a:gd name="connsiteY3" fmla="*/ 2592000 h 2880608"/>
              <a:gd name="connsiteX4" fmla="*/ 8928100 w 8928100"/>
              <a:gd name="connsiteY4" fmla="*/ 0 h 2880608"/>
              <a:gd name="connsiteX5" fmla="*/ 0 w 8928100"/>
              <a:gd name="connsiteY5" fmla="*/ 0 h 2880608"/>
              <a:gd name="connsiteX6" fmla="*/ 0 w 8928100"/>
              <a:gd name="connsiteY6" fmla="*/ 2592000 h 2880608"/>
              <a:gd name="connsiteX7" fmla="*/ 1813345 w 8928100"/>
              <a:gd name="connsiteY7" fmla="*/ 2592000 h 2880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28100" h="2880608">
                <a:moveTo>
                  <a:pt x="2736050" y="2880608"/>
                </a:moveTo>
                <a:lnTo>
                  <a:pt x="6192050" y="2880608"/>
                </a:lnTo>
                <a:lnTo>
                  <a:pt x="7114755" y="2592000"/>
                </a:lnTo>
                <a:lnTo>
                  <a:pt x="8928100" y="2592000"/>
                </a:lnTo>
                <a:lnTo>
                  <a:pt x="8928100" y="0"/>
                </a:lnTo>
                <a:lnTo>
                  <a:pt x="0" y="0"/>
                </a:lnTo>
                <a:lnTo>
                  <a:pt x="0" y="2592000"/>
                </a:lnTo>
                <a:lnTo>
                  <a:pt x="1813345" y="25920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9A649F3-A765-48EC-81B7-349A4E20D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7" name="Footnot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708105" y="2825552"/>
            <a:ext cx="12961440" cy="3600000"/>
          </a:xfrm>
          <a:prstGeom prst="rect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 b="1" dirty="0">
                <a:solidFill>
                  <a:schemeClr val="tx1"/>
                </a:solidFill>
                <a:latin typeface="Avenir Medium"/>
              </a:rPr>
              <a:t>Xxx</a:t>
            </a:r>
          </a:p>
          <a:p>
            <a:r>
              <a:rPr lang="en-US" sz="2000" dirty="0" err="1">
                <a:solidFill>
                  <a:schemeClr val="tx1"/>
                </a:solidFill>
                <a:latin typeface="Avenir Medium"/>
              </a:rPr>
              <a:t>Angaben</a:t>
            </a:r>
            <a:r>
              <a:rPr lang="en-US" sz="2000" dirty="0">
                <a:solidFill>
                  <a:schemeClr val="tx1"/>
                </a:solidFill>
                <a:latin typeface="Avenir Medium"/>
              </a:rPr>
              <a:t> in </a:t>
            </a:r>
          </a:p>
        </p:txBody>
      </p:sp>
      <p:sp>
        <p:nvSpPr>
          <p:cNvPr id="15" name="Rectangle 14"/>
          <p:cNvSpPr>
            <a:spLocks/>
          </p:cNvSpPr>
          <p:nvPr/>
        </p:nvSpPr>
        <p:spPr>
          <a:xfrm>
            <a:off x="3547865" y="7801866"/>
            <a:ext cx="2448000" cy="72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44000" rIns="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000000"/>
                </a:solidFill>
                <a:latin typeface="Avenir Medium"/>
              </a:rPr>
              <a:t>xxx</a:t>
            </a:r>
          </a:p>
        </p:txBody>
      </p:sp>
      <p:sp>
        <p:nvSpPr>
          <p:cNvPr id="16" name="Rectangle 15"/>
          <p:cNvSpPr>
            <a:spLocks/>
          </p:cNvSpPr>
          <p:nvPr/>
        </p:nvSpPr>
        <p:spPr>
          <a:xfrm>
            <a:off x="3547865" y="8687404"/>
            <a:ext cx="2448000" cy="72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44000" rIns="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000000"/>
                </a:solidFill>
                <a:latin typeface="Avenir Medium"/>
              </a:rPr>
              <a:t>xxx</a:t>
            </a:r>
          </a:p>
        </p:txBody>
      </p:sp>
      <p:sp>
        <p:nvSpPr>
          <p:cNvPr id="17" name="Rectangle 16"/>
          <p:cNvSpPr>
            <a:spLocks/>
          </p:cNvSpPr>
          <p:nvPr/>
        </p:nvSpPr>
        <p:spPr>
          <a:xfrm>
            <a:off x="3547865" y="9572942"/>
            <a:ext cx="2448000" cy="72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44000" rIns="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000000"/>
                </a:solidFill>
                <a:latin typeface="Avenir Medium"/>
              </a:rPr>
              <a:t>xxx</a:t>
            </a:r>
          </a:p>
        </p:txBody>
      </p:sp>
      <p:sp>
        <p:nvSpPr>
          <p:cNvPr id="18" name="Rectangle 17"/>
          <p:cNvSpPr>
            <a:spLocks/>
          </p:cNvSpPr>
          <p:nvPr/>
        </p:nvSpPr>
        <p:spPr>
          <a:xfrm>
            <a:off x="3547865" y="10458480"/>
            <a:ext cx="2448000" cy="72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44000" rIns="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000000"/>
                </a:solidFill>
                <a:latin typeface="Avenir Medium"/>
              </a:rPr>
              <a:t>xxx</a:t>
            </a:r>
          </a:p>
        </p:txBody>
      </p:sp>
      <p:sp>
        <p:nvSpPr>
          <p:cNvPr id="33" name="Rectangle 32"/>
          <p:cNvSpPr>
            <a:spLocks/>
          </p:cNvSpPr>
          <p:nvPr/>
        </p:nvSpPr>
        <p:spPr>
          <a:xfrm>
            <a:off x="6284169" y="11322496"/>
            <a:ext cx="14544000" cy="576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accent1">
                <a:lumMod val="60000"/>
                <a:lumOff val="4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44000" rIns="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89847" y="11322497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835091" y="11322497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180335" y="11322497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525579" y="11322497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1870823" y="11322497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3216067" y="11322497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4561311" y="11322497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5906555" y="11322497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7251799" y="11322497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8597043" y="11322497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9942295" y="11323121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489847" y="7146033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7835091" y="7146033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180335" y="7146033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0525579" y="7146033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1870823" y="7146033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3216067" y="7146033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4561311" y="7146033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15906555" y="7146033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7251799" y="7146033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8597043" y="7146033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9663214" y="7146657"/>
            <a:ext cx="11660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Gesam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477824" y="7888179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823068" y="7888179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168312" y="7888179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0513556" y="7888179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1858800" y="7888179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3204044" y="7888179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14549288" y="7888179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5894532" y="7888179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7239776" y="7888179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18585020" y="7888179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9918249" y="7888179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477824" y="8752275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7823068" y="8752275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9168312" y="8752275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0513556" y="8752275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1858800" y="8752275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13204044" y="8752275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14549288" y="8752275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15894532" y="8752275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17239776" y="8752275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8585020" y="8752275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9918249" y="8752275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6477824" y="9616371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7823068" y="9616371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9168312" y="9616371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10513556" y="9616371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11858800" y="9616371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3204044" y="9616371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14549288" y="9616371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5894532" y="9616371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7239776" y="9616371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18585020" y="9616371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19918249" y="9616371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6477824" y="10480467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7823068" y="10480467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9168312" y="10480467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513556" y="10480467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11858800" y="10480467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13204044" y="10480467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14549288" y="10480467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15894532" y="10480467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17239776" y="10480467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18585020" y="10480467"/>
            <a:ext cx="5838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>
                <a:latin typeface="Avenir Medium"/>
              </a:rPr>
              <a:t>xxx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19918249" y="10480467"/>
            <a:ext cx="6078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>
                <a:latin typeface="Avenir Medium"/>
              </a:rPr>
              <a:t>xxx</a:t>
            </a:r>
          </a:p>
        </p:txBody>
      </p:sp>
      <p:cxnSp>
        <p:nvCxnSpPr>
          <p:cNvPr id="13" name="Straight Connector 12"/>
          <p:cNvCxnSpPr/>
          <p:nvPr/>
        </p:nvCxnSpPr>
        <p:spPr>
          <a:xfrm flipV="1">
            <a:off x="6141769" y="8604636"/>
            <a:ext cx="1454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 flipV="1">
            <a:off x="6141769" y="9490172"/>
            <a:ext cx="1454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 flipV="1">
            <a:off x="6141769" y="10375712"/>
            <a:ext cx="1454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/>
          <p:cNvSpPr>
            <a:spLocks/>
          </p:cNvSpPr>
          <p:nvPr/>
        </p:nvSpPr>
        <p:spPr>
          <a:xfrm>
            <a:off x="3547865" y="11322496"/>
            <a:ext cx="2448000" cy="576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accent1">
                <a:lumMod val="60000"/>
                <a:lumOff val="4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44000" rIns="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000000"/>
                </a:solidFill>
                <a:latin typeface="Avenir Medium"/>
              </a:rPr>
              <a:t>xxx</a:t>
            </a:r>
          </a:p>
        </p:txBody>
      </p:sp>
      <p:graphicFrame>
        <p:nvGraphicFramePr>
          <p:cNvPr id="94" name="MIO_CHART_WATERFALL_aafb47b195df464190a70248ab92c02f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02004805"/>
              </p:ext>
            </p:extLst>
          </p:nvPr>
        </p:nvGraphicFramePr>
        <p:xfrm>
          <a:off x="6331634" y="3401617"/>
          <a:ext cx="11714386" cy="2858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26270922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9" name="Gruppieren 1028">
            <a:extLst>
              <a:ext uri="{FF2B5EF4-FFF2-40B4-BE49-F238E27FC236}">
                <a16:creationId xmlns:a16="http://schemas.microsoft.com/office/drawing/2014/main" id="{EB9B49BE-B71A-4E8D-8285-91EB5C5587E5}"/>
              </a:ext>
            </a:extLst>
          </p:cNvPr>
          <p:cNvGrpSpPr/>
          <p:nvPr/>
        </p:nvGrpSpPr>
        <p:grpSpPr>
          <a:xfrm>
            <a:off x="1" y="12399407"/>
            <a:ext cx="24257966" cy="1316592"/>
            <a:chOff x="1" y="12399407"/>
            <a:chExt cx="24257966" cy="1316592"/>
          </a:xfrm>
        </p:grpSpPr>
        <p:pic>
          <p:nvPicPr>
            <p:cNvPr id="19" name="Grafik 18" descr="Flugzeug">
              <a:extLst>
                <a:ext uri="{FF2B5EF4-FFF2-40B4-BE49-F238E27FC236}">
                  <a16:creationId xmlns:a16="http://schemas.microsoft.com/office/drawing/2014/main" id="{57DB8549-6D0C-4B22-8744-6BAFE2915E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-50492" y="12449901"/>
              <a:ext cx="1316591" cy="1215606"/>
            </a:xfrm>
            <a:prstGeom prst="rect">
              <a:avLst/>
            </a:prstGeom>
          </p:spPr>
        </p:pic>
        <p:pic>
          <p:nvPicPr>
            <p:cNvPr id="20" name="Grafik 19" descr="Flugzeug">
              <a:extLst>
                <a:ext uri="{FF2B5EF4-FFF2-40B4-BE49-F238E27FC236}">
                  <a16:creationId xmlns:a16="http://schemas.microsoft.com/office/drawing/2014/main" id="{D6F255F2-053C-44B5-B17D-856AB8F638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3241274" y="12449901"/>
              <a:ext cx="1316591" cy="1215606"/>
            </a:xfrm>
            <a:prstGeom prst="rect">
              <a:avLst/>
            </a:prstGeom>
          </p:spPr>
        </p:pic>
        <p:pic>
          <p:nvPicPr>
            <p:cNvPr id="21" name="Grafik 20" descr="Flugzeug">
              <a:extLst>
                <a:ext uri="{FF2B5EF4-FFF2-40B4-BE49-F238E27FC236}">
                  <a16:creationId xmlns:a16="http://schemas.microsoft.com/office/drawing/2014/main" id="{F5885F76-5F40-4D86-B651-4CC79E2B32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6533040" y="12449901"/>
              <a:ext cx="1316591" cy="1215606"/>
            </a:xfrm>
            <a:prstGeom prst="rect">
              <a:avLst/>
            </a:prstGeom>
          </p:spPr>
        </p:pic>
        <p:pic>
          <p:nvPicPr>
            <p:cNvPr id="22" name="Grafik 21" descr="Flugzeug">
              <a:extLst>
                <a:ext uri="{FF2B5EF4-FFF2-40B4-BE49-F238E27FC236}">
                  <a16:creationId xmlns:a16="http://schemas.microsoft.com/office/drawing/2014/main" id="{D0D340A9-BD0F-4D4A-9C43-F582E871898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5400000">
              <a:off x="9824806" y="12449901"/>
              <a:ext cx="1316591" cy="1215606"/>
            </a:xfrm>
            <a:prstGeom prst="rect">
              <a:avLst/>
            </a:prstGeom>
          </p:spPr>
        </p:pic>
        <p:pic>
          <p:nvPicPr>
            <p:cNvPr id="23" name="Grafik 22" descr="Flugzeug">
              <a:extLst>
                <a:ext uri="{FF2B5EF4-FFF2-40B4-BE49-F238E27FC236}">
                  <a16:creationId xmlns:a16="http://schemas.microsoft.com/office/drawing/2014/main" id="{905339A1-B2F0-485C-938F-D35C1C2EA9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5400000">
              <a:off x="13116572" y="12449901"/>
              <a:ext cx="1316591" cy="1215606"/>
            </a:xfrm>
            <a:prstGeom prst="rect">
              <a:avLst/>
            </a:prstGeom>
          </p:spPr>
        </p:pic>
        <p:pic>
          <p:nvPicPr>
            <p:cNvPr id="24" name="Grafik 23" descr="Flugzeug">
              <a:extLst>
                <a:ext uri="{FF2B5EF4-FFF2-40B4-BE49-F238E27FC236}">
                  <a16:creationId xmlns:a16="http://schemas.microsoft.com/office/drawing/2014/main" id="{7FD331B8-DEFF-4131-B01E-2F2C956A28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5400000">
              <a:off x="19700104" y="12449901"/>
              <a:ext cx="1316591" cy="1215606"/>
            </a:xfrm>
            <a:prstGeom prst="rect">
              <a:avLst/>
            </a:prstGeom>
          </p:spPr>
        </p:pic>
        <p:pic>
          <p:nvPicPr>
            <p:cNvPr id="25" name="Grafik 24" descr="Flugzeug">
              <a:extLst>
                <a:ext uri="{FF2B5EF4-FFF2-40B4-BE49-F238E27FC236}">
                  <a16:creationId xmlns:a16="http://schemas.microsoft.com/office/drawing/2014/main" id="{CFEC09E7-6C21-48F4-B0E4-6DEEAA0EFE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5400000">
              <a:off x="22991868" y="12449901"/>
              <a:ext cx="1316591" cy="1215606"/>
            </a:xfrm>
            <a:prstGeom prst="rect">
              <a:avLst/>
            </a:prstGeom>
          </p:spPr>
        </p:pic>
        <p:pic>
          <p:nvPicPr>
            <p:cNvPr id="30" name="Grafik 29" descr="Flugzeug">
              <a:extLst>
                <a:ext uri="{FF2B5EF4-FFF2-40B4-BE49-F238E27FC236}">
                  <a16:creationId xmlns:a16="http://schemas.microsoft.com/office/drawing/2014/main" id="{B59E3BDD-9845-44F7-B494-7C200911C3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5400000">
              <a:off x="16408338" y="12449900"/>
              <a:ext cx="1316591" cy="1215606"/>
            </a:xfrm>
            <a:prstGeom prst="rect">
              <a:avLst/>
            </a:prstGeom>
          </p:spPr>
        </p:pic>
        <p:sp>
          <p:nvSpPr>
            <p:cNvPr id="1027" name="Textfeld 1026">
              <a:extLst>
                <a:ext uri="{FF2B5EF4-FFF2-40B4-BE49-F238E27FC236}">
                  <a16:creationId xmlns:a16="http://schemas.microsoft.com/office/drawing/2014/main" id="{1BEA8A7C-6AC4-4DA7-8A32-FC2AF5A52888}"/>
                </a:ext>
              </a:extLst>
            </p:cNvPr>
            <p:cNvSpPr txBox="1"/>
            <p:nvPr/>
          </p:nvSpPr>
          <p:spPr>
            <a:xfrm>
              <a:off x="811731" y="12519094"/>
              <a:ext cx="288391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>
                  <a:solidFill>
                    <a:schemeClr val="accent1"/>
                  </a:solidFill>
                  <a:latin typeface="Avenir Medium"/>
                </a:rPr>
                <a:t>Management Summary</a:t>
              </a:r>
              <a:endParaRPr lang="en-US" sz="3200" dirty="0">
                <a:solidFill>
                  <a:schemeClr val="accent1"/>
                </a:solidFill>
                <a:latin typeface="Avenir Medium"/>
              </a:endParaRP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68EB0433-5A77-471C-9A2B-2A30493F964F}"/>
                </a:ext>
              </a:extLst>
            </p:cNvPr>
            <p:cNvSpPr txBox="1"/>
            <p:nvPr/>
          </p:nvSpPr>
          <p:spPr>
            <a:xfrm>
              <a:off x="20562327" y="12765315"/>
              <a:ext cx="288391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 err="1">
                  <a:latin typeface="Avenir Medium"/>
                </a:rPr>
                <a:t>Conclusion</a:t>
              </a:r>
              <a:endParaRPr lang="en-US" sz="3200" dirty="0">
                <a:latin typeface="Avenir Medium"/>
              </a:endParaRP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7A27927E-E511-4071-AAFB-C665A995D199}"/>
                </a:ext>
              </a:extLst>
            </p:cNvPr>
            <p:cNvSpPr txBox="1"/>
            <p:nvPr/>
          </p:nvSpPr>
          <p:spPr>
            <a:xfrm>
              <a:off x="3740416" y="12765314"/>
              <a:ext cx="288391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>
                  <a:solidFill>
                    <a:schemeClr val="accent2"/>
                  </a:solidFill>
                  <a:latin typeface="Avenir Medium"/>
                </a:rPr>
                <a:t>Analysis</a:t>
              </a:r>
              <a:endParaRPr lang="en-US" sz="3200" dirty="0">
                <a:solidFill>
                  <a:schemeClr val="accent2"/>
                </a:solidFill>
                <a:latin typeface="Avenir Medium"/>
              </a:endParaRP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676BEF1F-2C86-47FA-8224-6979DCB76217}"/>
                </a:ext>
              </a:extLst>
            </p:cNvPr>
            <p:cNvSpPr txBox="1"/>
            <p:nvPr/>
          </p:nvSpPr>
          <p:spPr>
            <a:xfrm>
              <a:off x="7308062" y="12765313"/>
              <a:ext cx="288391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>
                  <a:solidFill>
                    <a:schemeClr val="accent3"/>
                  </a:solidFill>
                  <a:latin typeface="Avenir Medium"/>
                </a:rPr>
                <a:t>Alternatives</a:t>
              </a:r>
              <a:endParaRPr lang="en-US" sz="3200" dirty="0">
                <a:solidFill>
                  <a:schemeClr val="accent3"/>
                </a:solidFill>
                <a:latin typeface="Avenir Medium"/>
              </a:endParaRPr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6479F386-C81B-4931-87B1-0D7AB5A29791}"/>
                </a:ext>
              </a:extLst>
            </p:cNvPr>
            <p:cNvSpPr txBox="1"/>
            <p:nvPr/>
          </p:nvSpPr>
          <p:spPr>
            <a:xfrm>
              <a:off x="10532269" y="12522564"/>
              <a:ext cx="288391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 err="1">
                  <a:solidFill>
                    <a:schemeClr val="accent4"/>
                  </a:solidFill>
                  <a:latin typeface="Avenir Medium"/>
                </a:rPr>
                <a:t>Implemen</a:t>
              </a:r>
              <a:r>
                <a:rPr lang="de-DE" sz="3200" dirty="0">
                  <a:solidFill>
                    <a:schemeClr val="accent4"/>
                  </a:solidFill>
                  <a:latin typeface="Avenir Medium"/>
                </a:rPr>
                <a:t>-</a:t>
              </a:r>
            </a:p>
            <a:p>
              <a:pPr algn="ctr"/>
              <a:r>
                <a:rPr lang="de-DE" sz="3200" dirty="0" err="1">
                  <a:solidFill>
                    <a:schemeClr val="accent4"/>
                  </a:solidFill>
                  <a:latin typeface="Avenir Medium"/>
                </a:rPr>
                <a:t>tation</a:t>
              </a:r>
              <a:endParaRPr lang="en-US" sz="3200" dirty="0">
                <a:solidFill>
                  <a:schemeClr val="accent4"/>
                </a:solidFill>
                <a:latin typeface="Avenir Medium"/>
              </a:endParaRP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7CD71B7-3814-4325-BE9E-98C922727F56}"/>
                </a:ext>
              </a:extLst>
            </p:cNvPr>
            <p:cNvSpPr txBox="1"/>
            <p:nvPr/>
          </p:nvSpPr>
          <p:spPr>
            <a:xfrm>
              <a:off x="13752447" y="12765315"/>
              <a:ext cx="288391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 err="1">
                  <a:solidFill>
                    <a:schemeClr val="accent5"/>
                  </a:solidFill>
                  <a:latin typeface="Avenir Medium"/>
                </a:rPr>
                <a:t>Financials</a:t>
              </a:r>
              <a:endParaRPr lang="en-US" sz="3200" dirty="0">
                <a:solidFill>
                  <a:schemeClr val="accent5"/>
                </a:solidFill>
                <a:latin typeface="Avenir Medium"/>
              </a:endParaRP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43B4F59F-ED1A-4C75-B24E-29F4A7B837C2}"/>
                </a:ext>
              </a:extLst>
            </p:cNvPr>
            <p:cNvSpPr txBox="1"/>
            <p:nvPr/>
          </p:nvSpPr>
          <p:spPr>
            <a:xfrm>
              <a:off x="16698390" y="12765315"/>
              <a:ext cx="288391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 err="1">
                  <a:solidFill>
                    <a:schemeClr val="accent6"/>
                  </a:solidFill>
                  <a:latin typeface="Avenir Medium"/>
                </a:rPr>
                <a:t>Risks</a:t>
              </a:r>
              <a:endParaRPr lang="en-US" sz="3200" dirty="0">
                <a:solidFill>
                  <a:schemeClr val="accent6"/>
                </a:solidFill>
                <a:latin typeface="Avenir Medium"/>
              </a:endParaRPr>
            </a:p>
          </p:txBody>
        </p:sp>
      </p:grpSp>
      <p:pic>
        <p:nvPicPr>
          <p:cNvPr id="1031" name="Picture 6" descr="https://i0.wp.com/vabbspotter.in/wp-content/uploads/2016/08/maxresdefault-1.jpg?fit=895%2C503">
            <a:extLst>
              <a:ext uri="{FF2B5EF4-FFF2-40B4-BE49-F238E27FC236}">
                <a16:creationId xmlns:a16="http://schemas.microsoft.com/office/drawing/2014/main" id="{A87584EB-68EA-4989-AE3E-BAC4DA7DF1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4377650" cy="13715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xtfeld 49">
            <a:extLst>
              <a:ext uri="{FF2B5EF4-FFF2-40B4-BE49-F238E27FC236}">
                <a16:creationId xmlns:a16="http://schemas.microsoft.com/office/drawing/2014/main" id="{2C30BFD9-F851-4D81-B0C1-934D800E3088}"/>
              </a:ext>
            </a:extLst>
          </p:cNvPr>
          <p:cNvSpPr txBox="1"/>
          <p:nvPr/>
        </p:nvSpPr>
        <p:spPr>
          <a:xfrm>
            <a:off x="2209800" y="862614"/>
            <a:ext cx="1037537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6000" b="1" dirty="0">
              <a:solidFill>
                <a:schemeClr val="bg1"/>
              </a:solidFill>
              <a:latin typeface="Avenir Medium"/>
            </a:endParaRP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3D4B38C4-5BF9-4F7F-BF9D-8FA840F8FF00}"/>
              </a:ext>
            </a:extLst>
          </p:cNvPr>
          <p:cNvSpPr txBox="1"/>
          <p:nvPr/>
        </p:nvSpPr>
        <p:spPr>
          <a:xfrm>
            <a:off x="14120823" y="3893092"/>
            <a:ext cx="844823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6000" b="1" dirty="0">
              <a:solidFill>
                <a:schemeClr val="bg1"/>
              </a:solidFill>
              <a:latin typeface="Avenir Medium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1950664-80CA-4B99-9AF0-7FA395534AF3}"/>
              </a:ext>
            </a:extLst>
          </p:cNvPr>
          <p:cNvSpPr/>
          <p:nvPr/>
        </p:nvSpPr>
        <p:spPr>
          <a:xfrm>
            <a:off x="0" y="-22303"/>
            <a:ext cx="24377650" cy="13716000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</a:endParaRPr>
          </a:p>
        </p:txBody>
      </p:sp>
      <p:sp>
        <p:nvSpPr>
          <p:cNvPr id="27" name="Freeform 44">
            <a:extLst>
              <a:ext uri="{FF2B5EF4-FFF2-40B4-BE49-F238E27FC236}">
                <a16:creationId xmlns:a16="http://schemas.microsoft.com/office/drawing/2014/main" id="{26A5ABDF-4495-4619-921B-C3085368C5FA}"/>
              </a:ext>
            </a:extLst>
          </p:cNvPr>
          <p:cNvSpPr/>
          <p:nvPr/>
        </p:nvSpPr>
        <p:spPr>
          <a:xfrm>
            <a:off x="883362" y="8251692"/>
            <a:ext cx="10732886" cy="890019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WINGLET </a:t>
            </a:r>
            <a:r>
              <a:rPr lang="en-US" b="1" dirty="0" err="1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Stratgy</a:t>
            </a:r>
            <a:endParaRPr lang="en-US" b="1" dirty="0">
              <a:solidFill>
                <a:schemeClr val="tx1">
                  <a:lumMod val="50000"/>
                </a:schemeClr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8" name="Freeform 37">
            <a:extLst>
              <a:ext uri="{FF2B5EF4-FFF2-40B4-BE49-F238E27FC236}">
                <a16:creationId xmlns:a16="http://schemas.microsoft.com/office/drawing/2014/main" id="{AC80D17D-5186-48C6-AAB8-F3A344F10CF8}"/>
              </a:ext>
            </a:extLst>
          </p:cNvPr>
          <p:cNvSpPr/>
          <p:nvPr/>
        </p:nvSpPr>
        <p:spPr>
          <a:xfrm>
            <a:off x="0" y="456187"/>
            <a:ext cx="24377650" cy="1324368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6000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Executive Summary</a:t>
            </a:r>
          </a:p>
        </p:txBody>
      </p:sp>
      <p:sp>
        <p:nvSpPr>
          <p:cNvPr id="29" name="Freeform 86">
            <a:extLst>
              <a:ext uri="{FF2B5EF4-FFF2-40B4-BE49-F238E27FC236}">
                <a16:creationId xmlns:a16="http://schemas.microsoft.com/office/drawing/2014/main" id="{242AB9D8-3D87-4144-9376-08C9156CD13E}"/>
              </a:ext>
            </a:extLst>
          </p:cNvPr>
          <p:cNvSpPr/>
          <p:nvPr/>
        </p:nvSpPr>
        <p:spPr>
          <a:xfrm>
            <a:off x="12152258" y="5308995"/>
            <a:ext cx="2243484" cy="2190632"/>
          </a:xfrm>
          <a:custGeom>
            <a:avLst/>
            <a:gdLst>
              <a:gd name="connsiteX0" fmla="*/ 0 w 2194257"/>
              <a:gd name="connsiteY0" fmla="*/ 1097129 h 2194257"/>
              <a:gd name="connsiteX1" fmla="*/ 1097129 w 2194257"/>
              <a:gd name="connsiteY1" fmla="*/ 0 h 2194257"/>
              <a:gd name="connsiteX2" fmla="*/ 2194258 w 2194257"/>
              <a:gd name="connsiteY2" fmla="*/ 1097129 h 2194257"/>
              <a:gd name="connsiteX3" fmla="*/ 1097129 w 2194257"/>
              <a:gd name="connsiteY3" fmla="*/ 2194258 h 2194257"/>
              <a:gd name="connsiteX4" fmla="*/ 0 w 2194257"/>
              <a:gd name="connsiteY4" fmla="*/ 1097129 h 219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4257" h="2194257">
                <a:moveTo>
                  <a:pt x="0" y="1097129"/>
                </a:moveTo>
                <a:cubicBezTo>
                  <a:pt x="0" y="491201"/>
                  <a:pt x="491201" y="0"/>
                  <a:pt x="1097129" y="0"/>
                </a:cubicBezTo>
                <a:cubicBezTo>
                  <a:pt x="1703057" y="0"/>
                  <a:pt x="2194258" y="491201"/>
                  <a:pt x="2194258" y="1097129"/>
                </a:cubicBezTo>
                <a:cubicBezTo>
                  <a:pt x="2194258" y="1703057"/>
                  <a:pt x="1703057" y="2194258"/>
                  <a:pt x="1097129" y="2194258"/>
                </a:cubicBezTo>
                <a:cubicBezTo>
                  <a:pt x="491201" y="2194258"/>
                  <a:pt x="0" y="1703057"/>
                  <a:pt x="0" y="1097129"/>
                </a:cubicBez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56901" tIns="356901" rIns="356901" bIns="356901" numCol="1" spcCol="1270" anchor="ctr" anchorCtr="0">
            <a:noAutofit/>
          </a:bodyPr>
          <a:lstStyle/>
          <a:p>
            <a:pPr marL="0" lvl="0" indent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ES" sz="2400" b="1" dirty="0">
                <a:solidFill>
                  <a:srgbClr val="000000"/>
                </a:solidFill>
                <a:latin typeface="Avenir Medium"/>
              </a:rPr>
              <a:t>WINGLET</a:t>
            </a:r>
            <a:endParaRPr lang="es-ES" sz="2400" b="1" kern="1200" dirty="0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1" name="Freeform 86">
            <a:extLst>
              <a:ext uri="{FF2B5EF4-FFF2-40B4-BE49-F238E27FC236}">
                <a16:creationId xmlns:a16="http://schemas.microsoft.com/office/drawing/2014/main" id="{C2E0666A-E0AB-4237-98BE-063A97CC9AB9}"/>
              </a:ext>
            </a:extLst>
          </p:cNvPr>
          <p:cNvSpPr/>
          <p:nvPr/>
        </p:nvSpPr>
        <p:spPr>
          <a:xfrm>
            <a:off x="14747661" y="3275710"/>
            <a:ext cx="2243484" cy="2190632"/>
          </a:xfrm>
          <a:custGeom>
            <a:avLst/>
            <a:gdLst>
              <a:gd name="connsiteX0" fmla="*/ 0 w 2194257"/>
              <a:gd name="connsiteY0" fmla="*/ 1097129 h 2194257"/>
              <a:gd name="connsiteX1" fmla="*/ 1097129 w 2194257"/>
              <a:gd name="connsiteY1" fmla="*/ 0 h 2194257"/>
              <a:gd name="connsiteX2" fmla="*/ 2194258 w 2194257"/>
              <a:gd name="connsiteY2" fmla="*/ 1097129 h 2194257"/>
              <a:gd name="connsiteX3" fmla="*/ 1097129 w 2194257"/>
              <a:gd name="connsiteY3" fmla="*/ 2194258 h 2194257"/>
              <a:gd name="connsiteX4" fmla="*/ 0 w 2194257"/>
              <a:gd name="connsiteY4" fmla="*/ 1097129 h 219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4257" h="2194257">
                <a:moveTo>
                  <a:pt x="0" y="1097129"/>
                </a:moveTo>
                <a:cubicBezTo>
                  <a:pt x="0" y="491201"/>
                  <a:pt x="491201" y="0"/>
                  <a:pt x="1097129" y="0"/>
                </a:cubicBezTo>
                <a:cubicBezTo>
                  <a:pt x="1703057" y="0"/>
                  <a:pt x="2194258" y="491201"/>
                  <a:pt x="2194258" y="1097129"/>
                </a:cubicBezTo>
                <a:cubicBezTo>
                  <a:pt x="2194258" y="1703057"/>
                  <a:pt x="1703057" y="2194258"/>
                  <a:pt x="1097129" y="2194258"/>
                </a:cubicBezTo>
                <a:cubicBezTo>
                  <a:pt x="491201" y="2194258"/>
                  <a:pt x="0" y="1703057"/>
                  <a:pt x="0" y="1097129"/>
                </a:cubicBez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56901" tIns="356901" rIns="356901" bIns="356901" numCol="1" spcCol="1270" anchor="ctr" anchorCtr="0">
            <a:noAutofit/>
          </a:bodyPr>
          <a:lstStyle/>
          <a:p>
            <a:pPr marL="0" lvl="0" indent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ES" sz="2400" b="1" dirty="0">
                <a:solidFill>
                  <a:srgbClr val="000000"/>
                </a:solidFill>
                <a:latin typeface="Avenir Medium"/>
              </a:rPr>
              <a:t>Harmoni-zation</a:t>
            </a:r>
            <a:endParaRPr lang="es-ES" sz="2400" b="1" kern="1200" dirty="0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2" name="Freeform 86">
            <a:extLst>
              <a:ext uri="{FF2B5EF4-FFF2-40B4-BE49-F238E27FC236}">
                <a16:creationId xmlns:a16="http://schemas.microsoft.com/office/drawing/2014/main" id="{94BA0935-AA67-4721-8056-2687DB15F215}"/>
              </a:ext>
            </a:extLst>
          </p:cNvPr>
          <p:cNvSpPr/>
          <p:nvPr/>
        </p:nvSpPr>
        <p:spPr>
          <a:xfrm>
            <a:off x="17621105" y="1780555"/>
            <a:ext cx="2243484" cy="2190632"/>
          </a:xfrm>
          <a:custGeom>
            <a:avLst/>
            <a:gdLst>
              <a:gd name="connsiteX0" fmla="*/ 0 w 2194257"/>
              <a:gd name="connsiteY0" fmla="*/ 1097129 h 2194257"/>
              <a:gd name="connsiteX1" fmla="*/ 1097129 w 2194257"/>
              <a:gd name="connsiteY1" fmla="*/ 0 h 2194257"/>
              <a:gd name="connsiteX2" fmla="*/ 2194258 w 2194257"/>
              <a:gd name="connsiteY2" fmla="*/ 1097129 h 2194257"/>
              <a:gd name="connsiteX3" fmla="*/ 1097129 w 2194257"/>
              <a:gd name="connsiteY3" fmla="*/ 2194258 h 2194257"/>
              <a:gd name="connsiteX4" fmla="*/ 0 w 2194257"/>
              <a:gd name="connsiteY4" fmla="*/ 1097129 h 219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4257" h="2194257">
                <a:moveTo>
                  <a:pt x="0" y="1097129"/>
                </a:moveTo>
                <a:cubicBezTo>
                  <a:pt x="0" y="491201"/>
                  <a:pt x="491201" y="0"/>
                  <a:pt x="1097129" y="0"/>
                </a:cubicBezTo>
                <a:cubicBezTo>
                  <a:pt x="1703057" y="0"/>
                  <a:pt x="2194258" y="491201"/>
                  <a:pt x="2194258" y="1097129"/>
                </a:cubicBezTo>
                <a:cubicBezTo>
                  <a:pt x="2194258" y="1703057"/>
                  <a:pt x="1703057" y="2194258"/>
                  <a:pt x="1097129" y="2194258"/>
                </a:cubicBezTo>
                <a:cubicBezTo>
                  <a:pt x="491201" y="2194258"/>
                  <a:pt x="0" y="1703057"/>
                  <a:pt x="0" y="1097129"/>
                </a:cubicBez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56901" tIns="356901" rIns="356901" bIns="356901" numCol="1" spcCol="1270" anchor="ctr" anchorCtr="0">
            <a:noAutofit/>
          </a:bodyPr>
          <a:lstStyle/>
          <a:p>
            <a:pPr marL="0" lvl="0" indent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ES" sz="2400" b="1" dirty="0">
                <a:solidFill>
                  <a:srgbClr val="000000"/>
                </a:solidFill>
                <a:latin typeface="Avenir Medium"/>
              </a:rPr>
              <a:t>High altitude</a:t>
            </a:r>
            <a:endParaRPr lang="es-ES" sz="2400" b="1" kern="1200" dirty="0">
              <a:solidFill>
                <a:srgbClr val="000000"/>
              </a:solidFill>
              <a:latin typeface="Avenir Medium"/>
            </a:endParaRPr>
          </a:p>
        </p:txBody>
      </p:sp>
      <p:pic>
        <p:nvPicPr>
          <p:cNvPr id="33" name="Grafik 32" descr="Flugzeug">
            <a:extLst>
              <a:ext uri="{FF2B5EF4-FFF2-40B4-BE49-F238E27FC236}">
                <a16:creationId xmlns:a16="http://schemas.microsoft.com/office/drawing/2014/main" id="{5C0A0CF5-7BF7-4FBA-A654-CE840521F9D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2591419">
            <a:off x="13913004" y="4745851"/>
            <a:ext cx="1143314" cy="1055620"/>
          </a:xfrm>
          <a:prstGeom prst="rect">
            <a:avLst/>
          </a:prstGeom>
        </p:spPr>
      </p:pic>
      <p:pic>
        <p:nvPicPr>
          <p:cNvPr id="34" name="Grafik 33" descr="Flugzeug">
            <a:extLst>
              <a:ext uri="{FF2B5EF4-FFF2-40B4-BE49-F238E27FC236}">
                <a16:creationId xmlns:a16="http://schemas.microsoft.com/office/drawing/2014/main" id="{EFC7370E-B7D2-4742-8B31-7F21A6AC514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3538688">
            <a:off x="16639814" y="2845610"/>
            <a:ext cx="1143313" cy="1055619"/>
          </a:xfrm>
          <a:prstGeom prst="rect">
            <a:avLst/>
          </a:prstGeom>
        </p:spPr>
      </p:pic>
      <p:pic>
        <p:nvPicPr>
          <p:cNvPr id="35" name="Grafik 34" descr="Flugzeug">
            <a:extLst>
              <a:ext uri="{FF2B5EF4-FFF2-40B4-BE49-F238E27FC236}">
                <a16:creationId xmlns:a16="http://schemas.microsoft.com/office/drawing/2014/main" id="{7D04AB86-5B8D-41CA-A8E3-AF0AFAA8F76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4960623">
            <a:off x="19805919" y="1883554"/>
            <a:ext cx="1143313" cy="1055619"/>
          </a:xfrm>
          <a:prstGeom prst="rect">
            <a:avLst/>
          </a:prstGeom>
        </p:spPr>
      </p:pic>
      <p:pic>
        <p:nvPicPr>
          <p:cNvPr id="36" name="Picture 4">
            <a:extLst>
              <a:ext uri="{FF2B5EF4-FFF2-40B4-BE49-F238E27FC236}">
                <a16:creationId xmlns:a16="http://schemas.microsoft.com/office/drawing/2014/main" id="{234C0C16-1B59-4301-9328-AB56CE0D0F47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l="51048" t="1366" r="1251" b="2178"/>
          <a:stretch/>
        </p:blipFill>
        <p:spPr>
          <a:xfrm>
            <a:off x="883362" y="9210649"/>
            <a:ext cx="2066033" cy="3376859"/>
          </a:xfrm>
          <a:prstGeom prst="rect">
            <a:avLst/>
          </a:prstGeom>
        </p:spPr>
      </p:pic>
      <p:pic>
        <p:nvPicPr>
          <p:cNvPr id="37" name="Picture 7">
            <a:extLst>
              <a:ext uri="{FF2B5EF4-FFF2-40B4-BE49-F238E27FC236}">
                <a16:creationId xmlns:a16="http://schemas.microsoft.com/office/drawing/2014/main" id="{9351E7E5-681F-4A7D-9D34-751EA4C4DD59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l="335" t="2465" r="51342" b="2108"/>
          <a:stretch/>
        </p:blipFill>
        <p:spPr>
          <a:xfrm flipH="1">
            <a:off x="9555552" y="9209745"/>
            <a:ext cx="2060696" cy="3378667"/>
          </a:xfrm>
          <a:prstGeom prst="rect">
            <a:avLst/>
          </a:prstGeom>
        </p:spPr>
      </p:pic>
      <p:sp>
        <p:nvSpPr>
          <p:cNvPr id="6" name="Bogen 5">
            <a:extLst>
              <a:ext uri="{FF2B5EF4-FFF2-40B4-BE49-F238E27FC236}">
                <a16:creationId xmlns:a16="http://schemas.microsoft.com/office/drawing/2014/main" id="{C7E23B04-FBF3-43C9-AE14-33AE9BC8D3D2}"/>
              </a:ext>
            </a:extLst>
          </p:cNvPr>
          <p:cNvSpPr/>
          <p:nvPr/>
        </p:nvSpPr>
        <p:spPr>
          <a:xfrm rot="6176134">
            <a:off x="1392737" y="4073487"/>
            <a:ext cx="5177888" cy="9781139"/>
          </a:xfrm>
          <a:prstGeom prst="arc">
            <a:avLst/>
          </a:prstGeom>
          <a:ln w="762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</a:endParaRPr>
          </a:p>
        </p:txBody>
      </p:sp>
      <p:pic>
        <p:nvPicPr>
          <p:cNvPr id="45" name="Grafik 44" descr="Flugzeug">
            <a:extLst>
              <a:ext uri="{FF2B5EF4-FFF2-40B4-BE49-F238E27FC236}">
                <a16:creationId xmlns:a16="http://schemas.microsoft.com/office/drawing/2014/main" id="{DA13EE64-00B1-45E9-BC9F-C82E5A8C4C5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4519118">
            <a:off x="5422029" y="10855604"/>
            <a:ext cx="1696865" cy="1566713"/>
          </a:xfrm>
          <a:prstGeom prst="rect">
            <a:avLst/>
          </a:prstGeom>
        </p:spPr>
      </p:pic>
      <p:pic>
        <p:nvPicPr>
          <p:cNvPr id="46" name="Picture 24">
            <a:extLst>
              <a:ext uri="{FF2B5EF4-FFF2-40B4-BE49-F238E27FC236}">
                <a16:creationId xmlns:a16="http://schemas.microsoft.com/office/drawing/2014/main" id="{3A65A276-79E9-4C0D-869C-C8533741E081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0452023" y="5360644"/>
            <a:ext cx="3277142" cy="2176022"/>
          </a:xfrm>
          <a:prstGeom prst="rect">
            <a:avLst/>
          </a:prstGeom>
        </p:spPr>
      </p:pic>
      <p:pic>
        <p:nvPicPr>
          <p:cNvPr id="47" name="Picture 25">
            <a:extLst>
              <a:ext uri="{FF2B5EF4-FFF2-40B4-BE49-F238E27FC236}">
                <a16:creationId xmlns:a16="http://schemas.microsoft.com/office/drawing/2014/main" id="{0C9A1999-54B8-4BC0-A1A2-97613814DF16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7184446" y="5360644"/>
            <a:ext cx="3298380" cy="2176022"/>
          </a:xfrm>
          <a:prstGeom prst="rect">
            <a:avLst/>
          </a:prstGeom>
        </p:spPr>
      </p:pic>
      <p:sp>
        <p:nvSpPr>
          <p:cNvPr id="52" name="Freeform 37">
            <a:extLst>
              <a:ext uri="{FF2B5EF4-FFF2-40B4-BE49-F238E27FC236}">
                <a16:creationId xmlns:a16="http://schemas.microsoft.com/office/drawing/2014/main" id="{7BE0FCF5-16C8-4A1A-ABDB-41B216A4A7FC}"/>
              </a:ext>
            </a:extLst>
          </p:cNvPr>
          <p:cNvSpPr/>
          <p:nvPr/>
        </p:nvSpPr>
        <p:spPr>
          <a:xfrm>
            <a:off x="16819549" y="9472509"/>
            <a:ext cx="6849321" cy="856575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EVA: 253M $</a:t>
            </a:r>
          </a:p>
        </p:txBody>
      </p:sp>
      <p:pic>
        <p:nvPicPr>
          <p:cNvPr id="16" name="Grafik 15" descr="Messgerät">
            <a:extLst>
              <a:ext uri="{FF2B5EF4-FFF2-40B4-BE49-F238E27FC236}">
                <a16:creationId xmlns:a16="http://schemas.microsoft.com/office/drawing/2014/main" id="{CD764081-1CEF-487C-A80F-D6A67917002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4891909" y="9142151"/>
            <a:ext cx="1556063" cy="1556063"/>
          </a:xfrm>
          <a:prstGeom prst="rect">
            <a:avLst/>
          </a:prstGeom>
        </p:spPr>
      </p:pic>
      <p:pic>
        <p:nvPicPr>
          <p:cNvPr id="57" name="Grafik 56" descr="Messgerät">
            <a:extLst>
              <a:ext uri="{FF2B5EF4-FFF2-40B4-BE49-F238E27FC236}">
                <a16:creationId xmlns:a16="http://schemas.microsoft.com/office/drawing/2014/main" id="{34A42844-5F88-47E7-A943-D0A96B720CF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4891909" y="10781767"/>
            <a:ext cx="1556063" cy="1556063"/>
          </a:xfrm>
          <a:prstGeom prst="rect">
            <a:avLst/>
          </a:prstGeom>
        </p:spPr>
      </p:pic>
      <p:sp>
        <p:nvSpPr>
          <p:cNvPr id="49" name="Freeform 37">
            <a:extLst>
              <a:ext uri="{FF2B5EF4-FFF2-40B4-BE49-F238E27FC236}">
                <a16:creationId xmlns:a16="http://schemas.microsoft.com/office/drawing/2014/main" id="{F711784A-3B84-4EE9-A9C4-F2D251FED34E}"/>
              </a:ext>
            </a:extLst>
          </p:cNvPr>
          <p:cNvSpPr/>
          <p:nvPr/>
        </p:nvSpPr>
        <p:spPr>
          <a:xfrm>
            <a:off x="2909577" y="2568717"/>
            <a:ext cx="7807822" cy="976445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b="1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find </a:t>
            </a:r>
            <a:r>
              <a:rPr lang="de-DE" b="1" dirty="0" err="1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the</a:t>
            </a:r>
            <a:r>
              <a:rPr lang="de-DE" b="1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 SWEET SPOT</a:t>
            </a:r>
            <a:endParaRPr lang="en-US" b="1" dirty="0">
              <a:solidFill>
                <a:schemeClr val="tx1">
                  <a:lumMod val="50000"/>
                </a:schemeClr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pic>
        <p:nvPicPr>
          <p:cNvPr id="10" name="Grafik 9" descr="Bonbon">
            <a:extLst>
              <a:ext uri="{FF2B5EF4-FFF2-40B4-BE49-F238E27FC236}">
                <a16:creationId xmlns:a16="http://schemas.microsoft.com/office/drawing/2014/main" id="{F211F56D-014D-4956-924E-64199D351608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899345" y="2353512"/>
            <a:ext cx="1406856" cy="1406856"/>
          </a:xfrm>
          <a:prstGeom prst="rect">
            <a:avLst/>
          </a:prstGeom>
        </p:spPr>
      </p:pic>
      <p:sp>
        <p:nvSpPr>
          <p:cNvPr id="53" name="Freeform 37">
            <a:extLst>
              <a:ext uri="{FF2B5EF4-FFF2-40B4-BE49-F238E27FC236}">
                <a16:creationId xmlns:a16="http://schemas.microsoft.com/office/drawing/2014/main" id="{B2D6AE1A-E2BE-4675-B713-52BFC6B449B0}"/>
              </a:ext>
            </a:extLst>
          </p:cNvPr>
          <p:cNvSpPr/>
          <p:nvPr/>
        </p:nvSpPr>
        <p:spPr>
          <a:xfrm>
            <a:off x="2909577" y="5704914"/>
            <a:ext cx="7807822" cy="976445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Keep the customer bases</a:t>
            </a:r>
          </a:p>
        </p:txBody>
      </p:sp>
      <p:pic>
        <p:nvPicPr>
          <p:cNvPr id="12" name="Grafik 11" descr="Team">
            <a:extLst>
              <a:ext uri="{FF2B5EF4-FFF2-40B4-BE49-F238E27FC236}">
                <a16:creationId xmlns:a16="http://schemas.microsoft.com/office/drawing/2014/main" id="{7FDBC96D-B777-48AA-8E08-011EC336182C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883362" y="5529481"/>
            <a:ext cx="1327310" cy="1327310"/>
          </a:xfrm>
          <a:prstGeom prst="rect">
            <a:avLst/>
          </a:prstGeom>
        </p:spPr>
      </p:pic>
      <p:pic>
        <p:nvPicPr>
          <p:cNvPr id="14" name="Grafik 13" descr="Häkchen">
            <a:extLst>
              <a:ext uri="{FF2B5EF4-FFF2-40B4-BE49-F238E27FC236}">
                <a16:creationId xmlns:a16="http://schemas.microsoft.com/office/drawing/2014/main" id="{BD855A9A-1031-4829-BDA6-1E5FB3EB8269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883362" y="4018994"/>
            <a:ext cx="1251860" cy="1251860"/>
          </a:xfrm>
          <a:prstGeom prst="rect">
            <a:avLst/>
          </a:prstGeom>
        </p:spPr>
      </p:pic>
      <p:sp>
        <p:nvSpPr>
          <p:cNvPr id="58" name="Freeform 37">
            <a:extLst>
              <a:ext uri="{FF2B5EF4-FFF2-40B4-BE49-F238E27FC236}">
                <a16:creationId xmlns:a16="http://schemas.microsoft.com/office/drawing/2014/main" id="{6C06AD53-2DA8-470A-BEBB-DCEEA788BAEA}"/>
              </a:ext>
            </a:extLst>
          </p:cNvPr>
          <p:cNvSpPr/>
          <p:nvPr/>
        </p:nvSpPr>
        <p:spPr>
          <a:xfrm>
            <a:off x="2909577" y="4156702"/>
            <a:ext cx="7807822" cy="976445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Overcome the cultural gap</a:t>
            </a:r>
          </a:p>
        </p:txBody>
      </p:sp>
      <p:sp>
        <p:nvSpPr>
          <p:cNvPr id="59" name="Freeform 37">
            <a:extLst>
              <a:ext uri="{FF2B5EF4-FFF2-40B4-BE49-F238E27FC236}">
                <a16:creationId xmlns:a16="http://schemas.microsoft.com/office/drawing/2014/main" id="{20A93FFD-21A3-4635-B5BD-49277F6F803F}"/>
              </a:ext>
            </a:extLst>
          </p:cNvPr>
          <p:cNvSpPr/>
          <p:nvPr/>
        </p:nvSpPr>
        <p:spPr>
          <a:xfrm>
            <a:off x="16819548" y="11179240"/>
            <a:ext cx="6849321" cy="856575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  <a:latin typeface="Avenir Medium"/>
                <a:ea typeface="Avenir Book" charset="0"/>
                <a:cs typeface="Avenir Book" charset="0"/>
              </a:rPr>
              <a:t>ONE Airline</a:t>
            </a:r>
          </a:p>
        </p:txBody>
      </p:sp>
    </p:spTree>
    <p:extLst>
      <p:ext uri="{BB962C8B-B14F-4D97-AF65-F5344CB8AC3E}">
        <p14:creationId xmlns:p14="http://schemas.microsoft.com/office/powerpoint/2010/main" val="3905844642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2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048002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entagon 2"/>
          <p:cNvSpPr/>
          <p:nvPr/>
        </p:nvSpPr>
        <p:spPr>
          <a:xfrm>
            <a:off x="3259833" y="2826032"/>
            <a:ext cx="12960000" cy="9360000"/>
          </a:xfrm>
          <a:prstGeom prst="homePlate">
            <a:avLst>
              <a:gd name="adj" fmla="val 13323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20000"/>
                <a:lumOff val="8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2477817" y="3186032"/>
            <a:ext cx="8640000" cy="864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4A998DD-F494-42C8-9A19-613A480F4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7" name="Footnot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  <p:sp>
        <p:nvSpPr>
          <p:cNvPr id="13" name="Textfeld 85"/>
          <p:cNvSpPr txBox="1">
            <a:spLocks noChangeArrowheads="1"/>
          </p:cNvSpPr>
          <p:nvPr/>
        </p:nvSpPr>
        <p:spPr bwMode="auto">
          <a:xfrm>
            <a:off x="16658007" y="3206807"/>
            <a:ext cx="607859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CCCCCC"/>
              </a:buClr>
              <a:tabLst>
                <a:tab pos="0" algn="l"/>
              </a:tabLst>
            </a:pPr>
            <a:r>
              <a:rPr lang="de-DE" sz="2400" b="1" dirty="0">
                <a:solidFill>
                  <a:srgbClr val="000000"/>
                </a:solidFill>
                <a:latin typeface="Avenir Medium"/>
                <a:cs typeface="Arial" charset="0"/>
              </a:rPr>
              <a:t>xxx</a:t>
            </a:r>
          </a:p>
        </p:txBody>
      </p:sp>
      <p:sp>
        <p:nvSpPr>
          <p:cNvPr id="14" name="Textfeld 85"/>
          <p:cNvSpPr txBox="1">
            <a:spLocks noChangeArrowheads="1"/>
          </p:cNvSpPr>
          <p:nvPr/>
        </p:nvSpPr>
        <p:spPr bwMode="auto">
          <a:xfrm rot="16200000">
            <a:off x="12481223" y="7427961"/>
            <a:ext cx="607859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CCCCCC"/>
              </a:buClr>
              <a:tabLst>
                <a:tab pos="0" algn="l"/>
              </a:tabLst>
            </a:pPr>
            <a:r>
              <a:rPr lang="de-DE" sz="2400" b="1" dirty="0">
                <a:solidFill>
                  <a:srgbClr val="000000"/>
                </a:solidFill>
                <a:latin typeface="Avenir Medium"/>
                <a:cs typeface="Arial" charset="0"/>
              </a:rPr>
              <a:t>xxx</a:t>
            </a:r>
          </a:p>
        </p:txBody>
      </p:sp>
      <p:sp>
        <p:nvSpPr>
          <p:cNvPr id="15" name="Textfeld 85"/>
          <p:cNvSpPr txBox="1">
            <a:spLocks noChangeArrowheads="1"/>
          </p:cNvSpPr>
          <p:nvPr/>
        </p:nvSpPr>
        <p:spPr bwMode="auto">
          <a:xfrm>
            <a:off x="14981039" y="3632331"/>
            <a:ext cx="607859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CCCCCC"/>
              </a:buClr>
              <a:tabLst>
                <a:tab pos="0" algn="l"/>
              </a:tabLst>
            </a:pPr>
            <a:r>
              <a:rPr lang="de-DE" sz="2400" b="1" dirty="0">
                <a:solidFill>
                  <a:srgbClr val="000000"/>
                </a:solidFill>
                <a:latin typeface="Avenir Medium"/>
                <a:cs typeface="Arial" charset="0"/>
              </a:rPr>
              <a:t>xxx</a:t>
            </a:r>
          </a:p>
        </p:txBody>
      </p:sp>
      <p:sp>
        <p:nvSpPr>
          <p:cNvPr id="16" name="Textfeld 85"/>
          <p:cNvSpPr txBox="1">
            <a:spLocks noChangeArrowheads="1"/>
          </p:cNvSpPr>
          <p:nvPr/>
        </p:nvSpPr>
        <p:spPr bwMode="auto">
          <a:xfrm>
            <a:off x="18581839" y="3632331"/>
            <a:ext cx="607859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CCCCCC"/>
              </a:buClr>
              <a:tabLst>
                <a:tab pos="0" algn="l"/>
              </a:tabLst>
            </a:pPr>
            <a:r>
              <a:rPr lang="de-DE" sz="2400" b="1" dirty="0">
                <a:solidFill>
                  <a:srgbClr val="000000"/>
                </a:solidFill>
                <a:latin typeface="Avenir Medium"/>
                <a:cs typeface="Arial" charset="0"/>
              </a:rPr>
              <a:t>xxx</a:t>
            </a:r>
          </a:p>
        </p:txBody>
      </p:sp>
      <p:sp>
        <p:nvSpPr>
          <p:cNvPr id="17" name="Textfeld 85"/>
          <p:cNvSpPr txBox="1">
            <a:spLocks noChangeArrowheads="1"/>
          </p:cNvSpPr>
          <p:nvPr/>
        </p:nvSpPr>
        <p:spPr bwMode="auto">
          <a:xfrm rot="16200000">
            <a:off x="12913271" y="5700897"/>
            <a:ext cx="607859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CCCCCC"/>
              </a:buClr>
              <a:tabLst>
                <a:tab pos="0" algn="l"/>
              </a:tabLst>
            </a:pPr>
            <a:r>
              <a:rPr lang="de-DE" sz="2400" b="1" dirty="0">
                <a:solidFill>
                  <a:srgbClr val="000000"/>
                </a:solidFill>
                <a:latin typeface="Avenir Medium"/>
                <a:cs typeface="Arial" charset="0"/>
              </a:rPr>
              <a:t>xxx</a:t>
            </a:r>
          </a:p>
        </p:txBody>
      </p:sp>
      <p:sp>
        <p:nvSpPr>
          <p:cNvPr id="18" name="Textfeld 85"/>
          <p:cNvSpPr txBox="1">
            <a:spLocks noChangeArrowheads="1"/>
          </p:cNvSpPr>
          <p:nvPr/>
        </p:nvSpPr>
        <p:spPr bwMode="auto">
          <a:xfrm rot="16200000">
            <a:off x="12913271" y="9300899"/>
            <a:ext cx="607859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CCCCCC"/>
              </a:buClr>
              <a:tabLst>
                <a:tab pos="0" algn="l"/>
              </a:tabLst>
            </a:pPr>
            <a:r>
              <a:rPr lang="de-DE" sz="2400" b="1" dirty="0">
                <a:solidFill>
                  <a:srgbClr val="000000"/>
                </a:solidFill>
                <a:latin typeface="Avenir Medium"/>
                <a:cs typeface="Arial" charset="0"/>
              </a:rPr>
              <a:t>xxx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3484969" y="4122496"/>
            <a:ext cx="3600000" cy="3600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7085769" y="4122496"/>
            <a:ext cx="3600000" cy="3600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3484969" y="7722496"/>
            <a:ext cx="3600000" cy="3600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7085769" y="7722496"/>
            <a:ext cx="3600000" cy="3600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2" name="Rectangle 31"/>
          <p:cNvSpPr/>
          <p:nvPr>
            <p:custDataLst>
              <p:tags r:id="rId5"/>
            </p:custDataLst>
          </p:nvPr>
        </p:nvSpPr>
        <p:spPr>
          <a:xfrm>
            <a:off x="3691881" y="8442176"/>
            <a:ext cx="7920000" cy="331192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31" name="Rectangle 30"/>
          <p:cNvSpPr/>
          <p:nvPr/>
        </p:nvSpPr>
        <p:spPr>
          <a:xfrm>
            <a:off x="3691881" y="7578176"/>
            <a:ext cx="7920000" cy="864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dirty="0">
                <a:solidFill>
                  <a:schemeClr val="tx2"/>
                </a:solidFill>
                <a:latin typeface="Avenir Medium"/>
              </a:rPr>
              <a:t>XXX</a:t>
            </a:r>
          </a:p>
        </p:txBody>
      </p:sp>
      <p:sp>
        <p:nvSpPr>
          <p:cNvPr id="33" name="Rectangle 32"/>
          <p:cNvSpPr/>
          <p:nvPr>
            <p:custDataLst>
              <p:tags r:id="rId6"/>
            </p:custDataLst>
          </p:nvPr>
        </p:nvSpPr>
        <p:spPr>
          <a:xfrm>
            <a:off x="3692681" y="4050032"/>
            <a:ext cx="7920000" cy="3312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692681" y="3186032"/>
            <a:ext cx="7920000" cy="864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dirty="0">
                <a:solidFill>
                  <a:schemeClr val="tx2"/>
                </a:solidFill>
                <a:latin typeface="Avenir Medium"/>
              </a:rPr>
              <a:t>XXX</a:t>
            </a:r>
          </a:p>
        </p:txBody>
      </p:sp>
      <p:cxnSp>
        <p:nvCxnSpPr>
          <p:cNvPr id="34" name="Gerade Verbindung 49"/>
          <p:cNvCxnSpPr/>
          <p:nvPr/>
        </p:nvCxnSpPr>
        <p:spPr bwMode="auto">
          <a:xfrm>
            <a:off x="17085769" y="4122496"/>
            <a:ext cx="0" cy="720000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Gerade Verbindung 51"/>
          <p:cNvCxnSpPr/>
          <p:nvPr/>
        </p:nvCxnSpPr>
        <p:spPr bwMode="auto">
          <a:xfrm>
            <a:off x="13485769" y="7722496"/>
            <a:ext cx="7200000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custDataLst>
      <p:tags r:id="rId2"/>
    </p:custDataLst>
    <p:extLst>
      <p:ext uri="{BB962C8B-B14F-4D97-AF65-F5344CB8AC3E}">
        <p14:creationId xmlns:p14="http://schemas.microsoft.com/office/powerpoint/2010/main" val="162376920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2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048002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/>
          <p:cNvSpPr/>
          <p:nvPr/>
        </p:nvSpPr>
        <p:spPr>
          <a:xfrm>
            <a:off x="3260633" y="7721680"/>
            <a:ext cx="864000" cy="864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400" b="1" dirty="0">
                <a:solidFill>
                  <a:schemeClr val="tx2"/>
                </a:solidFill>
                <a:latin typeface="Avenir Medium"/>
              </a:rPr>
              <a:t>3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123833" y="7721680"/>
            <a:ext cx="5616000" cy="864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dirty="0">
                <a:solidFill>
                  <a:schemeClr val="tx2"/>
                </a:solidFill>
                <a:latin typeface="Avenir Medium"/>
              </a:rPr>
              <a:t>XXX</a:t>
            </a:r>
          </a:p>
        </p:txBody>
      </p:sp>
      <p:sp>
        <p:nvSpPr>
          <p:cNvPr id="35" name="Rectangle 34"/>
          <p:cNvSpPr/>
          <p:nvPr/>
        </p:nvSpPr>
        <p:spPr>
          <a:xfrm>
            <a:off x="10174121" y="7721680"/>
            <a:ext cx="864000" cy="864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400" b="1" dirty="0">
                <a:solidFill>
                  <a:schemeClr val="tx2"/>
                </a:solidFill>
                <a:latin typeface="Avenir Medium"/>
              </a:rPr>
              <a:t>4</a:t>
            </a:r>
          </a:p>
        </p:txBody>
      </p:sp>
      <p:sp>
        <p:nvSpPr>
          <p:cNvPr id="36" name="Rectangle 35"/>
          <p:cNvSpPr/>
          <p:nvPr/>
        </p:nvSpPr>
        <p:spPr>
          <a:xfrm>
            <a:off x="11037321" y="7721680"/>
            <a:ext cx="5616000" cy="864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dirty="0">
                <a:solidFill>
                  <a:schemeClr val="tx2"/>
                </a:solidFill>
                <a:latin typeface="Avenir Medium"/>
              </a:rPr>
              <a:t>XXX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8CE68DA-D02E-48A8-A254-58A8E6D75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8" name="Footnot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  <p:sp>
        <p:nvSpPr>
          <p:cNvPr id="12" name="Rectangle 11"/>
          <p:cNvSpPr/>
          <p:nvPr>
            <p:custDataLst>
              <p:tags r:id="rId5"/>
            </p:custDataLst>
          </p:nvPr>
        </p:nvSpPr>
        <p:spPr>
          <a:xfrm>
            <a:off x="3259833" y="8874176"/>
            <a:ext cx="6480000" cy="331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17" name="Rectangle 16"/>
          <p:cNvSpPr/>
          <p:nvPr>
            <p:custDataLst>
              <p:tags r:id="rId6"/>
            </p:custDataLst>
          </p:nvPr>
        </p:nvSpPr>
        <p:spPr>
          <a:xfrm>
            <a:off x="3260633" y="3977632"/>
            <a:ext cx="6480000" cy="331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19" name="Rectangle 18"/>
          <p:cNvSpPr/>
          <p:nvPr>
            <p:custDataLst>
              <p:tags r:id="rId7"/>
            </p:custDataLst>
          </p:nvPr>
        </p:nvSpPr>
        <p:spPr>
          <a:xfrm>
            <a:off x="10173321" y="8874624"/>
            <a:ext cx="6480000" cy="331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21" name="Rectangle 20"/>
          <p:cNvSpPr/>
          <p:nvPr>
            <p:custDataLst>
              <p:tags r:id="rId8"/>
            </p:custDataLst>
          </p:nvPr>
        </p:nvSpPr>
        <p:spPr>
          <a:xfrm>
            <a:off x="10173321" y="3977680"/>
            <a:ext cx="6480000" cy="331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24" name="Rectangle 23"/>
          <p:cNvSpPr/>
          <p:nvPr>
            <p:custDataLst>
              <p:tags r:id="rId9"/>
            </p:custDataLst>
          </p:nvPr>
        </p:nvSpPr>
        <p:spPr>
          <a:xfrm>
            <a:off x="17949817" y="5912820"/>
            <a:ext cx="3168000" cy="432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chemeClr val="accent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dk1"/>
                </a:solidFill>
                <a:latin typeface="Avenir Medium"/>
              </a:rPr>
              <a:t>Xxx</a:t>
            </a:r>
          </a:p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dk1"/>
                </a:solidFill>
                <a:latin typeface="Avenir Medium"/>
              </a:rPr>
              <a:t>xxx</a:t>
            </a:r>
          </a:p>
        </p:txBody>
      </p:sp>
      <p:sp>
        <p:nvSpPr>
          <p:cNvPr id="25" name="Rectangle 24"/>
          <p:cNvSpPr/>
          <p:nvPr/>
        </p:nvSpPr>
        <p:spPr>
          <a:xfrm>
            <a:off x="3260633" y="2825552"/>
            <a:ext cx="864000" cy="864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400" b="1" dirty="0">
                <a:solidFill>
                  <a:schemeClr val="tx2"/>
                </a:solidFill>
                <a:latin typeface="Avenir Medium"/>
              </a:rPr>
              <a:t>1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123833" y="2825552"/>
            <a:ext cx="5616000" cy="864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dirty="0">
                <a:solidFill>
                  <a:schemeClr val="tx2"/>
                </a:solidFill>
                <a:latin typeface="Avenir Medium"/>
              </a:rPr>
              <a:t>XXX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174121" y="2825552"/>
            <a:ext cx="864000" cy="864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400" b="1" dirty="0">
                <a:solidFill>
                  <a:schemeClr val="tx2"/>
                </a:solidFill>
                <a:latin typeface="Avenir Medium"/>
              </a:rPr>
              <a:t>2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1037321" y="2825552"/>
            <a:ext cx="5616000" cy="864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dirty="0">
                <a:solidFill>
                  <a:schemeClr val="tx2"/>
                </a:solidFill>
                <a:latin typeface="Avenir Medium"/>
              </a:rPr>
              <a:t>XXX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17086266" y="3978592"/>
            <a:ext cx="488078" cy="8208000"/>
            <a:chOff x="6948264" y="1988816"/>
            <a:chExt cx="244039" cy="4095188"/>
          </a:xfrm>
        </p:grpSpPr>
        <p:cxnSp>
          <p:nvCxnSpPr>
            <p:cNvPr id="4" name="Straight Connector 3"/>
            <p:cNvCxnSpPr/>
            <p:nvPr/>
          </p:nvCxnSpPr>
          <p:spPr>
            <a:xfrm>
              <a:off x="6948264" y="1988816"/>
              <a:ext cx="0" cy="4095188"/>
            </a:xfrm>
            <a:prstGeom prst="line">
              <a:avLst/>
            </a:prstGeom>
            <a:ln w="76200">
              <a:solidFill>
                <a:schemeClr val="accent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Isosceles Triangle 6"/>
            <p:cNvSpPr/>
            <p:nvPr/>
          </p:nvSpPr>
          <p:spPr>
            <a:xfrm rot="5400000" flipH="1">
              <a:off x="6581385" y="3935737"/>
              <a:ext cx="1005836" cy="216000"/>
            </a:xfrm>
            <a:prstGeom prst="triangle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 dirty="0" err="1">
                <a:solidFill>
                  <a:schemeClr val="tx1"/>
                </a:solidFill>
                <a:latin typeface="Avenir Medium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560505082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2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048002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2CEBC4AF-BF68-4ED1-9941-4D07A8EDCB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8" name="Footnot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  <p:sp>
        <p:nvSpPr>
          <p:cNvPr id="7" name="Pentagon 6"/>
          <p:cNvSpPr/>
          <p:nvPr>
            <p:custDataLst>
              <p:tags r:id="rId5"/>
            </p:custDataLst>
          </p:nvPr>
        </p:nvSpPr>
        <p:spPr>
          <a:xfrm rot="5400000">
            <a:off x="10388825" y="-3438448"/>
            <a:ext cx="3600000" cy="17856000"/>
          </a:xfrm>
          <a:prstGeom prst="homePlate">
            <a:avLst>
              <a:gd name="adj" fmla="val 36022"/>
            </a:avLst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432000" tIns="9360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 algn="ctr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  <a:p>
            <a:pPr marL="358776" lvl="1" indent="-358776" algn="ctr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  <a:p>
            <a:pPr marL="358776" lvl="1" indent="-358776" algn="ctr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683369" y="2774984"/>
            <a:ext cx="1008931" cy="6771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lt1">
                    <a:alpha val="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lt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2880" tIns="91440" rIns="18288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3200" dirty="0">
                <a:solidFill>
                  <a:schemeClr val="dk2"/>
                </a:solidFill>
                <a:latin typeface="Avenir Medium"/>
              </a:rPr>
              <a:t>XXX</a:t>
            </a:r>
          </a:p>
        </p:txBody>
      </p:sp>
      <p:sp>
        <p:nvSpPr>
          <p:cNvPr id="18" name="Freeform 17"/>
          <p:cNvSpPr/>
          <p:nvPr>
            <p:custDataLst>
              <p:tags r:id="rId6"/>
            </p:custDataLst>
          </p:nvPr>
        </p:nvSpPr>
        <p:spPr>
          <a:xfrm>
            <a:off x="3260825" y="6281937"/>
            <a:ext cx="8784000" cy="5903714"/>
          </a:xfrm>
          <a:custGeom>
            <a:avLst/>
            <a:gdLst>
              <a:gd name="connsiteX0" fmla="*/ 0 w 4387801"/>
              <a:gd name="connsiteY0" fmla="*/ 0 h 2951857"/>
              <a:gd name="connsiteX1" fmla="*/ 146219 w 4387801"/>
              <a:gd name="connsiteY1" fmla="*/ 20097 h 2951857"/>
              <a:gd name="connsiteX2" fmla="*/ 4387801 w 4387801"/>
              <a:gd name="connsiteY2" fmla="*/ 645257 h 2951857"/>
              <a:gd name="connsiteX3" fmla="*/ 4387801 w 4387801"/>
              <a:gd name="connsiteY3" fmla="*/ 2951857 h 2951857"/>
              <a:gd name="connsiteX4" fmla="*/ 0 w 4387801"/>
              <a:gd name="connsiteY4" fmla="*/ 2951857 h 2951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7801" h="2951857">
                <a:moveTo>
                  <a:pt x="0" y="0"/>
                </a:moveTo>
                <a:lnTo>
                  <a:pt x="146219" y="20097"/>
                </a:lnTo>
                <a:lnTo>
                  <a:pt x="4387801" y="645257"/>
                </a:lnTo>
                <a:lnTo>
                  <a:pt x="4387801" y="2951857"/>
                </a:lnTo>
                <a:lnTo>
                  <a:pt x="0" y="2951857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19" name="Freeform 18"/>
          <p:cNvSpPr/>
          <p:nvPr>
            <p:custDataLst>
              <p:tags r:id="rId7"/>
            </p:custDataLst>
          </p:nvPr>
        </p:nvSpPr>
        <p:spPr>
          <a:xfrm flipH="1">
            <a:off x="12332825" y="6281937"/>
            <a:ext cx="8784000" cy="5903714"/>
          </a:xfrm>
          <a:custGeom>
            <a:avLst/>
            <a:gdLst>
              <a:gd name="connsiteX0" fmla="*/ 0 w 4387801"/>
              <a:gd name="connsiteY0" fmla="*/ 0 h 2951857"/>
              <a:gd name="connsiteX1" fmla="*/ 146219 w 4387801"/>
              <a:gd name="connsiteY1" fmla="*/ 20097 h 2951857"/>
              <a:gd name="connsiteX2" fmla="*/ 4387801 w 4387801"/>
              <a:gd name="connsiteY2" fmla="*/ 645257 h 2951857"/>
              <a:gd name="connsiteX3" fmla="*/ 4387801 w 4387801"/>
              <a:gd name="connsiteY3" fmla="*/ 2951857 h 2951857"/>
              <a:gd name="connsiteX4" fmla="*/ 0 w 4387801"/>
              <a:gd name="connsiteY4" fmla="*/ 2951857 h 2951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7801" h="2951857">
                <a:moveTo>
                  <a:pt x="0" y="0"/>
                </a:moveTo>
                <a:lnTo>
                  <a:pt x="146219" y="20097"/>
                </a:lnTo>
                <a:lnTo>
                  <a:pt x="4387801" y="645257"/>
                </a:lnTo>
                <a:lnTo>
                  <a:pt x="4387801" y="2951857"/>
                </a:lnTo>
                <a:lnTo>
                  <a:pt x="0" y="2951857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260825" y="11321650"/>
            <a:ext cx="8784000" cy="864000"/>
          </a:xfrm>
          <a:prstGeom prst="rect">
            <a:avLst/>
          </a:prstGeom>
          <a:solidFill>
            <a:schemeClr val="lt1"/>
          </a:solidFill>
          <a:ln w="12700">
            <a:solidFill>
              <a:schemeClr val="l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dirty="0">
                <a:solidFill>
                  <a:schemeClr val="dk2"/>
                </a:solidFill>
                <a:latin typeface="Avenir Medium"/>
              </a:rPr>
              <a:t>XXX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2332825" y="11321650"/>
            <a:ext cx="8784000" cy="864000"/>
          </a:xfrm>
          <a:prstGeom prst="rect">
            <a:avLst/>
          </a:prstGeom>
          <a:solidFill>
            <a:schemeClr val="lt1"/>
          </a:solidFill>
          <a:ln w="12700">
            <a:solidFill>
              <a:schemeClr val="l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dirty="0">
                <a:solidFill>
                  <a:schemeClr val="dk2"/>
                </a:solidFill>
                <a:latin typeface="Avenir Medium"/>
              </a:rPr>
              <a:t>XX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38583467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3CD76EE-ECEC-4A0F-88C6-18C89C5F0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27" name="Pentagon 26"/>
          <p:cNvSpPr/>
          <p:nvPr/>
        </p:nvSpPr>
        <p:spPr>
          <a:xfrm>
            <a:off x="3260725" y="3113584"/>
            <a:ext cx="13680000" cy="8784000"/>
          </a:xfrm>
          <a:prstGeom prst="homePlate">
            <a:avLst>
              <a:gd name="adj" fmla="val 14722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20000"/>
                <a:lumOff val="80000"/>
              </a:schemeClr>
            </a:solidFill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9597129" y="3977358"/>
            <a:ext cx="5328000" cy="2304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 err="1">
                <a:solidFill>
                  <a:schemeClr val="tx1"/>
                </a:solidFill>
                <a:latin typeface="Avenir Medium"/>
              </a:rPr>
              <a:t>Bild</a:t>
            </a:r>
            <a:r>
              <a:rPr lang="en-US" sz="2800" dirty="0">
                <a:solidFill>
                  <a:schemeClr val="tx1"/>
                </a:solidFill>
                <a:latin typeface="Avenir Medium"/>
              </a:rPr>
              <a:t> etc.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3691881" y="3977358"/>
            <a:ext cx="5328000" cy="7488576"/>
            <a:chOff x="251520" y="1844952"/>
            <a:chExt cx="2592000" cy="3744288"/>
          </a:xfrm>
        </p:grpSpPr>
        <p:sp>
          <p:nvSpPr>
            <p:cNvPr id="31" name="Rechteck 30"/>
            <p:cNvSpPr/>
            <p:nvPr/>
          </p:nvSpPr>
          <p:spPr>
            <a:xfrm>
              <a:off x="251520" y="1844952"/>
              <a:ext cx="2592000" cy="1152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dirty="0" err="1">
                  <a:solidFill>
                    <a:schemeClr val="tx1"/>
                  </a:solidFill>
                  <a:latin typeface="Avenir Medium"/>
                </a:rPr>
                <a:t>Bild</a:t>
              </a:r>
              <a:r>
                <a:rPr lang="en-US" sz="2800" dirty="0">
                  <a:solidFill>
                    <a:schemeClr val="tx1"/>
                  </a:solidFill>
                  <a:latin typeface="Avenir Medium"/>
                </a:rPr>
                <a:t> etc.</a:t>
              </a:r>
            </a:p>
          </p:txBody>
        </p:sp>
        <p:sp>
          <p:nvSpPr>
            <p:cNvPr id="33" name="Rechteck 32"/>
            <p:cNvSpPr/>
            <p:nvPr>
              <p:custDataLst>
                <p:tags r:id="rId5"/>
              </p:custDataLst>
            </p:nvPr>
          </p:nvSpPr>
          <p:spPr>
            <a:xfrm>
              <a:off x="251520" y="3141240"/>
              <a:ext cx="2592000" cy="2448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58776" lvl="1" indent="-358776">
                <a:buClr>
                  <a:schemeClr val="dk1"/>
                </a:buClr>
                <a:buSzPct val="100000"/>
                <a:buFont typeface="Wingdings 2" panose="05020102010507070707" pitchFamily="18" charset="2"/>
                <a:buChar char=""/>
              </a:pPr>
              <a:r>
                <a:rPr lang="en-US" sz="2800" dirty="0">
                  <a:solidFill>
                    <a:schemeClr val="tx1"/>
                  </a:solidFill>
                  <a:latin typeface="Avenir Medium"/>
                </a:rPr>
                <a:t>xxx</a:t>
              </a:r>
            </a:p>
          </p:txBody>
        </p:sp>
      </p:grpSp>
      <p:sp>
        <p:nvSpPr>
          <p:cNvPr id="34" name="Rectangle 33"/>
          <p:cNvSpPr/>
          <p:nvPr>
            <p:custDataLst>
              <p:tags r:id="rId2"/>
            </p:custDataLst>
          </p:nvPr>
        </p:nvSpPr>
        <p:spPr>
          <a:xfrm>
            <a:off x="9597129" y="6569934"/>
            <a:ext cx="5328000" cy="4896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16" name="Footnot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5645209" y="3905584"/>
            <a:ext cx="5472000" cy="720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buClr>
                <a:schemeClr val="dk1"/>
              </a:buClr>
              <a:buSzPct val="100000"/>
            </a:pPr>
            <a:r>
              <a:rPr lang="en-US" sz="2800" dirty="0">
                <a:solidFill>
                  <a:schemeClr val="tx2"/>
                </a:solidFill>
                <a:latin typeface="Avenir Medium"/>
              </a:rPr>
              <a:t>ERGEBNIS</a:t>
            </a:r>
          </a:p>
        </p:txBody>
      </p:sp>
      <p:sp>
        <p:nvSpPr>
          <p:cNvPr id="19" name="Rectangle 18"/>
          <p:cNvSpPr/>
          <p:nvPr>
            <p:custDataLst>
              <p:tags r:id="rId4"/>
            </p:custDataLst>
          </p:nvPr>
        </p:nvSpPr>
        <p:spPr>
          <a:xfrm>
            <a:off x="16077257" y="4553584"/>
            <a:ext cx="4752000" cy="5904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873058" y="3257022"/>
            <a:ext cx="7425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solidFill>
                  <a:schemeClr val="tx2"/>
                </a:solidFill>
                <a:latin typeface="Avenir Medium"/>
              </a:rPr>
              <a:t>XXX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1778306" y="3217532"/>
            <a:ext cx="7425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solidFill>
                  <a:schemeClr val="tx2"/>
                </a:solidFill>
                <a:latin typeface="Avenir Medium"/>
              </a:rPr>
              <a:t>XXX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2739764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AC62E71-9BBE-49FC-8F56-91A3EFE2E1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>
              <a:latin typeface="Avenir Medium"/>
            </a:endParaRPr>
          </a:p>
        </p:txBody>
      </p:sp>
      <p:sp>
        <p:nvSpPr>
          <p:cNvPr id="8" name="Footnot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14493081" y="2681537"/>
            <a:ext cx="6623844" cy="598371"/>
          </a:xfrm>
          <a:prstGeom prst="rect">
            <a:avLst/>
          </a:prstGeom>
          <a:noFill/>
        </p:spPr>
        <p:txBody>
          <a:bodyPr wrap="square" lIns="180000" tIns="93600" rIns="180000" bIns="93600" rtlCol="0">
            <a:spAutoFit/>
          </a:bodyPr>
          <a:lstStyle/>
          <a:p>
            <a:pPr marL="360000" indent="-360000" algn="ctr">
              <a:lnSpc>
                <a:spcPct val="95000"/>
              </a:lnSpc>
              <a:spcBef>
                <a:spcPct val="20000"/>
              </a:spcBef>
              <a:buClr>
                <a:prstClr val="black"/>
              </a:buClr>
              <a:buSzPct val="60000"/>
              <a:defRPr/>
            </a:pPr>
            <a:r>
              <a:rPr lang="en-GB" sz="2800" dirty="0">
                <a:solidFill>
                  <a:schemeClr val="tx2"/>
                </a:solidFill>
                <a:latin typeface="Avenir Medium"/>
                <a:cs typeface="Arial"/>
              </a:rPr>
              <a:t>ACTIVITIES / RESULTS</a:t>
            </a: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auto">
          <a:xfrm>
            <a:off x="9596537" y="2681537"/>
            <a:ext cx="1799936" cy="598371"/>
          </a:xfrm>
          <a:prstGeom prst="rect">
            <a:avLst/>
          </a:prstGeom>
          <a:noFill/>
        </p:spPr>
        <p:txBody>
          <a:bodyPr wrap="square" lIns="180000" tIns="93600" rIns="180000" bIns="93600" rtlCol="0">
            <a:spAutoFit/>
          </a:bodyPr>
          <a:lstStyle/>
          <a:p>
            <a:pPr marL="360000" indent="-360000" algn="ctr">
              <a:lnSpc>
                <a:spcPct val="95000"/>
              </a:lnSpc>
              <a:spcBef>
                <a:spcPct val="20000"/>
              </a:spcBef>
              <a:buClr>
                <a:prstClr val="black"/>
              </a:buClr>
              <a:buSzPct val="60000"/>
              <a:defRPr/>
            </a:pPr>
            <a:r>
              <a:rPr lang="en-GB" sz="2800" dirty="0">
                <a:solidFill>
                  <a:schemeClr val="tx2"/>
                </a:solidFill>
                <a:latin typeface="Avenir Medium"/>
                <a:cs typeface="Arial"/>
              </a:rPr>
              <a:t>TIMING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11923943" y="2681536"/>
            <a:ext cx="2376000" cy="598371"/>
          </a:xfrm>
          <a:prstGeom prst="rect">
            <a:avLst/>
          </a:prstGeom>
          <a:noFill/>
        </p:spPr>
        <p:txBody>
          <a:bodyPr wrap="square" lIns="180000" tIns="93600" rIns="180000" bIns="93600" rtlCol="0">
            <a:spAutoFit/>
          </a:bodyPr>
          <a:lstStyle/>
          <a:p>
            <a:pPr marL="360000" indent="-360000" algn="ctr">
              <a:lnSpc>
                <a:spcPct val="95000"/>
              </a:lnSpc>
              <a:spcBef>
                <a:spcPct val="20000"/>
              </a:spcBef>
              <a:buClr>
                <a:prstClr val="black"/>
              </a:buClr>
              <a:buSzPct val="60000"/>
              <a:defRPr/>
            </a:pPr>
            <a:r>
              <a:rPr lang="en-GB" sz="2800" dirty="0">
                <a:solidFill>
                  <a:schemeClr val="tx2"/>
                </a:solidFill>
                <a:latin typeface="Avenir Medium"/>
                <a:cs typeface="Arial"/>
              </a:rPr>
              <a:t>STATU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260725" y="2681537"/>
            <a:ext cx="6767860" cy="619915"/>
          </a:xfrm>
          <a:prstGeom prst="rect">
            <a:avLst/>
          </a:prstGeom>
          <a:noFill/>
        </p:spPr>
        <p:txBody>
          <a:bodyPr wrap="square" lIns="180000" tIns="93600" rIns="180000" bIns="93600" rtlCol="0">
            <a:spAutoFit/>
          </a:bodyPr>
          <a:lstStyle/>
          <a:p>
            <a:pPr marL="360000" indent="-360000" algn="ctr">
              <a:buClr>
                <a:prstClr val="black"/>
              </a:buClr>
            </a:pPr>
            <a:r>
              <a:rPr lang="en-GB" sz="2800" dirty="0">
                <a:solidFill>
                  <a:schemeClr val="tx2"/>
                </a:solidFill>
                <a:latin typeface="Avenir Medium"/>
                <a:cs typeface="Arial"/>
              </a:rPr>
              <a:t>MILESTONES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14493081" y="7025167"/>
            <a:ext cx="6623844" cy="57467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accent2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wrap="none" lIns="144000" tIns="144000" rIns="144000" bIns="144000" anchor="ctr"/>
          <a:lstStyle/>
          <a:p>
            <a:pPr algn="ctr" defTabSz="617440" eaLnBrk="0" hangingPunct="0">
              <a:lnSpc>
                <a:spcPct val="95000"/>
              </a:lnSpc>
              <a:spcBef>
                <a:spcPct val="20000"/>
              </a:spcBef>
              <a:buClr>
                <a:srgbClr val="000000"/>
              </a:buClr>
              <a:buSzPct val="60000"/>
              <a:defRPr/>
            </a:pPr>
            <a:r>
              <a:rPr lang="en-US" sz="2400" b="1" dirty="0">
                <a:solidFill>
                  <a:prstClr val="black"/>
                </a:solidFill>
                <a:latin typeface="Avenir Medium"/>
                <a:cs typeface="Arial"/>
              </a:rPr>
              <a:t>Upcoming activities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4493081" y="9933753"/>
            <a:ext cx="6623844" cy="57467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accent2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wrap="none" lIns="144000" tIns="144000" rIns="144000" bIns="144000" anchor="ctr"/>
          <a:lstStyle/>
          <a:p>
            <a:pPr algn="ctr" defTabSz="617440" eaLnBrk="0" hangingPunct="0">
              <a:lnSpc>
                <a:spcPct val="95000"/>
              </a:lnSpc>
              <a:spcBef>
                <a:spcPct val="20000"/>
              </a:spcBef>
              <a:buClr>
                <a:srgbClr val="000000"/>
              </a:buClr>
              <a:buSzPct val="60000"/>
              <a:defRPr/>
            </a:pPr>
            <a:r>
              <a:rPr lang="en-US" sz="2400" b="1" dirty="0">
                <a:solidFill>
                  <a:prstClr val="black"/>
                </a:solidFill>
                <a:latin typeface="Avenir Medium"/>
                <a:cs typeface="Arial"/>
              </a:rPr>
              <a:t>Challenges and risks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14493081" y="3447917"/>
            <a:ext cx="6623844" cy="57467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accent2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wrap="none" lIns="144000" tIns="144000" rIns="144000" bIns="144000" anchor="ctr"/>
          <a:lstStyle/>
          <a:p>
            <a:pPr algn="ctr" defTabSz="617440" eaLnBrk="0" hangingPunct="0">
              <a:lnSpc>
                <a:spcPct val="95000"/>
              </a:lnSpc>
              <a:spcBef>
                <a:spcPct val="20000"/>
              </a:spcBef>
              <a:buClr>
                <a:srgbClr val="000000"/>
              </a:buClr>
              <a:buSzPct val="60000"/>
              <a:defRPr/>
            </a:pPr>
            <a:r>
              <a:rPr lang="en-US" sz="2400" b="1" dirty="0">
                <a:solidFill>
                  <a:prstClr val="black"/>
                </a:solidFill>
                <a:latin typeface="Avenir Medium"/>
                <a:cs typeface="Arial"/>
              </a:rPr>
              <a:t>Current / completed activities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3260725" y="3447917"/>
            <a:ext cx="10944324" cy="57467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accent2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wrap="none" lIns="144000" tIns="144000" rIns="144000" bIns="144000" anchor="ctr"/>
          <a:lstStyle/>
          <a:p>
            <a:pPr algn="ctr" defTabSz="617440" eaLnBrk="0" hangingPunct="0">
              <a:lnSpc>
                <a:spcPct val="95000"/>
              </a:lnSpc>
              <a:spcBef>
                <a:spcPct val="20000"/>
              </a:spcBef>
              <a:buClr>
                <a:srgbClr val="000000"/>
              </a:buClr>
              <a:buSzPct val="60000"/>
              <a:defRPr/>
            </a:pPr>
            <a:r>
              <a:rPr lang="en-US" sz="2400" b="1" dirty="0">
                <a:solidFill>
                  <a:prstClr val="black"/>
                </a:solidFill>
                <a:latin typeface="Avenir Medium"/>
                <a:cs typeface="Arial"/>
              </a:rPr>
              <a:t>Analysis and preparation </a:t>
            </a: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auto">
          <a:xfrm>
            <a:off x="3260725" y="7025167"/>
            <a:ext cx="10944324" cy="57467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accent2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wrap="none" lIns="144000" tIns="144000" rIns="144000" bIns="144000" anchor="ctr"/>
          <a:lstStyle/>
          <a:p>
            <a:pPr algn="ctr" defTabSz="617440" eaLnBrk="0" hangingPunct="0">
              <a:lnSpc>
                <a:spcPct val="95000"/>
              </a:lnSpc>
              <a:spcBef>
                <a:spcPct val="20000"/>
              </a:spcBef>
              <a:buClr>
                <a:srgbClr val="000000"/>
              </a:buClr>
              <a:buSzPct val="60000"/>
              <a:defRPr/>
            </a:pPr>
            <a:r>
              <a:rPr lang="en-US" sz="2400" b="1" dirty="0" err="1">
                <a:solidFill>
                  <a:prstClr val="black"/>
                </a:solidFill>
                <a:latin typeface="Avenir Medium"/>
                <a:cs typeface="Arial"/>
              </a:rPr>
              <a:t>Programme</a:t>
            </a:r>
            <a:r>
              <a:rPr lang="en-US" sz="2400" b="1" dirty="0">
                <a:solidFill>
                  <a:prstClr val="black"/>
                </a:solidFill>
                <a:latin typeface="Avenir Medium"/>
                <a:cs typeface="Arial"/>
              </a:rPr>
              <a:t> definition and planning</a:t>
            </a: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auto">
          <a:xfrm>
            <a:off x="3260725" y="9933753"/>
            <a:ext cx="10944324" cy="57467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accent2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wrap="none" lIns="144000" tIns="144000" rIns="144000" bIns="144000" anchor="ctr"/>
          <a:lstStyle/>
          <a:p>
            <a:pPr algn="ctr" defTabSz="617440" eaLnBrk="0" hangingPunct="0">
              <a:lnSpc>
                <a:spcPct val="95000"/>
              </a:lnSpc>
              <a:spcBef>
                <a:spcPct val="20000"/>
              </a:spcBef>
              <a:buClr>
                <a:srgbClr val="000000"/>
              </a:buClr>
              <a:buSzPct val="60000"/>
              <a:defRPr/>
            </a:pPr>
            <a:r>
              <a:rPr lang="en-US" sz="2400" b="1" dirty="0" err="1">
                <a:solidFill>
                  <a:prstClr val="black"/>
                </a:solidFill>
                <a:latin typeface="Avenir Medium"/>
                <a:cs typeface="Arial"/>
              </a:rPr>
              <a:t>Programme</a:t>
            </a:r>
            <a:r>
              <a:rPr lang="en-US" sz="2400" b="1" dirty="0">
                <a:solidFill>
                  <a:prstClr val="black"/>
                </a:solidFill>
                <a:latin typeface="Avenir Medium"/>
                <a:cs typeface="Arial"/>
              </a:rPr>
              <a:t> launch and execution</a:t>
            </a:r>
          </a:p>
        </p:txBody>
      </p:sp>
      <p:sp>
        <p:nvSpPr>
          <p:cNvPr id="27" name="Rectangle 29"/>
          <p:cNvSpPr>
            <a:spLocks noChangeArrowheads="1"/>
          </p:cNvSpPr>
          <p:nvPr/>
        </p:nvSpPr>
        <p:spPr bwMode="auto">
          <a:xfrm>
            <a:off x="12045801" y="426571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28" name="Rectangle 30"/>
          <p:cNvSpPr>
            <a:spLocks noChangeArrowheads="1"/>
          </p:cNvSpPr>
          <p:nvPr/>
        </p:nvSpPr>
        <p:spPr bwMode="auto">
          <a:xfrm>
            <a:off x="12477601" y="426571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29" name="Rectangle 31"/>
          <p:cNvSpPr>
            <a:spLocks noChangeArrowheads="1"/>
          </p:cNvSpPr>
          <p:nvPr/>
        </p:nvSpPr>
        <p:spPr bwMode="auto">
          <a:xfrm>
            <a:off x="12909401" y="426571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30" name="Rectangle 32"/>
          <p:cNvSpPr>
            <a:spLocks noChangeArrowheads="1"/>
          </p:cNvSpPr>
          <p:nvPr/>
        </p:nvSpPr>
        <p:spPr bwMode="auto">
          <a:xfrm>
            <a:off x="13341201" y="426571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31" name="Rectangle 33"/>
          <p:cNvSpPr>
            <a:spLocks noChangeArrowheads="1"/>
          </p:cNvSpPr>
          <p:nvPr/>
        </p:nvSpPr>
        <p:spPr bwMode="auto">
          <a:xfrm>
            <a:off x="13773249" y="426571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32" name="Rectangle 29"/>
          <p:cNvSpPr>
            <a:spLocks noChangeArrowheads="1"/>
          </p:cNvSpPr>
          <p:nvPr/>
        </p:nvSpPr>
        <p:spPr bwMode="auto">
          <a:xfrm>
            <a:off x="12044809" y="494840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33" name="Rectangle 30"/>
          <p:cNvSpPr>
            <a:spLocks noChangeArrowheads="1"/>
          </p:cNvSpPr>
          <p:nvPr/>
        </p:nvSpPr>
        <p:spPr bwMode="auto">
          <a:xfrm>
            <a:off x="12476609" y="494840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34" name="Rectangle 31"/>
          <p:cNvSpPr>
            <a:spLocks noChangeArrowheads="1"/>
          </p:cNvSpPr>
          <p:nvPr/>
        </p:nvSpPr>
        <p:spPr bwMode="auto">
          <a:xfrm>
            <a:off x="12908409" y="494840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35" name="Rectangle 32"/>
          <p:cNvSpPr>
            <a:spLocks noChangeArrowheads="1"/>
          </p:cNvSpPr>
          <p:nvPr/>
        </p:nvSpPr>
        <p:spPr bwMode="auto">
          <a:xfrm>
            <a:off x="13340209" y="494840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36" name="Rectangle 33"/>
          <p:cNvSpPr>
            <a:spLocks noChangeArrowheads="1"/>
          </p:cNvSpPr>
          <p:nvPr/>
        </p:nvSpPr>
        <p:spPr bwMode="auto">
          <a:xfrm>
            <a:off x="13772257" y="4948402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37" name="Rectangle 29"/>
          <p:cNvSpPr>
            <a:spLocks noChangeArrowheads="1"/>
          </p:cNvSpPr>
          <p:nvPr/>
        </p:nvSpPr>
        <p:spPr bwMode="auto">
          <a:xfrm>
            <a:off x="12043817" y="563109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38" name="Rectangle 30"/>
          <p:cNvSpPr>
            <a:spLocks noChangeArrowheads="1"/>
          </p:cNvSpPr>
          <p:nvPr/>
        </p:nvSpPr>
        <p:spPr bwMode="auto">
          <a:xfrm>
            <a:off x="12475617" y="563109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39" name="Rectangle 31"/>
          <p:cNvSpPr>
            <a:spLocks noChangeArrowheads="1"/>
          </p:cNvSpPr>
          <p:nvPr/>
        </p:nvSpPr>
        <p:spPr bwMode="auto">
          <a:xfrm>
            <a:off x="12907417" y="563109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40" name="Rectangle 32"/>
          <p:cNvSpPr>
            <a:spLocks noChangeArrowheads="1"/>
          </p:cNvSpPr>
          <p:nvPr/>
        </p:nvSpPr>
        <p:spPr bwMode="auto">
          <a:xfrm>
            <a:off x="13339217" y="563109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41" name="Rectangle 33"/>
          <p:cNvSpPr>
            <a:spLocks noChangeArrowheads="1"/>
          </p:cNvSpPr>
          <p:nvPr/>
        </p:nvSpPr>
        <p:spPr bwMode="auto">
          <a:xfrm>
            <a:off x="13771265" y="5631092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42" name="Rectangle 29"/>
          <p:cNvSpPr>
            <a:spLocks noChangeArrowheads="1"/>
          </p:cNvSpPr>
          <p:nvPr/>
        </p:nvSpPr>
        <p:spPr bwMode="auto">
          <a:xfrm>
            <a:off x="12042825" y="631378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43" name="Rectangle 30"/>
          <p:cNvSpPr>
            <a:spLocks noChangeArrowheads="1"/>
          </p:cNvSpPr>
          <p:nvPr/>
        </p:nvSpPr>
        <p:spPr bwMode="auto">
          <a:xfrm>
            <a:off x="12474625" y="631378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44" name="Rectangle 31"/>
          <p:cNvSpPr>
            <a:spLocks noChangeArrowheads="1"/>
          </p:cNvSpPr>
          <p:nvPr/>
        </p:nvSpPr>
        <p:spPr bwMode="auto">
          <a:xfrm>
            <a:off x="12906425" y="631378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45" name="Rectangle 32"/>
          <p:cNvSpPr>
            <a:spLocks noChangeArrowheads="1"/>
          </p:cNvSpPr>
          <p:nvPr/>
        </p:nvSpPr>
        <p:spPr bwMode="auto">
          <a:xfrm>
            <a:off x="13338225" y="6313782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46" name="Rectangle 33"/>
          <p:cNvSpPr>
            <a:spLocks noChangeArrowheads="1"/>
          </p:cNvSpPr>
          <p:nvPr/>
        </p:nvSpPr>
        <p:spPr bwMode="auto">
          <a:xfrm>
            <a:off x="13770273" y="6313782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47" name="Rectangle 29"/>
          <p:cNvSpPr>
            <a:spLocks noChangeArrowheads="1"/>
          </p:cNvSpPr>
          <p:nvPr/>
        </p:nvSpPr>
        <p:spPr bwMode="auto">
          <a:xfrm>
            <a:off x="12041833" y="786611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48" name="Rectangle 30"/>
          <p:cNvSpPr>
            <a:spLocks noChangeArrowheads="1"/>
          </p:cNvSpPr>
          <p:nvPr/>
        </p:nvSpPr>
        <p:spPr bwMode="auto">
          <a:xfrm>
            <a:off x="12473633" y="786611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49" name="Rectangle 31"/>
          <p:cNvSpPr>
            <a:spLocks noChangeArrowheads="1"/>
          </p:cNvSpPr>
          <p:nvPr/>
        </p:nvSpPr>
        <p:spPr bwMode="auto">
          <a:xfrm>
            <a:off x="12905433" y="786611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50" name="Rectangle 32"/>
          <p:cNvSpPr>
            <a:spLocks noChangeArrowheads="1"/>
          </p:cNvSpPr>
          <p:nvPr/>
        </p:nvSpPr>
        <p:spPr bwMode="auto">
          <a:xfrm>
            <a:off x="13337233" y="786611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51" name="Rectangle 33"/>
          <p:cNvSpPr>
            <a:spLocks noChangeArrowheads="1"/>
          </p:cNvSpPr>
          <p:nvPr/>
        </p:nvSpPr>
        <p:spPr bwMode="auto">
          <a:xfrm>
            <a:off x="13769281" y="786611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52" name="Rectangle 29"/>
          <p:cNvSpPr>
            <a:spLocks noChangeArrowheads="1"/>
          </p:cNvSpPr>
          <p:nvPr/>
        </p:nvSpPr>
        <p:spPr bwMode="auto">
          <a:xfrm>
            <a:off x="12040841" y="8586440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53" name="Rectangle 30"/>
          <p:cNvSpPr>
            <a:spLocks noChangeArrowheads="1"/>
          </p:cNvSpPr>
          <p:nvPr/>
        </p:nvSpPr>
        <p:spPr bwMode="auto">
          <a:xfrm>
            <a:off x="12472641" y="8586440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54" name="Rectangle 31"/>
          <p:cNvSpPr>
            <a:spLocks noChangeArrowheads="1"/>
          </p:cNvSpPr>
          <p:nvPr/>
        </p:nvSpPr>
        <p:spPr bwMode="auto">
          <a:xfrm>
            <a:off x="12904441" y="8586440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55" name="Rectangle 32"/>
          <p:cNvSpPr>
            <a:spLocks noChangeArrowheads="1"/>
          </p:cNvSpPr>
          <p:nvPr/>
        </p:nvSpPr>
        <p:spPr bwMode="auto">
          <a:xfrm>
            <a:off x="13336241" y="8586440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56" name="Rectangle 33"/>
          <p:cNvSpPr>
            <a:spLocks noChangeArrowheads="1"/>
          </p:cNvSpPr>
          <p:nvPr/>
        </p:nvSpPr>
        <p:spPr bwMode="auto">
          <a:xfrm>
            <a:off x="13768289" y="8586440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57" name="Rectangle 29"/>
          <p:cNvSpPr>
            <a:spLocks noChangeArrowheads="1"/>
          </p:cNvSpPr>
          <p:nvPr/>
        </p:nvSpPr>
        <p:spPr bwMode="auto">
          <a:xfrm>
            <a:off x="12039849" y="9268634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58" name="Rectangle 30"/>
          <p:cNvSpPr>
            <a:spLocks noChangeArrowheads="1"/>
          </p:cNvSpPr>
          <p:nvPr/>
        </p:nvSpPr>
        <p:spPr bwMode="auto">
          <a:xfrm>
            <a:off x="12471649" y="9268634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59" name="Rectangle 31"/>
          <p:cNvSpPr>
            <a:spLocks noChangeArrowheads="1"/>
          </p:cNvSpPr>
          <p:nvPr/>
        </p:nvSpPr>
        <p:spPr bwMode="auto">
          <a:xfrm>
            <a:off x="12903449" y="9268634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60" name="Rectangle 32"/>
          <p:cNvSpPr>
            <a:spLocks noChangeArrowheads="1"/>
          </p:cNvSpPr>
          <p:nvPr/>
        </p:nvSpPr>
        <p:spPr bwMode="auto">
          <a:xfrm>
            <a:off x="13335249" y="9268634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61" name="Rectangle 33"/>
          <p:cNvSpPr>
            <a:spLocks noChangeArrowheads="1"/>
          </p:cNvSpPr>
          <p:nvPr/>
        </p:nvSpPr>
        <p:spPr bwMode="auto">
          <a:xfrm>
            <a:off x="13767297" y="9268634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62" name="Rectangle 29"/>
          <p:cNvSpPr>
            <a:spLocks noChangeArrowheads="1"/>
          </p:cNvSpPr>
          <p:nvPr/>
        </p:nvSpPr>
        <p:spPr bwMode="auto">
          <a:xfrm>
            <a:off x="12038857" y="1074643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63" name="Rectangle 30"/>
          <p:cNvSpPr>
            <a:spLocks noChangeArrowheads="1"/>
          </p:cNvSpPr>
          <p:nvPr/>
        </p:nvSpPr>
        <p:spPr bwMode="auto">
          <a:xfrm>
            <a:off x="12470657" y="10746432"/>
            <a:ext cx="431800" cy="431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64" name="Rectangle 31"/>
          <p:cNvSpPr>
            <a:spLocks noChangeArrowheads="1"/>
          </p:cNvSpPr>
          <p:nvPr/>
        </p:nvSpPr>
        <p:spPr bwMode="auto">
          <a:xfrm>
            <a:off x="12902457" y="10746432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65" name="Rectangle 32"/>
          <p:cNvSpPr>
            <a:spLocks noChangeArrowheads="1"/>
          </p:cNvSpPr>
          <p:nvPr/>
        </p:nvSpPr>
        <p:spPr bwMode="auto">
          <a:xfrm>
            <a:off x="13334257" y="10746432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66" name="Rectangle 33"/>
          <p:cNvSpPr>
            <a:spLocks noChangeArrowheads="1"/>
          </p:cNvSpPr>
          <p:nvPr/>
        </p:nvSpPr>
        <p:spPr bwMode="auto">
          <a:xfrm>
            <a:off x="13766305" y="10746432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67" name="Rectangle 29"/>
          <p:cNvSpPr>
            <a:spLocks noChangeArrowheads="1"/>
          </p:cNvSpPr>
          <p:nvPr/>
        </p:nvSpPr>
        <p:spPr bwMode="auto">
          <a:xfrm>
            <a:off x="12037865" y="11466512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68" name="Rectangle 30"/>
          <p:cNvSpPr>
            <a:spLocks noChangeArrowheads="1"/>
          </p:cNvSpPr>
          <p:nvPr/>
        </p:nvSpPr>
        <p:spPr bwMode="auto">
          <a:xfrm>
            <a:off x="12469665" y="11466512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69" name="Rectangle 31"/>
          <p:cNvSpPr>
            <a:spLocks noChangeArrowheads="1"/>
          </p:cNvSpPr>
          <p:nvPr/>
        </p:nvSpPr>
        <p:spPr bwMode="auto">
          <a:xfrm>
            <a:off x="12901465" y="11466512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70" name="Rectangle 32"/>
          <p:cNvSpPr>
            <a:spLocks noChangeArrowheads="1"/>
          </p:cNvSpPr>
          <p:nvPr/>
        </p:nvSpPr>
        <p:spPr bwMode="auto">
          <a:xfrm>
            <a:off x="13333265" y="11466512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71" name="Rectangle 33"/>
          <p:cNvSpPr>
            <a:spLocks noChangeArrowheads="1"/>
          </p:cNvSpPr>
          <p:nvPr/>
        </p:nvSpPr>
        <p:spPr bwMode="auto">
          <a:xfrm>
            <a:off x="13765313" y="11466512"/>
            <a:ext cx="431800" cy="431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80000" tIns="93600" rIns="180000" bIns="93600" anchor="ctr"/>
          <a:lstStyle/>
          <a:p>
            <a:endParaRPr lang="en-US" sz="2400" dirty="0">
              <a:solidFill>
                <a:prstClr val="black"/>
              </a:solidFill>
              <a:latin typeface="Avenir Medium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60725" y="4081958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3260725" y="4764648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3259833" y="5447338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3259833" y="6130028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3215989" y="7719500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3215989" y="8402190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3215097" y="9084880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3215989" y="10562678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3215097" y="11282758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10170935" y="4081958"/>
            <a:ext cx="6511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10170935" y="4764648"/>
            <a:ext cx="6511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170935" y="5447338"/>
            <a:ext cx="6511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10170935" y="6130028"/>
            <a:ext cx="6511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10170935" y="7719500"/>
            <a:ext cx="6511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10170935" y="8402190"/>
            <a:ext cx="6511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10170935" y="9084880"/>
            <a:ext cx="6511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10170935" y="10562678"/>
            <a:ext cx="6511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10170935" y="11282758"/>
            <a:ext cx="6511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14493081" y="4081958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14493081" y="4764648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14493081" y="5447338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14493081" y="6130028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14493081" y="7719500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14493081" y="8402190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14493081" y="9084880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14493081" y="10562678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14493081" y="11282758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Avenir Medium"/>
              </a:rPr>
              <a:t>xxx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6733278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DE1099B-FC51-4C03-BCE6-E21CC0E8C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8" name="Footnot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259833" y="3546112"/>
            <a:ext cx="11088000" cy="864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chemeClr val="accent2">
                <a:lumMod val="60000"/>
                <a:lumOff val="4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7" name="Rectangle 16"/>
          <p:cNvSpPr/>
          <p:nvPr>
            <p:custDataLst>
              <p:tags r:id="rId3"/>
            </p:custDataLst>
          </p:nvPr>
        </p:nvSpPr>
        <p:spPr>
          <a:xfrm>
            <a:off x="15789817" y="4986112"/>
            <a:ext cx="5328000" cy="576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lvl="1" indent="-358776">
              <a:spcAft>
                <a:spcPts val="1200"/>
              </a:spcAft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  <a:p>
            <a:pPr marL="358776" lvl="1" indent="-358776">
              <a:spcAft>
                <a:spcPts val="1200"/>
              </a:spcAft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  <a:p>
            <a:pPr marL="358776" lvl="1" indent="-358776">
              <a:spcAft>
                <a:spcPts val="1200"/>
              </a:spcAft>
              <a:buClr>
                <a:schemeClr val="dk1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2800" dirty="0">
                <a:solidFill>
                  <a:schemeClr val="tx1"/>
                </a:solidFill>
                <a:latin typeface="Avenir Medium"/>
              </a:rPr>
              <a:t>xxx</a:t>
            </a:r>
          </a:p>
        </p:txBody>
      </p:sp>
      <p:sp>
        <p:nvSpPr>
          <p:cNvPr id="21" name="Freeform 4"/>
          <p:cNvSpPr>
            <a:spLocks/>
          </p:cNvSpPr>
          <p:nvPr/>
        </p:nvSpPr>
        <p:spPr bwMode="gray">
          <a:xfrm>
            <a:off x="4890097" y="3791045"/>
            <a:ext cx="3505020" cy="3291098"/>
          </a:xfrm>
          <a:custGeom>
            <a:avLst/>
            <a:gdLst>
              <a:gd name="T0" fmla="*/ 2147483647 w 250"/>
              <a:gd name="T1" fmla="*/ 2147483647 h 235"/>
              <a:gd name="T2" fmla="*/ 2147483647 w 250"/>
              <a:gd name="T3" fmla="*/ 2147483647 h 235"/>
              <a:gd name="T4" fmla="*/ 2147483647 w 250"/>
              <a:gd name="T5" fmla="*/ 0 h 235"/>
              <a:gd name="T6" fmla="*/ 0 w 250"/>
              <a:gd name="T7" fmla="*/ 2147483647 h 235"/>
              <a:gd name="T8" fmla="*/ 2147483647 w 250"/>
              <a:gd name="T9" fmla="*/ 2147483647 h 235"/>
              <a:gd name="T10" fmla="*/ 2147483647 w 250"/>
              <a:gd name="T11" fmla="*/ 2147483647 h 23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50"/>
              <a:gd name="T19" fmla="*/ 0 h 235"/>
              <a:gd name="T20" fmla="*/ 250 w 250"/>
              <a:gd name="T21" fmla="*/ 235 h 23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50" h="235">
                <a:moveTo>
                  <a:pt x="228" y="184"/>
                </a:moveTo>
                <a:cubicBezTo>
                  <a:pt x="235" y="182"/>
                  <a:pt x="243" y="181"/>
                  <a:pt x="250" y="181"/>
                </a:cubicBezTo>
                <a:cubicBezTo>
                  <a:pt x="250" y="0"/>
                  <a:pt x="250" y="0"/>
                  <a:pt x="250" y="0"/>
                </a:cubicBezTo>
                <a:cubicBezTo>
                  <a:pt x="142" y="3"/>
                  <a:pt x="48" y="64"/>
                  <a:pt x="0" y="153"/>
                </a:cubicBezTo>
                <a:cubicBezTo>
                  <a:pt x="160" y="235"/>
                  <a:pt x="160" y="235"/>
                  <a:pt x="160" y="235"/>
                </a:cubicBezTo>
                <a:cubicBezTo>
                  <a:pt x="175" y="210"/>
                  <a:pt x="199" y="192"/>
                  <a:pt x="228" y="18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1658722">
              <a:defRPr/>
            </a:pPr>
            <a:endParaRPr lang="en-US" sz="3266" kern="0" dirty="0">
              <a:solidFill>
                <a:sysClr val="windowText" lastClr="000000"/>
              </a:solidFill>
              <a:latin typeface="Avenir Medium"/>
            </a:endParaRPr>
          </a:p>
        </p:txBody>
      </p:sp>
      <p:sp>
        <p:nvSpPr>
          <p:cNvPr id="22" name="Freeform 5"/>
          <p:cNvSpPr>
            <a:spLocks/>
          </p:cNvSpPr>
          <p:nvPr/>
        </p:nvSpPr>
        <p:spPr bwMode="gray">
          <a:xfrm>
            <a:off x="8614694" y="3791047"/>
            <a:ext cx="3765018" cy="3518182"/>
          </a:xfrm>
          <a:custGeom>
            <a:avLst/>
            <a:gdLst>
              <a:gd name="T0" fmla="*/ 2147483647 w 269"/>
              <a:gd name="T1" fmla="*/ 2147483647 h 251"/>
              <a:gd name="T2" fmla="*/ 2147483647 w 269"/>
              <a:gd name="T3" fmla="*/ 2147483647 h 251"/>
              <a:gd name="T4" fmla="*/ 0 w 269"/>
              <a:gd name="T5" fmla="*/ 0 h 251"/>
              <a:gd name="T6" fmla="*/ 0 w 269"/>
              <a:gd name="T7" fmla="*/ 2147483647 h 251"/>
              <a:gd name="T8" fmla="*/ 2147483647 w 269"/>
              <a:gd name="T9" fmla="*/ 2147483647 h 251"/>
              <a:gd name="T10" fmla="*/ 2147483647 w 269"/>
              <a:gd name="T11" fmla="*/ 2147483647 h 25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69"/>
              <a:gd name="T19" fmla="*/ 0 h 251"/>
              <a:gd name="T20" fmla="*/ 269 w 269"/>
              <a:gd name="T21" fmla="*/ 251 h 25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69" h="251">
                <a:moveTo>
                  <a:pt x="98" y="251"/>
                </a:moveTo>
                <a:cubicBezTo>
                  <a:pt x="269" y="196"/>
                  <a:pt x="269" y="196"/>
                  <a:pt x="269" y="196"/>
                </a:cubicBezTo>
                <a:cubicBezTo>
                  <a:pt x="230" y="84"/>
                  <a:pt x="125" y="3"/>
                  <a:pt x="0" y="0"/>
                </a:cubicBezTo>
                <a:cubicBezTo>
                  <a:pt x="0" y="181"/>
                  <a:pt x="0" y="181"/>
                  <a:pt x="0" y="181"/>
                </a:cubicBezTo>
                <a:cubicBezTo>
                  <a:pt x="17" y="182"/>
                  <a:pt x="34" y="187"/>
                  <a:pt x="49" y="196"/>
                </a:cubicBezTo>
                <a:cubicBezTo>
                  <a:pt x="72" y="208"/>
                  <a:pt x="88" y="228"/>
                  <a:pt x="98" y="2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1658722">
              <a:defRPr/>
            </a:pPr>
            <a:endParaRPr lang="en-US" sz="3266" kern="0" dirty="0">
              <a:solidFill>
                <a:sysClr val="windowText" lastClr="000000"/>
              </a:solidFill>
              <a:latin typeface="Avenir Medium"/>
            </a:endParaRPr>
          </a:p>
        </p:txBody>
      </p:sp>
      <p:sp>
        <p:nvSpPr>
          <p:cNvPr id="23" name="Freeform 6"/>
          <p:cNvSpPr>
            <a:spLocks/>
          </p:cNvSpPr>
          <p:nvPr/>
        </p:nvSpPr>
        <p:spPr bwMode="gray">
          <a:xfrm>
            <a:off x="6189153" y="9224648"/>
            <a:ext cx="4666780" cy="2774396"/>
          </a:xfrm>
          <a:custGeom>
            <a:avLst/>
            <a:gdLst>
              <a:gd name="T0" fmla="*/ 2147483647 w 333"/>
              <a:gd name="T1" fmla="*/ 137050308 h 198"/>
              <a:gd name="T2" fmla="*/ 2147483647 w 333"/>
              <a:gd name="T3" fmla="*/ 0 h 198"/>
              <a:gd name="T4" fmla="*/ 0 w 333"/>
              <a:gd name="T5" fmla="*/ 2147483647 h 198"/>
              <a:gd name="T6" fmla="*/ 2147483647 w 333"/>
              <a:gd name="T7" fmla="*/ 2147483647 h 198"/>
              <a:gd name="T8" fmla="*/ 2147483647 w 333"/>
              <a:gd name="T9" fmla="*/ 2147483647 h 198"/>
              <a:gd name="T10" fmla="*/ 2147483647 w 333"/>
              <a:gd name="T11" fmla="*/ 0 h 198"/>
              <a:gd name="T12" fmla="*/ 2147483647 w 333"/>
              <a:gd name="T13" fmla="*/ 639561309 h 198"/>
              <a:gd name="T14" fmla="*/ 2147483647 w 333"/>
              <a:gd name="T15" fmla="*/ 137050308 h 19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33"/>
              <a:gd name="T25" fmla="*/ 0 h 198"/>
              <a:gd name="T26" fmla="*/ 333 w 333"/>
              <a:gd name="T27" fmla="*/ 198 h 19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33" h="198">
                <a:moveTo>
                  <a:pt x="110" y="3"/>
                </a:moveTo>
                <a:cubicBezTo>
                  <a:pt x="108" y="2"/>
                  <a:pt x="107" y="1"/>
                  <a:pt x="106" y="0"/>
                </a:cubicBezTo>
                <a:cubicBezTo>
                  <a:pt x="0" y="146"/>
                  <a:pt x="0" y="146"/>
                  <a:pt x="0" y="146"/>
                </a:cubicBezTo>
                <a:cubicBezTo>
                  <a:pt x="47" y="179"/>
                  <a:pt x="104" y="198"/>
                  <a:pt x="166" y="198"/>
                </a:cubicBezTo>
                <a:cubicBezTo>
                  <a:pt x="228" y="198"/>
                  <a:pt x="285" y="179"/>
                  <a:pt x="333" y="146"/>
                </a:cubicBezTo>
                <a:cubicBezTo>
                  <a:pt x="227" y="0"/>
                  <a:pt x="227" y="0"/>
                  <a:pt x="227" y="0"/>
                </a:cubicBezTo>
                <a:cubicBezTo>
                  <a:pt x="217" y="6"/>
                  <a:pt x="207" y="11"/>
                  <a:pt x="195" y="14"/>
                </a:cubicBezTo>
                <a:cubicBezTo>
                  <a:pt x="166" y="22"/>
                  <a:pt x="136" y="18"/>
                  <a:pt x="110" y="3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1658722">
              <a:defRPr/>
            </a:pPr>
            <a:endParaRPr lang="en-US" sz="3266" b="1" kern="0" dirty="0">
              <a:latin typeface="Avenir Medium"/>
            </a:endParaRPr>
          </a:p>
        </p:txBody>
      </p:sp>
      <p:sp>
        <p:nvSpPr>
          <p:cNvPr id="24" name="Freeform 7"/>
          <p:cNvSpPr>
            <a:spLocks/>
          </p:cNvSpPr>
          <p:nvPr/>
        </p:nvSpPr>
        <p:spPr bwMode="gray">
          <a:xfrm>
            <a:off x="4411961" y="6114560"/>
            <a:ext cx="3100216" cy="5045252"/>
          </a:xfrm>
          <a:custGeom>
            <a:avLst/>
            <a:gdLst>
              <a:gd name="T0" fmla="*/ 2147483647 w 221"/>
              <a:gd name="T1" fmla="*/ 2147483647 h 360"/>
              <a:gd name="T2" fmla="*/ 1327829190 w 221"/>
              <a:gd name="T3" fmla="*/ 0 h 360"/>
              <a:gd name="T4" fmla="*/ 0 w 221"/>
              <a:gd name="T5" fmla="*/ 2147483647 h 360"/>
              <a:gd name="T6" fmla="*/ 2147483647 w 221"/>
              <a:gd name="T7" fmla="*/ 2147483647 h 360"/>
              <a:gd name="T8" fmla="*/ 2147483647 w 221"/>
              <a:gd name="T9" fmla="*/ 2147483647 h 360"/>
              <a:gd name="T10" fmla="*/ 2147483647 w 221"/>
              <a:gd name="T11" fmla="*/ 2147483647 h 36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21"/>
              <a:gd name="T19" fmla="*/ 0 h 360"/>
              <a:gd name="T20" fmla="*/ 221 w 221"/>
              <a:gd name="T21" fmla="*/ 360 h 36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21" h="360">
                <a:moveTo>
                  <a:pt x="190" y="82"/>
                </a:moveTo>
                <a:cubicBezTo>
                  <a:pt x="29" y="0"/>
                  <a:pt x="29" y="0"/>
                  <a:pt x="29" y="0"/>
                </a:cubicBezTo>
                <a:cubicBezTo>
                  <a:pt x="10" y="39"/>
                  <a:pt x="0" y="82"/>
                  <a:pt x="0" y="127"/>
                </a:cubicBezTo>
                <a:cubicBezTo>
                  <a:pt x="0" y="222"/>
                  <a:pt x="45" y="306"/>
                  <a:pt x="115" y="360"/>
                </a:cubicBezTo>
                <a:cubicBezTo>
                  <a:pt x="221" y="214"/>
                  <a:pt x="221" y="214"/>
                  <a:pt x="221" y="214"/>
                </a:cubicBezTo>
                <a:cubicBezTo>
                  <a:pt x="183" y="182"/>
                  <a:pt x="170" y="128"/>
                  <a:pt x="190" y="8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1658722">
              <a:defRPr/>
            </a:pPr>
            <a:endParaRPr lang="en-US" sz="3266" kern="0" dirty="0">
              <a:latin typeface="Avenir Medium"/>
            </a:endParaRPr>
          </a:p>
        </p:txBody>
      </p:sp>
      <p:sp>
        <p:nvSpPr>
          <p:cNvPr id="25" name="Freeform 8"/>
          <p:cNvSpPr>
            <a:spLocks/>
          </p:cNvSpPr>
          <p:nvPr/>
        </p:nvSpPr>
        <p:spPr bwMode="gray">
          <a:xfrm>
            <a:off x="9526328" y="6720123"/>
            <a:ext cx="3093634" cy="4439690"/>
          </a:xfrm>
          <a:custGeom>
            <a:avLst/>
            <a:gdLst>
              <a:gd name="T0" fmla="*/ 2147483647 w 221"/>
              <a:gd name="T1" fmla="*/ 0 h 317"/>
              <a:gd name="T2" fmla="*/ 1686944691 w 221"/>
              <a:gd name="T3" fmla="*/ 2147483647 h 317"/>
              <a:gd name="T4" fmla="*/ 1185420537 w 221"/>
              <a:gd name="T5" fmla="*/ 2147483647 h 317"/>
              <a:gd name="T6" fmla="*/ 0 w 221"/>
              <a:gd name="T7" fmla="*/ 2147483647 h 317"/>
              <a:gd name="T8" fmla="*/ 2147483647 w 221"/>
              <a:gd name="T9" fmla="*/ 2147483647 h 317"/>
              <a:gd name="T10" fmla="*/ 2147483647 w 221"/>
              <a:gd name="T11" fmla="*/ 2147483647 h 317"/>
              <a:gd name="T12" fmla="*/ 2147483647 w 221"/>
              <a:gd name="T13" fmla="*/ 0 h 3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21"/>
              <a:gd name="T22" fmla="*/ 0 h 317"/>
              <a:gd name="T23" fmla="*/ 221 w 221"/>
              <a:gd name="T24" fmla="*/ 317 h 3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21" h="317">
                <a:moveTo>
                  <a:pt x="209" y="0"/>
                </a:moveTo>
                <a:cubicBezTo>
                  <a:pt x="37" y="56"/>
                  <a:pt x="37" y="56"/>
                  <a:pt x="37" y="56"/>
                </a:cubicBezTo>
                <a:cubicBezTo>
                  <a:pt x="45" y="85"/>
                  <a:pt x="41" y="115"/>
                  <a:pt x="26" y="141"/>
                </a:cubicBezTo>
                <a:cubicBezTo>
                  <a:pt x="19" y="152"/>
                  <a:pt x="10" y="162"/>
                  <a:pt x="0" y="171"/>
                </a:cubicBezTo>
                <a:cubicBezTo>
                  <a:pt x="106" y="317"/>
                  <a:pt x="106" y="317"/>
                  <a:pt x="106" y="317"/>
                </a:cubicBezTo>
                <a:cubicBezTo>
                  <a:pt x="176" y="263"/>
                  <a:pt x="221" y="179"/>
                  <a:pt x="221" y="84"/>
                </a:cubicBezTo>
                <a:cubicBezTo>
                  <a:pt x="221" y="55"/>
                  <a:pt x="217" y="27"/>
                  <a:pt x="209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1658722">
              <a:defRPr/>
            </a:pPr>
            <a:endParaRPr lang="en-US" sz="3266" kern="0" dirty="0">
              <a:solidFill>
                <a:sysClr val="windowText" lastClr="000000"/>
              </a:solidFill>
              <a:latin typeface="Avenir Medium"/>
            </a:endParaRPr>
          </a:p>
        </p:txBody>
      </p:sp>
      <p:sp>
        <p:nvSpPr>
          <p:cNvPr id="9" name="Oval 8"/>
          <p:cNvSpPr/>
          <p:nvPr/>
        </p:nvSpPr>
        <p:spPr>
          <a:xfrm>
            <a:off x="7129907" y="6507018"/>
            <a:ext cx="2736000" cy="2736000"/>
          </a:xfrm>
          <a:prstGeom prst="ellipse">
            <a:avLst/>
          </a:prstGeom>
          <a:solidFill>
            <a:schemeClr val="bg1"/>
          </a:solidFill>
          <a:ln w="1270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115817" y="2825552"/>
            <a:ext cx="465589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solidFill>
                  <a:schemeClr val="tx2"/>
                </a:solidFill>
                <a:latin typeface="Avenir Medium"/>
              </a:rPr>
              <a:t>ZENTRALE EINFLUSSFAKTOREN</a:t>
            </a:r>
          </a:p>
        </p:txBody>
      </p:sp>
      <p:grpSp>
        <p:nvGrpSpPr>
          <p:cNvPr id="26" name="Gruppieren 25"/>
          <p:cNvGrpSpPr/>
          <p:nvPr/>
        </p:nvGrpSpPr>
        <p:grpSpPr>
          <a:xfrm>
            <a:off x="14781241" y="3770924"/>
            <a:ext cx="575168" cy="8190376"/>
            <a:chOff x="6948264" y="1988816"/>
            <a:chExt cx="287584" cy="4095188"/>
          </a:xfrm>
        </p:grpSpPr>
        <p:cxnSp>
          <p:nvCxnSpPr>
            <p:cNvPr id="27" name="Straight Connector 3"/>
            <p:cNvCxnSpPr/>
            <p:nvPr/>
          </p:nvCxnSpPr>
          <p:spPr>
            <a:xfrm>
              <a:off x="6948264" y="1988816"/>
              <a:ext cx="0" cy="4095188"/>
            </a:xfrm>
            <a:prstGeom prst="line">
              <a:avLst/>
            </a:prstGeom>
            <a:ln w="76200">
              <a:solidFill>
                <a:schemeClr val="accent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Isosceles Triangle 6"/>
            <p:cNvSpPr/>
            <p:nvPr/>
          </p:nvSpPr>
          <p:spPr>
            <a:xfrm rot="5400000" flipH="1">
              <a:off x="6580053" y="3910967"/>
              <a:ext cx="1060704" cy="250886"/>
            </a:xfrm>
            <a:prstGeom prst="triangle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 dirty="0" err="1">
                <a:solidFill>
                  <a:schemeClr val="tx1"/>
                </a:solidFill>
                <a:latin typeface="Avenir Medium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290996979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2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44" name="Object 4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048002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6" name="Elbow Connector 55"/>
          <p:cNvCxnSpPr>
            <a:stCxn id="27" idx="3"/>
            <a:endCxn id="10" idx="1"/>
          </p:cNvCxnSpPr>
          <p:nvPr/>
        </p:nvCxnSpPr>
        <p:spPr>
          <a:xfrm flipV="1">
            <a:off x="9452042" y="7444252"/>
            <a:ext cx="981086" cy="265419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56"/>
          <p:cNvCxnSpPr>
            <a:stCxn id="25" idx="3"/>
            <a:endCxn id="10" idx="1"/>
          </p:cNvCxnSpPr>
          <p:nvPr/>
        </p:nvCxnSpPr>
        <p:spPr>
          <a:xfrm>
            <a:off x="9452042" y="4457132"/>
            <a:ext cx="981086" cy="298712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Elbow Connector 54"/>
          <p:cNvCxnSpPr>
            <a:stCxn id="26" idx="3"/>
            <a:endCxn id="10" idx="1"/>
          </p:cNvCxnSpPr>
          <p:nvPr/>
        </p:nvCxnSpPr>
        <p:spPr>
          <a:xfrm>
            <a:off x="9452042" y="6329340"/>
            <a:ext cx="981086" cy="111491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45"/>
          <p:cNvCxnSpPr>
            <a:stCxn id="28" idx="3"/>
            <a:endCxn id="10" idx="1"/>
          </p:cNvCxnSpPr>
          <p:nvPr/>
        </p:nvCxnSpPr>
        <p:spPr>
          <a:xfrm flipV="1">
            <a:off x="9452042" y="7444252"/>
            <a:ext cx="981086" cy="75729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3">
            <a:extLst>
              <a:ext uri="{FF2B5EF4-FFF2-40B4-BE49-F238E27FC236}">
                <a16:creationId xmlns:a16="http://schemas.microsoft.com/office/drawing/2014/main" id="{F83E9D11-06AA-49D2-BB02-83EA2BBD79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8" name="Footnot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1) </a:t>
            </a:r>
            <a:r>
              <a:rPr lang="de-DE" sz="1800" dirty="0" err="1">
                <a:latin typeface="Avenir Medium"/>
              </a:rPr>
              <a:t>Footnote</a:t>
            </a:r>
            <a:endParaRPr lang="de-DE" sz="1800" dirty="0">
              <a:latin typeface="Avenir Medium"/>
            </a:endParaRP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de-DE" sz="1800" dirty="0">
                <a:latin typeface="Avenir Medium"/>
              </a:rPr>
              <a:t>Source: Source</a:t>
            </a:r>
            <a:endParaRPr lang="de-DE" dirty="0">
              <a:latin typeface="Avenir Medium"/>
            </a:endParaRPr>
          </a:p>
        </p:txBody>
      </p:sp>
      <p:sp>
        <p:nvSpPr>
          <p:cNvPr id="10" name="Rechteck 38"/>
          <p:cNvSpPr/>
          <p:nvPr/>
        </p:nvSpPr>
        <p:spPr bwMode="auto">
          <a:xfrm>
            <a:off x="10433127" y="5068252"/>
            <a:ext cx="3456000" cy="4752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wrap="none" lIns="182798" tIns="91400" rIns="182798" bIns="91400" rtlCol="0" anchor="t">
            <a:prstTxWarp prst="textNoShape">
              <a:avLst/>
            </a:prstTxWarp>
          </a:bodyPr>
          <a:lstStyle/>
          <a:p>
            <a:pPr algn="ctr"/>
            <a:r>
              <a:rPr lang="en-US" sz="2200" b="1" dirty="0">
                <a:solidFill>
                  <a:srgbClr val="000000"/>
                </a:solidFill>
                <a:latin typeface="Avenir Medium"/>
              </a:rPr>
              <a:t>xxx</a:t>
            </a:r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gray">
          <a:xfrm>
            <a:off x="14925129" y="3665132"/>
            <a:ext cx="4320000" cy="1584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174626" algn="ctr" defTabSz="1654796">
              <a:buClr>
                <a:srgbClr val="000000"/>
              </a:buClr>
              <a:tabLst>
                <a:tab pos="3590926" algn="l"/>
              </a:tabLst>
            </a:pPr>
            <a:r>
              <a:rPr lang="en-US" sz="2600" dirty="0">
                <a:solidFill>
                  <a:srgbClr val="000000"/>
                </a:solidFill>
                <a:latin typeface="Avenir Medium"/>
                <a:ea typeface="MS PGothic" pitchFamily="34" charset="-128"/>
              </a:rPr>
              <a:t>xxx</a:t>
            </a:r>
            <a:endParaRPr lang="en-US" sz="2600" b="1" dirty="0">
              <a:solidFill>
                <a:srgbClr val="000000"/>
              </a:solidFill>
              <a:latin typeface="Avenir Medium"/>
              <a:ea typeface="MS PGothic" pitchFamily="34" charset="-128"/>
            </a:endParaRPr>
          </a:p>
        </p:txBody>
      </p:sp>
      <p:sp>
        <p:nvSpPr>
          <p:cNvPr id="13" name="Rectangle 5"/>
          <p:cNvSpPr>
            <a:spLocks noChangeArrowheads="1"/>
          </p:cNvSpPr>
          <p:nvPr/>
        </p:nvSpPr>
        <p:spPr bwMode="gray">
          <a:xfrm>
            <a:off x="14925129" y="5537340"/>
            <a:ext cx="4320000" cy="1584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defTabSz="1654796">
              <a:buClr>
                <a:srgbClr val="000000"/>
              </a:buClr>
            </a:pPr>
            <a:r>
              <a:rPr lang="en-US" sz="2600" dirty="0">
                <a:solidFill>
                  <a:srgbClr val="000000"/>
                </a:solidFill>
                <a:latin typeface="Avenir Medium"/>
                <a:ea typeface="MS PGothic" pitchFamily="34" charset="-128"/>
              </a:rPr>
              <a:t>xxx</a:t>
            </a:r>
            <a:endParaRPr lang="en-US" sz="2600" b="1" dirty="0">
              <a:solidFill>
                <a:srgbClr val="000000"/>
              </a:solidFill>
              <a:latin typeface="Avenir Medium"/>
              <a:ea typeface="MS PGothic" pitchFamily="34" charset="-128"/>
            </a:endParaRPr>
          </a:p>
        </p:txBody>
      </p:sp>
      <p:sp>
        <p:nvSpPr>
          <p:cNvPr id="17" name="Rectangle 17"/>
          <p:cNvSpPr>
            <a:spLocks noChangeArrowheads="1"/>
          </p:cNvSpPr>
          <p:nvPr/>
        </p:nvSpPr>
        <p:spPr bwMode="gray">
          <a:xfrm>
            <a:off x="14925129" y="9306448"/>
            <a:ext cx="4320000" cy="1584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defTabSz="1654796">
              <a:buClr>
                <a:srgbClr val="000000"/>
              </a:buClr>
            </a:pPr>
            <a:r>
              <a:rPr lang="en-US" sz="2600" dirty="0">
                <a:solidFill>
                  <a:srgbClr val="000000"/>
                </a:solidFill>
                <a:latin typeface="Avenir Medium"/>
                <a:ea typeface="MS PGothic" pitchFamily="34" charset="-128"/>
              </a:rPr>
              <a:t>xxx</a:t>
            </a:r>
            <a:endParaRPr lang="en-US" sz="2600" b="1" dirty="0">
              <a:solidFill>
                <a:srgbClr val="000000"/>
              </a:solidFill>
              <a:latin typeface="Avenir Medium"/>
              <a:ea typeface="MS PGothic" pitchFamily="34" charset="-128"/>
            </a:endParaRPr>
          </a:p>
        </p:txBody>
      </p:sp>
      <p:sp>
        <p:nvSpPr>
          <p:cNvPr id="18" name="Rectangle 23"/>
          <p:cNvSpPr>
            <a:spLocks noChangeArrowheads="1"/>
          </p:cNvSpPr>
          <p:nvPr/>
        </p:nvSpPr>
        <p:spPr bwMode="gray">
          <a:xfrm>
            <a:off x="14925129" y="7409548"/>
            <a:ext cx="4320000" cy="1584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defTabSz="1654796">
              <a:buClr>
                <a:srgbClr val="000000"/>
              </a:buClr>
            </a:pPr>
            <a:r>
              <a:rPr lang="en-US" sz="2600" dirty="0">
                <a:solidFill>
                  <a:srgbClr val="000000"/>
                </a:solidFill>
                <a:latin typeface="Avenir Medium"/>
                <a:ea typeface="MS PGothic" pitchFamily="34" charset="-128"/>
              </a:rPr>
              <a:t>xxx</a:t>
            </a:r>
            <a:endParaRPr lang="en-US" sz="2600" b="1" dirty="0">
              <a:solidFill>
                <a:srgbClr val="000000"/>
              </a:solidFill>
              <a:latin typeface="Avenir Medium"/>
              <a:ea typeface="MS PGothic" pitchFamily="34" charset="-128"/>
            </a:endParaRPr>
          </a:p>
        </p:txBody>
      </p:sp>
      <p:sp>
        <p:nvSpPr>
          <p:cNvPr id="19" name="Rechteck 30"/>
          <p:cNvSpPr/>
          <p:nvPr/>
        </p:nvSpPr>
        <p:spPr bwMode="auto">
          <a:xfrm>
            <a:off x="19533817" y="3665132"/>
            <a:ext cx="1584000" cy="1584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wrap="none" lIns="182798" tIns="91400" rIns="182798" bIns="91400" rtlCol="0" anchor="ctr">
            <a:prstTxWarp prst="textNoShape">
              <a:avLst/>
            </a:prstTxWarp>
          </a:bodyPr>
          <a:lstStyle/>
          <a:p>
            <a:pPr algn="ctr"/>
            <a:r>
              <a:rPr lang="en-US" sz="2200" dirty="0" err="1">
                <a:solidFill>
                  <a:srgbClr val="000000"/>
                </a:solidFill>
                <a:latin typeface="Avenir Medium"/>
              </a:rPr>
              <a:t>Platzhalter</a:t>
            </a:r>
            <a:r>
              <a:rPr lang="en-US" sz="2200" dirty="0">
                <a:solidFill>
                  <a:srgbClr val="000000"/>
                </a:solidFill>
                <a:latin typeface="Avenir Medium"/>
              </a:rPr>
              <a:t> </a:t>
            </a:r>
          </a:p>
          <a:p>
            <a:pPr algn="ctr"/>
            <a:r>
              <a:rPr lang="en-US" sz="2200" dirty="0" err="1">
                <a:solidFill>
                  <a:srgbClr val="000000"/>
                </a:solidFill>
                <a:latin typeface="Avenir Medium"/>
              </a:rPr>
              <a:t>für</a:t>
            </a:r>
            <a:r>
              <a:rPr lang="en-US" sz="2200" dirty="0">
                <a:solidFill>
                  <a:srgbClr val="000000"/>
                </a:solidFill>
                <a:latin typeface="Avenir Medium"/>
              </a:rPr>
              <a:t> Icon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19533817" y="5537340"/>
            <a:ext cx="1584000" cy="1584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wrap="none" lIns="182798" tIns="91400" rIns="182798" bIns="91400" rtlCol="0" anchor="ctr">
            <a:prstTxWarp prst="textNoShape">
              <a:avLst/>
            </a:prstTxWarp>
          </a:bodyPr>
          <a:lstStyle/>
          <a:p>
            <a:pPr algn="ctr"/>
            <a:endParaRPr lang="en-US" sz="2200" dirty="0" err="1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19533817" y="7409548"/>
            <a:ext cx="1584000" cy="1584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wrap="none" lIns="182798" tIns="91400" rIns="182798" bIns="91400" rtlCol="0" anchor="ctr">
            <a:prstTxWarp prst="textNoShape">
              <a:avLst/>
            </a:prstTxWarp>
          </a:bodyPr>
          <a:lstStyle/>
          <a:p>
            <a:pPr algn="ctr"/>
            <a:endParaRPr lang="en-US" sz="2200" dirty="0" err="1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2" name="Rechteck 40"/>
          <p:cNvSpPr/>
          <p:nvPr/>
        </p:nvSpPr>
        <p:spPr bwMode="auto">
          <a:xfrm>
            <a:off x="19533817" y="9306448"/>
            <a:ext cx="1584000" cy="1584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wrap="none" lIns="182798" tIns="91400" rIns="182798" bIns="91400" rtlCol="0" anchor="ctr">
            <a:prstTxWarp prst="textNoShape">
              <a:avLst/>
            </a:prstTxWarp>
          </a:bodyPr>
          <a:lstStyle/>
          <a:p>
            <a:pPr algn="ctr"/>
            <a:endParaRPr lang="en-US" sz="2200" dirty="0" err="1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gray">
          <a:xfrm>
            <a:off x="5132041" y="3665132"/>
            <a:ext cx="4320000" cy="1584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174626" algn="ctr" defTabSz="1654796">
              <a:buClr>
                <a:srgbClr val="000000"/>
              </a:buClr>
              <a:tabLst>
                <a:tab pos="3590926" algn="l"/>
              </a:tabLst>
            </a:pPr>
            <a:r>
              <a:rPr lang="en-US" sz="2600" dirty="0">
                <a:solidFill>
                  <a:srgbClr val="000000"/>
                </a:solidFill>
                <a:latin typeface="Avenir Medium"/>
                <a:ea typeface="MS PGothic" pitchFamily="34" charset="-128"/>
              </a:rPr>
              <a:t>xxx</a:t>
            </a:r>
            <a:endParaRPr lang="en-US" sz="2600" b="1" dirty="0">
              <a:solidFill>
                <a:srgbClr val="000000"/>
              </a:solidFill>
              <a:latin typeface="Avenir Medium"/>
              <a:ea typeface="MS PGothic" pitchFamily="34" charset="-128"/>
            </a:endParaRPr>
          </a:p>
        </p:txBody>
      </p:sp>
      <p:sp>
        <p:nvSpPr>
          <p:cNvPr id="26" name="Rectangle 5"/>
          <p:cNvSpPr>
            <a:spLocks noChangeArrowheads="1"/>
          </p:cNvSpPr>
          <p:nvPr/>
        </p:nvSpPr>
        <p:spPr bwMode="gray">
          <a:xfrm>
            <a:off x="5132041" y="5537340"/>
            <a:ext cx="4320000" cy="1584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defTabSz="1654796">
              <a:buClr>
                <a:srgbClr val="000000"/>
              </a:buClr>
            </a:pPr>
            <a:r>
              <a:rPr lang="en-US" sz="2600" dirty="0">
                <a:solidFill>
                  <a:srgbClr val="000000"/>
                </a:solidFill>
                <a:latin typeface="Avenir Medium"/>
                <a:ea typeface="MS PGothic" pitchFamily="34" charset="-128"/>
              </a:rPr>
              <a:t>xxx</a:t>
            </a:r>
            <a:endParaRPr lang="en-US" sz="2600" b="1" dirty="0">
              <a:solidFill>
                <a:srgbClr val="000000"/>
              </a:solidFill>
              <a:latin typeface="Avenir Medium"/>
              <a:ea typeface="MS PGothic" pitchFamily="34" charset="-128"/>
            </a:endParaRPr>
          </a:p>
        </p:txBody>
      </p:sp>
      <p:sp>
        <p:nvSpPr>
          <p:cNvPr id="27" name="Rectangle 17"/>
          <p:cNvSpPr>
            <a:spLocks noChangeArrowheads="1"/>
          </p:cNvSpPr>
          <p:nvPr/>
        </p:nvSpPr>
        <p:spPr bwMode="gray">
          <a:xfrm>
            <a:off x="5132041" y="9306448"/>
            <a:ext cx="4320000" cy="1584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defTabSz="1654796">
              <a:buClr>
                <a:srgbClr val="000000"/>
              </a:buClr>
            </a:pPr>
            <a:r>
              <a:rPr lang="en-US" sz="2600" dirty="0">
                <a:solidFill>
                  <a:srgbClr val="000000"/>
                </a:solidFill>
                <a:latin typeface="Avenir Medium"/>
                <a:ea typeface="MS PGothic" pitchFamily="34" charset="-128"/>
              </a:rPr>
              <a:t>xxx</a:t>
            </a:r>
            <a:endParaRPr lang="en-US" sz="2600" b="1" dirty="0">
              <a:solidFill>
                <a:srgbClr val="000000"/>
              </a:solidFill>
              <a:latin typeface="Avenir Medium"/>
              <a:ea typeface="MS PGothic" pitchFamily="34" charset="-128"/>
            </a:endParaRPr>
          </a:p>
        </p:txBody>
      </p:sp>
      <p:sp>
        <p:nvSpPr>
          <p:cNvPr id="28" name="Rectangle 23"/>
          <p:cNvSpPr>
            <a:spLocks noChangeArrowheads="1"/>
          </p:cNvSpPr>
          <p:nvPr/>
        </p:nvSpPr>
        <p:spPr bwMode="gray">
          <a:xfrm>
            <a:off x="5132041" y="7409548"/>
            <a:ext cx="4320000" cy="1584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defTabSz="1654796">
              <a:buClr>
                <a:srgbClr val="000000"/>
              </a:buClr>
            </a:pPr>
            <a:r>
              <a:rPr lang="en-US" sz="2600" dirty="0">
                <a:solidFill>
                  <a:srgbClr val="000000"/>
                </a:solidFill>
                <a:latin typeface="Avenir Medium"/>
                <a:ea typeface="MS PGothic" pitchFamily="34" charset="-128"/>
              </a:rPr>
              <a:t>xxx</a:t>
            </a:r>
            <a:endParaRPr lang="en-US" sz="2600" b="1" dirty="0">
              <a:solidFill>
                <a:srgbClr val="000000"/>
              </a:solidFill>
              <a:latin typeface="Avenir Medium"/>
              <a:ea typeface="MS PGothic" pitchFamily="34" charset="-128"/>
            </a:endParaRPr>
          </a:p>
        </p:txBody>
      </p:sp>
      <p:sp>
        <p:nvSpPr>
          <p:cNvPr id="29" name="Rechteck 30"/>
          <p:cNvSpPr/>
          <p:nvPr/>
        </p:nvSpPr>
        <p:spPr bwMode="auto">
          <a:xfrm>
            <a:off x="3259833" y="3665132"/>
            <a:ext cx="1584000" cy="1584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wrap="none" lIns="182798" tIns="91400" rIns="182798" bIns="91400" rtlCol="0" anchor="ctr">
            <a:prstTxWarp prst="textNoShape">
              <a:avLst/>
            </a:prstTxWarp>
          </a:bodyPr>
          <a:lstStyle/>
          <a:p>
            <a:pPr algn="ctr"/>
            <a:r>
              <a:rPr lang="en-US" sz="2200" dirty="0" err="1">
                <a:solidFill>
                  <a:srgbClr val="000000"/>
                </a:solidFill>
                <a:latin typeface="Avenir Medium"/>
              </a:rPr>
              <a:t>Platzhalter</a:t>
            </a:r>
            <a:r>
              <a:rPr lang="en-US" sz="2200" dirty="0">
                <a:solidFill>
                  <a:srgbClr val="000000"/>
                </a:solidFill>
                <a:latin typeface="Avenir Medium"/>
              </a:rPr>
              <a:t> </a:t>
            </a:r>
          </a:p>
          <a:p>
            <a:pPr algn="ctr"/>
            <a:r>
              <a:rPr lang="en-US" sz="2200" dirty="0" err="1">
                <a:solidFill>
                  <a:srgbClr val="000000"/>
                </a:solidFill>
                <a:latin typeface="Avenir Medium"/>
              </a:rPr>
              <a:t>für</a:t>
            </a:r>
            <a:r>
              <a:rPr lang="en-US" sz="2200" dirty="0">
                <a:solidFill>
                  <a:srgbClr val="000000"/>
                </a:solidFill>
                <a:latin typeface="Avenir Medium"/>
              </a:rPr>
              <a:t> Icon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3259833" y="5537340"/>
            <a:ext cx="1584000" cy="1584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wrap="none" lIns="182798" tIns="91400" rIns="182798" bIns="91400" rtlCol="0" anchor="ctr">
            <a:prstTxWarp prst="textNoShape">
              <a:avLst/>
            </a:prstTxWarp>
          </a:bodyPr>
          <a:lstStyle/>
          <a:p>
            <a:pPr algn="ctr"/>
            <a:endParaRPr lang="en-US" sz="2200" dirty="0" err="1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3259833" y="7409548"/>
            <a:ext cx="1584000" cy="1584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wrap="none" lIns="182798" tIns="91400" rIns="182798" bIns="91400" rtlCol="0" anchor="ctr">
            <a:prstTxWarp prst="textNoShape">
              <a:avLst/>
            </a:prstTxWarp>
          </a:bodyPr>
          <a:lstStyle/>
          <a:p>
            <a:pPr algn="ctr"/>
            <a:endParaRPr lang="en-US" sz="2200" dirty="0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2" name="Rechteck 40"/>
          <p:cNvSpPr/>
          <p:nvPr/>
        </p:nvSpPr>
        <p:spPr bwMode="auto">
          <a:xfrm>
            <a:off x="3259833" y="9306448"/>
            <a:ext cx="1584000" cy="1584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11" rotWithShape="0">
                    <a:srgbClr val="000000">
                      <a:alpha val="40000"/>
                    </a:srgbClr>
                  </a:outerShdw>
                </a:effectLst>
              </a14:hiddenEffects>
            </a:ext>
          </a:extLst>
        </p:spPr>
        <p:txBody>
          <a:bodyPr wrap="none" lIns="182798" tIns="91400" rIns="182798" bIns="91400" rtlCol="0" anchor="ctr">
            <a:prstTxWarp prst="textNoShape">
              <a:avLst/>
            </a:prstTxWarp>
          </a:bodyPr>
          <a:lstStyle/>
          <a:p>
            <a:pPr algn="ctr"/>
            <a:endParaRPr lang="en-US" sz="2200" dirty="0">
              <a:solidFill>
                <a:srgbClr val="000000"/>
              </a:solidFill>
              <a:latin typeface="Avenir Medium"/>
            </a:endParaRPr>
          </a:p>
        </p:txBody>
      </p:sp>
      <p:cxnSp>
        <p:nvCxnSpPr>
          <p:cNvPr id="53" name="Elbow Connector 52"/>
          <p:cNvCxnSpPr>
            <a:stCxn id="18" idx="1"/>
            <a:endCxn id="10" idx="3"/>
          </p:cNvCxnSpPr>
          <p:nvPr/>
        </p:nvCxnSpPr>
        <p:spPr>
          <a:xfrm rot="10800000">
            <a:off x="13889130" y="7444252"/>
            <a:ext cx="1036002" cy="75729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3">
                <a:lumMod val="75000"/>
              </a:schemeClr>
            </a:solidFill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/>
          <p:cNvCxnSpPr>
            <a:stCxn id="17" idx="1"/>
            <a:endCxn id="10" idx="3"/>
          </p:cNvCxnSpPr>
          <p:nvPr/>
        </p:nvCxnSpPr>
        <p:spPr>
          <a:xfrm rot="10800000">
            <a:off x="13889130" y="7444252"/>
            <a:ext cx="1036002" cy="265419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3">
                <a:lumMod val="75000"/>
              </a:schemeClr>
            </a:solidFill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58"/>
          <p:cNvCxnSpPr>
            <a:stCxn id="13" idx="1"/>
            <a:endCxn id="10" idx="3"/>
          </p:cNvCxnSpPr>
          <p:nvPr/>
        </p:nvCxnSpPr>
        <p:spPr>
          <a:xfrm rot="10800000" flipV="1">
            <a:off x="13889130" y="6329340"/>
            <a:ext cx="1036002" cy="111491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3">
                <a:lumMod val="75000"/>
              </a:schemeClr>
            </a:solidFill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Elbow Connector 61"/>
          <p:cNvCxnSpPr>
            <a:stCxn id="12" idx="1"/>
            <a:endCxn id="10" idx="3"/>
          </p:cNvCxnSpPr>
          <p:nvPr/>
        </p:nvCxnSpPr>
        <p:spPr>
          <a:xfrm rot="10800000" flipV="1">
            <a:off x="13889130" y="4457132"/>
            <a:ext cx="1036002" cy="298712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3">
                <a:lumMod val="75000"/>
              </a:schemeClr>
            </a:solidFill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3115818" y="2681536"/>
            <a:ext cx="7425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solidFill>
                  <a:schemeClr val="tx2"/>
                </a:solidFill>
                <a:latin typeface="Avenir Medium"/>
              </a:rPr>
              <a:t>XXX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4781114" y="2681536"/>
            <a:ext cx="7425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solidFill>
                  <a:schemeClr val="tx2"/>
                </a:solidFill>
                <a:latin typeface="Avenir Medium"/>
              </a:rPr>
              <a:t>XXX</a:t>
            </a:r>
          </a:p>
        </p:txBody>
      </p:sp>
      <p:sp>
        <p:nvSpPr>
          <p:cNvPr id="67" name="Rectangle 69"/>
          <p:cNvSpPr/>
          <p:nvPr/>
        </p:nvSpPr>
        <p:spPr>
          <a:xfrm>
            <a:off x="3260825" y="11178592"/>
            <a:ext cx="17856000" cy="100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11200" lvl="1" indent="-355600">
              <a:spcAft>
                <a:spcPts val="600"/>
              </a:spcAft>
              <a:buClr>
                <a:schemeClr val="dk1"/>
              </a:buClr>
              <a:buSzPts val="1200"/>
              <a:buFont typeface="Wingdings 2" panose="05020102010507070707" pitchFamily="18" charset="2"/>
              <a:buChar char=""/>
            </a:pPr>
            <a:r>
              <a:rPr lang="en-US" sz="2400" dirty="0">
                <a:solidFill>
                  <a:schemeClr val="dk1"/>
                </a:solidFill>
                <a:latin typeface="Avenir Medium"/>
              </a:rPr>
              <a:t>Xxx</a:t>
            </a:r>
          </a:p>
          <a:p>
            <a:pPr marL="711200" lvl="1" indent="-355600">
              <a:spcAft>
                <a:spcPts val="600"/>
              </a:spcAft>
              <a:buClr>
                <a:schemeClr val="dk1"/>
              </a:buClr>
              <a:buSzPts val="1200"/>
              <a:buFont typeface="Wingdings 2" panose="05020102010507070707" pitchFamily="18" charset="2"/>
              <a:buChar char=""/>
            </a:pPr>
            <a:r>
              <a:rPr lang="en-US" sz="2400" dirty="0" err="1">
                <a:solidFill>
                  <a:schemeClr val="dk1"/>
                </a:solidFill>
                <a:latin typeface="Avenir Medium"/>
              </a:rPr>
              <a:t>xxxx</a:t>
            </a:r>
            <a:endParaRPr lang="en-US" sz="2400" dirty="0">
              <a:solidFill>
                <a:schemeClr val="dk1"/>
              </a:solidFill>
              <a:latin typeface="Avenir Medium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1303912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0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Folie" r:id="rId36" imgW="360" imgH="360" progId="TCLayout.ActiveDocument.1">
                  <p:embed/>
                </p:oleObj>
              </mc:Choice>
              <mc:Fallback>
                <p:oleObj name="think-cell Folie" r:id="rId36" imgW="360" imgH="360" progId="TCLayout.ActiveDocument.1">
                  <p:embed/>
                  <p:pic>
                    <p:nvPicPr>
                      <p:cNvPr id="14" name="Objek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0" y="3177"/>
                        <a:ext cx="3174" cy="31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4"/>
            </p:custDataLst>
          </p:nvPr>
        </p:nvSpPr>
        <p:spPr bwMode="auto">
          <a:xfrm>
            <a:off x="3044825" y="0"/>
            <a:ext cx="317500" cy="3175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DDBF528-B621-485E-8F2D-91D39EC923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>
                <a:latin typeface="Avenir Medium"/>
              </a:rPr>
              <a:t>Tortendiagramm</a:t>
            </a:r>
            <a:endParaRPr lang="de-DE" dirty="0">
              <a:latin typeface="Avenir Medium"/>
            </a:endParaRPr>
          </a:p>
        </p:txBody>
      </p:sp>
      <p:graphicFrame>
        <p:nvGraphicFramePr>
          <p:cNvPr id="2" name="Objekt 184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6304316"/>
              </p:ext>
            </p:extLst>
          </p:nvPr>
        </p:nvGraphicFramePr>
        <p:xfrm>
          <a:off x="8277225" y="3632201"/>
          <a:ext cx="8204328" cy="8242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18" name="Textplatzhalter 11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5528925" y="8188326"/>
            <a:ext cx="695324" cy="365124"/>
          </a:xfrm>
          <a:prstGeom prst="rect">
            <a:avLst/>
          </a:prstGeom>
          <a:noFill/>
          <a:effectLst/>
        </p:spPr>
        <p:txBody>
          <a:bodyPr wrap="none" lIns="44450" tIns="0" rIns="44450" bIns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</a:pPr>
            <a:fld id="{9479BF12-7B46-464C-8CEF-32E79FC818AA}" type="datetime'''''''''''1''''''''''''0''''%'''''''''''''''''''''''''''''''">
              <a:rPr lang="en-US" sz="2400">
                <a:latin typeface="Avenir Medium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17" name="Textplatzhalter 10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5087601" y="5810250"/>
            <a:ext cx="695324" cy="365124"/>
          </a:xfrm>
          <a:prstGeom prst="rect">
            <a:avLst/>
          </a:prstGeom>
          <a:noFill/>
          <a:effectLst/>
        </p:spPr>
        <p:txBody>
          <a:bodyPr wrap="none" lIns="44450" tIns="0" rIns="44450" bIns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</a:pPr>
            <a:fld id="{55241FBB-75BF-4DE4-B052-CCEAA6F347E4}" type="datetime'''1''''''''''''''0''''''%'''''''">
              <a:rPr lang="en-US" sz="2400">
                <a:latin typeface="Avenir Medium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12" name="Rechteck 188"/>
          <p:cNvSpPr/>
          <p:nvPr>
            <p:custDataLst>
              <p:tags r:id="rId8"/>
            </p:custDataLst>
          </p:nvPr>
        </p:nvSpPr>
        <p:spPr bwMode="gray">
          <a:xfrm>
            <a:off x="13265151" y="4191001"/>
            <a:ext cx="695324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450" tIns="0" rIns="4445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3BC1C40-2E14-4C98-934A-074D246D48F3}" type="datetime'''''''''''1''''''0''''''%'''''''''''''''''''">
              <a:rPr lang="en-US" sz="2400">
                <a:solidFill>
                  <a:schemeClr val="bg1"/>
                </a:solidFill>
                <a:latin typeface="Avenir Medium"/>
              </a:rPr>
              <a:pPr/>
              <a:t>10%</a:t>
            </a:fld>
            <a:endParaRPr lang="en-US" sz="2400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23" name="Textplatzhalter 75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4312901" y="10287000"/>
            <a:ext cx="695324" cy="365124"/>
          </a:xfrm>
          <a:prstGeom prst="rect">
            <a:avLst/>
          </a:prstGeom>
          <a:noFill/>
          <a:effectLst/>
        </p:spPr>
        <p:txBody>
          <a:bodyPr wrap="none" lIns="44450" tIns="0" rIns="4445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F73118E-6470-4029-87E8-63211908C216}" type="datetime'''''''''''''''1''''''''0''''%'''''''''''''''">
              <a:rPr lang="en-US" sz="2400">
                <a:latin typeface="Avenir Medium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26" name="Textplatzhalter 77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2033251" y="11258550"/>
            <a:ext cx="695324" cy="365124"/>
          </a:xfrm>
          <a:prstGeom prst="rect">
            <a:avLst/>
          </a:prstGeom>
          <a:noFill/>
          <a:effectLst/>
        </p:spPr>
        <p:txBody>
          <a:bodyPr wrap="none" lIns="44450" tIns="0" rIns="4445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E8DAED7-0C27-43FE-9D58-61203B7B5468}" type="datetime'''''''''''''''1''0''''''''''''''''''%'''''''''">
              <a:rPr lang="en-US" sz="2400">
                <a:latin typeface="Avenir Medium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29" name="Textplatzhalter 79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756775" y="10287000"/>
            <a:ext cx="695324" cy="365124"/>
          </a:xfrm>
          <a:prstGeom prst="rect">
            <a:avLst/>
          </a:prstGeom>
          <a:noFill/>
          <a:effectLst/>
        </p:spPr>
        <p:txBody>
          <a:bodyPr wrap="none" lIns="44450" tIns="0" rIns="4445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5B29994-2379-45C2-8901-353C3D04E333}" type="datetime'''''''''10''''''''''''''''''''''''''''''''''''''''''''''%'''">
              <a:rPr lang="en-US" sz="2400">
                <a:latin typeface="Avenir Medium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32" name="Textplatzhalter 81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540751" y="8188326"/>
            <a:ext cx="695324" cy="365124"/>
          </a:xfrm>
          <a:prstGeom prst="rect">
            <a:avLst/>
          </a:prstGeom>
          <a:noFill/>
          <a:effectLst/>
        </p:spPr>
        <p:txBody>
          <a:bodyPr wrap="none" lIns="44450" tIns="0" rIns="4445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E9C11D-B574-45AA-9401-E0C990EE4A98}" type="datetime'''''''''1''''''''''''0''''%'''''''''''''''''''''''''''''">
              <a:rPr lang="en-US" sz="2400">
                <a:solidFill>
                  <a:schemeClr val="bg1"/>
                </a:solidFill>
                <a:latin typeface="Avenir Medium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US" sz="2400" dirty="0">
              <a:solidFill>
                <a:schemeClr val="bg1"/>
              </a:solidFill>
              <a:latin typeface="Avenir Medium"/>
              <a:sym typeface="Arial"/>
            </a:endParaRPr>
          </a:p>
        </p:txBody>
      </p:sp>
      <p:sp>
        <p:nvSpPr>
          <p:cNvPr id="35" name="Textplatzhalter 8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982075" y="5810250"/>
            <a:ext cx="695324" cy="365124"/>
          </a:xfrm>
          <a:prstGeom prst="rect">
            <a:avLst/>
          </a:prstGeom>
          <a:noFill/>
          <a:effectLst/>
        </p:spPr>
        <p:txBody>
          <a:bodyPr wrap="none" lIns="44450" tIns="0" rIns="4445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8F3C66A-1118-4FD4-BE58-A792EA5B7D56}" type="datetime'''''''''''''''''''''''''''''''''''''1''0%'''''''">
              <a:rPr lang="en-US" sz="2400">
                <a:solidFill>
                  <a:schemeClr val="bg1"/>
                </a:solidFill>
                <a:latin typeface="Avenir Medium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US" sz="2400" dirty="0">
              <a:solidFill>
                <a:schemeClr val="bg1"/>
              </a:solidFill>
              <a:latin typeface="Avenir Medium"/>
              <a:sym typeface="Arial"/>
            </a:endParaRPr>
          </a:p>
        </p:txBody>
      </p:sp>
      <p:sp>
        <p:nvSpPr>
          <p:cNvPr id="38" name="Textplatzhalter 85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804525" y="4194176"/>
            <a:ext cx="695324" cy="365124"/>
          </a:xfrm>
          <a:prstGeom prst="rect">
            <a:avLst/>
          </a:prstGeom>
          <a:noFill/>
          <a:effectLst/>
        </p:spPr>
        <p:txBody>
          <a:bodyPr wrap="none" lIns="44450" tIns="0" rIns="4445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E50DE2B-39DE-43B9-AC15-35848EC38D36}" type="datetime'''''''''''''''''''''''''''''''''''''''''1''''''''0''''''%'">
              <a:rPr lang="en-US" sz="2400">
                <a:solidFill>
                  <a:schemeClr val="bg1"/>
                </a:solidFill>
                <a:latin typeface="Avenir Medium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US" sz="2400" dirty="0">
              <a:solidFill>
                <a:schemeClr val="bg1"/>
              </a:solidFill>
              <a:latin typeface="Avenir Medium"/>
              <a:sym typeface="Arial"/>
            </a:endParaRPr>
          </a:p>
        </p:txBody>
      </p:sp>
      <p:sp>
        <p:nvSpPr>
          <p:cNvPr id="36" name="Rechteck 35"/>
          <p:cNvSpPr/>
          <p:nvPr>
            <p:custDataLst>
              <p:tags r:id="rId15"/>
            </p:custDataLst>
          </p:nvPr>
        </p:nvSpPr>
        <p:spPr bwMode="auto">
          <a:xfrm>
            <a:off x="18348325" y="7232650"/>
            <a:ext cx="428624" cy="320676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rgbClr val="EAEDF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tx2"/>
              </a:buClr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4" name="Rechteck 23"/>
          <p:cNvSpPr/>
          <p:nvPr>
            <p:custDataLst>
              <p:tags r:id="rId16"/>
            </p:custDataLst>
          </p:nvPr>
        </p:nvSpPr>
        <p:spPr bwMode="auto">
          <a:xfrm>
            <a:off x="18348325" y="5365750"/>
            <a:ext cx="428624" cy="3206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rgbClr val="EAEDF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tx2"/>
              </a:buClr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7" name="Rechteck 26"/>
          <p:cNvSpPr/>
          <p:nvPr>
            <p:custDataLst>
              <p:tags r:id="rId17"/>
            </p:custDataLst>
          </p:nvPr>
        </p:nvSpPr>
        <p:spPr bwMode="auto">
          <a:xfrm>
            <a:off x="18348325" y="5832477"/>
            <a:ext cx="428624" cy="320674"/>
          </a:xfrm>
          <a:prstGeom prst="rect">
            <a:avLst/>
          </a:prstGeom>
          <a:solidFill>
            <a:srgbClr val="81E7E5"/>
          </a:solidFill>
          <a:ln w="19050">
            <a:solidFill>
              <a:srgbClr val="EAEDF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tx2"/>
              </a:buClr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0" name="Rechteck 29"/>
          <p:cNvSpPr/>
          <p:nvPr>
            <p:custDataLst>
              <p:tags r:id="rId18"/>
            </p:custDataLst>
          </p:nvPr>
        </p:nvSpPr>
        <p:spPr bwMode="auto">
          <a:xfrm>
            <a:off x="18348325" y="6299200"/>
            <a:ext cx="428624" cy="32067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>
            <a:solidFill>
              <a:srgbClr val="EAEDF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tx2"/>
              </a:buClr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3" name="Rechteck 32"/>
          <p:cNvSpPr/>
          <p:nvPr>
            <p:custDataLst>
              <p:tags r:id="rId19"/>
            </p:custDataLst>
          </p:nvPr>
        </p:nvSpPr>
        <p:spPr bwMode="auto">
          <a:xfrm>
            <a:off x="18348325" y="6765927"/>
            <a:ext cx="428624" cy="320674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9050">
            <a:solidFill>
              <a:srgbClr val="EAEDF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tx2"/>
              </a:buClr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9" name="Rechteck 38"/>
          <p:cNvSpPr/>
          <p:nvPr>
            <p:custDataLst>
              <p:tags r:id="rId20"/>
            </p:custDataLst>
          </p:nvPr>
        </p:nvSpPr>
        <p:spPr bwMode="auto">
          <a:xfrm>
            <a:off x="18348325" y="7699377"/>
            <a:ext cx="428624" cy="320674"/>
          </a:xfrm>
          <a:prstGeom prst="rect">
            <a:avLst/>
          </a:prstGeom>
          <a:solidFill>
            <a:schemeClr val="tx2"/>
          </a:solidFill>
          <a:ln w="19050">
            <a:solidFill>
              <a:srgbClr val="EAEDF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tx2"/>
              </a:buClr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1" name="Rechteck 20"/>
          <p:cNvSpPr/>
          <p:nvPr>
            <p:custDataLst>
              <p:tags r:id="rId21"/>
            </p:custDataLst>
          </p:nvPr>
        </p:nvSpPr>
        <p:spPr bwMode="auto">
          <a:xfrm>
            <a:off x="18348325" y="4899027"/>
            <a:ext cx="428624" cy="32067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rgbClr val="EAEDF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tx2"/>
              </a:buClr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0" name="Rechteck 19"/>
          <p:cNvSpPr/>
          <p:nvPr>
            <p:custDataLst>
              <p:tags r:id="rId22"/>
            </p:custDataLst>
          </p:nvPr>
        </p:nvSpPr>
        <p:spPr bwMode="auto">
          <a:xfrm>
            <a:off x="18348325" y="4432300"/>
            <a:ext cx="428624" cy="320676"/>
          </a:xfrm>
          <a:prstGeom prst="rect">
            <a:avLst/>
          </a:prstGeom>
          <a:solidFill>
            <a:schemeClr val="accent1"/>
          </a:solidFill>
          <a:ln w="19050">
            <a:solidFill>
              <a:srgbClr val="EAEDF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tx2"/>
              </a:buClr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9" name="Rechteck 18"/>
          <p:cNvSpPr/>
          <p:nvPr>
            <p:custDataLst>
              <p:tags r:id="rId23"/>
            </p:custDataLst>
          </p:nvPr>
        </p:nvSpPr>
        <p:spPr bwMode="auto">
          <a:xfrm>
            <a:off x="18348325" y="3965577"/>
            <a:ext cx="428624" cy="32067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rgbClr val="EAEDF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tx2"/>
              </a:buClr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9" name="Rechteck 187"/>
          <p:cNvSpPr/>
          <p:nvPr>
            <p:custDataLst>
              <p:tags r:id="rId24"/>
            </p:custDataLst>
          </p:nvPr>
        </p:nvSpPr>
        <p:spPr bwMode="auto">
          <a:xfrm>
            <a:off x="18878552" y="4889501"/>
            <a:ext cx="8604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6E46238-E1FB-4774-86BF-7D7FE84EC350}" type="datetime'''''''''''''''Se''''''''''ri''''e''''''''''s''''''''''''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0" name="Rechteck 186"/>
          <p:cNvSpPr/>
          <p:nvPr>
            <p:custDataLst>
              <p:tags r:id="rId25"/>
            </p:custDataLst>
          </p:nvPr>
        </p:nvSpPr>
        <p:spPr bwMode="auto">
          <a:xfrm>
            <a:off x="18878552" y="4422777"/>
            <a:ext cx="8604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FD114BE-9C07-432A-AA57-BA04714ED806}" type="datetime'''''S''''e''''r''''''''''''''''''''i''''''e''''''''''s'">
              <a:rPr lang="en-US" sz="2400">
                <a:solidFill>
                  <a:schemeClr val="tx1"/>
                </a:solidFill>
                <a:latin typeface="Avenir Medium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2400" dirty="0">
              <a:solidFill>
                <a:schemeClr val="tx1"/>
              </a:solidFill>
              <a:latin typeface="Avenir Medium"/>
              <a:sym typeface="Arial"/>
            </a:endParaRPr>
          </a:p>
        </p:txBody>
      </p:sp>
      <p:sp>
        <p:nvSpPr>
          <p:cNvPr id="11" name="Rechteck 185"/>
          <p:cNvSpPr/>
          <p:nvPr>
            <p:custDataLst>
              <p:tags r:id="rId26"/>
            </p:custDataLst>
          </p:nvPr>
        </p:nvSpPr>
        <p:spPr bwMode="auto">
          <a:xfrm>
            <a:off x="18878552" y="3956051"/>
            <a:ext cx="8604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D662809-E5A1-4ACF-A972-677747ADF2F0}" type="datetime'S''''''''''''''''''''e''''r''''''i''''''''e''''''s'''">
              <a:rPr lang="en-US" sz="2400">
                <a:solidFill>
                  <a:schemeClr val="tx1"/>
                </a:solidFill>
                <a:latin typeface="Avenir Medium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2400" dirty="0">
              <a:solidFill>
                <a:schemeClr val="tx1"/>
              </a:solidFill>
              <a:latin typeface="Avenir Medium"/>
              <a:sym typeface="Arial"/>
            </a:endParaRPr>
          </a:p>
        </p:txBody>
      </p:sp>
      <p:sp>
        <p:nvSpPr>
          <p:cNvPr id="22" name="Textplatzhalter 74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8878552" y="5356226"/>
            <a:ext cx="860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F863600-02D7-4214-99E0-E49DA7929BC8}" type="datetime'S''''''''e''''''''''''''''''''''''''r''i''''''''''e''s'''''">
              <a:rPr lang="en-US" sz="2400">
                <a:latin typeface="Avenir Medium"/>
              </a:rPr>
              <a:pPr/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25" name="Textplatzhalter 76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8878552" y="5822950"/>
            <a:ext cx="860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5E79275-D047-4E46-913D-08206E9BA758}" type="datetime'''''''''S''''''''''''''''''''''e''''''''''ri''''''''es'''''''">
              <a:rPr lang="en-US" sz="2400">
                <a:latin typeface="Avenir Medium"/>
              </a:rPr>
              <a:pPr/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28" name="Textplatzhalter 78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8878552" y="6289676"/>
            <a:ext cx="860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093B63C-3500-485B-B6D6-C14B52A064C9}" type="datetime'''''''''''''''''''S''''e''''''''''''''r''i''e''''''s'''''">
              <a:rPr lang="en-US" sz="2400">
                <a:latin typeface="Avenir Medium"/>
              </a:rPr>
              <a:pPr/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31" name="Textplatzhalter 80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8878552" y="6756400"/>
            <a:ext cx="860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963D3FA-82DD-4B51-B52D-67F9DCD59CD0}" type="datetime'''''''S''''''''''''''''''''''''''''e''r''i''e''s'''''''''''''">
              <a:rPr lang="en-US" sz="2400">
                <a:latin typeface="Avenir Medium"/>
              </a:rPr>
              <a:pPr/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34" name="Textplatzhalter 8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8878552" y="7223126"/>
            <a:ext cx="860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7064FC3-65C8-4D32-AECC-203289BD2788}" type="datetime'''''''''''''''''''S''e''''''''r''i''''''''''''''''''''''es'">
              <a:rPr lang="en-US" sz="2400">
                <a:latin typeface="Avenir Medium"/>
              </a:rPr>
              <a:pPr/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37" name="Textplatzhalter 84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8878552" y="7689850"/>
            <a:ext cx="860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3915741-85F5-48DC-B921-E847FC0D1100}" type="datetime'''''''''''''''''''''''''''Ser''''''''''''i''''e''''''s'">
              <a:rPr lang="en-US" sz="2400">
                <a:latin typeface="Avenir Medium"/>
              </a:rPr>
              <a:pPr/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43" name="McK Footnote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1) Footnote</a:t>
            </a: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Source: Source</a:t>
            </a:r>
            <a:endParaRPr lang="en-US" dirty="0">
              <a:latin typeface="Avenir Medium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99900178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0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Folie" r:id="rId49" imgW="360" imgH="360" progId="TCLayout.ActiveDocument.1">
                  <p:embed/>
                </p:oleObj>
              </mc:Choice>
              <mc:Fallback>
                <p:oleObj name="think-cell Folie" r:id="rId49" imgW="360" imgH="360" progId="TCLayout.ActiveDocument.1">
                  <p:embed/>
                  <p:pic>
                    <p:nvPicPr>
                      <p:cNvPr id="50" name="Object 4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0" y="3177"/>
                        <a:ext cx="3174" cy="31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/>
          <p:cNvSpPr/>
          <p:nvPr>
            <p:custDataLst>
              <p:tags r:id="rId4"/>
            </p:custDataLst>
          </p:nvPr>
        </p:nvSpPr>
        <p:spPr bwMode="auto">
          <a:xfrm>
            <a:off x="3044825" y="0"/>
            <a:ext cx="317500" cy="3175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endParaRPr lang="en-US" sz="2400" b="1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AD8C93D-F57E-4522-8C34-85E551D73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Avenir Medium"/>
              </a:rPr>
              <a:t>Gantt-Chart</a:t>
            </a:r>
            <a:endParaRPr lang="de-DE" dirty="0">
              <a:latin typeface="Avenir Medium"/>
            </a:endParaRPr>
          </a:p>
        </p:txBody>
      </p:sp>
      <p:sp>
        <p:nvSpPr>
          <p:cNvPr id="9" name="Rechteck 316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4759325" y="2825750"/>
            <a:ext cx="8178800" cy="46037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626" rIns="0" bIns="47626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C0CD6EC-AE4D-4B62-A377-8BCCF1F3F49D}" type="datetime'''''''''''''''''''J''u''''''l''''''''''''''''''''''i'''''">
              <a:rPr lang="en-US" sz="2400" b="1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uli</a:t>
            </a:fld>
            <a:endParaRPr lang="en-US" sz="2400" b="1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18" name="Rechteck 317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2938125" y="2825750"/>
            <a:ext cx="8178800" cy="46037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626" rIns="0" bIns="47626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E0452FC-EEFA-4677-BC70-74D2A2F4F864}" type="datetime'''A''''''u''''''''''''g''''''.'''''''''''">
              <a:rPr lang="en-US" sz="2400" b="1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ug.</a:t>
            </a:fld>
            <a:endParaRPr lang="en-US" sz="2400" b="1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17" name="Rechteck 384"/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4759325" y="3286126"/>
            <a:ext cx="790576" cy="46037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626" rIns="0" bIns="47626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1E079AB-E0FB-47FF-8C1E-A9C6E620D111}" type="datetime'''''''''''''''''''2''''''''''6'">
              <a:rPr lang="en-US" sz="2400" b="1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en-US" sz="2400" b="1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16" name="Rechteck 385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5549902" y="3286126"/>
            <a:ext cx="1847850" cy="46037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626" rIns="0" bIns="47626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3DB7CE5-01AB-4572-A1A0-7BAA09E36B97}" type="datetime'''''''''''''''''''''''''''2''''''''''7'''''">
              <a:rPr lang="en-US" sz="2400" b="1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en-US" sz="2400" b="1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15" name="Rechteck 372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7397752" y="3286126"/>
            <a:ext cx="1847850" cy="46037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626" rIns="0" bIns="47626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94030D-FD76-40F8-A041-3F6227D9563F}" type="datetime'''''''2''''''''''8'''''''''''''">
              <a:rPr lang="en-US" sz="2400" b="1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en-US" sz="2400" b="1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14" name="Rechteck 373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9245601" y="3286126"/>
            <a:ext cx="1844676" cy="46037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626" rIns="0" bIns="47626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8097823-3D50-4A5D-87A3-1C7811B604E4}" type="datetime'''''''''''''''''''''2''''''9'''">
              <a:rPr lang="en-US" sz="2400" b="1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en-US" sz="2400" b="1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13" name="Rechteck 374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11090276" y="3286126"/>
            <a:ext cx="1847850" cy="46037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626" rIns="0" bIns="47626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78980F2-0257-4429-A4E6-232083940B5E}" type="datetime'''3''''''0'''''''''''''''''''''''">
              <a:rPr lang="en-US" sz="2400" b="1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2400" b="1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12" name="Rechteck 375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12938126" y="3286126"/>
            <a:ext cx="1847850" cy="46037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626" rIns="0" bIns="47626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06399B6-2F69-4A67-BCB2-6ED81A1625C1}" type="datetime'''''''''''''''''''''''''''''''''''''3''''''''1'">
              <a:rPr lang="en-US" sz="2400" b="1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en-US" sz="2400" b="1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11" name="Rechteck 376"/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14785975" y="3286126"/>
            <a:ext cx="1844676" cy="46037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626" rIns="0" bIns="47626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C74CF52-AD61-424A-9EC6-E4C346CE972A}" type="datetime'3''''2'''''">
              <a:rPr lang="en-US" sz="2400" b="1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en-US" sz="2400" b="1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10" name="Rechteck 377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16630652" y="3286126"/>
            <a:ext cx="1847850" cy="46037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626" rIns="0" bIns="47626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798B748-51D3-4513-AAB7-94241000CA07}" type="datetime'''''''''''''''33'''''''''''''''">
              <a:rPr lang="en-US" sz="2400" b="1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3</a:t>
            </a:fld>
            <a:endParaRPr lang="en-US" sz="2400" b="1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8" name="Rechteck 378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18478502" y="3286126"/>
            <a:ext cx="1847850" cy="46037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626" rIns="0" bIns="47626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BA630F-A41C-4EC1-A535-023D2A2291F2}" type="datetime'''''''''''''''''''''3''''4'''''''''''''''''''''''''''''">
              <a:rPr lang="en-US" sz="2400" b="1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4</a:t>
            </a:fld>
            <a:endParaRPr lang="en-US" sz="2400" b="1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7" name="Rechteck 379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20326351" y="3286126"/>
            <a:ext cx="790576" cy="46037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626" rIns="0" bIns="47626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7AC4E70-6666-4CDD-ABB0-E4C0ACC4DD44}" type="datetime'''''''''''''''3''''''''''''5'''''''''''''''''''''''">
              <a:rPr lang="en-US" sz="2400" b="1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5</a:t>
            </a:fld>
            <a:endParaRPr lang="en-US" sz="2400" b="1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cxnSp>
        <p:nvCxnSpPr>
          <p:cNvPr id="25" name="Gerade Verbindung 22"/>
          <p:cNvCxnSpPr/>
          <p:nvPr>
            <p:custDataLst>
              <p:tags r:id="rId17"/>
            </p:custDataLst>
          </p:nvPr>
        </p:nvCxnSpPr>
        <p:spPr bwMode="auto">
          <a:xfrm>
            <a:off x="4759325" y="3746503"/>
            <a:ext cx="0" cy="84391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/>
          <p:nvPr>
            <p:custDataLst>
              <p:tags r:id="rId18"/>
            </p:custDataLst>
          </p:nvPr>
        </p:nvCxnSpPr>
        <p:spPr bwMode="auto">
          <a:xfrm>
            <a:off x="21116925" y="3746501"/>
            <a:ext cx="0" cy="84391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84"/>
          <p:cNvCxnSpPr/>
          <p:nvPr>
            <p:custDataLst>
              <p:tags r:id="rId19"/>
            </p:custDataLst>
          </p:nvPr>
        </p:nvCxnSpPr>
        <p:spPr bwMode="auto">
          <a:xfrm>
            <a:off x="3263901" y="3746503"/>
            <a:ext cx="0" cy="84391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4"/>
          <p:cNvCxnSpPr/>
          <p:nvPr>
            <p:custDataLst>
              <p:tags r:id="rId20"/>
            </p:custDataLst>
          </p:nvPr>
        </p:nvCxnSpPr>
        <p:spPr bwMode="auto">
          <a:xfrm>
            <a:off x="12938125" y="3746503"/>
            <a:ext cx="0" cy="843915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1"/>
          <p:cNvCxnSpPr/>
          <p:nvPr>
            <p:custDataLst>
              <p:tags r:id="rId21"/>
            </p:custDataLst>
          </p:nvPr>
        </p:nvCxnSpPr>
        <p:spPr bwMode="auto">
          <a:xfrm>
            <a:off x="20326351" y="3746503"/>
            <a:ext cx="0" cy="8439150"/>
          </a:xfrm>
          <a:prstGeom prst="line">
            <a:avLst/>
          </a:prstGeom>
          <a:ln w="3175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0"/>
          <p:cNvCxnSpPr/>
          <p:nvPr>
            <p:custDataLst>
              <p:tags r:id="rId22"/>
            </p:custDataLst>
          </p:nvPr>
        </p:nvCxnSpPr>
        <p:spPr bwMode="auto">
          <a:xfrm>
            <a:off x="18478501" y="3746503"/>
            <a:ext cx="0" cy="8439150"/>
          </a:xfrm>
          <a:prstGeom prst="line">
            <a:avLst/>
          </a:prstGeom>
          <a:ln w="3175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11"/>
          <p:cNvCxnSpPr/>
          <p:nvPr>
            <p:custDataLst>
              <p:tags r:id="rId23"/>
            </p:custDataLst>
          </p:nvPr>
        </p:nvCxnSpPr>
        <p:spPr bwMode="auto">
          <a:xfrm>
            <a:off x="16630651" y="3746503"/>
            <a:ext cx="0" cy="8439150"/>
          </a:xfrm>
          <a:prstGeom prst="line">
            <a:avLst/>
          </a:prstGeom>
          <a:ln w="3175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10"/>
          <p:cNvCxnSpPr/>
          <p:nvPr>
            <p:custDataLst>
              <p:tags r:id="rId24"/>
            </p:custDataLst>
          </p:nvPr>
        </p:nvCxnSpPr>
        <p:spPr bwMode="auto">
          <a:xfrm>
            <a:off x="14785975" y="3746503"/>
            <a:ext cx="0" cy="8439150"/>
          </a:xfrm>
          <a:prstGeom prst="line">
            <a:avLst/>
          </a:prstGeom>
          <a:ln w="3175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9"/>
          <p:cNvCxnSpPr/>
          <p:nvPr>
            <p:custDataLst>
              <p:tags r:id="rId25"/>
            </p:custDataLst>
          </p:nvPr>
        </p:nvCxnSpPr>
        <p:spPr bwMode="auto">
          <a:xfrm>
            <a:off x="11090275" y="3746503"/>
            <a:ext cx="0" cy="8439150"/>
          </a:xfrm>
          <a:prstGeom prst="line">
            <a:avLst/>
          </a:prstGeom>
          <a:ln w="3175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8"/>
          <p:cNvCxnSpPr/>
          <p:nvPr>
            <p:custDataLst>
              <p:tags r:id="rId26"/>
            </p:custDataLst>
          </p:nvPr>
        </p:nvCxnSpPr>
        <p:spPr bwMode="auto">
          <a:xfrm>
            <a:off x="9245601" y="3746503"/>
            <a:ext cx="0" cy="8439150"/>
          </a:xfrm>
          <a:prstGeom prst="line">
            <a:avLst/>
          </a:prstGeom>
          <a:ln w="3175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7"/>
          <p:cNvCxnSpPr/>
          <p:nvPr>
            <p:custDataLst>
              <p:tags r:id="rId27"/>
            </p:custDataLst>
          </p:nvPr>
        </p:nvCxnSpPr>
        <p:spPr bwMode="auto">
          <a:xfrm>
            <a:off x="7397751" y="3746503"/>
            <a:ext cx="0" cy="8439150"/>
          </a:xfrm>
          <a:prstGeom prst="line">
            <a:avLst/>
          </a:prstGeom>
          <a:ln w="3175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5"/>
          <p:cNvCxnSpPr/>
          <p:nvPr>
            <p:custDataLst>
              <p:tags r:id="rId28"/>
            </p:custDataLst>
          </p:nvPr>
        </p:nvCxnSpPr>
        <p:spPr bwMode="auto">
          <a:xfrm>
            <a:off x="5549901" y="3746503"/>
            <a:ext cx="0" cy="8439150"/>
          </a:xfrm>
          <a:prstGeom prst="line">
            <a:avLst/>
          </a:prstGeom>
          <a:ln w="3175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"/>
          <p:cNvCxnSpPr/>
          <p:nvPr>
            <p:custDataLst>
              <p:tags r:id="rId29"/>
            </p:custDataLst>
          </p:nvPr>
        </p:nvCxnSpPr>
        <p:spPr bwMode="auto">
          <a:xfrm>
            <a:off x="3263902" y="7966074"/>
            <a:ext cx="17853026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51"/>
          <p:cNvCxnSpPr/>
          <p:nvPr>
            <p:custDataLst>
              <p:tags r:id="rId30"/>
            </p:custDataLst>
          </p:nvPr>
        </p:nvCxnSpPr>
        <p:spPr bwMode="auto">
          <a:xfrm>
            <a:off x="3263902" y="12185650"/>
            <a:ext cx="17853026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50"/>
          <p:cNvCxnSpPr/>
          <p:nvPr>
            <p:custDataLst>
              <p:tags r:id="rId31"/>
            </p:custDataLst>
          </p:nvPr>
        </p:nvCxnSpPr>
        <p:spPr bwMode="auto">
          <a:xfrm>
            <a:off x="3263902" y="3746500"/>
            <a:ext cx="17853026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hteck 386"/>
          <p:cNvSpPr/>
          <p:nvPr>
            <p:custDataLst>
              <p:tags r:id="rId32"/>
            </p:custDataLst>
          </p:nvPr>
        </p:nvSpPr>
        <p:spPr bwMode="gray">
          <a:xfrm>
            <a:off x="7924802" y="5762625"/>
            <a:ext cx="4222750" cy="158750"/>
          </a:xfrm>
          <a:prstGeom prst="rect">
            <a:avLst/>
          </a:prstGeom>
          <a:solidFill>
            <a:schemeClr val="bg2"/>
          </a:solidFill>
          <a:ln w="1587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4" name="Rechteck 388"/>
          <p:cNvSpPr/>
          <p:nvPr>
            <p:custDataLst>
              <p:tags r:id="rId33"/>
            </p:custDataLst>
          </p:nvPr>
        </p:nvSpPr>
        <p:spPr bwMode="gray">
          <a:xfrm>
            <a:off x="10299702" y="8724901"/>
            <a:ext cx="4222750" cy="158750"/>
          </a:xfrm>
          <a:prstGeom prst="rect">
            <a:avLst/>
          </a:prstGeom>
          <a:solidFill>
            <a:schemeClr val="bg2"/>
          </a:solidFill>
          <a:ln w="1587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6" name="Rechteck 322"/>
          <p:cNvSpPr/>
          <p:nvPr>
            <p:custDataLst>
              <p:tags r:id="rId34"/>
            </p:custDataLst>
          </p:nvPr>
        </p:nvSpPr>
        <p:spPr bwMode="gray">
          <a:xfrm>
            <a:off x="7924801" y="4505325"/>
            <a:ext cx="5540376" cy="158750"/>
          </a:xfrm>
          <a:prstGeom prst="rect">
            <a:avLst/>
          </a:prstGeom>
          <a:solidFill>
            <a:schemeClr val="bg2"/>
          </a:solidFill>
          <a:ln w="1587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6" name="Isosceles Triangle 5"/>
          <p:cNvSpPr/>
          <p:nvPr>
            <p:custDataLst>
              <p:tags r:id="rId35"/>
            </p:custDataLst>
          </p:nvPr>
        </p:nvSpPr>
        <p:spPr bwMode="gray">
          <a:xfrm>
            <a:off x="8070851" y="9959975"/>
            <a:ext cx="238124" cy="206374"/>
          </a:xfrm>
          <a:prstGeom prst="triangle">
            <a:avLst/>
          </a:prstGeom>
          <a:solidFill>
            <a:srgbClr val="EA3800"/>
          </a:solidFill>
          <a:ln w="19050">
            <a:solidFill>
              <a:srgbClr val="EA380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indent="-360000" algn="ctr">
              <a:buClr>
                <a:schemeClr val="tx2"/>
              </a:buClr>
              <a:buFont typeface="FranklinITCBQBook" pitchFamily="2" charset="0"/>
              <a:buChar char="/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7" name="Gleichschenkliges Dreieck 390"/>
          <p:cNvSpPr/>
          <p:nvPr>
            <p:custDataLst>
              <p:tags r:id="rId36"/>
            </p:custDataLst>
          </p:nvPr>
        </p:nvSpPr>
        <p:spPr bwMode="gray">
          <a:xfrm>
            <a:off x="8070851" y="9959975"/>
            <a:ext cx="238124" cy="20637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9" name="Gleichschenkliges Dreieck 387"/>
          <p:cNvSpPr/>
          <p:nvPr>
            <p:custDataLst>
              <p:tags r:id="rId37"/>
            </p:custDataLst>
          </p:nvPr>
        </p:nvSpPr>
        <p:spPr bwMode="gray">
          <a:xfrm>
            <a:off x="14138275" y="6997701"/>
            <a:ext cx="238124" cy="206374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8" name="Gleichschenkliges Dreieck 389"/>
          <p:cNvSpPr/>
          <p:nvPr>
            <p:custDataLst>
              <p:tags r:id="rId38"/>
            </p:custDataLst>
          </p:nvPr>
        </p:nvSpPr>
        <p:spPr bwMode="gray">
          <a:xfrm>
            <a:off x="8070851" y="9959975"/>
            <a:ext cx="238124" cy="206374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41" name="Rechteck 273"/>
          <p:cNvSpPr/>
          <p:nvPr>
            <p:custDataLst>
              <p:tags r:id="rId39"/>
            </p:custDataLst>
          </p:nvPr>
        </p:nvSpPr>
        <p:spPr bwMode="auto">
          <a:xfrm>
            <a:off x="3384552" y="3333751"/>
            <a:ext cx="12541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29887F3-EB1F-4D09-9692-3B5BA8A17623}" type="datetime'''''''''T''''ä''''''''''t''i''''''''''g''k''''ei''t'''''">
              <a:rPr lang="en-US" sz="2400" b="1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Tätigkeit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42" name="Rechteck 269"/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3384551" y="11150601"/>
            <a:ext cx="73977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70DDEAD-AF59-45D9-85E8-DA4052E8DDB1}" type="datetime'L''''''''''''''''''''ab''e''''''l''''''''''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43" name="Rechteck 265"/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3384551" y="9893301"/>
            <a:ext cx="73977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B945063-F48E-4B56-A2EB-FACBD273D382}" type="datetime'''''''''L''''''''''''''''''''''''''''a''''''''b''e''''''l''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44" name="Rechteck 260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3384551" y="8636001"/>
            <a:ext cx="73977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6E8F4C4-82E1-4597-B4D7-235252571F20}" type="datetime'''''''''''''''''''''''''L''''a''''''''b''''''e''''''''''''''l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40" name="Rechteck 259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3384551" y="6931025"/>
            <a:ext cx="73977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BEC92A0-805B-4379-B302-43536A9B0328}" type="datetime'''''''''L''''''a''''''''''''''''''''b''''''''''e''''''l''''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45" name="Rechteck 258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3384551" y="5673725"/>
            <a:ext cx="73977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959F88D-56E4-4676-B69F-80381746D28F}" type="datetime'''''L''ab''''''''''''''''''''''''''''''''''''''el''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46" name="Rechteck 254"/>
          <p:cNvSpPr/>
          <p:nvPr>
            <p:custDataLst>
              <p:tags r:id="rId45"/>
            </p:custDataLst>
          </p:nvPr>
        </p:nvSpPr>
        <p:spPr bwMode="auto">
          <a:xfrm>
            <a:off x="3384551" y="4416425"/>
            <a:ext cx="73977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E16FFD3-19A5-4B1A-ACDF-1BF06BD17A89}" type="datetime'''''''''L''a''''''b''''''''''''''e''''l''''''''''''''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51" name="McK Footnote"/>
          <p:cNvSpPr txBox="1"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1) Footnote</a:t>
            </a: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Source: Source</a:t>
            </a:r>
            <a:endParaRPr lang="en-US" dirty="0">
              <a:latin typeface="Avenir Medium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30143699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3044825" y="0"/>
          <a:ext cx="317500" cy="317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0" name="think-cell Folie" r:id="rId40" imgW="360" imgH="360" progId="TCLayout.ActiveDocument.1">
                  <p:embed/>
                </p:oleObj>
              </mc:Choice>
              <mc:Fallback>
                <p:oleObj name="think-cell Folie" r:id="rId40" imgW="360" imgH="360" progId="TCLayout.ActiveDocument.1">
                  <p:embed/>
                  <p:pic>
                    <p:nvPicPr>
                      <p:cNvPr id="35" name="Objekt 34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4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4825" y="0"/>
                        <a:ext cx="317500" cy="317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48" hidden="1"/>
          <p:cNvSpPr/>
          <p:nvPr>
            <p:custDataLst>
              <p:tags r:id="rId4"/>
            </p:custDataLst>
          </p:nvPr>
        </p:nvSpPr>
        <p:spPr bwMode="auto">
          <a:xfrm>
            <a:off x="3044825" y="0"/>
            <a:ext cx="317500" cy="317500"/>
          </a:xfrm>
          <a:prstGeom prst="rect">
            <a:avLst/>
          </a:prstGeom>
          <a:solidFill>
            <a:scrgbClr r="0" g="0" b="0"/>
          </a:solidFill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8E61547-09D8-487B-8F5C-6CEFEE775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</p:spPr>
        <p:txBody>
          <a:bodyPr>
            <a:normAutofit/>
          </a:bodyPr>
          <a:lstStyle/>
          <a:p>
            <a:r>
              <a:rPr lang="en-US" dirty="0" err="1">
                <a:latin typeface="Avenir Medium"/>
              </a:rPr>
              <a:t>Diagramm</a:t>
            </a:r>
            <a:r>
              <a:rPr lang="en-US" dirty="0">
                <a:latin typeface="Avenir Medium"/>
              </a:rPr>
              <a:t> </a:t>
            </a:r>
            <a:r>
              <a:rPr lang="en-US" dirty="0" err="1">
                <a:latin typeface="Avenir Medium"/>
              </a:rPr>
              <a:t>detailliert</a:t>
            </a:r>
            <a:endParaRPr lang="de-DE" dirty="0">
              <a:latin typeface="Avenir Medium"/>
            </a:endParaRPr>
          </a:p>
        </p:txBody>
      </p:sp>
      <p:graphicFrame>
        <p:nvGraphicFramePr>
          <p:cNvPr id="2" name="Objekt 6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18373951"/>
              </p:ext>
            </p:extLst>
          </p:nvPr>
        </p:nvGraphicFramePr>
        <p:xfrm>
          <a:off x="5457823" y="4165603"/>
          <a:ext cx="6013700" cy="5994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60" name="Textplatzhalter 111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826502" y="3937000"/>
            <a:ext cx="1114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0756D9E-BD31-4498-AF7D-04DEF6002C9E}" type="datetime'''''S''''''''e''''''''''r''''''i''''''''''''''es'' 9'''''">
              <a:rPr lang="en-US" sz="2400"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 9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44" name="Textplatzhalter 105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838826" y="6146800"/>
            <a:ext cx="679450" cy="365124"/>
          </a:xfrm>
          <a:prstGeom prst="rect">
            <a:avLst/>
          </a:prstGeom>
          <a:noFill/>
          <a:effectLst/>
        </p:spPr>
        <p:txBody>
          <a:bodyPr wrap="none" lIns="44450" tIns="0" rIns="4445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A1BAC2F-F53C-4B36-B2B8-216E2A1D0CFA}" type="datetime'''''1''''''''0'''''''''''',''0'''''">
              <a:rPr lang="en-US" sz="2400">
                <a:solidFill>
                  <a:schemeClr val="bg1"/>
                </a:solidFill>
                <a:latin typeface="Avenir Medium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,0</a:t>
            </a:fld>
            <a:endParaRPr lang="en-US" sz="2400" dirty="0">
              <a:solidFill>
                <a:schemeClr val="bg1"/>
              </a:solidFill>
              <a:latin typeface="Avenir Medium"/>
              <a:sym typeface="Arial"/>
            </a:endParaRPr>
          </a:p>
        </p:txBody>
      </p:sp>
      <p:sp>
        <p:nvSpPr>
          <p:cNvPr id="58" name="Textplatzhalter 110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975352" y="4267200"/>
            <a:ext cx="1114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0215BF6-6FDE-467F-AB61-5172BE29E3A6}" type="datetime'''''S''e''''''r''ie''''s ''''''''''''8'''">
              <a:rPr lang="en-US" sz="2400">
                <a:latin typeface="Avenir Medium"/>
              </a:rPr>
              <a:pPr/>
              <a:t>Series 8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52" name="Textplatzhalter 108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899276" y="4841876"/>
            <a:ext cx="679450" cy="365124"/>
          </a:xfrm>
          <a:prstGeom prst="rect">
            <a:avLst/>
          </a:prstGeom>
          <a:noFill/>
          <a:effectLst/>
        </p:spPr>
        <p:txBody>
          <a:bodyPr wrap="none" lIns="44450" tIns="0" rIns="4445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697FD3-0569-4D35-8B99-545BFFC21D77}" type="datetime'1''''0'''''''''''''''''''',''''''''''''0'''''">
              <a:rPr lang="en-US" sz="2400">
                <a:solidFill>
                  <a:schemeClr val="bg1"/>
                </a:solidFill>
                <a:latin typeface="Avenir Medium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,0</a:t>
            </a:fld>
            <a:endParaRPr lang="en-US" sz="2400" dirty="0">
              <a:solidFill>
                <a:schemeClr val="bg1"/>
              </a:solidFill>
              <a:latin typeface="Avenir Medium"/>
              <a:sym typeface="Arial"/>
            </a:endParaRPr>
          </a:p>
        </p:txBody>
      </p:sp>
      <p:sp>
        <p:nvSpPr>
          <p:cNvPr id="51" name="Textplatzhalter 10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587876" y="5915026"/>
            <a:ext cx="1114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88600B5-3D41-4702-AEE4-86D07005D744}" type="datetime'S''''''''''''''''e''r''''''''''''ie''s'''''' ''''7'''''''">
              <a:rPr lang="en-US" sz="2400">
                <a:latin typeface="Avenir Medium"/>
              </a:rPr>
              <a:pPr/>
              <a:t>Series 7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41" name="Textplatzhalter 10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896102" y="9124950"/>
            <a:ext cx="679450" cy="365124"/>
          </a:xfrm>
          <a:prstGeom prst="rect">
            <a:avLst/>
          </a:prstGeom>
          <a:noFill/>
          <a:effectLst/>
        </p:spPr>
        <p:txBody>
          <a:bodyPr wrap="none" lIns="44450" tIns="0" rIns="4445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5B68A14-2688-4A61-A93F-64949E1E2B57}" type="datetime'''''''''''''''1''''''''0'''''',0'''''''''''''''''''''''''''''">
              <a:rPr lang="en-US" sz="2400">
                <a:latin typeface="Avenir Medium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,0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43" name="Textplatzhalter 104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838826" y="7816850"/>
            <a:ext cx="679450" cy="365124"/>
          </a:xfrm>
          <a:prstGeom prst="rect">
            <a:avLst/>
          </a:prstGeom>
          <a:noFill/>
          <a:effectLst/>
        </p:spPr>
        <p:txBody>
          <a:bodyPr wrap="none" lIns="44450" tIns="0" rIns="4445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6A395B5-A7BC-4B6C-B953-1667312306B1}" type="datetime'''1''''''''0,''''''''''''''''''''''''''''''''''0'''''''''">
              <a:rPr lang="en-US" sz="2400">
                <a:latin typeface="Avenir Medium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,0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42" name="Textplatzhalter 10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975352" y="9690100"/>
            <a:ext cx="1114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C9F059A-A2A9-4E4D-9A75-A07A074B03EE}" type="datetime'''S''er''''''''''''''''''i''es'''' ''''''''''''''''5'''''">
              <a:rPr lang="en-US" sz="2400">
                <a:latin typeface="Avenir Medium"/>
              </a:rPr>
              <a:pPr/>
              <a:t>Series 5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55" name="Textplatzhalter 109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575676" y="4479926"/>
            <a:ext cx="679450" cy="365124"/>
          </a:xfrm>
          <a:prstGeom prst="rect">
            <a:avLst/>
          </a:prstGeom>
          <a:noFill/>
          <a:effectLst/>
        </p:spPr>
        <p:txBody>
          <a:bodyPr wrap="none" lIns="44450" tIns="0" rIns="4445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4CE7214-80C6-4C13-9D67-A59AFA000997}" type="datetime'''''''''''''''1''0'''''''''''',''''''''''''''''''''''0'">
              <a:rPr lang="en-US" sz="2400">
                <a:latin typeface="Avenir Medium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,0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50" name="Textplatzhalter 106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587876" y="8042276"/>
            <a:ext cx="1114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A3B81D9-6971-49F7-9574-59B5539B4D45}" type="datetime'''''''''''S''''e''''''''''r''''''ie''''''''''''''''s ''6'''">
              <a:rPr lang="en-US" sz="2400">
                <a:latin typeface="Avenir Medium"/>
              </a:rPr>
              <a:pPr/>
              <a:t>Series 6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47" name="Rechteck 46"/>
          <p:cNvSpPr/>
          <p:nvPr>
            <p:custDataLst>
              <p:tags r:id="rId16"/>
            </p:custDataLst>
          </p:nvPr>
        </p:nvSpPr>
        <p:spPr bwMode="auto">
          <a:xfrm>
            <a:off x="8826501" y="10020300"/>
            <a:ext cx="1114424" cy="36512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28EEB71-D1C5-4457-8E5D-846E37665C09}" type="datetime'S''''''''''e''''''ri''''e''''''s'''''''''''''''''''' 4'''">
              <a:rPr lang="en-US" sz="2400">
                <a:latin typeface="Avenir 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Series 4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39" name="Rechteck 38"/>
          <p:cNvSpPr/>
          <p:nvPr>
            <p:custDataLst>
              <p:tags r:id="rId17"/>
            </p:custDataLst>
          </p:nvPr>
        </p:nvSpPr>
        <p:spPr bwMode="gray">
          <a:xfrm>
            <a:off x="8575676" y="9486900"/>
            <a:ext cx="679450" cy="36512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none" lIns="44450" tIns="0" rIns="4445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85ECB48E-EBF4-4087-859A-F17A08EA2900}" type="datetime'''''''''''''''''''''''''''''1''''''''''0,0'''''''''''">
              <a:rPr lang="en-US" sz="2400">
                <a:latin typeface="Avenir Medium"/>
              </a:rPr>
              <a:pPr/>
              <a:t>10,0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45" name="Rechteck 44"/>
          <p:cNvSpPr/>
          <p:nvPr>
            <p:custDataLst>
              <p:tags r:id="rId18"/>
            </p:custDataLst>
          </p:nvPr>
        </p:nvSpPr>
        <p:spPr bwMode="auto">
          <a:xfrm>
            <a:off x="10712451" y="8997950"/>
            <a:ext cx="1114424" cy="36512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7C05B17-2583-461D-9352-D5B5A626B973}" type="datetime'S''''''''e''r''i''''e''s'''''' ''''3'">
              <a:rPr lang="en-US" sz="2400">
                <a:latin typeface="Avenir 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Series 3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37" name="Rechteck 36"/>
          <p:cNvSpPr/>
          <p:nvPr>
            <p:custDataLst>
              <p:tags r:id="rId19"/>
            </p:custDataLst>
          </p:nvPr>
        </p:nvSpPr>
        <p:spPr bwMode="gray">
          <a:xfrm>
            <a:off x="10004426" y="8550276"/>
            <a:ext cx="679450" cy="36512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none" lIns="44450" tIns="0" rIns="4445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150B4ED6-A6DC-4900-89F9-85F673C9065D}" type="datetime'1''''''''''''''0'''''''''''''''''''''''''',''''''''0'''''''">
              <a:rPr lang="en-US" sz="2400">
                <a:latin typeface="Avenir Medium"/>
              </a:rPr>
              <a:pPr/>
              <a:t>10,0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48" name="Rechteck 47"/>
          <p:cNvSpPr/>
          <p:nvPr>
            <p:custDataLst>
              <p:tags r:id="rId20"/>
            </p:custDataLst>
          </p:nvPr>
        </p:nvSpPr>
        <p:spPr bwMode="auto">
          <a:xfrm>
            <a:off x="11395075" y="6981824"/>
            <a:ext cx="1114424" cy="36512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0B99304-B4A5-4562-8045-A57E4ADAA4AB}" type="datetime'''S''e''''''r''''''''''''i''''''es'''' ''''''''2'''''''''''">
              <a:rPr lang="en-US" sz="2400">
                <a:latin typeface="Avenir 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Series 2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40" name="Rechteck 39"/>
          <p:cNvSpPr/>
          <p:nvPr>
            <p:custDataLst>
              <p:tags r:id="rId21"/>
            </p:custDataLst>
          </p:nvPr>
        </p:nvSpPr>
        <p:spPr bwMode="gray">
          <a:xfrm>
            <a:off x="10617202" y="6981824"/>
            <a:ext cx="679450" cy="36512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none" lIns="44450" tIns="0" rIns="4445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952AE3E8-241B-4471-A2D7-AD012CC49A51}" type="datetime'1''''0,''''''''''''''0'''''''''''''''''">
              <a:rPr lang="en-US" sz="2400">
                <a:latin typeface="Avenir Medium"/>
              </a:rPr>
              <a:pPr/>
              <a:t>10,0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46" name="Rechteck 45"/>
          <p:cNvSpPr/>
          <p:nvPr>
            <p:custDataLst>
              <p:tags r:id="rId22"/>
            </p:custDataLst>
          </p:nvPr>
        </p:nvSpPr>
        <p:spPr bwMode="auto">
          <a:xfrm>
            <a:off x="10709275" y="4959350"/>
            <a:ext cx="1114424" cy="36512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81EF253-588B-4CF0-BB98-8E3CB505A713}" type="datetime'''''''''''''''''''''S''''er''''ie''s'''''''''''''' ''''1'''">
              <a:rPr lang="en-US" sz="2400">
                <a:latin typeface="Avenir 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Series 1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38" name="Rechteck 37"/>
          <p:cNvSpPr/>
          <p:nvPr>
            <p:custDataLst>
              <p:tags r:id="rId23"/>
            </p:custDataLst>
          </p:nvPr>
        </p:nvSpPr>
        <p:spPr bwMode="gray">
          <a:xfrm>
            <a:off x="10004426" y="5413376"/>
            <a:ext cx="679450" cy="36512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none" lIns="44450" tIns="0" rIns="4445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E2BDBBC4-D02A-4CB3-98B4-312435F7D0D4}" type="datetime'''''''''''''''1''''''0'''''''''''''''''',''''''''''0'''''''">
              <a:rPr lang="en-US" sz="2400">
                <a:solidFill>
                  <a:schemeClr val="bg1"/>
                </a:solidFill>
                <a:latin typeface="Avenir Medium"/>
              </a:rPr>
              <a:pPr/>
              <a:t>10,0</a:t>
            </a:fld>
            <a:endParaRPr lang="en-US" sz="2400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cxnSp>
        <p:nvCxnSpPr>
          <p:cNvPr id="33" name="Gerade Verbindung 32"/>
          <p:cNvCxnSpPr/>
          <p:nvPr>
            <p:custDataLst>
              <p:tags r:id="rId24"/>
            </p:custDataLst>
          </p:nvPr>
        </p:nvCxnSpPr>
        <p:spPr bwMode="gray">
          <a:xfrm flipH="1">
            <a:off x="11122026" y="3657601"/>
            <a:ext cx="4933950" cy="2533650"/>
          </a:xfrm>
          <a:prstGeom prst="line">
            <a:avLst/>
          </a:prstGeom>
          <a:ln w="3175">
            <a:solidFill>
              <a:srgbClr val="7F7F7F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>
            <p:custDataLst>
              <p:tags r:id="rId25"/>
            </p:custDataLst>
          </p:nvPr>
        </p:nvCxnSpPr>
        <p:spPr bwMode="gray">
          <a:xfrm flipH="1" flipV="1">
            <a:off x="11122026" y="8134350"/>
            <a:ext cx="4933950" cy="3200400"/>
          </a:xfrm>
          <a:prstGeom prst="line">
            <a:avLst/>
          </a:prstGeom>
          <a:ln w="3175">
            <a:solidFill>
              <a:srgbClr val="7F7F7F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kt 2"/>
          <p:cNvGraphicFramePr>
            <a:graphicFrameLocks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161219662"/>
              </p:ext>
            </p:extLst>
          </p:nvPr>
        </p:nvGraphicFramePr>
        <p:xfrm>
          <a:off x="14627226" y="3429000"/>
          <a:ext cx="4533990" cy="80961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1" name="Chart" r:id="rId43" imgW="2267039" imgH="4048057" progId="MSGraph.Chart.8">
                  <p:embed followColorScheme="full"/>
                </p:oleObj>
              </mc:Choice>
              <mc:Fallback>
                <p:oleObj name="Chart" r:id="rId43" imgW="2267039" imgH="4048057" progId="MSGraph.Chart.8">
                  <p:embed followColorScheme="full"/>
                  <p:pic>
                    <p:nvPicPr>
                      <p:cNvPr id="3" name="Objekt 2"/>
                      <p:cNvPicPr>
                        <a:picLocks noChangeArrowheads="1"/>
                      </p:cNvPicPr>
                      <p:nvPr/>
                    </p:nvPicPr>
                    <p:blipFill>
                      <a:blip r:embed="rId4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27226" y="3429000"/>
                        <a:ext cx="4533990" cy="809614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Gerade Verbindung 10"/>
          <p:cNvCxnSpPr/>
          <p:nvPr>
            <p:custDataLst>
              <p:tags r:id="rId27"/>
            </p:custDataLst>
          </p:nvPr>
        </p:nvCxnSpPr>
        <p:spPr bwMode="auto">
          <a:xfrm flipH="1">
            <a:off x="17872075" y="3657600"/>
            <a:ext cx="4064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>
            <p:custDataLst>
              <p:tags r:id="rId28"/>
            </p:custDataLst>
          </p:nvPr>
        </p:nvSpPr>
        <p:spPr bwMode="gray">
          <a:xfrm>
            <a:off x="16659226" y="9067800"/>
            <a:ext cx="511174" cy="36512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none" lIns="44450" tIns="0" rIns="4445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764256F0-9FBC-4D93-8E68-4DEFD79A3F6E}" type="datetime'''''''4'',''''''''''''''3'''''''''''''''''''''''''''''''''''''">
              <a:rPr lang="en-US" sz="2400">
                <a:latin typeface="Avenir Medium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4,3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56" name="Rechteck 55"/>
          <p:cNvSpPr/>
          <p:nvPr>
            <p:custDataLst>
              <p:tags r:id="rId29"/>
            </p:custDataLst>
          </p:nvPr>
        </p:nvSpPr>
        <p:spPr bwMode="gray">
          <a:xfrm>
            <a:off x="16659226" y="5810250"/>
            <a:ext cx="511174" cy="36512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none" lIns="44450" tIns="0" rIns="4445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3B649582-315D-43A0-A279-9F36F08D8019}" type="datetime'''''''2'''''''''''''''''''''''''''''''''''',4'''''''''''">
              <a:rPr lang="en-US" sz="2400">
                <a:latin typeface="Avenir Medium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2,4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57" name="Rechteck 56"/>
          <p:cNvSpPr/>
          <p:nvPr>
            <p:custDataLst>
              <p:tags r:id="rId30"/>
            </p:custDataLst>
          </p:nvPr>
        </p:nvSpPr>
        <p:spPr bwMode="auto">
          <a:xfrm>
            <a:off x="16376652" y="11512550"/>
            <a:ext cx="1076326" cy="36512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5A870F0F-8D3B-4705-916E-74B33C17EB6A}" type="datetime'''''''L''''''a''bel'''''''''' ''''''''''''''''''''''''''''1'''">
              <a:rPr lang="en-US" sz="2400" b="1">
                <a:latin typeface="Avenir Medium"/>
                <a:sym typeface="+mn-lt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Label 1</a:t>
            </a:fld>
            <a:endParaRPr lang="en-US" sz="2400" b="1" dirty="0">
              <a:latin typeface="Avenir Medium"/>
              <a:sym typeface="+mn-lt"/>
            </a:endParaRPr>
          </a:p>
        </p:txBody>
      </p:sp>
      <p:sp>
        <p:nvSpPr>
          <p:cNvPr id="53" name="Rechteck 52"/>
          <p:cNvSpPr/>
          <p:nvPr>
            <p:custDataLst>
              <p:tags r:id="rId31"/>
            </p:custDataLst>
          </p:nvPr>
        </p:nvSpPr>
        <p:spPr bwMode="gray">
          <a:xfrm>
            <a:off x="16617952" y="3181351"/>
            <a:ext cx="593726" cy="425450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none" lIns="50800" tIns="0" rIns="508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D6E1C07F-F49A-4D4F-B3C3-D29F51E12A99}" type="datetime'''''''''''''''''''''''''''''''7'''''''',''''''9'''">
              <a:rPr lang="en-US" sz="2800" b="1">
                <a:latin typeface="Avenir Medium"/>
                <a:sym typeface="+mn-lt"/>
              </a:rPr>
              <a:pPr/>
              <a:t>7,9</a:t>
            </a:fld>
            <a:endParaRPr lang="en-US" sz="2800" b="1" dirty="0">
              <a:latin typeface="Avenir Medium"/>
              <a:sym typeface="+mn-lt"/>
            </a:endParaRPr>
          </a:p>
        </p:txBody>
      </p:sp>
      <p:sp>
        <p:nvSpPr>
          <p:cNvPr id="74" name="Rechteck 73"/>
          <p:cNvSpPr/>
          <p:nvPr>
            <p:custDataLst>
              <p:tags r:id="rId32"/>
            </p:custDataLst>
          </p:nvPr>
        </p:nvSpPr>
        <p:spPr bwMode="auto">
          <a:xfrm>
            <a:off x="18014951" y="4057650"/>
            <a:ext cx="1114424" cy="36512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9F94BA-B095-4622-83D0-53477128B379}" type="datetime'S''''''''e''''r''i''''e''s'''''' 1'''">
              <a:rPr lang="en-US" sz="2400">
                <a:latin typeface="Avenir 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Series 1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62" name="Rechteck 61"/>
          <p:cNvSpPr/>
          <p:nvPr>
            <p:custDataLst>
              <p:tags r:id="rId33"/>
            </p:custDataLst>
          </p:nvPr>
        </p:nvSpPr>
        <p:spPr bwMode="auto">
          <a:xfrm>
            <a:off x="18014951" y="9067800"/>
            <a:ext cx="1114424" cy="36512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76FEC4D-F3AC-40D3-A0BB-A05865BD0D36}" type="datetime'''''''''''''Se''''''r''''''''i''''''''es 4'''''''''">
              <a:rPr lang="en-US" sz="2400">
                <a:latin typeface="Avenir 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Series 4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70" name="Rechteck 69"/>
          <p:cNvSpPr/>
          <p:nvPr>
            <p:custDataLst>
              <p:tags r:id="rId34"/>
            </p:custDataLst>
          </p:nvPr>
        </p:nvSpPr>
        <p:spPr bwMode="auto">
          <a:xfrm>
            <a:off x="18380075" y="3476624"/>
            <a:ext cx="774700" cy="36512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636E02C-11E5-47A8-AB64-E35D20E4F54F}" type="datetime'''''1''''''0''''''''''''''''''0''''''''%'''''''''''''''''">
              <a:rPr lang="en-US" sz="2400">
                <a:latin typeface="Avenir 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0%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59" name="Rechteck 58"/>
          <p:cNvSpPr/>
          <p:nvPr>
            <p:custDataLst>
              <p:tags r:id="rId35"/>
            </p:custDataLst>
          </p:nvPr>
        </p:nvSpPr>
        <p:spPr bwMode="gray">
          <a:xfrm>
            <a:off x="16659226" y="4057650"/>
            <a:ext cx="511174" cy="36512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none" lIns="44450" tIns="0" rIns="4445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58CFE5DB-158E-4BD8-989C-1477603094DA}" type="datetime'1'''''''''''''''''',''''''''2'''''''''''''">
              <a:rPr lang="en-US" sz="2400">
                <a:solidFill>
                  <a:schemeClr val="bg1"/>
                </a:solidFill>
                <a:latin typeface="Avenir Medium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1,2</a:t>
            </a:fld>
            <a:endParaRPr lang="en-US" sz="2400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75" name="Rechteck 74"/>
          <p:cNvSpPr/>
          <p:nvPr>
            <p:custDataLst>
              <p:tags r:id="rId36"/>
            </p:custDataLst>
          </p:nvPr>
        </p:nvSpPr>
        <p:spPr bwMode="auto">
          <a:xfrm>
            <a:off x="18014951" y="5810250"/>
            <a:ext cx="1114424" cy="365124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C93F00A-C32E-4FBA-BE71-27BE998B3C8C}" type="datetime'''''''Se''ri''''''''''''''''''e''''''s'''''''' ''3'''''''''''">
              <a:rPr lang="en-US" sz="2400">
                <a:latin typeface="Avenir 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Series 3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64" name="McK Footnote"/>
          <p:cNvSpPr txBox="1"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1) Footnote</a:t>
            </a: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Source: Source</a:t>
            </a:r>
            <a:endParaRPr lang="en-US" dirty="0">
              <a:latin typeface="Avenir Medium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47295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2933F988-F595-4B2E-B87F-94B546618DF4}"/>
              </a:ext>
            </a:extLst>
          </p:cNvPr>
          <p:cNvSpPr/>
          <p:nvPr/>
        </p:nvSpPr>
        <p:spPr>
          <a:xfrm>
            <a:off x="0" y="0"/>
            <a:ext cx="24377650" cy="13697952"/>
          </a:xfrm>
          <a:prstGeom prst="rect">
            <a:avLst/>
          </a:prstGeom>
          <a:solidFill>
            <a:srgbClr val="0A62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0950639-E8FB-47A6-892C-0C5228D85F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6857" y="-1"/>
            <a:ext cx="18263937" cy="1369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387001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0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25" name="Objekt 2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0" y="3177"/>
                        <a:ext cx="3174" cy="31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 hidden="1"/>
          <p:cNvSpPr/>
          <p:nvPr>
            <p:custDataLst>
              <p:tags r:id="rId4"/>
            </p:custDataLst>
          </p:nvPr>
        </p:nvSpPr>
        <p:spPr bwMode="auto">
          <a:xfrm>
            <a:off x="3044825" y="0"/>
            <a:ext cx="317500" cy="3175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F45E5BA-1FB4-43C9-9365-9005C2FE1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>
                <a:latin typeface="Avenir Medium"/>
              </a:rPr>
              <a:t>Säulen</a:t>
            </a:r>
            <a:r>
              <a:rPr lang="en-US" dirty="0">
                <a:latin typeface="Avenir Medium"/>
              </a:rPr>
              <a:t> und </a:t>
            </a:r>
            <a:r>
              <a:rPr lang="en-US" dirty="0" err="1">
                <a:latin typeface="Avenir Medium"/>
              </a:rPr>
              <a:t>Linie</a:t>
            </a:r>
            <a:r>
              <a:rPr lang="en-US" dirty="0">
                <a:latin typeface="Avenir Medium"/>
              </a:rPr>
              <a:t> </a:t>
            </a:r>
            <a:r>
              <a:rPr lang="en-US" dirty="0" err="1">
                <a:latin typeface="Avenir Medium"/>
              </a:rPr>
              <a:t>kombiniert</a:t>
            </a:r>
            <a:endParaRPr lang="de-DE" dirty="0">
              <a:latin typeface="Avenir Medium"/>
            </a:endParaRPr>
          </a:p>
        </p:txBody>
      </p:sp>
      <p:graphicFrame>
        <p:nvGraphicFramePr>
          <p:cNvPr id="2" name="Objekt 278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04648076"/>
              </p:ext>
            </p:extLst>
          </p:nvPr>
        </p:nvGraphicFramePr>
        <p:xfrm>
          <a:off x="4391025" y="3937000"/>
          <a:ext cx="13176012" cy="7537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9" name="Rechteck 293"/>
          <p:cNvSpPr/>
          <p:nvPr>
            <p:custDataLst>
              <p:tags r:id="rId6"/>
            </p:custDataLst>
          </p:nvPr>
        </p:nvSpPr>
        <p:spPr bwMode="auto">
          <a:xfrm>
            <a:off x="14935201" y="11512551"/>
            <a:ext cx="698500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5CAD3CF-118B-4081-BBB6-B625CEF8B367}" type="datetime'''''''''''''''''''''2''''0''''1''''''3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0" name="Rechteck 296"/>
          <p:cNvSpPr/>
          <p:nvPr>
            <p:custDataLst>
              <p:tags r:id="rId7"/>
            </p:custDataLst>
          </p:nvPr>
        </p:nvSpPr>
        <p:spPr bwMode="gray">
          <a:xfrm>
            <a:off x="15036801" y="3638551"/>
            <a:ext cx="495300" cy="42545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0800" tIns="0" rIns="508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E19906A-9802-44BC-ACB5-FA9F7C1D29AA}" type="datetime'''''''''4''''''''''''''2'''''''">
              <a:rPr lang="en-US" sz="28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2</a:t>
            </a:fld>
            <a:endParaRPr lang="en-US" sz="28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2" name="Rechteck 292"/>
          <p:cNvSpPr/>
          <p:nvPr>
            <p:custDataLst>
              <p:tags r:id="rId8"/>
            </p:custDataLst>
          </p:nvPr>
        </p:nvSpPr>
        <p:spPr bwMode="auto">
          <a:xfrm>
            <a:off x="10648951" y="11512551"/>
            <a:ext cx="698500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0989F27-BD7D-4C71-A909-FCA2A9E67BD2}" type="datetime'''2''''''''''''0''''''1''''''''''''''2''''''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3" name="Rechteck 295"/>
          <p:cNvSpPr/>
          <p:nvPr>
            <p:custDataLst>
              <p:tags r:id="rId9"/>
            </p:custDataLst>
          </p:nvPr>
        </p:nvSpPr>
        <p:spPr bwMode="gray">
          <a:xfrm>
            <a:off x="10750551" y="6553201"/>
            <a:ext cx="495300" cy="42545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0800" tIns="0" rIns="508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E83EE3-DD76-4B8C-AEE0-B2864CAC8A0F}" type="datetime'''''''''''''''''''''''''2''''''5'''''''''''''''''''">
              <a:rPr lang="en-US" sz="28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sz="28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5" name="Rechteck 291"/>
          <p:cNvSpPr/>
          <p:nvPr>
            <p:custDataLst>
              <p:tags r:id="rId10"/>
            </p:custDataLst>
          </p:nvPr>
        </p:nvSpPr>
        <p:spPr bwMode="auto">
          <a:xfrm>
            <a:off x="6372226" y="11512551"/>
            <a:ext cx="6826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2CD93A4-FC17-4E51-BB25-A94F9DA1EDF9}" type="datetime'''''''''''''''''''''''2''''''0''''''''1''''1''''''''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6" name="Rechteck 294"/>
          <p:cNvSpPr/>
          <p:nvPr>
            <p:custDataLst>
              <p:tags r:id="rId11"/>
            </p:custDataLst>
          </p:nvPr>
        </p:nvSpPr>
        <p:spPr bwMode="gray">
          <a:xfrm>
            <a:off x="6464301" y="7791451"/>
            <a:ext cx="495300" cy="42545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0800" tIns="0" rIns="508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2B23AC2-CE20-42E8-97D9-51F5F4BBA0C3}" type="datetime'''''''''''1''''''''''''''8'''''''''">
              <a:rPr lang="en-US" sz="2800" b="1">
                <a:solidFill>
                  <a:schemeClr val="tx1"/>
                </a:solidFill>
                <a:latin typeface="Avenir Medium"/>
                <a:sym typeface="+mn-lt"/>
              </a:rPr>
              <a:pPr/>
              <a:t>18</a:t>
            </a:fld>
            <a:endParaRPr lang="en-US" sz="28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9" name="Rechteck 18"/>
          <p:cNvSpPr/>
          <p:nvPr>
            <p:custDataLst>
              <p:tags r:id="rId12"/>
            </p:custDataLst>
          </p:nvPr>
        </p:nvSpPr>
        <p:spPr bwMode="auto">
          <a:xfrm>
            <a:off x="18586452" y="4803777"/>
            <a:ext cx="428626" cy="3206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indent="-358776" algn="ctr">
              <a:buClr>
                <a:schemeClr val="tx2"/>
              </a:buClr>
              <a:buFont typeface="Arial" pitchFamily="34" charset="0"/>
              <a:buChar char="/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0" name="Rechteck 19"/>
          <p:cNvSpPr/>
          <p:nvPr>
            <p:custDataLst>
              <p:tags r:id="rId13"/>
            </p:custDataLst>
          </p:nvPr>
        </p:nvSpPr>
        <p:spPr bwMode="auto">
          <a:xfrm>
            <a:off x="18586452" y="5270501"/>
            <a:ext cx="428626" cy="32067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indent="-358776" algn="ctr">
              <a:buClr>
                <a:schemeClr val="tx2"/>
              </a:buClr>
              <a:buFont typeface="Arial" pitchFamily="34" charset="0"/>
              <a:buChar char="/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cxnSp>
        <p:nvCxnSpPr>
          <p:cNvPr id="18" name="Gerade Verbindung 17"/>
          <p:cNvCxnSpPr/>
          <p:nvPr>
            <p:custDataLst>
              <p:tags r:id="rId14"/>
            </p:custDataLst>
          </p:nvPr>
        </p:nvCxnSpPr>
        <p:spPr bwMode="gray">
          <a:xfrm>
            <a:off x="18357852" y="4495800"/>
            <a:ext cx="657226" cy="0"/>
          </a:xfrm>
          <a:prstGeom prst="line">
            <a:avLst/>
          </a:prstGeom>
          <a:ln w="2857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/>
          <p:cNvSpPr/>
          <p:nvPr>
            <p:custDataLst>
              <p:tags r:id="rId15"/>
            </p:custDataLst>
          </p:nvPr>
        </p:nvSpPr>
        <p:spPr bwMode="auto">
          <a:xfrm>
            <a:off x="19116676" y="5260977"/>
            <a:ext cx="70802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AC3F4499-AE72-4E40-8690-7EAD66016917}" type="datetime'''''''S''''''''e''''''r''''''''ie''''''''''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Serie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1" name="Rechteck 20"/>
          <p:cNvSpPr/>
          <p:nvPr>
            <p:custDataLst>
              <p:tags r:id="rId16"/>
            </p:custDataLst>
          </p:nvPr>
        </p:nvSpPr>
        <p:spPr bwMode="auto">
          <a:xfrm>
            <a:off x="19116676" y="4794251"/>
            <a:ext cx="70802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30E5626B-93BB-41D6-AAF3-1B3CE7AB6318}" type="datetime'''''S''''''''''''e''''''r''i''e''''''''''''''''''''''''''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Serie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2" name="Rechteck 21"/>
          <p:cNvSpPr/>
          <p:nvPr>
            <p:custDataLst>
              <p:tags r:id="rId17"/>
            </p:custDataLst>
          </p:nvPr>
        </p:nvSpPr>
        <p:spPr bwMode="auto">
          <a:xfrm>
            <a:off x="19116676" y="4327527"/>
            <a:ext cx="70802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04070354-68EE-4452-BA8F-641345919D9C}" type="datetime'''''''''S''''e''''r''''''''''''''''''i''''''''''''''''e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Serie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8" name="McK Footnote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1) Footnote</a:t>
            </a: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Source: Source</a:t>
            </a:r>
            <a:endParaRPr lang="en-US" dirty="0">
              <a:latin typeface="Avenir Medium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98932004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0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Folie" r:id="rId47" imgW="360" imgH="360" progId="TCLayout.ActiveDocument.1">
                  <p:embed/>
                </p:oleObj>
              </mc:Choice>
              <mc:Fallback>
                <p:oleObj name="think-cell Folie" r:id="rId47" imgW="360" imgH="360" progId="TCLayout.ActiveDocument.1">
                  <p:embed/>
                  <p:pic>
                    <p:nvPicPr>
                      <p:cNvPr id="40" name="Objek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0" y="3177"/>
                        <a:ext cx="3174" cy="31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hteck 38" hidden="1"/>
          <p:cNvSpPr/>
          <p:nvPr>
            <p:custDataLst>
              <p:tags r:id="rId4"/>
            </p:custDataLst>
          </p:nvPr>
        </p:nvSpPr>
        <p:spPr bwMode="auto">
          <a:xfrm>
            <a:off x="3044825" y="0"/>
            <a:ext cx="317500" cy="3175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endParaRPr lang="en-US" sz="24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A8CA8ED-E751-4EC0-8189-9A5AA0341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>
              <a:latin typeface="Avenir Medium"/>
            </a:endParaRPr>
          </a:p>
        </p:txBody>
      </p:sp>
      <p:graphicFrame>
        <p:nvGraphicFramePr>
          <p:cNvPr id="2" name="Objekt 224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14397696"/>
              </p:ext>
            </p:extLst>
          </p:nvPr>
        </p:nvGraphicFramePr>
        <p:xfrm>
          <a:off x="5457826" y="3860801"/>
          <a:ext cx="13081026" cy="76134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32" name="Rechteck 31"/>
          <p:cNvSpPr/>
          <p:nvPr>
            <p:custDataLst>
              <p:tags r:id="rId6"/>
            </p:custDataLst>
          </p:nvPr>
        </p:nvSpPr>
        <p:spPr bwMode="gray">
          <a:xfrm>
            <a:off x="544512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B308E2E4-66A9-4044-8F1D-EFBC63618FBE}" type="datetime'''''''''''''''''''''''0'''''',''''''''''''''''0''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0,0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50" name="Textplatzhalter 1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92701" y="490537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8BD6868-AB13-4709-9952-C3541617D74B}" type="datetime'3'''''',''''''''''''''''''''''''''''''''''''''''''''''0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,0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49" name="Textplatzhalter 1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092701" y="593407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CF68983-9E10-4DC5-9231-2EE27F6F28E0}" type="datetime'''''''''''''''''2'''''''''',''''5''''''''''''''''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,5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48" name="Textplatzhalter 1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092701" y="698182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9FA9E2CA-6124-48D8-8350-897C5DD4534A}" type="datetime'''''''''''''''''2'''''''''''''',''''''''0''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,0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47" name="Textplatzhalter 1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092701" y="802957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9D77EFC3-4B74-4A1F-AB19-78FFA72366D2}" type="datetime'''''''''''''''1,''''''''''''''''''''''''5''''''''''''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5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46" name="Textplatzhalter 1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092701" y="907732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4A6F73F0-2285-43A3-A84C-ABA5329BA628}" type="datetime'1'''''''''''',''''''''''''''''''''''''''''''''''0''''''''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45" name="Textplatzhalter 1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092701" y="1010602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41313107-23EC-4A6D-A1D0-B2D980F30F68}" type="datetime'''''''''0,''''''''''''''''''''''''''''''''''5''''''''''''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,5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44" name="Textplatzhalter 1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092701" y="1115377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F80251D-746C-45FD-97DC-488F41EAB42C}" type="datetime'''''''''''0'''''''''',''''''0''''''''''''''''''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,0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17" name="Rechteck 16"/>
          <p:cNvSpPr/>
          <p:nvPr>
            <p:custDataLst>
              <p:tags r:id="rId14"/>
            </p:custDataLst>
          </p:nvPr>
        </p:nvSpPr>
        <p:spPr bwMode="gray">
          <a:xfrm>
            <a:off x="1338897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76C9DE1E-6846-4156-89B6-12683DFF01FF}" type="datetime'''''1'''',''''''''''''5''''''''''''''''''''''''''''''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1,5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33" name="Rechteck 32"/>
          <p:cNvSpPr/>
          <p:nvPr>
            <p:custDataLst>
              <p:tags r:id="rId15"/>
            </p:custDataLst>
          </p:nvPr>
        </p:nvSpPr>
        <p:spPr bwMode="gray">
          <a:xfrm>
            <a:off x="1817052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E36BBF94-B7EE-45CF-B72E-C67CA4181B6F}" type="datetime'''''2,''''''''''''''''''''''4''''''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2,4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9" name="Rechteck 8"/>
          <p:cNvSpPr/>
          <p:nvPr>
            <p:custDataLst>
              <p:tags r:id="rId16"/>
            </p:custDataLst>
          </p:nvPr>
        </p:nvSpPr>
        <p:spPr bwMode="gray">
          <a:xfrm>
            <a:off x="1763712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E8F2DB48-357C-4DDD-96C9-C82202119A9B}" type="datetime'''''''''''''2'''''''''''''''''''''''',''3''''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2,3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0" name="Rechteck 9"/>
          <p:cNvSpPr/>
          <p:nvPr>
            <p:custDataLst>
              <p:tags r:id="rId17"/>
            </p:custDataLst>
          </p:nvPr>
        </p:nvSpPr>
        <p:spPr bwMode="gray">
          <a:xfrm>
            <a:off x="1710372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120467DA-D239-4C72-8B04-3408D960D111}" type="datetime'''''''''''''''''''''''2'''''''''',2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2,2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1" name="Rechteck 10"/>
          <p:cNvSpPr/>
          <p:nvPr>
            <p:custDataLst>
              <p:tags r:id="rId18"/>
            </p:custDataLst>
          </p:nvPr>
        </p:nvSpPr>
        <p:spPr bwMode="gray">
          <a:xfrm>
            <a:off x="1657032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B0D53046-7D14-4FA7-82A2-D8F9F3D2AF76}" type="datetime'''''''''''''''''''''''2'',''''''1''''''''''''''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2,1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2" name="Rechteck 11"/>
          <p:cNvSpPr/>
          <p:nvPr>
            <p:custDataLst>
              <p:tags r:id="rId19"/>
            </p:custDataLst>
          </p:nvPr>
        </p:nvSpPr>
        <p:spPr bwMode="gray">
          <a:xfrm>
            <a:off x="1605597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EB15E22C-449A-4BA4-8057-4A1B7F85976C}" type="datetime'''''2'''''''''''''''',''''0''''''''''''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2,0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3" name="Rechteck 12"/>
          <p:cNvSpPr/>
          <p:nvPr>
            <p:custDataLst>
              <p:tags r:id="rId20"/>
            </p:custDataLst>
          </p:nvPr>
        </p:nvSpPr>
        <p:spPr bwMode="gray">
          <a:xfrm>
            <a:off x="1552257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4E90C2F9-F4B1-4081-842E-736F76757BDC}" type="datetime'''''''''1'''''''''''''''''''''''''''''''',9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1,9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4" name="Rechteck 13"/>
          <p:cNvSpPr/>
          <p:nvPr>
            <p:custDataLst>
              <p:tags r:id="rId21"/>
            </p:custDataLst>
          </p:nvPr>
        </p:nvSpPr>
        <p:spPr bwMode="gray">
          <a:xfrm>
            <a:off x="1498917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00963360-1E2C-4559-912D-65B8B7F59620}" type="datetime'''''''1'''''''''''''''',''''8''''''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1,8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5" name="Rechteck 14"/>
          <p:cNvSpPr/>
          <p:nvPr>
            <p:custDataLst>
              <p:tags r:id="rId22"/>
            </p:custDataLst>
          </p:nvPr>
        </p:nvSpPr>
        <p:spPr bwMode="gray">
          <a:xfrm>
            <a:off x="1445577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45572E2C-6488-48C0-8570-6403B66B05BE}" type="datetime'''''''''''''1'''''''''''''''''''''''''',''7''''''''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1,7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6" name="Rechteck 15"/>
          <p:cNvSpPr/>
          <p:nvPr>
            <p:custDataLst>
              <p:tags r:id="rId23"/>
            </p:custDataLst>
          </p:nvPr>
        </p:nvSpPr>
        <p:spPr bwMode="gray">
          <a:xfrm>
            <a:off x="1392237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31E89D71-5482-4B28-947D-5E5D030B99ED}" type="datetime'''''''''1'''''''''''''''''''''''''',''''''6''''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1,6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51" name="Textplatzhalter 1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092701" y="385762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FE7A1216-D66C-4732-90BA-18938E9259C9}" type="datetime'3'''''''''''''',''''''5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,5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18" name="Rechteck 17"/>
          <p:cNvSpPr/>
          <p:nvPr>
            <p:custDataLst>
              <p:tags r:id="rId25"/>
            </p:custDataLst>
          </p:nvPr>
        </p:nvSpPr>
        <p:spPr bwMode="gray">
          <a:xfrm>
            <a:off x="1287462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F051AADA-4488-4572-91C4-4159168A72A7}" type="datetime'''''1'''''''''''''''''''''''''''''''''''''''''',''''4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1,4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9" name="Rechteck 18"/>
          <p:cNvSpPr/>
          <p:nvPr>
            <p:custDataLst>
              <p:tags r:id="rId26"/>
            </p:custDataLst>
          </p:nvPr>
        </p:nvSpPr>
        <p:spPr bwMode="gray">
          <a:xfrm>
            <a:off x="1234122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7AFD8615-D7F1-4EA9-A116-5EC6A967C3C3}" type="datetime'''''''''''''''''''1'''',3''''''''''''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1,3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0" name="Rechteck 19"/>
          <p:cNvSpPr/>
          <p:nvPr>
            <p:custDataLst>
              <p:tags r:id="rId27"/>
            </p:custDataLst>
          </p:nvPr>
        </p:nvSpPr>
        <p:spPr bwMode="gray">
          <a:xfrm>
            <a:off x="1180782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ECEE5FE2-C662-4108-A799-AB8E4C8C7722}" type="datetime'''''''''''1,''2''''''''''''''''''''''''''''''''''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1,2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1" name="Rechteck 20"/>
          <p:cNvSpPr/>
          <p:nvPr>
            <p:custDataLst>
              <p:tags r:id="rId28"/>
            </p:custDataLst>
          </p:nvPr>
        </p:nvSpPr>
        <p:spPr bwMode="gray">
          <a:xfrm>
            <a:off x="1127442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2C38FA25-69EE-4388-83D1-386D2FCBD1D2}" type="datetime'''1'',''''''''''''''''''1''''''''''''''''''''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1,1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2" name="Rechteck 21"/>
          <p:cNvSpPr/>
          <p:nvPr>
            <p:custDataLst>
              <p:tags r:id="rId29"/>
            </p:custDataLst>
          </p:nvPr>
        </p:nvSpPr>
        <p:spPr bwMode="gray">
          <a:xfrm>
            <a:off x="1074102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05C5C90D-607B-46B9-ADF1-F9AA45BC7C47}" type="datetime'1'''',''''''''''''''0''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1,0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3" name="Rechteck 22"/>
          <p:cNvSpPr/>
          <p:nvPr>
            <p:custDataLst>
              <p:tags r:id="rId30"/>
            </p:custDataLst>
          </p:nvPr>
        </p:nvSpPr>
        <p:spPr bwMode="gray">
          <a:xfrm>
            <a:off x="1020762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61D2D97F-BADE-4ADF-9253-0C68C64A5F13}" type="datetime'''''''''''''''''''''''''''''''''''''''0'',''''''''''''''9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0,9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4" name="Rechteck 23"/>
          <p:cNvSpPr/>
          <p:nvPr>
            <p:custDataLst>
              <p:tags r:id="rId31"/>
            </p:custDataLst>
          </p:nvPr>
        </p:nvSpPr>
        <p:spPr bwMode="gray">
          <a:xfrm>
            <a:off x="969327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DD959F51-6913-4E1D-B4C9-E9D7FC06B48C}" type="datetime'''''''''''''''''''0'''''''''',''8''''''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0,8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5" name="Rechteck 24"/>
          <p:cNvSpPr/>
          <p:nvPr>
            <p:custDataLst>
              <p:tags r:id="rId32"/>
            </p:custDataLst>
          </p:nvPr>
        </p:nvSpPr>
        <p:spPr bwMode="gray">
          <a:xfrm>
            <a:off x="915987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9F7D2164-8D0F-4221-8DDB-221AE375E431}" type="datetime'''0'''''''''',''''''''''''''''''''''''''''''''''''''7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0,7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6" name="Rechteck 25"/>
          <p:cNvSpPr/>
          <p:nvPr>
            <p:custDataLst>
              <p:tags r:id="rId33"/>
            </p:custDataLst>
          </p:nvPr>
        </p:nvSpPr>
        <p:spPr bwMode="gray">
          <a:xfrm>
            <a:off x="862647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A1507091-AFCB-4694-AAAF-12F198985CF8}" type="datetime'''''''''''''''''''''''0,''''''''''''''6''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0,6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7" name="Rechteck 26"/>
          <p:cNvSpPr/>
          <p:nvPr>
            <p:custDataLst>
              <p:tags r:id="rId34"/>
            </p:custDataLst>
          </p:nvPr>
        </p:nvSpPr>
        <p:spPr bwMode="gray">
          <a:xfrm>
            <a:off x="809307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EEDFA288-9180-4688-AE4C-0B1D565233FB}" type="datetime'''''''''''''''''''''''''''''''''''''''''''''''0'',5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0,5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8" name="Rechteck 27"/>
          <p:cNvSpPr/>
          <p:nvPr>
            <p:custDataLst>
              <p:tags r:id="rId35"/>
            </p:custDataLst>
          </p:nvPr>
        </p:nvSpPr>
        <p:spPr bwMode="gray">
          <a:xfrm>
            <a:off x="755967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2AC26FA5-1B5C-431D-AD5B-EB5FA8981A0F}" type="datetime'''0'''''''''''''''''''''''''''''''''''''''''''''',''''''''''4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0,4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9" name="Rechteck 28"/>
          <p:cNvSpPr/>
          <p:nvPr>
            <p:custDataLst>
              <p:tags r:id="rId36"/>
            </p:custDataLst>
          </p:nvPr>
        </p:nvSpPr>
        <p:spPr bwMode="gray">
          <a:xfrm>
            <a:off x="704532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8E09E02A-1782-42B1-B992-48C4C6BE7F04}" type="datetime'''''''''''''''''''''''''0'',''''''''''''''''''''''3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0,3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30" name="Rechteck 29"/>
          <p:cNvSpPr/>
          <p:nvPr>
            <p:custDataLst>
              <p:tags r:id="rId37"/>
            </p:custDataLst>
          </p:nvPr>
        </p:nvSpPr>
        <p:spPr bwMode="gray">
          <a:xfrm>
            <a:off x="651192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C55DA3EA-0606-44CB-B97D-94002590B3F4}" type="datetime'''''''''0'''''''''''''''''''''',''''''''''''''''2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0,2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31" name="Rechteck 30"/>
          <p:cNvSpPr/>
          <p:nvPr>
            <p:custDataLst>
              <p:tags r:id="rId38"/>
            </p:custDataLst>
          </p:nvPr>
        </p:nvSpPr>
        <p:spPr bwMode="gray">
          <a:xfrm>
            <a:off x="5978525" y="11512551"/>
            <a:ext cx="42227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C2BDF3C7-A6A6-4DEA-A930-2622FA109F23}" type="datetime'''''''''''''''''''0'',''''''''1'''''''''">
              <a:rPr lang="en-US" sz="2400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0,1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34" name="Rechteck 223"/>
          <p:cNvSpPr/>
          <p:nvPr>
            <p:custDataLst>
              <p:tags r:id="rId39"/>
            </p:custDataLst>
          </p:nvPr>
        </p:nvSpPr>
        <p:spPr bwMode="auto">
          <a:xfrm>
            <a:off x="5235576" y="3248027"/>
            <a:ext cx="841374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B8D71FB-2507-4A87-96DE-BDF46B2D7FB0}" type="datetime'''''''''Y'''''''''''''''' ''A''x''''''''''''i''''s'''''">
              <a:rPr lang="en-US" sz="2400">
                <a:solidFill>
                  <a:schemeClr val="tx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Y Axis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35" name="Rechteck 222"/>
          <p:cNvSpPr/>
          <p:nvPr>
            <p:custDataLst>
              <p:tags r:id="rId40"/>
            </p:custDataLst>
          </p:nvPr>
        </p:nvSpPr>
        <p:spPr bwMode="auto">
          <a:xfrm>
            <a:off x="18837275" y="11153777"/>
            <a:ext cx="847724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3562C5E-8083-426E-A2EC-94690A320B9A}" type="datetime'''''''X'''''''''''''''''''''''' A''''x''''''''i''''''s''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X Axis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 useBgFill="1">
        <p:nvSpPr>
          <p:cNvPr id="37" name="Rechteck 256"/>
          <p:cNvSpPr/>
          <p:nvPr>
            <p:custDataLst>
              <p:tags r:id="rId41"/>
            </p:custDataLst>
          </p:nvPr>
        </p:nvSpPr>
        <p:spPr bwMode="gray">
          <a:xfrm>
            <a:off x="17424402" y="4984751"/>
            <a:ext cx="828674" cy="365126"/>
          </a:xfrm>
          <a:prstGeom prst="rect">
            <a:avLst/>
          </a:prstGeom>
          <a:noFill/>
          <a:ln w="1270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450" tIns="0" rIns="4445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268B814-F089-4149-983F-52E48A08D466}" type="datetime'''''L''''''''''''''''''''''a''''''''bel''''''''''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38" name="Rechteck 255"/>
          <p:cNvSpPr/>
          <p:nvPr>
            <p:custDataLst>
              <p:tags r:id="rId42"/>
            </p:custDataLst>
          </p:nvPr>
        </p:nvSpPr>
        <p:spPr bwMode="gray">
          <a:xfrm>
            <a:off x="7880352" y="9886951"/>
            <a:ext cx="828674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450" tIns="0" rIns="4445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B02DCAF-6809-491C-9863-3BAC3A8FB1C5}" type="datetime'''''''L''''''''a''''''''''''''''''''b''''el'''''''">
              <a:rPr lang="en-US" sz="2400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2400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 useBgFill="1">
        <p:nvSpPr>
          <p:cNvPr id="36" name="Rechteck 257"/>
          <p:cNvSpPr/>
          <p:nvPr>
            <p:custDataLst>
              <p:tags r:id="rId43"/>
            </p:custDataLst>
          </p:nvPr>
        </p:nvSpPr>
        <p:spPr bwMode="gray">
          <a:xfrm>
            <a:off x="14243052" y="8648701"/>
            <a:ext cx="828674" cy="365126"/>
          </a:xfrm>
          <a:prstGeom prst="rect">
            <a:avLst/>
          </a:prstGeom>
          <a:noFill/>
          <a:ln w="1270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450" tIns="0" rIns="4445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EA09C89-7BAD-4620-9690-F31A56E8BB68}" type="datetime'''''''''''''''''''''''''''L''''a''''''b''''''''e''''l'">
              <a:rPr lang="en-US" sz="2400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2400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43" name="McK Footnote"/>
          <p:cNvSpPr txBox="1"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1) Footnote</a:t>
            </a: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Source: Source</a:t>
            </a:r>
            <a:endParaRPr lang="en-US" dirty="0">
              <a:latin typeface="Avenir Medium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04253454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0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think-cell Folie" r:id="rId41" imgW="360" imgH="360" progId="TCLayout.ActiveDocument.1">
                  <p:embed/>
                </p:oleObj>
              </mc:Choice>
              <mc:Fallback>
                <p:oleObj name="think-cell Folie" r:id="rId41" imgW="360" imgH="360" progId="TCLayout.ActiveDocument.1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0" y="3177"/>
                        <a:ext cx="3174" cy="31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/>
          <p:cNvSpPr/>
          <p:nvPr>
            <p:custDataLst>
              <p:tags r:id="rId4"/>
            </p:custDataLst>
          </p:nvPr>
        </p:nvSpPr>
        <p:spPr bwMode="auto">
          <a:xfrm>
            <a:off x="3044825" y="0"/>
            <a:ext cx="317500" cy="3175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634FD73-78BE-45E3-8FD9-B016AB04A6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Avenir Medium"/>
              </a:rPr>
              <a:t>Liniendiagramm</a:t>
            </a:r>
            <a:endParaRPr lang="en-US" dirty="0">
              <a:latin typeface="Avenir Medium"/>
            </a:endParaRPr>
          </a:p>
        </p:txBody>
      </p:sp>
      <p:graphicFrame>
        <p:nvGraphicFramePr>
          <p:cNvPr id="2" name="Objekt 169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06713687"/>
              </p:ext>
            </p:extLst>
          </p:nvPr>
        </p:nvGraphicFramePr>
        <p:xfrm>
          <a:off x="5381626" y="3937000"/>
          <a:ext cx="12681110" cy="7537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52" name="Textplatzhalter 1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848226" y="3895727"/>
            <a:ext cx="59055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050253B-B5FC-43B8-9DE2-95FF016A504E}" type="datetime'1''''''''''''''''''''''''''''''''''''2'''''''''''''''',0'''">
              <a:rPr lang="en-US" altLang="en-US" sz="2400">
                <a:latin typeface="Avenir Medium"/>
                <a:sym typeface="Arial" panose="020B0604020202020204" pitchFamily="34" charset="0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,0</a:t>
            </a:fld>
            <a:endParaRPr lang="en-US" sz="2400" dirty="0">
              <a:latin typeface="Avenir Medium"/>
              <a:sym typeface="Arial" panose="020B0604020202020204" pitchFamily="34" charset="0"/>
            </a:endParaRPr>
          </a:p>
        </p:txBody>
      </p:sp>
      <p:sp>
        <p:nvSpPr>
          <p:cNvPr id="51" name="Textplatzhalter 1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870452" y="4505327"/>
            <a:ext cx="5683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C8EF4B4C-46E0-49C8-933B-AADEAE729A4C}" type="datetime'''1''''''''''''''''''''''1'''''''''''''''''',''''''0'''''">
              <a:rPr lang="en-US" altLang="en-US" sz="2400">
                <a:latin typeface="Avenir Medium"/>
                <a:sym typeface="Arial" panose="020B0604020202020204" pitchFamily="34" charset="0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,0</a:t>
            </a:fld>
            <a:endParaRPr lang="en-US" sz="2400" dirty="0">
              <a:latin typeface="Avenir Medium"/>
              <a:sym typeface="Arial" panose="020B0604020202020204" pitchFamily="34" charset="0"/>
            </a:endParaRPr>
          </a:p>
        </p:txBody>
      </p:sp>
      <p:sp>
        <p:nvSpPr>
          <p:cNvPr id="50" name="Textplatzhalter 1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848226" y="5095877"/>
            <a:ext cx="59055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76C0CFA0-785F-4A7D-95B3-8F243E89F0AA}" type="datetime'10'''''''''',''''''0'''''''''''">
              <a:rPr lang="en-US" altLang="en-US" sz="2400">
                <a:latin typeface="Avenir Medium"/>
                <a:sym typeface="Arial" panose="020B0604020202020204" pitchFamily="34" charset="0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,0</a:t>
            </a:fld>
            <a:endParaRPr lang="en-US" sz="2400" dirty="0">
              <a:latin typeface="Avenir Medium"/>
              <a:sym typeface="Arial" panose="020B0604020202020204" pitchFamily="34" charset="0"/>
            </a:endParaRPr>
          </a:p>
        </p:txBody>
      </p:sp>
      <p:sp>
        <p:nvSpPr>
          <p:cNvPr id="49" name="Textplatzhalter 1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016501" y="570547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3E747D41-02B0-44F9-B7F8-2648D7B44A57}" type="datetime'''''''''''''''''''''9'''''''''',0'''''''''''''''''''''">
              <a:rPr lang="en-US" altLang="en-US" sz="2400">
                <a:latin typeface="Avenir Medium"/>
                <a:sym typeface="Arial" panose="020B0604020202020204" pitchFamily="34" charset="0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,0</a:t>
            </a:fld>
            <a:endParaRPr lang="en-US" sz="2400" dirty="0">
              <a:latin typeface="Avenir Medium"/>
              <a:sym typeface="Arial" panose="020B0604020202020204" pitchFamily="34" charset="0"/>
            </a:endParaRPr>
          </a:p>
        </p:txBody>
      </p:sp>
      <p:sp>
        <p:nvSpPr>
          <p:cNvPr id="48" name="Textplatzhalter 1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016501" y="631507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263FF87-6D58-495B-92D7-C63363272362}" type="datetime'''''''''8'''''',''''''0'''''''''''''''''''''''''">
              <a:rPr lang="en-US" altLang="en-US" sz="2400">
                <a:latin typeface="Avenir Medium"/>
                <a:sym typeface="Arial" panose="020B0604020202020204" pitchFamily="34" charset="0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,0</a:t>
            </a:fld>
            <a:endParaRPr lang="en-US" sz="2400" dirty="0">
              <a:latin typeface="Avenir Medium"/>
              <a:sym typeface="Arial" panose="020B0604020202020204" pitchFamily="34" charset="0"/>
            </a:endParaRPr>
          </a:p>
        </p:txBody>
      </p:sp>
      <p:sp>
        <p:nvSpPr>
          <p:cNvPr id="47" name="Textplatzhalter 1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016501" y="690562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480227B8-E422-444F-9BD4-631F0CBBD9E0}" type="datetime'''''''''''''''7'',''''''''''''''''''''''''''''''0'''''''''">
              <a:rPr lang="en-US" altLang="en-US" sz="2400">
                <a:latin typeface="Avenir Medium"/>
                <a:sym typeface="Arial" panose="020B0604020202020204" pitchFamily="34" charset="0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,0</a:t>
            </a:fld>
            <a:endParaRPr lang="en-US" sz="2400" dirty="0">
              <a:latin typeface="Avenir Medium"/>
              <a:sym typeface="Arial" panose="020B0604020202020204" pitchFamily="34" charset="0"/>
            </a:endParaRPr>
          </a:p>
        </p:txBody>
      </p:sp>
      <p:sp>
        <p:nvSpPr>
          <p:cNvPr id="46" name="Textplatzhalter 1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016501" y="751522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A0669DC3-5CE7-474A-83AC-678ADE890BD0}" type="datetime'''''''''''''''6,''''''''''''''''''''''''''0'''''''">
              <a:rPr lang="en-US" altLang="en-US" sz="2400">
                <a:latin typeface="Avenir Medium"/>
                <a:sym typeface="Arial" panose="020B0604020202020204" pitchFamily="34" charset="0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,0</a:t>
            </a:fld>
            <a:endParaRPr lang="en-US" sz="2400" dirty="0">
              <a:latin typeface="Avenir Medium"/>
              <a:sym typeface="Arial" panose="020B0604020202020204" pitchFamily="34" charset="0"/>
            </a:endParaRPr>
          </a:p>
        </p:txBody>
      </p:sp>
      <p:sp>
        <p:nvSpPr>
          <p:cNvPr id="45" name="Textplatzhalter 1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016501" y="812482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7FDF480B-B539-4F51-8D6F-05BB32DEE640}" type="datetime'''''''''''''''''5'''''',''''''''''0'''''">
              <a:rPr lang="en-US" altLang="en-US" sz="2400">
                <a:latin typeface="Avenir Medium"/>
                <a:sym typeface="Arial" panose="020B0604020202020204" pitchFamily="34" charset="0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,0</a:t>
            </a:fld>
            <a:endParaRPr lang="en-US" sz="2400" dirty="0">
              <a:latin typeface="Avenir Medium"/>
              <a:sym typeface="Arial" panose="020B0604020202020204" pitchFamily="34" charset="0"/>
            </a:endParaRPr>
          </a:p>
        </p:txBody>
      </p:sp>
      <p:sp>
        <p:nvSpPr>
          <p:cNvPr id="44" name="Textplatzhalter 1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016501" y="871537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601AC5B1-C6BD-4807-9B0F-66D754E4778B}" type="datetime'''''''4'''''''''''''',''''''''''''''''''''''''0'''''''">
              <a:rPr lang="en-US" altLang="en-US" sz="2400">
                <a:latin typeface="Avenir Medium"/>
                <a:sym typeface="Arial" panose="020B0604020202020204" pitchFamily="34" charset="0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,0</a:t>
            </a:fld>
            <a:endParaRPr lang="en-US" sz="2400" dirty="0">
              <a:latin typeface="Avenir Medium"/>
              <a:sym typeface="Arial" panose="020B0604020202020204" pitchFamily="34" charset="0"/>
            </a:endParaRPr>
          </a:p>
        </p:txBody>
      </p:sp>
      <p:sp>
        <p:nvSpPr>
          <p:cNvPr id="43" name="Textplatzhalter 1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016501" y="932497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2E6B1529-4B53-4247-AC5E-61A27DA63EE5}" type="datetime'''3'''''''''''',''''''''''''''''''''''0'">
              <a:rPr lang="en-US" altLang="en-US" sz="2400">
                <a:latin typeface="Avenir Medium"/>
                <a:sym typeface="Arial" panose="020B0604020202020204" pitchFamily="34" charset="0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,0</a:t>
            </a:fld>
            <a:endParaRPr lang="en-US" sz="2400" dirty="0">
              <a:latin typeface="Avenir Medium"/>
              <a:sym typeface="Arial" panose="020B0604020202020204" pitchFamily="34" charset="0"/>
            </a:endParaRPr>
          </a:p>
        </p:txBody>
      </p:sp>
      <p:sp>
        <p:nvSpPr>
          <p:cNvPr id="42" name="Textplatzhalter 1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016501" y="993457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E0698C3-DD35-419D-B9EE-FCD1320A55E7}" type="datetime'''''''''''''''''''''''''''2,''''''''''''''''''''''''0'''">
              <a:rPr lang="en-US" altLang="en-US" sz="2400">
                <a:latin typeface="Avenir Medium"/>
                <a:sym typeface="Arial" panose="020B0604020202020204" pitchFamily="34" charset="0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,0</a:t>
            </a:fld>
            <a:endParaRPr lang="en-US" sz="2400" dirty="0">
              <a:latin typeface="Avenir Medium"/>
              <a:sym typeface="Arial" panose="020B0604020202020204" pitchFamily="34" charset="0"/>
            </a:endParaRPr>
          </a:p>
        </p:txBody>
      </p:sp>
      <p:sp>
        <p:nvSpPr>
          <p:cNvPr id="41" name="Textplatzhalter 1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016501" y="1052512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EEB1155-7EE6-4716-96DA-69878AEC030F}" type="datetime'''''''''''''''''''''''1'''''''''',''0'''''''''">
              <a:rPr lang="en-US" altLang="en-US" sz="2400">
                <a:latin typeface="Avenir Medium"/>
                <a:sym typeface="Arial" panose="020B0604020202020204" pitchFamily="34" charset="0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</a:t>
            </a:fld>
            <a:endParaRPr lang="en-US" sz="2400" dirty="0">
              <a:latin typeface="Avenir Medium"/>
              <a:sym typeface="Arial" panose="020B0604020202020204" pitchFamily="34" charset="0"/>
            </a:endParaRPr>
          </a:p>
        </p:txBody>
      </p:sp>
      <p:sp>
        <p:nvSpPr>
          <p:cNvPr id="39" name="Textplatzhalter 1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016501" y="11134727"/>
            <a:ext cx="422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C66BB8A-2744-440D-8F47-02BF6E7148D2}" type="datetime'''0'''''''',''''''''0'''''''''''''''''''''''''">
              <a:rPr lang="en-US" altLang="en-US" sz="2400">
                <a:latin typeface="Avenir Medium"/>
                <a:sym typeface="Arial" panose="020B0604020202020204" pitchFamily="34" charset="0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,0</a:t>
            </a:fld>
            <a:endParaRPr lang="en-US" sz="2400" dirty="0">
              <a:latin typeface="Avenir Medium"/>
              <a:sym typeface="Arial" panose="020B0604020202020204" pitchFamily="34" charset="0"/>
            </a:endParaRPr>
          </a:p>
        </p:txBody>
      </p:sp>
      <p:sp>
        <p:nvSpPr>
          <p:cNvPr id="38" name="Textplatzhalter 1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7567275" y="11493501"/>
            <a:ext cx="67310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264B12A7-5782-4401-9094-14CBA1061CDB}" type="datetime'''''''''''''20''''''1''''''''''''''''''''''''''''3'''''''''''">
              <a:rPr lang="en-US" altLang="en-US" sz="2400" b="1">
                <a:latin typeface="Avenir Medium"/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2400" b="1" dirty="0">
              <a:latin typeface="Avenir Medium"/>
              <a:sym typeface="+mn-lt"/>
            </a:endParaRPr>
          </a:p>
        </p:txBody>
      </p:sp>
      <p:sp>
        <p:nvSpPr>
          <p:cNvPr id="37" name="Textplatzhalter 1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1414125" y="11493501"/>
            <a:ext cx="67310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9BD1026C-149D-47D0-B1BE-CB092590F139}" type="datetime'''''''''2''''0''''1''''''''2'''''''''''''''''''''''''''''">
              <a:rPr lang="en-US" altLang="en-US" sz="2400" b="1">
                <a:latin typeface="Avenir Medium"/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2400" b="1" dirty="0">
              <a:latin typeface="Avenir Medium"/>
              <a:sym typeface="+mn-lt"/>
            </a:endParaRPr>
          </a:p>
        </p:txBody>
      </p:sp>
      <p:sp>
        <p:nvSpPr>
          <p:cNvPr id="36" name="Textplatzhalter 1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251452" y="11493501"/>
            <a:ext cx="6572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E439A1E1-F3CD-4B3E-B221-2B14DED7222C}" type="datetime'''2''''''''''0''''''''''1''''''''1'">
              <a:rPr lang="en-US" altLang="en-US" sz="2400" b="1">
                <a:latin typeface="Avenir Medium"/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2400" b="1" dirty="0">
              <a:latin typeface="Avenir Medium"/>
              <a:sym typeface="+mn-lt"/>
            </a:endParaRPr>
          </a:p>
        </p:txBody>
      </p:sp>
      <p:cxnSp>
        <p:nvCxnSpPr>
          <p:cNvPr id="22" name="Gerade Verbindung 21"/>
          <p:cNvCxnSpPr/>
          <p:nvPr>
            <p:custDataLst>
              <p:tags r:id="rId22"/>
            </p:custDataLst>
          </p:nvPr>
        </p:nvCxnSpPr>
        <p:spPr bwMode="gray">
          <a:xfrm>
            <a:off x="18357851" y="4359276"/>
            <a:ext cx="657224" cy="0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>
            <p:custDataLst>
              <p:tags r:id="rId23"/>
            </p:custDataLst>
          </p:nvPr>
        </p:nvCxnSpPr>
        <p:spPr bwMode="gray">
          <a:xfrm>
            <a:off x="18357851" y="5292726"/>
            <a:ext cx="657224" cy="0"/>
          </a:xfrm>
          <a:prstGeom prst="line">
            <a:avLst/>
          </a:prstGeom>
          <a:ln w="28575">
            <a:solidFill>
              <a:schemeClr val="accent3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>
            <p:custDataLst>
              <p:tags r:id="rId24"/>
            </p:custDataLst>
          </p:nvPr>
        </p:nvCxnSpPr>
        <p:spPr bwMode="gray">
          <a:xfrm>
            <a:off x="18357851" y="4826000"/>
            <a:ext cx="657224" cy="0"/>
          </a:xfrm>
          <a:prstGeom prst="line">
            <a:avLst/>
          </a:prstGeom>
          <a:ln w="28575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>
            <p:custDataLst>
              <p:tags r:id="rId25"/>
            </p:custDataLst>
          </p:nvPr>
        </p:nvCxnSpPr>
        <p:spPr bwMode="gray">
          <a:xfrm>
            <a:off x="18357851" y="5759450"/>
            <a:ext cx="657224" cy="0"/>
          </a:xfrm>
          <a:prstGeom prst="line">
            <a:avLst/>
          </a:prstGeom>
          <a:ln w="28575">
            <a:solidFill>
              <a:schemeClr val="accent4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>
            <p:custDataLst>
              <p:tags r:id="rId26"/>
            </p:custDataLst>
          </p:nvPr>
        </p:nvCxnSpPr>
        <p:spPr bwMode="gray">
          <a:xfrm>
            <a:off x="18357852" y="6692900"/>
            <a:ext cx="657226" cy="0"/>
          </a:xfrm>
          <a:prstGeom prst="line">
            <a:avLst/>
          </a:prstGeom>
          <a:ln w="28575">
            <a:solidFill>
              <a:schemeClr val="accent6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>
            <p:custDataLst>
              <p:tags r:id="rId27"/>
            </p:custDataLst>
          </p:nvPr>
        </p:nvCxnSpPr>
        <p:spPr bwMode="gray">
          <a:xfrm>
            <a:off x="18357852" y="6226176"/>
            <a:ext cx="657226" cy="0"/>
          </a:xfrm>
          <a:prstGeom prst="line">
            <a:avLst/>
          </a:prstGeom>
          <a:ln w="28575">
            <a:solidFill>
              <a:schemeClr val="accent5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>
            <p:custDataLst>
              <p:tags r:id="rId28"/>
            </p:custDataLst>
          </p:nvPr>
        </p:nvCxnSpPr>
        <p:spPr bwMode="gray">
          <a:xfrm>
            <a:off x="18357852" y="7159626"/>
            <a:ext cx="657226" cy="0"/>
          </a:xfrm>
          <a:prstGeom prst="line">
            <a:avLst/>
          </a:prstGeom>
          <a:ln w="28575">
            <a:solidFill>
              <a:schemeClr val="hlink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>
            <p:custDataLst>
              <p:tags r:id="rId29"/>
            </p:custDataLst>
          </p:nvPr>
        </p:nvCxnSpPr>
        <p:spPr bwMode="gray">
          <a:xfrm>
            <a:off x="18357852" y="7626350"/>
            <a:ext cx="657226" cy="0"/>
          </a:xfrm>
          <a:prstGeom prst="line">
            <a:avLst/>
          </a:prstGeom>
          <a:ln w="28575">
            <a:solidFill>
              <a:schemeClr val="folHlink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platzhalter 36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9116676" y="7458076"/>
            <a:ext cx="860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727F87F-DBFD-4932-98DC-96544145892C}" type="datetime'''''''S''''e''''''r''''''i''''''''''''''''e''s'''''''''''''''">
              <a:rPr lang="en-US" sz="2400">
                <a:latin typeface="Avenir Medium"/>
              </a:rPr>
              <a:pPr/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32" name="Textplatzhalter 35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9116676" y="6991350"/>
            <a:ext cx="860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A0C95A2-A5E2-438C-A3F3-DB56D7AEAEB7}" type="datetime'''''''''''''''''S''''''''er''''''''''''i''e''''''''''''''''s'">
              <a:rPr lang="en-US" sz="2400">
                <a:latin typeface="Avenir Medium"/>
              </a:rPr>
              <a:pPr/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30" name="Textplatzhalter 34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9116676" y="6524626"/>
            <a:ext cx="860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3EDF787-4CA8-4A3E-8DF0-DC4E6E59E124}" type="datetime'''''''''S''er''''''''''''''''''''''''i''e''s'''''''''''">
              <a:rPr lang="en-US" sz="2400">
                <a:latin typeface="Avenir Medium"/>
              </a:rPr>
              <a:pPr/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20" name="Textplatzhalter 33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9116676" y="6057900"/>
            <a:ext cx="860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216BFFE-381B-457C-BEE6-43C1AADC1E23}" type="datetime'S''''e''''''''r''''i''e''''''''''''''''''''''''''''''''''''s'">
              <a:rPr lang="en-US" sz="2400">
                <a:latin typeface="Avenir Medium"/>
              </a:rPr>
              <a:pPr/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18" name="Textplatzhalter 3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9116676" y="5591176"/>
            <a:ext cx="860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59C48A0-595C-4443-A509-35716D3EA849}" type="datetime'''''''''S''''''''''''''e''''r''''''''''''''i''''e''''s'''''">
              <a:rPr lang="en-US" sz="2400">
                <a:latin typeface="Avenir Medium"/>
              </a:rPr>
              <a:pPr/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16" name="Textplatzhalter 31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9116676" y="5124450"/>
            <a:ext cx="860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DE30F55-478E-435D-BB42-A8040A9F409C}" type="datetime'''''''''''''''S''''''er''''''i''''''''''''''''es'''">
              <a:rPr lang="en-US" sz="2400">
                <a:latin typeface="Avenir Medium"/>
              </a:rPr>
              <a:pPr/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23" name="Rechteck 183"/>
          <p:cNvSpPr/>
          <p:nvPr>
            <p:custDataLst>
              <p:tags r:id="rId36"/>
            </p:custDataLst>
          </p:nvPr>
        </p:nvSpPr>
        <p:spPr bwMode="auto">
          <a:xfrm>
            <a:off x="19116676" y="4657727"/>
            <a:ext cx="8604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9AF1F70-712B-492D-8F0D-7B49F7C4215D}" type="datetime'''''''''''S''''''''''''''''''''''''er''i''''''''es''''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2400" dirty="0">
              <a:solidFill>
                <a:schemeClr val="tx1"/>
              </a:solidFill>
              <a:latin typeface="Avenir Medium"/>
              <a:sym typeface="Arial"/>
            </a:endParaRPr>
          </a:p>
        </p:txBody>
      </p:sp>
      <p:sp>
        <p:nvSpPr>
          <p:cNvPr id="24" name="Rechteck 182"/>
          <p:cNvSpPr/>
          <p:nvPr>
            <p:custDataLst>
              <p:tags r:id="rId37"/>
            </p:custDataLst>
          </p:nvPr>
        </p:nvSpPr>
        <p:spPr bwMode="auto">
          <a:xfrm>
            <a:off x="19116676" y="4191001"/>
            <a:ext cx="8604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D97183E-49E8-4126-8AA3-3D1B79F66C44}" type="datetime'''S''''''''''''''e''''r''''''i''e''''''''''''s''''''''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40" name="McK Footnote"/>
          <p:cNvSpPr txBox="1"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1) Footnote</a:t>
            </a: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Source: Source</a:t>
            </a:r>
            <a:endParaRPr lang="en-US" dirty="0">
              <a:latin typeface="Avenir Medium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08962341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0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25" name="Objekt 2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0" y="3177"/>
                        <a:ext cx="3174" cy="31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 hidden="1"/>
          <p:cNvSpPr/>
          <p:nvPr>
            <p:custDataLst>
              <p:tags r:id="rId4"/>
            </p:custDataLst>
          </p:nvPr>
        </p:nvSpPr>
        <p:spPr bwMode="auto">
          <a:xfrm>
            <a:off x="3044825" y="0"/>
            <a:ext cx="317500" cy="3175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D17BA17-2150-489C-BFAD-DA3F66CFF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>
                <a:latin typeface="Avenir Medium"/>
              </a:rPr>
              <a:t>Gestapelte</a:t>
            </a:r>
            <a:r>
              <a:rPr lang="en-US" dirty="0">
                <a:latin typeface="Avenir Medium"/>
              </a:rPr>
              <a:t> </a:t>
            </a:r>
            <a:r>
              <a:rPr lang="en-US" dirty="0" err="1">
                <a:latin typeface="Avenir Medium"/>
              </a:rPr>
              <a:t>Säulen</a:t>
            </a:r>
            <a:r>
              <a:rPr lang="en-US" dirty="0">
                <a:latin typeface="Avenir Medium"/>
              </a:rPr>
              <a:t> 100%</a:t>
            </a:r>
            <a:endParaRPr lang="de-DE" dirty="0">
              <a:latin typeface="Avenir Medium"/>
            </a:endParaRPr>
          </a:p>
        </p:txBody>
      </p:sp>
      <p:graphicFrame>
        <p:nvGraphicFramePr>
          <p:cNvPr id="4" name="Objekt 7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10295854"/>
              </p:ext>
            </p:extLst>
          </p:nvPr>
        </p:nvGraphicFramePr>
        <p:xfrm>
          <a:off x="6219825" y="3860801"/>
          <a:ext cx="11880740" cy="76134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9" name="Rechteck 74"/>
          <p:cNvSpPr/>
          <p:nvPr>
            <p:custDataLst>
              <p:tags r:id="rId6"/>
            </p:custDataLst>
          </p:nvPr>
        </p:nvSpPr>
        <p:spPr bwMode="auto">
          <a:xfrm>
            <a:off x="15659101" y="11493501"/>
            <a:ext cx="698500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3371988-13B9-4345-BAEA-03707022D7AF}" type="datetime'''''''''''2''''''0''''''''''''''''''''''1''''''''''''''''3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0" name="Rechteck 80"/>
          <p:cNvSpPr/>
          <p:nvPr>
            <p:custDataLst>
              <p:tags r:id="rId7"/>
            </p:custDataLst>
          </p:nvPr>
        </p:nvSpPr>
        <p:spPr bwMode="gray">
          <a:xfrm>
            <a:off x="15760701" y="3581401"/>
            <a:ext cx="495300" cy="42545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0800" tIns="0" rIns="508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CBB7B1A-4D79-4367-B2CF-277D4076AAFB}" type="datetime'3''''''''0'''''''''''''''''''''''''''''">
              <a:rPr lang="en-US" sz="2800" b="1">
                <a:solidFill>
                  <a:schemeClr val="tx1"/>
                </a:solidFill>
                <a:latin typeface="Avenir Medium"/>
                <a:sym typeface="+mn-lt"/>
              </a:rPr>
              <a:pPr/>
              <a:t>30</a:t>
            </a:fld>
            <a:endParaRPr lang="en-US" sz="28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2" name="Rechteck 73"/>
          <p:cNvSpPr/>
          <p:nvPr>
            <p:custDataLst>
              <p:tags r:id="rId8"/>
            </p:custDataLst>
          </p:nvPr>
        </p:nvSpPr>
        <p:spPr bwMode="auto">
          <a:xfrm>
            <a:off x="11820525" y="11493501"/>
            <a:ext cx="698500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10E9CA6-A6FF-4C28-9A16-4E2D1690CC18}" type="datetime'''20''''''''''''''''''''''''1''''2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3" name="Rechteck 79"/>
          <p:cNvSpPr/>
          <p:nvPr>
            <p:custDataLst>
              <p:tags r:id="rId9"/>
            </p:custDataLst>
          </p:nvPr>
        </p:nvSpPr>
        <p:spPr bwMode="gray">
          <a:xfrm>
            <a:off x="11922125" y="3581401"/>
            <a:ext cx="495300" cy="42545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0800" tIns="0" rIns="508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B95C916-B638-4F3A-AC76-646E4F398C40}" type="datetime'''''''''''''3''''''''''''''''''''''''''''''''''0'''''''">
              <a:rPr lang="en-US" sz="2800" b="1">
                <a:solidFill>
                  <a:schemeClr val="tx1"/>
                </a:solidFill>
                <a:latin typeface="Avenir Medium"/>
                <a:sym typeface="+mn-lt"/>
              </a:rPr>
              <a:pPr/>
              <a:t>30</a:t>
            </a:fld>
            <a:endParaRPr lang="en-US" sz="28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5" name="Rechteck 72"/>
          <p:cNvSpPr/>
          <p:nvPr>
            <p:custDataLst>
              <p:tags r:id="rId10"/>
            </p:custDataLst>
          </p:nvPr>
        </p:nvSpPr>
        <p:spPr bwMode="auto">
          <a:xfrm>
            <a:off x="7991476" y="11493501"/>
            <a:ext cx="6826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D4D70ED-5508-40CA-BC5F-17D69BF35E2B}" type="datetime'2''''''''''''''''''''''''''''''0''''''1''''''''''1''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6" name="Rechteck 78"/>
          <p:cNvSpPr/>
          <p:nvPr>
            <p:custDataLst>
              <p:tags r:id="rId11"/>
            </p:custDataLst>
          </p:nvPr>
        </p:nvSpPr>
        <p:spPr bwMode="gray">
          <a:xfrm>
            <a:off x="8083551" y="3581401"/>
            <a:ext cx="495300" cy="42545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0800" tIns="0" rIns="508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661468D-77DE-467B-B79F-5CB6BE1FF294}" type="datetime'''3''''''''''''''''''0'''''''''''''''''''''">
              <a:rPr lang="en-US" sz="2800" b="1">
                <a:solidFill>
                  <a:schemeClr val="tx1"/>
                </a:solidFill>
                <a:latin typeface="Avenir Medium"/>
                <a:sym typeface="+mn-lt"/>
              </a:rPr>
              <a:pPr/>
              <a:t>30</a:t>
            </a:fld>
            <a:endParaRPr lang="en-US" sz="28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9" name="Rechteck 18"/>
          <p:cNvSpPr/>
          <p:nvPr>
            <p:custDataLst>
              <p:tags r:id="rId12"/>
            </p:custDataLst>
          </p:nvPr>
        </p:nvSpPr>
        <p:spPr bwMode="auto">
          <a:xfrm>
            <a:off x="18357852" y="4108451"/>
            <a:ext cx="428626" cy="3206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indent="-358776" algn="ctr">
              <a:buClr>
                <a:schemeClr val="tx2"/>
              </a:buClr>
              <a:buFont typeface="Arial" pitchFamily="34" charset="0"/>
              <a:buChar char="/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64" name="Rectangle 63"/>
          <p:cNvSpPr/>
          <p:nvPr>
            <p:custDataLst>
              <p:tags r:id="rId13"/>
            </p:custDataLst>
          </p:nvPr>
        </p:nvSpPr>
        <p:spPr bwMode="auto">
          <a:xfrm>
            <a:off x="18357852" y="5041900"/>
            <a:ext cx="428626" cy="320676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indent="-360000">
              <a:buFont typeface="Wingdings 2" panose="05020102010507070707" pitchFamily="18" charset="2"/>
              <a:buChar char="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8" name="Rechteck 17"/>
          <p:cNvSpPr/>
          <p:nvPr>
            <p:custDataLst>
              <p:tags r:id="rId14"/>
            </p:custDataLst>
          </p:nvPr>
        </p:nvSpPr>
        <p:spPr bwMode="auto">
          <a:xfrm>
            <a:off x="18357852" y="4575177"/>
            <a:ext cx="428626" cy="32067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indent="-358776" algn="ctr">
              <a:buClr>
                <a:schemeClr val="tx2"/>
              </a:buClr>
              <a:buFont typeface="Arial" pitchFamily="34" charset="0"/>
              <a:buChar char="/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2" name="Rechteck 76"/>
          <p:cNvSpPr/>
          <p:nvPr>
            <p:custDataLst>
              <p:tags r:id="rId15"/>
            </p:custDataLst>
          </p:nvPr>
        </p:nvSpPr>
        <p:spPr bwMode="auto">
          <a:xfrm>
            <a:off x="18888076" y="4565651"/>
            <a:ext cx="8604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EDF0F92-5E48-4946-88FC-326F1E6EE5F5}" type="datetime'''''''''S''''''''e''''''r''''''i''''''e''''''''s''''''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2400" dirty="0">
              <a:solidFill>
                <a:schemeClr val="tx1"/>
              </a:solidFill>
              <a:latin typeface="Avenir Medium"/>
              <a:sym typeface="Arial"/>
            </a:endParaRPr>
          </a:p>
        </p:txBody>
      </p:sp>
      <p:sp>
        <p:nvSpPr>
          <p:cNvPr id="23" name="Rechteck 75"/>
          <p:cNvSpPr/>
          <p:nvPr>
            <p:custDataLst>
              <p:tags r:id="rId16"/>
            </p:custDataLst>
          </p:nvPr>
        </p:nvSpPr>
        <p:spPr bwMode="auto">
          <a:xfrm>
            <a:off x="18888076" y="4098927"/>
            <a:ext cx="8604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8AF816A-FBFD-4F39-AF0A-5682B1EBBAB2}" type="datetime'''''S''''''''''''''''e''r''i''''''e''''''''''''''''''''s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2400" dirty="0">
              <a:solidFill>
                <a:schemeClr val="tx1"/>
              </a:solidFill>
              <a:latin typeface="Avenir Medium"/>
              <a:sym typeface="Arial"/>
            </a:endParaRPr>
          </a:p>
        </p:txBody>
      </p:sp>
      <p:sp>
        <p:nvSpPr>
          <p:cNvPr id="63" name="Text Placeholder 29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8888076" y="5032377"/>
            <a:ext cx="8604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D2A67A4-83A6-4577-83FC-3A593F53E149}" type="datetime'''''S''''''''e''''''''''''''''''r''''''''i''e''''''''s'''">
              <a:rPr lang="en-US" sz="2400">
                <a:latin typeface="Avenir Medium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42" name="McK Footnote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1) Footnote</a:t>
            </a: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Source: Source</a:t>
            </a:r>
            <a:endParaRPr lang="en-US" dirty="0">
              <a:latin typeface="Avenir Medium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48689914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0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25" name="Objekt 2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0" y="3177"/>
                        <a:ext cx="3174" cy="31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 hidden="1"/>
          <p:cNvSpPr/>
          <p:nvPr>
            <p:custDataLst>
              <p:tags r:id="rId4"/>
            </p:custDataLst>
          </p:nvPr>
        </p:nvSpPr>
        <p:spPr bwMode="auto">
          <a:xfrm>
            <a:off x="3044825" y="0"/>
            <a:ext cx="317500" cy="3175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0BE3F6C-374B-4E58-A92C-82638450E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>
                <a:latin typeface="Avenir Medium"/>
              </a:rPr>
              <a:t>Gestapelte</a:t>
            </a:r>
            <a:r>
              <a:rPr lang="en-US" dirty="0">
                <a:latin typeface="Avenir Medium"/>
              </a:rPr>
              <a:t> </a:t>
            </a:r>
            <a:r>
              <a:rPr lang="en-US" dirty="0" err="1">
                <a:latin typeface="Avenir Medium"/>
              </a:rPr>
              <a:t>Säulen</a:t>
            </a:r>
            <a:br>
              <a:rPr lang="en-US" dirty="0">
                <a:latin typeface="Avenir Medium"/>
              </a:rPr>
            </a:br>
            <a:endParaRPr lang="de-DE" dirty="0">
              <a:latin typeface="Avenir Medium"/>
            </a:endParaRPr>
          </a:p>
        </p:txBody>
      </p:sp>
      <p:graphicFrame>
        <p:nvGraphicFramePr>
          <p:cNvPr id="4" name="Objekt 7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61890305"/>
              </p:ext>
            </p:extLst>
          </p:nvPr>
        </p:nvGraphicFramePr>
        <p:xfrm>
          <a:off x="4848226" y="3937000"/>
          <a:ext cx="13500370" cy="7537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9" name="Rechteck 8"/>
          <p:cNvSpPr/>
          <p:nvPr>
            <p:custDataLst>
              <p:tags r:id="rId6"/>
            </p:custDataLst>
          </p:nvPr>
        </p:nvSpPr>
        <p:spPr bwMode="auto">
          <a:xfrm>
            <a:off x="15649575" y="11512551"/>
            <a:ext cx="698500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6D9A0EB-35D9-4DED-8880-74C75D25BCB5}" type="datetime'''''''''''''''''''''''''''''''2''''''''0''''''1''''3''''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0" name="Rechteck 9"/>
          <p:cNvSpPr/>
          <p:nvPr>
            <p:custDataLst>
              <p:tags r:id="rId7"/>
            </p:custDataLst>
          </p:nvPr>
        </p:nvSpPr>
        <p:spPr bwMode="gray">
          <a:xfrm>
            <a:off x="15751175" y="3638551"/>
            <a:ext cx="495300" cy="42545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0800" tIns="0" rIns="508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6DE9B9-7D8C-4ADF-9F69-DB5BBEA67515}" type="datetime'''''''''''''''''''''''''''''''''''4''''''''''''''''''''6'">
              <a:rPr lang="en-US" sz="2800" b="1">
                <a:solidFill>
                  <a:schemeClr val="tx1"/>
                </a:solidFill>
                <a:latin typeface="Avenir Medium"/>
                <a:sym typeface="+mn-lt"/>
              </a:rPr>
              <a:pPr/>
              <a:t>46</a:t>
            </a:fld>
            <a:endParaRPr lang="en-US" sz="28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2" name="Rechteck 11"/>
          <p:cNvSpPr/>
          <p:nvPr>
            <p:custDataLst>
              <p:tags r:id="rId8"/>
            </p:custDataLst>
          </p:nvPr>
        </p:nvSpPr>
        <p:spPr bwMode="auto">
          <a:xfrm>
            <a:off x="11258549" y="11512551"/>
            <a:ext cx="698500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6F0FD7B-70E8-4333-9DCE-AD9DE09CE0C7}" type="datetime'''''''''''''''''''''''''''''''''2''0''''''''''''1''2''''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3" name="Rechteck 12"/>
          <p:cNvSpPr/>
          <p:nvPr>
            <p:custDataLst>
              <p:tags r:id="rId9"/>
            </p:custDataLst>
          </p:nvPr>
        </p:nvSpPr>
        <p:spPr bwMode="gray">
          <a:xfrm>
            <a:off x="11360151" y="6038851"/>
            <a:ext cx="495300" cy="42545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0800" tIns="0" rIns="508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23B963B-1BC1-4F59-A1D2-C97A50A57305}" type="datetime'''3''''''''''''''''''''''1'''''''''''''''''''''''''">
              <a:rPr lang="en-US" sz="2800" b="1">
                <a:solidFill>
                  <a:schemeClr val="tx1"/>
                </a:solidFill>
                <a:latin typeface="Avenir Medium"/>
                <a:sym typeface="+mn-lt"/>
              </a:rPr>
              <a:pPr/>
              <a:t>31</a:t>
            </a:fld>
            <a:endParaRPr lang="en-US" sz="28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5" name="Rechteck 14"/>
          <p:cNvSpPr/>
          <p:nvPr>
            <p:custDataLst>
              <p:tags r:id="rId10"/>
            </p:custDataLst>
          </p:nvPr>
        </p:nvSpPr>
        <p:spPr bwMode="auto">
          <a:xfrm>
            <a:off x="6877052" y="11512551"/>
            <a:ext cx="6826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015341B-5766-4792-A273-752EDC195A83}" type="datetime'''''''20''''''''''''''''''''''''''''1''''''1''''''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6" name="Rechteck 15"/>
          <p:cNvSpPr/>
          <p:nvPr>
            <p:custDataLst>
              <p:tags r:id="rId11"/>
            </p:custDataLst>
          </p:nvPr>
        </p:nvSpPr>
        <p:spPr bwMode="gray">
          <a:xfrm>
            <a:off x="6969125" y="7505701"/>
            <a:ext cx="495300" cy="42545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0800" tIns="0" rIns="508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6ED339F-4FD2-438F-8D64-383AABADD554}" type="datetime'''''''''''2''''''''''''''''2'''''''''''''''''''">
              <a:rPr lang="en-US" sz="2800" b="1">
                <a:solidFill>
                  <a:schemeClr val="tx1"/>
                </a:solidFill>
                <a:latin typeface="Avenir Medium"/>
                <a:sym typeface="+mn-lt"/>
              </a:rPr>
              <a:pPr/>
              <a:t>22</a:t>
            </a:fld>
            <a:endParaRPr lang="en-US" sz="28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0" name="Rechteck 19"/>
          <p:cNvSpPr/>
          <p:nvPr>
            <p:custDataLst>
              <p:tags r:id="rId12"/>
            </p:custDataLst>
          </p:nvPr>
        </p:nvSpPr>
        <p:spPr bwMode="auto">
          <a:xfrm>
            <a:off x="18357852" y="4108451"/>
            <a:ext cx="428626" cy="3206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indent="-360000" algn="ctr">
              <a:buClr>
                <a:schemeClr val="tx2"/>
              </a:buClr>
              <a:buFont typeface="FranklinITCBQBook" pitchFamily="2" charset="0"/>
              <a:buChar char="/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8" name="Rechteck 17"/>
          <p:cNvSpPr/>
          <p:nvPr>
            <p:custDataLst>
              <p:tags r:id="rId13"/>
            </p:custDataLst>
          </p:nvPr>
        </p:nvSpPr>
        <p:spPr bwMode="auto">
          <a:xfrm>
            <a:off x="18357852" y="4575177"/>
            <a:ext cx="428626" cy="32067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indent="-360000" algn="ctr">
              <a:buClr>
                <a:schemeClr val="tx2"/>
              </a:buClr>
              <a:buFont typeface="FranklinITCBQBook" pitchFamily="2" charset="0"/>
              <a:buChar char="/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9" name="Rechteck 18"/>
          <p:cNvSpPr/>
          <p:nvPr>
            <p:custDataLst>
              <p:tags r:id="rId14"/>
            </p:custDataLst>
          </p:nvPr>
        </p:nvSpPr>
        <p:spPr bwMode="auto">
          <a:xfrm>
            <a:off x="18357852" y="5041901"/>
            <a:ext cx="428626" cy="32067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indent="-360000" algn="ctr">
              <a:buClr>
                <a:schemeClr val="tx2"/>
              </a:buClr>
              <a:buFont typeface="FranklinITCBQBook" pitchFamily="2" charset="0"/>
              <a:buChar char="/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1" name="Rechteck 20"/>
          <p:cNvSpPr/>
          <p:nvPr>
            <p:custDataLst>
              <p:tags r:id="rId15"/>
            </p:custDataLst>
          </p:nvPr>
        </p:nvSpPr>
        <p:spPr bwMode="auto">
          <a:xfrm>
            <a:off x="18888076" y="5032377"/>
            <a:ext cx="86042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D0F00C88-E246-474B-9617-43AD13841967}" type="datetime'''S''''''e''''r''''''''i''''''''''''''''es''''''''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Series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2" name="Rechteck 21"/>
          <p:cNvSpPr/>
          <p:nvPr>
            <p:custDataLst>
              <p:tags r:id="rId16"/>
            </p:custDataLst>
          </p:nvPr>
        </p:nvSpPr>
        <p:spPr bwMode="auto">
          <a:xfrm>
            <a:off x="18888076" y="4565651"/>
            <a:ext cx="86042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363E22B2-F1CD-4E9A-B425-66234D38A58B}" type="datetime'''S''''''''''''''''''''''''''''er''''''i''''''''''''''''es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Series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3" name="Rechteck 22"/>
          <p:cNvSpPr/>
          <p:nvPr>
            <p:custDataLst>
              <p:tags r:id="rId17"/>
            </p:custDataLst>
          </p:nvPr>
        </p:nvSpPr>
        <p:spPr bwMode="auto">
          <a:xfrm>
            <a:off x="18888076" y="4098927"/>
            <a:ext cx="86042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A8D248F9-A775-486B-A843-4C021B29DD89}" type="datetime'''''''''''''''''''''S''e''''''''r''''i''''''e''''''''''''s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Series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46" name="McK Footnote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1) Footnote</a:t>
            </a: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Source: Source</a:t>
            </a:r>
            <a:endParaRPr lang="en-US" dirty="0">
              <a:latin typeface="Avenir Medium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57720536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0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4" name="think-cell Folie" r:id="rId38" imgW="360" imgH="360" progId="TCLayout.ActiveDocument.1">
                  <p:embed/>
                </p:oleObj>
              </mc:Choice>
              <mc:Fallback>
                <p:oleObj name="think-cell Folie" r:id="rId38" imgW="360" imgH="360" progId="TCLayout.ActiveDocument.1">
                  <p:embed/>
                  <p:pic>
                    <p:nvPicPr>
                      <p:cNvPr id="17" name="Objek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0" y="3177"/>
                        <a:ext cx="3174" cy="31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>
            <p:custDataLst>
              <p:tags r:id="rId4"/>
            </p:custDataLst>
          </p:nvPr>
        </p:nvSpPr>
        <p:spPr bwMode="auto">
          <a:xfrm>
            <a:off x="3044825" y="0"/>
            <a:ext cx="317500" cy="3175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endParaRPr lang="en-US" sz="24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023737C-B81B-4DDD-8F7E-E48468FF4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>
                <a:latin typeface="Avenir Medium"/>
              </a:rPr>
              <a:t>Flächendiagramm</a:t>
            </a:r>
            <a:br>
              <a:rPr lang="en-US" dirty="0">
                <a:latin typeface="Avenir Medium"/>
              </a:rPr>
            </a:br>
            <a:endParaRPr lang="de-DE" dirty="0">
              <a:latin typeface="Avenir Medium"/>
            </a:endParaRPr>
          </a:p>
        </p:txBody>
      </p:sp>
      <p:graphicFrame>
        <p:nvGraphicFramePr>
          <p:cNvPr id="4" name="Objekt 143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891283552"/>
              </p:ext>
            </p:extLst>
          </p:nvPr>
        </p:nvGraphicFramePr>
        <p:xfrm>
          <a:off x="5686426" y="3937000"/>
          <a:ext cx="12433390" cy="7537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42" name="Textplatzhalter 1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426076" y="3933827"/>
            <a:ext cx="33655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A7DCC2B7-881C-4F44-9D8A-9EF045458B41}" type="datetime'2''2''''''''''''''''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41" name="Textplatzhalter 1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426076" y="4581527"/>
            <a:ext cx="33655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DD565BF2-9AF9-4AB4-AD92-E563D607FCEE}" type="datetime'''''20''''''''''''''''''''''''''''''''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40" name="Textplatzhalter 1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426076" y="5248277"/>
            <a:ext cx="33655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F420C3D-ED83-48DE-9A2C-2FFA69E83D47}" type="datetime'''''''''''''''''''''''1''''''''8''''''''''''''''''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39" name="Textplatzhalter 1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426076" y="5895977"/>
            <a:ext cx="33655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4E73FCA-0B42-4C54-9D34-1E9E343FF2BD}" type="datetime'''''''''''''''''''''''1''''''''''''''6''''''''''''''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38" name="Textplatzhalter 1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426076" y="6562727"/>
            <a:ext cx="33655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348EDA27-5951-4C90-AE33-977A0B8A9BBE}" type="datetime'''''''''''''''''''1''''4''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37" name="Textplatzhalter 1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426076" y="7210427"/>
            <a:ext cx="33655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6437942E-F790-43B1-BDBD-4D047A8AE8D3}" type="datetime'''''''''''1''''''2''''''''''''''''''''''''''''''''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35" name="Textplatzhalter 1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426076" y="7877177"/>
            <a:ext cx="336550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C9C5950A-FA79-47E7-BE02-DDACC89D94E5}" type="datetime'''''''''''''''''''''''''''''''''''''''''''''''''10''''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34" name="Textplatzhalter 1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594351" y="8524877"/>
            <a:ext cx="168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5C42C01A-A6E5-4CAB-9692-18868E6E9F7F}" type="datetime'8''''''''''''''''''''''''''''''''''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33" name="Textplatzhalter 1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594351" y="9191627"/>
            <a:ext cx="168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31787F17-8A2D-43C4-9273-608F8DE58372}" type="datetime'''''''''6''''''''''''''''''''''''''''''''''''''''''''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32" name="Textplatzhalter 1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594351" y="9839327"/>
            <a:ext cx="168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C87B385A-8D7A-46B7-996D-07D7A7B55C93}" type="datetime'''''''''''''''4''''''''''''''''''''''''''''''''''''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31" name="Textplatzhalter 1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594351" y="10506077"/>
            <a:ext cx="168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6E1B0D26-C626-4073-97CF-79E9F7758B04}" type="datetime'''''2'''">
              <a:rPr lang="en-US" altLang="en-US" sz="2400">
                <a:latin typeface="Avenir Medium"/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30" name="Textplatzhalter 1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594351" y="11153777"/>
            <a:ext cx="16827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ct val="200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78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265C7071-E883-4095-8C0B-497480553A54}" type="datetime'''''''''''''''''''''''''''''0'''">
              <a:rPr lang="en-US" altLang="en-US" sz="2400">
                <a:latin typeface="Avenir Medium"/>
                <a:sym typeface="Arial" panose="020B0604020202020204" pitchFamily="34" charset="0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2400" dirty="0">
              <a:latin typeface="Avenir Medium"/>
              <a:sym typeface="Arial" panose="020B0604020202020204" pitchFamily="34" charset="0"/>
            </a:endParaRPr>
          </a:p>
        </p:txBody>
      </p:sp>
      <p:sp>
        <p:nvSpPr>
          <p:cNvPr id="9" name="Rechteck 166"/>
          <p:cNvSpPr/>
          <p:nvPr>
            <p:custDataLst>
              <p:tags r:id="rId18"/>
            </p:custDataLst>
          </p:nvPr>
        </p:nvSpPr>
        <p:spPr bwMode="auto">
          <a:xfrm>
            <a:off x="17611725" y="11512551"/>
            <a:ext cx="698500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EFA4E6F-2CB2-402E-A860-352FB6031647}" type="datetime'2''0''''''''''''''''''''''''''''1''''3''''''''''''''''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0" name="Rechteck 165"/>
          <p:cNvSpPr/>
          <p:nvPr>
            <p:custDataLst>
              <p:tags r:id="rId19"/>
            </p:custDataLst>
          </p:nvPr>
        </p:nvSpPr>
        <p:spPr bwMode="auto">
          <a:xfrm>
            <a:off x="11591925" y="11512551"/>
            <a:ext cx="698500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8CE65C-1B53-48E3-B786-F4FAD7CAC89E}" type="datetime'2''''''0''''''''''''1''''''''''''2''''''''''''''''''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1" name="Rechteck 164"/>
          <p:cNvSpPr/>
          <p:nvPr>
            <p:custDataLst>
              <p:tags r:id="rId20"/>
            </p:custDataLst>
          </p:nvPr>
        </p:nvSpPr>
        <p:spPr bwMode="auto">
          <a:xfrm>
            <a:off x="5562602" y="11512551"/>
            <a:ext cx="6826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43115BB-096D-447A-9BE2-08228B93F95F}" type="datetime'''''''2''''''''''''''''''0''''''''''1''''''''1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3" name="Rechteck 12"/>
          <p:cNvSpPr/>
          <p:nvPr>
            <p:custDataLst>
              <p:tags r:id="rId21"/>
            </p:custDataLst>
          </p:nvPr>
        </p:nvSpPr>
        <p:spPr bwMode="auto">
          <a:xfrm>
            <a:off x="18357852" y="4127501"/>
            <a:ext cx="428626" cy="3206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indent="-358776" algn="ctr">
              <a:buClr>
                <a:schemeClr val="tx2"/>
              </a:buClr>
              <a:buFont typeface="Arial" pitchFamily="34" charset="0"/>
              <a:buChar char="/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50" name="Rectangle 49"/>
          <p:cNvSpPr/>
          <p:nvPr>
            <p:custDataLst>
              <p:tags r:id="rId22"/>
            </p:custDataLst>
          </p:nvPr>
        </p:nvSpPr>
        <p:spPr bwMode="auto">
          <a:xfrm>
            <a:off x="18357851" y="6461127"/>
            <a:ext cx="428624" cy="32067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indent="-360000">
              <a:buFont typeface="Wingdings 2" panose="05020102010507070707" pitchFamily="18" charset="2"/>
              <a:buChar char="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2" name="Rechteck 11"/>
          <p:cNvSpPr/>
          <p:nvPr>
            <p:custDataLst>
              <p:tags r:id="rId23"/>
            </p:custDataLst>
          </p:nvPr>
        </p:nvSpPr>
        <p:spPr bwMode="auto">
          <a:xfrm>
            <a:off x="18357852" y="4594227"/>
            <a:ext cx="428626" cy="32067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indent="-358776" algn="ctr">
              <a:buClr>
                <a:schemeClr val="tx2"/>
              </a:buClr>
              <a:buFont typeface="Arial" pitchFamily="34" charset="0"/>
              <a:buChar char="/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52" name="Rectangle 51"/>
          <p:cNvSpPr/>
          <p:nvPr>
            <p:custDataLst>
              <p:tags r:id="rId24"/>
            </p:custDataLst>
          </p:nvPr>
        </p:nvSpPr>
        <p:spPr bwMode="auto">
          <a:xfrm>
            <a:off x="18357851" y="6927850"/>
            <a:ext cx="428624" cy="320676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indent="-360000">
              <a:buFont typeface="Wingdings 2" panose="05020102010507070707" pitchFamily="18" charset="2"/>
              <a:buChar char="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21" name="Rechteck 20"/>
          <p:cNvSpPr/>
          <p:nvPr>
            <p:custDataLst>
              <p:tags r:id="rId25"/>
            </p:custDataLst>
          </p:nvPr>
        </p:nvSpPr>
        <p:spPr bwMode="auto">
          <a:xfrm>
            <a:off x="18357851" y="5060951"/>
            <a:ext cx="428624" cy="32067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tx2"/>
              </a:buClr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48" name="Rectangle 47"/>
          <p:cNvSpPr/>
          <p:nvPr>
            <p:custDataLst>
              <p:tags r:id="rId26"/>
            </p:custDataLst>
          </p:nvPr>
        </p:nvSpPr>
        <p:spPr bwMode="auto">
          <a:xfrm>
            <a:off x="18357851" y="5994400"/>
            <a:ext cx="428624" cy="320676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indent="-360000">
              <a:buFont typeface="Wingdings 2" panose="05020102010507070707" pitchFamily="18" charset="2"/>
              <a:buChar char="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46" name="Rectangle 45"/>
          <p:cNvSpPr/>
          <p:nvPr>
            <p:custDataLst>
              <p:tags r:id="rId27"/>
            </p:custDataLst>
          </p:nvPr>
        </p:nvSpPr>
        <p:spPr bwMode="auto">
          <a:xfrm>
            <a:off x="18357851" y="5527677"/>
            <a:ext cx="428624" cy="320674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indent="-360000">
              <a:buFont typeface="Wingdings 2" panose="05020102010507070707" pitchFamily="18" charset="2"/>
              <a:buChar char="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49" name="Text Placeholder 61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8888076" y="6451601"/>
            <a:ext cx="8604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C56432F-B8E5-4A62-BD3C-1AE7496631CE}" type="datetime'''Se''''''''''''r''''''ie''''''''''''''''''''''''''s'">
              <a:rPr lang="en-US" sz="2400">
                <a:latin typeface="Avenir Medium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51" name="Text Placeholder 6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8888076" y="6918327"/>
            <a:ext cx="8604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33D06DA-269A-4C3E-AB29-749DCBDE9156}" type="datetime'''''''''''S''''''''''''e''''''''r''i''''e''''''''''''''s'''">
              <a:rPr lang="en-US" sz="2400">
                <a:latin typeface="Avenir Medium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47" name="Text Placeholder 60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8888076" y="5984877"/>
            <a:ext cx="8604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26212C0-0197-4181-9F2E-CE8EFC29B29A}" type="datetime'''S''''''''''''''''e''''r''''''''''''''''''ies'''''''''''''">
              <a:rPr lang="en-US" sz="2400">
                <a:latin typeface="Avenir Medium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45" name="Text Placeholder 59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8888076" y="5518151"/>
            <a:ext cx="8604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969E453-1BAE-4285-ADFA-13C146ACFC14}" type="datetime'''S''e''''''''''''r''''''i''''''es'''''''''">
              <a:rPr lang="en-US" sz="2400">
                <a:latin typeface="Avenir Medium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20" name="Textplatzhalter 66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8888076" y="5051426"/>
            <a:ext cx="860426" cy="365124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5FD9095-CA11-4ECE-95DB-4131671D8EBC}" type="datetime'''''''''''''Se''''''''r''''''''''i''e''''''''''''''''''''s'''">
              <a:rPr lang="en-US" sz="2400">
                <a:latin typeface="Avenir Medium"/>
              </a:rPr>
              <a:pPr/>
              <a:t>Series</a:t>
            </a:fld>
            <a:endParaRPr lang="en-US" sz="2400" dirty="0">
              <a:latin typeface="Avenir Medium"/>
              <a:sym typeface="Arial"/>
            </a:endParaRPr>
          </a:p>
        </p:txBody>
      </p:sp>
      <p:sp>
        <p:nvSpPr>
          <p:cNvPr id="14" name="Rechteck 168"/>
          <p:cNvSpPr/>
          <p:nvPr>
            <p:custDataLst>
              <p:tags r:id="rId33"/>
            </p:custDataLst>
          </p:nvPr>
        </p:nvSpPr>
        <p:spPr bwMode="auto">
          <a:xfrm>
            <a:off x="18888076" y="4584701"/>
            <a:ext cx="8604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185F1CE-6AF4-4B86-9D84-8CE39D7BBCE1}" type="datetime'''''S''''''''''''''''''''e''r''''''''i''''''''''e''''''''s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5" name="Rechteck 167"/>
          <p:cNvSpPr/>
          <p:nvPr>
            <p:custDataLst>
              <p:tags r:id="rId34"/>
            </p:custDataLst>
          </p:nvPr>
        </p:nvSpPr>
        <p:spPr bwMode="auto">
          <a:xfrm>
            <a:off x="18888076" y="4117977"/>
            <a:ext cx="8604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0CDDE21-42E9-4A2F-BE1C-39F703BB6E82}" type="datetime'S''''''e''''''''''''''''''''r''''ie''''''''s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2400" dirty="0">
              <a:solidFill>
                <a:schemeClr val="tx1"/>
              </a:solidFill>
              <a:latin typeface="Avenir Medium"/>
              <a:sym typeface="Arial"/>
            </a:endParaRPr>
          </a:p>
        </p:txBody>
      </p:sp>
      <p:sp>
        <p:nvSpPr>
          <p:cNvPr id="36" name="McK Footnote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1) Footnote</a:t>
            </a: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Source: Source</a:t>
            </a:r>
            <a:endParaRPr lang="en-US" dirty="0">
              <a:latin typeface="Avenir Medium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84131816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0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think-cell Folie" r:id="rId39" imgW="360" imgH="360" progId="TCLayout.ActiveDocument.1">
                  <p:embed/>
                </p:oleObj>
              </mc:Choice>
              <mc:Fallback>
                <p:oleObj name="think-cell Folie" r:id="rId39" imgW="360" imgH="360" progId="TCLayout.ActiveDocument.1">
                  <p:embed/>
                  <p:pic>
                    <p:nvPicPr>
                      <p:cNvPr id="40" name="Objek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0" y="3177"/>
                        <a:ext cx="3174" cy="31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hteck 38" hidden="1"/>
          <p:cNvSpPr/>
          <p:nvPr>
            <p:custDataLst>
              <p:tags r:id="rId4"/>
            </p:custDataLst>
          </p:nvPr>
        </p:nvSpPr>
        <p:spPr bwMode="auto">
          <a:xfrm>
            <a:off x="3044825" y="0"/>
            <a:ext cx="317500" cy="3175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32BF09D-D8FE-45A5-9B28-C9F9ADA1A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>
                <a:latin typeface="Avenir Medium"/>
              </a:rPr>
              <a:t>Mekko-Diagramm</a:t>
            </a:r>
            <a:br>
              <a:rPr lang="en-US" dirty="0">
                <a:latin typeface="Avenir Medium"/>
              </a:rPr>
            </a:br>
            <a:endParaRPr lang="de-DE" dirty="0">
              <a:latin typeface="Avenir Medium"/>
            </a:endParaRPr>
          </a:p>
        </p:txBody>
      </p:sp>
      <p:sp>
        <p:nvSpPr>
          <p:cNvPr id="8" name="Rechteck 139"/>
          <p:cNvSpPr/>
          <p:nvPr>
            <p:custDataLst>
              <p:tags r:id="rId5"/>
            </p:custDataLst>
          </p:nvPr>
        </p:nvSpPr>
        <p:spPr bwMode="auto">
          <a:xfrm>
            <a:off x="16783052" y="6137276"/>
            <a:ext cx="1127126" cy="51847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9" name="Rechteck 138"/>
          <p:cNvSpPr/>
          <p:nvPr>
            <p:custDataLst>
              <p:tags r:id="rId6"/>
            </p:custDataLst>
          </p:nvPr>
        </p:nvSpPr>
        <p:spPr bwMode="auto">
          <a:xfrm>
            <a:off x="16783052" y="5562600"/>
            <a:ext cx="1127126" cy="574676"/>
          </a:xfrm>
          <a:prstGeom prst="rect">
            <a:avLst/>
          </a:prstGeom>
          <a:solidFill>
            <a:schemeClr val="accent2"/>
          </a:solidFill>
          <a:ln w="12700">
            <a:solidFill>
              <a:srgbClr val="EAEDF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0" name="Rechteck 137"/>
          <p:cNvSpPr/>
          <p:nvPr>
            <p:custDataLst>
              <p:tags r:id="rId7"/>
            </p:custDataLst>
          </p:nvPr>
        </p:nvSpPr>
        <p:spPr bwMode="auto">
          <a:xfrm>
            <a:off x="16783052" y="4121151"/>
            <a:ext cx="1127126" cy="1441450"/>
          </a:xfrm>
          <a:prstGeom prst="rect">
            <a:avLst/>
          </a:prstGeom>
          <a:solidFill>
            <a:schemeClr val="accent1"/>
          </a:solidFill>
          <a:ln w="12700">
            <a:solidFill>
              <a:srgbClr val="EAEDF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1" name="Rechteck 136"/>
          <p:cNvSpPr/>
          <p:nvPr>
            <p:custDataLst>
              <p:tags r:id="rId8"/>
            </p:custDataLst>
          </p:nvPr>
        </p:nvSpPr>
        <p:spPr bwMode="auto">
          <a:xfrm>
            <a:off x="9544051" y="5416550"/>
            <a:ext cx="7239000" cy="59055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2" name="Rechteck 135"/>
          <p:cNvSpPr/>
          <p:nvPr>
            <p:custDataLst>
              <p:tags r:id="rId9"/>
            </p:custDataLst>
          </p:nvPr>
        </p:nvSpPr>
        <p:spPr bwMode="auto">
          <a:xfrm>
            <a:off x="9544051" y="5057776"/>
            <a:ext cx="7239000" cy="358776"/>
          </a:xfrm>
          <a:prstGeom prst="rect">
            <a:avLst/>
          </a:prstGeom>
          <a:solidFill>
            <a:schemeClr val="accent2"/>
          </a:solidFill>
          <a:ln w="12700">
            <a:solidFill>
              <a:srgbClr val="EAEDF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3" name="Rechteck 134"/>
          <p:cNvSpPr/>
          <p:nvPr>
            <p:custDataLst>
              <p:tags r:id="rId10"/>
            </p:custDataLst>
          </p:nvPr>
        </p:nvSpPr>
        <p:spPr bwMode="auto">
          <a:xfrm>
            <a:off x="9544051" y="4121151"/>
            <a:ext cx="7239000" cy="936626"/>
          </a:xfrm>
          <a:prstGeom prst="rect">
            <a:avLst/>
          </a:prstGeom>
          <a:solidFill>
            <a:schemeClr val="accent1"/>
          </a:solidFill>
          <a:ln w="12700">
            <a:solidFill>
              <a:srgbClr val="EAEDF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4" name="Rechteck 133"/>
          <p:cNvSpPr/>
          <p:nvPr>
            <p:custDataLst>
              <p:tags r:id="rId11"/>
            </p:custDataLst>
          </p:nvPr>
        </p:nvSpPr>
        <p:spPr bwMode="auto">
          <a:xfrm>
            <a:off x="5842000" y="7362827"/>
            <a:ext cx="3702050" cy="39592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5" name="Rechteck 132"/>
          <p:cNvSpPr/>
          <p:nvPr>
            <p:custDataLst>
              <p:tags r:id="rId12"/>
            </p:custDataLst>
          </p:nvPr>
        </p:nvSpPr>
        <p:spPr bwMode="auto">
          <a:xfrm>
            <a:off x="5842000" y="5489577"/>
            <a:ext cx="3702050" cy="1873250"/>
          </a:xfrm>
          <a:prstGeom prst="rect">
            <a:avLst/>
          </a:prstGeom>
          <a:solidFill>
            <a:schemeClr val="accent2"/>
          </a:solidFill>
          <a:ln w="12700">
            <a:solidFill>
              <a:srgbClr val="EAEDF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6" name="Rechteck 131"/>
          <p:cNvSpPr/>
          <p:nvPr>
            <p:custDataLst>
              <p:tags r:id="rId13"/>
            </p:custDataLst>
          </p:nvPr>
        </p:nvSpPr>
        <p:spPr bwMode="auto">
          <a:xfrm>
            <a:off x="5842000" y="4121151"/>
            <a:ext cx="3702050" cy="1368426"/>
          </a:xfrm>
          <a:prstGeom prst="rect">
            <a:avLst/>
          </a:prstGeom>
          <a:solidFill>
            <a:schemeClr val="accent1"/>
          </a:solidFill>
          <a:ln w="12700">
            <a:solidFill>
              <a:srgbClr val="EAEDF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Avenir Medium"/>
            </a:endParaRPr>
          </a:p>
        </p:txBody>
      </p:sp>
      <p:cxnSp>
        <p:nvCxnSpPr>
          <p:cNvPr id="17" name="Gerade Verbindung 106"/>
          <p:cNvCxnSpPr/>
          <p:nvPr>
            <p:custDataLst>
              <p:tags r:id="rId14"/>
            </p:custDataLst>
          </p:nvPr>
        </p:nvCxnSpPr>
        <p:spPr bwMode="gray">
          <a:xfrm>
            <a:off x="5813426" y="11322050"/>
            <a:ext cx="12125326" cy="0"/>
          </a:xfrm>
          <a:prstGeom prst="line">
            <a:avLst/>
          </a:prstGeom>
          <a:ln w="28575">
            <a:solidFill>
              <a:srgbClr val="7F7F7F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127"/>
          <p:cNvSpPr/>
          <p:nvPr>
            <p:custDataLst>
              <p:tags r:id="rId15"/>
            </p:custDataLst>
          </p:nvPr>
        </p:nvSpPr>
        <p:spPr bwMode="gray">
          <a:xfrm>
            <a:off x="7445375" y="3644901"/>
            <a:ext cx="495300" cy="42545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0800" tIns="0" rIns="508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29599E2-8D87-4CC7-849E-A5672CCA6619}" type="datetime'''''''''''''''''''''''''2''''''''''''''''''''''''''''3'''''">
              <a:rPr lang="en-US" sz="2800" b="1">
                <a:solidFill>
                  <a:schemeClr val="tx1"/>
                </a:solidFill>
                <a:latin typeface="Avenir Medium"/>
                <a:sym typeface="+mn-lt"/>
              </a:rPr>
              <a:pPr/>
              <a:t>23</a:t>
            </a:fld>
            <a:endParaRPr lang="en-US" sz="28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30" name="Rechteck 115"/>
          <p:cNvSpPr/>
          <p:nvPr>
            <p:custDataLst>
              <p:tags r:id="rId16"/>
            </p:custDataLst>
          </p:nvPr>
        </p:nvSpPr>
        <p:spPr bwMode="gray">
          <a:xfrm>
            <a:off x="7346951" y="9159877"/>
            <a:ext cx="695324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450" tIns="0" rIns="4445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72AC855-13FF-4EC2-AEA9-14988A4C5D01}" type="datetime'''''''''''''''''''''5''''''''''5''''''''''''%'''''''''''''">
              <a:rPr lang="en-US" sz="2400">
                <a:solidFill>
                  <a:schemeClr val="tx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5%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31" name="Rechteck 114"/>
          <p:cNvSpPr/>
          <p:nvPr>
            <p:custDataLst>
              <p:tags r:id="rId17"/>
            </p:custDataLst>
          </p:nvPr>
        </p:nvSpPr>
        <p:spPr bwMode="gray">
          <a:xfrm>
            <a:off x="7346951" y="6245227"/>
            <a:ext cx="695324" cy="365126"/>
          </a:xfrm>
          <a:prstGeom prst="rect">
            <a:avLst/>
          </a:prstGeom>
          <a:noFill/>
          <a:ln w="1270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450" tIns="0" rIns="4445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B0E92D1-C36C-4E39-840A-9AF4FFAB0D8C}" type="datetime'''''''''''''''''''''''''''''2''''''''''''''''''6''%'''''">
              <a:rPr lang="en-US" sz="2400">
                <a:solidFill>
                  <a:schemeClr val="tx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6%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32" name="Rechteck 113"/>
          <p:cNvSpPr/>
          <p:nvPr>
            <p:custDataLst>
              <p:tags r:id="rId18"/>
            </p:custDataLst>
          </p:nvPr>
        </p:nvSpPr>
        <p:spPr bwMode="gray">
          <a:xfrm>
            <a:off x="7346951" y="4622801"/>
            <a:ext cx="695324" cy="365126"/>
          </a:xfrm>
          <a:prstGeom prst="rect">
            <a:avLst/>
          </a:prstGeom>
          <a:noFill/>
          <a:ln w="1270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450" tIns="0" rIns="4445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887EDCB-C28C-4368-947A-A452350EB0D5}" type="datetime'''''''1''''''''''''''''''''''''''''''''''9''%'''''''''''''">
              <a:rPr lang="en-US" sz="2400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%</a:t>
            </a:fld>
            <a:endParaRPr lang="en-US" sz="2400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18" name="Rechteck 120"/>
          <p:cNvSpPr/>
          <p:nvPr>
            <p:custDataLst>
              <p:tags r:id="rId19"/>
            </p:custDataLst>
          </p:nvPr>
        </p:nvSpPr>
        <p:spPr bwMode="auto">
          <a:xfrm>
            <a:off x="16948152" y="11499851"/>
            <a:ext cx="7969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D1E8D2D-25EC-4B6A-AFB0-52487F0DEDB1}" type="datetime'''''''L''''''a''''''''''b''''el''''''''''''''''''''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9" name="Rechteck 129"/>
          <p:cNvSpPr/>
          <p:nvPr>
            <p:custDataLst>
              <p:tags r:id="rId20"/>
            </p:custDataLst>
          </p:nvPr>
        </p:nvSpPr>
        <p:spPr bwMode="gray">
          <a:xfrm>
            <a:off x="17195802" y="3644901"/>
            <a:ext cx="298450" cy="42545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0800" tIns="0" rIns="508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C491C3C-8F3E-48F4-B2AF-DC538BC374B4}" type="datetime'''''''''''''''''''''''''''''''''''''''''''''''7'">
              <a:rPr lang="en-US" sz="2800" b="1">
                <a:solidFill>
                  <a:schemeClr val="tx1"/>
                </a:solidFill>
                <a:latin typeface="Avenir Medium"/>
                <a:sym typeface="+mn-lt"/>
              </a:rPr>
              <a:pPr/>
              <a:t>7</a:t>
            </a:fld>
            <a:endParaRPr lang="en-US" sz="28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0" name="Rechteck 123"/>
          <p:cNvSpPr/>
          <p:nvPr>
            <p:custDataLst>
              <p:tags r:id="rId21"/>
            </p:custDataLst>
          </p:nvPr>
        </p:nvSpPr>
        <p:spPr bwMode="gray">
          <a:xfrm>
            <a:off x="16998951" y="8547101"/>
            <a:ext cx="695324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450" tIns="0" rIns="4445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E666F65-2451-4EA0-95BC-626208AA395C}" type="datetime'''''''7''''''''''2''''''%'''''''''''''">
              <a:rPr lang="en-US" sz="2400">
                <a:solidFill>
                  <a:schemeClr val="tx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2%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1" name="Rechteck 122"/>
          <p:cNvSpPr/>
          <p:nvPr>
            <p:custDataLst>
              <p:tags r:id="rId22"/>
            </p:custDataLst>
          </p:nvPr>
        </p:nvSpPr>
        <p:spPr bwMode="gray">
          <a:xfrm>
            <a:off x="17081502" y="5667377"/>
            <a:ext cx="527050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450" tIns="0" rIns="4445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70B4492-8D94-4311-801A-E0338460ABF5}" type="datetime'''''''''''''8''''''''''%'''''''''''''''''''''''''">
              <a:rPr lang="en-US" sz="2400">
                <a:solidFill>
                  <a:schemeClr val="tx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%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2" name="Rechteck 121"/>
          <p:cNvSpPr/>
          <p:nvPr>
            <p:custDataLst>
              <p:tags r:id="rId23"/>
            </p:custDataLst>
          </p:nvPr>
        </p:nvSpPr>
        <p:spPr bwMode="gray">
          <a:xfrm>
            <a:off x="16998951" y="4660901"/>
            <a:ext cx="695324" cy="365126"/>
          </a:xfrm>
          <a:prstGeom prst="rect">
            <a:avLst/>
          </a:prstGeom>
          <a:noFill/>
          <a:ln w="1270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450" tIns="0" rIns="4445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BAA7922-E004-40D6-9712-65CE822235CF}" type="datetime'''''''''''''''2''''''0''''''''''''''''''%'">
              <a:rPr lang="en-US" sz="2400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en-US" sz="2400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23" name="Rechteck 116"/>
          <p:cNvSpPr/>
          <p:nvPr>
            <p:custDataLst>
              <p:tags r:id="rId24"/>
            </p:custDataLst>
          </p:nvPr>
        </p:nvSpPr>
        <p:spPr bwMode="auto">
          <a:xfrm>
            <a:off x="12766676" y="11499851"/>
            <a:ext cx="7969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E7695C1-1414-4578-88F1-E4EB82A20628}" type="datetime'''L''''''''''''a''b''''''''''''''''''e''l''''''''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4" name="Rechteck 128"/>
          <p:cNvSpPr/>
          <p:nvPr>
            <p:custDataLst>
              <p:tags r:id="rId25"/>
            </p:custDataLst>
          </p:nvPr>
        </p:nvSpPr>
        <p:spPr bwMode="gray">
          <a:xfrm>
            <a:off x="12915901" y="3644901"/>
            <a:ext cx="495300" cy="42545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0800" tIns="0" rIns="508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533AAA4-8ACB-46EE-AC78-F60A0EDFF7BF}" type="datetime'''''''''''''''''''4''''''''''''''''''''''''''5'''''''''''''''">
              <a:rPr lang="en-US" sz="2800" b="1">
                <a:solidFill>
                  <a:schemeClr val="tx1"/>
                </a:solidFill>
                <a:latin typeface="Avenir Medium"/>
                <a:sym typeface="+mn-lt"/>
              </a:rPr>
              <a:pPr/>
              <a:t>45</a:t>
            </a:fld>
            <a:endParaRPr lang="en-US" sz="28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5" name="Rechteck 119"/>
          <p:cNvSpPr/>
          <p:nvPr>
            <p:custDataLst>
              <p:tags r:id="rId26"/>
            </p:custDataLst>
          </p:nvPr>
        </p:nvSpPr>
        <p:spPr bwMode="gray">
          <a:xfrm>
            <a:off x="12817475" y="8188327"/>
            <a:ext cx="695324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450" tIns="0" rIns="4445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1A307D2-DEC5-4955-BBC6-0EBE7F6EE28A}" type="datetime'''''''''''''8''2''''''''''''''%'''''''''''''''''''''''''''''''">
              <a:rPr lang="en-US" sz="2400">
                <a:solidFill>
                  <a:schemeClr val="tx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2%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6" name="Rechteck 118"/>
          <p:cNvSpPr/>
          <p:nvPr>
            <p:custDataLst>
              <p:tags r:id="rId27"/>
            </p:custDataLst>
          </p:nvPr>
        </p:nvSpPr>
        <p:spPr bwMode="gray">
          <a:xfrm>
            <a:off x="12900026" y="5054601"/>
            <a:ext cx="527050" cy="365126"/>
          </a:xfrm>
          <a:prstGeom prst="rect">
            <a:avLst/>
          </a:prstGeom>
          <a:noFill/>
          <a:ln w="1270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450" tIns="0" rIns="4445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D38EFD3-D63F-4AC9-8E8F-29B768D18724}" type="datetime'''''''5''''''''''''''''''''''''''''''''''''%'''''''''''''">
              <a:rPr lang="en-US" sz="2400">
                <a:solidFill>
                  <a:schemeClr val="tx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7" name="Rechteck 117"/>
          <p:cNvSpPr/>
          <p:nvPr>
            <p:custDataLst>
              <p:tags r:id="rId28"/>
            </p:custDataLst>
          </p:nvPr>
        </p:nvSpPr>
        <p:spPr bwMode="gray">
          <a:xfrm>
            <a:off x="12817475" y="4406901"/>
            <a:ext cx="695324" cy="365126"/>
          </a:xfrm>
          <a:prstGeom prst="rect">
            <a:avLst/>
          </a:prstGeom>
          <a:noFill/>
          <a:ln w="1270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4450" tIns="0" rIns="4445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A9B9C1E-C19A-4B4F-BF07-7A8CB8314AE3}" type="datetime'''''''1''''''''''''''''''''''''''''''3''''''''''%'''''''''">
              <a:rPr lang="en-US" sz="2400">
                <a:solidFill>
                  <a:schemeClr val="bg1"/>
                </a:solidFill>
                <a:latin typeface="Avenir Medium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%</a:t>
            </a:fld>
            <a:endParaRPr lang="en-US" sz="2400" dirty="0">
              <a:solidFill>
                <a:schemeClr val="bg1"/>
              </a:solidFill>
              <a:latin typeface="Avenir Medium"/>
              <a:sym typeface="+mn-lt"/>
            </a:endParaRPr>
          </a:p>
        </p:txBody>
      </p:sp>
      <p:sp>
        <p:nvSpPr>
          <p:cNvPr id="28" name="Rechteck 112"/>
          <p:cNvSpPr/>
          <p:nvPr>
            <p:custDataLst>
              <p:tags r:id="rId29"/>
            </p:custDataLst>
          </p:nvPr>
        </p:nvSpPr>
        <p:spPr bwMode="auto">
          <a:xfrm>
            <a:off x="7296152" y="11499851"/>
            <a:ext cx="7969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519BF44-9CC8-4539-A62E-ED4276E9F356}" type="datetime'''''''''''''''''''''L''''''''a''''''''''''''''b''e''''''l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34" name="Rechteck 33"/>
          <p:cNvSpPr/>
          <p:nvPr>
            <p:custDataLst>
              <p:tags r:id="rId30"/>
            </p:custDataLst>
          </p:nvPr>
        </p:nvSpPr>
        <p:spPr bwMode="auto">
          <a:xfrm>
            <a:off x="18357852" y="5060951"/>
            <a:ext cx="428626" cy="320674"/>
          </a:xfrm>
          <a:prstGeom prst="rect">
            <a:avLst/>
          </a:prstGeom>
          <a:solidFill>
            <a:schemeClr val="accent3"/>
          </a:solidFill>
          <a:ln w="12700">
            <a:solidFill>
              <a:srgbClr val="EAEDFA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indent="-358776" algn="ctr">
              <a:buClr>
                <a:schemeClr val="tx2"/>
              </a:buClr>
              <a:buFont typeface="Arial" pitchFamily="34" charset="0"/>
              <a:buChar char="/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5" name="Rechteck 34"/>
          <p:cNvSpPr/>
          <p:nvPr>
            <p:custDataLst>
              <p:tags r:id="rId31"/>
            </p:custDataLst>
          </p:nvPr>
        </p:nvSpPr>
        <p:spPr bwMode="auto">
          <a:xfrm>
            <a:off x="18357852" y="4594227"/>
            <a:ext cx="428626" cy="320674"/>
          </a:xfrm>
          <a:prstGeom prst="rect">
            <a:avLst/>
          </a:prstGeom>
          <a:solidFill>
            <a:schemeClr val="accent2"/>
          </a:solidFill>
          <a:ln w="12700">
            <a:solidFill>
              <a:srgbClr val="EAEDFA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indent="-358776" algn="ctr">
              <a:buClr>
                <a:schemeClr val="tx2"/>
              </a:buClr>
              <a:buFont typeface="Arial" pitchFamily="34" charset="0"/>
              <a:buChar char="/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3" name="Rechteck 32"/>
          <p:cNvSpPr/>
          <p:nvPr>
            <p:custDataLst>
              <p:tags r:id="rId32"/>
            </p:custDataLst>
          </p:nvPr>
        </p:nvSpPr>
        <p:spPr bwMode="auto">
          <a:xfrm>
            <a:off x="18357852" y="4127501"/>
            <a:ext cx="428626" cy="320674"/>
          </a:xfrm>
          <a:prstGeom prst="rect">
            <a:avLst/>
          </a:prstGeom>
          <a:solidFill>
            <a:schemeClr val="accent1"/>
          </a:solidFill>
          <a:ln w="12700">
            <a:solidFill>
              <a:srgbClr val="EAEDFA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8776" indent="-358776" algn="ctr">
              <a:buClr>
                <a:schemeClr val="tx2"/>
              </a:buClr>
              <a:buFont typeface="Arial" pitchFamily="34" charset="0"/>
              <a:buChar char="/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6" name="Rechteck 126"/>
          <p:cNvSpPr/>
          <p:nvPr>
            <p:custDataLst>
              <p:tags r:id="rId33"/>
            </p:custDataLst>
          </p:nvPr>
        </p:nvSpPr>
        <p:spPr bwMode="auto">
          <a:xfrm>
            <a:off x="18888076" y="5051427"/>
            <a:ext cx="8604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2792116-190E-4C84-9693-687CAE5A7DA8}" type="datetime'''''S''''''''''''''e''r''''''''''''''''''''''''''''i''es''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37" name="Rechteck 125"/>
          <p:cNvSpPr/>
          <p:nvPr>
            <p:custDataLst>
              <p:tags r:id="rId34"/>
            </p:custDataLst>
          </p:nvPr>
        </p:nvSpPr>
        <p:spPr bwMode="auto">
          <a:xfrm>
            <a:off x="18888076" y="4584701"/>
            <a:ext cx="8604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D6F5622-CB7D-4667-9CE1-1BB333265C18}" type="datetime'''''''''''''''''''''S''''''''eri''''''''''es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2400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38" name="Rechteck 37"/>
          <p:cNvSpPr/>
          <p:nvPr>
            <p:custDataLst>
              <p:tags r:id="rId35"/>
            </p:custDataLst>
          </p:nvPr>
        </p:nvSpPr>
        <p:spPr bwMode="auto">
          <a:xfrm>
            <a:off x="18888076" y="4117977"/>
            <a:ext cx="860426" cy="36512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fld id="{237AA44F-ECA6-4865-9044-1F5A654C90F9}" type="datetime'''''''''''''''Se''ri''''''''e''''''''''''''''''''s'''''''''">
              <a:rPr lang="en-US" sz="2400">
                <a:solidFill>
                  <a:schemeClr val="tx1"/>
                </a:solidFill>
                <a:latin typeface="Avenir Medium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</a:pPr>
              <a:t>Series</a:t>
            </a:fld>
            <a:endParaRPr lang="en-US" sz="2400" dirty="0" err="1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43" name="McK Footnote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1) Footnote</a:t>
            </a: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Source: Source</a:t>
            </a:r>
            <a:endParaRPr lang="en-US" dirty="0">
              <a:latin typeface="Avenir Medium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83263430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048000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2" name="think-cell Folie" r:id="rId23" imgW="360" imgH="360" progId="TCLayout.ActiveDocument.1">
                  <p:embed/>
                </p:oleObj>
              </mc:Choice>
              <mc:Fallback>
                <p:oleObj name="think-cell Folie" r:id="rId23" imgW="360" imgH="360" progId="TCLayout.ActiveDocument.1">
                  <p:embed/>
                  <p:pic>
                    <p:nvPicPr>
                      <p:cNvPr id="16" name="Objek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0" y="3177"/>
                        <a:ext cx="3174" cy="31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/>
          <p:cNvSpPr/>
          <p:nvPr>
            <p:custDataLst>
              <p:tags r:id="rId4"/>
            </p:custDataLst>
          </p:nvPr>
        </p:nvSpPr>
        <p:spPr bwMode="auto">
          <a:xfrm>
            <a:off x="3044825" y="0"/>
            <a:ext cx="317500" cy="3175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9A5D846-F9BB-4E46-A389-F3731437BA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>
                <a:latin typeface="Avenir Medium"/>
              </a:rPr>
              <a:t>Wasserfall-Diagramm</a:t>
            </a:r>
            <a:endParaRPr lang="de-DE" dirty="0">
              <a:latin typeface="Avenir Medium"/>
            </a:endParaRPr>
          </a:p>
        </p:txBody>
      </p:sp>
      <p:cxnSp>
        <p:nvCxnSpPr>
          <p:cNvPr id="9" name="Gerade Verbindung 105"/>
          <p:cNvCxnSpPr/>
          <p:nvPr>
            <p:custDataLst>
              <p:tags r:id="rId5"/>
            </p:custDataLst>
          </p:nvPr>
        </p:nvCxnSpPr>
        <p:spPr bwMode="gray">
          <a:xfrm>
            <a:off x="12665075" y="4114800"/>
            <a:ext cx="1905000" cy="0"/>
          </a:xfrm>
          <a:prstGeom prst="line">
            <a:avLst/>
          </a:prstGeom>
          <a:ln w="3175">
            <a:solidFill>
              <a:srgbClr val="7F7F7F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104"/>
          <p:cNvCxnSpPr/>
          <p:nvPr>
            <p:custDataLst>
              <p:tags r:id="rId6"/>
            </p:custDataLst>
          </p:nvPr>
        </p:nvCxnSpPr>
        <p:spPr bwMode="gray">
          <a:xfrm>
            <a:off x="8378825" y="7905750"/>
            <a:ext cx="1905000" cy="0"/>
          </a:xfrm>
          <a:prstGeom prst="line">
            <a:avLst/>
          </a:prstGeom>
          <a:ln w="3175">
            <a:solidFill>
              <a:srgbClr val="7F7F7F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kt 98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83660476"/>
              </p:ext>
            </p:extLst>
          </p:nvPr>
        </p:nvGraphicFramePr>
        <p:xfrm>
          <a:off x="4924426" y="3937000"/>
          <a:ext cx="13138234" cy="7537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21" name="Textplatzhalter 4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5503525" y="3638551"/>
            <a:ext cx="495300" cy="425450"/>
          </a:xfrm>
          <a:prstGeom prst="rect">
            <a:avLst/>
          </a:prstGeom>
          <a:noFill/>
          <a:effectLst/>
        </p:spPr>
        <p:txBody>
          <a:bodyPr wrap="none" lIns="50800" tIns="0" rIns="508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C3D84C5-F419-4AFB-BE59-CA2DEE698B6E}" type="datetime'''''''''''''''''''''''21'''''''''''''''''''''''''''''">
              <a:rPr lang="en-US" sz="2800" b="1">
                <a:latin typeface="Avenir Medium"/>
                <a:sym typeface="+mn-lt"/>
              </a:rPr>
              <a:pPr/>
              <a:t>21</a:t>
            </a:fld>
            <a:endParaRPr lang="en-US" sz="2800" b="1" dirty="0">
              <a:latin typeface="Avenir Medium"/>
              <a:sym typeface="+mn-lt"/>
            </a:endParaRPr>
          </a:p>
        </p:txBody>
      </p:sp>
      <p:sp>
        <p:nvSpPr>
          <p:cNvPr id="14" name="Rechteck 101"/>
          <p:cNvSpPr/>
          <p:nvPr>
            <p:custDataLst>
              <p:tags r:id="rId9"/>
            </p:custDataLst>
          </p:nvPr>
        </p:nvSpPr>
        <p:spPr bwMode="auto">
          <a:xfrm>
            <a:off x="15341602" y="11512551"/>
            <a:ext cx="8223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EF82C02-91B0-47B2-B506-B54D2F29CC95}" type="datetime'''''''''''''L''a''''''''''b''''''''''e''''l''''''''''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3" name="Rechteck 100"/>
          <p:cNvSpPr/>
          <p:nvPr>
            <p:custDataLst>
              <p:tags r:id="rId10"/>
            </p:custDataLst>
          </p:nvPr>
        </p:nvSpPr>
        <p:spPr bwMode="auto">
          <a:xfrm>
            <a:off x="11064876" y="11512551"/>
            <a:ext cx="8223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DE2D528-7D71-486F-A1AD-CB9F307DCD92}" type="datetime'''''L''''''a''''''''''b''''''''''''e''''''''l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20" name="Textplatzhalter 41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1236326" y="3638551"/>
            <a:ext cx="476250" cy="425450"/>
          </a:xfrm>
          <a:prstGeom prst="rect">
            <a:avLst/>
          </a:prstGeom>
          <a:noFill/>
          <a:effectLst/>
        </p:spPr>
        <p:txBody>
          <a:bodyPr wrap="none" lIns="50800" tIns="0" rIns="508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BEAE184-E5E6-4FFB-813A-50891090BF7C}" type="datetime'''''''''''''''''''''''''''''1''''''''''''''''''''''''1'''">
              <a:rPr lang="en-US" sz="2800" b="1">
                <a:latin typeface="Avenir Medium"/>
                <a:sym typeface="+mn-lt"/>
              </a:rPr>
              <a:pPr/>
              <a:t>11</a:t>
            </a:fld>
            <a:endParaRPr lang="en-US" sz="2800" b="1" dirty="0">
              <a:latin typeface="Avenir Medium"/>
              <a:sym typeface="+mn-lt"/>
            </a:endParaRPr>
          </a:p>
        </p:txBody>
      </p:sp>
      <p:sp>
        <p:nvSpPr>
          <p:cNvPr id="11" name="Rechteck 99"/>
          <p:cNvSpPr/>
          <p:nvPr>
            <p:custDataLst>
              <p:tags r:id="rId12"/>
            </p:custDataLst>
          </p:nvPr>
        </p:nvSpPr>
        <p:spPr bwMode="auto">
          <a:xfrm>
            <a:off x="6788152" y="11512551"/>
            <a:ext cx="822326" cy="36512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26899AA-52D7-4953-A786-81E89074C1CA}" type="datetime'''''''L''''''''ab''''''''el'''''''''''''''''''''''">
              <a:rPr lang="en-US" sz="2400" b="1">
                <a:solidFill>
                  <a:schemeClr val="tx1"/>
                </a:solidFill>
                <a:latin typeface="Avenir Medium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2400" b="1" dirty="0">
              <a:solidFill>
                <a:schemeClr val="tx1"/>
              </a:solidFill>
              <a:latin typeface="Avenir Medium"/>
              <a:sym typeface="+mn-lt"/>
            </a:endParaRPr>
          </a:p>
        </p:txBody>
      </p:sp>
      <p:sp>
        <p:nvSpPr>
          <p:cNvPr id="19" name="Textplatzhalter 40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950075" y="7429501"/>
            <a:ext cx="495300" cy="425450"/>
          </a:xfrm>
          <a:prstGeom prst="rect">
            <a:avLst/>
          </a:prstGeom>
          <a:noFill/>
          <a:effectLst/>
        </p:spPr>
        <p:txBody>
          <a:bodyPr wrap="none" lIns="50800" tIns="0" rIns="508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8D542FF-ED16-4422-A65D-638A93FE38DA}" type="datetime'''''''''''''''''''''''''''''''1''''''''''''''0'''''">
              <a:rPr lang="en-US" sz="2800" b="1">
                <a:latin typeface="Avenir Medium"/>
                <a:sym typeface="+mn-lt"/>
              </a:rPr>
              <a:pPr/>
              <a:t>10</a:t>
            </a:fld>
            <a:endParaRPr lang="en-US" sz="2800" b="1" dirty="0">
              <a:latin typeface="Avenir Medium"/>
              <a:sym typeface="+mn-lt"/>
            </a:endParaRPr>
          </a:p>
        </p:txBody>
      </p:sp>
      <p:sp>
        <p:nvSpPr>
          <p:cNvPr id="22" name="McK Footnote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044762" y="12168009"/>
            <a:ext cx="1827225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91440" rIns="182880" bIns="91440" numCol="1" anchor="b" anchorCtr="0" compatLnSpc="1">
            <a:prstTxWarp prst="textNoShape">
              <a:avLst/>
            </a:prstTxWarp>
            <a:spAutoFit/>
          </a:bodyPr>
          <a:lstStyle/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1) Footnote</a:t>
            </a:r>
          </a:p>
          <a:p>
            <a:pPr defTabSz="1828800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latin typeface="Avenir Medium"/>
              </a:rPr>
              <a:t>Source: Source</a:t>
            </a:r>
            <a:endParaRPr lang="en-US" dirty="0">
              <a:latin typeface="Avenir Medium"/>
            </a:endParaRPr>
          </a:p>
        </p:txBody>
      </p:sp>
      <p:sp>
        <p:nvSpPr>
          <p:cNvPr id="36" name="Rectangle 35"/>
          <p:cNvSpPr/>
          <p:nvPr>
            <p:custDataLst>
              <p:tags r:id="rId15"/>
            </p:custDataLst>
          </p:nvPr>
        </p:nvSpPr>
        <p:spPr bwMode="auto">
          <a:xfrm>
            <a:off x="18367376" y="4721227"/>
            <a:ext cx="428626" cy="32067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indent="-360000">
              <a:buFont typeface="Wingdings 2" panose="05020102010507070707" pitchFamily="18" charset="2"/>
              <a:buChar char="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7" name="Rectangle 36"/>
          <p:cNvSpPr/>
          <p:nvPr>
            <p:custDataLst>
              <p:tags r:id="rId16"/>
            </p:custDataLst>
          </p:nvPr>
        </p:nvSpPr>
        <p:spPr bwMode="auto">
          <a:xfrm>
            <a:off x="18367376" y="5187950"/>
            <a:ext cx="428626" cy="320676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indent="-360000">
              <a:buFont typeface="Wingdings 2" panose="05020102010507070707" pitchFamily="18" charset="2"/>
              <a:buChar char="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17" name="Rectangle 16"/>
          <p:cNvSpPr/>
          <p:nvPr>
            <p:custDataLst>
              <p:tags r:id="rId17"/>
            </p:custDataLst>
          </p:nvPr>
        </p:nvSpPr>
        <p:spPr bwMode="auto">
          <a:xfrm>
            <a:off x="18367376" y="4254500"/>
            <a:ext cx="428626" cy="320676"/>
          </a:xfrm>
          <a:prstGeom prst="rect">
            <a:avLst/>
          </a:prstGeom>
          <a:solidFill>
            <a:schemeClr val="accent1"/>
          </a:solidFill>
          <a:ln w="9525">
            <a:solidFill>
              <a:srgbClr val="7F7F7F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0000" indent="-360000">
              <a:buFont typeface="Wingdings 2" panose="05020102010507070707" pitchFamily="18" charset="2"/>
              <a:buChar char=""/>
            </a:pPr>
            <a:endParaRPr lang="en-US" sz="2800" dirty="0" err="1">
              <a:solidFill>
                <a:schemeClr val="tx1"/>
              </a:solidFill>
              <a:latin typeface="Avenir Medium"/>
            </a:endParaRPr>
          </a:p>
        </p:txBody>
      </p:sp>
      <p:sp>
        <p:nvSpPr>
          <p:cNvPr id="33" name="Text Placeholder 51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8897602" y="4711701"/>
            <a:ext cx="8604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565E52E-91F3-425B-9221-7D25A1C40B04}" type="datetime'''S''''eri''''''''''''''''''''''''''''''''''''''''''''es'''''">
              <a:rPr lang="en-US" sz="2400">
                <a:latin typeface="Avenir Medium"/>
              </a:rPr>
              <a:pPr/>
              <a:t>Series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34" name="Text Placeholder 5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8897602" y="5178427"/>
            <a:ext cx="8604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FC04912-97B9-4902-9C1F-049D71DA8E78}" type="datetime'''''''''S''''e''''r''''''''''''''''''i''''''e''''''''''s'''''">
              <a:rPr lang="en-US" sz="2400">
                <a:latin typeface="Avenir Medium"/>
              </a:rPr>
              <a:pPr/>
              <a:t>Series</a:t>
            </a:fld>
            <a:endParaRPr lang="en-US" sz="2400" dirty="0">
              <a:latin typeface="Avenir Medium"/>
              <a:sym typeface="+mn-lt"/>
            </a:endParaRPr>
          </a:p>
        </p:txBody>
      </p:sp>
      <p:sp>
        <p:nvSpPr>
          <p:cNvPr id="35" name="Text Placeholder 5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8897602" y="4244977"/>
            <a:ext cx="860426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0"/>
              </a:spcBef>
              <a:buClrTx/>
              <a:buFont typeface="Wingdings 2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4927702-AAB3-4646-8EB0-C536D049BB56}" type="datetime'''''''''''''''''''S''''''''''''e''''r''''''''''ie''s'">
              <a:rPr lang="en-US" sz="2400">
                <a:latin typeface="Avenir Medium"/>
              </a:rPr>
              <a:pPr/>
              <a:t>Series</a:t>
            </a:fld>
            <a:endParaRPr lang="en-US" sz="2400" dirty="0">
              <a:latin typeface="Avenir Medium"/>
              <a:sym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733784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837" y="2537520"/>
            <a:ext cx="1440000" cy="144000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2677" y="2537520"/>
            <a:ext cx="1440000" cy="144000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1517" y="2537520"/>
            <a:ext cx="1440000" cy="14400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6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837" y="7146032"/>
            <a:ext cx="1440000" cy="144000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117" y="7146032"/>
            <a:ext cx="1440000" cy="144000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117" y="2537520"/>
            <a:ext cx="1440000" cy="144000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7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8957" y="2537520"/>
            <a:ext cx="1440000" cy="144000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7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7797" y="2537520"/>
            <a:ext cx="1440000" cy="144000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7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397" y="2537520"/>
            <a:ext cx="1440000" cy="144000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7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5237" y="2537520"/>
            <a:ext cx="1440000" cy="1440000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7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24081" y="2537520"/>
            <a:ext cx="1440000" cy="1440000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7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397" y="7146032"/>
            <a:ext cx="1440000" cy="1440000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7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2677" y="4121856"/>
            <a:ext cx="1440000" cy="1440000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7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8957" y="4121856"/>
            <a:ext cx="1440000" cy="1440000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7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5237" y="4121856"/>
            <a:ext cx="1440000" cy="1440000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8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1517" y="7146032"/>
            <a:ext cx="1440000" cy="1440000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8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7797" y="7146032"/>
            <a:ext cx="1440000" cy="144000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8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24081" y="7146032"/>
            <a:ext cx="1440000" cy="1440000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8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837" y="4121856"/>
            <a:ext cx="1440000" cy="1440000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8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117" y="4121856"/>
            <a:ext cx="1440000" cy="1440000"/>
          </a:xfrm>
          <a:prstGeom prst="rect">
            <a:avLst/>
          </a:prstGeom>
        </p:spPr>
      </p:pic>
      <p:pic>
        <p:nvPicPr>
          <p:cNvPr id="28" name="Grafik 27"/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8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397" y="4121856"/>
            <a:ext cx="1440000" cy="1440000"/>
          </a:xfrm>
          <a:prstGeom prst="rect">
            <a:avLst/>
          </a:prstGeom>
        </p:spPr>
      </p:pic>
      <p:pic>
        <p:nvPicPr>
          <p:cNvPr id="29" name="Grafik 28"/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8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837" y="8730368"/>
            <a:ext cx="1440000" cy="1440000"/>
          </a:xfrm>
          <a:prstGeom prst="rect">
            <a:avLst/>
          </a:prstGeom>
        </p:spPr>
      </p:pic>
      <p:pic>
        <p:nvPicPr>
          <p:cNvPr id="30" name="Grafik 29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8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117" y="8730368"/>
            <a:ext cx="1440000" cy="1440000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8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397" y="8730368"/>
            <a:ext cx="1440000" cy="1440000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8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1517" y="4121856"/>
            <a:ext cx="1440000" cy="1440000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9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7797" y="4121856"/>
            <a:ext cx="1440000" cy="1440000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9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24081" y="4121856"/>
            <a:ext cx="1440000" cy="1440000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9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2677" y="7146032"/>
            <a:ext cx="1440000" cy="1440000"/>
          </a:xfrm>
          <a:prstGeom prst="rect">
            <a:avLst/>
          </a:prstGeom>
        </p:spPr>
      </p:pic>
      <p:pic>
        <p:nvPicPr>
          <p:cNvPr id="36" name="Grafik 35"/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9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8957" y="7146032"/>
            <a:ext cx="1440000" cy="1440000"/>
          </a:xfrm>
          <a:prstGeom prst="rect">
            <a:avLst/>
          </a:prstGeom>
        </p:spPr>
      </p:pic>
      <p:pic>
        <p:nvPicPr>
          <p:cNvPr id="37" name="Grafik 36"/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9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5237" y="7146032"/>
            <a:ext cx="1440000" cy="1440000"/>
          </a:xfrm>
          <a:prstGeom prst="rect">
            <a:avLst/>
          </a:prstGeom>
        </p:spPr>
      </p:pic>
      <p:pic>
        <p:nvPicPr>
          <p:cNvPr id="38" name="Grafik 37"/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9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2677" y="8730368"/>
            <a:ext cx="1440000" cy="1440000"/>
          </a:xfrm>
          <a:prstGeom prst="rect">
            <a:avLst/>
          </a:prstGeom>
        </p:spPr>
      </p:pic>
      <p:pic>
        <p:nvPicPr>
          <p:cNvPr id="39" name="Grafik 38"/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9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8957" y="8730368"/>
            <a:ext cx="1440000" cy="1440000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9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5237" y="8730368"/>
            <a:ext cx="1440000" cy="1440000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>
            <p:custDataLst>
              <p:tags r:id="rId34"/>
            </p:custDataLst>
          </p:nvPr>
        </p:nvPicPr>
        <p:blipFill>
          <a:blip r:embed="rId9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1517" y="8730368"/>
            <a:ext cx="1440000" cy="1440000"/>
          </a:xfrm>
          <a:prstGeom prst="rect">
            <a:avLst/>
          </a:prstGeom>
        </p:spPr>
      </p:pic>
      <p:pic>
        <p:nvPicPr>
          <p:cNvPr id="42" name="Grafik 41"/>
          <p:cNvPicPr>
            <a:picLocks noChangeAspect="1"/>
          </p:cNvPicPr>
          <p:nvPr>
            <p:custDataLst>
              <p:tags r:id="rId35"/>
            </p:custDataLst>
          </p:nvPr>
        </p:nvPicPr>
        <p:blipFill>
          <a:blip r:embed="rId9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7797" y="8730368"/>
            <a:ext cx="1440000" cy="1440000"/>
          </a:xfrm>
          <a:prstGeom prst="rect">
            <a:avLst/>
          </a:prstGeom>
        </p:spPr>
      </p:pic>
      <p:pic>
        <p:nvPicPr>
          <p:cNvPr id="43" name="Grafik 42"/>
          <p:cNvPicPr>
            <a:picLocks noChangeAspect="1"/>
          </p:cNvPicPr>
          <p:nvPr>
            <p:custDataLst>
              <p:tags r:id="rId36"/>
            </p:custDataLst>
          </p:nvPr>
        </p:nvPicPr>
        <p:blipFill>
          <a:blip r:embed="rId10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24081" y="8730368"/>
            <a:ext cx="1440000" cy="1440000"/>
          </a:xfrm>
          <a:prstGeom prst="rect">
            <a:avLst/>
          </a:prstGeom>
        </p:spPr>
      </p:pic>
      <p:pic>
        <p:nvPicPr>
          <p:cNvPr id="44" name="Grafik 43"/>
          <p:cNvPicPr>
            <a:picLocks noChangeAspect="1"/>
          </p:cNvPicPr>
          <p:nvPr>
            <p:custDataLst>
              <p:tags r:id="rId37"/>
            </p:custDataLst>
          </p:nvPr>
        </p:nvPicPr>
        <p:blipFill>
          <a:blip r:embed="rId10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837" y="10314384"/>
            <a:ext cx="1440000" cy="1440000"/>
          </a:xfrm>
          <a:prstGeom prst="rect">
            <a:avLst/>
          </a:prstGeom>
        </p:spPr>
      </p:pic>
      <p:pic>
        <p:nvPicPr>
          <p:cNvPr id="45" name="Grafik 44"/>
          <p:cNvPicPr>
            <a:picLocks noChangeAspect="1"/>
          </p:cNvPicPr>
          <p:nvPr>
            <p:custDataLst>
              <p:tags r:id="rId38"/>
            </p:custDataLst>
          </p:nvPr>
        </p:nvPicPr>
        <p:blipFill>
          <a:blip r:embed="rId10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117" y="10314384"/>
            <a:ext cx="1440000" cy="1440000"/>
          </a:xfrm>
          <a:prstGeom prst="rect">
            <a:avLst/>
          </a:prstGeom>
        </p:spPr>
      </p:pic>
      <p:pic>
        <p:nvPicPr>
          <p:cNvPr id="46" name="Grafik 45"/>
          <p:cNvPicPr>
            <a:picLocks noChangeAspect="1"/>
          </p:cNvPicPr>
          <p:nvPr>
            <p:custDataLst>
              <p:tags r:id="rId39"/>
            </p:custDataLst>
          </p:nvPr>
        </p:nvPicPr>
        <p:blipFill>
          <a:blip r:embed="rId10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397" y="10314384"/>
            <a:ext cx="1440000" cy="1440000"/>
          </a:xfrm>
          <a:prstGeom prst="rect">
            <a:avLst/>
          </a:prstGeom>
        </p:spPr>
      </p:pic>
      <p:pic>
        <p:nvPicPr>
          <p:cNvPr id="47" name="Grafik 46"/>
          <p:cNvPicPr>
            <a:picLocks noChangeAspect="1"/>
          </p:cNvPicPr>
          <p:nvPr>
            <p:custDataLst>
              <p:tags r:id="rId40"/>
            </p:custDataLst>
          </p:nvPr>
        </p:nvPicPr>
        <p:blipFill>
          <a:blip r:embed="rId10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2677" y="10314384"/>
            <a:ext cx="1440000" cy="1440000"/>
          </a:xfrm>
          <a:prstGeom prst="rect">
            <a:avLst/>
          </a:prstGeom>
        </p:spPr>
      </p:pic>
      <p:pic>
        <p:nvPicPr>
          <p:cNvPr id="48" name="Grafik 47"/>
          <p:cNvPicPr>
            <a:picLocks noChangeAspect="1"/>
          </p:cNvPicPr>
          <p:nvPr>
            <p:custDataLst>
              <p:tags r:id="rId41"/>
            </p:custDataLst>
          </p:nvPr>
        </p:nvPicPr>
        <p:blipFill>
          <a:blip r:embed="rId10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8957" y="10314384"/>
            <a:ext cx="1440000" cy="1440000"/>
          </a:xfrm>
          <a:prstGeom prst="rect">
            <a:avLst/>
          </a:prstGeom>
        </p:spPr>
      </p:pic>
      <p:pic>
        <p:nvPicPr>
          <p:cNvPr id="49" name="Grafik 48"/>
          <p:cNvPicPr>
            <a:picLocks noChangeAspect="1"/>
          </p:cNvPicPr>
          <p:nvPr>
            <p:custDataLst>
              <p:tags r:id="rId42"/>
            </p:custDataLst>
          </p:nvPr>
        </p:nvPicPr>
        <p:blipFill>
          <a:blip r:embed="rId10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5237" y="10314384"/>
            <a:ext cx="1440000" cy="1440000"/>
          </a:xfrm>
          <a:prstGeom prst="rect">
            <a:avLst/>
          </a:prstGeom>
        </p:spPr>
      </p:pic>
      <p:pic>
        <p:nvPicPr>
          <p:cNvPr id="50" name="Grafik 49"/>
          <p:cNvPicPr>
            <a:picLocks noChangeAspect="1"/>
          </p:cNvPicPr>
          <p:nvPr>
            <p:custDataLst>
              <p:tags r:id="rId43"/>
            </p:custDataLst>
          </p:nvPr>
        </p:nvPicPr>
        <p:blipFill>
          <a:blip r:embed="rId10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1517" y="10314384"/>
            <a:ext cx="1440000" cy="1440000"/>
          </a:xfrm>
          <a:prstGeom prst="rect">
            <a:avLst/>
          </a:prstGeom>
        </p:spPr>
      </p:pic>
      <p:pic>
        <p:nvPicPr>
          <p:cNvPr id="51" name="Grafik 50"/>
          <p:cNvPicPr>
            <a:picLocks noChangeAspect="1"/>
          </p:cNvPicPr>
          <p:nvPr>
            <p:custDataLst>
              <p:tags r:id="rId44"/>
            </p:custDataLst>
          </p:nvPr>
        </p:nvPicPr>
        <p:blipFill>
          <a:blip r:embed="rId10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7797" y="10314384"/>
            <a:ext cx="1440000" cy="1440000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>
            <p:custDataLst>
              <p:tags r:id="rId45"/>
            </p:custDataLst>
          </p:nvPr>
        </p:nvPicPr>
        <p:blipFill>
          <a:blip r:embed="rId10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24081" y="10314384"/>
            <a:ext cx="1440000" cy="1440000"/>
          </a:xfrm>
          <a:prstGeom prst="rect">
            <a:avLst/>
          </a:prstGeom>
        </p:spPr>
      </p:pic>
      <p:pic>
        <p:nvPicPr>
          <p:cNvPr id="53" name="Grafik 52"/>
          <p:cNvPicPr>
            <a:picLocks noChangeAspect="1"/>
          </p:cNvPicPr>
          <p:nvPr>
            <p:custDataLst>
              <p:tags r:id="rId46"/>
            </p:custDataLst>
          </p:nvPr>
        </p:nvPicPr>
        <p:blipFill>
          <a:blip r:embed="rId1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837" y="11898720"/>
            <a:ext cx="1440000" cy="1440000"/>
          </a:xfrm>
          <a:prstGeom prst="rect">
            <a:avLst/>
          </a:prstGeom>
        </p:spPr>
      </p:pic>
      <p:pic>
        <p:nvPicPr>
          <p:cNvPr id="54" name="Grafik 53"/>
          <p:cNvPicPr>
            <a:picLocks noChangeAspect="1"/>
          </p:cNvPicPr>
          <p:nvPr>
            <p:custDataLst>
              <p:tags r:id="rId47"/>
            </p:custDataLst>
          </p:nvPr>
        </p:nvPicPr>
        <p:blipFill>
          <a:blip r:embed="rId1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117" y="11898720"/>
            <a:ext cx="1440000" cy="1440000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>
            <p:custDataLst>
              <p:tags r:id="rId48"/>
            </p:custDataLst>
          </p:nvPr>
        </p:nvPicPr>
        <p:blipFill>
          <a:blip r:embed="rId1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397" y="11898720"/>
            <a:ext cx="1440000" cy="1440000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>
            <p:custDataLst>
              <p:tags r:id="rId49"/>
            </p:custDataLst>
          </p:nvPr>
        </p:nvPicPr>
        <p:blipFill>
          <a:blip r:embed="rId1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2677" y="11898720"/>
            <a:ext cx="1440000" cy="1440000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>
            <p:custDataLst>
              <p:tags r:id="rId50"/>
            </p:custDataLst>
          </p:nvPr>
        </p:nvPicPr>
        <p:blipFill>
          <a:blip r:embed="rId1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8957" y="11898720"/>
            <a:ext cx="1440000" cy="1440000"/>
          </a:xfrm>
          <a:prstGeom prst="rect">
            <a:avLst/>
          </a:prstGeom>
        </p:spPr>
      </p:pic>
      <p:pic>
        <p:nvPicPr>
          <p:cNvPr id="58" name="Grafik 57"/>
          <p:cNvPicPr>
            <a:picLocks noChangeAspect="1"/>
          </p:cNvPicPr>
          <p:nvPr>
            <p:custDataLst>
              <p:tags r:id="rId51"/>
            </p:custDataLst>
          </p:nvPr>
        </p:nvPicPr>
        <p:blipFill>
          <a:blip r:embed="rId1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5237" y="11898720"/>
            <a:ext cx="1440000" cy="1440000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>
            <p:custDataLst>
              <p:tags r:id="rId52"/>
            </p:custDataLst>
          </p:nvPr>
        </p:nvPicPr>
        <p:blipFill>
          <a:blip r:embed="rId1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1517" y="11898720"/>
            <a:ext cx="1440000" cy="1440000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>
            <p:custDataLst>
              <p:tags r:id="rId53"/>
            </p:custDataLst>
          </p:nvPr>
        </p:nvPicPr>
        <p:blipFill>
          <a:blip r:embed="rId1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7797" y="11898720"/>
            <a:ext cx="1440000" cy="1440000"/>
          </a:xfrm>
          <a:prstGeom prst="rect">
            <a:avLst/>
          </a:prstGeom>
        </p:spPr>
      </p:pic>
      <p:pic>
        <p:nvPicPr>
          <p:cNvPr id="61" name="Grafik 60"/>
          <p:cNvPicPr>
            <a:picLocks noChangeAspect="1"/>
          </p:cNvPicPr>
          <p:nvPr>
            <p:custDataLst>
              <p:tags r:id="rId54"/>
            </p:custDataLst>
          </p:nvPr>
        </p:nvPicPr>
        <p:blipFill>
          <a:blip r:embed="rId1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24081" y="11898720"/>
            <a:ext cx="1440000" cy="1440000"/>
          </a:xfrm>
          <a:prstGeom prst="rect">
            <a:avLst/>
          </a:prstGeom>
        </p:spPr>
      </p:pic>
      <p:pic>
        <p:nvPicPr>
          <p:cNvPr id="62" name="Grafik 61"/>
          <p:cNvPicPr>
            <a:picLocks noChangeAspect="1"/>
          </p:cNvPicPr>
          <p:nvPr>
            <p:custDataLst>
              <p:tags r:id="rId55"/>
            </p:custDataLst>
          </p:nvPr>
        </p:nvPicPr>
        <p:blipFill>
          <a:blip r:embed="rId1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837" y="5663230"/>
            <a:ext cx="1440000" cy="1440000"/>
          </a:xfrm>
          <a:prstGeom prst="rect">
            <a:avLst/>
          </a:prstGeom>
        </p:spPr>
      </p:pic>
      <p:pic>
        <p:nvPicPr>
          <p:cNvPr id="63" name="Grafik 62"/>
          <p:cNvPicPr>
            <a:picLocks noChangeAspect="1"/>
          </p:cNvPicPr>
          <p:nvPr>
            <p:custDataLst>
              <p:tags r:id="rId56"/>
            </p:custDataLst>
          </p:nvPr>
        </p:nvPicPr>
        <p:blipFill>
          <a:blip r:embed="rId1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117" y="5663230"/>
            <a:ext cx="1440000" cy="1440000"/>
          </a:xfrm>
          <a:prstGeom prst="rect">
            <a:avLst/>
          </a:prstGeom>
        </p:spPr>
      </p:pic>
      <p:pic>
        <p:nvPicPr>
          <p:cNvPr id="64" name="Grafik 63"/>
          <p:cNvPicPr>
            <a:picLocks noChangeAspect="1"/>
          </p:cNvPicPr>
          <p:nvPr>
            <p:custDataLst>
              <p:tags r:id="rId57"/>
            </p:custDataLst>
          </p:nvPr>
        </p:nvPicPr>
        <p:blipFill>
          <a:blip r:embed="rId1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397" y="5663230"/>
            <a:ext cx="1440000" cy="1440000"/>
          </a:xfrm>
          <a:prstGeom prst="rect">
            <a:avLst/>
          </a:prstGeom>
        </p:spPr>
      </p:pic>
      <p:pic>
        <p:nvPicPr>
          <p:cNvPr id="65" name="Grafik 64"/>
          <p:cNvPicPr>
            <a:picLocks noChangeAspect="1"/>
          </p:cNvPicPr>
          <p:nvPr>
            <p:custDataLst>
              <p:tags r:id="rId58"/>
            </p:custDataLst>
          </p:nvPr>
        </p:nvPicPr>
        <p:blipFill>
          <a:blip r:embed="rId1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2677" y="5663230"/>
            <a:ext cx="1440000" cy="1440000"/>
          </a:xfrm>
          <a:prstGeom prst="rect">
            <a:avLst/>
          </a:prstGeom>
        </p:spPr>
      </p:pic>
      <p:pic>
        <p:nvPicPr>
          <p:cNvPr id="66" name="Grafik 65"/>
          <p:cNvPicPr>
            <a:picLocks noChangeAspect="1"/>
          </p:cNvPicPr>
          <p:nvPr>
            <p:custDataLst>
              <p:tags r:id="rId59"/>
            </p:custDataLst>
          </p:nvPr>
        </p:nvPicPr>
        <p:blipFill>
          <a:blip r:embed="rId1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8957" y="5663230"/>
            <a:ext cx="1440000" cy="1440000"/>
          </a:xfrm>
          <a:prstGeom prst="rect">
            <a:avLst/>
          </a:prstGeom>
        </p:spPr>
      </p:pic>
      <p:pic>
        <p:nvPicPr>
          <p:cNvPr id="67" name="Grafik 66"/>
          <p:cNvPicPr>
            <a:picLocks noChangeAspect="1"/>
          </p:cNvPicPr>
          <p:nvPr>
            <p:custDataLst>
              <p:tags r:id="rId60"/>
            </p:custDataLst>
          </p:nvPr>
        </p:nvPicPr>
        <p:blipFill>
          <a:blip r:embed="rId12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5237" y="5663230"/>
            <a:ext cx="1440000" cy="1440000"/>
          </a:xfrm>
          <a:prstGeom prst="rect">
            <a:avLst/>
          </a:prstGeom>
        </p:spPr>
      </p:pic>
      <p:pic>
        <p:nvPicPr>
          <p:cNvPr id="68" name="Grafik 67"/>
          <p:cNvPicPr>
            <a:picLocks noChangeAspect="1"/>
          </p:cNvPicPr>
          <p:nvPr>
            <p:custDataLst>
              <p:tags r:id="rId61"/>
            </p:custDataLst>
          </p:nvPr>
        </p:nvPicPr>
        <p:blipFill>
          <a:blip r:embed="rId12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1517" y="5663230"/>
            <a:ext cx="1440000" cy="1440000"/>
          </a:xfrm>
          <a:prstGeom prst="rect">
            <a:avLst/>
          </a:prstGeom>
        </p:spPr>
      </p:pic>
      <p:pic>
        <p:nvPicPr>
          <p:cNvPr id="69" name="Grafik 68"/>
          <p:cNvPicPr>
            <a:picLocks noChangeAspect="1"/>
          </p:cNvPicPr>
          <p:nvPr>
            <p:custDataLst>
              <p:tags r:id="rId62"/>
            </p:custDataLst>
          </p:nvPr>
        </p:nvPicPr>
        <p:blipFill>
          <a:blip r:embed="rId1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7797" y="5663230"/>
            <a:ext cx="1440000" cy="1440000"/>
          </a:xfrm>
          <a:prstGeom prst="rect">
            <a:avLst/>
          </a:prstGeom>
        </p:spPr>
      </p:pic>
      <p:pic>
        <p:nvPicPr>
          <p:cNvPr id="70" name="Grafik 69"/>
          <p:cNvPicPr>
            <a:picLocks noChangeAspect="1"/>
          </p:cNvPicPr>
          <p:nvPr>
            <p:custDataLst>
              <p:tags r:id="rId63"/>
            </p:custDataLst>
          </p:nvPr>
        </p:nvPicPr>
        <p:blipFill>
          <a:blip r:embed="rId1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24081" y="5663230"/>
            <a:ext cx="1440000" cy="1440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92C8C296-BA82-4CC9-A93F-AAFA7F8DA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</p:spTree>
    <p:extLst>
      <p:ext uri="{BB962C8B-B14F-4D97-AF65-F5344CB8AC3E}">
        <p14:creationId xmlns:p14="http://schemas.microsoft.com/office/powerpoint/2010/main" val="2655557409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6251" y="2877518"/>
            <a:ext cx="1440000" cy="144000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619" y="2877518"/>
            <a:ext cx="1440000" cy="1440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5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4987" y="2877518"/>
            <a:ext cx="1440000" cy="14400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6251" y="4553744"/>
            <a:ext cx="1440000" cy="14400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619" y="4553744"/>
            <a:ext cx="1440000" cy="144000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6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4987" y="4553744"/>
            <a:ext cx="1440000" cy="144000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6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62459" y="2877518"/>
            <a:ext cx="1440000" cy="14400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6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1827" y="2877518"/>
            <a:ext cx="1440000" cy="144000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6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41193" y="2957754"/>
            <a:ext cx="1440000" cy="144000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6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4355" y="6281936"/>
            <a:ext cx="1440000" cy="144000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6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3723" y="6281936"/>
            <a:ext cx="1440000" cy="144000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6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73091" y="6281936"/>
            <a:ext cx="1440000" cy="144000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6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4355" y="9802260"/>
            <a:ext cx="1440000" cy="144000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6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3723" y="9802260"/>
            <a:ext cx="1440000" cy="1440000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7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73091" y="9802260"/>
            <a:ext cx="1440000" cy="1440000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7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62459" y="4553744"/>
            <a:ext cx="1440000" cy="1440000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7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1827" y="4553744"/>
            <a:ext cx="1440000" cy="1440000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7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41193" y="4633980"/>
            <a:ext cx="1440000" cy="1440000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7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4355" y="2877518"/>
            <a:ext cx="1440000" cy="1440000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7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3723" y="2877518"/>
            <a:ext cx="1440000" cy="1440000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7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73091" y="2877518"/>
            <a:ext cx="1440000" cy="144000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7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62459" y="6281936"/>
            <a:ext cx="1440000" cy="1440000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7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1827" y="6281936"/>
            <a:ext cx="1440000" cy="1440000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7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41193" y="6362172"/>
            <a:ext cx="1440000" cy="1440000"/>
          </a:xfrm>
          <a:prstGeom prst="rect">
            <a:avLst/>
          </a:prstGeom>
        </p:spPr>
      </p:pic>
      <p:pic>
        <p:nvPicPr>
          <p:cNvPr id="28" name="Grafik 27"/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8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4355" y="4553744"/>
            <a:ext cx="1440000" cy="1440000"/>
          </a:xfrm>
          <a:prstGeom prst="rect">
            <a:avLst/>
          </a:prstGeom>
        </p:spPr>
      </p:pic>
      <p:pic>
        <p:nvPicPr>
          <p:cNvPr id="29" name="Grafik 28"/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8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3723" y="4553744"/>
            <a:ext cx="1440000" cy="1440000"/>
          </a:xfrm>
          <a:prstGeom prst="rect">
            <a:avLst/>
          </a:prstGeom>
        </p:spPr>
      </p:pic>
      <p:pic>
        <p:nvPicPr>
          <p:cNvPr id="30" name="Grafik 29"/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8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73091" y="4553744"/>
            <a:ext cx="1440000" cy="1440000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8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6251" y="8154144"/>
            <a:ext cx="1440000" cy="1440000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8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619" y="8154144"/>
            <a:ext cx="1440000" cy="1440000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8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4987" y="8154144"/>
            <a:ext cx="1440000" cy="1440000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8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62459" y="8154144"/>
            <a:ext cx="1440000" cy="1440000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8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1827" y="8154144"/>
            <a:ext cx="1440000" cy="1440000"/>
          </a:xfrm>
          <a:prstGeom prst="rect">
            <a:avLst/>
          </a:prstGeom>
        </p:spPr>
      </p:pic>
      <p:pic>
        <p:nvPicPr>
          <p:cNvPr id="36" name="Grafik 35"/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8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41193" y="8234380"/>
            <a:ext cx="1440000" cy="1440000"/>
          </a:xfrm>
          <a:prstGeom prst="rect">
            <a:avLst/>
          </a:prstGeom>
        </p:spPr>
      </p:pic>
      <p:pic>
        <p:nvPicPr>
          <p:cNvPr id="37" name="Grafik 36"/>
          <p:cNvPicPr>
            <a:picLocks noChangeAspect="1"/>
          </p:cNvPicPr>
          <p:nvPr>
            <p:custDataLst>
              <p:tags r:id="rId34"/>
            </p:custDataLst>
          </p:nvPr>
        </p:nvPicPr>
        <p:blipFill>
          <a:blip r:embed="rId8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4355" y="8154144"/>
            <a:ext cx="1440000" cy="1440000"/>
          </a:xfrm>
          <a:prstGeom prst="rect">
            <a:avLst/>
          </a:prstGeom>
        </p:spPr>
      </p:pic>
      <p:pic>
        <p:nvPicPr>
          <p:cNvPr id="38" name="Grafik 37"/>
          <p:cNvPicPr>
            <a:picLocks noChangeAspect="1"/>
          </p:cNvPicPr>
          <p:nvPr>
            <p:custDataLst>
              <p:tags r:id="rId35"/>
            </p:custDataLst>
          </p:nvPr>
        </p:nvPicPr>
        <p:blipFill>
          <a:blip r:embed="rId9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3723" y="8154144"/>
            <a:ext cx="1440000" cy="1440000"/>
          </a:xfrm>
          <a:prstGeom prst="rect">
            <a:avLst/>
          </a:prstGeom>
        </p:spPr>
      </p:pic>
      <p:pic>
        <p:nvPicPr>
          <p:cNvPr id="39" name="Grafik 38"/>
          <p:cNvPicPr>
            <a:picLocks noChangeAspect="1"/>
          </p:cNvPicPr>
          <p:nvPr>
            <p:custDataLst>
              <p:tags r:id="rId36"/>
            </p:custDataLst>
          </p:nvPr>
        </p:nvPicPr>
        <p:blipFill>
          <a:blip r:embed="rId9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73091" y="8154144"/>
            <a:ext cx="1440000" cy="1440000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>
            <p:custDataLst>
              <p:tags r:id="rId37"/>
            </p:custDataLst>
          </p:nvPr>
        </p:nvPicPr>
        <p:blipFill>
          <a:blip r:embed="rId9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6251" y="6281936"/>
            <a:ext cx="1440000" cy="1440000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>
            <p:custDataLst>
              <p:tags r:id="rId38"/>
            </p:custDataLst>
          </p:nvPr>
        </p:nvPicPr>
        <p:blipFill>
          <a:blip r:embed="rId9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619" y="6281936"/>
            <a:ext cx="1440000" cy="1440000"/>
          </a:xfrm>
          <a:prstGeom prst="rect">
            <a:avLst/>
          </a:prstGeom>
        </p:spPr>
      </p:pic>
      <p:pic>
        <p:nvPicPr>
          <p:cNvPr id="42" name="Grafik 41"/>
          <p:cNvPicPr>
            <a:picLocks noChangeAspect="1"/>
          </p:cNvPicPr>
          <p:nvPr>
            <p:custDataLst>
              <p:tags r:id="rId39"/>
            </p:custDataLst>
          </p:nvPr>
        </p:nvPicPr>
        <p:blipFill>
          <a:blip r:embed="rId9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4987" y="6281936"/>
            <a:ext cx="1440000" cy="1440000"/>
          </a:xfrm>
          <a:prstGeom prst="rect">
            <a:avLst/>
          </a:prstGeom>
        </p:spPr>
      </p:pic>
      <p:pic>
        <p:nvPicPr>
          <p:cNvPr id="43" name="Grafik 42"/>
          <p:cNvPicPr>
            <a:picLocks noChangeAspect="1"/>
          </p:cNvPicPr>
          <p:nvPr>
            <p:custDataLst>
              <p:tags r:id="rId40"/>
            </p:custDataLst>
          </p:nvPr>
        </p:nvPicPr>
        <p:blipFill>
          <a:blip r:embed="rId9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62459" y="9802260"/>
            <a:ext cx="1440000" cy="1440000"/>
          </a:xfrm>
          <a:prstGeom prst="rect">
            <a:avLst/>
          </a:prstGeom>
        </p:spPr>
      </p:pic>
      <p:pic>
        <p:nvPicPr>
          <p:cNvPr id="44" name="Grafik 43"/>
          <p:cNvPicPr>
            <a:picLocks noChangeAspect="1"/>
          </p:cNvPicPr>
          <p:nvPr>
            <p:custDataLst>
              <p:tags r:id="rId41"/>
            </p:custDataLst>
          </p:nvPr>
        </p:nvPicPr>
        <p:blipFill>
          <a:blip r:embed="rId9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1827" y="9802260"/>
            <a:ext cx="1440000" cy="1440000"/>
          </a:xfrm>
          <a:prstGeom prst="rect">
            <a:avLst/>
          </a:prstGeom>
        </p:spPr>
      </p:pic>
      <p:pic>
        <p:nvPicPr>
          <p:cNvPr id="45" name="Grafik 44"/>
          <p:cNvPicPr>
            <a:picLocks noChangeAspect="1"/>
          </p:cNvPicPr>
          <p:nvPr>
            <p:custDataLst>
              <p:tags r:id="rId42"/>
            </p:custDataLst>
          </p:nvPr>
        </p:nvPicPr>
        <p:blipFill>
          <a:blip r:embed="rId9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41193" y="9882496"/>
            <a:ext cx="1440000" cy="1440000"/>
          </a:xfrm>
          <a:prstGeom prst="rect">
            <a:avLst/>
          </a:prstGeom>
        </p:spPr>
      </p:pic>
      <p:pic>
        <p:nvPicPr>
          <p:cNvPr id="46" name="Grafik 45"/>
          <p:cNvPicPr>
            <a:picLocks noChangeAspect="1"/>
          </p:cNvPicPr>
          <p:nvPr>
            <p:custDataLst>
              <p:tags r:id="rId43"/>
            </p:custDataLst>
          </p:nvPr>
        </p:nvPicPr>
        <p:blipFill>
          <a:blip r:embed="rId9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6251" y="9802260"/>
            <a:ext cx="1440000" cy="1440000"/>
          </a:xfrm>
          <a:prstGeom prst="rect">
            <a:avLst/>
          </a:prstGeom>
        </p:spPr>
      </p:pic>
      <p:pic>
        <p:nvPicPr>
          <p:cNvPr id="47" name="Grafik 46"/>
          <p:cNvPicPr>
            <a:picLocks noChangeAspect="1"/>
          </p:cNvPicPr>
          <p:nvPr>
            <p:custDataLst>
              <p:tags r:id="rId44"/>
            </p:custDataLst>
          </p:nvPr>
        </p:nvPicPr>
        <p:blipFill>
          <a:blip r:embed="rId9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619" y="9802260"/>
            <a:ext cx="1440000" cy="1440000"/>
          </a:xfrm>
          <a:prstGeom prst="rect">
            <a:avLst/>
          </a:prstGeom>
        </p:spPr>
      </p:pic>
      <p:pic>
        <p:nvPicPr>
          <p:cNvPr id="48" name="Grafik 47"/>
          <p:cNvPicPr>
            <a:picLocks noChangeAspect="1"/>
          </p:cNvPicPr>
          <p:nvPr>
            <p:custDataLst>
              <p:tags r:id="rId45"/>
            </p:custDataLst>
          </p:nvPr>
        </p:nvPicPr>
        <p:blipFill>
          <a:blip r:embed="rId10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4987" y="9802260"/>
            <a:ext cx="1440000" cy="1440000"/>
          </a:xfrm>
          <a:prstGeom prst="rect">
            <a:avLst/>
          </a:prstGeom>
        </p:spPr>
      </p:pic>
      <p:pic>
        <p:nvPicPr>
          <p:cNvPr id="49" name="Grafik 48"/>
          <p:cNvPicPr>
            <a:picLocks noChangeAspect="1"/>
          </p:cNvPicPr>
          <p:nvPr>
            <p:custDataLst>
              <p:tags r:id="rId46"/>
            </p:custDataLst>
          </p:nvPr>
        </p:nvPicPr>
        <p:blipFill>
          <a:blip r:embed="rId10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6251" y="11610528"/>
            <a:ext cx="1440000" cy="1440000"/>
          </a:xfrm>
          <a:prstGeom prst="rect">
            <a:avLst/>
          </a:prstGeom>
        </p:spPr>
      </p:pic>
      <p:pic>
        <p:nvPicPr>
          <p:cNvPr id="50" name="Grafik 49"/>
          <p:cNvPicPr>
            <a:picLocks noChangeAspect="1"/>
          </p:cNvPicPr>
          <p:nvPr>
            <p:custDataLst>
              <p:tags r:id="rId47"/>
            </p:custDataLst>
          </p:nvPr>
        </p:nvPicPr>
        <p:blipFill>
          <a:blip r:embed="rId10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891" y="11610528"/>
            <a:ext cx="1440000" cy="1440000"/>
          </a:xfrm>
          <a:prstGeom prst="rect">
            <a:avLst/>
          </a:prstGeom>
        </p:spPr>
      </p:pic>
      <p:pic>
        <p:nvPicPr>
          <p:cNvPr id="51" name="Grafik 50"/>
          <p:cNvPicPr>
            <a:picLocks noChangeAspect="1"/>
          </p:cNvPicPr>
          <p:nvPr>
            <p:custDataLst>
              <p:tags r:id="rId48"/>
            </p:custDataLst>
          </p:nvPr>
        </p:nvPicPr>
        <p:blipFill>
          <a:blip r:embed="rId10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531" y="11610528"/>
            <a:ext cx="1440000" cy="1440000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>
            <p:custDataLst>
              <p:tags r:id="rId49"/>
            </p:custDataLst>
          </p:nvPr>
        </p:nvPicPr>
        <p:blipFill>
          <a:blip r:embed="rId10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5171" y="11610528"/>
            <a:ext cx="1440000" cy="1440000"/>
          </a:xfrm>
          <a:prstGeom prst="rect">
            <a:avLst/>
          </a:prstGeom>
        </p:spPr>
      </p:pic>
      <p:pic>
        <p:nvPicPr>
          <p:cNvPr id="53" name="Grafik 52"/>
          <p:cNvPicPr>
            <a:picLocks noChangeAspect="1"/>
          </p:cNvPicPr>
          <p:nvPr>
            <p:custDataLst>
              <p:tags r:id="rId50"/>
            </p:custDataLst>
          </p:nvPr>
        </p:nvPicPr>
        <p:blipFill>
          <a:blip r:embed="rId10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11" y="11610528"/>
            <a:ext cx="1440000" cy="1440000"/>
          </a:xfrm>
          <a:prstGeom prst="rect">
            <a:avLst/>
          </a:prstGeom>
        </p:spPr>
      </p:pic>
      <p:pic>
        <p:nvPicPr>
          <p:cNvPr id="54" name="Grafik 53"/>
          <p:cNvPicPr>
            <a:picLocks noChangeAspect="1"/>
          </p:cNvPicPr>
          <p:nvPr>
            <p:custDataLst>
              <p:tags r:id="rId51"/>
            </p:custDataLst>
          </p:nvPr>
        </p:nvPicPr>
        <p:blipFill>
          <a:blip r:embed="rId10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74451" y="11610528"/>
            <a:ext cx="1440000" cy="1440000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>
            <p:custDataLst>
              <p:tags r:id="rId52"/>
            </p:custDataLst>
          </p:nvPr>
        </p:nvPicPr>
        <p:blipFill>
          <a:blip r:embed="rId10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64091" y="11610528"/>
            <a:ext cx="1440000" cy="1440000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>
            <p:custDataLst>
              <p:tags r:id="rId53"/>
            </p:custDataLst>
          </p:nvPr>
        </p:nvPicPr>
        <p:blipFill>
          <a:blip r:embed="rId10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3731" y="11610528"/>
            <a:ext cx="1440000" cy="1440000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>
            <p:custDataLst>
              <p:tags r:id="rId54"/>
            </p:custDataLst>
          </p:nvPr>
        </p:nvPicPr>
        <p:blipFill>
          <a:blip r:embed="rId10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43369" y="11610528"/>
            <a:ext cx="1440000" cy="144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7DFD0A6-C8CA-4682-9FE6-02482BA9C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</p:spTree>
    <p:extLst>
      <p:ext uri="{BB962C8B-B14F-4D97-AF65-F5344CB8AC3E}">
        <p14:creationId xmlns:p14="http://schemas.microsoft.com/office/powerpoint/2010/main" val="24615713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80" name="Picture 8" descr="Bildergebnis fÃ¼r bridge">
            <a:extLst>
              <a:ext uri="{FF2B5EF4-FFF2-40B4-BE49-F238E27FC236}">
                <a16:creationId xmlns:a16="http://schemas.microsoft.com/office/drawing/2014/main" id="{21CAB154-9C6B-4560-8545-C2DDE024D9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24428999" cy="13980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E3768D29-3743-43E8-BE42-0634C3B4E0D9}"/>
              </a:ext>
            </a:extLst>
          </p:cNvPr>
          <p:cNvSpPr/>
          <p:nvPr/>
        </p:nvSpPr>
        <p:spPr>
          <a:xfrm>
            <a:off x="0" y="0"/>
            <a:ext cx="24377650" cy="13980694"/>
          </a:xfrm>
          <a:prstGeom prst="rect">
            <a:avLst/>
          </a:prstGeom>
          <a:solidFill>
            <a:srgbClr val="05CB5F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8820A79-F5A5-400A-B044-EC84456337D2}"/>
              </a:ext>
            </a:extLst>
          </p:cNvPr>
          <p:cNvSpPr txBox="1"/>
          <p:nvPr/>
        </p:nvSpPr>
        <p:spPr>
          <a:xfrm>
            <a:off x="6502400" y="2691080"/>
            <a:ext cx="19577874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0" dirty="0">
                <a:solidFill>
                  <a:schemeClr val="bg1"/>
                </a:solidFill>
              </a:rPr>
              <a:t>Set Out </a:t>
            </a:r>
            <a:r>
              <a:rPr lang="de-DE" sz="8000" dirty="0" err="1">
                <a:solidFill>
                  <a:schemeClr val="bg1"/>
                </a:solidFill>
              </a:rPr>
              <a:t>For</a:t>
            </a:r>
            <a:r>
              <a:rPr lang="de-DE" sz="8000" dirty="0">
                <a:solidFill>
                  <a:schemeClr val="bg1"/>
                </a:solidFill>
              </a:rPr>
              <a:t> New </a:t>
            </a:r>
            <a:r>
              <a:rPr lang="de-DE" sz="8000" dirty="0" err="1">
                <a:solidFill>
                  <a:schemeClr val="bg1"/>
                </a:solidFill>
              </a:rPr>
              <a:t>Shores</a:t>
            </a:r>
            <a:r>
              <a:rPr lang="de-DE" sz="8000" dirty="0">
                <a:solidFill>
                  <a:schemeClr val="bg1"/>
                </a:solidFill>
              </a:rPr>
              <a:t> </a:t>
            </a:r>
            <a:r>
              <a:rPr lang="de-DE" sz="8000" dirty="0" err="1">
                <a:solidFill>
                  <a:schemeClr val="bg1"/>
                </a:solidFill>
              </a:rPr>
              <a:t>with</a:t>
            </a:r>
            <a:r>
              <a:rPr lang="de-DE" sz="8000" dirty="0">
                <a:solidFill>
                  <a:schemeClr val="bg1"/>
                </a:solidFill>
              </a:rPr>
              <a:t> </a:t>
            </a:r>
            <a:r>
              <a:rPr lang="de-DE" sz="8000" dirty="0" err="1">
                <a:solidFill>
                  <a:schemeClr val="bg1"/>
                </a:solidFill>
              </a:rPr>
              <a:t>the</a:t>
            </a:r>
            <a:r>
              <a:rPr lang="de-DE" sz="8000" dirty="0">
                <a:solidFill>
                  <a:schemeClr val="bg1"/>
                </a:solidFill>
              </a:rPr>
              <a:t> </a:t>
            </a:r>
          </a:p>
          <a:p>
            <a:pPr algn="ctr"/>
            <a:endParaRPr lang="de-DE" sz="8000" dirty="0">
              <a:solidFill>
                <a:schemeClr val="bg1"/>
              </a:solidFill>
            </a:endParaRPr>
          </a:p>
          <a:p>
            <a:pPr algn="ctr"/>
            <a:r>
              <a:rPr lang="de-DE" sz="8000" dirty="0">
                <a:solidFill>
                  <a:schemeClr val="bg1"/>
                </a:solidFill>
              </a:rPr>
              <a:t>Bridge </a:t>
            </a:r>
            <a:r>
              <a:rPr lang="de-DE" sz="8000" dirty="0" err="1">
                <a:solidFill>
                  <a:schemeClr val="bg1"/>
                </a:solidFill>
              </a:rPr>
              <a:t>Strategy</a:t>
            </a:r>
            <a:r>
              <a:rPr lang="de-DE" sz="80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2B0A608-6E56-4A7F-8043-3DFB5C6EDF73}"/>
              </a:ext>
            </a:extLst>
          </p:cNvPr>
          <p:cNvSpPr txBox="1"/>
          <p:nvPr/>
        </p:nvSpPr>
        <p:spPr>
          <a:xfrm>
            <a:off x="19126200" y="12471400"/>
            <a:ext cx="4978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>
                <a:solidFill>
                  <a:schemeClr val="bg1"/>
                </a:solidFill>
              </a:rPr>
              <a:t>Münster Consulting</a:t>
            </a:r>
          </a:p>
        </p:txBody>
      </p:sp>
    </p:spTree>
    <p:extLst>
      <p:ext uri="{BB962C8B-B14F-4D97-AF65-F5344CB8AC3E}">
        <p14:creationId xmlns:p14="http://schemas.microsoft.com/office/powerpoint/2010/main" val="3001228763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593" y="4121696"/>
            <a:ext cx="1440000" cy="144000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2113" y="4121696"/>
            <a:ext cx="1440000" cy="1440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633" y="4121696"/>
            <a:ext cx="1440000" cy="14400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6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9153" y="4121696"/>
            <a:ext cx="1440000" cy="14400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673" y="4121696"/>
            <a:ext cx="1440000" cy="144000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66193" y="4121696"/>
            <a:ext cx="1440000" cy="144000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7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4713" y="4121696"/>
            <a:ext cx="1440000" cy="14400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7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23233" y="4121696"/>
            <a:ext cx="1440000" cy="144000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7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01753" y="4121696"/>
            <a:ext cx="1440000" cy="144000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7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593" y="5705872"/>
            <a:ext cx="1440000" cy="144000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7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2113" y="5705872"/>
            <a:ext cx="1440000" cy="144000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7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633" y="5705872"/>
            <a:ext cx="1440000" cy="144000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7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4713" y="5705872"/>
            <a:ext cx="1440000" cy="144000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7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23233" y="5705872"/>
            <a:ext cx="1440000" cy="1440000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7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01753" y="5705872"/>
            <a:ext cx="1440000" cy="1440000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8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593" y="7290048"/>
            <a:ext cx="1440000" cy="1440000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8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2113" y="7290048"/>
            <a:ext cx="1440000" cy="1440000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8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633" y="7290048"/>
            <a:ext cx="1440000" cy="1440000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8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4713" y="8983942"/>
            <a:ext cx="1440000" cy="1440000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8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23233" y="8983942"/>
            <a:ext cx="1440000" cy="1440000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8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01753" y="8983942"/>
            <a:ext cx="1440000" cy="144000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8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9153" y="10602416"/>
            <a:ext cx="1440000" cy="1440000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8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673" y="10602416"/>
            <a:ext cx="1440000" cy="1440000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8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66193" y="10602416"/>
            <a:ext cx="1440000" cy="1440000"/>
          </a:xfrm>
          <a:prstGeom prst="rect">
            <a:avLst/>
          </a:prstGeom>
        </p:spPr>
      </p:pic>
      <p:pic>
        <p:nvPicPr>
          <p:cNvPr id="28" name="Grafik 27"/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8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4713" y="10602416"/>
            <a:ext cx="1440000" cy="1440000"/>
          </a:xfrm>
          <a:prstGeom prst="rect">
            <a:avLst/>
          </a:prstGeom>
        </p:spPr>
      </p:pic>
      <p:pic>
        <p:nvPicPr>
          <p:cNvPr id="29" name="Grafik 28"/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9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23233" y="10602416"/>
            <a:ext cx="1440000" cy="1440000"/>
          </a:xfrm>
          <a:prstGeom prst="rect">
            <a:avLst/>
          </a:prstGeom>
        </p:spPr>
      </p:pic>
      <p:pic>
        <p:nvPicPr>
          <p:cNvPr id="30" name="Grafik 29"/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9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01753" y="10602416"/>
            <a:ext cx="1440000" cy="1440000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9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9153" y="2633884"/>
            <a:ext cx="1440000" cy="1440000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9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673" y="2633884"/>
            <a:ext cx="1440000" cy="1440000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9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66193" y="2633884"/>
            <a:ext cx="1440000" cy="1440000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9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9153" y="5705872"/>
            <a:ext cx="1440000" cy="1440000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9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673" y="5705872"/>
            <a:ext cx="1440000" cy="1440000"/>
          </a:xfrm>
          <a:prstGeom prst="rect">
            <a:avLst/>
          </a:prstGeom>
        </p:spPr>
      </p:pic>
      <p:pic>
        <p:nvPicPr>
          <p:cNvPr id="36" name="Grafik 35"/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9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66193" y="5705872"/>
            <a:ext cx="1440000" cy="1440000"/>
          </a:xfrm>
          <a:prstGeom prst="rect">
            <a:avLst/>
          </a:prstGeom>
        </p:spPr>
      </p:pic>
      <p:pic>
        <p:nvPicPr>
          <p:cNvPr id="37" name="Grafik 36"/>
          <p:cNvPicPr>
            <a:picLocks noChangeAspect="1"/>
          </p:cNvPicPr>
          <p:nvPr>
            <p:custDataLst>
              <p:tags r:id="rId34"/>
            </p:custDataLst>
          </p:nvPr>
        </p:nvPicPr>
        <p:blipFill>
          <a:blip r:embed="rId9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4713" y="7290048"/>
            <a:ext cx="1440000" cy="1440000"/>
          </a:xfrm>
          <a:prstGeom prst="rect">
            <a:avLst/>
          </a:prstGeom>
        </p:spPr>
      </p:pic>
      <p:pic>
        <p:nvPicPr>
          <p:cNvPr id="38" name="Grafik 37"/>
          <p:cNvPicPr>
            <a:picLocks noChangeAspect="1"/>
          </p:cNvPicPr>
          <p:nvPr>
            <p:custDataLst>
              <p:tags r:id="rId35"/>
            </p:custDataLst>
          </p:nvPr>
        </p:nvPicPr>
        <p:blipFill>
          <a:blip r:embed="rId9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23233" y="7290048"/>
            <a:ext cx="1440000" cy="1440000"/>
          </a:xfrm>
          <a:prstGeom prst="rect">
            <a:avLst/>
          </a:prstGeom>
        </p:spPr>
      </p:pic>
      <p:pic>
        <p:nvPicPr>
          <p:cNvPr id="39" name="Grafik 38"/>
          <p:cNvPicPr>
            <a:picLocks noChangeAspect="1"/>
          </p:cNvPicPr>
          <p:nvPr>
            <p:custDataLst>
              <p:tags r:id="rId36"/>
            </p:custDataLst>
          </p:nvPr>
        </p:nvPicPr>
        <p:blipFill>
          <a:blip r:embed="rId10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01753" y="7290048"/>
            <a:ext cx="1440000" cy="1440000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>
            <p:custDataLst>
              <p:tags r:id="rId37"/>
            </p:custDataLst>
          </p:nvPr>
        </p:nvPicPr>
        <p:blipFill>
          <a:blip r:embed="rId10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9153" y="7290048"/>
            <a:ext cx="1440000" cy="1440000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>
            <p:custDataLst>
              <p:tags r:id="rId38"/>
            </p:custDataLst>
          </p:nvPr>
        </p:nvPicPr>
        <p:blipFill>
          <a:blip r:embed="rId10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673" y="7290048"/>
            <a:ext cx="1440000" cy="1440000"/>
          </a:xfrm>
          <a:prstGeom prst="rect">
            <a:avLst/>
          </a:prstGeom>
        </p:spPr>
      </p:pic>
      <p:pic>
        <p:nvPicPr>
          <p:cNvPr id="42" name="Grafik 41"/>
          <p:cNvPicPr>
            <a:picLocks noChangeAspect="1"/>
          </p:cNvPicPr>
          <p:nvPr>
            <p:custDataLst>
              <p:tags r:id="rId39"/>
            </p:custDataLst>
          </p:nvPr>
        </p:nvPicPr>
        <p:blipFill>
          <a:blip r:embed="rId10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66193" y="7290048"/>
            <a:ext cx="1440000" cy="1440000"/>
          </a:xfrm>
          <a:prstGeom prst="rect">
            <a:avLst/>
          </a:prstGeom>
        </p:spPr>
      </p:pic>
      <p:pic>
        <p:nvPicPr>
          <p:cNvPr id="43" name="Grafik 42"/>
          <p:cNvPicPr>
            <a:picLocks noChangeAspect="1"/>
          </p:cNvPicPr>
          <p:nvPr>
            <p:custDataLst>
              <p:tags r:id="rId40"/>
            </p:custDataLst>
          </p:nvPr>
        </p:nvPicPr>
        <p:blipFill>
          <a:blip r:embed="rId10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593" y="8983942"/>
            <a:ext cx="1440000" cy="1440000"/>
          </a:xfrm>
          <a:prstGeom prst="rect">
            <a:avLst/>
          </a:prstGeom>
        </p:spPr>
      </p:pic>
      <p:pic>
        <p:nvPicPr>
          <p:cNvPr id="44" name="Grafik 43"/>
          <p:cNvPicPr>
            <a:picLocks noChangeAspect="1"/>
          </p:cNvPicPr>
          <p:nvPr>
            <p:custDataLst>
              <p:tags r:id="rId41"/>
            </p:custDataLst>
          </p:nvPr>
        </p:nvPicPr>
        <p:blipFill>
          <a:blip r:embed="rId10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2113" y="8983942"/>
            <a:ext cx="1440000" cy="1440000"/>
          </a:xfrm>
          <a:prstGeom prst="rect">
            <a:avLst/>
          </a:prstGeom>
        </p:spPr>
      </p:pic>
      <p:pic>
        <p:nvPicPr>
          <p:cNvPr id="45" name="Grafik 44"/>
          <p:cNvPicPr>
            <a:picLocks noChangeAspect="1"/>
          </p:cNvPicPr>
          <p:nvPr>
            <p:custDataLst>
              <p:tags r:id="rId42"/>
            </p:custDataLst>
          </p:nvPr>
        </p:nvPicPr>
        <p:blipFill>
          <a:blip r:embed="rId10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633" y="8983942"/>
            <a:ext cx="1440000" cy="1440000"/>
          </a:xfrm>
          <a:prstGeom prst="rect">
            <a:avLst/>
          </a:prstGeom>
        </p:spPr>
      </p:pic>
      <p:pic>
        <p:nvPicPr>
          <p:cNvPr id="46" name="Grafik 45"/>
          <p:cNvPicPr>
            <a:picLocks noChangeAspect="1"/>
          </p:cNvPicPr>
          <p:nvPr>
            <p:custDataLst>
              <p:tags r:id="rId43"/>
            </p:custDataLst>
          </p:nvPr>
        </p:nvPicPr>
        <p:blipFill>
          <a:blip r:embed="rId10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9153" y="8983942"/>
            <a:ext cx="1440000" cy="1440000"/>
          </a:xfrm>
          <a:prstGeom prst="rect">
            <a:avLst/>
          </a:prstGeom>
        </p:spPr>
      </p:pic>
      <p:pic>
        <p:nvPicPr>
          <p:cNvPr id="47" name="Grafik 46"/>
          <p:cNvPicPr>
            <a:picLocks noChangeAspect="1"/>
          </p:cNvPicPr>
          <p:nvPr>
            <p:custDataLst>
              <p:tags r:id="rId44"/>
            </p:custDataLst>
          </p:nvPr>
        </p:nvPicPr>
        <p:blipFill>
          <a:blip r:embed="rId10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673" y="8983942"/>
            <a:ext cx="1440000" cy="1440000"/>
          </a:xfrm>
          <a:prstGeom prst="rect">
            <a:avLst/>
          </a:prstGeom>
        </p:spPr>
      </p:pic>
      <p:pic>
        <p:nvPicPr>
          <p:cNvPr id="48" name="Grafik 47"/>
          <p:cNvPicPr>
            <a:picLocks noChangeAspect="1"/>
          </p:cNvPicPr>
          <p:nvPr>
            <p:custDataLst>
              <p:tags r:id="rId45"/>
            </p:custDataLst>
          </p:nvPr>
        </p:nvPicPr>
        <p:blipFill>
          <a:blip r:embed="rId10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66193" y="8983942"/>
            <a:ext cx="1440000" cy="1440000"/>
          </a:xfrm>
          <a:prstGeom prst="rect">
            <a:avLst/>
          </a:prstGeom>
        </p:spPr>
      </p:pic>
      <p:pic>
        <p:nvPicPr>
          <p:cNvPr id="49" name="Grafik 48"/>
          <p:cNvPicPr>
            <a:picLocks noChangeAspect="1"/>
          </p:cNvPicPr>
          <p:nvPr>
            <p:custDataLst>
              <p:tags r:id="rId46"/>
            </p:custDataLst>
          </p:nvPr>
        </p:nvPicPr>
        <p:blipFill>
          <a:blip r:embed="rId1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593" y="10602416"/>
            <a:ext cx="1440000" cy="1440000"/>
          </a:xfrm>
          <a:prstGeom prst="rect">
            <a:avLst/>
          </a:prstGeom>
        </p:spPr>
      </p:pic>
      <p:pic>
        <p:nvPicPr>
          <p:cNvPr id="50" name="Grafik 49"/>
          <p:cNvPicPr>
            <a:picLocks noChangeAspect="1"/>
          </p:cNvPicPr>
          <p:nvPr>
            <p:custDataLst>
              <p:tags r:id="rId47"/>
            </p:custDataLst>
          </p:nvPr>
        </p:nvPicPr>
        <p:blipFill>
          <a:blip r:embed="rId1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2113" y="10602416"/>
            <a:ext cx="1440000" cy="1440000"/>
          </a:xfrm>
          <a:prstGeom prst="rect">
            <a:avLst/>
          </a:prstGeom>
        </p:spPr>
      </p:pic>
      <p:pic>
        <p:nvPicPr>
          <p:cNvPr id="51" name="Grafik 50"/>
          <p:cNvPicPr>
            <a:picLocks noChangeAspect="1"/>
          </p:cNvPicPr>
          <p:nvPr>
            <p:custDataLst>
              <p:tags r:id="rId48"/>
            </p:custDataLst>
          </p:nvPr>
        </p:nvPicPr>
        <p:blipFill>
          <a:blip r:embed="rId1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633" y="10602416"/>
            <a:ext cx="1440000" cy="1440000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>
            <p:custDataLst>
              <p:tags r:id="rId49"/>
            </p:custDataLst>
          </p:nvPr>
        </p:nvPicPr>
        <p:blipFill>
          <a:blip r:embed="rId1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593" y="2633884"/>
            <a:ext cx="1440000" cy="1440000"/>
          </a:xfrm>
          <a:prstGeom prst="rect">
            <a:avLst/>
          </a:prstGeom>
        </p:spPr>
      </p:pic>
      <p:pic>
        <p:nvPicPr>
          <p:cNvPr id="53" name="Grafik 52"/>
          <p:cNvPicPr>
            <a:picLocks noChangeAspect="1"/>
          </p:cNvPicPr>
          <p:nvPr>
            <p:custDataLst>
              <p:tags r:id="rId50"/>
            </p:custDataLst>
          </p:nvPr>
        </p:nvPicPr>
        <p:blipFill>
          <a:blip r:embed="rId1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2113" y="2633884"/>
            <a:ext cx="1440000" cy="1440000"/>
          </a:xfrm>
          <a:prstGeom prst="rect">
            <a:avLst/>
          </a:prstGeom>
        </p:spPr>
      </p:pic>
      <p:pic>
        <p:nvPicPr>
          <p:cNvPr id="54" name="Grafik 53"/>
          <p:cNvPicPr>
            <a:picLocks noChangeAspect="1"/>
          </p:cNvPicPr>
          <p:nvPr>
            <p:custDataLst>
              <p:tags r:id="rId51"/>
            </p:custDataLst>
          </p:nvPr>
        </p:nvPicPr>
        <p:blipFill>
          <a:blip r:embed="rId1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633" y="2633884"/>
            <a:ext cx="1440000" cy="1440000"/>
          </a:xfrm>
          <a:prstGeom prst="rect">
            <a:avLst/>
          </a:prstGeom>
        </p:spPr>
      </p:pic>
      <p:pic>
        <p:nvPicPr>
          <p:cNvPr id="58" name="Grafik 57"/>
          <p:cNvPicPr>
            <a:picLocks noChangeAspect="1"/>
          </p:cNvPicPr>
          <p:nvPr>
            <p:custDataLst>
              <p:tags r:id="rId52"/>
            </p:custDataLst>
          </p:nvPr>
        </p:nvPicPr>
        <p:blipFill>
          <a:blip r:embed="rId1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4713" y="2633884"/>
            <a:ext cx="1440000" cy="1440000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>
            <p:custDataLst>
              <p:tags r:id="rId53"/>
            </p:custDataLst>
          </p:nvPr>
        </p:nvPicPr>
        <p:blipFill>
          <a:blip r:embed="rId1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23233" y="2633884"/>
            <a:ext cx="1440000" cy="1440000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>
            <p:custDataLst>
              <p:tags r:id="rId54"/>
            </p:custDataLst>
          </p:nvPr>
        </p:nvPicPr>
        <p:blipFill>
          <a:blip r:embed="rId1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01753" y="2633884"/>
            <a:ext cx="1440000" cy="1440000"/>
          </a:xfrm>
          <a:prstGeom prst="rect">
            <a:avLst/>
          </a:prstGeom>
        </p:spPr>
      </p:pic>
      <p:pic>
        <p:nvPicPr>
          <p:cNvPr id="61" name="Grafik 60"/>
          <p:cNvPicPr>
            <a:picLocks noChangeAspect="1"/>
          </p:cNvPicPr>
          <p:nvPr>
            <p:custDataLst>
              <p:tags r:id="rId55"/>
            </p:custDataLst>
          </p:nvPr>
        </p:nvPicPr>
        <p:blipFill>
          <a:blip r:embed="rId1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673" y="12130254"/>
            <a:ext cx="1440000" cy="1440000"/>
          </a:xfrm>
          <a:prstGeom prst="rect">
            <a:avLst/>
          </a:prstGeom>
        </p:spPr>
      </p:pic>
      <p:pic>
        <p:nvPicPr>
          <p:cNvPr id="62" name="Grafik 61"/>
          <p:cNvPicPr>
            <a:picLocks noChangeAspect="1"/>
          </p:cNvPicPr>
          <p:nvPr>
            <p:custDataLst>
              <p:tags r:id="rId56"/>
            </p:custDataLst>
          </p:nvPr>
        </p:nvPicPr>
        <p:blipFill>
          <a:blip r:embed="rId1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9153" y="12130254"/>
            <a:ext cx="1440000" cy="1440000"/>
          </a:xfrm>
          <a:prstGeom prst="rect">
            <a:avLst/>
          </a:prstGeom>
        </p:spPr>
      </p:pic>
      <p:pic>
        <p:nvPicPr>
          <p:cNvPr id="63" name="Grafik 62"/>
          <p:cNvPicPr>
            <a:picLocks noChangeAspect="1"/>
          </p:cNvPicPr>
          <p:nvPr>
            <p:custDataLst>
              <p:tags r:id="rId57"/>
            </p:custDataLst>
          </p:nvPr>
        </p:nvPicPr>
        <p:blipFill>
          <a:blip r:embed="rId1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66193" y="12130254"/>
            <a:ext cx="1440000" cy="1440000"/>
          </a:xfrm>
          <a:prstGeom prst="rect">
            <a:avLst/>
          </a:prstGeom>
        </p:spPr>
      </p:pic>
      <p:pic>
        <p:nvPicPr>
          <p:cNvPr id="64" name="Grafik 63"/>
          <p:cNvPicPr>
            <a:picLocks noChangeAspect="1"/>
          </p:cNvPicPr>
          <p:nvPr>
            <p:custDataLst>
              <p:tags r:id="rId58"/>
            </p:custDataLst>
          </p:nvPr>
        </p:nvPicPr>
        <p:blipFill>
          <a:blip r:embed="rId1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633" y="12130254"/>
            <a:ext cx="1440000" cy="1440000"/>
          </a:xfrm>
          <a:prstGeom prst="rect">
            <a:avLst/>
          </a:prstGeom>
        </p:spPr>
      </p:pic>
      <p:pic>
        <p:nvPicPr>
          <p:cNvPr id="65" name="Grafik 64"/>
          <p:cNvPicPr>
            <a:picLocks noChangeAspect="1"/>
          </p:cNvPicPr>
          <p:nvPr>
            <p:custDataLst>
              <p:tags r:id="rId59"/>
            </p:custDataLst>
          </p:nvPr>
        </p:nvPicPr>
        <p:blipFill>
          <a:blip r:embed="rId1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593" y="12130254"/>
            <a:ext cx="1440000" cy="1440000"/>
          </a:xfrm>
          <a:prstGeom prst="rect">
            <a:avLst/>
          </a:prstGeom>
        </p:spPr>
      </p:pic>
      <p:pic>
        <p:nvPicPr>
          <p:cNvPr id="66" name="Grafik 65"/>
          <p:cNvPicPr>
            <a:picLocks noChangeAspect="1"/>
          </p:cNvPicPr>
          <p:nvPr>
            <p:custDataLst>
              <p:tags r:id="rId60"/>
            </p:custDataLst>
          </p:nvPr>
        </p:nvPicPr>
        <p:blipFill>
          <a:blip r:embed="rId12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2113" y="12130254"/>
            <a:ext cx="1440000" cy="1440000"/>
          </a:xfrm>
          <a:prstGeom prst="rect">
            <a:avLst/>
          </a:prstGeom>
        </p:spPr>
      </p:pic>
      <p:pic>
        <p:nvPicPr>
          <p:cNvPr id="67" name="Grafik 66"/>
          <p:cNvPicPr>
            <a:picLocks noChangeAspect="1"/>
          </p:cNvPicPr>
          <p:nvPr>
            <p:custDataLst>
              <p:tags r:id="rId61"/>
            </p:custDataLst>
          </p:nvPr>
        </p:nvPicPr>
        <p:blipFill>
          <a:blip r:embed="rId12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4713" y="12186752"/>
            <a:ext cx="1440000" cy="1440000"/>
          </a:xfrm>
          <a:prstGeom prst="rect">
            <a:avLst/>
          </a:prstGeom>
        </p:spPr>
      </p:pic>
      <p:pic>
        <p:nvPicPr>
          <p:cNvPr id="68" name="Grafik 67"/>
          <p:cNvPicPr>
            <a:picLocks noChangeAspect="1"/>
          </p:cNvPicPr>
          <p:nvPr>
            <p:custDataLst>
              <p:tags r:id="rId62"/>
            </p:custDataLst>
          </p:nvPr>
        </p:nvPicPr>
        <p:blipFill>
          <a:blip r:embed="rId1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23233" y="12186752"/>
            <a:ext cx="1440000" cy="1440000"/>
          </a:xfrm>
          <a:prstGeom prst="rect">
            <a:avLst/>
          </a:prstGeom>
        </p:spPr>
      </p:pic>
      <p:pic>
        <p:nvPicPr>
          <p:cNvPr id="69" name="Grafik 68"/>
          <p:cNvPicPr>
            <a:picLocks noChangeAspect="1"/>
          </p:cNvPicPr>
          <p:nvPr>
            <p:custDataLst>
              <p:tags r:id="rId63"/>
            </p:custDataLst>
          </p:nvPr>
        </p:nvPicPr>
        <p:blipFill>
          <a:blip r:embed="rId1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01753" y="12186752"/>
            <a:ext cx="1440000" cy="144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DC54CEF-940E-444E-BAC5-57AB8D904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</p:spTree>
    <p:extLst>
      <p:ext uri="{BB962C8B-B14F-4D97-AF65-F5344CB8AC3E}">
        <p14:creationId xmlns:p14="http://schemas.microsoft.com/office/powerpoint/2010/main" val="435555318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0D2B61-E951-43B1-8675-CD7A697B7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6" name="Freeform 3"/>
          <p:cNvSpPr>
            <a:spLocks/>
          </p:cNvSpPr>
          <p:nvPr/>
        </p:nvSpPr>
        <p:spPr bwMode="auto">
          <a:xfrm>
            <a:off x="12185826" y="3590606"/>
            <a:ext cx="3943725" cy="3505533"/>
          </a:xfrm>
          <a:custGeom>
            <a:avLst/>
            <a:gdLst>
              <a:gd name="T0" fmla="*/ 49 w 1314"/>
              <a:gd name="T1" fmla="*/ 0 h 1168"/>
              <a:gd name="T2" fmla="*/ 122 w 1314"/>
              <a:gd name="T3" fmla="*/ 6 h 1168"/>
              <a:gd name="T4" fmla="*/ 195 w 1314"/>
              <a:gd name="T5" fmla="*/ 12 h 1168"/>
              <a:gd name="T6" fmla="*/ 262 w 1314"/>
              <a:gd name="T7" fmla="*/ 24 h 1168"/>
              <a:gd name="T8" fmla="*/ 335 w 1314"/>
              <a:gd name="T9" fmla="*/ 37 h 1168"/>
              <a:gd name="T10" fmla="*/ 402 w 1314"/>
              <a:gd name="T11" fmla="*/ 61 h 1168"/>
              <a:gd name="T12" fmla="*/ 475 w 1314"/>
              <a:gd name="T13" fmla="*/ 79 h 1168"/>
              <a:gd name="T14" fmla="*/ 542 w 1314"/>
              <a:gd name="T15" fmla="*/ 110 h 1168"/>
              <a:gd name="T16" fmla="*/ 608 w 1314"/>
              <a:gd name="T17" fmla="*/ 140 h 1168"/>
              <a:gd name="T18" fmla="*/ 669 w 1314"/>
              <a:gd name="T19" fmla="*/ 170 h 1168"/>
              <a:gd name="T20" fmla="*/ 730 w 1314"/>
              <a:gd name="T21" fmla="*/ 207 h 1168"/>
              <a:gd name="T22" fmla="*/ 791 w 1314"/>
              <a:gd name="T23" fmla="*/ 250 h 1168"/>
              <a:gd name="T24" fmla="*/ 852 w 1314"/>
              <a:gd name="T25" fmla="*/ 292 h 1168"/>
              <a:gd name="T26" fmla="*/ 907 w 1314"/>
              <a:gd name="T27" fmla="*/ 335 h 1168"/>
              <a:gd name="T28" fmla="*/ 961 w 1314"/>
              <a:gd name="T29" fmla="*/ 383 h 1168"/>
              <a:gd name="T30" fmla="*/ 1010 w 1314"/>
              <a:gd name="T31" fmla="*/ 438 h 1168"/>
              <a:gd name="T32" fmla="*/ 1059 w 1314"/>
              <a:gd name="T33" fmla="*/ 493 h 1168"/>
              <a:gd name="T34" fmla="*/ 1101 w 1314"/>
              <a:gd name="T35" fmla="*/ 548 h 1168"/>
              <a:gd name="T36" fmla="*/ 1144 w 1314"/>
              <a:gd name="T37" fmla="*/ 609 h 1168"/>
              <a:gd name="T38" fmla="*/ 1180 w 1314"/>
              <a:gd name="T39" fmla="*/ 669 h 1168"/>
              <a:gd name="T40" fmla="*/ 1217 w 1314"/>
              <a:gd name="T41" fmla="*/ 730 h 1168"/>
              <a:gd name="T42" fmla="*/ 1254 w 1314"/>
              <a:gd name="T43" fmla="*/ 797 h 1168"/>
              <a:gd name="T44" fmla="*/ 1278 w 1314"/>
              <a:gd name="T45" fmla="*/ 864 h 1168"/>
              <a:gd name="T46" fmla="*/ 1302 w 1314"/>
              <a:gd name="T47" fmla="*/ 931 h 1168"/>
              <a:gd name="T48" fmla="*/ 657 w 1314"/>
              <a:gd name="T49" fmla="*/ 1156 h 1168"/>
              <a:gd name="T50" fmla="*/ 639 w 1314"/>
              <a:gd name="T51" fmla="*/ 1120 h 1168"/>
              <a:gd name="T52" fmla="*/ 627 w 1314"/>
              <a:gd name="T53" fmla="*/ 1089 h 1168"/>
              <a:gd name="T54" fmla="*/ 608 w 1314"/>
              <a:gd name="T55" fmla="*/ 1059 h 1168"/>
              <a:gd name="T56" fmla="*/ 596 w 1314"/>
              <a:gd name="T57" fmla="*/ 1028 h 1168"/>
              <a:gd name="T58" fmla="*/ 572 w 1314"/>
              <a:gd name="T59" fmla="*/ 998 h 1168"/>
              <a:gd name="T60" fmla="*/ 554 w 1314"/>
              <a:gd name="T61" fmla="*/ 968 h 1168"/>
              <a:gd name="T62" fmla="*/ 529 w 1314"/>
              <a:gd name="T63" fmla="*/ 937 h 1168"/>
              <a:gd name="T64" fmla="*/ 505 w 1314"/>
              <a:gd name="T65" fmla="*/ 913 h 1168"/>
              <a:gd name="T66" fmla="*/ 481 w 1314"/>
              <a:gd name="T67" fmla="*/ 882 h 1168"/>
              <a:gd name="T68" fmla="*/ 456 w 1314"/>
              <a:gd name="T69" fmla="*/ 858 h 1168"/>
              <a:gd name="T70" fmla="*/ 426 w 1314"/>
              <a:gd name="T71" fmla="*/ 840 h 1168"/>
              <a:gd name="T72" fmla="*/ 395 w 1314"/>
              <a:gd name="T73" fmla="*/ 816 h 1168"/>
              <a:gd name="T74" fmla="*/ 365 w 1314"/>
              <a:gd name="T75" fmla="*/ 797 h 1168"/>
              <a:gd name="T76" fmla="*/ 335 w 1314"/>
              <a:gd name="T77" fmla="*/ 779 h 1168"/>
              <a:gd name="T78" fmla="*/ 304 w 1314"/>
              <a:gd name="T79" fmla="*/ 761 h 1168"/>
              <a:gd name="T80" fmla="*/ 274 w 1314"/>
              <a:gd name="T81" fmla="*/ 749 h 1168"/>
              <a:gd name="T82" fmla="*/ 237 w 1314"/>
              <a:gd name="T83" fmla="*/ 736 h 1168"/>
              <a:gd name="T84" fmla="*/ 201 w 1314"/>
              <a:gd name="T85" fmla="*/ 724 h 1168"/>
              <a:gd name="T86" fmla="*/ 170 w 1314"/>
              <a:gd name="T87" fmla="*/ 712 h 1168"/>
              <a:gd name="T88" fmla="*/ 134 w 1314"/>
              <a:gd name="T89" fmla="*/ 706 h 1168"/>
              <a:gd name="T90" fmla="*/ 97 w 1314"/>
              <a:gd name="T91" fmla="*/ 700 h 1168"/>
              <a:gd name="T92" fmla="*/ 61 w 1314"/>
              <a:gd name="T93" fmla="*/ 694 h 1168"/>
              <a:gd name="T94" fmla="*/ 24 w 1314"/>
              <a:gd name="T95" fmla="*/ 694 h 1168"/>
              <a:gd name="T96" fmla="*/ 0 w 1314"/>
              <a:gd name="T97" fmla="*/ 0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14" h="1168">
                <a:moveTo>
                  <a:pt x="0" y="0"/>
                </a:moveTo>
                <a:lnTo>
                  <a:pt x="24" y="0"/>
                </a:lnTo>
                <a:lnTo>
                  <a:pt x="49" y="0"/>
                </a:lnTo>
                <a:lnTo>
                  <a:pt x="73" y="0"/>
                </a:lnTo>
                <a:lnTo>
                  <a:pt x="97" y="0"/>
                </a:lnTo>
                <a:lnTo>
                  <a:pt x="122" y="6"/>
                </a:lnTo>
                <a:lnTo>
                  <a:pt x="146" y="6"/>
                </a:lnTo>
                <a:lnTo>
                  <a:pt x="170" y="6"/>
                </a:lnTo>
                <a:lnTo>
                  <a:pt x="195" y="12"/>
                </a:lnTo>
                <a:lnTo>
                  <a:pt x="219" y="18"/>
                </a:lnTo>
                <a:lnTo>
                  <a:pt x="243" y="18"/>
                </a:lnTo>
                <a:lnTo>
                  <a:pt x="262" y="24"/>
                </a:lnTo>
                <a:lnTo>
                  <a:pt x="286" y="30"/>
                </a:lnTo>
                <a:lnTo>
                  <a:pt x="310" y="37"/>
                </a:lnTo>
                <a:lnTo>
                  <a:pt x="335" y="37"/>
                </a:lnTo>
                <a:lnTo>
                  <a:pt x="359" y="43"/>
                </a:lnTo>
                <a:lnTo>
                  <a:pt x="383" y="55"/>
                </a:lnTo>
                <a:lnTo>
                  <a:pt x="402" y="61"/>
                </a:lnTo>
                <a:lnTo>
                  <a:pt x="426" y="67"/>
                </a:lnTo>
                <a:lnTo>
                  <a:pt x="450" y="73"/>
                </a:lnTo>
                <a:lnTo>
                  <a:pt x="475" y="79"/>
                </a:lnTo>
                <a:lnTo>
                  <a:pt x="493" y="91"/>
                </a:lnTo>
                <a:lnTo>
                  <a:pt x="517" y="97"/>
                </a:lnTo>
                <a:lnTo>
                  <a:pt x="542" y="110"/>
                </a:lnTo>
                <a:lnTo>
                  <a:pt x="560" y="116"/>
                </a:lnTo>
                <a:lnTo>
                  <a:pt x="584" y="128"/>
                </a:lnTo>
                <a:lnTo>
                  <a:pt x="608" y="140"/>
                </a:lnTo>
                <a:lnTo>
                  <a:pt x="627" y="146"/>
                </a:lnTo>
                <a:lnTo>
                  <a:pt x="651" y="158"/>
                </a:lnTo>
                <a:lnTo>
                  <a:pt x="669" y="170"/>
                </a:lnTo>
                <a:lnTo>
                  <a:pt x="694" y="183"/>
                </a:lnTo>
                <a:lnTo>
                  <a:pt x="712" y="195"/>
                </a:lnTo>
                <a:lnTo>
                  <a:pt x="730" y="207"/>
                </a:lnTo>
                <a:lnTo>
                  <a:pt x="754" y="219"/>
                </a:lnTo>
                <a:lnTo>
                  <a:pt x="773" y="237"/>
                </a:lnTo>
                <a:lnTo>
                  <a:pt x="791" y="250"/>
                </a:lnTo>
                <a:lnTo>
                  <a:pt x="809" y="262"/>
                </a:lnTo>
                <a:lnTo>
                  <a:pt x="834" y="274"/>
                </a:lnTo>
                <a:lnTo>
                  <a:pt x="852" y="292"/>
                </a:lnTo>
                <a:lnTo>
                  <a:pt x="870" y="304"/>
                </a:lnTo>
                <a:lnTo>
                  <a:pt x="888" y="323"/>
                </a:lnTo>
                <a:lnTo>
                  <a:pt x="907" y="335"/>
                </a:lnTo>
                <a:lnTo>
                  <a:pt x="925" y="353"/>
                </a:lnTo>
                <a:lnTo>
                  <a:pt x="943" y="371"/>
                </a:lnTo>
                <a:lnTo>
                  <a:pt x="961" y="383"/>
                </a:lnTo>
                <a:lnTo>
                  <a:pt x="974" y="402"/>
                </a:lnTo>
                <a:lnTo>
                  <a:pt x="992" y="420"/>
                </a:lnTo>
                <a:lnTo>
                  <a:pt x="1010" y="438"/>
                </a:lnTo>
                <a:lnTo>
                  <a:pt x="1028" y="456"/>
                </a:lnTo>
                <a:lnTo>
                  <a:pt x="1041" y="475"/>
                </a:lnTo>
                <a:lnTo>
                  <a:pt x="1059" y="493"/>
                </a:lnTo>
                <a:lnTo>
                  <a:pt x="1071" y="511"/>
                </a:lnTo>
                <a:lnTo>
                  <a:pt x="1089" y="529"/>
                </a:lnTo>
                <a:lnTo>
                  <a:pt x="1101" y="548"/>
                </a:lnTo>
                <a:lnTo>
                  <a:pt x="1114" y="566"/>
                </a:lnTo>
                <a:lnTo>
                  <a:pt x="1132" y="590"/>
                </a:lnTo>
                <a:lnTo>
                  <a:pt x="1144" y="609"/>
                </a:lnTo>
                <a:lnTo>
                  <a:pt x="1156" y="627"/>
                </a:lnTo>
                <a:lnTo>
                  <a:pt x="1168" y="645"/>
                </a:lnTo>
                <a:lnTo>
                  <a:pt x="1180" y="669"/>
                </a:lnTo>
                <a:lnTo>
                  <a:pt x="1193" y="688"/>
                </a:lnTo>
                <a:lnTo>
                  <a:pt x="1205" y="712"/>
                </a:lnTo>
                <a:lnTo>
                  <a:pt x="1217" y="730"/>
                </a:lnTo>
                <a:lnTo>
                  <a:pt x="1229" y="755"/>
                </a:lnTo>
                <a:lnTo>
                  <a:pt x="1241" y="773"/>
                </a:lnTo>
                <a:lnTo>
                  <a:pt x="1254" y="797"/>
                </a:lnTo>
                <a:lnTo>
                  <a:pt x="1260" y="816"/>
                </a:lnTo>
                <a:lnTo>
                  <a:pt x="1272" y="840"/>
                </a:lnTo>
                <a:lnTo>
                  <a:pt x="1278" y="864"/>
                </a:lnTo>
                <a:lnTo>
                  <a:pt x="1290" y="882"/>
                </a:lnTo>
                <a:lnTo>
                  <a:pt x="1296" y="907"/>
                </a:lnTo>
                <a:lnTo>
                  <a:pt x="1302" y="931"/>
                </a:lnTo>
                <a:lnTo>
                  <a:pt x="1314" y="955"/>
                </a:lnTo>
                <a:lnTo>
                  <a:pt x="657" y="1168"/>
                </a:lnTo>
                <a:lnTo>
                  <a:pt x="657" y="1156"/>
                </a:lnTo>
                <a:lnTo>
                  <a:pt x="651" y="1144"/>
                </a:lnTo>
                <a:lnTo>
                  <a:pt x="645" y="1132"/>
                </a:lnTo>
                <a:lnTo>
                  <a:pt x="639" y="1120"/>
                </a:lnTo>
                <a:lnTo>
                  <a:pt x="639" y="1114"/>
                </a:lnTo>
                <a:lnTo>
                  <a:pt x="633" y="1102"/>
                </a:lnTo>
                <a:lnTo>
                  <a:pt x="627" y="1089"/>
                </a:lnTo>
                <a:lnTo>
                  <a:pt x="621" y="1077"/>
                </a:lnTo>
                <a:lnTo>
                  <a:pt x="615" y="1065"/>
                </a:lnTo>
                <a:lnTo>
                  <a:pt x="608" y="1059"/>
                </a:lnTo>
                <a:lnTo>
                  <a:pt x="608" y="1047"/>
                </a:lnTo>
                <a:lnTo>
                  <a:pt x="602" y="1035"/>
                </a:lnTo>
                <a:lnTo>
                  <a:pt x="596" y="1028"/>
                </a:lnTo>
                <a:lnTo>
                  <a:pt x="590" y="1016"/>
                </a:lnTo>
                <a:lnTo>
                  <a:pt x="578" y="1004"/>
                </a:lnTo>
                <a:lnTo>
                  <a:pt x="572" y="998"/>
                </a:lnTo>
                <a:lnTo>
                  <a:pt x="566" y="986"/>
                </a:lnTo>
                <a:lnTo>
                  <a:pt x="560" y="974"/>
                </a:lnTo>
                <a:lnTo>
                  <a:pt x="554" y="968"/>
                </a:lnTo>
                <a:lnTo>
                  <a:pt x="548" y="955"/>
                </a:lnTo>
                <a:lnTo>
                  <a:pt x="535" y="949"/>
                </a:lnTo>
                <a:lnTo>
                  <a:pt x="529" y="937"/>
                </a:lnTo>
                <a:lnTo>
                  <a:pt x="523" y="931"/>
                </a:lnTo>
                <a:lnTo>
                  <a:pt x="517" y="919"/>
                </a:lnTo>
                <a:lnTo>
                  <a:pt x="505" y="913"/>
                </a:lnTo>
                <a:lnTo>
                  <a:pt x="499" y="901"/>
                </a:lnTo>
                <a:lnTo>
                  <a:pt x="493" y="895"/>
                </a:lnTo>
                <a:lnTo>
                  <a:pt x="481" y="882"/>
                </a:lnTo>
                <a:lnTo>
                  <a:pt x="475" y="876"/>
                </a:lnTo>
                <a:lnTo>
                  <a:pt x="462" y="870"/>
                </a:lnTo>
                <a:lnTo>
                  <a:pt x="456" y="858"/>
                </a:lnTo>
                <a:lnTo>
                  <a:pt x="444" y="852"/>
                </a:lnTo>
                <a:lnTo>
                  <a:pt x="438" y="846"/>
                </a:lnTo>
                <a:lnTo>
                  <a:pt x="426" y="840"/>
                </a:lnTo>
                <a:lnTo>
                  <a:pt x="420" y="834"/>
                </a:lnTo>
                <a:lnTo>
                  <a:pt x="408" y="822"/>
                </a:lnTo>
                <a:lnTo>
                  <a:pt x="395" y="816"/>
                </a:lnTo>
                <a:lnTo>
                  <a:pt x="389" y="809"/>
                </a:lnTo>
                <a:lnTo>
                  <a:pt x="377" y="803"/>
                </a:lnTo>
                <a:lnTo>
                  <a:pt x="365" y="797"/>
                </a:lnTo>
                <a:lnTo>
                  <a:pt x="359" y="791"/>
                </a:lnTo>
                <a:lnTo>
                  <a:pt x="347" y="785"/>
                </a:lnTo>
                <a:lnTo>
                  <a:pt x="335" y="779"/>
                </a:lnTo>
                <a:lnTo>
                  <a:pt x="329" y="773"/>
                </a:lnTo>
                <a:lnTo>
                  <a:pt x="316" y="767"/>
                </a:lnTo>
                <a:lnTo>
                  <a:pt x="304" y="761"/>
                </a:lnTo>
                <a:lnTo>
                  <a:pt x="292" y="755"/>
                </a:lnTo>
                <a:lnTo>
                  <a:pt x="280" y="755"/>
                </a:lnTo>
                <a:lnTo>
                  <a:pt x="274" y="749"/>
                </a:lnTo>
                <a:lnTo>
                  <a:pt x="262" y="742"/>
                </a:lnTo>
                <a:lnTo>
                  <a:pt x="249" y="736"/>
                </a:lnTo>
                <a:lnTo>
                  <a:pt x="237" y="736"/>
                </a:lnTo>
                <a:lnTo>
                  <a:pt x="225" y="730"/>
                </a:lnTo>
                <a:lnTo>
                  <a:pt x="213" y="724"/>
                </a:lnTo>
                <a:lnTo>
                  <a:pt x="201" y="724"/>
                </a:lnTo>
                <a:lnTo>
                  <a:pt x="195" y="718"/>
                </a:lnTo>
                <a:lnTo>
                  <a:pt x="182" y="718"/>
                </a:lnTo>
                <a:lnTo>
                  <a:pt x="170" y="712"/>
                </a:lnTo>
                <a:lnTo>
                  <a:pt x="158" y="712"/>
                </a:lnTo>
                <a:lnTo>
                  <a:pt x="146" y="706"/>
                </a:lnTo>
                <a:lnTo>
                  <a:pt x="134" y="706"/>
                </a:lnTo>
                <a:lnTo>
                  <a:pt x="122" y="700"/>
                </a:lnTo>
                <a:lnTo>
                  <a:pt x="109" y="700"/>
                </a:lnTo>
                <a:lnTo>
                  <a:pt x="97" y="700"/>
                </a:lnTo>
                <a:lnTo>
                  <a:pt x="85" y="700"/>
                </a:lnTo>
                <a:lnTo>
                  <a:pt x="73" y="694"/>
                </a:lnTo>
                <a:lnTo>
                  <a:pt x="61" y="694"/>
                </a:lnTo>
                <a:lnTo>
                  <a:pt x="49" y="694"/>
                </a:lnTo>
                <a:lnTo>
                  <a:pt x="36" y="694"/>
                </a:lnTo>
                <a:lnTo>
                  <a:pt x="24" y="694"/>
                </a:lnTo>
                <a:lnTo>
                  <a:pt x="12" y="694"/>
                </a:lnTo>
                <a:lnTo>
                  <a:pt x="0" y="6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76200">
            <a:solidFill>
              <a:srgbClr val="FFFFFF"/>
            </a:solidFill>
            <a:round/>
            <a:headEnd/>
            <a:tailEnd/>
          </a:ln>
        </p:spPr>
        <p:txBody>
          <a:bodyPr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7" name="Freeform 4"/>
          <p:cNvSpPr>
            <a:spLocks/>
          </p:cNvSpPr>
          <p:nvPr/>
        </p:nvSpPr>
        <p:spPr bwMode="auto">
          <a:xfrm>
            <a:off x="13410361" y="6456860"/>
            <a:ext cx="2920278" cy="4622022"/>
          </a:xfrm>
          <a:custGeom>
            <a:avLst/>
            <a:gdLst>
              <a:gd name="T0" fmla="*/ 919 w 973"/>
              <a:gd name="T1" fmla="*/ 43 h 1540"/>
              <a:gd name="T2" fmla="*/ 937 w 973"/>
              <a:gd name="T3" fmla="*/ 116 h 1540"/>
              <a:gd name="T4" fmla="*/ 949 w 973"/>
              <a:gd name="T5" fmla="*/ 183 h 1540"/>
              <a:gd name="T6" fmla="*/ 961 w 973"/>
              <a:gd name="T7" fmla="*/ 256 h 1540"/>
              <a:gd name="T8" fmla="*/ 967 w 973"/>
              <a:gd name="T9" fmla="*/ 329 h 1540"/>
              <a:gd name="T10" fmla="*/ 973 w 973"/>
              <a:gd name="T11" fmla="*/ 402 h 1540"/>
              <a:gd name="T12" fmla="*/ 973 w 973"/>
              <a:gd name="T13" fmla="*/ 475 h 1540"/>
              <a:gd name="T14" fmla="*/ 967 w 973"/>
              <a:gd name="T15" fmla="*/ 548 h 1540"/>
              <a:gd name="T16" fmla="*/ 961 w 973"/>
              <a:gd name="T17" fmla="*/ 615 h 1540"/>
              <a:gd name="T18" fmla="*/ 949 w 973"/>
              <a:gd name="T19" fmla="*/ 688 h 1540"/>
              <a:gd name="T20" fmla="*/ 931 w 973"/>
              <a:gd name="T21" fmla="*/ 761 h 1540"/>
              <a:gd name="T22" fmla="*/ 912 w 973"/>
              <a:gd name="T23" fmla="*/ 828 h 1540"/>
              <a:gd name="T24" fmla="*/ 888 w 973"/>
              <a:gd name="T25" fmla="*/ 895 h 1540"/>
              <a:gd name="T26" fmla="*/ 864 w 973"/>
              <a:gd name="T27" fmla="*/ 962 h 1540"/>
              <a:gd name="T28" fmla="*/ 833 w 973"/>
              <a:gd name="T29" fmla="*/ 1029 h 1540"/>
              <a:gd name="T30" fmla="*/ 797 w 973"/>
              <a:gd name="T31" fmla="*/ 1096 h 1540"/>
              <a:gd name="T32" fmla="*/ 760 w 973"/>
              <a:gd name="T33" fmla="*/ 1157 h 1540"/>
              <a:gd name="T34" fmla="*/ 724 w 973"/>
              <a:gd name="T35" fmla="*/ 1218 h 1540"/>
              <a:gd name="T36" fmla="*/ 681 w 973"/>
              <a:gd name="T37" fmla="*/ 1278 h 1540"/>
              <a:gd name="T38" fmla="*/ 633 w 973"/>
              <a:gd name="T39" fmla="*/ 1333 h 1540"/>
              <a:gd name="T40" fmla="*/ 584 w 973"/>
              <a:gd name="T41" fmla="*/ 1382 h 1540"/>
              <a:gd name="T42" fmla="*/ 535 w 973"/>
              <a:gd name="T43" fmla="*/ 1437 h 1540"/>
              <a:gd name="T44" fmla="*/ 480 w 973"/>
              <a:gd name="T45" fmla="*/ 1485 h 1540"/>
              <a:gd name="T46" fmla="*/ 426 w 973"/>
              <a:gd name="T47" fmla="*/ 1528 h 1540"/>
              <a:gd name="T48" fmla="*/ 12 w 973"/>
              <a:gd name="T49" fmla="*/ 974 h 1540"/>
              <a:gd name="T50" fmla="*/ 36 w 973"/>
              <a:gd name="T51" fmla="*/ 950 h 1540"/>
              <a:gd name="T52" fmla="*/ 67 w 973"/>
              <a:gd name="T53" fmla="*/ 925 h 1540"/>
              <a:gd name="T54" fmla="*/ 91 w 973"/>
              <a:gd name="T55" fmla="*/ 901 h 1540"/>
              <a:gd name="T56" fmla="*/ 115 w 973"/>
              <a:gd name="T57" fmla="*/ 877 h 1540"/>
              <a:gd name="T58" fmla="*/ 140 w 973"/>
              <a:gd name="T59" fmla="*/ 846 h 1540"/>
              <a:gd name="T60" fmla="*/ 158 w 973"/>
              <a:gd name="T61" fmla="*/ 822 h 1540"/>
              <a:gd name="T62" fmla="*/ 182 w 973"/>
              <a:gd name="T63" fmla="*/ 792 h 1540"/>
              <a:gd name="T64" fmla="*/ 200 w 973"/>
              <a:gd name="T65" fmla="*/ 761 h 1540"/>
              <a:gd name="T66" fmla="*/ 213 w 973"/>
              <a:gd name="T67" fmla="*/ 725 h 1540"/>
              <a:gd name="T68" fmla="*/ 231 w 973"/>
              <a:gd name="T69" fmla="*/ 694 h 1540"/>
              <a:gd name="T70" fmla="*/ 243 w 973"/>
              <a:gd name="T71" fmla="*/ 658 h 1540"/>
              <a:gd name="T72" fmla="*/ 255 w 973"/>
              <a:gd name="T73" fmla="*/ 627 h 1540"/>
              <a:gd name="T74" fmla="*/ 261 w 973"/>
              <a:gd name="T75" fmla="*/ 591 h 1540"/>
              <a:gd name="T76" fmla="*/ 273 w 973"/>
              <a:gd name="T77" fmla="*/ 554 h 1540"/>
              <a:gd name="T78" fmla="*/ 280 w 973"/>
              <a:gd name="T79" fmla="*/ 518 h 1540"/>
              <a:gd name="T80" fmla="*/ 280 w 973"/>
              <a:gd name="T81" fmla="*/ 487 h 1540"/>
              <a:gd name="T82" fmla="*/ 286 w 973"/>
              <a:gd name="T83" fmla="*/ 451 h 1540"/>
              <a:gd name="T84" fmla="*/ 286 w 973"/>
              <a:gd name="T85" fmla="*/ 414 h 1540"/>
              <a:gd name="T86" fmla="*/ 280 w 973"/>
              <a:gd name="T87" fmla="*/ 378 h 1540"/>
              <a:gd name="T88" fmla="*/ 280 w 973"/>
              <a:gd name="T89" fmla="*/ 341 h 1540"/>
              <a:gd name="T90" fmla="*/ 273 w 973"/>
              <a:gd name="T91" fmla="*/ 305 h 1540"/>
              <a:gd name="T92" fmla="*/ 267 w 973"/>
              <a:gd name="T93" fmla="*/ 268 h 1540"/>
              <a:gd name="T94" fmla="*/ 255 w 973"/>
              <a:gd name="T95" fmla="*/ 238 h 1540"/>
              <a:gd name="T96" fmla="*/ 906 w 973"/>
              <a:gd name="T97" fmla="*/ 0 h 1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73" h="1540">
                <a:moveTo>
                  <a:pt x="906" y="0"/>
                </a:moveTo>
                <a:lnTo>
                  <a:pt x="912" y="19"/>
                </a:lnTo>
                <a:lnTo>
                  <a:pt x="919" y="43"/>
                </a:lnTo>
                <a:lnTo>
                  <a:pt x="925" y="67"/>
                </a:lnTo>
                <a:lnTo>
                  <a:pt x="931" y="92"/>
                </a:lnTo>
                <a:lnTo>
                  <a:pt x="937" y="116"/>
                </a:lnTo>
                <a:lnTo>
                  <a:pt x="943" y="140"/>
                </a:lnTo>
                <a:lnTo>
                  <a:pt x="949" y="159"/>
                </a:lnTo>
                <a:lnTo>
                  <a:pt x="949" y="183"/>
                </a:lnTo>
                <a:lnTo>
                  <a:pt x="955" y="207"/>
                </a:lnTo>
                <a:lnTo>
                  <a:pt x="961" y="232"/>
                </a:lnTo>
                <a:lnTo>
                  <a:pt x="961" y="256"/>
                </a:lnTo>
                <a:lnTo>
                  <a:pt x="967" y="280"/>
                </a:lnTo>
                <a:lnTo>
                  <a:pt x="967" y="305"/>
                </a:lnTo>
                <a:lnTo>
                  <a:pt x="967" y="329"/>
                </a:lnTo>
                <a:lnTo>
                  <a:pt x="967" y="353"/>
                </a:lnTo>
                <a:lnTo>
                  <a:pt x="973" y="378"/>
                </a:lnTo>
                <a:lnTo>
                  <a:pt x="973" y="402"/>
                </a:lnTo>
                <a:lnTo>
                  <a:pt x="973" y="426"/>
                </a:lnTo>
                <a:lnTo>
                  <a:pt x="973" y="451"/>
                </a:lnTo>
                <a:lnTo>
                  <a:pt x="973" y="475"/>
                </a:lnTo>
                <a:lnTo>
                  <a:pt x="967" y="499"/>
                </a:lnTo>
                <a:lnTo>
                  <a:pt x="967" y="524"/>
                </a:lnTo>
                <a:lnTo>
                  <a:pt x="967" y="548"/>
                </a:lnTo>
                <a:lnTo>
                  <a:pt x="967" y="566"/>
                </a:lnTo>
                <a:lnTo>
                  <a:pt x="961" y="591"/>
                </a:lnTo>
                <a:lnTo>
                  <a:pt x="961" y="615"/>
                </a:lnTo>
                <a:lnTo>
                  <a:pt x="955" y="639"/>
                </a:lnTo>
                <a:lnTo>
                  <a:pt x="949" y="664"/>
                </a:lnTo>
                <a:lnTo>
                  <a:pt x="949" y="688"/>
                </a:lnTo>
                <a:lnTo>
                  <a:pt x="943" y="712"/>
                </a:lnTo>
                <a:lnTo>
                  <a:pt x="937" y="737"/>
                </a:lnTo>
                <a:lnTo>
                  <a:pt x="931" y="761"/>
                </a:lnTo>
                <a:lnTo>
                  <a:pt x="925" y="786"/>
                </a:lnTo>
                <a:lnTo>
                  <a:pt x="919" y="804"/>
                </a:lnTo>
                <a:lnTo>
                  <a:pt x="912" y="828"/>
                </a:lnTo>
                <a:lnTo>
                  <a:pt x="906" y="852"/>
                </a:lnTo>
                <a:lnTo>
                  <a:pt x="894" y="877"/>
                </a:lnTo>
                <a:lnTo>
                  <a:pt x="888" y="895"/>
                </a:lnTo>
                <a:lnTo>
                  <a:pt x="882" y="919"/>
                </a:lnTo>
                <a:lnTo>
                  <a:pt x="870" y="944"/>
                </a:lnTo>
                <a:lnTo>
                  <a:pt x="864" y="962"/>
                </a:lnTo>
                <a:lnTo>
                  <a:pt x="852" y="986"/>
                </a:lnTo>
                <a:lnTo>
                  <a:pt x="846" y="1011"/>
                </a:lnTo>
                <a:lnTo>
                  <a:pt x="833" y="1029"/>
                </a:lnTo>
                <a:lnTo>
                  <a:pt x="821" y="1053"/>
                </a:lnTo>
                <a:lnTo>
                  <a:pt x="809" y="1072"/>
                </a:lnTo>
                <a:lnTo>
                  <a:pt x="797" y="1096"/>
                </a:lnTo>
                <a:lnTo>
                  <a:pt x="785" y="1114"/>
                </a:lnTo>
                <a:lnTo>
                  <a:pt x="772" y="1138"/>
                </a:lnTo>
                <a:lnTo>
                  <a:pt x="760" y="1157"/>
                </a:lnTo>
                <a:lnTo>
                  <a:pt x="748" y="1175"/>
                </a:lnTo>
                <a:lnTo>
                  <a:pt x="736" y="1199"/>
                </a:lnTo>
                <a:lnTo>
                  <a:pt x="724" y="1218"/>
                </a:lnTo>
                <a:lnTo>
                  <a:pt x="706" y="1236"/>
                </a:lnTo>
                <a:lnTo>
                  <a:pt x="693" y="1254"/>
                </a:lnTo>
                <a:lnTo>
                  <a:pt x="681" y="1278"/>
                </a:lnTo>
                <a:lnTo>
                  <a:pt x="663" y="1297"/>
                </a:lnTo>
                <a:lnTo>
                  <a:pt x="651" y="1315"/>
                </a:lnTo>
                <a:lnTo>
                  <a:pt x="633" y="1333"/>
                </a:lnTo>
                <a:lnTo>
                  <a:pt x="620" y="1351"/>
                </a:lnTo>
                <a:lnTo>
                  <a:pt x="602" y="1370"/>
                </a:lnTo>
                <a:lnTo>
                  <a:pt x="584" y="1382"/>
                </a:lnTo>
                <a:lnTo>
                  <a:pt x="566" y="1400"/>
                </a:lnTo>
                <a:lnTo>
                  <a:pt x="553" y="1418"/>
                </a:lnTo>
                <a:lnTo>
                  <a:pt x="535" y="1437"/>
                </a:lnTo>
                <a:lnTo>
                  <a:pt x="517" y="1449"/>
                </a:lnTo>
                <a:lnTo>
                  <a:pt x="499" y="1467"/>
                </a:lnTo>
                <a:lnTo>
                  <a:pt x="480" y="1485"/>
                </a:lnTo>
                <a:lnTo>
                  <a:pt x="462" y="1498"/>
                </a:lnTo>
                <a:lnTo>
                  <a:pt x="444" y="1516"/>
                </a:lnTo>
                <a:lnTo>
                  <a:pt x="426" y="1528"/>
                </a:lnTo>
                <a:lnTo>
                  <a:pt x="401" y="1540"/>
                </a:lnTo>
                <a:lnTo>
                  <a:pt x="0" y="980"/>
                </a:lnTo>
                <a:lnTo>
                  <a:pt x="12" y="974"/>
                </a:lnTo>
                <a:lnTo>
                  <a:pt x="18" y="968"/>
                </a:lnTo>
                <a:lnTo>
                  <a:pt x="30" y="962"/>
                </a:lnTo>
                <a:lnTo>
                  <a:pt x="36" y="950"/>
                </a:lnTo>
                <a:lnTo>
                  <a:pt x="48" y="944"/>
                </a:lnTo>
                <a:lnTo>
                  <a:pt x="54" y="938"/>
                </a:lnTo>
                <a:lnTo>
                  <a:pt x="67" y="925"/>
                </a:lnTo>
                <a:lnTo>
                  <a:pt x="73" y="919"/>
                </a:lnTo>
                <a:lnTo>
                  <a:pt x="85" y="913"/>
                </a:lnTo>
                <a:lnTo>
                  <a:pt x="91" y="901"/>
                </a:lnTo>
                <a:lnTo>
                  <a:pt x="97" y="895"/>
                </a:lnTo>
                <a:lnTo>
                  <a:pt x="109" y="883"/>
                </a:lnTo>
                <a:lnTo>
                  <a:pt x="115" y="877"/>
                </a:lnTo>
                <a:lnTo>
                  <a:pt x="121" y="865"/>
                </a:lnTo>
                <a:lnTo>
                  <a:pt x="127" y="859"/>
                </a:lnTo>
                <a:lnTo>
                  <a:pt x="140" y="846"/>
                </a:lnTo>
                <a:lnTo>
                  <a:pt x="146" y="840"/>
                </a:lnTo>
                <a:lnTo>
                  <a:pt x="152" y="828"/>
                </a:lnTo>
                <a:lnTo>
                  <a:pt x="158" y="822"/>
                </a:lnTo>
                <a:lnTo>
                  <a:pt x="164" y="810"/>
                </a:lnTo>
                <a:lnTo>
                  <a:pt x="170" y="798"/>
                </a:lnTo>
                <a:lnTo>
                  <a:pt x="182" y="792"/>
                </a:lnTo>
                <a:lnTo>
                  <a:pt x="188" y="779"/>
                </a:lnTo>
                <a:lnTo>
                  <a:pt x="194" y="767"/>
                </a:lnTo>
                <a:lnTo>
                  <a:pt x="200" y="761"/>
                </a:lnTo>
                <a:lnTo>
                  <a:pt x="200" y="749"/>
                </a:lnTo>
                <a:lnTo>
                  <a:pt x="207" y="737"/>
                </a:lnTo>
                <a:lnTo>
                  <a:pt x="213" y="725"/>
                </a:lnTo>
                <a:lnTo>
                  <a:pt x="219" y="719"/>
                </a:lnTo>
                <a:lnTo>
                  <a:pt x="225" y="706"/>
                </a:lnTo>
                <a:lnTo>
                  <a:pt x="231" y="694"/>
                </a:lnTo>
                <a:lnTo>
                  <a:pt x="231" y="682"/>
                </a:lnTo>
                <a:lnTo>
                  <a:pt x="237" y="670"/>
                </a:lnTo>
                <a:lnTo>
                  <a:pt x="243" y="658"/>
                </a:lnTo>
                <a:lnTo>
                  <a:pt x="249" y="652"/>
                </a:lnTo>
                <a:lnTo>
                  <a:pt x="249" y="639"/>
                </a:lnTo>
                <a:lnTo>
                  <a:pt x="255" y="627"/>
                </a:lnTo>
                <a:lnTo>
                  <a:pt x="255" y="615"/>
                </a:lnTo>
                <a:lnTo>
                  <a:pt x="261" y="603"/>
                </a:lnTo>
                <a:lnTo>
                  <a:pt x="261" y="591"/>
                </a:lnTo>
                <a:lnTo>
                  <a:pt x="267" y="579"/>
                </a:lnTo>
                <a:lnTo>
                  <a:pt x="267" y="566"/>
                </a:lnTo>
                <a:lnTo>
                  <a:pt x="273" y="554"/>
                </a:lnTo>
                <a:lnTo>
                  <a:pt x="273" y="542"/>
                </a:lnTo>
                <a:lnTo>
                  <a:pt x="273" y="530"/>
                </a:lnTo>
                <a:lnTo>
                  <a:pt x="280" y="518"/>
                </a:lnTo>
                <a:lnTo>
                  <a:pt x="280" y="512"/>
                </a:lnTo>
                <a:lnTo>
                  <a:pt x="280" y="499"/>
                </a:lnTo>
                <a:lnTo>
                  <a:pt x="280" y="487"/>
                </a:lnTo>
                <a:lnTo>
                  <a:pt x="280" y="475"/>
                </a:lnTo>
                <a:lnTo>
                  <a:pt x="286" y="463"/>
                </a:lnTo>
                <a:lnTo>
                  <a:pt x="286" y="451"/>
                </a:lnTo>
                <a:lnTo>
                  <a:pt x="286" y="439"/>
                </a:lnTo>
                <a:lnTo>
                  <a:pt x="286" y="426"/>
                </a:lnTo>
                <a:lnTo>
                  <a:pt x="286" y="414"/>
                </a:lnTo>
                <a:lnTo>
                  <a:pt x="286" y="402"/>
                </a:lnTo>
                <a:lnTo>
                  <a:pt x="286" y="390"/>
                </a:lnTo>
                <a:lnTo>
                  <a:pt x="280" y="378"/>
                </a:lnTo>
                <a:lnTo>
                  <a:pt x="280" y="366"/>
                </a:lnTo>
                <a:lnTo>
                  <a:pt x="280" y="353"/>
                </a:lnTo>
                <a:lnTo>
                  <a:pt x="280" y="341"/>
                </a:lnTo>
                <a:lnTo>
                  <a:pt x="280" y="329"/>
                </a:lnTo>
                <a:lnTo>
                  <a:pt x="273" y="317"/>
                </a:lnTo>
                <a:lnTo>
                  <a:pt x="273" y="305"/>
                </a:lnTo>
                <a:lnTo>
                  <a:pt x="273" y="293"/>
                </a:lnTo>
                <a:lnTo>
                  <a:pt x="267" y="280"/>
                </a:lnTo>
                <a:lnTo>
                  <a:pt x="267" y="268"/>
                </a:lnTo>
                <a:lnTo>
                  <a:pt x="261" y="256"/>
                </a:lnTo>
                <a:lnTo>
                  <a:pt x="261" y="250"/>
                </a:lnTo>
                <a:lnTo>
                  <a:pt x="255" y="238"/>
                </a:lnTo>
                <a:lnTo>
                  <a:pt x="255" y="226"/>
                </a:lnTo>
                <a:lnTo>
                  <a:pt x="249" y="213"/>
                </a:lnTo>
                <a:lnTo>
                  <a:pt x="906" y="0"/>
                </a:lnTo>
                <a:close/>
              </a:path>
            </a:pathLst>
          </a:custGeom>
          <a:solidFill>
            <a:schemeClr val="accent1"/>
          </a:solidFill>
          <a:ln w="76200">
            <a:solidFill>
              <a:srgbClr val="FFFFFF"/>
            </a:solidFill>
            <a:round/>
            <a:headEnd/>
            <a:tailEnd/>
          </a:ln>
        </p:spPr>
        <p:txBody>
          <a:bodyPr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8" name="Freeform 5"/>
          <p:cNvSpPr>
            <a:spLocks/>
          </p:cNvSpPr>
          <p:nvPr/>
        </p:nvSpPr>
        <p:spPr bwMode="auto">
          <a:xfrm>
            <a:off x="9757765" y="9398147"/>
            <a:ext cx="4856124" cy="2485087"/>
          </a:xfrm>
          <a:custGeom>
            <a:avLst/>
            <a:gdLst>
              <a:gd name="T0" fmla="*/ 1582 w 1618"/>
              <a:gd name="T1" fmla="*/ 591 h 828"/>
              <a:gd name="T2" fmla="*/ 1521 w 1618"/>
              <a:gd name="T3" fmla="*/ 627 h 828"/>
              <a:gd name="T4" fmla="*/ 1460 w 1618"/>
              <a:gd name="T5" fmla="*/ 664 h 828"/>
              <a:gd name="T6" fmla="*/ 1393 w 1618"/>
              <a:gd name="T7" fmla="*/ 694 h 828"/>
              <a:gd name="T8" fmla="*/ 1326 w 1618"/>
              <a:gd name="T9" fmla="*/ 724 h 828"/>
              <a:gd name="T10" fmla="*/ 1259 w 1618"/>
              <a:gd name="T11" fmla="*/ 749 h 828"/>
              <a:gd name="T12" fmla="*/ 1192 w 1618"/>
              <a:gd name="T13" fmla="*/ 773 h 828"/>
              <a:gd name="T14" fmla="*/ 1119 w 1618"/>
              <a:gd name="T15" fmla="*/ 791 h 828"/>
              <a:gd name="T16" fmla="*/ 1052 w 1618"/>
              <a:gd name="T17" fmla="*/ 804 h 828"/>
              <a:gd name="T18" fmla="*/ 979 w 1618"/>
              <a:gd name="T19" fmla="*/ 816 h 828"/>
              <a:gd name="T20" fmla="*/ 906 w 1618"/>
              <a:gd name="T21" fmla="*/ 822 h 828"/>
              <a:gd name="T22" fmla="*/ 833 w 1618"/>
              <a:gd name="T23" fmla="*/ 828 h 828"/>
              <a:gd name="T24" fmla="*/ 760 w 1618"/>
              <a:gd name="T25" fmla="*/ 828 h 828"/>
              <a:gd name="T26" fmla="*/ 693 w 1618"/>
              <a:gd name="T27" fmla="*/ 822 h 828"/>
              <a:gd name="T28" fmla="*/ 620 w 1618"/>
              <a:gd name="T29" fmla="*/ 816 h 828"/>
              <a:gd name="T30" fmla="*/ 547 w 1618"/>
              <a:gd name="T31" fmla="*/ 804 h 828"/>
              <a:gd name="T32" fmla="*/ 474 w 1618"/>
              <a:gd name="T33" fmla="*/ 785 h 828"/>
              <a:gd name="T34" fmla="*/ 407 w 1618"/>
              <a:gd name="T35" fmla="*/ 767 h 828"/>
              <a:gd name="T36" fmla="*/ 340 w 1618"/>
              <a:gd name="T37" fmla="*/ 743 h 828"/>
              <a:gd name="T38" fmla="*/ 273 w 1618"/>
              <a:gd name="T39" fmla="*/ 718 h 828"/>
              <a:gd name="T40" fmla="*/ 206 w 1618"/>
              <a:gd name="T41" fmla="*/ 688 h 828"/>
              <a:gd name="T42" fmla="*/ 140 w 1618"/>
              <a:gd name="T43" fmla="*/ 651 h 828"/>
              <a:gd name="T44" fmla="*/ 79 w 1618"/>
              <a:gd name="T45" fmla="*/ 615 h 828"/>
              <a:gd name="T46" fmla="*/ 18 w 1618"/>
              <a:gd name="T47" fmla="*/ 578 h 828"/>
              <a:gd name="T48" fmla="*/ 413 w 1618"/>
              <a:gd name="T49" fmla="*/ 6 h 828"/>
              <a:gd name="T50" fmla="*/ 444 w 1618"/>
              <a:gd name="T51" fmla="*/ 31 h 828"/>
              <a:gd name="T52" fmla="*/ 474 w 1618"/>
              <a:gd name="T53" fmla="*/ 49 h 828"/>
              <a:gd name="T54" fmla="*/ 505 w 1618"/>
              <a:gd name="T55" fmla="*/ 61 h 828"/>
              <a:gd name="T56" fmla="*/ 541 w 1618"/>
              <a:gd name="T57" fmla="*/ 79 h 828"/>
              <a:gd name="T58" fmla="*/ 572 w 1618"/>
              <a:gd name="T59" fmla="*/ 92 h 828"/>
              <a:gd name="T60" fmla="*/ 608 w 1618"/>
              <a:gd name="T61" fmla="*/ 104 h 828"/>
              <a:gd name="T62" fmla="*/ 645 w 1618"/>
              <a:gd name="T63" fmla="*/ 110 h 828"/>
              <a:gd name="T64" fmla="*/ 681 w 1618"/>
              <a:gd name="T65" fmla="*/ 122 h 828"/>
              <a:gd name="T66" fmla="*/ 712 w 1618"/>
              <a:gd name="T67" fmla="*/ 128 h 828"/>
              <a:gd name="T68" fmla="*/ 748 w 1618"/>
              <a:gd name="T69" fmla="*/ 128 h 828"/>
              <a:gd name="T70" fmla="*/ 785 w 1618"/>
              <a:gd name="T71" fmla="*/ 134 h 828"/>
              <a:gd name="T72" fmla="*/ 821 w 1618"/>
              <a:gd name="T73" fmla="*/ 134 h 828"/>
              <a:gd name="T74" fmla="*/ 858 w 1618"/>
              <a:gd name="T75" fmla="*/ 128 h 828"/>
              <a:gd name="T76" fmla="*/ 894 w 1618"/>
              <a:gd name="T77" fmla="*/ 128 h 828"/>
              <a:gd name="T78" fmla="*/ 931 w 1618"/>
              <a:gd name="T79" fmla="*/ 122 h 828"/>
              <a:gd name="T80" fmla="*/ 967 w 1618"/>
              <a:gd name="T81" fmla="*/ 116 h 828"/>
              <a:gd name="T82" fmla="*/ 1004 w 1618"/>
              <a:gd name="T83" fmla="*/ 104 h 828"/>
              <a:gd name="T84" fmla="*/ 1034 w 1618"/>
              <a:gd name="T85" fmla="*/ 98 h 828"/>
              <a:gd name="T86" fmla="*/ 1071 w 1618"/>
              <a:gd name="T87" fmla="*/ 85 h 828"/>
              <a:gd name="T88" fmla="*/ 1101 w 1618"/>
              <a:gd name="T89" fmla="*/ 67 h 828"/>
              <a:gd name="T90" fmla="*/ 1138 w 1618"/>
              <a:gd name="T91" fmla="*/ 55 h 828"/>
              <a:gd name="T92" fmla="*/ 1168 w 1618"/>
              <a:gd name="T93" fmla="*/ 37 h 828"/>
              <a:gd name="T94" fmla="*/ 1198 w 1618"/>
              <a:gd name="T95" fmla="*/ 12 h 828"/>
              <a:gd name="T96" fmla="*/ 1618 w 1618"/>
              <a:gd name="T97" fmla="*/ 560 h 8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618" h="828">
                <a:moveTo>
                  <a:pt x="1618" y="560"/>
                </a:moveTo>
                <a:lnTo>
                  <a:pt x="1600" y="578"/>
                </a:lnTo>
                <a:lnTo>
                  <a:pt x="1582" y="591"/>
                </a:lnTo>
                <a:lnTo>
                  <a:pt x="1563" y="603"/>
                </a:lnTo>
                <a:lnTo>
                  <a:pt x="1539" y="615"/>
                </a:lnTo>
                <a:lnTo>
                  <a:pt x="1521" y="627"/>
                </a:lnTo>
                <a:lnTo>
                  <a:pt x="1503" y="639"/>
                </a:lnTo>
                <a:lnTo>
                  <a:pt x="1478" y="651"/>
                </a:lnTo>
                <a:lnTo>
                  <a:pt x="1460" y="664"/>
                </a:lnTo>
                <a:lnTo>
                  <a:pt x="1436" y="676"/>
                </a:lnTo>
                <a:lnTo>
                  <a:pt x="1417" y="688"/>
                </a:lnTo>
                <a:lnTo>
                  <a:pt x="1393" y="694"/>
                </a:lnTo>
                <a:lnTo>
                  <a:pt x="1369" y="706"/>
                </a:lnTo>
                <a:lnTo>
                  <a:pt x="1351" y="718"/>
                </a:lnTo>
                <a:lnTo>
                  <a:pt x="1326" y="724"/>
                </a:lnTo>
                <a:lnTo>
                  <a:pt x="1302" y="737"/>
                </a:lnTo>
                <a:lnTo>
                  <a:pt x="1284" y="743"/>
                </a:lnTo>
                <a:lnTo>
                  <a:pt x="1259" y="749"/>
                </a:lnTo>
                <a:lnTo>
                  <a:pt x="1235" y="761"/>
                </a:lnTo>
                <a:lnTo>
                  <a:pt x="1211" y="767"/>
                </a:lnTo>
                <a:lnTo>
                  <a:pt x="1192" y="773"/>
                </a:lnTo>
                <a:lnTo>
                  <a:pt x="1168" y="779"/>
                </a:lnTo>
                <a:lnTo>
                  <a:pt x="1144" y="785"/>
                </a:lnTo>
                <a:lnTo>
                  <a:pt x="1119" y="791"/>
                </a:lnTo>
                <a:lnTo>
                  <a:pt x="1095" y="797"/>
                </a:lnTo>
                <a:lnTo>
                  <a:pt x="1071" y="804"/>
                </a:lnTo>
                <a:lnTo>
                  <a:pt x="1052" y="804"/>
                </a:lnTo>
                <a:lnTo>
                  <a:pt x="1028" y="810"/>
                </a:lnTo>
                <a:lnTo>
                  <a:pt x="1004" y="816"/>
                </a:lnTo>
                <a:lnTo>
                  <a:pt x="979" y="816"/>
                </a:lnTo>
                <a:lnTo>
                  <a:pt x="955" y="822"/>
                </a:lnTo>
                <a:lnTo>
                  <a:pt x="931" y="822"/>
                </a:lnTo>
                <a:lnTo>
                  <a:pt x="906" y="822"/>
                </a:lnTo>
                <a:lnTo>
                  <a:pt x="882" y="822"/>
                </a:lnTo>
                <a:lnTo>
                  <a:pt x="858" y="828"/>
                </a:lnTo>
                <a:lnTo>
                  <a:pt x="833" y="828"/>
                </a:lnTo>
                <a:lnTo>
                  <a:pt x="809" y="828"/>
                </a:lnTo>
                <a:lnTo>
                  <a:pt x="785" y="828"/>
                </a:lnTo>
                <a:lnTo>
                  <a:pt x="760" y="828"/>
                </a:lnTo>
                <a:lnTo>
                  <a:pt x="736" y="822"/>
                </a:lnTo>
                <a:lnTo>
                  <a:pt x="712" y="822"/>
                </a:lnTo>
                <a:lnTo>
                  <a:pt x="693" y="822"/>
                </a:lnTo>
                <a:lnTo>
                  <a:pt x="669" y="822"/>
                </a:lnTo>
                <a:lnTo>
                  <a:pt x="645" y="816"/>
                </a:lnTo>
                <a:lnTo>
                  <a:pt x="620" y="816"/>
                </a:lnTo>
                <a:lnTo>
                  <a:pt x="596" y="810"/>
                </a:lnTo>
                <a:lnTo>
                  <a:pt x="572" y="804"/>
                </a:lnTo>
                <a:lnTo>
                  <a:pt x="547" y="804"/>
                </a:lnTo>
                <a:lnTo>
                  <a:pt x="523" y="797"/>
                </a:lnTo>
                <a:lnTo>
                  <a:pt x="499" y="791"/>
                </a:lnTo>
                <a:lnTo>
                  <a:pt x="474" y="785"/>
                </a:lnTo>
                <a:lnTo>
                  <a:pt x="456" y="779"/>
                </a:lnTo>
                <a:lnTo>
                  <a:pt x="432" y="773"/>
                </a:lnTo>
                <a:lnTo>
                  <a:pt x="407" y="767"/>
                </a:lnTo>
                <a:lnTo>
                  <a:pt x="383" y="761"/>
                </a:lnTo>
                <a:lnTo>
                  <a:pt x="365" y="749"/>
                </a:lnTo>
                <a:lnTo>
                  <a:pt x="340" y="743"/>
                </a:lnTo>
                <a:lnTo>
                  <a:pt x="316" y="737"/>
                </a:lnTo>
                <a:lnTo>
                  <a:pt x="292" y="724"/>
                </a:lnTo>
                <a:lnTo>
                  <a:pt x="273" y="718"/>
                </a:lnTo>
                <a:lnTo>
                  <a:pt x="249" y="706"/>
                </a:lnTo>
                <a:lnTo>
                  <a:pt x="231" y="694"/>
                </a:lnTo>
                <a:lnTo>
                  <a:pt x="206" y="688"/>
                </a:lnTo>
                <a:lnTo>
                  <a:pt x="182" y="676"/>
                </a:lnTo>
                <a:lnTo>
                  <a:pt x="164" y="664"/>
                </a:lnTo>
                <a:lnTo>
                  <a:pt x="140" y="651"/>
                </a:lnTo>
                <a:lnTo>
                  <a:pt x="121" y="639"/>
                </a:lnTo>
                <a:lnTo>
                  <a:pt x="103" y="627"/>
                </a:lnTo>
                <a:lnTo>
                  <a:pt x="79" y="615"/>
                </a:lnTo>
                <a:lnTo>
                  <a:pt x="60" y="603"/>
                </a:lnTo>
                <a:lnTo>
                  <a:pt x="42" y="591"/>
                </a:lnTo>
                <a:lnTo>
                  <a:pt x="18" y="578"/>
                </a:lnTo>
                <a:lnTo>
                  <a:pt x="0" y="560"/>
                </a:lnTo>
                <a:lnTo>
                  <a:pt x="407" y="0"/>
                </a:lnTo>
                <a:lnTo>
                  <a:pt x="413" y="6"/>
                </a:lnTo>
                <a:lnTo>
                  <a:pt x="426" y="12"/>
                </a:lnTo>
                <a:lnTo>
                  <a:pt x="432" y="25"/>
                </a:lnTo>
                <a:lnTo>
                  <a:pt x="444" y="31"/>
                </a:lnTo>
                <a:lnTo>
                  <a:pt x="456" y="37"/>
                </a:lnTo>
                <a:lnTo>
                  <a:pt x="462" y="43"/>
                </a:lnTo>
                <a:lnTo>
                  <a:pt x="474" y="49"/>
                </a:lnTo>
                <a:lnTo>
                  <a:pt x="486" y="55"/>
                </a:lnTo>
                <a:lnTo>
                  <a:pt x="499" y="55"/>
                </a:lnTo>
                <a:lnTo>
                  <a:pt x="505" y="61"/>
                </a:lnTo>
                <a:lnTo>
                  <a:pt x="517" y="67"/>
                </a:lnTo>
                <a:lnTo>
                  <a:pt x="529" y="73"/>
                </a:lnTo>
                <a:lnTo>
                  <a:pt x="541" y="79"/>
                </a:lnTo>
                <a:lnTo>
                  <a:pt x="553" y="85"/>
                </a:lnTo>
                <a:lnTo>
                  <a:pt x="565" y="85"/>
                </a:lnTo>
                <a:lnTo>
                  <a:pt x="572" y="92"/>
                </a:lnTo>
                <a:lnTo>
                  <a:pt x="584" y="98"/>
                </a:lnTo>
                <a:lnTo>
                  <a:pt x="596" y="98"/>
                </a:lnTo>
                <a:lnTo>
                  <a:pt x="608" y="104"/>
                </a:lnTo>
                <a:lnTo>
                  <a:pt x="620" y="104"/>
                </a:lnTo>
                <a:lnTo>
                  <a:pt x="632" y="110"/>
                </a:lnTo>
                <a:lnTo>
                  <a:pt x="645" y="110"/>
                </a:lnTo>
                <a:lnTo>
                  <a:pt x="657" y="116"/>
                </a:lnTo>
                <a:lnTo>
                  <a:pt x="669" y="116"/>
                </a:lnTo>
                <a:lnTo>
                  <a:pt x="681" y="122"/>
                </a:lnTo>
                <a:lnTo>
                  <a:pt x="693" y="122"/>
                </a:lnTo>
                <a:lnTo>
                  <a:pt x="699" y="122"/>
                </a:lnTo>
                <a:lnTo>
                  <a:pt x="712" y="128"/>
                </a:lnTo>
                <a:lnTo>
                  <a:pt x="724" y="128"/>
                </a:lnTo>
                <a:lnTo>
                  <a:pt x="736" y="128"/>
                </a:lnTo>
                <a:lnTo>
                  <a:pt x="748" y="128"/>
                </a:lnTo>
                <a:lnTo>
                  <a:pt x="760" y="128"/>
                </a:lnTo>
                <a:lnTo>
                  <a:pt x="772" y="134"/>
                </a:lnTo>
                <a:lnTo>
                  <a:pt x="785" y="134"/>
                </a:lnTo>
                <a:lnTo>
                  <a:pt x="797" y="134"/>
                </a:lnTo>
                <a:lnTo>
                  <a:pt x="809" y="134"/>
                </a:lnTo>
                <a:lnTo>
                  <a:pt x="821" y="134"/>
                </a:lnTo>
                <a:lnTo>
                  <a:pt x="833" y="134"/>
                </a:lnTo>
                <a:lnTo>
                  <a:pt x="845" y="134"/>
                </a:lnTo>
                <a:lnTo>
                  <a:pt x="858" y="128"/>
                </a:lnTo>
                <a:lnTo>
                  <a:pt x="870" y="128"/>
                </a:lnTo>
                <a:lnTo>
                  <a:pt x="882" y="128"/>
                </a:lnTo>
                <a:lnTo>
                  <a:pt x="894" y="128"/>
                </a:lnTo>
                <a:lnTo>
                  <a:pt x="906" y="128"/>
                </a:lnTo>
                <a:lnTo>
                  <a:pt x="918" y="122"/>
                </a:lnTo>
                <a:lnTo>
                  <a:pt x="931" y="122"/>
                </a:lnTo>
                <a:lnTo>
                  <a:pt x="943" y="122"/>
                </a:lnTo>
                <a:lnTo>
                  <a:pt x="955" y="116"/>
                </a:lnTo>
                <a:lnTo>
                  <a:pt x="967" y="116"/>
                </a:lnTo>
                <a:lnTo>
                  <a:pt x="979" y="110"/>
                </a:lnTo>
                <a:lnTo>
                  <a:pt x="991" y="110"/>
                </a:lnTo>
                <a:lnTo>
                  <a:pt x="1004" y="104"/>
                </a:lnTo>
                <a:lnTo>
                  <a:pt x="1010" y="104"/>
                </a:lnTo>
                <a:lnTo>
                  <a:pt x="1022" y="98"/>
                </a:lnTo>
                <a:lnTo>
                  <a:pt x="1034" y="98"/>
                </a:lnTo>
                <a:lnTo>
                  <a:pt x="1046" y="92"/>
                </a:lnTo>
                <a:lnTo>
                  <a:pt x="1058" y="85"/>
                </a:lnTo>
                <a:lnTo>
                  <a:pt x="1071" y="85"/>
                </a:lnTo>
                <a:lnTo>
                  <a:pt x="1083" y="79"/>
                </a:lnTo>
                <a:lnTo>
                  <a:pt x="1089" y="73"/>
                </a:lnTo>
                <a:lnTo>
                  <a:pt x="1101" y="67"/>
                </a:lnTo>
                <a:lnTo>
                  <a:pt x="1113" y="61"/>
                </a:lnTo>
                <a:lnTo>
                  <a:pt x="1125" y="55"/>
                </a:lnTo>
                <a:lnTo>
                  <a:pt x="1138" y="55"/>
                </a:lnTo>
                <a:lnTo>
                  <a:pt x="1144" y="49"/>
                </a:lnTo>
                <a:lnTo>
                  <a:pt x="1156" y="43"/>
                </a:lnTo>
                <a:lnTo>
                  <a:pt x="1168" y="37"/>
                </a:lnTo>
                <a:lnTo>
                  <a:pt x="1174" y="31"/>
                </a:lnTo>
                <a:lnTo>
                  <a:pt x="1186" y="25"/>
                </a:lnTo>
                <a:lnTo>
                  <a:pt x="1198" y="12"/>
                </a:lnTo>
                <a:lnTo>
                  <a:pt x="1204" y="6"/>
                </a:lnTo>
                <a:lnTo>
                  <a:pt x="1217" y="0"/>
                </a:lnTo>
                <a:lnTo>
                  <a:pt x="1618" y="56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76200">
            <a:solidFill>
              <a:srgbClr val="FFFFFF"/>
            </a:solidFill>
            <a:round/>
            <a:headEnd/>
            <a:tailEnd/>
          </a:ln>
        </p:spPr>
        <p:txBody>
          <a:bodyPr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8059021" y="6456860"/>
            <a:ext cx="2920277" cy="4622022"/>
          </a:xfrm>
          <a:custGeom>
            <a:avLst/>
            <a:gdLst>
              <a:gd name="T0" fmla="*/ 529 w 973"/>
              <a:gd name="T1" fmla="*/ 1516 h 1540"/>
              <a:gd name="T2" fmla="*/ 474 w 973"/>
              <a:gd name="T3" fmla="*/ 1467 h 1540"/>
              <a:gd name="T4" fmla="*/ 419 w 973"/>
              <a:gd name="T5" fmla="*/ 1418 h 1540"/>
              <a:gd name="T6" fmla="*/ 371 w 973"/>
              <a:gd name="T7" fmla="*/ 1370 h 1540"/>
              <a:gd name="T8" fmla="*/ 322 w 973"/>
              <a:gd name="T9" fmla="*/ 1315 h 1540"/>
              <a:gd name="T10" fmla="*/ 273 w 973"/>
              <a:gd name="T11" fmla="*/ 1254 h 1540"/>
              <a:gd name="T12" fmla="*/ 231 w 973"/>
              <a:gd name="T13" fmla="*/ 1199 h 1540"/>
              <a:gd name="T14" fmla="*/ 194 w 973"/>
              <a:gd name="T15" fmla="*/ 1138 h 1540"/>
              <a:gd name="T16" fmla="*/ 158 w 973"/>
              <a:gd name="T17" fmla="*/ 1072 h 1540"/>
              <a:gd name="T18" fmla="*/ 127 w 973"/>
              <a:gd name="T19" fmla="*/ 1011 h 1540"/>
              <a:gd name="T20" fmla="*/ 97 w 973"/>
              <a:gd name="T21" fmla="*/ 944 h 1540"/>
              <a:gd name="T22" fmla="*/ 73 w 973"/>
              <a:gd name="T23" fmla="*/ 877 h 1540"/>
              <a:gd name="T24" fmla="*/ 54 w 973"/>
              <a:gd name="T25" fmla="*/ 804 h 1540"/>
              <a:gd name="T26" fmla="*/ 36 w 973"/>
              <a:gd name="T27" fmla="*/ 737 h 1540"/>
              <a:gd name="T28" fmla="*/ 18 w 973"/>
              <a:gd name="T29" fmla="*/ 664 h 1540"/>
              <a:gd name="T30" fmla="*/ 6 w 973"/>
              <a:gd name="T31" fmla="*/ 591 h 1540"/>
              <a:gd name="T32" fmla="*/ 0 w 973"/>
              <a:gd name="T33" fmla="*/ 524 h 1540"/>
              <a:gd name="T34" fmla="*/ 0 w 973"/>
              <a:gd name="T35" fmla="*/ 451 h 1540"/>
              <a:gd name="T36" fmla="*/ 0 w 973"/>
              <a:gd name="T37" fmla="*/ 378 h 1540"/>
              <a:gd name="T38" fmla="*/ 6 w 973"/>
              <a:gd name="T39" fmla="*/ 305 h 1540"/>
              <a:gd name="T40" fmla="*/ 12 w 973"/>
              <a:gd name="T41" fmla="*/ 232 h 1540"/>
              <a:gd name="T42" fmla="*/ 24 w 973"/>
              <a:gd name="T43" fmla="*/ 159 h 1540"/>
              <a:gd name="T44" fmla="*/ 36 w 973"/>
              <a:gd name="T45" fmla="*/ 92 h 1540"/>
              <a:gd name="T46" fmla="*/ 60 w 973"/>
              <a:gd name="T47" fmla="*/ 19 h 1540"/>
              <a:gd name="T48" fmla="*/ 718 w 973"/>
              <a:gd name="T49" fmla="*/ 226 h 1540"/>
              <a:gd name="T50" fmla="*/ 706 w 973"/>
              <a:gd name="T51" fmla="*/ 256 h 1540"/>
              <a:gd name="T52" fmla="*/ 699 w 973"/>
              <a:gd name="T53" fmla="*/ 293 h 1540"/>
              <a:gd name="T54" fmla="*/ 693 w 973"/>
              <a:gd name="T55" fmla="*/ 329 h 1540"/>
              <a:gd name="T56" fmla="*/ 687 w 973"/>
              <a:gd name="T57" fmla="*/ 366 h 1540"/>
              <a:gd name="T58" fmla="*/ 687 w 973"/>
              <a:gd name="T59" fmla="*/ 402 h 1540"/>
              <a:gd name="T60" fmla="*/ 687 w 973"/>
              <a:gd name="T61" fmla="*/ 439 h 1540"/>
              <a:gd name="T62" fmla="*/ 687 w 973"/>
              <a:gd name="T63" fmla="*/ 475 h 1540"/>
              <a:gd name="T64" fmla="*/ 693 w 973"/>
              <a:gd name="T65" fmla="*/ 512 h 1540"/>
              <a:gd name="T66" fmla="*/ 693 w 973"/>
              <a:gd name="T67" fmla="*/ 542 h 1540"/>
              <a:gd name="T68" fmla="*/ 706 w 973"/>
              <a:gd name="T69" fmla="*/ 579 h 1540"/>
              <a:gd name="T70" fmla="*/ 712 w 973"/>
              <a:gd name="T71" fmla="*/ 615 h 1540"/>
              <a:gd name="T72" fmla="*/ 724 w 973"/>
              <a:gd name="T73" fmla="*/ 652 h 1540"/>
              <a:gd name="T74" fmla="*/ 736 w 973"/>
              <a:gd name="T75" fmla="*/ 682 h 1540"/>
              <a:gd name="T76" fmla="*/ 748 w 973"/>
              <a:gd name="T77" fmla="*/ 719 h 1540"/>
              <a:gd name="T78" fmla="*/ 766 w 973"/>
              <a:gd name="T79" fmla="*/ 749 h 1540"/>
              <a:gd name="T80" fmla="*/ 785 w 973"/>
              <a:gd name="T81" fmla="*/ 779 h 1540"/>
              <a:gd name="T82" fmla="*/ 803 w 973"/>
              <a:gd name="T83" fmla="*/ 810 h 1540"/>
              <a:gd name="T84" fmla="*/ 827 w 973"/>
              <a:gd name="T85" fmla="*/ 840 h 1540"/>
              <a:gd name="T86" fmla="*/ 845 w 973"/>
              <a:gd name="T87" fmla="*/ 865 h 1540"/>
              <a:gd name="T88" fmla="*/ 870 w 973"/>
              <a:gd name="T89" fmla="*/ 895 h 1540"/>
              <a:gd name="T90" fmla="*/ 894 w 973"/>
              <a:gd name="T91" fmla="*/ 919 h 1540"/>
              <a:gd name="T92" fmla="*/ 925 w 973"/>
              <a:gd name="T93" fmla="*/ 944 h 1540"/>
              <a:gd name="T94" fmla="*/ 949 w 973"/>
              <a:gd name="T95" fmla="*/ 968 h 1540"/>
              <a:gd name="T96" fmla="*/ 566 w 973"/>
              <a:gd name="T97" fmla="*/ 1540 h 1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73" h="1540">
                <a:moveTo>
                  <a:pt x="566" y="1540"/>
                </a:moveTo>
                <a:lnTo>
                  <a:pt x="547" y="1528"/>
                </a:lnTo>
                <a:lnTo>
                  <a:pt x="529" y="1516"/>
                </a:lnTo>
                <a:lnTo>
                  <a:pt x="511" y="1498"/>
                </a:lnTo>
                <a:lnTo>
                  <a:pt x="493" y="1485"/>
                </a:lnTo>
                <a:lnTo>
                  <a:pt x="474" y="1467"/>
                </a:lnTo>
                <a:lnTo>
                  <a:pt x="456" y="1449"/>
                </a:lnTo>
                <a:lnTo>
                  <a:pt x="438" y="1437"/>
                </a:lnTo>
                <a:lnTo>
                  <a:pt x="419" y="1418"/>
                </a:lnTo>
                <a:lnTo>
                  <a:pt x="401" y="1400"/>
                </a:lnTo>
                <a:lnTo>
                  <a:pt x="383" y="1382"/>
                </a:lnTo>
                <a:lnTo>
                  <a:pt x="371" y="1370"/>
                </a:lnTo>
                <a:lnTo>
                  <a:pt x="353" y="1351"/>
                </a:lnTo>
                <a:lnTo>
                  <a:pt x="334" y="1333"/>
                </a:lnTo>
                <a:lnTo>
                  <a:pt x="322" y="1315"/>
                </a:lnTo>
                <a:lnTo>
                  <a:pt x="304" y="1297"/>
                </a:lnTo>
                <a:lnTo>
                  <a:pt x="292" y="1278"/>
                </a:lnTo>
                <a:lnTo>
                  <a:pt x="273" y="1254"/>
                </a:lnTo>
                <a:lnTo>
                  <a:pt x="261" y="1236"/>
                </a:lnTo>
                <a:lnTo>
                  <a:pt x="249" y="1218"/>
                </a:lnTo>
                <a:lnTo>
                  <a:pt x="231" y="1199"/>
                </a:lnTo>
                <a:lnTo>
                  <a:pt x="219" y="1175"/>
                </a:lnTo>
                <a:lnTo>
                  <a:pt x="206" y="1157"/>
                </a:lnTo>
                <a:lnTo>
                  <a:pt x="194" y="1138"/>
                </a:lnTo>
                <a:lnTo>
                  <a:pt x="182" y="1114"/>
                </a:lnTo>
                <a:lnTo>
                  <a:pt x="170" y="1096"/>
                </a:lnTo>
                <a:lnTo>
                  <a:pt x="158" y="1072"/>
                </a:lnTo>
                <a:lnTo>
                  <a:pt x="146" y="1053"/>
                </a:lnTo>
                <a:lnTo>
                  <a:pt x="140" y="1029"/>
                </a:lnTo>
                <a:lnTo>
                  <a:pt x="127" y="1011"/>
                </a:lnTo>
                <a:lnTo>
                  <a:pt x="115" y="986"/>
                </a:lnTo>
                <a:lnTo>
                  <a:pt x="109" y="962"/>
                </a:lnTo>
                <a:lnTo>
                  <a:pt x="97" y="944"/>
                </a:lnTo>
                <a:lnTo>
                  <a:pt x="91" y="919"/>
                </a:lnTo>
                <a:lnTo>
                  <a:pt x="79" y="895"/>
                </a:lnTo>
                <a:lnTo>
                  <a:pt x="73" y="877"/>
                </a:lnTo>
                <a:lnTo>
                  <a:pt x="67" y="852"/>
                </a:lnTo>
                <a:lnTo>
                  <a:pt x="60" y="828"/>
                </a:lnTo>
                <a:lnTo>
                  <a:pt x="54" y="804"/>
                </a:lnTo>
                <a:lnTo>
                  <a:pt x="42" y="786"/>
                </a:lnTo>
                <a:lnTo>
                  <a:pt x="36" y="761"/>
                </a:lnTo>
                <a:lnTo>
                  <a:pt x="36" y="737"/>
                </a:lnTo>
                <a:lnTo>
                  <a:pt x="30" y="712"/>
                </a:lnTo>
                <a:lnTo>
                  <a:pt x="24" y="688"/>
                </a:lnTo>
                <a:lnTo>
                  <a:pt x="18" y="664"/>
                </a:lnTo>
                <a:lnTo>
                  <a:pt x="18" y="639"/>
                </a:lnTo>
                <a:lnTo>
                  <a:pt x="12" y="615"/>
                </a:lnTo>
                <a:lnTo>
                  <a:pt x="6" y="591"/>
                </a:lnTo>
                <a:lnTo>
                  <a:pt x="6" y="566"/>
                </a:lnTo>
                <a:lnTo>
                  <a:pt x="6" y="548"/>
                </a:lnTo>
                <a:lnTo>
                  <a:pt x="0" y="524"/>
                </a:lnTo>
                <a:lnTo>
                  <a:pt x="0" y="499"/>
                </a:lnTo>
                <a:lnTo>
                  <a:pt x="0" y="475"/>
                </a:lnTo>
                <a:lnTo>
                  <a:pt x="0" y="451"/>
                </a:lnTo>
                <a:lnTo>
                  <a:pt x="0" y="426"/>
                </a:lnTo>
                <a:lnTo>
                  <a:pt x="0" y="402"/>
                </a:lnTo>
                <a:lnTo>
                  <a:pt x="0" y="378"/>
                </a:lnTo>
                <a:lnTo>
                  <a:pt x="0" y="353"/>
                </a:lnTo>
                <a:lnTo>
                  <a:pt x="0" y="329"/>
                </a:lnTo>
                <a:lnTo>
                  <a:pt x="6" y="305"/>
                </a:lnTo>
                <a:lnTo>
                  <a:pt x="6" y="280"/>
                </a:lnTo>
                <a:lnTo>
                  <a:pt x="6" y="256"/>
                </a:lnTo>
                <a:lnTo>
                  <a:pt x="12" y="232"/>
                </a:lnTo>
                <a:lnTo>
                  <a:pt x="18" y="207"/>
                </a:lnTo>
                <a:lnTo>
                  <a:pt x="18" y="183"/>
                </a:lnTo>
                <a:lnTo>
                  <a:pt x="24" y="159"/>
                </a:lnTo>
                <a:lnTo>
                  <a:pt x="30" y="140"/>
                </a:lnTo>
                <a:lnTo>
                  <a:pt x="36" y="116"/>
                </a:lnTo>
                <a:lnTo>
                  <a:pt x="36" y="92"/>
                </a:lnTo>
                <a:lnTo>
                  <a:pt x="42" y="67"/>
                </a:lnTo>
                <a:lnTo>
                  <a:pt x="54" y="43"/>
                </a:lnTo>
                <a:lnTo>
                  <a:pt x="60" y="19"/>
                </a:lnTo>
                <a:lnTo>
                  <a:pt x="67" y="0"/>
                </a:lnTo>
                <a:lnTo>
                  <a:pt x="718" y="213"/>
                </a:lnTo>
                <a:lnTo>
                  <a:pt x="718" y="226"/>
                </a:lnTo>
                <a:lnTo>
                  <a:pt x="712" y="238"/>
                </a:lnTo>
                <a:lnTo>
                  <a:pt x="712" y="250"/>
                </a:lnTo>
                <a:lnTo>
                  <a:pt x="706" y="256"/>
                </a:lnTo>
                <a:lnTo>
                  <a:pt x="706" y="268"/>
                </a:lnTo>
                <a:lnTo>
                  <a:pt x="699" y="280"/>
                </a:lnTo>
                <a:lnTo>
                  <a:pt x="699" y="293"/>
                </a:lnTo>
                <a:lnTo>
                  <a:pt x="693" y="305"/>
                </a:lnTo>
                <a:lnTo>
                  <a:pt x="693" y="317"/>
                </a:lnTo>
                <a:lnTo>
                  <a:pt x="693" y="329"/>
                </a:lnTo>
                <a:lnTo>
                  <a:pt x="693" y="341"/>
                </a:lnTo>
                <a:lnTo>
                  <a:pt x="687" y="353"/>
                </a:lnTo>
                <a:lnTo>
                  <a:pt x="687" y="366"/>
                </a:lnTo>
                <a:lnTo>
                  <a:pt x="687" y="378"/>
                </a:lnTo>
                <a:lnTo>
                  <a:pt x="687" y="390"/>
                </a:lnTo>
                <a:lnTo>
                  <a:pt x="687" y="402"/>
                </a:lnTo>
                <a:lnTo>
                  <a:pt x="687" y="414"/>
                </a:lnTo>
                <a:lnTo>
                  <a:pt x="687" y="426"/>
                </a:lnTo>
                <a:lnTo>
                  <a:pt x="687" y="439"/>
                </a:lnTo>
                <a:lnTo>
                  <a:pt x="687" y="451"/>
                </a:lnTo>
                <a:lnTo>
                  <a:pt x="687" y="463"/>
                </a:lnTo>
                <a:lnTo>
                  <a:pt x="687" y="475"/>
                </a:lnTo>
                <a:lnTo>
                  <a:pt x="687" y="487"/>
                </a:lnTo>
                <a:lnTo>
                  <a:pt x="687" y="499"/>
                </a:lnTo>
                <a:lnTo>
                  <a:pt x="693" y="512"/>
                </a:lnTo>
                <a:lnTo>
                  <a:pt x="693" y="518"/>
                </a:lnTo>
                <a:lnTo>
                  <a:pt x="693" y="530"/>
                </a:lnTo>
                <a:lnTo>
                  <a:pt x="693" y="542"/>
                </a:lnTo>
                <a:lnTo>
                  <a:pt x="699" y="554"/>
                </a:lnTo>
                <a:lnTo>
                  <a:pt x="699" y="566"/>
                </a:lnTo>
                <a:lnTo>
                  <a:pt x="706" y="579"/>
                </a:lnTo>
                <a:lnTo>
                  <a:pt x="706" y="591"/>
                </a:lnTo>
                <a:lnTo>
                  <a:pt x="712" y="603"/>
                </a:lnTo>
                <a:lnTo>
                  <a:pt x="712" y="615"/>
                </a:lnTo>
                <a:lnTo>
                  <a:pt x="718" y="627"/>
                </a:lnTo>
                <a:lnTo>
                  <a:pt x="718" y="639"/>
                </a:lnTo>
                <a:lnTo>
                  <a:pt x="724" y="652"/>
                </a:lnTo>
                <a:lnTo>
                  <a:pt x="730" y="658"/>
                </a:lnTo>
                <a:lnTo>
                  <a:pt x="730" y="670"/>
                </a:lnTo>
                <a:lnTo>
                  <a:pt x="736" y="682"/>
                </a:lnTo>
                <a:lnTo>
                  <a:pt x="742" y="694"/>
                </a:lnTo>
                <a:lnTo>
                  <a:pt x="748" y="706"/>
                </a:lnTo>
                <a:lnTo>
                  <a:pt x="748" y="719"/>
                </a:lnTo>
                <a:lnTo>
                  <a:pt x="754" y="725"/>
                </a:lnTo>
                <a:lnTo>
                  <a:pt x="760" y="737"/>
                </a:lnTo>
                <a:lnTo>
                  <a:pt x="766" y="749"/>
                </a:lnTo>
                <a:lnTo>
                  <a:pt x="772" y="761"/>
                </a:lnTo>
                <a:lnTo>
                  <a:pt x="779" y="767"/>
                </a:lnTo>
                <a:lnTo>
                  <a:pt x="785" y="779"/>
                </a:lnTo>
                <a:lnTo>
                  <a:pt x="791" y="792"/>
                </a:lnTo>
                <a:lnTo>
                  <a:pt x="797" y="798"/>
                </a:lnTo>
                <a:lnTo>
                  <a:pt x="803" y="810"/>
                </a:lnTo>
                <a:lnTo>
                  <a:pt x="809" y="822"/>
                </a:lnTo>
                <a:lnTo>
                  <a:pt x="815" y="828"/>
                </a:lnTo>
                <a:lnTo>
                  <a:pt x="827" y="840"/>
                </a:lnTo>
                <a:lnTo>
                  <a:pt x="833" y="846"/>
                </a:lnTo>
                <a:lnTo>
                  <a:pt x="839" y="859"/>
                </a:lnTo>
                <a:lnTo>
                  <a:pt x="845" y="865"/>
                </a:lnTo>
                <a:lnTo>
                  <a:pt x="858" y="877"/>
                </a:lnTo>
                <a:lnTo>
                  <a:pt x="864" y="883"/>
                </a:lnTo>
                <a:lnTo>
                  <a:pt x="870" y="895"/>
                </a:lnTo>
                <a:lnTo>
                  <a:pt x="882" y="901"/>
                </a:lnTo>
                <a:lnTo>
                  <a:pt x="888" y="913"/>
                </a:lnTo>
                <a:lnTo>
                  <a:pt x="894" y="919"/>
                </a:lnTo>
                <a:lnTo>
                  <a:pt x="906" y="925"/>
                </a:lnTo>
                <a:lnTo>
                  <a:pt x="912" y="938"/>
                </a:lnTo>
                <a:lnTo>
                  <a:pt x="925" y="944"/>
                </a:lnTo>
                <a:lnTo>
                  <a:pt x="931" y="950"/>
                </a:lnTo>
                <a:lnTo>
                  <a:pt x="943" y="962"/>
                </a:lnTo>
                <a:lnTo>
                  <a:pt x="949" y="968"/>
                </a:lnTo>
                <a:lnTo>
                  <a:pt x="961" y="974"/>
                </a:lnTo>
                <a:lnTo>
                  <a:pt x="973" y="980"/>
                </a:lnTo>
                <a:lnTo>
                  <a:pt x="566" y="154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76200">
            <a:solidFill>
              <a:srgbClr val="FFFFFF"/>
            </a:solidFill>
            <a:round/>
            <a:headEnd/>
            <a:tailEnd/>
          </a:ln>
        </p:spPr>
        <p:txBody>
          <a:bodyPr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0" name="Freeform 7"/>
          <p:cNvSpPr>
            <a:spLocks/>
          </p:cNvSpPr>
          <p:nvPr/>
        </p:nvSpPr>
        <p:spPr bwMode="auto">
          <a:xfrm>
            <a:off x="8260107" y="3590606"/>
            <a:ext cx="3925717" cy="3505533"/>
          </a:xfrm>
          <a:custGeom>
            <a:avLst/>
            <a:gdLst>
              <a:gd name="T0" fmla="*/ 12 w 1308"/>
              <a:gd name="T1" fmla="*/ 907 h 1168"/>
              <a:gd name="T2" fmla="*/ 42 w 1308"/>
              <a:gd name="T3" fmla="*/ 840 h 1168"/>
              <a:gd name="T4" fmla="*/ 73 w 1308"/>
              <a:gd name="T5" fmla="*/ 773 h 1168"/>
              <a:gd name="T6" fmla="*/ 103 w 1308"/>
              <a:gd name="T7" fmla="*/ 712 h 1168"/>
              <a:gd name="T8" fmla="*/ 139 w 1308"/>
              <a:gd name="T9" fmla="*/ 645 h 1168"/>
              <a:gd name="T10" fmla="*/ 182 w 1308"/>
              <a:gd name="T11" fmla="*/ 590 h 1168"/>
              <a:gd name="T12" fmla="*/ 225 w 1308"/>
              <a:gd name="T13" fmla="*/ 529 h 1168"/>
              <a:gd name="T14" fmla="*/ 267 w 1308"/>
              <a:gd name="T15" fmla="*/ 475 h 1168"/>
              <a:gd name="T16" fmla="*/ 316 w 1308"/>
              <a:gd name="T17" fmla="*/ 420 h 1168"/>
              <a:gd name="T18" fmla="*/ 371 w 1308"/>
              <a:gd name="T19" fmla="*/ 371 h 1168"/>
              <a:gd name="T20" fmla="*/ 426 w 1308"/>
              <a:gd name="T21" fmla="*/ 323 h 1168"/>
              <a:gd name="T22" fmla="*/ 480 w 1308"/>
              <a:gd name="T23" fmla="*/ 274 h 1168"/>
              <a:gd name="T24" fmla="*/ 541 w 1308"/>
              <a:gd name="T25" fmla="*/ 237 h 1168"/>
              <a:gd name="T26" fmla="*/ 602 w 1308"/>
              <a:gd name="T27" fmla="*/ 195 h 1168"/>
              <a:gd name="T28" fmla="*/ 663 w 1308"/>
              <a:gd name="T29" fmla="*/ 158 h 1168"/>
              <a:gd name="T30" fmla="*/ 730 w 1308"/>
              <a:gd name="T31" fmla="*/ 128 h 1168"/>
              <a:gd name="T32" fmla="*/ 791 w 1308"/>
              <a:gd name="T33" fmla="*/ 97 h 1168"/>
              <a:gd name="T34" fmla="*/ 864 w 1308"/>
              <a:gd name="T35" fmla="*/ 73 h 1168"/>
              <a:gd name="T36" fmla="*/ 931 w 1308"/>
              <a:gd name="T37" fmla="*/ 55 h 1168"/>
              <a:gd name="T38" fmla="*/ 998 w 1308"/>
              <a:gd name="T39" fmla="*/ 37 h 1168"/>
              <a:gd name="T40" fmla="*/ 1071 w 1308"/>
              <a:gd name="T41" fmla="*/ 18 h 1168"/>
              <a:gd name="T42" fmla="*/ 1144 w 1308"/>
              <a:gd name="T43" fmla="*/ 6 h 1168"/>
              <a:gd name="T44" fmla="*/ 1211 w 1308"/>
              <a:gd name="T45" fmla="*/ 0 h 1168"/>
              <a:gd name="T46" fmla="*/ 1284 w 1308"/>
              <a:gd name="T47" fmla="*/ 0 h 1168"/>
              <a:gd name="T48" fmla="*/ 1296 w 1308"/>
              <a:gd name="T49" fmla="*/ 694 h 1168"/>
              <a:gd name="T50" fmla="*/ 1259 w 1308"/>
              <a:gd name="T51" fmla="*/ 694 h 1168"/>
              <a:gd name="T52" fmla="*/ 1223 w 1308"/>
              <a:gd name="T53" fmla="*/ 700 h 1168"/>
              <a:gd name="T54" fmla="*/ 1192 w 1308"/>
              <a:gd name="T55" fmla="*/ 700 h 1168"/>
              <a:gd name="T56" fmla="*/ 1156 w 1308"/>
              <a:gd name="T57" fmla="*/ 712 h 1168"/>
              <a:gd name="T58" fmla="*/ 1119 w 1308"/>
              <a:gd name="T59" fmla="*/ 718 h 1168"/>
              <a:gd name="T60" fmla="*/ 1083 w 1308"/>
              <a:gd name="T61" fmla="*/ 730 h 1168"/>
              <a:gd name="T62" fmla="*/ 1052 w 1308"/>
              <a:gd name="T63" fmla="*/ 742 h 1168"/>
              <a:gd name="T64" fmla="*/ 1016 w 1308"/>
              <a:gd name="T65" fmla="*/ 755 h 1168"/>
              <a:gd name="T66" fmla="*/ 985 w 1308"/>
              <a:gd name="T67" fmla="*/ 773 h 1168"/>
              <a:gd name="T68" fmla="*/ 955 w 1308"/>
              <a:gd name="T69" fmla="*/ 791 h 1168"/>
              <a:gd name="T70" fmla="*/ 925 w 1308"/>
              <a:gd name="T71" fmla="*/ 809 h 1168"/>
              <a:gd name="T72" fmla="*/ 894 w 1308"/>
              <a:gd name="T73" fmla="*/ 834 h 1168"/>
              <a:gd name="T74" fmla="*/ 864 w 1308"/>
              <a:gd name="T75" fmla="*/ 852 h 1168"/>
              <a:gd name="T76" fmla="*/ 839 w 1308"/>
              <a:gd name="T77" fmla="*/ 876 h 1168"/>
              <a:gd name="T78" fmla="*/ 815 w 1308"/>
              <a:gd name="T79" fmla="*/ 901 h 1168"/>
              <a:gd name="T80" fmla="*/ 791 w 1308"/>
              <a:gd name="T81" fmla="*/ 931 h 1168"/>
              <a:gd name="T82" fmla="*/ 766 w 1308"/>
              <a:gd name="T83" fmla="*/ 955 h 1168"/>
              <a:gd name="T84" fmla="*/ 742 w 1308"/>
              <a:gd name="T85" fmla="*/ 986 h 1168"/>
              <a:gd name="T86" fmla="*/ 724 w 1308"/>
              <a:gd name="T87" fmla="*/ 1016 h 1168"/>
              <a:gd name="T88" fmla="*/ 705 w 1308"/>
              <a:gd name="T89" fmla="*/ 1047 h 1168"/>
              <a:gd name="T90" fmla="*/ 687 w 1308"/>
              <a:gd name="T91" fmla="*/ 1077 h 1168"/>
              <a:gd name="T92" fmla="*/ 675 w 1308"/>
              <a:gd name="T93" fmla="*/ 1114 h 1168"/>
              <a:gd name="T94" fmla="*/ 663 w 1308"/>
              <a:gd name="T95" fmla="*/ 1144 h 1168"/>
              <a:gd name="T96" fmla="*/ 0 w 1308"/>
              <a:gd name="T97" fmla="*/ 955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08" h="1168">
                <a:moveTo>
                  <a:pt x="0" y="955"/>
                </a:moveTo>
                <a:lnTo>
                  <a:pt x="6" y="931"/>
                </a:lnTo>
                <a:lnTo>
                  <a:pt x="12" y="907"/>
                </a:lnTo>
                <a:lnTo>
                  <a:pt x="24" y="882"/>
                </a:lnTo>
                <a:lnTo>
                  <a:pt x="30" y="864"/>
                </a:lnTo>
                <a:lnTo>
                  <a:pt x="42" y="840"/>
                </a:lnTo>
                <a:lnTo>
                  <a:pt x="48" y="816"/>
                </a:lnTo>
                <a:lnTo>
                  <a:pt x="60" y="797"/>
                </a:lnTo>
                <a:lnTo>
                  <a:pt x="73" y="773"/>
                </a:lnTo>
                <a:lnTo>
                  <a:pt x="79" y="755"/>
                </a:lnTo>
                <a:lnTo>
                  <a:pt x="91" y="730"/>
                </a:lnTo>
                <a:lnTo>
                  <a:pt x="103" y="712"/>
                </a:lnTo>
                <a:lnTo>
                  <a:pt x="115" y="688"/>
                </a:lnTo>
                <a:lnTo>
                  <a:pt x="127" y="669"/>
                </a:lnTo>
                <a:lnTo>
                  <a:pt x="139" y="645"/>
                </a:lnTo>
                <a:lnTo>
                  <a:pt x="152" y="627"/>
                </a:lnTo>
                <a:lnTo>
                  <a:pt x="164" y="609"/>
                </a:lnTo>
                <a:lnTo>
                  <a:pt x="182" y="590"/>
                </a:lnTo>
                <a:lnTo>
                  <a:pt x="194" y="566"/>
                </a:lnTo>
                <a:lnTo>
                  <a:pt x="206" y="548"/>
                </a:lnTo>
                <a:lnTo>
                  <a:pt x="225" y="529"/>
                </a:lnTo>
                <a:lnTo>
                  <a:pt x="237" y="511"/>
                </a:lnTo>
                <a:lnTo>
                  <a:pt x="255" y="493"/>
                </a:lnTo>
                <a:lnTo>
                  <a:pt x="267" y="475"/>
                </a:lnTo>
                <a:lnTo>
                  <a:pt x="286" y="456"/>
                </a:lnTo>
                <a:lnTo>
                  <a:pt x="304" y="438"/>
                </a:lnTo>
                <a:lnTo>
                  <a:pt x="316" y="420"/>
                </a:lnTo>
                <a:lnTo>
                  <a:pt x="334" y="402"/>
                </a:lnTo>
                <a:lnTo>
                  <a:pt x="352" y="383"/>
                </a:lnTo>
                <a:lnTo>
                  <a:pt x="371" y="371"/>
                </a:lnTo>
                <a:lnTo>
                  <a:pt x="389" y="353"/>
                </a:lnTo>
                <a:lnTo>
                  <a:pt x="407" y="335"/>
                </a:lnTo>
                <a:lnTo>
                  <a:pt x="426" y="323"/>
                </a:lnTo>
                <a:lnTo>
                  <a:pt x="444" y="304"/>
                </a:lnTo>
                <a:lnTo>
                  <a:pt x="462" y="292"/>
                </a:lnTo>
                <a:lnTo>
                  <a:pt x="480" y="274"/>
                </a:lnTo>
                <a:lnTo>
                  <a:pt x="499" y="262"/>
                </a:lnTo>
                <a:lnTo>
                  <a:pt x="517" y="250"/>
                </a:lnTo>
                <a:lnTo>
                  <a:pt x="541" y="237"/>
                </a:lnTo>
                <a:lnTo>
                  <a:pt x="559" y="219"/>
                </a:lnTo>
                <a:lnTo>
                  <a:pt x="578" y="207"/>
                </a:lnTo>
                <a:lnTo>
                  <a:pt x="602" y="195"/>
                </a:lnTo>
                <a:lnTo>
                  <a:pt x="620" y="183"/>
                </a:lnTo>
                <a:lnTo>
                  <a:pt x="639" y="170"/>
                </a:lnTo>
                <a:lnTo>
                  <a:pt x="663" y="158"/>
                </a:lnTo>
                <a:lnTo>
                  <a:pt x="681" y="146"/>
                </a:lnTo>
                <a:lnTo>
                  <a:pt x="705" y="140"/>
                </a:lnTo>
                <a:lnTo>
                  <a:pt x="730" y="128"/>
                </a:lnTo>
                <a:lnTo>
                  <a:pt x="748" y="116"/>
                </a:lnTo>
                <a:lnTo>
                  <a:pt x="772" y="110"/>
                </a:lnTo>
                <a:lnTo>
                  <a:pt x="791" y="97"/>
                </a:lnTo>
                <a:lnTo>
                  <a:pt x="815" y="91"/>
                </a:lnTo>
                <a:lnTo>
                  <a:pt x="839" y="79"/>
                </a:lnTo>
                <a:lnTo>
                  <a:pt x="864" y="73"/>
                </a:lnTo>
                <a:lnTo>
                  <a:pt x="882" y="67"/>
                </a:lnTo>
                <a:lnTo>
                  <a:pt x="906" y="61"/>
                </a:lnTo>
                <a:lnTo>
                  <a:pt x="931" y="55"/>
                </a:lnTo>
                <a:lnTo>
                  <a:pt x="955" y="43"/>
                </a:lnTo>
                <a:lnTo>
                  <a:pt x="973" y="37"/>
                </a:lnTo>
                <a:lnTo>
                  <a:pt x="998" y="37"/>
                </a:lnTo>
                <a:lnTo>
                  <a:pt x="1022" y="30"/>
                </a:lnTo>
                <a:lnTo>
                  <a:pt x="1046" y="24"/>
                </a:lnTo>
                <a:lnTo>
                  <a:pt x="1071" y="18"/>
                </a:lnTo>
                <a:lnTo>
                  <a:pt x="1095" y="18"/>
                </a:lnTo>
                <a:lnTo>
                  <a:pt x="1119" y="12"/>
                </a:lnTo>
                <a:lnTo>
                  <a:pt x="1144" y="6"/>
                </a:lnTo>
                <a:lnTo>
                  <a:pt x="1168" y="6"/>
                </a:lnTo>
                <a:lnTo>
                  <a:pt x="1192" y="6"/>
                </a:lnTo>
                <a:lnTo>
                  <a:pt x="1211" y="0"/>
                </a:lnTo>
                <a:lnTo>
                  <a:pt x="1235" y="0"/>
                </a:lnTo>
                <a:lnTo>
                  <a:pt x="1259" y="0"/>
                </a:lnTo>
                <a:lnTo>
                  <a:pt x="1284" y="0"/>
                </a:lnTo>
                <a:lnTo>
                  <a:pt x="1308" y="0"/>
                </a:lnTo>
                <a:lnTo>
                  <a:pt x="1308" y="694"/>
                </a:lnTo>
                <a:lnTo>
                  <a:pt x="1296" y="694"/>
                </a:lnTo>
                <a:lnTo>
                  <a:pt x="1284" y="694"/>
                </a:lnTo>
                <a:lnTo>
                  <a:pt x="1271" y="694"/>
                </a:lnTo>
                <a:lnTo>
                  <a:pt x="1259" y="694"/>
                </a:lnTo>
                <a:lnTo>
                  <a:pt x="1247" y="694"/>
                </a:lnTo>
                <a:lnTo>
                  <a:pt x="1235" y="694"/>
                </a:lnTo>
                <a:lnTo>
                  <a:pt x="1223" y="700"/>
                </a:lnTo>
                <a:lnTo>
                  <a:pt x="1211" y="700"/>
                </a:lnTo>
                <a:lnTo>
                  <a:pt x="1198" y="700"/>
                </a:lnTo>
                <a:lnTo>
                  <a:pt x="1192" y="700"/>
                </a:lnTo>
                <a:lnTo>
                  <a:pt x="1180" y="706"/>
                </a:lnTo>
                <a:lnTo>
                  <a:pt x="1168" y="706"/>
                </a:lnTo>
                <a:lnTo>
                  <a:pt x="1156" y="712"/>
                </a:lnTo>
                <a:lnTo>
                  <a:pt x="1144" y="712"/>
                </a:lnTo>
                <a:lnTo>
                  <a:pt x="1131" y="718"/>
                </a:lnTo>
                <a:lnTo>
                  <a:pt x="1119" y="718"/>
                </a:lnTo>
                <a:lnTo>
                  <a:pt x="1107" y="724"/>
                </a:lnTo>
                <a:lnTo>
                  <a:pt x="1095" y="724"/>
                </a:lnTo>
                <a:lnTo>
                  <a:pt x="1083" y="730"/>
                </a:lnTo>
                <a:lnTo>
                  <a:pt x="1071" y="736"/>
                </a:lnTo>
                <a:lnTo>
                  <a:pt x="1064" y="736"/>
                </a:lnTo>
                <a:lnTo>
                  <a:pt x="1052" y="742"/>
                </a:lnTo>
                <a:lnTo>
                  <a:pt x="1040" y="749"/>
                </a:lnTo>
                <a:lnTo>
                  <a:pt x="1028" y="755"/>
                </a:lnTo>
                <a:lnTo>
                  <a:pt x="1016" y="755"/>
                </a:lnTo>
                <a:lnTo>
                  <a:pt x="1004" y="761"/>
                </a:lnTo>
                <a:lnTo>
                  <a:pt x="998" y="767"/>
                </a:lnTo>
                <a:lnTo>
                  <a:pt x="985" y="773"/>
                </a:lnTo>
                <a:lnTo>
                  <a:pt x="973" y="779"/>
                </a:lnTo>
                <a:lnTo>
                  <a:pt x="961" y="785"/>
                </a:lnTo>
                <a:lnTo>
                  <a:pt x="955" y="791"/>
                </a:lnTo>
                <a:lnTo>
                  <a:pt x="943" y="797"/>
                </a:lnTo>
                <a:lnTo>
                  <a:pt x="931" y="803"/>
                </a:lnTo>
                <a:lnTo>
                  <a:pt x="925" y="809"/>
                </a:lnTo>
                <a:lnTo>
                  <a:pt x="912" y="816"/>
                </a:lnTo>
                <a:lnTo>
                  <a:pt x="906" y="822"/>
                </a:lnTo>
                <a:lnTo>
                  <a:pt x="894" y="834"/>
                </a:lnTo>
                <a:lnTo>
                  <a:pt x="882" y="840"/>
                </a:lnTo>
                <a:lnTo>
                  <a:pt x="876" y="846"/>
                </a:lnTo>
                <a:lnTo>
                  <a:pt x="864" y="852"/>
                </a:lnTo>
                <a:lnTo>
                  <a:pt x="858" y="858"/>
                </a:lnTo>
                <a:lnTo>
                  <a:pt x="845" y="870"/>
                </a:lnTo>
                <a:lnTo>
                  <a:pt x="839" y="876"/>
                </a:lnTo>
                <a:lnTo>
                  <a:pt x="827" y="882"/>
                </a:lnTo>
                <a:lnTo>
                  <a:pt x="821" y="895"/>
                </a:lnTo>
                <a:lnTo>
                  <a:pt x="815" y="901"/>
                </a:lnTo>
                <a:lnTo>
                  <a:pt x="803" y="913"/>
                </a:lnTo>
                <a:lnTo>
                  <a:pt x="797" y="919"/>
                </a:lnTo>
                <a:lnTo>
                  <a:pt x="791" y="931"/>
                </a:lnTo>
                <a:lnTo>
                  <a:pt x="778" y="937"/>
                </a:lnTo>
                <a:lnTo>
                  <a:pt x="772" y="949"/>
                </a:lnTo>
                <a:lnTo>
                  <a:pt x="766" y="955"/>
                </a:lnTo>
                <a:lnTo>
                  <a:pt x="760" y="968"/>
                </a:lnTo>
                <a:lnTo>
                  <a:pt x="748" y="974"/>
                </a:lnTo>
                <a:lnTo>
                  <a:pt x="742" y="986"/>
                </a:lnTo>
                <a:lnTo>
                  <a:pt x="736" y="998"/>
                </a:lnTo>
                <a:lnTo>
                  <a:pt x="730" y="1004"/>
                </a:lnTo>
                <a:lnTo>
                  <a:pt x="724" y="1016"/>
                </a:lnTo>
                <a:lnTo>
                  <a:pt x="718" y="1028"/>
                </a:lnTo>
                <a:lnTo>
                  <a:pt x="712" y="1035"/>
                </a:lnTo>
                <a:lnTo>
                  <a:pt x="705" y="1047"/>
                </a:lnTo>
                <a:lnTo>
                  <a:pt x="699" y="1059"/>
                </a:lnTo>
                <a:lnTo>
                  <a:pt x="693" y="1065"/>
                </a:lnTo>
                <a:lnTo>
                  <a:pt x="687" y="1077"/>
                </a:lnTo>
                <a:lnTo>
                  <a:pt x="681" y="1089"/>
                </a:lnTo>
                <a:lnTo>
                  <a:pt x="681" y="1102"/>
                </a:lnTo>
                <a:lnTo>
                  <a:pt x="675" y="1114"/>
                </a:lnTo>
                <a:lnTo>
                  <a:pt x="669" y="1120"/>
                </a:lnTo>
                <a:lnTo>
                  <a:pt x="663" y="1132"/>
                </a:lnTo>
                <a:lnTo>
                  <a:pt x="663" y="1144"/>
                </a:lnTo>
                <a:lnTo>
                  <a:pt x="657" y="1156"/>
                </a:lnTo>
                <a:lnTo>
                  <a:pt x="651" y="1168"/>
                </a:lnTo>
                <a:lnTo>
                  <a:pt x="0" y="955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76200">
            <a:solidFill>
              <a:srgbClr val="FFFFFF"/>
            </a:solidFill>
            <a:round/>
            <a:headEnd/>
            <a:tailEnd/>
          </a:ln>
        </p:spPr>
        <p:txBody>
          <a:bodyPr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2" name="Oval 9"/>
          <p:cNvSpPr>
            <a:spLocks noChangeArrowheads="1"/>
          </p:cNvSpPr>
          <p:nvPr/>
        </p:nvSpPr>
        <p:spPr bwMode="auto">
          <a:xfrm>
            <a:off x="8083341" y="3626572"/>
            <a:ext cx="8208000" cy="8208000"/>
          </a:xfrm>
          <a:prstGeom prst="ellipse">
            <a:avLst/>
          </a:prstGeom>
          <a:noFill/>
          <a:ln w="762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/>
            <a:endParaRPr lang="de-DE" alt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3" name="AutoShape 10"/>
          <p:cNvSpPr>
            <a:spLocks noChangeArrowheads="1"/>
          </p:cNvSpPr>
          <p:nvPr/>
        </p:nvSpPr>
        <p:spPr bwMode="auto">
          <a:xfrm rot="7869806">
            <a:off x="13707491" y="5331368"/>
            <a:ext cx="1320578" cy="378165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/>
            <a:endParaRPr lang="de-DE" alt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4" name="AutoShape 11"/>
          <p:cNvSpPr>
            <a:spLocks noChangeArrowheads="1"/>
          </p:cNvSpPr>
          <p:nvPr/>
        </p:nvSpPr>
        <p:spPr bwMode="auto">
          <a:xfrm rot="12732568">
            <a:off x="14181699" y="9110022"/>
            <a:ext cx="1320578" cy="378165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/>
            <a:endParaRPr lang="de-DE" alt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5" name="AutoShape 12"/>
          <p:cNvSpPr>
            <a:spLocks noChangeArrowheads="1"/>
          </p:cNvSpPr>
          <p:nvPr/>
        </p:nvSpPr>
        <p:spPr bwMode="auto">
          <a:xfrm rot="16877647">
            <a:off x="10997306" y="10508632"/>
            <a:ext cx="1320578" cy="378165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/>
            <a:endParaRPr lang="de-DE" alt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6" name="AutoShape 13"/>
          <p:cNvSpPr>
            <a:spLocks noChangeArrowheads="1"/>
          </p:cNvSpPr>
          <p:nvPr/>
        </p:nvSpPr>
        <p:spPr bwMode="auto">
          <a:xfrm rot="20913195">
            <a:off x="8527225" y="7930505"/>
            <a:ext cx="1320578" cy="378165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/>
            <a:endParaRPr lang="de-DE" alt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7" name="AutoShape 14"/>
          <p:cNvSpPr>
            <a:spLocks noChangeArrowheads="1"/>
          </p:cNvSpPr>
          <p:nvPr/>
        </p:nvSpPr>
        <p:spPr bwMode="auto">
          <a:xfrm rot="3998992">
            <a:off x="10334015" y="4668077"/>
            <a:ext cx="1320578" cy="378165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/>
            <a:endParaRPr lang="de-DE" alt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8" name="Oval 15"/>
          <p:cNvSpPr>
            <a:spLocks noChangeArrowheads="1"/>
          </p:cNvSpPr>
          <p:nvPr/>
        </p:nvSpPr>
        <p:spPr bwMode="auto">
          <a:xfrm>
            <a:off x="11747633" y="10337557"/>
            <a:ext cx="951417" cy="95141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bg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 eaLnBrk="0" hangingPunct="0"/>
            <a:r>
              <a:rPr lang="de-DE" altLang="de-DE" sz="4537" i="1" noProof="1">
                <a:solidFill>
                  <a:srgbClr val="000000"/>
                </a:solidFill>
                <a:latin typeface="Avenir Medium"/>
              </a:rPr>
              <a:t>3</a:t>
            </a:r>
          </a:p>
        </p:txBody>
      </p:sp>
      <p:sp>
        <p:nvSpPr>
          <p:cNvPr id="19" name="Oval 16"/>
          <p:cNvSpPr>
            <a:spLocks noChangeArrowheads="1"/>
          </p:cNvSpPr>
          <p:nvPr/>
        </p:nvSpPr>
        <p:spPr bwMode="auto">
          <a:xfrm>
            <a:off x="9985864" y="4602050"/>
            <a:ext cx="951415" cy="951415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bg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 eaLnBrk="0" hangingPunct="0"/>
            <a:r>
              <a:rPr lang="de-DE" altLang="de-DE" sz="4537" i="1" noProof="1">
                <a:solidFill>
                  <a:srgbClr val="000000"/>
                </a:solidFill>
                <a:latin typeface="Avenir Medium"/>
              </a:rPr>
              <a:t>5</a:t>
            </a:r>
          </a:p>
        </p:txBody>
      </p:sp>
      <p:sp>
        <p:nvSpPr>
          <p:cNvPr id="20" name="Oval 17"/>
          <p:cNvSpPr>
            <a:spLocks noChangeArrowheads="1"/>
          </p:cNvSpPr>
          <p:nvPr/>
        </p:nvSpPr>
        <p:spPr bwMode="auto">
          <a:xfrm>
            <a:off x="13473390" y="4668079"/>
            <a:ext cx="951415" cy="951415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bg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 eaLnBrk="0" hangingPunct="0"/>
            <a:r>
              <a:rPr lang="de-DE" altLang="de-DE" sz="4537" i="1" noProof="1">
                <a:solidFill>
                  <a:srgbClr val="000000"/>
                </a:solidFill>
                <a:latin typeface="Avenir Medium"/>
              </a:rPr>
              <a:t>1</a:t>
            </a:r>
          </a:p>
        </p:txBody>
      </p:sp>
      <p:sp>
        <p:nvSpPr>
          <p:cNvPr id="21" name="Oval 18"/>
          <p:cNvSpPr>
            <a:spLocks noChangeArrowheads="1"/>
          </p:cNvSpPr>
          <p:nvPr/>
        </p:nvSpPr>
        <p:spPr bwMode="auto">
          <a:xfrm>
            <a:off x="14664909" y="8281659"/>
            <a:ext cx="951417" cy="951415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bg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 eaLnBrk="0" hangingPunct="0"/>
            <a:r>
              <a:rPr lang="de-DE" altLang="de-DE" sz="4537" i="1" noProof="1">
                <a:solidFill>
                  <a:srgbClr val="000000"/>
                </a:solidFill>
                <a:latin typeface="Avenir Medium"/>
              </a:rPr>
              <a:t>2</a:t>
            </a:r>
          </a:p>
        </p:txBody>
      </p:sp>
      <p:sp>
        <p:nvSpPr>
          <p:cNvPr id="22" name="Oval 19"/>
          <p:cNvSpPr>
            <a:spLocks noChangeArrowheads="1"/>
          </p:cNvSpPr>
          <p:nvPr/>
        </p:nvSpPr>
        <p:spPr bwMode="auto">
          <a:xfrm>
            <a:off x="8836359" y="8212627"/>
            <a:ext cx="951417" cy="95141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bg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 eaLnBrk="0" hangingPunct="0"/>
            <a:r>
              <a:rPr lang="de-DE" altLang="de-DE" sz="4537" i="1" noProof="1">
                <a:solidFill>
                  <a:srgbClr val="000000"/>
                </a:solidFill>
                <a:latin typeface="Avenir Medium"/>
              </a:rPr>
              <a:t>4</a:t>
            </a:r>
          </a:p>
        </p:txBody>
      </p:sp>
      <p:sp>
        <p:nvSpPr>
          <p:cNvPr id="23" name="Text Box 20"/>
          <p:cNvSpPr txBox="1">
            <a:spLocks noChangeArrowheads="1"/>
          </p:cNvSpPr>
          <p:nvPr/>
        </p:nvSpPr>
        <p:spPr bwMode="auto">
          <a:xfrm>
            <a:off x="14856674" y="3710658"/>
            <a:ext cx="5570756" cy="175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defTabSz="1814755"/>
            <a:r>
              <a:rPr lang="de-DE" altLang="de-DE" sz="3592" noProof="1">
                <a:solidFill>
                  <a:srgbClr val="000000"/>
                </a:solidFill>
                <a:latin typeface="Avenir Medium"/>
              </a:rPr>
              <a:t>Analyse und Definition der</a:t>
            </a:r>
            <a:br>
              <a:rPr lang="de-DE" altLang="de-DE" sz="3592" noProof="1">
                <a:solidFill>
                  <a:srgbClr val="000000"/>
                </a:solidFill>
                <a:latin typeface="Avenir Medium"/>
              </a:rPr>
            </a:br>
            <a:r>
              <a:rPr lang="de-DE" altLang="de-DE" sz="3592" noProof="1">
                <a:solidFill>
                  <a:srgbClr val="000000"/>
                </a:solidFill>
                <a:latin typeface="Avenir Medium"/>
              </a:rPr>
              <a:t>Rahmenbedingungen</a:t>
            </a:r>
            <a:br>
              <a:rPr lang="de-DE" altLang="de-DE" sz="3592" noProof="1">
                <a:solidFill>
                  <a:srgbClr val="000000"/>
                </a:solidFill>
                <a:latin typeface="Avenir Medium"/>
              </a:rPr>
            </a:br>
            <a:r>
              <a:rPr lang="de-DE" altLang="de-DE" sz="3592" noProof="1">
                <a:solidFill>
                  <a:srgbClr val="000000"/>
                </a:solidFill>
                <a:latin typeface="Avenir Medium"/>
              </a:rPr>
              <a:t>und Zielgruppe</a:t>
            </a:r>
          </a:p>
        </p:txBody>
      </p:sp>
      <p:sp>
        <p:nvSpPr>
          <p:cNvPr id="24" name="Text Box 21"/>
          <p:cNvSpPr txBox="1">
            <a:spLocks noChangeArrowheads="1"/>
          </p:cNvSpPr>
          <p:nvPr/>
        </p:nvSpPr>
        <p:spPr bwMode="auto">
          <a:xfrm>
            <a:off x="16534440" y="8185617"/>
            <a:ext cx="3877985" cy="175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defTabSz="1814755"/>
            <a:r>
              <a:rPr lang="de-DE" altLang="de-DE" sz="3592" noProof="1">
                <a:solidFill>
                  <a:srgbClr val="000000"/>
                </a:solidFill>
                <a:latin typeface="Avenir Medium"/>
              </a:rPr>
              <a:t>Entwicklung eines</a:t>
            </a:r>
            <a:br>
              <a:rPr lang="de-DE" altLang="de-DE" sz="3592" noProof="1">
                <a:solidFill>
                  <a:srgbClr val="000000"/>
                </a:solidFill>
                <a:latin typeface="Avenir Medium"/>
              </a:rPr>
            </a:br>
            <a:r>
              <a:rPr lang="de-DE" altLang="de-DE" sz="3592" noProof="1">
                <a:solidFill>
                  <a:srgbClr val="000000"/>
                </a:solidFill>
                <a:latin typeface="Avenir Medium"/>
              </a:rPr>
              <a:t>Grobkonzeptes</a:t>
            </a:r>
            <a:br>
              <a:rPr lang="de-DE" altLang="de-DE" sz="3592" noProof="1">
                <a:solidFill>
                  <a:srgbClr val="000000"/>
                </a:solidFill>
                <a:latin typeface="Avenir Medium"/>
              </a:rPr>
            </a:br>
            <a:r>
              <a:rPr lang="de-DE" altLang="de-DE" sz="3592" noProof="1">
                <a:solidFill>
                  <a:srgbClr val="000000"/>
                </a:solidFill>
                <a:latin typeface="Avenir Medium"/>
              </a:rPr>
              <a:t>und Layoutraster</a:t>
            </a:r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s</a:t>
            </a:r>
            <a:endParaRPr lang="de-DE" altLang="de-DE" sz="3592" noProof="1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5" name="Text Box 22"/>
          <p:cNvSpPr txBox="1">
            <a:spLocks noChangeArrowheads="1"/>
          </p:cNvSpPr>
          <p:nvPr/>
        </p:nvSpPr>
        <p:spPr bwMode="auto">
          <a:xfrm>
            <a:off x="8449191" y="12042303"/>
            <a:ext cx="7879080" cy="645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1814755"/>
            <a:r>
              <a:rPr lang="de-DE" altLang="de-DE" sz="3592" noProof="1">
                <a:solidFill>
                  <a:srgbClr val="000000"/>
                </a:solidFill>
                <a:latin typeface="Avenir Medium"/>
              </a:rPr>
              <a:t>Detailplanung und Designentwicklung</a:t>
            </a:r>
          </a:p>
        </p:txBody>
      </p:sp>
      <p:sp>
        <p:nvSpPr>
          <p:cNvPr id="26" name="Text Box 23"/>
          <p:cNvSpPr txBox="1">
            <a:spLocks noChangeArrowheads="1"/>
          </p:cNvSpPr>
          <p:nvPr/>
        </p:nvSpPr>
        <p:spPr bwMode="auto">
          <a:xfrm>
            <a:off x="3950222" y="8212627"/>
            <a:ext cx="4387740" cy="11978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1814755"/>
            <a:r>
              <a:rPr lang="de-DE" altLang="de-DE" sz="3592" noProof="1">
                <a:solidFill>
                  <a:srgbClr val="000000"/>
                </a:solidFill>
                <a:latin typeface="Avenir Medium"/>
              </a:rPr>
              <a:t>Realisierung und</a:t>
            </a:r>
            <a:br>
              <a:rPr lang="de-DE" altLang="de-DE" sz="3592" noProof="1">
                <a:solidFill>
                  <a:srgbClr val="000000"/>
                </a:solidFill>
                <a:latin typeface="Avenir Medium"/>
              </a:rPr>
            </a:br>
            <a:r>
              <a:rPr lang="de-DE" altLang="de-DE" sz="3592" noProof="1">
                <a:solidFill>
                  <a:srgbClr val="000000"/>
                </a:solidFill>
                <a:latin typeface="Avenir Medium"/>
              </a:rPr>
              <a:t>Umsetzung in HTML</a:t>
            </a:r>
          </a:p>
        </p:txBody>
      </p:sp>
      <p:sp>
        <p:nvSpPr>
          <p:cNvPr id="27" name="Text Box 24"/>
          <p:cNvSpPr txBox="1">
            <a:spLocks noChangeArrowheads="1"/>
          </p:cNvSpPr>
          <p:nvPr/>
        </p:nvSpPr>
        <p:spPr bwMode="auto">
          <a:xfrm>
            <a:off x="4031259" y="3710658"/>
            <a:ext cx="5312324" cy="175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1814755"/>
            <a:r>
              <a:rPr lang="de-DE" altLang="de-DE" sz="3592" noProof="1">
                <a:solidFill>
                  <a:srgbClr val="000000"/>
                </a:solidFill>
                <a:latin typeface="Avenir Medium"/>
              </a:rPr>
              <a:t>Kontrolle, Dokumentation und Erstellung eines Styleguides</a:t>
            </a:r>
          </a:p>
        </p:txBody>
      </p:sp>
      <p:sp>
        <p:nvSpPr>
          <p:cNvPr id="28" name="Oval 25"/>
          <p:cNvSpPr>
            <a:spLocks noChangeArrowheads="1"/>
          </p:cNvSpPr>
          <p:nvPr/>
        </p:nvSpPr>
        <p:spPr bwMode="auto">
          <a:xfrm>
            <a:off x="10445063" y="5973648"/>
            <a:ext cx="3505533" cy="350853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571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/>
            <a:r>
              <a:rPr lang="de-DE" altLang="de-DE" sz="3592" b="1" noProof="1">
                <a:solidFill>
                  <a:srgbClr val="FFFFFF"/>
                </a:solidFill>
                <a:latin typeface="Avenir Medium"/>
              </a:rPr>
              <a:t>Projektphasen</a:t>
            </a:r>
          </a:p>
        </p:txBody>
      </p:sp>
      <p:sp>
        <p:nvSpPr>
          <p:cNvPr id="30" name="Oval 8">
            <a:extLst>
              <a:ext uri="{FF2B5EF4-FFF2-40B4-BE49-F238E27FC236}">
                <a16:creationId xmlns:a16="http://schemas.microsoft.com/office/drawing/2014/main" id="{CB1F5810-6E4C-4BA9-B283-7E7F52E31B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07505" y="5651954"/>
            <a:ext cx="4176000" cy="4176000"/>
          </a:xfrm>
          <a:prstGeom prst="ellips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/>
            <a:endParaRPr lang="de-DE" altLang="de-DE" sz="3592">
              <a:solidFill>
                <a:srgbClr val="000000"/>
              </a:solidFill>
              <a:latin typeface="Avenir Medium"/>
            </a:endParaRPr>
          </a:p>
        </p:txBody>
      </p:sp>
    </p:spTree>
    <p:extLst>
      <p:ext uri="{BB962C8B-B14F-4D97-AF65-F5344CB8AC3E}">
        <p14:creationId xmlns:p14="http://schemas.microsoft.com/office/powerpoint/2010/main" val="904981899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A9BAFC-FF4F-4EBC-B5BF-204AC00332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6816853" y="4850315"/>
            <a:ext cx="3532544" cy="2079911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/>
          <a:extLst/>
        </p:spPr>
        <p:txBody>
          <a:bodyPr lIns="102092" rIns="34031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 eaLnBrk="0" hangingPunct="0">
              <a:lnSpc>
                <a:spcPct val="110000"/>
              </a:lnSpc>
              <a:spcBef>
                <a:spcPct val="20000"/>
              </a:spcBef>
            </a:pPr>
            <a:r>
              <a:rPr lang="de-DE" altLang="de-DE" sz="2647" noProof="1">
                <a:solidFill>
                  <a:srgbClr val="000000"/>
                </a:solidFill>
                <a:latin typeface="Avenir Medium"/>
              </a:rPr>
              <a:t>...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16816853" y="4172020"/>
            <a:ext cx="3532544" cy="57325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rgbClr val="C0C0C0"/>
            </a:solidFill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 eaLnBrk="0" hangingPunct="0"/>
            <a:r>
              <a:rPr lang="de-DE" altLang="de-DE" sz="3025" b="1" noProof="1">
                <a:solidFill>
                  <a:srgbClr val="FFFFFF"/>
                </a:solidFill>
                <a:latin typeface="Avenir Medium"/>
              </a:rPr>
              <a:t>Überschrift 2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16702803" y="10087608"/>
            <a:ext cx="3532544" cy="2079909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/>
          <a:extLst/>
        </p:spPr>
        <p:txBody>
          <a:bodyPr lIns="102092" rIns="34031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 eaLnBrk="0" hangingPunct="0">
              <a:lnSpc>
                <a:spcPct val="110000"/>
              </a:lnSpc>
              <a:spcBef>
                <a:spcPct val="20000"/>
              </a:spcBef>
            </a:pPr>
            <a:r>
              <a:rPr lang="de-DE" altLang="de-DE" sz="2647" noProof="1">
                <a:solidFill>
                  <a:srgbClr val="000000"/>
                </a:solidFill>
                <a:latin typeface="Avenir Medium"/>
              </a:rPr>
              <a:t>...</a:t>
            </a: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16702803" y="9409311"/>
            <a:ext cx="3532544" cy="57325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2700">
            <a:solidFill>
              <a:srgbClr val="C0C0C0"/>
            </a:solidFill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 eaLnBrk="0" hangingPunct="0"/>
            <a:r>
              <a:rPr lang="de-DE" altLang="de-DE" sz="3025" b="1" noProof="1">
                <a:solidFill>
                  <a:srgbClr val="FFFFFF"/>
                </a:solidFill>
                <a:latin typeface="Avenir Medium"/>
              </a:rPr>
              <a:t>Überschrift 3</a:t>
            </a: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4028256" y="10087608"/>
            <a:ext cx="3532546" cy="2079909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/>
          <a:extLst/>
        </p:spPr>
        <p:txBody>
          <a:bodyPr lIns="102092" rIns="34031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 eaLnBrk="0" hangingPunct="0">
              <a:lnSpc>
                <a:spcPct val="110000"/>
              </a:lnSpc>
              <a:spcBef>
                <a:spcPct val="20000"/>
              </a:spcBef>
            </a:pPr>
            <a:r>
              <a:rPr lang="de-DE" altLang="de-DE" sz="2647" noProof="1">
                <a:solidFill>
                  <a:srgbClr val="000000"/>
                </a:solidFill>
                <a:latin typeface="Avenir Medium"/>
              </a:rPr>
              <a:t>...</a:t>
            </a: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4028256" y="9409311"/>
            <a:ext cx="3532546" cy="57325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solidFill>
              <a:srgbClr val="C0C0C0"/>
            </a:solidFill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 eaLnBrk="0" hangingPunct="0"/>
            <a:r>
              <a:rPr lang="de-DE" altLang="de-DE" sz="3025" b="1" noProof="1">
                <a:solidFill>
                  <a:srgbClr val="FFFFFF"/>
                </a:solidFill>
                <a:latin typeface="Avenir Medium"/>
              </a:rPr>
              <a:t>Überschrift 4</a:t>
            </a: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auto">
          <a:xfrm>
            <a:off x="4028256" y="4850315"/>
            <a:ext cx="3532546" cy="2079911"/>
          </a:xfrm>
          <a:prstGeom prst="rect">
            <a:avLst/>
          </a:prstGeom>
          <a:solidFill>
            <a:schemeClr val="bg2"/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/>
          <a:extLst/>
        </p:spPr>
        <p:txBody>
          <a:bodyPr lIns="102092" rIns="34031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1814755" eaLnBrk="0" hangingPunct="0">
              <a:lnSpc>
                <a:spcPct val="110000"/>
              </a:lnSpc>
              <a:spcBef>
                <a:spcPct val="20000"/>
              </a:spcBef>
            </a:pPr>
            <a:r>
              <a:rPr lang="de-DE" altLang="de-DE" sz="2647" noProof="1">
                <a:solidFill>
                  <a:srgbClr val="000000"/>
                </a:solidFill>
                <a:latin typeface="Avenir Medium"/>
              </a:rPr>
              <a:t>...</a:t>
            </a: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4028256" y="4172020"/>
            <a:ext cx="3532546" cy="573252"/>
          </a:xfrm>
          <a:prstGeom prst="rect">
            <a:avLst/>
          </a:prstGeom>
          <a:solidFill>
            <a:schemeClr val="accent1"/>
          </a:solidFill>
          <a:ln w="12700">
            <a:solidFill>
              <a:srgbClr val="C0C0C0"/>
            </a:solidFill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 eaLnBrk="0" hangingPunct="0"/>
            <a:r>
              <a:rPr lang="de-DE" altLang="de-DE" sz="3025" b="1" noProof="1">
                <a:solidFill>
                  <a:srgbClr val="FFFFFF"/>
                </a:solidFill>
                <a:latin typeface="Avenir Medium"/>
              </a:rPr>
              <a:t>Überschrift 1</a:t>
            </a:r>
          </a:p>
        </p:txBody>
      </p:sp>
      <p:sp>
        <p:nvSpPr>
          <p:cNvPr id="65" name="Freeform 87"/>
          <p:cNvSpPr>
            <a:spLocks/>
          </p:cNvSpPr>
          <p:nvPr/>
        </p:nvSpPr>
        <p:spPr bwMode="auto">
          <a:xfrm>
            <a:off x="8921433" y="5091162"/>
            <a:ext cx="3195097" cy="3076819"/>
          </a:xfrm>
          <a:custGeom>
            <a:avLst/>
            <a:gdLst>
              <a:gd name="T0" fmla="*/ 246 w 706"/>
              <a:gd name="T1" fmla="*/ 718 h 718"/>
              <a:gd name="T2" fmla="*/ 246 w 706"/>
              <a:gd name="T3" fmla="*/ 718 h 718"/>
              <a:gd name="T4" fmla="*/ 246 w 706"/>
              <a:gd name="T5" fmla="*/ 706 h 718"/>
              <a:gd name="T6" fmla="*/ 246 w 706"/>
              <a:gd name="T7" fmla="*/ 706 h 718"/>
              <a:gd name="T8" fmla="*/ 248 w 706"/>
              <a:gd name="T9" fmla="*/ 662 h 718"/>
              <a:gd name="T10" fmla="*/ 254 w 706"/>
              <a:gd name="T11" fmla="*/ 618 h 718"/>
              <a:gd name="T12" fmla="*/ 264 w 706"/>
              <a:gd name="T13" fmla="*/ 576 h 718"/>
              <a:gd name="T14" fmla="*/ 278 w 706"/>
              <a:gd name="T15" fmla="*/ 536 h 718"/>
              <a:gd name="T16" fmla="*/ 294 w 706"/>
              <a:gd name="T17" fmla="*/ 498 h 718"/>
              <a:gd name="T18" fmla="*/ 316 w 706"/>
              <a:gd name="T19" fmla="*/ 462 h 718"/>
              <a:gd name="T20" fmla="*/ 338 w 706"/>
              <a:gd name="T21" fmla="*/ 428 h 718"/>
              <a:gd name="T22" fmla="*/ 364 w 706"/>
              <a:gd name="T23" fmla="*/ 396 h 718"/>
              <a:gd name="T24" fmla="*/ 394 w 706"/>
              <a:gd name="T25" fmla="*/ 368 h 718"/>
              <a:gd name="T26" fmla="*/ 426 w 706"/>
              <a:gd name="T27" fmla="*/ 340 h 718"/>
              <a:gd name="T28" fmla="*/ 460 w 706"/>
              <a:gd name="T29" fmla="*/ 316 h 718"/>
              <a:gd name="T30" fmla="*/ 496 w 706"/>
              <a:gd name="T31" fmla="*/ 296 h 718"/>
              <a:gd name="T32" fmla="*/ 534 w 706"/>
              <a:gd name="T33" fmla="*/ 278 h 718"/>
              <a:gd name="T34" fmla="*/ 574 w 706"/>
              <a:gd name="T35" fmla="*/ 264 h 718"/>
              <a:gd name="T36" fmla="*/ 614 w 706"/>
              <a:gd name="T37" fmla="*/ 254 h 718"/>
              <a:gd name="T38" fmla="*/ 658 w 706"/>
              <a:gd name="T39" fmla="*/ 248 h 718"/>
              <a:gd name="T40" fmla="*/ 706 w 706"/>
              <a:gd name="T41" fmla="*/ 112 h 718"/>
              <a:gd name="T42" fmla="*/ 664 w 706"/>
              <a:gd name="T43" fmla="*/ 0 h 718"/>
              <a:gd name="T44" fmla="*/ 664 w 706"/>
              <a:gd name="T45" fmla="*/ 0 h 718"/>
              <a:gd name="T46" fmla="*/ 628 w 706"/>
              <a:gd name="T47" fmla="*/ 2 h 718"/>
              <a:gd name="T48" fmla="*/ 594 w 706"/>
              <a:gd name="T49" fmla="*/ 8 h 718"/>
              <a:gd name="T50" fmla="*/ 562 w 706"/>
              <a:gd name="T51" fmla="*/ 14 h 718"/>
              <a:gd name="T52" fmla="*/ 528 w 706"/>
              <a:gd name="T53" fmla="*/ 20 h 718"/>
              <a:gd name="T54" fmla="*/ 496 w 706"/>
              <a:gd name="T55" fmla="*/ 30 h 718"/>
              <a:gd name="T56" fmla="*/ 464 w 706"/>
              <a:gd name="T57" fmla="*/ 40 h 718"/>
              <a:gd name="T58" fmla="*/ 434 w 706"/>
              <a:gd name="T59" fmla="*/ 52 h 718"/>
              <a:gd name="T60" fmla="*/ 404 w 706"/>
              <a:gd name="T61" fmla="*/ 66 h 718"/>
              <a:gd name="T62" fmla="*/ 374 w 706"/>
              <a:gd name="T63" fmla="*/ 82 h 718"/>
              <a:gd name="T64" fmla="*/ 346 w 706"/>
              <a:gd name="T65" fmla="*/ 98 h 718"/>
              <a:gd name="T66" fmla="*/ 318 w 706"/>
              <a:gd name="T67" fmla="*/ 114 h 718"/>
              <a:gd name="T68" fmla="*/ 290 w 706"/>
              <a:gd name="T69" fmla="*/ 134 h 718"/>
              <a:gd name="T70" fmla="*/ 264 w 706"/>
              <a:gd name="T71" fmla="*/ 154 h 718"/>
              <a:gd name="T72" fmla="*/ 240 w 706"/>
              <a:gd name="T73" fmla="*/ 174 h 718"/>
              <a:gd name="T74" fmla="*/ 216 w 706"/>
              <a:gd name="T75" fmla="*/ 196 h 718"/>
              <a:gd name="T76" fmla="*/ 192 w 706"/>
              <a:gd name="T77" fmla="*/ 220 h 718"/>
              <a:gd name="T78" fmla="*/ 170 w 706"/>
              <a:gd name="T79" fmla="*/ 244 h 718"/>
              <a:gd name="T80" fmla="*/ 150 w 706"/>
              <a:gd name="T81" fmla="*/ 270 h 718"/>
              <a:gd name="T82" fmla="*/ 130 w 706"/>
              <a:gd name="T83" fmla="*/ 296 h 718"/>
              <a:gd name="T84" fmla="*/ 112 w 706"/>
              <a:gd name="T85" fmla="*/ 322 h 718"/>
              <a:gd name="T86" fmla="*/ 94 w 706"/>
              <a:gd name="T87" fmla="*/ 350 h 718"/>
              <a:gd name="T88" fmla="*/ 78 w 706"/>
              <a:gd name="T89" fmla="*/ 380 h 718"/>
              <a:gd name="T90" fmla="*/ 64 w 706"/>
              <a:gd name="T91" fmla="*/ 410 h 718"/>
              <a:gd name="T92" fmla="*/ 52 w 706"/>
              <a:gd name="T93" fmla="*/ 440 h 718"/>
              <a:gd name="T94" fmla="*/ 40 w 706"/>
              <a:gd name="T95" fmla="*/ 470 h 718"/>
              <a:gd name="T96" fmla="*/ 28 w 706"/>
              <a:gd name="T97" fmla="*/ 502 h 718"/>
              <a:gd name="T98" fmla="*/ 20 w 706"/>
              <a:gd name="T99" fmla="*/ 534 h 718"/>
              <a:gd name="T100" fmla="*/ 12 w 706"/>
              <a:gd name="T101" fmla="*/ 568 h 718"/>
              <a:gd name="T102" fmla="*/ 6 w 706"/>
              <a:gd name="T103" fmla="*/ 602 h 718"/>
              <a:gd name="T104" fmla="*/ 2 w 706"/>
              <a:gd name="T105" fmla="*/ 636 h 718"/>
              <a:gd name="T106" fmla="*/ 0 w 706"/>
              <a:gd name="T107" fmla="*/ 670 h 718"/>
              <a:gd name="T108" fmla="*/ 0 w 706"/>
              <a:gd name="T109" fmla="*/ 706 h 718"/>
              <a:gd name="T110" fmla="*/ 0 w 706"/>
              <a:gd name="T111" fmla="*/ 706 h 718"/>
              <a:gd name="T112" fmla="*/ 0 w 706"/>
              <a:gd name="T113" fmla="*/ 716 h 718"/>
              <a:gd name="T114" fmla="*/ 120 w 706"/>
              <a:gd name="T115" fmla="*/ 668 h 718"/>
              <a:gd name="T116" fmla="*/ 246 w 706"/>
              <a:gd name="T117" fmla="*/ 718 h 7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06" h="718">
                <a:moveTo>
                  <a:pt x="246" y="718"/>
                </a:moveTo>
                <a:lnTo>
                  <a:pt x="246" y="718"/>
                </a:lnTo>
                <a:lnTo>
                  <a:pt x="246" y="706"/>
                </a:lnTo>
                <a:lnTo>
                  <a:pt x="248" y="662"/>
                </a:lnTo>
                <a:lnTo>
                  <a:pt x="254" y="618"/>
                </a:lnTo>
                <a:lnTo>
                  <a:pt x="264" y="576"/>
                </a:lnTo>
                <a:lnTo>
                  <a:pt x="278" y="536"/>
                </a:lnTo>
                <a:lnTo>
                  <a:pt x="294" y="498"/>
                </a:lnTo>
                <a:lnTo>
                  <a:pt x="316" y="462"/>
                </a:lnTo>
                <a:lnTo>
                  <a:pt x="338" y="428"/>
                </a:lnTo>
                <a:lnTo>
                  <a:pt x="364" y="396"/>
                </a:lnTo>
                <a:lnTo>
                  <a:pt x="394" y="368"/>
                </a:lnTo>
                <a:lnTo>
                  <a:pt x="426" y="340"/>
                </a:lnTo>
                <a:lnTo>
                  <a:pt x="460" y="316"/>
                </a:lnTo>
                <a:lnTo>
                  <a:pt x="496" y="296"/>
                </a:lnTo>
                <a:lnTo>
                  <a:pt x="534" y="278"/>
                </a:lnTo>
                <a:lnTo>
                  <a:pt x="574" y="264"/>
                </a:lnTo>
                <a:lnTo>
                  <a:pt x="614" y="254"/>
                </a:lnTo>
                <a:lnTo>
                  <a:pt x="658" y="248"/>
                </a:lnTo>
                <a:lnTo>
                  <a:pt x="706" y="112"/>
                </a:lnTo>
                <a:lnTo>
                  <a:pt x="664" y="0"/>
                </a:lnTo>
                <a:lnTo>
                  <a:pt x="628" y="2"/>
                </a:lnTo>
                <a:lnTo>
                  <a:pt x="594" y="8"/>
                </a:lnTo>
                <a:lnTo>
                  <a:pt x="562" y="14"/>
                </a:lnTo>
                <a:lnTo>
                  <a:pt x="528" y="20"/>
                </a:lnTo>
                <a:lnTo>
                  <a:pt x="496" y="30"/>
                </a:lnTo>
                <a:lnTo>
                  <a:pt x="464" y="40"/>
                </a:lnTo>
                <a:lnTo>
                  <a:pt x="434" y="52"/>
                </a:lnTo>
                <a:lnTo>
                  <a:pt x="404" y="66"/>
                </a:lnTo>
                <a:lnTo>
                  <a:pt x="374" y="82"/>
                </a:lnTo>
                <a:lnTo>
                  <a:pt x="346" y="98"/>
                </a:lnTo>
                <a:lnTo>
                  <a:pt x="318" y="114"/>
                </a:lnTo>
                <a:lnTo>
                  <a:pt x="290" y="134"/>
                </a:lnTo>
                <a:lnTo>
                  <a:pt x="264" y="154"/>
                </a:lnTo>
                <a:lnTo>
                  <a:pt x="240" y="174"/>
                </a:lnTo>
                <a:lnTo>
                  <a:pt x="216" y="196"/>
                </a:lnTo>
                <a:lnTo>
                  <a:pt x="192" y="220"/>
                </a:lnTo>
                <a:lnTo>
                  <a:pt x="170" y="244"/>
                </a:lnTo>
                <a:lnTo>
                  <a:pt x="150" y="270"/>
                </a:lnTo>
                <a:lnTo>
                  <a:pt x="130" y="296"/>
                </a:lnTo>
                <a:lnTo>
                  <a:pt x="112" y="322"/>
                </a:lnTo>
                <a:lnTo>
                  <a:pt x="94" y="350"/>
                </a:lnTo>
                <a:lnTo>
                  <a:pt x="78" y="380"/>
                </a:lnTo>
                <a:lnTo>
                  <a:pt x="64" y="410"/>
                </a:lnTo>
                <a:lnTo>
                  <a:pt x="52" y="440"/>
                </a:lnTo>
                <a:lnTo>
                  <a:pt x="40" y="470"/>
                </a:lnTo>
                <a:lnTo>
                  <a:pt x="28" y="502"/>
                </a:lnTo>
                <a:lnTo>
                  <a:pt x="20" y="534"/>
                </a:lnTo>
                <a:lnTo>
                  <a:pt x="12" y="568"/>
                </a:lnTo>
                <a:lnTo>
                  <a:pt x="6" y="602"/>
                </a:lnTo>
                <a:lnTo>
                  <a:pt x="2" y="636"/>
                </a:lnTo>
                <a:lnTo>
                  <a:pt x="0" y="670"/>
                </a:lnTo>
                <a:lnTo>
                  <a:pt x="0" y="706"/>
                </a:lnTo>
                <a:lnTo>
                  <a:pt x="0" y="716"/>
                </a:lnTo>
                <a:lnTo>
                  <a:pt x="120" y="668"/>
                </a:lnTo>
                <a:lnTo>
                  <a:pt x="246" y="718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>
            <a:no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grpSp>
        <p:nvGrpSpPr>
          <p:cNvPr id="66" name="Group 88"/>
          <p:cNvGrpSpPr>
            <a:grpSpLocks/>
          </p:cNvGrpSpPr>
          <p:nvPr/>
        </p:nvGrpSpPr>
        <p:grpSpPr bwMode="auto">
          <a:xfrm>
            <a:off x="8921430" y="5088161"/>
            <a:ext cx="6398648" cy="6058228"/>
            <a:chOff x="2465" y="1355"/>
            <a:chExt cx="762" cy="762"/>
          </a:xfrm>
        </p:grpSpPr>
        <p:sp>
          <p:nvSpPr>
            <p:cNvPr id="67" name="Freeform 89"/>
            <p:cNvSpPr>
              <a:spLocks/>
            </p:cNvSpPr>
            <p:nvPr/>
          </p:nvSpPr>
          <p:spPr bwMode="auto">
            <a:xfrm>
              <a:off x="2465" y="1735"/>
              <a:ext cx="392" cy="382"/>
            </a:xfrm>
            <a:custGeom>
              <a:avLst/>
              <a:gdLst>
                <a:gd name="T0" fmla="*/ 714 w 726"/>
                <a:gd name="T1" fmla="*/ 460 h 708"/>
                <a:gd name="T2" fmla="*/ 714 w 726"/>
                <a:gd name="T3" fmla="*/ 460 h 708"/>
                <a:gd name="T4" fmla="*/ 706 w 726"/>
                <a:gd name="T5" fmla="*/ 462 h 708"/>
                <a:gd name="T6" fmla="*/ 706 w 726"/>
                <a:gd name="T7" fmla="*/ 462 h 708"/>
                <a:gd name="T8" fmla="*/ 662 w 726"/>
                <a:gd name="T9" fmla="*/ 460 h 708"/>
                <a:gd name="T10" fmla="*/ 618 w 726"/>
                <a:gd name="T11" fmla="*/ 452 h 708"/>
                <a:gd name="T12" fmla="*/ 578 w 726"/>
                <a:gd name="T13" fmla="*/ 442 h 708"/>
                <a:gd name="T14" fmla="*/ 538 w 726"/>
                <a:gd name="T15" fmla="*/ 430 h 708"/>
                <a:gd name="T16" fmla="*/ 498 w 726"/>
                <a:gd name="T17" fmla="*/ 412 h 708"/>
                <a:gd name="T18" fmla="*/ 462 w 726"/>
                <a:gd name="T19" fmla="*/ 392 h 708"/>
                <a:gd name="T20" fmla="*/ 428 w 726"/>
                <a:gd name="T21" fmla="*/ 368 h 708"/>
                <a:gd name="T22" fmla="*/ 396 w 726"/>
                <a:gd name="T23" fmla="*/ 342 h 708"/>
                <a:gd name="T24" fmla="*/ 366 w 726"/>
                <a:gd name="T25" fmla="*/ 312 h 708"/>
                <a:gd name="T26" fmla="*/ 340 w 726"/>
                <a:gd name="T27" fmla="*/ 280 h 708"/>
                <a:gd name="T28" fmla="*/ 316 w 726"/>
                <a:gd name="T29" fmla="*/ 246 h 708"/>
                <a:gd name="T30" fmla="*/ 296 w 726"/>
                <a:gd name="T31" fmla="*/ 210 h 708"/>
                <a:gd name="T32" fmla="*/ 278 w 726"/>
                <a:gd name="T33" fmla="*/ 172 h 708"/>
                <a:gd name="T34" fmla="*/ 264 w 726"/>
                <a:gd name="T35" fmla="*/ 132 h 708"/>
                <a:gd name="T36" fmla="*/ 254 w 726"/>
                <a:gd name="T37" fmla="*/ 90 h 708"/>
                <a:gd name="T38" fmla="*/ 248 w 726"/>
                <a:gd name="T39" fmla="*/ 46 h 708"/>
                <a:gd name="T40" fmla="*/ 122 w 726"/>
                <a:gd name="T41" fmla="*/ 0 h 708"/>
                <a:gd name="T42" fmla="*/ 0 w 726"/>
                <a:gd name="T43" fmla="*/ 44 h 708"/>
                <a:gd name="T44" fmla="*/ 0 w 726"/>
                <a:gd name="T45" fmla="*/ 44 h 708"/>
                <a:gd name="T46" fmla="*/ 4 w 726"/>
                <a:gd name="T47" fmla="*/ 78 h 708"/>
                <a:gd name="T48" fmla="*/ 8 w 726"/>
                <a:gd name="T49" fmla="*/ 112 h 708"/>
                <a:gd name="T50" fmla="*/ 14 w 726"/>
                <a:gd name="T51" fmla="*/ 146 h 708"/>
                <a:gd name="T52" fmla="*/ 22 w 726"/>
                <a:gd name="T53" fmla="*/ 178 h 708"/>
                <a:gd name="T54" fmla="*/ 32 w 726"/>
                <a:gd name="T55" fmla="*/ 212 h 708"/>
                <a:gd name="T56" fmla="*/ 42 w 726"/>
                <a:gd name="T57" fmla="*/ 242 h 708"/>
                <a:gd name="T58" fmla="*/ 54 w 726"/>
                <a:gd name="T59" fmla="*/ 274 h 708"/>
                <a:gd name="T60" fmla="*/ 68 w 726"/>
                <a:gd name="T61" fmla="*/ 304 h 708"/>
                <a:gd name="T62" fmla="*/ 82 w 726"/>
                <a:gd name="T63" fmla="*/ 334 h 708"/>
                <a:gd name="T64" fmla="*/ 98 w 726"/>
                <a:gd name="T65" fmla="*/ 362 h 708"/>
                <a:gd name="T66" fmla="*/ 116 w 726"/>
                <a:gd name="T67" fmla="*/ 390 h 708"/>
                <a:gd name="T68" fmla="*/ 134 w 726"/>
                <a:gd name="T69" fmla="*/ 416 h 708"/>
                <a:gd name="T70" fmla="*/ 154 w 726"/>
                <a:gd name="T71" fmla="*/ 442 h 708"/>
                <a:gd name="T72" fmla="*/ 176 w 726"/>
                <a:gd name="T73" fmla="*/ 468 h 708"/>
                <a:gd name="T74" fmla="*/ 198 w 726"/>
                <a:gd name="T75" fmla="*/ 492 h 708"/>
                <a:gd name="T76" fmla="*/ 220 w 726"/>
                <a:gd name="T77" fmla="*/ 514 h 708"/>
                <a:gd name="T78" fmla="*/ 244 w 726"/>
                <a:gd name="T79" fmla="*/ 536 h 708"/>
                <a:gd name="T80" fmla="*/ 270 w 726"/>
                <a:gd name="T81" fmla="*/ 558 h 708"/>
                <a:gd name="T82" fmla="*/ 296 w 726"/>
                <a:gd name="T83" fmla="*/ 578 h 708"/>
                <a:gd name="T84" fmla="*/ 324 w 726"/>
                <a:gd name="T85" fmla="*/ 596 h 708"/>
                <a:gd name="T86" fmla="*/ 352 w 726"/>
                <a:gd name="T87" fmla="*/ 612 h 708"/>
                <a:gd name="T88" fmla="*/ 380 w 726"/>
                <a:gd name="T89" fmla="*/ 628 h 708"/>
                <a:gd name="T90" fmla="*/ 410 w 726"/>
                <a:gd name="T91" fmla="*/ 642 h 708"/>
                <a:gd name="T92" fmla="*/ 440 w 726"/>
                <a:gd name="T93" fmla="*/ 656 h 708"/>
                <a:gd name="T94" fmla="*/ 472 w 726"/>
                <a:gd name="T95" fmla="*/ 668 h 708"/>
                <a:gd name="T96" fmla="*/ 504 w 726"/>
                <a:gd name="T97" fmla="*/ 678 h 708"/>
                <a:gd name="T98" fmla="*/ 536 w 726"/>
                <a:gd name="T99" fmla="*/ 688 h 708"/>
                <a:gd name="T100" fmla="*/ 568 w 726"/>
                <a:gd name="T101" fmla="*/ 694 h 708"/>
                <a:gd name="T102" fmla="*/ 602 w 726"/>
                <a:gd name="T103" fmla="*/ 700 h 708"/>
                <a:gd name="T104" fmla="*/ 636 w 726"/>
                <a:gd name="T105" fmla="*/ 704 h 708"/>
                <a:gd name="T106" fmla="*/ 670 w 726"/>
                <a:gd name="T107" fmla="*/ 706 h 708"/>
                <a:gd name="T108" fmla="*/ 706 w 726"/>
                <a:gd name="T109" fmla="*/ 708 h 708"/>
                <a:gd name="T110" fmla="*/ 706 w 726"/>
                <a:gd name="T111" fmla="*/ 708 h 708"/>
                <a:gd name="T112" fmla="*/ 726 w 726"/>
                <a:gd name="T113" fmla="*/ 708 h 708"/>
                <a:gd name="T114" fmla="*/ 670 w 726"/>
                <a:gd name="T115" fmla="*/ 580 h 708"/>
                <a:gd name="T116" fmla="*/ 714 w 726"/>
                <a:gd name="T117" fmla="*/ 46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26" h="708">
                  <a:moveTo>
                    <a:pt x="714" y="460"/>
                  </a:moveTo>
                  <a:lnTo>
                    <a:pt x="714" y="460"/>
                  </a:lnTo>
                  <a:lnTo>
                    <a:pt x="706" y="462"/>
                  </a:lnTo>
                  <a:lnTo>
                    <a:pt x="662" y="460"/>
                  </a:lnTo>
                  <a:lnTo>
                    <a:pt x="618" y="452"/>
                  </a:lnTo>
                  <a:lnTo>
                    <a:pt x="578" y="442"/>
                  </a:lnTo>
                  <a:lnTo>
                    <a:pt x="538" y="430"/>
                  </a:lnTo>
                  <a:lnTo>
                    <a:pt x="498" y="412"/>
                  </a:lnTo>
                  <a:lnTo>
                    <a:pt x="462" y="392"/>
                  </a:lnTo>
                  <a:lnTo>
                    <a:pt x="428" y="368"/>
                  </a:lnTo>
                  <a:lnTo>
                    <a:pt x="396" y="342"/>
                  </a:lnTo>
                  <a:lnTo>
                    <a:pt x="366" y="312"/>
                  </a:lnTo>
                  <a:lnTo>
                    <a:pt x="340" y="280"/>
                  </a:lnTo>
                  <a:lnTo>
                    <a:pt x="316" y="246"/>
                  </a:lnTo>
                  <a:lnTo>
                    <a:pt x="296" y="210"/>
                  </a:lnTo>
                  <a:lnTo>
                    <a:pt x="278" y="172"/>
                  </a:lnTo>
                  <a:lnTo>
                    <a:pt x="264" y="132"/>
                  </a:lnTo>
                  <a:lnTo>
                    <a:pt x="254" y="90"/>
                  </a:lnTo>
                  <a:lnTo>
                    <a:pt x="248" y="46"/>
                  </a:lnTo>
                  <a:lnTo>
                    <a:pt x="122" y="0"/>
                  </a:lnTo>
                  <a:lnTo>
                    <a:pt x="0" y="44"/>
                  </a:lnTo>
                  <a:lnTo>
                    <a:pt x="4" y="78"/>
                  </a:lnTo>
                  <a:lnTo>
                    <a:pt x="8" y="112"/>
                  </a:lnTo>
                  <a:lnTo>
                    <a:pt x="14" y="146"/>
                  </a:lnTo>
                  <a:lnTo>
                    <a:pt x="22" y="178"/>
                  </a:lnTo>
                  <a:lnTo>
                    <a:pt x="32" y="212"/>
                  </a:lnTo>
                  <a:lnTo>
                    <a:pt x="42" y="242"/>
                  </a:lnTo>
                  <a:lnTo>
                    <a:pt x="54" y="274"/>
                  </a:lnTo>
                  <a:lnTo>
                    <a:pt x="68" y="304"/>
                  </a:lnTo>
                  <a:lnTo>
                    <a:pt x="82" y="334"/>
                  </a:lnTo>
                  <a:lnTo>
                    <a:pt x="98" y="362"/>
                  </a:lnTo>
                  <a:lnTo>
                    <a:pt x="116" y="390"/>
                  </a:lnTo>
                  <a:lnTo>
                    <a:pt x="134" y="416"/>
                  </a:lnTo>
                  <a:lnTo>
                    <a:pt x="154" y="442"/>
                  </a:lnTo>
                  <a:lnTo>
                    <a:pt x="176" y="468"/>
                  </a:lnTo>
                  <a:lnTo>
                    <a:pt x="198" y="492"/>
                  </a:lnTo>
                  <a:lnTo>
                    <a:pt x="220" y="514"/>
                  </a:lnTo>
                  <a:lnTo>
                    <a:pt x="244" y="536"/>
                  </a:lnTo>
                  <a:lnTo>
                    <a:pt x="270" y="558"/>
                  </a:lnTo>
                  <a:lnTo>
                    <a:pt x="296" y="578"/>
                  </a:lnTo>
                  <a:lnTo>
                    <a:pt x="324" y="596"/>
                  </a:lnTo>
                  <a:lnTo>
                    <a:pt x="352" y="612"/>
                  </a:lnTo>
                  <a:lnTo>
                    <a:pt x="380" y="628"/>
                  </a:lnTo>
                  <a:lnTo>
                    <a:pt x="410" y="642"/>
                  </a:lnTo>
                  <a:lnTo>
                    <a:pt x="440" y="656"/>
                  </a:lnTo>
                  <a:lnTo>
                    <a:pt x="472" y="668"/>
                  </a:lnTo>
                  <a:lnTo>
                    <a:pt x="504" y="678"/>
                  </a:lnTo>
                  <a:lnTo>
                    <a:pt x="536" y="688"/>
                  </a:lnTo>
                  <a:lnTo>
                    <a:pt x="568" y="694"/>
                  </a:lnTo>
                  <a:lnTo>
                    <a:pt x="602" y="700"/>
                  </a:lnTo>
                  <a:lnTo>
                    <a:pt x="636" y="704"/>
                  </a:lnTo>
                  <a:lnTo>
                    <a:pt x="670" y="706"/>
                  </a:lnTo>
                  <a:lnTo>
                    <a:pt x="706" y="708"/>
                  </a:lnTo>
                  <a:lnTo>
                    <a:pt x="726" y="708"/>
                  </a:lnTo>
                  <a:lnTo>
                    <a:pt x="670" y="580"/>
                  </a:lnTo>
                  <a:lnTo>
                    <a:pt x="714" y="460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>
              <a:defPPr>
                <a:defRPr lang="de-DE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68" name="Freeform 90"/>
            <p:cNvSpPr>
              <a:spLocks/>
            </p:cNvSpPr>
            <p:nvPr/>
          </p:nvSpPr>
          <p:spPr bwMode="auto">
            <a:xfrm>
              <a:off x="2837" y="1355"/>
              <a:ext cx="388" cy="366"/>
            </a:xfrm>
            <a:custGeom>
              <a:avLst/>
              <a:gdLst>
                <a:gd name="T0" fmla="*/ 0 w 718"/>
                <a:gd name="T1" fmla="*/ 248 h 680"/>
                <a:gd name="T2" fmla="*/ 0 w 718"/>
                <a:gd name="T3" fmla="*/ 248 h 680"/>
                <a:gd name="T4" fmla="*/ 16 w 718"/>
                <a:gd name="T5" fmla="*/ 248 h 680"/>
                <a:gd name="T6" fmla="*/ 16 w 718"/>
                <a:gd name="T7" fmla="*/ 248 h 680"/>
                <a:gd name="T8" fmla="*/ 60 w 718"/>
                <a:gd name="T9" fmla="*/ 250 h 680"/>
                <a:gd name="T10" fmla="*/ 102 w 718"/>
                <a:gd name="T11" fmla="*/ 256 h 680"/>
                <a:gd name="T12" fmla="*/ 144 w 718"/>
                <a:gd name="T13" fmla="*/ 264 h 680"/>
                <a:gd name="T14" fmla="*/ 182 w 718"/>
                <a:gd name="T15" fmla="*/ 278 h 680"/>
                <a:gd name="T16" fmla="*/ 220 w 718"/>
                <a:gd name="T17" fmla="*/ 296 h 680"/>
                <a:gd name="T18" fmla="*/ 256 w 718"/>
                <a:gd name="T19" fmla="*/ 316 h 680"/>
                <a:gd name="T20" fmla="*/ 290 w 718"/>
                <a:gd name="T21" fmla="*/ 338 h 680"/>
                <a:gd name="T22" fmla="*/ 322 w 718"/>
                <a:gd name="T23" fmla="*/ 364 h 680"/>
                <a:gd name="T24" fmla="*/ 352 w 718"/>
                <a:gd name="T25" fmla="*/ 392 h 680"/>
                <a:gd name="T26" fmla="*/ 378 w 718"/>
                <a:gd name="T27" fmla="*/ 424 h 680"/>
                <a:gd name="T28" fmla="*/ 402 w 718"/>
                <a:gd name="T29" fmla="*/ 458 h 680"/>
                <a:gd name="T30" fmla="*/ 422 w 718"/>
                <a:gd name="T31" fmla="*/ 492 h 680"/>
                <a:gd name="T32" fmla="*/ 440 w 718"/>
                <a:gd name="T33" fmla="*/ 530 h 680"/>
                <a:gd name="T34" fmla="*/ 454 w 718"/>
                <a:gd name="T35" fmla="*/ 570 h 680"/>
                <a:gd name="T36" fmla="*/ 466 w 718"/>
                <a:gd name="T37" fmla="*/ 610 h 680"/>
                <a:gd name="T38" fmla="*/ 472 w 718"/>
                <a:gd name="T39" fmla="*/ 652 h 680"/>
                <a:gd name="T40" fmla="*/ 598 w 718"/>
                <a:gd name="T41" fmla="*/ 680 h 680"/>
                <a:gd name="T42" fmla="*/ 718 w 718"/>
                <a:gd name="T43" fmla="*/ 618 h 680"/>
                <a:gd name="T44" fmla="*/ 718 w 718"/>
                <a:gd name="T45" fmla="*/ 618 h 680"/>
                <a:gd name="T46" fmla="*/ 712 w 718"/>
                <a:gd name="T47" fmla="*/ 586 h 680"/>
                <a:gd name="T48" fmla="*/ 706 w 718"/>
                <a:gd name="T49" fmla="*/ 554 h 680"/>
                <a:gd name="T50" fmla="*/ 698 w 718"/>
                <a:gd name="T51" fmla="*/ 522 h 680"/>
                <a:gd name="T52" fmla="*/ 690 w 718"/>
                <a:gd name="T53" fmla="*/ 492 h 680"/>
                <a:gd name="T54" fmla="*/ 678 w 718"/>
                <a:gd name="T55" fmla="*/ 462 h 680"/>
                <a:gd name="T56" fmla="*/ 668 w 718"/>
                <a:gd name="T57" fmla="*/ 432 h 680"/>
                <a:gd name="T58" fmla="*/ 654 w 718"/>
                <a:gd name="T59" fmla="*/ 402 h 680"/>
                <a:gd name="T60" fmla="*/ 640 w 718"/>
                <a:gd name="T61" fmla="*/ 374 h 680"/>
                <a:gd name="T62" fmla="*/ 624 w 718"/>
                <a:gd name="T63" fmla="*/ 348 h 680"/>
                <a:gd name="T64" fmla="*/ 608 w 718"/>
                <a:gd name="T65" fmla="*/ 320 h 680"/>
                <a:gd name="T66" fmla="*/ 590 w 718"/>
                <a:gd name="T67" fmla="*/ 294 h 680"/>
                <a:gd name="T68" fmla="*/ 572 w 718"/>
                <a:gd name="T69" fmla="*/ 270 h 680"/>
                <a:gd name="T70" fmla="*/ 552 w 718"/>
                <a:gd name="T71" fmla="*/ 246 h 680"/>
                <a:gd name="T72" fmla="*/ 530 w 718"/>
                <a:gd name="T73" fmla="*/ 222 h 680"/>
                <a:gd name="T74" fmla="*/ 508 w 718"/>
                <a:gd name="T75" fmla="*/ 200 h 680"/>
                <a:gd name="T76" fmla="*/ 486 w 718"/>
                <a:gd name="T77" fmla="*/ 178 h 680"/>
                <a:gd name="T78" fmla="*/ 462 w 718"/>
                <a:gd name="T79" fmla="*/ 158 h 680"/>
                <a:gd name="T80" fmla="*/ 436 w 718"/>
                <a:gd name="T81" fmla="*/ 140 h 680"/>
                <a:gd name="T82" fmla="*/ 410 w 718"/>
                <a:gd name="T83" fmla="*/ 122 h 680"/>
                <a:gd name="T84" fmla="*/ 384 w 718"/>
                <a:gd name="T85" fmla="*/ 104 h 680"/>
                <a:gd name="T86" fmla="*/ 358 w 718"/>
                <a:gd name="T87" fmla="*/ 88 h 680"/>
                <a:gd name="T88" fmla="*/ 330 w 718"/>
                <a:gd name="T89" fmla="*/ 74 h 680"/>
                <a:gd name="T90" fmla="*/ 300 w 718"/>
                <a:gd name="T91" fmla="*/ 60 h 680"/>
                <a:gd name="T92" fmla="*/ 272 w 718"/>
                <a:gd name="T93" fmla="*/ 48 h 680"/>
                <a:gd name="T94" fmla="*/ 242 w 718"/>
                <a:gd name="T95" fmla="*/ 38 h 680"/>
                <a:gd name="T96" fmla="*/ 210 w 718"/>
                <a:gd name="T97" fmla="*/ 28 h 680"/>
                <a:gd name="T98" fmla="*/ 180 w 718"/>
                <a:gd name="T99" fmla="*/ 20 h 680"/>
                <a:gd name="T100" fmla="*/ 148 w 718"/>
                <a:gd name="T101" fmla="*/ 12 h 680"/>
                <a:gd name="T102" fmla="*/ 116 w 718"/>
                <a:gd name="T103" fmla="*/ 8 h 680"/>
                <a:gd name="T104" fmla="*/ 82 w 718"/>
                <a:gd name="T105" fmla="*/ 4 h 680"/>
                <a:gd name="T106" fmla="*/ 50 w 718"/>
                <a:gd name="T107" fmla="*/ 2 h 680"/>
                <a:gd name="T108" fmla="*/ 16 w 718"/>
                <a:gd name="T109" fmla="*/ 0 h 680"/>
                <a:gd name="T110" fmla="*/ 16 w 718"/>
                <a:gd name="T111" fmla="*/ 0 h 680"/>
                <a:gd name="T112" fmla="*/ 6 w 718"/>
                <a:gd name="T113" fmla="*/ 0 h 680"/>
                <a:gd name="T114" fmla="*/ 52 w 718"/>
                <a:gd name="T115" fmla="*/ 112 h 680"/>
                <a:gd name="T116" fmla="*/ 0 w 718"/>
                <a:gd name="T117" fmla="*/ 248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18" h="680">
                  <a:moveTo>
                    <a:pt x="0" y="248"/>
                  </a:moveTo>
                  <a:lnTo>
                    <a:pt x="0" y="248"/>
                  </a:lnTo>
                  <a:lnTo>
                    <a:pt x="16" y="248"/>
                  </a:lnTo>
                  <a:lnTo>
                    <a:pt x="60" y="250"/>
                  </a:lnTo>
                  <a:lnTo>
                    <a:pt x="102" y="256"/>
                  </a:lnTo>
                  <a:lnTo>
                    <a:pt x="144" y="264"/>
                  </a:lnTo>
                  <a:lnTo>
                    <a:pt x="182" y="278"/>
                  </a:lnTo>
                  <a:lnTo>
                    <a:pt x="220" y="296"/>
                  </a:lnTo>
                  <a:lnTo>
                    <a:pt x="256" y="316"/>
                  </a:lnTo>
                  <a:lnTo>
                    <a:pt x="290" y="338"/>
                  </a:lnTo>
                  <a:lnTo>
                    <a:pt x="322" y="364"/>
                  </a:lnTo>
                  <a:lnTo>
                    <a:pt x="352" y="392"/>
                  </a:lnTo>
                  <a:lnTo>
                    <a:pt x="378" y="424"/>
                  </a:lnTo>
                  <a:lnTo>
                    <a:pt x="402" y="458"/>
                  </a:lnTo>
                  <a:lnTo>
                    <a:pt x="422" y="492"/>
                  </a:lnTo>
                  <a:lnTo>
                    <a:pt x="440" y="530"/>
                  </a:lnTo>
                  <a:lnTo>
                    <a:pt x="454" y="570"/>
                  </a:lnTo>
                  <a:lnTo>
                    <a:pt x="466" y="610"/>
                  </a:lnTo>
                  <a:lnTo>
                    <a:pt x="472" y="652"/>
                  </a:lnTo>
                  <a:lnTo>
                    <a:pt x="598" y="680"/>
                  </a:lnTo>
                  <a:lnTo>
                    <a:pt x="718" y="618"/>
                  </a:lnTo>
                  <a:lnTo>
                    <a:pt x="712" y="586"/>
                  </a:lnTo>
                  <a:lnTo>
                    <a:pt x="706" y="554"/>
                  </a:lnTo>
                  <a:lnTo>
                    <a:pt x="698" y="522"/>
                  </a:lnTo>
                  <a:lnTo>
                    <a:pt x="690" y="492"/>
                  </a:lnTo>
                  <a:lnTo>
                    <a:pt x="678" y="462"/>
                  </a:lnTo>
                  <a:lnTo>
                    <a:pt x="668" y="432"/>
                  </a:lnTo>
                  <a:lnTo>
                    <a:pt x="654" y="402"/>
                  </a:lnTo>
                  <a:lnTo>
                    <a:pt x="640" y="374"/>
                  </a:lnTo>
                  <a:lnTo>
                    <a:pt x="624" y="348"/>
                  </a:lnTo>
                  <a:lnTo>
                    <a:pt x="608" y="320"/>
                  </a:lnTo>
                  <a:lnTo>
                    <a:pt x="590" y="294"/>
                  </a:lnTo>
                  <a:lnTo>
                    <a:pt x="572" y="270"/>
                  </a:lnTo>
                  <a:lnTo>
                    <a:pt x="552" y="246"/>
                  </a:lnTo>
                  <a:lnTo>
                    <a:pt x="530" y="222"/>
                  </a:lnTo>
                  <a:lnTo>
                    <a:pt x="508" y="200"/>
                  </a:lnTo>
                  <a:lnTo>
                    <a:pt x="486" y="178"/>
                  </a:lnTo>
                  <a:lnTo>
                    <a:pt x="462" y="158"/>
                  </a:lnTo>
                  <a:lnTo>
                    <a:pt x="436" y="140"/>
                  </a:lnTo>
                  <a:lnTo>
                    <a:pt x="410" y="122"/>
                  </a:lnTo>
                  <a:lnTo>
                    <a:pt x="384" y="104"/>
                  </a:lnTo>
                  <a:lnTo>
                    <a:pt x="358" y="88"/>
                  </a:lnTo>
                  <a:lnTo>
                    <a:pt x="330" y="74"/>
                  </a:lnTo>
                  <a:lnTo>
                    <a:pt x="300" y="60"/>
                  </a:lnTo>
                  <a:lnTo>
                    <a:pt x="272" y="48"/>
                  </a:lnTo>
                  <a:lnTo>
                    <a:pt x="242" y="38"/>
                  </a:lnTo>
                  <a:lnTo>
                    <a:pt x="210" y="28"/>
                  </a:lnTo>
                  <a:lnTo>
                    <a:pt x="180" y="20"/>
                  </a:lnTo>
                  <a:lnTo>
                    <a:pt x="148" y="12"/>
                  </a:lnTo>
                  <a:lnTo>
                    <a:pt x="116" y="8"/>
                  </a:lnTo>
                  <a:lnTo>
                    <a:pt x="82" y="4"/>
                  </a:lnTo>
                  <a:lnTo>
                    <a:pt x="50" y="2"/>
                  </a:lnTo>
                  <a:lnTo>
                    <a:pt x="16" y="0"/>
                  </a:lnTo>
                  <a:lnTo>
                    <a:pt x="6" y="0"/>
                  </a:lnTo>
                  <a:lnTo>
                    <a:pt x="52" y="112"/>
                  </a:lnTo>
                  <a:lnTo>
                    <a:pt x="0" y="24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>
              <a:defPPr>
                <a:defRPr lang="de-DE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69" name="Freeform 91"/>
            <p:cNvSpPr>
              <a:spLocks/>
            </p:cNvSpPr>
            <p:nvPr/>
          </p:nvSpPr>
          <p:spPr bwMode="auto">
            <a:xfrm>
              <a:off x="2847" y="1706"/>
              <a:ext cx="380" cy="410"/>
            </a:xfrm>
            <a:custGeom>
              <a:avLst/>
              <a:gdLst>
                <a:gd name="T0" fmla="*/ 458 w 704"/>
                <a:gd name="T1" fmla="*/ 32 h 760"/>
                <a:gd name="T2" fmla="*/ 458 w 704"/>
                <a:gd name="T3" fmla="*/ 32 h 760"/>
                <a:gd name="T4" fmla="*/ 458 w 704"/>
                <a:gd name="T5" fmla="*/ 56 h 760"/>
                <a:gd name="T6" fmla="*/ 458 w 704"/>
                <a:gd name="T7" fmla="*/ 56 h 760"/>
                <a:gd name="T8" fmla="*/ 456 w 704"/>
                <a:gd name="T9" fmla="*/ 100 h 760"/>
                <a:gd name="T10" fmla="*/ 450 w 704"/>
                <a:gd name="T11" fmla="*/ 144 h 760"/>
                <a:gd name="T12" fmla="*/ 440 w 704"/>
                <a:gd name="T13" fmla="*/ 186 h 760"/>
                <a:gd name="T14" fmla="*/ 426 w 704"/>
                <a:gd name="T15" fmla="*/ 226 h 760"/>
                <a:gd name="T16" fmla="*/ 408 w 704"/>
                <a:gd name="T17" fmla="*/ 264 h 760"/>
                <a:gd name="T18" fmla="*/ 388 w 704"/>
                <a:gd name="T19" fmla="*/ 300 h 760"/>
                <a:gd name="T20" fmla="*/ 364 w 704"/>
                <a:gd name="T21" fmla="*/ 334 h 760"/>
                <a:gd name="T22" fmla="*/ 336 w 704"/>
                <a:gd name="T23" fmla="*/ 366 h 760"/>
                <a:gd name="T24" fmla="*/ 306 w 704"/>
                <a:gd name="T25" fmla="*/ 396 h 760"/>
                <a:gd name="T26" fmla="*/ 274 w 704"/>
                <a:gd name="T27" fmla="*/ 422 h 760"/>
                <a:gd name="T28" fmla="*/ 240 w 704"/>
                <a:gd name="T29" fmla="*/ 446 h 760"/>
                <a:gd name="T30" fmla="*/ 202 w 704"/>
                <a:gd name="T31" fmla="*/ 466 h 760"/>
                <a:gd name="T32" fmla="*/ 164 w 704"/>
                <a:gd name="T33" fmla="*/ 484 h 760"/>
                <a:gd name="T34" fmla="*/ 124 w 704"/>
                <a:gd name="T35" fmla="*/ 498 h 760"/>
                <a:gd name="T36" fmla="*/ 82 w 704"/>
                <a:gd name="T37" fmla="*/ 508 h 760"/>
                <a:gd name="T38" fmla="*/ 38 w 704"/>
                <a:gd name="T39" fmla="*/ 514 h 760"/>
                <a:gd name="T40" fmla="*/ 0 w 704"/>
                <a:gd name="T41" fmla="*/ 630 h 760"/>
                <a:gd name="T42" fmla="*/ 50 w 704"/>
                <a:gd name="T43" fmla="*/ 760 h 760"/>
                <a:gd name="T44" fmla="*/ 50 w 704"/>
                <a:gd name="T45" fmla="*/ 760 h 760"/>
                <a:gd name="T46" fmla="*/ 84 w 704"/>
                <a:gd name="T47" fmla="*/ 756 h 760"/>
                <a:gd name="T48" fmla="*/ 118 w 704"/>
                <a:gd name="T49" fmla="*/ 752 h 760"/>
                <a:gd name="T50" fmla="*/ 152 w 704"/>
                <a:gd name="T51" fmla="*/ 746 h 760"/>
                <a:gd name="T52" fmla="*/ 184 w 704"/>
                <a:gd name="T53" fmla="*/ 738 h 760"/>
                <a:gd name="T54" fmla="*/ 216 w 704"/>
                <a:gd name="T55" fmla="*/ 728 h 760"/>
                <a:gd name="T56" fmla="*/ 246 w 704"/>
                <a:gd name="T57" fmla="*/ 716 h 760"/>
                <a:gd name="T58" fmla="*/ 278 w 704"/>
                <a:gd name="T59" fmla="*/ 704 h 760"/>
                <a:gd name="T60" fmla="*/ 308 w 704"/>
                <a:gd name="T61" fmla="*/ 690 h 760"/>
                <a:gd name="T62" fmla="*/ 336 w 704"/>
                <a:gd name="T63" fmla="*/ 676 h 760"/>
                <a:gd name="T64" fmla="*/ 364 w 704"/>
                <a:gd name="T65" fmla="*/ 660 h 760"/>
                <a:gd name="T66" fmla="*/ 392 w 704"/>
                <a:gd name="T67" fmla="*/ 642 h 760"/>
                <a:gd name="T68" fmla="*/ 418 w 704"/>
                <a:gd name="T69" fmla="*/ 624 h 760"/>
                <a:gd name="T70" fmla="*/ 444 w 704"/>
                <a:gd name="T71" fmla="*/ 604 h 760"/>
                <a:gd name="T72" fmla="*/ 468 w 704"/>
                <a:gd name="T73" fmla="*/ 582 h 760"/>
                <a:gd name="T74" fmla="*/ 492 w 704"/>
                <a:gd name="T75" fmla="*/ 560 h 760"/>
                <a:gd name="T76" fmla="*/ 514 w 704"/>
                <a:gd name="T77" fmla="*/ 538 h 760"/>
                <a:gd name="T78" fmla="*/ 536 w 704"/>
                <a:gd name="T79" fmla="*/ 512 h 760"/>
                <a:gd name="T80" fmla="*/ 556 w 704"/>
                <a:gd name="T81" fmla="*/ 488 h 760"/>
                <a:gd name="T82" fmla="*/ 576 w 704"/>
                <a:gd name="T83" fmla="*/ 462 h 760"/>
                <a:gd name="T84" fmla="*/ 594 w 704"/>
                <a:gd name="T85" fmla="*/ 434 h 760"/>
                <a:gd name="T86" fmla="*/ 612 w 704"/>
                <a:gd name="T87" fmla="*/ 406 h 760"/>
                <a:gd name="T88" fmla="*/ 626 w 704"/>
                <a:gd name="T89" fmla="*/ 378 h 760"/>
                <a:gd name="T90" fmla="*/ 640 w 704"/>
                <a:gd name="T91" fmla="*/ 348 h 760"/>
                <a:gd name="T92" fmla="*/ 654 w 704"/>
                <a:gd name="T93" fmla="*/ 318 h 760"/>
                <a:gd name="T94" fmla="*/ 666 w 704"/>
                <a:gd name="T95" fmla="*/ 288 h 760"/>
                <a:gd name="T96" fmla="*/ 676 w 704"/>
                <a:gd name="T97" fmla="*/ 256 h 760"/>
                <a:gd name="T98" fmla="*/ 684 w 704"/>
                <a:gd name="T99" fmla="*/ 224 h 760"/>
                <a:gd name="T100" fmla="*/ 692 w 704"/>
                <a:gd name="T101" fmla="*/ 192 h 760"/>
                <a:gd name="T102" fmla="*/ 698 w 704"/>
                <a:gd name="T103" fmla="*/ 158 h 760"/>
                <a:gd name="T104" fmla="*/ 702 w 704"/>
                <a:gd name="T105" fmla="*/ 124 h 760"/>
                <a:gd name="T106" fmla="*/ 704 w 704"/>
                <a:gd name="T107" fmla="*/ 90 h 760"/>
                <a:gd name="T108" fmla="*/ 704 w 704"/>
                <a:gd name="T109" fmla="*/ 56 h 760"/>
                <a:gd name="T110" fmla="*/ 704 w 704"/>
                <a:gd name="T111" fmla="*/ 56 h 760"/>
                <a:gd name="T112" fmla="*/ 702 w 704"/>
                <a:gd name="T113" fmla="*/ 0 h 760"/>
                <a:gd name="T114" fmla="*/ 586 w 704"/>
                <a:gd name="T115" fmla="*/ 64 h 760"/>
                <a:gd name="T116" fmla="*/ 458 w 704"/>
                <a:gd name="T117" fmla="*/ 32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04" h="760">
                  <a:moveTo>
                    <a:pt x="458" y="32"/>
                  </a:moveTo>
                  <a:lnTo>
                    <a:pt x="458" y="32"/>
                  </a:lnTo>
                  <a:lnTo>
                    <a:pt x="458" y="56"/>
                  </a:lnTo>
                  <a:lnTo>
                    <a:pt x="456" y="100"/>
                  </a:lnTo>
                  <a:lnTo>
                    <a:pt x="450" y="144"/>
                  </a:lnTo>
                  <a:lnTo>
                    <a:pt x="440" y="186"/>
                  </a:lnTo>
                  <a:lnTo>
                    <a:pt x="426" y="226"/>
                  </a:lnTo>
                  <a:lnTo>
                    <a:pt x="408" y="264"/>
                  </a:lnTo>
                  <a:lnTo>
                    <a:pt x="388" y="300"/>
                  </a:lnTo>
                  <a:lnTo>
                    <a:pt x="364" y="334"/>
                  </a:lnTo>
                  <a:lnTo>
                    <a:pt x="336" y="366"/>
                  </a:lnTo>
                  <a:lnTo>
                    <a:pt x="306" y="396"/>
                  </a:lnTo>
                  <a:lnTo>
                    <a:pt x="274" y="422"/>
                  </a:lnTo>
                  <a:lnTo>
                    <a:pt x="240" y="446"/>
                  </a:lnTo>
                  <a:lnTo>
                    <a:pt x="202" y="466"/>
                  </a:lnTo>
                  <a:lnTo>
                    <a:pt x="164" y="484"/>
                  </a:lnTo>
                  <a:lnTo>
                    <a:pt x="124" y="498"/>
                  </a:lnTo>
                  <a:lnTo>
                    <a:pt x="82" y="508"/>
                  </a:lnTo>
                  <a:lnTo>
                    <a:pt x="38" y="514"/>
                  </a:lnTo>
                  <a:lnTo>
                    <a:pt x="0" y="630"/>
                  </a:lnTo>
                  <a:lnTo>
                    <a:pt x="50" y="760"/>
                  </a:lnTo>
                  <a:lnTo>
                    <a:pt x="84" y="756"/>
                  </a:lnTo>
                  <a:lnTo>
                    <a:pt x="118" y="752"/>
                  </a:lnTo>
                  <a:lnTo>
                    <a:pt x="152" y="746"/>
                  </a:lnTo>
                  <a:lnTo>
                    <a:pt x="184" y="738"/>
                  </a:lnTo>
                  <a:lnTo>
                    <a:pt x="216" y="728"/>
                  </a:lnTo>
                  <a:lnTo>
                    <a:pt x="246" y="716"/>
                  </a:lnTo>
                  <a:lnTo>
                    <a:pt x="278" y="704"/>
                  </a:lnTo>
                  <a:lnTo>
                    <a:pt x="308" y="690"/>
                  </a:lnTo>
                  <a:lnTo>
                    <a:pt x="336" y="676"/>
                  </a:lnTo>
                  <a:lnTo>
                    <a:pt x="364" y="660"/>
                  </a:lnTo>
                  <a:lnTo>
                    <a:pt x="392" y="642"/>
                  </a:lnTo>
                  <a:lnTo>
                    <a:pt x="418" y="624"/>
                  </a:lnTo>
                  <a:lnTo>
                    <a:pt x="444" y="604"/>
                  </a:lnTo>
                  <a:lnTo>
                    <a:pt x="468" y="582"/>
                  </a:lnTo>
                  <a:lnTo>
                    <a:pt x="492" y="560"/>
                  </a:lnTo>
                  <a:lnTo>
                    <a:pt x="514" y="538"/>
                  </a:lnTo>
                  <a:lnTo>
                    <a:pt x="536" y="512"/>
                  </a:lnTo>
                  <a:lnTo>
                    <a:pt x="556" y="488"/>
                  </a:lnTo>
                  <a:lnTo>
                    <a:pt x="576" y="462"/>
                  </a:lnTo>
                  <a:lnTo>
                    <a:pt x="594" y="434"/>
                  </a:lnTo>
                  <a:lnTo>
                    <a:pt x="612" y="406"/>
                  </a:lnTo>
                  <a:lnTo>
                    <a:pt x="626" y="378"/>
                  </a:lnTo>
                  <a:lnTo>
                    <a:pt x="640" y="348"/>
                  </a:lnTo>
                  <a:lnTo>
                    <a:pt x="654" y="318"/>
                  </a:lnTo>
                  <a:lnTo>
                    <a:pt x="666" y="288"/>
                  </a:lnTo>
                  <a:lnTo>
                    <a:pt x="676" y="256"/>
                  </a:lnTo>
                  <a:lnTo>
                    <a:pt x="684" y="224"/>
                  </a:lnTo>
                  <a:lnTo>
                    <a:pt x="692" y="192"/>
                  </a:lnTo>
                  <a:lnTo>
                    <a:pt x="698" y="158"/>
                  </a:lnTo>
                  <a:lnTo>
                    <a:pt x="702" y="124"/>
                  </a:lnTo>
                  <a:lnTo>
                    <a:pt x="704" y="90"/>
                  </a:lnTo>
                  <a:lnTo>
                    <a:pt x="704" y="56"/>
                  </a:lnTo>
                  <a:lnTo>
                    <a:pt x="702" y="0"/>
                  </a:lnTo>
                  <a:lnTo>
                    <a:pt x="586" y="64"/>
                  </a:lnTo>
                  <a:lnTo>
                    <a:pt x="458" y="32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noAutofit/>
            </a:bodyPr>
            <a:lstStyle>
              <a:defPPr>
                <a:defRPr lang="de-DE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2055594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1C4AFE-BD54-4C6A-A3CC-C664DC2B5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4960807" y="6699738"/>
            <a:ext cx="4339898" cy="254977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15495918" y="6699738"/>
            <a:ext cx="4339898" cy="254977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10219616" y="9743985"/>
            <a:ext cx="4336896" cy="235423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10132185" y="3691085"/>
            <a:ext cx="4336896" cy="25446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>
            <a:off x="9336836" y="6235773"/>
            <a:ext cx="6102456" cy="3508212"/>
          </a:xfrm>
          <a:custGeom>
            <a:avLst/>
            <a:gdLst>
              <a:gd name="G0" fmla="+- 2878 0 0"/>
              <a:gd name="G1" fmla="+- 8100 0 0"/>
              <a:gd name="G2" fmla="+- 2304 0 0"/>
              <a:gd name="G3" fmla="+- 9843 0 0"/>
              <a:gd name="G4" fmla="+- 21600 0 8100"/>
              <a:gd name="G5" fmla="+- 21600 0 9843"/>
              <a:gd name="G6" fmla="+- 2878 21600 0"/>
              <a:gd name="G7" fmla="*/ G6 1 2"/>
              <a:gd name="G8" fmla="+- 21600 0 2878"/>
              <a:gd name="G9" fmla="+- 21600 0 2304"/>
              <a:gd name="T0" fmla="*/ G0 w 21600"/>
              <a:gd name="T1" fmla="*/ G0 h 21600"/>
              <a:gd name="T2" fmla="*/ G8 w 21600"/>
              <a:gd name="T3" fmla="*/ G8 h 21600"/>
            </a:gdLst>
            <a:ahLst/>
            <a:cxnLst>
              <a:cxn ang="0">
                <a:pos x="r" y="vc"/>
              </a:cxn>
              <a:cxn ang="5400000">
                <a:pos x="hc" y="b"/>
              </a:cxn>
              <a:cxn ang="10800000">
                <a:pos x="l" y="vc"/>
              </a:cxn>
              <a:cxn ang="16200000">
                <a:pos x="hc" y="t"/>
              </a:cxn>
            </a:cxnLst>
            <a:rect l="T0" t="T1" r="T2" b="T3"/>
            <a:pathLst>
              <a:path w="21600" h="21600">
                <a:moveTo>
                  <a:pt x="2878" y="2878"/>
                </a:moveTo>
                <a:lnTo>
                  <a:pt x="9843" y="2878"/>
                </a:lnTo>
                <a:lnTo>
                  <a:pt x="9843" y="2304"/>
                </a:lnTo>
                <a:lnTo>
                  <a:pt x="8100" y="2304"/>
                </a:lnTo>
                <a:lnTo>
                  <a:pt x="10800" y="0"/>
                </a:lnTo>
                <a:lnTo>
                  <a:pt x="13500" y="2304"/>
                </a:lnTo>
                <a:lnTo>
                  <a:pt x="11757" y="2304"/>
                </a:lnTo>
                <a:lnTo>
                  <a:pt x="11757" y="2878"/>
                </a:lnTo>
                <a:lnTo>
                  <a:pt x="18722" y="2878"/>
                </a:lnTo>
                <a:lnTo>
                  <a:pt x="18722" y="9843"/>
                </a:lnTo>
                <a:lnTo>
                  <a:pt x="19296" y="9843"/>
                </a:lnTo>
                <a:lnTo>
                  <a:pt x="19296" y="8100"/>
                </a:lnTo>
                <a:lnTo>
                  <a:pt x="21600" y="10800"/>
                </a:lnTo>
                <a:lnTo>
                  <a:pt x="19296" y="13500"/>
                </a:lnTo>
                <a:lnTo>
                  <a:pt x="19296" y="11757"/>
                </a:lnTo>
                <a:lnTo>
                  <a:pt x="18722" y="11757"/>
                </a:lnTo>
                <a:lnTo>
                  <a:pt x="18722" y="18722"/>
                </a:lnTo>
                <a:lnTo>
                  <a:pt x="11757" y="18722"/>
                </a:lnTo>
                <a:lnTo>
                  <a:pt x="11757" y="19296"/>
                </a:lnTo>
                <a:lnTo>
                  <a:pt x="13500" y="19296"/>
                </a:lnTo>
                <a:lnTo>
                  <a:pt x="10800" y="21600"/>
                </a:lnTo>
                <a:lnTo>
                  <a:pt x="8100" y="19296"/>
                </a:lnTo>
                <a:lnTo>
                  <a:pt x="9843" y="19296"/>
                </a:lnTo>
                <a:lnTo>
                  <a:pt x="9843" y="18722"/>
                </a:lnTo>
                <a:lnTo>
                  <a:pt x="2878" y="18722"/>
                </a:lnTo>
                <a:lnTo>
                  <a:pt x="2878" y="11757"/>
                </a:lnTo>
                <a:lnTo>
                  <a:pt x="2304" y="11757"/>
                </a:lnTo>
                <a:lnTo>
                  <a:pt x="2304" y="13500"/>
                </a:lnTo>
                <a:lnTo>
                  <a:pt x="0" y="10800"/>
                </a:lnTo>
                <a:lnTo>
                  <a:pt x="2304" y="8100"/>
                </a:lnTo>
                <a:lnTo>
                  <a:pt x="2304" y="9843"/>
                </a:lnTo>
                <a:lnTo>
                  <a:pt x="2878" y="9843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10312263" y="3863245"/>
            <a:ext cx="4069780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57159" lvl="1" indent="-354157" defTabSz="1620717"/>
            <a:r>
              <a:rPr lang="de-DE" altLang="de-DE" sz="3592" dirty="0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auto">
          <a:xfrm>
            <a:off x="10395463" y="9923593"/>
            <a:ext cx="4069780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57159" lvl="1" indent="-354157" defTabSz="1620717"/>
            <a:r>
              <a:rPr lang="de-DE" altLang="de-DE" sz="3592" dirty="0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5108293" y="6972216"/>
            <a:ext cx="4069780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57159" lvl="1" indent="-354157" defTabSz="1620717"/>
            <a:r>
              <a:rPr lang="de-DE" altLang="de-DE" sz="3592" dirty="0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15636594" y="6795155"/>
            <a:ext cx="4069780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57159" lvl="1" indent="-354157" defTabSz="1620717"/>
            <a:r>
              <a:rPr lang="de-DE" altLang="de-DE" sz="3592" dirty="0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10264242" y="7676027"/>
            <a:ext cx="4069780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1620717"/>
            <a:r>
              <a:rPr lang="de-DE" altLang="de-DE" sz="3592" b="1" dirty="0">
                <a:solidFill>
                  <a:srgbClr val="FFFFFF"/>
                </a:solidFill>
                <a:latin typeface="Avenir Medium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620967433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D896DB-A1FA-47ED-9B1C-851B6386F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9745852" y="6663560"/>
            <a:ext cx="4339898" cy="24529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9880911" y="6401795"/>
            <a:ext cx="4069780" cy="3118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1620717"/>
            <a:r>
              <a:rPr lang="de-DE" altLang="de-DE" sz="3592" b="1" dirty="0">
                <a:solidFill>
                  <a:srgbClr val="FFFFFF"/>
                </a:solidFill>
                <a:latin typeface="Avenir Medium"/>
              </a:rPr>
              <a:t>Text</a:t>
            </a: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auto">
          <a:xfrm>
            <a:off x="4757624" y="6662058"/>
            <a:ext cx="4979177" cy="2454416"/>
          </a:xfrm>
          <a:prstGeom prst="rightArrowCallout">
            <a:avLst>
              <a:gd name="adj1" fmla="val 31731"/>
              <a:gd name="adj2" fmla="val 25000"/>
              <a:gd name="adj3" fmla="val 13054"/>
              <a:gd name="adj4" fmla="val 87412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5036792" y="6825174"/>
            <a:ext cx="4069780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57159" lvl="1" indent="-354157" defTabSz="1620717"/>
            <a:r>
              <a:rPr lang="de-DE" altLang="de-DE" sz="3592" dirty="0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 flipH="1">
            <a:off x="14016718" y="6662058"/>
            <a:ext cx="4979177" cy="2454416"/>
          </a:xfrm>
          <a:prstGeom prst="rightArrowCallout">
            <a:avLst>
              <a:gd name="adj1" fmla="val 31731"/>
              <a:gd name="adj2" fmla="val 25000"/>
              <a:gd name="adj3" fmla="val 13054"/>
              <a:gd name="adj4" fmla="val 87412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14824072" y="6825174"/>
            <a:ext cx="4069780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57159" lvl="1" indent="-354157" defTabSz="1620717"/>
            <a:r>
              <a:rPr lang="de-DE" altLang="de-DE" sz="3592" dirty="0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 rot="5400000" flipH="1">
            <a:off x="10341612" y="8537536"/>
            <a:ext cx="3148378" cy="4339897"/>
          </a:xfrm>
          <a:prstGeom prst="rightArrowCallout">
            <a:avLst>
              <a:gd name="adj1" fmla="val 38712"/>
              <a:gd name="adj2" fmla="val 28986"/>
              <a:gd name="adj3" fmla="val 14875"/>
              <a:gd name="adj4" fmla="val 78644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9928932" y="9976668"/>
            <a:ext cx="4069780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57159" lvl="1" indent="-354157" defTabSz="1620717"/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4" name="AutoShape 11"/>
          <p:cNvSpPr>
            <a:spLocks noChangeArrowheads="1"/>
          </p:cNvSpPr>
          <p:nvPr/>
        </p:nvSpPr>
        <p:spPr bwMode="auto">
          <a:xfrm rot="16200000" flipH="1" flipV="1">
            <a:off x="10341612" y="2921429"/>
            <a:ext cx="3148378" cy="4339898"/>
          </a:xfrm>
          <a:prstGeom prst="rightArrowCallout">
            <a:avLst>
              <a:gd name="adj1" fmla="val 38712"/>
              <a:gd name="adj2" fmla="val 28986"/>
              <a:gd name="adj3" fmla="val 14875"/>
              <a:gd name="adj4" fmla="val 78644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9928932" y="3634664"/>
            <a:ext cx="4069780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57159" lvl="1" indent="-354157" defTabSz="1620717"/>
            <a:r>
              <a:rPr lang="de-DE" altLang="de-DE" sz="3592" dirty="0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90295500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r>
              <a:rPr lang="de-DE" dirty="0">
                <a:latin typeface="Avenir Medium"/>
              </a:rPr>
              <a:t>Zusammenhang</a:t>
            </a:r>
          </a:p>
        </p:txBody>
      </p:sp>
      <p:grpSp>
        <p:nvGrpSpPr>
          <p:cNvPr id="14" name="Group 3">
            <a:extLst>
              <a:ext uri="{FF2B5EF4-FFF2-40B4-BE49-F238E27FC236}">
                <a16:creationId xmlns:a16="http://schemas.microsoft.com/office/drawing/2014/main" id="{EE438BD7-9F35-4492-896E-B90AA2841B17}"/>
              </a:ext>
            </a:extLst>
          </p:cNvPr>
          <p:cNvGrpSpPr>
            <a:grpSpLocks/>
          </p:cNvGrpSpPr>
          <p:nvPr/>
        </p:nvGrpSpPr>
        <p:grpSpPr bwMode="auto">
          <a:xfrm>
            <a:off x="6287016" y="4773395"/>
            <a:ext cx="11803619" cy="6219717"/>
            <a:chOff x="1001" y="1189"/>
            <a:chExt cx="3821" cy="2348"/>
          </a:xfrm>
        </p:grpSpPr>
        <p:sp>
          <p:nvSpPr>
            <p:cNvPr id="15" name="Freeform 4">
              <a:extLst>
                <a:ext uri="{FF2B5EF4-FFF2-40B4-BE49-F238E27FC236}">
                  <a16:creationId xmlns:a16="http://schemas.microsoft.com/office/drawing/2014/main" id="{178145DB-EE1E-4140-A4A5-8BCD6CAD9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5" y="1189"/>
              <a:ext cx="2437" cy="2348"/>
            </a:xfrm>
            <a:custGeom>
              <a:avLst/>
              <a:gdLst>
                <a:gd name="T0" fmla="*/ 454 w 2437"/>
                <a:gd name="T1" fmla="*/ 0 h 2348"/>
                <a:gd name="T2" fmla="*/ 2437 w 2437"/>
                <a:gd name="T3" fmla="*/ 1 h 2348"/>
                <a:gd name="T4" fmla="*/ 2437 w 2437"/>
                <a:gd name="T5" fmla="*/ 2348 h 2348"/>
                <a:gd name="T6" fmla="*/ 615 w 2437"/>
                <a:gd name="T7" fmla="*/ 2348 h 2348"/>
                <a:gd name="T8" fmla="*/ 604 w 2437"/>
                <a:gd name="T9" fmla="*/ 1876 h 2348"/>
                <a:gd name="T10" fmla="*/ 379 w 2437"/>
                <a:gd name="T11" fmla="*/ 1887 h 2348"/>
                <a:gd name="T12" fmla="*/ 363 w 2437"/>
                <a:gd name="T13" fmla="*/ 1351 h 2348"/>
                <a:gd name="T14" fmla="*/ 447 w 2437"/>
                <a:gd name="T15" fmla="*/ 1415 h 2348"/>
                <a:gd name="T16" fmla="*/ 429 w 2437"/>
                <a:gd name="T17" fmla="*/ 1154 h 2348"/>
                <a:gd name="T18" fmla="*/ 507 w 2437"/>
                <a:gd name="T19" fmla="*/ 914 h 2348"/>
                <a:gd name="T20" fmla="*/ 777 w 2437"/>
                <a:gd name="T21" fmla="*/ 1004 h 2348"/>
                <a:gd name="T22" fmla="*/ 926 w 2437"/>
                <a:gd name="T23" fmla="*/ 788 h 2348"/>
                <a:gd name="T24" fmla="*/ 828 w 2437"/>
                <a:gd name="T25" fmla="*/ 416 h 2348"/>
                <a:gd name="T26" fmla="*/ 597 w 2437"/>
                <a:gd name="T27" fmla="*/ 524 h 2348"/>
                <a:gd name="T28" fmla="*/ 438 w 2437"/>
                <a:gd name="T29" fmla="*/ 483 h 2348"/>
                <a:gd name="T30" fmla="*/ 492 w 2437"/>
                <a:gd name="T31" fmla="*/ 53 h 2348"/>
                <a:gd name="T32" fmla="*/ 454 w 2437"/>
                <a:gd name="T33" fmla="*/ 0 h 2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7" h="2348">
                  <a:moveTo>
                    <a:pt x="454" y="0"/>
                  </a:moveTo>
                  <a:cubicBezTo>
                    <a:pt x="1445" y="0"/>
                    <a:pt x="2437" y="1"/>
                    <a:pt x="2437" y="1"/>
                  </a:cubicBezTo>
                  <a:lnTo>
                    <a:pt x="2437" y="2348"/>
                  </a:lnTo>
                  <a:cubicBezTo>
                    <a:pt x="2437" y="2348"/>
                    <a:pt x="1526" y="2348"/>
                    <a:pt x="615" y="2348"/>
                  </a:cubicBezTo>
                  <a:cubicBezTo>
                    <a:pt x="429" y="2177"/>
                    <a:pt x="610" y="1956"/>
                    <a:pt x="604" y="1876"/>
                  </a:cubicBezTo>
                  <a:cubicBezTo>
                    <a:pt x="567" y="1795"/>
                    <a:pt x="454" y="1796"/>
                    <a:pt x="379" y="1887"/>
                  </a:cubicBezTo>
                  <a:cubicBezTo>
                    <a:pt x="54" y="2183"/>
                    <a:pt x="0" y="1247"/>
                    <a:pt x="363" y="1351"/>
                  </a:cubicBezTo>
                  <a:cubicBezTo>
                    <a:pt x="438" y="1377"/>
                    <a:pt x="436" y="1449"/>
                    <a:pt x="447" y="1415"/>
                  </a:cubicBezTo>
                  <a:cubicBezTo>
                    <a:pt x="458" y="1382"/>
                    <a:pt x="420" y="1241"/>
                    <a:pt x="429" y="1154"/>
                  </a:cubicBezTo>
                  <a:cubicBezTo>
                    <a:pt x="423" y="1067"/>
                    <a:pt x="426" y="944"/>
                    <a:pt x="507" y="914"/>
                  </a:cubicBezTo>
                  <a:cubicBezTo>
                    <a:pt x="555" y="859"/>
                    <a:pt x="687" y="1025"/>
                    <a:pt x="777" y="1004"/>
                  </a:cubicBezTo>
                  <a:cubicBezTo>
                    <a:pt x="847" y="983"/>
                    <a:pt x="917" y="886"/>
                    <a:pt x="926" y="788"/>
                  </a:cubicBezTo>
                  <a:cubicBezTo>
                    <a:pt x="968" y="621"/>
                    <a:pt x="909" y="443"/>
                    <a:pt x="828" y="416"/>
                  </a:cubicBezTo>
                  <a:cubicBezTo>
                    <a:pt x="738" y="362"/>
                    <a:pt x="662" y="513"/>
                    <a:pt x="597" y="524"/>
                  </a:cubicBezTo>
                  <a:cubicBezTo>
                    <a:pt x="549" y="533"/>
                    <a:pt x="502" y="552"/>
                    <a:pt x="438" y="483"/>
                  </a:cubicBezTo>
                  <a:cubicBezTo>
                    <a:pt x="459" y="422"/>
                    <a:pt x="591" y="209"/>
                    <a:pt x="492" y="53"/>
                  </a:cubicBezTo>
                  <a:cubicBezTo>
                    <a:pt x="492" y="53"/>
                    <a:pt x="454" y="0"/>
                    <a:pt x="454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endParaRPr lang="de-DE">
                <a:latin typeface="Avenir Medium"/>
              </a:endParaRPr>
            </a:p>
          </p:txBody>
        </p:sp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F3C33CA6-8003-4A34-ACFD-6C75A51ED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" y="1189"/>
              <a:ext cx="2419" cy="2347"/>
            </a:xfrm>
            <a:custGeom>
              <a:avLst/>
              <a:gdLst>
                <a:gd name="T0" fmla="*/ 1994 w 2419"/>
                <a:gd name="T1" fmla="*/ 2347 h 2347"/>
                <a:gd name="T2" fmla="*/ 0 w 2419"/>
                <a:gd name="T3" fmla="*/ 2347 h 2347"/>
                <a:gd name="T4" fmla="*/ 0 w 2419"/>
                <a:gd name="T5" fmla="*/ 0 h 2347"/>
                <a:gd name="T6" fmla="*/ 1822 w 2419"/>
                <a:gd name="T7" fmla="*/ 0 h 2347"/>
                <a:gd name="T8" fmla="*/ 1902 w 2419"/>
                <a:gd name="T9" fmla="*/ 268 h 2347"/>
                <a:gd name="T10" fmla="*/ 1822 w 2419"/>
                <a:gd name="T11" fmla="*/ 472 h 2347"/>
                <a:gd name="T12" fmla="*/ 2058 w 2419"/>
                <a:gd name="T13" fmla="*/ 466 h 2347"/>
                <a:gd name="T14" fmla="*/ 2098 w 2419"/>
                <a:gd name="T15" fmla="*/ 998 h 2347"/>
                <a:gd name="T16" fmla="*/ 1849 w 2419"/>
                <a:gd name="T17" fmla="*/ 954 h 2347"/>
                <a:gd name="T18" fmla="*/ 1827 w 2419"/>
                <a:gd name="T19" fmla="*/ 1420 h 2347"/>
                <a:gd name="T20" fmla="*/ 1506 w 2419"/>
                <a:gd name="T21" fmla="*/ 1559 h 2347"/>
                <a:gd name="T22" fmla="*/ 1592 w 2419"/>
                <a:gd name="T23" fmla="*/ 1934 h 2347"/>
                <a:gd name="T24" fmla="*/ 1994 w 2419"/>
                <a:gd name="T25" fmla="*/ 1881 h 2347"/>
                <a:gd name="T26" fmla="*/ 1994 w 2419"/>
                <a:gd name="T27" fmla="*/ 2347 h 2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19" h="2347">
                  <a:moveTo>
                    <a:pt x="1994" y="2347"/>
                  </a:moveTo>
                  <a:cubicBezTo>
                    <a:pt x="997" y="2347"/>
                    <a:pt x="0" y="2347"/>
                    <a:pt x="0" y="2347"/>
                  </a:cubicBezTo>
                  <a:lnTo>
                    <a:pt x="0" y="0"/>
                  </a:lnTo>
                  <a:lnTo>
                    <a:pt x="1822" y="0"/>
                  </a:lnTo>
                  <a:cubicBezTo>
                    <a:pt x="1822" y="0"/>
                    <a:pt x="1945" y="65"/>
                    <a:pt x="1902" y="268"/>
                  </a:cubicBezTo>
                  <a:cubicBezTo>
                    <a:pt x="1881" y="370"/>
                    <a:pt x="1822" y="472"/>
                    <a:pt x="1822" y="472"/>
                  </a:cubicBezTo>
                  <a:cubicBezTo>
                    <a:pt x="1859" y="553"/>
                    <a:pt x="2004" y="558"/>
                    <a:pt x="2058" y="466"/>
                  </a:cubicBezTo>
                  <a:cubicBezTo>
                    <a:pt x="2385" y="172"/>
                    <a:pt x="2419" y="1064"/>
                    <a:pt x="2098" y="998"/>
                  </a:cubicBezTo>
                  <a:cubicBezTo>
                    <a:pt x="2039" y="993"/>
                    <a:pt x="1913" y="825"/>
                    <a:pt x="1849" y="954"/>
                  </a:cubicBezTo>
                  <a:cubicBezTo>
                    <a:pt x="1763" y="1050"/>
                    <a:pt x="1852" y="1370"/>
                    <a:pt x="1827" y="1420"/>
                  </a:cubicBezTo>
                  <a:cubicBezTo>
                    <a:pt x="1669" y="1214"/>
                    <a:pt x="1511" y="1452"/>
                    <a:pt x="1506" y="1559"/>
                  </a:cubicBezTo>
                  <a:cubicBezTo>
                    <a:pt x="1467" y="1645"/>
                    <a:pt x="1511" y="1880"/>
                    <a:pt x="1592" y="1934"/>
                  </a:cubicBezTo>
                  <a:cubicBezTo>
                    <a:pt x="1731" y="2020"/>
                    <a:pt x="1838" y="1677"/>
                    <a:pt x="1994" y="1881"/>
                  </a:cubicBezTo>
                  <a:cubicBezTo>
                    <a:pt x="1827" y="2288"/>
                    <a:pt x="1972" y="2272"/>
                    <a:pt x="1994" y="234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endParaRPr lang="de-DE">
                <a:latin typeface="Avenir Medium"/>
              </a:endParaRPr>
            </a:p>
          </p:txBody>
        </p:sp>
        <p:sp>
          <p:nvSpPr>
            <p:cNvPr id="17" name="Rectangle 6">
              <a:extLst>
                <a:ext uri="{FF2B5EF4-FFF2-40B4-BE49-F238E27FC236}">
                  <a16:creationId xmlns:a16="http://schemas.microsoft.com/office/drawing/2014/main" id="{B2A7B6FA-0ED3-4F85-B6E0-7249FDD593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1" y="2276"/>
              <a:ext cx="1728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de-DE" altLang="de-DE">
                  <a:latin typeface="Avenir Medium"/>
                </a:rPr>
                <a:t>Text</a:t>
              </a:r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6A7F7373-7760-40DD-B912-919C0AD32B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5" y="2276"/>
              <a:ext cx="1364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de-DE" altLang="de-DE" dirty="0">
                  <a:latin typeface="Avenir Medium"/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33132694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>
                <a:latin typeface="Avenir Medium"/>
              </a:rPr>
              <a:t>Zusammenhang</a:t>
            </a:r>
          </a:p>
        </p:txBody>
      </p:sp>
      <p:sp>
        <p:nvSpPr>
          <p:cNvPr id="6" name="Freeform 3"/>
          <p:cNvSpPr>
            <a:spLocks/>
          </p:cNvSpPr>
          <p:nvPr/>
        </p:nvSpPr>
        <p:spPr bwMode="auto">
          <a:xfrm>
            <a:off x="5264797" y="3399845"/>
            <a:ext cx="15381730" cy="3637591"/>
          </a:xfrm>
          <a:custGeom>
            <a:avLst/>
            <a:gdLst>
              <a:gd name="T0" fmla="*/ 0 w 5125"/>
              <a:gd name="T1" fmla="*/ 1212 h 1212"/>
              <a:gd name="T2" fmla="*/ 729 w 5125"/>
              <a:gd name="T3" fmla="*/ 0 h 1212"/>
              <a:gd name="T4" fmla="*/ 5125 w 5125"/>
              <a:gd name="T5" fmla="*/ 0 h 1212"/>
              <a:gd name="T6" fmla="*/ 5125 w 5125"/>
              <a:gd name="T7" fmla="*/ 529 h 1212"/>
              <a:gd name="T8" fmla="*/ 858 w 5125"/>
              <a:gd name="T9" fmla="*/ 529 h 1212"/>
              <a:gd name="T10" fmla="*/ 0 w 5125"/>
              <a:gd name="T11" fmla="*/ 1212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125" h="1212">
                <a:moveTo>
                  <a:pt x="0" y="1212"/>
                </a:moveTo>
                <a:lnTo>
                  <a:pt x="729" y="0"/>
                </a:lnTo>
                <a:lnTo>
                  <a:pt x="5125" y="0"/>
                </a:lnTo>
                <a:lnTo>
                  <a:pt x="5125" y="529"/>
                </a:lnTo>
                <a:lnTo>
                  <a:pt x="858" y="529"/>
                </a:lnTo>
                <a:lnTo>
                  <a:pt x="0" y="1212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7" name="Freeform 4"/>
          <p:cNvSpPr>
            <a:spLocks/>
          </p:cNvSpPr>
          <p:nvPr/>
        </p:nvSpPr>
        <p:spPr bwMode="auto">
          <a:xfrm flipV="1">
            <a:off x="5264797" y="8802208"/>
            <a:ext cx="15381730" cy="3637591"/>
          </a:xfrm>
          <a:custGeom>
            <a:avLst/>
            <a:gdLst>
              <a:gd name="T0" fmla="*/ 0 w 5125"/>
              <a:gd name="T1" fmla="*/ 1212 h 1212"/>
              <a:gd name="T2" fmla="*/ 729 w 5125"/>
              <a:gd name="T3" fmla="*/ 0 h 1212"/>
              <a:gd name="T4" fmla="*/ 5125 w 5125"/>
              <a:gd name="T5" fmla="*/ 0 h 1212"/>
              <a:gd name="T6" fmla="*/ 5125 w 5125"/>
              <a:gd name="T7" fmla="*/ 529 h 1212"/>
              <a:gd name="T8" fmla="*/ 858 w 5125"/>
              <a:gd name="T9" fmla="*/ 529 h 1212"/>
              <a:gd name="T10" fmla="*/ 0 w 5125"/>
              <a:gd name="T11" fmla="*/ 1212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125" h="1212">
                <a:moveTo>
                  <a:pt x="0" y="1212"/>
                </a:moveTo>
                <a:lnTo>
                  <a:pt x="729" y="0"/>
                </a:lnTo>
                <a:lnTo>
                  <a:pt x="5125" y="0"/>
                </a:lnTo>
                <a:lnTo>
                  <a:pt x="5125" y="529"/>
                </a:lnTo>
                <a:lnTo>
                  <a:pt x="858" y="529"/>
                </a:lnTo>
                <a:lnTo>
                  <a:pt x="0" y="1212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8" name="Freeform 5"/>
          <p:cNvSpPr>
            <a:spLocks/>
          </p:cNvSpPr>
          <p:nvPr/>
        </p:nvSpPr>
        <p:spPr bwMode="auto">
          <a:xfrm>
            <a:off x="5405861" y="5287672"/>
            <a:ext cx="15240667" cy="2350027"/>
          </a:xfrm>
          <a:custGeom>
            <a:avLst/>
            <a:gdLst>
              <a:gd name="T0" fmla="*/ 0 w 5078"/>
              <a:gd name="T1" fmla="*/ 653 h 783"/>
              <a:gd name="T2" fmla="*/ 840 w 5078"/>
              <a:gd name="T3" fmla="*/ 1 h 783"/>
              <a:gd name="T4" fmla="*/ 5078 w 5078"/>
              <a:gd name="T5" fmla="*/ 0 h 783"/>
              <a:gd name="T6" fmla="*/ 5078 w 5078"/>
              <a:gd name="T7" fmla="*/ 529 h 783"/>
              <a:gd name="T8" fmla="*/ 811 w 5078"/>
              <a:gd name="T9" fmla="*/ 529 h 783"/>
              <a:gd name="T10" fmla="*/ 0 w 5078"/>
              <a:gd name="T11" fmla="*/ 783 h 783"/>
              <a:gd name="T12" fmla="*/ 0 w 5078"/>
              <a:gd name="T13" fmla="*/ 653 h 7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078" h="783">
                <a:moveTo>
                  <a:pt x="0" y="653"/>
                </a:moveTo>
                <a:lnTo>
                  <a:pt x="840" y="1"/>
                </a:lnTo>
                <a:lnTo>
                  <a:pt x="5078" y="0"/>
                </a:lnTo>
                <a:lnTo>
                  <a:pt x="5078" y="529"/>
                </a:lnTo>
                <a:lnTo>
                  <a:pt x="811" y="529"/>
                </a:lnTo>
                <a:lnTo>
                  <a:pt x="0" y="783"/>
                </a:lnTo>
                <a:lnTo>
                  <a:pt x="0" y="653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5405861" y="8111907"/>
            <a:ext cx="15240667" cy="2491090"/>
          </a:xfrm>
          <a:custGeom>
            <a:avLst/>
            <a:gdLst>
              <a:gd name="T0" fmla="*/ 0 w 5078"/>
              <a:gd name="T1" fmla="*/ 177 h 830"/>
              <a:gd name="T2" fmla="*/ 840 w 5078"/>
              <a:gd name="T3" fmla="*/ 829 h 830"/>
              <a:gd name="T4" fmla="*/ 5078 w 5078"/>
              <a:gd name="T5" fmla="*/ 830 h 830"/>
              <a:gd name="T6" fmla="*/ 5078 w 5078"/>
              <a:gd name="T7" fmla="*/ 301 h 830"/>
              <a:gd name="T8" fmla="*/ 811 w 5078"/>
              <a:gd name="T9" fmla="*/ 301 h 830"/>
              <a:gd name="T10" fmla="*/ 0 w 5078"/>
              <a:gd name="T11" fmla="*/ 0 h 830"/>
              <a:gd name="T12" fmla="*/ 0 w 5078"/>
              <a:gd name="T13" fmla="*/ 177 h 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078" h="830">
                <a:moveTo>
                  <a:pt x="0" y="177"/>
                </a:moveTo>
                <a:lnTo>
                  <a:pt x="840" y="829"/>
                </a:lnTo>
                <a:lnTo>
                  <a:pt x="5078" y="830"/>
                </a:lnTo>
                <a:lnTo>
                  <a:pt x="5078" y="301"/>
                </a:lnTo>
                <a:lnTo>
                  <a:pt x="811" y="301"/>
                </a:lnTo>
                <a:lnTo>
                  <a:pt x="0" y="0"/>
                </a:lnTo>
                <a:lnTo>
                  <a:pt x="0" y="177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0" name="Freeform 7"/>
          <p:cNvSpPr>
            <a:spLocks/>
          </p:cNvSpPr>
          <p:nvPr/>
        </p:nvSpPr>
        <p:spPr bwMode="auto">
          <a:xfrm>
            <a:off x="5405861" y="7139481"/>
            <a:ext cx="15240667" cy="1587695"/>
          </a:xfrm>
          <a:custGeom>
            <a:avLst/>
            <a:gdLst>
              <a:gd name="T0" fmla="*/ 0 w 5078"/>
              <a:gd name="T1" fmla="*/ 242 h 529"/>
              <a:gd name="T2" fmla="*/ 805 w 5078"/>
              <a:gd name="T3" fmla="*/ 1 h 529"/>
              <a:gd name="T4" fmla="*/ 5078 w 5078"/>
              <a:gd name="T5" fmla="*/ 0 h 529"/>
              <a:gd name="T6" fmla="*/ 5078 w 5078"/>
              <a:gd name="T7" fmla="*/ 529 h 529"/>
              <a:gd name="T8" fmla="*/ 811 w 5078"/>
              <a:gd name="T9" fmla="*/ 529 h 529"/>
              <a:gd name="T10" fmla="*/ 0 w 5078"/>
              <a:gd name="T11" fmla="*/ 242 h 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078" h="529">
                <a:moveTo>
                  <a:pt x="0" y="242"/>
                </a:moveTo>
                <a:lnTo>
                  <a:pt x="805" y="1"/>
                </a:lnTo>
                <a:lnTo>
                  <a:pt x="5078" y="0"/>
                </a:lnTo>
                <a:lnTo>
                  <a:pt x="5078" y="529"/>
                </a:lnTo>
                <a:lnTo>
                  <a:pt x="811" y="529"/>
                </a:lnTo>
                <a:lnTo>
                  <a:pt x="0" y="242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1" name="Oval 8"/>
          <p:cNvSpPr>
            <a:spLocks noChangeArrowheads="1"/>
          </p:cNvSpPr>
          <p:nvPr/>
        </p:nvSpPr>
        <p:spPr bwMode="auto">
          <a:xfrm>
            <a:off x="2800721" y="6239088"/>
            <a:ext cx="4327893" cy="3262428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auto">
          <a:xfrm>
            <a:off x="2782712" y="7593911"/>
            <a:ext cx="4333896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1620717"/>
            <a:r>
              <a:rPr lang="de-DE" altLang="de-DE" sz="3592" b="1">
                <a:solidFill>
                  <a:srgbClr val="FFFFFF"/>
                </a:solidFill>
                <a:latin typeface="Avenir Medium"/>
              </a:rPr>
              <a:t>Text</a:t>
            </a: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8131052" y="3905297"/>
            <a:ext cx="12482459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620717">
              <a:spcBef>
                <a:spcPct val="0"/>
              </a:spcBef>
            </a:pPr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8131052" y="5808129"/>
            <a:ext cx="12482459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620717">
              <a:spcBef>
                <a:spcPct val="0"/>
              </a:spcBef>
            </a:pPr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8131052" y="7656938"/>
            <a:ext cx="12482459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620717">
              <a:spcBef>
                <a:spcPct val="0"/>
              </a:spcBef>
            </a:pPr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6" name="Rectangle 13"/>
          <p:cNvSpPr>
            <a:spLocks noChangeArrowheads="1"/>
          </p:cNvSpPr>
          <p:nvPr/>
        </p:nvSpPr>
        <p:spPr bwMode="auto">
          <a:xfrm>
            <a:off x="8131052" y="9562772"/>
            <a:ext cx="12482459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620717">
              <a:spcBef>
                <a:spcPct val="0"/>
              </a:spcBef>
            </a:pPr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7" name="Rectangle 14"/>
          <p:cNvSpPr>
            <a:spLocks noChangeArrowheads="1"/>
          </p:cNvSpPr>
          <p:nvPr/>
        </p:nvSpPr>
        <p:spPr bwMode="auto">
          <a:xfrm>
            <a:off x="8131052" y="11396574"/>
            <a:ext cx="12482459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620717">
              <a:spcBef>
                <a:spcPct val="0"/>
              </a:spcBef>
            </a:pPr>
            <a:r>
              <a:rPr lang="de-DE" altLang="de-DE" sz="3592" dirty="0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106891007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32BBDA-C845-4E50-BAB8-8E52B3CCA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0BCFD82A-A729-45D6-A035-3D6DC5C255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7114" y="7982742"/>
            <a:ext cx="5207625" cy="3560022"/>
          </a:xfrm>
          <a:prstGeom prst="rect">
            <a:avLst/>
          </a:prstGeom>
          <a:solidFill>
            <a:schemeClr val="accent1"/>
          </a:solidFill>
          <a:ln w="18034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F8B7FB30-D8F5-4590-B789-A9EF3CA4CF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74666" y="4032499"/>
            <a:ext cx="4772713" cy="75102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8034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BAA7859-4089-4C24-9A07-1326220809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7114" y="4032499"/>
            <a:ext cx="5207625" cy="3560022"/>
          </a:xfrm>
          <a:prstGeom prst="rect">
            <a:avLst/>
          </a:prstGeom>
          <a:solidFill>
            <a:schemeClr val="accent1"/>
          </a:solidFill>
          <a:ln w="18034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8" name="AutoShape 6">
            <a:extLst>
              <a:ext uri="{FF2B5EF4-FFF2-40B4-BE49-F238E27FC236}">
                <a16:creationId xmlns:a16="http://schemas.microsoft.com/office/drawing/2014/main" id="{76D58C23-2ED4-4F9A-85E9-F2C40D4258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2871" y="4032499"/>
            <a:ext cx="11328437" cy="3560022"/>
          </a:xfrm>
          <a:prstGeom prst="homePlate">
            <a:avLst>
              <a:gd name="adj" fmla="val 19726"/>
            </a:avLst>
          </a:prstGeom>
          <a:solidFill>
            <a:schemeClr val="bg1"/>
          </a:solidFill>
          <a:ln w="18034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9" name="AutoShape 7">
            <a:extLst>
              <a:ext uri="{FF2B5EF4-FFF2-40B4-BE49-F238E27FC236}">
                <a16:creationId xmlns:a16="http://schemas.microsoft.com/office/drawing/2014/main" id="{7B42036A-E55D-48C6-B89C-A9ABD00F1F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2871" y="7982742"/>
            <a:ext cx="11328437" cy="3560022"/>
          </a:xfrm>
          <a:prstGeom prst="homePlate">
            <a:avLst>
              <a:gd name="adj" fmla="val 19726"/>
            </a:avLst>
          </a:prstGeom>
          <a:solidFill>
            <a:schemeClr val="bg1"/>
          </a:solidFill>
          <a:ln w="18034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72F1136E-5FD2-4695-8FD0-98027831D2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8146" y="5551362"/>
            <a:ext cx="4896591" cy="519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034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5633"/>
              </a:spcBef>
            </a:pPr>
            <a:r>
              <a:rPr lang="de-DE" altLang="de-DE" sz="6820" b="1" dirty="0">
                <a:solidFill>
                  <a:schemeClr val="bg1"/>
                </a:solidFill>
                <a:latin typeface="Avenir Medium"/>
              </a:rPr>
              <a:t>Text</a:t>
            </a: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8850000B-68E3-49DF-9931-72814F0DE1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8146" y="9501607"/>
            <a:ext cx="4896591" cy="519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034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5633"/>
              </a:spcBef>
            </a:pPr>
            <a:r>
              <a:rPr lang="de-DE" altLang="de-DE" sz="6820" b="1" dirty="0">
                <a:solidFill>
                  <a:schemeClr val="bg1"/>
                </a:solidFill>
                <a:latin typeface="Avenir Medium"/>
              </a:rPr>
              <a:t>Text</a:t>
            </a:r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EF217858-ABA6-4D75-8063-4897A8B449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1978" y="4152568"/>
            <a:ext cx="10022693" cy="519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034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5633"/>
              </a:spcBef>
            </a:pPr>
            <a:r>
              <a:rPr lang="de-DE" altLang="de-DE" sz="6820">
                <a:latin typeface="Avenir Medium"/>
              </a:rPr>
              <a:t>Text</a:t>
            </a:r>
          </a:p>
        </p:txBody>
      </p:sp>
      <p:sp>
        <p:nvSpPr>
          <p:cNvPr id="13" name="Rectangle 11">
            <a:extLst>
              <a:ext uri="{FF2B5EF4-FFF2-40B4-BE49-F238E27FC236}">
                <a16:creationId xmlns:a16="http://schemas.microsoft.com/office/drawing/2014/main" id="{B48B584A-545D-4D46-AC78-8F1BAA0E5C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1978" y="8102814"/>
            <a:ext cx="10022693" cy="519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034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5633"/>
              </a:spcBef>
            </a:pPr>
            <a:r>
              <a:rPr lang="de-DE" altLang="de-DE" sz="6820">
                <a:latin typeface="Avenir Medium"/>
              </a:rPr>
              <a:t>Text</a:t>
            </a:r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D14EABBE-FD8E-41AD-94F3-DB0BAE4ACA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103486" y="7526484"/>
            <a:ext cx="3343901" cy="519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034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5633"/>
              </a:spcBef>
            </a:pPr>
            <a:r>
              <a:rPr lang="de-DE" altLang="de-DE" sz="6820" b="1">
                <a:latin typeface="Avenir Medium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49787809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E1C6DD-A139-498A-A1B0-6C5D07A5D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194BF937-6398-44BF-8D72-079CABFEFE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43923" y="3546995"/>
            <a:ext cx="4929931" cy="843669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EC1ACFE3-E757-4165-B5E9-E6F0CC3331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3665" y="3546995"/>
            <a:ext cx="2756420" cy="1909961"/>
          </a:xfrm>
          <a:prstGeom prst="rect">
            <a:avLst/>
          </a:prstGeom>
          <a:solidFill>
            <a:schemeClr val="accent1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12" name="Rectangle 7">
            <a:extLst>
              <a:ext uri="{FF2B5EF4-FFF2-40B4-BE49-F238E27FC236}">
                <a16:creationId xmlns:a16="http://schemas.microsoft.com/office/drawing/2014/main" id="{19BFB1E7-F92F-412F-9965-AB6F7FB9A9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3806" y="4231425"/>
            <a:ext cx="2536280" cy="536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7030" b="1">
                <a:solidFill>
                  <a:schemeClr val="bg1"/>
                </a:solidFill>
                <a:latin typeface="Avenir Medium"/>
              </a:rPr>
              <a:t>Text</a:t>
            </a:r>
          </a:p>
        </p:txBody>
      </p:sp>
      <p:sp>
        <p:nvSpPr>
          <p:cNvPr id="9" name="AutoShape 9">
            <a:extLst>
              <a:ext uri="{FF2B5EF4-FFF2-40B4-BE49-F238E27FC236}">
                <a16:creationId xmlns:a16="http://schemas.microsoft.com/office/drawing/2014/main" id="{E84B0635-B758-4493-9389-FAB750CBFC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5729" y="3546995"/>
            <a:ext cx="11701611" cy="1909961"/>
          </a:xfrm>
          <a:prstGeom prst="homePlate">
            <a:avLst>
              <a:gd name="adj" fmla="val 19726"/>
            </a:avLst>
          </a:prstGeom>
          <a:solidFill>
            <a:schemeClr val="bg1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505B88A6-AE4F-4DBA-A71F-23D1EB2D03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1066" y="3611412"/>
            <a:ext cx="10352857" cy="536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7030">
                <a:latin typeface="Avenir Medium"/>
              </a:rPr>
              <a:t>Text</a:t>
            </a: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9E776591-464C-4E2D-973B-D11440291D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3665" y="5720508"/>
            <a:ext cx="2756420" cy="1909961"/>
          </a:xfrm>
          <a:prstGeom prst="rect">
            <a:avLst/>
          </a:prstGeom>
          <a:solidFill>
            <a:schemeClr val="accent1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0D38FA3B-77AF-4FD7-9450-60DB89819A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3806" y="6406545"/>
            <a:ext cx="2536280" cy="536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7030" b="1">
                <a:solidFill>
                  <a:schemeClr val="bg1"/>
                </a:solidFill>
                <a:latin typeface="Avenir Medium"/>
              </a:rPr>
              <a:t>Text</a:t>
            </a:r>
          </a:p>
        </p:txBody>
      </p:sp>
      <p:sp>
        <p:nvSpPr>
          <p:cNvPr id="16" name="AutoShape 16">
            <a:extLst>
              <a:ext uri="{FF2B5EF4-FFF2-40B4-BE49-F238E27FC236}">
                <a16:creationId xmlns:a16="http://schemas.microsoft.com/office/drawing/2014/main" id="{AD360F0D-2D46-4093-AC65-29A7DDE903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5729" y="5720508"/>
            <a:ext cx="11701611" cy="1909961"/>
          </a:xfrm>
          <a:prstGeom prst="homePlate">
            <a:avLst>
              <a:gd name="adj" fmla="val 19726"/>
            </a:avLst>
          </a:prstGeom>
          <a:solidFill>
            <a:schemeClr val="bg1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17" name="Rectangle 17">
            <a:extLst>
              <a:ext uri="{FF2B5EF4-FFF2-40B4-BE49-F238E27FC236}">
                <a16:creationId xmlns:a16="http://schemas.microsoft.com/office/drawing/2014/main" id="{72F841F9-6EC0-437C-AD98-8016D5F17E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1066" y="5786534"/>
            <a:ext cx="10352857" cy="536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7030">
                <a:latin typeface="Avenir Medium"/>
              </a:rPr>
              <a:t>Text</a:t>
            </a:r>
          </a:p>
        </p:txBody>
      </p:sp>
      <p:sp>
        <p:nvSpPr>
          <p:cNvPr id="20" name="Rectangle 18">
            <a:extLst>
              <a:ext uri="{FF2B5EF4-FFF2-40B4-BE49-F238E27FC236}">
                <a16:creationId xmlns:a16="http://schemas.microsoft.com/office/drawing/2014/main" id="{9A420A05-D9FF-4B2B-A5B4-9218D00BB2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19802" y="7497143"/>
            <a:ext cx="3454052" cy="53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7030" b="1" dirty="0">
                <a:solidFill>
                  <a:schemeClr val="tx2"/>
                </a:solidFill>
                <a:latin typeface="Avenir Medium"/>
              </a:rPr>
              <a:t>Text</a:t>
            </a:r>
          </a:p>
        </p:txBody>
      </p:sp>
      <p:sp>
        <p:nvSpPr>
          <p:cNvPr id="26" name="Rectangle 21">
            <a:extLst>
              <a:ext uri="{FF2B5EF4-FFF2-40B4-BE49-F238E27FC236}">
                <a16:creationId xmlns:a16="http://schemas.microsoft.com/office/drawing/2014/main" id="{B561B2AD-5F5F-48AB-ADA0-115B0C3F86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3665" y="7897119"/>
            <a:ext cx="2756420" cy="19099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27" name="Rectangle 22">
            <a:extLst>
              <a:ext uri="{FF2B5EF4-FFF2-40B4-BE49-F238E27FC236}">
                <a16:creationId xmlns:a16="http://schemas.microsoft.com/office/drawing/2014/main" id="{16C86ECD-CC56-4305-8DC0-CD29D6046D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3806" y="8581549"/>
            <a:ext cx="2536280" cy="536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7030" b="1">
                <a:solidFill>
                  <a:schemeClr val="bg1"/>
                </a:solidFill>
                <a:latin typeface="Avenir Medium"/>
              </a:rPr>
              <a:t>Text</a:t>
            </a:r>
          </a:p>
        </p:txBody>
      </p:sp>
      <p:sp>
        <p:nvSpPr>
          <p:cNvPr id="24" name="AutoShape 24">
            <a:extLst>
              <a:ext uri="{FF2B5EF4-FFF2-40B4-BE49-F238E27FC236}">
                <a16:creationId xmlns:a16="http://schemas.microsoft.com/office/drawing/2014/main" id="{4C2C205A-D68C-4AD2-8EA6-C62C6F4255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5729" y="7897119"/>
            <a:ext cx="11701611" cy="1909961"/>
          </a:xfrm>
          <a:prstGeom prst="homePlate">
            <a:avLst>
              <a:gd name="adj" fmla="val 19726"/>
            </a:avLst>
          </a:prstGeom>
          <a:solidFill>
            <a:schemeClr val="bg1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25" name="Rectangle 25">
            <a:extLst>
              <a:ext uri="{FF2B5EF4-FFF2-40B4-BE49-F238E27FC236}">
                <a16:creationId xmlns:a16="http://schemas.microsoft.com/office/drawing/2014/main" id="{188B5F88-DED1-4A08-86D5-23C178D201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1066" y="7961534"/>
            <a:ext cx="10352857" cy="536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7030">
                <a:latin typeface="Avenir Medium"/>
              </a:rPr>
              <a:t>Text</a:t>
            </a:r>
          </a:p>
        </p:txBody>
      </p:sp>
      <p:sp>
        <p:nvSpPr>
          <p:cNvPr id="33" name="Rectangle 28">
            <a:extLst>
              <a:ext uri="{FF2B5EF4-FFF2-40B4-BE49-F238E27FC236}">
                <a16:creationId xmlns:a16="http://schemas.microsoft.com/office/drawing/2014/main" id="{E32751B7-BCA9-49D9-B096-55F40BB3EA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3665" y="10073730"/>
            <a:ext cx="2756420" cy="19099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34" name="Rectangle 29">
            <a:extLst>
              <a:ext uri="{FF2B5EF4-FFF2-40B4-BE49-F238E27FC236}">
                <a16:creationId xmlns:a16="http://schemas.microsoft.com/office/drawing/2014/main" id="{F7396521-3BDC-40BB-B0A5-7EA12B9C62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3806" y="10759769"/>
            <a:ext cx="2536280" cy="536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7030" b="1">
                <a:solidFill>
                  <a:schemeClr val="bg1"/>
                </a:solidFill>
                <a:latin typeface="Avenir Medium"/>
              </a:rPr>
              <a:t>Text</a:t>
            </a:r>
          </a:p>
        </p:txBody>
      </p:sp>
      <p:sp>
        <p:nvSpPr>
          <p:cNvPr id="31" name="AutoShape 31">
            <a:extLst>
              <a:ext uri="{FF2B5EF4-FFF2-40B4-BE49-F238E27FC236}">
                <a16:creationId xmlns:a16="http://schemas.microsoft.com/office/drawing/2014/main" id="{D668DAE2-26D8-424A-BC2D-5E2F674B1D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5729" y="10073730"/>
            <a:ext cx="11701611" cy="1909961"/>
          </a:xfrm>
          <a:prstGeom prst="homePlate">
            <a:avLst>
              <a:gd name="adj" fmla="val 19726"/>
            </a:avLst>
          </a:prstGeom>
          <a:solidFill>
            <a:schemeClr val="bg1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32" name="Rectangle 32">
            <a:extLst>
              <a:ext uri="{FF2B5EF4-FFF2-40B4-BE49-F238E27FC236}">
                <a16:creationId xmlns:a16="http://schemas.microsoft.com/office/drawing/2014/main" id="{8483D8C4-D942-4CE2-A22C-DFA8636E8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1066" y="10139756"/>
            <a:ext cx="10352857" cy="536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7030">
                <a:latin typeface="Avenir Medium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9791279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Ablauf</a:t>
            </a:r>
          </a:p>
        </p:txBody>
      </p:sp>
      <p:sp>
        <p:nvSpPr>
          <p:cNvPr id="22" name="AutoShape 4">
            <a:extLst>
              <a:ext uri="{FF2B5EF4-FFF2-40B4-BE49-F238E27FC236}">
                <a16:creationId xmlns:a16="http://schemas.microsoft.com/office/drawing/2014/main" id="{E6E197CF-D38C-4EE6-BDA1-E149282798C6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98903" y="4465206"/>
            <a:ext cx="3230811" cy="1950269"/>
          </a:xfrm>
          <a:prstGeom prst="homePlate">
            <a:avLst>
              <a:gd name="adj" fmla="val 15661"/>
            </a:avLst>
          </a:prstGeom>
          <a:solidFill>
            <a:schemeClr val="bg2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23" name="AutoShape 5">
            <a:extLst>
              <a:ext uri="{FF2B5EF4-FFF2-40B4-BE49-F238E27FC236}">
                <a16:creationId xmlns:a16="http://schemas.microsoft.com/office/drawing/2014/main" id="{76319C8B-C30F-43C7-989A-2FBA03B40D1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410352" y="4465206"/>
            <a:ext cx="3224610" cy="1950269"/>
          </a:xfrm>
          <a:prstGeom prst="chevron">
            <a:avLst>
              <a:gd name="adj" fmla="val 16151"/>
            </a:avLst>
          </a:prstGeom>
          <a:solidFill>
            <a:schemeClr val="bg2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24" name="AutoShape 6">
            <a:extLst>
              <a:ext uri="{FF2B5EF4-FFF2-40B4-BE49-F238E27FC236}">
                <a16:creationId xmlns:a16="http://schemas.microsoft.com/office/drawing/2014/main" id="{463AB81A-EEC2-4E90-8AA9-530E5FC60265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312500" y="4465206"/>
            <a:ext cx="3224610" cy="1950269"/>
          </a:xfrm>
          <a:prstGeom prst="chevron">
            <a:avLst>
              <a:gd name="adj" fmla="val 16151"/>
            </a:avLst>
          </a:prstGeom>
          <a:solidFill>
            <a:schemeClr val="bg2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25" name="AutoShape 7">
            <a:extLst>
              <a:ext uri="{FF2B5EF4-FFF2-40B4-BE49-F238E27FC236}">
                <a16:creationId xmlns:a16="http://schemas.microsoft.com/office/drawing/2014/main" id="{050006B6-BB58-4599-96F8-217C98DBBC8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8341407" y="4465206"/>
            <a:ext cx="3224610" cy="1950269"/>
          </a:xfrm>
          <a:prstGeom prst="chevron">
            <a:avLst>
              <a:gd name="adj" fmla="val 16151"/>
            </a:avLst>
          </a:prstGeom>
          <a:solidFill>
            <a:schemeClr val="bg2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26" name="AutoShape 8">
            <a:extLst>
              <a:ext uri="{FF2B5EF4-FFF2-40B4-BE49-F238E27FC236}">
                <a16:creationId xmlns:a16="http://schemas.microsoft.com/office/drawing/2014/main" id="{68B1F3AE-8D8B-4F65-AB0A-33CB28669ED9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5436159" y="4465206"/>
            <a:ext cx="3224610" cy="1950269"/>
          </a:xfrm>
          <a:prstGeom prst="chevron">
            <a:avLst>
              <a:gd name="adj" fmla="val 16151"/>
            </a:avLst>
          </a:prstGeom>
          <a:solidFill>
            <a:schemeClr val="bg2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27" name="AutoShape 9">
            <a:extLst>
              <a:ext uri="{FF2B5EF4-FFF2-40B4-BE49-F238E27FC236}">
                <a16:creationId xmlns:a16="http://schemas.microsoft.com/office/drawing/2014/main" id="{CA2E2A9D-A945-4E75-9186-ACC35BB86E69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375879" y="4465206"/>
            <a:ext cx="3227711" cy="1950269"/>
          </a:xfrm>
          <a:prstGeom prst="chevron">
            <a:avLst>
              <a:gd name="adj" fmla="val 16167"/>
            </a:avLst>
          </a:prstGeom>
          <a:solidFill>
            <a:schemeClr val="bg2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28" name="Rectangle 10">
            <a:extLst>
              <a:ext uri="{FF2B5EF4-FFF2-40B4-BE49-F238E27FC236}">
                <a16:creationId xmlns:a16="http://schemas.microsoft.com/office/drawing/2014/main" id="{9D4C47B5-3F46-49CB-880F-43EA77F1AA0A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878174" y="4756661"/>
            <a:ext cx="2682008" cy="14324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3120" b="1" dirty="0" err="1">
                <a:latin typeface="Avenir Medium"/>
              </a:rPr>
              <a:t>Implemen</a:t>
            </a:r>
            <a:r>
              <a:rPr lang="de-DE" altLang="de-DE" sz="3120" b="1" dirty="0">
                <a:latin typeface="Avenir Medium"/>
              </a:rPr>
              <a:t>-</a:t>
            </a:r>
            <a:br>
              <a:rPr lang="de-DE" altLang="de-DE" sz="3120" b="1" dirty="0">
                <a:latin typeface="Avenir Medium"/>
              </a:rPr>
            </a:br>
            <a:r>
              <a:rPr lang="de-DE" altLang="de-DE" sz="3120" b="1" dirty="0" err="1">
                <a:latin typeface="Avenir Medium"/>
              </a:rPr>
              <a:t>tierungs</a:t>
            </a:r>
            <a:r>
              <a:rPr lang="de-DE" altLang="de-DE" sz="3120" b="1" dirty="0">
                <a:latin typeface="Avenir Medium"/>
              </a:rPr>
              <a:t>-</a:t>
            </a:r>
            <a:br>
              <a:rPr lang="de-DE" altLang="de-DE" sz="3120" b="1" dirty="0">
                <a:latin typeface="Avenir Medium"/>
              </a:rPr>
            </a:br>
            <a:r>
              <a:rPr lang="de-DE" altLang="de-DE" sz="3120" b="1" dirty="0" err="1">
                <a:latin typeface="Avenir Medium"/>
              </a:rPr>
              <a:t>phase</a:t>
            </a:r>
            <a:endParaRPr lang="de-DE" altLang="de-DE" sz="3120" b="1" dirty="0">
              <a:latin typeface="Avenir Medium"/>
            </a:endParaRPr>
          </a:p>
        </p:txBody>
      </p:sp>
      <p:sp>
        <p:nvSpPr>
          <p:cNvPr id="29" name="Rectangle 11">
            <a:extLst>
              <a:ext uri="{FF2B5EF4-FFF2-40B4-BE49-F238E27FC236}">
                <a16:creationId xmlns:a16="http://schemas.microsoft.com/office/drawing/2014/main" id="{2BCD9E8E-2527-4F04-AA66-B5952B99594E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2422390" y="6722432"/>
            <a:ext cx="2657201" cy="4526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68970" lvl="1" indent="-365869">
              <a:lnSpc>
                <a:spcPct val="95000"/>
              </a:lnSpc>
              <a:spcBef>
                <a:spcPct val="39063"/>
              </a:spcBef>
            </a:pPr>
            <a:r>
              <a:rPr lang="de-DE" altLang="de-DE" sz="3120">
                <a:latin typeface="Avenir Medium"/>
              </a:rPr>
              <a:t>Text</a:t>
            </a:r>
          </a:p>
        </p:txBody>
      </p:sp>
      <p:sp>
        <p:nvSpPr>
          <p:cNvPr id="30" name="Rectangle 12">
            <a:extLst>
              <a:ext uri="{FF2B5EF4-FFF2-40B4-BE49-F238E27FC236}">
                <a16:creationId xmlns:a16="http://schemas.microsoft.com/office/drawing/2014/main" id="{534B1868-4E33-4F2D-A893-99D3C34F4FAE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472364" y="6722432"/>
            <a:ext cx="2771924" cy="4526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68970" lvl="1" indent="-365869">
              <a:lnSpc>
                <a:spcPct val="95000"/>
              </a:lnSpc>
              <a:spcBef>
                <a:spcPct val="39063"/>
              </a:spcBef>
            </a:pPr>
            <a:r>
              <a:rPr lang="de-DE" altLang="de-DE" sz="3120">
                <a:latin typeface="Avenir Medium"/>
              </a:rPr>
              <a:t>Text</a:t>
            </a:r>
          </a:p>
        </p:txBody>
      </p:sp>
      <p:sp>
        <p:nvSpPr>
          <p:cNvPr id="31" name="Rectangle 13">
            <a:extLst>
              <a:ext uri="{FF2B5EF4-FFF2-40B4-BE49-F238E27FC236}">
                <a16:creationId xmlns:a16="http://schemas.microsoft.com/office/drawing/2014/main" id="{37768B99-9D92-44B0-88C1-D6B78520C24D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780690" y="4995407"/>
            <a:ext cx="2691310" cy="954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3120" b="1">
                <a:latin typeface="Avenir Medium"/>
              </a:rPr>
              <a:t>Mobilisie-rungsphase </a:t>
            </a:r>
          </a:p>
        </p:txBody>
      </p:sp>
      <p:sp>
        <p:nvSpPr>
          <p:cNvPr id="32" name="Rectangle 14">
            <a:extLst>
              <a:ext uri="{FF2B5EF4-FFF2-40B4-BE49-F238E27FC236}">
                <a16:creationId xmlns:a16="http://schemas.microsoft.com/office/drawing/2014/main" id="{F54A55EC-0F3F-48A4-A812-6ACE1D176F23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9396217" y="6722432"/>
            <a:ext cx="2908350" cy="4526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68970" lvl="1" indent="-365869">
              <a:lnSpc>
                <a:spcPct val="95000"/>
              </a:lnSpc>
              <a:spcBef>
                <a:spcPct val="39063"/>
              </a:spcBef>
            </a:pPr>
            <a:r>
              <a:rPr lang="de-DE" altLang="de-DE" sz="3120">
                <a:latin typeface="Avenir Medium"/>
              </a:rPr>
              <a:t>Text</a:t>
            </a:r>
          </a:p>
        </p:txBody>
      </p:sp>
      <p:sp>
        <p:nvSpPr>
          <p:cNvPr id="33" name="Rectangle 15">
            <a:extLst>
              <a:ext uri="{FF2B5EF4-FFF2-40B4-BE49-F238E27FC236}">
                <a16:creationId xmlns:a16="http://schemas.microsoft.com/office/drawing/2014/main" id="{F9543B59-B8CE-41BE-8C5E-8F6E5E7DA9F5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5904346" y="4995407"/>
            <a:ext cx="2685107" cy="954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3120" b="1">
                <a:latin typeface="Avenir Medium"/>
              </a:rPr>
              <a:t>Konsolidie-rungsphase</a:t>
            </a:r>
          </a:p>
        </p:txBody>
      </p:sp>
      <p:sp>
        <p:nvSpPr>
          <p:cNvPr id="34" name="Rectangle 16">
            <a:extLst>
              <a:ext uri="{FF2B5EF4-FFF2-40B4-BE49-F238E27FC236}">
                <a16:creationId xmlns:a16="http://schemas.microsoft.com/office/drawing/2014/main" id="{8C08705F-648F-46B8-902A-AC7A4B68A783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8831299" y="4995407"/>
            <a:ext cx="2688210" cy="954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3120" b="1" dirty="0">
                <a:latin typeface="Avenir Medium"/>
              </a:rPr>
              <a:t>Ausbau-</a:t>
            </a:r>
            <a:br>
              <a:rPr lang="de-DE" altLang="de-DE" sz="3120" b="1" dirty="0">
                <a:latin typeface="Avenir Medium"/>
              </a:rPr>
            </a:br>
            <a:r>
              <a:rPr lang="de-DE" altLang="de-DE" sz="3120" b="1" dirty="0" err="1">
                <a:latin typeface="Avenir Medium"/>
              </a:rPr>
              <a:t>phase</a:t>
            </a:r>
            <a:endParaRPr lang="de-DE" altLang="de-DE" sz="3120" b="1" dirty="0">
              <a:latin typeface="Avenir Medium"/>
            </a:endParaRPr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5D7537E6-6CEB-4F4C-AA84-4CD589BF6C66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799659" y="5234151"/>
            <a:ext cx="2768824" cy="477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3120" b="1">
                <a:latin typeface="Avenir Medium"/>
              </a:rPr>
              <a:t>Initiierung</a:t>
            </a:r>
          </a:p>
        </p:txBody>
      </p:sp>
      <p:sp>
        <p:nvSpPr>
          <p:cNvPr id="36" name="Rectangle 18">
            <a:extLst>
              <a:ext uri="{FF2B5EF4-FFF2-40B4-BE49-F238E27FC236}">
                <a16:creationId xmlns:a16="http://schemas.microsoft.com/office/drawing/2014/main" id="{DF1F25D9-B791-4170-B1EA-2110AAB5DB27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604325" y="6703828"/>
            <a:ext cx="2806030" cy="4526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68970" lvl="1" indent="-365869">
              <a:lnSpc>
                <a:spcPct val="95000"/>
              </a:lnSpc>
              <a:spcBef>
                <a:spcPct val="39063"/>
              </a:spcBef>
            </a:pPr>
            <a:r>
              <a:rPr lang="de-DE" altLang="de-DE" sz="3120">
                <a:latin typeface="Avenir Medium"/>
              </a:rPr>
              <a:t>Text</a:t>
            </a:r>
          </a:p>
        </p:txBody>
      </p:sp>
      <p:sp>
        <p:nvSpPr>
          <p:cNvPr id="37" name="Text Box 19">
            <a:extLst>
              <a:ext uri="{FF2B5EF4-FFF2-40B4-BE49-F238E27FC236}">
                <a16:creationId xmlns:a16="http://schemas.microsoft.com/office/drawing/2014/main" id="{6C6A5C6E-9AC0-4B29-B5A3-A3155CFFCA46}"/>
              </a:ext>
            </a:extLst>
          </p:cNvPr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819630" y="4995407"/>
            <a:ext cx="2511475" cy="954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3120" b="1">
                <a:latin typeface="Avenir Medium"/>
              </a:rPr>
              <a:t>Konzeptions-</a:t>
            </a:r>
            <a:br>
              <a:rPr lang="de-DE" altLang="de-DE" sz="3120" b="1">
                <a:latin typeface="Avenir Medium"/>
              </a:rPr>
            </a:br>
            <a:r>
              <a:rPr lang="de-DE" altLang="de-DE" sz="3120" b="1">
                <a:latin typeface="Avenir Medium"/>
              </a:rPr>
              <a:t>phase</a:t>
            </a:r>
          </a:p>
        </p:txBody>
      </p:sp>
      <p:sp>
        <p:nvSpPr>
          <p:cNvPr id="38" name="Freeform 20">
            <a:extLst>
              <a:ext uri="{FF2B5EF4-FFF2-40B4-BE49-F238E27FC236}">
                <a16:creationId xmlns:a16="http://schemas.microsoft.com/office/drawing/2014/main" id="{2A5A3104-329B-44A1-B66F-E7D9F79D77EC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3495802" y="3832686"/>
            <a:ext cx="8728150" cy="638720"/>
          </a:xfrm>
          <a:custGeom>
            <a:avLst/>
            <a:gdLst>
              <a:gd name="T0" fmla="*/ 2664 w 2664"/>
              <a:gd name="T1" fmla="*/ 210 h 210"/>
              <a:gd name="T2" fmla="*/ 0 w 2664"/>
              <a:gd name="T3" fmla="*/ 210 h 210"/>
              <a:gd name="T4" fmla="*/ 0 w 2664"/>
              <a:gd name="T5" fmla="*/ 0 h 210"/>
              <a:gd name="T6" fmla="*/ 2595 w 2664"/>
              <a:gd name="T7" fmla="*/ 0 h 210"/>
              <a:gd name="T8" fmla="*/ 2664 w 2664"/>
              <a:gd name="T9" fmla="*/ 210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64" h="210">
                <a:moveTo>
                  <a:pt x="2664" y="210"/>
                </a:moveTo>
                <a:lnTo>
                  <a:pt x="0" y="210"/>
                </a:lnTo>
                <a:lnTo>
                  <a:pt x="0" y="0"/>
                </a:lnTo>
                <a:lnTo>
                  <a:pt x="2595" y="0"/>
                </a:lnTo>
                <a:lnTo>
                  <a:pt x="2664" y="210"/>
                </a:lnTo>
                <a:close/>
              </a:path>
            </a:pathLst>
          </a:custGeom>
          <a:solidFill>
            <a:schemeClr val="accent1"/>
          </a:solidFill>
          <a:ln w="18542" cap="flat" cmpd="sng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72000" tIns="72000" rIns="72000" bIns="72000" anchor="ctr">
            <a:noAutofit/>
          </a:bodyPr>
          <a:lstStyle/>
          <a:p>
            <a:endParaRPr lang="de-DE" i="1">
              <a:latin typeface="Avenir Medium"/>
            </a:endParaRPr>
          </a:p>
        </p:txBody>
      </p:sp>
      <p:sp>
        <p:nvSpPr>
          <p:cNvPr id="39" name="Text Box 21">
            <a:extLst>
              <a:ext uri="{FF2B5EF4-FFF2-40B4-BE49-F238E27FC236}">
                <a16:creationId xmlns:a16="http://schemas.microsoft.com/office/drawing/2014/main" id="{1EF568DC-CAB6-4A5B-8A6A-D225C2C929D7}"/>
              </a:ext>
            </a:extLst>
          </p:cNvPr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568483" y="3919502"/>
            <a:ext cx="2182813" cy="4526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5000"/>
              </a:lnSpc>
              <a:spcBef>
                <a:spcPct val="39063"/>
              </a:spcBef>
            </a:pPr>
            <a:r>
              <a:rPr lang="de-DE" altLang="de-DE" sz="3120" b="1" i="1" dirty="0">
                <a:solidFill>
                  <a:schemeClr val="bg1"/>
                </a:solidFill>
                <a:latin typeface="Avenir Medium"/>
              </a:rPr>
              <a:t>Aktivierung</a:t>
            </a:r>
          </a:p>
        </p:txBody>
      </p:sp>
      <p:sp>
        <p:nvSpPr>
          <p:cNvPr id="40" name="AutoShape 22">
            <a:extLst>
              <a:ext uri="{FF2B5EF4-FFF2-40B4-BE49-F238E27FC236}">
                <a16:creationId xmlns:a16="http://schemas.microsoft.com/office/drawing/2014/main" id="{936FAA4E-3E56-4054-A88F-E48613938AD8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 flipV="1">
            <a:off x="12152638" y="3841988"/>
            <a:ext cx="3134694" cy="626319"/>
          </a:xfrm>
          <a:prstGeom prst="parallelogram">
            <a:avLst>
              <a:gd name="adj" fmla="val 35637"/>
            </a:avLst>
          </a:prstGeom>
          <a:solidFill>
            <a:schemeClr val="accent2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41" name="Text Box 23">
            <a:extLst>
              <a:ext uri="{FF2B5EF4-FFF2-40B4-BE49-F238E27FC236}">
                <a16:creationId xmlns:a16="http://schemas.microsoft.com/office/drawing/2014/main" id="{B4E7408B-F917-4FFC-B212-FA1E9604C746}"/>
              </a:ext>
            </a:extLst>
          </p:cNvPr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2467770" y="3919502"/>
            <a:ext cx="2157168" cy="4568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5000"/>
              </a:lnSpc>
              <a:spcBef>
                <a:spcPct val="39063"/>
              </a:spcBef>
            </a:pPr>
            <a:r>
              <a:rPr lang="de-DE" altLang="de-DE" sz="3120" b="1" i="1" dirty="0">
                <a:solidFill>
                  <a:schemeClr val="bg1"/>
                </a:solidFill>
                <a:latin typeface="Avenir Medium"/>
              </a:rPr>
              <a:t>Umsetzung</a:t>
            </a:r>
          </a:p>
        </p:txBody>
      </p:sp>
      <p:sp>
        <p:nvSpPr>
          <p:cNvPr id="42" name="AutoShape 24">
            <a:extLst>
              <a:ext uri="{FF2B5EF4-FFF2-40B4-BE49-F238E27FC236}">
                <a16:creationId xmlns:a16="http://schemas.microsoft.com/office/drawing/2014/main" id="{4E968A7B-C5A4-4B0F-9EBB-B11CE5CA5495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 flipV="1">
            <a:off x="15216016" y="3841988"/>
            <a:ext cx="6033741" cy="626319"/>
          </a:xfrm>
          <a:prstGeom prst="parallelogram">
            <a:avLst>
              <a:gd name="adj" fmla="val 35992"/>
            </a:avLst>
          </a:prstGeom>
          <a:solidFill>
            <a:schemeClr val="accent3">
              <a:lumMod val="50000"/>
            </a:schemeClr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>
            <a:no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43" name="Text Box 25">
            <a:extLst>
              <a:ext uri="{FF2B5EF4-FFF2-40B4-BE49-F238E27FC236}">
                <a16:creationId xmlns:a16="http://schemas.microsoft.com/office/drawing/2014/main" id="{3CE9FE99-07FA-4F44-A4AE-E39F3776B306}"/>
              </a:ext>
            </a:extLst>
          </p:cNvPr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6859327" y="3919502"/>
            <a:ext cx="2626196" cy="4526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5000"/>
              </a:lnSpc>
              <a:spcBef>
                <a:spcPct val="39063"/>
              </a:spcBef>
            </a:pPr>
            <a:r>
              <a:rPr lang="de-DE" altLang="de-DE" sz="3120" b="1" i="1">
                <a:solidFill>
                  <a:schemeClr val="bg1"/>
                </a:solidFill>
                <a:latin typeface="Avenir Medium"/>
              </a:rPr>
              <a:t>Stabilisierung</a:t>
            </a:r>
          </a:p>
        </p:txBody>
      </p:sp>
      <p:sp>
        <p:nvSpPr>
          <p:cNvPr id="44" name="Rectangle 26">
            <a:extLst>
              <a:ext uri="{FF2B5EF4-FFF2-40B4-BE49-F238E27FC236}">
                <a16:creationId xmlns:a16="http://schemas.microsoft.com/office/drawing/2014/main" id="{220B9FD1-DBE7-47A0-B1A5-423ECD39A907}"/>
              </a:ext>
            </a:extLst>
          </p:cNvPr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5498171" y="6722432"/>
            <a:ext cx="2660303" cy="4526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68970" lvl="1" indent="-365869">
              <a:lnSpc>
                <a:spcPct val="95000"/>
              </a:lnSpc>
              <a:spcBef>
                <a:spcPct val="39063"/>
              </a:spcBef>
            </a:pPr>
            <a:r>
              <a:rPr lang="de-DE" altLang="de-DE" sz="3120">
                <a:latin typeface="Avenir Medium"/>
              </a:rPr>
              <a:t>Text</a:t>
            </a:r>
          </a:p>
        </p:txBody>
      </p:sp>
      <p:sp>
        <p:nvSpPr>
          <p:cNvPr id="45" name="Rectangle 27">
            <a:extLst>
              <a:ext uri="{FF2B5EF4-FFF2-40B4-BE49-F238E27FC236}">
                <a16:creationId xmlns:a16="http://schemas.microsoft.com/office/drawing/2014/main" id="{BEFEF9FE-8EFE-4387-9C72-6FE887B6BE80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8490235" y="6722432"/>
            <a:ext cx="2660303" cy="4526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68970" lvl="1" indent="-365869">
              <a:lnSpc>
                <a:spcPct val="95000"/>
              </a:lnSpc>
              <a:spcBef>
                <a:spcPct val="39063"/>
              </a:spcBef>
            </a:pPr>
            <a:r>
              <a:rPr lang="de-DE" altLang="de-DE" sz="3120">
                <a:latin typeface="Avenir Medium"/>
              </a:rPr>
              <a:t>Text</a:t>
            </a:r>
          </a:p>
        </p:txBody>
      </p:sp>
      <p:sp>
        <p:nvSpPr>
          <p:cNvPr id="46" name="Freeform 4">
            <a:extLst>
              <a:ext uri="{FF2B5EF4-FFF2-40B4-BE49-F238E27FC236}">
                <a16:creationId xmlns:a16="http://schemas.microsoft.com/office/drawing/2014/main" id="{BE741079-22A0-496E-A3C8-A71C079ED0D5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18209539" y="7910429"/>
            <a:ext cx="3810619" cy="2009180"/>
          </a:xfrm>
          <a:custGeom>
            <a:avLst/>
            <a:gdLst>
              <a:gd name="T0" fmla="*/ 3 w 1208"/>
              <a:gd name="T1" fmla="*/ 0 h 648"/>
              <a:gd name="T2" fmla="*/ 1208 w 1208"/>
              <a:gd name="T3" fmla="*/ 0 h 648"/>
              <a:gd name="T4" fmla="*/ 1208 w 1208"/>
              <a:gd name="T5" fmla="*/ 648 h 648"/>
              <a:gd name="T6" fmla="*/ 0 w 1208"/>
              <a:gd name="T7" fmla="*/ 648 h 648"/>
              <a:gd name="T8" fmla="*/ 126 w 1208"/>
              <a:gd name="T9" fmla="*/ 321 h 648"/>
              <a:gd name="T10" fmla="*/ 3 w 1208"/>
              <a:gd name="T11" fmla="*/ 0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08" h="648">
                <a:moveTo>
                  <a:pt x="3" y="0"/>
                </a:moveTo>
                <a:lnTo>
                  <a:pt x="1208" y="0"/>
                </a:lnTo>
                <a:lnTo>
                  <a:pt x="1208" y="648"/>
                </a:lnTo>
                <a:lnTo>
                  <a:pt x="0" y="648"/>
                </a:lnTo>
                <a:lnTo>
                  <a:pt x="126" y="321"/>
                </a:lnTo>
                <a:lnTo>
                  <a:pt x="3" y="0"/>
                </a:lnTo>
                <a:close/>
              </a:path>
            </a:pathLst>
          </a:custGeom>
          <a:solidFill>
            <a:schemeClr val="bg2"/>
          </a:solidFill>
          <a:ln w="18542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tIns="72000" rIns="72000" bIns="72000" anchor="ctr">
            <a:noAutofit/>
          </a:bodyPr>
          <a:lstStyle/>
          <a:p>
            <a:pPr algn="ctr">
              <a:spcBef>
                <a:spcPct val="78125"/>
              </a:spcBef>
            </a:pPr>
            <a:r>
              <a:rPr lang="de-DE" altLang="de-DE" b="1"/>
              <a:t>Text</a:t>
            </a:r>
            <a:endParaRPr lang="de-DE" altLang="de-DE" b="1" dirty="0"/>
          </a:p>
        </p:txBody>
      </p:sp>
      <p:sp>
        <p:nvSpPr>
          <p:cNvPr id="48" name="AutoShape 6">
            <a:extLst>
              <a:ext uri="{FF2B5EF4-FFF2-40B4-BE49-F238E27FC236}">
                <a16:creationId xmlns:a16="http://schemas.microsoft.com/office/drawing/2014/main" id="{F712D073-1E3E-4DC9-8C12-0FACC2B0EE91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0898357" y="7913533"/>
            <a:ext cx="3968750" cy="2006079"/>
          </a:xfrm>
          <a:prstGeom prst="chevron">
            <a:avLst>
              <a:gd name="adj" fmla="val 19326"/>
            </a:avLst>
          </a:prstGeom>
          <a:solidFill>
            <a:schemeClr val="accent1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78125"/>
              </a:spcBef>
            </a:pPr>
            <a:r>
              <a:rPr lang="de-DE" altLang="de-DE" b="1">
                <a:solidFill>
                  <a:schemeClr val="bg1"/>
                </a:solidFill>
              </a:rPr>
              <a:t>Text</a:t>
            </a:r>
            <a:endParaRPr lang="de-DE" altLang="de-DE" b="1" dirty="0">
              <a:solidFill>
                <a:schemeClr val="bg1"/>
              </a:solidFill>
            </a:endParaRPr>
          </a:p>
        </p:txBody>
      </p:sp>
      <p:sp>
        <p:nvSpPr>
          <p:cNvPr id="50" name="AutoShape 8">
            <a:extLst>
              <a:ext uri="{FF2B5EF4-FFF2-40B4-BE49-F238E27FC236}">
                <a16:creationId xmlns:a16="http://schemas.microsoft.com/office/drawing/2014/main" id="{D99B7098-620A-4FEB-A09C-050D947175E7}"/>
              </a:ext>
            </a:extLst>
          </p:cNvPr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7236563" y="7913533"/>
            <a:ext cx="3965650" cy="2006079"/>
          </a:xfrm>
          <a:prstGeom prst="chevron">
            <a:avLst>
              <a:gd name="adj" fmla="val 19311"/>
            </a:avLst>
          </a:prstGeom>
          <a:solidFill>
            <a:schemeClr val="accent1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78125"/>
              </a:spcBef>
            </a:pPr>
            <a:r>
              <a:rPr lang="de-DE" altLang="de-DE" b="1">
                <a:solidFill>
                  <a:schemeClr val="bg1"/>
                </a:solidFill>
              </a:rPr>
              <a:t>Text</a:t>
            </a:r>
            <a:endParaRPr lang="de-DE" altLang="de-DE" b="1" dirty="0">
              <a:solidFill>
                <a:schemeClr val="bg1"/>
              </a:solidFill>
            </a:endParaRPr>
          </a:p>
        </p:txBody>
      </p:sp>
      <p:sp>
        <p:nvSpPr>
          <p:cNvPr id="52" name="AutoShape 10">
            <a:extLst>
              <a:ext uri="{FF2B5EF4-FFF2-40B4-BE49-F238E27FC236}">
                <a16:creationId xmlns:a16="http://schemas.microsoft.com/office/drawing/2014/main" id="{394C5D9C-9913-44CD-983E-B36674568123}"/>
              </a:ext>
            </a:extLst>
          </p:cNvPr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3568572" y="7913533"/>
            <a:ext cx="3965649" cy="2006079"/>
          </a:xfrm>
          <a:prstGeom prst="homePlate">
            <a:avLst>
              <a:gd name="adj" fmla="val 18688"/>
            </a:avLst>
          </a:prstGeom>
          <a:solidFill>
            <a:schemeClr val="accent1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78125"/>
              </a:spcBef>
            </a:pPr>
            <a:r>
              <a:rPr lang="de-DE" altLang="de-DE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53" name="Rectangle 11">
            <a:extLst>
              <a:ext uri="{FF2B5EF4-FFF2-40B4-BE49-F238E27FC236}">
                <a16:creationId xmlns:a16="http://schemas.microsoft.com/office/drawing/2014/main" id="{D3FBB0EC-8427-4BB1-BD50-B3EF2CD636DC}"/>
              </a:ext>
            </a:extLst>
          </p:cNvPr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3829021" y="8645271"/>
            <a:ext cx="3305225" cy="53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78125"/>
              </a:spcBef>
            </a:pPr>
            <a:endParaRPr lang="de-DE" altLang="de-DE" sz="7030" b="1" dirty="0">
              <a:solidFill>
                <a:schemeClr val="bg1"/>
              </a:solidFill>
              <a:latin typeface="Avenir Medium"/>
            </a:endParaRPr>
          </a:p>
        </p:txBody>
      </p:sp>
      <p:sp>
        <p:nvSpPr>
          <p:cNvPr id="54" name="Rectangle 12">
            <a:extLst>
              <a:ext uri="{FF2B5EF4-FFF2-40B4-BE49-F238E27FC236}">
                <a16:creationId xmlns:a16="http://schemas.microsoft.com/office/drawing/2014/main" id="{C1B864F9-641A-4639-9F1F-A00CDC7EA772}"/>
              </a:ext>
            </a:extLst>
          </p:cNvPr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3549968" y="10285479"/>
            <a:ext cx="3578076" cy="53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68970" lvl="1" indent="-365869">
              <a:spcBef>
                <a:spcPct val="78125"/>
              </a:spcBef>
            </a:pPr>
            <a:r>
              <a:rPr lang="de-DE" altLang="de-DE" sz="7030">
                <a:latin typeface="Avenir Medium"/>
              </a:rPr>
              <a:t>Text</a:t>
            </a:r>
          </a:p>
        </p:txBody>
      </p:sp>
      <p:sp>
        <p:nvSpPr>
          <p:cNvPr id="55" name="Rectangle 13">
            <a:extLst>
              <a:ext uri="{FF2B5EF4-FFF2-40B4-BE49-F238E27FC236}">
                <a16:creationId xmlns:a16="http://schemas.microsoft.com/office/drawing/2014/main" id="{44C88162-31CC-4400-A564-13E70E8757BE}"/>
              </a:ext>
            </a:extLst>
          </p:cNvPr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7205559" y="10285479"/>
            <a:ext cx="3578076" cy="53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68970" lvl="1" indent="-365869">
              <a:spcBef>
                <a:spcPct val="78125"/>
              </a:spcBef>
            </a:pPr>
            <a:r>
              <a:rPr lang="de-DE" altLang="de-DE" sz="7030">
                <a:latin typeface="Avenir Medium"/>
              </a:rPr>
              <a:t>Text</a:t>
            </a:r>
          </a:p>
        </p:txBody>
      </p:sp>
      <p:sp>
        <p:nvSpPr>
          <p:cNvPr id="56" name="Rectangle 14">
            <a:extLst>
              <a:ext uri="{FF2B5EF4-FFF2-40B4-BE49-F238E27FC236}">
                <a16:creationId xmlns:a16="http://schemas.microsoft.com/office/drawing/2014/main" id="{65176235-CF61-42E2-B0BE-EBC556CC63A8}"/>
              </a:ext>
            </a:extLst>
          </p:cNvPr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10823943" y="10285479"/>
            <a:ext cx="3578076" cy="53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68970" lvl="1" indent="-365869">
              <a:spcBef>
                <a:spcPct val="78125"/>
              </a:spcBef>
            </a:pPr>
            <a:r>
              <a:rPr lang="de-DE" altLang="de-DE" sz="7030">
                <a:latin typeface="Avenir Medium"/>
              </a:rPr>
              <a:t>Text</a:t>
            </a:r>
          </a:p>
        </p:txBody>
      </p:sp>
      <p:sp>
        <p:nvSpPr>
          <p:cNvPr id="57" name="Rectangle 15">
            <a:extLst>
              <a:ext uri="{FF2B5EF4-FFF2-40B4-BE49-F238E27FC236}">
                <a16:creationId xmlns:a16="http://schemas.microsoft.com/office/drawing/2014/main" id="{3BF5CAFB-74A9-47CF-B29E-F243716C19F6}"/>
              </a:ext>
            </a:extLst>
          </p:cNvPr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18141326" y="10285479"/>
            <a:ext cx="3578076" cy="53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68970" lvl="1" indent="-365869">
              <a:spcBef>
                <a:spcPct val="78125"/>
              </a:spcBef>
            </a:pPr>
            <a:r>
              <a:rPr lang="de-DE" altLang="de-DE" sz="7030">
                <a:latin typeface="Avenir Medium"/>
              </a:rPr>
              <a:t>Text</a:t>
            </a:r>
          </a:p>
        </p:txBody>
      </p:sp>
      <p:sp>
        <p:nvSpPr>
          <p:cNvPr id="58" name="AutoShape 16">
            <a:extLst>
              <a:ext uri="{FF2B5EF4-FFF2-40B4-BE49-F238E27FC236}">
                <a16:creationId xmlns:a16="http://schemas.microsoft.com/office/drawing/2014/main" id="{8C9FDFA7-79F6-4380-B616-9C6E1513A945}"/>
              </a:ext>
            </a:extLst>
          </p:cNvPr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14553947" y="7913533"/>
            <a:ext cx="3965650" cy="2006079"/>
          </a:xfrm>
          <a:prstGeom prst="chevron">
            <a:avLst>
              <a:gd name="adj" fmla="val 19311"/>
            </a:avLst>
          </a:prstGeom>
          <a:solidFill>
            <a:schemeClr val="accent1"/>
          </a:solidFill>
          <a:ln w="18542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78125"/>
              </a:spcBef>
            </a:pPr>
            <a:r>
              <a:rPr lang="de-DE" altLang="de-DE" b="1">
                <a:solidFill>
                  <a:schemeClr val="bg1"/>
                </a:solidFill>
              </a:rPr>
              <a:t>Text</a:t>
            </a:r>
            <a:endParaRPr lang="de-DE" altLang="de-DE" b="1" dirty="0">
              <a:solidFill>
                <a:schemeClr val="bg1"/>
              </a:solidFill>
            </a:endParaRPr>
          </a:p>
        </p:txBody>
      </p:sp>
      <p:sp>
        <p:nvSpPr>
          <p:cNvPr id="60" name="Rectangle 18">
            <a:extLst>
              <a:ext uri="{FF2B5EF4-FFF2-40B4-BE49-F238E27FC236}">
                <a16:creationId xmlns:a16="http://schemas.microsoft.com/office/drawing/2014/main" id="{2181ED24-F109-46C2-87DB-937AB5DF860D}"/>
              </a:ext>
            </a:extLst>
          </p:cNvPr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14479533" y="10285479"/>
            <a:ext cx="3578076" cy="53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68970" lvl="1" indent="-365869">
              <a:spcBef>
                <a:spcPct val="78125"/>
              </a:spcBef>
            </a:pPr>
            <a:r>
              <a:rPr lang="de-DE" altLang="de-DE" sz="7030">
                <a:latin typeface="Avenir Medium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036499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anagement Summary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552756028"/>
              </p:ext>
            </p:extLst>
          </p:nvPr>
        </p:nvGraphicFramePr>
        <p:xfrm>
          <a:off x="198782" y="1420668"/>
          <a:ext cx="8565307" cy="117915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8090452" y="2897188"/>
            <a:ext cx="13020261" cy="9168916"/>
            <a:chOff x="8569234" y="3232330"/>
            <a:chExt cx="8595360" cy="8778239"/>
          </a:xfrm>
        </p:grpSpPr>
        <p:sp>
          <p:nvSpPr>
            <p:cNvPr id="6" name="Rectangle 5"/>
            <p:cNvSpPr/>
            <p:nvPr/>
          </p:nvSpPr>
          <p:spPr>
            <a:xfrm>
              <a:off x="8569234" y="3232330"/>
              <a:ext cx="8595360" cy="27954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endParaRPr lang="en-US" sz="3000" b="1" dirty="0">
                <a:latin typeface="Avenir Medium"/>
              </a:endParaRPr>
            </a:p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endParaRPr lang="en-US" sz="3000" b="1" dirty="0">
                <a:latin typeface="Avenir Medium"/>
              </a:endParaRPr>
            </a:p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>
                  <a:latin typeface="Avenir Medium"/>
                </a:rPr>
                <a:t>Address </a:t>
              </a:r>
              <a:r>
                <a:rPr lang="en-US" sz="3000" b="1" dirty="0">
                  <a:latin typeface="Avenir Medium"/>
                </a:rPr>
                <a:t>heterogeneous customer groups</a:t>
              </a:r>
            </a:p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/>
                <a:t>Preserve older customers’ </a:t>
              </a:r>
              <a:r>
                <a:rPr lang="en-US" sz="3000" b="1" dirty="0"/>
                <a:t>fortune inside your bank</a:t>
              </a:r>
              <a:endParaRPr lang="en-US" sz="3000" b="1" dirty="0">
                <a:latin typeface="Avenir Medium"/>
              </a:endParaRPr>
            </a:p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>
                  <a:latin typeface="Avenir Medium"/>
                </a:rPr>
                <a:t>Convince younger customer groups to </a:t>
              </a:r>
              <a:r>
                <a:rPr lang="en-US" sz="3000" b="1" dirty="0">
                  <a:latin typeface="Avenir Medium"/>
                </a:rPr>
                <a:t>stay with your bank</a:t>
              </a:r>
              <a:endParaRPr lang="en-US" sz="3000" dirty="0">
                <a:latin typeface="Avenir Medium"/>
              </a:endParaRPr>
            </a:p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endParaRPr lang="en-US" sz="3000" dirty="0">
                <a:latin typeface="Avenir Medium"/>
              </a:endParaRPr>
            </a:p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endParaRPr lang="en-US" sz="3000" b="1" dirty="0">
                <a:latin typeface="Avenir Medium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8569234" y="6223724"/>
              <a:ext cx="8595360" cy="27954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>
                  <a:latin typeface="Avenir Medium"/>
                </a:rPr>
                <a:t>Conduct the Bridge Strategy to simplify your customers’ inheritance</a:t>
              </a:r>
            </a:p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>
                  <a:latin typeface="Avenir Medium"/>
                </a:rPr>
                <a:t>Offer </a:t>
              </a:r>
              <a:r>
                <a:rPr lang="en-US" sz="3000" b="1" dirty="0">
                  <a:latin typeface="Avenir Medium"/>
                </a:rPr>
                <a:t>holistic</a:t>
              </a:r>
              <a:r>
                <a:rPr lang="en-US" sz="3000" dirty="0">
                  <a:latin typeface="Avenir Medium"/>
                </a:rPr>
                <a:t> </a:t>
              </a:r>
              <a:r>
                <a:rPr lang="en-US" sz="3000" b="1" dirty="0">
                  <a:latin typeface="Avenir Medium"/>
                </a:rPr>
                <a:t>inheritance consulting </a:t>
              </a:r>
              <a:r>
                <a:rPr lang="en-US" sz="3000" dirty="0">
                  <a:latin typeface="Avenir Medium"/>
                </a:rPr>
                <a:t>for your customers</a:t>
              </a:r>
            </a:p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>
                  <a:latin typeface="Avenir Medium"/>
                </a:rPr>
                <a:t>Integrate gamification elements into the OTP </a:t>
              </a:r>
              <a:r>
                <a:rPr lang="en-US" sz="3000" dirty="0" err="1">
                  <a:latin typeface="Avenir Medium"/>
                </a:rPr>
                <a:t>SmartBank</a:t>
              </a:r>
              <a:r>
                <a:rPr lang="en-US" sz="3000" dirty="0">
                  <a:latin typeface="Avenir Medium"/>
                </a:rPr>
                <a:t> app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8569234" y="9215118"/>
              <a:ext cx="8595360" cy="279545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>
                  <a:latin typeface="Avenir Medium"/>
                </a:rPr>
                <a:t>Successfully increase </a:t>
              </a:r>
              <a:r>
                <a:rPr lang="en-US" sz="3000" b="1" dirty="0" err="1">
                  <a:latin typeface="Avenir Medium"/>
                </a:rPr>
                <a:t>AuM</a:t>
              </a:r>
              <a:r>
                <a:rPr lang="en-US" sz="3000" b="1" dirty="0">
                  <a:latin typeface="Avenir Medium"/>
                </a:rPr>
                <a:t> by diversifying income streams</a:t>
              </a:r>
            </a:p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>
                  <a:latin typeface="Avenir Medium"/>
                </a:rPr>
                <a:t>Become the </a:t>
              </a:r>
              <a:r>
                <a:rPr lang="en-US" sz="3000" b="1" dirty="0">
                  <a:latin typeface="Avenir Medium"/>
                </a:rPr>
                <a:t>number one contact person for inheritance consulting</a:t>
              </a:r>
            </a:p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>
                  <a:latin typeface="Avenir Medium"/>
                </a:rPr>
                <a:t>Maintain </a:t>
              </a:r>
              <a:r>
                <a:rPr lang="en-US" sz="3000" b="1" dirty="0">
                  <a:latin typeface="Avenir Medium"/>
                </a:rPr>
                <a:t>your top position</a:t>
              </a:r>
              <a:r>
                <a:rPr lang="en-US" sz="3000" dirty="0">
                  <a:latin typeface="Avenir Medium"/>
                </a:rPr>
                <a:t> for future generations</a:t>
              </a:r>
            </a:p>
          </p:txBody>
        </p:sp>
      </p:grpSp>
      <p:grpSp>
        <p:nvGrpSpPr>
          <p:cNvPr id="9" name="Group 11">
            <a:extLst>
              <a:ext uri="{FF2B5EF4-FFF2-40B4-BE49-F238E27FC236}">
                <a16:creationId xmlns:a16="http://schemas.microsoft.com/office/drawing/2014/main" id="{6AF8B32F-1DD3-4735-904B-B057C601A4DE}"/>
              </a:ext>
            </a:extLst>
          </p:cNvPr>
          <p:cNvGrpSpPr/>
          <p:nvPr/>
        </p:nvGrpSpPr>
        <p:grpSpPr>
          <a:xfrm>
            <a:off x="-12700" y="12841264"/>
            <a:ext cx="24390350" cy="874736"/>
            <a:chOff x="8962256" y="6857999"/>
            <a:chExt cx="6215041" cy="874736"/>
          </a:xfrm>
        </p:grpSpPr>
        <p:sp>
          <p:nvSpPr>
            <p:cNvPr id="10" name="Text Box 37">
              <a:extLst>
                <a:ext uri="{FF2B5EF4-FFF2-40B4-BE49-F238E27FC236}">
                  <a16:creationId xmlns:a16="http://schemas.microsoft.com/office/drawing/2014/main" id="{1A65F139-1C8E-4E6B-B257-F6990D6D3F6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962256" y="6857999"/>
              <a:ext cx="887863" cy="870075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Management</a:t>
              </a:r>
              <a:b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</a:br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Summary</a:t>
              </a:r>
            </a:p>
          </p:txBody>
        </p:sp>
        <p:sp>
          <p:nvSpPr>
            <p:cNvPr id="11" name="Text Box 39">
              <a:extLst>
                <a:ext uri="{FF2B5EF4-FFF2-40B4-BE49-F238E27FC236}">
                  <a16:creationId xmlns:a16="http://schemas.microsoft.com/office/drawing/2014/main" id="{94658C81-F40D-4F07-A228-D85B149675E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0737982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lternatives</a:t>
              </a:r>
            </a:p>
          </p:txBody>
        </p:sp>
        <p:sp>
          <p:nvSpPr>
            <p:cNvPr id="12" name="Text Box 41">
              <a:extLst>
                <a:ext uri="{FF2B5EF4-FFF2-40B4-BE49-F238E27FC236}">
                  <a16:creationId xmlns:a16="http://schemas.microsoft.com/office/drawing/2014/main" id="{2151BDE1-67CB-480B-A236-99877408DD7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625845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Implementation</a:t>
              </a:r>
            </a:p>
          </p:txBody>
        </p:sp>
        <p:sp>
          <p:nvSpPr>
            <p:cNvPr id="13" name="Text Box 43">
              <a:extLst>
                <a:ext uri="{FF2B5EF4-FFF2-40B4-BE49-F238E27FC236}">
                  <a16:creationId xmlns:a16="http://schemas.microsoft.com/office/drawing/2014/main" id="{FEB72079-1BEF-4FBC-94F2-C75E25B9ACD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2513708" y="6862659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Financials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4" name="Text Box 47">
              <a:extLst>
                <a:ext uri="{FF2B5EF4-FFF2-40B4-BE49-F238E27FC236}">
                  <a16:creationId xmlns:a16="http://schemas.microsoft.com/office/drawing/2014/main" id="{1A381E25-D708-49CE-99F4-7C9023832BBF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9850119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nalysis</a:t>
              </a:r>
            </a:p>
          </p:txBody>
        </p:sp>
        <p:sp>
          <p:nvSpPr>
            <p:cNvPr id="15" name="Text Box 43">
              <a:extLst>
                <a:ext uri="{FF2B5EF4-FFF2-40B4-BE49-F238E27FC236}">
                  <a16:creationId xmlns:a16="http://schemas.microsoft.com/office/drawing/2014/main" id="{42909F33-4618-4B85-BCB1-272113B2509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401571" y="686266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Risk</a:t>
              </a:r>
            </a:p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Mitigation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6" name="Text Box 43">
              <a:extLst>
                <a:ext uri="{FF2B5EF4-FFF2-40B4-BE49-F238E27FC236}">
                  <a16:creationId xmlns:a16="http://schemas.microsoft.com/office/drawing/2014/main" id="{0B8E3BF1-73F1-459F-9C0A-4089D78D4A0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4289434" y="686266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Conclusion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2970942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31E2E0-0632-4A7F-A9B3-4EB12F9F8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ADE7C57C-5437-42AC-8DC1-82BDB508A7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0128" y="4591780"/>
            <a:ext cx="3978050" cy="53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2400" b="1" dirty="0">
                <a:latin typeface="Avenir Medium"/>
              </a:rPr>
              <a:t>Überschrift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32355E93-C7F1-4967-9287-5E05055F4E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0128" y="7583846"/>
            <a:ext cx="3978050" cy="53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78125"/>
              </a:spcBef>
            </a:pPr>
            <a:r>
              <a:rPr lang="de-DE" altLang="de-DE" sz="2400" b="1">
                <a:latin typeface="Avenir Medium"/>
              </a:rPr>
              <a:t>Überschrift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CD5866DC-05FB-4F15-9573-1FA395CE8A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2063" y="3407356"/>
            <a:ext cx="7084837" cy="96428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9E7672A7-2E4F-4BA9-A560-1A40539A43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8878" y="3407356"/>
            <a:ext cx="6911205" cy="964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78125"/>
              </a:spcBef>
            </a:pPr>
            <a:r>
              <a:rPr lang="de-DE" altLang="de-DE" sz="2400" b="1" i="1" dirty="0">
                <a:solidFill>
                  <a:schemeClr val="bg1"/>
                </a:solidFill>
                <a:latin typeface="Avenir Medium"/>
              </a:rPr>
              <a:t>Überschrift</a:t>
            </a: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00B93D84-C122-4B99-8B44-C92DB1C41A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75481" y="3407356"/>
            <a:ext cx="7084837" cy="96428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endParaRPr lang="de-DE" sz="2400">
              <a:latin typeface="Avenir Medium"/>
            </a:endParaRP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E7DCB338-01F2-4C84-A866-B5D6EA6B79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62295" y="3407355"/>
            <a:ext cx="6911205" cy="9642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78125"/>
              </a:spcBef>
            </a:pPr>
            <a:r>
              <a:rPr lang="de-DE" altLang="de-DE" sz="2400" b="1" i="1" dirty="0">
                <a:solidFill>
                  <a:schemeClr val="bg1"/>
                </a:solidFill>
                <a:latin typeface="Avenir Medium"/>
              </a:rPr>
              <a:t>Überschrift</a:t>
            </a: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1E9A1029-EBE9-45B1-A4A8-CDB9209429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2063" y="4591780"/>
            <a:ext cx="7075538" cy="53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68970" lvl="1" indent="-365869">
              <a:spcBef>
                <a:spcPct val="78125"/>
              </a:spcBef>
            </a:pPr>
            <a:r>
              <a:rPr lang="de-DE" altLang="de-DE" sz="2400">
                <a:latin typeface="Avenir Medium"/>
              </a:rPr>
              <a:t>Text</a:t>
            </a:r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26787179-C244-4D74-823E-E082BE6E1F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2063" y="7583846"/>
            <a:ext cx="7075538" cy="53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68970" lvl="1" indent="-365869">
              <a:spcBef>
                <a:spcPct val="78125"/>
              </a:spcBef>
            </a:pPr>
            <a:r>
              <a:rPr lang="de-DE" altLang="de-DE" sz="2400">
                <a:latin typeface="Avenir Medium"/>
              </a:rPr>
              <a:t>Text</a:t>
            </a:r>
          </a:p>
        </p:txBody>
      </p:sp>
      <p:sp>
        <p:nvSpPr>
          <p:cNvPr id="13" name="Rectangle 11">
            <a:extLst>
              <a:ext uri="{FF2B5EF4-FFF2-40B4-BE49-F238E27FC236}">
                <a16:creationId xmlns:a16="http://schemas.microsoft.com/office/drawing/2014/main" id="{BC8B0524-FAC1-4679-B763-45A2292652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75481" y="4591780"/>
            <a:ext cx="7075538" cy="53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68970" lvl="1" indent="-365869">
              <a:spcBef>
                <a:spcPct val="78125"/>
              </a:spcBef>
            </a:pPr>
            <a:r>
              <a:rPr lang="de-DE" altLang="de-DE" sz="2400">
                <a:latin typeface="Avenir Medium"/>
              </a:rPr>
              <a:t>Text</a:t>
            </a:r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580B0676-B753-4187-9533-E6BBCA516C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75481" y="7583846"/>
            <a:ext cx="7075538" cy="53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8542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68970" lvl="1" indent="-365869">
              <a:spcBef>
                <a:spcPct val="78125"/>
              </a:spcBef>
            </a:pPr>
            <a:r>
              <a:rPr lang="de-DE" altLang="de-DE" sz="2400">
                <a:latin typeface="Avenir Medium"/>
              </a:rPr>
              <a:t>Text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id="{7C5B6577-13A3-4265-8055-EE881C0637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2063" y="11547763"/>
            <a:ext cx="7084837" cy="80477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>
              <a:spcBef>
                <a:spcPct val="78125"/>
              </a:spcBef>
            </a:pPr>
            <a:r>
              <a:rPr lang="de-DE" altLang="de-DE" sz="2400" b="1">
                <a:latin typeface="Avenir Medium"/>
              </a:rPr>
              <a:t>Fazit</a:t>
            </a:r>
            <a:endParaRPr lang="de-DE" altLang="de-DE" sz="2400" b="1" dirty="0">
              <a:latin typeface="Avenir Medium"/>
            </a:endParaRPr>
          </a:p>
        </p:txBody>
      </p:sp>
      <p:sp>
        <p:nvSpPr>
          <p:cNvPr id="17" name="Rectangle 15">
            <a:extLst>
              <a:ext uri="{FF2B5EF4-FFF2-40B4-BE49-F238E27FC236}">
                <a16:creationId xmlns:a16="http://schemas.microsoft.com/office/drawing/2014/main" id="{78872234-5F28-4EEE-BD6B-78DC614D70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75481" y="11547763"/>
            <a:ext cx="7084837" cy="80477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>
              <a:spcBef>
                <a:spcPct val="78125"/>
              </a:spcBef>
            </a:pPr>
            <a:r>
              <a:rPr lang="de-DE" altLang="de-DE" sz="2400" b="1">
                <a:latin typeface="Avenir Medium"/>
              </a:rPr>
              <a:t>Fazit</a:t>
            </a:r>
            <a:endParaRPr lang="de-DE" altLang="de-DE" sz="2400" b="1" dirty="0">
              <a:latin typeface="Avenir Medium"/>
            </a:endParaRPr>
          </a:p>
        </p:txBody>
      </p:sp>
      <p:sp>
        <p:nvSpPr>
          <p:cNvPr id="19" name="Line 17">
            <a:extLst>
              <a:ext uri="{FF2B5EF4-FFF2-40B4-BE49-F238E27FC236}">
                <a16:creationId xmlns:a16="http://schemas.microsoft.com/office/drawing/2014/main" id="{972E3480-6309-4898-8DC2-FB9424EE4E8F}"/>
              </a:ext>
            </a:extLst>
          </p:cNvPr>
          <p:cNvSpPr>
            <a:spLocks noChangeShapeType="1"/>
          </p:cNvSpPr>
          <p:nvPr/>
        </p:nvSpPr>
        <p:spPr bwMode="auto">
          <a:xfrm>
            <a:off x="2290128" y="7301693"/>
            <a:ext cx="18470189" cy="0"/>
          </a:xfrm>
          <a:prstGeom prst="line">
            <a:avLst/>
          </a:prstGeom>
          <a:noFill/>
          <a:ln w="18542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20" name="AutoShape 18">
            <a:extLst>
              <a:ext uri="{FF2B5EF4-FFF2-40B4-BE49-F238E27FC236}">
                <a16:creationId xmlns:a16="http://schemas.microsoft.com/office/drawing/2014/main" id="{E705DC0D-8A90-44F3-9C71-2B03FC275376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6172063" y="9862882"/>
            <a:ext cx="7075410" cy="1100495"/>
          </a:xfrm>
          <a:prstGeom prst="triangle">
            <a:avLst>
              <a:gd name="adj" fmla="val 48564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endParaRPr lang="de-DE">
              <a:latin typeface="Avenir Medium"/>
            </a:endParaRPr>
          </a:p>
        </p:txBody>
      </p:sp>
      <p:sp>
        <p:nvSpPr>
          <p:cNvPr id="21" name="AutoShape 19">
            <a:extLst>
              <a:ext uri="{FF2B5EF4-FFF2-40B4-BE49-F238E27FC236}">
                <a16:creationId xmlns:a16="http://schemas.microsoft.com/office/drawing/2014/main" id="{E2B38318-4563-40E7-9288-53FD6F82AA6E}"/>
              </a:ext>
            </a:extLst>
          </p:cNvPr>
          <p:cNvSpPr>
            <a:spLocks noChangeArrowheads="1"/>
          </p:cNvSpPr>
          <p:nvPr/>
        </p:nvSpPr>
        <p:spPr bwMode="auto">
          <a:xfrm flipH="1" flipV="1">
            <a:off x="13675608" y="9862882"/>
            <a:ext cx="7075409" cy="1100495"/>
          </a:xfrm>
          <a:prstGeom prst="triangle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endParaRPr lang="de-DE">
              <a:latin typeface="Avenir Medium"/>
            </a:endParaRPr>
          </a:p>
        </p:txBody>
      </p:sp>
    </p:spTree>
    <p:extLst>
      <p:ext uri="{BB962C8B-B14F-4D97-AF65-F5344CB8AC3E}">
        <p14:creationId xmlns:p14="http://schemas.microsoft.com/office/powerpoint/2010/main" val="2391600166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6E3BDD-4C65-43C0-9419-6139174AC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>
              <a:latin typeface="Avenir Medium"/>
            </a:endParaRPr>
          </a:p>
        </p:txBody>
      </p:sp>
      <p:graphicFrame>
        <p:nvGraphicFramePr>
          <p:cNvPr id="6" name="Object 3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6528352" y="4565436"/>
          <a:ext cx="9919338" cy="80105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6" name="Diagramm" r:id="rId19" imgW="5248167" imgH="4238489" progId="MSGraph.Chart.8">
                  <p:embed followColorScheme="full"/>
                </p:oleObj>
              </mc:Choice>
              <mc:Fallback>
                <p:oleObj name="Diagramm" r:id="rId19" imgW="5248167" imgH="4238489" progId="MSGraph.Chart.8">
                  <p:embed followColorScheme="full"/>
                  <p:pic>
                    <p:nvPicPr>
                      <p:cNvPr id="6" name="Object 3"/>
                      <p:cNvPicPr>
                        <a:picLocks noChangeArrowheads="1"/>
                      </p:cNvPicPr>
                      <p:nvPr/>
                    </p:nvPicPr>
                    <p:blipFill>
                      <a:blip r:embed="rId2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528352" y="4565436"/>
                        <a:ext cx="9919338" cy="801050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413176" y="8683238"/>
            <a:ext cx="1782780" cy="46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8021" tIns="0" rIns="48021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  <a:cs typeface="Arial" charset="0"/>
              </a:rPr>
              <a:t>Produkt A</a:t>
            </a: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094473" y="10168889"/>
            <a:ext cx="1761772" cy="46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8021" tIns="0" rIns="48021" bIns="0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  <a:cs typeface="Arial" charset="0"/>
              </a:rPr>
              <a:t>Produkt F</a:t>
            </a:r>
          </a:p>
        </p:txBody>
      </p:sp>
      <p:sp>
        <p:nvSpPr>
          <p:cNvPr id="9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624016" y="9475585"/>
            <a:ext cx="1803790" cy="46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8021" tIns="0" rIns="48021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fld id="{01CFE6CE-0865-4FDE-8E31-2EE788FED04D}" type="datetime'''''''Pr''''''od''''''''u''''''''''''''k''''''''''''t C'''''">
              <a:rPr lang="en-US" altLang="de-DE" sz="3025">
                <a:solidFill>
                  <a:srgbClr val="000000"/>
                </a:solidFill>
                <a:latin typeface="Avenir Medium"/>
                <a:cs typeface="Arial" charset="0"/>
              </a:rPr>
              <a:pPr defTabSz="1620717"/>
              <a:t>Produkt C</a:t>
            </a:fld>
            <a:endParaRPr lang="en-US" altLang="de-DE" sz="3025">
              <a:solidFill>
                <a:srgbClr val="000000"/>
              </a:solidFill>
              <a:latin typeface="Avenir Medium"/>
              <a:cs typeface="Arial" charset="0"/>
            </a:endParaRPr>
          </a:p>
        </p:txBody>
      </p:sp>
      <p:sp>
        <p:nvSpPr>
          <p:cNvPr id="10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291998" y="7764836"/>
            <a:ext cx="1782780" cy="46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8021" tIns="0" rIns="48021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  <a:cs typeface="Arial" charset="0"/>
              </a:rPr>
              <a:t>Produkt B</a:t>
            </a:r>
          </a:p>
        </p:txBody>
      </p:sp>
      <p:sp>
        <p:nvSpPr>
          <p:cNvPr id="11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640711" y="6162135"/>
            <a:ext cx="1827801" cy="46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8021" tIns="0" rIns="48021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  <a:cs typeface="Arial" charset="0"/>
              </a:rPr>
              <a:t>Produkt G</a:t>
            </a:r>
          </a:p>
        </p:txBody>
      </p:sp>
      <p:sp>
        <p:nvSpPr>
          <p:cNvPr id="12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3821542" y="6306198"/>
            <a:ext cx="1782780" cy="46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8021" tIns="0" rIns="48021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  <a:cs typeface="Arial" charset="0"/>
              </a:rPr>
              <a:t>Produkt E</a:t>
            </a:r>
          </a:p>
        </p:txBody>
      </p:sp>
      <p:sp>
        <p:nvSpPr>
          <p:cNvPr id="13" name="Rectangle 1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6198582" y="10982243"/>
            <a:ext cx="2046895" cy="9244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 b="1">
                <a:solidFill>
                  <a:srgbClr val="000000"/>
                </a:solidFill>
                <a:latin typeface="Avenir Medium"/>
                <a:cs typeface="Arial" charset="0"/>
              </a:rPr>
              <a:t>Gewinn</a:t>
            </a:r>
            <a:br>
              <a:rPr lang="de-DE" altLang="de-DE" sz="3025" b="1">
                <a:solidFill>
                  <a:srgbClr val="000000"/>
                </a:solidFill>
                <a:latin typeface="Avenir Medium"/>
                <a:cs typeface="Arial" charset="0"/>
              </a:rPr>
            </a:br>
            <a:r>
              <a:rPr lang="de-DE" altLang="de-DE" sz="3025">
                <a:solidFill>
                  <a:srgbClr val="000000"/>
                </a:solidFill>
                <a:latin typeface="Avenir Medium"/>
                <a:cs typeface="Arial" charset="0"/>
              </a:rPr>
              <a:t>in Mio. EUR</a:t>
            </a:r>
          </a:p>
        </p:txBody>
      </p:sp>
      <p:sp>
        <p:nvSpPr>
          <p:cNvPr id="14" name="Rectangle 1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639400" y="3794099"/>
            <a:ext cx="2046895" cy="9244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 b="1">
                <a:solidFill>
                  <a:srgbClr val="000000"/>
                </a:solidFill>
                <a:latin typeface="Avenir Medium"/>
                <a:cs typeface="Arial" charset="0"/>
              </a:rPr>
              <a:t>Umsatz</a:t>
            </a:r>
            <a:br>
              <a:rPr lang="de-DE" altLang="de-DE" sz="3025" b="1">
                <a:solidFill>
                  <a:srgbClr val="000000"/>
                </a:solidFill>
                <a:latin typeface="Avenir Medium"/>
                <a:cs typeface="Arial" charset="0"/>
              </a:rPr>
            </a:br>
            <a:r>
              <a:rPr lang="de-DE" altLang="de-DE" sz="3025">
                <a:solidFill>
                  <a:srgbClr val="000000"/>
                </a:solidFill>
                <a:latin typeface="Avenir Medium"/>
                <a:cs typeface="Arial" charset="0"/>
              </a:rPr>
              <a:t>in Mio. EUR</a:t>
            </a:r>
          </a:p>
        </p:txBody>
      </p:sp>
      <p:sp>
        <p:nvSpPr>
          <p:cNvPr id="15" name="Oval 1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8827862" y="5819969"/>
            <a:ext cx="405178" cy="406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1814755"/>
            <a:endParaRPr lang="de-DE" sz="3592" dirty="0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6" name="Rectangle 1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9555449" y="5840050"/>
            <a:ext cx="174728" cy="366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>
              <a:lnSpc>
                <a:spcPct val="90000"/>
              </a:lnSpc>
            </a:pPr>
            <a:r>
              <a:rPr lang="de-DE" altLang="de-DE" sz="2647" i="1" dirty="0">
                <a:solidFill>
                  <a:srgbClr val="000000"/>
                </a:solidFill>
                <a:latin typeface="Avenir Medium"/>
              </a:rPr>
              <a:t>a</a:t>
            </a:r>
          </a:p>
        </p:txBody>
      </p:sp>
      <p:sp>
        <p:nvSpPr>
          <p:cNvPr id="17" name="Rectangle 1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9555448" y="5177450"/>
            <a:ext cx="607539" cy="366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>
              <a:lnSpc>
                <a:spcPct val="90000"/>
              </a:lnSpc>
            </a:pPr>
            <a:r>
              <a:rPr lang="de-DE" altLang="de-DE" sz="2647" i="1" dirty="0">
                <a:solidFill>
                  <a:srgbClr val="000000"/>
                </a:solidFill>
                <a:latin typeface="Avenir Medium"/>
              </a:rPr>
              <a:t>a - b</a:t>
            </a:r>
          </a:p>
        </p:txBody>
      </p:sp>
      <p:sp>
        <p:nvSpPr>
          <p:cNvPr id="18" name="Oval 1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8742451" y="5072770"/>
            <a:ext cx="576000" cy="576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9" name="Rectangle 16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9555448" y="4329593"/>
            <a:ext cx="607539" cy="366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>
              <a:lnSpc>
                <a:spcPct val="90000"/>
              </a:lnSpc>
            </a:pPr>
            <a:r>
              <a:rPr lang="de-DE" altLang="de-DE" sz="2647" i="1" dirty="0">
                <a:solidFill>
                  <a:srgbClr val="000000"/>
                </a:solidFill>
                <a:latin typeface="Avenir Medium"/>
              </a:rPr>
              <a:t>&gt; b</a:t>
            </a:r>
          </a:p>
        </p:txBody>
      </p:sp>
      <p:sp>
        <p:nvSpPr>
          <p:cNvPr id="20" name="Oval 1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8641651" y="4124256"/>
            <a:ext cx="777600" cy="77731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1" name="Rectangle 18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8677666" y="3686053"/>
            <a:ext cx="1183016" cy="366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>
              <a:lnSpc>
                <a:spcPct val="90000"/>
              </a:lnSpc>
            </a:pPr>
            <a:r>
              <a:rPr lang="de-DE" altLang="de-DE" sz="2647" b="1" i="1">
                <a:solidFill>
                  <a:srgbClr val="000000"/>
                </a:solidFill>
                <a:latin typeface="Avenir Medium"/>
              </a:rPr>
              <a:t>Legende</a:t>
            </a:r>
          </a:p>
        </p:txBody>
      </p:sp>
    </p:spTree>
    <p:extLst>
      <p:ext uri="{BB962C8B-B14F-4D97-AF65-F5344CB8AC3E}">
        <p14:creationId xmlns:p14="http://schemas.microsoft.com/office/powerpoint/2010/main" val="2145263571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>
                <a:latin typeface="Avenir Medium"/>
              </a:rPr>
              <a:t>Entscheidungen</a:t>
            </a: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69348" y="5229072"/>
            <a:ext cx="1059464" cy="666291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433989" y="5229072"/>
            <a:ext cx="1059464" cy="666291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8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969348" y="5343120"/>
            <a:ext cx="1059464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3025" b="1">
                <a:solidFill>
                  <a:srgbClr val="FFFFFF"/>
                </a:solidFill>
                <a:latin typeface="Avenir Medium"/>
              </a:rPr>
              <a:t>Ja</a:t>
            </a:r>
          </a:p>
        </p:txBody>
      </p:sp>
      <p:sp>
        <p:nvSpPr>
          <p:cNvPr id="9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433989" y="5343121"/>
            <a:ext cx="1059464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3025" b="1">
                <a:solidFill>
                  <a:srgbClr val="FFFFFF"/>
                </a:solidFill>
                <a:latin typeface="Avenir Medium"/>
              </a:rPr>
              <a:t>Nein</a:t>
            </a:r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17969348" y="5895363"/>
            <a:ext cx="1059464" cy="5591447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1" name="Rectangle 9"/>
          <p:cNvSpPr>
            <a:spLocks noChangeArrowheads="1"/>
          </p:cNvSpPr>
          <p:nvPr/>
        </p:nvSpPr>
        <p:spPr bwMode="auto">
          <a:xfrm>
            <a:off x="19433989" y="5895363"/>
            <a:ext cx="1059464" cy="5591447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2" name="Line 10"/>
          <p:cNvSpPr>
            <a:spLocks noChangeShapeType="1"/>
          </p:cNvSpPr>
          <p:nvPr/>
        </p:nvSpPr>
        <p:spPr bwMode="auto">
          <a:xfrm flipH="1">
            <a:off x="3388971" y="5895362"/>
            <a:ext cx="1458037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3" name="Line 11"/>
          <p:cNvSpPr>
            <a:spLocks noChangeShapeType="1"/>
          </p:cNvSpPr>
          <p:nvPr/>
        </p:nvSpPr>
        <p:spPr bwMode="auto">
          <a:xfrm flipH="1">
            <a:off x="3388971" y="11486809"/>
            <a:ext cx="171044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4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88970" y="6159478"/>
            <a:ext cx="14550365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5" name="Oval 13"/>
          <p:cNvSpPr>
            <a:spLocks noChangeArrowheads="1"/>
          </p:cNvSpPr>
          <p:nvPr/>
        </p:nvSpPr>
        <p:spPr bwMode="auto">
          <a:xfrm>
            <a:off x="19644082" y="6075442"/>
            <a:ext cx="642281" cy="642281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6" name="Rectangle 1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388970" y="7068876"/>
            <a:ext cx="14550365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7" name="Oval 15"/>
          <p:cNvSpPr>
            <a:spLocks noChangeArrowheads="1"/>
          </p:cNvSpPr>
          <p:nvPr/>
        </p:nvSpPr>
        <p:spPr bwMode="auto">
          <a:xfrm>
            <a:off x="19644082" y="6984841"/>
            <a:ext cx="642281" cy="642281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8" name="Oval 16"/>
          <p:cNvSpPr>
            <a:spLocks noChangeArrowheads="1"/>
          </p:cNvSpPr>
          <p:nvPr/>
        </p:nvSpPr>
        <p:spPr bwMode="auto">
          <a:xfrm>
            <a:off x="18179441" y="6984841"/>
            <a:ext cx="642281" cy="642281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9" name="Rectangle 1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388970" y="7981275"/>
            <a:ext cx="14550365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20" name="Oval 18"/>
          <p:cNvSpPr>
            <a:spLocks noChangeArrowheads="1"/>
          </p:cNvSpPr>
          <p:nvPr/>
        </p:nvSpPr>
        <p:spPr bwMode="auto">
          <a:xfrm>
            <a:off x="19644082" y="7897240"/>
            <a:ext cx="642281" cy="642281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1" name="Oval 19"/>
          <p:cNvSpPr>
            <a:spLocks noChangeArrowheads="1"/>
          </p:cNvSpPr>
          <p:nvPr/>
        </p:nvSpPr>
        <p:spPr bwMode="auto">
          <a:xfrm>
            <a:off x="18179441" y="7897240"/>
            <a:ext cx="642281" cy="642281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2" name="Rectangle 2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88970" y="8893675"/>
            <a:ext cx="14550365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23" name="Oval 21"/>
          <p:cNvSpPr>
            <a:spLocks noChangeArrowheads="1"/>
          </p:cNvSpPr>
          <p:nvPr/>
        </p:nvSpPr>
        <p:spPr bwMode="auto">
          <a:xfrm>
            <a:off x="19644082" y="8809639"/>
            <a:ext cx="642281" cy="642281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4" name="Oval 22"/>
          <p:cNvSpPr>
            <a:spLocks noChangeArrowheads="1"/>
          </p:cNvSpPr>
          <p:nvPr/>
        </p:nvSpPr>
        <p:spPr bwMode="auto">
          <a:xfrm>
            <a:off x="18179441" y="8809639"/>
            <a:ext cx="642281" cy="642281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5" name="Rectangle 2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388970" y="9806074"/>
            <a:ext cx="14550365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26" name="Oval 24"/>
          <p:cNvSpPr>
            <a:spLocks noChangeArrowheads="1"/>
          </p:cNvSpPr>
          <p:nvPr/>
        </p:nvSpPr>
        <p:spPr bwMode="auto">
          <a:xfrm>
            <a:off x="19644082" y="9722038"/>
            <a:ext cx="642281" cy="642281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7" name="Oval 25"/>
          <p:cNvSpPr>
            <a:spLocks noChangeArrowheads="1"/>
          </p:cNvSpPr>
          <p:nvPr/>
        </p:nvSpPr>
        <p:spPr bwMode="auto">
          <a:xfrm>
            <a:off x="18179441" y="9722038"/>
            <a:ext cx="642281" cy="642281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8" name="Rectangle 2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388970" y="10718473"/>
            <a:ext cx="14550365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29" name="Oval 27"/>
          <p:cNvSpPr>
            <a:spLocks noChangeArrowheads="1"/>
          </p:cNvSpPr>
          <p:nvPr/>
        </p:nvSpPr>
        <p:spPr bwMode="auto">
          <a:xfrm>
            <a:off x="19644082" y="10634437"/>
            <a:ext cx="642281" cy="642281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0" name="Oval 28"/>
          <p:cNvSpPr>
            <a:spLocks noChangeArrowheads="1"/>
          </p:cNvSpPr>
          <p:nvPr/>
        </p:nvSpPr>
        <p:spPr bwMode="auto">
          <a:xfrm>
            <a:off x="18179441" y="10634437"/>
            <a:ext cx="642281" cy="642281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1" name="Oval 29"/>
          <p:cNvSpPr>
            <a:spLocks noChangeArrowheads="1"/>
          </p:cNvSpPr>
          <p:nvPr/>
        </p:nvSpPr>
        <p:spPr bwMode="auto">
          <a:xfrm>
            <a:off x="18179441" y="6075442"/>
            <a:ext cx="642281" cy="642281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</p:spTree>
    <p:extLst>
      <p:ext uri="{BB962C8B-B14F-4D97-AF65-F5344CB8AC3E}">
        <p14:creationId xmlns:p14="http://schemas.microsoft.com/office/powerpoint/2010/main" val="1556060431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Fazit</a:t>
            </a: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6233270" y="3712840"/>
            <a:ext cx="4772088" cy="826439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32487032-D5BE-4206-930F-0B9A3F2FEFA1}"/>
              </a:ext>
            </a:extLst>
          </p:cNvPr>
          <p:cNvGrpSpPr/>
          <p:nvPr/>
        </p:nvGrpSpPr>
        <p:grpSpPr>
          <a:xfrm>
            <a:off x="2564939" y="3978342"/>
            <a:ext cx="14817481" cy="1540155"/>
            <a:chOff x="2564939" y="3978342"/>
            <a:chExt cx="14817481" cy="1540155"/>
          </a:xfrm>
        </p:grpSpPr>
        <p:sp>
          <p:nvSpPr>
            <p:cNvPr id="12" name="Rectangle 6"/>
            <p:cNvSpPr>
              <a:spLocks noChangeArrowheads="1"/>
            </p:cNvSpPr>
            <p:nvPr/>
          </p:nvSpPr>
          <p:spPr bwMode="auto">
            <a:xfrm flipH="1">
              <a:off x="2564939" y="3978342"/>
              <a:ext cx="3262427" cy="154015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defTabSz="1814755"/>
              <a:endParaRPr lang="de-DE" sz="3592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3372292" y="4471722"/>
              <a:ext cx="2455074" cy="5533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 b="1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10" name="AutoShape 9"/>
            <p:cNvSpPr>
              <a:spLocks noChangeArrowheads="1"/>
            </p:cNvSpPr>
            <p:nvPr/>
          </p:nvSpPr>
          <p:spPr bwMode="auto">
            <a:xfrm>
              <a:off x="6055466" y="3978342"/>
              <a:ext cx="11326954" cy="1540155"/>
            </a:xfrm>
            <a:prstGeom prst="homePlate">
              <a:avLst>
                <a:gd name="adj" fmla="val 19726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6244549" y="4471722"/>
              <a:ext cx="10021383" cy="5533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no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>
                  <a:solidFill>
                    <a:srgbClr val="000000"/>
                  </a:solidFill>
                </a:rPr>
                <a:t>Text</a:t>
              </a: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B188017E-DFFD-4E93-8CEE-76521EECC494}"/>
              </a:ext>
            </a:extLst>
          </p:cNvPr>
          <p:cNvGrpSpPr/>
          <p:nvPr/>
        </p:nvGrpSpPr>
        <p:grpSpPr>
          <a:xfrm>
            <a:off x="2564939" y="6084784"/>
            <a:ext cx="14817481" cy="1540155"/>
            <a:chOff x="2564939" y="6083827"/>
            <a:chExt cx="14817481" cy="1540155"/>
          </a:xfrm>
        </p:grpSpPr>
        <p:sp>
          <p:nvSpPr>
            <p:cNvPr id="19" name="Rectangle 13"/>
            <p:cNvSpPr>
              <a:spLocks noChangeArrowheads="1"/>
            </p:cNvSpPr>
            <p:nvPr/>
          </p:nvSpPr>
          <p:spPr bwMode="auto">
            <a:xfrm flipH="1">
              <a:off x="2564939" y="6083827"/>
              <a:ext cx="3262427" cy="154015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" name="Rectangle 14"/>
            <p:cNvSpPr>
              <a:spLocks noChangeArrowheads="1"/>
            </p:cNvSpPr>
            <p:nvPr/>
          </p:nvSpPr>
          <p:spPr bwMode="auto">
            <a:xfrm>
              <a:off x="3372292" y="6577206"/>
              <a:ext cx="2455074" cy="5533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 b="1" dirty="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17" name="AutoShape 16"/>
            <p:cNvSpPr>
              <a:spLocks noChangeArrowheads="1"/>
            </p:cNvSpPr>
            <p:nvPr/>
          </p:nvSpPr>
          <p:spPr bwMode="auto">
            <a:xfrm>
              <a:off x="6055466" y="6083827"/>
              <a:ext cx="11326954" cy="1540155"/>
            </a:xfrm>
            <a:prstGeom prst="homePlate">
              <a:avLst>
                <a:gd name="adj" fmla="val 19726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6244549" y="6577206"/>
              <a:ext cx="10021383" cy="5533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no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>
                  <a:solidFill>
                    <a:srgbClr val="000000"/>
                  </a:solidFill>
                </a:rPr>
                <a:t>Text</a:t>
              </a:r>
            </a:p>
          </p:txBody>
        </p:sp>
      </p:grpSp>
      <p:sp>
        <p:nvSpPr>
          <p:cNvPr id="21" name="Rectangle 18"/>
          <p:cNvSpPr>
            <a:spLocks noChangeArrowheads="1"/>
          </p:cNvSpPr>
          <p:nvPr/>
        </p:nvSpPr>
        <p:spPr bwMode="auto">
          <a:xfrm>
            <a:off x="17694557" y="8216263"/>
            <a:ext cx="3343463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592" b="1">
                <a:solidFill>
                  <a:srgbClr val="000000"/>
                </a:solidFill>
              </a:rPr>
              <a:t>Text</a:t>
            </a:r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1D3522AC-1DC5-4FE7-B700-D2EDE84B2909}"/>
              </a:ext>
            </a:extLst>
          </p:cNvPr>
          <p:cNvGrpSpPr/>
          <p:nvPr/>
        </p:nvGrpSpPr>
        <p:grpSpPr>
          <a:xfrm>
            <a:off x="2564939" y="8191226"/>
            <a:ext cx="14817481" cy="1540155"/>
            <a:chOff x="2564939" y="8189184"/>
            <a:chExt cx="14817481" cy="1540155"/>
          </a:xfrm>
        </p:grpSpPr>
        <p:sp>
          <p:nvSpPr>
            <p:cNvPr id="27" name="Rectangle 21"/>
            <p:cNvSpPr>
              <a:spLocks noChangeArrowheads="1"/>
            </p:cNvSpPr>
            <p:nvPr/>
          </p:nvSpPr>
          <p:spPr bwMode="auto">
            <a:xfrm flipH="1">
              <a:off x="2564939" y="8189184"/>
              <a:ext cx="3262427" cy="154015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 22"/>
            <p:cNvSpPr>
              <a:spLocks noChangeArrowheads="1"/>
            </p:cNvSpPr>
            <p:nvPr/>
          </p:nvSpPr>
          <p:spPr bwMode="auto">
            <a:xfrm>
              <a:off x="3372292" y="8682564"/>
              <a:ext cx="2455074" cy="5533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 b="1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25" name="AutoShape 24"/>
            <p:cNvSpPr>
              <a:spLocks noChangeArrowheads="1"/>
            </p:cNvSpPr>
            <p:nvPr/>
          </p:nvSpPr>
          <p:spPr bwMode="auto">
            <a:xfrm>
              <a:off x="6055466" y="8189184"/>
              <a:ext cx="11326954" cy="1540155"/>
            </a:xfrm>
            <a:prstGeom prst="homePlate">
              <a:avLst>
                <a:gd name="adj" fmla="val 19726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6244549" y="8682564"/>
              <a:ext cx="10021383" cy="5533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no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>
                  <a:solidFill>
                    <a:srgbClr val="000000"/>
                  </a:solidFill>
                </a:rPr>
                <a:t>Text</a:t>
              </a: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38C051B1-F537-4C32-9EB4-F99506B926CF}"/>
              </a:ext>
            </a:extLst>
          </p:cNvPr>
          <p:cNvGrpSpPr/>
          <p:nvPr/>
        </p:nvGrpSpPr>
        <p:grpSpPr>
          <a:xfrm>
            <a:off x="2564939" y="10297668"/>
            <a:ext cx="14817481" cy="1540155"/>
            <a:chOff x="2564939" y="10297668"/>
            <a:chExt cx="14817481" cy="1540155"/>
          </a:xfrm>
        </p:grpSpPr>
        <p:sp>
          <p:nvSpPr>
            <p:cNvPr id="34" name="Rectangle 28"/>
            <p:cNvSpPr>
              <a:spLocks noChangeArrowheads="1"/>
            </p:cNvSpPr>
            <p:nvPr/>
          </p:nvSpPr>
          <p:spPr bwMode="auto">
            <a:xfrm flipH="1">
              <a:off x="2564939" y="10297668"/>
              <a:ext cx="3262427" cy="154015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3372292" y="10791047"/>
              <a:ext cx="2455074" cy="5533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 b="1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32" name="AutoShape 31"/>
            <p:cNvSpPr>
              <a:spLocks noChangeArrowheads="1"/>
            </p:cNvSpPr>
            <p:nvPr/>
          </p:nvSpPr>
          <p:spPr bwMode="auto">
            <a:xfrm>
              <a:off x="6055466" y="10297668"/>
              <a:ext cx="11326954" cy="1540155"/>
            </a:xfrm>
            <a:prstGeom prst="homePlate">
              <a:avLst>
                <a:gd name="adj" fmla="val 19726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6244549" y="10791047"/>
              <a:ext cx="10021383" cy="5533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no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>
                  <a:solidFill>
                    <a:srgbClr val="000000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20272001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>
                <a:latin typeface="Avenir Medium"/>
              </a:rPr>
              <a:t>Filter</a:t>
            </a: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8778739" y="11699557"/>
            <a:ext cx="6933033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5546325" y="4799000"/>
            <a:ext cx="13397861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8" name="Freeform 5"/>
          <p:cNvSpPr>
            <a:spLocks/>
          </p:cNvSpPr>
          <p:nvPr/>
        </p:nvSpPr>
        <p:spPr bwMode="auto">
          <a:xfrm>
            <a:off x="7713273" y="6294192"/>
            <a:ext cx="9039954" cy="5246295"/>
          </a:xfrm>
          <a:custGeom>
            <a:avLst/>
            <a:gdLst>
              <a:gd name="T0" fmla="*/ 3012 w 3012"/>
              <a:gd name="T1" fmla="*/ 21 h 1873"/>
              <a:gd name="T2" fmla="*/ 1746 w 3012"/>
              <a:gd name="T3" fmla="*/ 1344 h 1873"/>
              <a:gd name="T4" fmla="*/ 1746 w 3012"/>
              <a:gd name="T5" fmla="*/ 1787 h 1873"/>
              <a:gd name="T6" fmla="*/ 1292 w 3012"/>
              <a:gd name="T7" fmla="*/ 1787 h 1873"/>
              <a:gd name="T8" fmla="*/ 1292 w 3012"/>
              <a:gd name="T9" fmla="*/ 1336 h 1873"/>
              <a:gd name="T10" fmla="*/ 0 w 3012"/>
              <a:gd name="T11" fmla="*/ 0 h 1873"/>
              <a:gd name="T12" fmla="*/ 3012 w 3012"/>
              <a:gd name="T13" fmla="*/ 21 h 1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12" h="1873">
                <a:moveTo>
                  <a:pt x="3012" y="21"/>
                </a:moveTo>
                <a:lnTo>
                  <a:pt x="1746" y="1344"/>
                </a:lnTo>
                <a:cubicBezTo>
                  <a:pt x="1746" y="1344"/>
                  <a:pt x="1746" y="1565"/>
                  <a:pt x="1746" y="1787"/>
                </a:cubicBezTo>
                <a:cubicBezTo>
                  <a:pt x="1515" y="1873"/>
                  <a:pt x="1292" y="1787"/>
                  <a:pt x="1292" y="1787"/>
                </a:cubicBezTo>
                <a:lnTo>
                  <a:pt x="1292" y="1336"/>
                </a:lnTo>
                <a:lnTo>
                  <a:pt x="0" y="0"/>
                </a:lnTo>
                <a:lnTo>
                  <a:pt x="3012" y="2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9" name="Oval 6"/>
          <p:cNvSpPr>
            <a:spLocks noChangeArrowheads="1"/>
          </p:cNvSpPr>
          <p:nvPr/>
        </p:nvSpPr>
        <p:spPr bwMode="auto">
          <a:xfrm rot="5400000">
            <a:off x="11690012" y="1744203"/>
            <a:ext cx="1119489" cy="907296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9835201" y="7967155"/>
            <a:ext cx="4796098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3592" b="1" dirty="0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1" name="Line 8"/>
          <p:cNvSpPr>
            <a:spLocks noChangeShapeType="1"/>
          </p:cNvSpPr>
          <p:nvPr/>
        </p:nvSpPr>
        <p:spPr bwMode="auto">
          <a:xfrm flipH="1" flipV="1">
            <a:off x="5153153" y="3848123"/>
            <a:ext cx="2575126" cy="247008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2" name="Line 9"/>
          <p:cNvSpPr>
            <a:spLocks noChangeShapeType="1"/>
          </p:cNvSpPr>
          <p:nvPr/>
        </p:nvSpPr>
        <p:spPr bwMode="auto">
          <a:xfrm flipV="1">
            <a:off x="16726215" y="3848124"/>
            <a:ext cx="2632152" cy="2524103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3" name="Line 10"/>
          <p:cNvSpPr>
            <a:spLocks noChangeShapeType="1"/>
          </p:cNvSpPr>
          <p:nvPr/>
        </p:nvSpPr>
        <p:spPr bwMode="auto">
          <a:xfrm>
            <a:off x="12965570" y="11309388"/>
            <a:ext cx="8208590" cy="1266554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4" name="Line 11"/>
          <p:cNvSpPr>
            <a:spLocks noChangeShapeType="1"/>
          </p:cNvSpPr>
          <p:nvPr/>
        </p:nvSpPr>
        <p:spPr bwMode="auto">
          <a:xfrm flipH="1">
            <a:off x="3313349" y="11297382"/>
            <a:ext cx="8262613" cy="1263552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</p:spTree>
    <p:extLst>
      <p:ext uri="{BB962C8B-B14F-4D97-AF65-F5344CB8AC3E}">
        <p14:creationId xmlns:p14="http://schemas.microsoft.com/office/powerpoint/2010/main" val="4072778091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>
                <a:latin typeface="Avenir Medium"/>
              </a:rPr>
              <a:t>Konsequenzen</a:t>
            </a:r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 rot="5400000">
            <a:off x="4366809" y="3660544"/>
            <a:ext cx="2085913" cy="4186832"/>
          </a:xfrm>
          <a:prstGeom prst="homePlate">
            <a:avLst>
              <a:gd name="adj" fmla="val 28634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>
            <a:no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3316350" y="5303761"/>
            <a:ext cx="4186832" cy="552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3592" b="1" dirty="0">
                <a:solidFill>
                  <a:srgbClr val="FFFFFF"/>
                </a:solidFill>
                <a:latin typeface="Avenir Medium"/>
              </a:rPr>
              <a:t>Text</a:t>
            </a:r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3316350" y="6348218"/>
            <a:ext cx="4186832" cy="6227725"/>
          </a:xfrm>
          <a:custGeom>
            <a:avLst/>
            <a:gdLst>
              <a:gd name="T0" fmla="*/ 2686 w 2686"/>
              <a:gd name="T1" fmla="*/ 0 h 2075"/>
              <a:gd name="T2" fmla="*/ 2686 w 2686"/>
              <a:gd name="T3" fmla="*/ 2075 h 2075"/>
              <a:gd name="T4" fmla="*/ 0 w 2686"/>
              <a:gd name="T5" fmla="*/ 2075 h 2075"/>
              <a:gd name="T6" fmla="*/ 0 w 2686"/>
              <a:gd name="T7" fmla="*/ 0 h 2075"/>
              <a:gd name="T8" fmla="*/ 1336 w 2686"/>
              <a:gd name="T9" fmla="*/ 193 h 2075"/>
              <a:gd name="T10" fmla="*/ 2686 w 2686"/>
              <a:gd name="T11" fmla="*/ 0 h 20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6" h="2075">
                <a:moveTo>
                  <a:pt x="2686" y="0"/>
                </a:moveTo>
                <a:lnTo>
                  <a:pt x="2686" y="2075"/>
                </a:lnTo>
                <a:lnTo>
                  <a:pt x="0" y="2075"/>
                </a:lnTo>
                <a:lnTo>
                  <a:pt x="0" y="0"/>
                </a:lnTo>
                <a:lnTo>
                  <a:pt x="1336" y="193"/>
                </a:lnTo>
                <a:lnTo>
                  <a:pt x="2686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3472418" y="7092544"/>
            <a:ext cx="4030764" cy="552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57159" lvl="1" indent="-354157" defTabSz="1620717"/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 rot="5400000">
            <a:off x="8922801" y="3660543"/>
            <a:ext cx="2085913" cy="4186834"/>
          </a:xfrm>
          <a:prstGeom prst="homePlate">
            <a:avLst>
              <a:gd name="adj" fmla="val 28634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>
            <a:no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7872343" y="5303761"/>
            <a:ext cx="4186832" cy="552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3592" b="1" dirty="0">
                <a:solidFill>
                  <a:srgbClr val="FFFFFF"/>
                </a:solidFill>
                <a:latin typeface="Avenir Medium"/>
              </a:rPr>
              <a:t>Text</a:t>
            </a:r>
          </a:p>
        </p:txBody>
      </p:sp>
      <p:sp>
        <p:nvSpPr>
          <p:cNvPr id="14" name="Freeform 11"/>
          <p:cNvSpPr>
            <a:spLocks/>
          </p:cNvSpPr>
          <p:nvPr/>
        </p:nvSpPr>
        <p:spPr bwMode="auto">
          <a:xfrm>
            <a:off x="7872343" y="6348218"/>
            <a:ext cx="4186832" cy="6227725"/>
          </a:xfrm>
          <a:custGeom>
            <a:avLst/>
            <a:gdLst>
              <a:gd name="T0" fmla="*/ 2686 w 2686"/>
              <a:gd name="T1" fmla="*/ 0 h 2075"/>
              <a:gd name="T2" fmla="*/ 2686 w 2686"/>
              <a:gd name="T3" fmla="*/ 2075 h 2075"/>
              <a:gd name="T4" fmla="*/ 0 w 2686"/>
              <a:gd name="T5" fmla="*/ 2075 h 2075"/>
              <a:gd name="T6" fmla="*/ 0 w 2686"/>
              <a:gd name="T7" fmla="*/ 0 h 2075"/>
              <a:gd name="T8" fmla="*/ 1336 w 2686"/>
              <a:gd name="T9" fmla="*/ 193 h 2075"/>
              <a:gd name="T10" fmla="*/ 2686 w 2686"/>
              <a:gd name="T11" fmla="*/ 0 h 20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6" h="2075">
                <a:moveTo>
                  <a:pt x="2686" y="0"/>
                </a:moveTo>
                <a:lnTo>
                  <a:pt x="2686" y="2075"/>
                </a:lnTo>
                <a:lnTo>
                  <a:pt x="0" y="2075"/>
                </a:lnTo>
                <a:lnTo>
                  <a:pt x="0" y="0"/>
                </a:lnTo>
                <a:lnTo>
                  <a:pt x="1336" y="193"/>
                </a:lnTo>
                <a:lnTo>
                  <a:pt x="2686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8028411" y="7092544"/>
            <a:ext cx="4030764" cy="552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57159" lvl="1" indent="-354157" defTabSz="1620717"/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7" name="AutoShape 14"/>
          <p:cNvSpPr>
            <a:spLocks noChangeArrowheads="1"/>
          </p:cNvSpPr>
          <p:nvPr/>
        </p:nvSpPr>
        <p:spPr bwMode="auto">
          <a:xfrm rot="5400000">
            <a:off x="13449660" y="3660541"/>
            <a:ext cx="2085913" cy="4186834"/>
          </a:xfrm>
          <a:prstGeom prst="homePlate">
            <a:avLst>
              <a:gd name="adj" fmla="val 28634"/>
            </a:avLst>
          </a:pr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>
            <a:no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8" name="Rectangle 15"/>
          <p:cNvSpPr>
            <a:spLocks noChangeArrowheads="1"/>
          </p:cNvSpPr>
          <p:nvPr/>
        </p:nvSpPr>
        <p:spPr bwMode="auto">
          <a:xfrm>
            <a:off x="12428336" y="5303761"/>
            <a:ext cx="4186832" cy="552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3592" b="1">
                <a:solidFill>
                  <a:srgbClr val="FFFFFF"/>
                </a:solidFill>
                <a:latin typeface="Avenir Medium"/>
              </a:rPr>
              <a:t>Text</a:t>
            </a:r>
          </a:p>
        </p:txBody>
      </p:sp>
      <p:sp>
        <p:nvSpPr>
          <p:cNvPr id="19" name="Freeform 16"/>
          <p:cNvSpPr>
            <a:spLocks/>
          </p:cNvSpPr>
          <p:nvPr/>
        </p:nvSpPr>
        <p:spPr bwMode="auto">
          <a:xfrm>
            <a:off x="12428336" y="6348218"/>
            <a:ext cx="4186832" cy="6227725"/>
          </a:xfrm>
          <a:custGeom>
            <a:avLst/>
            <a:gdLst>
              <a:gd name="T0" fmla="*/ 2686 w 2686"/>
              <a:gd name="T1" fmla="*/ 0 h 2075"/>
              <a:gd name="T2" fmla="*/ 2686 w 2686"/>
              <a:gd name="T3" fmla="*/ 2075 h 2075"/>
              <a:gd name="T4" fmla="*/ 0 w 2686"/>
              <a:gd name="T5" fmla="*/ 2075 h 2075"/>
              <a:gd name="T6" fmla="*/ 0 w 2686"/>
              <a:gd name="T7" fmla="*/ 0 h 2075"/>
              <a:gd name="T8" fmla="*/ 1336 w 2686"/>
              <a:gd name="T9" fmla="*/ 193 h 2075"/>
              <a:gd name="T10" fmla="*/ 2686 w 2686"/>
              <a:gd name="T11" fmla="*/ 0 h 20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6" h="2075">
                <a:moveTo>
                  <a:pt x="2686" y="0"/>
                </a:moveTo>
                <a:lnTo>
                  <a:pt x="2686" y="2075"/>
                </a:lnTo>
                <a:lnTo>
                  <a:pt x="0" y="2075"/>
                </a:lnTo>
                <a:lnTo>
                  <a:pt x="0" y="0"/>
                </a:lnTo>
                <a:lnTo>
                  <a:pt x="1336" y="193"/>
                </a:lnTo>
                <a:lnTo>
                  <a:pt x="2686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0" name="Rectangle 17"/>
          <p:cNvSpPr>
            <a:spLocks noChangeArrowheads="1"/>
          </p:cNvSpPr>
          <p:nvPr/>
        </p:nvSpPr>
        <p:spPr bwMode="auto">
          <a:xfrm>
            <a:off x="12587406" y="7092544"/>
            <a:ext cx="4027762" cy="552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57159" lvl="1" indent="-354157" defTabSz="1620717"/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22" name="AutoShape 19"/>
          <p:cNvSpPr>
            <a:spLocks noChangeArrowheads="1"/>
          </p:cNvSpPr>
          <p:nvPr/>
        </p:nvSpPr>
        <p:spPr bwMode="auto">
          <a:xfrm rot="5400000">
            <a:off x="18008653" y="3660541"/>
            <a:ext cx="2085913" cy="4186834"/>
          </a:xfrm>
          <a:prstGeom prst="homePlate">
            <a:avLst>
              <a:gd name="adj" fmla="val 28634"/>
            </a:avLst>
          </a:prstGeom>
          <a:solidFill>
            <a:schemeClr val="accent3">
              <a:lumMod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>
            <a:noAutofit/>
          </a:bodyPr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3" name="Rectangle 20"/>
          <p:cNvSpPr>
            <a:spLocks noChangeArrowheads="1"/>
          </p:cNvSpPr>
          <p:nvPr/>
        </p:nvSpPr>
        <p:spPr bwMode="auto">
          <a:xfrm>
            <a:off x="16987330" y="5303761"/>
            <a:ext cx="4186831" cy="552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3592" b="1">
                <a:solidFill>
                  <a:srgbClr val="FFFFFF"/>
                </a:solidFill>
                <a:latin typeface="Avenir Medium"/>
              </a:rPr>
              <a:t>Text</a:t>
            </a:r>
          </a:p>
        </p:txBody>
      </p:sp>
      <p:sp>
        <p:nvSpPr>
          <p:cNvPr id="24" name="Freeform 21"/>
          <p:cNvSpPr>
            <a:spLocks/>
          </p:cNvSpPr>
          <p:nvPr/>
        </p:nvSpPr>
        <p:spPr bwMode="auto">
          <a:xfrm>
            <a:off x="16987330" y="6348218"/>
            <a:ext cx="4186831" cy="6227725"/>
          </a:xfrm>
          <a:custGeom>
            <a:avLst/>
            <a:gdLst>
              <a:gd name="T0" fmla="*/ 2686 w 2686"/>
              <a:gd name="T1" fmla="*/ 0 h 2075"/>
              <a:gd name="T2" fmla="*/ 2686 w 2686"/>
              <a:gd name="T3" fmla="*/ 2075 h 2075"/>
              <a:gd name="T4" fmla="*/ 0 w 2686"/>
              <a:gd name="T5" fmla="*/ 2075 h 2075"/>
              <a:gd name="T6" fmla="*/ 0 w 2686"/>
              <a:gd name="T7" fmla="*/ 0 h 2075"/>
              <a:gd name="T8" fmla="*/ 1336 w 2686"/>
              <a:gd name="T9" fmla="*/ 193 h 2075"/>
              <a:gd name="T10" fmla="*/ 2686 w 2686"/>
              <a:gd name="T11" fmla="*/ 0 h 20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6" h="2075">
                <a:moveTo>
                  <a:pt x="2686" y="0"/>
                </a:moveTo>
                <a:lnTo>
                  <a:pt x="2686" y="2075"/>
                </a:lnTo>
                <a:lnTo>
                  <a:pt x="0" y="2075"/>
                </a:lnTo>
                <a:lnTo>
                  <a:pt x="0" y="0"/>
                </a:lnTo>
                <a:lnTo>
                  <a:pt x="1336" y="193"/>
                </a:lnTo>
                <a:lnTo>
                  <a:pt x="2686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5" name="Rectangle 22"/>
          <p:cNvSpPr>
            <a:spLocks noChangeArrowheads="1"/>
          </p:cNvSpPr>
          <p:nvPr/>
        </p:nvSpPr>
        <p:spPr bwMode="auto">
          <a:xfrm>
            <a:off x="17146400" y="7092544"/>
            <a:ext cx="4027761" cy="552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57159" lvl="1" indent="-354157" defTabSz="1620717"/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78079854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>
                <a:latin typeface="Avenir Medium"/>
              </a:rPr>
              <a:t>Matrix/Perspektiven</a:t>
            </a:r>
          </a:p>
        </p:txBody>
      </p:sp>
      <p:sp>
        <p:nvSpPr>
          <p:cNvPr id="6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43225" y="5884932"/>
            <a:ext cx="13914087" cy="1509659"/>
          </a:xfrm>
          <a:prstGeom prst="homePlate">
            <a:avLst>
              <a:gd name="adj" fmla="val 32344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7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443225" y="7844788"/>
            <a:ext cx="13914087" cy="1503659"/>
          </a:xfrm>
          <a:prstGeom prst="homePlate">
            <a:avLst>
              <a:gd name="adj" fmla="val 32473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8" name="AutoShap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443225" y="9798645"/>
            <a:ext cx="13914087" cy="1503657"/>
          </a:xfrm>
          <a:prstGeom prst="homePlate">
            <a:avLst>
              <a:gd name="adj" fmla="val 32473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9" name="AutoShap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4905053" y="7552161"/>
            <a:ext cx="6996061" cy="2779216"/>
          </a:xfrm>
          <a:prstGeom prst="homePlate">
            <a:avLst>
              <a:gd name="adj" fmla="val 15313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0" name="AutoShap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80442" y="7552161"/>
            <a:ext cx="6996061" cy="2779216"/>
          </a:xfrm>
          <a:prstGeom prst="homePlate">
            <a:avLst>
              <a:gd name="adj" fmla="val 15313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1" name="AutoShap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1255831" y="7552161"/>
            <a:ext cx="6996061" cy="2779216"/>
          </a:xfrm>
          <a:prstGeom prst="homePlate">
            <a:avLst>
              <a:gd name="adj" fmla="val 15313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2" name="AutoShap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4431220" y="7552161"/>
            <a:ext cx="6996061" cy="2779216"/>
          </a:xfrm>
          <a:prstGeom prst="homePlate">
            <a:avLst>
              <a:gd name="adj" fmla="val 15313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3" name="Rectangle 11"/>
          <p:cNvSpPr>
            <a:spLocks noChangeArrowheads="1"/>
          </p:cNvSpPr>
          <p:nvPr/>
        </p:nvSpPr>
        <p:spPr bwMode="auto">
          <a:xfrm>
            <a:off x="3495936" y="4746896"/>
            <a:ext cx="2464079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592" b="1" dirty="0">
                <a:solidFill>
                  <a:srgbClr val="000000"/>
                </a:solidFill>
                <a:latin typeface="Avenir Medium"/>
              </a:rPr>
              <a:t>Legal-Sicht</a:t>
            </a:r>
          </a:p>
        </p:txBody>
      </p:sp>
      <p:sp>
        <p:nvSpPr>
          <p:cNvPr id="14" name="Rectangle 12"/>
          <p:cNvSpPr>
            <a:spLocks noChangeArrowheads="1"/>
          </p:cNvSpPr>
          <p:nvPr/>
        </p:nvSpPr>
        <p:spPr bwMode="auto">
          <a:xfrm>
            <a:off x="3495936" y="6363371"/>
            <a:ext cx="2464079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592" b="1" dirty="0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5" name="Line 13"/>
          <p:cNvSpPr>
            <a:spLocks noChangeShapeType="1"/>
          </p:cNvSpPr>
          <p:nvPr/>
        </p:nvSpPr>
        <p:spPr bwMode="auto">
          <a:xfrm>
            <a:off x="3474928" y="5443738"/>
            <a:ext cx="287825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6" name="Rectangle 14"/>
          <p:cNvSpPr>
            <a:spLocks noChangeArrowheads="1"/>
          </p:cNvSpPr>
          <p:nvPr/>
        </p:nvSpPr>
        <p:spPr bwMode="auto">
          <a:xfrm>
            <a:off x="3495936" y="8320227"/>
            <a:ext cx="2464079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592" b="1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7" name="Rectangle 15"/>
          <p:cNvSpPr>
            <a:spLocks noChangeArrowheads="1"/>
          </p:cNvSpPr>
          <p:nvPr/>
        </p:nvSpPr>
        <p:spPr bwMode="auto">
          <a:xfrm>
            <a:off x="3495936" y="10274083"/>
            <a:ext cx="2464079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592" b="1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8" name="Rectangle 16"/>
          <p:cNvSpPr>
            <a:spLocks noChangeArrowheads="1"/>
          </p:cNvSpPr>
          <p:nvPr/>
        </p:nvSpPr>
        <p:spPr bwMode="auto">
          <a:xfrm>
            <a:off x="7013475" y="3918533"/>
            <a:ext cx="10555618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3592" b="1">
                <a:solidFill>
                  <a:srgbClr val="000000"/>
                </a:solidFill>
                <a:latin typeface="Avenir Medium"/>
              </a:rPr>
              <a:t>Management-Sicht</a:t>
            </a:r>
          </a:p>
        </p:txBody>
      </p:sp>
      <p:sp>
        <p:nvSpPr>
          <p:cNvPr id="19" name="Line 17"/>
          <p:cNvSpPr>
            <a:spLocks noChangeShapeType="1"/>
          </p:cNvSpPr>
          <p:nvPr/>
        </p:nvSpPr>
        <p:spPr bwMode="auto">
          <a:xfrm>
            <a:off x="6992466" y="4561352"/>
            <a:ext cx="12329393" cy="300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0" name="Rectangle 18"/>
          <p:cNvSpPr>
            <a:spLocks noChangeArrowheads="1"/>
          </p:cNvSpPr>
          <p:nvPr/>
        </p:nvSpPr>
        <p:spPr bwMode="auto">
          <a:xfrm>
            <a:off x="7013475" y="4746895"/>
            <a:ext cx="2779216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3592" b="1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21" name="Rectangle 19"/>
          <p:cNvSpPr>
            <a:spLocks noChangeArrowheads="1"/>
          </p:cNvSpPr>
          <p:nvPr/>
        </p:nvSpPr>
        <p:spPr bwMode="auto">
          <a:xfrm>
            <a:off x="10188864" y="4746895"/>
            <a:ext cx="2779216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3592" b="1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22" name="Rectangle 20"/>
          <p:cNvSpPr>
            <a:spLocks noChangeArrowheads="1"/>
          </p:cNvSpPr>
          <p:nvPr/>
        </p:nvSpPr>
        <p:spPr bwMode="auto">
          <a:xfrm>
            <a:off x="13364253" y="4746895"/>
            <a:ext cx="2779216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3592" b="1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23" name="Rectangle 21"/>
          <p:cNvSpPr>
            <a:spLocks noChangeArrowheads="1"/>
          </p:cNvSpPr>
          <p:nvPr/>
        </p:nvSpPr>
        <p:spPr bwMode="auto">
          <a:xfrm>
            <a:off x="16542645" y="4746895"/>
            <a:ext cx="2779216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3592" b="1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126907687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>
                <a:latin typeface="Avenir Medium"/>
              </a:rPr>
              <a:t>Prozes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23120350" y="13147675"/>
            <a:ext cx="1257300" cy="441325"/>
          </a:xfrm>
          <a:prstGeom prst="rect">
            <a:avLst/>
          </a:prstGeom>
        </p:spPr>
        <p:txBody>
          <a:bodyPr/>
          <a:lstStyle/>
          <a:p>
            <a:fld id="{C3E6ABF3-A789-4C9C-968E-7D41A6C14B3A}" type="slidenum">
              <a:rPr lang="de-DE">
                <a:latin typeface="Avenir Medium"/>
              </a:rPr>
              <a:pPr/>
              <a:t>157</a:t>
            </a:fld>
            <a:endParaRPr lang="de-DE">
              <a:latin typeface="Avenir Medium"/>
            </a:endParaRPr>
          </a:p>
        </p:txBody>
      </p:sp>
      <p:sp>
        <p:nvSpPr>
          <p:cNvPr id="6" name="Freeform 3"/>
          <p:cNvSpPr>
            <a:spLocks/>
          </p:cNvSpPr>
          <p:nvPr/>
        </p:nvSpPr>
        <p:spPr bwMode="auto">
          <a:xfrm>
            <a:off x="11552548" y="3807532"/>
            <a:ext cx="10677531" cy="7815419"/>
          </a:xfrm>
          <a:custGeom>
            <a:avLst/>
            <a:gdLst>
              <a:gd name="T0" fmla="*/ 1336 w 1781"/>
              <a:gd name="T1" fmla="*/ 0 h 2050"/>
              <a:gd name="T2" fmla="*/ 1336 w 1781"/>
              <a:gd name="T3" fmla="*/ 190 h 2050"/>
              <a:gd name="T4" fmla="*/ 0 w 1781"/>
              <a:gd name="T5" fmla="*/ 453 h 2050"/>
              <a:gd name="T6" fmla="*/ 0 w 1781"/>
              <a:gd name="T7" fmla="*/ 1593 h 2050"/>
              <a:gd name="T8" fmla="*/ 1336 w 1781"/>
              <a:gd name="T9" fmla="*/ 1860 h 2050"/>
              <a:gd name="T10" fmla="*/ 1336 w 1781"/>
              <a:gd name="T11" fmla="*/ 2050 h 2050"/>
              <a:gd name="T12" fmla="*/ 1781 w 1781"/>
              <a:gd name="T13" fmla="*/ 1025 h 2050"/>
              <a:gd name="T14" fmla="*/ 1336 w 1781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81" h="2050">
                <a:moveTo>
                  <a:pt x="1336" y="0"/>
                </a:moveTo>
                <a:lnTo>
                  <a:pt x="1336" y="190"/>
                </a:lnTo>
                <a:lnTo>
                  <a:pt x="0" y="453"/>
                </a:lnTo>
                <a:lnTo>
                  <a:pt x="0" y="1593"/>
                </a:lnTo>
                <a:lnTo>
                  <a:pt x="1336" y="1860"/>
                </a:lnTo>
                <a:lnTo>
                  <a:pt x="1336" y="2050"/>
                </a:lnTo>
                <a:lnTo>
                  <a:pt x="1781" y="1025"/>
                </a:lnTo>
                <a:lnTo>
                  <a:pt x="1336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952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7" name="Freeform 4"/>
          <p:cNvSpPr>
            <a:spLocks/>
          </p:cNvSpPr>
          <p:nvPr/>
        </p:nvSpPr>
        <p:spPr bwMode="auto">
          <a:xfrm>
            <a:off x="9061460" y="4638896"/>
            <a:ext cx="8399593" cy="6152691"/>
          </a:xfrm>
          <a:custGeom>
            <a:avLst/>
            <a:gdLst>
              <a:gd name="T0" fmla="*/ 1336 w 1781"/>
              <a:gd name="T1" fmla="*/ 0 h 2050"/>
              <a:gd name="T2" fmla="*/ 1336 w 1781"/>
              <a:gd name="T3" fmla="*/ 190 h 2050"/>
              <a:gd name="T4" fmla="*/ 0 w 1781"/>
              <a:gd name="T5" fmla="*/ 453 h 2050"/>
              <a:gd name="T6" fmla="*/ 0 w 1781"/>
              <a:gd name="T7" fmla="*/ 1593 h 2050"/>
              <a:gd name="T8" fmla="*/ 1336 w 1781"/>
              <a:gd name="T9" fmla="*/ 1860 h 2050"/>
              <a:gd name="T10" fmla="*/ 1336 w 1781"/>
              <a:gd name="T11" fmla="*/ 2050 h 2050"/>
              <a:gd name="T12" fmla="*/ 1781 w 1781"/>
              <a:gd name="T13" fmla="*/ 1025 h 2050"/>
              <a:gd name="T14" fmla="*/ 1336 w 1781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81" h="2050">
                <a:moveTo>
                  <a:pt x="1336" y="0"/>
                </a:moveTo>
                <a:lnTo>
                  <a:pt x="1336" y="190"/>
                </a:lnTo>
                <a:lnTo>
                  <a:pt x="0" y="453"/>
                </a:lnTo>
                <a:lnTo>
                  <a:pt x="0" y="1593"/>
                </a:lnTo>
                <a:lnTo>
                  <a:pt x="1336" y="1860"/>
                </a:lnTo>
                <a:lnTo>
                  <a:pt x="1336" y="2050"/>
                </a:lnTo>
                <a:lnTo>
                  <a:pt x="1781" y="1025"/>
                </a:lnTo>
                <a:lnTo>
                  <a:pt x="1336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952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8" name="Freeform 5"/>
          <p:cNvSpPr>
            <a:spLocks/>
          </p:cNvSpPr>
          <p:nvPr/>
        </p:nvSpPr>
        <p:spPr bwMode="auto">
          <a:xfrm>
            <a:off x="5465887" y="5485266"/>
            <a:ext cx="8399593" cy="4459951"/>
          </a:xfrm>
          <a:custGeom>
            <a:avLst/>
            <a:gdLst>
              <a:gd name="T0" fmla="*/ 1336 w 1781"/>
              <a:gd name="T1" fmla="*/ 0 h 2050"/>
              <a:gd name="T2" fmla="*/ 1336 w 1781"/>
              <a:gd name="T3" fmla="*/ 190 h 2050"/>
              <a:gd name="T4" fmla="*/ 0 w 1781"/>
              <a:gd name="T5" fmla="*/ 453 h 2050"/>
              <a:gd name="T6" fmla="*/ 0 w 1781"/>
              <a:gd name="T7" fmla="*/ 1593 h 2050"/>
              <a:gd name="T8" fmla="*/ 1336 w 1781"/>
              <a:gd name="T9" fmla="*/ 1860 h 2050"/>
              <a:gd name="T10" fmla="*/ 1336 w 1781"/>
              <a:gd name="T11" fmla="*/ 2050 h 2050"/>
              <a:gd name="T12" fmla="*/ 1781 w 1781"/>
              <a:gd name="T13" fmla="*/ 1025 h 2050"/>
              <a:gd name="T14" fmla="*/ 1336 w 1781"/>
              <a:gd name="T15" fmla="*/ 0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81" h="2050">
                <a:moveTo>
                  <a:pt x="1336" y="0"/>
                </a:moveTo>
                <a:lnTo>
                  <a:pt x="1336" y="190"/>
                </a:lnTo>
                <a:lnTo>
                  <a:pt x="0" y="453"/>
                </a:lnTo>
                <a:lnTo>
                  <a:pt x="0" y="1593"/>
                </a:lnTo>
                <a:lnTo>
                  <a:pt x="1336" y="1860"/>
                </a:lnTo>
                <a:lnTo>
                  <a:pt x="1336" y="2050"/>
                </a:lnTo>
                <a:lnTo>
                  <a:pt x="1781" y="1025"/>
                </a:lnTo>
                <a:lnTo>
                  <a:pt x="1336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9" name="Oval 6"/>
          <p:cNvSpPr>
            <a:spLocks noChangeArrowheads="1"/>
          </p:cNvSpPr>
          <p:nvPr/>
        </p:nvSpPr>
        <p:spPr bwMode="auto">
          <a:xfrm>
            <a:off x="4412424" y="6358648"/>
            <a:ext cx="2713187" cy="271318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4439437" y="7437350"/>
            <a:ext cx="2629150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3592">
                <a:solidFill>
                  <a:srgbClr val="FFFFFF"/>
                </a:solidFill>
                <a:latin typeface="Avenir Medium"/>
              </a:rPr>
              <a:t>Text</a:t>
            </a: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7350712" y="7437350"/>
            <a:ext cx="3004313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auto">
          <a:xfrm>
            <a:off x="14456740" y="7498540"/>
            <a:ext cx="3004313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592" dirty="0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18658576" y="7437350"/>
            <a:ext cx="3004315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592" dirty="0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953001574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>
                <a:latin typeface="Avenir Medium"/>
              </a:rPr>
              <a:t>Fortschritt</a:t>
            </a:r>
          </a:p>
        </p:txBody>
      </p:sp>
      <p:sp>
        <p:nvSpPr>
          <p:cNvPr id="6" name="Oval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269674" y="6011583"/>
            <a:ext cx="720315" cy="72031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7" name="Oval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015313" y="6011583"/>
            <a:ext cx="720315" cy="72031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8" name="Oval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760951" y="6011583"/>
            <a:ext cx="720315" cy="72031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9" name="Arc 6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15124111" y="6017585"/>
            <a:ext cx="360158" cy="720315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43200"/>
              <a:gd name="T2" fmla="*/ 0 w 21600"/>
              <a:gd name="T3" fmla="*/ 43200 h 43200"/>
              <a:gd name="T4" fmla="*/ 0 w 216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432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29"/>
                  <a:pt x="11929" y="43199"/>
                  <a:pt x="0" y="43200"/>
                </a:cubicBezTo>
              </a:path>
              <a:path w="21600" h="432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29"/>
                  <a:pt x="11929" y="43199"/>
                  <a:pt x="0" y="432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0" name="Oval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62527" y="6011583"/>
            <a:ext cx="720315" cy="72031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1" name="Arc 8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8725686" y="6017585"/>
            <a:ext cx="360158" cy="360158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2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803721" y="5597402"/>
            <a:ext cx="2881260" cy="154867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36123" tIns="136123" rIns="136123" bIns="136123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>
              <a:lnSpc>
                <a:spcPct val="90000"/>
              </a:lnSpc>
              <a:spcBef>
                <a:spcPct val="20000"/>
              </a:spcBef>
            </a:pPr>
            <a:r>
              <a:rPr lang="de-DE" altLang="de-DE" sz="3025" b="1">
                <a:solidFill>
                  <a:srgbClr val="000000"/>
                </a:solidFill>
                <a:latin typeface="Avenir Medium"/>
              </a:rPr>
              <a:t>Arbeitspaket 1</a:t>
            </a:r>
            <a:endParaRPr lang="de-DE" altLang="de-DE" sz="3025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3" name="AutoShape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6762828" y="4141687"/>
            <a:ext cx="3600000" cy="552780"/>
          </a:xfrm>
          <a:prstGeom prst="chevron">
            <a:avLst>
              <a:gd name="adj" fmla="val 19748"/>
            </a:avLst>
          </a:prstGeom>
          <a:solidFill>
            <a:schemeClr val="accent3">
              <a:lumMod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ctr" defTabSz="1814755"/>
            <a:r>
              <a:rPr lang="de-DE" sz="3592" dirty="0">
                <a:solidFill>
                  <a:srgbClr val="000000"/>
                </a:solidFill>
                <a:latin typeface="Avenir Medium"/>
              </a:rPr>
              <a:t>Modul 4</a:t>
            </a:r>
          </a:p>
        </p:txBody>
      </p:sp>
      <p:sp>
        <p:nvSpPr>
          <p:cNvPr id="15" name="AutoShape 1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3166254" y="4141687"/>
            <a:ext cx="3600000" cy="552780"/>
          </a:xfrm>
          <a:prstGeom prst="chevron">
            <a:avLst>
              <a:gd name="adj" fmla="val 19748"/>
            </a:avLst>
          </a:pr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ctr" defTabSz="1814755"/>
            <a:r>
              <a:rPr lang="de-DE" sz="3592" dirty="0">
                <a:solidFill>
                  <a:srgbClr val="000000"/>
                </a:solidFill>
                <a:latin typeface="Avenir Medium"/>
              </a:rPr>
              <a:t>Modul 3</a:t>
            </a:r>
          </a:p>
        </p:txBody>
      </p:sp>
      <p:sp>
        <p:nvSpPr>
          <p:cNvPr id="17" name="AutoShape 1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569681" y="4148997"/>
            <a:ext cx="3600000" cy="538160"/>
          </a:xfrm>
          <a:prstGeom prst="chevron">
            <a:avLst>
              <a:gd name="adj" fmla="val 19748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spcBef>
                <a:spcPct val="50000"/>
              </a:spcBef>
            </a:pPr>
            <a:r>
              <a:rPr lang="en-US" altLang="de-DE" sz="3403" dirty="0">
                <a:solidFill>
                  <a:srgbClr val="000000"/>
                </a:solidFill>
                <a:latin typeface="Avenir Medium"/>
              </a:rPr>
              <a:t>Modul 2</a:t>
            </a:r>
          </a:p>
        </p:txBody>
      </p:sp>
      <p:sp>
        <p:nvSpPr>
          <p:cNvPr id="19" name="AutoShape 1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973108" y="4141687"/>
            <a:ext cx="3600000" cy="552780"/>
          </a:xfrm>
          <a:prstGeom prst="homePlate">
            <a:avLst>
              <a:gd name="adj" fmla="val 19112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ctr" defTabSz="1814755"/>
            <a:r>
              <a:rPr lang="de-DE" sz="3592" dirty="0">
                <a:solidFill>
                  <a:srgbClr val="000000"/>
                </a:solidFill>
                <a:latin typeface="Avenir Medium"/>
              </a:rPr>
              <a:t>Modul 1</a:t>
            </a:r>
          </a:p>
        </p:txBody>
      </p:sp>
      <p:sp>
        <p:nvSpPr>
          <p:cNvPr id="21" name="Oval 1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269674" y="7770352"/>
            <a:ext cx="720315" cy="72031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2" name="Oval 2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015313" y="7770352"/>
            <a:ext cx="720315" cy="72031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3" name="Oval 2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4760951" y="7770352"/>
            <a:ext cx="720315" cy="72031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4" name="Arc 22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15124111" y="7776355"/>
            <a:ext cx="360158" cy="720315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43200"/>
              <a:gd name="T2" fmla="*/ 0 w 21600"/>
              <a:gd name="T3" fmla="*/ 43200 h 43200"/>
              <a:gd name="T4" fmla="*/ 0 w 216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432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29"/>
                  <a:pt x="11929" y="43199"/>
                  <a:pt x="0" y="43200"/>
                </a:cubicBezTo>
              </a:path>
              <a:path w="21600" h="432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29"/>
                  <a:pt x="11929" y="43199"/>
                  <a:pt x="0" y="432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5" name="Oval 2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8362527" y="7770352"/>
            <a:ext cx="720315" cy="72031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6" name="Arc 24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18725686" y="7776354"/>
            <a:ext cx="360158" cy="360158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7" name="Rectangle 2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803721" y="7356171"/>
            <a:ext cx="2881260" cy="154867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36123" tIns="136123" rIns="136123" bIns="136123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>
              <a:lnSpc>
                <a:spcPct val="90000"/>
              </a:lnSpc>
              <a:spcBef>
                <a:spcPct val="20000"/>
              </a:spcBef>
            </a:pPr>
            <a:r>
              <a:rPr lang="de-DE" altLang="de-DE" sz="3025" b="1">
                <a:solidFill>
                  <a:srgbClr val="000000"/>
                </a:solidFill>
                <a:latin typeface="Avenir Medium"/>
              </a:rPr>
              <a:t>Arbeitspaket 2</a:t>
            </a:r>
            <a:endParaRPr lang="de-DE" altLang="de-DE" sz="3025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8" name="Oval 26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269674" y="9532124"/>
            <a:ext cx="720315" cy="72031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9" name="Oval 27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1015313" y="9532124"/>
            <a:ext cx="720315" cy="72031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0" name="Oval 28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4760951" y="9532124"/>
            <a:ext cx="720315" cy="72031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1" name="Arc 29"/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15124111" y="9538126"/>
            <a:ext cx="360158" cy="720315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43200"/>
              <a:gd name="T2" fmla="*/ 0 w 21600"/>
              <a:gd name="T3" fmla="*/ 43200 h 43200"/>
              <a:gd name="T4" fmla="*/ 0 w 216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432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29"/>
                  <a:pt x="11929" y="43199"/>
                  <a:pt x="0" y="43200"/>
                </a:cubicBezTo>
              </a:path>
              <a:path w="21600" h="432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29"/>
                  <a:pt x="11929" y="43199"/>
                  <a:pt x="0" y="432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2" name="Oval 30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8362527" y="9532124"/>
            <a:ext cx="720315" cy="72031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3" name="Arc 31"/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18725686" y="9538126"/>
            <a:ext cx="360158" cy="360158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4" name="Rectangle 32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2803721" y="9117943"/>
            <a:ext cx="2881260" cy="15486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36123" tIns="136123" rIns="136123" bIns="136123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>
              <a:lnSpc>
                <a:spcPct val="90000"/>
              </a:lnSpc>
              <a:spcBef>
                <a:spcPct val="20000"/>
              </a:spcBef>
            </a:pPr>
            <a:r>
              <a:rPr lang="de-DE" altLang="de-DE" sz="3025" b="1">
                <a:solidFill>
                  <a:srgbClr val="000000"/>
                </a:solidFill>
                <a:latin typeface="Avenir Medium"/>
              </a:rPr>
              <a:t>Arbeitspaket 3</a:t>
            </a:r>
            <a:endParaRPr lang="de-DE" altLang="de-DE" sz="3025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5" name="Oval 33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7269674" y="11290893"/>
            <a:ext cx="720315" cy="72031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6" name="Oval 34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11015313" y="11290893"/>
            <a:ext cx="720315" cy="72031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7" name="Oval 35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14760951" y="11290893"/>
            <a:ext cx="720315" cy="72031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8" name="Arc 36"/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15124111" y="11296896"/>
            <a:ext cx="360158" cy="720315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43200"/>
              <a:gd name="T2" fmla="*/ 0 w 21600"/>
              <a:gd name="T3" fmla="*/ 43200 h 43200"/>
              <a:gd name="T4" fmla="*/ 0 w 216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432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29"/>
                  <a:pt x="11929" y="43199"/>
                  <a:pt x="0" y="43200"/>
                </a:cubicBezTo>
              </a:path>
              <a:path w="21600" h="432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29"/>
                  <a:pt x="11929" y="43199"/>
                  <a:pt x="0" y="432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9" name="Oval 37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8362527" y="11290893"/>
            <a:ext cx="720315" cy="72031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40" name="Arc 38"/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18725686" y="11296895"/>
            <a:ext cx="360158" cy="360158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41" name="Rectangle 39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2803721" y="10876712"/>
            <a:ext cx="2881260" cy="15486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36123" tIns="136123" rIns="136123" bIns="136123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>
              <a:lnSpc>
                <a:spcPct val="90000"/>
              </a:lnSpc>
              <a:spcBef>
                <a:spcPct val="20000"/>
              </a:spcBef>
            </a:pPr>
            <a:r>
              <a:rPr lang="de-DE" altLang="de-DE" sz="3025" b="1">
                <a:solidFill>
                  <a:srgbClr val="000000"/>
                </a:solidFill>
                <a:latin typeface="Avenir Medium"/>
              </a:rPr>
              <a:t>Arbeitspaket 4</a:t>
            </a:r>
            <a:endParaRPr lang="de-DE" altLang="de-DE" sz="3025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42" name="Line 40"/>
          <p:cNvSpPr>
            <a:spLocks noChangeShapeType="1"/>
          </p:cNvSpPr>
          <p:nvPr/>
        </p:nvSpPr>
        <p:spPr bwMode="auto">
          <a:xfrm>
            <a:off x="2803720" y="7254126"/>
            <a:ext cx="1739561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43" name="Line 41"/>
          <p:cNvSpPr>
            <a:spLocks noChangeShapeType="1"/>
          </p:cNvSpPr>
          <p:nvPr/>
        </p:nvSpPr>
        <p:spPr bwMode="auto">
          <a:xfrm>
            <a:off x="2803720" y="9015898"/>
            <a:ext cx="1739561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44" name="Line 42"/>
          <p:cNvSpPr>
            <a:spLocks noChangeShapeType="1"/>
          </p:cNvSpPr>
          <p:nvPr/>
        </p:nvSpPr>
        <p:spPr bwMode="auto">
          <a:xfrm>
            <a:off x="2803720" y="10759660"/>
            <a:ext cx="1739561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45" name="Line 43"/>
          <p:cNvSpPr>
            <a:spLocks noChangeShapeType="1"/>
          </p:cNvSpPr>
          <p:nvPr/>
        </p:nvSpPr>
        <p:spPr bwMode="auto">
          <a:xfrm>
            <a:off x="2803720" y="12443397"/>
            <a:ext cx="1739561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46" name="Line 44"/>
          <p:cNvSpPr>
            <a:spLocks noChangeShapeType="1"/>
          </p:cNvSpPr>
          <p:nvPr/>
        </p:nvSpPr>
        <p:spPr bwMode="auto">
          <a:xfrm>
            <a:off x="2803721" y="5387309"/>
            <a:ext cx="3169386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</p:spTree>
    <p:extLst>
      <p:ext uri="{BB962C8B-B14F-4D97-AF65-F5344CB8AC3E}">
        <p14:creationId xmlns:p14="http://schemas.microsoft.com/office/powerpoint/2010/main" val="3674685931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>
                <a:latin typeface="Avenir Medium"/>
              </a:rPr>
              <a:t>Strategische Ziel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23120350" y="13147675"/>
            <a:ext cx="1257300" cy="441325"/>
          </a:xfrm>
          <a:prstGeom prst="rect">
            <a:avLst/>
          </a:prstGeom>
        </p:spPr>
        <p:txBody>
          <a:bodyPr/>
          <a:lstStyle/>
          <a:p>
            <a:fld id="{C3E6ABF3-A789-4C9C-968E-7D41A6C14B3A}" type="slidenum">
              <a:rPr lang="de-DE">
                <a:latin typeface="Avenir Medium"/>
              </a:rPr>
              <a:pPr/>
              <a:t>159</a:t>
            </a:fld>
            <a:endParaRPr lang="de-DE">
              <a:latin typeface="Avenir Medium"/>
            </a:endParaRPr>
          </a:p>
        </p:txBody>
      </p:sp>
      <p:sp>
        <p:nvSpPr>
          <p:cNvPr id="14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068410" y="5184053"/>
            <a:ext cx="5969610" cy="6284749"/>
          </a:xfrm>
          <a:prstGeom prst="homePlate">
            <a:avLst>
              <a:gd name="adj" fmla="val 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5" name="Freeform 3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3165201" y="5154040"/>
            <a:ext cx="12149315" cy="6332770"/>
          </a:xfrm>
          <a:custGeom>
            <a:avLst/>
            <a:gdLst>
              <a:gd name="T0" fmla="*/ 10 w 4048"/>
              <a:gd name="T1" fmla="*/ 0 h 2110"/>
              <a:gd name="T2" fmla="*/ 3719 w 4048"/>
              <a:gd name="T3" fmla="*/ 0 h 2110"/>
              <a:gd name="T4" fmla="*/ 4048 w 4048"/>
              <a:gd name="T5" fmla="*/ 1044 h 2110"/>
              <a:gd name="T6" fmla="*/ 3714 w 4048"/>
              <a:gd name="T7" fmla="*/ 2110 h 2110"/>
              <a:gd name="T8" fmla="*/ 0 w 4048"/>
              <a:gd name="T9" fmla="*/ 2110 h 2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48" h="2110">
                <a:moveTo>
                  <a:pt x="10" y="0"/>
                </a:moveTo>
                <a:lnTo>
                  <a:pt x="3719" y="0"/>
                </a:lnTo>
                <a:lnTo>
                  <a:pt x="4048" y="1044"/>
                </a:lnTo>
                <a:lnTo>
                  <a:pt x="3714" y="2110"/>
                </a:lnTo>
                <a:lnTo>
                  <a:pt x="0" y="2110"/>
                </a:lnTo>
              </a:path>
            </a:pathLst>
          </a:cu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6" name="Oval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499098" y="7101893"/>
            <a:ext cx="2467079" cy="2467079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3025" b="1">
                <a:solidFill>
                  <a:srgbClr val="FFFFFF"/>
                </a:solidFill>
                <a:latin typeface="Avenir Medium"/>
              </a:rPr>
              <a:t>Strate-</a:t>
            </a:r>
            <a:br>
              <a:rPr lang="de-DE" altLang="de-DE" sz="3025" b="1">
                <a:solidFill>
                  <a:srgbClr val="FFFFFF"/>
                </a:solidFill>
                <a:latin typeface="Avenir Medium"/>
              </a:rPr>
            </a:br>
            <a:r>
              <a:rPr lang="de-DE" altLang="de-DE" sz="3025" b="1">
                <a:solidFill>
                  <a:srgbClr val="FFFFFF"/>
                </a:solidFill>
                <a:latin typeface="Avenir Medium"/>
              </a:rPr>
              <a:t>gische </a:t>
            </a:r>
            <a:br>
              <a:rPr lang="de-DE" altLang="de-DE" sz="3025" b="1">
                <a:solidFill>
                  <a:srgbClr val="FFFFFF"/>
                </a:solidFill>
                <a:latin typeface="Avenir Medium"/>
              </a:rPr>
            </a:br>
            <a:r>
              <a:rPr lang="de-DE" altLang="de-DE" sz="3025" b="1">
                <a:solidFill>
                  <a:srgbClr val="FFFFFF"/>
                </a:solidFill>
                <a:latin typeface="Avenir Medium"/>
              </a:rPr>
              <a:t>Ziele</a:t>
            </a:r>
          </a:p>
        </p:txBody>
      </p:sp>
      <p:sp>
        <p:nvSpPr>
          <p:cNvPr id="17" name="Freeform 6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192213" y="5640253"/>
            <a:ext cx="5357344" cy="2470081"/>
          </a:xfrm>
          <a:custGeom>
            <a:avLst/>
            <a:gdLst>
              <a:gd name="T0" fmla="*/ 1259 w 1647"/>
              <a:gd name="T1" fmla="*/ 758 h 759"/>
              <a:gd name="T2" fmla="*/ 0 w 1647"/>
              <a:gd name="T3" fmla="*/ 759 h 759"/>
              <a:gd name="T4" fmla="*/ 0 w 1647"/>
              <a:gd name="T5" fmla="*/ 0 h 759"/>
              <a:gd name="T6" fmla="*/ 1647 w 1647"/>
              <a:gd name="T7" fmla="*/ 0 h 759"/>
              <a:gd name="T8" fmla="*/ 1647 w 1647"/>
              <a:gd name="T9" fmla="*/ 381 h 759"/>
              <a:gd name="T10" fmla="*/ 1578 w 1647"/>
              <a:gd name="T11" fmla="*/ 396 h 759"/>
              <a:gd name="T12" fmla="*/ 1539 w 1647"/>
              <a:gd name="T13" fmla="*/ 408 h 759"/>
              <a:gd name="T14" fmla="*/ 1497 w 1647"/>
              <a:gd name="T15" fmla="*/ 429 h 759"/>
              <a:gd name="T16" fmla="*/ 1455 w 1647"/>
              <a:gd name="T17" fmla="*/ 455 h 759"/>
              <a:gd name="T18" fmla="*/ 1409 w 1647"/>
              <a:gd name="T19" fmla="*/ 486 h 759"/>
              <a:gd name="T20" fmla="*/ 1392 w 1647"/>
              <a:gd name="T21" fmla="*/ 504 h 759"/>
              <a:gd name="T22" fmla="*/ 1365 w 1647"/>
              <a:gd name="T23" fmla="*/ 531 h 759"/>
              <a:gd name="T24" fmla="*/ 1335 w 1647"/>
              <a:gd name="T25" fmla="*/ 572 h 759"/>
              <a:gd name="T26" fmla="*/ 1305 w 1647"/>
              <a:gd name="T27" fmla="*/ 623 h 759"/>
              <a:gd name="T28" fmla="*/ 1289 w 1647"/>
              <a:gd name="T29" fmla="*/ 656 h 759"/>
              <a:gd name="T30" fmla="*/ 1272 w 1647"/>
              <a:gd name="T31" fmla="*/ 702 h 759"/>
              <a:gd name="T32" fmla="*/ 1259 w 1647"/>
              <a:gd name="T33" fmla="*/ 758 h 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647" h="759">
                <a:moveTo>
                  <a:pt x="1259" y="758"/>
                </a:moveTo>
                <a:lnTo>
                  <a:pt x="0" y="759"/>
                </a:lnTo>
                <a:lnTo>
                  <a:pt x="0" y="0"/>
                </a:lnTo>
                <a:lnTo>
                  <a:pt x="1647" y="0"/>
                </a:lnTo>
                <a:lnTo>
                  <a:pt x="1647" y="381"/>
                </a:lnTo>
                <a:lnTo>
                  <a:pt x="1578" y="396"/>
                </a:lnTo>
                <a:lnTo>
                  <a:pt x="1539" y="408"/>
                </a:lnTo>
                <a:lnTo>
                  <a:pt x="1497" y="429"/>
                </a:lnTo>
                <a:lnTo>
                  <a:pt x="1455" y="455"/>
                </a:lnTo>
                <a:lnTo>
                  <a:pt x="1409" y="486"/>
                </a:lnTo>
                <a:lnTo>
                  <a:pt x="1392" y="504"/>
                </a:lnTo>
                <a:lnTo>
                  <a:pt x="1365" y="531"/>
                </a:lnTo>
                <a:lnTo>
                  <a:pt x="1335" y="572"/>
                </a:lnTo>
                <a:cubicBezTo>
                  <a:pt x="1325" y="587"/>
                  <a:pt x="1313" y="609"/>
                  <a:pt x="1305" y="623"/>
                </a:cubicBezTo>
                <a:lnTo>
                  <a:pt x="1289" y="656"/>
                </a:lnTo>
                <a:lnTo>
                  <a:pt x="1272" y="702"/>
                </a:lnTo>
                <a:lnTo>
                  <a:pt x="1259" y="75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8" name="Freeform 7"/>
          <p:cNvSpPr>
            <a:spLocks/>
          </p:cNvSpPr>
          <p:nvPr>
            <p:custDataLst>
              <p:tags r:id="rId5"/>
            </p:custDataLst>
          </p:nvPr>
        </p:nvSpPr>
        <p:spPr bwMode="auto">
          <a:xfrm flipH="1">
            <a:off x="8918718" y="5640253"/>
            <a:ext cx="5357344" cy="2470081"/>
          </a:xfrm>
          <a:custGeom>
            <a:avLst/>
            <a:gdLst>
              <a:gd name="T0" fmla="*/ 1259 w 1647"/>
              <a:gd name="T1" fmla="*/ 758 h 759"/>
              <a:gd name="T2" fmla="*/ 0 w 1647"/>
              <a:gd name="T3" fmla="*/ 759 h 759"/>
              <a:gd name="T4" fmla="*/ 0 w 1647"/>
              <a:gd name="T5" fmla="*/ 0 h 759"/>
              <a:gd name="T6" fmla="*/ 1647 w 1647"/>
              <a:gd name="T7" fmla="*/ 0 h 759"/>
              <a:gd name="T8" fmla="*/ 1647 w 1647"/>
              <a:gd name="T9" fmla="*/ 381 h 759"/>
              <a:gd name="T10" fmla="*/ 1578 w 1647"/>
              <a:gd name="T11" fmla="*/ 396 h 759"/>
              <a:gd name="T12" fmla="*/ 1539 w 1647"/>
              <a:gd name="T13" fmla="*/ 408 h 759"/>
              <a:gd name="T14" fmla="*/ 1497 w 1647"/>
              <a:gd name="T15" fmla="*/ 429 h 759"/>
              <a:gd name="T16" fmla="*/ 1455 w 1647"/>
              <a:gd name="T17" fmla="*/ 455 h 759"/>
              <a:gd name="T18" fmla="*/ 1409 w 1647"/>
              <a:gd name="T19" fmla="*/ 486 h 759"/>
              <a:gd name="T20" fmla="*/ 1392 w 1647"/>
              <a:gd name="T21" fmla="*/ 504 h 759"/>
              <a:gd name="T22" fmla="*/ 1365 w 1647"/>
              <a:gd name="T23" fmla="*/ 531 h 759"/>
              <a:gd name="T24" fmla="*/ 1335 w 1647"/>
              <a:gd name="T25" fmla="*/ 572 h 759"/>
              <a:gd name="T26" fmla="*/ 1305 w 1647"/>
              <a:gd name="T27" fmla="*/ 623 h 759"/>
              <a:gd name="T28" fmla="*/ 1289 w 1647"/>
              <a:gd name="T29" fmla="*/ 656 h 759"/>
              <a:gd name="T30" fmla="*/ 1272 w 1647"/>
              <a:gd name="T31" fmla="*/ 702 h 759"/>
              <a:gd name="T32" fmla="*/ 1259 w 1647"/>
              <a:gd name="T33" fmla="*/ 758 h 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647" h="759">
                <a:moveTo>
                  <a:pt x="1259" y="758"/>
                </a:moveTo>
                <a:lnTo>
                  <a:pt x="0" y="759"/>
                </a:lnTo>
                <a:lnTo>
                  <a:pt x="0" y="0"/>
                </a:lnTo>
                <a:lnTo>
                  <a:pt x="1647" y="0"/>
                </a:lnTo>
                <a:lnTo>
                  <a:pt x="1647" y="381"/>
                </a:lnTo>
                <a:lnTo>
                  <a:pt x="1578" y="396"/>
                </a:lnTo>
                <a:lnTo>
                  <a:pt x="1539" y="408"/>
                </a:lnTo>
                <a:lnTo>
                  <a:pt x="1497" y="429"/>
                </a:lnTo>
                <a:lnTo>
                  <a:pt x="1455" y="455"/>
                </a:lnTo>
                <a:lnTo>
                  <a:pt x="1409" y="486"/>
                </a:lnTo>
                <a:lnTo>
                  <a:pt x="1392" y="504"/>
                </a:lnTo>
                <a:lnTo>
                  <a:pt x="1365" y="531"/>
                </a:lnTo>
                <a:lnTo>
                  <a:pt x="1335" y="572"/>
                </a:lnTo>
                <a:cubicBezTo>
                  <a:pt x="1325" y="587"/>
                  <a:pt x="1313" y="609"/>
                  <a:pt x="1305" y="623"/>
                </a:cubicBezTo>
                <a:lnTo>
                  <a:pt x="1289" y="656"/>
                </a:lnTo>
                <a:lnTo>
                  <a:pt x="1272" y="702"/>
                </a:lnTo>
                <a:lnTo>
                  <a:pt x="1259" y="75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9" name="Freeform 8"/>
          <p:cNvSpPr>
            <a:spLocks/>
          </p:cNvSpPr>
          <p:nvPr>
            <p:custDataLst>
              <p:tags r:id="rId6"/>
            </p:custDataLst>
          </p:nvPr>
        </p:nvSpPr>
        <p:spPr bwMode="auto">
          <a:xfrm flipV="1">
            <a:off x="3192213" y="8542522"/>
            <a:ext cx="5357344" cy="2470080"/>
          </a:xfrm>
          <a:custGeom>
            <a:avLst/>
            <a:gdLst>
              <a:gd name="T0" fmla="*/ 1259 w 1647"/>
              <a:gd name="T1" fmla="*/ 758 h 759"/>
              <a:gd name="T2" fmla="*/ 0 w 1647"/>
              <a:gd name="T3" fmla="*/ 759 h 759"/>
              <a:gd name="T4" fmla="*/ 0 w 1647"/>
              <a:gd name="T5" fmla="*/ 0 h 759"/>
              <a:gd name="T6" fmla="*/ 1647 w 1647"/>
              <a:gd name="T7" fmla="*/ 0 h 759"/>
              <a:gd name="T8" fmla="*/ 1647 w 1647"/>
              <a:gd name="T9" fmla="*/ 381 h 759"/>
              <a:gd name="T10" fmla="*/ 1578 w 1647"/>
              <a:gd name="T11" fmla="*/ 396 h 759"/>
              <a:gd name="T12" fmla="*/ 1539 w 1647"/>
              <a:gd name="T13" fmla="*/ 408 h 759"/>
              <a:gd name="T14" fmla="*/ 1497 w 1647"/>
              <a:gd name="T15" fmla="*/ 429 h 759"/>
              <a:gd name="T16" fmla="*/ 1455 w 1647"/>
              <a:gd name="T17" fmla="*/ 455 h 759"/>
              <a:gd name="T18" fmla="*/ 1409 w 1647"/>
              <a:gd name="T19" fmla="*/ 486 h 759"/>
              <a:gd name="T20" fmla="*/ 1392 w 1647"/>
              <a:gd name="T21" fmla="*/ 504 h 759"/>
              <a:gd name="T22" fmla="*/ 1365 w 1647"/>
              <a:gd name="T23" fmla="*/ 531 h 759"/>
              <a:gd name="T24" fmla="*/ 1335 w 1647"/>
              <a:gd name="T25" fmla="*/ 572 h 759"/>
              <a:gd name="T26" fmla="*/ 1305 w 1647"/>
              <a:gd name="T27" fmla="*/ 623 h 759"/>
              <a:gd name="T28" fmla="*/ 1289 w 1647"/>
              <a:gd name="T29" fmla="*/ 656 h 759"/>
              <a:gd name="T30" fmla="*/ 1272 w 1647"/>
              <a:gd name="T31" fmla="*/ 702 h 759"/>
              <a:gd name="T32" fmla="*/ 1259 w 1647"/>
              <a:gd name="T33" fmla="*/ 758 h 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647" h="759">
                <a:moveTo>
                  <a:pt x="1259" y="758"/>
                </a:moveTo>
                <a:lnTo>
                  <a:pt x="0" y="759"/>
                </a:lnTo>
                <a:lnTo>
                  <a:pt x="0" y="0"/>
                </a:lnTo>
                <a:lnTo>
                  <a:pt x="1647" y="0"/>
                </a:lnTo>
                <a:lnTo>
                  <a:pt x="1647" y="381"/>
                </a:lnTo>
                <a:lnTo>
                  <a:pt x="1578" y="396"/>
                </a:lnTo>
                <a:lnTo>
                  <a:pt x="1539" y="408"/>
                </a:lnTo>
                <a:lnTo>
                  <a:pt x="1497" y="429"/>
                </a:lnTo>
                <a:lnTo>
                  <a:pt x="1455" y="455"/>
                </a:lnTo>
                <a:lnTo>
                  <a:pt x="1409" y="486"/>
                </a:lnTo>
                <a:lnTo>
                  <a:pt x="1392" y="504"/>
                </a:lnTo>
                <a:lnTo>
                  <a:pt x="1365" y="531"/>
                </a:lnTo>
                <a:lnTo>
                  <a:pt x="1335" y="572"/>
                </a:lnTo>
                <a:cubicBezTo>
                  <a:pt x="1325" y="587"/>
                  <a:pt x="1313" y="609"/>
                  <a:pt x="1305" y="623"/>
                </a:cubicBezTo>
                <a:lnTo>
                  <a:pt x="1289" y="656"/>
                </a:lnTo>
                <a:lnTo>
                  <a:pt x="1272" y="702"/>
                </a:lnTo>
                <a:lnTo>
                  <a:pt x="1259" y="758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0" name="Freeform 9"/>
          <p:cNvSpPr>
            <a:spLocks/>
          </p:cNvSpPr>
          <p:nvPr>
            <p:custDataLst>
              <p:tags r:id="rId7"/>
            </p:custDataLst>
          </p:nvPr>
        </p:nvSpPr>
        <p:spPr bwMode="auto">
          <a:xfrm flipH="1" flipV="1">
            <a:off x="8918718" y="8542522"/>
            <a:ext cx="5357344" cy="2470080"/>
          </a:xfrm>
          <a:custGeom>
            <a:avLst/>
            <a:gdLst>
              <a:gd name="T0" fmla="*/ 1259 w 1647"/>
              <a:gd name="T1" fmla="*/ 758 h 759"/>
              <a:gd name="T2" fmla="*/ 0 w 1647"/>
              <a:gd name="T3" fmla="*/ 759 h 759"/>
              <a:gd name="T4" fmla="*/ 0 w 1647"/>
              <a:gd name="T5" fmla="*/ 0 h 759"/>
              <a:gd name="T6" fmla="*/ 1647 w 1647"/>
              <a:gd name="T7" fmla="*/ 0 h 759"/>
              <a:gd name="T8" fmla="*/ 1647 w 1647"/>
              <a:gd name="T9" fmla="*/ 381 h 759"/>
              <a:gd name="T10" fmla="*/ 1578 w 1647"/>
              <a:gd name="T11" fmla="*/ 396 h 759"/>
              <a:gd name="T12" fmla="*/ 1539 w 1647"/>
              <a:gd name="T13" fmla="*/ 408 h 759"/>
              <a:gd name="T14" fmla="*/ 1497 w 1647"/>
              <a:gd name="T15" fmla="*/ 429 h 759"/>
              <a:gd name="T16" fmla="*/ 1455 w 1647"/>
              <a:gd name="T17" fmla="*/ 455 h 759"/>
              <a:gd name="T18" fmla="*/ 1409 w 1647"/>
              <a:gd name="T19" fmla="*/ 486 h 759"/>
              <a:gd name="T20" fmla="*/ 1392 w 1647"/>
              <a:gd name="T21" fmla="*/ 504 h 759"/>
              <a:gd name="T22" fmla="*/ 1365 w 1647"/>
              <a:gd name="T23" fmla="*/ 531 h 759"/>
              <a:gd name="T24" fmla="*/ 1335 w 1647"/>
              <a:gd name="T25" fmla="*/ 572 h 759"/>
              <a:gd name="T26" fmla="*/ 1305 w 1647"/>
              <a:gd name="T27" fmla="*/ 623 h 759"/>
              <a:gd name="T28" fmla="*/ 1289 w 1647"/>
              <a:gd name="T29" fmla="*/ 656 h 759"/>
              <a:gd name="T30" fmla="*/ 1272 w 1647"/>
              <a:gd name="T31" fmla="*/ 702 h 759"/>
              <a:gd name="T32" fmla="*/ 1259 w 1647"/>
              <a:gd name="T33" fmla="*/ 758 h 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647" h="759">
                <a:moveTo>
                  <a:pt x="1259" y="758"/>
                </a:moveTo>
                <a:lnTo>
                  <a:pt x="0" y="759"/>
                </a:lnTo>
                <a:lnTo>
                  <a:pt x="0" y="0"/>
                </a:lnTo>
                <a:lnTo>
                  <a:pt x="1647" y="0"/>
                </a:lnTo>
                <a:lnTo>
                  <a:pt x="1647" y="381"/>
                </a:lnTo>
                <a:lnTo>
                  <a:pt x="1578" y="396"/>
                </a:lnTo>
                <a:lnTo>
                  <a:pt x="1539" y="408"/>
                </a:lnTo>
                <a:lnTo>
                  <a:pt x="1497" y="429"/>
                </a:lnTo>
                <a:lnTo>
                  <a:pt x="1455" y="455"/>
                </a:lnTo>
                <a:lnTo>
                  <a:pt x="1409" y="486"/>
                </a:lnTo>
                <a:lnTo>
                  <a:pt x="1392" y="504"/>
                </a:lnTo>
                <a:lnTo>
                  <a:pt x="1365" y="531"/>
                </a:lnTo>
                <a:lnTo>
                  <a:pt x="1335" y="572"/>
                </a:lnTo>
                <a:cubicBezTo>
                  <a:pt x="1325" y="587"/>
                  <a:pt x="1313" y="609"/>
                  <a:pt x="1305" y="623"/>
                </a:cubicBezTo>
                <a:lnTo>
                  <a:pt x="1289" y="656"/>
                </a:lnTo>
                <a:lnTo>
                  <a:pt x="1272" y="702"/>
                </a:lnTo>
                <a:lnTo>
                  <a:pt x="1259" y="758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1" name="Rectangle 1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09266" y="5781314"/>
            <a:ext cx="3955730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 b="1">
                <a:solidFill>
                  <a:srgbClr val="000000"/>
                </a:solidFill>
                <a:latin typeface="Avenir Medium"/>
              </a:rPr>
              <a:t>Überschrift</a:t>
            </a:r>
          </a:p>
        </p:txBody>
      </p:sp>
      <p:sp>
        <p:nvSpPr>
          <p:cNvPr id="22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309266" y="6402585"/>
            <a:ext cx="3955730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23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966177" y="5781314"/>
            <a:ext cx="4171825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620717"/>
            <a:r>
              <a:rPr lang="de-DE" altLang="de-DE" sz="3025" b="1">
                <a:solidFill>
                  <a:srgbClr val="000000"/>
                </a:solidFill>
                <a:latin typeface="Avenir Medium"/>
              </a:rPr>
              <a:t>Überschrift</a:t>
            </a:r>
          </a:p>
        </p:txBody>
      </p:sp>
      <p:sp>
        <p:nvSpPr>
          <p:cNvPr id="24" name="Rectangle 1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9966177" y="6402585"/>
            <a:ext cx="4171825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25" name="Rectangle 14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5167452" y="4595487"/>
            <a:ext cx="4171825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 b="1">
                <a:solidFill>
                  <a:srgbClr val="000000"/>
                </a:solidFill>
                <a:latin typeface="Avenir Medium"/>
              </a:rPr>
              <a:t>Überschrift</a:t>
            </a:r>
          </a:p>
        </p:txBody>
      </p:sp>
      <p:sp>
        <p:nvSpPr>
          <p:cNvPr id="26" name="Rectangle 15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5401553" y="5319112"/>
            <a:ext cx="5426374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57159" lvl="1" indent="-354157"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27" name="Rectangle 1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309266" y="10415341"/>
            <a:ext cx="3955730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 b="1">
                <a:solidFill>
                  <a:srgbClr val="000000"/>
                </a:solidFill>
                <a:latin typeface="Avenir Medium"/>
              </a:rPr>
              <a:t>Überschrift</a:t>
            </a:r>
          </a:p>
        </p:txBody>
      </p:sp>
      <p:sp>
        <p:nvSpPr>
          <p:cNvPr id="28" name="Rectangle 1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309266" y="9773060"/>
            <a:ext cx="3955730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29" name="Rectangle 19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9966177" y="10415341"/>
            <a:ext cx="4171825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620717"/>
            <a:r>
              <a:rPr lang="de-DE" altLang="de-DE" sz="3025" b="1">
                <a:solidFill>
                  <a:srgbClr val="000000"/>
                </a:solidFill>
                <a:latin typeface="Avenir Medium"/>
              </a:rPr>
              <a:t>Überschrift</a:t>
            </a:r>
          </a:p>
        </p:txBody>
      </p:sp>
      <p:sp>
        <p:nvSpPr>
          <p:cNvPr id="30" name="Rectangle 2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9966177" y="9773060"/>
            <a:ext cx="4171825" cy="46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006769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ow you can start on Monday Morning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941738403"/>
              </p:ext>
            </p:extLst>
          </p:nvPr>
        </p:nvGraphicFramePr>
        <p:xfrm>
          <a:off x="198782" y="1420668"/>
          <a:ext cx="8565307" cy="117915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8090452" y="2897188"/>
            <a:ext cx="13020261" cy="9168916"/>
            <a:chOff x="8569234" y="3232330"/>
            <a:chExt cx="8595360" cy="8778239"/>
          </a:xfrm>
        </p:grpSpPr>
        <p:sp>
          <p:nvSpPr>
            <p:cNvPr id="6" name="Rectangle 5"/>
            <p:cNvSpPr/>
            <p:nvPr/>
          </p:nvSpPr>
          <p:spPr>
            <a:xfrm>
              <a:off x="8569234" y="3232330"/>
              <a:ext cx="8595360" cy="27954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/>
                <a:t>Address </a:t>
              </a:r>
              <a:r>
                <a:rPr lang="en-US" sz="3000" b="1" dirty="0"/>
                <a:t>heterogeneous customer groups</a:t>
              </a:r>
            </a:p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/>
                <a:t>Preserve older customers’ </a:t>
              </a:r>
              <a:r>
                <a:rPr lang="en-US" sz="3000" b="1" dirty="0"/>
                <a:t>fortune inside your bank</a:t>
              </a:r>
            </a:p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/>
                <a:t>Convince younger customer groups to </a:t>
              </a:r>
              <a:r>
                <a:rPr lang="en-US" sz="3000" b="1" dirty="0"/>
                <a:t>stay with your bank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8569234" y="6223724"/>
              <a:ext cx="8595360" cy="27954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/>
                <a:t>Conduct the Bridge strategy and invest xxx in  </a:t>
              </a:r>
            </a:p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/>
                <a:t>Offer </a:t>
              </a:r>
              <a:r>
                <a:rPr lang="en-US" sz="3000" b="1" dirty="0"/>
                <a:t>holistic</a:t>
              </a:r>
              <a:r>
                <a:rPr lang="en-US" sz="3000" dirty="0"/>
                <a:t> </a:t>
              </a:r>
              <a:r>
                <a:rPr lang="en-US" sz="3000" b="1" dirty="0"/>
                <a:t>inheritance consulting </a:t>
              </a:r>
              <a:r>
                <a:rPr lang="en-US" sz="3000" dirty="0"/>
                <a:t>for your customers</a:t>
              </a:r>
            </a:p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/>
                <a:t>Integrate gamification elements into the OTP </a:t>
              </a:r>
              <a:r>
                <a:rPr lang="en-US" sz="3000" dirty="0" err="1"/>
                <a:t>SmartBank</a:t>
              </a:r>
              <a:r>
                <a:rPr lang="en-US" sz="3000" dirty="0"/>
                <a:t> app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8569234" y="9215118"/>
              <a:ext cx="8595360" cy="27954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>
                  <a:latin typeface="Avenir Medium"/>
                </a:rPr>
                <a:t>Communicate the strategy within OTP Bank</a:t>
              </a:r>
            </a:p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r>
                <a:rPr lang="en-US" sz="3000" dirty="0">
                  <a:latin typeface="Avenir Medium"/>
                </a:rPr>
                <a:t>Approach the Start-up incubator to implement gamification into the OTP application </a:t>
              </a:r>
            </a:p>
            <a:p>
              <a:pPr marL="723900" indent="-552450">
                <a:lnSpc>
                  <a:spcPct val="150000"/>
                </a:lnSpc>
                <a:buFont typeface="Arial" charset="0"/>
                <a:buChar char="•"/>
              </a:pPr>
              <a:endParaRPr lang="en-US" sz="3000" dirty="0">
                <a:latin typeface="Avenir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1215976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>
                <a:latin typeface="Avenir Medium"/>
              </a:rPr>
              <a:t>Textblöck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23120350" y="13147675"/>
            <a:ext cx="1257300" cy="441325"/>
          </a:xfrm>
          <a:prstGeom prst="rect">
            <a:avLst/>
          </a:prstGeom>
        </p:spPr>
        <p:txBody>
          <a:bodyPr/>
          <a:lstStyle/>
          <a:p>
            <a:fld id="{C3E6ABF3-A789-4C9C-968E-7D41A6C14B3A}" type="slidenum">
              <a:rPr lang="de-DE">
                <a:latin typeface="Avenir Medium"/>
              </a:rPr>
              <a:pPr/>
              <a:t>160</a:t>
            </a:fld>
            <a:endParaRPr lang="de-DE">
              <a:latin typeface="Avenir Medium"/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BFE8B8A-19D6-42BD-8B2A-59DD4DDF94E5}"/>
              </a:ext>
            </a:extLst>
          </p:cNvPr>
          <p:cNvGrpSpPr/>
          <p:nvPr/>
        </p:nvGrpSpPr>
        <p:grpSpPr>
          <a:xfrm>
            <a:off x="3319351" y="4018951"/>
            <a:ext cx="17854810" cy="1799925"/>
            <a:chOff x="3319351" y="4018951"/>
            <a:chExt cx="17854810" cy="1799925"/>
          </a:xfrm>
        </p:grpSpPr>
        <p:sp>
          <p:nvSpPr>
            <p:cNvPr id="6" name="AutoShape 4"/>
            <p:cNvSpPr>
              <a:spLocks noChangeArrowheads="1"/>
            </p:cNvSpPr>
            <p:nvPr/>
          </p:nvSpPr>
          <p:spPr bwMode="auto">
            <a:xfrm>
              <a:off x="6422708" y="4018951"/>
              <a:ext cx="10963796" cy="1797785"/>
            </a:xfrm>
            <a:prstGeom prst="homePlate">
              <a:avLst>
                <a:gd name="adj" fmla="val 17778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/>
          </p:nvSpPr>
          <p:spPr bwMode="auto">
            <a:xfrm>
              <a:off x="6629799" y="4641755"/>
              <a:ext cx="10981804" cy="552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>
                  <a:solidFill>
                    <a:srgbClr val="000000"/>
                  </a:solidFill>
                  <a:latin typeface="Avenir Medium"/>
                </a:rPr>
                <a:t>Text</a:t>
              </a:r>
            </a:p>
          </p:txBody>
        </p:sp>
        <p:sp>
          <p:nvSpPr>
            <p:cNvPr id="8" name="Rectangle 6"/>
            <p:cNvSpPr>
              <a:spLocks noChangeArrowheads="1"/>
            </p:cNvSpPr>
            <p:nvPr/>
          </p:nvSpPr>
          <p:spPr bwMode="auto">
            <a:xfrm>
              <a:off x="3319351" y="4018951"/>
              <a:ext cx="2926280" cy="179778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3526442" y="4641755"/>
              <a:ext cx="2719189" cy="552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 b="1" dirty="0">
                  <a:solidFill>
                    <a:srgbClr val="FFFFFF"/>
                  </a:solidFill>
                  <a:latin typeface="Avenir Medium"/>
                </a:rPr>
                <a:t>Überschrift</a:t>
              </a: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6909297" y="4018951"/>
              <a:ext cx="4075783" cy="1799925"/>
            </a:xfrm>
            <a:custGeom>
              <a:avLst/>
              <a:gdLst>
                <a:gd name="T0" fmla="*/ 2 w 1358"/>
                <a:gd name="T1" fmla="*/ 2 h 840"/>
                <a:gd name="T2" fmla="*/ 1358 w 1358"/>
                <a:gd name="T3" fmla="*/ 0 h 840"/>
                <a:gd name="T4" fmla="*/ 1358 w 1358"/>
                <a:gd name="T5" fmla="*/ 840 h 840"/>
                <a:gd name="T6" fmla="*/ 0 w 1358"/>
                <a:gd name="T7" fmla="*/ 840 h 840"/>
                <a:gd name="T8" fmla="*/ 151 w 1358"/>
                <a:gd name="T9" fmla="*/ 421 h 840"/>
                <a:gd name="T10" fmla="*/ 2 w 1358"/>
                <a:gd name="T11" fmla="*/ 2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58" h="840">
                  <a:moveTo>
                    <a:pt x="2" y="2"/>
                  </a:moveTo>
                  <a:lnTo>
                    <a:pt x="1358" y="0"/>
                  </a:lnTo>
                  <a:lnTo>
                    <a:pt x="1358" y="840"/>
                  </a:lnTo>
                  <a:lnTo>
                    <a:pt x="0" y="840"/>
                  </a:lnTo>
                  <a:lnTo>
                    <a:pt x="151" y="421"/>
                  </a:lnTo>
                  <a:lnTo>
                    <a:pt x="2" y="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defTabSz="1814755"/>
              <a:endParaRPr lang="de-DE" sz="3592" dirty="0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7917737" y="4365667"/>
              <a:ext cx="3256424" cy="11064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 b="1" dirty="0">
                  <a:solidFill>
                    <a:srgbClr val="000000"/>
                  </a:solidFill>
                  <a:latin typeface="Avenir Medium"/>
                </a:rPr>
                <a:t>Schluss-folgerung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88C9977-3060-4977-93C8-4837DCBA1867}"/>
              </a:ext>
            </a:extLst>
          </p:cNvPr>
          <p:cNvGrpSpPr/>
          <p:nvPr/>
        </p:nvGrpSpPr>
        <p:grpSpPr>
          <a:xfrm>
            <a:off x="3319351" y="6134879"/>
            <a:ext cx="17854810" cy="1794786"/>
            <a:chOff x="3319351" y="6134879"/>
            <a:chExt cx="17854810" cy="1794786"/>
          </a:xfrm>
        </p:grpSpPr>
        <p:sp>
          <p:nvSpPr>
            <p:cNvPr id="14" name="AutoShape 11"/>
            <p:cNvSpPr>
              <a:spLocks noChangeArrowheads="1"/>
            </p:cNvSpPr>
            <p:nvPr/>
          </p:nvSpPr>
          <p:spPr bwMode="auto">
            <a:xfrm>
              <a:off x="6422708" y="6134879"/>
              <a:ext cx="10963796" cy="1794786"/>
            </a:xfrm>
            <a:prstGeom prst="homePlate">
              <a:avLst>
                <a:gd name="adj" fmla="val 17778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15" name="Rectangle 12"/>
            <p:cNvSpPr>
              <a:spLocks noChangeArrowheads="1"/>
            </p:cNvSpPr>
            <p:nvPr/>
          </p:nvSpPr>
          <p:spPr bwMode="auto">
            <a:xfrm>
              <a:off x="6629799" y="6756644"/>
              <a:ext cx="10981804" cy="5533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>
                  <a:solidFill>
                    <a:srgbClr val="000000"/>
                  </a:solidFill>
                  <a:latin typeface="Avenir Medium"/>
                </a:rPr>
                <a:t>Text</a:t>
              </a: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3319351" y="6134879"/>
              <a:ext cx="2926280" cy="179478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17" name="Rectangle 14"/>
            <p:cNvSpPr>
              <a:spLocks noChangeArrowheads="1"/>
            </p:cNvSpPr>
            <p:nvPr/>
          </p:nvSpPr>
          <p:spPr bwMode="auto">
            <a:xfrm>
              <a:off x="3526442" y="6758781"/>
              <a:ext cx="2719189" cy="5533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 b="1">
                  <a:solidFill>
                    <a:srgbClr val="FFFFFF"/>
                  </a:solidFill>
                  <a:latin typeface="Avenir Medium"/>
                </a:rPr>
                <a:t>Überschrift</a:t>
              </a: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6909297" y="6134879"/>
              <a:ext cx="4075783" cy="1794786"/>
            </a:xfrm>
            <a:custGeom>
              <a:avLst/>
              <a:gdLst>
                <a:gd name="T0" fmla="*/ 2 w 1358"/>
                <a:gd name="T1" fmla="*/ 2 h 840"/>
                <a:gd name="T2" fmla="*/ 1358 w 1358"/>
                <a:gd name="T3" fmla="*/ 0 h 840"/>
                <a:gd name="T4" fmla="*/ 1358 w 1358"/>
                <a:gd name="T5" fmla="*/ 840 h 840"/>
                <a:gd name="T6" fmla="*/ 0 w 1358"/>
                <a:gd name="T7" fmla="*/ 840 h 840"/>
                <a:gd name="T8" fmla="*/ 151 w 1358"/>
                <a:gd name="T9" fmla="*/ 421 h 840"/>
                <a:gd name="T10" fmla="*/ 2 w 1358"/>
                <a:gd name="T11" fmla="*/ 2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58" h="840">
                  <a:moveTo>
                    <a:pt x="2" y="2"/>
                  </a:moveTo>
                  <a:lnTo>
                    <a:pt x="1358" y="0"/>
                  </a:lnTo>
                  <a:lnTo>
                    <a:pt x="1358" y="840"/>
                  </a:lnTo>
                  <a:lnTo>
                    <a:pt x="0" y="840"/>
                  </a:lnTo>
                  <a:lnTo>
                    <a:pt x="151" y="421"/>
                  </a:lnTo>
                  <a:lnTo>
                    <a:pt x="2" y="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defTabSz="1814755"/>
              <a:endParaRPr lang="de-DE" sz="3592" dirty="0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17917737" y="6485290"/>
              <a:ext cx="3256424" cy="11046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 b="1" dirty="0">
                  <a:solidFill>
                    <a:srgbClr val="000000"/>
                  </a:solidFill>
                  <a:latin typeface="Avenir Medium"/>
                </a:rPr>
                <a:t>Schluss-folgerung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0F2B57EA-CEE9-4C36-A486-D3D3DDBE067B}"/>
              </a:ext>
            </a:extLst>
          </p:cNvPr>
          <p:cNvGrpSpPr/>
          <p:nvPr/>
        </p:nvGrpSpPr>
        <p:grpSpPr>
          <a:xfrm>
            <a:off x="3319351" y="8246520"/>
            <a:ext cx="17854810" cy="1802065"/>
            <a:chOff x="3319351" y="8246520"/>
            <a:chExt cx="17854810" cy="1802065"/>
          </a:xfrm>
        </p:grpSpPr>
        <p:sp>
          <p:nvSpPr>
            <p:cNvPr id="21" name="AutoShape 18"/>
            <p:cNvSpPr>
              <a:spLocks noChangeArrowheads="1"/>
            </p:cNvSpPr>
            <p:nvPr/>
          </p:nvSpPr>
          <p:spPr bwMode="auto">
            <a:xfrm>
              <a:off x="6422708" y="8250800"/>
              <a:ext cx="10963796" cy="1797785"/>
            </a:xfrm>
            <a:prstGeom prst="homePlate">
              <a:avLst>
                <a:gd name="adj" fmla="val 17778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22" name="Rectangle 19"/>
            <p:cNvSpPr>
              <a:spLocks noChangeArrowheads="1"/>
            </p:cNvSpPr>
            <p:nvPr/>
          </p:nvSpPr>
          <p:spPr bwMode="auto">
            <a:xfrm>
              <a:off x="6629799" y="8871464"/>
              <a:ext cx="10981804" cy="552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>
                  <a:solidFill>
                    <a:srgbClr val="000000"/>
                  </a:solidFill>
                  <a:latin typeface="Avenir Medium"/>
                </a:rPr>
                <a:t>Text</a:t>
              </a:r>
            </a:p>
          </p:txBody>
        </p:sp>
        <p:sp>
          <p:nvSpPr>
            <p:cNvPr id="23" name="Rectangle 20"/>
            <p:cNvSpPr>
              <a:spLocks noChangeArrowheads="1"/>
            </p:cNvSpPr>
            <p:nvPr/>
          </p:nvSpPr>
          <p:spPr bwMode="auto">
            <a:xfrm>
              <a:off x="3319351" y="8250800"/>
              <a:ext cx="2926280" cy="179778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24" name="Rectangle 21"/>
            <p:cNvSpPr>
              <a:spLocks noChangeArrowheads="1"/>
            </p:cNvSpPr>
            <p:nvPr/>
          </p:nvSpPr>
          <p:spPr bwMode="auto">
            <a:xfrm>
              <a:off x="3526442" y="8871464"/>
              <a:ext cx="2719189" cy="552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 b="1">
                  <a:solidFill>
                    <a:srgbClr val="FFFFFF"/>
                  </a:solidFill>
                  <a:latin typeface="Avenir Medium"/>
                </a:rPr>
                <a:t>Überschrift</a:t>
              </a:r>
            </a:p>
          </p:txBody>
        </p:sp>
        <p:sp>
          <p:nvSpPr>
            <p:cNvPr id="25" name="Freeform 22"/>
            <p:cNvSpPr>
              <a:spLocks/>
            </p:cNvSpPr>
            <p:nvPr/>
          </p:nvSpPr>
          <p:spPr bwMode="auto">
            <a:xfrm>
              <a:off x="16909297" y="8246520"/>
              <a:ext cx="4075783" cy="1802065"/>
            </a:xfrm>
            <a:custGeom>
              <a:avLst/>
              <a:gdLst>
                <a:gd name="T0" fmla="*/ 2 w 1358"/>
                <a:gd name="T1" fmla="*/ 2 h 840"/>
                <a:gd name="T2" fmla="*/ 1358 w 1358"/>
                <a:gd name="T3" fmla="*/ 0 h 840"/>
                <a:gd name="T4" fmla="*/ 1358 w 1358"/>
                <a:gd name="T5" fmla="*/ 840 h 840"/>
                <a:gd name="T6" fmla="*/ 0 w 1358"/>
                <a:gd name="T7" fmla="*/ 840 h 840"/>
                <a:gd name="T8" fmla="*/ 151 w 1358"/>
                <a:gd name="T9" fmla="*/ 421 h 840"/>
                <a:gd name="T10" fmla="*/ 2 w 1358"/>
                <a:gd name="T11" fmla="*/ 2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58" h="840">
                  <a:moveTo>
                    <a:pt x="2" y="2"/>
                  </a:moveTo>
                  <a:lnTo>
                    <a:pt x="1358" y="0"/>
                  </a:lnTo>
                  <a:lnTo>
                    <a:pt x="1358" y="840"/>
                  </a:lnTo>
                  <a:lnTo>
                    <a:pt x="0" y="840"/>
                  </a:lnTo>
                  <a:lnTo>
                    <a:pt x="151" y="421"/>
                  </a:lnTo>
                  <a:lnTo>
                    <a:pt x="2" y="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defTabSz="1814755"/>
              <a:endParaRPr lang="de-DE" sz="3592" dirty="0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26" name="Rectangle 23"/>
            <p:cNvSpPr>
              <a:spLocks noChangeArrowheads="1"/>
            </p:cNvSpPr>
            <p:nvPr/>
          </p:nvSpPr>
          <p:spPr bwMode="auto">
            <a:xfrm>
              <a:off x="17917737" y="8597516"/>
              <a:ext cx="3256424" cy="11064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 b="1" dirty="0">
                  <a:solidFill>
                    <a:srgbClr val="000000"/>
                  </a:solidFill>
                  <a:latin typeface="Avenir Medium"/>
                </a:rPr>
                <a:t>Schluss-folgerung</a:t>
              </a:r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9219DFA6-334A-4099-AC06-8A14DBB03FB2}"/>
              </a:ext>
            </a:extLst>
          </p:cNvPr>
          <p:cNvGrpSpPr/>
          <p:nvPr/>
        </p:nvGrpSpPr>
        <p:grpSpPr>
          <a:xfrm>
            <a:off x="3319351" y="10365447"/>
            <a:ext cx="17854810" cy="1802065"/>
            <a:chOff x="3319351" y="10365447"/>
            <a:chExt cx="17854810" cy="1802065"/>
          </a:xfrm>
        </p:grpSpPr>
        <p:sp>
          <p:nvSpPr>
            <p:cNvPr id="28" name="AutoShape 25"/>
            <p:cNvSpPr>
              <a:spLocks noChangeArrowheads="1"/>
            </p:cNvSpPr>
            <p:nvPr/>
          </p:nvSpPr>
          <p:spPr bwMode="auto">
            <a:xfrm>
              <a:off x="6422708" y="10369727"/>
              <a:ext cx="10963796" cy="1797785"/>
            </a:xfrm>
            <a:prstGeom prst="homePlate">
              <a:avLst>
                <a:gd name="adj" fmla="val 17778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29" name="Rectangle 26"/>
            <p:cNvSpPr>
              <a:spLocks noChangeArrowheads="1"/>
            </p:cNvSpPr>
            <p:nvPr/>
          </p:nvSpPr>
          <p:spPr bwMode="auto">
            <a:xfrm>
              <a:off x="6629799" y="10990391"/>
              <a:ext cx="10981804" cy="552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>
                  <a:solidFill>
                    <a:srgbClr val="000000"/>
                  </a:solidFill>
                  <a:latin typeface="Avenir Medium"/>
                </a:rPr>
                <a:t>Text</a:t>
              </a:r>
            </a:p>
          </p:txBody>
        </p:sp>
        <p:sp>
          <p:nvSpPr>
            <p:cNvPr id="30" name="Rectangle 27"/>
            <p:cNvSpPr>
              <a:spLocks noChangeArrowheads="1"/>
            </p:cNvSpPr>
            <p:nvPr/>
          </p:nvSpPr>
          <p:spPr bwMode="auto">
            <a:xfrm>
              <a:off x="3319351" y="10369727"/>
              <a:ext cx="2926280" cy="179778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31" name="Rectangle 28"/>
            <p:cNvSpPr>
              <a:spLocks noChangeArrowheads="1"/>
            </p:cNvSpPr>
            <p:nvPr/>
          </p:nvSpPr>
          <p:spPr bwMode="auto">
            <a:xfrm>
              <a:off x="3526442" y="10990391"/>
              <a:ext cx="2719189" cy="552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 b="1">
                  <a:solidFill>
                    <a:srgbClr val="FFFFFF"/>
                  </a:solidFill>
                  <a:latin typeface="Avenir Medium"/>
                </a:rPr>
                <a:t>Überschrift</a:t>
              </a:r>
            </a:p>
          </p:txBody>
        </p:sp>
        <p:sp>
          <p:nvSpPr>
            <p:cNvPr id="32" name="Freeform 29"/>
            <p:cNvSpPr>
              <a:spLocks/>
            </p:cNvSpPr>
            <p:nvPr/>
          </p:nvSpPr>
          <p:spPr bwMode="auto">
            <a:xfrm>
              <a:off x="16909295" y="10365447"/>
              <a:ext cx="4075783" cy="1802065"/>
            </a:xfrm>
            <a:custGeom>
              <a:avLst/>
              <a:gdLst>
                <a:gd name="T0" fmla="*/ 2 w 1358"/>
                <a:gd name="T1" fmla="*/ 2 h 840"/>
                <a:gd name="T2" fmla="*/ 1358 w 1358"/>
                <a:gd name="T3" fmla="*/ 0 h 840"/>
                <a:gd name="T4" fmla="*/ 1358 w 1358"/>
                <a:gd name="T5" fmla="*/ 840 h 840"/>
                <a:gd name="T6" fmla="*/ 0 w 1358"/>
                <a:gd name="T7" fmla="*/ 840 h 840"/>
                <a:gd name="T8" fmla="*/ 151 w 1358"/>
                <a:gd name="T9" fmla="*/ 421 h 840"/>
                <a:gd name="T10" fmla="*/ 2 w 1358"/>
                <a:gd name="T11" fmla="*/ 2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58" h="840">
                  <a:moveTo>
                    <a:pt x="2" y="2"/>
                  </a:moveTo>
                  <a:lnTo>
                    <a:pt x="1358" y="0"/>
                  </a:lnTo>
                  <a:lnTo>
                    <a:pt x="1358" y="840"/>
                  </a:lnTo>
                  <a:lnTo>
                    <a:pt x="0" y="840"/>
                  </a:lnTo>
                  <a:lnTo>
                    <a:pt x="151" y="421"/>
                  </a:lnTo>
                  <a:lnTo>
                    <a:pt x="2" y="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33" name="Rectangle 30"/>
            <p:cNvSpPr>
              <a:spLocks noChangeArrowheads="1"/>
            </p:cNvSpPr>
            <p:nvPr/>
          </p:nvSpPr>
          <p:spPr bwMode="auto">
            <a:xfrm>
              <a:off x="17917737" y="10716443"/>
              <a:ext cx="3256424" cy="11064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 b="1">
                  <a:solidFill>
                    <a:srgbClr val="000000"/>
                  </a:solidFill>
                  <a:latin typeface="Avenir Medium"/>
                </a:rPr>
                <a:t>Schluss-folger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8959823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>
                <a:latin typeface="Avenir Medium"/>
              </a:rPr>
              <a:t>Vis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23120350" y="13147675"/>
            <a:ext cx="1257300" cy="441325"/>
          </a:xfrm>
          <a:prstGeom prst="rect">
            <a:avLst/>
          </a:prstGeom>
        </p:spPr>
        <p:txBody>
          <a:bodyPr/>
          <a:lstStyle/>
          <a:p>
            <a:fld id="{C3E6ABF3-A789-4C9C-968E-7D41A6C14B3A}" type="slidenum">
              <a:rPr lang="de-DE">
                <a:latin typeface="Avenir Medium"/>
              </a:rPr>
              <a:pPr/>
              <a:t>161</a:t>
            </a:fld>
            <a:endParaRPr lang="de-DE">
              <a:latin typeface="Avenir Medium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3035064" y="7989689"/>
            <a:ext cx="5189269" cy="417782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9370833" y="7989689"/>
            <a:ext cx="5189271" cy="417782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5706607" y="7989689"/>
            <a:ext cx="5189269" cy="417782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3038063" y="6113870"/>
            <a:ext cx="7854437" cy="1875820"/>
          </a:xfrm>
          <a:custGeom>
            <a:avLst/>
            <a:gdLst>
              <a:gd name="T0" fmla="*/ 0 w 2617"/>
              <a:gd name="T1" fmla="*/ 625 h 625"/>
              <a:gd name="T2" fmla="*/ 2064 w 2617"/>
              <a:gd name="T3" fmla="*/ 1 h 625"/>
              <a:gd name="T4" fmla="*/ 2617 w 2617"/>
              <a:gd name="T5" fmla="*/ 0 h 625"/>
              <a:gd name="T6" fmla="*/ 1728 w 2617"/>
              <a:gd name="T7" fmla="*/ 625 h 625"/>
              <a:gd name="T8" fmla="*/ 0 w 2617"/>
              <a:gd name="T9" fmla="*/ 625 h 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17" h="625">
                <a:moveTo>
                  <a:pt x="0" y="625"/>
                </a:moveTo>
                <a:lnTo>
                  <a:pt x="2064" y="1"/>
                </a:lnTo>
                <a:lnTo>
                  <a:pt x="2617" y="0"/>
                </a:lnTo>
                <a:lnTo>
                  <a:pt x="1728" y="625"/>
                </a:lnTo>
                <a:lnTo>
                  <a:pt x="0" y="625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 flipV="1">
            <a:off x="9376836" y="6116870"/>
            <a:ext cx="5186269" cy="1872819"/>
          </a:xfrm>
          <a:custGeom>
            <a:avLst/>
            <a:gdLst>
              <a:gd name="G0" fmla="+- 6562 0 0"/>
              <a:gd name="G1" fmla="+- 21600 0 6562"/>
              <a:gd name="G2" fmla="*/ 6562 1 2"/>
              <a:gd name="G3" fmla="+- 21600 0 G2"/>
              <a:gd name="G4" fmla="+/ 6562 21600 2"/>
              <a:gd name="G5" fmla="+/ G1 0 2"/>
              <a:gd name="G6" fmla="*/ 21600 21600 6562"/>
              <a:gd name="G7" fmla="*/ G6 1 2"/>
              <a:gd name="G8" fmla="+- 21600 0 G7"/>
              <a:gd name="G9" fmla="*/ 21600 1 2"/>
              <a:gd name="G10" fmla="+- 6562 0 G9"/>
              <a:gd name="G11" fmla="?: G10 G8 0"/>
              <a:gd name="G12" fmla="?: G10 G7 21600"/>
              <a:gd name="T0" fmla="*/ 18319 w 21600"/>
              <a:gd name="T1" fmla="*/ 10800 h 21600"/>
              <a:gd name="T2" fmla="*/ 10800 w 21600"/>
              <a:gd name="T3" fmla="*/ 21600 h 21600"/>
              <a:gd name="T4" fmla="*/ 3281 w 21600"/>
              <a:gd name="T5" fmla="*/ 10800 h 21600"/>
              <a:gd name="T6" fmla="*/ 10800 w 21600"/>
              <a:gd name="T7" fmla="*/ 0 h 21600"/>
              <a:gd name="T8" fmla="*/ 5081 w 21600"/>
              <a:gd name="T9" fmla="*/ 5081 h 21600"/>
              <a:gd name="T10" fmla="*/ 16519 w 21600"/>
              <a:gd name="T11" fmla="*/ 16519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6562" y="21600"/>
                </a:lnTo>
                <a:lnTo>
                  <a:pt x="1503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3182126" y="8277815"/>
            <a:ext cx="5042206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57159" lvl="1" indent="-354157" defTabSz="1620717"/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auto">
          <a:xfrm>
            <a:off x="9520899" y="8277815"/>
            <a:ext cx="5042206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57159" lvl="1" indent="-354157" defTabSz="1620717"/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15853669" y="8277815"/>
            <a:ext cx="5042206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57159" lvl="1" indent="-354157" defTabSz="1620717"/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4" name="Freeform 11"/>
          <p:cNvSpPr>
            <a:spLocks/>
          </p:cNvSpPr>
          <p:nvPr/>
        </p:nvSpPr>
        <p:spPr bwMode="auto">
          <a:xfrm flipH="1">
            <a:off x="13047443" y="6113870"/>
            <a:ext cx="7854435" cy="1875820"/>
          </a:xfrm>
          <a:custGeom>
            <a:avLst/>
            <a:gdLst>
              <a:gd name="T0" fmla="*/ 0 w 2617"/>
              <a:gd name="T1" fmla="*/ 625 h 625"/>
              <a:gd name="T2" fmla="*/ 2064 w 2617"/>
              <a:gd name="T3" fmla="*/ 1 h 625"/>
              <a:gd name="T4" fmla="*/ 2617 w 2617"/>
              <a:gd name="T5" fmla="*/ 0 h 625"/>
              <a:gd name="T6" fmla="*/ 1728 w 2617"/>
              <a:gd name="T7" fmla="*/ 625 h 625"/>
              <a:gd name="T8" fmla="*/ 0 w 2617"/>
              <a:gd name="T9" fmla="*/ 625 h 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17" h="625">
                <a:moveTo>
                  <a:pt x="0" y="625"/>
                </a:moveTo>
                <a:lnTo>
                  <a:pt x="2064" y="1"/>
                </a:lnTo>
                <a:lnTo>
                  <a:pt x="2617" y="0"/>
                </a:lnTo>
                <a:lnTo>
                  <a:pt x="1728" y="625"/>
                </a:lnTo>
                <a:lnTo>
                  <a:pt x="0" y="625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5" name="Arc 12"/>
          <p:cNvSpPr>
            <a:spLocks/>
          </p:cNvSpPr>
          <p:nvPr/>
        </p:nvSpPr>
        <p:spPr bwMode="auto">
          <a:xfrm rot="16200000">
            <a:off x="10604374" y="2014075"/>
            <a:ext cx="2737197" cy="5468392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43200"/>
              <a:gd name="T2" fmla="*/ 33 w 21600"/>
              <a:gd name="T3" fmla="*/ 43200 h 43200"/>
              <a:gd name="T4" fmla="*/ 0 w 216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432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16"/>
                  <a:pt x="11949" y="43181"/>
                  <a:pt x="32" y="43199"/>
                </a:cubicBezTo>
              </a:path>
              <a:path w="21600" h="432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16"/>
                  <a:pt x="11949" y="43181"/>
                  <a:pt x="32" y="43199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6" name="Rectangle 13"/>
          <p:cNvSpPr>
            <a:spLocks noChangeArrowheads="1"/>
          </p:cNvSpPr>
          <p:nvPr/>
        </p:nvSpPr>
        <p:spPr bwMode="auto">
          <a:xfrm>
            <a:off x="9475880" y="4659463"/>
            <a:ext cx="4994185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3592" b="1">
                <a:solidFill>
                  <a:srgbClr val="FFFFFF"/>
                </a:solidFill>
                <a:latin typeface="Avenir Medium"/>
              </a:rPr>
              <a:t>Vision</a:t>
            </a:r>
          </a:p>
        </p:txBody>
      </p:sp>
    </p:spTree>
    <p:extLst>
      <p:ext uri="{BB962C8B-B14F-4D97-AF65-F5344CB8AC3E}">
        <p14:creationId xmlns:p14="http://schemas.microsoft.com/office/powerpoint/2010/main" val="1900884314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>
                <a:latin typeface="Avenir Medium"/>
              </a:rPr>
              <a:t>Vor-/Nachteil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23120350" y="13147675"/>
            <a:ext cx="1257300" cy="441325"/>
          </a:xfrm>
          <a:prstGeom prst="rect">
            <a:avLst/>
          </a:prstGeom>
        </p:spPr>
        <p:txBody>
          <a:bodyPr/>
          <a:lstStyle/>
          <a:p>
            <a:fld id="{C3E6ABF3-A789-4C9C-968E-7D41A6C14B3A}" type="slidenum">
              <a:rPr lang="de-DE">
                <a:latin typeface="Avenir Medium"/>
              </a:rPr>
              <a:pPr/>
              <a:t>162</a:t>
            </a:fld>
            <a:endParaRPr lang="de-DE">
              <a:latin typeface="Avenir Medium"/>
            </a:endParaRPr>
          </a:p>
        </p:txBody>
      </p:sp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3123184" y="6111117"/>
            <a:ext cx="1926843" cy="1401614"/>
            <a:chOff x="139" y="1701"/>
            <a:chExt cx="642" cy="467"/>
          </a:xfrm>
        </p:grpSpPr>
        <p:sp>
          <p:nvSpPr>
            <p:cNvPr id="6" name="Rectangle 4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139" y="1843"/>
              <a:ext cx="642" cy="18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grpSp>
          <p:nvGrpSpPr>
            <p:cNvPr id="7" name="Group 5"/>
            <p:cNvGrpSpPr>
              <a:grpSpLocks/>
            </p:cNvGrpSpPr>
            <p:nvPr/>
          </p:nvGrpSpPr>
          <p:grpSpPr bwMode="auto">
            <a:xfrm>
              <a:off x="226" y="1701"/>
              <a:ext cx="468" cy="467"/>
              <a:chOff x="231" y="1701"/>
              <a:chExt cx="468" cy="467"/>
            </a:xfrm>
          </p:grpSpPr>
          <p:sp>
            <p:nvSpPr>
              <p:cNvPr id="8" name="Oval 6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231" y="1701"/>
                <a:ext cx="468" cy="46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defTabSz="1814755">
                  <a:spcBef>
                    <a:spcPct val="0"/>
                  </a:spcBef>
                </a:pPr>
                <a:endParaRPr lang="en-US" altLang="de-DE" sz="3025">
                  <a:solidFill>
                    <a:srgbClr val="000000"/>
                  </a:solidFill>
                  <a:latin typeface="Avenir Medium"/>
                </a:endParaRPr>
              </a:p>
            </p:txBody>
          </p:sp>
          <p:sp>
            <p:nvSpPr>
              <p:cNvPr id="10" name="AutoShape 7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316" y="1786"/>
                <a:ext cx="297" cy="298"/>
              </a:xfrm>
              <a:prstGeom prst="plus">
                <a:avLst>
                  <a:gd name="adj" fmla="val 35403"/>
                </a:avLst>
              </a:prstGeom>
              <a:solidFill>
                <a:schemeClr val="bg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14755"/>
                <a:endParaRPr lang="de-DE" sz="3592">
                  <a:solidFill>
                    <a:srgbClr val="000000"/>
                  </a:solidFill>
                  <a:latin typeface="Avenir Medium"/>
                </a:endParaRPr>
              </a:p>
            </p:txBody>
          </p:sp>
        </p:grpSp>
      </p:grpSp>
      <p:grpSp>
        <p:nvGrpSpPr>
          <p:cNvPr id="11" name="Group 9"/>
          <p:cNvGrpSpPr>
            <a:grpSpLocks/>
          </p:cNvGrpSpPr>
          <p:nvPr/>
        </p:nvGrpSpPr>
        <p:grpSpPr bwMode="auto">
          <a:xfrm>
            <a:off x="5050026" y="3587007"/>
            <a:ext cx="5267303" cy="7416245"/>
            <a:chOff x="306" y="860"/>
            <a:chExt cx="1900" cy="2471"/>
          </a:xfrm>
        </p:grpSpPr>
        <p:grpSp>
          <p:nvGrpSpPr>
            <p:cNvPr id="12" name="Group 10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306" y="860"/>
              <a:ext cx="1900" cy="413"/>
              <a:chOff x="144" y="896"/>
              <a:chExt cx="1900" cy="413"/>
            </a:xfrm>
          </p:grpSpPr>
          <p:sp>
            <p:nvSpPr>
              <p:cNvPr id="17" name="Rectangle 11"/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44" y="896"/>
                <a:ext cx="1878" cy="41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36123" tIns="136123" rIns="136123" bIns="136123" anchor="ctr"/>
              <a:lstStyle/>
              <a:p>
                <a:pPr defTabSz="1814755"/>
                <a:endParaRPr lang="de-DE" sz="3592" dirty="0">
                  <a:solidFill>
                    <a:srgbClr val="000000"/>
                  </a:solidFill>
                  <a:latin typeface="Avenir Medium"/>
                </a:endParaRPr>
              </a:p>
            </p:txBody>
          </p:sp>
          <p:sp>
            <p:nvSpPr>
              <p:cNvPr id="18" name="Rectangle 12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226" y="930"/>
                <a:ext cx="1818" cy="18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857250">
                  <a:spcBef>
                    <a:spcPct val="40000"/>
                  </a:spcBef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188913" indent="-187325" defTabSz="857250">
                  <a:spcBef>
                    <a:spcPct val="40000"/>
                  </a:spcBef>
                  <a:buChar char="n"/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379413" indent="-188913" defTabSz="857250">
                  <a:spcBef>
                    <a:spcPct val="40000"/>
                  </a:spcBef>
                  <a:buChar char="l"/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571500" indent="-190500" defTabSz="857250">
                  <a:spcBef>
                    <a:spcPct val="40000"/>
                  </a:spcBef>
                  <a:buChar char="–"/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760413" indent="-187325" defTabSz="857250">
                  <a:spcBef>
                    <a:spcPct val="4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1217613" indent="-187325" defTabSz="857250" eaLnBrk="0" fontAlgn="base" hangingPunct="0">
                  <a:spcBef>
                    <a:spcPct val="4000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1674813" indent="-187325" defTabSz="857250" eaLnBrk="0" fontAlgn="base" hangingPunct="0">
                  <a:spcBef>
                    <a:spcPct val="4000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2132013" indent="-187325" defTabSz="857250" eaLnBrk="0" fontAlgn="base" hangingPunct="0">
                  <a:spcBef>
                    <a:spcPct val="4000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2589213" indent="-187325" defTabSz="857250" eaLnBrk="0" fontAlgn="base" hangingPunct="0">
                  <a:spcBef>
                    <a:spcPct val="4000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defTabSz="1620717"/>
                <a:r>
                  <a:rPr lang="de-DE" altLang="de-DE" sz="3592" b="1">
                    <a:solidFill>
                      <a:srgbClr val="FFFFFF"/>
                    </a:solidFill>
                    <a:latin typeface="Avenir Medium"/>
                  </a:rPr>
                  <a:t>Text</a:t>
                </a:r>
              </a:p>
            </p:txBody>
          </p:sp>
        </p:grpSp>
        <p:sp>
          <p:nvSpPr>
            <p:cNvPr id="13" name="Rectangle 13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06" y="1843"/>
              <a:ext cx="1878" cy="18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14" name="Rectangle 14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388" y="1381"/>
              <a:ext cx="1796" cy="1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357159" lvl="1" indent="-354157" defTabSz="1620717"/>
              <a:r>
                <a:rPr lang="de-DE" altLang="de-DE" sz="3592">
                  <a:solidFill>
                    <a:srgbClr val="000000"/>
                  </a:solidFill>
                  <a:latin typeface="Avenir Medium"/>
                </a:rPr>
                <a:t>Text</a:t>
              </a:r>
            </a:p>
          </p:txBody>
        </p:sp>
        <p:sp>
          <p:nvSpPr>
            <p:cNvPr id="15" name="Rectangle 1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06" y="3147"/>
              <a:ext cx="1878" cy="18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388" y="2685"/>
              <a:ext cx="1796" cy="1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357159" lvl="1" indent="-354157" defTabSz="1620717"/>
              <a:r>
                <a:rPr lang="de-DE" altLang="de-DE" sz="3592">
                  <a:solidFill>
                    <a:srgbClr val="000000"/>
                  </a:solidFill>
                  <a:latin typeface="Avenir Medium"/>
                </a:rPr>
                <a:t>Text</a:t>
              </a:r>
            </a:p>
          </p:txBody>
        </p:sp>
      </p:grpSp>
      <p:grpSp>
        <p:nvGrpSpPr>
          <p:cNvPr id="19" name="Group 17"/>
          <p:cNvGrpSpPr>
            <a:grpSpLocks/>
          </p:cNvGrpSpPr>
          <p:nvPr/>
        </p:nvGrpSpPr>
        <p:grpSpPr bwMode="auto">
          <a:xfrm>
            <a:off x="10410371" y="3587007"/>
            <a:ext cx="5267303" cy="7416245"/>
            <a:chOff x="2261" y="860"/>
            <a:chExt cx="1900" cy="2471"/>
          </a:xfrm>
        </p:grpSpPr>
        <p:grpSp>
          <p:nvGrpSpPr>
            <p:cNvPr id="20" name="Group 18"/>
            <p:cNvGrpSpPr>
              <a:grpSpLocks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2261" y="860"/>
              <a:ext cx="1900" cy="413"/>
              <a:chOff x="2174" y="896"/>
              <a:chExt cx="1900" cy="413"/>
            </a:xfrm>
          </p:grpSpPr>
          <p:sp>
            <p:nvSpPr>
              <p:cNvPr id="25" name="Rectangle 19"/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2174" y="896"/>
                <a:ext cx="1878" cy="41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36123" tIns="136123" rIns="136123" bIns="136123" anchor="ctr"/>
              <a:lstStyle/>
              <a:p>
                <a:pPr defTabSz="1814755"/>
                <a:endParaRPr lang="de-DE" sz="3592">
                  <a:solidFill>
                    <a:srgbClr val="000000"/>
                  </a:solidFill>
                  <a:latin typeface="Avenir Medium"/>
                </a:endParaRPr>
              </a:p>
            </p:txBody>
          </p:sp>
          <p:sp>
            <p:nvSpPr>
              <p:cNvPr id="26" name="Rectangle 20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2256" y="930"/>
                <a:ext cx="1818" cy="18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857250">
                  <a:spcBef>
                    <a:spcPct val="40000"/>
                  </a:spcBef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188913" indent="-187325" defTabSz="857250">
                  <a:spcBef>
                    <a:spcPct val="40000"/>
                  </a:spcBef>
                  <a:buChar char="n"/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379413" indent="-188913" defTabSz="857250">
                  <a:spcBef>
                    <a:spcPct val="40000"/>
                  </a:spcBef>
                  <a:buChar char="l"/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571500" indent="-190500" defTabSz="857250">
                  <a:spcBef>
                    <a:spcPct val="40000"/>
                  </a:spcBef>
                  <a:buChar char="–"/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760413" indent="-187325" defTabSz="857250">
                  <a:spcBef>
                    <a:spcPct val="40000"/>
                  </a:spcBef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1217613" indent="-187325" defTabSz="857250" eaLnBrk="0" fontAlgn="base" hangingPunct="0">
                  <a:spcBef>
                    <a:spcPct val="4000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1674813" indent="-187325" defTabSz="857250" eaLnBrk="0" fontAlgn="base" hangingPunct="0">
                  <a:spcBef>
                    <a:spcPct val="4000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2132013" indent="-187325" defTabSz="857250" eaLnBrk="0" fontAlgn="base" hangingPunct="0">
                  <a:spcBef>
                    <a:spcPct val="4000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2589213" indent="-187325" defTabSz="857250" eaLnBrk="0" fontAlgn="base" hangingPunct="0">
                  <a:spcBef>
                    <a:spcPct val="4000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defTabSz="1620717"/>
                <a:r>
                  <a:rPr lang="de-DE" altLang="de-DE" sz="3592" b="1">
                    <a:solidFill>
                      <a:srgbClr val="FFFFFF"/>
                    </a:solidFill>
                    <a:latin typeface="Avenir Medium"/>
                  </a:rPr>
                  <a:t>Text</a:t>
                </a:r>
              </a:p>
            </p:txBody>
          </p:sp>
        </p:grpSp>
        <p:sp>
          <p:nvSpPr>
            <p:cNvPr id="21" name="Rectangle 2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261" y="1843"/>
              <a:ext cx="1878" cy="18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22" name="Rectangle 2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343" y="1381"/>
              <a:ext cx="1796" cy="1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357159" lvl="1" indent="-354157" defTabSz="1620717"/>
              <a:r>
                <a:rPr lang="de-DE" altLang="de-DE" sz="3592">
                  <a:solidFill>
                    <a:srgbClr val="000000"/>
                  </a:solidFill>
                  <a:latin typeface="Avenir Medium"/>
                </a:rPr>
                <a:t>Text</a:t>
              </a:r>
            </a:p>
          </p:txBody>
        </p:sp>
        <p:sp>
          <p:nvSpPr>
            <p:cNvPr id="23" name="Rectangle 2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261" y="3147"/>
              <a:ext cx="1878" cy="18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24" name="Rectangle 2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343" y="2685"/>
              <a:ext cx="1796" cy="1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357159" lvl="1" indent="-354157" defTabSz="1620717"/>
              <a:r>
                <a:rPr lang="de-DE" altLang="de-DE" sz="3592">
                  <a:solidFill>
                    <a:srgbClr val="000000"/>
                  </a:solidFill>
                  <a:latin typeface="Avenir Medium"/>
                </a:rPr>
                <a:t>Text</a:t>
              </a:r>
            </a:p>
          </p:txBody>
        </p:sp>
      </p:grpSp>
      <p:grpSp>
        <p:nvGrpSpPr>
          <p:cNvPr id="27" name="Group 25"/>
          <p:cNvGrpSpPr>
            <a:grpSpLocks/>
          </p:cNvGrpSpPr>
          <p:nvPr/>
        </p:nvGrpSpPr>
        <p:grpSpPr bwMode="auto">
          <a:xfrm>
            <a:off x="15770716" y="3587007"/>
            <a:ext cx="5267303" cy="7416245"/>
            <a:chOff x="4210" y="860"/>
            <a:chExt cx="1900" cy="2471"/>
          </a:xfrm>
        </p:grpSpPr>
        <p:sp>
          <p:nvSpPr>
            <p:cNvPr id="28" name="Rectangle 2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210" y="860"/>
              <a:ext cx="1878" cy="41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36123" tIns="136123" rIns="136123" bIns="136123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29" name="Rectangle 2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292" y="894"/>
              <a:ext cx="1818" cy="1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620717"/>
              <a:r>
                <a:rPr lang="de-DE" altLang="de-DE" sz="3592" b="1">
                  <a:solidFill>
                    <a:srgbClr val="FFFFFF"/>
                  </a:solidFill>
                  <a:latin typeface="Avenir Medium"/>
                </a:rPr>
                <a:t>Text</a:t>
              </a:r>
            </a:p>
          </p:txBody>
        </p:sp>
        <p:sp>
          <p:nvSpPr>
            <p:cNvPr id="30" name="Rectangle 2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210" y="1843"/>
              <a:ext cx="1878" cy="18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31" name="Rectangle 2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292" y="1381"/>
              <a:ext cx="1796" cy="1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357159" lvl="1" indent="-354157" defTabSz="1620717"/>
              <a:r>
                <a:rPr lang="de-DE" altLang="de-DE" sz="3592">
                  <a:solidFill>
                    <a:srgbClr val="000000"/>
                  </a:solidFill>
                  <a:latin typeface="Avenir Medium"/>
                </a:rPr>
                <a:t>Text</a:t>
              </a:r>
            </a:p>
          </p:txBody>
        </p:sp>
        <p:sp>
          <p:nvSpPr>
            <p:cNvPr id="32" name="Rectangle 3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4210" y="3147"/>
              <a:ext cx="1878" cy="18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33" name="Rectangle 3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292" y="2685"/>
              <a:ext cx="1796" cy="1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57250">
                <a:spcBef>
                  <a:spcPct val="4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8913" indent="-187325" defTabSz="857250">
                <a:spcBef>
                  <a:spcPct val="40000"/>
                </a:spcBef>
                <a:buChar char="n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379413" indent="-188913" defTabSz="857250">
                <a:spcBef>
                  <a:spcPct val="40000"/>
                </a:spcBef>
                <a:buChar char="l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571500" indent="-190500" defTabSz="857250">
                <a:spcBef>
                  <a:spcPct val="4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760413" indent="-187325" defTabSz="857250">
                <a:spcBef>
                  <a:spcPct val="4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12176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16748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21320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2589213" indent="-187325"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357159" lvl="1" indent="-354157" defTabSz="1620717"/>
              <a:r>
                <a:rPr lang="de-DE" altLang="de-DE" sz="3592">
                  <a:solidFill>
                    <a:srgbClr val="000000"/>
                  </a:solidFill>
                  <a:latin typeface="Avenir Medium"/>
                </a:rPr>
                <a:t>Text</a:t>
              </a:r>
            </a:p>
          </p:txBody>
        </p:sp>
      </p:grpSp>
      <p:grpSp>
        <p:nvGrpSpPr>
          <p:cNvPr id="34" name="Group 32"/>
          <p:cNvGrpSpPr>
            <a:grpSpLocks/>
          </p:cNvGrpSpPr>
          <p:nvPr/>
        </p:nvGrpSpPr>
        <p:grpSpPr bwMode="auto">
          <a:xfrm>
            <a:off x="3123184" y="10024831"/>
            <a:ext cx="1926843" cy="1401614"/>
            <a:chOff x="139" y="3005"/>
            <a:chExt cx="642" cy="467"/>
          </a:xfrm>
        </p:grpSpPr>
        <p:sp>
          <p:nvSpPr>
            <p:cNvPr id="35" name="Rectangle 3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39" y="3147"/>
              <a:ext cx="642" cy="18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venir Medium"/>
              </a:endParaRPr>
            </a:p>
          </p:txBody>
        </p:sp>
        <p:grpSp>
          <p:nvGrpSpPr>
            <p:cNvPr id="36" name="Group 34"/>
            <p:cNvGrpSpPr>
              <a:grpSpLocks/>
            </p:cNvGrpSpPr>
            <p:nvPr/>
          </p:nvGrpSpPr>
          <p:grpSpPr bwMode="auto">
            <a:xfrm>
              <a:off x="226" y="3005"/>
              <a:ext cx="467" cy="467"/>
              <a:chOff x="231" y="3005"/>
              <a:chExt cx="467" cy="467"/>
            </a:xfrm>
          </p:grpSpPr>
          <p:sp>
            <p:nvSpPr>
              <p:cNvPr id="37" name="Oval 35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231" y="3005"/>
                <a:ext cx="467" cy="467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defTabSz="1814755">
                  <a:spcBef>
                    <a:spcPct val="0"/>
                  </a:spcBef>
                </a:pPr>
                <a:endParaRPr lang="en-US" altLang="de-DE" sz="3025" dirty="0">
                  <a:solidFill>
                    <a:srgbClr val="000000"/>
                  </a:solidFill>
                  <a:latin typeface="Avenir Medium"/>
                </a:endParaRPr>
              </a:p>
            </p:txBody>
          </p:sp>
          <p:sp>
            <p:nvSpPr>
              <p:cNvPr id="38" name="Rectangle 36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16" y="3200"/>
                <a:ext cx="298" cy="78"/>
              </a:xfrm>
              <a:prstGeom prst="rect">
                <a:avLst/>
              </a:prstGeom>
              <a:solidFill>
                <a:schemeClr val="bg2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36123" tIns="136123" rIns="136123" bIns="136123" anchor="ctr"/>
              <a:lstStyle/>
              <a:p>
                <a:pPr defTabSz="1814755"/>
                <a:endParaRPr lang="de-DE" sz="3592" dirty="0">
                  <a:solidFill>
                    <a:srgbClr val="000000"/>
                  </a:solidFill>
                  <a:latin typeface="Avenir Medium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96936506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>
                <a:latin typeface="Avenir Medium"/>
              </a:rPr>
              <a:t>Vor-/Nachteil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23120350" y="13147675"/>
            <a:ext cx="1257300" cy="441325"/>
          </a:xfrm>
          <a:prstGeom prst="rect">
            <a:avLst/>
          </a:prstGeom>
        </p:spPr>
        <p:txBody>
          <a:bodyPr/>
          <a:lstStyle/>
          <a:p>
            <a:fld id="{C3E6ABF3-A789-4C9C-968E-7D41A6C14B3A}" type="slidenum">
              <a:rPr lang="de-DE">
                <a:latin typeface="Avenir Medium"/>
              </a:rPr>
              <a:pPr/>
              <a:t>163</a:t>
            </a:fld>
            <a:endParaRPr lang="de-DE">
              <a:latin typeface="Avenir Medium"/>
            </a:endParaRPr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28502" y="3492884"/>
            <a:ext cx="8019508" cy="894691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 flipH="1">
            <a:off x="5350994" y="3492885"/>
            <a:ext cx="6897017" cy="1122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10800000" wrap="none" lIns="136123" tIns="136123" rIns="136123" bIns="136123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spcBef>
                <a:spcPct val="50000"/>
              </a:spcBef>
            </a:pPr>
            <a:endParaRPr lang="en-US" altLang="de-DE" sz="3403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7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567088" y="3767236"/>
            <a:ext cx="6680923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592" b="1" dirty="0">
                <a:solidFill>
                  <a:schemeClr val="bg2"/>
                </a:solidFill>
                <a:latin typeface="Avenir Medium"/>
              </a:rPr>
              <a:t>Vorteil</a:t>
            </a:r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0800000" flipH="1">
            <a:off x="4228503" y="3492885"/>
            <a:ext cx="1122491" cy="1122491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0" name="AutoShap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8100000" flipH="1">
            <a:off x="4348555" y="3766005"/>
            <a:ext cx="951415" cy="531233"/>
          </a:xfrm>
          <a:prstGeom prst="rightArrow">
            <a:avLst>
              <a:gd name="adj1" fmla="val 63713"/>
              <a:gd name="adj2" fmla="val 52875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1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746228" y="3492884"/>
            <a:ext cx="8019508" cy="894691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2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0800000" flipH="1">
            <a:off x="13868720" y="3492885"/>
            <a:ext cx="6897017" cy="1122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10800000" wrap="none" lIns="136123" tIns="136123" rIns="136123" bIns="136123" anchor="ctr"/>
          <a:lstStyle/>
          <a:p>
            <a:pPr algn="ctr" defTabSz="1620717">
              <a:spcBef>
                <a:spcPct val="50000"/>
              </a:spcBef>
            </a:pPr>
            <a:endParaRPr lang="de-DE" sz="3403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4084814" y="3767236"/>
            <a:ext cx="6680923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592" b="1" dirty="0">
                <a:solidFill>
                  <a:schemeClr val="bg2"/>
                </a:solidFill>
                <a:latin typeface="Avenir Medium"/>
              </a:rPr>
              <a:t>Nachteil</a:t>
            </a:r>
          </a:p>
        </p:txBody>
      </p:sp>
      <p:sp>
        <p:nvSpPr>
          <p:cNvPr id="14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 rot="10800000" flipH="1">
            <a:off x="12746229" y="3492885"/>
            <a:ext cx="1122491" cy="1122491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5" name="AutoShape 1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13500000" flipH="1" flipV="1">
            <a:off x="12866281" y="3766005"/>
            <a:ext cx="951415" cy="531233"/>
          </a:xfrm>
          <a:prstGeom prst="rightArrow">
            <a:avLst>
              <a:gd name="adj1" fmla="val 63713"/>
              <a:gd name="adj2" fmla="val 52875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4453602" y="4852480"/>
            <a:ext cx="7398235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57159" lvl="1" indent="-354157" defTabSz="1620717"/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13076372" y="4852480"/>
            <a:ext cx="7398237" cy="55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57159" lvl="1" indent="-354157" defTabSz="1620717"/>
            <a:r>
              <a:rPr lang="de-DE" altLang="de-DE" sz="3592">
                <a:solidFill>
                  <a:srgbClr val="000000"/>
                </a:solidFill>
                <a:latin typeface="Avenir Medium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251389527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Zahlen, Symbole, Status, Sticker</a:t>
            </a:r>
          </a:p>
        </p:txBody>
      </p:sp>
      <p:sp>
        <p:nvSpPr>
          <p:cNvPr id="5" name="Oval 3"/>
          <p:cNvSpPr>
            <a:spLocks noChangeArrowheads="1"/>
          </p:cNvSpPr>
          <p:nvPr/>
        </p:nvSpPr>
        <p:spPr bwMode="auto">
          <a:xfrm>
            <a:off x="3475773" y="4135172"/>
            <a:ext cx="594260" cy="5942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3025" b="1" i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6" name="Oval 4"/>
          <p:cNvSpPr>
            <a:spLocks noChangeArrowheads="1"/>
          </p:cNvSpPr>
          <p:nvPr/>
        </p:nvSpPr>
        <p:spPr bwMode="auto">
          <a:xfrm>
            <a:off x="4265120" y="4135172"/>
            <a:ext cx="594260" cy="5942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3025" b="1" i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Oval 5"/>
          <p:cNvSpPr>
            <a:spLocks noChangeArrowheads="1"/>
          </p:cNvSpPr>
          <p:nvPr/>
        </p:nvSpPr>
        <p:spPr bwMode="auto">
          <a:xfrm>
            <a:off x="5054464" y="4135172"/>
            <a:ext cx="594260" cy="5942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3025" b="1" i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8" name="Oval 6"/>
          <p:cNvSpPr>
            <a:spLocks noChangeArrowheads="1"/>
          </p:cNvSpPr>
          <p:nvPr/>
        </p:nvSpPr>
        <p:spPr bwMode="auto">
          <a:xfrm>
            <a:off x="5843810" y="4135172"/>
            <a:ext cx="594260" cy="5942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3025" b="1" i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0" name="Oval 7"/>
          <p:cNvSpPr>
            <a:spLocks noChangeArrowheads="1"/>
          </p:cNvSpPr>
          <p:nvPr/>
        </p:nvSpPr>
        <p:spPr bwMode="auto">
          <a:xfrm>
            <a:off x="6633155" y="4135172"/>
            <a:ext cx="594260" cy="5942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3025" b="1" i="1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1" name="Oval 8"/>
          <p:cNvSpPr>
            <a:spLocks noChangeArrowheads="1"/>
          </p:cNvSpPr>
          <p:nvPr/>
        </p:nvSpPr>
        <p:spPr bwMode="auto">
          <a:xfrm>
            <a:off x="7422501" y="4135172"/>
            <a:ext cx="594260" cy="5942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3025" b="1" i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2" name="Oval 9"/>
          <p:cNvSpPr>
            <a:spLocks noChangeArrowheads="1"/>
          </p:cNvSpPr>
          <p:nvPr/>
        </p:nvSpPr>
        <p:spPr bwMode="auto">
          <a:xfrm>
            <a:off x="8211845" y="4135172"/>
            <a:ext cx="594260" cy="5942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3025" b="1" i="1">
                <a:solidFill>
                  <a:srgbClr val="FFFFFF"/>
                </a:solidFill>
              </a:rPr>
              <a:t>7</a:t>
            </a:r>
          </a:p>
        </p:txBody>
      </p:sp>
      <p:sp>
        <p:nvSpPr>
          <p:cNvPr id="13" name="Oval 10"/>
          <p:cNvSpPr>
            <a:spLocks noChangeArrowheads="1"/>
          </p:cNvSpPr>
          <p:nvPr/>
        </p:nvSpPr>
        <p:spPr bwMode="auto">
          <a:xfrm>
            <a:off x="9001192" y="4135172"/>
            <a:ext cx="594260" cy="5942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3025" b="1" i="1">
                <a:solidFill>
                  <a:srgbClr val="FFFFFF"/>
                </a:solidFill>
              </a:rPr>
              <a:t>8</a:t>
            </a:r>
          </a:p>
        </p:txBody>
      </p:sp>
      <p:sp>
        <p:nvSpPr>
          <p:cNvPr id="14" name="Oval 11"/>
          <p:cNvSpPr>
            <a:spLocks noChangeArrowheads="1"/>
          </p:cNvSpPr>
          <p:nvPr/>
        </p:nvSpPr>
        <p:spPr bwMode="auto">
          <a:xfrm>
            <a:off x="9790536" y="4135172"/>
            <a:ext cx="594260" cy="5942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3025" b="1" i="1">
                <a:solidFill>
                  <a:srgbClr val="FFFFFF"/>
                </a:solidFill>
              </a:rPr>
              <a:t>9</a:t>
            </a:r>
          </a:p>
        </p:txBody>
      </p:sp>
      <p:sp>
        <p:nvSpPr>
          <p:cNvPr id="15" name="Oval 12"/>
          <p:cNvSpPr>
            <a:spLocks noChangeArrowheads="1"/>
          </p:cNvSpPr>
          <p:nvPr/>
        </p:nvSpPr>
        <p:spPr bwMode="auto">
          <a:xfrm>
            <a:off x="10582882" y="4135172"/>
            <a:ext cx="594260" cy="5942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3025" b="1" i="1" dirty="0">
                <a:solidFill>
                  <a:srgbClr val="FFFFFF"/>
                </a:solidFill>
              </a:rPr>
              <a:t>10</a:t>
            </a:r>
          </a:p>
        </p:txBody>
      </p:sp>
      <p:sp>
        <p:nvSpPr>
          <p:cNvPr id="17" name="Oval 14"/>
          <p:cNvSpPr>
            <a:spLocks noChangeArrowheads="1"/>
          </p:cNvSpPr>
          <p:nvPr/>
        </p:nvSpPr>
        <p:spPr bwMode="auto">
          <a:xfrm>
            <a:off x="3505786" y="5515776"/>
            <a:ext cx="534234" cy="53423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647" b="1" i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8" name="Oval 15"/>
          <p:cNvSpPr>
            <a:spLocks noChangeArrowheads="1"/>
          </p:cNvSpPr>
          <p:nvPr/>
        </p:nvSpPr>
        <p:spPr bwMode="auto">
          <a:xfrm>
            <a:off x="4295133" y="5515776"/>
            <a:ext cx="534234" cy="53423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647" b="1" i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9" name="Oval 16"/>
          <p:cNvSpPr>
            <a:spLocks noChangeArrowheads="1"/>
          </p:cNvSpPr>
          <p:nvPr/>
        </p:nvSpPr>
        <p:spPr bwMode="auto">
          <a:xfrm>
            <a:off x="5084477" y="5515776"/>
            <a:ext cx="534234" cy="53423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647" b="1" i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0" name="Oval 17"/>
          <p:cNvSpPr>
            <a:spLocks noChangeArrowheads="1"/>
          </p:cNvSpPr>
          <p:nvPr/>
        </p:nvSpPr>
        <p:spPr bwMode="auto">
          <a:xfrm>
            <a:off x="5873823" y="5515776"/>
            <a:ext cx="534234" cy="53423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647" b="1" i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21" name="Oval 18"/>
          <p:cNvSpPr>
            <a:spLocks noChangeArrowheads="1"/>
          </p:cNvSpPr>
          <p:nvPr/>
        </p:nvSpPr>
        <p:spPr bwMode="auto">
          <a:xfrm>
            <a:off x="6663168" y="5515776"/>
            <a:ext cx="534234" cy="53423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647" b="1" i="1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22" name="Oval 19"/>
          <p:cNvSpPr>
            <a:spLocks noChangeArrowheads="1"/>
          </p:cNvSpPr>
          <p:nvPr/>
        </p:nvSpPr>
        <p:spPr bwMode="auto">
          <a:xfrm>
            <a:off x="7452514" y="5515776"/>
            <a:ext cx="534234" cy="53423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647" b="1" i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23" name="Oval 20"/>
          <p:cNvSpPr>
            <a:spLocks noChangeArrowheads="1"/>
          </p:cNvSpPr>
          <p:nvPr/>
        </p:nvSpPr>
        <p:spPr bwMode="auto">
          <a:xfrm>
            <a:off x="8241858" y="5515776"/>
            <a:ext cx="534234" cy="53423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647" b="1" i="1">
                <a:solidFill>
                  <a:srgbClr val="FFFFFF"/>
                </a:solidFill>
              </a:rPr>
              <a:t>7</a:t>
            </a:r>
          </a:p>
        </p:txBody>
      </p:sp>
      <p:sp>
        <p:nvSpPr>
          <p:cNvPr id="24" name="Oval 21"/>
          <p:cNvSpPr>
            <a:spLocks noChangeArrowheads="1"/>
          </p:cNvSpPr>
          <p:nvPr/>
        </p:nvSpPr>
        <p:spPr bwMode="auto">
          <a:xfrm>
            <a:off x="9031205" y="5515776"/>
            <a:ext cx="534234" cy="53423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647" b="1" i="1">
                <a:solidFill>
                  <a:srgbClr val="FFFFFF"/>
                </a:solidFill>
              </a:rPr>
              <a:t>8</a:t>
            </a:r>
          </a:p>
        </p:txBody>
      </p:sp>
      <p:sp>
        <p:nvSpPr>
          <p:cNvPr id="25" name="Oval 22"/>
          <p:cNvSpPr>
            <a:spLocks noChangeArrowheads="1"/>
          </p:cNvSpPr>
          <p:nvPr/>
        </p:nvSpPr>
        <p:spPr bwMode="auto">
          <a:xfrm>
            <a:off x="9820549" y="5515776"/>
            <a:ext cx="534234" cy="53423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647" b="1" i="1">
                <a:solidFill>
                  <a:srgbClr val="FFFFFF"/>
                </a:solidFill>
              </a:rPr>
              <a:t>9</a:t>
            </a:r>
          </a:p>
        </p:txBody>
      </p:sp>
      <p:sp>
        <p:nvSpPr>
          <p:cNvPr id="26" name="Oval 23"/>
          <p:cNvSpPr>
            <a:spLocks noChangeArrowheads="1"/>
          </p:cNvSpPr>
          <p:nvPr/>
        </p:nvSpPr>
        <p:spPr bwMode="auto">
          <a:xfrm>
            <a:off x="10612895" y="5515776"/>
            <a:ext cx="534234" cy="53423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647" b="1" i="1">
                <a:solidFill>
                  <a:srgbClr val="FFFFFF"/>
                </a:solidFill>
              </a:rPr>
              <a:t>10</a:t>
            </a:r>
          </a:p>
        </p:txBody>
      </p:sp>
      <p:sp>
        <p:nvSpPr>
          <p:cNvPr id="28" name="Oval 25"/>
          <p:cNvSpPr>
            <a:spLocks noChangeArrowheads="1"/>
          </p:cNvSpPr>
          <p:nvPr/>
        </p:nvSpPr>
        <p:spPr bwMode="auto">
          <a:xfrm>
            <a:off x="3538801" y="6770324"/>
            <a:ext cx="468205" cy="46820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269" b="1" i="1">
                <a:solidFill>
                  <a:srgbClr val="FFFFFF">
                    <a:lumMod val="50000"/>
                  </a:srgbClr>
                </a:solidFill>
              </a:rPr>
              <a:t>1</a:t>
            </a:r>
          </a:p>
        </p:txBody>
      </p:sp>
      <p:sp>
        <p:nvSpPr>
          <p:cNvPr id="29" name="Oval 26"/>
          <p:cNvSpPr>
            <a:spLocks noChangeArrowheads="1"/>
          </p:cNvSpPr>
          <p:nvPr/>
        </p:nvSpPr>
        <p:spPr bwMode="auto">
          <a:xfrm>
            <a:off x="4328145" y="6770324"/>
            <a:ext cx="468205" cy="46820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269" b="1" i="1">
                <a:solidFill>
                  <a:srgbClr val="FFFFFF">
                    <a:lumMod val="50000"/>
                  </a:srgbClr>
                </a:solidFill>
              </a:rPr>
              <a:t>2</a:t>
            </a:r>
          </a:p>
        </p:txBody>
      </p:sp>
      <p:sp>
        <p:nvSpPr>
          <p:cNvPr id="30" name="Oval 27"/>
          <p:cNvSpPr>
            <a:spLocks noChangeArrowheads="1"/>
          </p:cNvSpPr>
          <p:nvPr/>
        </p:nvSpPr>
        <p:spPr bwMode="auto">
          <a:xfrm>
            <a:off x="5117492" y="6770324"/>
            <a:ext cx="468205" cy="46820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269" b="1" i="1">
                <a:solidFill>
                  <a:srgbClr val="FFFFFF">
                    <a:lumMod val="50000"/>
                  </a:srgbClr>
                </a:solidFill>
              </a:rPr>
              <a:t>3</a:t>
            </a:r>
          </a:p>
        </p:txBody>
      </p:sp>
      <p:sp>
        <p:nvSpPr>
          <p:cNvPr id="31" name="Oval 28"/>
          <p:cNvSpPr>
            <a:spLocks noChangeArrowheads="1"/>
          </p:cNvSpPr>
          <p:nvPr/>
        </p:nvSpPr>
        <p:spPr bwMode="auto">
          <a:xfrm>
            <a:off x="5906836" y="6770324"/>
            <a:ext cx="468205" cy="46820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269" b="1" i="1">
                <a:solidFill>
                  <a:srgbClr val="FFFFFF">
                    <a:lumMod val="50000"/>
                  </a:srgbClr>
                </a:solidFill>
              </a:rPr>
              <a:t>4</a:t>
            </a:r>
          </a:p>
        </p:txBody>
      </p:sp>
      <p:sp>
        <p:nvSpPr>
          <p:cNvPr id="32" name="Oval 29"/>
          <p:cNvSpPr>
            <a:spLocks noChangeArrowheads="1"/>
          </p:cNvSpPr>
          <p:nvPr/>
        </p:nvSpPr>
        <p:spPr bwMode="auto">
          <a:xfrm>
            <a:off x="6696182" y="6770324"/>
            <a:ext cx="468205" cy="46820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269" b="1" i="1">
                <a:solidFill>
                  <a:srgbClr val="FFFFFF">
                    <a:lumMod val="50000"/>
                  </a:srgbClr>
                </a:solidFill>
              </a:rPr>
              <a:t>5</a:t>
            </a:r>
          </a:p>
        </p:txBody>
      </p:sp>
      <p:sp>
        <p:nvSpPr>
          <p:cNvPr id="33" name="Oval 30"/>
          <p:cNvSpPr>
            <a:spLocks noChangeArrowheads="1"/>
          </p:cNvSpPr>
          <p:nvPr/>
        </p:nvSpPr>
        <p:spPr bwMode="auto">
          <a:xfrm>
            <a:off x="7485527" y="6770324"/>
            <a:ext cx="468205" cy="46820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269" b="1" i="1">
                <a:solidFill>
                  <a:srgbClr val="FFFFFF">
                    <a:lumMod val="50000"/>
                  </a:srgbClr>
                </a:solidFill>
              </a:rPr>
              <a:t>6</a:t>
            </a:r>
          </a:p>
        </p:txBody>
      </p:sp>
      <p:sp>
        <p:nvSpPr>
          <p:cNvPr id="34" name="Oval 31"/>
          <p:cNvSpPr>
            <a:spLocks noChangeArrowheads="1"/>
          </p:cNvSpPr>
          <p:nvPr/>
        </p:nvSpPr>
        <p:spPr bwMode="auto">
          <a:xfrm>
            <a:off x="8274873" y="6770324"/>
            <a:ext cx="468205" cy="46820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269" b="1" i="1">
                <a:solidFill>
                  <a:srgbClr val="FFFFFF">
                    <a:lumMod val="50000"/>
                  </a:srgbClr>
                </a:solidFill>
              </a:rPr>
              <a:t>7</a:t>
            </a:r>
          </a:p>
        </p:txBody>
      </p:sp>
      <p:sp>
        <p:nvSpPr>
          <p:cNvPr id="35" name="Oval 32"/>
          <p:cNvSpPr>
            <a:spLocks noChangeArrowheads="1"/>
          </p:cNvSpPr>
          <p:nvPr/>
        </p:nvSpPr>
        <p:spPr bwMode="auto">
          <a:xfrm>
            <a:off x="9064217" y="6770324"/>
            <a:ext cx="468205" cy="46820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269" b="1" i="1">
                <a:solidFill>
                  <a:srgbClr val="FFFFFF">
                    <a:lumMod val="50000"/>
                  </a:srgbClr>
                </a:solidFill>
              </a:rPr>
              <a:t>8</a:t>
            </a:r>
          </a:p>
        </p:txBody>
      </p:sp>
      <p:sp>
        <p:nvSpPr>
          <p:cNvPr id="36" name="Oval 33"/>
          <p:cNvSpPr>
            <a:spLocks noChangeArrowheads="1"/>
          </p:cNvSpPr>
          <p:nvPr/>
        </p:nvSpPr>
        <p:spPr bwMode="auto">
          <a:xfrm>
            <a:off x="9853563" y="6770324"/>
            <a:ext cx="468205" cy="46820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269" b="1" i="1">
                <a:solidFill>
                  <a:srgbClr val="FFFFFF">
                    <a:lumMod val="50000"/>
                  </a:srgbClr>
                </a:solidFill>
              </a:rPr>
              <a:t>9</a:t>
            </a:r>
          </a:p>
        </p:txBody>
      </p:sp>
      <p:sp>
        <p:nvSpPr>
          <p:cNvPr id="37" name="Oval 34"/>
          <p:cNvSpPr>
            <a:spLocks noChangeArrowheads="1"/>
          </p:cNvSpPr>
          <p:nvPr/>
        </p:nvSpPr>
        <p:spPr bwMode="auto">
          <a:xfrm>
            <a:off x="10645910" y="6770324"/>
            <a:ext cx="468205" cy="46820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269" b="1" i="1" dirty="0">
                <a:solidFill>
                  <a:srgbClr val="FFFFFF">
                    <a:lumMod val="50000"/>
                  </a:srgbClr>
                </a:solidFill>
              </a:rPr>
              <a:t>10</a:t>
            </a:r>
          </a:p>
        </p:txBody>
      </p:sp>
      <p:sp>
        <p:nvSpPr>
          <p:cNvPr id="39" name="Oval 36"/>
          <p:cNvSpPr>
            <a:spLocks noChangeArrowheads="1"/>
          </p:cNvSpPr>
          <p:nvPr/>
        </p:nvSpPr>
        <p:spPr bwMode="auto">
          <a:xfrm>
            <a:off x="3568814" y="7907822"/>
            <a:ext cx="408179" cy="408179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080" b="1" i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40" name="Oval 37"/>
          <p:cNvSpPr>
            <a:spLocks noChangeArrowheads="1"/>
          </p:cNvSpPr>
          <p:nvPr/>
        </p:nvSpPr>
        <p:spPr bwMode="auto">
          <a:xfrm>
            <a:off x="4358158" y="7907822"/>
            <a:ext cx="408179" cy="408179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080" b="1" i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1" name="Oval 38"/>
          <p:cNvSpPr>
            <a:spLocks noChangeArrowheads="1"/>
          </p:cNvSpPr>
          <p:nvPr/>
        </p:nvSpPr>
        <p:spPr bwMode="auto">
          <a:xfrm>
            <a:off x="5147505" y="7907822"/>
            <a:ext cx="408179" cy="408179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080" b="1" i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42" name="Oval 39"/>
          <p:cNvSpPr>
            <a:spLocks noChangeArrowheads="1"/>
          </p:cNvSpPr>
          <p:nvPr/>
        </p:nvSpPr>
        <p:spPr bwMode="auto">
          <a:xfrm>
            <a:off x="5936849" y="7907822"/>
            <a:ext cx="408179" cy="408179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080" b="1" i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43" name="Oval 40"/>
          <p:cNvSpPr>
            <a:spLocks noChangeArrowheads="1"/>
          </p:cNvSpPr>
          <p:nvPr/>
        </p:nvSpPr>
        <p:spPr bwMode="auto">
          <a:xfrm>
            <a:off x="6726195" y="7907822"/>
            <a:ext cx="408179" cy="408179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080" b="1" i="1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44" name="Oval 41"/>
          <p:cNvSpPr>
            <a:spLocks noChangeArrowheads="1"/>
          </p:cNvSpPr>
          <p:nvPr/>
        </p:nvSpPr>
        <p:spPr bwMode="auto">
          <a:xfrm>
            <a:off x="7515540" y="7907822"/>
            <a:ext cx="408179" cy="408179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080" b="1" i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45" name="Oval 42"/>
          <p:cNvSpPr>
            <a:spLocks noChangeArrowheads="1"/>
          </p:cNvSpPr>
          <p:nvPr/>
        </p:nvSpPr>
        <p:spPr bwMode="auto">
          <a:xfrm>
            <a:off x="8304886" y="7907822"/>
            <a:ext cx="408179" cy="408179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080" b="1" i="1">
                <a:solidFill>
                  <a:srgbClr val="FFFFFF"/>
                </a:solidFill>
              </a:rPr>
              <a:t>7</a:t>
            </a:r>
          </a:p>
        </p:txBody>
      </p:sp>
      <p:sp>
        <p:nvSpPr>
          <p:cNvPr id="46" name="Oval 43"/>
          <p:cNvSpPr>
            <a:spLocks noChangeArrowheads="1"/>
          </p:cNvSpPr>
          <p:nvPr/>
        </p:nvSpPr>
        <p:spPr bwMode="auto">
          <a:xfrm>
            <a:off x="9094230" y="7907822"/>
            <a:ext cx="408179" cy="408179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080" b="1" i="1">
                <a:solidFill>
                  <a:srgbClr val="FFFFFF"/>
                </a:solidFill>
              </a:rPr>
              <a:t>8</a:t>
            </a:r>
          </a:p>
        </p:txBody>
      </p:sp>
      <p:sp>
        <p:nvSpPr>
          <p:cNvPr id="47" name="Oval 44"/>
          <p:cNvSpPr>
            <a:spLocks noChangeArrowheads="1"/>
          </p:cNvSpPr>
          <p:nvPr/>
        </p:nvSpPr>
        <p:spPr bwMode="auto">
          <a:xfrm>
            <a:off x="9883576" y="7907822"/>
            <a:ext cx="408179" cy="408179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080" b="1" i="1">
                <a:solidFill>
                  <a:srgbClr val="FFFFFF"/>
                </a:solidFill>
              </a:rPr>
              <a:t>9</a:t>
            </a:r>
          </a:p>
        </p:txBody>
      </p:sp>
      <p:sp>
        <p:nvSpPr>
          <p:cNvPr id="48" name="Oval 45"/>
          <p:cNvSpPr>
            <a:spLocks noChangeArrowheads="1"/>
          </p:cNvSpPr>
          <p:nvPr/>
        </p:nvSpPr>
        <p:spPr bwMode="auto">
          <a:xfrm>
            <a:off x="10675923" y="7907822"/>
            <a:ext cx="408179" cy="408179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>
              <a:lnSpc>
                <a:spcPct val="90000"/>
              </a:lnSpc>
            </a:pPr>
            <a:r>
              <a:rPr lang="de-DE" altLang="de-DE" sz="2080" b="1" i="1" dirty="0">
                <a:solidFill>
                  <a:srgbClr val="FFFFFF"/>
                </a:solidFill>
              </a:rPr>
              <a:t>10</a:t>
            </a:r>
          </a:p>
        </p:txBody>
      </p:sp>
      <p:sp>
        <p:nvSpPr>
          <p:cNvPr id="134" name="Oval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315191" y="12309907"/>
            <a:ext cx="402176" cy="40217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5" name="Oval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315191" y="11742660"/>
            <a:ext cx="402176" cy="40217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6" name="Arc 6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18519279" y="11748662"/>
            <a:ext cx="201087" cy="201087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7" name="Oval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8315191" y="11181413"/>
            <a:ext cx="402176" cy="40217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8" name="Arc 8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8519279" y="11187416"/>
            <a:ext cx="201087" cy="402176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43200"/>
              <a:gd name="T2" fmla="*/ 0 w 21600"/>
              <a:gd name="T3" fmla="*/ 43200 h 43200"/>
              <a:gd name="T4" fmla="*/ 0 w 216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432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29"/>
                  <a:pt x="11929" y="43199"/>
                  <a:pt x="0" y="43200"/>
                </a:cubicBezTo>
              </a:path>
              <a:path w="21600" h="432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29"/>
                  <a:pt x="11929" y="43199"/>
                  <a:pt x="0" y="432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9" name="Oval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15191" y="10620169"/>
            <a:ext cx="402176" cy="40217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0" name="Arc 10"/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8321194" y="10626171"/>
            <a:ext cx="402176" cy="402176"/>
          </a:xfrm>
          <a:custGeom>
            <a:avLst/>
            <a:gdLst>
              <a:gd name="G0" fmla="+- 21600 0 0"/>
              <a:gd name="G1" fmla="+- 21600 0 0"/>
              <a:gd name="G2" fmla="+- 21600 0 0"/>
              <a:gd name="T0" fmla="*/ 21600 w 43200"/>
              <a:gd name="T1" fmla="*/ 0 h 43200"/>
              <a:gd name="T2" fmla="*/ 0 w 43200"/>
              <a:gd name="T3" fmla="*/ 21600 h 43200"/>
              <a:gd name="T4" fmla="*/ 21600 w 432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1" name="Oval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8315191" y="10058922"/>
            <a:ext cx="402176" cy="40217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2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912450" y="10056332"/>
            <a:ext cx="3097355" cy="407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620717"/>
            <a:r>
              <a:rPr lang="de-DE" altLang="de-DE" sz="2647" i="1">
                <a:solidFill>
                  <a:srgbClr val="000000"/>
                </a:solidFill>
              </a:rPr>
              <a:t>Sehr hoch</a:t>
            </a:r>
          </a:p>
        </p:txBody>
      </p:sp>
      <p:sp>
        <p:nvSpPr>
          <p:cNvPr id="143" name="Rectangle 1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8912450" y="10617579"/>
            <a:ext cx="3097355" cy="407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620717"/>
            <a:r>
              <a:rPr lang="de-DE" altLang="de-DE" sz="2647" i="1">
                <a:solidFill>
                  <a:srgbClr val="000000"/>
                </a:solidFill>
              </a:rPr>
              <a:t>Hoch</a:t>
            </a:r>
          </a:p>
        </p:txBody>
      </p:sp>
      <p:sp>
        <p:nvSpPr>
          <p:cNvPr id="144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8912450" y="11178823"/>
            <a:ext cx="3097355" cy="407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620717"/>
            <a:r>
              <a:rPr lang="de-DE" altLang="de-DE" sz="2647" i="1">
                <a:solidFill>
                  <a:srgbClr val="000000"/>
                </a:solidFill>
              </a:rPr>
              <a:t>Mittel</a:t>
            </a:r>
          </a:p>
        </p:txBody>
      </p:sp>
      <p:sp>
        <p:nvSpPr>
          <p:cNvPr id="145" name="Rectangle 1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8912450" y="11740070"/>
            <a:ext cx="3097355" cy="407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620717"/>
            <a:r>
              <a:rPr lang="de-DE" altLang="de-DE" sz="2647" i="1">
                <a:solidFill>
                  <a:srgbClr val="000000"/>
                </a:solidFill>
              </a:rPr>
              <a:t>Gering</a:t>
            </a:r>
          </a:p>
        </p:txBody>
      </p:sp>
      <p:sp>
        <p:nvSpPr>
          <p:cNvPr id="146" name="Rectangle 1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8912450" y="12307317"/>
            <a:ext cx="3097355" cy="407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620717"/>
            <a:r>
              <a:rPr lang="de-DE" altLang="de-DE" sz="2647" i="1">
                <a:solidFill>
                  <a:srgbClr val="000000"/>
                </a:solidFill>
              </a:rPr>
              <a:t>Offen</a:t>
            </a:r>
          </a:p>
        </p:txBody>
      </p:sp>
      <p:sp>
        <p:nvSpPr>
          <p:cNvPr id="148" name="Oval 18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8179049" y="3999030"/>
            <a:ext cx="864378" cy="86437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9" name="Oval 19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8179049" y="5118519"/>
            <a:ext cx="864378" cy="86437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0" name="Arc 20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18185051" y="5124521"/>
            <a:ext cx="864378" cy="864378"/>
          </a:xfrm>
          <a:custGeom>
            <a:avLst/>
            <a:gdLst>
              <a:gd name="G0" fmla="+- 21600 0 0"/>
              <a:gd name="G1" fmla="+- 21600 0 0"/>
              <a:gd name="G2" fmla="+- 21600 0 0"/>
              <a:gd name="T0" fmla="*/ 21600 w 43200"/>
              <a:gd name="T1" fmla="*/ 0 h 43200"/>
              <a:gd name="T2" fmla="*/ 0 w 43200"/>
              <a:gd name="T3" fmla="*/ 21600 h 43200"/>
              <a:gd name="T4" fmla="*/ 21600 w 432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1" name="Oval 2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8179049" y="6238009"/>
            <a:ext cx="864378" cy="86437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2" name="Arc 22"/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18614238" y="6244012"/>
            <a:ext cx="432189" cy="864378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43200"/>
              <a:gd name="T2" fmla="*/ 0 w 21600"/>
              <a:gd name="T3" fmla="*/ 43200 h 43200"/>
              <a:gd name="T4" fmla="*/ 0 w 216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432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29"/>
                  <a:pt x="11929" y="43199"/>
                  <a:pt x="0" y="43200"/>
                </a:cubicBezTo>
              </a:path>
              <a:path w="21600" h="432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529"/>
                  <a:pt x="11929" y="43199"/>
                  <a:pt x="0" y="432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4" name="Oval 2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8179049" y="7357498"/>
            <a:ext cx="864378" cy="86437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5" name="Arc 26"/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18614238" y="7363501"/>
            <a:ext cx="432189" cy="432189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6" name="Oval 27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8179049" y="8485992"/>
            <a:ext cx="864378" cy="86437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7" name="Freeform 12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3339631" y="10707205"/>
            <a:ext cx="1473644" cy="2004877"/>
          </a:xfrm>
          <a:custGeom>
            <a:avLst/>
            <a:gdLst>
              <a:gd name="T0" fmla="*/ 174 w 361"/>
              <a:gd name="T1" fmla="*/ 0 h 491"/>
              <a:gd name="T2" fmla="*/ 18 w 361"/>
              <a:gd name="T3" fmla="*/ 245 h 491"/>
              <a:gd name="T4" fmla="*/ 229 w 361"/>
              <a:gd name="T5" fmla="*/ 174 h 491"/>
              <a:gd name="T6" fmla="*/ 90 w 361"/>
              <a:gd name="T7" fmla="*/ 391 h 491"/>
              <a:gd name="T8" fmla="*/ 0 w 361"/>
              <a:gd name="T9" fmla="*/ 377 h 491"/>
              <a:gd name="T10" fmla="*/ 69 w 361"/>
              <a:gd name="T11" fmla="*/ 491 h 491"/>
              <a:gd name="T12" fmla="*/ 249 w 361"/>
              <a:gd name="T13" fmla="*/ 419 h 491"/>
              <a:gd name="T14" fmla="*/ 143 w 361"/>
              <a:gd name="T15" fmla="*/ 400 h 491"/>
              <a:gd name="T16" fmla="*/ 361 w 361"/>
              <a:gd name="T17" fmla="*/ 106 h 491"/>
              <a:gd name="T18" fmla="*/ 147 w 361"/>
              <a:gd name="T19" fmla="*/ 152 h 491"/>
              <a:gd name="T20" fmla="*/ 324 w 361"/>
              <a:gd name="T21" fmla="*/ 1 h 491"/>
              <a:gd name="T22" fmla="*/ 174 w 361"/>
              <a:gd name="T23" fmla="*/ 0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61" h="491">
                <a:moveTo>
                  <a:pt x="174" y="0"/>
                </a:moveTo>
                <a:lnTo>
                  <a:pt x="18" y="245"/>
                </a:lnTo>
                <a:lnTo>
                  <a:pt x="229" y="174"/>
                </a:lnTo>
                <a:lnTo>
                  <a:pt x="90" y="391"/>
                </a:lnTo>
                <a:lnTo>
                  <a:pt x="0" y="377"/>
                </a:lnTo>
                <a:lnTo>
                  <a:pt x="69" y="491"/>
                </a:lnTo>
                <a:lnTo>
                  <a:pt x="249" y="419"/>
                </a:lnTo>
                <a:lnTo>
                  <a:pt x="143" y="400"/>
                </a:lnTo>
                <a:lnTo>
                  <a:pt x="361" y="106"/>
                </a:lnTo>
                <a:lnTo>
                  <a:pt x="147" y="152"/>
                </a:lnTo>
                <a:lnTo>
                  <a:pt x="324" y="1"/>
                </a:lnTo>
                <a:lnTo>
                  <a:pt x="174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029" tIns="340306" rIns="69029" bIns="340306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58" name="Picture 13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79" t="15672" r="6897" b="39064"/>
          <a:stretch>
            <a:fillRect/>
          </a:stretch>
        </p:blipFill>
        <p:spPr bwMode="auto">
          <a:xfrm>
            <a:off x="3339631" y="8633990"/>
            <a:ext cx="1032452" cy="1830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9" name="Picture 14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31" b="17671"/>
          <a:stretch>
            <a:fillRect/>
          </a:stretch>
        </p:blipFill>
        <p:spPr bwMode="auto">
          <a:xfrm>
            <a:off x="4999356" y="8552952"/>
            <a:ext cx="744326" cy="1980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0" name="Picture 15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01" b="24376"/>
          <a:stretch>
            <a:fillRect/>
          </a:stretch>
        </p:blipFill>
        <p:spPr bwMode="auto">
          <a:xfrm>
            <a:off x="14162366" y="8748040"/>
            <a:ext cx="1830801" cy="1662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61" name="Group 25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5587615" y="11214427"/>
            <a:ext cx="1122491" cy="1122491"/>
            <a:chOff x="5278" y="1044"/>
            <a:chExt cx="374" cy="3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2" name="Oval 26"/>
            <p:cNvSpPr>
              <a:spLocks noChangeArrowheads="1"/>
            </p:cNvSpPr>
            <p:nvPr/>
          </p:nvSpPr>
          <p:spPr bwMode="auto">
            <a:xfrm>
              <a:off x="5278" y="1044"/>
              <a:ext cx="374" cy="374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36123" tIns="136123" rIns="136123" bIns="136123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3" name="AutoShape 27"/>
            <p:cNvSpPr>
              <a:spLocks noChangeArrowheads="1"/>
            </p:cNvSpPr>
            <p:nvPr/>
          </p:nvSpPr>
          <p:spPr bwMode="auto">
            <a:xfrm rot="2700000">
              <a:off x="5355" y="1166"/>
              <a:ext cx="249" cy="159"/>
            </a:xfrm>
            <a:prstGeom prst="rightArrow">
              <a:avLst>
                <a:gd name="adj1" fmla="val 63713"/>
                <a:gd name="adj2" fmla="val 52875"/>
              </a:avLst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36123" tIns="136123" rIns="136123" bIns="136123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64" name="Group 40"/>
          <p:cNvGrpSpPr>
            <a:grpSpLocks/>
          </p:cNvGrpSpPr>
          <p:nvPr>
            <p:custDataLst>
              <p:tags r:id="rId27"/>
            </p:custDataLst>
          </p:nvPr>
        </p:nvGrpSpPr>
        <p:grpSpPr bwMode="auto">
          <a:xfrm>
            <a:off x="6325937" y="8898105"/>
            <a:ext cx="1203527" cy="1203526"/>
            <a:chOff x="1212" y="1844"/>
            <a:chExt cx="401" cy="401"/>
          </a:xfrm>
          <a:solidFill>
            <a:schemeClr val="accent5"/>
          </a:solidFill>
          <a:effectLst/>
        </p:grpSpPr>
        <p:sp>
          <p:nvSpPr>
            <p:cNvPr id="165" name="Oval 41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1212" y="1844"/>
              <a:ext cx="401" cy="401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1814755">
                <a:spcBef>
                  <a:spcPct val="0"/>
                </a:spcBef>
              </a:pPr>
              <a:endParaRPr lang="en-US" altLang="de-DE" sz="3025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6" name="AutoShape 42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1286" y="1917"/>
              <a:ext cx="253" cy="254"/>
            </a:xfrm>
            <a:prstGeom prst="plus">
              <a:avLst>
                <a:gd name="adj" fmla="val 35403"/>
              </a:avLst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67" name="Group 46"/>
          <p:cNvGrpSpPr>
            <a:grpSpLocks/>
          </p:cNvGrpSpPr>
          <p:nvPr/>
        </p:nvGrpSpPr>
        <p:grpSpPr bwMode="auto">
          <a:xfrm>
            <a:off x="7922635" y="8898105"/>
            <a:ext cx="1203527" cy="1203526"/>
            <a:chOff x="1744" y="1763"/>
            <a:chExt cx="401" cy="401"/>
          </a:xfrm>
        </p:grpSpPr>
        <p:sp>
          <p:nvSpPr>
            <p:cNvPr id="168" name="Oval 47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1744" y="1763"/>
              <a:ext cx="401" cy="401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1814755">
                <a:spcBef>
                  <a:spcPct val="0"/>
                </a:spcBef>
              </a:pPr>
              <a:endParaRPr lang="en-US" altLang="de-DE" sz="3025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9" name="Rectangle 48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1818" y="1930"/>
              <a:ext cx="254" cy="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36123" tIns="136123" rIns="136123" bIns="136123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70" name="Group 61"/>
          <p:cNvGrpSpPr>
            <a:grpSpLocks/>
          </p:cNvGrpSpPr>
          <p:nvPr/>
        </p:nvGrpSpPr>
        <p:grpSpPr bwMode="auto">
          <a:xfrm>
            <a:off x="9435297" y="8874092"/>
            <a:ext cx="1203527" cy="1257549"/>
            <a:chOff x="2248" y="1755"/>
            <a:chExt cx="401" cy="419"/>
          </a:xfrm>
        </p:grpSpPr>
        <p:sp>
          <p:nvSpPr>
            <p:cNvPr id="171" name="Oval 6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2248" y="1763"/>
              <a:ext cx="401" cy="401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1814755">
                <a:spcBef>
                  <a:spcPct val="0"/>
                </a:spcBef>
              </a:pPr>
              <a:endParaRPr lang="en-US" altLang="de-DE" sz="3025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72" name="Group 63"/>
            <p:cNvGrpSpPr>
              <a:grpSpLocks/>
            </p:cNvGrpSpPr>
            <p:nvPr>
              <p:custDataLst>
                <p:tags r:id="rId37"/>
              </p:custDataLst>
            </p:nvPr>
          </p:nvGrpSpPr>
          <p:grpSpPr bwMode="auto">
            <a:xfrm>
              <a:off x="2330" y="1755"/>
              <a:ext cx="236" cy="419"/>
              <a:chOff x="2330" y="3047"/>
              <a:chExt cx="236" cy="419"/>
            </a:xfrm>
          </p:grpSpPr>
          <p:sp>
            <p:nvSpPr>
              <p:cNvPr id="173" name="Rectangle 64"/>
              <p:cNvSpPr>
                <a:spLocks noChangeArrowheads="1"/>
              </p:cNvSpPr>
              <p:nvPr/>
            </p:nvSpPr>
            <p:spPr bwMode="auto">
              <a:xfrm flipH="1">
                <a:off x="2330" y="3232"/>
                <a:ext cx="236" cy="4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14755"/>
                <a:endParaRPr lang="de-DE" sz="3592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4" name="Oval 65"/>
              <p:cNvSpPr>
                <a:spLocks noChangeArrowheads="1"/>
              </p:cNvSpPr>
              <p:nvPr/>
            </p:nvSpPr>
            <p:spPr bwMode="auto">
              <a:xfrm>
                <a:off x="2416" y="3047"/>
                <a:ext cx="0" cy="25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>
                <a:spAutoFit/>
              </a:bodyPr>
              <a:lstStyle/>
              <a:p>
                <a:pPr defTabSz="1814755"/>
                <a:endParaRPr lang="de-DE" sz="3592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5" name="Oval 66"/>
              <p:cNvSpPr>
                <a:spLocks noChangeArrowheads="1"/>
              </p:cNvSpPr>
              <p:nvPr/>
            </p:nvSpPr>
            <p:spPr bwMode="auto">
              <a:xfrm>
                <a:off x="2416" y="3207"/>
                <a:ext cx="0" cy="25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>
                <a:spAutoFit/>
              </a:bodyPr>
              <a:lstStyle/>
              <a:p>
                <a:pPr defTabSz="1814755"/>
                <a:endParaRPr lang="de-DE" sz="3592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176" name="Group 76"/>
          <p:cNvGrpSpPr>
            <a:grpSpLocks/>
          </p:cNvGrpSpPr>
          <p:nvPr/>
        </p:nvGrpSpPr>
        <p:grpSpPr bwMode="auto">
          <a:xfrm>
            <a:off x="10950961" y="8898105"/>
            <a:ext cx="1203526" cy="1203526"/>
            <a:chOff x="2753" y="1763"/>
            <a:chExt cx="401" cy="401"/>
          </a:xfrm>
        </p:grpSpPr>
        <p:sp>
          <p:nvSpPr>
            <p:cNvPr id="177" name="Oval 77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2753" y="1763"/>
              <a:ext cx="401" cy="401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1814755">
                <a:spcBef>
                  <a:spcPct val="0"/>
                </a:spcBef>
              </a:pPr>
              <a:endParaRPr lang="en-US" altLang="de-DE" sz="3025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8" name="AutoShape 78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 rot="2700000">
              <a:off x="2827" y="1836"/>
              <a:ext cx="253" cy="254"/>
            </a:xfrm>
            <a:prstGeom prst="plus">
              <a:avLst>
                <a:gd name="adj" fmla="val 35403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79" name="Group 87"/>
          <p:cNvGrpSpPr>
            <a:grpSpLocks/>
          </p:cNvGrpSpPr>
          <p:nvPr/>
        </p:nvGrpSpPr>
        <p:grpSpPr bwMode="auto">
          <a:xfrm>
            <a:off x="12505641" y="8898105"/>
            <a:ext cx="1203526" cy="1203526"/>
            <a:chOff x="3271" y="1763"/>
            <a:chExt cx="401" cy="401"/>
          </a:xfrm>
        </p:grpSpPr>
        <p:sp>
          <p:nvSpPr>
            <p:cNvPr id="180" name="Oval 88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3271" y="1763"/>
              <a:ext cx="401" cy="401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1814755">
                <a:spcBef>
                  <a:spcPct val="0"/>
                </a:spcBef>
              </a:pPr>
              <a:endParaRPr lang="en-US" altLang="de-DE" sz="3025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81" name="Group 89"/>
            <p:cNvGrpSpPr>
              <a:grpSpLocks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3351" y="1909"/>
              <a:ext cx="240" cy="110"/>
              <a:chOff x="3345" y="2006"/>
              <a:chExt cx="254" cy="110"/>
            </a:xfrm>
          </p:grpSpPr>
          <p:sp>
            <p:nvSpPr>
              <p:cNvPr id="182" name="Rectangle 90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3345" y="2006"/>
                <a:ext cx="254" cy="4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36123" tIns="136123" rIns="136123" bIns="136123" anchor="ctr"/>
              <a:lstStyle/>
              <a:p>
                <a:pPr defTabSz="1814755"/>
                <a:endParaRPr lang="de-DE" sz="3592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3" name="Rectangle 91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3345" y="2071"/>
                <a:ext cx="254" cy="4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36123" tIns="136123" rIns="136123" bIns="136123" anchor="ctr"/>
              <a:lstStyle/>
              <a:p>
                <a:pPr defTabSz="1814755"/>
                <a:endParaRPr lang="de-DE" sz="3592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184" name="Group 25"/>
          <p:cNvGrpSpPr>
            <a:grpSpLocks/>
          </p:cNvGrpSpPr>
          <p:nvPr>
            <p:custDataLst>
              <p:tags r:id="rId28"/>
            </p:custDataLst>
          </p:nvPr>
        </p:nvGrpSpPr>
        <p:grpSpPr bwMode="auto">
          <a:xfrm>
            <a:off x="6927765" y="11220581"/>
            <a:ext cx="1122491" cy="1122491"/>
            <a:chOff x="5278" y="1044"/>
            <a:chExt cx="374" cy="3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5" name="Oval 26"/>
            <p:cNvSpPr>
              <a:spLocks noChangeArrowheads="1"/>
            </p:cNvSpPr>
            <p:nvPr/>
          </p:nvSpPr>
          <p:spPr bwMode="auto">
            <a:xfrm>
              <a:off x="5278" y="1044"/>
              <a:ext cx="374" cy="374"/>
            </a:xfrm>
            <a:prstGeom prst="ellipse">
              <a:avLst/>
            </a:prstGeom>
            <a:solidFill>
              <a:srgbClr val="92D050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36123" tIns="136123" rIns="136123" bIns="136123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6" name="AutoShape 27"/>
            <p:cNvSpPr>
              <a:spLocks noChangeArrowheads="1"/>
            </p:cNvSpPr>
            <p:nvPr/>
          </p:nvSpPr>
          <p:spPr bwMode="auto">
            <a:xfrm rot="19404599">
              <a:off x="5355" y="1152"/>
              <a:ext cx="249" cy="159"/>
            </a:xfrm>
            <a:prstGeom prst="rightArrow">
              <a:avLst>
                <a:gd name="adj1" fmla="val 63713"/>
                <a:gd name="adj2" fmla="val 52875"/>
              </a:avLst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36123" tIns="136123" rIns="136123" bIns="136123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87" name="AutoShape 6"/>
          <p:cNvSpPr>
            <a:spLocks noChangeArrowheads="1"/>
          </p:cNvSpPr>
          <p:nvPr/>
        </p:nvSpPr>
        <p:spPr bwMode="auto">
          <a:xfrm>
            <a:off x="13574104" y="3178003"/>
            <a:ext cx="1258155" cy="50357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4031" tIns="34031" rIns="34031" bIns="61255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620717"/>
            <a:r>
              <a:rPr lang="de-DE" altLang="de-DE" sz="2647" i="1">
                <a:solidFill>
                  <a:srgbClr val="000000"/>
                </a:solidFill>
              </a:rPr>
              <a:t>Beispiel</a:t>
            </a:r>
          </a:p>
        </p:txBody>
      </p:sp>
      <p:cxnSp>
        <p:nvCxnSpPr>
          <p:cNvPr id="188" name="AutoShape 7"/>
          <p:cNvCxnSpPr>
            <a:cxnSpLocks noChangeShapeType="1"/>
            <a:stCxn id="187" idx="2"/>
            <a:endCxn id="187" idx="0"/>
          </p:cNvCxnSpPr>
          <p:nvPr/>
        </p:nvCxnSpPr>
        <p:spPr bwMode="auto">
          <a:xfrm>
            <a:off x="13574104" y="3178003"/>
            <a:ext cx="1258155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9" name="AutoShape 8"/>
          <p:cNvCxnSpPr>
            <a:cxnSpLocks noChangeShapeType="1"/>
            <a:stCxn id="187" idx="4"/>
            <a:endCxn id="187" idx="6"/>
          </p:cNvCxnSpPr>
          <p:nvPr/>
        </p:nvCxnSpPr>
        <p:spPr bwMode="auto">
          <a:xfrm>
            <a:off x="13574104" y="3681575"/>
            <a:ext cx="1258155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0" name="AutoShape 9"/>
          <p:cNvSpPr>
            <a:spLocks noChangeArrowheads="1"/>
          </p:cNvSpPr>
          <p:nvPr/>
        </p:nvSpPr>
        <p:spPr bwMode="auto">
          <a:xfrm>
            <a:off x="12285033" y="3817282"/>
            <a:ext cx="2547226" cy="50357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4031" tIns="34031" rIns="34031" bIns="61255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620717"/>
            <a:r>
              <a:rPr lang="de-DE" altLang="de-DE" sz="2647" i="1" dirty="0">
                <a:solidFill>
                  <a:srgbClr val="000000"/>
                </a:solidFill>
              </a:rPr>
              <a:t>Zur Abstimmung</a:t>
            </a:r>
          </a:p>
        </p:txBody>
      </p:sp>
      <p:cxnSp>
        <p:nvCxnSpPr>
          <p:cNvPr id="191" name="AutoShape 10"/>
          <p:cNvCxnSpPr>
            <a:cxnSpLocks noChangeShapeType="1"/>
            <a:stCxn id="190" idx="2"/>
            <a:endCxn id="190" idx="0"/>
          </p:cNvCxnSpPr>
          <p:nvPr/>
        </p:nvCxnSpPr>
        <p:spPr bwMode="auto">
          <a:xfrm>
            <a:off x="12285033" y="3817282"/>
            <a:ext cx="2547226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2" name="AutoShape 11"/>
          <p:cNvCxnSpPr>
            <a:cxnSpLocks noChangeShapeType="1"/>
            <a:stCxn id="190" idx="4"/>
            <a:endCxn id="190" idx="6"/>
          </p:cNvCxnSpPr>
          <p:nvPr/>
        </p:nvCxnSpPr>
        <p:spPr bwMode="auto">
          <a:xfrm>
            <a:off x="12285033" y="4320854"/>
            <a:ext cx="2547226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3" name="AutoShape 12"/>
          <p:cNvSpPr>
            <a:spLocks noChangeArrowheads="1"/>
          </p:cNvSpPr>
          <p:nvPr/>
        </p:nvSpPr>
        <p:spPr bwMode="auto">
          <a:xfrm>
            <a:off x="11815609" y="4537597"/>
            <a:ext cx="3016650" cy="50357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4031" tIns="34031" rIns="34031" bIns="61255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620717"/>
            <a:r>
              <a:rPr lang="de-DE" altLang="de-DE" sz="2647" i="1">
                <a:solidFill>
                  <a:srgbClr val="000000"/>
                </a:solidFill>
              </a:rPr>
              <a:t>Zu vervollständigen</a:t>
            </a:r>
          </a:p>
        </p:txBody>
      </p:sp>
      <p:cxnSp>
        <p:nvCxnSpPr>
          <p:cNvPr id="194" name="AutoShape 13"/>
          <p:cNvCxnSpPr>
            <a:cxnSpLocks noChangeShapeType="1"/>
            <a:stCxn id="193" idx="2"/>
            <a:endCxn id="193" idx="0"/>
          </p:cNvCxnSpPr>
          <p:nvPr/>
        </p:nvCxnSpPr>
        <p:spPr bwMode="auto">
          <a:xfrm>
            <a:off x="11815609" y="4537597"/>
            <a:ext cx="301665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5" name="AutoShape 14"/>
          <p:cNvCxnSpPr>
            <a:cxnSpLocks noChangeShapeType="1"/>
            <a:stCxn id="193" idx="4"/>
            <a:endCxn id="193" idx="6"/>
          </p:cNvCxnSpPr>
          <p:nvPr/>
        </p:nvCxnSpPr>
        <p:spPr bwMode="auto">
          <a:xfrm>
            <a:off x="11815609" y="5041169"/>
            <a:ext cx="301665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6" name="AutoShape 15"/>
          <p:cNvSpPr>
            <a:spLocks noChangeArrowheads="1"/>
          </p:cNvSpPr>
          <p:nvPr/>
        </p:nvSpPr>
        <p:spPr bwMode="auto">
          <a:xfrm>
            <a:off x="12722911" y="5257912"/>
            <a:ext cx="2109349" cy="50357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4031" tIns="34031" rIns="34031" bIns="61255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620717"/>
            <a:r>
              <a:rPr lang="de-DE" altLang="de-DE" sz="2647" i="1">
                <a:solidFill>
                  <a:srgbClr val="000000"/>
                </a:solidFill>
              </a:rPr>
              <a:t>Unvollständig</a:t>
            </a:r>
          </a:p>
        </p:txBody>
      </p:sp>
      <p:cxnSp>
        <p:nvCxnSpPr>
          <p:cNvPr id="197" name="AutoShape 16"/>
          <p:cNvCxnSpPr>
            <a:cxnSpLocks noChangeShapeType="1"/>
            <a:stCxn id="196" idx="2"/>
            <a:endCxn id="196" idx="0"/>
          </p:cNvCxnSpPr>
          <p:nvPr/>
        </p:nvCxnSpPr>
        <p:spPr bwMode="auto">
          <a:xfrm>
            <a:off x="12722911" y="5257912"/>
            <a:ext cx="2109349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8" name="AutoShape 17"/>
          <p:cNvCxnSpPr>
            <a:cxnSpLocks noChangeShapeType="1"/>
            <a:stCxn id="196" idx="4"/>
            <a:endCxn id="196" idx="6"/>
          </p:cNvCxnSpPr>
          <p:nvPr/>
        </p:nvCxnSpPr>
        <p:spPr bwMode="auto">
          <a:xfrm>
            <a:off x="12722911" y="5761484"/>
            <a:ext cx="2109349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9" name="AutoShape 18"/>
          <p:cNvSpPr>
            <a:spLocks noChangeArrowheads="1"/>
          </p:cNvSpPr>
          <p:nvPr/>
        </p:nvSpPr>
        <p:spPr bwMode="auto">
          <a:xfrm>
            <a:off x="12516121" y="5978227"/>
            <a:ext cx="2316137" cy="50357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4031" tIns="34031" rIns="34031" bIns="61255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620717"/>
            <a:r>
              <a:rPr lang="de-DE" altLang="de-DE" sz="2647" i="1">
                <a:solidFill>
                  <a:srgbClr val="000000"/>
                </a:solidFill>
              </a:rPr>
              <a:t>Zur Diskussion</a:t>
            </a:r>
          </a:p>
        </p:txBody>
      </p:sp>
      <p:cxnSp>
        <p:nvCxnSpPr>
          <p:cNvPr id="200" name="AutoShape 19"/>
          <p:cNvCxnSpPr>
            <a:cxnSpLocks noChangeShapeType="1"/>
            <a:stCxn id="199" idx="2"/>
            <a:endCxn id="199" idx="0"/>
          </p:cNvCxnSpPr>
          <p:nvPr/>
        </p:nvCxnSpPr>
        <p:spPr bwMode="auto">
          <a:xfrm>
            <a:off x="12516121" y="5978227"/>
            <a:ext cx="2316137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1" name="AutoShape 20"/>
          <p:cNvCxnSpPr>
            <a:cxnSpLocks noChangeShapeType="1"/>
            <a:stCxn id="199" idx="4"/>
            <a:endCxn id="199" idx="6"/>
          </p:cNvCxnSpPr>
          <p:nvPr/>
        </p:nvCxnSpPr>
        <p:spPr bwMode="auto">
          <a:xfrm>
            <a:off x="12516121" y="6481799"/>
            <a:ext cx="2316137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2" name="AutoShape 21"/>
          <p:cNvSpPr>
            <a:spLocks noChangeArrowheads="1"/>
          </p:cNvSpPr>
          <p:nvPr/>
        </p:nvSpPr>
        <p:spPr bwMode="auto">
          <a:xfrm>
            <a:off x="12097737" y="6698542"/>
            <a:ext cx="2734521" cy="50357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4031" tIns="34031" rIns="34031" bIns="61255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620717"/>
            <a:r>
              <a:rPr lang="de-DE" altLang="de-DE" sz="2647" i="1">
                <a:solidFill>
                  <a:srgbClr val="000000"/>
                </a:solidFill>
              </a:rPr>
              <a:t>Streng vertraulich</a:t>
            </a:r>
          </a:p>
        </p:txBody>
      </p:sp>
      <p:cxnSp>
        <p:nvCxnSpPr>
          <p:cNvPr id="203" name="AutoShape 22"/>
          <p:cNvCxnSpPr>
            <a:cxnSpLocks noChangeShapeType="1"/>
            <a:stCxn id="202" idx="2"/>
            <a:endCxn id="202" idx="0"/>
          </p:cNvCxnSpPr>
          <p:nvPr/>
        </p:nvCxnSpPr>
        <p:spPr bwMode="auto">
          <a:xfrm>
            <a:off x="12097737" y="6698542"/>
            <a:ext cx="2734521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4" name="AutoShape 23"/>
          <p:cNvCxnSpPr>
            <a:cxnSpLocks noChangeShapeType="1"/>
            <a:stCxn id="202" idx="4"/>
            <a:endCxn id="202" idx="6"/>
          </p:cNvCxnSpPr>
          <p:nvPr/>
        </p:nvCxnSpPr>
        <p:spPr bwMode="auto">
          <a:xfrm>
            <a:off x="12097737" y="7202114"/>
            <a:ext cx="2734521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5" name="AutoShape 24"/>
          <p:cNvSpPr>
            <a:spLocks noChangeArrowheads="1"/>
          </p:cNvSpPr>
          <p:nvPr/>
        </p:nvSpPr>
        <p:spPr bwMode="auto">
          <a:xfrm>
            <a:off x="12649172" y="7457876"/>
            <a:ext cx="2183087" cy="50357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4031" tIns="34031" rIns="34031" bIns="61255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620717"/>
            <a:r>
              <a:rPr lang="de-DE" altLang="de-DE" sz="2647" i="1">
                <a:solidFill>
                  <a:srgbClr val="000000"/>
                </a:solidFill>
              </a:rPr>
              <a:t>Fiktive Zahlen</a:t>
            </a:r>
          </a:p>
        </p:txBody>
      </p:sp>
      <p:cxnSp>
        <p:nvCxnSpPr>
          <p:cNvPr id="206" name="AutoShape 25"/>
          <p:cNvCxnSpPr>
            <a:cxnSpLocks noChangeShapeType="1"/>
            <a:stCxn id="205" idx="2"/>
            <a:endCxn id="205" idx="0"/>
          </p:cNvCxnSpPr>
          <p:nvPr/>
        </p:nvCxnSpPr>
        <p:spPr bwMode="auto">
          <a:xfrm>
            <a:off x="12649172" y="7457876"/>
            <a:ext cx="2183087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7" name="AutoShape 26"/>
          <p:cNvCxnSpPr>
            <a:cxnSpLocks noChangeShapeType="1"/>
            <a:stCxn id="205" idx="4"/>
            <a:endCxn id="205" idx="6"/>
          </p:cNvCxnSpPr>
          <p:nvPr/>
        </p:nvCxnSpPr>
        <p:spPr bwMode="auto">
          <a:xfrm>
            <a:off x="12649172" y="7961448"/>
            <a:ext cx="2183087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8" name="AutoShape 27"/>
          <p:cNvSpPr>
            <a:spLocks noChangeArrowheads="1"/>
          </p:cNvSpPr>
          <p:nvPr/>
        </p:nvSpPr>
        <p:spPr bwMode="auto">
          <a:xfrm>
            <a:off x="13516397" y="8283236"/>
            <a:ext cx="1315863" cy="50357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4031" tIns="34031" rIns="34031" bIns="61255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620717"/>
            <a:r>
              <a:rPr lang="de-DE" altLang="de-DE" sz="2647" i="1">
                <a:solidFill>
                  <a:srgbClr val="000000"/>
                </a:solidFill>
              </a:rPr>
              <a:t>Back-up</a:t>
            </a:r>
          </a:p>
        </p:txBody>
      </p:sp>
      <p:cxnSp>
        <p:nvCxnSpPr>
          <p:cNvPr id="209" name="AutoShape 28"/>
          <p:cNvCxnSpPr>
            <a:cxnSpLocks noChangeShapeType="1"/>
            <a:stCxn id="208" idx="2"/>
            <a:endCxn id="208" idx="0"/>
          </p:cNvCxnSpPr>
          <p:nvPr/>
        </p:nvCxnSpPr>
        <p:spPr bwMode="auto">
          <a:xfrm>
            <a:off x="13516397" y="8283236"/>
            <a:ext cx="131586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0" name="AutoShape 29"/>
          <p:cNvCxnSpPr>
            <a:cxnSpLocks noChangeShapeType="1"/>
            <a:stCxn id="208" idx="4"/>
            <a:endCxn id="208" idx="6"/>
          </p:cNvCxnSpPr>
          <p:nvPr/>
        </p:nvCxnSpPr>
        <p:spPr bwMode="auto">
          <a:xfrm>
            <a:off x="13516397" y="8786808"/>
            <a:ext cx="131586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1" name="AutoShape 6"/>
          <p:cNvSpPr>
            <a:spLocks noChangeArrowheads="1"/>
          </p:cNvSpPr>
          <p:nvPr/>
        </p:nvSpPr>
        <p:spPr bwMode="auto">
          <a:xfrm rot="20340061">
            <a:off x="15776281" y="4910524"/>
            <a:ext cx="1258155" cy="503572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4031" tIns="34031" rIns="34031" bIns="61255" anchor="ctr">
            <a:spAutoFit/>
          </a:bodyPr>
          <a:lstStyle>
            <a:lvl1pPr defTabSz="857250">
              <a:spcBef>
                <a:spcPct val="4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188913" indent="-187325" defTabSz="857250">
              <a:spcBef>
                <a:spcPct val="40000"/>
              </a:spcBef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379413" indent="-188913" defTabSz="857250">
              <a:spcBef>
                <a:spcPct val="40000"/>
              </a:spcBef>
              <a:buChar char="l"/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190500" defTabSz="857250">
              <a:spcBef>
                <a:spcPct val="4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760413" indent="-187325" defTabSz="857250">
              <a:spcBef>
                <a:spcPct val="4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5pPr>
            <a:lvl6pPr marL="12176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16748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21320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2589213" indent="-187325" defTabSz="85725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r>
              <a:rPr lang="de-DE" altLang="de-DE" sz="2647" i="1" dirty="0">
                <a:solidFill>
                  <a:srgbClr val="FF0000"/>
                </a:solidFill>
              </a:rPr>
              <a:t>Beispiel</a:t>
            </a:r>
          </a:p>
        </p:txBody>
      </p:sp>
      <p:cxnSp>
        <p:nvCxnSpPr>
          <p:cNvPr id="212" name="AutoShape 7"/>
          <p:cNvCxnSpPr>
            <a:cxnSpLocks noChangeShapeType="1"/>
          </p:cNvCxnSpPr>
          <p:nvPr/>
        </p:nvCxnSpPr>
        <p:spPr bwMode="auto">
          <a:xfrm rot="20698763" flipV="1">
            <a:off x="15761180" y="4849715"/>
            <a:ext cx="1235425" cy="132812"/>
          </a:xfrm>
          <a:prstGeom prst="straightConnector1">
            <a:avLst/>
          </a:prstGeom>
          <a:noFill/>
          <a:ln w="9525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3" name="AutoShape 8"/>
          <p:cNvCxnSpPr>
            <a:cxnSpLocks noChangeShapeType="1"/>
          </p:cNvCxnSpPr>
          <p:nvPr/>
        </p:nvCxnSpPr>
        <p:spPr bwMode="auto">
          <a:xfrm rot="20698763" flipV="1">
            <a:off x="15814111" y="5342093"/>
            <a:ext cx="1235425" cy="132812"/>
          </a:xfrm>
          <a:prstGeom prst="straightConnector1">
            <a:avLst/>
          </a:prstGeom>
          <a:noFill/>
          <a:ln w="9525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15" name="Group 3"/>
          <p:cNvGrpSpPr>
            <a:grpSpLocks/>
          </p:cNvGrpSpPr>
          <p:nvPr>
            <p:custDataLst>
              <p:tags r:id="rId29"/>
            </p:custDataLst>
          </p:nvPr>
        </p:nvGrpSpPr>
        <p:grpSpPr bwMode="auto">
          <a:xfrm>
            <a:off x="14716777" y="11095366"/>
            <a:ext cx="2363535" cy="1294586"/>
            <a:chOff x="2274" y="1986"/>
            <a:chExt cx="1354" cy="828"/>
          </a:xfrm>
          <a:solidFill>
            <a:schemeClr val="accent1"/>
          </a:solidFill>
        </p:grpSpPr>
        <p:sp>
          <p:nvSpPr>
            <p:cNvPr id="216" name="Freeform 4"/>
            <p:cNvSpPr>
              <a:spLocks/>
            </p:cNvSpPr>
            <p:nvPr/>
          </p:nvSpPr>
          <p:spPr bwMode="auto">
            <a:xfrm>
              <a:off x="2274" y="1986"/>
              <a:ext cx="253" cy="828"/>
            </a:xfrm>
            <a:custGeom>
              <a:avLst/>
              <a:gdLst>
                <a:gd name="T0" fmla="*/ 253 w 253"/>
                <a:gd name="T1" fmla="*/ 632 h 828"/>
                <a:gd name="T2" fmla="*/ 212 w 253"/>
                <a:gd name="T3" fmla="*/ 797 h 828"/>
                <a:gd name="T4" fmla="*/ 192 w 253"/>
                <a:gd name="T5" fmla="*/ 632 h 828"/>
                <a:gd name="T6" fmla="*/ 145 w 253"/>
                <a:gd name="T7" fmla="*/ 654 h 828"/>
                <a:gd name="T8" fmla="*/ 145 w 253"/>
                <a:gd name="T9" fmla="*/ 663 h 828"/>
                <a:gd name="T10" fmla="*/ 138 w 253"/>
                <a:gd name="T11" fmla="*/ 681 h 828"/>
                <a:gd name="T12" fmla="*/ 145 w 253"/>
                <a:gd name="T13" fmla="*/ 703 h 828"/>
                <a:gd name="T14" fmla="*/ 121 w 253"/>
                <a:gd name="T15" fmla="*/ 806 h 828"/>
                <a:gd name="T16" fmla="*/ 118 w 253"/>
                <a:gd name="T17" fmla="*/ 703 h 828"/>
                <a:gd name="T18" fmla="*/ 114 w 253"/>
                <a:gd name="T19" fmla="*/ 672 h 828"/>
                <a:gd name="T20" fmla="*/ 114 w 253"/>
                <a:gd name="T21" fmla="*/ 659 h 828"/>
                <a:gd name="T22" fmla="*/ 114 w 253"/>
                <a:gd name="T23" fmla="*/ 632 h 828"/>
                <a:gd name="T24" fmla="*/ 84 w 253"/>
                <a:gd name="T25" fmla="*/ 828 h 828"/>
                <a:gd name="T26" fmla="*/ 43 w 253"/>
                <a:gd name="T27" fmla="*/ 401 h 828"/>
                <a:gd name="T28" fmla="*/ 23 w 253"/>
                <a:gd name="T29" fmla="*/ 383 h 828"/>
                <a:gd name="T30" fmla="*/ 16 w 253"/>
                <a:gd name="T31" fmla="*/ 378 h 828"/>
                <a:gd name="T32" fmla="*/ 16 w 253"/>
                <a:gd name="T33" fmla="*/ 374 h 828"/>
                <a:gd name="T34" fmla="*/ 13 w 253"/>
                <a:gd name="T35" fmla="*/ 352 h 828"/>
                <a:gd name="T36" fmla="*/ 10 w 253"/>
                <a:gd name="T37" fmla="*/ 347 h 828"/>
                <a:gd name="T38" fmla="*/ 6 w 253"/>
                <a:gd name="T39" fmla="*/ 343 h 828"/>
                <a:gd name="T40" fmla="*/ 0 w 253"/>
                <a:gd name="T41" fmla="*/ 338 h 828"/>
                <a:gd name="T42" fmla="*/ 37 w 253"/>
                <a:gd name="T43" fmla="*/ 316 h 828"/>
                <a:gd name="T44" fmla="*/ 33 w 253"/>
                <a:gd name="T45" fmla="*/ 267 h 828"/>
                <a:gd name="T46" fmla="*/ 33 w 253"/>
                <a:gd name="T47" fmla="*/ 258 h 828"/>
                <a:gd name="T48" fmla="*/ 77 w 253"/>
                <a:gd name="T49" fmla="*/ 236 h 828"/>
                <a:gd name="T50" fmla="*/ 84 w 253"/>
                <a:gd name="T51" fmla="*/ 227 h 828"/>
                <a:gd name="T52" fmla="*/ 91 w 253"/>
                <a:gd name="T53" fmla="*/ 209 h 828"/>
                <a:gd name="T54" fmla="*/ 98 w 253"/>
                <a:gd name="T55" fmla="*/ 196 h 828"/>
                <a:gd name="T56" fmla="*/ 118 w 253"/>
                <a:gd name="T57" fmla="*/ 165 h 828"/>
                <a:gd name="T58" fmla="*/ 128 w 253"/>
                <a:gd name="T59" fmla="*/ 147 h 828"/>
                <a:gd name="T60" fmla="*/ 128 w 253"/>
                <a:gd name="T61" fmla="*/ 111 h 828"/>
                <a:gd name="T62" fmla="*/ 121 w 253"/>
                <a:gd name="T63" fmla="*/ 102 h 828"/>
                <a:gd name="T64" fmla="*/ 118 w 253"/>
                <a:gd name="T65" fmla="*/ 89 h 828"/>
                <a:gd name="T66" fmla="*/ 111 w 253"/>
                <a:gd name="T67" fmla="*/ 76 h 828"/>
                <a:gd name="T68" fmla="*/ 114 w 253"/>
                <a:gd name="T69" fmla="*/ 53 h 828"/>
                <a:gd name="T70" fmla="*/ 118 w 253"/>
                <a:gd name="T71" fmla="*/ 40 h 828"/>
                <a:gd name="T72" fmla="*/ 128 w 253"/>
                <a:gd name="T73" fmla="*/ 18 h 828"/>
                <a:gd name="T74" fmla="*/ 145 w 253"/>
                <a:gd name="T75" fmla="*/ 5 h 828"/>
                <a:gd name="T76" fmla="*/ 169 w 253"/>
                <a:gd name="T77" fmla="*/ 0 h 828"/>
                <a:gd name="T78" fmla="*/ 185 w 253"/>
                <a:gd name="T79" fmla="*/ 0 h 828"/>
                <a:gd name="T80" fmla="*/ 209 w 253"/>
                <a:gd name="T81" fmla="*/ 13 h 828"/>
                <a:gd name="T82" fmla="*/ 223 w 253"/>
                <a:gd name="T83" fmla="*/ 27 h 828"/>
                <a:gd name="T84" fmla="*/ 226 w 253"/>
                <a:gd name="T85" fmla="*/ 36 h 828"/>
                <a:gd name="T86" fmla="*/ 223 w 253"/>
                <a:gd name="T87" fmla="*/ 45 h 828"/>
                <a:gd name="T88" fmla="*/ 219 w 253"/>
                <a:gd name="T89" fmla="*/ 49 h 828"/>
                <a:gd name="T90" fmla="*/ 223 w 253"/>
                <a:gd name="T91" fmla="*/ 80 h 828"/>
                <a:gd name="T92" fmla="*/ 236 w 253"/>
                <a:gd name="T93" fmla="*/ 111 h 828"/>
                <a:gd name="T94" fmla="*/ 233 w 253"/>
                <a:gd name="T95" fmla="*/ 125 h 828"/>
                <a:gd name="T96" fmla="*/ 233 w 253"/>
                <a:gd name="T97" fmla="*/ 134 h 828"/>
                <a:gd name="T98" fmla="*/ 226 w 253"/>
                <a:gd name="T99" fmla="*/ 142 h 828"/>
                <a:gd name="T100" fmla="*/ 229 w 253"/>
                <a:gd name="T101" fmla="*/ 165 h 828"/>
                <a:gd name="T102" fmla="*/ 209 w 253"/>
                <a:gd name="T103" fmla="*/ 165 h 828"/>
                <a:gd name="T104" fmla="*/ 196 w 253"/>
                <a:gd name="T105" fmla="*/ 183 h 828"/>
                <a:gd name="T106" fmla="*/ 253 w 253"/>
                <a:gd name="T107" fmla="*/ 280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3" h="828">
                  <a:moveTo>
                    <a:pt x="253" y="280"/>
                  </a:moveTo>
                  <a:lnTo>
                    <a:pt x="253" y="632"/>
                  </a:lnTo>
                  <a:lnTo>
                    <a:pt x="212" y="632"/>
                  </a:lnTo>
                  <a:lnTo>
                    <a:pt x="212" y="797"/>
                  </a:lnTo>
                  <a:lnTo>
                    <a:pt x="196" y="797"/>
                  </a:lnTo>
                  <a:lnTo>
                    <a:pt x="192" y="632"/>
                  </a:lnTo>
                  <a:lnTo>
                    <a:pt x="145" y="632"/>
                  </a:lnTo>
                  <a:lnTo>
                    <a:pt x="145" y="654"/>
                  </a:lnTo>
                  <a:lnTo>
                    <a:pt x="145" y="659"/>
                  </a:lnTo>
                  <a:lnTo>
                    <a:pt x="145" y="663"/>
                  </a:lnTo>
                  <a:lnTo>
                    <a:pt x="141" y="672"/>
                  </a:lnTo>
                  <a:lnTo>
                    <a:pt x="138" y="681"/>
                  </a:lnTo>
                  <a:lnTo>
                    <a:pt x="141" y="703"/>
                  </a:lnTo>
                  <a:lnTo>
                    <a:pt x="145" y="703"/>
                  </a:lnTo>
                  <a:lnTo>
                    <a:pt x="138" y="806"/>
                  </a:lnTo>
                  <a:lnTo>
                    <a:pt x="121" y="806"/>
                  </a:lnTo>
                  <a:lnTo>
                    <a:pt x="114" y="703"/>
                  </a:lnTo>
                  <a:lnTo>
                    <a:pt x="118" y="703"/>
                  </a:lnTo>
                  <a:lnTo>
                    <a:pt x="121" y="681"/>
                  </a:lnTo>
                  <a:lnTo>
                    <a:pt x="114" y="672"/>
                  </a:lnTo>
                  <a:lnTo>
                    <a:pt x="114" y="663"/>
                  </a:lnTo>
                  <a:lnTo>
                    <a:pt x="114" y="659"/>
                  </a:lnTo>
                  <a:lnTo>
                    <a:pt x="114" y="654"/>
                  </a:lnTo>
                  <a:lnTo>
                    <a:pt x="114" y="632"/>
                  </a:lnTo>
                  <a:lnTo>
                    <a:pt x="87" y="632"/>
                  </a:lnTo>
                  <a:lnTo>
                    <a:pt x="84" y="828"/>
                  </a:lnTo>
                  <a:lnTo>
                    <a:pt x="64" y="828"/>
                  </a:lnTo>
                  <a:lnTo>
                    <a:pt x="43" y="401"/>
                  </a:lnTo>
                  <a:lnTo>
                    <a:pt x="23" y="401"/>
                  </a:lnTo>
                  <a:lnTo>
                    <a:pt x="23" y="383"/>
                  </a:lnTo>
                  <a:lnTo>
                    <a:pt x="20" y="378"/>
                  </a:lnTo>
                  <a:lnTo>
                    <a:pt x="16" y="378"/>
                  </a:lnTo>
                  <a:lnTo>
                    <a:pt x="16" y="374"/>
                  </a:lnTo>
                  <a:lnTo>
                    <a:pt x="16" y="374"/>
                  </a:lnTo>
                  <a:lnTo>
                    <a:pt x="13" y="352"/>
                  </a:lnTo>
                  <a:lnTo>
                    <a:pt x="13" y="352"/>
                  </a:lnTo>
                  <a:lnTo>
                    <a:pt x="13" y="347"/>
                  </a:lnTo>
                  <a:lnTo>
                    <a:pt x="10" y="347"/>
                  </a:lnTo>
                  <a:lnTo>
                    <a:pt x="10" y="343"/>
                  </a:lnTo>
                  <a:lnTo>
                    <a:pt x="6" y="343"/>
                  </a:lnTo>
                  <a:lnTo>
                    <a:pt x="6" y="338"/>
                  </a:lnTo>
                  <a:lnTo>
                    <a:pt x="0" y="338"/>
                  </a:lnTo>
                  <a:lnTo>
                    <a:pt x="0" y="316"/>
                  </a:lnTo>
                  <a:lnTo>
                    <a:pt x="37" y="316"/>
                  </a:lnTo>
                  <a:lnTo>
                    <a:pt x="33" y="272"/>
                  </a:lnTo>
                  <a:lnTo>
                    <a:pt x="33" y="267"/>
                  </a:lnTo>
                  <a:lnTo>
                    <a:pt x="33" y="263"/>
                  </a:lnTo>
                  <a:lnTo>
                    <a:pt x="33" y="258"/>
                  </a:lnTo>
                  <a:lnTo>
                    <a:pt x="40" y="254"/>
                  </a:lnTo>
                  <a:lnTo>
                    <a:pt x="77" y="236"/>
                  </a:lnTo>
                  <a:lnTo>
                    <a:pt x="81" y="236"/>
                  </a:lnTo>
                  <a:lnTo>
                    <a:pt x="84" y="227"/>
                  </a:lnTo>
                  <a:lnTo>
                    <a:pt x="87" y="218"/>
                  </a:lnTo>
                  <a:lnTo>
                    <a:pt x="91" y="209"/>
                  </a:lnTo>
                  <a:lnTo>
                    <a:pt x="94" y="205"/>
                  </a:lnTo>
                  <a:lnTo>
                    <a:pt x="98" y="196"/>
                  </a:lnTo>
                  <a:lnTo>
                    <a:pt x="108" y="183"/>
                  </a:lnTo>
                  <a:lnTo>
                    <a:pt x="118" y="165"/>
                  </a:lnTo>
                  <a:lnTo>
                    <a:pt x="121" y="147"/>
                  </a:lnTo>
                  <a:lnTo>
                    <a:pt x="128" y="147"/>
                  </a:lnTo>
                  <a:lnTo>
                    <a:pt x="131" y="116"/>
                  </a:lnTo>
                  <a:lnTo>
                    <a:pt x="128" y="111"/>
                  </a:lnTo>
                  <a:lnTo>
                    <a:pt x="125" y="107"/>
                  </a:lnTo>
                  <a:lnTo>
                    <a:pt x="121" y="102"/>
                  </a:lnTo>
                  <a:lnTo>
                    <a:pt x="118" y="98"/>
                  </a:lnTo>
                  <a:lnTo>
                    <a:pt x="118" y="89"/>
                  </a:lnTo>
                  <a:lnTo>
                    <a:pt x="114" y="85"/>
                  </a:lnTo>
                  <a:lnTo>
                    <a:pt x="111" y="76"/>
                  </a:lnTo>
                  <a:lnTo>
                    <a:pt x="111" y="62"/>
                  </a:lnTo>
                  <a:lnTo>
                    <a:pt x="114" y="53"/>
                  </a:lnTo>
                  <a:lnTo>
                    <a:pt x="114" y="45"/>
                  </a:lnTo>
                  <a:lnTo>
                    <a:pt x="118" y="40"/>
                  </a:lnTo>
                  <a:lnTo>
                    <a:pt x="121" y="27"/>
                  </a:lnTo>
                  <a:lnTo>
                    <a:pt x="128" y="18"/>
                  </a:lnTo>
                  <a:lnTo>
                    <a:pt x="135" y="13"/>
                  </a:lnTo>
                  <a:lnTo>
                    <a:pt x="145" y="5"/>
                  </a:lnTo>
                  <a:lnTo>
                    <a:pt x="158" y="5"/>
                  </a:lnTo>
                  <a:lnTo>
                    <a:pt x="169" y="0"/>
                  </a:lnTo>
                  <a:lnTo>
                    <a:pt x="179" y="0"/>
                  </a:lnTo>
                  <a:lnTo>
                    <a:pt x="185" y="0"/>
                  </a:lnTo>
                  <a:lnTo>
                    <a:pt x="196" y="5"/>
                  </a:lnTo>
                  <a:lnTo>
                    <a:pt x="209" y="13"/>
                  </a:lnTo>
                  <a:lnTo>
                    <a:pt x="216" y="18"/>
                  </a:lnTo>
                  <a:lnTo>
                    <a:pt x="223" y="27"/>
                  </a:lnTo>
                  <a:lnTo>
                    <a:pt x="226" y="31"/>
                  </a:lnTo>
                  <a:lnTo>
                    <a:pt x="226" y="36"/>
                  </a:lnTo>
                  <a:lnTo>
                    <a:pt x="226" y="40"/>
                  </a:lnTo>
                  <a:lnTo>
                    <a:pt x="223" y="45"/>
                  </a:lnTo>
                  <a:lnTo>
                    <a:pt x="223" y="49"/>
                  </a:lnTo>
                  <a:lnTo>
                    <a:pt x="219" y="49"/>
                  </a:lnTo>
                  <a:lnTo>
                    <a:pt x="223" y="76"/>
                  </a:lnTo>
                  <a:lnTo>
                    <a:pt x="223" y="80"/>
                  </a:lnTo>
                  <a:lnTo>
                    <a:pt x="219" y="89"/>
                  </a:lnTo>
                  <a:lnTo>
                    <a:pt x="236" y="111"/>
                  </a:lnTo>
                  <a:lnTo>
                    <a:pt x="226" y="116"/>
                  </a:lnTo>
                  <a:lnTo>
                    <a:pt x="233" y="125"/>
                  </a:lnTo>
                  <a:lnTo>
                    <a:pt x="226" y="129"/>
                  </a:lnTo>
                  <a:lnTo>
                    <a:pt x="233" y="134"/>
                  </a:lnTo>
                  <a:lnTo>
                    <a:pt x="229" y="138"/>
                  </a:lnTo>
                  <a:lnTo>
                    <a:pt x="226" y="142"/>
                  </a:lnTo>
                  <a:lnTo>
                    <a:pt x="226" y="147"/>
                  </a:lnTo>
                  <a:lnTo>
                    <a:pt x="229" y="165"/>
                  </a:lnTo>
                  <a:lnTo>
                    <a:pt x="219" y="165"/>
                  </a:lnTo>
                  <a:lnTo>
                    <a:pt x="209" y="165"/>
                  </a:lnTo>
                  <a:lnTo>
                    <a:pt x="196" y="165"/>
                  </a:lnTo>
                  <a:lnTo>
                    <a:pt x="196" y="183"/>
                  </a:lnTo>
                  <a:lnTo>
                    <a:pt x="229" y="214"/>
                  </a:lnTo>
                  <a:lnTo>
                    <a:pt x="253" y="2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7" name="Freeform 5"/>
            <p:cNvSpPr>
              <a:spLocks/>
            </p:cNvSpPr>
            <p:nvPr/>
          </p:nvSpPr>
          <p:spPr bwMode="auto">
            <a:xfrm>
              <a:off x="2527" y="2022"/>
              <a:ext cx="247" cy="792"/>
            </a:xfrm>
            <a:custGeom>
              <a:avLst/>
              <a:gdLst>
                <a:gd name="T0" fmla="*/ 44 w 247"/>
                <a:gd name="T1" fmla="*/ 138 h 792"/>
                <a:gd name="T2" fmla="*/ 54 w 247"/>
                <a:gd name="T3" fmla="*/ 129 h 792"/>
                <a:gd name="T4" fmla="*/ 68 w 247"/>
                <a:gd name="T5" fmla="*/ 124 h 792"/>
                <a:gd name="T6" fmla="*/ 78 w 247"/>
                <a:gd name="T7" fmla="*/ 124 h 792"/>
                <a:gd name="T8" fmla="*/ 91 w 247"/>
                <a:gd name="T9" fmla="*/ 124 h 792"/>
                <a:gd name="T10" fmla="*/ 101 w 247"/>
                <a:gd name="T11" fmla="*/ 120 h 792"/>
                <a:gd name="T12" fmla="*/ 111 w 247"/>
                <a:gd name="T13" fmla="*/ 115 h 792"/>
                <a:gd name="T14" fmla="*/ 122 w 247"/>
                <a:gd name="T15" fmla="*/ 115 h 792"/>
                <a:gd name="T16" fmla="*/ 125 w 247"/>
                <a:gd name="T17" fmla="*/ 89 h 792"/>
                <a:gd name="T18" fmla="*/ 132 w 247"/>
                <a:gd name="T19" fmla="*/ 31 h 792"/>
                <a:gd name="T20" fmla="*/ 135 w 247"/>
                <a:gd name="T21" fmla="*/ 17 h 792"/>
                <a:gd name="T22" fmla="*/ 145 w 247"/>
                <a:gd name="T23" fmla="*/ 9 h 792"/>
                <a:gd name="T24" fmla="*/ 152 w 247"/>
                <a:gd name="T25" fmla="*/ 4 h 792"/>
                <a:gd name="T26" fmla="*/ 162 w 247"/>
                <a:gd name="T27" fmla="*/ 0 h 792"/>
                <a:gd name="T28" fmla="*/ 182 w 247"/>
                <a:gd name="T29" fmla="*/ 0 h 792"/>
                <a:gd name="T30" fmla="*/ 199 w 247"/>
                <a:gd name="T31" fmla="*/ 4 h 792"/>
                <a:gd name="T32" fmla="*/ 213 w 247"/>
                <a:gd name="T33" fmla="*/ 9 h 792"/>
                <a:gd name="T34" fmla="*/ 220 w 247"/>
                <a:gd name="T35" fmla="*/ 31 h 792"/>
                <a:gd name="T36" fmla="*/ 226 w 247"/>
                <a:gd name="T37" fmla="*/ 75 h 792"/>
                <a:gd name="T38" fmla="*/ 236 w 247"/>
                <a:gd name="T39" fmla="*/ 98 h 792"/>
                <a:gd name="T40" fmla="*/ 226 w 247"/>
                <a:gd name="T41" fmla="*/ 106 h 792"/>
                <a:gd name="T42" fmla="*/ 226 w 247"/>
                <a:gd name="T43" fmla="*/ 115 h 792"/>
                <a:gd name="T44" fmla="*/ 223 w 247"/>
                <a:gd name="T45" fmla="*/ 124 h 792"/>
                <a:gd name="T46" fmla="*/ 226 w 247"/>
                <a:gd name="T47" fmla="*/ 129 h 792"/>
                <a:gd name="T48" fmla="*/ 223 w 247"/>
                <a:gd name="T49" fmla="*/ 133 h 792"/>
                <a:gd name="T50" fmla="*/ 189 w 247"/>
                <a:gd name="T51" fmla="*/ 142 h 792"/>
                <a:gd name="T52" fmla="*/ 236 w 247"/>
                <a:gd name="T53" fmla="*/ 164 h 792"/>
                <a:gd name="T54" fmla="*/ 236 w 247"/>
                <a:gd name="T55" fmla="*/ 285 h 792"/>
                <a:gd name="T56" fmla="*/ 247 w 247"/>
                <a:gd name="T57" fmla="*/ 596 h 792"/>
                <a:gd name="T58" fmla="*/ 220 w 247"/>
                <a:gd name="T59" fmla="*/ 583 h 792"/>
                <a:gd name="T60" fmla="*/ 209 w 247"/>
                <a:gd name="T61" fmla="*/ 645 h 792"/>
                <a:gd name="T62" fmla="*/ 199 w 247"/>
                <a:gd name="T63" fmla="*/ 703 h 792"/>
                <a:gd name="T64" fmla="*/ 223 w 247"/>
                <a:gd name="T65" fmla="*/ 725 h 792"/>
                <a:gd name="T66" fmla="*/ 243 w 247"/>
                <a:gd name="T67" fmla="*/ 734 h 792"/>
                <a:gd name="T68" fmla="*/ 145 w 247"/>
                <a:gd name="T69" fmla="*/ 756 h 792"/>
                <a:gd name="T70" fmla="*/ 135 w 247"/>
                <a:gd name="T71" fmla="*/ 552 h 792"/>
                <a:gd name="T72" fmla="*/ 118 w 247"/>
                <a:gd name="T73" fmla="*/ 761 h 792"/>
                <a:gd name="T74" fmla="*/ 101 w 247"/>
                <a:gd name="T75" fmla="*/ 614 h 792"/>
                <a:gd name="T76" fmla="*/ 88 w 247"/>
                <a:gd name="T77" fmla="*/ 650 h 792"/>
                <a:gd name="T78" fmla="*/ 74 w 247"/>
                <a:gd name="T79" fmla="*/ 685 h 792"/>
                <a:gd name="T80" fmla="*/ 78 w 247"/>
                <a:gd name="T81" fmla="*/ 698 h 792"/>
                <a:gd name="T82" fmla="*/ 105 w 247"/>
                <a:gd name="T83" fmla="*/ 721 h 792"/>
                <a:gd name="T84" fmla="*/ 51 w 247"/>
                <a:gd name="T85" fmla="*/ 734 h 792"/>
                <a:gd name="T86" fmla="*/ 17 w 247"/>
                <a:gd name="T87" fmla="*/ 792 h 792"/>
                <a:gd name="T88" fmla="*/ 0 w 247"/>
                <a:gd name="T89" fmla="*/ 596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7" h="792">
                  <a:moveTo>
                    <a:pt x="0" y="244"/>
                  </a:moveTo>
                  <a:lnTo>
                    <a:pt x="44" y="138"/>
                  </a:lnTo>
                  <a:lnTo>
                    <a:pt x="47" y="133"/>
                  </a:lnTo>
                  <a:lnTo>
                    <a:pt x="54" y="129"/>
                  </a:lnTo>
                  <a:lnTo>
                    <a:pt x="61" y="129"/>
                  </a:lnTo>
                  <a:lnTo>
                    <a:pt x="68" y="124"/>
                  </a:lnTo>
                  <a:lnTo>
                    <a:pt x="71" y="124"/>
                  </a:lnTo>
                  <a:lnTo>
                    <a:pt x="78" y="124"/>
                  </a:lnTo>
                  <a:lnTo>
                    <a:pt x="84" y="124"/>
                  </a:lnTo>
                  <a:lnTo>
                    <a:pt x="91" y="124"/>
                  </a:lnTo>
                  <a:lnTo>
                    <a:pt x="98" y="120"/>
                  </a:lnTo>
                  <a:lnTo>
                    <a:pt x="101" y="120"/>
                  </a:lnTo>
                  <a:lnTo>
                    <a:pt x="108" y="115"/>
                  </a:lnTo>
                  <a:lnTo>
                    <a:pt x="111" y="115"/>
                  </a:lnTo>
                  <a:lnTo>
                    <a:pt x="118" y="115"/>
                  </a:lnTo>
                  <a:lnTo>
                    <a:pt x="122" y="115"/>
                  </a:lnTo>
                  <a:lnTo>
                    <a:pt x="139" y="102"/>
                  </a:lnTo>
                  <a:lnTo>
                    <a:pt x="125" y="89"/>
                  </a:lnTo>
                  <a:lnTo>
                    <a:pt x="128" y="35"/>
                  </a:lnTo>
                  <a:lnTo>
                    <a:pt x="132" y="31"/>
                  </a:lnTo>
                  <a:lnTo>
                    <a:pt x="132" y="22"/>
                  </a:lnTo>
                  <a:lnTo>
                    <a:pt x="135" y="17"/>
                  </a:lnTo>
                  <a:lnTo>
                    <a:pt x="139" y="13"/>
                  </a:lnTo>
                  <a:lnTo>
                    <a:pt x="145" y="9"/>
                  </a:lnTo>
                  <a:lnTo>
                    <a:pt x="149" y="9"/>
                  </a:lnTo>
                  <a:lnTo>
                    <a:pt x="152" y="4"/>
                  </a:lnTo>
                  <a:lnTo>
                    <a:pt x="159" y="4"/>
                  </a:lnTo>
                  <a:lnTo>
                    <a:pt x="162" y="0"/>
                  </a:lnTo>
                  <a:lnTo>
                    <a:pt x="176" y="0"/>
                  </a:lnTo>
                  <a:lnTo>
                    <a:pt x="182" y="0"/>
                  </a:lnTo>
                  <a:lnTo>
                    <a:pt x="189" y="0"/>
                  </a:lnTo>
                  <a:lnTo>
                    <a:pt x="199" y="4"/>
                  </a:lnTo>
                  <a:lnTo>
                    <a:pt x="206" y="4"/>
                  </a:lnTo>
                  <a:lnTo>
                    <a:pt x="213" y="9"/>
                  </a:lnTo>
                  <a:lnTo>
                    <a:pt x="226" y="17"/>
                  </a:lnTo>
                  <a:lnTo>
                    <a:pt x="220" y="31"/>
                  </a:lnTo>
                  <a:lnTo>
                    <a:pt x="233" y="53"/>
                  </a:lnTo>
                  <a:lnTo>
                    <a:pt x="226" y="75"/>
                  </a:lnTo>
                  <a:lnTo>
                    <a:pt x="236" y="93"/>
                  </a:lnTo>
                  <a:lnTo>
                    <a:pt x="236" y="98"/>
                  </a:lnTo>
                  <a:lnTo>
                    <a:pt x="226" y="102"/>
                  </a:lnTo>
                  <a:lnTo>
                    <a:pt x="226" y="106"/>
                  </a:lnTo>
                  <a:lnTo>
                    <a:pt x="226" y="111"/>
                  </a:lnTo>
                  <a:lnTo>
                    <a:pt x="226" y="115"/>
                  </a:lnTo>
                  <a:lnTo>
                    <a:pt x="223" y="115"/>
                  </a:lnTo>
                  <a:lnTo>
                    <a:pt x="223" y="124"/>
                  </a:lnTo>
                  <a:lnTo>
                    <a:pt x="226" y="124"/>
                  </a:lnTo>
                  <a:lnTo>
                    <a:pt x="226" y="129"/>
                  </a:lnTo>
                  <a:lnTo>
                    <a:pt x="226" y="133"/>
                  </a:lnTo>
                  <a:lnTo>
                    <a:pt x="223" y="133"/>
                  </a:lnTo>
                  <a:lnTo>
                    <a:pt x="220" y="138"/>
                  </a:lnTo>
                  <a:lnTo>
                    <a:pt x="189" y="142"/>
                  </a:lnTo>
                  <a:lnTo>
                    <a:pt x="236" y="160"/>
                  </a:lnTo>
                  <a:lnTo>
                    <a:pt x="236" y="164"/>
                  </a:lnTo>
                  <a:lnTo>
                    <a:pt x="240" y="169"/>
                  </a:lnTo>
                  <a:lnTo>
                    <a:pt x="236" y="285"/>
                  </a:lnTo>
                  <a:lnTo>
                    <a:pt x="247" y="285"/>
                  </a:lnTo>
                  <a:lnTo>
                    <a:pt x="247" y="596"/>
                  </a:lnTo>
                  <a:lnTo>
                    <a:pt x="243" y="596"/>
                  </a:lnTo>
                  <a:lnTo>
                    <a:pt x="220" y="583"/>
                  </a:lnTo>
                  <a:lnTo>
                    <a:pt x="216" y="645"/>
                  </a:lnTo>
                  <a:lnTo>
                    <a:pt x="209" y="645"/>
                  </a:lnTo>
                  <a:lnTo>
                    <a:pt x="203" y="650"/>
                  </a:lnTo>
                  <a:lnTo>
                    <a:pt x="199" y="703"/>
                  </a:lnTo>
                  <a:lnTo>
                    <a:pt x="213" y="716"/>
                  </a:lnTo>
                  <a:lnTo>
                    <a:pt x="223" y="725"/>
                  </a:lnTo>
                  <a:lnTo>
                    <a:pt x="236" y="734"/>
                  </a:lnTo>
                  <a:lnTo>
                    <a:pt x="243" y="734"/>
                  </a:lnTo>
                  <a:lnTo>
                    <a:pt x="247" y="756"/>
                  </a:lnTo>
                  <a:lnTo>
                    <a:pt x="145" y="756"/>
                  </a:lnTo>
                  <a:lnTo>
                    <a:pt x="152" y="538"/>
                  </a:lnTo>
                  <a:lnTo>
                    <a:pt x="135" y="552"/>
                  </a:lnTo>
                  <a:lnTo>
                    <a:pt x="139" y="761"/>
                  </a:lnTo>
                  <a:lnTo>
                    <a:pt x="118" y="761"/>
                  </a:lnTo>
                  <a:lnTo>
                    <a:pt x="115" y="587"/>
                  </a:lnTo>
                  <a:lnTo>
                    <a:pt x="101" y="614"/>
                  </a:lnTo>
                  <a:lnTo>
                    <a:pt x="91" y="636"/>
                  </a:lnTo>
                  <a:lnTo>
                    <a:pt x="88" y="650"/>
                  </a:lnTo>
                  <a:lnTo>
                    <a:pt x="78" y="650"/>
                  </a:lnTo>
                  <a:lnTo>
                    <a:pt x="74" y="685"/>
                  </a:lnTo>
                  <a:lnTo>
                    <a:pt x="74" y="694"/>
                  </a:lnTo>
                  <a:lnTo>
                    <a:pt x="78" y="698"/>
                  </a:lnTo>
                  <a:lnTo>
                    <a:pt x="81" y="703"/>
                  </a:lnTo>
                  <a:lnTo>
                    <a:pt x="105" y="721"/>
                  </a:lnTo>
                  <a:lnTo>
                    <a:pt x="105" y="734"/>
                  </a:lnTo>
                  <a:lnTo>
                    <a:pt x="51" y="734"/>
                  </a:lnTo>
                  <a:lnTo>
                    <a:pt x="20" y="694"/>
                  </a:lnTo>
                  <a:lnTo>
                    <a:pt x="17" y="792"/>
                  </a:lnTo>
                  <a:lnTo>
                    <a:pt x="0" y="792"/>
                  </a:lnTo>
                  <a:lnTo>
                    <a:pt x="0" y="596"/>
                  </a:lnTo>
                  <a:lnTo>
                    <a:pt x="0" y="2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8" name="Freeform 6"/>
            <p:cNvSpPr>
              <a:spLocks/>
            </p:cNvSpPr>
            <p:nvPr/>
          </p:nvSpPr>
          <p:spPr bwMode="auto">
            <a:xfrm>
              <a:off x="2774" y="2035"/>
              <a:ext cx="273" cy="774"/>
            </a:xfrm>
            <a:custGeom>
              <a:avLst/>
              <a:gdLst>
                <a:gd name="T0" fmla="*/ 10 w 273"/>
                <a:gd name="T1" fmla="*/ 583 h 774"/>
                <a:gd name="T2" fmla="*/ 27 w 273"/>
                <a:gd name="T3" fmla="*/ 774 h 774"/>
                <a:gd name="T4" fmla="*/ 40 w 273"/>
                <a:gd name="T5" fmla="*/ 583 h 774"/>
                <a:gd name="T6" fmla="*/ 54 w 273"/>
                <a:gd name="T7" fmla="*/ 748 h 774"/>
                <a:gd name="T8" fmla="*/ 142 w 273"/>
                <a:gd name="T9" fmla="*/ 583 h 774"/>
                <a:gd name="T10" fmla="*/ 138 w 273"/>
                <a:gd name="T11" fmla="*/ 637 h 774"/>
                <a:gd name="T12" fmla="*/ 121 w 273"/>
                <a:gd name="T13" fmla="*/ 685 h 774"/>
                <a:gd name="T14" fmla="*/ 121 w 273"/>
                <a:gd name="T15" fmla="*/ 717 h 774"/>
                <a:gd name="T16" fmla="*/ 131 w 273"/>
                <a:gd name="T17" fmla="*/ 739 h 774"/>
                <a:gd name="T18" fmla="*/ 152 w 273"/>
                <a:gd name="T19" fmla="*/ 726 h 774"/>
                <a:gd name="T20" fmla="*/ 162 w 273"/>
                <a:gd name="T21" fmla="*/ 730 h 774"/>
                <a:gd name="T22" fmla="*/ 172 w 273"/>
                <a:gd name="T23" fmla="*/ 734 h 774"/>
                <a:gd name="T24" fmla="*/ 192 w 273"/>
                <a:gd name="T25" fmla="*/ 739 h 774"/>
                <a:gd name="T26" fmla="*/ 206 w 273"/>
                <a:gd name="T27" fmla="*/ 774 h 774"/>
                <a:gd name="T28" fmla="*/ 226 w 273"/>
                <a:gd name="T29" fmla="*/ 739 h 774"/>
                <a:gd name="T30" fmla="*/ 219 w 273"/>
                <a:gd name="T31" fmla="*/ 717 h 774"/>
                <a:gd name="T32" fmla="*/ 212 w 273"/>
                <a:gd name="T33" fmla="*/ 708 h 774"/>
                <a:gd name="T34" fmla="*/ 209 w 273"/>
                <a:gd name="T35" fmla="*/ 583 h 774"/>
                <a:gd name="T36" fmla="*/ 172 w 273"/>
                <a:gd name="T37" fmla="*/ 619 h 774"/>
                <a:gd name="T38" fmla="*/ 175 w 273"/>
                <a:gd name="T39" fmla="*/ 632 h 774"/>
                <a:gd name="T40" fmla="*/ 175 w 273"/>
                <a:gd name="T41" fmla="*/ 645 h 774"/>
                <a:gd name="T42" fmla="*/ 172 w 273"/>
                <a:gd name="T43" fmla="*/ 663 h 774"/>
                <a:gd name="T44" fmla="*/ 172 w 273"/>
                <a:gd name="T45" fmla="*/ 619 h 774"/>
                <a:gd name="T46" fmla="*/ 223 w 273"/>
                <a:gd name="T47" fmla="*/ 583 h 774"/>
                <a:gd name="T48" fmla="*/ 226 w 273"/>
                <a:gd name="T49" fmla="*/ 739 h 774"/>
                <a:gd name="T50" fmla="*/ 240 w 273"/>
                <a:gd name="T51" fmla="*/ 748 h 774"/>
                <a:gd name="T52" fmla="*/ 253 w 273"/>
                <a:gd name="T53" fmla="*/ 583 h 774"/>
                <a:gd name="T54" fmla="*/ 263 w 273"/>
                <a:gd name="T55" fmla="*/ 405 h 774"/>
                <a:gd name="T56" fmla="*/ 270 w 273"/>
                <a:gd name="T57" fmla="*/ 374 h 774"/>
                <a:gd name="T58" fmla="*/ 263 w 273"/>
                <a:gd name="T59" fmla="*/ 272 h 774"/>
                <a:gd name="T60" fmla="*/ 212 w 273"/>
                <a:gd name="T61" fmla="*/ 200 h 774"/>
                <a:gd name="T62" fmla="*/ 165 w 273"/>
                <a:gd name="T63" fmla="*/ 165 h 774"/>
                <a:gd name="T64" fmla="*/ 158 w 273"/>
                <a:gd name="T65" fmla="*/ 160 h 774"/>
                <a:gd name="T66" fmla="*/ 145 w 273"/>
                <a:gd name="T67" fmla="*/ 160 h 774"/>
                <a:gd name="T68" fmla="*/ 128 w 273"/>
                <a:gd name="T69" fmla="*/ 134 h 774"/>
                <a:gd name="T70" fmla="*/ 155 w 273"/>
                <a:gd name="T71" fmla="*/ 129 h 774"/>
                <a:gd name="T72" fmla="*/ 155 w 273"/>
                <a:gd name="T73" fmla="*/ 120 h 774"/>
                <a:gd name="T74" fmla="*/ 155 w 273"/>
                <a:gd name="T75" fmla="*/ 107 h 774"/>
                <a:gd name="T76" fmla="*/ 155 w 273"/>
                <a:gd name="T77" fmla="*/ 98 h 774"/>
                <a:gd name="T78" fmla="*/ 158 w 273"/>
                <a:gd name="T79" fmla="*/ 85 h 774"/>
                <a:gd name="T80" fmla="*/ 148 w 273"/>
                <a:gd name="T81" fmla="*/ 67 h 774"/>
                <a:gd name="T82" fmla="*/ 145 w 273"/>
                <a:gd name="T83" fmla="*/ 40 h 774"/>
                <a:gd name="T84" fmla="*/ 135 w 273"/>
                <a:gd name="T85" fmla="*/ 22 h 774"/>
                <a:gd name="T86" fmla="*/ 114 w 273"/>
                <a:gd name="T87" fmla="*/ 4 h 774"/>
                <a:gd name="T88" fmla="*/ 91 w 273"/>
                <a:gd name="T89" fmla="*/ 0 h 774"/>
                <a:gd name="T90" fmla="*/ 74 w 273"/>
                <a:gd name="T91" fmla="*/ 4 h 774"/>
                <a:gd name="T92" fmla="*/ 54 w 273"/>
                <a:gd name="T93" fmla="*/ 22 h 774"/>
                <a:gd name="T94" fmla="*/ 47 w 273"/>
                <a:gd name="T95" fmla="*/ 40 h 774"/>
                <a:gd name="T96" fmla="*/ 47 w 273"/>
                <a:gd name="T97" fmla="*/ 67 h 774"/>
                <a:gd name="T98" fmla="*/ 44 w 273"/>
                <a:gd name="T99" fmla="*/ 89 h 774"/>
                <a:gd name="T100" fmla="*/ 44 w 273"/>
                <a:gd name="T101" fmla="*/ 98 h 774"/>
                <a:gd name="T102" fmla="*/ 67 w 273"/>
                <a:gd name="T103" fmla="*/ 134 h 774"/>
                <a:gd name="T104" fmla="*/ 30 w 273"/>
                <a:gd name="T105" fmla="*/ 174 h 774"/>
                <a:gd name="T106" fmla="*/ 20 w 273"/>
                <a:gd name="T107" fmla="*/ 183 h 774"/>
                <a:gd name="T108" fmla="*/ 17 w 273"/>
                <a:gd name="T109" fmla="*/ 200 h 774"/>
                <a:gd name="T110" fmla="*/ 0 w 273"/>
                <a:gd name="T111" fmla="*/ 272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3" h="774">
                  <a:moveTo>
                    <a:pt x="0" y="583"/>
                  </a:moveTo>
                  <a:lnTo>
                    <a:pt x="10" y="583"/>
                  </a:lnTo>
                  <a:lnTo>
                    <a:pt x="10" y="774"/>
                  </a:lnTo>
                  <a:lnTo>
                    <a:pt x="27" y="774"/>
                  </a:lnTo>
                  <a:lnTo>
                    <a:pt x="27" y="583"/>
                  </a:lnTo>
                  <a:lnTo>
                    <a:pt x="40" y="583"/>
                  </a:lnTo>
                  <a:lnTo>
                    <a:pt x="44" y="748"/>
                  </a:lnTo>
                  <a:lnTo>
                    <a:pt x="54" y="748"/>
                  </a:lnTo>
                  <a:lnTo>
                    <a:pt x="57" y="583"/>
                  </a:lnTo>
                  <a:lnTo>
                    <a:pt x="142" y="583"/>
                  </a:lnTo>
                  <a:lnTo>
                    <a:pt x="142" y="614"/>
                  </a:lnTo>
                  <a:lnTo>
                    <a:pt x="138" y="637"/>
                  </a:lnTo>
                  <a:lnTo>
                    <a:pt x="131" y="663"/>
                  </a:lnTo>
                  <a:lnTo>
                    <a:pt x="121" y="685"/>
                  </a:lnTo>
                  <a:lnTo>
                    <a:pt x="121" y="708"/>
                  </a:lnTo>
                  <a:lnTo>
                    <a:pt x="121" y="717"/>
                  </a:lnTo>
                  <a:lnTo>
                    <a:pt x="121" y="739"/>
                  </a:lnTo>
                  <a:lnTo>
                    <a:pt x="131" y="739"/>
                  </a:lnTo>
                  <a:lnTo>
                    <a:pt x="142" y="726"/>
                  </a:lnTo>
                  <a:lnTo>
                    <a:pt x="152" y="726"/>
                  </a:lnTo>
                  <a:lnTo>
                    <a:pt x="155" y="726"/>
                  </a:lnTo>
                  <a:lnTo>
                    <a:pt x="162" y="730"/>
                  </a:lnTo>
                  <a:lnTo>
                    <a:pt x="165" y="734"/>
                  </a:lnTo>
                  <a:lnTo>
                    <a:pt x="172" y="734"/>
                  </a:lnTo>
                  <a:lnTo>
                    <a:pt x="175" y="739"/>
                  </a:lnTo>
                  <a:lnTo>
                    <a:pt x="192" y="739"/>
                  </a:lnTo>
                  <a:lnTo>
                    <a:pt x="192" y="774"/>
                  </a:lnTo>
                  <a:lnTo>
                    <a:pt x="206" y="774"/>
                  </a:lnTo>
                  <a:lnTo>
                    <a:pt x="206" y="739"/>
                  </a:lnTo>
                  <a:lnTo>
                    <a:pt x="226" y="739"/>
                  </a:lnTo>
                  <a:lnTo>
                    <a:pt x="226" y="717"/>
                  </a:lnTo>
                  <a:lnTo>
                    <a:pt x="219" y="717"/>
                  </a:lnTo>
                  <a:lnTo>
                    <a:pt x="216" y="712"/>
                  </a:lnTo>
                  <a:lnTo>
                    <a:pt x="212" y="708"/>
                  </a:lnTo>
                  <a:lnTo>
                    <a:pt x="209" y="699"/>
                  </a:lnTo>
                  <a:lnTo>
                    <a:pt x="209" y="583"/>
                  </a:lnTo>
                  <a:lnTo>
                    <a:pt x="179" y="583"/>
                  </a:lnTo>
                  <a:lnTo>
                    <a:pt x="172" y="619"/>
                  </a:lnTo>
                  <a:lnTo>
                    <a:pt x="175" y="628"/>
                  </a:lnTo>
                  <a:lnTo>
                    <a:pt x="175" y="632"/>
                  </a:lnTo>
                  <a:lnTo>
                    <a:pt x="175" y="641"/>
                  </a:lnTo>
                  <a:lnTo>
                    <a:pt x="175" y="645"/>
                  </a:lnTo>
                  <a:lnTo>
                    <a:pt x="175" y="654"/>
                  </a:lnTo>
                  <a:lnTo>
                    <a:pt x="172" y="663"/>
                  </a:lnTo>
                  <a:lnTo>
                    <a:pt x="165" y="672"/>
                  </a:lnTo>
                  <a:lnTo>
                    <a:pt x="172" y="619"/>
                  </a:lnTo>
                  <a:lnTo>
                    <a:pt x="179" y="583"/>
                  </a:lnTo>
                  <a:lnTo>
                    <a:pt x="223" y="583"/>
                  </a:lnTo>
                  <a:lnTo>
                    <a:pt x="226" y="717"/>
                  </a:lnTo>
                  <a:lnTo>
                    <a:pt x="226" y="739"/>
                  </a:lnTo>
                  <a:lnTo>
                    <a:pt x="226" y="748"/>
                  </a:lnTo>
                  <a:lnTo>
                    <a:pt x="240" y="748"/>
                  </a:lnTo>
                  <a:lnTo>
                    <a:pt x="243" y="583"/>
                  </a:lnTo>
                  <a:lnTo>
                    <a:pt x="253" y="583"/>
                  </a:lnTo>
                  <a:lnTo>
                    <a:pt x="253" y="405"/>
                  </a:lnTo>
                  <a:lnTo>
                    <a:pt x="263" y="405"/>
                  </a:lnTo>
                  <a:lnTo>
                    <a:pt x="263" y="374"/>
                  </a:lnTo>
                  <a:lnTo>
                    <a:pt x="270" y="374"/>
                  </a:lnTo>
                  <a:lnTo>
                    <a:pt x="273" y="347"/>
                  </a:lnTo>
                  <a:lnTo>
                    <a:pt x="263" y="272"/>
                  </a:lnTo>
                  <a:lnTo>
                    <a:pt x="212" y="272"/>
                  </a:lnTo>
                  <a:lnTo>
                    <a:pt x="212" y="200"/>
                  </a:lnTo>
                  <a:lnTo>
                    <a:pt x="192" y="200"/>
                  </a:lnTo>
                  <a:lnTo>
                    <a:pt x="165" y="165"/>
                  </a:lnTo>
                  <a:lnTo>
                    <a:pt x="162" y="160"/>
                  </a:lnTo>
                  <a:lnTo>
                    <a:pt x="158" y="160"/>
                  </a:lnTo>
                  <a:lnTo>
                    <a:pt x="148" y="160"/>
                  </a:lnTo>
                  <a:lnTo>
                    <a:pt x="145" y="160"/>
                  </a:lnTo>
                  <a:lnTo>
                    <a:pt x="125" y="138"/>
                  </a:lnTo>
                  <a:lnTo>
                    <a:pt x="128" y="134"/>
                  </a:lnTo>
                  <a:lnTo>
                    <a:pt x="148" y="134"/>
                  </a:lnTo>
                  <a:lnTo>
                    <a:pt x="155" y="129"/>
                  </a:lnTo>
                  <a:lnTo>
                    <a:pt x="155" y="125"/>
                  </a:lnTo>
                  <a:lnTo>
                    <a:pt x="155" y="120"/>
                  </a:lnTo>
                  <a:lnTo>
                    <a:pt x="152" y="116"/>
                  </a:lnTo>
                  <a:lnTo>
                    <a:pt x="155" y="107"/>
                  </a:lnTo>
                  <a:lnTo>
                    <a:pt x="155" y="102"/>
                  </a:lnTo>
                  <a:lnTo>
                    <a:pt x="155" y="98"/>
                  </a:lnTo>
                  <a:lnTo>
                    <a:pt x="152" y="89"/>
                  </a:lnTo>
                  <a:lnTo>
                    <a:pt x="158" y="85"/>
                  </a:lnTo>
                  <a:lnTo>
                    <a:pt x="158" y="80"/>
                  </a:lnTo>
                  <a:lnTo>
                    <a:pt x="148" y="67"/>
                  </a:lnTo>
                  <a:lnTo>
                    <a:pt x="145" y="49"/>
                  </a:lnTo>
                  <a:lnTo>
                    <a:pt x="145" y="40"/>
                  </a:lnTo>
                  <a:lnTo>
                    <a:pt x="138" y="27"/>
                  </a:lnTo>
                  <a:lnTo>
                    <a:pt x="135" y="22"/>
                  </a:lnTo>
                  <a:lnTo>
                    <a:pt x="125" y="13"/>
                  </a:lnTo>
                  <a:lnTo>
                    <a:pt x="114" y="4"/>
                  </a:lnTo>
                  <a:lnTo>
                    <a:pt x="101" y="0"/>
                  </a:lnTo>
                  <a:lnTo>
                    <a:pt x="91" y="0"/>
                  </a:lnTo>
                  <a:lnTo>
                    <a:pt x="81" y="0"/>
                  </a:lnTo>
                  <a:lnTo>
                    <a:pt x="74" y="4"/>
                  </a:lnTo>
                  <a:lnTo>
                    <a:pt x="60" y="13"/>
                  </a:lnTo>
                  <a:lnTo>
                    <a:pt x="54" y="22"/>
                  </a:lnTo>
                  <a:lnTo>
                    <a:pt x="47" y="31"/>
                  </a:lnTo>
                  <a:lnTo>
                    <a:pt x="47" y="40"/>
                  </a:lnTo>
                  <a:lnTo>
                    <a:pt x="44" y="53"/>
                  </a:lnTo>
                  <a:lnTo>
                    <a:pt x="47" y="67"/>
                  </a:lnTo>
                  <a:lnTo>
                    <a:pt x="47" y="80"/>
                  </a:lnTo>
                  <a:lnTo>
                    <a:pt x="44" y="89"/>
                  </a:lnTo>
                  <a:lnTo>
                    <a:pt x="44" y="89"/>
                  </a:lnTo>
                  <a:lnTo>
                    <a:pt x="44" y="98"/>
                  </a:lnTo>
                  <a:lnTo>
                    <a:pt x="47" y="107"/>
                  </a:lnTo>
                  <a:lnTo>
                    <a:pt x="67" y="134"/>
                  </a:lnTo>
                  <a:lnTo>
                    <a:pt x="67" y="147"/>
                  </a:lnTo>
                  <a:lnTo>
                    <a:pt x="30" y="174"/>
                  </a:lnTo>
                  <a:lnTo>
                    <a:pt x="23" y="178"/>
                  </a:lnTo>
                  <a:lnTo>
                    <a:pt x="20" y="183"/>
                  </a:lnTo>
                  <a:lnTo>
                    <a:pt x="20" y="191"/>
                  </a:lnTo>
                  <a:lnTo>
                    <a:pt x="17" y="200"/>
                  </a:lnTo>
                  <a:lnTo>
                    <a:pt x="3" y="200"/>
                  </a:lnTo>
                  <a:lnTo>
                    <a:pt x="0" y="272"/>
                  </a:lnTo>
                  <a:lnTo>
                    <a:pt x="0" y="5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9" name="Freeform 7"/>
            <p:cNvSpPr>
              <a:spLocks/>
            </p:cNvSpPr>
            <p:nvPr/>
          </p:nvSpPr>
          <p:spPr bwMode="auto">
            <a:xfrm>
              <a:off x="3037" y="2039"/>
              <a:ext cx="254" cy="704"/>
            </a:xfrm>
            <a:custGeom>
              <a:avLst/>
              <a:gdLst>
                <a:gd name="T0" fmla="*/ 102 w 254"/>
                <a:gd name="T1" fmla="*/ 610 h 704"/>
                <a:gd name="T2" fmla="*/ 105 w 254"/>
                <a:gd name="T3" fmla="*/ 615 h 704"/>
                <a:gd name="T4" fmla="*/ 112 w 254"/>
                <a:gd name="T5" fmla="*/ 624 h 704"/>
                <a:gd name="T6" fmla="*/ 118 w 254"/>
                <a:gd name="T7" fmla="*/ 641 h 704"/>
                <a:gd name="T8" fmla="*/ 118 w 254"/>
                <a:gd name="T9" fmla="*/ 664 h 704"/>
                <a:gd name="T10" fmla="*/ 98 w 254"/>
                <a:gd name="T11" fmla="*/ 677 h 704"/>
                <a:gd name="T12" fmla="*/ 98 w 254"/>
                <a:gd name="T13" fmla="*/ 686 h 704"/>
                <a:gd name="T14" fmla="*/ 95 w 254"/>
                <a:gd name="T15" fmla="*/ 695 h 704"/>
                <a:gd name="T16" fmla="*/ 85 w 254"/>
                <a:gd name="T17" fmla="*/ 699 h 704"/>
                <a:gd name="T18" fmla="*/ 68 w 254"/>
                <a:gd name="T19" fmla="*/ 704 h 704"/>
                <a:gd name="T20" fmla="*/ 51 w 254"/>
                <a:gd name="T21" fmla="*/ 699 h 704"/>
                <a:gd name="T22" fmla="*/ 47 w 254"/>
                <a:gd name="T23" fmla="*/ 686 h 704"/>
                <a:gd name="T24" fmla="*/ 51 w 254"/>
                <a:gd name="T25" fmla="*/ 673 h 704"/>
                <a:gd name="T26" fmla="*/ 68 w 254"/>
                <a:gd name="T27" fmla="*/ 646 h 704"/>
                <a:gd name="T28" fmla="*/ 71 w 254"/>
                <a:gd name="T29" fmla="*/ 628 h 704"/>
                <a:gd name="T30" fmla="*/ 51 w 254"/>
                <a:gd name="T31" fmla="*/ 610 h 704"/>
                <a:gd name="T32" fmla="*/ 14 w 254"/>
                <a:gd name="T33" fmla="*/ 432 h 704"/>
                <a:gd name="T34" fmla="*/ 14 w 254"/>
                <a:gd name="T35" fmla="*/ 414 h 704"/>
                <a:gd name="T36" fmla="*/ 14 w 254"/>
                <a:gd name="T37" fmla="*/ 397 h 704"/>
                <a:gd name="T38" fmla="*/ 24 w 254"/>
                <a:gd name="T39" fmla="*/ 383 h 704"/>
                <a:gd name="T40" fmla="*/ 17 w 254"/>
                <a:gd name="T41" fmla="*/ 343 h 704"/>
                <a:gd name="T42" fmla="*/ 0 w 254"/>
                <a:gd name="T43" fmla="*/ 268 h 704"/>
                <a:gd name="T44" fmla="*/ 61 w 254"/>
                <a:gd name="T45" fmla="*/ 232 h 704"/>
                <a:gd name="T46" fmla="*/ 51 w 254"/>
                <a:gd name="T47" fmla="*/ 236 h 704"/>
                <a:gd name="T48" fmla="*/ 47 w 254"/>
                <a:gd name="T49" fmla="*/ 245 h 704"/>
                <a:gd name="T50" fmla="*/ 37 w 254"/>
                <a:gd name="T51" fmla="*/ 268 h 704"/>
                <a:gd name="T52" fmla="*/ 34 w 254"/>
                <a:gd name="T53" fmla="*/ 241 h 704"/>
                <a:gd name="T54" fmla="*/ 17 w 254"/>
                <a:gd name="T55" fmla="*/ 268 h 704"/>
                <a:gd name="T56" fmla="*/ 14 w 254"/>
                <a:gd name="T57" fmla="*/ 236 h 704"/>
                <a:gd name="T58" fmla="*/ 7 w 254"/>
                <a:gd name="T59" fmla="*/ 223 h 704"/>
                <a:gd name="T60" fmla="*/ 4 w 254"/>
                <a:gd name="T61" fmla="*/ 210 h 704"/>
                <a:gd name="T62" fmla="*/ 7 w 254"/>
                <a:gd name="T63" fmla="*/ 196 h 704"/>
                <a:gd name="T64" fmla="*/ 34 w 254"/>
                <a:gd name="T65" fmla="*/ 161 h 704"/>
                <a:gd name="T66" fmla="*/ 54 w 254"/>
                <a:gd name="T67" fmla="*/ 138 h 704"/>
                <a:gd name="T68" fmla="*/ 68 w 254"/>
                <a:gd name="T69" fmla="*/ 116 h 704"/>
                <a:gd name="T70" fmla="*/ 91 w 254"/>
                <a:gd name="T71" fmla="*/ 107 h 704"/>
                <a:gd name="T72" fmla="*/ 122 w 254"/>
                <a:gd name="T73" fmla="*/ 98 h 704"/>
                <a:gd name="T74" fmla="*/ 122 w 254"/>
                <a:gd name="T75" fmla="*/ 81 h 704"/>
                <a:gd name="T76" fmla="*/ 129 w 254"/>
                <a:gd name="T77" fmla="*/ 58 h 704"/>
                <a:gd name="T78" fmla="*/ 162 w 254"/>
                <a:gd name="T79" fmla="*/ 5 h 704"/>
                <a:gd name="T80" fmla="*/ 179 w 254"/>
                <a:gd name="T81" fmla="*/ 0 h 704"/>
                <a:gd name="T82" fmla="*/ 206 w 254"/>
                <a:gd name="T83" fmla="*/ 32 h 704"/>
                <a:gd name="T84" fmla="*/ 206 w 254"/>
                <a:gd name="T85" fmla="*/ 41 h 704"/>
                <a:gd name="T86" fmla="*/ 203 w 254"/>
                <a:gd name="T87" fmla="*/ 54 h 704"/>
                <a:gd name="T88" fmla="*/ 206 w 254"/>
                <a:gd name="T89" fmla="*/ 67 h 704"/>
                <a:gd name="T90" fmla="*/ 243 w 254"/>
                <a:gd name="T91" fmla="*/ 152 h 704"/>
                <a:gd name="T92" fmla="*/ 172 w 254"/>
                <a:gd name="T93" fmla="*/ 490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4" h="704">
                  <a:moveTo>
                    <a:pt x="88" y="490"/>
                  </a:moveTo>
                  <a:lnTo>
                    <a:pt x="102" y="610"/>
                  </a:lnTo>
                  <a:lnTo>
                    <a:pt x="105" y="615"/>
                  </a:lnTo>
                  <a:lnTo>
                    <a:pt x="105" y="615"/>
                  </a:lnTo>
                  <a:lnTo>
                    <a:pt x="108" y="619"/>
                  </a:lnTo>
                  <a:lnTo>
                    <a:pt x="112" y="624"/>
                  </a:lnTo>
                  <a:lnTo>
                    <a:pt x="112" y="624"/>
                  </a:lnTo>
                  <a:lnTo>
                    <a:pt x="118" y="641"/>
                  </a:lnTo>
                  <a:lnTo>
                    <a:pt x="118" y="650"/>
                  </a:lnTo>
                  <a:lnTo>
                    <a:pt x="118" y="664"/>
                  </a:lnTo>
                  <a:lnTo>
                    <a:pt x="102" y="673"/>
                  </a:lnTo>
                  <a:lnTo>
                    <a:pt x="98" y="677"/>
                  </a:lnTo>
                  <a:lnTo>
                    <a:pt x="98" y="681"/>
                  </a:lnTo>
                  <a:lnTo>
                    <a:pt x="98" y="686"/>
                  </a:lnTo>
                  <a:lnTo>
                    <a:pt x="98" y="690"/>
                  </a:lnTo>
                  <a:lnTo>
                    <a:pt x="95" y="695"/>
                  </a:lnTo>
                  <a:lnTo>
                    <a:pt x="95" y="695"/>
                  </a:lnTo>
                  <a:lnTo>
                    <a:pt x="85" y="699"/>
                  </a:lnTo>
                  <a:lnTo>
                    <a:pt x="78" y="704"/>
                  </a:lnTo>
                  <a:lnTo>
                    <a:pt x="68" y="704"/>
                  </a:lnTo>
                  <a:lnTo>
                    <a:pt x="61" y="704"/>
                  </a:lnTo>
                  <a:lnTo>
                    <a:pt x="51" y="699"/>
                  </a:lnTo>
                  <a:lnTo>
                    <a:pt x="47" y="695"/>
                  </a:lnTo>
                  <a:lnTo>
                    <a:pt x="47" y="686"/>
                  </a:lnTo>
                  <a:lnTo>
                    <a:pt x="47" y="677"/>
                  </a:lnTo>
                  <a:lnTo>
                    <a:pt x="51" y="673"/>
                  </a:lnTo>
                  <a:lnTo>
                    <a:pt x="54" y="668"/>
                  </a:lnTo>
                  <a:lnTo>
                    <a:pt x="68" y="646"/>
                  </a:lnTo>
                  <a:lnTo>
                    <a:pt x="71" y="633"/>
                  </a:lnTo>
                  <a:lnTo>
                    <a:pt x="71" y="628"/>
                  </a:lnTo>
                  <a:lnTo>
                    <a:pt x="68" y="610"/>
                  </a:lnTo>
                  <a:lnTo>
                    <a:pt x="51" y="610"/>
                  </a:lnTo>
                  <a:lnTo>
                    <a:pt x="14" y="437"/>
                  </a:lnTo>
                  <a:lnTo>
                    <a:pt x="14" y="432"/>
                  </a:lnTo>
                  <a:lnTo>
                    <a:pt x="14" y="423"/>
                  </a:lnTo>
                  <a:lnTo>
                    <a:pt x="14" y="414"/>
                  </a:lnTo>
                  <a:lnTo>
                    <a:pt x="14" y="406"/>
                  </a:lnTo>
                  <a:lnTo>
                    <a:pt x="14" y="397"/>
                  </a:lnTo>
                  <a:lnTo>
                    <a:pt x="17" y="392"/>
                  </a:lnTo>
                  <a:lnTo>
                    <a:pt x="24" y="383"/>
                  </a:lnTo>
                  <a:lnTo>
                    <a:pt x="27" y="379"/>
                  </a:lnTo>
                  <a:lnTo>
                    <a:pt x="17" y="343"/>
                  </a:lnTo>
                  <a:lnTo>
                    <a:pt x="10" y="343"/>
                  </a:lnTo>
                  <a:lnTo>
                    <a:pt x="0" y="268"/>
                  </a:lnTo>
                  <a:lnTo>
                    <a:pt x="61" y="268"/>
                  </a:lnTo>
                  <a:lnTo>
                    <a:pt x="61" y="232"/>
                  </a:lnTo>
                  <a:lnTo>
                    <a:pt x="58" y="232"/>
                  </a:lnTo>
                  <a:lnTo>
                    <a:pt x="51" y="236"/>
                  </a:lnTo>
                  <a:lnTo>
                    <a:pt x="51" y="241"/>
                  </a:lnTo>
                  <a:lnTo>
                    <a:pt x="47" y="245"/>
                  </a:lnTo>
                  <a:lnTo>
                    <a:pt x="47" y="268"/>
                  </a:lnTo>
                  <a:lnTo>
                    <a:pt x="37" y="268"/>
                  </a:lnTo>
                  <a:lnTo>
                    <a:pt x="37" y="241"/>
                  </a:lnTo>
                  <a:lnTo>
                    <a:pt x="34" y="241"/>
                  </a:lnTo>
                  <a:lnTo>
                    <a:pt x="24" y="268"/>
                  </a:lnTo>
                  <a:lnTo>
                    <a:pt x="17" y="268"/>
                  </a:lnTo>
                  <a:lnTo>
                    <a:pt x="17" y="236"/>
                  </a:lnTo>
                  <a:lnTo>
                    <a:pt x="14" y="236"/>
                  </a:lnTo>
                  <a:lnTo>
                    <a:pt x="10" y="227"/>
                  </a:lnTo>
                  <a:lnTo>
                    <a:pt x="7" y="223"/>
                  </a:lnTo>
                  <a:lnTo>
                    <a:pt x="4" y="214"/>
                  </a:lnTo>
                  <a:lnTo>
                    <a:pt x="4" y="210"/>
                  </a:lnTo>
                  <a:lnTo>
                    <a:pt x="7" y="201"/>
                  </a:lnTo>
                  <a:lnTo>
                    <a:pt x="7" y="196"/>
                  </a:lnTo>
                  <a:lnTo>
                    <a:pt x="20" y="174"/>
                  </a:lnTo>
                  <a:lnTo>
                    <a:pt x="34" y="161"/>
                  </a:lnTo>
                  <a:lnTo>
                    <a:pt x="44" y="152"/>
                  </a:lnTo>
                  <a:lnTo>
                    <a:pt x="54" y="138"/>
                  </a:lnTo>
                  <a:lnTo>
                    <a:pt x="61" y="125"/>
                  </a:lnTo>
                  <a:lnTo>
                    <a:pt x="68" y="116"/>
                  </a:lnTo>
                  <a:lnTo>
                    <a:pt x="74" y="112"/>
                  </a:lnTo>
                  <a:lnTo>
                    <a:pt x="91" y="107"/>
                  </a:lnTo>
                  <a:lnTo>
                    <a:pt x="105" y="98"/>
                  </a:lnTo>
                  <a:lnTo>
                    <a:pt x="122" y="98"/>
                  </a:lnTo>
                  <a:lnTo>
                    <a:pt x="122" y="89"/>
                  </a:lnTo>
                  <a:lnTo>
                    <a:pt x="122" y="81"/>
                  </a:lnTo>
                  <a:lnTo>
                    <a:pt x="125" y="67"/>
                  </a:lnTo>
                  <a:lnTo>
                    <a:pt x="129" y="58"/>
                  </a:lnTo>
                  <a:lnTo>
                    <a:pt x="156" y="5"/>
                  </a:lnTo>
                  <a:lnTo>
                    <a:pt x="162" y="5"/>
                  </a:lnTo>
                  <a:lnTo>
                    <a:pt x="172" y="0"/>
                  </a:lnTo>
                  <a:lnTo>
                    <a:pt x="179" y="0"/>
                  </a:lnTo>
                  <a:lnTo>
                    <a:pt x="203" y="23"/>
                  </a:lnTo>
                  <a:lnTo>
                    <a:pt x="206" y="32"/>
                  </a:lnTo>
                  <a:lnTo>
                    <a:pt x="206" y="36"/>
                  </a:lnTo>
                  <a:lnTo>
                    <a:pt x="206" y="41"/>
                  </a:lnTo>
                  <a:lnTo>
                    <a:pt x="206" y="49"/>
                  </a:lnTo>
                  <a:lnTo>
                    <a:pt x="203" y="54"/>
                  </a:lnTo>
                  <a:lnTo>
                    <a:pt x="199" y="58"/>
                  </a:lnTo>
                  <a:lnTo>
                    <a:pt x="206" y="67"/>
                  </a:lnTo>
                  <a:lnTo>
                    <a:pt x="186" y="98"/>
                  </a:lnTo>
                  <a:lnTo>
                    <a:pt x="243" y="152"/>
                  </a:lnTo>
                  <a:lnTo>
                    <a:pt x="254" y="254"/>
                  </a:lnTo>
                  <a:lnTo>
                    <a:pt x="172" y="490"/>
                  </a:lnTo>
                  <a:lnTo>
                    <a:pt x="88" y="4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0" name="Freeform 8"/>
            <p:cNvSpPr>
              <a:spLocks/>
            </p:cNvSpPr>
            <p:nvPr/>
          </p:nvSpPr>
          <p:spPr bwMode="auto">
            <a:xfrm>
              <a:off x="3149" y="2022"/>
              <a:ext cx="479" cy="765"/>
            </a:xfrm>
            <a:custGeom>
              <a:avLst/>
              <a:gdLst>
                <a:gd name="T0" fmla="*/ 57 w 479"/>
                <a:gd name="T1" fmla="*/ 623 h 765"/>
                <a:gd name="T2" fmla="*/ 20 w 479"/>
                <a:gd name="T3" fmla="*/ 645 h 765"/>
                <a:gd name="T4" fmla="*/ 6 w 479"/>
                <a:gd name="T5" fmla="*/ 658 h 765"/>
                <a:gd name="T6" fmla="*/ 67 w 479"/>
                <a:gd name="T7" fmla="*/ 676 h 765"/>
                <a:gd name="T8" fmla="*/ 64 w 479"/>
                <a:gd name="T9" fmla="*/ 703 h 765"/>
                <a:gd name="T10" fmla="*/ 71 w 479"/>
                <a:gd name="T11" fmla="*/ 716 h 765"/>
                <a:gd name="T12" fmla="*/ 108 w 479"/>
                <a:gd name="T13" fmla="*/ 712 h 765"/>
                <a:gd name="T14" fmla="*/ 91 w 479"/>
                <a:gd name="T15" fmla="*/ 681 h 765"/>
                <a:gd name="T16" fmla="*/ 101 w 479"/>
                <a:gd name="T17" fmla="*/ 636 h 765"/>
                <a:gd name="T18" fmla="*/ 148 w 479"/>
                <a:gd name="T19" fmla="*/ 609 h 765"/>
                <a:gd name="T20" fmla="*/ 125 w 479"/>
                <a:gd name="T21" fmla="*/ 707 h 765"/>
                <a:gd name="T22" fmla="*/ 91 w 479"/>
                <a:gd name="T23" fmla="*/ 730 h 765"/>
                <a:gd name="T24" fmla="*/ 84 w 479"/>
                <a:gd name="T25" fmla="*/ 739 h 765"/>
                <a:gd name="T26" fmla="*/ 98 w 479"/>
                <a:gd name="T27" fmla="*/ 752 h 765"/>
                <a:gd name="T28" fmla="*/ 128 w 479"/>
                <a:gd name="T29" fmla="*/ 752 h 765"/>
                <a:gd name="T30" fmla="*/ 175 w 479"/>
                <a:gd name="T31" fmla="*/ 716 h 765"/>
                <a:gd name="T32" fmla="*/ 189 w 479"/>
                <a:gd name="T33" fmla="*/ 707 h 765"/>
                <a:gd name="T34" fmla="*/ 185 w 479"/>
                <a:gd name="T35" fmla="*/ 672 h 765"/>
                <a:gd name="T36" fmla="*/ 182 w 479"/>
                <a:gd name="T37" fmla="*/ 609 h 765"/>
                <a:gd name="T38" fmla="*/ 206 w 479"/>
                <a:gd name="T39" fmla="*/ 716 h 765"/>
                <a:gd name="T40" fmla="*/ 219 w 479"/>
                <a:gd name="T41" fmla="*/ 569 h 765"/>
                <a:gd name="T42" fmla="*/ 236 w 479"/>
                <a:gd name="T43" fmla="*/ 765 h 765"/>
                <a:gd name="T44" fmla="*/ 253 w 479"/>
                <a:gd name="T45" fmla="*/ 569 h 765"/>
                <a:gd name="T46" fmla="*/ 365 w 479"/>
                <a:gd name="T47" fmla="*/ 716 h 765"/>
                <a:gd name="T48" fmla="*/ 385 w 479"/>
                <a:gd name="T49" fmla="*/ 569 h 765"/>
                <a:gd name="T50" fmla="*/ 415 w 479"/>
                <a:gd name="T51" fmla="*/ 765 h 765"/>
                <a:gd name="T52" fmla="*/ 479 w 479"/>
                <a:gd name="T53" fmla="*/ 222 h 765"/>
                <a:gd name="T54" fmla="*/ 449 w 479"/>
                <a:gd name="T55" fmla="*/ 204 h 765"/>
                <a:gd name="T56" fmla="*/ 425 w 479"/>
                <a:gd name="T57" fmla="*/ 182 h 765"/>
                <a:gd name="T58" fmla="*/ 402 w 479"/>
                <a:gd name="T59" fmla="*/ 191 h 765"/>
                <a:gd name="T60" fmla="*/ 385 w 479"/>
                <a:gd name="T61" fmla="*/ 285 h 765"/>
                <a:gd name="T62" fmla="*/ 351 w 479"/>
                <a:gd name="T63" fmla="*/ 164 h 765"/>
                <a:gd name="T64" fmla="*/ 338 w 479"/>
                <a:gd name="T65" fmla="*/ 147 h 765"/>
                <a:gd name="T66" fmla="*/ 310 w 479"/>
                <a:gd name="T67" fmla="*/ 111 h 765"/>
                <a:gd name="T68" fmla="*/ 317 w 479"/>
                <a:gd name="T69" fmla="*/ 89 h 765"/>
                <a:gd name="T70" fmla="*/ 290 w 479"/>
                <a:gd name="T71" fmla="*/ 26 h 765"/>
                <a:gd name="T72" fmla="*/ 270 w 479"/>
                <a:gd name="T73" fmla="*/ 4 h 765"/>
                <a:gd name="T74" fmla="*/ 250 w 479"/>
                <a:gd name="T75" fmla="*/ 0 h 765"/>
                <a:gd name="T76" fmla="*/ 213 w 479"/>
                <a:gd name="T77" fmla="*/ 9 h 765"/>
                <a:gd name="T78" fmla="*/ 199 w 479"/>
                <a:gd name="T79" fmla="*/ 22 h 765"/>
                <a:gd name="T80" fmla="*/ 192 w 479"/>
                <a:gd name="T81" fmla="*/ 58 h 765"/>
                <a:gd name="T82" fmla="*/ 202 w 479"/>
                <a:gd name="T83" fmla="*/ 71 h 765"/>
                <a:gd name="T84" fmla="*/ 196 w 479"/>
                <a:gd name="T85" fmla="*/ 102 h 765"/>
                <a:gd name="T86" fmla="*/ 206 w 479"/>
                <a:gd name="T87" fmla="*/ 115 h 765"/>
                <a:gd name="T88" fmla="*/ 206 w 479"/>
                <a:gd name="T89" fmla="*/ 124 h 765"/>
                <a:gd name="T90" fmla="*/ 209 w 479"/>
                <a:gd name="T91" fmla="*/ 133 h 765"/>
                <a:gd name="T92" fmla="*/ 216 w 479"/>
                <a:gd name="T93" fmla="*/ 142 h 765"/>
                <a:gd name="T94" fmla="*/ 253 w 479"/>
                <a:gd name="T95" fmla="*/ 142 h 765"/>
                <a:gd name="T96" fmla="*/ 246 w 479"/>
                <a:gd name="T97" fmla="*/ 187 h 765"/>
                <a:gd name="T98" fmla="*/ 253 w 479"/>
                <a:gd name="T99" fmla="*/ 365 h 765"/>
                <a:gd name="T100" fmla="*/ 196 w 479"/>
                <a:gd name="T101" fmla="*/ 374 h 765"/>
                <a:gd name="T102" fmla="*/ 219 w 479"/>
                <a:gd name="T103" fmla="*/ 329 h 765"/>
                <a:gd name="T104" fmla="*/ 253 w 479"/>
                <a:gd name="T105" fmla="*/ 365 h 765"/>
                <a:gd name="T106" fmla="*/ 216 w 479"/>
                <a:gd name="T107" fmla="*/ 298 h 765"/>
                <a:gd name="T108" fmla="*/ 199 w 479"/>
                <a:gd name="T109" fmla="*/ 253 h 765"/>
                <a:gd name="T110" fmla="*/ 192 w 479"/>
                <a:gd name="T111" fmla="*/ 244 h 765"/>
                <a:gd name="T112" fmla="*/ 192 w 479"/>
                <a:gd name="T113" fmla="*/ 258 h 765"/>
                <a:gd name="T114" fmla="*/ 192 w 479"/>
                <a:gd name="T115" fmla="*/ 271 h 765"/>
                <a:gd name="T116" fmla="*/ 158 w 479"/>
                <a:gd name="T117" fmla="*/ 253 h 765"/>
                <a:gd name="T118" fmla="*/ 172 w 479"/>
                <a:gd name="T119" fmla="*/ 276 h 765"/>
                <a:gd name="T120" fmla="*/ 60 w 479"/>
                <a:gd name="T121" fmla="*/ 507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79" h="765">
                  <a:moveTo>
                    <a:pt x="60" y="507"/>
                  </a:moveTo>
                  <a:lnTo>
                    <a:pt x="57" y="623"/>
                  </a:lnTo>
                  <a:lnTo>
                    <a:pt x="44" y="641"/>
                  </a:lnTo>
                  <a:lnTo>
                    <a:pt x="20" y="645"/>
                  </a:lnTo>
                  <a:lnTo>
                    <a:pt x="0" y="641"/>
                  </a:lnTo>
                  <a:lnTo>
                    <a:pt x="6" y="658"/>
                  </a:lnTo>
                  <a:lnTo>
                    <a:pt x="40" y="681"/>
                  </a:lnTo>
                  <a:lnTo>
                    <a:pt x="67" y="676"/>
                  </a:lnTo>
                  <a:lnTo>
                    <a:pt x="60" y="703"/>
                  </a:lnTo>
                  <a:lnTo>
                    <a:pt x="64" y="703"/>
                  </a:lnTo>
                  <a:lnTo>
                    <a:pt x="64" y="716"/>
                  </a:lnTo>
                  <a:lnTo>
                    <a:pt x="71" y="716"/>
                  </a:lnTo>
                  <a:lnTo>
                    <a:pt x="104" y="716"/>
                  </a:lnTo>
                  <a:lnTo>
                    <a:pt x="108" y="712"/>
                  </a:lnTo>
                  <a:lnTo>
                    <a:pt x="101" y="694"/>
                  </a:lnTo>
                  <a:lnTo>
                    <a:pt x="91" y="681"/>
                  </a:lnTo>
                  <a:lnTo>
                    <a:pt x="94" y="672"/>
                  </a:lnTo>
                  <a:lnTo>
                    <a:pt x="101" y="636"/>
                  </a:lnTo>
                  <a:lnTo>
                    <a:pt x="118" y="592"/>
                  </a:lnTo>
                  <a:lnTo>
                    <a:pt x="148" y="609"/>
                  </a:lnTo>
                  <a:lnTo>
                    <a:pt x="142" y="672"/>
                  </a:lnTo>
                  <a:lnTo>
                    <a:pt x="125" y="707"/>
                  </a:lnTo>
                  <a:lnTo>
                    <a:pt x="104" y="725"/>
                  </a:lnTo>
                  <a:lnTo>
                    <a:pt x="91" y="730"/>
                  </a:lnTo>
                  <a:lnTo>
                    <a:pt x="84" y="734"/>
                  </a:lnTo>
                  <a:lnTo>
                    <a:pt x="84" y="739"/>
                  </a:lnTo>
                  <a:lnTo>
                    <a:pt x="87" y="747"/>
                  </a:lnTo>
                  <a:lnTo>
                    <a:pt x="98" y="752"/>
                  </a:lnTo>
                  <a:lnTo>
                    <a:pt x="115" y="756"/>
                  </a:lnTo>
                  <a:lnTo>
                    <a:pt x="128" y="752"/>
                  </a:lnTo>
                  <a:lnTo>
                    <a:pt x="148" y="747"/>
                  </a:lnTo>
                  <a:lnTo>
                    <a:pt x="175" y="716"/>
                  </a:lnTo>
                  <a:lnTo>
                    <a:pt x="175" y="747"/>
                  </a:lnTo>
                  <a:lnTo>
                    <a:pt x="189" y="707"/>
                  </a:lnTo>
                  <a:lnTo>
                    <a:pt x="189" y="685"/>
                  </a:lnTo>
                  <a:lnTo>
                    <a:pt x="185" y="672"/>
                  </a:lnTo>
                  <a:lnTo>
                    <a:pt x="182" y="650"/>
                  </a:lnTo>
                  <a:lnTo>
                    <a:pt x="182" y="609"/>
                  </a:lnTo>
                  <a:lnTo>
                    <a:pt x="202" y="601"/>
                  </a:lnTo>
                  <a:lnTo>
                    <a:pt x="206" y="716"/>
                  </a:lnTo>
                  <a:lnTo>
                    <a:pt x="216" y="716"/>
                  </a:lnTo>
                  <a:lnTo>
                    <a:pt x="219" y="569"/>
                  </a:lnTo>
                  <a:lnTo>
                    <a:pt x="229" y="569"/>
                  </a:lnTo>
                  <a:lnTo>
                    <a:pt x="236" y="765"/>
                  </a:lnTo>
                  <a:lnTo>
                    <a:pt x="250" y="765"/>
                  </a:lnTo>
                  <a:lnTo>
                    <a:pt x="253" y="569"/>
                  </a:lnTo>
                  <a:lnTo>
                    <a:pt x="368" y="569"/>
                  </a:lnTo>
                  <a:lnTo>
                    <a:pt x="365" y="716"/>
                  </a:lnTo>
                  <a:lnTo>
                    <a:pt x="375" y="716"/>
                  </a:lnTo>
                  <a:lnTo>
                    <a:pt x="385" y="569"/>
                  </a:lnTo>
                  <a:lnTo>
                    <a:pt x="415" y="569"/>
                  </a:lnTo>
                  <a:lnTo>
                    <a:pt x="415" y="765"/>
                  </a:lnTo>
                  <a:lnTo>
                    <a:pt x="425" y="765"/>
                  </a:lnTo>
                  <a:lnTo>
                    <a:pt x="479" y="222"/>
                  </a:lnTo>
                  <a:lnTo>
                    <a:pt x="463" y="213"/>
                  </a:lnTo>
                  <a:lnTo>
                    <a:pt x="449" y="204"/>
                  </a:lnTo>
                  <a:lnTo>
                    <a:pt x="436" y="191"/>
                  </a:lnTo>
                  <a:lnTo>
                    <a:pt x="425" y="182"/>
                  </a:lnTo>
                  <a:lnTo>
                    <a:pt x="408" y="182"/>
                  </a:lnTo>
                  <a:lnTo>
                    <a:pt x="402" y="191"/>
                  </a:lnTo>
                  <a:lnTo>
                    <a:pt x="395" y="200"/>
                  </a:lnTo>
                  <a:lnTo>
                    <a:pt x="385" y="285"/>
                  </a:lnTo>
                  <a:lnTo>
                    <a:pt x="354" y="173"/>
                  </a:lnTo>
                  <a:lnTo>
                    <a:pt x="351" y="164"/>
                  </a:lnTo>
                  <a:lnTo>
                    <a:pt x="348" y="151"/>
                  </a:lnTo>
                  <a:lnTo>
                    <a:pt x="338" y="147"/>
                  </a:lnTo>
                  <a:lnTo>
                    <a:pt x="300" y="120"/>
                  </a:lnTo>
                  <a:lnTo>
                    <a:pt x="310" y="111"/>
                  </a:lnTo>
                  <a:lnTo>
                    <a:pt x="317" y="102"/>
                  </a:lnTo>
                  <a:lnTo>
                    <a:pt x="317" y="89"/>
                  </a:lnTo>
                  <a:lnTo>
                    <a:pt x="317" y="80"/>
                  </a:lnTo>
                  <a:lnTo>
                    <a:pt x="290" y="26"/>
                  </a:lnTo>
                  <a:lnTo>
                    <a:pt x="280" y="13"/>
                  </a:lnTo>
                  <a:lnTo>
                    <a:pt x="270" y="4"/>
                  </a:lnTo>
                  <a:lnTo>
                    <a:pt x="260" y="4"/>
                  </a:lnTo>
                  <a:lnTo>
                    <a:pt x="250" y="0"/>
                  </a:lnTo>
                  <a:lnTo>
                    <a:pt x="240" y="0"/>
                  </a:lnTo>
                  <a:lnTo>
                    <a:pt x="213" y="9"/>
                  </a:lnTo>
                  <a:lnTo>
                    <a:pt x="202" y="13"/>
                  </a:lnTo>
                  <a:lnTo>
                    <a:pt x="199" y="22"/>
                  </a:lnTo>
                  <a:lnTo>
                    <a:pt x="192" y="40"/>
                  </a:lnTo>
                  <a:lnTo>
                    <a:pt x="192" y="58"/>
                  </a:lnTo>
                  <a:lnTo>
                    <a:pt x="202" y="62"/>
                  </a:lnTo>
                  <a:lnTo>
                    <a:pt x="202" y="71"/>
                  </a:lnTo>
                  <a:lnTo>
                    <a:pt x="206" y="75"/>
                  </a:lnTo>
                  <a:lnTo>
                    <a:pt x="196" y="102"/>
                  </a:lnTo>
                  <a:lnTo>
                    <a:pt x="206" y="106"/>
                  </a:lnTo>
                  <a:lnTo>
                    <a:pt x="206" y="115"/>
                  </a:lnTo>
                  <a:lnTo>
                    <a:pt x="213" y="115"/>
                  </a:lnTo>
                  <a:lnTo>
                    <a:pt x="206" y="124"/>
                  </a:lnTo>
                  <a:lnTo>
                    <a:pt x="209" y="129"/>
                  </a:lnTo>
                  <a:lnTo>
                    <a:pt x="209" y="133"/>
                  </a:lnTo>
                  <a:lnTo>
                    <a:pt x="213" y="142"/>
                  </a:lnTo>
                  <a:lnTo>
                    <a:pt x="216" y="142"/>
                  </a:lnTo>
                  <a:lnTo>
                    <a:pt x="246" y="138"/>
                  </a:lnTo>
                  <a:lnTo>
                    <a:pt x="253" y="142"/>
                  </a:lnTo>
                  <a:lnTo>
                    <a:pt x="256" y="151"/>
                  </a:lnTo>
                  <a:lnTo>
                    <a:pt x="246" y="187"/>
                  </a:lnTo>
                  <a:lnTo>
                    <a:pt x="253" y="307"/>
                  </a:lnTo>
                  <a:lnTo>
                    <a:pt x="253" y="365"/>
                  </a:lnTo>
                  <a:lnTo>
                    <a:pt x="253" y="374"/>
                  </a:lnTo>
                  <a:lnTo>
                    <a:pt x="196" y="374"/>
                  </a:lnTo>
                  <a:lnTo>
                    <a:pt x="202" y="320"/>
                  </a:lnTo>
                  <a:lnTo>
                    <a:pt x="219" y="329"/>
                  </a:lnTo>
                  <a:lnTo>
                    <a:pt x="219" y="347"/>
                  </a:lnTo>
                  <a:lnTo>
                    <a:pt x="253" y="365"/>
                  </a:lnTo>
                  <a:lnTo>
                    <a:pt x="253" y="307"/>
                  </a:lnTo>
                  <a:lnTo>
                    <a:pt x="216" y="298"/>
                  </a:lnTo>
                  <a:lnTo>
                    <a:pt x="213" y="267"/>
                  </a:lnTo>
                  <a:lnTo>
                    <a:pt x="199" y="253"/>
                  </a:lnTo>
                  <a:lnTo>
                    <a:pt x="199" y="240"/>
                  </a:lnTo>
                  <a:lnTo>
                    <a:pt x="192" y="244"/>
                  </a:lnTo>
                  <a:lnTo>
                    <a:pt x="189" y="249"/>
                  </a:lnTo>
                  <a:lnTo>
                    <a:pt x="192" y="258"/>
                  </a:lnTo>
                  <a:lnTo>
                    <a:pt x="196" y="271"/>
                  </a:lnTo>
                  <a:lnTo>
                    <a:pt x="192" y="271"/>
                  </a:lnTo>
                  <a:lnTo>
                    <a:pt x="182" y="267"/>
                  </a:lnTo>
                  <a:lnTo>
                    <a:pt x="158" y="253"/>
                  </a:lnTo>
                  <a:lnTo>
                    <a:pt x="152" y="258"/>
                  </a:lnTo>
                  <a:lnTo>
                    <a:pt x="172" y="276"/>
                  </a:lnTo>
                  <a:lnTo>
                    <a:pt x="142" y="271"/>
                  </a:lnTo>
                  <a:lnTo>
                    <a:pt x="60" y="5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22" name="AutoShape 10"/>
          <p:cNvSpPr>
            <a:spLocks noChangeArrowheads="1"/>
          </p:cNvSpPr>
          <p:nvPr/>
        </p:nvSpPr>
        <p:spPr bwMode="auto">
          <a:xfrm rot="16200000">
            <a:off x="10217771" y="9672691"/>
            <a:ext cx="2631017" cy="3863645"/>
          </a:xfrm>
          <a:custGeom>
            <a:avLst/>
            <a:gdLst>
              <a:gd name="G0" fmla="+- 960817 0 0"/>
              <a:gd name="G1" fmla="+- -5541216 0 0"/>
              <a:gd name="G2" fmla="+- 960817 0 -5541216"/>
              <a:gd name="G3" fmla="+- 10800 0 0"/>
              <a:gd name="G4" fmla="+- 0 0 960817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6139 0 0"/>
              <a:gd name="G9" fmla="+- 0 0 -5541216"/>
              <a:gd name="G10" fmla="+- 6139 0 2700"/>
              <a:gd name="G11" fmla="cos G10 960817"/>
              <a:gd name="G12" fmla="sin G10 960817"/>
              <a:gd name="G13" fmla="cos 13500 960817"/>
              <a:gd name="G14" fmla="sin 13500 960817"/>
              <a:gd name="G15" fmla="+- G11 10800 0"/>
              <a:gd name="G16" fmla="+- G12 10800 0"/>
              <a:gd name="G17" fmla="+- G13 10800 0"/>
              <a:gd name="G18" fmla="+- G14 10800 0"/>
              <a:gd name="G19" fmla="*/ 6139 1 2"/>
              <a:gd name="G20" fmla="+- G19 5400 0"/>
              <a:gd name="G21" fmla="cos G20 960817"/>
              <a:gd name="G22" fmla="sin G20 960817"/>
              <a:gd name="G23" fmla="+- G21 10800 0"/>
              <a:gd name="G24" fmla="+- G12 G23 G22"/>
              <a:gd name="G25" fmla="+- G22 G23 G11"/>
              <a:gd name="G26" fmla="cos 10800 960817"/>
              <a:gd name="G27" fmla="sin 10800 960817"/>
              <a:gd name="G28" fmla="cos 6139 960817"/>
              <a:gd name="G29" fmla="sin 6139 960817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5541216"/>
              <a:gd name="G36" fmla="sin G34 -5541216"/>
              <a:gd name="G37" fmla="+/ -5541216 960817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6139 G39"/>
              <a:gd name="G43" fmla="sin 6139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9652 w 21600"/>
              <a:gd name="T5" fmla="*/ 4613 h 21600"/>
              <a:gd name="T6" fmla="*/ 11604 w 21600"/>
              <a:gd name="T7" fmla="*/ 2368 h 21600"/>
              <a:gd name="T8" fmla="*/ 15832 w 21600"/>
              <a:gd name="T9" fmla="*/ 7283 h 21600"/>
              <a:gd name="T10" fmla="*/ 23860 w 21600"/>
              <a:gd name="T11" fmla="*/ 14216 h 21600"/>
              <a:gd name="T12" fmla="*/ 17721 w 21600"/>
              <a:gd name="T13" fmla="*/ 17810 h 21600"/>
              <a:gd name="T14" fmla="*/ 14127 w 21600"/>
              <a:gd name="T15" fmla="*/ 11670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6739" y="12353"/>
                </a:moveTo>
                <a:cubicBezTo>
                  <a:pt x="16871" y="11846"/>
                  <a:pt x="16939" y="11324"/>
                  <a:pt x="16939" y="10800"/>
                </a:cubicBezTo>
                <a:cubicBezTo>
                  <a:pt x="16939" y="7635"/>
                  <a:pt x="14533" y="4989"/>
                  <a:pt x="11382" y="4688"/>
                </a:cubicBezTo>
                <a:lnTo>
                  <a:pt x="11825" y="48"/>
                </a:lnTo>
                <a:cubicBezTo>
                  <a:pt x="17367" y="577"/>
                  <a:pt x="21600" y="5232"/>
                  <a:pt x="21600" y="10800"/>
                </a:cubicBezTo>
                <a:cubicBezTo>
                  <a:pt x="21600" y="11722"/>
                  <a:pt x="21481" y="12641"/>
                  <a:pt x="21248" y="13533"/>
                </a:cubicBezTo>
                <a:lnTo>
                  <a:pt x="23860" y="14216"/>
                </a:lnTo>
                <a:lnTo>
                  <a:pt x="17721" y="17810"/>
                </a:lnTo>
                <a:lnTo>
                  <a:pt x="14127" y="11670"/>
                </a:lnTo>
                <a:lnTo>
                  <a:pt x="16739" y="1235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  <a:extLst/>
        </p:spPr>
        <p:txBody>
          <a:bodyPr wrap="none" lIns="136123" tIns="136123" rIns="136123" bIns="136123" anchor="ctr"/>
          <a:lstStyle/>
          <a:p>
            <a:pPr defTabSz="1814755"/>
            <a:endParaRPr lang="de-DE" sz="359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3" name="Freeform 11"/>
          <p:cNvSpPr>
            <a:spLocks/>
          </p:cNvSpPr>
          <p:nvPr/>
        </p:nvSpPr>
        <p:spPr bwMode="auto">
          <a:xfrm>
            <a:off x="9464292" y="10769027"/>
            <a:ext cx="1012912" cy="1433358"/>
          </a:xfrm>
          <a:custGeom>
            <a:avLst/>
            <a:gdLst>
              <a:gd name="T0" fmla="*/ 190 w 277"/>
              <a:gd name="T1" fmla="*/ 338 h 392"/>
              <a:gd name="T2" fmla="*/ 202 w 277"/>
              <a:gd name="T3" fmla="*/ 302 h 392"/>
              <a:gd name="T4" fmla="*/ 202 w 277"/>
              <a:gd name="T5" fmla="*/ 293 h 392"/>
              <a:gd name="T6" fmla="*/ 215 w 277"/>
              <a:gd name="T7" fmla="*/ 302 h 392"/>
              <a:gd name="T8" fmla="*/ 227 w 277"/>
              <a:gd name="T9" fmla="*/ 302 h 392"/>
              <a:gd name="T10" fmla="*/ 246 w 277"/>
              <a:gd name="T11" fmla="*/ 302 h 392"/>
              <a:gd name="T12" fmla="*/ 256 w 277"/>
              <a:gd name="T13" fmla="*/ 300 h 392"/>
              <a:gd name="T14" fmla="*/ 261 w 277"/>
              <a:gd name="T15" fmla="*/ 293 h 392"/>
              <a:gd name="T16" fmla="*/ 258 w 277"/>
              <a:gd name="T17" fmla="*/ 281 h 392"/>
              <a:gd name="T18" fmla="*/ 253 w 277"/>
              <a:gd name="T19" fmla="*/ 269 h 392"/>
              <a:gd name="T20" fmla="*/ 253 w 277"/>
              <a:gd name="T21" fmla="*/ 259 h 392"/>
              <a:gd name="T22" fmla="*/ 261 w 277"/>
              <a:gd name="T23" fmla="*/ 250 h 392"/>
              <a:gd name="T24" fmla="*/ 253 w 277"/>
              <a:gd name="T25" fmla="*/ 243 h 392"/>
              <a:gd name="T26" fmla="*/ 261 w 277"/>
              <a:gd name="T27" fmla="*/ 233 h 392"/>
              <a:gd name="T28" fmla="*/ 253 w 277"/>
              <a:gd name="T29" fmla="*/ 225 h 392"/>
              <a:gd name="T30" fmla="*/ 253 w 277"/>
              <a:gd name="T31" fmla="*/ 217 h 392"/>
              <a:gd name="T32" fmla="*/ 273 w 277"/>
              <a:gd name="T33" fmla="*/ 217 h 392"/>
              <a:gd name="T34" fmla="*/ 277 w 277"/>
              <a:gd name="T35" fmla="*/ 214 h 392"/>
              <a:gd name="T36" fmla="*/ 275 w 277"/>
              <a:gd name="T37" fmla="*/ 207 h 392"/>
              <a:gd name="T38" fmla="*/ 273 w 277"/>
              <a:gd name="T39" fmla="*/ 197 h 392"/>
              <a:gd name="T40" fmla="*/ 263 w 277"/>
              <a:gd name="T41" fmla="*/ 184 h 392"/>
              <a:gd name="T42" fmla="*/ 256 w 277"/>
              <a:gd name="T43" fmla="*/ 173 h 392"/>
              <a:gd name="T44" fmla="*/ 253 w 277"/>
              <a:gd name="T45" fmla="*/ 161 h 392"/>
              <a:gd name="T46" fmla="*/ 253 w 277"/>
              <a:gd name="T47" fmla="*/ 148 h 392"/>
              <a:gd name="T48" fmla="*/ 256 w 277"/>
              <a:gd name="T49" fmla="*/ 122 h 392"/>
              <a:gd name="T50" fmla="*/ 248 w 277"/>
              <a:gd name="T51" fmla="*/ 113 h 392"/>
              <a:gd name="T52" fmla="*/ 243 w 277"/>
              <a:gd name="T53" fmla="*/ 103 h 392"/>
              <a:gd name="T54" fmla="*/ 241 w 277"/>
              <a:gd name="T55" fmla="*/ 91 h 392"/>
              <a:gd name="T56" fmla="*/ 233 w 277"/>
              <a:gd name="T57" fmla="*/ 79 h 392"/>
              <a:gd name="T58" fmla="*/ 220 w 277"/>
              <a:gd name="T59" fmla="*/ 64 h 392"/>
              <a:gd name="T60" fmla="*/ 13 w 277"/>
              <a:gd name="T61" fmla="*/ 110 h 392"/>
              <a:gd name="T62" fmla="*/ 28 w 277"/>
              <a:gd name="T63" fmla="*/ 225 h 392"/>
              <a:gd name="T64" fmla="*/ 40 w 277"/>
              <a:gd name="T65" fmla="*/ 245 h 392"/>
              <a:gd name="T66" fmla="*/ 47 w 277"/>
              <a:gd name="T67" fmla="*/ 259 h 392"/>
              <a:gd name="T68" fmla="*/ 47 w 277"/>
              <a:gd name="T69" fmla="*/ 286 h 392"/>
              <a:gd name="T70" fmla="*/ 24 w 277"/>
              <a:gd name="T71" fmla="*/ 392 h 392"/>
              <a:gd name="T72" fmla="*/ 190 w 277"/>
              <a:gd name="T73" fmla="*/ 338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77" h="392">
                <a:moveTo>
                  <a:pt x="190" y="338"/>
                </a:moveTo>
                <a:lnTo>
                  <a:pt x="202" y="302"/>
                </a:lnTo>
                <a:lnTo>
                  <a:pt x="202" y="293"/>
                </a:lnTo>
                <a:lnTo>
                  <a:pt x="215" y="302"/>
                </a:lnTo>
                <a:lnTo>
                  <a:pt x="227" y="302"/>
                </a:lnTo>
                <a:lnTo>
                  <a:pt x="246" y="302"/>
                </a:lnTo>
                <a:lnTo>
                  <a:pt x="256" y="300"/>
                </a:lnTo>
                <a:lnTo>
                  <a:pt x="261" y="293"/>
                </a:lnTo>
                <a:lnTo>
                  <a:pt x="258" y="281"/>
                </a:lnTo>
                <a:lnTo>
                  <a:pt x="253" y="269"/>
                </a:lnTo>
                <a:lnTo>
                  <a:pt x="253" y="259"/>
                </a:lnTo>
                <a:lnTo>
                  <a:pt x="261" y="250"/>
                </a:lnTo>
                <a:lnTo>
                  <a:pt x="253" y="243"/>
                </a:lnTo>
                <a:lnTo>
                  <a:pt x="261" y="233"/>
                </a:lnTo>
                <a:lnTo>
                  <a:pt x="253" y="225"/>
                </a:lnTo>
                <a:lnTo>
                  <a:pt x="253" y="217"/>
                </a:lnTo>
                <a:lnTo>
                  <a:pt x="273" y="217"/>
                </a:lnTo>
                <a:lnTo>
                  <a:pt x="277" y="214"/>
                </a:lnTo>
                <a:lnTo>
                  <a:pt x="275" y="207"/>
                </a:lnTo>
                <a:lnTo>
                  <a:pt x="273" y="197"/>
                </a:lnTo>
                <a:lnTo>
                  <a:pt x="263" y="184"/>
                </a:lnTo>
                <a:lnTo>
                  <a:pt x="256" y="173"/>
                </a:lnTo>
                <a:lnTo>
                  <a:pt x="253" y="161"/>
                </a:lnTo>
                <a:lnTo>
                  <a:pt x="253" y="148"/>
                </a:lnTo>
                <a:lnTo>
                  <a:pt x="256" y="122"/>
                </a:lnTo>
                <a:lnTo>
                  <a:pt x="248" y="113"/>
                </a:lnTo>
                <a:lnTo>
                  <a:pt x="243" y="103"/>
                </a:lnTo>
                <a:lnTo>
                  <a:pt x="241" y="91"/>
                </a:lnTo>
                <a:lnTo>
                  <a:pt x="233" y="79"/>
                </a:lnTo>
                <a:cubicBezTo>
                  <a:pt x="233" y="79"/>
                  <a:pt x="226" y="71"/>
                  <a:pt x="220" y="64"/>
                </a:cubicBezTo>
                <a:cubicBezTo>
                  <a:pt x="190" y="18"/>
                  <a:pt x="36" y="0"/>
                  <a:pt x="13" y="110"/>
                </a:cubicBezTo>
                <a:cubicBezTo>
                  <a:pt x="0" y="168"/>
                  <a:pt x="24" y="203"/>
                  <a:pt x="28" y="225"/>
                </a:cubicBezTo>
                <a:lnTo>
                  <a:pt x="40" y="245"/>
                </a:lnTo>
                <a:lnTo>
                  <a:pt x="47" y="259"/>
                </a:lnTo>
                <a:lnTo>
                  <a:pt x="47" y="286"/>
                </a:lnTo>
                <a:lnTo>
                  <a:pt x="24" y="392"/>
                </a:lnTo>
                <a:lnTo>
                  <a:pt x="190" y="338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4" name="AutoShape 12"/>
          <p:cNvSpPr>
            <a:spLocks noChangeArrowheads="1"/>
          </p:cNvSpPr>
          <p:nvPr/>
        </p:nvSpPr>
        <p:spPr bwMode="auto">
          <a:xfrm rot="16735377" flipH="1" flipV="1">
            <a:off x="9939604" y="9494479"/>
            <a:ext cx="2631017" cy="3863645"/>
          </a:xfrm>
          <a:custGeom>
            <a:avLst/>
            <a:gdLst>
              <a:gd name="G0" fmla="+- 420043 0 0"/>
              <a:gd name="G1" fmla="+- -4716735 0 0"/>
              <a:gd name="G2" fmla="+- 420043 0 -4716735"/>
              <a:gd name="G3" fmla="+- 10800 0 0"/>
              <a:gd name="G4" fmla="+- 0 0 420043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6037 0 0"/>
              <a:gd name="G9" fmla="+- 0 0 -4716735"/>
              <a:gd name="G10" fmla="+- 6037 0 2700"/>
              <a:gd name="G11" fmla="cos G10 420043"/>
              <a:gd name="G12" fmla="sin G10 420043"/>
              <a:gd name="G13" fmla="cos 13500 420043"/>
              <a:gd name="G14" fmla="sin 13500 420043"/>
              <a:gd name="G15" fmla="+- G11 10800 0"/>
              <a:gd name="G16" fmla="+- G12 10800 0"/>
              <a:gd name="G17" fmla="+- G13 10800 0"/>
              <a:gd name="G18" fmla="+- G14 10800 0"/>
              <a:gd name="G19" fmla="*/ 6037 1 2"/>
              <a:gd name="G20" fmla="+- G19 5400 0"/>
              <a:gd name="G21" fmla="cos G20 420043"/>
              <a:gd name="G22" fmla="sin G20 420043"/>
              <a:gd name="G23" fmla="+- G21 10800 0"/>
              <a:gd name="G24" fmla="+- G12 G23 G22"/>
              <a:gd name="G25" fmla="+- G22 G23 G11"/>
              <a:gd name="G26" fmla="cos 10800 420043"/>
              <a:gd name="G27" fmla="sin 10800 420043"/>
              <a:gd name="G28" fmla="cos 6037 420043"/>
              <a:gd name="G29" fmla="sin 6037 420043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4716735"/>
              <a:gd name="G36" fmla="sin G34 -4716735"/>
              <a:gd name="G37" fmla="+/ -4716735 420043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6037 G39"/>
              <a:gd name="G43" fmla="sin 6037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9880 w 21600"/>
              <a:gd name="T5" fmla="*/ 4952 h 21600"/>
              <a:gd name="T6" fmla="*/ 13405 w 21600"/>
              <a:gd name="T7" fmla="*/ 2794 h 21600"/>
              <a:gd name="T8" fmla="*/ 15875 w 21600"/>
              <a:gd name="T9" fmla="*/ 7531 h 21600"/>
              <a:gd name="T10" fmla="*/ 24215 w 21600"/>
              <a:gd name="T11" fmla="*/ 12307 h 21600"/>
              <a:gd name="T12" fmla="*/ 18599 w 21600"/>
              <a:gd name="T13" fmla="*/ 16789 h 21600"/>
              <a:gd name="T14" fmla="*/ 14116 w 21600"/>
              <a:gd name="T15" fmla="*/ 11172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6799" y="11473"/>
                </a:moveTo>
                <a:cubicBezTo>
                  <a:pt x="16824" y="11250"/>
                  <a:pt x="16837" y="11025"/>
                  <a:pt x="16837" y="10800"/>
                </a:cubicBezTo>
                <a:cubicBezTo>
                  <a:pt x="16837" y="8185"/>
                  <a:pt x="15154" y="5868"/>
                  <a:pt x="12668" y="5059"/>
                </a:cubicBezTo>
                <a:lnTo>
                  <a:pt x="14142" y="530"/>
                </a:lnTo>
                <a:cubicBezTo>
                  <a:pt x="18589" y="1977"/>
                  <a:pt x="21600" y="6123"/>
                  <a:pt x="21600" y="10800"/>
                </a:cubicBezTo>
                <a:cubicBezTo>
                  <a:pt x="21600" y="11202"/>
                  <a:pt x="21577" y="11605"/>
                  <a:pt x="21532" y="12005"/>
                </a:cubicBezTo>
                <a:lnTo>
                  <a:pt x="24215" y="12307"/>
                </a:lnTo>
                <a:lnTo>
                  <a:pt x="18599" y="16789"/>
                </a:lnTo>
                <a:lnTo>
                  <a:pt x="14116" y="11172"/>
                </a:lnTo>
                <a:lnTo>
                  <a:pt x="16799" y="1147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5" name="Freeform 13"/>
          <p:cNvSpPr>
            <a:spLocks/>
          </p:cNvSpPr>
          <p:nvPr/>
        </p:nvSpPr>
        <p:spPr bwMode="auto">
          <a:xfrm flipH="1">
            <a:off x="12174982" y="10872504"/>
            <a:ext cx="1012912" cy="1433358"/>
          </a:xfrm>
          <a:custGeom>
            <a:avLst/>
            <a:gdLst>
              <a:gd name="T0" fmla="*/ 190 w 277"/>
              <a:gd name="T1" fmla="*/ 338 h 392"/>
              <a:gd name="T2" fmla="*/ 202 w 277"/>
              <a:gd name="T3" fmla="*/ 302 h 392"/>
              <a:gd name="T4" fmla="*/ 202 w 277"/>
              <a:gd name="T5" fmla="*/ 293 h 392"/>
              <a:gd name="T6" fmla="*/ 215 w 277"/>
              <a:gd name="T7" fmla="*/ 302 h 392"/>
              <a:gd name="T8" fmla="*/ 227 w 277"/>
              <a:gd name="T9" fmla="*/ 302 h 392"/>
              <a:gd name="T10" fmla="*/ 246 w 277"/>
              <a:gd name="T11" fmla="*/ 302 h 392"/>
              <a:gd name="T12" fmla="*/ 256 w 277"/>
              <a:gd name="T13" fmla="*/ 300 h 392"/>
              <a:gd name="T14" fmla="*/ 261 w 277"/>
              <a:gd name="T15" fmla="*/ 293 h 392"/>
              <a:gd name="T16" fmla="*/ 258 w 277"/>
              <a:gd name="T17" fmla="*/ 281 h 392"/>
              <a:gd name="T18" fmla="*/ 253 w 277"/>
              <a:gd name="T19" fmla="*/ 269 h 392"/>
              <a:gd name="T20" fmla="*/ 253 w 277"/>
              <a:gd name="T21" fmla="*/ 259 h 392"/>
              <a:gd name="T22" fmla="*/ 261 w 277"/>
              <a:gd name="T23" fmla="*/ 250 h 392"/>
              <a:gd name="T24" fmla="*/ 253 w 277"/>
              <a:gd name="T25" fmla="*/ 243 h 392"/>
              <a:gd name="T26" fmla="*/ 261 w 277"/>
              <a:gd name="T27" fmla="*/ 233 h 392"/>
              <a:gd name="T28" fmla="*/ 253 w 277"/>
              <a:gd name="T29" fmla="*/ 225 h 392"/>
              <a:gd name="T30" fmla="*/ 253 w 277"/>
              <a:gd name="T31" fmla="*/ 217 h 392"/>
              <a:gd name="T32" fmla="*/ 273 w 277"/>
              <a:gd name="T33" fmla="*/ 217 h 392"/>
              <a:gd name="T34" fmla="*/ 277 w 277"/>
              <a:gd name="T35" fmla="*/ 214 h 392"/>
              <a:gd name="T36" fmla="*/ 275 w 277"/>
              <a:gd name="T37" fmla="*/ 207 h 392"/>
              <a:gd name="T38" fmla="*/ 273 w 277"/>
              <a:gd name="T39" fmla="*/ 197 h 392"/>
              <a:gd name="T40" fmla="*/ 263 w 277"/>
              <a:gd name="T41" fmla="*/ 184 h 392"/>
              <a:gd name="T42" fmla="*/ 256 w 277"/>
              <a:gd name="T43" fmla="*/ 173 h 392"/>
              <a:gd name="T44" fmla="*/ 253 w 277"/>
              <a:gd name="T45" fmla="*/ 161 h 392"/>
              <a:gd name="T46" fmla="*/ 253 w 277"/>
              <a:gd name="T47" fmla="*/ 148 h 392"/>
              <a:gd name="T48" fmla="*/ 256 w 277"/>
              <a:gd name="T49" fmla="*/ 122 h 392"/>
              <a:gd name="T50" fmla="*/ 248 w 277"/>
              <a:gd name="T51" fmla="*/ 113 h 392"/>
              <a:gd name="T52" fmla="*/ 243 w 277"/>
              <a:gd name="T53" fmla="*/ 103 h 392"/>
              <a:gd name="T54" fmla="*/ 241 w 277"/>
              <a:gd name="T55" fmla="*/ 91 h 392"/>
              <a:gd name="T56" fmla="*/ 233 w 277"/>
              <a:gd name="T57" fmla="*/ 79 h 392"/>
              <a:gd name="T58" fmla="*/ 220 w 277"/>
              <a:gd name="T59" fmla="*/ 64 h 392"/>
              <a:gd name="T60" fmla="*/ 13 w 277"/>
              <a:gd name="T61" fmla="*/ 110 h 392"/>
              <a:gd name="T62" fmla="*/ 28 w 277"/>
              <a:gd name="T63" fmla="*/ 225 h 392"/>
              <a:gd name="T64" fmla="*/ 40 w 277"/>
              <a:gd name="T65" fmla="*/ 245 h 392"/>
              <a:gd name="T66" fmla="*/ 47 w 277"/>
              <a:gd name="T67" fmla="*/ 259 h 392"/>
              <a:gd name="T68" fmla="*/ 47 w 277"/>
              <a:gd name="T69" fmla="*/ 286 h 392"/>
              <a:gd name="T70" fmla="*/ 24 w 277"/>
              <a:gd name="T71" fmla="*/ 392 h 392"/>
              <a:gd name="T72" fmla="*/ 190 w 277"/>
              <a:gd name="T73" fmla="*/ 338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77" h="392">
                <a:moveTo>
                  <a:pt x="190" y="338"/>
                </a:moveTo>
                <a:lnTo>
                  <a:pt x="202" y="302"/>
                </a:lnTo>
                <a:lnTo>
                  <a:pt x="202" y="293"/>
                </a:lnTo>
                <a:lnTo>
                  <a:pt x="215" y="302"/>
                </a:lnTo>
                <a:lnTo>
                  <a:pt x="227" y="302"/>
                </a:lnTo>
                <a:lnTo>
                  <a:pt x="246" y="302"/>
                </a:lnTo>
                <a:lnTo>
                  <a:pt x="256" y="300"/>
                </a:lnTo>
                <a:lnTo>
                  <a:pt x="261" y="293"/>
                </a:lnTo>
                <a:lnTo>
                  <a:pt x="258" y="281"/>
                </a:lnTo>
                <a:lnTo>
                  <a:pt x="253" y="269"/>
                </a:lnTo>
                <a:lnTo>
                  <a:pt x="253" y="259"/>
                </a:lnTo>
                <a:lnTo>
                  <a:pt x="261" y="250"/>
                </a:lnTo>
                <a:lnTo>
                  <a:pt x="253" y="243"/>
                </a:lnTo>
                <a:lnTo>
                  <a:pt x="261" y="233"/>
                </a:lnTo>
                <a:lnTo>
                  <a:pt x="253" y="225"/>
                </a:lnTo>
                <a:lnTo>
                  <a:pt x="253" y="217"/>
                </a:lnTo>
                <a:lnTo>
                  <a:pt x="273" y="217"/>
                </a:lnTo>
                <a:lnTo>
                  <a:pt x="277" y="214"/>
                </a:lnTo>
                <a:lnTo>
                  <a:pt x="275" y="207"/>
                </a:lnTo>
                <a:lnTo>
                  <a:pt x="273" y="197"/>
                </a:lnTo>
                <a:lnTo>
                  <a:pt x="263" y="184"/>
                </a:lnTo>
                <a:lnTo>
                  <a:pt x="256" y="173"/>
                </a:lnTo>
                <a:lnTo>
                  <a:pt x="253" y="161"/>
                </a:lnTo>
                <a:lnTo>
                  <a:pt x="253" y="148"/>
                </a:lnTo>
                <a:lnTo>
                  <a:pt x="256" y="122"/>
                </a:lnTo>
                <a:lnTo>
                  <a:pt x="248" y="113"/>
                </a:lnTo>
                <a:lnTo>
                  <a:pt x="243" y="103"/>
                </a:lnTo>
                <a:lnTo>
                  <a:pt x="241" y="91"/>
                </a:lnTo>
                <a:lnTo>
                  <a:pt x="233" y="79"/>
                </a:lnTo>
                <a:cubicBezTo>
                  <a:pt x="233" y="79"/>
                  <a:pt x="226" y="71"/>
                  <a:pt x="220" y="64"/>
                </a:cubicBezTo>
                <a:cubicBezTo>
                  <a:pt x="190" y="18"/>
                  <a:pt x="36" y="0"/>
                  <a:pt x="13" y="110"/>
                </a:cubicBezTo>
                <a:cubicBezTo>
                  <a:pt x="0" y="168"/>
                  <a:pt x="24" y="203"/>
                  <a:pt x="28" y="225"/>
                </a:cubicBezTo>
                <a:lnTo>
                  <a:pt x="40" y="245"/>
                </a:lnTo>
                <a:lnTo>
                  <a:pt x="47" y="259"/>
                </a:lnTo>
                <a:lnTo>
                  <a:pt x="47" y="286"/>
                </a:lnTo>
                <a:lnTo>
                  <a:pt x="24" y="392"/>
                </a:lnTo>
                <a:lnTo>
                  <a:pt x="190" y="338"/>
                </a:lnTo>
                <a:close/>
              </a:path>
            </a:pathLst>
          </a:custGeom>
          <a:solidFill>
            <a:schemeClr val="accent1"/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14755"/>
            <a:endParaRPr lang="de-DE" sz="3592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26" name="Group 160"/>
          <p:cNvGrpSpPr>
            <a:grpSpLocks/>
          </p:cNvGrpSpPr>
          <p:nvPr/>
        </p:nvGrpSpPr>
        <p:grpSpPr bwMode="auto">
          <a:xfrm>
            <a:off x="16062253" y="6171981"/>
            <a:ext cx="633278" cy="1623709"/>
            <a:chOff x="4098" y="1278"/>
            <a:chExt cx="211" cy="541"/>
          </a:xfrm>
        </p:grpSpPr>
        <p:sp>
          <p:nvSpPr>
            <p:cNvPr id="227" name="Rectangle 161"/>
            <p:cNvSpPr>
              <a:spLocks noChangeArrowheads="1"/>
            </p:cNvSpPr>
            <p:nvPr/>
          </p:nvSpPr>
          <p:spPr bwMode="auto">
            <a:xfrm>
              <a:off x="4098" y="1278"/>
              <a:ext cx="211" cy="54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0" tIns="0" rIns="0" bIns="0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8" name="Oval 162"/>
            <p:cNvSpPr>
              <a:spLocks noChangeArrowheads="1"/>
            </p:cNvSpPr>
            <p:nvPr/>
          </p:nvSpPr>
          <p:spPr bwMode="auto">
            <a:xfrm>
              <a:off x="4130" y="1305"/>
              <a:ext cx="147" cy="14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9" name="Oval 163"/>
            <p:cNvSpPr>
              <a:spLocks noChangeArrowheads="1"/>
            </p:cNvSpPr>
            <p:nvPr/>
          </p:nvSpPr>
          <p:spPr bwMode="auto">
            <a:xfrm>
              <a:off x="4130" y="1475"/>
              <a:ext cx="147" cy="147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0" name="Oval 164"/>
            <p:cNvSpPr>
              <a:spLocks noChangeArrowheads="1"/>
            </p:cNvSpPr>
            <p:nvPr/>
          </p:nvSpPr>
          <p:spPr bwMode="auto">
            <a:xfrm>
              <a:off x="4130" y="1647"/>
              <a:ext cx="147" cy="147"/>
            </a:xfrm>
            <a:prstGeom prst="ellipse">
              <a:avLst/>
            </a:prstGeom>
            <a:solidFill>
              <a:srgbClr val="54DC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1814755"/>
              <a:endParaRPr lang="de-DE" sz="3592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9776590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>
                <a:latin typeface="Avenir Medium"/>
              </a:rPr>
              <a:t>Planung</a:t>
            </a:r>
          </a:p>
        </p:txBody>
      </p:sp>
      <p:sp>
        <p:nvSpPr>
          <p:cNvPr id="5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622891" y="4930761"/>
            <a:ext cx="2341024" cy="694503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692110" y="4378518"/>
            <a:ext cx="975426" cy="5522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fld id="{0AA4653C-E160-4480-BDF2-5DC7C1AE9914}" type="datetime'''''''3''''''5'">
              <a:rPr lang="de-DE" altLang="de-DE" sz="3025" b="1">
                <a:solidFill>
                  <a:srgbClr val="000000"/>
                </a:solidFill>
                <a:latin typeface="Avenir Medium"/>
              </a:rPr>
              <a:pPr algn="ctr" defTabSz="1620717"/>
              <a:t>35</a:t>
            </a:fld>
            <a:endParaRPr lang="de-DE" altLang="de-DE" sz="3025" b="1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8326512" y="4378518"/>
            <a:ext cx="1365598" cy="5522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fld id="{C06F2812-7930-473F-8EE6-ECDCC46099C7}" type="datetime'''''''''''''3''4'''''''''''''''''''''''''''''''''''''''''''''">
              <a:rPr lang="de-DE" altLang="de-DE" sz="3025" b="1">
                <a:solidFill>
                  <a:srgbClr val="000000"/>
                </a:solidFill>
                <a:latin typeface="Avenir Medium"/>
              </a:rPr>
              <a:pPr algn="ctr" defTabSz="1620717"/>
              <a:t>34</a:t>
            </a:fld>
            <a:endParaRPr lang="de-DE" altLang="de-DE" sz="3025" b="1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8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6963916" y="4378518"/>
            <a:ext cx="1362596" cy="5522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fld id="{F0EEFF1E-8119-46ED-A558-D8528D2C4708}" type="datetime'''3''''''''''''''3'''''''''">
              <a:rPr lang="de-DE" altLang="de-DE" sz="3025" b="1">
                <a:solidFill>
                  <a:srgbClr val="000000"/>
                </a:solidFill>
                <a:latin typeface="Avenir Medium"/>
              </a:rPr>
              <a:pPr algn="ctr" defTabSz="1620717"/>
              <a:t>33</a:t>
            </a:fld>
            <a:endParaRPr lang="de-DE" altLang="de-DE" sz="3025" b="1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0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5598319" y="4378518"/>
            <a:ext cx="1365596" cy="5522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fld id="{38C7D53E-E1E5-4BC7-BBC5-F47A046B6304}" type="datetime'''''''''''3''''''''''''2'''''''''''''''''''''''''''''''''">
              <a:rPr lang="de-DE" altLang="de-DE" sz="3025" b="1">
                <a:solidFill>
                  <a:srgbClr val="000000"/>
                </a:solidFill>
                <a:latin typeface="Avenir Medium"/>
              </a:rPr>
              <a:pPr algn="ctr" defTabSz="1620717"/>
              <a:t>32</a:t>
            </a:fld>
            <a:endParaRPr lang="de-DE" altLang="de-DE" sz="3025" b="1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1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4232721" y="4378518"/>
            <a:ext cx="1365598" cy="5522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fld id="{98186E9C-C5E9-4188-838C-1CC136FF9FC4}" type="datetime'''''''''''''''''''''''''''''''''''''3''''''''1'''''">
              <a:rPr lang="de-DE" altLang="de-DE" sz="3025" b="1">
                <a:solidFill>
                  <a:srgbClr val="000000"/>
                </a:solidFill>
                <a:latin typeface="Avenir Medium"/>
              </a:rPr>
              <a:pPr algn="ctr" defTabSz="1620717"/>
              <a:t>31</a:t>
            </a:fld>
            <a:endParaRPr lang="de-DE" altLang="de-DE" sz="3025" b="1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2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867124" y="4378518"/>
            <a:ext cx="1365596" cy="5522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fld id="{22BF51C9-481C-4DA1-8883-3027AD125CDE}" type="datetime'''''''''''''''''''''''''''''''''''''''3''''0'''''">
              <a:rPr lang="de-DE" altLang="de-DE" sz="3025" b="1">
                <a:solidFill>
                  <a:srgbClr val="000000"/>
                </a:solidFill>
                <a:latin typeface="Avenir Medium"/>
              </a:rPr>
              <a:pPr algn="ctr" defTabSz="1620717"/>
              <a:t>30</a:t>
            </a:fld>
            <a:endParaRPr lang="de-DE" altLang="de-DE" sz="3025" b="1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3" name="Rectangle 1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501526" y="4378518"/>
            <a:ext cx="1365598" cy="5522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fld id="{FD1A0D56-305A-4D51-AD9A-755256212121}" type="datetime'''2''''''''''''''''9'''''''''''''''''''''''''''">
              <a:rPr lang="de-DE" altLang="de-DE" sz="3025" b="1">
                <a:solidFill>
                  <a:srgbClr val="000000"/>
                </a:solidFill>
                <a:latin typeface="Avenir Medium"/>
              </a:rPr>
              <a:pPr algn="ctr" defTabSz="1620717"/>
              <a:t>29</a:t>
            </a:fld>
            <a:endParaRPr lang="de-DE" altLang="de-DE" sz="3025" b="1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4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0138930" y="4378518"/>
            <a:ext cx="1362596" cy="5522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fld id="{22E137D1-BDCE-4025-AD15-38B74FB69F08}" type="datetime'''''''''''2''''''''''''''8'''''''">
              <a:rPr lang="de-DE" altLang="de-DE" sz="3025" b="1">
                <a:solidFill>
                  <a:srgbClr val="000000"/>
                </a:solidFill>
                <a:latin typeface="Avenir Medium"/>
              </a:rPr>
              <a:pPr algn="ctr" defTabSz="1620717"/>
              <a:t>28</a:t>
            </a:fld>
            <a:endParaRPr lang="de-DE" altLang="de-DE" sz="3025" b="1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5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773333" y="4378518"/>
            <a:ext cx="1365596" cy="5522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fld id="{2871FF1A-FDBA-43C1-A4C8-7DC1B8EE28B7}" type="datetime'''''''''''''''2''7'''''''''''''''''''''''''''''''''''''''">
              <a:rPr lang="de-DE" altLang="de-DE" sz="3025" b="1">
                <a:solidFill>
                  <a:srgbClr val="000000"/>
                </a:solidFill>
                <a:latin typeface="Avenir Medium"/>
              </a:rPr>
              <a:pPr algn="ctr" defTabSz="1620717"/>
              <a:t>27</a:t>
            </a:fld>
            <a:endParaRPr lang="de-DE" altLang="de-DE" sz="3025" b="1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6" name="Rectangle 1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407735" y="4378518"/>
            <a:ext cx="1170512" cy="5522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fld id="{05D617D9-7E3C-4E69-84D5-CC9DA4DC63C2}" type="datetime'2''''''6'''''''''''''''''">
              <a:rPr lang="de-DE" altLang="de-DE" sz="3025" b="1">
                <a:solidFill>
                  <a:srgbClr val="000000"/>
                </a:solidFill>
                <a:latin typeface="Avenir Medium"/>
              </a:rPr>
              <a:pPr algn="ctr" defTabSz="1620717"/>
              <a:t>26</a:t>
            </a:fld>
            <a:endParaRPr lang="de-DE" altLang="de-DE" sz="3025" b="1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17" name="Rectangle 14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578248" y="3826277"/>
            <a:ext cx="6044644" cy="55224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fld id="{B47C782A-4A9D-451F-BFC5-B52A64B76210}" type="datetime'''''J''''''''''''''''''''''''''''u''''li'''''''">
              <a:rPr lang="de-DE" altLang="de-DE" sz="3025" b="1">
                <a:solidFill>
                  <a:srgbClr val="FFFFFF"/>
                </a:solidFill>
                <a:latin typeface="Avenir Medium"/>
              </a:rPr>
              <a:pPr algn="ctr" defTabSz="1620717"/>
              <a:t>Juli</a:t>
            </a:fld>
            <a:endParaRPr lang="de-DE" altLang="de-DE" sz="3025" b="1">
              <a:solidFill>
                <a:srgbClr val="FFFFFF"/>
              </a:solidFill>
              <a:latin typeface="Avenir Medium"/>
            </a:endParaRPr>
          </a:p>
        </p:txBody>
      </p:sp>
      <p:sp>
        <p:nvSpPr>
          <p:cNvPr id="18" name="Rectangle 15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4622892" y="3826277"/>
            <a:ext cx="6044644" cy="55224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fld id="{A5AF917B-AE69-4B6A-BD94-A36F82A35F4B}" type="datetime'''''''''''''''''''''A''''''ug''''.'''''''''''''''''''">
              <a:rPr lang="de-DE" altLang="de-DE" sz="3025" b="1">
                <a:solidFill>
                  <a:srgbClr val="FFFFFF"/>
                </a:solidFill>
                <a:latin typeface="Avenir Medium"/>
              </a:rPr>
              <a:pPr algn="ctr" defTabSz="1620717"/>
              <a:t>Aug.</a:t>
            </a:fld>
            <a:endParaRPr lang="de-DE" altLang="de-DE" sz="3025" b="1">
              <a:solidFill>
                <a:srgbClr val="FFFFFF"/>
              </a:solidFill>
              <a:latin typeface="Avenir Medium"/>
            </a:endParaRPr>
          </a:p>
        </p:txBody>
      </p:sp>
      <p:sp>
        <p:nvSpPr>
          <p:cNvPr id="19" name="Rectangle 1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407735" y="3826277"/>
            <a:ext cx="1170512" cy="55224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620717"/>
            <a:fld id="{435696AA-56FB-4DD2-8E5E-9507CCBE6E8C}" type="datetime'J''u''''''''''n''''''''''''''''''''''''''''''''i'''''''">
              <a:rPr lang="de-DE" altLang="de-DE" sz="3025" b="1">
                <a:solidFill>
                  <a:srgbClr val="FFFFFF"/>
                </a:solidFill>
                <a:latin typeface="Avenir Medium"/>
              </a:rPr>
              <a:pPr algn="ctr" defTabSz="1620717"/>
              <a:t>Juni</a:t>
            </a:fld>
            <a:endParaRPr lang="de-DE" altLang="de-DE" sz="3025" b="1" dirty="0">
              <a:solidFill>
                <a:srgbClr val="FFFFFF"/>
              </a:solidFill>
              <a:latin typeface="Avenir Medium"/>
            </a:endParaRPr>
          </a:p>
        </p:txBody>
      </p:sp>
      <p:sp>
        <p:nvSpPr>
          <p:cNvPr id="20" name="Line 17"/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>
            <a:off x="2803720" y="4930761"/>
            <a:ext cx="0" cy="69450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1" name="Line 18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20667535" y="4930761"/>
            <a:ext cx="0" cy="69450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2" name="Line 19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10138929" y="4930761"/>
            <a:ext cx="0" cy="694503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3" name="Line 20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8773333" y="4930761"/>
            <a:ext cx="0" cy="694503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4" name="Line 21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>
            <a:off x="7407734" y="4930761"/>
            <a:ext cx="0" cy="69450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5" name="Line 22"/>
          <p:cNvSpPr>
            <a:spLocks noChangeShapeType="1"/>
          </p:cNvSpPr>
          <p:nvPr>
            <p:custDataLst>
              <p:tags r:id="rId20"/>
            </p:custDataLst>
          </p:nvPr>
        </p:nvSpPr>
        <p:spPr bwMode="auto">
          <a:xfrm>
            <a:off x="19692109" y="4930761"/>
            <a:ext cx="0" cy="694503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6" name="Line 23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18326511" y="4930761"/>
            <a:ext cx="0" cy="694503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7" name="Line 24"/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>
            <a:off x="16963915" y="4930761"/>
            <a:ext cx="0" cy="694503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8" name="Line 25"/>
          <p:cNvSpPr>
            <a:spLocks noChangeShapeType="1"/>
          </p:cNvSpPr>
          <p:nvPr>
            <p:custDataLst>
              <p:tags r:id="rId23"/>
            </p:custDataLst>
          </p:nvPr>
        </p:nvSpPr>
        <p:spPr bwMode="auto">
          <a:xfrm>
            <a:off x="15598318" y="4930761"/>
            <a:ext cx="0" cy="694503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29" name="Line 26"/>
          <p:cNvSpPr>
            <a:spLocks noChangeShapeType="1"/>
          </p:cNvSpPr>
          <p:nvPr>
            <p:custDataLst>
              <p:tags r:id="rId24"/>
            </p:custDataLst>
          </p:nvPr>
        </p:nvSpPr>
        <p:spPr bwMode="auto">
          <a:xfrm>
            <a:off x="12867124" y="4930761"/>
            <a:ext cx="0" cy="694503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0" name="Line 27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>
            <a:off x="14232720" y="4930761"/>
            <a:ext cx="0" cy="694503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1" name="Line 28"/>
          <p:cNvSpPr>
            <a:spLocks noChangeShapeType="1"/>
          </p:cNvSpPr>
          <p:nvPr>
            <p:custDataLst>
              <p:tags r:id="rId26"/>
            </p:custDataLst>
          </p:nvPr>
        </p:nvSpPr>
        <p:spPr bwMode="auto">
          <a:xfrm>
            <a:off x="14622891" y="4930761"/>
            <a:ext cx="0" cy="6945038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2" name="Line 29"/>
          <p:cNvSpPr>
            <a:spLocks noChangeShapeType="1"/>
          </p:cNvSpPr>
          <p:nvPr>
            <p:custDataLst>
              <p:tags r:id="rId27"/>
            </p:custDataLst>
          </p:nvPr>
        </p:nvSpPr>
        <p:spPr bwMode="auto">
          <a:xfrm>
            <a:off x="8578247" y="4930761"/>
            <a:ext cx="0" cy="6945038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3" name="Line 30"/>
          <p:cNvSpPr>
            <a:spLocks noChangeShapeType="1"/>
          </p:cNvSpPr>
          <p:nvPr>
            <p:custDataLst>
              <p:tags r:id="rId28"/>
            </p:custDataLst>
          </p:nvPr>
        </p:nvSpPr>
        <p:spPr bwMode="auto">
          <a:xfrm>
            <a:off x="2803721" y="9291669"/>
            <a:ext cx="17863814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4" name="Line 31"/>
          <p:cNvSpPr>
            <a:spLocks noChangeShapeType="1"/>
          </p:cNvSpPr>
          <p:nvPr>
            <p:custDataLst>
              <p:tags r:id="rId29"/>
            </p:custDataLst>
          </p:nvPr>
        </p:nvSpPr>
        <p:spPr bwMode="auto">
          <a:xfrm>
            <a:off x="2803721" y="6707537"/>
            <a:ext cx="17863814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5" name="Line 32"/>
          <p:cNvSpPr>
            <a:spLocks noChangeShapeType="1"/>
          </p:cNvSpPr>
          <p:nvPr>
            <p:custDataLst>
              <p:tags r:id="rId30"/>
            </p:custDataLst>
          </p:nvPr>
        </p:nvSpPr>
        <p:spPr bwMode="auto">
          <a:xfrm>
            <a:off x="11501525" y="4930761"/>
            <a:ext cx="0" cy="694503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6" name="Line 33"/>
          <p:cNvSpPr>
            <a:spLocks noChangeShapeType="1"/>
          </p:cNvSpPr>
          <p:nvPr>
            <p:custDataLst>
              <p:tags r:id="rId31"/>
            </p:custDataLst>
          </p:nvPr>
        </p:nvSpPr>
        <p:spPr bwMode="auto">
          <a:xfrm>
            <a:off x="2803721" y="4930760"/>
            <a:ext cx="1786381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7" name="Line 34"/>
          <p:cNvSpPr>
            <a:spLocks noChangeShapeType="1"/>
          </p:cNvSpPr>
          <p:nvPr>
            <p:custDataLst>
              <p:tags r:id="rId32"/>
            </p:custDataLst>
          </p:nvPr>
        </p:nvSpPr>
        <p:spPr bwMode="auto">
          <a:xfrm>
            <a:off x="2803721" y="11875798"/>
            <a:ext cx="1786381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8" name="Rectangle 35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8578247" y="5323934"/>
            <a:ext cx="2923279" cy="15006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39" name="Rectangle 36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11501526" y="7103711"/>
            <a:ext cx="3121365" cy="15006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40" name="Rectangle 37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18911768" y="11296546"/>
            <a:ext cx="1737759" cy="15006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41" name="Rectangle 38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16963915" y="9687843"/>
            <a:ext cx="3313449" cy="15006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42" name="Rectangle 39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11501526" y="5323934"/>
            <a:ext cx="1365598" cy="15006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43" name="AutoShape 40"/>
          <p:cNvSpPr>
            <a:spLocks/>
          </p:cNvSpPr>
          <p:nvPr>
            <p:custDataLst>
              <p:tags r:id="rId38"/>
            </p:custDataLst>
          </p:nvPr>
        </p:nvSpPr>
        <p:spPr bwMode="auto">
          <a:xfrm rot="5400000">
            <a:off x="15691358" y="10876362"/>
            <a:ext cx="204089" cy="2341024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44" name="AutoShape 41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 rot="10800000">
            <a:off x="15592317" y="12148919"/>
            <a:ext cx="402176" cy="204089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45" name="AutoShape 42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13731501" y="7872048"/>
            <a:ext cx="225098" cy="225099"/>
          </a:xfrm>
          <a:prstGeom prst="diamond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46" name="AutoShape 43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20166316" y="10471184"/>
            <a:ext cx="228100" cy="198087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47" name="AutoShape 44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19190889" y="10471184"/>
            <a:ext cx="228100" cy="198087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48" name="AutoShape 45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12170819" y="7872048"/>
            <a:ext cx="225098" cy="225099"/>
          </a:xfrm>
          <a:prstGeom prst="diamond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6123" tIns="136123" rIns="136123" bIns="136123" anchor="ctr"/>
          <a:lstStyle/>
          <a:p>
            <a:pPr defTabSz="1814755"/>
            <a:endParaRPr lang="de-DE" sz="3592">
              <a:solidFill>
                <a:srgbClr val="000000"/>
              </a:solidFill>
              <a:latin typeface="Avenir Medium"/>
            </a:endParaRPr>
          </a:p>
        </p:txBody>
      </p:sp>
      <p:sp useBgFill="1">
        <p:nvSpPr>
          <p:cNvPr id="49" name="Rectangle 46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14703928" y="12386022"/>
            <a:ext cx="2175951" cy="462202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Betriebsruhe</a:t>
            </a:r>
          </a:p>
        </p:txBody>
      </p:sp>
      <p:sp useBgFill="1">
        <p:nvSpPr>
          <p:cNvPr id="50" name="Rectangle 47"/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19893196" y="10717292"/>
            <a:ext cx="1068467" cy="462202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fld id="{0E3EC5F4-328B-4B56-83EF-5BFC5235A79C}" type="datetime'''''''''''''''3''''0''''''.''0''8''.'">
              <a:rPr lang="de-DE" altLang="de-DE" sz="3025">
                <a:solidFill>
                  <a:srgbClr val="000000"/>
                </a:solidFill>
                <a:latin typeface="Avenir Medium"/>
              </a:rPr>
              <a:pPr defTabSz="1620717"/>
              <a:t>30.08.</a:t>
            </a:fld>
            <a:endParaRPr lang="de-DE" altLang="de-DE" sz="3025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51" name="Rectangle 48"/>
          <p:cNvSpPr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3142870" y="4423540"/>
            <a:ext cx="1581691" cy="46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fld id="{043FBC46-83DA-42F6-AF45-3882CCABCEBA}" type="datetime'''''''''''''''''''''T''''ä''''''t''''''''''''ig''''k''''''eit'">
              <a:rPr lang="de-DE" altLang="de-DE" sz="3025" b="1">
                <a:solidFill>
                  <a:srgbClr val="000000"/>
                </a:solidFill>
                <a:latin typeface="Avenir Medium"/>
              </a:rPr>
              <a:pPr defTabSz="1620717"/>
              <a:t>Tätigkeit</a:t>
            </a:fld>
            <a:endParaRPr lang="de-DE" altLang="de-DE" sz="3025" b="1">
              <a:solidFill>
                <a:srgbClr val="000000"/>
              </a:solidFill>
              <a:latin typeface="Avenir Medium"/>
            </a:endParaRPr>
          </a:p>
        </p:txBody>
      </p:sp>
      <p:sp useBgFill="1">
        <p:nvSpPr>
          <p:cNvPr id="52" name="Rectangle 49"/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18617639" y="10717292"/>
            <a:ext cx="1068467" cy="462202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fld id="{F61B12EB-C50C-4C17-A3C2-39EDB69778CA}" type="datetime'2''''''''''''5''''.''0''''''''''''''''''''''8''''''''''.'">
              <a:rPr lang="de-DE" altLang="de-DE" sz="3025">
                <a:solidFill>
                  <a:srgbClr val="000000"/>
                </a:solidFill>
                <a:latin typeface="Avenir Medium"/>
              </a:rPr>
              <a:pPr defTabSz="1620717"/>
              <a:t>25.08.</a:t>
            </a:fld>
            <a:endParaRPr lang="de-DE" altLang="de-DE" sz="3025">
              <a:solidFill>
                <a:srgbClr val="000000"/>
              </a:solidFill>
              <a:latin typeface="Avenir Medium"/>
            </a:endParaRPr>
          </a:p>
        </p:txBody>
      </p:sp>
      <p:sp useBgFill="1">
        <p:nvSpPr>
          <p:cNvPr id="53" name="Rectangle 50"/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13308316" y="8148169"/>
            <a:ext cx="1068467" cy="462202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fld id="{F66C8E0A-B3C6-4C97-AC4B-1D17A8290F7F}" type="datetime'''2''''''''''8.''''''''0''''''''''''7''''.'''''">
              <a:rPr lang="de-DE" altLang="de-DE" sz="3025">
                <a:solidFill>
                  <a:srgbClr val="000000"/>
                </a:solidFill>
                <a:latin typeface="Avenir Medium"/>
              </a:rPr>
              <a:pPr defTabSz="1620717"/>
              <a:t>28.07.</a:t>
            </a:fld>
            <a:endParaRPr lang="de-DE" altLang="de-DE" sz="3025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54" name="Rectangle 51"/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3142870" y="8574355"/>
            <a:ext cx="3925717" cy="46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Text 2 mit Detaillierung</a:t>
            </a:r>
          </a:p>
        </p:txBody>
      </p:sp>
      <p:sp>
        <p:nvSpPr>
          <p:cNvPr id="55" name="Rectangle 52"/>
          <p:cNvSpPr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3142870" y="7770003"/>
            <a:ext cx="3925717" cy="46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Workshops</a:t>
            </a:r>
          </a:p>
        </p:txBody>
      </p:sp>
      <p:sp>
        <p:nvSpPr>
          <p:cNvPr id="56" name="Rectangle 53"/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3142870" y="6965651"/>
            <a:ext cx="3925717" cy="46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 b="1">
                <a:solidFill>
                  <a:srgbClr val="000000"/>
                </a:solidFill>
                <a:latin typeface="Avenir Medium"/>
              </a:rPr>
              <a:t>Modul 2</a:t>
            </a:r>
          </a:p>
        </p:txBody>
      </p:sp>
      <p:sp>
        <p:nvSpPr>
          <p:cNvPr id="57" name="Rectangle 54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3142870" y="9549783"/>
            <a:ext cx="3925717" cy="46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 b="1">
                <a:solidFill>
                  <a:srgbClr val="000000"/>
                </a:solidFill>
                <a:latin typeface="Avenir Medium"/>
              </a:rPr>
              <a:t>Modul 3</a:t>
            </a:r>
          </a:p>
        </p:txBody>
      </p:sp>
      <p:sp>
        <p:nvSpPr>
          <p:cNvPr id="58" name="Rectangle 55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3142870" y="5990226"/>
            <a:ext cx="3925717" cy="46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Text mit Detaillierung</a:t>
            </a:r>
          </a:p>
        </p:txBody>
      </p:sp>
      <p:sp>
        <p:nvSpPr>
          <p:cNvPr id="59" name="Rectangle 56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3142870" y="5185874"/>
            <a:ext cx="3925717" cy="46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 b="1">
                <a:solidFill>
                  <a:srgbClr val="000000"/>
                </a:solidFill>
                <a:latin typeface="Avenir Medium"/>
              </a:rPr>
              <a:t>Modul 1</a:t>
            </a:r>
          </a:p>
        </p:txBody>
      </p:sp>
      <p:sp useBgFill="1">
        <p:nvSpPr>
          <p:cNvPr id="60" name="Rectangle 57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11747633" y="8148169"/>
            <a:ext cx="1068467" cy="462202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fld id="{364D78D0-2653-4129-A324-9F392F0CCFD2}" type="datetime'2''0''''.''''''0''''''7''''''.'''">
              <a:rPr lang="de-DE" altLang="de-DE" sz="3025">
                <a:solidFill>
                  <a:srgbClr val="000000"/>
                </a:solidFill>
                <a:latin typeface="Avenir Medium"/>
              </a:rPr>
              <a:pPr defTabSz="1620717"/>
              <a:t>20.07.</a:t>
            </a:fld>
            <a:endParaRPr lang="de-DE" altLang="de-DE" sz="3025">
              <a:solidFill>
                <a:srgbClr val="000000"/>
              </a:solidFill>
              <a:latin typeface="Avenir Medium"/>
            </a:endParaRPr>
          </a:p>
        </p:txBody>
      </p:sp>
      <p:sp>
        <p:nvSpPr>
          <p:cNvPr id="61" name="Rectangle 58"/>
          <p:cNvSpPr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3142870" y="11158486"/>
            <a:ext cx="3925717" cy="46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Rollout</a:t>
            </a:r>
          </a:p>
        </p:txBody>
      </p:sp>
      <p:sp>
        <p:nvSpPr>
          <p:cNvPr id="62" name="Rectangle 59"/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3142870" y="10354135"/>
            <a:ext cx="3925717" cy="46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marL="61912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marL="123825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857375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marL="2476500" defTabSz="85725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marL="29337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3909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8481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305300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620717"/>
            <a:r>
              <a:rPr lang="de-DE" altLang="de-DE" sz="3025">
                <a:solidFill>
                  <a:srgbClr val="000000"/>
                </a:solidFill>
                <a:latin typeface="Avenir Medium"/>
              </a:rPr>
              <a:t>Präsentationen</a:t>
            </a:r>
          </a:p>
        </p:txBody>
      </p:sp>
    </p:spTree>
    <p:extLst>
      <p:ext uri="{BB962C8B-B14F-4D97-AF65-F5344CB8AC3E}">
        <p14:creationId xmlns:p14="http://schemas.microsoft.com/office/powerpoint/2010/main" val="41831906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n The Bridge </a:t>
            </a:r>
            <a:r>
              <a:rPr lang="de-DE" dirty="0" err="1"/>
              <a:t>Strategy</a:t>
            </a:r>
            <a:r>
              <a:rPr lang="de-DE" dirty="0"/>
              <a:t> </a:t>
            </a:r>
            <a:r>
              <a:rPr lang="de-DE" dirty="0" err="1"/>
              <a:t>Precise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uture </a:t>
            </a:r>
            <a:r>
              <a:rPr lang="de-DE" dirty="0" err="1"/>
              <a:t>Success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498100"/>
              </p:ext>
            </p:extLst>
          </p:nvPr>
        </p:nvGraphicFramePr>
        <p:xfrm>
          <a:off x="1027114" y="2897185"/>
          <a:ext cx="22323424" cy="97218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639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65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265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265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265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265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42658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944370"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Projec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20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20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202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20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44370">
                <a:tc>
                  <a:txBody>
                    <a:bodyPr/>
                    <a:lstStyle/>
                    <a:p>
                      <a:pPr algn="ctr"/>
                      <a:r>
                        <a:rPr lang="de-DE" sz="3200" b="0" i="0" dirty="0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Implement </a:t>
                      </a:r>
                      <a:r>
                        <a:rPr lang="de-DE" sz="3200" b="0" i="0" dirty="0" err="1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gamification</a:t>
                      </a:r>
                      <a:r>
                        <a:rPr lang="de-DE" sz="3200" b="0" i="0" dirty="0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3200" b="0" i="0" dirty="0" err="1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elements</a:t>
                      </a:r>
                      <a:r>
                        <a:rPr lang="de-DE" sz="3200" b="0" i="0" dirty="0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3200" b="0" i="0" dirty="0" err="1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through</a:t>
                      </a:r>
                      <a:r>
                        <a:rPr lang="de-DE" sz="3200" b="0" i="0" dirty="0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 Start-up </a:t>
                      </a:r>
                      <a:r>
                        <a:rPr lang="de-DE" sz="3200" b="0" i="0" dirty="0" err="1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Incubator</a:t>
                      </a:r>
                      <a:endParaRPr lang="en-US" sz="32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44370">
                <a:tc>
                  <a:txBody>
                    <a:bodyPr/>
                    <a:lstStyle/>
                    <a:p>
                      <a:pPr algn="ctr"/>
                      <a:r>
                        <a:rPr lang="en-US" sz="3200" b="0" i="0" dirty="0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Further educate employees to become Inheritance Consulta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44370">
                <a:tc>
                  <a:txBody>
                    <a:bodyPr/>
                    <a:lstStyle/>
                    <a:p>
                      <a:pPr algn="ctr"/>
                      <a:r>
                        <a:rPr lang="de-DE" sz="3200" b="0" i="0" dirty="0" err="1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Raise</a:t>
                      </a:r>
                      <a:r>
                        <a:rPr lang="de-DE" sz="3200" b="0" i="0" dirty="0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3200" b="0" i="0" dirty="0" err="1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awareness</a:t>
                      </a:r>
                      <a:r>
                        <a:rPr lang="de-DE" sz="3200" b="0" i="0" dirty="0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3200" b="0" i="0" dirty="0" err="1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3200" b="0" i="0" dirty="0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3200" b="0" i="0" dirty="0" err="1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inheritance</a:t>
                      </a:r>
                      <a:r>
                        <a:rPr lang="de-DE" sz="3200" b="0" i="0" dirty="0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3200" b="0" i="0" dirty="0" err="1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consulting</a:t>
                      </a:r>
                      <a:r>
                        <a:rPr lang="de-DE" sz="3200" b="0" i="0" dirty="0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3200" b="0" i="0" dirty="0" err="1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with</a:t>
                      </a:r>
                      <a:r>
                        <a:rPr lang="de-DE" sz="3200" b="0" i="0" dirty="0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 Bridge </a:t>
                      </a:r>
                      <a:r>
                        <a:rPr lang="de-DE" sz="3200" b="0" i="0" dirty="0" err="1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events</a:t>
                      </a:r>
                      <a:endParaRPr lang="en-US" sz="32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6311085"/>
                  </a:ext>
                </a:extLst>
              </a:tr>
              <a:tr h="1944370">
                <a:tc>
                  <a:txBody>
                    <a:bodyPr/>
                    <a:lstStyle/>
                    <a:p>
                      <a:pPr algn="ctr"/>
                      <a:r>
                        <a:rPr lang="en-US" sz="3200" b="0" i="0" dirty="0">
                          <a:latin typeface="Calibri" panose="020F0502020204030204" pitchFamily="34" charset="0"/>
                          <a:ea typeface="Avenir Book" charset="0"/>
                          <a:cs typeface="Calibri" panose="020F0502020204030204" pitchFamily="34" charset="0"/>
                        </a:rPr>
                        <a:t>Control and improvement of the Strateg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Calibri" panose="020F0502020204030204" pitchFamily="34" charset="0"/>
                        <a:ea typeface="Avenir Book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Oval 4"/>
          <p:cNvSpPr/>
          <p:nvPr/>
        </p:nvSpPr>
        <p:spPr>
          <a:xfrm>
            <a:off x="10961220" y="5809721"/>
            <a:ext cx="335011" cy="3373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/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 flipH="1">
            <a:off x="8812872" y="5978390"/>
            <a:ext cx="2413000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cxnSpLocks/>
          </p:cNvCxnSpPr>
          <p:nvPr/>
        </p:nvCxnSpPr>
        <p:spPr>
          <a:xfrm flipH="1">
            <a:off x="10019372" y="7758110"/>
            <a:ext cx="6008028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/>
          </p:cNvCxnSpPr>
          <p:nvPr/>
        </p:nvCxnSpPr>
        <p:spPr>
          <a:xfrm flipH="1">
            <a:off x="11225872" y="9673594"/>
            <a:ext cx="12124666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cxnSpLocks/>
          </p:cNvCxnSpPr>
          <p:nvPr/>
        </p:nvCxnSpPr>
        <p:spPr>
          <a:xfrm flipH="1">
            <a:off x="11205386" y="11712115"/>
            <a:ext cx="12145152" cy="0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4">
            <a:extLst>
              <a:ext uri="{FF2B5EF4-FFF2-40B4-BE49-F238E27FC236}">
                <a16:creationId xmlns:a16="http://schemas.microsoft.com/office/drawing/2014/main" id="{81DE4885-5B3B-4370-B71C-CDB983BAAB31}"/>
              </a:ext>
            </a:extLst>
          </p:cNvPr>
          <p:cNvSpPr/>
          <p:nvPr/>
        </p:nvSpPr>
        <p:spPr>
          <a:xfrm>
            <a:off x="15692389" y="7589440"/>
            <a:ext cx="335011" cy="33733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/>
          </a:p>
        </p:txBody>
      </p:sp>
    </p:spTree>
    <p:extLst>
      <p:ext uri="{BB962C8B-B14F-4D97-AF65-F5344CB8AC3E}">
        <p14:creationId xmlns:p14="http://schemas.microsoft.com/office/powerpoint/2010/main" val="41113060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80" name="Picture 8" descr="Bildergebnis fÃ¼r bridge">
            <a:extLst>
              <a:ext uri="{FF2B5EF4-FFF2-40B4-BE49-F238E27FC236}">
                <a16:creationId xmlns:a16="http://schemas.microsoft.com/office/drawing/2014/main" id="{21CAB154-9C6B-4560-8545-C2DDE024D9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24428999" cy="13980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E3768D29-3743-43E8-BE42-0634C3B4E0D9}"/>
              </a:ext>
            </a:extLst>
          </p:cNvPr>
          <p:cNvSpPr/>
          <p:nvPr/>
        </p:nvSpPr>
        <p:spPr>
          <a:xfrm>
            <a:off x="-177800" y="0"/>
            <a:ext cx="24625849" cy="13980694"/>
          </a:xfrm>
          <a:prstGeom prst="rect">
            <a:avLst/>
          </a:prstGeom>
          <a:solidFill>
            <a:srgbClr val="05CB5F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1F33F95-C90F-4564-BE4B-DF01A01367EC}"/>
              </a:ext>
            </a:extLst>
          </p:cNvPr>
          <p:cNvSpPr txBox="1"/>
          <p:nvPr/>
        </p:nvSpPr>
        <p:spPr>
          <a:xfrm>
            <a:off x="6166674" y="3046948"/>
            <a:ext cx="184404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8000" dirty="0">
              <a:solidFill>
                <a:schemeClr val="bg1"/>
              </a:solidFill>
            </a:endParaRPr>
          </a:p>
          <a:p>
            <a:endParaRPr lang="de-DE" sz="8000" dirty="0">
              <a:solidFill>
                <a:schemeClr val="bg1"/>
              </a:solidFill>
            </a:endParaRPr>
          </a:p>
          <a:p>
            <a:endParaRPr lang="de-DE" sz="8000" dirty="0">
              <a:solidFill>
                <a:schemeClr val="bg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A9AAE9A-EB0A-43E9-9C49-75F747AC3C51}"/>
              </a:ext>
            </a:extLst>
          </p:cNvPr>
          <p:cNvSpPr txBox="1"/>
          <p:nvPr/>
        </p:nvSpPr>
        <p:spPr>
          <a:xfrm>
            <a:off x="8035925" y="3535402"/>
            <a:ext cx="174498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00" dirty="0" err="1">
                <a:solidFill>
                  <a:schemeClr val="bg1"/>
                </a:solidFill>
              </a:rPr>
              <a:t>Thank</a:t>
            </a:r>
            <a:r>
              <a:rPr lang="de-DE" sz="6600" dirty="0">
                <a:solidFill>
                  <a:schemeClr val="bg1"/>
                </a:solidFill>
              </a:rPr>
              <a:t> </a:t>
            </a:r>
            <a:r>
              <a:rPr lang="de-DE" sz="6600" dirty="0" err="1">
                <a:solidFill>
                  <a:schemeClr val="bg1"/>
                </a:solidFill>
              </a:rPr>
              <a:t>You</a:t>
            </a:r>
            <a:r>
              <a:rPr lang="de-DE" sz="6600" dirty="0">
                <a:solidFill>
                  <a:schemeClr val="bg1"/>
                </a:solidFill>
              </a:rPr>
              <a:t> </a:t>
            </a:r>
            <a:r>
              <a:rPr lang="de-DE" sz="6600" dirty="0" err="1">
                <a:solidFill>
                  <a:schemeClr val="bg1"/>
                </a:solidFill>
              </a:rPr>
              <a:t>For</a:t>
            </a:r>
            <a:r>
              <a:rPr lang="de-DE" sz="6600" dirty="0">
                <a:solidFill>
                  <a:schemeClr val="bg1"/>
                </a:solidFill>
              </a:rPr>
              <a:t> </a:t>
            </a:r>
            <a:r>
              <a:rPr lang="de-DE" sz="6600" dirty="0" err="1">
                <a:solidFill>
                  <a:schemeClr val="bg1"/>
                </a:solidFill>
              </a:rPr>
              <a:t>Your</a:t>
            </a:r>
            <a:r>
              <a:rPr lang="de-DE" sz="6600" dirty="0">
                <a:solidFill>
                  <a:schemeClr val="bg1"/>
                </a:solidFill>
              </a:rPr>
              <a:t> Attention!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619A142A-E82A-4A98-9679-4F990E14020D}"/>
              </a:ext>
            </a:extLst>
          </p:cNvPr>
          <p:cNvSpPr txBox="1"/>
          <p:nvPr/>
        </p:nvSpPr>
        <p:spPr>
          <a:xfrm>
            <a:off x="19126200" y="12471400"/>
            <a:ext cx="4978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>
                <a:solidFill>
                  <a:schemeClr val="bg1"/>
                </a:solidFill>
              </a:rPr>
              <a:t>Münster Consulting</a:t>
            </a:r>
          </a:p>
        </p:txBody>
      </p:sp>
    </p:spTree>
    <p:extLst>
      <p:ext uri="{BB962C8B-B14F-4D97-AF65-F5344CB8AC3E}">
        <p14:creationId xmlns:p14="http://schemas.microsoft.com/office/powerpoint/2010/main" val="16633954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80" name="Picture 8" descr="Bildergebnis fÃ¼r bridge">
            <a:extLst>
              <a:ext uri="{FF2B5EF4-FFF2-40B4-BE49-F238E27FC236}">
                <a16:creationId xmlns:a16="http://schemas.microsoft.com/office/drawing/2014/main" id="{21CAB154-9C6B-4560-8545-C2DDE024D9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24428999" cy="13980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E3768D29-3743-43E8-BE42-0634C3B4E0D9}"/>
              </a:ext>
            </a:extLst>
          </p:cNvPr>
          <p:cNvSpPr/>
          <p:nvPr/>
        </p:nvSpPr>
        <p:spPr>
          <a:xfrm>
            <a:off x="70399" y="0"/>
            <a:ext cx="24377650" cy="13980694"/>
          </a:xfrm>
          <a:prstGeom prst="rect">
            <a:avLst/>
          </a:prstGeom>
          <a:solidFill>
            <a:srgbClr val="05CB5F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1F33F95-C90F-4564-BE4B-DF01A01367EC}"/>
              </a:ext>
            </a:extLst>
          </p:cNvPr>
          <p:cNvSpPr txBox="1"/>
          <p:nvPr/>
        </p:nvSpPr>
        <p:spPr>
          <a:xfrm>
            <a:off x="6166674" y="3046948"/>
            <a:ext cx="184404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8000" dirty="0">
              <a:solidFill>
                <a:schemeClr val="bg1"/>
              </a:solidFill>
            </a:endParaRPr>
          </a:p>
          <a:p>
            <a:endParaRPr lang="de-DE" sz="8000" dirty="0">
              <a:solidFill>
                <a:schemeClr val="bg1"/>
              </a:solidFill>
            </a:endParaRPr>
          </a:p>
          <a:p>
            <a:endParaRPr lang="de-DE" sz="8000" dirty="0">
              <a:solidFill>
                <a:schemeClr val="bg1"/>
              </a:solidFill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0452F67D-781F-43A1-8EFD-D89E9EDB5D31}"/>
              </a:ext>
            </a:extLst>
          </p:cNvPr>
          <p:cNvSpPr txBox="1"/>
          <p:nvPr/>
        </p:nvSpPr>
        <p:spPr>
          <a:xfrm>
            <a:off x="1483576" y="5199431"/>
            <a:ext cx="3244799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75%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56EDB300-D1FC-419D-B4F3-718D99474E2C}"/>
              </a:ext>
            </a:extLst>
          </p:cNvPr>
          <p:cNvSpPr txBox="1"/>
          <p:nvPr/>
        </p:nvSpPr>
        <p:spPr>
          <a:xfrm>
            <a:off x="2025353" y="7632000"/>
            <a:ext cx="242412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Market Share</a:t>
            </a:r>
          </a:p>
        </p:txBody>
      </p:sp>
      <p:sp>
        <p:nvSpPr>
          <p:cNvPr id="10" name="TextBox 26">
            <a:extLst>
              <a:ext uri="{FF2B5EF4-FFF2-40B4-BE49-F238E27FC236}">
                <a16:creationId xmlns:a16="http://schemas.microsoft.com/office/drawing/2014/main" id="{76466036-D990-4155-84D9-F4CBBD60D75D}"/>
              </a:ext>
            </a:extLst>
          </p:cNvPr>
          <p:cNvSpPr txBox="1"/>
          <p:nvPr/>
        </p:nvSpPr>
        <p:spPr>
          <a:xfrm>
            <a:off x="7330237" y="5192836"/>
            <a:ext cx="3913252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99 xx</a:t>
            </a:r>
          </a:p>
        </p:txBody>
      </p:sp>
      <p:sp>
        <p:nvSpPr>
          <p:cNvPr id="11" name="TextBox 27">
            <a:extLst>
              <a:ext uri="{FF2B5EF4-FFF2-40B4-BE49-F238E27FC236}">
                <a16:creationId xmlns:a16="http://schemas.microsoft.com/office/drawing/2014/main" id="{EB2B30AC-9F65-4CE5-AE12-E8BFD274322C}"/>
              </a:ext>
            </a:extLst>
          </p:cNvPr>
          <p:cNvSpPr txBox="1"/>
          <p:nvPr/>
        </p:nvSpPr>
        <p:spPr>
          <a:xfrm>
            <a:off x="8797293" y="7625405"/>
            <a:ext cx="9893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dirty="0" err="1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AuM</a:t>
            </a:r>
            <a:endParaRPr lang="en-US" sz="3200" dirty="0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4" name="TextBox 28">
            <a:extLst>
              <a:ext uri="{FF2B5EF4-FFF2-40B4-BE49-F238E27FC236}">
                <a16:creationId xmlns:a16="http://schemas.microsoft.com/office/drawing/2014/main" id="{932C1CFB-A1E2-4F04-8A6D-587CAF0255FF}"/>
              </a:ext>
            </a:extLst>
          </p:cNvPr>
          <p:cNvSpPr txBox="1"/>
          <p:nvPr/>
        </p:nvSpPr>
        <p:spPr>
          <a:xfrm>
            <a:off x="13860767" y="5238143"/>
            <a:ext cx="287771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125</a:t>
            </a:r>
          </a:p>
        </p:txBody>
      </p:sp>
      <p:sp>
        <p:nvSpPr>
          <p:cNvPr id="15" name="TextBox 29">
            <a:extLst>
              <a:ext uri="{FF2B5EF4-FFF2-40B4-BE49-F238E27FC236}">
                <a16:creationId xmlns:a16="http://schemas.microsoft.com/office/drawing/2014/main" id="{50D740AF-0C72-46EF-BD95-5BACE3A16DA2}"/>
              </a:ext>
            </a:extLst>
          </p:cNvPr>
          <p:cNvSpPr txBox="1"/>
          <p:nvPr/>
        </p:nvSpPr>
        <p:spPr>
          <a:xfrm>
            <a:off x="14356739" y="7670712"/>
            <a:ext cx="195476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Customers</a:t>
            </a:r>
          </a:p>
        </p:txBody>
      </p:sp>
      <p:sp>
        <p:nvSpPr>
          <p:cNvPr id="16" name="TextBox 30">
            <a:extLst>
              <a:ext uri="{FF2B5EF4-FFF2-40B4-BE49-F238E27FC236}">
                <a16:creationId xmlns:a16="http://schemas.microsoft.com/office/drawing/2014/main" id="{8AE018D6-AAEC-4942-8C44-2803B794029A}"/>
              </a:ext>
            </a:extLst>
          </p:cNvPr>
          <p:cNvSpPr txBox="1"/>
          <p:nvPr/>
        </p:nvSpPr>
        <p:spPr>
          <a:xfrm>
            <a:off x="20298133" y="5238143"/>
            <a:ext cx="2364750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# 1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13EF799F-3794-4F50-8A8A-3EBACA53006A}"/>
              </a:ext>
            </a:extLst>
          </p:cNvPr>
          <p:cNvSpPr txBox="1"/>
          <p:nvPr/>
        </p:nvSpPr>
        <p:spPr>
          <a:xfrm>
            <a:off x="19935028" y="7670712"/>
            <a:ext cx="290733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Bank in Hungary</a:t>
            </a:r>
          </a:p>
        </p:txBody>
      </p:sp>
      <p:cxnSp>
        <p:nvCxnSpPr>
          <p:cNvPr id="18" name="Straight Connector 4">
            <a:extLst>
              <a:ext uri="{FF2B5EF4-FFF2-40B4-BE49-F238E27FC236}">
                <a16:creationId xmlns:a16="http://schemas.microsoft.com/office/drawing/2014/main" id="{7AC7C1AE-64EF-46C2-8DA8-681D0303665C}"/>
              </a:ext>
            </a:extLst>
          </p:cNvPr>
          <p:cNvCxnSpPr/>
          <p:nvPr/>
        </p:nvCxnSpPr>
        <p:spPr>
          <a:xfrm flipV="1">
            <a:off x="5048742" y="5192836"/>
            <a:ext cx="1756385" cy="285983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3">
            <a:extLst>
              <a:ext uri="{FF2B5EF4-FFF2-40B4-BE49-F238E27FC236}">
                <a16:creationId xmlns:a16="http://schemas.microsoft.com/office/drawing/2014/main" id="{5D63F73F-E169-4DB4-95DC-F6F7D4143A7D}"/>
              </a:ext>
            </a:extLst>
          </p:cNvPr>
          <p:cNvCxnSpPr/>
          <p:nvPr/>
        </p:nvCxnSpPr>
        <p:spPr>
          <a:xfrm flipV="1">
            <a:off x="11417115" y="5192836"/>
            <a:ext cx="1756385" cy="285983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34">
            <a:extLst>
              <a:ext uri="{FF2B5EF4-FFF2-40B4-BE49-F238E27FC236}">
                <a16:creationId xmlns:a16="http://schemas.microsoft.com/office/drawing/2014/main" id="{D64E06A2-5634-4C1C-A335-77C799186A5F}"/>
              </a:ext>
            </a:extLst>
          </p:cNvPr>
          <p:cNvCxnSpPr/>
          <p:nvPr/>
        </p:nvCxnSpPr>
        <p:spPr>
          <a:xfrm flipV="1">
            <a:off x="17808265" y="5192836"/>
            <a:ext cx="1756385" cy="285983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6209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31495-E7F4-4742-A71F-6A3785B17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grpSp>
        <p:nvGrpSpPr>
          <p:cNvPr id="20" name="Group 11">
            <a:extLst>
              <a:ext uri="{FF2B5EF4-FFF2-40B4-BE49-F238E27FC236}">
                <a16:creationId xmlns:a16="http://schemas.microsoft.com/office/drawing/2014/main" id="{6A19B3F1-FFDD-43B1-89BB-5C805ACA0EFE}"/>
              </a:ext>
            </a:extLst>
          </p:cNvPr>
          <p:cNvGrpSpPr/>
          <p:nvPr/>
        </p:nvGrpSpPr>
        <p:grpSpPr>
          <a:xfrm>
            <a:off x="-12700" y="12841264"/>
            <a:ext cx="24390350" cy="874736"/>
            <a:chOff x="8962256" y="6857999"/>
            <a:chExt cx="6215041" cy="874736"/>
          </a:xfrm>
        </p:grpSpPr>
        <p:sp>
          <p:nvSpPr>
            <p:cNvPr id="21" name="Text Box 37">
              <a:extLst>
                <a:ext uri="{FF2B5EF4-FFF2-40B4-BE49-F238E27FC236}">
                  <a16:creationId xmlns:a16="http://schemas.microsoft.com/office/drawing/2014/main" id="{1358526D-9828-4610-9688-24386E09245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962256" y="6857999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de-DE" dirty="0">
                  <a:latin typeface="Avenir Medium"/>
                </a:rPr>
                <a:t>Management</a:t>
              </a:r>
              <a:br>
                <a:rPr lang="de-DE" dirty="0">
                  <a:latin typeface="Avenir Medium"/>
                </a:rPr>
              </a:br>
              <a:r>
                <a:rPr lang="de-DE" dirty="0">
                  <a:latin typeface="Avenir Medium"/>
                </a:rPr>
                <a:t>Summary</a:t>
              </a:r>
            </a:p>
          </p:txBody>
        </p:sp>
        <p:sp>
          <p:nvSpPr>
            <p:cNvPr id="22" name="Text Box 39">
              <a:extLst>
                <a:ext uri="{FF2B5EF4-FFF2-40B4-BE49-F238E27FC236}">
                  <a16:creationId xmlns:a16="http://schemas.microsoft.com/office/drawing/2014/main" id="{C509ED1F-4B7A-4391-8BE3-6D7CFFCC5FC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0737982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lternatives</a:t>
              </a:r>
            </a:p>
          </p:txBody>
        </p:sp>
        <p:sp>
          <p:nvSpPr>
            <p:cNvPr id="23" name="Text Box 41">
              <a:extLst>
                <a:ext uri="{FF2B5EF4-FFF2-40B4-BE49-F238E27FC236}">
                  <a16:creationId xmlns:a16="http://schemas.microsoft.com/office/drawing/2014/main" id="{BFCF6FD4-9BA6-4561-9EC2-F0875C0AB7E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625845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Implementation</a:t>
              </a:r>
            </a:p>
          </p:txBody>
        </p:sp>
        <p:sp>
          <p:nvSpPr>
            <p:cNvPr id="24" name="Text Box 43">
              <a:extLst>
                <a:ext uri="{FF2B5EF4-FFF2-40B4-BE49-F238E27FC236}">
                  <a16:creationId xmlns:a16="http://schemas.microsoft.com/office/drawing/2014/main" id="{BA02388A-F44A-47FA-B54C-16652B446C1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2513708" y="6862659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Financials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25" name="Text Box 47">
              <a:extLst>
                <a:ext uri="{FF2B5EF4-FFF2-40B4-BE49-F238E27FC236}">
                  <a16:creationId xmlns:a16="http://schemas.microsoft.com/office/drawing/2014/main" id="{BB6A0AC4-7780-4AE7-9555-3440F544873D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9850119" y="6858000"/>
              <a:ext cx="887863" cy="870075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nalysis</a:t>
              </a:r>
            </a:p>
          </p:txBody>
        </p:sp>
        <p:sp>
          <p:nvSpPr>
            <p:cNvPr id="26" name="Text Box 43">
              <a:extLst>
                <a:ext uri="{FF2B5EF4-FFF2-40B4-BE49-F238E27FC236}">
                  <a16:creationId xmlns:a16="http://schemas.microsoft.com/office/drawing/2014/main" id="{BBBD1CA6-C8AA-4A60-A5E9-2609430CEAC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401571" y="686266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Risk</a:t>
              </a:r>
            </a:p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Mitigation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27" name="Text Box 43">
              <a:extLst>
                <a:ext uri="{FF2B5EF4-FFF2-40B4-BE49-F238E27FC236}">
                  <a16:creationId xmlns:a16="http://schemas.microsoft.com/office/drawing/2014/main" id="{5587940C-EC59-4871-98A7-41BD55AF1A9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4289434" y="686266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Conclusion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95519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8386BD5C-02BC-4589-BC0D-BAB2131F8B2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1AD2DF5-A9E2-4719-A1D4-A042ABCAB8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BACK UP</a:t>
            </a:r>
          </a:p>
        </p:txBody>
      </p:sp>
    </p:spTree>
    <p:extLst>
      <p:ext uri="{BB962C8B-B14F-4D97-AF65-F5344CB8AC3E}">
        <p14:creationId xmlns:p14="http://schemas.microsoft.com/office/powerpoint/2010/main" val="34232488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344CA4E-39B1-40FB-A2F5-5A57998064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pand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countries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heritance</a:t>
            </a:r>
            <a:r>
              <a:rPr lang="de-DE" dirty="0"/>
              <a:t> Consulting</a:t>
            </a:r>
          </a:p>
        </p:txBody>
      </p: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61DFB221-5D9C-454F-B378-DE65BD8C7915}"/>
              </a:ext>
            </a:extLst>
          </p:cNvPr>
          <p:cNvGrpSpPr/>
          <p:nvPr/>
        </p:nvGrpSpPr>
        <p:grpSpPr>
          <a:xfrm>
            <a:off x="1095537" y="2522245"/>
            <a:ext cx="13989509" cy="10603705"/>
            <a:chOff x="3325715" y="2548560"/>
            <a:chExt cx="13989509" cy="10603705"/>
          </a:xfrm>
        </p:grpSpPr>
        <p:sp>
          <p:nvSpPr>
            <p:cNvPr id="7" name="ee4p_CY_1_37764">
              <a:extLst>
                <a:ext uri="{FF2B5EF4-FFF2-40B4-BE49-F238E27FC236}">
                  <a16:creationId xmlns:a16="http://schemas.microsoft.com/office/drawing/2014/main" id="{4ACB4E1A-15A4-4911-A156-8147C2E98DE2}"/>
                </a:ext>
              </a:extLst>
            </p:cNvPr>
            <p:cNvSpPr>
              <a:spLocks noChangeAspect="1"/>
            </p:cNvSpPr>
            <p:nvPr>
              <p:custDataLst>
                <p:tags r:id="rId2"/>
              </p:custDataLst>
            </p:nvPr>
          </p:nvSpPr>
          <p:spPr>
            <a:xfrm>
              <a:off x="15143422" y="12894507"/>
              <a:ext cx="469374" cy="257758"/>
            </a:xfrm>
            <a:custGeom>
              <a:avLst/>
              <a:gdLst>
                <a:gd name="connsiteX0" fmla="*/ 49864 w 49864"/>
                <a:gd name="connsiteY0" fmla="*/ 0 h 27383"/>
                <a:gd name="connsiteX1" fmla="*/ 47811 w 49864"/>
                <a:gd name="connsiteY1" fmla="*/ 1725 h 27383"/>
                <a:gd name="connsiteX2" fmla="*/ 36286 w 49864"/>
                <a:gd name="connsiteY2" fmla="*/ 9300 h 27383"/>
                <a:gd name="connsiteX3" fmla="*/ 35532 w 49864"/>
                <a:gd name="connsiteY3" fmla="*/ 11549 h 27383"/>
                <a:gd name="connsiteX4" fmla="*/ 36049 w 49864"/>
                <a:gd name="connsiteY4" fmla="*/ 13104 h 27383"/>
                <a:gd name="connsiteX5" fmla="*/ 37668 w 49864"/>
                <a:gd name="connsiteY5" fmla="*/ 14987 h 27383"/>
                <a:gd name="connsiteX6" fmla="*/ 38091 w 49864"/>
                <a:gd name="connsiteY6" fmla="*/ 15480 h 27383"/>
                <a:gd name="connsiteX7" fmla="*/ 38679 w 49864"/>
                <a:gd name="connsiteY7" fmla="*/ 16912 h 27383"/>
                <a:gd name="connsiteX8" fmla="*/ 36165 w 49864"/>
                <a:gd name="connsiteY8" fmla="*/ 17336 h 27383"/>
                <a:gd name="connsiteX9" fmla="*/ 33643 w 49864"/>
                <a:gd name="connsiteY9" fmla="*/ 17475 h 27383"/>
                <a:gd name="connsiteX10" fmla="*/ 32240 w 49864"/>
                <a:gd name="connsiteY10" fmla="*/ 17291 h 27383"/>
                <a:gd name="connsiteX11" fmla="*/ 30922 w 49864"/>
                <a:gd name="connsiteY11" fmla="*/ 17376 h 27383"/>
                <a:gd name="connsiteX12" fmla="*/ 26832 w 49864"/>
                <a:gd name="connsiteY12" fmla="*/ 21465 h 27383"/>
                <a:gd name="connsiteX13" fmla="*/ 24632 w 49864"/>
                <a:gd name="connsiteY13" fmla="*/ 22855 h 27383"/>
                <a:gd name="connsiteX14" fmla="*/ 22015 w 49864"/>
                <a:gd name="connsiteY14" fmla="*/ 23683 h 27383"/>
                <a:gd name="connsiteX15" fmla="*/ 19350 w 49864"/>
                <a:gd name="connsiteY15" fmla="*/ 24175 h 27383"/>
                <a:gd name="connsiteX16" fmla="*/ 18011 w 49864"/>
                <a:gd name="connsiteY16" fmla="*/ 24237 h 27383"/>
                <a:gd name="connsiteX17" fmla="*/ 16834 w 49864"/>
                <a:gd name="connsiteY17" fmla="*/ 24756 h 27383"/>
                <a:gd name="connsiteX18" fmla="*/ 16007 w 49864"/>
                <a:gd name="connsiteY18" fmla="*/ 25702 h 27383"/>
                <a:gd name="connsiteX19" fmla="*/ 15986 w 49864"/>
                <a:gd name="connsiteY19" fmla="*/ 26624 h 27383"/>
                <a:gd name="connsiteX20" fmla="*/ 15632 w 49864"/>
                <a:gd name="connsiteY20" fmla="*/ 27383 h 27383"/>
                <a:gd name="connsiteX21" fmla="*/ 14170 w 49864"/>
                <a:gd name="connsiteY21" fmla="*/ 27226 h 27383"/>
                <a:gd name="connsiteX22" fmla="*/ 13561 w 49864"/>
                <a:gd name="connsiteY22" fmla="*/ 25737 h 27383"/>
                <a:gd name="connsiteX23" fmla="*/ 12520 w 49864"/>
                <a:gd name="connsiteY23" fmla="*/ 25097 h 27383"/>
                <a:gd name="connsiteX24" fmla="*/ 9931 w 49864"/>
                <a:gd name="connsiteY24" fmla="*/ 25430 h 27383"/>
                <a:gd name="connsiteX25" fmla="*/ 8668 w 49864"/>
                <a:gd name="connsiteY25" fmla="*/ 25391 h 27383"/>
                <a:gd name="connsiteX26" fmla="*/ 4524 w 49864"/>
                <a:gd name="connsiteY26" fmla="*/ 23970 h 27383"/>
                <a:gd name="connsiteX27" fmla="*/ 3273 w 49864"/>
                <a:gd name="connsiteY27" fmla="*/ 23390 h 27383"/>
                <a:gd name="connsiteX28" fmla="*/ 2494 w 49864"/>
                <a:gd name="connsiteY28" fmla="*/ 22176 h 27383"/>
                <a:gd name="connsiteX29" fmla="*/ 358 w 49864"/>
                <a:gd name="connsiteY29" fmla="*/ 17790 h 27383"/>
                <a:gd name="connsiteX30" fmla="*/ 0 w 49864"/>
                <a:gd name="connsiteY30" fmla="*/ 14543 h 27383"/>
                <a:gd name="connsiteX31" fmla="*/ 1989 w 49864"/>
                <a:gd name="connsiteY31" fmla="*/ 15374 h 27383"/>
                <a:gd name="connsiteX32" fmla="*/ 3848 w 49864"/>
                <a:gd name="connsiteY32" fmla="*/ 14367 h 27383"/>
                <a:gd name="connsiteX33" fmla="*/ 5638 w 49864"/>
                <a:gd name="connsiteY33" fmla="*/ 12718 h 27383"/>
                <a:gd name="connsiteX34" fmla="*/ 7769 w 49864"/>
                <a:gd name="connsiteY34" fmla="*/ 12044 h 27383"/>
                <a:gd name="connsiteX35" fmla="*/ 9104 w 49864"/>
                <a:gd name="connsiteY35" fmla="*/ 12335 h 27383"/>
                <a:gd name="connsiteX36" fmla="*/ 10423 w 49864"/>
                <a:gd name="connsiteY36" fmla="*/ 12623 h 27383"/>
                <a:gd name="connsiteX37" fmla="*/ 12800 w 49864"/>
                <a:gd name="connsiteY37" fmla="*/ 12096 h 27383"/>
                <a:gd name="connsiteX38" fmla="*/ 13829 w 49864"/>
                <a:gd name="connsiteY38" fmla="*/ 9650 h 27383"/>
                <a:gd name="connsiteX39" fmla="*/ 14165 w 49864"/>
                <a:gd name="connsiteY39" fmla="*/ 6829 h 27383"/>
                <a:gd name="connsiteX40" fmla="*/ 18186 w 49864"/>
                <a:gd name="connsiteY40" fmla="*/ 7639 h 27383"/>
                <a:gd name="connsiteX41" fmla="*/ 22263 w 49864"/>
                <a:gd name="connsiteY41" fmla="*/ 8058 h 27383"/>
                <a:gd name="connsiteX42" fmla="*/ 25602 w 49864"/>
                <a:gd name="connsiteY42" fmla="*/ 8199 h 27383"/>
                <a:gd name="connsiteX43" fmla="*/ 28892 w 49864"/>
                <a:gd name="connsiteY43" fmla="*/ 7740 h 27383"/>
                <a:gd name="connsiteX44" fmla="*/ 38972 w 49864"/>
                <a:gd name="connsiteY44" fmla="*/ 4730 h 27383"/>
                <a:gd name="connsiteX45" fmla="*/ 41825 w 49864"/>
                <a:gd name="connsiteY45" fmla="*/ 2927 h 27383"/>
                <a:gd name="connsiteX46" fmla="*/ 43591 w 49864"/>
                <a:gd name="connsiteY46" fmla="*/ 2317 h 27383"/>
                <a:gd name="connsiteX47" fmla="*/ 46660 w 49864"/>
                <a:gd name="connsiteY47" fmla="*/ 825 h 27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49864" h="27383">
                  <a:moveTo>
                    <a:pt x="49864" y="0"/>
                  </a:moveTo>
                  <a:lnTo>
                    <a:pt x="47811" y="1725"/>
                  </a:lnTo>
                  <a:lnTo>
                    <a:pt x="36286" y="9300"/>
                  </a:lnTo>
                  <a:lnTo>
                    <a:pt x="35532" y="11549"/>
                  </a:lnTo>
                  <a:lnTo>
                    <a:pt x="36049" y="13104"/>
                  </a:lnTo>
                  <a:lnTo>
                    <a:pt x="37668" y="14987"/>
                  </a:lnTo>
                  <a:lnTo>
                    <a:pt x="38091" y="15480"/>
                  </a:lnTo>
                  <a:lnTo>
                    <a:pt x="38679" y="16912"/>
                  </a:lnTo>
                  <a:lnTo>
                    <a:pt x="36165" y="17336"/>
                  </a:lnTo>
                  <a:lnTo>
                    <a:pt x="33643" y="17475"/>
                  </a:lnTo>
                  <a:lnTo>
                    <a:pt x="32240" y="17291"/>
                  </a:lnTo>
                  <a:lnTo>
                    <a:pt x="30922" y="17376"/>
                  </a:lnTo>
                  <a:lnTo>
                    <a:pt x="26832" y="21465"/>
                  </a:lnTo>
                  <a:lnTo>
                    <a:pt x="24632" y="22855"/>
                  </a:lnTo>
                  <a:lnTo>
                    <a:pt x="22015" y="23683"/>
                  </a:lnTo>
                  <a:lnTo>
                    <a:pt x="19350" y="24175"/>
                  </a:lnTo>
                  <a:lnTo>
                    <a:pt x="18011" y="24237"/>
                  </a:lnTo>
                  <a:lnTo>
                    <a:pt x="16834" y="24756"/>
                  </a:lnTo>
                  <a:lnTo>
                    <a:pt x="16007" y="25702"/>
                  </a:lnTo>
                  <a:lnTo>
                    <a:pt x="15986" y="26624"/>
                  </a:lnTo>
                  <a:lnTo>
                    <a:pt x="15632" y="27383"/>
                  </a:lnTo>
                  <a:lnTo>
                    <a:pt x="14170" y="27226"/>
                  </a:lnTo>
                  <a:lnTo>
                    <a:pt x="13561" y="25737"/>
                  </a:lnTo>
                  <a:lnTo>
                    <a:pt x="12520" y="25097"/>
                  </a:lnTo>
                  <a:lnTo>
                    <a:pt x="9931" y="25430"/>
                  </a:lnTo>
                  <a:lnTo>
                    <a:pt x="8668" y="25391"/>
                  </a:lnTo>
                  <a:lnTo>
                    <a:pt x="4524" y="23970"/>
                  </a:lnTo>
                  <a:lnTo>
                    <a:pt x="3273" y="23390"/>
                  </a:lnTo>
                  <a:lnTo>
                    <a:pt x="2494" y="22176"/>
                  </a:lnTo>
                  <a:lnTo>
                    <a:pt x="358" y="17790"/>
                  </a:lnTo>
                  <a:lnTo>
                    <a:pt x="0" y="14543"/>
                  </a:lnTo>
                  <a:lnTo>
                    <a:pt x="1989" y="15374"/>
                  </a:lnTo>
                  <a:lnTo>
                    <a:pt x="3848" y="14367"/>
                  </a:lnTo>
                  <a:lnTo>
                    <a:pt x="5638" y="12718"/>
                  </a:lnTo>
                  <a:lnTo>
                    <a:pt x="7769" y="12044"/>
                  </a:lnTo>
                  <a:lnTo>
                    <a:pt x="9104" y="12335"/>
                  </a:lnTo>
                  <a:lnTo>
                    <a:pt x="10423" y="12623"/>
                  </a:lnTo>
                  <a:lnTo>
                    <a:pt x="12800" y="12096"/>
                  </a:lnTo>
                  <a:lnTo>
                    <a:pt x="13829" y="9650"/>
                  </a:lnTo>
                  <a:lnTo>
                    <a:pt x="14165" y="6829"/>
                  </a:lnTo>
                  <a:lnTo>
                    <a:pt x="18186" y="7639"/>
                  </a:lnTo>
                  <a:lnTo>
                    <a:pt x="22263" y="8058"/>
                  </a:lnTo>
                  <a:lnTo>
                    <a:pt x="25602" y="8199"/>
                  </a:lnTo>
                  <a:lnTo>
                    <a:pt x="28892" y="7740"/>
                  </a:lnTo>
                  <a:lnTo>
                    <a:pt x="38972" y="4730"/>
                  </a:lnTo>
                  <a:lnTo>
                    <a:pt x="41825" y="2927"/>
                  </a:lnTo>
                  <a:lnTo>
                    <a:pt x="43591" y="2317"/>
                  </a:lnTo>
                  <a:lnTo>
                    <a:pt x="46660" y="825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ee4p_GE_1_37764">
              <a:extLst>
                <a:ext uri="{FF2B5EF4-FFF2-40B4-BE49-F238E27FC236}">
                  <a16:creationId xmlns:a16="http://schemas.microsoft.com/office/drawing/2014/main" id="{D73ADF43-8131-4C19-AD64-C80E8C6792F0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16741409" y="10958371"/>
              <a:ext cx="573805" cy="536670"/>
            </a:xfrm>
            <a:custGeom>
              <a:avLst/>
              <a:gdLst>
                <a:gd name="connsiteX0" fmla="*/ 3801 w 60958"/>
                <a:gd name="connsiteY0" fmla="*/ 0 h 57013"/>
                <a:gd name="connsiteX1" fmla="*/ 8048 w 60958"/>
                <a:gd name="connsiteY1" fmla="*/ 728 h 57013"/>
                <a:gd name="connsiteX2" fmla="*/ 11954 w 60958"/>
                <a:gd name="connsiteY2" fmla="*/ 1556 h 57013"/>
                <a:gd name="connsiteX3" fmla="*/ 14809 w 60958"/>
                <a:gd name="connsiteY3" fmla="*/ 967 h 57013"/>
                <a:gd name="connsiteX4" fmla="*/ 18206 w 60958"/>
                <a:gd name="connsiteY4" fmla="*/ 2420 h 57013"/>
                <a:gd name="connsiteX5" fmla="*/ 21309 w 60958"/>
                <a:gd name="connsiteY5" fmla="*/ 4085 h 57013"/>
                <a:gd name="connsiteX6" fmla="*/ 24429 w 60958"/>
                <a:gd name="connsiteY6" fmla="*/ 5258 h 57013"/>
                <a:gd name="connsiteX7" fmla="*/ 30512 w 60958"/>
                <a:gd name="connsiteY7" fmla="*/ 6362 h 57013"/>
                <a:gd name="connsiteX8" fmla="*/ 32780 w 60958"/>
                <a:gd name="connsiteY8" fmla="*/ 7896 h 57013"/>
                <a:gd name="connsiteX9" fmla="*/ 35429 w 60958"/>
                <a:gd name="connsiteY9" fmla="*/ 9429 h 57013"/>
                <a:gd name="connsiteX10" fmla="*/ 45809 w 60958"/>
                <a:gd name="connsiteY10" fmla="*/ 10211 h 57013"/>
                <a:gd name="connsiteX11" fmla="*/ 46645 w 60958"/>
                <a:gd name="connsiteY11" fmla="*/ 9970 h 57013"/>
                <a:gd name="connsiteX12" fmla="*/ 47407 w 60958"/>
                <a:gd name="connsiteY12" fmla="*/ 9749 h 57013"/>
                <a:gd name="connsiteX13" fmla="*/ 50888 w 60958"/>
                <a:gd name="connsiteY13" fmla="*/ 9192 h 57013"/>
                <a:gd name="connsiteX14" fmla="*/ 53970 w 60958"/>
                <a:gd name="connsiteY14" fmla="*/ 9296 h 57013"/>
                <a:gd name="connsiteX15" fmla="*/ 57220 w 60958"/>
                <a:gd name="connsiteY15" fmla="*/ 11151 h 57013"/>
                <a:gd name="connsiteX16" fmla="*/ 59303 w 60958"/>
                <a:gd name="connsiteY16" fmla="*/ 11044 h 57013"/>
                <a:gd name="connsiteX17" fmla="*/ 60958 w 60958"/>
                <a:gd name="connsiteY17" fmla="*/ 10835 h 57013"/>
                <a:gd name="connsiteX18" fmla="*/ 60958 w 60958"/>
                <a:gd name="connsiteY18" fmla="*/ 53093 h 57013"/>
                <a:gd name="connsiteX19" fmla="*/ 59793 w 60958"/>
                <a:gd name="connsiteY19" fmla="*/ 52960 h 57013"/>
                <a:gd name="connsiteX20" fmla="*/ 58122 w 60958"/>
                <a:gd name="connsiteY20" fmla="*/ 53143 h 57013"/>
                <a:gd name="connsiteX21" fmla="*/ 57759 w 60958"/>
                <a:gd name="connsiteY21" fmla="*/ 53358 h 57013"/>
                <a:gd name="connsiteX22" fmla="*/ 57250 w 60958"/>
                <a:gd name="connsiteY22" fmla="*/ 53660 h 57013"/>
                <a:gd name="connsiteX23" fmla="*/ 55935 w 60958"/>
                <a:gd name="connsiteY23" fmla="*/ 56017 h 57013"/>
                <a:gd name="connsiteX24" fmla="*/ 55017 w 60958"/>
                <a:gd name="connsiteY24" fmla="*/ 56816 h 57013"/>
                <a:gd name="connsiteX25" fmla="*/ 52760 w 60958"/>
                <a:gd name="connsiteY25" fmla="*/ 56442 h 57013"/>
                <a:gd name="connsiteX26" fmla="*/ 50895 w 60958"/>
                <a:gd name="connsiteY26" fmla="*/ 55887 h 57013"/>
                <a:gd name="connsiteX27" fmla="*/ 49372 w 60958"/>
                <a:gd name="connsiteY27" fmla="*/ 55577 h 57013"/>
                <a:gd name="connsiteX28" fmla="*/ 46423 w 60958"/>
                <a:gd name="connsiteY28" fmla="*/ 55383 h 57013"/>
                <a:gd name="connsiteX29" fmla="*/ 43063 w 60958"/>
                <a:gd name="connsiteY29" fmla="*/ 55341 h 57013"/>
                <a:gd name="connsiteX30" fmla="*/ 40802 w 60958"/>
                <a:gd name="connsiteY30" fmla="*/ 57013 h 57013"/>
                <a:gd name="connsiteX31" fmla="*/ 39826 w 60958"/>
                <a:gd name="connsiteY31" fmla="*/ 56798 h 57013"/>
                <a:gd name="connsiteX32" fmla="*/ 38109 w 60958"/>
                <a:gd name="connsiteY32" fmla="*/ 55977 h 57013"/>
                <a:gd name="connsiteX33" fmla="*/ 35341 w 60958"/>
                <a:gd name="connsiteY33" fmla="*/ 55298 h 57013"/>
                <a:gd name="connsiteX34" fmla="*/ 33870 w 60958"/>
                <a:gd name="connsiteY34" fmla="*/ 54765 h 57013"/>
                <a:gd name="connsiteX35" fmla="*/ 38109 w 60958"/>
                <a:gd name="connsiteY35" fmla="*/ 49793 h 57013"/>
                <a:gd name="connsiteX36" fmla="*/ 39370 w 60958"/>
                <a:gd name="connsiteY36" fmla="*/ 46834 h 57013"/>
                <a:gd name="connsiteX37" fmla="*/ 39413 w 60958"/>
                <a:gd name="connsiteY37" fmla="*/ 45038 h 57013"/>
                <a:gd name="connsiteX38" fmla="*/ 39463 w 60958"/>
                <a:gd name="connsiteY38" fmla="*/ 42779 h 57013"/>
                <a:gd name="connsiteX39" fmla="*/ 37258 w 60958"/>
                <a:gd name="connsiteY39" fmla="*/ 38082 h 57013"/>
                <a:gd name="connsiteX40" fmla="*/ 35367 w 60958"/>
                <a:gd name="connsiteY40" fmla="*/ 31402 h 57013"/>
                <a:gd name="connsiteX41" fmla="*/ 33399 w 60958"/>
                <a:gd name="connsiteY41" fmla="*/ 24426 h 57013"/>
                <a:gd name="connsiteX42" fmla="*/ 31866 w 60958"/>
                <a:gd name="connsiteY42" fmla="*/ 22333 h 57013"/>
                <a:gd name="connsiteX43" fmla="*/ 25438 w 60958"/>
                <a:gd name="connsiteY43" fmla="*/ 19913 h 57013"/>
                <a:gd name="connsiteX44" fmla="*/ 23954 w 60958"/>
                <a:gd name="connsiteY44" fmla="*/ 17163 h 57013"/>
                <a:gd name="connsiteX45" fmla="*/ 18979 w 60958"/>
                <a:gd name="connsiteY45" fmla="*/ 13609 h 57013"/>
                <a:gd name="connsiteX46" fmla="*/ 12067 w 60958"/>
                <a:gd name="connsiteY46" fmla="*/ 12065 h 57013"/>
                <a:gd name="connsiteX47" fmla="*/ 10698 w 60958"/>
                <a:gd name="connsiteY47" fmla="*/ 11403 h 57013"/>
                <a:gd name="connsiteX48" fmla="*/ 4694 w 60958"/>
                <a:gd name="connsiteY48" fmla="*/ 6926 h 57013"/>
                <a:gd name="connsiteX49" fmla="*/ 0 w 60958"/>
                <a:gd name="connsiteY49" fmla="*/ 4037 h 57013"/>
                <a:gd name="connsiteX50" fmla="*/ 1004 w 60958"/>
                <a:gd name="connsiteY50" fmla="*/ 2287 h 57013"/>
                <a:gd name="connsiteX51" fmla="*/ 2350 w 60958"/>
                <a:gd name="connsiteY51" fmla="*/ 448 h 57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60958" h="57013">
                  <a:moveTo>
                    <a:pt x="3801" y="0"/>
                  </a:moveTo>
                  <a:lnTo>
                    <a:pt x="8048" y="728"/>
                  </a:lnTo>
                  <a:lnTo>
                    <a:pt x="11954" y="1556"/>
                  </a:lnTo>
                  <a:lnTo>
                    <a:pt x="14809" y="967"/>
                  </a:lnTo>
                  <a:lnTo>
                    <a:pt x="18206" y="2420"/>
                  </a:lnTo>
                  <a:lnTo>
                    <a:pt x="21309" y="4085"/>
                  </a:lnTo>
                  <a:lnTo>
                    <a:pt x="24429" y="5258"/>
                  </a:lnTo>
                  <a:lnTo>
                    <a:pt x="30512" y="6362"/>
                  </a:lnTo>
                  <a:lnTo>
                    <a:pt x="32780" y="7896"/>
                  </a:lnTo>
                  <a:lnTo>
                    <a:pt x="35429" y="9429"/>
                  </a:lnTo>
                  <a:lnTo>
                    <a:pt x="45809" y="10211"/>
                  </a:lnTo>
                  <a:lnTo>
                    <a:pt x="46645" y="9970"/>
                  </a:lnTo>
                  <a:lnTo>
                    <a:pt x="47407" y="9749"/>
                  </a:lnTo>
                  <a:lnTo>
                    <a:pt x="50888" y="9192"/>
                  </a:lnTo>
                  <a:lnTo>
                    <a:pt x="53970" y="9296"/>
                  </a:lnTo>
                  <a:lnTo>
                    <a:pt x="57220" y="11151"/>
                  </a:lnTo>
                  <a:lnTo>
                    <a:pt x="59303" y="11044"/>
                  </a:lnTo>
                  <a:lnTo>
                    <a:pt x="60958" y="10835"/>
                  </a:lnTo>
                  <a:lnTo>
                    <a:pt x="60958" y="53093"/>
                  </a:lnTo>
                  <a:lnTo>
                    <a:pt x="59793" y="52960"/>
                  </a:lnTo>
                  <a:lnTo>
                    <a:pt x="58122" y="53143"/>
                  </a:lnTo>
                  <a:lnTo>
                    <a:pt x="57759" y="53358"/>
                  </a:lnTo>
                  <a:lnTo>
                    <a:pt x="57250" y="53660"/>
                  </a:lnTo>
                  <a:lnTo>
                    <a:pt x="55935" y="56017"/>
                  </a:lnTo>
                  <a:lnTo>
                    <a:pt x="55017" y="56816"/>
                  </a:lnTo>
                  <a:lnTo>
                    <a:pt x="52760" y="56442"/>
                  </a:lnTo>
                  <a:lnTo>
                    <a:pt x="50895" y="55887"/>
                  </a:lnTo>
                  <a:lnTo>
                    <a:pt x="49372" y="55577"/>
                  </a:lnTo>
                  <a:lnTo>
                    <a:pt x="46423" y="55383"/>
                  </a:lnTo>
                  <a:lnTo>
                    <a:pt x="43063" y="55341"/>
                  </a:lnTo>
                  <a:lnTo>
                    <a:pt x="40802" y="57013"/>
                  </a:lnTo>
                  <a:lnTo>
                    <a:pt x="39826" y="56798"/>
                  </a:lnTo>
                  <a:lnTo>
                    <a:pt x="38109" y="55977"/>
                  </a:lnTo>
                  <a:lnTo>
                    <a:pt x="35341" y="55298"/>
                  </a:lnTo>
                  <a:lnTo>
                    <a:pt x="33870" y="54765"/>
                  </a:lnTo>
                  <a:lnTo>
                    <a:pt x="38109" y="49793"/>
                  </a:lnTo>
                  <a:lnTo>
                    <a:pt x="39370" y="46834"/>
                  </a:lnTo>
                  <a:lnTo>
                    <a:pt x="39413" y="45038"/>
                  </a:lnTo>
                  <a:lnTo>
                    <a:pt x="39463" y="42779"/>
                  </a:lnTo>
                  <a:lnTo>
                    <a:pt x="37258" y="38082"/>
                  </a:lnTo>
                  <a:lnTo>
                    <a:pt x="35367" y="31402"/>
                  </a:lnTo>
                  <a:lnTo>
                    <a:pt x="33399" y="24426"/>
                  </a:lnTo>
                  <a:lnTo>
                    <a:pt x="31866" y="22333"/>
                  </a:lnTo>
                  <a:lnTo>
                    <a:pt x="25438" y="19913"/>
                  </a:lnTo>
                  <a:lnTo>
                    <a:pt x="23954" y="17163"/>
                  </a:lnTo>
                  <a:lnTo>
                    <a:pt x="18979" y="13609"/>
                  </a:lnTo>
                  <a:lnTo>
                    <a:pt x="12067" y="12065"/>
                  </a:lnTo>
                  <a:lnTo>
                    <a:pt x="10698" y="11403"/>
                  </a:lnTo>
                  <a:lnTo>
                    <a:pt x="4694" y="6926"/>
                  </a:lnTo>
                  <a:lnTo>
                    <a:pt x="0" y="4037"/>
                  </a:lnTo>
                  <a:lnTo>
                    <a:pt x="1004" y="2287"/>
                  </a:lnTo>
                  <a:lnTo>
                    <a:pt x="2350" y="448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ee4p_IQ_1_37764">
              <a:extLst>
                <a:ext uri="{FF2B5EF4-FFF2-40B4-BE49-F238E27FC236}">
                  <a16:creationId xmlns:a16="http://schemas.microsoft.com/office/drawing/2014/main" id="{3E280E74-48F4-4805-AC78-67906F709CCF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16969255" y="12490683"/>
              <a:ext cx="345969" cy="661582"/>
            </a:xfrm>
            <a:custGeom>
              <a:avLst/>
              <a:gdLst>
                <a:gd name="connsiteX0" fmla="*/ 36754 w 36754"/>
                <a:gd name="connsiteY0" fmla="*/ 0 h 70283"/>
                <a:gd name="connsiteX1" fmla="*/ 36754 w 36754"/>
                <a:gd name="connsiteY1" fmla="*/ 70283 h 70283"/>
                <a:gd name="connsiteX2" fmla="*/ 0 w 36754"/>
                <a:gd name="connsiteY2" fmla="*/ 70283 h 70283"/>
                <a:gd name="connsiteX3" fmla="*/ 577 w 36754"/>
                <a:gd name="connsiteY3" fmla="*/ 69218 h 70283"/>
                <a:gd name="connsiteX4" fmla="*/ 2693 w 36754"/>
                <a:gd name="connsiteY4" fmla="*/ 65303 h 70283"/>
                <a:gd name="connsiteX5" fmla="*/ 2793 w 36754"/>
                <a:gd name="connsiteY5" fmla="*/ 64394 h 70283"/>
                <a:gd name="connsiteX6" fmla="*/ 2801 w 36754"/>
                <a:gd name="connsiteY6" fmla="*/ 58836 h 70283"/>
                <a:gd name="connsiteX7" fmla="*/ 3173 w 36754"/>
                <a:gd name="connsiteY7" fmla="*/ 52298 h 70283"/>
                <a:gd name="connsiteX8" fmla="*/ 3879 w 36754"/>
                <a:gd name="connsiteY8" fmla="*/ 48799 h 70283"/>
                <a:gd name="connsiteX9" fmla="*/ 5095 w 36754"/>
                <a:gd name="connsiteY9" fmla="*/ 45704 h 70283"/>
                <a:gd name="connsiteX10" fmla="*/ 6218 w 36754"/>
                <a:gd name="connsiteY10" fmla="*/ 43445 h 70283"/>
                <a:gd name="connsiteX11" fmla="*/ 6334 w 36754"/>
                <a:gd name="connsiteY11" fmla="*/ 41327 h 70283"/>
                <a:gd name="connsiteX12" fmla="*/ 6185 w 36754"/>
                <a:gd name="connsiteY12" fmla="*/ 39177 h 70283"/>
                <a:gd name="connsiteX13" fmla="*/ 5025 w 36754"/>
                <a:gd name="connsiteY13" fmla="*/ 35925 h 70283"/>
                <a:gd name="connsiteX14" fmla="*/ 3818 w 36754"/>
                <a:gd name="connsiteY14" fmla="*/ 32532 h 70283"/>
                <a:gd name="connsiteX15" fmla="*/ 3954 w 36754"/>
                <a:gd name="connsiteY15" fmla="*/ 29257 h 70283"/>
                <a:gd name="connsiteX16" fmla="*/ 4177 w 36754"/>
                <a:gd name="connsiteY16" fmla="*/ 27503 h 70283"/>
                <a:gd name="connsiteX17" fmla="*/ 4933 w 36754"/>
                <a:gd name="connsiteY17" fmla="*/ 24697 h 70283"/>
                <a:gd name="connsiteX18" fmla="*/ 6219 w 36754"/>
                <a:gd name="connsiteY18" fmla="*/ 22645 h 70283"/>
                <a:gd name="connsiteX19" fmla="*/ 7604 w 36754"/>
                <a:gd name="connsiteY19" fmla="*/ 21373 h 70283"/>
                <a:gd name="connsiteX20" fmla="*/ 12765 w 36754"/>
                <a:gd name="connsiteY20" fmla="*/ 20061 h 70283"/>
                <a:gd name="connsiteX21" fmla="*/ 15825 w 36754"/>
                <a:gd name="connsiteY21" fmla="*/ 19281 h 70283"/>
                <a:gd name="connsiteX22" fmla="*/ 19925 w 36754"/>
                <a:gd name="connsiteY22" fmla="*/ 15638 h 70283"/>
                <a:gd name="connsiteX23" fmla="*/ 22357 w 36754"/>
                <a:gd name="connsiteY23" fmla="*/ 13474 h 70283"/>
                <a:gd name="connsiteX24" fmla="*/ 25747 w 36754"/>
                <a:gd name="connsiteY24" fmla="*/ 10042 h 70283"/>
                <a:gd name="connsiteX25" fmla="*/ 28241 w 36754"/>
                <a:gd name="connsiteY25" fmla="*/ 7512 h 70283"/>
                <a:gd name="connsiteX26" fmla="*/ 28440 w 36754"/>
                <a:gd name="connsiteY26" fmla="*/ 6636 h 70283"/>
                <a:gd name="connsiteX27" fmla="*/ 28438 w 36754"/>
                <a:gd name="connsiteY27" fmla="*/ 6290 h 70283"/>
                <a:gd name="connsiteX28" fmla="*/ 30580 w 36754"/>
                <a:gd name="connsiteY28" fmla="*/ 5778 h 70283"/>
                <a:gd name="connsiteX29" fmla="*/ 34551 w 36754"/>
                <a:gd name="connsiteY29" fmla="*/ 2708 h 70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6754" h="70283">
                  <a:moveTo>
                    <a:pt x="36754" y="0"/>
                  </a:moveTo>
                  <a:lnTo>
                    <a:pt x="36754" y="70283"/>
                  </a:lnTo>
                  <a:lnTo>
                    <a:pt x="0" y="70283"/>
                  </a:lnTo>
                  <a:lnTo>
                    <a:pt x="577" y="69218"/>
                  </a:lnTo>
                  <a:lnTo>
                    <a:pt x="2693" y="65303"/>
                  </a:lnTo>
                  <a:lnTo>
                    <a:pt x="2793" y="64394"/>
                  </a:lnTo>
                  <a:lnTo>
                    <a:pt x="2801" y="58836"/>
                  </a:lnTo>
                  <a:lnTo>
                    <a:pt x="3173" y="52298"/>
                  </a:lnTo>
                  <a:lnTo>
                    <a:pt x="3879" y="48799"/>
                  </a:lnTo>
                  <a:lnTo>
                    <a:pt x="5095" y="45704"/>
                  </a:lnTo>
                  <a:lnTo>
                    <a:pt x="6218" y="43445"/>
                  </a:lnTo>
                  <a:lnTo>
                    <a:pt x="6334" y="41327"/>
                  </a:lnTo>
                  <a:lnTo>
                    <a:pt x="6185" y="39177"/>
                  </a:lnTo>
                  <a:lnTo>
                    <a:pt x="5025" y="35925"/>
                  </a:lnTo>
                  <a:lnTo>
                    <a:pt x="3818" y="32532"/>
                  </a:lnTo>
                  <a:lnTo>
                    <a:pt x="3954" y="29257"/>
                  </a:lnTo>
                  <a:lnTo>
                    <a:pt x="4177" y="27503"/>
                  </a:lnTo>
                  <a:lnTo>
                    <a:pt x="4933" y="24697"/>
                  </a:lnTo>
                  <a:lnTo>
                    <a:pt x="6219" y="22645"/>
                  </a:lnTo>
                  <a:lnTo>
                    <a:pt x="7604" y="21373"/>
                  </a:lnTo>
                  <a:lnTo>
                    <a:pt x="12765" y="20061"/>
                  </a:lnTo>
                  <a:lnTo>
                    <a:pt x="15825" y="19281"/>
                  </a:lnTo>
                  <a:lnTo>
                    <a:pt x="19925" y="15638"/>
                  </a:lnTo>
                  <a:lnTo>
                    <a:pt x="22357" y="13474"/>
                  </a:lnTo>
                  <a:lnTo>
                    <a:pt x="25747" y="10042"/>
                  </a:lnTo>
                  <a:lnTo>
                    <a:pt x="28241" y="7512"/>
                  </a:lnTo>
                  <a:lnTo>
                    <a:pt x="28440" y="6636"/>
                  </a:lnTo>
                  <a:lnTo>
                    <a:pt x="28438" y="6290"/>
                  </a:lnTo>
                  <a:lnTo>
                    <a:pt x="30580" y="5778"/>
                  </a:lnTo>
                  <a:lnTo>
                    <a:pt x="34551" y="2708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ee4p_SY_1_37764">
              <a:extLst>
                <a:ext uri="{FF2B5EF4-FFF2-40B4-BE49-F238E27FC236}">
                  <a16:creationId xmlns:a16="http://schemas.microsoft.com/office/drawing/2014/main" id="{A3A3B5DA-92EF-45EA-8247-F6E4E5C6F096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15864315" y="12504653"/>
              <a:ext cx="1372638" cy="647612"/>
            </a:xfrm>
            <a:custGeom>
              <a:avLst/>
              <a:gdLst>
                <a:gd name="connsiteX0" fmla="*/ 142365 w 145822"/>
                <a:gd name="connsiteY0" fmla="*/ 0 h 68799"/>
                <a:gd name="connsiteX1" fmla="*/ 143356 w 145822"/>
                <a:gd name="connsiteY1" fmla="*/ 384 h 68799"/>
                <a:gd name="connsiteX2" fmla="*/ 143820 w 145822"/>
                <a:gd name="connsiteY2" fmla="*/ 528 h 68799"/>
                <a:gd name="connsiteX3" fmla="*/ 144800 w 145822"/>
                <a:gd name="connsiteY3" fmla="*/ 1725 h 68799"/>
                <a:gd name="connsiteX4" fmla="*/ 145820 w 145822"/>
                <a:gd name="connsiteY4" fmla="*/ 4806 h 68799"/>
                <a:gd name="connsiteX5" fmla="*/ 145822 w 145822"/>
                <a:gd name="connsiteY5" fmla="*/ 5152 h 68799"/>
                <a:gd name="connsiteX6" fmla="*/ 145623 w 145822"/>
                <a:gd name="connsiteY6" fmla="*/ 6028 h 68799"/>
                <a:gd name="connsiteX7" fmla="*/ 143129 w 145822"/>
                <a:gd name="connsiteY7" fmla="*/ 8558 h 68799"/>
                <a:gd name="connsiteX8" fmla="*/ 139739 w 145822"/>
                <a:gd name="connsiteY8" fmla="*/ 11990 h 68799"/>
                <a:gd name="connsiteX9" fmla="*/ 137307 w 145822"/>
                <a:gd name="connsiteY9" fmla="*/ 14154 h 68799"/>
                <a:gd name="connsiteX10" fmla="*/ 133207 w 145822"/>
                <a:gd name="connsiteY10" fmla="*/ 17797 h 68799"/>
                <a:gd name="connsiteX11" fmla="*/ 130147 w 145822"/>
                <a:gd name="connsiteY11" fmla="*/ 18577 h 68799"/>
                <a:gd name="connsiteX12" fmla="*/ 124986 w 145822"/>
                <a:gd name="connsiteY12" fmla="*/ 19889 h 68799"/>
                <a:gd name="connsiteX13" fmla="*/ 123601 w 145822"/>
                <a:gd name="connsiteY13" fmla="*/ 21161 h 68799"/>
                <a:gd name="connsiteX14" fmla="*/ 122315 w 145822"/>
                <a:gd name="connsiteY14" fmla="*/ 23213 h 68799"/>
                <a:gd name="connsiteX15" fmla="*/ 121559 w 145822"/>
                <a:gd name="connsiteY15" fmla="*/ 26019 h 68799"/>
                <a:gd name="connsiteX16" fmla="*/ 121336 w 145822"/>
                <a:gd name="connsiteY16" fmla="*/ 27773 h 68799"/>
                <a:gd name="connsiteX17" fmla="*/ 121200 w 145822"/>
                <a:gd name="connsiteY17" fmla="*/ 31048 h 68799"/>
                <a:gd name="connsiteX18" fmla="*/ 122407 w 145822"/>
                <a:gd name="connsiteY18" fmla="*/ 34441 h 68799"/>
                <a:gd name="connsiteX19" fmla="*/ 123567 w 145822"/>
                <a:gd name="connsiteY19" fmla="*/ 37693 h 68799"/>
                <a:gd name="connsiteX20" fmla="*/ 123716 w 145822"/>
                <a:gd name="connsiteY20" fmla="*/ 39843 h 68799"/>
                <a:gd name="connsiteX21" fmla="*/ 123600 w 145822"/>
                <a:gd name="connsiteY21" fmla="*/ 41961 h 68799"/>
                <a:gd name="connsiteX22" fmla="*/ 122477 w 145822"/>
                <a:gd name="connsiteY22" fmla="*/ 44220 h 68799"/>
                <a:gd name="connsiteX23" fmla="*/ 121261 w 145822"/>
                <a:gd name="connsiteY23" fmla="*/ 47315 h 68799"/>
                <a:gd name="connsiteX24" fmla="*/ 120555 w 145822"/>
                <a:gd name="connsiteY24" fmla="*/ 50814 h 68799"/>
                <a:gd name="connsiteX25" fmla="*/ 120183 w 145822"/>
                <a:gd name="connsiteY25" fmla="*/ 57352 h 68799"/>
                <a:gd name="connsiteX26" fmla="*/ 120175 w 145822"/>
                <a:gd name="connsiteY26" fmla="*/ 62910 h 68799"/>
                <a:gd name="connsiteX27" fmla="*/ 120075 w 145822"/>
                <a:gd name="connsiteY27" fmla="*/ 63819 h 68799"/>
                <a:gd name="connsiteX28" fmla="*/ 117959 w 145822"/>
                <a:gd name="connsiteY28" fmla="*/ 67734 h 68799"/>
                <a:gd name="connsiteX29" fmla="*/ 117382 w 145822"/>
                <a:gd name="connsiteY29" fmla="*/ 68799 h 68799"/>
                <a:gd name="connsiteX30" fmla="*/ 13862 w 145822"/>
                <a:gd name="connsiteY30" fmla="*/ 68799 h 68799"/>
                <a:gd name="connsiteX31" fmla="*/ 14784 w 145822"/>
                <a:gd name="connsiteY31" fmla="*/ 67704 h 68799"/>
                <a:gd name="connsiteX32" fmla="*/ 13698 w 145822"/>
                <a:gd name="connsiteY32" fmla="*/ 66595 h 68799"/>
                <a:gd name="connsiteX33" fmla="*/ 11761 w 145822"/>
                <a:gd name="connsiteY33" fmla="*/ 66075 h 68799"/>
                <a:gd name="connsiteX34" fmla="*/ 11037 w 145822"/>
                <a:gd name="connsiteY34" fmla="*/ 67220 h 68799"/>
                <a:gd name="connsiteX35" fmla="*/ 8550 w 145822"/>
                <a:gd name="connsiteY35" fmla="*/ 67327 h 68799"/>
                <a:gd name="connsiteX36" fmla="*/ 4684 w 145822"/>
                <a:gd name="connsiteY36" fmla="*/ 67312 h 68799"/>
                <a:gd name="connsiteX37" fmla="*/ 2982 w 145822"/>
                <a:gd name="connsiteY37" fmla="*/ 61740 h 68799"/>
                <a:gd name="connsiteX38" fmla="*/ 2730 w 145822"/>
                <a:gd name="connsiteY38" fmla="*/ 59325 h 68799"/>
                <a:gd name="connsiteX39" fmla="*/ 2776 w 145822"/>
                <a:gd name="connsiteY39" fmla="*/ 56528 h 68799"/>
                <a:gd name="connsiteX40" fmla="*/ 3950 w 145822"/>
                <a:gd name="connsiteY40" fmla="*/ 52428 h 68799"/>
                <a:gd name="connsiteX41" fmla="*/ 3397 w 145822"/>
                <a:gd name="connsiteY41" fmla="*/ 50529 h 68799"/>
                <a:gd name="connsiteX42" fmla="*/ 3352 w 145822"/>
                <a:gd name="connsiteY42" fmla="*/ 49248 h 68799"/>
                <a:gd name="connsiteX43" fmla="*/ 3052 w 145822"/>
                <a:gd name="connsiteY43" fmla="*/ 47486 h 68799"/>
                <a:gd name="connsiteX44" fmla="*/ 0 w 145822"/>
                <a:gd name="connsiteY44" fmla="*/ 43693 h 68799"/>
                <a:gd name="connsiteX45" fmla="*/ 1663 w 145822"/>
                <a:gd name="connsiteY45" fmla="*/ 36703 h 68799"/>
                <a:gd name="connsiteX46" fmla="*/ 2836 w 145822"/>
                <a:gd name="connsiteY46" fmla="*/ 35006 h 68799"/>
                <a:gd name="connsiteX47" fmla="*/ 4492 w 145822"/>
                <a:gd name="connsiteY47" fmla="*/ 35170 h 68799"/>
                <a:gd name="connsiteX48" fmla="*/ 8025 w 145822"/>
                <a:gd name="connsiteY48" fmla="*/ 37151 h 68799"/>
                <a:gd name="connsiteX49" fmla="*/ 8606 w 145822"/>
                <a:gd name="connsiteY49" fmla="*/ 37090 h 68799"/>
                <a:gd name="connsiteX50" fmla="*/ 9675 w 145822"/>
                <a:gd name="connsiteY50" fmla="*/ 34476 h 68799"/>
                <a:gd name="connsiteX51" fmla="*/ 10711 w 145822"/>
                <a:gd name="connsiteY51" fmla="*/ 33589 h 68799"/>
                <a:gd name="connsiteX52" fmla="*/ 12894 w 145822"/>
                <a:gd name="connsiteY52" fmla="*/ 32812 h 68799"/>
                <a:gd name="connsiteX53" fmla="*/ 13510 w 145822"/>
                <a:gd name="connsiteY53" fmla="*/ 28577 h 68799"/>
                <a:gd name="connsiteX54" fmla="*/ 14529 w 145822"/>
                <a:gd name="connsiteY54" fmla="*/ 27763 h 68799"/>
                <a:gd name="connsiteX55" fmla="*/ 15758 w 145822"/>
                <a:gd name="connsiteY55" fmla="*/ 27327 h 68799"/>
                <a:gd name="connsiteX56" fmla="*/ 17645 w 145822"/>
                <a:gd name="connsiteY56" fmla="*/ 27245 h 68799"/>
                <a:gd name="connsiteX57" fmla="*/ 19288 w 145822"/>
                <a:gd name="connsiteY57" fmla="*/ 26991 h 68799"/>
                <a:gd name="connsiteX58" fmla="*/ 19392 w 145822"/>
                <a:gd name="connsiteY58" fmla="*/ 26244 h 68799"/>
                <a:gd name="connsiteX59" fmla="*/ 17094 w 145822"/>
                <a:gd name="connsiteY59" fmla="*/ 21338 h 68799"/>
                <a:gd name="connsiteX60" fmla="*/ 17297 w 145822"/>
                <a:gd name="connsiteY60" fmla="*/ 20099 h 68799"/>
                <a:gd name="connsiteX61" fmla="*/ 18407 w 145822"/>
                <a:gd name="connsiteY61" fmla="*/ 15155 h 68799"/>
                <a:gd name="connsiteX62" fmla="*/ 19105 w 145822"/>
                <a:gd name="connsiteY62" fmla="*/ 13218 h 68799"/>
                <a:gd name="connsiteX63" fmla="*/ 19772 w 145822"/>
                <a:gd name="connsiteY63" fmla="*/ 12587 h 68799"/>
                <a:gd name="connsiteX64" fmla="*/ 22381 w 145822"/>
                <a:gd name="connsiteY64" fmla="*/ 12837 h 68799"/>
                <a:gd name="connsiteX65" fmla="*/ 26034 w 145822"/>
                <a:gd name="connsiteY65" fmla="*/ 13707 h 68799"/>
                <a:gd name="connsiteX66" fmla="*/ 26997 w 145822"/>
                <a:gd name="connsiteY66" fmla="*/ 15129 h 68799"/>
                <a:gd name="connsiteX67" fmla="*/ 28785 w 145822"/>
                <a:gd name="connsiteY67" fmla="*/ 16391 h 68799"/>
                <a:gd name="connsiteX68" fmla="*/ 31465 w 145822"/>
                <a:gd name="connsiteY68" fmla="*/ 16308 h 68799"/>
                <a:gd name="connsiteX69" fmla="*/ 34553 w 145822"/>
                <a:gd name="connsiteY69" fmla="*/ 16544 h 68799"/>
                <a:gd name="connsiteX70" fmla="*/ 36969 w 145822"/>
                <a:gd name="connsiteY70" fmla="*/ 16627 h 68799"/>
                <a:gd name="connsiteX71" fmla="*/ 38898 w 145822"/>
                <a:gd name="connsiteY71" fmla="*/ 15739 h 68799"/>
                <a:gd name="connsiteX72" fmla="*/ 43249 w 145822"/>
                <a:gd name="connsiteY72" fmla="*/ 14081 h 68799"/>
                <a:gd name="connsiteX73" fmla="*/ 45408 w 145822"/>
                <a:gd name="connsiteY73" fmla="*/ 13525 h 68799"/>
                <a:gd name="connsiteX74" fmla="*/ 47369 w 145822"/>
                <a:gd name="connsiteY74" fmla="*/ 12788 h 68799"/>
                <a:gd name="connsiteX75" fmla="*/ 53672 w 145822"/>
                <a:gd name="connsiteY75" fmla="*/ 10071 h 68799"/>
                <a:gd name="connsiteX76" fmla="*/ 56196 w 145822"/>
                <a:gd name="connsiteY76" fmla="*/ 10280 h 68799"/>
                <a:gd name="connsiteX77" fmla="*/ 57924 w 145822"/>
                <a:gd name="connsiteY77" fmla="*/ 10638 h 68799"/>
                <a:gd name="connsiteX78" fmla="*/ 59245 w 145822"/>
                <a:gd name="connsiteY78" fmla="*/ 11070 h 68799"/>
                <a:gd name="connsiteX79" fmla="*/ 62215 w 145822"/>
                <a:gd name="connsiteY79" fmla="*/ 12928 h 68799"/>
                <a:gd name="connsiteX80" fmla="*/ 64666 w 145822"/>
                <a:gd name="connsiteY80" fmla="*/ 14806 h 68799"/>
                <a:gd name="connsiteX81" fmla="*/ 66384 w 145822"/>
                <a:gd name="connsiteY81" fmla="*/ 15364 h 68799"/>
                <a:gd name="connsiteX82" fmla="*/ 69476 w 145822"/>
                <a:gd name="connsiteY82" fmla="*/ 15324 h 68799"/>
                <a:gd name="connsiteX83" fmla="*/ 73942 w 145822"/>
                <a:gd name="connsiteY83" fmla="*/ 15682 h 68799"/>
                <a:gd name="connsiteX84" fmla="*/ 79431 w 145822"/>
                <a:gd name="connsiteY84" fmla="*/ 15656 h 68799"/>
                <a:gd name="connsiteX85" fmla="*/ 82634 w 145822"/>
                <a:gd name="connsiteY85" fmla="*/ 15132 h 68799"/>
                <a:gd name="connsiteX86" fmla="*/ 86726 w 145822"/>
                <a:gd name="connsiteY86" fmla="*/ 14209 h 68799"/>
                <a:gd name="connsiteX87" fmla="*/ 94020 w 145822"/>
                <a:gd name="connsiteY87" fmla="*/ 11989 h 68799"/>
                <a:gd name="connsiteX88" fmla="*/ 103616 w 145822"/>
                <a:gd name="connsiteY88" fmla="*/ 7343 h 68799"/>
                <a:gd name="connsiteX89" fmla="*/ 109261 w 145822"/>
                <a:gd name="connsiteY89" fmla="*/ 5083 h 68799"/>
                <a:gd name="connsiteX90" fmla="*/ 111693 w 145822"/>
                <a:gd name="connsiteY90" fmla="*/ 4818 h 68799"/>
                <a:gd name="connsiteX91" fmla="*/ 114861 w 145822"/>
                <a:gd name="connsiteY91" fmla="*/ 4792 h 68799"/>
                <a:gd name="connsiteX92" fmla="*/ 118028 w 145822"/>
                <a:gd name="connsiteY92" fmla="*/ 5384 h 68799"/>
                <a:gd name="connsiteX93" fmla="*/ 121621 w 145822"/>
                <a:gd name="connsiteY93" fmla="*/ 5805 h 68799"/>
                <a:gd name="connsiteX94" fmla="*/ 123278 w 145822"/>
                <a:gd name="connsiteY94" fmla="*/ 5768 h 68799"/>
                <a:gd name="connsiteX95" fmla="*/ 127169 w 145822"/>
                <a:gd name="connsiteY95" fmla="*/ 5301 h 68799"/>
                <a:gd name="connsiteX96" fmla="*/ 132211 w 145822"/>
                <a:gd name="connsiteY96" fmla="*/ 4360 h 68799"/>
                <a:gd name="connsiteX97" fmla="*/ 135379 w 145822"/>
                <a:gd name="connsiteY97" fmla="*/ 3589 h 68799"/>
                <a:gd name="connsiteX98" fmla="*/ 139205 w 145822"/>
                <a:gd name="connsiteY98" fmla="*/ 2325 h 68799"/>
                <a:gd name="connsiteX99" fmla="*/ 141594 w 145822"/>
                <a:gd name="connsiteY99" fmla="*/ 221 h 68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145822" h="68799">
                  <a:moveTo>
                    <a:pt x="142365" y="0"/>
                  </a:moveTo>
                  <a:lnTo>
                    <a:pt x="143356" y="384"/>
                  </a:lnTo>
                  <a:lnTo>
                    <a:pt x="143820" y="528"/>
                  </a:lnTo>
                  <a:lnTo>
                    <a:pt x="144800" y="1725"/>
                  </a:lnTo>
                  <a:lnTo>
                    <a:pt x="145820" y="4806"/>
                  </a:lnTo>
                  <a:lnTo>
                    <a:pt x="145822" y="5152"/>
                  </a:lnTo>
                  <a:lnTo>
                    <a:pt x="145623" y="6028"/>
                  </a:lnTo>
                  <a:lnTo>
                    <a:pt x="143129" y="8558"/>
                  </a:lnTo>
                  <a:lnTo>
                    <a:pt x="139739" y="11990"/>
                  </a:lnTo>
                  <a:lnTo>
                    <a:pt x="137307" y="14154"/>
                  </a:lnTo>
                  <a:lnTo>
                    <a:pt x="133207" y="17797"/>
                  </a:lnTo>
                  <a:lnTo>
                    <a:pt x="130147" y="18577"/>
                  </a:lnTo>
                  <a:lnTo>
                    <a:pt x="124986" y="19889"/>
                  </a:lnTo>
                  <a:lnTo>
                    <a:pt x="123601" y="21161"/>
                  </a:lnTo>
                  <a:lnTo>
                    <a:pt x="122315" y="23213"/>
                  </a:lnTo>
                  <a:lnTo>
                    <a:pt x="121559" y="26019"/>
                  </a:lnTo>
                  <a:lnTo>
                    <a:pt x="121336" y="27773"/>
                  </a:lnTo>
                  <a:lnTo>
                    <a:pt x="121200" y="31048"/>
                  </a:lnTo>
                  <a:lnTo>
                    <a:pt x="122407" y="34441"/>
                  </a:lnTo>
                  <a:lnTo>
                    <a:pt x="123567" y="37693"/>
                  </a:lnTo>
                  <a:lnTo>
                    <a:pt x="123716" y="39843"/>
                  </a:lnTo>
                  <a:lnTo>
                    <a:pt x="123600" y="41961"/>
                  </a:lnTo>
                  <a:lnTo>
                    <a:pt x="122477" y="44220"/>
                  </a:lnTo>
                  <a:lnTo>
                    <a:pt x="121261" y="47315"/>
                  </a:lnTo>
                  <a:lnTo>
                    <a:pt x="120555" y="50814"/>
                  </a:lnTo>
                  <a:lnTo>
                    <a:pt x="120183" y="57352"/>
                  </a:lnTo>
                  <a:lnTo>
                    <a:pt x="120175" y="62910"/>
                  </a:lnTo>
                  <a:lnTo>
                    <a:pt x="120075" y="63819"/>
                  </a:lnTo>
                  <a:lnTo>
                    <a:pt x="117959" y="67734"/>
                  </a:lnTo>
                  <a:lnTo>
                    <a:pt x="117382" y="68799"/>
                  </a:lnTo>
                  <a:lnTo>
                    <a:pt x="13862" y="68799"/>
                  </a:lnTo>
                  <a:lnTo>
                    <a:pt x="14784" y="67704"/>
                  </a:lnTo>
                  <a:lnTo>
                    <a:pt x="13698" y="66595"/>
                  </a:lnTo>
                  <a:lnTo>
                    <a:pt x="11761" y="66075"/>
                  </a:lnTo>
                  <a:lnTo>
                    <a:pt x="11037" y="67220"/>
                  </a:lnTo>
                  <a:lnTo>
                    <a:pt x="8550" y="67327"/>
                  </a:lnTo>
                  <a:lnTo>
                    <a:pt x="4684" y="67312"/>
                  </a:lnTo>
                  <a:lnTo>
                    <a:pt x="2982" y="61740"/>
                  </a:lnTo>
                  <a:lnTo>
                    <a:pt x="2730" y="59325"/>
                  </a:lnTo>
                  <a:lnTo>
                    <a:pt x="2776" y="56528"/>
                  </a:lnTo>
                  <a:lnTo>
                    <a:pt x="3950" y="52428"/>
                  </a:lnTo>
                  <a:lnTo>
                    <a:pt x="3397" y="50529"/>
                  </a:lnTo>
                  <a:lnTo>
                    <a:pt x="3352" y="49248"/>
                  </a:lnTo>
                  <a:lnTo>
                    <a:pt x="3052" y="47486"/>
                  </a:lnTo>
                  <a:lnTo>
                    <a:pt x="0" y="43693"/>
                  </a:lnTo>
                  <a:lnTo>
                    <a:pt x="1663" y="36703"/>
                  </a:lnTo>
                  <a:lnTo>
                    <a:pt x="2836" y="35006"/>
                  </a:lnTo>
                  <a:lnTo>
                    <a:pt x="4492" y="35170"/>
                  </a:lnTo>
                  <a:lnTo>
                    <a:pt x="8025" y="37151"/>
                  </a:lnTo>
                  <a:lnTo>
                    <a:pt x="8606" y="37090"/>
                  </a:lnTo>
                  <a:lnTo>
                    <a:pt x="9675" y="34476"/>
                  </a:lnTo>
                  <a:lnTo>
                    <a:pt x="10711" y="33589"/>
                  </a:lnTo>
                  <a:lnTo>
                    <a:pt x="12894" y="32812"/>
                  </a:lnTo>
                  <a:lnTo>
                    <a:pt x="13510" y="28577"/>
                  </a:lnTo>
                  <a:lnTo>
                    <a:pt x="14529" y="27763"/>
                  </a:lnTo>
                  <a:lnTo>
                    <a:pt x="15758" y="27327"/>
                  </a:lnTo>
                  <a:lnTo>
                    <a:pt x="17645" y="27245"/>
                  </a:lnTo>
                  <a:lnTo>
                    <a:pt x="19288" y="26991"/>
                  </a:lnTo>
                  <a:lnTo>
                    <a:pt x="19392" y="26244"/>
                  </a:lnTo>
                  <a:lnTo>
                    <a:pt x="17094" y="21338"/>
                  </a:lnTo>
                  <a:lnTo>
                    <a:pt x="17297" y="20099"/>
                  </a:lnTo>
                  <a:lnTo>
                    <a:pt x="18407" y="15155"/>
                  </a:lnTo>
                  <a:lnTo>
                    <a:pt x="19105" y="13218"/>
                  </a:lnTo>
                  <a:lnTo>
                    <a:pt x="19772" y="12587"/>
                  </a:lnTo>
                  <a:lnTo>
                    <a:pt x="22381" y="12837"/>
                  </a:lnTo>
                  <a:lnTo>
                    <a:pt x="26034" y="13707"/>
                  </a:lnTo>
                  <a:lnTo>
                    <a:pt x="26997" y="15129"/>
                  </a:lnTo>
                  <a:lnTo>
                    <a:pt x="28785" y="16391"/>
                  </a:lnTo>
                  <a:lnTo>
                    <a:pt x="31465" y="16308"/>
                  </a:lnTo>
                  <a:lnTo>
                    <a:pt x="34553" y="16544"/>
                  </a:lnTo>
                  <a:lnTo>
                    <a:pt x="36969" y="16627"/>
                  </a:lnTo>
                  <a:lnTo>
                    <a:pt x="38898" y="15739"/>
                  </a:lnTo>
                  <a:lnTo>
                    <a:pt x="43249" y="14081"/>
                  </a:lnTo>
                  <a:lnTo>
                    <a:pt x="45408" y="13525"/>
                  </a:lnTo>
                  <a:lnTo>
                    <a:pt x="47369" y="12788"/>
                  </a:lnTo>
                  <a:lnTo>
                    <a:pt x="53672" y="10071"/>
                  </a:lnTo>
                  <a:lnTo>
                    <a:pt x="56196" y="10280"/>
                  </a:lnTo>
                  <a:lnTo>
                    <a:pt x="57924" y="10638"/>
                  </a:lnTo>
                  <a:lnTo>
                    <a:pt x="59245" y="11070"/>
                  </a:lnTo>
                  <a:lnTo>
                    <a:pt x="62215" y="12928"/>
                  </a:lnTo>
                  <a:lnTo>
                    <a:pt x="64666" y="14806"/>
                  </a:lnTo>
                  <a:lnTo>
                    <a:pt x="66384" y="15364"/>
                  </a:lnTo>
                  <a:lnTo>
                    <a:pt x="69476" y="15324"/>
                  </a:lnTo>
                  <a:lnTo>
                    <a:pt x="73942" y="15682"/>
                  </a:lnTo>
                  <a:lnTo>
                    <a:pt x="79431" y="15656"/>
                  </a:lnTo>
                  <a:lnTo>
                    <a:pt x="82634" y="15132"/>
                  </a:lnTo>
                  <a:lnTo>
                    <a:pt x="86726" y="14209"/>
                  </a:lnTo>
                  <a:lnTo>
                    <a:pt x="94020" y="11989"/>
                  </a:lnTo>
                  <a:lnTo>
                    <a:pt x="103616" y="7343"/>
                  </a:lnTo>
                  <a:lnTo>
                    <a:pt x="109261" y="5083"/>
                  </a:lnTo>
                  <a:lnTo>
                    <a:pt x="111693" y="4818"/>
                  </a:lnTo>
                  <a:lnTo>
                    <a:pt x="114861" y="4792"/>
                  </a:lnTo>
                  <a:lnTo>
                    <a:pt x="118028" y="5384"/>
                  </a:lnTo>
                  <a:lnTo>
                    <a:pt x="121621" y="5805"/>
                  </a:lnTo>
                  <a:lnTo>
                    <a:pt x="123278" y="5768"/>
                  </a:lnTo>
                  <a:lnTo>
                    <a:pt x="127169" y="5301"/>
                  </a:lnTo>
                  <a:lnTo>
                    <a:pt x="132211" y="4360"/>
                  </a:lnTo>
                  <a:lnTo>
                    <a:pt x="135379" y="3589"/>
                  </a:lnTo>
                  <a:lnTo>
                    <a:pt x="139205" y="2325"/>
                  </a:lnTo>
                  <a:lnTo>
                    <a:pt x="141594" y="221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ee4p_TR_1_37764">
              <a:extLst>
                <a:ext uri="{FF2B5EF4-FFF2-40B4-BE49-F238E27FC236}">
                  <a16:creationId xmlns:a16="http://schemas.microsoft.com/office/drawing/2014/main" id="{80FCCE73-367E-4BDE-9EC7-D7FFF4370ACB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13763007" y="11330246"/>
              <a:ext cx="3552207" cy="1524104"/>
            </a:xfrm>
            <a:custGeom>
              <a:avLst/>
              <a:gdLst>
                <a:gd name="connsiteX0" fmla="*/ 5515 w 377368"/>
                <a:gd name="connsiteY0" fmla="*/ 48881 h 161913"/>
                <a:gd name="connsiteX1" fmla="*/ 6812 w 377368"/>
                <a:gd name="connsiteY1" fmla="*/ 50453 h 161913"/>
                <a:gd name="connsiteX2" fmla="*/ 6657 w 377368"/>
                <a:gd name="connsiteY2" fmla="*/ 51536 h 161913"/>
                <a:gd name="connsiteX3" fmla="*/ 1576 w 377368"/>
                <a:gd name="connsiteY3" fmla="*/ 52342 h 161913"/>
                <a:gd name="connsiteX4" fmla="*/ 0 w 377368"/>
                <a:gd name="connsiteY4" fmla="*/ 51547 h 161913"/>
                <a:gd name="connsiteX5" fmla="*/ 1591 w 377368"/>
                <a:gd name="connsiteY5" fmla="*/ 49970 h 161913"/>
                <a:gd name="connsiteX6" fmla="*/ 4552 w 377368"/>
                <a:gd name="connsiteY6" fmla="*/ 48993 h 161913"/>
                <a:gd name="connsiteX7" fmla="*/ 206472 w 377368"/>
                <a:gd name="connsiteY7" fmla="*/ 797 h 161913"/>
                <a:gd name="connsiteX8" fmla="*/ 209754 w 377368"/>
                <a:gd name="connsiteY8" fmla="*/ 1746 h 161913"/>
                <a:gd name="connsiteX9" fmla="*/ 209447 w 377368"/>
                <a:gd name="connsiteY9" fmla="*/ 2756 h 161913"/>
                <a:gd name="connsiteX10" fmla="*/ 208851 w 377368"/>
                <a:gd name="connsiteY10" fmla="*/ 3619 h 161913"/>
                <a:gd name="connsiteX11" fmla="*/ 209028 w 377368"/>
                <a:gd name="connsiteY11" fmla="*/ 5367 h 161913"/>
                <a:gd name="connsiteX12" fmla="*/ 210954 w 377368"/>
                <a:gd name="connsiteY12" fmla="*/ 7931 h 161913"/>
                <a:gd name="connsiteX13" fmla="*/ 212913 w 377368"/>
                <a:gd name="connsiteY13" fmla="*/ 9676 h 161913"/>
                <a:gd name="connsiteX14" fmla="*/ 218668 w 377368"/>
                <a:gd name="connsiteY14" fmla="*/ 12177 h 161913"/>
                <a:gd name="connsiteX15" fmla="*/ 226668 w 377368"/>
                <a:gd name="connsiteY15" fmla="*/ 10067 h 161913"/>
                <a:gd name="connsiteX16" fmla="*/ 227957 w 377368"/>
                <a:gd name="connsiteY16" fmla="*/ 10303 h 161913"/>
                <a:gd name="connsiteX17" fmla="*/ 229586 w 377368"/>
                <a:gd name="connsiteY17" fmla="*/ 10892 h 161913"/>
                <a:gd name="connsiteX18" fmla="*/ 232403 w 377368"/>
                <a:gd name="connsiteY18" fmla="*/ 17660 h 161913"/>
                <a:gd name="connsiteX19" fmla="*/ 234597 w 377368"/>
                <a:gd name="connsiteY19" fmla="*/ 20048 h 161913"/>
                <a:gd name="connsiteX20" fmla="*/ 237404 w 377368"/>
                <a:gd name="connsiteY20" fmla="*/ 21671 h 161913"/>
                <a:gd name="connsiteX21" fmla="*/ 239711 w 377368"/>
                <a:gd name="connsiteY21" fmla="*/ 21990 h 161913"/>
                <a:gd name="connsiteX22" fmla="*/ 241423 w 377368"/>
                <a:gd name="connsiteY22" fmla="*/ 20297 h 161913"/>
                <a:gd name="connsiteX23" fmla="*/ 242749 w 377368"/>
                <a:gd name="connsiteY23" fmla="*/ 19615 h 161913"/>
                <a:gd name="connsiteX24" fmla="*/ 245638 w 377368"/>
                <a:gd name="connsiteY24" fmla="*/ 19326 h 161913"/>
                <a:gd name="connsiteX25" fmla="*/ 250376 w 377368"/>
                <a:gd name="connsiteY25" fmla="*/ 21650 h 161913"/>
                <a:gd name="connsiteX26" fmla="*/ 252017 w 377368"/>
                <a:gd name="connsiteY26" fmla="*/ 24048 h 161913"/>
                <a:gd name="connsiteX27" fmla="*/ 260083 w 377368"/>
                <a:gd name="connsiteY27" fmla="*/ 25900 h 161913"/>
                <a:gd name="connsiteX28" fmla="*/ 267483 w 377368"/>
                <a:gd name="connsiteY28" fmla="*/ 26827 h 161913"/>
                <a:gd name="connsiteX29" fmla="*/ 270676 w 377368"/>
                <a:gd name="connsiteY29" fmla="*/ 28854 h 161913"/>
                <a:gd name="connsiteX30" fmla="*/ 281091 w 377368"/>
                <a:gd name="connsiteY30" fmla="*/ 30889 h 161913"/>
                <a:gd name="connsiteX31" fmla="*/ 284980 w 377368"/>
                <a:gd name="connsiteY31" fmla="*/ 30573 h 161913"/>
                <a:gd name="connsiteX32" fmla="*/ 291508 w 377368"/>
                <a:gd name="connsiteY32" fmla="*/ 28438 h 161913"/>
                <a:gd name="connsiteX33" fmla="*/ 304205 w 377368"/>
                <a:gd name="connsiteY33" fmla="*/ 26102 h 161913"/>
                <a:gd name="connsiteX34" fmla="*/ 312642 w 377368"/>
                <a:gd name="connsiteY34" fmla="*/ 29363 h 161913"/>
                <a:gd name="connsiteX35" fmla="*/ 314924 w 377368"/>
                <a:gd name="connsiteY35" fmla="*/ 29786 h 161913"/>
                <a:gd name="connsiteX36" fmla="*/ 316894 w 377368"/>
                <a:gd name="connsiteY36" fmla="*/ 29505 h 161913"/>
                <a:gd name="connsiteX37" fmla="*/ 319729 w 377368"/>
                <a:gd name="connsiteY37" fmla="*/ 30402 h 161913"/>
                <a:gd name="connsiteX38" fmla="*/ 322754 w 377368"/>
                <a:gd name="connsiteY38" fmla="*/ 29920 h 161913"/>
                <a:gd name="connsiteX39" fmla="*/ 332091 w 377368"/>
                <a:gd name="connsiteY39" fmla="*/ 26076 h 161913"/>
                <a:gd name="connsiteX40" fmla="*/ 335011 w 377368"/>
                <a:gd name="connsiteY40" fmla="*/ 23895 h 161913"/>
                <a:gd name="connsiteX41" fmla="*/ 338105 w 377368"/>
                <a:gd name="connsiteY41" fmla="*/ 23331 h 161913"/>
                <a:gd name="connsiteX42" fmla="*/ 340850 w 377368"/>
                <a:gd name="connsiteY42" fmla="*/ 22024 h 161913"/>
                <a:gd name="connsiteX43" fmla="*/ 348164 w 377368"/>
                <a:gd name="connsiteY43" fmla="*/ 17738 h 161913"/>
                <a:gd name="connsiteX44" fmla="*/ 350280 w 377368"/>
                <a:gd name="connsiteY44" fmla="*/ 15259 h 161913"/>
                <a:gd name="connsiteX45" fmla="*/ 351751 w 377368"/>
                <a:gd name="connsiteY45" fmla="*/ 15792 h 161913"/>
                <a:gd name="connsiteX46" fmla="*/ 354519 w 377368"/>
                <a:gd name="connsiteY46" fmla="*/ 16471 h 161913"/>
                <a:gd name="connsiteX47" fmla="*/ 356236 w 377368"/>
                <a:gd name="connsiteY47" fmla="*/ 17292 h 161913"/>
                <a:gd name="connsiteX48" fmla="*/ 357212 w 377368"/>
                <a:gd name="connsiteY48" fmla="*/ 17507 h 161913"/>
                <a:gd name="connsiteX49" fmla="*/ 359473 w 377368"/>
                <a:gd name="connsiteY49" fmla="*/ 15835 h 161913"/>
                <a:gd name="connsiteX50" fmla="*/ 362833 w 377368"/>
                <a:gd name="connsiteY50" fmla="*/ 15877 h 161913"/>
                <a:gd name="connsiteX51" fmla="*/ 365782 w 377368"/>
                <a:gd name="connsiteY51" fmla="*/ 16071 h 161913"/>
                <a:gd name="connsiteX52" fmla="*/ 367305 w 377368"/>
                <a:gd name="connsiteY52" fmla="*/ 16381 h 161913"/>
                <a:gd name="connsiteX53" fmla="*/ 369170 w 377368"/>
                <a:gd name="connsiteY53" fmla="*/ 16936 h 161913"/>
                <a:gd name="connsiteX54" fmla="*/ 371427 w 377368"/>
                <a:gd name="connsiteY54" fmla="*/ 17310 h 161913"/>
                <a:gd name="connsiteX55" fmla="*/ 372345 w 377368"/>
                <a:gd name="connsiteY55" fmla="*/ 16511 h 161913"/>
                <a:gd name="connsiteX56" fmla="*/ 373660 w 377368"/>
                <a:gd name="connsiteY56" fmla="*/ 14154 h 161913"/>
                <a:gd name="connsiteX57" fmla="*/ 374169 w 377368"/>
                <a:gd name="connsiteY57" fmla="*/ 13852 h 161913"/>
                <a:gd name="connsiteX58" fmla="*/ 374532 w 377368"/>
                <a:gd name="connsiteY58" fmla="*/ 13637 h 161913"/>
                <a:gd name="connsiteX59" fmla="*/ 376203 w 377368"/>
                <a:gd name="connsiteY59" fmla="*/ 13454 h 161913"/>
                <a:gd name="connsiteX60" fmla="*/ 377368 w 377368"/>
                <a:gd name="connsiteY60" fmla="*/ 13587 h 161913"/>
                <a:gd name="connsiteX61" fmla="*/ 377368 w 377368"/>
                <a:gd name="connsiteY61" fmla="*/ 123278 h 161913"/>
                <a:gd name="connsiteX62" fmla="*/ 375165 w 377368"/>
                <a:gd name="connsiteY62" fmla="*/ 125986 h 161913"/>
                <a:gd name="connsiteX63" fmla="*/ 371194 w 377368"/>
                <a:gd name="connsiteY63" fmla="*/ 129056 h 161913"/>
                <a:gd name="connsiteX64" fmla="*/ 369052 w 377368"/>
                <a:gd name="connsiteY64" fmla="*/ 129568 h 161913"/>
                <a:gd name="connsiteX65" fmla="*/ 368032 w 377368"/>
                <a:gd name="connsiteY65" fmla="*/ 126487 h 161913"/>
                <a:gd name="connsiteX66" fmla="*/ 367052 w 377368"/>
                <a:gd name="connsiteY66" fmla="*/ 125290 h 161913"/>
                <a:gd name="connsiteX67" fmla="*/ 366588 w 377368"/>
                <a:gd name="connsiteY67" fmla="*/ 125146 h 161913"/>
                <a:gd name="connsiteX68" fmla="*/ 365597 w 377368"/>
                <a:gd name="connsiteY68" fmla="*/ 124762 h 161913"/>
                <a:gd name="connsiteX69" fmla="*/ 364826 w 377368"/>
                <a:gd name="connsiteY69" fmla="*/ 124983 h 161913"/>
                <a:gd name="connsiteX70" fmla="*/ 362437 w 377368"/>
                <a:gd name="connsiteY70" fmla="*/ 127087 h 161913"/>
                <a:gd name="connsiteX71" fmla="*/ 358611 w 377368"/>
                <a:gd name="connsiteY71" fmla="*/ 128351 h 161913"/>
                <a:gd name="connsiteX72" fmla="*/ 355443 w 377368"/>
                <a:gd name="connsiteY72" fmla="*/ 129122 h 161913"/>
                <a:gd name="connsiteX73" fmla="*/ 350401 w 377368"/>
                <a:gd name="connsiteY73" fmla="*/ 130063 h 161913"/>
                <a:gd name="connsiteX74" fmla="*/ 346510 w 377368"/>
                <a:gd name="connsiteY74" fmla="*/ 130530 h 161913"/>
                <a:gd name="connsiteX75" fmla="*/ 344853 w 377368"/>
                <a:gd name="connsiteY75" fmla="*/ 130567 h 161913"/>
                <a:gd name="connsiteX76" fmla="*/ 341260 w 377368"/>
                <a:gd name="connsiteY76" fmla="*/ 130146 h 161913"/>
                <a:gd name="connsiteX77" fmla="*/ 338093 w 377368"/>
                <a:gd name="connsiteY77" fmla="*/ 129554 h 161913"/>
                <a:gd name="connsiteX78" fmla="*/ 334925 w 377368"/>
                <a:gd name="connsiteY78" fmla="*/ 129580 h 161913"/>
                <a:gd name="connsiteX79" fmla="*/ 332493 w 377368"/>
                <a:gd name="connsiteY79" fmla="*/ 129845 h 161913"/>
                <a:gd name="connsiteX80" fmla="*/ 326848 w 377368"/>
                <a:gd name="connsiteY80" fmla="*/ 132105 h 161913"/>
                <a:gd name="connsiteX81" fmla="*/ 317252 w 377368"/>
                <a:gd name="connsiteY81" fmla="*/ 136751 h 161913"/>
                <a:gd name="connsiteX82" fmla="*/ 309958 w 377368"/>
                <a:gd name="connsiteY82" fmla="*/ 138971 h 161913"/>
                <a:gd name="connsiteX83" fmla="*/ 305866 w 377368"/>
                <a:gd name="connsiteY83" fmla="*/ 139894 h 161913"/>
                <a:gd name="connsiteX84" fmla="*/ 302663 w 377368"/>
                <a:gd name="connsiteY84" fmla="*/ 140418 h 161913"/>
                <a:gd name="connsiteX85" fmla="*/ 297174 w 377368"/>
                <a:gd name="connsiteY85" fmla="*/ 140444 h 161913"/>
                <a:gd name="connsiteX86" fmla="*/ 292708 w 377368"/>
                <a:gd name="connsiteY86" fmla="*/ 140086 h 161913"/>
                <a:gd name="connsiteX87" fmla="*/ 289616 w 377368"/>
                <a:gd name="connsiteY87" fmla="*/ 140126 h 161913"/>
                <a:gd name="connsiteX88" fmla="*/ 287898 w 377368"/>
                <a:gd name="connsiteY88" fmla="*/ 139568 h 161913"/>
                <a:gd name="connsiteX89" fmla="*/ 285447 w 377368"/>
                <a:gd name="connsiteY89" fmla="*/ 137690 h 161913"/>
                <a:gd name="connsiteX90" fmla="*/ 282477 w 377368"/>
                <a:gd name="connsiteY90" fmla="*/ 135832 h 161913"/>
                <a:gd name="connsiteX91" fmla="*/ 281156 w 377368"/>
                <a:gd name="connsiteY91" fmla="*/ 135400 h 161913"/>
                <a:gd name="connsiteX92" fmla="*/ 279428 w 377368"/>
                <a:gd name="connsiteY92" fmla="*/ 135042 h 161913"/>
                <a:gd name="connsiteX93" fmla="*/ 276904 w 377368"/>
                <a:gd name="connsiteY93" fmla="*/ 134833 h 161913"/>
                <a:gd name="connsiteX94" fmla="*/ 270601 w 377368"/>
                <a:gd name="connsiteY94" fmla="*/ 137550 h 161913"/>
                <a:gd name="connsiteX95" fmla="*/ 268640 w 377368"/>
                <a:gd name="connsiteY95" fmla="*/ 138287 h 161913"/>
                <a:gd name="connsiteX96" fmla="*/ 266481 w 377368"/>
                <a:gd name="connsiteY96" fmla="*/ 138843 h 161913"/>
                <a:gd name="connsiteX97" fmla="*/ 262130 w 377368"/>
                <a:gd name="connsiteY97" fmla="*/ 140501 h 161913"/>
                <a:gd name="connsiteX98" fmla="*/ 260201 w 377368"/>
                <a:gd name="connsiteY98" fmla="*/ 141389 h 161913"/>
                <a:gd name="connsiteX99" fmla="*/ 257785 w 377368"/>
                <a:gd name="connsiteY99" fmla="*/ 141306 h 161913"/>
                <a:gd name="connsiteX100" fmla="*/ 254697 w 377368"/>
                <a:gd name="connsiteY100" fmla="*/ 141070 h 161913"/>
                <a:gd name="connsiteX101" fmla="*/ 252017 w 377368"/>
                <a:gd name="connsiteY101" fmla="*/ 141153 h 161913"/>
                <a:gd name="connsiteX102" fmla="*/ 250229 w 377368"/>
                <a:gd name="connsiteY102" fmla="*/ 139891 h 161913"/>
                <a:gd name="connsiteX103" fmla="*/ 249266 w 377368"/>
                <a:gd name="connsiteY103" fmla="*/ 138469 h 161913"/>
                <a:gd name="connsiteX104" fmla="*/ 245613 w 377368"/>
                <a:gd name="connsiteY104" fmla="*/ 137599 h 161913"/>
                <a:gd name="connsiteX105" fmla="*/ 243004 w 377368"/>
                <a:gd name="connsiteY105" fmla="*/ 137349 h 161913"/>
                <a:gd name="connsiteX106" fmla="*/ 242337 w 377368"/>
                <a:gd name="connsiteY106" fmla="*/ 137980 h 161913"/>
                <a:gd name="connsiteX107" fmla="*/ 241639 w 377368"/>
                <a:gd name="connsiteY107" fmla="*/ 139917 h 161913"/>
                <a:gd name="connsiteX108" fmla="*/ 240529 w 377368"/>
                <a:gd name="connsiteY108" fmla="*/ 144861 h 161913"/>
                <a:gd name="connsiteX109" fmla="*/ 240326 w 377368"/>
                <a:gd name="connsiteY109" fmla="*/ 146100 h 161913"/>
                <a:gd name="connsiteX110" fmla="*/ 242624 w 377368"/>
                <a:gd name="connsiteY110" fmla="*/ 151006 h 161913"/>
                <a:gd name="connsiteX111" fmla="*/ 242520 w 377368"/>
                <a:gd name="connsiteY111" fmla="*/ 151753 h 161913"/>
                <a:gd name="connsiteX112" fmla="*/ 240877 w 377368"/>
                <a:gd name="connsiteY112" fmla="*/ 152007 h 161913"/>
                <a:gd name="connsiteX113" fmla="*/ 238990 w 377368"/>
                <a:gd name="connsiteY113" fmla="*/ 152089 h 161913"/>
                <a:gd name="connsiteX114" fmla="*/ 237761 w 377368"/>
                <a:gd name="connsiteY114" fmla="*/ 152525 h 161913"/>
                <a:gd name="connsiteX115" fmla="*/ 236742 w 377368"/>
                <a:gd name="connsiteY115" fmla="*/ 153339 h 161913"/>
                <a:gd name="connsiteX116" fmla="*/ 236126 w 377368"/>
                <a:gd name="connsiteY116" fmla="*/ 157574 h 161913"/>
                <a:gd name="connsiteX117" fmla="*/ 233943 w 377368"/>
                <a:gd name="connsiteY117" fmla="*/ 158351 h 161913"/>
                <a:gd name="connsiteX118" fmla="*/ 232907 w 377368"/>
                <a:gd name="connsiteY118" fmla="*/ 159238 h 161913"/>
                <a:gd name="connsiteX119" fmla="*/ 231838 w 377368"/>
                <a:gd name="connsiteY119" fmla="*/ 161852 h 161913"/>
                <a:gd name="connsiteX120" fmla="*/ 231257 w 377368"/>
                <a:gd name="connsiteY120" fmla="*/ 161913 h 161913"/>
                <a:gd name="connsiteX121" fmla="*/ 227724 w 377368"/>
                <a:gd name="connsiteY121" fmla="*/ 159932 h 161913"/>
                <a:gd name="connsiteX122" fmla="*/ 226068 w 377368"/>
                <a:gd name="connsiteY122" fmla="*/ 159768 h 161913"/>
                <a:gd name="connsiteX123" fmla="*/ 227489 w 377368"/>
                <a:gd name="connsiteY123" fmla="*/ 157709 h 161913"/>
                <a:gd name="connsiteX124" fmla="*/ 225945 w 377368"/>
                <a:gd name="connsiteY124" fmla="*/ 153646 h 161913"/>
                <a:gd name="connsiteX125" fmla="*/ 224260 w 377368"/>
                <a:gd name="connsiteY125" fmla="*/ 149834 h 161913"/>
                <a:gd name="connsiteX126" fmla="*/ 225850 w 377368"/>
                <a:gd name="connsiteY126" fmla="*/ 147393 h 161913"/>
                <a:gd name="connsiteX127" fmla="*/ 229143 w 377368"/>
                <a:gd name="connsiteY127" fmla="*/ 144446 h 161913"/>
                <a:gd name="connsiteX128" fmla="*/ 232609 w 377368"/>
                <a:gd name="connsiteY128" fmla="*/ 140992 h 161913"/>
                <a:gd name="connsiteX129" fmla="*/ 232602 w 377368"/>
                <a:gd name="connsiteY129" fmla="*/ 138859 h 161913"/>
                <a:gd name="connsiteX130" fmla="*/ 232423 w 377368"/>
                <a:gd name="connsiteY130" fmla="*/ 137230 h 161913"/>
                <a:gd name="connsiteX131" fmla="*/ 231430 w 377368"/>
                <a:gd name="connsiteY131" fmla="*/ 136103 h 161913"/>
                <a:gd name="connsiteX132" fmla="*/ 229523 w 377368"/>
                <a:gd name="connsiteY132" fmla="*/ 134604 h 161913"/>
                <a:gd name="connsiteX133" fmla="*/ 226331 w 377368"/>
                <a:gd name="connsiteY133" fmla="*/ 136204 h 161913"/>
                <a:gd name="connsiteX134" fmla="*/ 224053 w 377368"/>
                <a:gd name="connsiteY134" fmla="*/ 137970 h 161913"/>
                <a:gd name="connsiteX135" fmla="*/ 222565 w 377368"/>
                <a:gd name="connsiteY135" fmla="*/ 138328 h 161913"/>
                <a:gd name="connsiteX136" fmla="*/ 220948 w 377368"/>
                <a:gd name="connsiteY136" fmla="*/ 139334 h 161913"/>
                <a:gd name="connsiteX137" fmla="*/ 220162 w 377368"/>
                <a:gd name="connsiteY137" fmla="*/ 141149 h 161913"/>
                <a:gd name="connsiteX138" fmla="*/ 218212 w 377368"/>
                <a:gd name="connsiteY138" fmla="*/ 142563 h 161913"/>
                <a:gd name="connsiteX139" fmla="*/ 215023 w 377368"/>
                <a:gd name="connsiteY139" fmla="*/ 143116 h 161913"/>
                <a:gd name="connsiteX140" fmla="*/ 210224 w 377368"/>
                <a:gd name="connsiteY140" fmla="*/ 141604 h 161913"/>
                <a:gd name="connsiteX141" fmla="*/ 205072 w 377368"/>
                <a:gd name="connsiteY141" fmla="*/ 139300 h 161913"/>
                <a:gd name="connsiteX142" fmla="*/ 202155 w 377368"/>
                <a:gd name="connsiteY142" fmla="*/ 137432 h 161913"/>
                <a:gd name="connsiteX143" fmla="*/ 199775 w 377368"/>
                <a:gd name="connsiteY143" fmla="*/ 136987 h 161913"/>
                <a:gd name="connsiteX144" fmla="*/ 197514 w 377368"/>
                <a:gd name="connsiteY144" fmla="*/ 137808 h 161913"/>
                <a:gd name="connsiteX145" fmla="*/ 190842 w 377368"/>
                <a:gd name="connsiteY145" fmla="*/ 142381 h 161913"/>
                <a:gd name="connsiteX146" fmla="*/ 184735 w 377368"/>
                <a:gd name="connsiteY146" fmla="*/ 149053 h 161913"/>
                <a:gd name="connsiteX147" fmla="*/ 183219 w 377368"/>
                <a:gd name="connsiteY147" fmla="*/ 150205 h 161913"/>
                <a:gd name="connsiteX148" fmla="*/ 177466 w 377368"/>
                <a:gd name="connsiteY148" fmla="*/ 153067 h 161913"/>
                <a:gd name="connsiteX149" fmla="*/ 173664 w 377368"/>
                <a:gd name="connsiteY149" fmla="*/ 154027 h 161913"/>
                <a:gd name="connsiteX150" fmla="*/ 171874 w 377368"/>
                <a:gd name="connsiteY150" fmla="*/ 153804 h 161913"/>
                <a:gd name="connsiteX151" fmla="*/ 164305 w 377368"/>
                <a:gd name="connsiteY151" fmla="*/ 155063 h 161913"/>
                <a:gd name="connsiteX152" fmla="*/ 160546 w 377368"/>
                <a:gd name="connsiteY152" fmla="*/ 155247 h 161913"/>
                <a:gd name="connsiteX153" fmla="*/ 157568 w 377368"/>
                <a:gd name="connsiteY153" fmla="*/ 156757 h 161913"/>
                <a:gd name="connsiteX154" fmla="*/ 151796 w 377368"/>
                <a:gd name="connsiteY154" fmla="*/ 155120 h 161913"/>
                <a:gd name="connsiteX155" fmla="*/ 148345 w 377368"/>
                <a:gd name="connsiteY155" fmla="*/ 153025 h 161913"/>
                <a:gd name="connsiteX156" fmla="*/ 146268 w 377368"/>
                <a:gd name="connsiteY156" fmla="*/ 150896 h 161913"/>
                <a:gd name="connsiteX157" fmla="*/ 142880 w 377368"/>
                <a:gd name="connsiteY157" fmla="*/ 146310 h 161913"/>
                <a:gd name="connsiteX158" fmla="*/ 140478 w 377368"/>
                <a:gd name="connsiteY158" fmla="*/ 144127 h 161913"/>
                <a:gd name="connsiteX159" fmla="*/ 135082 w 377368"/>
                <a:gd name="connsiteY159" fmla="*/ 142163 h 161913"/>
                <a:gd name="connsiteX160" fmla="*/ 125676 w 377368"/>
                <a:gd name="connsiteY160" fmla="*/ 137386 h 161913"/>
                <a:gd name="connsiteX161" fmla="*/ 123201 w 377368"/>
                <a:gd name="connsiteY161" fmla="*/ 136862 h 161913"/>
                <a:gd name="connsiteX162" fmla="*/ 116781 w 377368"/>
                <a:gd name="connsiteY162" fmla="*/ 136177 h 161913"/>
                <a:gd name="connsiteX163" fmla="*/ 110010 w 377368"/>
                <a:gd name="connsiteY163" fmla="*/ 135745 h 161913"/>
                <a:gd name="connsiteX164" fmla="*/ 108638 w 377368"/>
                <a:gd name="connsiteY164" fmla="*/ 137485 h 161913"/>
                <a:gd name="connsiteX165" fmla="*/ 108118 w 377368"/>
                <a:gd name="connsiteY165" fmla="*/ 144367 h 161913"/>
                <a:gd name="connsiteX166" fmla="*/ 106958 w 377368"/>
                <a:gd name="connsiteY166" fmla="*/ 146260 h 161913"/>
                <a:gd name="connsiteX167" fmla="*/ 106462 w 377368"/>
                <a:gd name="connsiteY167" fmla="*/ 149821 h 161913"/>
                <a:gd name="connsiteX168" fmla="*/ 105632 w 377368"/>
                <a:gd name="connsiteY168" fmla="*/ 150846 h 161913"/>
                <a:gd name="connsiteX169" fmla="*/ 104332 w 377368"/>
                <a:gd name="connsiteY169" fmla="*/ 151519 h 161913"/>
                <a:gd name="connsiteX170" fmla="*/ 102300 w 377368"/>
                <a:gd name="connsiteY170" fmla="*/ 150395 h 161913"/>
                <a:gd name="connsiteX171" fmla="*/ 100890 w 377368"/>
                <a:gd name="connsiteY171" fmla="*/ 149899 h 161913"/>
                <a:gd name="connsiteX172" fmla="*/ 97608 w 377368"/>
                <a:gd name="connsiteY172" fmla="*/ 151364 h 161913"/>
                <a:gd name="connsiteX173" fmla="*/ 91108 w 377368"/>
                <a:gd name="connsiteY173" fmla="*/ 153419 h 161913"/>
                <a:gd name="connsiteX174" fmla="*/ 88893 w 377368"/>
                <a:gd name="connsiteY174" fmla="*/ 153706 h 161913"/>
                <a:gd name="connsiteX175" fmla="*/ 81359 w 377368"/>
                <a:gd name="connsiteY175" fmla="*/ 151125 h 161913"/>
                <a:gd name="connsiteX176" fmla="*/ 78601 w 377368"/>
                <a:gd name="connsiteY176" fmla="*/ 149465 h 161913"/>
                <a:gd name="connsiteX177" fmla="*/ 76824 w 377368"/>
                <a:gd name="connsiteY177" fmla="*/ 147624 h 161913"/>
                <a:gd name="connsiteX178" fmla="*/ 76224 w 377368"/>
                <a:gd name="connsiteY178" fmla="*/ 144512 h 161913"/>
                <a:gd name="connsiteX179" fmla="*/ 75105 w 377368"/>
                <a:gd name="connsiteY179" fmla="*/ 142739 h 161913"/>
                <a:gd name="connsiteX180" fmla="*/ 74941 w 377368"/>
                <a:gd name="connsiteY180" fmla="*/ 141521 h 161913"/>
                <a:gd name="connsiteX181" fmla="*/ 74503 w 377368"/>
                <a:gd name="connsiteY181" fmla="*/ 140117 h 161913"/>
                <a:gd name="connsiteX182" fmla="*/ 72985 w 377368"/>
                <a:gd name="connsiteY182" fmla="*/ 139562 h 161913"/>
                <a:gd name="connsiteX183" fmla="*/ 71354 w 377368"/>
                <a:gd name="connsiteY183" fmla="*/ 140621 h 161913"/>
                <a:gd name="connsiteX184" fmla="*/ 69607 w 377368"/>
                <a:gd name="connsiteY184" fmla="*/ 140578 h 161913"/>
                <a:gd name="connsiteX185" fmla="*/ 67413 w 377368"/>
                <a:gd name="connsiteY185" fmla="*/ 139929 h 161913"/>
                <a:gd name="connsiteX186" fmla="*/ 62237 w 377368"/>
                <a:gd name="connsiteY186" fmla="*/ 137317 h 161913"/>
                <a:gd name="connsiteX187" fmla="*/ 58260 w 377368"/>
                <a:gd name="connsiteY187" fmla="*/ 137110 h 161913"/>
                <a:gd name="connsiteX188" fmla="*/ 55869 w 377368"/>
                <a:gd name="connsiteY188" fmla="*/ 140298 h 161913"/>
                <a:gd name="connsiteX189" fmla="*/ 54010 w 377368"/>
                <a:gd name="connsiteY189" fmla="*/ 141311 h 161913"/>
                <a:gd name="connsiteX190" fmla="*/ 51974 w 377368"/>
                <a:gd name="connsiteY190" fmla="*/ 141614 h 161913"/>
                <a:gd name="connsiteX191" fmla="*/ 51857 w 377368"/>
                <a:gd name="connsiteY191" fmla="*/ 140707 h 161913"/>
                <a:gd name="connsiteX192" fmla="*/ 53401 w 377368"/>
                <a:gd name="connsiteY192" fmla="*/ 138645 h 161913"/>
                <a:gd name="connsiteX193" fmla="*/ 47206 w 377368"/>
                <a:gd name="connsiteY193" fmla="*/ 139026 h 161913"/>
                <a:gd name="connsiteX194" fmla="*/ 43935 w 377368"/>
                <a:gd name="connsiteY194" fmla="*/ 140596 h 161913"/>
                <a:gd name="connsiteX195" fmla="*/ 41382 w 377368"/>
                <a:gd name="connsiteY195" fmla="*/ 140352 h 161913"/>
                <a:gd name="connsiteX196" fmla="*/ 39469 w 377368"/>
                <a:gd name="connsiteY196" fmla="*/ 139643 h 161913"/>
                <a:gd name="connsiteX197" fmla="*/ 39756 w 377368"/>
                <a:gd name="connsiteY197" fmla="*/ 138775 h 161913"/>
                <a:gd name="connsiteX198" fmla="*/ 41697 w 377368"/>
                <a:gd name="connsiteY198" fmla="*/ 138457 h 161913"/>
                <a:gd name="connsiteX199" fmla="*/ 43381 w 377368"/>
                <a:gd name="connsiteY199" fmla="*/ 137752 h 161913"/>
                <a:gd name="connsiteX200" fmla="*/ 50095 w 377368"/>
                <a:gd name="connsiteY200" fmla="*/ 137178 h 161913"/>
                <a:gd name="connsiteX201" fmla="*/ 51663 w 377368"/>
                <a:gd name="connsiteY201" fmla="*/ 136601 h 161913"/>
                <a:gd name="connsiteX202" fmla="*/ 53380 w 377368"/>
                <a:gd name="connsiteY202" fmla="*/ 134358 h 161913"/>
                <a:gd name="connsiteX203" fmla="*/ 56506 w 377368"/>
                <a:gd name="connsiteY203" fmla="*/ 132423 h 161913"/>
                <a:gd name="connsiteX204" fmla="*/ 56903 w 377368"/>
                <a:gd name="connsiteY204" fmla="*/ 131592 h 161913"/>
                <a:gd name="connsiteX205" fmla="*/ 54500 w 377368"/>
                <a:gd name="connsiteY205" fmla="*/ 131581 h 161913"/>
                <a:gd name="connsiteX206" fmla="*/ 44211 w 377368"/>
                <a:gd name="connsiteY206" fmla="*/ 132143 h 161913"/>
                <a:gd name="connsiteX207" fmla="*/ 37147 w 377368"/>
                <a:gd name="connsiteY207" fmla="*/ 131833 h 161913"/>
                <a:gd name="connsiteX208" fmla="*/ 36310 w 377368"/>
                <a:gd name="connsiteY208" fmla="*/ 132792 h 161913"/>
                <a:gd name="connsiteX209" fmla="*/ 35247 w 377368"/>
                <a:gd name="connsiteY209" fmla="*/ 132927 h 161913"/>
                <a:gd name="connsiteX210" fmla="*/ 34954 w 377368"/>
                <a:gd name="connsiteY210" fmla="*/ 130317 h 161913"/>
                <a:gd name="connsiteX211" fmla="*/ 36070 w 377368"/>
                <a:gd name="connsiteY211" fmla="*/ 129104 h 161913"/>
                <a:gd name="connsiteX212" fmla="*/ 37573 w 377368"/>
                <a:gd name="connsiteY212" fmla="*/ 129216 h 161913"/>
                <a:gd name="connsiteX213" fmla="*/ 41263 w 377368"/>
                <a:gd name="connsiteY213" fmla="*/ 128161 h 161913"/>
                <a:gd name="connsiteX214" fmla="*/ 40933 w 377368"/>
                <a:gd name="connsiteY214" fmla="*/ 125989 h 161913"/>
                <a:gd name="connsiteX215" fmla="*/ 38290 w 377368"/>
                <a:gd name="connsiteY215" fmla="*/ 124521 h 161913"/>
                <a:gd name="connsiteX216" fmla="*/ 37752 w 377368"/>
                <a:gd name="connsiteY216" fmla="*/ 123655 h 161913"/>
                <a:gd name="connsiteX217" fmla="*/ 35835 w 377368"/>
                <a:gd name="connsiteY217" fmla="*/ 123452 h 161913"/>
                <a:gd name="connsiteX218" fmla="*/ 34280 w 377368"/>
                <a:gd name="connsiteY218" fmla="*/ 122419 h 161913"/>
                <a:gd name="connsiteX219" fmla="*/ 33941 w 377368"/>
                <a:gd name="connsiteY219" fmla="*/ 119810 h 161913"/>
                <a:gd name="connsiteX220" fmla="*/ 32703 w 377368"/>
                <a:gd name="connsiteY220" fmla="*/ 116943 h 161913"/>
                <a:gd name="connsiteX221" fmla="*/ 30935 w 377368"/>
                <a:gd name="connsiteY221" fmla="*/ 115556 h 161913"/>
                <a:gd name="connsiteX222" fmla="*/ 31153 w 377368"/>
                <a:gd name="connsiteY222" fmla="*/ 114794 h 161913"/>
                <a:gd name="connsiteX223" fmla="*/ 34394 w 377368"/>
                <a:gd name="connsiteY223" fmla="*/ 113829 h 161913"/>
                <a:gd name="connsiteX224" fmla="*/ 35066 w 377368"/>
                <a:gd name="connsiteY224" fmla="*/ 109813 h 161913"/>
                <a:gd name="connsiteX225" fmla="*/ 34571 w 377368"/>
                <a:gd name="connsiteY225" fmla="*/ 107345 h 161913"/>
                <a:gd name="connsiteX226" fmla="*/ 32941 w 377368"/>
                <a:gd name="connsiteY226" fmla="*/ 107135 h 161913"/>
                <a:gd name="connsiteX227" fmla="*/ 28191 w 377368"/>
                <a:gd name="connsiteY227" fmla="*/ 105185 h 161913"/>
                <a:gd name="connsiteX228" fmla="*/ 26748 w 377368"/>
                <a:gd name="connsiteY228" fmla="*/ 105393 h 161913"/>
                <a:gd name="connsiteX229" fmla="*/ 25174 w 377368"/>
                <a:gd name="connsiteY229" fmla="*/ 103250 h 161913"/>
                <a:gd name="connsiteX230" fmla="*/ 22418 w 377368"/>
                <a:gd name="connsiteY230" fmla="*/ 101709 h 161913"/>
                <a:gd name="connsiteX231" fmla="*/ 21054 w 377368"/>
                <a:gd name="connsiteY231" fmla="*/ 102273 h 161913"/>
                <a:gd name="connsiteX232" fmla="*/ 20198 w 377368"/>
                <a:gd name="connsiteY232" fmla="*/ 102969 h 161913"/>
                <a:gd name="connsiteX233" fmla="*/ 18922 w 377368"/>
                <a:gd name="connsiteY233" fmla="*/ 102635 h 161913"/>
                <a:gd name="connsiteX234" fmla="*/ 16782 w 377368"/>
                <a:gd name="connsiteY234" fmla="*/ 101298 h 161913"/>
                <a:gd name="connsiteX235" fmla="*/ 14681 w 377368"/>
                <a:gd name="connsiteY235" fmla="*/ 100575 h 161913"/>
                <a:gd name="connsiteX236" fmla="*/ 13748 w 377368"/>
                <a:gd name="connsiteY236" fmla="*/ 99683 h 161913"/>
                <a:gd name="connsiteX237" fmla="*/ 14919 w 377368"/>
                <a:gd name="connsiteY237" fmla="*/ 97296 h 161913"/>
                <a:gd name="connsiteX238" fmla="*/ 16528 w 377368"/>
                <a:gd name="connsiteY238" fmla="*/ 97353 h 161913"/>
                <a:gd name="connsiteX239" fmla="*/ 16821 w 377368"/>
                <a:gd name="connsiteY239" fmla="*/ 95481 h 161913"/>
                <a:gd name="connsiteX240" fmla="*/ 15551 w 377368"/>
                <a:gd name="connsiteY240" fmla="*/ 92359 h 161913"/>
                <a:gd name="connsiteX241" fmla="*/ 15675 w 377368"/>
                <a:gd name="connsiteY241" fmla="*/ 90755 h 161913"/>
                <a:gd name="connsiteX242" fmla="*/ 17078 w 377368"/>
                <a:gd name="connsiteY242" fmla="*/ 90316 h 161913"/>
                <a:gd name="connsiteX243" fmla="*/ 18676 w 377368"/>
                <a:gd name="connsiteY243" fmla="*/ 90618 h 161913"/>
                <a:gd name="connsiteX244" fmla="*/ 20289 w 377368"/>
                <a:gd name="connsiteY244" fmla="*/ 92485 h 161913"/>
                <a:gd name="connsiteX245" fmla="*/ 20816 w 377368"/>
                <a:gd name="connsiteY245" fmla="*/ 94290 h 161913"/>
                <a:gd name="connsiteX246" fmla="*/ 20477 w 377368"/>
                <a:gd name="connsiteY246" fmla="*/ 96048 h 161913"/>
                <a:gd name="connsiteX247" fmla="*/ 21501 w 377368"/>
                <a:gd name="connsiteY247" fmla="*/ 97749 h 161913"/>
                <a:gd name="connsiteX248" fmla="*/ 22228 w 377368"/>
                <a:gd name="connsiteY248" fmla="*/ 98179 h 161913"/>
                <a:gd name="connsiteX249" fmla="*/ 22718 w 377368"/>
                <a:gd name="connsiteY249" fmla="*/ 96388 h 161913"/>
                <a:gd name="connsiteX250" fmla="*/ 23403 w 377368"/>
                <a:gd name="connsiteY250" fmla="*/ 96048 h 161913"/>
                <a:gd name="connsiteX251" fmla="*/ 24345 w 377368"/>
                <a:gd name="connsiteY251" fmla="*/ 96830 h 161913"/>
                <a:gd name="connsiteX252" fmla="*/ 26368 w 377368"/>
                <a:gd name="connsiteY252" fmla="*/ 97222 h 161913"/>
                <a:gd name="connsiteX253" fmla="*/ 31613 w 377368"/>
                <a:gd name="connsiteY253" fmla="*/ 96122 h 161913"/>
                <a:gd name="connsiteX254" fmla="*/ 32621 w 377368"/>
                <a:gd name="connsiteY254" fmla="*/ 95190 h 161913"/>
                <a:gd name="connsiteX255" fmla="*/ 28778 w 377368"/>
                <a:gd name="connsiteY255" fmla="*/ 95295 h 161913"/>
                <a:gd name="connsiteX256" fmla="*/ 27372 w 377368"/>
                <a:gd name="connsiteY256" fmla="*/ 94423 h 161913"/>
                <a:gd name="connsiteX257" fmla="*/ 25845 w 377368"/>
                <a:gd name="connsiteY257" fmla="*/ 92471 h 161913"/>
                <a:gd name="connsiteX258" fmla="*/ 24906 w 377368"/>
                <a:gd name="connsiteY258" fmla="*/ 90697 h 161913"/>
                <a:gd name="connsiteX259" fmla="*/ 24738 w 377368"/>
                <a:gd name="connsiteY259" fmla="*/ 89826 h 161913"/>
                <a:gd name="connsiteX260" fmla="*/ 24206 w 377368"/>
                <a:gd name="connsiteY260" fmla="*/ 88552 h 161913"/>
                <a:gd name="connsiteX261" fmla="*/ 24792 w 377368"/>
                <a:gd name="connsiteY261" fmla="*/ 87870 h 161913"/>
                <a:gd name="connsiteX262" fmla="*/ 27424 w 377368"/>
                <a:gd name="connsiteY262" fmla="*/ 86846 h 161913"/>
                <a:gd name="connsiteX263" fmla="*/ 29734 w 377368"/>
                <a:gd name="connsiteY263" fmla="*/ 83978 h 161913"/>
                <a:gd name="connsiteX264" fmla="*/ 28771 w 377368"/>
                <a:gd name="connsiteY264" fmla="*/ 83147 h 161913"/>
                <a:gd name="connsiteX265" fmla="*/ 27670 w 377368"/>
                <a:gd name="connsiteY265" fmla="*/ 82754 h 161913"/>
                <a:gd name="connsiteX266" fmla="*/ 26474 w 377368"/>
                <a:gd name="connsiteY266" fmla="*/ 83046 h 161913"/>
                <a:gd name="connsiteX267" fmla="*/ 25340 w 377368"/>
                <a:gd name="connsiteY267" fmla="*/ 82063 h 161913"/>
                <a:gd name="connsiteX268" fmla="*/ 25193 w 377368"/>
                <a:gd name="connsiteY268" fmla="*/ 80695 h 161913"/>
                <a:gd name="connsiteX269" fmla="*/ 26100 w 377368"/>
                <a:gd name="connsiteY269" fmla="*/ 79588 h 161913"/>
                <a:gd name="connsiteX270" fmla="*/ 26195 w 377368"/>
                <a:gd name="connsiteY270" fmla="*/ 78064 h 161913"/>
                <a:gd name="connsiteX271" fmla="*/ 23226 w 377368"/>
                <a:gd name="connsiteY271" fmla="*/ 74309 h 161913"/>
                <a:gd name="connsiteX272" fmla="*/ 22397 w 377368"/>
                <a:gd name="connsiteY272" fmla="*/ 73491 h 161913"/>
                <a:gd name="connsiteX273" fmla="*/ 23036 w 377368"/>
                <a:gd name="connsiteY273" fmla="*/ 72262 h 161913"/>
                <a:gd name="connsiteX274" fmla="*/ 25303 w 377368"/>
                <a:gd name="connsiteY274" fmla="*/ 70203 h 161913"/>
                <a:gd name="connsiteX275" fmla="*/ 27463 w 377368"/>
                <a:gd name="connsiteY275" fmla="*/ 67652 h 161913"/>
                <a:gd name="connsiteX276" fmla="*/ 27203 w 377368"/>
                <a:gd name="connsiteY276" fmla="*/ 66812 h 161913"/>
                <a:gd name="connsiteX277" fmla="*/ 25608 w 377368"/>
                <a:gd name="connsiteY277" fmla="*/ 66469 h 161913"/>
                <a:gd name="connsiteX278" fmla="*/ 18024 w 377368"/>
                <a:gd name="connsiteY278" fmla="*/ 67564 h 161913"/>
                <a:gd name="connsiteX279" fmla="*/ 15076 w 377368"/>
                <a:gd name="connsiteY279" fmla="*/ 68515 h 161913"/>
                <a:gd name="connsiteX280" fmla="*/ 9820 w 377368"/>
                <a:gd name="connsiteY280" fmla="*/ 68948 h 161913"/>
                <a:gd name="connsiteX281" fmla="*/ 9442 w 377368"/>
                <a:gd name="connsiteY281" fmla="*/ 67562 h 161913"/>
                <a:gd name="connsiteX282" fmla="*/ 9561 w 377368"/>
                <a:gd name="connsiteY282" fmla="*/ 66311 h 161913"/>
                <a:gd name="connsiteX283" fmla="*/ 10740 w 377368"/>
                <a:gd name="connsiteY283" fmla="*/ 64032 h 161913"/>
                <a:gd name="connsiteX284" fmla="*/ 10632 w 377368"/>
                <a:gd name="connsiteY284" fmla="*/ 58406 h 161913"/>
                <a:gd name="connsiteX285" fmla="*/ 11330 w 377368"/>
                <a:gd name="connsiteY285" fmla="*/ 55351 h 161913"/>
                <a:gd name="connsiteX286" fmla="*/ 14250 w 377368"/>
                <a:gd name="connsiteY286" fmla="*/ 54441 h 161913"/>
                <a:gd name="connsiteX287" fmla="*/ 17832 w 377368"/>
                <a:gd name="connsiteY287" fmla="*/ 49945 h 161913"/>
                <a:gd name="connsiteX288" fmla="*/ 23640 w 377368"/>
                <a:gd name="connsiteY288" fmla="*/ 44639 h 161913"/>
                <a:gd name="connsiteX289" fmla="*/ 29700 w 377368"/>
                <a:gd name="connsiteY289" fmla="*/ 44741 h 161913"/>
                <a:gd name="connsiteX290" fmla="*/ 32122 w 377368"/>
                <a:gd name="connsiteY290" fmla="*/ 43275 h 161913"/>
                <a:gd name="connsiteX291" fmla="*/ 35725 w 377368"/>
                <a:gd name="connsiteY291" fmla="*/ 43189 h 161913"/>
                <a:gd name="connsiteX292" fmla="*/ 36379 w 377368"/>
                <a:gd name="connsiteY292" fmla="*/ 44255 h 161913"/>
                <a:gd name="connsiteX293" fmla="*/ 36787 w 377368"/>
                <a:gd name="connsiteY293" fmla="*/ 45275 h 161913"/>
                <a:gd name="connsiteX294" fmla="*/ 39948 w 377368"/>
                <a:gd name="connsiteY294" fmla="*/ 46739 h 161913"/>
                <a:gd name="connsiteX295" fmla="*/ 45530 w 377368"/>
                <a:gd name="connsiteY295" fmla="*/ 46507 h 161913"/>
                <a:gd name="connsiteX296" fmla="*/ 46886 w 377368"/>
                <a:gd name="connsiteY296" fmla="*/ 45930 h 161913"/>
                <a:gd name="connsiteX297" fmla="*/ 48195 w 377368"/>
                <a:gd name="connsiteY297" fmla="*/ 45123 h 161913"/>
                <a:gd name="connsiteX298" fmla="*/ 45614 w 377368"/>
                <a:gd name="connsiteY298" fmla="*/ 42512 h 161913"/>
                <a:gd name="connsiteX299" fmla="*/ 46439 w 377368"/>
                <a:gd name="connsiteY299" fmla="*/ 41775 h 161913"/>
                <a:gd name="connsiteX300" fmla="*/ 48778 w 377368"/>
                <a:gd name="connsiteY300" fmla="*/ 41688 h 161913"/>
                <a:gd name="connsiteX301" fmla="*/ 51313 w 377368"/>
                <a:gd name="connsiteY301" fmla="*/ 42303 h 161913"/>
                <a:gd name="connsiteX302" fmla="*/ 51430 w 377368"/>
                <a:gd name="connsiteY302" fmla="*/ 42901 h 161913"/>
                <a:gd name="connsiteX303" fmla="*/ 50756 w 377368"/>
                <a:gd name="connsiteY303" fmla="*/ 43721 h 161913"/>
                <a:gd name="connsiteX304" fmla="*/ 49972 w 377368"/>
                <a:gd name="connsiteY304" fmla="*/ 45157 h 161913"/>
                <a:gd name="connsiteX305" fmla="*/ 50717 w 377368"/>
                <a:gd name="connsiteY305" fmla="*/ 45433 h 161913"/>
                <a:gd name="connsiteX306" fmla="*/ 57936 w 377368"/>
                <a:gd name="connsiteY306" fmla="*/ 44566 h 161913"/>
                <a:gd name="connsiteX307" fmla="*/ 65481 w 377368"/>
                <a:gd name="connsiteY307" fmla="*/ 45261 h 161913"/>
                <a:gd name="connsiteX308" fmla="*/ 67882 w 377368"/>
                <a:gd name="connsiteY308" fmla="*/ 44884 h 161913"/>
                <a:gd name="connsiteX309" fmla="*/ 73814 w 377368"/>
                <a:gd name="connsiteY309" fmla="*/ 44913 h 161913"/>
                <a:gd name="connsiteX310" fmla="*/ 74876 w 377368"/>
                <a:gd name="connsiteY310" fmla="*/ 44012 h 161913"/>
                <a:gd name="connsiteX311" fmla="*/ 73082 w 377368"/>
                <a:gd name="connsiteY311" fmla="*/ 42881 h 161913"/>
                <a:gd name="connsiteX312" fmla="*/ 71326 w 377368"/>
                <a:gd name="connsiteY312" fmla="*/ 42488 h 161913"/>
                <a:gd name="connsiteX313" fmla="*/ 70145 w 377368"/>
                <a:gd name="connsiteY313" fmla="*/ 41936 h 161913"/>
                <a:gd name="connsiteX314" fmla="*/ 68966 w 377368"/>
                <a:gd name="connsiteY314" fmla="*/ 41136 h 161913"/>
                <a:gd name="connsiteX315" fmla="*/ 72728 w 377368"/>
                <a:gd name="connsiteY315" fmla="*/ 38606 h 161913"/>
                <a:gd name="connsiteX316" fmla="*/ 74852 w 377368"/>
                <a:gd name="connsiteY316" fmla="*/ 38119 h 161913"/>
                <a:gd name="connsiteX317" fmla="*/ 84881 w 377368"/>
                <a:gd name="connsiteY317" fmla="*/ 36564 h 161913"/>
                <a:gd name="connsiteX318" fmla="*/ 92339 w 377368"/>
                <a:gd name="connsiteY318" fmla="*/ 35785 h 161913"/>
                <a:gd name="connsiteX319" fmla="*/ 92434 w 377368"/>
                <a:gd name="connsiteY319" fmla="*/ 35207 h 161913"/>
                <a:gd name="connsiteX320" fmla="*/ 91359 w 377368"/>
                <a:gd name="connsiteY320" fmla="*/ 35206 h 161913"/>
                <a:gd name="connsiteX321" fmla="*/ 81721 w 377368"/>
                <a:gd name="connsiteY321" fmla="*/ 33916 h 161913"/>
                <a:gd name="connsiteX322" fmla="*/ 79400 w 377368"/>
                <a:gd name="connsiteY322" fmla="*/ 32917 h 161913"/>
                <a:gd name="connsiteX323" fmla="*/ 76174 w 377368"/>
                <a:gd name="connsiteY323" fmla="*/ 30538 h 161913"/>
                <a:gd name="connsiteX324" fmla="*/ 75474 w 377368"/>
                <a:gd name="connsiteY324" fmla="*/ 29865 h 161913"/>
                <a:gd name="connsiteX325" fmla="*/ 74662 w 377368"/>
                <a:gd name="connsiteY325" fmla="*/ 28704 h 161913"/>
                <a:gd name="connsiteX326" fmla="*/ 75146 w 377368"/>
                <a:gd name="connsiteY326" fmla="*/ 26228 h 161913"/>
                <a:gd name="connsiteX327" fmla="*/ 75742 w 377368"/>
                <a:gd name="connsiteY327" fmla="*/ 24237 h 161913"/>
                <a:gd name="connsiteX328" fmla="*/ 76932 w 377368"/>
                <a:gd name="connsiteY328" fmla="*/ 23083 h 161913"/>
                <a:gd name="connsiteX329" fmla="*/ 80782 w 377368"/>
                <a:gd name="connsiteY329" fmla="*/ 22907 h 161913"/>
                <a:gd name="connsiteX330" fmla="*/ 93985 w 377368"/>
                <a:gd name="connsiteY330" fmla="*/ 24933 h 161913"/>
                <a:gd name="connsiteX331" fmla="*/ 103395 w 377368"/>
                <a:gd name="connsiteY331" fmla="*/ 23719 h 161913"/>
                <a:gd name="connsiteX332" fmla="*/ 113680 w 377368"/>
                <a:gd name="connsiteY332" fmla="*/ 26670 h 161913"/>
                <a:gd name="connsiteX333" fmla="*/ 123516 w 377368"/>
                <a:gd name="connsiteY333" fmla="*/ 26071 h 161913"/>
                <a:gd name="connsiteX334" fmla="*/ 125546 w 377368"/>
                <a:gd name="connsiteY334" fmla="*/ 24746 h 161913"/>
                <a:gd name="connsiteX335" fmla="*/ 128008 w 377368"/>
                <a:gd name="connsiteY335" fmla="*/ 20473 h 161913"/>
                <a:gd name="connsiteX336" fmla="*/ 141904 w 377368"/>
                <a:gd name="connsiteY336" fmla="*/ 13362 h 161913"/>
                <a:gd name="connsiteX337" fmla="*/ 146769 w 377368"/>
                <a:gd name="connsiteY337" fmla="*/ 9647 h 161913"/>
                <a:gd name="connsiteX338" fmla="*/ 151981 w 377368"/>
                <a:gd name="connsiteY338" fmla="*/ 7613 h 161913"/>
                <a:gd name="connsiteX339" fmla="*/ 160925 w 377368"/>
                <a:gd name="connsiteY339" fmla="*/ 5350 h 161913"/>
                <a:gd name="connsiteX340" fmla="*/ 168401 w 377368"/>
                <a:gd name="connsiteY340" fmla="*/ 2356 h 161913"/>
                <a:gd name="connsiteX341" fmla="*/ 170537 w 377368"/>
                <a:gd name="connsiteY341" fmla="*/ 2011 h 161913"/>
                <a:gd name="connsiteX342" fmla="*/ 188484 w 377368"/>
                <a:gd name="connsiteY342" fmla="*/ 3441 h 161913"/>
                <a:gd name="connsiteX343" fmla="*/ 200812 w 377368"/>
                <a:gd name="connsiteY343" fmla="*/ 3623 h 161913"/>
                <a:gd name="connsiteX344" fmla="*/ 34835 w 377368"/>
                <a:gd name="connsiteY344" fmla="*/ 0 h 161913"/>
                <a:gd name="connsiteX345" fmla="*/ 35953 w 377368"/>
                <a:gd name="connsiteY345" fmla="*/ 365 h 161913"/>
                <a:gd name="connsiteX346" fmla="*/ 37456 w 377368"/>
                <a:gd name="connsiteY346" fmla="*/ 1812 h 161913"/>
                <a:gd name="connsiteX347" fmla="*/ 39931 w 377368"/>
                <a:gd name="connsiteY347" fmla="*/ 3887 h 161913"/>
                <a:gd name="connsiteX348" fmla="*/ 41259 w 377368"/>
                <a:gd name="connsiteY348" fmla="*/ 4579 h 161913"/>
                <a:gd name="connsiteX349" fmla="*/ 42254 w 377368"/>
                <a:gd name="connsiteY349" fmla="*/ 4258 h 161913"/>
                <a:gd name="connsiteX350" fmla="*/ 44051 w 377368"/>
                <a:gd name="connsiteY350" fmla="*/ 3504 h 161913"/>
                <a:gd name="connsiteX351" fmla="*/ 45770 w 377368"/>
                <a:gd name="connsiteY351" fmla="*/ 3498 h 161913"/>
                <a:gd name="connsiteX352" fmla="*/ 47158 w 377368"/>
                <a:gd name="connsiteY352" fmla="*/ 3631 h 161913"/>
                <a:gd name="connsiteX353" fmla="*/ 47828 w 377368"/>
                <a:gd name="connsiteY353" fmla="*/ 2974 h 161913"/>
                <a:gd name="connsiteX354" fmla="*/ 48873 w 377368"/>
                <a:gd name="connsiteY354" fmla="*/ 2833 h 161913"/>
                <a:gd name="connsiteX355" fmla="*/ 51864 w 377368"/>
                <a:gd name="connsiteY355" fmla="*/ 3299 h 161913"/>
                <a:gd name="connsiteX356" fmla="*/ 51264 w 377368"/>
                <a:gd name="connsiteY356" fmla="*/ 6327 h 161913"/>
                <a:gd name="connsiteX357" fmla="*/ 52656 w 377368"/>
                <a:gd name="connsiteY357" fmla="*/ 9659 h 161913"/>
                <a:gd name="connsiteX358" fmla="*/ 55919 w 377368"/>
                <a:gd name="connsiteY358" fmla="*/ 14280 h 161913"/>
                <a:gd name="connsiteX359" fmla="*/ 59203 w 377368"/>
                <a:gd name="connsiteY359" fmla="*/ 16609 h 161913"/>
                <a:gd name="connsiteX360" fmla="*/ 72479 w 377368"/>
                <a:gd name="connsiteY360" fmla="*/ 22362 h 161913"/>
                <a:gd name="connsiteX361" fmla="*/ 74922 w 377368"/>
                <a:gd name="connsiteY361" fmla="*/ 22853 h 161913"/>
                <a:gd name="connsiteX362" fmla="*/ 74367 w 377368"/>
                <a:gd name="connsiteY362" fmla="*/ 25206 h 161913"/>
                <a:gd name="connsiteX363" fmla="*/ 73568 w 377368"/>
                <a:gd name="connsiteY363" fmla="*/ 27295 h 161913"/>
                <a:gd name="connsiteX364" fmla="*/ 72689 w 377368"/>
                <a:gd name="connsiteY364" fmla="*/ 28688 h 161913"/>
                <a:gd name="connsiteX365" fmla="*/ 68800 w 377368"/>
                <a:gd name="connsiteY365" fmla="*/ 29583 h 161913"/>
                <a:gd name="connsiteX366" fmla="*/ 58065 w 377368"/>
                <a:gd name="connsiteY366" fmla="*/ 27022 h 161913"/>
                <a:gd name="connsiteX367" fmla="*/ 55351 w 377368"/>
                <a:gd name="connsiteY367" fmla="*/ 26780 h 161913"/>
                <a:gd name="connsiteX368" fmla="*/ 53436 w 377368"/>
                <a:gd name="connsiteY368" fmla="*/ 27290 h 161913"/>
                <a:gd name="connsiteX369" fmla="*/ 49890 w 377368"/>
                <a:gd name="connsiteY369" fmla="*/ 29151 h 161913"/>
                <a:gd name="connsiteX370" fmla="*/ 45958 w 377368"/>
                <a:gd name="connsiteY370" fmla="*/ 28554 h 161913"/>
                <a:gd name="connsiteX371" fmla="*/ 40475 w 377368"/>
                <a:gd name="connsiteY371" fmla="*/ 29610 h 161913"/>
                <a:gd name="connsiteX372" fmla="*/ 38944 w 377368"/>
                <a:gd name="connsiteY372" fmla="*/ 33111 h 161913"/>
                <a:gd name="connsiteX373" fmla="*/ 35137 w 377368"/>
                <a:gd name="connsiteY373" fmla="*/ 37117 h 161913"/>
                <a:gd name="connsiteX374" fmla="*/ 28871 w 377368"/>
                <a:gd name="connsiteY374" fmla="*/ 40350 h 161913"/>
                <a:gd name="connsiteX375" fmla="*/ 24392 w 377368"/>
                <a:gd name="connsiteY375" fmla="*/ 42078 h 161913"/>
                <a:gd name="connsiteX376" fmla="*/ 17668 w 377368"/>
                <a:gd name="connsiteY376" fmla="*/ 48267 h 161913"/>
                <a:gd name="connsiteX377" fmla="*/ 14617 w 377368"/>
                <a:gd name="connsiteY377" fmla="*/ 51874 h 161913"/>
                <a:gd name="connsiteX378" fmla="*/ 13329 w 377368"/>
                <a:gd name="connsiteY378" fmla="*/ 52573 h 161913"/>
                <a:gd name="connsiteX379" fmla="*/ 11803 w 377368"/>
                <a:gd name="connsiteY379" fmla="*/ 53126 h 161913"/>
                <a:gd name="connsiteX380" fmla="*/ 12317 w 377368"/>
                <a:gd name="connsiteY380" fmla="*/ 51396 h 161913"/>
                <a:gd name="connsiteX381" fmla="*/ 13072 w 377368"/>
                <a:gd name="connsiteY381" fmla="*/ 49811 h 161913"/>
                <a:gd name="connsiteX382" fmla="*/ 12900 w 377368"/>
                <a:gd name="connsiteY382" fmla="*/ 48615 h 161913"/>
                <a:gd name="connsiteX383" fmla="*/ 12932 w 377368"/>
                <a:gd name="connsiteY383" fmla="*/ 46876 h 161913"/>
                <a:gd name="connsiteX384" fmla="*/ 15176 w 377368"/>
                <a:gd name="connsiteY384" fmla="*/ 44900 h 161913"/>
                <a:gd name="connsiteX385" fmla="*/ 17214 w 377368"/>
                <a:gd name="connsiteY385" fmla="*/ 43467 h 161913"/>
                <a:gd name="connsiteX386" fmla="*/ 23247 w 377368"/>
                <a:gd name="connsiteY386" fmla="*/ 40868 h 161913"/>
                <a:gd name="connsiteX387" fmla="*/ 24835 w 377368"/>
                <a:gd name="connsiteY387" fmla="*/ 38709 h 161913"/>
                <a:gd name="connsiteX388" fmla="*/ 20103 w 377368"/>
                <a:gd name="connsiteY388" fmla="*/ 38761 h 161913"/>
                <a:gd name="connsiteX389" fmla="*/ 15301 w 377368"/>
                <a:gd name="connsiteY389" fmla="*/ 39241 h 161913"/>
                <a:gd name="connsiteX390" fmla="*/ 12278 w 377368"/>
                <a:gd name="connsiteY390" fmla="*/ 38934 h 161913"/>
                <a:gd name="connsiteX391" fmla="*/ 9652 w 377368"/>
                <a:gd name="connsiteY391" fmla="*/ 39110 h 161913"/>
                <a:gd name="connsiteX392" fmla="*/ 8818 w 377368"/>
                <a:gd name="connsiteY392" fmla="*/ 37220 h 161913"/>
                <a:gd name="connsiteX393" fmla="*/ 8182 w 377368"/>
                <a:gd name="connsiteY393" fmla="*/ 36083 h 161913"/>
                <a:gd name="connsiteX394" fmla="*/ 8862 w 377368"/>
                <a:gd name="connsiteY394" fmla="*/ 35728 h 161913"/>
                <a:gd name="connsiteX395" fmla="*/ 9734 w 377368"/>
                <a:gd name="connsiteY395" fmla="*/ 35482 h 161913"/>
                <a:gd name="connsiteX396" fmla="*/ 11276 w 377368"/>
                <a:gd name="connsiteY396" fmla="*/ 33464 h 161913"/>
                <a:gd name="connsiteX397" fmla="*/ 12653 w 377368"/>
                <a:gd name="connsiteY397" fmla="*/ 31974 h 161913"/>
                <a:gd name="connsiteX398" fmla="*/ 14640 w 377368"/>
                <a:gd name="connsiteY398" fmla="*/ 30100 h 161913"/>
                <a:gd name="connsiteX399" fmla="*/ 15150 w 377368"/>
                <a:gd name="connsiteY399" fmla="*/ 28981 h 161913"/>
                <a:gd name="connsiteX400" fmla="*/ 15150 w 377368"/>
                <a:gd name="connsiteY400" fmla="*/ 27936 h 161913"/>
                <a:gd name="connsiteX401" fmla="*/ 14675 w 377368"/>
                <a:gd name="connsiteY401" fmla="*/ 27211 h 161913"/>
                <a:gd name="connsiteX402" fmla="*/ 14582 w 377368"/>
                <a:gd name="connsiteY402" fmla="*/ 26350 h 161913"/>
                <a:gd name="connsiteX403" fmla="*/ 14522 w 377368"/>
                <a:gd name="connsiteY403" fmla="*/ 25132 h 161913"/>
                <a:gd name="connsiteX404" fmla="*/ 14632 w 377368"/>
                <a:gd name="connsiteY404" fmla="*/ 22616 h 161913"/>
                <a:gd name="connsiteX405" fmla="*/ 19181 w 377368"/>
                <a:gd name="connsiteY405" fmla="*/ 19863 h 161913"/>
                <a:gd name="connsiteX406" fmla="*/ 20639 w 377368"/>
                <a:gd name="connsiteY406" fmla="*/ 19572 h 161913"/>
                <a:gd name="connsiteX407" fmla="*/ 21138 w 377368"/>
                <a:gd name="connsiteY407" fmla="*/ 18316 h 161913"/>
                <a:gd name="connsiteX408" fmla="*/ 20803 w 377368"/>
                <a:gd name="connsiteY408" fmla="*/ 15399 h 161913"/>
                <a:gd name="connsiteX409" fmla="*/ 20175 w 377368"/>
                <a:gd name="connsiteY409" fmla="*/ 13043 h 161913"/>
                <a:gd name="connsiteX410" fmla="*/ 19360 w 377368"/>
                <a:gd name="connsiteY410" fmla="*/ 12885 h 161913"/>
                <a:gd name="connsiteX411" fmla="*/ 18266 w 377368"/>
                <a:gd name="connsiteY411" fmla="*/ 12197 h 161913"/>
                <a:gd name="connsiteX412" fmla="*/ 17547 w 377368"/>
                <a:gd name="connsiteY412" fmla="*/ 11400 h 161913"/>
                <a:gd name="connsiteX413" fmla="*/ 16398 w 377368"/>
                <a:gd name="connsiteY413" fmla="*/ 10527 h 161913"/>
                <a:gd name="connsiteX414" fmla="*/ 14415 w 377368"/>
                <a:gd name="connsiteY414" fmla="*/ 9992 h 161913"/>
                <a:gd name="connsiteX415" fmla="*/ 14351 w 377368"/>
                <a:gd name="connsiteY415" fmla="*/ 9247 h 161913"/>
                <a:gd name="connsiteX416" fmla="*/ 14556 w 377368"/>
                <a:gd name="connsiteY416" fmla="*/ 8502 h 161913"/>
                <a:gd name="connsiteX417" fmla="*/ 15288 w 377368"/>
                <a:gd name="connsiteY417" fmla="*/ 7740 h 161913"/>
                <a:gd name="connsiteX418" fmla="*/ 18629 w 377368"/>
                <a:gd name="connsiteY418" fmla="*/ 7083 h 161913"/>
                <a:gd name="connsiteX419" fmla="*/ 19024 w 377368"/>
                <a:gd name="connsiteY419" fmla="*/ 6545 h 161913"/>
                <a:gd name="connsiteX420" fmla="*/ 19475 w 377368"/>
                <a:gd name="connsiteY420" fmla="*/ 5218 h 161913"/>
                <a:gd name="connsiteX421" fmla="*/ 20138 w 377368"/>
                <a:gd name="connsiteY421" fmla="*/ 3859 h 161913"/>
                <a:gd name="connsiteX422" fmla="*/ 20926 w 377368"/>
                <a:gd name="connsiteY422" fmla="*/ 3409 h 161913"/>
                <a:gd name="connsiteX423" fmla="*/ 22339 w 377368"/>
                <a:gd name="connsiteY423" fmla="*/ 3451 h 161913"/>
                <a:gd name="connsiteX424" fmla="*/ 25018 w 377368"/>
                <a:gd name="connsiteY424" fmla="*/ 3137 h 161913"/>
                <a:gd name="connsiteX425" fmla="*/ 26886 w 377368"/>
                <a:gd name="connsiteY425" fmla="*/ 2694 h 161913"/>
                <a:gd name="connsiteX426" fmla="*/ 28741 w 377368"/>
                <a:gd name="connsiteY426" fmla="*/ 1764 h 161913"/>
                <a:gd name="connsiteX427" fmla="*/ 29691 w 377368"/>
                <a:gd name="connsiteY427" fmla="*/ 920 h 161913"/>
                <a:gd name="connsiteX428" fmla="*/ 33708 w 377368"/>
                <a:gd name="connsiteY428" fmla="*/ 430 h 16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</a:cxnLst>
              <a:rect l="l" t="t" r="r" b="b"/>
              <a:pathLst>
                <a:path w="377368" h="161913">
                  <a:moveTo>
                    <a:pt x="5515" y="48881"/>
                  </a:moveTo>
                  <a:lnTo>
                    <a:pt x="6812" y="50453"/>
                  </a:lnTo>
                  <a:lnTo>
                    <a:pt x="6657" y="51536"/>
                  </a:lnTo>
                  <a:lnTo>
                    <a:pt x="1576" y="52342"/>
                  </a:lnTo>
                  <a:lnTo>
                    <a:pt x="0" y="51547"/>
                  </a:lnTo>
                  <a:lnTo>
                    <a:pt x="1591" y="49970"/>
                  </a:lnTo>
                  <a:lnTo>
                    <a:pt x="4552" y="48993"/>
                  </a:lnTo>
                  <a:close/>
                  <a:moveTo>
                    <a:pt x="206472" y="797"/>
                  </a:moveTo>
                  <a:lnTo>
                    <a:pt x="209754" y="1746"/>
                  </a:lnTo>
                  <a:lnTo>
                    <a:pt x="209447" y="2756"/>
                  </a:lnTo>
                  <a:lnTo>
                    <a:pt x="208851" y="3619"/>
                  </a:lnTo>
                  <a:lnTo>
                    <a:pt x="209028" y="5367"/>
                  </a:lnTo>
                  <a:lnTo>
                    <a:pt x="210954" y="7931"/>
                  </a:lnTo>
                  <a:lnTo>
                    <a:pt x="212913" y="9676"/>
                  </a:lnTo>
                  <a:lnTo>
                    <a:pt x="218668" y="12177"/>
                  </a:lnTo>
                  <a:lnTo>
                    <a:pt x="226668" y="10067"/>
                  </a:lnTo>
                  <a:lnTo>
                    <a:pt x="227957" y="10303"/>
                  </a:lnTo>
                  <a:lnTo>
                    <a:pt x="229586" y="10892"/>
                  </a:lnTo>
                  <a:lnTo>
                    <a:pt x="232403" y="17660"/>
                  </a:lnTo>
                  <a:lnTo>
                    <a:pt x="234597" y="20048"/>
                  </a:lnTo>
                  <a:lnTo>
                    <a:pt x="237404" y="21671"/>
                  </a:lnTo>
                  <a:lnTo>
                    <a:pt x="239711" y="21990"/>
                  </a:lnTo>
                  <a:lnTo>
                    <a:pt x="241423" y="20297"/>
                  </a:lnTo>
                  <a:lnTo>
                    <a:pt x="242749" y="19615"/>
                  </a:lnTo>
                  <a:lnTo>
                    <a:pt x="245638" y="19326"/>
                  </a:lnTo>
                  <a:lnTo>
                    <a:pt x="250376" y="21650"/>
                  </a:lnTo>
                  <a:lnTo>
                    <a:pt x="252017" y="24048"/>
                  </a:lnTo>
                  <a:lnTo>
                    <a:pt x="260083" y="25900"/>
                  </a:lnTo>
                  <a:lnTo>
                    <a:pt x="267483" y="26827"/>
                  </a:lnTo>
                  <a:lnTo>
                    <a:pt x="270676" y="28854"/>
                  </a:lnTo>
                  <a:lnTo>
                    <a:pt x="281091" y="30889"/>
                  </a:lnTo>
                  <a:lnTo>
                    <a:pt x="284980" y="30573"/>
                  </a:lnTo>
                  <a:lnTo>
                    <a:pt x="291508" y="28438"/>
                  </a:lnTo>
                  <a:lnTo>
                    <a:pt x="304205" y="26102"/>
                  </a:lnTo>
                  <a:lnTo>
                    <a:pt x="312642" y="29363"/>
                  </a:lnTo>
                  <a:lnTo>
                    <a:pt x="314924" y="29786"/>
                  </a:lnTo>
                  <a:lnTo>
                    <a:pt x="316894" y="29505"/>
                  </a:lnTo>
                  <a:lnTo>
                    <a:pt x="319729" y="30402"/>
                  </a:lnTo>
                  <a:lnTo>
                    <a:pt x="322754" y="29920"/>
                  </a:lnTo>
                  <a:lnTo>
                    <a:pt x="332091" y="26076"/>
                  </a:lnTo>
                  <a:lnTo>
                    <a:pt x="335011" y="23895"/>
                  </a:lnTo>
                  <a:lnTo>
                    <a:pt x="338105" y="23331"/>
                  </a:lnTo>
                  <a:lnTo>
                    <a:pt x="340850" y="22024"/>
                  </a:lnTo>
                  <a:lnTo>
                    <a:pt x="348164" y="17738"/>
                  </a:lnTo>
                  <a:lnTo>
                    <a:pt x="350280" y="15259"/>
                  </a:lnTo>
                  <a:lnTo>
                    <a:pt x="351751" y="15792"/>
                  </a:lnTo>
                  <a:lnTo>
                    <a:pt x="354519" y="16471"/>
                  </a:lnTo>
                  <a:lnTo>
                    <a:pt x="356236" y="17292"/>
                  </a:lnTo>
                  <a:lnTo>
                    <a:pt x="357212" y="17507"/>
                  </a:lnTo>
                  <a:lnTo>
                    <a:pt x="359473" y="15835"/>
                  </a:lnTo>
                  <a:lnTo>
                    <a:pt x="362833" y="15877"/>
                  </a:lnTo>
                  <a:lnTo>
                    <a:pt x="365782" y="16071"/>
                  </a:lnTo>
                  <a:lnTo>
                    <a:pt x="367305" y="16381"/>
                  </a:lnTo>
                  <a:lnTo>
                    <a:pt x="369170" y="16936"/>
                  </a:lnTo>
                  <a:lnTo>
                    <a:pt x="371427" y="17310"/>
                  </a:lnTo>
                  <a:lnTo>
                    <a:pt x="372345" y="16511"/>
                  </a:lnTo>
                  <a:lnTo>
                    <a:pt x="373660" y="14154"/>
                  </a:lnTo>
                  <a:lnTo>
                    <a:pt x="374169" y="13852"/>
                  </a:lnTo>
                  <a:lnTo>
                    <a:pt x="374532" y="13637"/>
                  </a:lnTo>
                  <a:lnTo>
                    <a:pt x="376203" y="13454"/>
                  </a:lnTo>
                  <a:lnTo>
                    <a:pt x="377368" y="13587"/>
                  </a:lnTo>
                  <a:lnTo>
                    <a:pt x="377368" y="123278"/>
                  </a:lnTo>
                  <a:lnTo>
                    <a:pt x="375165" y="125986"/>
                  </a:lnTo>
                  <a:lnTo>
                    <a:pt x="371194" y="129056"/>
                  </a:lnTo>
                  <a:lnTo>
                    <a:pt x="369052" y="129568"/>
                  </a:lnTo>
                  <a:lnTo>
                    <a:pt x="368032" y="126487"/>
                  </a:lnTo>
                  <a:lnTo>
                    <a:pt x="367052" y="125290"/>
                  </a:lnTo>
                  <a:lnTo>
                    <a:pt x="366588" y="125146"/>
                  </a:lnTo>
                  <a:lnTo>
                    <a:pt x="365597" y="124762"/>
                  </a:lnTo>
                  <a:lnTo>
                    <a:pt x="364826" y="124983"/>
                  </a:lnTo>
                  <a:lnTo>
                    <a:pt x="362437" y="127087"/>
                  </a:lnTo>
                  <a:lnTo>
                    <a:pt x="358611" y="128351"/>
                  </a:lnTo>
                  <a:lnTo>
                    <a:pt x="355443" y="129122"/>
                  </a:lnTo>
                  <a:lnTo>
                    <a:pt x="350401" y="130063"/>
                  </a:lnTo>
                  <a:lnTo>
                    <a:pt x="346510" y="130530"/>
                  </a:lnTo>
                  <a:lnTo>
                    <a:pt x="344853" y="130567"/>
                  </a:lnTo>
                  <a:lnTo>
                    <a:pt x="341260" y="130146"/>
                  </a:lnTo>
                  <a:lnTo>
                    <a:pt x="338093" y="129554"/>
                  </a:lnTo>
                  <a:lnTo>
                    <a:pt x="334925" y="129580"/>
                  </a:lnTo>
                  <a:lnTo>
                    <a:pt x="332493" y="129845"/>
                  </a:lnTo>
                  <a:lnTo>
                    <a:pt x="326848" y="132105"/>
                  </a:lnTo>
                  <a:lnTo>
                    <a:pt x="317252" y="136751"/>
                  </a:lnTo>
                  <a:lnTo>
                    <a:pt x="309958" y="138971"/>
                  </a:lnTo>
                  <a:lnTo>
                    <a:pt x="305866" y="139894"/>
                  </a:lnTo>
                  <a:lnTo>
                    <a:pt x="302663" y="140418"/>
                  </a:lnTo>
                  <a:lnTo>
                    <a:pt x="297174" y="140444"/>
                  </a:lnTo>
                  <a:lnTo>
                    <a:pt x="292708" y="140086"/>
                  </a:lnTo>
                  <a:lnTo>
                    <a:pt x="289616" y="140126"/>
                  </a:lnTo>
                  <a:lnTo>
                    <a:pt x="287898" y="139568"/>
                  </a:lnTo>
                  <a:lnTo>
                    <a:pt x="285447" y="137690"/>
                  </a:lnTo>
                  <a:lnTo>
                    <a:pt x="282477" y="135832"/>
                  </a:lnTo>
                  <a:lnTo>
                    <a:pt x="281156" y="135400"/>
                  </a:lnTo>
                  <a:lnTo>
                    <a:pt x="279428" y="135042"/>
                  </a:lnTo>
                  <a:lnTo>
                    <a:pt x="276904" y="134833"/>
                  </a:lnTo>
                  <a:lnTo>
                    <a:pt x="270601" y="137550"/>
                  </a:lnTo>
                  <a:lnTo>
                    <a:pt x="268640" y="138287"/>
                  </a:lnTo>
                  <a:lnTo>
                    <a:pt x="266481" y="138843"/>
                  </a:lnTo>
                  <a:lnTo>
                    <a:pt x="262130" y="140501"/>
                  </a:lnTo>
                  <a:lnTo>
                    <a:pt x="260201" y="141389"/>
                  </a:lnTo>
                  <a:lnTo>
                    <a:pt x="257785" y="141306"/>
                  </a:lnTo>
                  <a:lnTo>
                    <a:pt x="254697" y="141070"/>
                  </a:lnTo>
                  <a:lnTo>
                    <a:pt x="252017" y="141153"/>
                  </a:lnTo>
                  <a:lnTo>
                    <a:pt x="250229" y="139891"/>
                  </a:lnTo>
                  <a:lnTo>
                    <a:pt x="249266" y="138469"/>
                  </a:lnTo>
                  <a:lnTo>
                    <a:pt x="245613" y="137599"/>
                  </a:lnTo>
                  <a:lnTo>
                    <a:pt x="243004" y="137349"/>
                  </a:lnTo>
                  <a:lnTo>
                    <a:pt x="242337" y="137980"/>
                  </a:lnTo>
                  <a:lnTo>
                    <a:pt x="241639" y="139917"/>
                  </a:lnTo>
                  <a:lnTo>
                    <a:pt x="240529" y="144861"/>
                  </a:lnTo>
                  <a:lnTo>
                    <a:pt x="240326" y="146100"/>
                  </a:lnTo>
                  <a:lnTo>
                    <a:pt x="242624" y="151006"/>
                  </a:lnTo>
                  <a:lnTo>
                    <a:pt x="242520" y="151753"/>
                  </a:lnTo>
                  <a:lnTo>
                    <a:pt x="240877" y="152007"/>
                  </a:lnTo>
                  <a:lnTo>
                    <a:pt x="238990" y="152089"/>
                  </a:lnTo>
                  <a:lnTo>
                    <a:pt x="237761" y="152525"/>
                  </a:lnTo>
                  <a:lnTo>
                    <a:pt x="236742" y="153339"/>
                  </a:lnTo>
                  <a:lnTo>
                    <a:pt x="236126" y="157574"/>
                  </a:lnTo>
                  <a:lnTo>
                    <a:pt x="233943" y="158351"/>
                  </a:lnTo>
                  <a:lnTo>
                    <a:pt x="232907" y="159238"/>
                  </a:lnTo>
                  <a:lnTo>
                    <a:pt x="231838" y="161852"/>
                  </a:lnTo>
                  <a:lnTo>
                    <a:pt x="231257" y="161913"/>
                  </a:lnTo>
                  <a:lnTo>
                    <a:pt x="227724" y="159932"/>
                  </a:lnTo>
                  <a:lnTo>
                    <a:pt x="226068" y="159768"/>
                  </a:lnTo>
                  <a:lnTo>
                    <a:pt x="227489" y="157709"/>
                  </a:lnTo>
                  <a:lnTo>
                    <a:pt x="225945" y="153646"/>
                  </a:lnTo>
                  <a:lnTo>
                    <a:pt x="224260" y="149834"/>
                  </a:lnTo>
                  <a:lnTo>
                    <a:pt x="225850" y="147393"/>
                  </a:lnTo>
                  <a:lnTo>
                    <a:pt x="229143" y="144446"/>
                  </a:lnTo>
                  <a:lnTo>
                    <a:pt x="232609" y="140992"/>
                  </a:lnTo>
                  <a:lnTo>
                    <a:pt x="232602" y="138859"/>
                  </a:lnTo>
                  <a:lnTo>
                    <a:pt x="232423" y="137230"/>
                  </a:lnTo>
                  <a:lnTo>
                    <a:pt x="231430" y="136103"/>
                  </a:lnTo>
                  <a:lnTo>
                    <a:pt x="229523" y="134604"/>
                  </a:lnTo>
                  <a:lnTo>
                    <a:pt x="226331" y="136204"/>
                  </a:lnTo>
                  <a:lnTo>
                    <a:pt x="224053" y="137970"/>
                  </a:lnTo>
                  <a:lnTo>
                    <a:pt x="222565" y="138328"/>
                  </a:lnTo>
                  <a:lnTo>
                    <a:pt x="220948" y="139334"/>
                  </a:lnTo>
                  <a:lnTo>
                    <a:pt x="220162" y="141149"/>
                  </a:lnTo>
                  <a:lnTo>
                    <a:pt x="218212" y="142563"/>
                  </a:lnTo>
                  <a:lnTo>
                    <a:pt x="215023" y="143116"/>
                  </a:lnTo>
                  <a:lnTo>
                    <a:pt x="210224" y="141604"/>
                  </a:lnTo>
                  <a:lnTo>
                    <a:pt x="205072" y="139300"/>
                  </a:lnTo>
                  <a:lnTo>
                    <a:pt x="202155" y="137432"/>
                  </a:lnTo>
                  <a:lnTo>
                    <a:pt x="199775" y="136987"/>
                  </a:lnTo>
                  <a:lnTo>
                    <a:pt x="197514" y="137808"/>
                  </a:lnTo>
                  <a:lnTo>
                    <a:pt x="190842" y="142381"/>
                  </a:lnTo>
                  <a:lnTo>
                    <a:pt x="184735" y="149053"/>
                  </a:lnTo>
                  <a:lnTo>
                    <a:pt x="183219" y="150205"/>
                  </a:lnTo>
                  <a:lnTo>
                    <a:pt x="177466" y="153067"/>
                  </a:lnTo>
                  <a:lnTo>
                    <a:pt x="173664" y="154027"/>
                  </a:lnTo>
                  <a:lnTo>
                    <a:pt x="171874" y="153804"/>
                  </a:lnTo>
                  <a:lnTo>
                    <a:pt x="164305" y="155063"/>
                  </a:lnTo>
                  <a:lnTo>
                    <a:pt x="160546" y="155247"/>
                  </a:lnTo>
                  <a:lnTo>
                    <a:pt x="157568" y="156757"/>
                  </a:lnTo>
                  <a:lnTo>
                    <a:pt x="151796" y="155120"/>
                  </a:lnTo>
                  <a:lnTo>
                    <a:pt x="148345" y="153025"/>
                  </a:lnTo>
                  <a:lnTo>
                    <a:pt x="146268" y="150896"/>
                  </a:lnTo>
                  <a:lnTo>
                    <a:pt x="142880" y="146310"/>
                  </a:lnTo>
                  <a:lnTo>
                    <a:pt x="140478" y="144127"/>
                  </a:lnTo>
                  <a:lnTo>
                    <a:pt x="135082" y="142163"/>
                  </a:lnTo>
                  <a:lnTo>
                    <a:pt x="125676" y="137386"/>
                  </a:lnTo>
                  <a:lnTo>
                    <a:pt x="123201" y="136862"/>
                  </a:lnTo>
                  <a:lnTo>
                    <a:pt x="116781" y="136177"/>
                  </a:lnTo>
                  <a:lnTo>
                    <a:pt x="110010" y="135745"/>
                  </a:lnTo>
                  <a:lnTo>
                    <a:pt x="108638" y="137485"/>
                  </a:lnTo>
                  <a:lnTo>
                    <a:pt x="108118" y="144367"/>
                  </a:lnTo>
                  <a:lnTo>
                    <a:pt x="106958" y="146260"/>
                  </a:lnTo>
                  <a:lnTo>
                    <a:pt x="106462" y="149821"/>
                  </a:lnTo>
                  <a:lnTo>
                    <a:pt x="105632" y="150846"/>
                  </a:lnTo>
                  <a:lnTo>
                    <a:pt x="104332" y="151519"/>
                  </a:lnTo>
                  <a:lnTo>
                    <a:pt x="102300" y="150395"/>
                  </a:lnTo>
                  <a:lnTo>
                    <a:pt x="100890" y="149899"/>
                  </a:lnTo>
                  <a:lnTo>
                    <a:pt x="97608" y="151364"/>
                  </a:lnTo>
                  <a:lnTo>
                    <a:pt x="91108" y="153419"/>
                  </a:lnTo>
                  <a:lnTo>
                    <a:pt x="88893" y="153706"/>
                  </a:lnTo>
                  <a:lnTo>
                    <a:pt x="81359" y="151125"/>
                  </a:lnTo>
                  <a:lnTo>
                    <a:pt x="78601" y="149465"/>
                  </a:lnTo>
                  <a:lnTo>
                    <a:pt x="76824" y="147624"/>
                  </a:lnTo>
                  <a:lnTo>
                    <a:pt x="76224" y="144512"/>
                  </a:lnTo>
                  <a:lnTo>
                    <a:pt x="75105" y="142739"/>
                  </a:lnTo>
                  <a:lnTo>
                    <a:pt x="74941" y="141521"/>
                  </a:lnTo>
                  <a:lnTo>
                    <a:pt x="74503" y="140117"/>
                  </a:lnTo>
                  <a:lnTo>
                    <a:pt x="72985" y="139562"/>
                  </a:lnTo>
                  <a:lnTo>
                    <a:pt x="71354" y="140621"/>
                  </a:lnTo>
                  <a:lnTo>
                    <a:pt x="69607" y="140578"/>
                  </a:lnTo>
                  <a:lnTo>
                    <a:pt x="67413" y="139929"/>
                  </a:lnTo>
                  <a:lnTo>
                    <a:pt x="62237" y="137317"/>
                  </a:lnTo>
                  <a:lnTo>
                    <a:pt x="58260" y="137110"/>
                  </a:lnTo>
                  <a:lnTo>
                    <a:pt x="55869" y="140298"/>
                  </a:lnTo>
                  <a:lnTo>
                    <a:pt x="54010" y="141311"/>
                  </a:lnTo>
                  <a:lnTo>
                    <a:pt x="51974" y="141614"/>
                  </a:lnTo>
                  <a:lnTo>
                    <a:pt x="51857" y="140707"/>
                  </a:lnTo>
                  <a:lnTo>
                    <a:pt x="53401" y="138645"/>
                  </a:lnTo>
                  <a:lnTo>
                    <a:pt x="47206" y="139026"/>
                  </a:lnTo>
                  <a:lnTo>
                    <a:pt x="43935" y="140596"/>
                  </a:lnTo>
                  <a:lnTo>
                    <a:pt x="41382" y="140352"/>
                  </a:lnTo>
                  <a:lnTo>
                    <a:pt x="39469" y="139643"/>
                  </a:lnTo>
                  <a:lnTo>
                    <a:pt x="39756" y="138775"/>
                  </a:lnTo>
                  <a:lnTo>
                    <a:pt x="41697" y="138457"/>
                  </a:lnTo>
                  <a:lnTo>
                    <a:pt x="43381" y="137752"/>
                  </a:lnTo>
                  <a:lnTo>
                    <a:pt x="50095" y="137178"/>
                  </a:lnTo>
                  <a:lnTo>
                    <a:pt x="51663" y="136601"/>
                  </a:lnTo>
                  <a:lnTo>
                    <a:pt x="53380" y="134358"/>
                  </a:lnTo>
                  <a:lnTo>
                    <a:pt x="56506" y="132423"/>
                  </a:lnTo>
                  <a:lnTo>
                    <a:pt x="56903" y="131592"/>
                  </a:lnTo>
                  <a:lnTo>
                    <a:pt x="54500" y="131581"/>
                  </a:lnTo>
                  <a:lnTo>
                    <a:pt x="44211" y="132143"/>
                  </a:lnTo>
                  <a:lnTo>
                    <a:pt x="37147" y="131833"/>
                  </a:lnTo>
                  <a:lnTo>
                    <a:pt x="36310" y="132792"/>
                  </a:lnTo>
                  <a:lnTo>
                    <a:pt x="35247" y="132927"/>
                  </a:lnTo>
                  <a:lnTo>
                    <a:pt x="34954" y="130317"/>
                  </a:lnTo>
                  <a:lnTo>
                    <a:pt x="36070" y="129104"/>
                  </a:lnTo>
                  <a:lnTo>
                    <a:pt x="37573" y="129216"/>
                  </a:lnTo>
                  <a:lnTo>
                    <a:pt x="41263" y="128161"/>
                  </a:lnTo>
                  <a:lnTo>
                    <a:pt x="40933" y="125989"/>
                  </a:lnTo>
                  <a:lnTo>
                    <a:pt x="38290" y="124521"/>
                  </a:lnTo>
                  <a:lnTo>
                    <a:pt x="37752" y="123655"/>
                  </a:lnTo>
                  <a:lnTo>
                    <a:pt x="35835" y="123452"/>
                  </a:lnTo>
                  <a:lnTo>
                    <a:pt x="34280" y="122419"/>
                  </a:lnTo>
                  <a:lnTo>
                    <a:pt x="33941" y="119810"/>
                  </a:lnTo>
                  <a:lnTo>
                    <a:pt x="32703" y="116943"/>
                  </a:lnTo>
                  <a:lnTo>
                    <a:pt x="30935" y="115556"/>
                  </a:lnTo>
                  <a:lnTo>
                    <a:pt x="31153" y="114794"/>
                  </a:lnTo>
                  <a:lnTo>
                    <a:pt x="34394" y="113829"/>
                  </a:lnTo>
                  <a:lnTo>
                    <a:pt x="35066" y="109813"/>
                  </a:lnTo>
                  <a:lnTo>
                    <a:pt x="34571" y="107345"/>
                  </a:lnTo>
                  <a:lnTo>
                    <a:pt x="32941" y="107135"/>
                  </a:lnTo>
                  <a:lnTo>
                    <a:pt x="28191" y="105185"/>
                  </a:lnTo>
                  <a:lnTo>
                    <a:pt x="26748" y="105393"/>
                  </a:lnTo>
                  <a:lnTo>
                    <a:pt x="25174" y="103250"/>
                  </a:lnTo>
                  <a:lnTo>
                    <a:pt x="22418" y="101709"/>
                  </a:lnTo>
                  <a:lnTo>
                    <a:pt x="21054" y="102273"/>
                  </a:lnTo>
                  <a:lnTo>
                    <a:pt x="20198" y="102969"/>
                  </a:lnTo>
                  <a:lnTo>
                    <a:pt x="18922" y="102635"/>
                  </a:lnTo>
                  <a:lnTo>
                    <a:pt x="16782" y="101298"/>
                  </a:lnTo>
                  <a:lnTo>
                    <a:pt x="14681" y="100575"/>
                  </a:lnTo>
                  <a:lnTo>
                    <a:pt x="13748" y="99683"/>
                  </a:lnTo>
                  <a:lnTo>
                    <a:pt x="14919" y="97296"/>
                  </a:lnTo>
                  <a:lnTo>
                    <a:pt x="16528" y="97353"/>
                  </a:lnTo>
                  <a:lnTo>
                    <a:pt x="16821" y="95481"/>
                  </a:lnTo>
                  <a:lnTo>
                    <a:pt x="15551" y="92359"/>
                  </a:lnTo>
                  <a:lnTo>
                    <a:pt x="15675" y="90755"/>
                  </a:lnTo>
                  <a:lnTo>
                    <a:pt x="17078" y="90316"/>
                  </a:lnTo>
                  <a:lnTo>
                    <a:pt x="18676" y="90618"/>
                  </a:lnTo>
                  <a:lnTo>
                    <a:pt x="20289" y="92485"/>
                  </a:lnTo>
                  <a:lnTo>
                    <a:pt x="20816" y="94290"/>
                  </a:lnTo>
                  <a:lnTo>
                    <a:pt x="20477" y="96048"/>
                  </a:lnTo>
                  <a:lnTo>
                    <a:pt x="21501" y="97749"/>
                  </a:lnTo>
                  <a:lnTo>
                    <a:pt x="22228" y="98179"/>
                  </a:lnTo>
                  <a:lnTo>
                    <a:pt x="22718" y="96388"/>
                  </a:lnTo>
                  <a:lnTo>
                    <a:pt x="23403" y="96048"/>
                  </a:lnTo>
                  <a:lnTo>
                    <a:pt x="24345" y="96830"/>
                  </a:lnTo>
                  <a:lnTo>
                    <a:pt x="26368" y="97222"/>
                  </a:lnTo>
                  <a:lnTo>
                    <a:pt x="31613" y="96122"/>
                  </a:lnTo>
                  <a:lnTo>
                    <a:pt x="32621" y="95190"/>
                  </a:lnTo>
                  <a:lnTo>
                    <a:pt x="28778" y="95295"/>
                  </a:lnTo>
                  <a:lnTo>
                    <a:pt x="27372" y="94423"/>
                  </a:lnTo>
                  <a:lnTo>
                    <a:pt x="25845" y="92471"/>
                  </a:lnTo>
                  <a:lnTo>
                    <a:pt x="24906" y="90697"/>
                  </a:lnTo>
                  <a:lnTo>
                    <a:pt x="24738" y="89826"/>
                  </a:lnTo>
                  <a:lnTo>
                    <a:pt x="24206" y="88552"/>
                  </a:lnTo>
                  <a:lnTo>
                    <a:pt x="24792" y="87870"/>
                  </a:lnTo>
                  <a:lnTo>
                    <a:pt x="27424" y="86846"/>
                  </a:lnTo>
                  <a:lnTo>
                    <a:pt x="29734" y="83978"/>
                  </a:lnTo>
                  <a:lnTo>
                    <a:pt x="28771" y="83147"/>
                  </a:lnTo>
                  <a:lnTo>
                    <a:pt x="27670" y="82754"/>
                  </a:lnTo>
                  <a:lnTo>
                    <a:pt x="26474" y="83046"/>
                  </a:lnTo>
                  <a:lnTo>
                    <a:pt x="25340" y="82063"/>
                  </a:lnTo>
                  <a:lnTo>
                    <a:pt x="25193" y="80695"/>
                  </a:lnTo>
                  <a:lnTo>
                    <a:pt x="26100" y="79588"/>
                  </a:lnTo>
                  <a:lnTo>
                    <a:pt x="26195" y="78064"/>
                  </a:lnTo>
                  <a:lnTo>
                    <a:pt x="23226" y="74309"/>
                  </a:lnTo>
                  <a:lnTo>
                    <a:pt x="22397" y="73491"/>
                  </a:lnTo>
                  <a:lnTo>
                    <a:pt x="23036" y="72262"/>
                  </a:lnTo>
                  <a:lnTo>
                    <a:pt x="25303" y="70203"/>
                  </a:lnTo>
                  <a:lnTo>
                    <a:pt x="27463" y="67652"/>
                  </a:lnTo>
                  <a:lnTo>
                    <a:pt x="27203" y="66812"/>
                  </a:lnTo>
                  <a:lnTo>
                    <a:pt x="25608" y="66469"/>
                  </a:lnTo>
                  <a:lnTo>
                    <a:pt x="18024" y="67564"/>
                  </a:lnTo>
                  <a:lnTo>
                    <a:pt x="15076" y="68515"/>
                  </a:lnTo>
                  <a:lnTo>
                    <a:pt x="9820" y="68948"/>
                  </a:lnTo>
                  <a:lnTo>
                    <a:pt x="9442" y="67562"/>
                  </a:lnTo>
                  <a:lnTo>
                    <a:pt x="9561" y="66311"/>
                  </a:lnTo>
                  <a:lnTo>
                    <a:pt x="10740" y="64032"/>
                  </a:lnTo>
                  <a:lnTo>
                    <a:pt x="10632" y="58406"/>
                  </a:lnTo>
                  <a:lnTo>
                    <a:pt x="11330" y="55351"/>
                  </a:lnTo>
                  <a:lnTo>
                    <a:pt x="14250" y="54441"/>
                  </a:lnTo>
                  <a:lnTo>
                    <a:pt x="17832" y="49945"/>
                  </a:lnTo>
                  <a:lnTo>
                    <a:pt x="23640" y="44639"/>
                  </a:lnTo>
                  <a:lnTo>
                    <a:pt x="29700" y="44741"/>
                  </a:lnTo>
                  <a:lnTo>
                    <a:pt x="32122" y="43275"/>
                  </a:lnTo>
                  <a:lnTo>
                    <a:pt x="35725" y="43189"/>
                  </a:lnTo>
                  <a:lnTo>
                    <a:pt x="36379" y="44255"/>
                  </a:lnTo>
                  <a:lnTo>
                    <a:pt x="36787" y="45275"/>
                  </a:lnTo>
                  <a:lnTo>
                    <a:pt x="39948" y="46739"/>
                  </a:lnTo>
                  <a:lnTo>
                    <a:pt x="45530" y="46507"/>
                  </a:lnTo>
                  <a:lnTo>
                    <a:pt x="46886" y="45930"/>
                  </a:lnTo>
                  <a:lnTo>
                    <a:pt x="48195" y="45123"/>
                  </a:lnTo>
                  <a:lnTo>
                    <a:pt x="45614" y="42512"/>
                  </a:lnTo>
                  <a:lnTo>
                    <a:pt x="46439" y="41775"/>
                  </a:lnTo>
                  <a:lnTo>
                    <a:pt x="48778" y="41688"/>
                  </a:lnTo>
                  <a:lnTo>
                    <a:pt x="51313" y="42303"/>
                  </a:lnTo>
                  <a:lnTo>
                    <a:pt x="51430" y="42901"/>
                  </a:lnTo>
                  <a:lnTo>
                    <a:pt x="50756" y="43721"/>
                  </a:lnTo>
                  <a:lnTo>
                    <a:pt x="49972" y="45157"/>
                  </a:lnTo>
                  <a:lnTo>
                    <a:pt x="50717" y="45433"/>
                  </a:lnTo>
                  <a:lnTo>
                    <a:pt x="57936" y="44566"/>
                  </a:lnTo>
                  <a:lnTo>
                    <a:pt x="65481" y="45261"/>
                  </a:lnTo>
                  <a:lnTo>
                    <a:pt x="67882" y="44884"/>
                  </a:lnTo>
                  <a:lnTo>
                    <a:pt x="73814" y="44913"/>
                  </a:lnTo>
                  <a:lnTo>
                    <a:pt x="74876" y="44012"/>
                  </a:lnTo>
                  <a:lnTo>
                    <a:pt x="73082" y="42881"/>
                  </a:lnTo>
                  <a:lnTo>
                    <a:pt x="71326" y="42488"/>
                  </a:lnTo>
                  <a:lnTo>
                    <a:pt x="70145" y="41936"/>
                  </a:lnTo>
                  <a:lnTo>
                    <a:pt x="68966" y="41136"/>
                  </a:lnTo>
                  <a:lnTo>
                    <a:pt x="72728" y="38606"/>
                  </a:lnTo>
                  <a:lnTo>
                    <a:pt x="74852" y="38119"/>
                  </a:lnTo>
                  <a:lnTo>
                    <a:pt x="84881" y="36564"/>
                  </a:lnTo>
                  <a:lnTo>
                    <a:pt x="92339" y="35785"/>
                  </a:lnTo>
                  <a:lnTo>
                    <a:pt x="92434" y="35207"/>
                  </a:lnTo>
                  <a:lnTo>
                    <a:pt x="91359" y="35206"/>
                  </a:lnTo>
                  <a:lnTo>
                    <a:pt x="81721" y="33916"/>
                  </a:lnTo>
                  <a:lnTo>
                    <a:pt x="79400" y="32917"/>
                  </a:lnTo>
                  <a:lnTo>
                    <a:pt x="76174" y="30538"/>
                  </a:lnTo>
                  <a:lnTo>
                    <a:pt x="75474" y="29865"/>
                  </a:lnTo>
                  <a:lnTo>
                    <a:pt x="74662" y="28704"/>
                  </a:lnTo>
                  <a:lnTo>
                    <a:pt x="75146" y="26228"/>
                  </a:lnTo>
                  <a:lnTo>
                    <a:pt x="75742" y="24237"/>
                  </a:lnTo>
                  <a:lnTo>
                    <a:pt x="76932" y="23083"/>
                  </a:lnTo>
                  <a:lnTo>
                    <a:pt x="80782" y="22907"/>
                  </a:lnTo>
                  <a:lnTo>
                    <a:pt x="93985" y="24933"/>
                  </a:lnTo>
                  <a:lnTo>
                    <a:pt x="103395" y="23719"/>
                  </a:lnTo>
                  <a:lnTo>
                    <a:pt x="113680" y="26670"/>
                  </a:lnTo>
                  <a:lnTo>
                    <a:pt x="123516" y="26071"/>
                  </a:lnTo>
                  <a:lnTo>
                    <a:pt x="125546" y="24746"/>
                  </a:lnTo>
                  <a:lnTo>
                    <a:pt x="128008" y="20473"/>
                  </a:lnTo>
                  <a:lnTo>
                    <a:pt x="141904" y="13362"/>
                  </a:lnTo>
                  <a:lnTo>
                    <a:pt x="146769" y="9647"/>
                  </a:lnTo>
                  <a:lnTo>
                    <a:pt x="151981" y="7613"/>
                  </a:lnTo>
                  <a:lnTo>
                    <a:pt x="160925" y="5350"/>
                  </a:lnTo>
                  <a:lnTo>
                    <a:pt x="168401" y="2356"/>
                  </a:lnTo>
                  <a:lnTo>
                    <a:pt x="170537" y="2011"/>
                  </a:lnTo>
                  <a:lnTo>
                    <a:pt x="188484" y="3441"/>
                  </a:lnTo>
                  <a:lnTo>
                    <a:pt x="200812" y="3623"/>
                  </a:lnTo>
                  <a:close/>
                  <a:moveTo>
                    <a:pt x="34835" y="0"/>
                  </a:moveTo>
                  <a:lnTo>
                    <a:pt x="35953" y="365"/>
                  </a:lnTo>
                  <a:lnTo>
                    <a:pt x="37456" y="1812"/>
                  </a:lnTo>
                  <a:lnTo>
                    <a:pt x="39931" y="3887"/>
                  </a:lnTo>
                  <a:lnTo>
                    <a:pt x="41259" y="4579"/>
                  </a:lnTo>
                  <a:lnTo>
                    <a:pt x="42254" y="4258"/>
                  </a:lnTo>
                  <a:lnTo>
                    <a:pt x="44051" y="3504"/>
                  </a:lnTo>
                  <a:lnTo>
                    <a:pt x="45770" y="3498"/>
                  </a:lnTo>
                  <a:lnTo>
                    <a:pt x="47158" y="3631"/>
                  </a:lnTo>
                  <a:lnTo>
                    <a:pt x="47828" y="2974"/>
                  </a:lnTo>
                  <a:lnTo>
                    <a:pt x="48873" y="2833"/>
                  </a:lnTo>
                  <a:lnTo>
                    <a:pt x="51864" y="3299"/>
                  </a:lnTo>
                  <a:lnTo>
                    <a:pt x="51264" y="6327"/>
                  </a:lnTo>
                  <a:lnTo>
                    <a:pt x="52656" y="9659"/>
                  </a:lnTo>
                  <a:lnTo>
                    <a:pt x="55919" y="14280"/>
                  </a:lnTo>
                  <a:lnTo>
                    <a:pt x="59203" y="16609"/>
                  </a:lnTo>
                  <a:lnTo>
                    <a:pt x="72479" y="22362"/>
                  </a:lnTo>
                  <a:lnTo>
                    <a:pt x="74922" y="22853"/>
                  </a:lnTo>
                  <a:lnTo>
                    <a:pt x="74367" y="25206"/>
                  </a:lnTo>
                  <a:lnTo>
                    <a:pt x="73568" y="27295"/>
                  </a:lnTo>
                  <a:lnTo>
                    <a:pt x="72689" y="28688"/>
                  </a:lnTo>
                  <a:lnTo>
                    <a:pt x="68800" y="29583"/>
                  </a:lnTo>
                  <a:lnTo>
                    <a:pt x="58065" y="27022"/>
                  </a:lnTo>
                  <a:lnTo>
                    <a:pt x="55351" y="26780"/>
                  </a:lnTo>
                  <a:lnTo>
                    <a:pt x="53436" y="27290"/>
                  </a:lnTo>
                  <a:lnTo>
                    <a:pt x="49890" y="29151"/>
                  </a:lnTo>
                  <a:lnTo>
                    <a:pt x="45958" y="28554"/>
                  </a:lnTo>
                  <a:lnTo>
                    <a:pt x="40475" y="29610"/>
                  </a:lnTo>
                  <a:lnTo>
                    <a:pt x="38944" y="33111"/>
                  </a:lnTo>
                  <a:lnTo>
                    <a:pt x="35137" y="37117"/>
                  </a:lnTo>
                  <a:lnTo>
                    <a:pt x="28871" y="40350"/>
                  </a:lnTo>
                  <a:lnTo>
                    <a:pt x="24392" y="42078"/>
                  </a:lnTo>
                  <a:lnTo>
                    <a:pt x="17668" y="48267"/>
                  </a:lnTo>
                  <a:lnTo>
                    <a:pt x="14617" y="51874"/>
                  </a:lnTo>
                  <a:lnTo>
                    <a:pt x="13329" y="52573"/>
                  </a:lnTo>
                  <a:lnTo>
                    <a:pt x="11803" y="53126"/>
                  </a:lnTo>
                  <a:lnTo>
                    <a:pt x="12317" y="51396"/>
                  </a:lnTo>
                  <a:lnTo>
                    <a:pt x="13072" y="49811"/>
                  </a:lnTo>
                  <a:lnTo>
                    <a:pt x="12900" y="48615"/>
                  </a:lnTo>
                  <a:lnTo>
                    <a:pt x="12932" y="46876"/>
                  </a:lnTo>
                  <a:lnTo>
                    <a:pt x="15176" y="44900"/>
                  </a:lnTo>
                  <a:lnTo>
                    <a:pt x="17214" y="43467"/>
                  </a:lnTo>
                  <a:lnTo>
                    <a:pt x="23247" y="40868"/>
                  </a:lnTo>
                  <a:lnTo>
                    <a:pt x="24835" y="38709"/>
                  </a:lnTo>
                  <a:lnTo>
                    <a:pt x="20103" y="38761"/>
                  </a:lnTo>
                  <a:lnTo>
                    <a:pt x="15301" y="39241"/>
                  </a:lnTo>
                  <a:lnTo>
                    <a:pt x="12278" y="38934"/>
                  </a:lnTo>
                  <a:lnTo>
                    <a:pt x="9652" y="39110"/>
                  </a:lnTo>
                  <a:lnTo>
                    <a:pt x="8818" y="37220"/>
                  </a:lnTo>
                  <a:lnTo>
                    <a:pt x="8182" y="36083"/>
                  </a:lnTo>
                  <a:lnTo>
                    <a:pt x="8862" y="35728"/>
                  </a:lnTo>
                  <a:lnTo>
                    <a:pt x="9734" y="35482"/>
                  </a:lnTo>
                  <a:lnTo>
                    <a:pt x="11276" y="33464"/>
                  </a:lnTo>
                  <a:lnTo>
                    <a:pt x="12653" y="31974"/>
                  </a:lnTo>
                  <a:lnTo>
                    <a:pt x="14640" y="30100"/>
                  </a:lnTo>
                  <a:lnTo>
                    <a:pt x="15150" y="28981"/>
                  </a:lnTo>
                  <a:lnTo>
                    <a:pt x="15150" y="27936"/>
                  </a:lnTo>
                  <a:lnTo>
                    <a:pt x="14675" y="27211"/>
                  </a:lnTo>
                  <a:lnTo>
                    <a:pt x="14582" y="26350"/>
                  </a:lnTo>
                  <a:lnTo>
                    <a:pt x="14522" y="25132"/>
                  </a:lnTo>
                  <a:lnTo>
                    <a:pt x="14632" y="22616"/>
                  </a:lnTo>
                  <a:lnTo>
                    <a:pt x="19181" y="19863"/>
                  </a:lnTo>
                  <a:lnTo>
                    <a:pt x="20639" y="19572"/>
                  </a:lnTo>
                  <a:lnTo>
                    <a:pt x="21138" y="18316"/>
                  </a:lnTo>
                  <a:lnTo>
                    <a:pt x="20803" y="15399"/>
                  </a:lnTo>
                  <a:lnTo>
                    <a:pt x="20175" y="13043"/>
                  </a:lnTo>
                  <a:lnTo>
                    <a:pt x="19360" y="12885"/>
                  </a:lnTo>
                  <a:lnTo>
                    <a:pt x="18266" y="12197"/>
                  </a:lnTo>
                  <a:lnTo>
                    <a:pt x="17547" y="11400"/>
                  </a:lnTo>
                  <a:lnTo>
                    <a:pt x="16398" y="10527"/>
                  </a:lnTo>
                  <a:lnTo>
                    <a:pt x="14415" y="9992"/>
                  </a:lnTo>
                  <a:lnTo>
                    <a:pt x="14351" y="9247"/>
                  </a:lnTo>
                  <a:lnTo>
                    <a:pt x="14556" y="8502"/>
                  </a:lnTo>
                  <a:lnTo>
                    <a:pt x="15288" y="7740"/>
                  </a:lnTo>
                  <a:lnTo>
                    <a:pt x="18629" y="7083"/>
                  </a:lnTo>
                  <a:lnTo>
                    <a:pt x="19024" y="6545"/>
                  </a:lnTo>
                  <a:lnTo>
                    <a:pt x="19475" y="5218"/>
                  </a:lnTo>
                  <a:lnTo>
                    <a:pt x="20138" y="3859"/>
                  </a:lnTo>
                  <a:lnTo>
                    <a:pt x="20926" y="3409"/>
                  </a:lnTo>
                  <a:lnTo>
                    <a:pt x="22339" y="3451"/>
                  </a:lnTo>
                  <a:lnTo>
                    <a:pt x="25018" y="3137"/>
                  </a:lnTo>
                  <a:lnTo>
                    <a:pt x="26886" y="2694"/>
                  </a:lnTo>
                  <a:lnTo>
                    <a:pt x="28741" y="1764"/>
                  </a:lnTo>
                  <a:lnTo>
                    <a:pt x="29691" y="920"/>
                  </a:lnTo>
                  <a:lnTo>
                    <a:pt x="33708" y="430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ee4p_RU_1_37764">
              <a:extLst>
                <a:ext uri="{FF2B5EF4-FFF2-40B4-BE49-F238E27FC236}">
                  <a16:creationId xmlns:a16="http://schemas.microsoft.com/office/drawing/2014/main" id="{745629FF-CB69-424C-9FF8-0F999A5C117C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12500710" y="2996041"/>
              <a:ext cx="4814504" cy="8067307"/>
            </a:xfrm>
            <a:custGeom>
              <a:avLst/>
              <a:gdLst>
                <a:gd name="connsiteX0" fmla="*/ 28644 w 511468"/>
                <a:gd name="connsiteY0" fmla="*/ 509016 h 857029"/>
                <a:gd name="connsiteX1" fmla="*/ 29927 w 511468"/>
                <a:gd name="connsiteY1" fmla="*/ 509255 h 857029"/>
                <a:gd name="connsiteX2" fmla="*/ 27750 w 511468"/>
                <a:gd name="connsiteY2" fmla="*/ 512193 h 857029"/>
                <a:gd name="connsiteX3" fmla="*/ 21900 w 511468"/>
                <a:gd name="connsiteY3" fmla="*/ 518387 h 857029"/>
                <a:gd name="connsiteX4" fmla="*/ 23733 w 511468"/>
                <a:gd name="connsiteY4" fmla="*/ 519208 h 857029"/>
                <a:gd name="connsiteX5" fmla="*/ 25862 w 511468"/>
                <a:gd name="connsiteY5" fmla="*/ 519473 h 857029"/>
                <a:gd name="connsiteX6" fmla="*/ 28372 w 511468"/>
                <a:gd name="connsiteY6" fmla="*/ 520626 h 857029"/>
                <a:gd name="connsiteX7" fmla="*/ 30769 w 511468"/>
                <a:gd name="connsiteY7" fmla="*/ 520834 h 857029"/>
                <a:gd name="connsiteX8" fmla="*/ 35036 w 511468"/>
                <a:gd name="connsiteY8" fmla="*/ 519836 h 857029"/>
                <a:gd name="connsiteX9" fmla="*/ 35787 w 511468"/>
                <a:gd name="connsiteY9" fmla="*/ 514530 h 857029"/>
                <a:gd name="connsiteX10" fmla="*/ 36072 w 511468"/>
                <a:gd name="connsiteY10" fmla="*/ 509712 h 857029"/>
                <a:gd name="connsiteX11" fmla="*/ 37439 w 511468"/>
                <a:gd name="connsiteY11" fmla="*/ 509701 h 857029"/>
                <a:gd name="connsiteX12" fmla="*/ 39467 w 511468"/>
                <a:gd name="connsiteY12" fmla="*/ 509360 h 857029"/>
                <a:gd name="connsiteX13" fmla="*/ 40745 w 511468"/>
                <a:gd name="connsiteY13" fmla="*/ 510627 h 857029"/>
                <a:gd name="connsiteX14" fmla="*/ 43125 w 511468"/>
                <a:gd name="connsiteY14" fmla="*/ 511833 h 857029"/>
                <a:gd name="connsiteX15" fmla="*/ 45955 w 511468"/>
                <a:gd name="connsiteY15" fmla="*/ 512911 h 857029"/>
                <a:gd name="connsiteX16" fmla="*/ 50184 w 511468"/>
                <a:gd name="connsiteY16" fmla="*/ 514747 h 857029"/>
                <a:gd name="connsiteX17" fmla="*/ 54572 w 511468"/>
                <a:gd name="connsiteY17" fmla="*/ 515887 h 857029"/>
                <a:gd name="connsiteX18" fmla="*/ 56020 w 511468"/>
                <a:gd name="connsiteY18" fmla="*/ 516019 h 857029"/>
                <a:gd name="connsiteX19" fmla="*/ 60631 w 511468"/>
                <a:gd name="connsiteY19" fmla="*/ 515869 h 857029"/>
                <a:gd name="connsiteX20" fmla="*/ 65515 w 511468"/>
                <a:gd name="connsiteY20" fmla="*/ 516027 h 857029"/>
                <a:gd name="connsiteX21" fmla="*/ 66846 w 511468"/>
                <a:gd name="connsiteY21" fmla="*/ 518746 h 857029"/>
                <a:gd name="connsiteX22" fmla="*/ 69257 w 511468"/>
                <a:gd name="connsiteY22" fmla="*/ 520031 h 857029"/>
                <a:gd name="connsiteX23" fmla="*/ 71207 w 511468"/>
                <a:gd name="connsiteY23" fmla="*/ 521798 h 857029"/>
                <a:gd name="connsiteX24" fmla="*/ 71352 w 511468"/>
                <a:gd name="connsiteY24" fmla="*/ 522805 h 857029"/>
                <a:gd name="connsiteX25" fmla="*/ 68664 w 511468"/>
                <a:gd name="connsiteY25" fmla="*/ 529110 h 857029"/>
                <a:gd name="connsiteX26" fmla="*/ 68107 w 511468"/>
                <a:gd name="connsiteY26" fmla="*/ 531241 h 857029"/>
                <a:gd name="connsiteX27" fmla="*/ 68005 w 511468"/>
                <a:gd name="connsiteY27" fmla="*/ 533376 h 857029"/>
                <a:gd name="connsiteX28" fmla="*/ 68988 w 511468"/>
                <a:gd name="connsiteY28" fmla="*/ 536043 h 857029"/>
                <a:gd name="connsiteX29" fmla="*/ 69914 w 511468"/>
                <a:gd name="connsiteY29" fmla="*/ 537532 h 857029"/>
                <a:gd name="connsiteX30" fmla="*/ 69154 w 511468"/>
                <a:gd name="connsiteY30" fmla="*/ 537736 h 857029"/>
                <a:gd name="connsiteX31" fmla="*/ 56696 w 511468"/>
                <a:gd name="connsiteY31" fmla="*/ 537438 h 857029"/>
                <a:gd name="connsiteX32" fmla="*/ 44883 w 511468"/>
                <a:gd name="connsiteY32" fmla="*/ 536932 h 857029"/>
                <a:gd name="connsiteX33" fmla="*/ 33967 w 511468"/>
                <a:gd name="connsiteY33" fmla="*/ 536465 h 857029"/>
                <a:gd name="connsiteX34" fmla="*/ 23446 w 511468"/>
                <a:gd name="connsiteY34" fmla="*/ 536012 h 857029"/>
                <a:gd name="connsiteX35" fmla="*/ 13351 w 511468"/>
                <a:gd name="connsiteY35" fmla="*/ 535582 h 857029"/>
                <a:gd name="connsiteX36" fmla="*/ 7074 w 511468"/>
                <a:gd name="connsiteY36" fmla="*/ 535178 h 857029"/>
                <a:gd name="connsiteX37" fmla="*/ 881 w 511468"/>
                <a:gd name="connsiteY37" fmla="*/ 534779 h 857029"/>
                <a:gd name="connsiteX38" fmla="*/ 0 w 511468"/>
                <a:gd name="connsiteY38" fmla="*/ 534410 h 857029"/>
                <a:gd name="connsiteX39" fmla="*/ 3407 w 511468"/>
                <a:gd name="connsiteY39" fmla="*/ 531794 h 857029"/>
                <a:gd name="connsiteX40" fmla="*/ 5627 w 511468"/>
                <a:gd name="connsiteY40" fmla="*/ 529073 h 857029"/>
                <a:gd name="connsiteX41" fmla="*/ 7512 w 511468"/>
                <a:gd name="connsiteY41" fmla="*/ 525517 h 857029"/>
                <a:gd name="connsiteX42" fmla="*/ 7713 w 511468"/>
                <a:gd name="connsiteY42" fmla="*/ 523051 h 857029"/>
                <a:gd name="connsiteX43" fmla="*/ 8184 w 511468"/>
                <a:gd name="connsiteY43" fmla="*/ 520266 h 857029"/>
                <a:gd name="connsiteX44" fmla="*/ 11127 w 511468"/>
                <a:gd name="connsiteY44" fmla="*/ 519182 h 857029"/>
                <a:gd name="connsiteX45" fmla="*/ 17519 w 511468"/>
                <a:gd name="connsiteY45" fmla="*/ 519343 h 857029"/>
                <a:gd name="connsiteX46" fmla="*/ 20252 w 511468"/>
                <a:gd name="connsiteY46" fmla="*/ 518003 h 857029"/>
                <a:gd name="connsiteX47" fmla="*/ 23759 w 511468"/>
                <a:gd name="connsiteY47" fmla="*/ 514688 h 857029"/>
                <a:gd name="connsiteX48" fmla="*/ 27448 w 511468"/>
                <a:gd name="connsiteY48" fmla="*/ 510701 h 857029"/>
                <a:gd name="connsiteX49" fmla="*/ 356551 w 511468"/>
                <a:gd name="connsiteY49" fmla="*/ 179341 h 857029"/>
                <a:gd name="connsiteX50" fmla="*/ 358475 w 511468"/>
                <a:gd name="connsiteY50" fmla="*/ 179899 h 857029"/>
                <a:gd name="connsiteX51" fmla="*/ 359190 w 511468"/>
                <a:gd name="connsiteY51" fmla="*/ 181318 h 857029"/>
                <a:gd name="connsiteX52" fmla="*/ 359410 w 511468"/>
                <a:gd name="connsiteY52" fmla="*/ 183648 h 857029"/>
                <a:gd name="connsiteX53" fmla="*/ 358723 w 511468"/>
                <a:gd name="connsiteY53" fmla="*/ 185139 h 857029"/>
                <a:gd name="connsiteX54" fmla="*/ 359054 w 511468"/>
                <a:gd name="connsiteY54" fmla="*/ 186396 h 857029"/>
                <a:gd name="connsiteX55" fmla="*/ 357648 w 511468"/>
                <a:gd name="connsiteY55" fmla="*/ 187287 h 857029"/>
                <a:gd name="connsiteX56" fmla="*/ 355467 w 511468"/>
                <a:gd name="connsiteY56" fmla="*/ 184379 h 857029"/>
                <a:gd name="connsiteX57" fmla="*/ 354169 w 511468"/>
                <a:gd name="connsiteY57" fmla="*/ 184337 h 857029"/>
                <a:gd name="connsiteX58" fmla="*/ 352780 w 511468"/>
                <a:gd name="connsiteY58" fmla="*/ 183084 h 857029"/>
                <a:gd name="connsiteX59" fmla="*/ 352124 w 511468"/>
                <a:gd name="connsiteY59" fmla="*/ 181016 h 857029"/>
                <a:gd name="connsiteX60" fmla="*/ 353381 w 511468"/>
                <a:gd name="connsiteY60" fmla="*/ 180439 h 857029"/>
                <a:gd name="connsiteX61" fmla="*/ 353889 w 511468"/>
                <a:gd name="connsiteY61" fmla="*/ 180798 h 857029"/>
                <a:gd name="connsiteX62" fmla="*/ 507319 w 511468"/>
                <a:gd name="connsiteY62" fmla="*/ 120897 h 857029"/>
                <a:gd name="connsiteX63" fmla="*/ 509176 w 511468"/>
                <a:gd name="connsiteY63" fmla="*/ 121390 h 857029"/>
                <a:gd name="connsiteX64" fmla="*/ 510487 w 511468"/>
                <a:gd name="connsiteY64" fmla="*/ 123131 h 857029"/>
                <a:gd name="connsiteX65" fmla="*/ 510994 w 511468"/>
                <a:gd name="connsiteY65" fmla="*/ 124376 h 857029"/>
                <a:gd name="connsiteX66" fmla="*/ 510152 w 511468"/>
                <a:gd name="connsiteY66" fmla="*/ 124880 h 857029"/>
                <a:gd name="connsiteX67" fmla="*/ 505769 w 511468"/>
                <a:gd name="connsiteY67" fmla="*/ 123140 h 857029"/>
                <a:gd name="connsiteX68" fmla="*/ 505387 w 511468"/>
                <a:gd name="connsiteY68" fmla="*/ 121830 h 857029"/>
                <a:gd name="connsiteX69" fmla="*/ 505574 w 511468"/>
                <a:gd name="connsiteY69" fmla="*/ 121267 h 857029"/>
                <a:gd name="connsiteX70" fmla="*/ 273751 w 511468"/>
                <a:gd name="connsiteY70" fmla="*/ 0 h 857029"/>
                <a:gd name="connsiteX71" fmla="*/ 282752 w 511468"/>
                <a:gd name="connsiteY71" fmla="*/ 3354 h 857029"/>
                <a:gd name="connsiteX72" fmla="*/ 286595 w 511468"/>
                <a:gd name="connsiteY72" fmla="*/ 5805 h 857029"/>
                <a:gd name="connsiteX73" fmla="*/ 294915 w 511468"/>
                <a:gd name="connsiteY73" fmla="*/ 7956 h 857029"/>
                <a:gd name="connsiteX74" fmla="*/ 296377 w 511468"/>
                <a:gd name="connsiteY74" fmla="*/ 9126 h 857029"/>
                <a:gd name="connsiteX75" fmla="*/ 296483 w 511468"/>
                <a:gd name="connsiteY75" fmla="*/ 11154 h 857029"/>
                <a:gd name="connsiteX76" fmla="*/ 296086 w 511468"/>
                <a:gd name="connsiteY76" fmla="*/ 12894 h 857029"/>
                <a:gd name="connsiteX77" fmla="*/ 294326 w 511468"/>
                <a:gd name="connsiteY77" fmla="*/ 13854 h 857029"/>
                <a:gd name="connsiteX78" fmla="*/ 290771 w 511468"/>
                <a:gd name="connsiteY78" fmla="*/ 13697 h 857029"/>
                <a:gd name="connsiteX79" fmla="*/ 278001 w 511468"/>
                <a:gd name="connsiteY79" fmla="*/ 11016 h 857029"/>
                <a:gd name="connsiteX80" fmla="*/ 276116 w 511468"/>
                <a:gd name="connsiteY80" fmla="*/ 12644 h 857029"/>
                <a:gd name="connsiteX81" fmla="*/ 277660 w 511468"/>
                <a:gd name="connsiteY81" fmla="*/ 14053 h 857029"/>
                <a:gd name="connsiteX82" fmla="*/ 281402 w 511468"/>
                <a:gd name="connsiteY82" fmla="*/ 15715 h 857029"/>
                <a:gd name="connsiteX83" fmla="*/ 282445 w 511468"/>
                <a:gd name="connsiteY83" fmla="*/ 18657 h 857029"/>
                <a:gd name="connsiteX84" fmla="*/ 288174 w 511468"/>
                <a:gd name="connsiteY84" fmla="*/ 18252 h 857029"/>
                <a:gd name="connsiteX85" fmla="*/ 293635 w 511468"/>
                <a:gd name="connsiteY85" fmla="*/ 19371 h 857029"/>
                <a:gd name="connsiteX86" fmla="*/ 296200 w 511468"/>
                <a:gd name="connsiteY86" fmla="*/ 19008 h 857029"/>
                <a:gd name="connsiteX87" fmla="*/ 296669 w 511468"/>
                <a:gd name="connsiteY87" fmla="*/ 19967 h 857029"/>
                <a:gd name="connsiteX88" fmla="*/ 294913 w 511468"/>
                <a:gd name="connsiteY88" fmla="*/ 22399 h 857029"/>
                <a:gd name="connsiteX89" fmla="*/ 295738 w 511468"/>
                <a:gd name="connsiteY89" fmla="*/ 23024 h 857029"/>
                <a:gd name="connsiteX90" fmla="*/ 301862 w 511468"/>
                <a:gd name="connsiteY90" fmla="*/ 20665 h 857029"/>
                <a:gd name="connsiteX91" fmla="*/ 304715 w 511468"/>
                <a:gd name="connsiteY91" fmla="*/ 20018 h 857029"/>
                <a:gd name="connsiteX92" fmla="*/ 306250 w 511468"/>
                <a:gd name="connsiteY92" fmla="*/ 20648 h 857029"/>
                <a:gd name="connsiteX93" fmla="*/ 306457 w 511468"/>
                <a:gd name="connsiteY93" fmla="*/ 22601 h 857029"/>
                <a:gd name="connsiteX94" fmla="*/ 305447 w 511468"/>
                <a:gd name="connsiteY94" fmla="*/ 25055 h 857029"/>
                <a:gd name="connsiteX95" fmla="*/ 305337 w 511468"/>
                <a:gd name="connsiteY95" fmla="*/ 26920 h 857029"/>
                <a:gd name="connsiteX96" fmla="*/ 303452 w 511468"/>
                <a:gd name="connsiteY96" fmla="*/ 31417 h 857029"/>
                <a:gd name="connsiteX97" fmla="*/ 300547 w 511468"/>
                <a:gd name="connsiteY97" fmla="*/ 32777 h 857029"/>
                <a:gd name="connsiteX98" fmla="*/ 299327 w 511468"/>
                <a:gd name="connsiteY98" fmla="*/ 34646 h 857029"/>
                <a:gd name="connsiteX99" fmla="*/ 303577 w 511468"/>
                <a:gd name="connsiteY99" fmla="*/ 33501 h 857029"/>
                <a:gd name="connsiteX100" fmla="*/ 305838 w 511468"/>
                <a:gd name="connsiteY100" fmla="*/ 32252 h 857029"/>
                <a:gd name="connsiteX101" fmla="*/ 310070 w 511468"/>
                <a:gd name="connsiteY101" fmla="*/ 26073 h 857029"/>
                <a:gd name="connsiteX102" fmla="*/ 311338 w 511468"/>
                <a:gd name="connsiteY102" fmla="*/ 25251 h 857029"/>
                <a:gd name="connsiteX103" fmla="*/ 323389 w 511468"/>
                <a:gd name="connsiteY103" fmla="*/ 25139 h 857029"/>
                <a:gd name="connsiteX104" fmla="*/ 326117 w 511468"/>
                <a:gd name="connsiteY104" fmla="*/ 25537 h 857029"/>
                <a:gd name="connsiteX105" fmla="*/ 337421 w 511468"/>
                <a:gd name="connsiteY105" fmla="*/ 28452 h 857029"/>
                <a:gd name="connsiteX106" fmla="*/ 340640 w 511468"/>
                <a:gd name="connsiteY106" fmla="*/ 28719 h 857029"/>
                <a:gd name="connsiteX107" fmla="*/ 344318 w 511468"/>
                <a:gd name="connsiteY107" fmla="*/ 28346 h 857029"/>
                <a:gd name="connsiteX108" fmla="*/ 345586 w 511468"/>
                <a:gd name="connsiteY108" fmla="*/ 26992 h 857029"/>
                <a:gd name="connsiteX109" fmla="*/ 346838 w 511468"/>
                <a:gd name="connsiteY109" fmla="*/ 26608 h 857029"/>
                <a:gd name="connsiteX110" fmla="*/ 359399 w 511468"/>
                <a:gd name="connsiteY110" fmla="*/ 29866 h 857029"/>
                <a:gd name="connsiteX111" fmla="*/ 376212 w 511468"/>
                <a:gd name="connsiteY111" fmla="*/ 37175 h 857029"/>
                <a:gd name="connsiteX112" fmla="*/ 400807 w 511468"/>
                <a:gd name="connsiteY112" fmla="*/ 49201 h 857029"/>
                <a:gd name="connsiteX113" fmla="*/ 414673 w 511468"/>
                <a:gd name="connsiteY113" fmla="*/ 59838 h 857029"/>
                <a:gd name="connsiteX114" fmla="*/ 416277 w 511468"/>
                <a:gd name="connsiteY114" fmla="*/ 62116 h 857029"/>
                <a:gd name="connsiteX115" fmla="*/ 421289 w 511468"/>
                <a:gd name="connsiteY115" fmla="*/ 63406 h 857029"/>
                <a:gd name="connsiteX116" fmla="*/ 422367 w 511468"/>
                <a:gd name="connsiteY116" fmla="*/ 62533 h 857029"/>
                <a:gd name="connsiteX117" fmla="*/ 425152 w 511468"/>
                <a:gd name="connsiteY117" fmla="*/ 63290 h 857029"/>
                <a:gd name="connsiteX118" fmla="*/ 441458 w 511468"/>
                <a:gd name="connsiteY118" fmla="*/ 72945 h 857029"/>
                <a:gd name="connsiteX119" fmla="*/ 447083 w 511468"/>
                <a:gd name="connsiteY119" fmla="*/ 73444 h 857029"/>
                <a:gd name="connsiteX120" fmla="*/ 446340 w 511468"/>
                <a:gd name="connsiteY120" fmla="*/ 71406 h 857029"/>
                <a:gd name="connsiteX121" fmla="*/ 445379 w 511468"/>
                <a:gd name="connsiteY121" fmla="*/ 69500 h 857029"/>
                <a:gd name="connsiteX122" fmla="*/ 446772 w 511468"/>
                <a:gd name="connsiteY122" fmla="*/ 69933 h 857029"/>
                <a:gd name="connsiteX123" fmla="*/ 448681 w 511468"/>
                <a:gd name="connsiteY123" fmla="*/ 71317 h 857029"/>
                <a:gd name="connsiteX124" fmla="*/ 451780 w 511468"/>
                <a:gd name="connsiteY124" fmla="*/ 75087 h 857029"/>
                <a:gd name="connsiteX125" fmla="*/ 455559 w 511468"/>
                <a:gd name="connsiteY125" fmla="*/ 77877 h 857029"/>
                <a:gd name="connsiteX126" fmla="*/ 459407 w 511468"/>
                <a:gd name="connsiteY126" fmla="*/ 82047 h 857029"/>
                <a:gd name="connsiteX127" fmla="*/ 462616 w 511468"/>
                <a:gd name="connsiteY127" fmla="*/ 83643 h 857029"/>
                <a:gd name="connsiteX128" fmla="*/ 465507 w 511468"/>
                <a:gd name="connsiteY128" fmla="*/ 84234 h 857029"/>
                <a:gd name="connsiteX129" fmla="*/ 467934 w 511468"/>
                <a:gd name="connsiteY129" fmla="*/ 85408 h 857029"/>
                <a:gd name="connsiteX130" fmla="*/ 472359 w 511468"/>
                <a:gd name="connsiteY130" fmla="*/ 86525 h 857029"/>
                <a:gd name="connsiteX131" fmla="*/ 474449 w 511468"/>
                <a:gd name="connsiteY131" fmla="*/ 96670 h 857029"/>
                <a:gd name="connsiteX132" fmla="*/ 476062 w 511468"/>
                <a:gd name="connsiteY132" fmla="*/ 98855 h 857029"/>
                <a:gd name="connsiteX133" fmla="*/ 476062 w 511468"/>
                <a:gd name="connsiteY133" fmla="*/ 103320 h 857029"/>
                <a:gd name="connsiteX134" fmla="*/ 478889 w 511468"/>
                <a:gd name="connsiteY134" fmla="*/ 105135 h 857029"/>
                <a:gd name="connsiteX135" fmla="*/ 481035 w 511468"/>
                <a:gd name="connsiteY135" fmla="*/ 105464 h 857029"/>
                <a:gd name="connsiteX136" fmla="*/ 480936 w 511468"/>
                <a:gd name="connsiteY136" fmla="*/ 108762 h 857029"/>
                <a:gd name="connsiteX137" fmla="*/ 479195 w 511468"/>
                <a:gd name="connsiteY137" fmla="*/ 116483 h 857029"/>
                <a:gd name="connsiteX138" fmla="*/ 477280 w 511468"/>
                <a:gd name="connsiteY138" fmla="*/ 119759 h 857029"/>
                <a:gd name="connsiteX139" fmla="*/ 462523 w 511468"/>
                <a:gd name="connsiteY139" fmla="*/ 133805 h 857029"/>
                <a:gd name="connsiteX140" fmla="*/ 453274 w 511468"/>
                <a:gd name="connsiteY140" fmla="*/ 139207 h 857029"/>
                <a:gd name="connsiteX141" fmla="*/ 435269 w 511468"/>
                <a:gd name="connsiteY141" fmla="*/ 145372 h 857029"/>
                <a:gd name="connsiteX142" fmla="*/ 421224 w 511468"/>
                <a:gd name="connsiteY142" fmla="*/ 147680 h 857029"/>
                <a:gd name="connsiteX143" fmla="*/ 415556 w 511468"/>
                <a:gd name="connsiteY143" fmla="*/ 147848 h 857029"/>
                <a:gd name="connsiteX144" fmla="*/ 404569 w 511468"/>
                <a:gd name="connsiteY144" fmla="*/ 146708 h 857029"/>
                <a:gd name="connsiteX145" fmla="*/ 398544 w 511468"/>
                <a:gd name="connsiteY145" fmla="*/ 145462 h 857029"/>
                <a:gd name="connsiteX146" fmla="*/ 391172 w 511468"/>
                <a:gd name="connsiteY146" fmla="*/ 141959 h 857029"/>
                <a:gd name="connsiteX147" fmla="*/ 384292 w 511468"/>
                <a:gd name="connsiteY147" fmla="*/ 140214 h 857029"/>
                <a:gd name="connsiteX148" fmla="*/ 379566 w 511468"/>
                <a:gd name="connsiteY148" fmla="*/ 139442 h 857029"/>
                <a:gd name="connsiteX149" fmla="*/ 370798 w 511468"/>
                <a:gd name="connsiteY149" fmla="*/ 139120 h 857029"/>
                <a:gd name="connsiteX150" fmla="*/ 351783 w 511468"/>
                <a:gd name="connsiteY150" fmla="*/ 135678 h 857029"/>
                <a:gd name="connsiteX151" fmla="*/ 348477 w 511468"/>
                <a:gd name="connsiteY151" fmla="*/ 134467 h 857029"/>
                <a:gd name="connsiteX152" fmla="*/ 336550 w 511468"/>
                <a:gd name="connsiteY152" fmla="*/ 127729 h 857029"/>
                <a:gd name="connsiteX153" fmla="*/ 331811 w 511468"/>
                <a:gd name="connsiteY153" fmla="*/ 129634 h 857029"/>
                <a:gd name="connsiteX154" fmla="*/ 328988 w 511468"/>
                <a:gd name="connsiteY154" fmla="*/ 129977 h 857029"/>
                <a:gd name="connsiteX155" fmla="*/ 327075 w 511468"/>
                <a:gd name="connsiteY155" fmla="*/ 127653 h 857029"/>
                <a:gd name="connsiteX156" fmla="*/ 327844 w 511468"/>
                <a:gd name="connsiteY156" fmla="*/ 127039 h 857029"/>
                <a:gd name="connsiteX157" fmla="*/ 328302 w 511468"/>
                <a:gd name="connsiteY157" fmla="*/ 126246 h 857029"/>
                <a:gd name="connsiteX158" fmla="*/ 321547 w 511468"/>
                <a:gd name="connsiteY158" fmla="*/ 124318 h 857029"/>
                <a:gd name="connsiteX159" fmla="*/ 315965 w 511468"/>
                <a:gd name="connsiteY159" fmla="*/ 124189 h 857029"/>
                <a:gd name="connsiteX160" fmla="*/ 313000 w 511468"/>
                <a:gd name="connsiteY160" fmla="*/ 122550 h 857029"/>
                <a:gd name="connsiteX161" fmla="*/ 309370 w 511468"/>
                <a:gd name="connsiteY161" fmla="*/ 121301 h 857029"/>
                <a:gd name="connsiteX162" fmla="*/ 307768 w 511468"/>
                <a:gd name="connsiteY162" fmla="*/ 122053 h 857029"/>
                <a:gd name="connsiteX163" fmla="*/ 306863 w 511468"/>
                <a:gd name="connsiteY163" fmla="*/ 122046 h 857029"/>
                <a:gd name="connsiteX164" fmla="*/ 299526 w 511468"/>
                <a:gd name="connsiteY164" fmla="*/ 119098 h 857029"/>
                <a:gd name="connsiteX165" fmla="*/ 296248 w 511468"/>
                <a:gd name="connsiteY165" fmla="*/ 116706 h 857029"/>
                <a:gd name="connsiteX166" fmla="*/ 292834 w 511468"/>
                <a:gd name="connsiteY166" fmla="*/ 112490 h 857029"/>
                <a:gd name="connsiteX167" fmla="*/ 293667 w 511468"/>
                <a:gd name="connsiteY167" fmla="*/ 111013 h 857029"/>
                <a:gd name="connsiteX168" fmla="*/ 294667 w 511468"/>
                <a:gd name="connsiteY168" fmla="*/ 110055 h 857029"/>
                <a:gd name="connsiteX169" fmla="*/ 282935 w 511468"/>
                <a:gd name="connsiteY169" fmla="*/ 107594 h 857029"/>
                <a:gd name="connsiteX170" fmla="*/ 271778 w 511468"/>
                <a:gd name="connsiteY170" fmla="*/ 107268 h 857029"/>
                <a:gd name="connsiteX171" fmla="*/ 273717 w 511468"/>
                <a:gd name="connsiteY171" fmla="*/ 108448 h 857029"/>
                <a:gd name="connsiteX172" fmla="*/ 278549 w 511468"/>
                <a:gd name="connsiteY172" fmla="*/ 109068 h 857029"/>
                <a:gd name="connsiteX173" fmla="*/ 281624 w 511468"/>
                <a:gd name="connsiteY173" fmla="*/ 110762 h 857029"/>
                <a:gd name="connsiteX174" fmla="*/ 285170 w 511468"/>
                <a:gd name="connsiteY174" fmla="*/ 113148 h 857029"/>
                <a:gd name="connsiteX175" fmla="*/ 284345 w 511468"/>
                <a:gd name="connsiteY175" fmla="*/ 116408 h 857029"/>
                <a:gd name="connsiteX176" fmla="*/ 289271 w 511468"/>
                <a:gd name="connsiteY176" fmla="*/ 119633 h 857029"/>
                <a:gd name="connsiteX177" fmla="*/ 293050 w 511468"/>
                <a:gd name="connsiteY177" fmla="*/ 122700 h 857029"/>
                <a:gd name="connsiteX178" fmla="*/ 293162 w 511468"/>
                <a:gd name="connsiteY178" fmla="*/ 123646 h 857029"/>
                <a:gd name="connsiteX179" fmla="*/ 294628 w 511468"/>
                <a:gd name="connsiteY179" fmla="*/ 124287 h 857029"/>
                <a:gd name="connsiteX180" fmla="*/ 300197 w 511468"/>
                <a:gd name="connsiteY180" fmla="*/ 125183 h 857029"/>
                <a:gd name="connsiteX181" fmla="*/ 301167 w 511468"/>
                <a:gd name="connsiteY181" fmla="*/ 127998 h 857029"/>
                <a:gd name="connsiteX182" fmla="*/ 300249 w 511468"/>
                <a:gd name="connsiteY182" fmla="*/ 129107 h 857029"/>
                <a:gd name="connsiteX183" fmla="*/ 301012 w 511468"/>
                <a:gd name="connsiteY183" fmla="*/ 130668 h 857029"/>
                <a:gd name="connsiteX184" fmla="*/ 305166 w 511468"/>
                <a:gd name="connsiteY184" fmla="*/ 132416 h 857029"/>
                <a:gd name="connsiteX185" fmla="*/ 307651 w 511468"/>
                <a:gd name="connsiteY185" fmla="*/ 132892 h 857029"/>
                <a:gd name="connsiteX186" fmla="*/ 310709 w 511468"/>
                <a:gd name="connsiteY186" fmla="*/ 133952 h 857029"/>
                <a:gd name="connsiteX187" fmla="*/ 309323 w 511468"/>
                <a:gd name="connsiteY187" fmla="*/ 136092 h 857029"/>
                <a:gd name="connsiteX188" fmla="*/ 306751 w 511468"/>
                <a:gd name="connsiteY188" fmla="*/ 137480 h 857029"/>
                <a:gd name="connsiteX189" fmla="*/ 304177 w 511468"/>
                <a:gd name="connsiteY189" fmla="*/ 138118 h 857029"/>
                <a:gd name="connsiteX190" fmla="*/ 305399 w 511468"/>
                <a:gd name="connsiteY190" fmla="*/ 138630 h 857029"/>
                <a:gd name="connsiteX191" fmla="*/ 308735 w 511468"/>
                <a:gd name="connsiteY191" fmla="*/ 138432 h 857029"/>
                <a:gd name="connsiteX192" fmla="*/ 320809 w 511468"/>
                <a:gd name="connsiteY192" fmla="*/ 141952 h 857029"/>
                <a:gd name="connsiteX193" fmla="*/ 327157 w 511468"/>
                <a:gd name="connsiteY193" fmla="*/ 145505 h 857029"/>
                <a:gd name="connsiteX194" fmla="*/ 333614 w 511468"/>
                <a:gd name="connsiteY194" fmla="*/ 151967 h 857029"/>
                <a:gd name="connsiteX195" fmla="*/ 335704 w 511468"/>
                <a:gd name="connsiteY195" fmla="*/ 155155 h 857029"/>
                <a:gd name="connsiteX196" fmla="*/ 335855 w 511468"/>
                <a:gd name="connsiteY196" fmla="*/ 156912 h 857029"/>
                <a:gd name="connsiteX197" fmla="*/ 335497 w 511468"/>
                <a:gd name="connsiteY197" fmla="*/ 158664 h 857029"/>
                <a:gd name="connsiteX198" fmla="*/ 334564 w 511468"/>
                <a:gd name="connsiteY198" fmla="*/ 160556 h 857029"/>
                <a:gd name="connsiteX199" fmla="*/ 334139 w 511468"/>
                <a:gd name="connsiteY199" fmla="*/ 162455 h 857029"/>
                <a:gd name="connsiteX200" fmla="*/ 331932 w 511468"/>
                <a:gd name="connsiteY200" fmla="*/ 168051 h 857029"/>
                <a:gd name="connsiteX201" fmla="*/ 330349 w 511468"/>
                <a:gd name="connsiteY201" fmla="*/ 169979 h 857029"/>
                <a:gd name="connsiteX202" fmla="*/ 327304 w 511468"/>
                <a:gd name="connsiteY202" fmla="*/ 172185 h 857029"/>
                <a:gd name="connsiteX203" fmla="*/ 330167 w 511468"/>
                <a:gd name="connsiteY203" fmla="*/ 176442 h 857029"/>
                <a:gd name="connsiteX204" fmla="*/ 333156 w 511468"/>
                <a:gd name="connsiteY204" fmla="*/ 180402 h 857029"/>
                <a:gd name="connsiteX205" fmla="*/ 336084 w 511468"/>
                <a:gd name="connsiteY205" fmla="*/ 186952 h 857029"/>
                <a:gd name="connsiteX206" fmla="*/ 336607 w 511468"/>
                <a:gd name="connsiteY206" fmla="*/ 189582 h 857029"/>
                <a:gd name="connsiteX207" fmla="*/ 336728 w 511468"/>
                <a:gd name="connsiteY207" fmla="*/ 193613 h 857029"/>
                <a:gd name="connsiteX208" fmla="*/ 339373 w 511468"/>
                <a:gd name="connsiteY208" fmla="*/ 195195 h 857029"/>
                <a:gd name="connsiteX209" fmla="*/ 338339 w 511468"/>
                <a:gd name="connsiteY209" fmla="*/ 195813 h 857029"/>
                <a:gd name="connsiteX210" fmla="*/ 337296 w 511468"/>
                <a:gd name="connsiteY210" fmla="*/ 196956 h 857029"/>
                <a:gd name="connsiteX211" fmla="*/ 337544 w 511468"/>
                <a:gd name="connsiteY211" fmla="*/ 202190 h 857029"/>
                <a:gd name="connsiteX212" fmla="*/ 341211 w 511468"/>
                <a:gd name="connsiteY212" fmla="*/ 206454 h 857029"/>
                <a:gd name="connsiteX213" fmla="*/ 346711 w 511468"/>
                <a:gd name="connsiteY213" fmla="*/ 209215 h 857029"/>
                <a:gd name="connsiteX214" fmla="*/ 349982 w 511468"/>
                <a:gd name="connsiteY214" fmla="*/ 209775 h 857029"/>
                <a:gd name="connsiteX215" fmla="*/ 354737 w 511468"/>
                <a:gd name="connsiteY215" fmla="*/ 208655 h 857029"/>
                <a:gd name="connsiteX216" fmla="*/ 358164 w 511468"/>
                <a:gd name="connsiteY216" fmla="*/ 210180 h 857029"/>
                <a:gd name="connsiteX217" fmla="*/ 365780 w 511468"/>
                <a:gd name="connsiteY217" fmla="*/ 215368 h 857029"/>
                <a:gd name="connsiteX218" fmla="*/ 369218 w 511468"/>
                <a:gd name="connsiteY218" fmla="*/ 220836 h 857029"/>
                <a:gd name="connsiteX219" fmla="*/ 370611 w 511468"/>
                <a:gd name="connsiteY219" fmla="*/ 221949 h 857029"/>
                <a:gd name="connsiteX220" fmla="*/ 378324 w 511468"/>
                <a:gd name="connsiteY220" fmla="*/ 223987 h 857029"/>
                <a:gd name="connsiteX221" fmla="*/ 384105 w 511468"/>
                <a:gd name="connsiteY221" fmla="*/ 225239 h 857029"/>
                <a:gd name="connsiteX222" fmla="*/ 392895 w 511468"/>
                <a:gd name="connsiteY222" fmla="*/ 228506 h 857029"/>
                <a:gd name="connsiteX223" fmla="*/ 394431 w 511468"/>
                <a:gd name="connsiteY223" fmla="*/ 228624 h 857029"/>
                <a:gd name="connsiteX224" fmla="*/ 398702 w 511468"/>
                <a:gd name="connsiteY224" fmla="*/ 225807 h 857029"/>
                <a:gd name="connsiteX225" fmla="*/ 406057 w 511468"/>
                <a:gd name="connsiteY225" fmla="*/ 223844 h 857029"/>
                <a:gd name="connsiteX226" fmla="*/ 408331 w 511468"/>
                <a:gd name="connsiteY226" fmla="*/ 221137 h 857029"/>
                <a:gd name="connsiteX227" fmla="*/ 408141 w 511468"/>
                <a:gd name="connsiteY227" fmla="*/ 218835 h 857029"/>
                <a:gd name="connsiteX228" fmla="*/ 406260 w 511468"/>
                <a:gd name="connsiteY228" fmla="*/ 214730 h 857029"/>
                <a:gd name="connsiteX229" fmla="*/ 405742 w 511468"/>
                <a:gd name="connsiteY229" fmla="*/ 210721 h 857029"/>
                <a:gd name="connsiteX230" fmla="*/ 403306 w 511468"/>
                <a:gd name="connsiteY230" fmla="*/ 209081 h 857029"/>
                <a:gd name="connsiteX231" fmla="*/ 401030 w 511468"/>
                <a:gd name="connsiteY231" fmla="*/ 207992 h 857029"/>
                <a:gd name="connsiteX232" fmla="*/ 394152 w 511468"/>
                <a:gd name="connsiteY232" fmla="*/ 208823 h 857029"/>
                <a:gd name="connsiteX233" fmla="*/ 391056 w 511468"/>
                <a:gd name="connsiteY233" fmla="*/ 208668 h 857029"/>
                <a:gd name="connsiteX234" fmla="*/ 388715 w 511468"/>
                <a:gd name="connsiteY234" fmla="*/ 207582 h 857029"/>
                <a:gd name="connsiteX235" fmla="*/ 385547 w 511468"/>
                <a:gd name="connsiteY235" fmla="*/ 204713 h 857029"/>
                <a:gd name="connsiteX236" fmla="*/ 379552 w 511468"/>
                <a:gd name="connsiteY236" fmla="*/ 197722 h 857029"/>
                <a:gd name="connsiteX237" fmla="*/ 376344 w 511468"/>
                <a:gd name="connsiteY237" fmla="*/ 195389 h 857029"/>
                <a:gd name="connsiteX238" fmla="*/ 375338 w 511468"/>
                <a:gd name="connsiteY238" fmla="*/ 193943 h 857029"/>
                <a:gd name="connsiteX239" fmla="*/ 374221 w 511468"/>
                <a:gd name="connsiteY239" fmla="*/ 191924 h 857029"/>
                <a:gd name="connsiteX240" fmla="*/ 374361 w 511468"/>
                <a:gd name="connsiteY240" fmla="*/ 188652 h 857029"/>
                <a:gd name="connsiteX241" fmla="*/ 376979 w 511468"/>
                <a:gd name="connsiteY241" fmla="*/ 188766 h 857029"/>
                <a:gd name="connsiteX242" fmla="*/ 379920 w 511468"/>
                <a:gd name="connsiteY242" fmla="*/ 186910 h 857029"/>
                <a:gd name="connsiteX243" fmla="*/ 382062 w 511468"/>
                <a:gd name="connsiteY243" fmla="*/ 180249 h 857029"/>
                <a:gd name="connsiteX244" fmla="*/ 385763 w 511468"/>
                <a:gd name="connsiteY244" fmla="*/ 179401 h 857029"/>
                <a:gd name="connsiteX245" fmla="*/ 387767 w 511468"/>
                <a:gd name="connsiteY245" fmla="*/ 179459 h 857029"/>
                <a:gd name="connsiteX246" fmla="*/ 396331 w 511468"/>
                <a:gd name="connsiteY246" fmla="*/ 182557 h 857029"/>
                <a:gd name="connsiteX247" fmla="*/ 406972 w 511468"/>
                <a:gd name="connsiteY247" fmla="*/ 190799 h 857029"/>
                <a:gd name="connsiteX248" fmla="*/ 409324 w 511468"/>
                <a:gd name="connsiteY248" fmla="*/ 191665 h 857029"/>
                <a:gd name="connsiteX249" fmla="*/ 411812 w 511468"/>
                <a:gd name="connsiteY249" fmla="*/ 191786 h 857029"/>
                <a:gd name="connsiteX250" fmla="*/ 415878 w 511468"/>
                <a:gd name="connsiteY250" fmla="*/ 191576 h 857029"/>
                <a:gd name="connsiteX251" fmla="*/ 416539 w 511468"/>
                <a:gd name="connsiteY251" fmla="*/ 192648 h 857029"/>
                <a:gd name="connsiteX252" fmla="*/ 418726 w 511468"/>
                <a:gd name="connsiteY252" fmla="*/ 193932 h 857029"/>
                <a:gd name="connsiteX253" fmla="*/ 420322 w 511468"/>
                <a:gd name="connsiteY253" fmla="*/ 194097 h 857029"/>
                <a:gd name="connsiteX254" fmla="*/ 430061 w 511468"/>
                <a:gd name="connsiteY254" fmla="*/ 196698 h 857029"/>
                <a:gd name="connsiteX255" fmla="*/ 441423 w 511468"/>
                <a:gd name="connsiteY255" fmla="*/ 201814 h 857029"/>
                <a:gd name="connsiteX256" fmla="*/ 445638 w 511468"/>
                <a:gd name="connsiteY256" fmla="*/ 201583 h 857029"/>
                <a:gd name="connsiteX257" fmla="*/ 447297 w 511468"/>
                <a:gd name="connsiteY257" fmla="*/ 198752 h 857029"/>
                <a:gd name="connsiteX258" fmla="*/ 447642 w 511468"/>
                <a:gd name="connsiteY258" fmla="*/ 197533 h 857029"/>
                <a:gd name="connsiteX259" fmla="*/ 452268 w 511468"/>
                <a:gd name="connsiteY259" fmla="*/ 194666 h 857029"/>
                <a:gd name="connsiteX260" fmla="*/ 455494 w 511468"/>
                <a:gd name="connsiteY260" fmla="*/ 194191 h 857029"/>
                <a:gd name="connsiteX261" fmla="*/ 460007 w 511468"/>
                <a:gd name="connsiteY261" fmla="*/ 195234 h 857029"/>
                <a:gd name="connsiteX262" fmla="*/ 460828 w 511468"/>
                <a:gd name="connsiteY262" fmla="*/ 194381 h 857029"/>
                <a:gd name="connsiteX263" fmla="*/ 459290 w 511468"/>
                <a:gd name="connsiteY263" fmla="*/ 190171 h 857029"/>
                <a:gd name="connsiteX264" fmla="*/ 457209 w 511468"/>
                <a:gd name="connsiteY264" fmla="*/ 186518 h 857029"/>
                <a:gd name="connsiteX265" fmla="*/ 454144 w 511468"/>
                <a:gd name="connsiteY265" fmla="*/ 184175 h 857029"/>
                <a:gd name="connsiteX266" fmla="*/ 448701 w 511468"/>
                <a:gd name="connsiteY266" fmla="*/ 177277 h 857029"/>
                <a:gd name="connsiteX267" fmla="*/ 446524 w 511468"/>
                <a:gd name="connsiteY267" fmla="*/ 173844 h 857029"/>
                <a:gd name="connsiteX268" fmla="*/ 445442 w 511468"/>
                <a:gd name="connsiteY268" fmla="*/ 170296 h 857029"/>
                <a:gd name="connsiteX269" fmla="*/ 446150 w 511468"/>
                <a:gd name="connsiteY269" fmla="*/ 167152 h 857029"/>
                <a:gd name="connsiteX270" fmla="*/ 446932 w 511468"/>
                <a:gd name="connsiteY270" fmla="*/ 164857 h 857029"/>
                <a:gd name="connsiteX271" fmla="*/ 458238 w 511468"/>
                <a:gd name="connsiteY271" fmla="*/ 159267 h 857029"/>
                <a:gd name="connsiteX272" fmla="*/ 462328 w 511468"/>
                <a:gd name="connsiteY272" fmla="*/ 155912 h 857029"/>
                <a:gd name="connsiteX273" fmla="*/ 466282 w 511468"/>
                <a:gd name="connsiteY273" fmla="*/ 151544 h 857029"/>
                <a:gd name="connsiteX274" fmla="*/ 468113 w 511468"/>
                <a:gd name="connsiteY274" fmla="*/ 150650 h 857029"/>
                <a:gd name="connsiteX275" fmla="*/ 474783 w 511468"/>
                <a:gd name="connsiteY275" fmla="*/ 149435 h 857029"/>
                <a:gd name="connsiteX276" fmla="*/ 483622 w 511468"/>
                <a:gd name="connsiteY276" fmla="*/ 145688 h 857029"/>
                <a:gd name="connsiteX277" fmla="*/ 490368 w 511468"/>
                <a:gd name="connsiteY277" fmla="*/ 140700 h 857029"/>
                <a:gd name="connsiteX278" fmla="*/ 497062 w 511468"/>
                <a:gd name="connsiteY278" fmla="*/ 133093 h 857029"/>
                <a:gd name="connsiteX279" fmla="*/ 499869 w 511468"/>
                <a:gd name="connsiteY279" fmla="*/ 131109 h 857029"/>
                <a:gd name="connsiteX280" fmla="*/ 502150 w 511468"/>
                <a:gd name="connsiteY280" fmla="*/ 131291 h 857029"/>
                <a:gd name="connsiteX281" fmla="*/ 505181 w 511468"/>
                <a:gd name="connsiteY281" fmla="*/ 132484 h 857029"/>
                <a:gd name="connsiteX282" fmla="*/ 508528 w 511468"/>
                <a:gd name="connsiteY282" fmla="*/ 134694 h 857029"/>
                <a:gd name="connsiteX283" fmla="*/ 511468 w 511468"/>
                <a:gd name="connsiteY283" fmla="*/ 134962 h 857029"/>
                <a:gd name="connsiteX284" fmla="*/ 511468 w 511468"/>
                <a:gd name="connsiteY284" fmla="*/ 856713 h 857029"/>
                <a:gd name="connsiteX285" fmla="*/ 509813 w 511468"/>
                <a:gd name="connsiteY285" fmla="*/ 856922 h 857029"/>
                <a:gd name="connsiteX286" fmla="*/ 507730 w 511468"/>
                <a:gd name="connsiteY286" fmla="*/ 857029 h 857029"/>
                <a:gd name="connsiteX287" fmla="*/ 504480 w 511468"/>
                <a:gd name="connsiteY287" fmla="*/ 855174 h 857029"/>
                <a:gd name="connsiteX288" fmla="*/ 501398 w 511468"/>
                <a:gd name="connsiteY288" fmla="*/ 855070 h 857029"/>
                <a:gd name="connsiteX289" fmla="*/ 497917 w 511468"/>
                <a:gd name="connsiteY289" fmla="*/ 855627 h 857029"/>
                <a:gd name="connsiteX290" fmla="*/ 497155 w 511468"/>
                <a:gd name="connsiteY290" fmla="*/ 855848 h 857029"/>
                <a:gd name="connsiteX291" fmla="*/ 496319 w 511468"/>
                <a:gd name="connsiteY291" fmla="*/ 856089 h 857029"/>
                <a:gd name="connsiteX292" fmla="*/ 485939 w 511468"/>
                <a:gd name="connsiteY292" fmla="*/ 855307 h 857029"/>
                <a:gd name="connsiteX293" fmla="*/ 483290 w 511468"/>
                <a:gd name="connsiteY293" fmla="*/ 853774 h 857029"/>
                <a:gd name="connsiteX294" fmla="*/ 481022 w 511468"/>
                <a:gd name="connsiteY294" fmla="*/ 852240 h 857029"/>
                <a:gd name="connsiteX295" fmla="*/ 474939 w 511468"/>
                <a:gd name="connsiteY295" fmla="*/ 851136 h 857029"/>
                <a:gd name="connsiteX296" fmla="*/ 471819 w 511468"/>
                <a:gd name="connsiteY296" fmla="*/ 849963 h 857029"/>
                <a:gd name="connsiteX297" fmla="*/ 468716 w 511468"/>
                <a:gd name="connsiteY297" fmla="*/ 848298 h 857029"/>
                <a:gd name="connsiteX298" fmla="*/ 465319 w 511468"/>
                <a:gd name="connsiteY298" fmla="*/ 846845 h 857029"/>
                <a:gd name="connsiteX299" fmla="*/ 462464 w 511468"/>
                <a:gd name="connsiteY299" fmla="*/ 847434 h 857029"/>
                <a:gd name="connsiteX300" fmla="*/ 458558 w 511468"/>
                <a:gd name="connsiteY300" fmla="*/ 846606 h 857029"/>
                <a:gd name="connsiteX301" fmla="*/ 454311 w 511468"/>
                <a:gd name="connsiteY301" fmla="*/ 845878 h 857029"/>
                <a:gd name="connsiteX302" fmla="*/ 452860 w 511468"/>
                <a:gd name="connsiteY302" fmla="*/ 846326 h 857029"/>
                <a:gd name="connsiteX303" fmla="*/ 451514 w 511468"/>
                <a:gd name="connsiteY303" fmla="*/ 848165 h 857029"/>
                <a:gd name="connsiteX304" fmla="*/ 450510 w 511468"/>
                <a:gd name="connsiteY304" fmla="*/ 849915 h 857029"/>
                <a:gd name="connsiteX305" fmla="*/ 448195 w 511468"/>
                <a:gd name="connsiteY305" fmla="*/ 848490 h 857029"/>
                <a:gd name="connsiteX306" fmla="*/ 440303 w 511468"/>
                <a:gd name="connsiteY306" fmla="*/ 841614 h 857029"/>
                <a:gd name="connsiteX307" fmla="*/ 436161 w 511468"/>
                <a:gd name="connsiteY307" fmla="*/ 837039 h 857029"/>
                <a:gd name="connsiteX308" fmla="*/ 422626 w 511468"/>
                <a:gd name="connsiteY308" fmla="*/ 826453 h 857029"/>
                <a:gd name="connsiteX309" fmla="*/ 420825 w 511468"/>
                <a:gd name="connsiteY309" fmla="*/ 825641 h 857029"/>
                <a:gd name="connsiteX310" fmla="*/ 413660 w 511468"/>
                <a:gd name="connsiteY310" fmla="*/ 824109 h 857029"/>
                <a:gd name="connsiteX311" fmla="*/ 410773 w 511468"/>
                <a:gd name="connsiteY311" fmla="*/ 822880 h 857029"/>
                <a:gd name="connsiteX312" fmla="*/ 403481 w 511468"/>
                <a:gd name="connsiteY312" fmla="*/ 815284 h 857029"/>
                <a:gd name="connsiteX313" fmla="*/ 400240 w 511468"/>
                <a:gd name="connsiteY313" fmla="*/ 816304 h 857029"/>
                <a:gd name="connsiteX314" fmla="*/ 397311 w 511468"/>
                <a:gd name="connsiteY314" fmla="*/ 816046 h 857029"/>
                <a:gd name="connsiteX315" fmla="*/ 395601 w 511468"/>
                <a:gd name="connsiteY315" fmla="*/ 815381 h 857029"/>
                <a:gd name="connsiteX316" fmla="*/ 393748 w 511468"/>
                <a:gd name="connsiteY316" fmla="*/ 814289 h 857029"/>
                <a:gd name="connsiteX317" fmla="*/ 392444 w 511468"/>
                <a:gd name="connsiteY317" fmla="*/ 812843 h 857029"/>
                <a:gd name="connsiteX318" fmla="*/ 390935 w 511468"/>
                <a:gd name="connsiteY318" fmla="*/ 809659 h 857029"/>
                <a:gd name="connsiteX319" fmla="*/ 389181 w 511468"/>
                <a:gd name="connsiteY319" fmla="*/ 807831 h 857029"/>
                <a:gd name="connsiteX320" fmla="*/ 383424 w 511468"/>
                <a:gd name="connsiteY320" fmla="*/ 805162 h 857029"/>
                <a:gd name="connsiteX321" fmla="*/ 376931 w 511468"/>
                <a:gd name="connsiteY321" fmla="*/ 803606 h 857029"/>
                <a:gd name="connsiteX322" fmla="*/ 376419 w 511468"/>
                <a:gd name="connsiteY322" fmla="*/ 802926 h 857029"/>
                <a:gd name="connsiteX323" fmla="*/ 376231 w 511468"/>
                <a:gd name="connsiteY323" fmla="*/ 801990 h 857029"/>
                <a:gd name="connsiteX324" fmla="*/ 381846 w 511468"/>
                <a:gd name="connsiteY324" fmla="*/ 800175 h 857029"/>
                <a:gd name="connsiteX325" fmla="*/ 383353 w 511468"/>
                <a:gd name="connsiteY325" fmla="*/ 799135 h 857029"/>
                <a:gd name="connsiteX326" fmla="*/ 380474 w 511468"/>
                <a:gd name="connsiteY326" fmla="*/ 797755 h 857029"/>
                <a:gd name="connsiteX327" fmla="*/ 379382 w 511468"/>
                <a:gd name="connsiteY327" fmla="*/ 797527 h 857029"/>
                <a:gd name="connsiteX328" fmla="*/ 378471 w 511468"/>
                <a:gd name="connsiteY328" fmla="*/ 796881 h 857029"/>
                <a:gd name="connsiteX329" fmla="*/ 380092 w 511468"/>
                <a:gd name="connsiteY329" fmla="*/ 795843 h 857029"/>
                <a:gd name="connsiteX330" fmla="*/ 381688 w 511468"/>
                <a:gd name="connsiteY330" fmla="*/ 795367 h 857029"/>
                <a:gd name="connsiteX331" fmla="*/ 384163 w 511468"/>
                <a:gd name="connsiteY331" fmla="*/ 796560 h 857029"/>
                <a:gd name="connsiteX332" fmla="*/ 386942 w 511468"/>
                <a:gd name="connsiteY332" fmla="*/ 798774 h 857029"/>
                <a:gd name="connsiteX333" fmla="*/ 389375 w 511468"/>
                <a:gd name="connsiteY333" fmla="*/ 799612 h 857029"/>
                <a:gd name="connsiteX334" fmla="*/ 390496 w 511468"/>
                <a:gd name="connsiteY334" fmla="*/ 798553 h 857029"/>
                <a:gd name="connsiteX335" fmla="*/ 398963 w 511468"/>
                <a:gd name="connsiteY335" fmla="*/ 796735 h 857029"/>
                <a:gd name="connsiteX336" fmla="*/ 399533 w 511468"/>
                <a:gd name="connsiteY336" fmla="*/ 795294 h 857029"/>
                <a:gd name="connsiteX337" fmla="*/ 399510 w 511468"/>
                <a:gd name="connsiteY337" fmla="*/ 793683 h 857029"/>
                <a:gd name="connsiteX338" fmla="*/ 398680 w 511468"/>
                <a:gd name="connsiteY338" fmla="*/ 793740 h 857029"/>
                <a:gd name="connsiteX339" fmla="*/ 398140 w 511468"/>
                <a:gd name="connsiteY339" fmla="*/ 793377 h 857029"/>
                <a:gd name="connsiteX340" fmla="*/ 398195 w 511468"/>
                <a:gd name="connsiteY340" fmla="*/ 791586 h 857029"/>
                <a:gd name="connsiteX341" fmla="*/ 399451 w 511468"/>
                <a:gd name="connsiteY341" fmla="*/ 789128 h 857029"/>
                <a:gd name="connsiteX342" fmla="*/ 403248 w 511468"/>
                <a:gd name="connsiteY342" fmla="*/ 785122 h 857029"/>
                <a:gd name="connsiteX343" fmla="*/ 405286 w 511468"/>
                <a:gd name="connsiteY343" fmla="*/ 779545 h 857029"/>
                <a:gd name="connsiteX344" fmla="*/ 407081 w 511468"/>
                <a:gd name="connsiteY344" fmla="*/ 778273 h 857029"/>
                <a:gd name="connsiteX345" fmla="*/ 408398 w 511468"/>
                <a:gd name="connsiteY345" fmla="*/ 779121 h 857029"/>
                <a:gd name="connsiteX346" fmla="*/ 408307 w 511468"/>
                <a:gd name="connsiteY346" fmla="*/ 780424 h 857029"/>
                <a:gd name="connsiteX347" fmla="*/ 408525 w 511468"/>
                <a:gd name="connsiteY347" fmla="*/ 781392 h 857029"/>
                <a:gd name="connsiteX348" fmla="*/ 409702 w 511468"/>
                <a:gd name="connsiteY348" fmla="*/ 779514 h 857029"/>
                <a:gd name="connsiteX349" fmla="*/ 410825 w 511468"/>
                <a:gd name="connsiteY349" fmla="*/ 776973 h 857029"/>
                <a:gd name="connsiteX350" fmla="*/ 413660 w 511468"/>
                <a:gd name="connsiteY350" fmla="*/ 776958 h 857029"/>
                <a:gd name="connsiteX351" fmla="*/ 415618 w 511468"/>
                <a:gd name="connsiteY351" fmla="*/ 777382 h 857029"/>
                <a:gd name="connsiteX352" fmla="*/ 417651 w 511468"/>
                <a:gd name="connsiteY352" fmla="*/ 777091 h 857029"/>
                <a:gd name="connsiteX353" fmla="*/ 413736 w 511468"/>
                <a:gd name="connsiteY353" fmla="*/ 772903 h 857029"/>
                <a:gd name="connsiteX354" fmla="*/ 408484 w 511468"/>
                <a:gd name="connsiteY354" fmla="*/ 768680 h 857029"/>
                <a:gd name="connsiteX355" fmla="*/ 406269 w 511468"/>
                <a:gd name="connsiteY355" fmla="*/ 768998 h 857029"/>
                <a:gd name="connsiteX356" fmla="*/ 404861 w 511468"/>
                <a:gd name="connsiteY356" fmla="*/ 768343 h 857029"/>
                <a:gd name="connsiteX357" fmla="*/ 402555 w 511468"/>
                <a:gd name="connsiteY357" fmla="*/ 764858 h 857029"/>
                <a:gd name="connsiteX358" fmla="*/ 401602 w 511468"/>
                <a:gd name="connsiteY358" fmla="*/ 761967 h 857029"/>
                <a:gd name="connsiteX359" fmla="*/ 403833 w 511468"/>
                <a:gd name="connsiteY359" fmla="*/ 762032 h 857029"/>
                <a:gd name="connsiteX360" fmla="*/ 406057 w 511468"/>
                <a:gd name="connsiteY360" fmla="*/ 762470 h 857029"/>
                <a:gd name="connsiteX361" fmla="*/ 410292 w 511468"/>
                <a:gd name="connsiteY361" fmla="*/ 760450 h 857029"/>
                <a:gd name="connsiteX362" fmla="*/ 411850 w 511468"/>
                <a:gd name="connsiteY362" fmla="*/ 760155 h 857029"/>
                <a:gd name="connsiteX363" fmla="*/ 414360 w 511468"/>
                <a:gd name="connsiteY363" fmla="*/ 760794 h 857029"/>
                <a:gd name="connsiteX364" fmla="*/ 417843 w 511468"/>
                <a:gd name="connsiteY364" fmla="*/ 761201 h 857029"/>
                <a:gd name="connsiteX365" fmla="*/ 417556 w 511468"/>
                <a:gd name="connsiteY365" fmla="*/ 759295 h 857029"/>
                <a:gd name="connsiteX366" fmla="*/ 416465 w 511468"/>
                <a:gd name="connsiteY366" fmla="*/ 757043 h 857029"/>
                <a:gd name="connsiteX367" fmla="*/ 420713 w 511468"/>
                <a:gd name="connsiteY367" fmla="*/ 755372 h 857029"/>
                <a:gd name="connsiteX368" fmla="*/ 424479 w 511468"/>
                <a:gd name="connsiteY368" fmla="*/ 754449 h 857029"/>
                <a:gd name="connsiteX369" fmla="*/ 431680 w 511468"/>
                <a:gd name="connsiteY369" fmla="*/ 751177 h 857029"/>
                <a:gd name="connsiteX370" fmla="*/ 434863 w 511468"/>
                <a:gd name="connsiteY370" fmla="*/ 750599 h 857029"/>
                <a:gd name="connsiteX371" fmla="*/ 435269 w 511468"/>
                <a:gd name="connsiteY371" fmla="*/ 749852 h 857029"/>
                <a:gd name="connsiteX372" fmla="*/ 435366 w 511468"/>
                <a:gd name="connsiteY372" fmla="*/ 748878 h 857029"/>
                <a:gd name="connsiteX373" fmla="*/ 434284 w 511468"/>
                <a:gd name="connsiteY373" fmla="*/ 746257 h 857029"/>
                <a:gd name="connsiteX374" fmla="*/ 433205 w 511468"/>
                <a:gd name="connsiteY374" fmla="*/ 744317 h 857029"/>
                <a:gd name="connsiteX375" fmla="*/ 429402 w 511468"/>
                <a:gd name="connsiteY375" fmla="*/ 744223 h 857029"/>
                <a:gd name="connsiteX376" fmla="*/ 427292 w 511468"/>
                <a:gd name="connsiteY376" fmla="*/ 746924 h 857029"/>
                <a:gd name="connsiteX377" fmla="*/ 421540 w 511468"/>
                <a:gd name="connsiteY377" fmla="*/ 747811 h 857029"/>
                <a:gd name="connsiteX378" fmla="*/ 418981 w 511468"/>
                <a:gd name="connsiteY378" fmla="*/ 747632 h 857029"/>
                <a:gd name="connsiteX379" fmla="*/ 421013 w 511468"/>
                <a:gd name="connsiteY379" fmla="*/ 745902 h 857029"/>
                <a:gd name="connsiteX380" fmla="*/ 423040 w 511468"/>
                <a:gd name="connsiteY380" fmla="*/ 745241 h 857029"/>
                <a:gd name="connsiteX381" fmla="*/ 423613 w 511468"/>
                <a:gd name="connsiteY381" fmla="*/ 744520 h 857029"/>
                <a:gd name="connsiteX382" fmla="*/ 419529 w 511468"/>
                <a:gd name="connsiteY382" fmla="*/ 745149 h 857029"/>
                <a:gd name="connsiteX383" fmla="*/ 417484 w 511468"/>
                <a:gd name="connsiteY383" fmla="*/ 746928 h 857029"/>
                <a:gd name="connsiteX384" fmla="*/ 411505 w 511468"/>
                <a:gd name="connsiteY384" fmla="*/ 749278 h 857029"/>
                <a:gd name="connsiteX385" fmla="*/ 411317 w 511468"/>
                <a:gd name="connsiteY385" fmla="*/ 748044 h 857029"/>
                <a:gd name="connsiteX386" fmla="*/ 411218 w 511468"/>
                <a:gd name="connsiteY386" fmla="*/ 746936 h 857029"/>
                <a:gd name="connsiteX387" fmla="*/ 411656 w 511468"/>
                <a:gd name="connsiteY387" fmla="*/ 745887 h 857029"/>
                <a:gd name="connsiteX388" fmla="*/ 412632 w 511468"/>
                <a:gd name="connsiteY388" fmla="*/ 745209 h 857029"/>
                <a:gd name="connsiteX389" fmla="*/ 412973 w 511468"/>
                <a:gd name="connsiteY389" fmla="*/ 744592 h 857029"/>
                <a:gd name="connsiteX390" fmla="*/ 412973 w 511468"/>
                <a:gd name="connsiteY390" fmla="*/ 744098 h 857029"/>
                <a:gd name="connsiteX391" fmla="*/ 412095 w 511468"/>
                <a:gd name="connsiteY391" fmla="*/ 743789 h 857029"/>
                <a:gd name="connsiteX392" fmla="*/ 411364 w 511468"/>
                <a:gd name="connsiteY392" fmla="*/ 743542 h 857029"/>
                <a:gd name="connsiteX393" fmla="*/ 411218 w 511468"/>
                <a:gd name="connsiteY393" fmla="*/ 742863 h 857029"/>
                <a:gd name="connsiteX394" fmla="*/ 411462 w 511468"/>
                <a:gd name="connsiteY394" fmla="*/ 742247 h 857029"/>
                <a:gd name="connsiteX395" fmla="*/ 412144 w 511468"/>
                <a:gd name="connsiteY395" fmla="*/ 741381 h 857029"/>
                <a:gd name="connsiteX396" fmla="*/ 412438 w 511468"/>
                <a:gd name="connsiteY396" fmla="*/ 740393 h 857029"/>
                <a:gd name="connsiteX397" fmla="*/ 412488 w 511468"/>
                <a:gd name="connsiteY397" fmla="*/ 738413 h 857029"/>
                <a:gd name="connsiteX398" fmla="*/ 413120 w 511468"/>
                <a:gd name="connsiteY398" fmla="*/ 736178 h 857029"/>
                <a:gd name="connsiteX399" fmla="*/ 414921 w 511468"/>
                <a:gd name="connsiteY399" fmla="*/ 734752 h 857029"/>
                <a:gd name="connsiteX400" fmla="*/ 418063 w 511468"/>
                <a:gd name="connsiteY400" fmla="*/ 734402 h 857029"/>
                <a:gd name="connsiteX401" fmla="*/ 420931 w 511468"/>
                <a:gd name="connsiteY401" fmla="*/ 733179 h 857029"/>
                <a:gd name="connsiteX402" fmla="*/ 422663 w 511468"/>
                <a:gd name="connsiteY402" fmla="*/ 731824 h 857029"/>
                <a:gd name="connsiteX403" fmla="*/ 424947 w 511468"/>
                <a:gd name="connsiteY403" fmla="*/ 728365 h 857029"/>
                <a:gd name="connsiteX404" fmla="*/ 426672 w 511468"/>
                <a:gd name="connsiteY404" fmla="*/ 727855 h 857029"/>
                <a:gd name="connsiteX405" fmla="*/ 430156 w 511468"/>
                <a:gd name="connsiteY405" fmla="*/ 728042 h 857029"/>
                <a:gd name="connsiteX406" fmla="*/ 432382 w 511468"/>
                <a:gd name="connsiteY406" fmla="*/ 728354 h 857029"/>
                <a:gd name="connsiteX407" fmla="*/ 437523 w 511468"/>
                <a:gd name="connsiteY407" fmla="*/ 728457 h 857029"/>
                <a:gd name="connsiteX408" fmla="*/ 443438 w 511468"/>
                <a:gd name="connsiteY408" fmla="*/ 728247 h 857029"/>
                <a:gd name="connsiteX409" fmla="*/ 445150 w 511468"/>
                <a:gd name="connsiteY409" fmla="*/ 728145 h 857029"/>
                <a:gd name="connsiteX410" fmla="*/ 446096 w 511468"/>
                <a:gd name="connsiteY410" fmla="*/ 726941 h 857029"/>
                <a:gd name="connsiteX411" fmla="*/ 446031 w 511468"/>
                <a:gd name="connsiteY411" fmla="*/ 724773 h 857029"/>
                <a:gd name="connsiteX412" fmla="*/ 446876 w 511468"/>
                <a:gd name="connsiteY412" fmla="*/ 722774 h 857029"/>
                <a:gd name="connsiteX413" fmla="*/ 448448 w 511468"/>
                <a:gd name="connsiteY413" fmla="*/ 719015 h 857029"/>
                <a:gd name="connsiteX414" fmla="*/ 450128 w 511468"/>
                <a:gd name="connsiteY414" fmla="*/ 717048 h 857029"/>
                <a:gd name="connsiteX415" fmla="*/ 450059 w 511468"/>
                <a:gd name="connsiteY415" fmla="*/ 716172 h 857029"/>
                <a:gd name="connsiteX416" fmla="*/ 449180 w 511468"/>
                <a:gd name="connsiteY416" fmla="*/ 715803 h 857029"/>
                <a:gd name="connsiteX417" fmla="*/ 448033 w 511468"/>
                <a:gd name="connsiteY417" fmla="*/ 715619 h 857029"/>
                <a:gd name="connsiteX418" fmla="*/ 447617 w 511468"/>
                <a:gd name="connsiteY418" fmla="*/ 715213 h 857029"/>
                <a:gd name="connsiteX419" fmla="*/ 447670 w 511468"/>
                <a:gd name="connsiteY419" fmla="*/ 714387 h 857029"/>
                <a:gd name="connsiteX420" fmla="*/ 448554 w 511468"/>
                <a:gd name="connsiteY420" fmla="*/ 713580 h 857029"/>
                <a:gd name="connsiteX421" fmla="*/ 448394 w 511468"/>
                <a:gd name="connsiteY421" fmla="*/ 711918 h 857029"/>
                <a:gd name="connsiteX422" fmla="*/ 447839 w 511468"/>
                <a:gd name="connsiteY422" fmla="*/ 710071 h 857029"/>
                <a:gd name="connsiteX423" fmla="*/ 447355 w 511468"/>
                <a:gd name="connsiteY423" fmla="*/ 708409 h 857029"/>
                <a:gd name="connsiteX424" fmla="*/ 445803 w 511468"/>
                <a:gd name="connsiteY424" fmla="*/ 707583 h 857029"/>
                <a:gd name="connsiteX425" fmla="*/ 443133 w 511468"/>
                <a:gd name="connsiteY425" fmla="*/ 707034 h 857029"/>
                <a:gd name="connsiteX426" fmla="*/ 443702 w 511468"/>
                <a:gd name="connsiteY426" fmla="*/ 705010 h 857029"/>
                <a:gd name="connsiteX427" fmla="*/ 444457 w 511468"/>
                <a:gd name="connsiteY427" fmla="*/ 702823 h 857029"/>
                <a:gd name="connsiteX428" fmla="*/ 445591 w 511468"/>
                <a:gd name="connsiteY428" fmla="*/ 701607 h 857029"/>
                <a:gd name="connsiteX429" fmla="*/ 446409 w 511468"/>
                <a:gd name="connsiteY429" fmla="*/ 700877 h 857029"/>
                <a:gd name="connsiteX430" fmla="*/ 448869 w 511468"/>
                <a:gd name="connsiteY430" fmla="*/ 701275 h 857029"/>
                <a:gd name="connsiteX431" fmla="*/ 450646 w 511468"/>
                <a:gd name="connsiteY431" fmla="*/ 700887 h 857029"/>
                <a:gd name="connsiteX432" fmla="*/ 451069 w 511468"/>
                <a:gd name="connsiteY432" fmla="*/ 700468 h 857029"/>
                <a:gd name="connsiteX433" fmla="*/ 450750 w 511468"/>
                <a:gd name="connsiteY433" fmla="*/ 699633 h 857029"/>
                <a:gd name="connsiteX434" fmla="*/ 447977 w 511468"/>
                <a:gd name="connsiteY434" fmla="*/ 698876 h 857029"/>
                <a:gd name="connsiteX435" fmla="*/ 445535 w 511468"/>
                <a:gd name="connsiteY435" fmla="*/ 697836 h 857029"/>
                <a:gd name="connsiteX436" fmla="*/ 444481 w 511468"/>
                <a:gd name="connsiteY436" fmla="*/ 696550 h 857029"/>
                <a:gd name="connsiteX437" fmla="*/ 444058 w 511468"/>
                <a:gd name="connsiteY437" fmla="*/ 695171 h 857029"/>
                <a:gd name="connsiteX438" fmla="*/ 445671 w 511468"/>
                <a:gd name="connsiteY438" fmla="*/ 694353 h 857029"/>
                <a:gd name="connsiteX439" fmla="*/ 448551 w 511468"/>
                <a:gd name="connsiteY439" fmla="*/ 693568 h 857029"/>
                <a:gd name="connsiteX440" fmla="*/ 450467 w 511468"/>
                <a:gd name="connsiteY440" fmla="*/ 691689 h 857029"/>
                <a:gd name="connsiteX441" fmla="*/ 452538 w 511468"/>
                <a:gd name="connsiteY441" fmla="*/ 689675 h 857029"/>
                <a:gd name="connsiteX442" fmla="*/ 453395 w 511468"/>
                <a:gd name="connsiteY442" fmla="*/ 688208 h 857029"/>
                <a:gd name="connsiteX443" fmla="*/ 453827 w 511468"/>
                <a:gd name="connsiteY443" fmla="*/ 686615 h 857029"/>
                <a:gd name="connsiteX444" fmla="*/ 453779 w 511468"/>
                <a:gd name="connsiteY444" fmla="*/ 684850 h 857029"/>
                <a:gd name="connsiteX445" fmla="*/ 452268 w 511468"/>
                <a:gd name="connsiteY445" fmla="*/ 683053 h 857029"/>
                <a:gd name="connsiteX446" fmla="*/ 452268 w 511468"/>
                <a:gd name="connsiteY446" fmla="*/ 681173 h 857029"/>
                <a:gd name="connsiteX447" fmla="*/ 453088 w 511468"/>
                <a:gd name="connsiteY447" fmla="*/ 679864 h 857029"/>
                <a:gd name="connsiteX448" fmla="*/ 452773 w 511468"/>
                <a:gd name="connsiteY448" fmla="*/ 678882 h 857029"/>
                <a:gd name="connsiteX449" fmla="*/ 451667 w 511468"/>
                <a:gd name="connsiteY449" fmla="*/ 678312 h 857029"/>
                <a:gd name="connsiteX450" fmla="*/ 450072 w 511468"/>
                <a:gd name="connsiteY450" fmla="*/ 678483 h 857029"/>
                <a:gd name="connsiteX451" fmla="*/ 448266 w 511468"/>
                <a:gd name="connsiteY451" fmla="*/ 679146 h 857029"/>
                <a:gd name="connsiteX452" fmla="*/ 446137 w 511468"/>
                <a:gd name="connsiteY452" fmla="*/ 679021 h 857029"/>
                <a:gd name="connsiteX453" fmla="*/ 442732 w 511468"/>
                <a:gd name="connsiteY453" fmla="*/ 676761 h 857029"/>
                <a:gd name="connsiteX454" fmla="*/ 439110 w 511468"/>
                <a:gd name="connsiteY454" fmla="*/ 674536 h 857029"/>
                <a:gd name="connsiteX455" fmla="*/ 437025 w 511468"/>
                <a:gd name="connsiteY455" fmla="*/ 674461 h 857029"/>
                <a:gd name="connsiteX456" fmla="*/ 435576 w 511468"/>
                <a:gd name="connsiteY456" fmla="*/ 674133 h 857029"/>
                <a:gd name="connsiteX457" fmla="*/ 434317 w 511468"/>
                <a:gd name="connsiteY457" fmla="*/ 672985 h 857029"/>
                <a:gd name="connsiteX458" fmla="*/ 433561 w 511468"/>
                <a:gd name="connsiteY458" fmla="*/ 671508 h 857029"/>
                <a:gd name="connsiteX459" fmla="*/ 432743 w 511468"/>
                <a:gd name="connsiteY459" fmla="*/ 670853 h 857029"/>
                <a:gd name="connsiteX460" fmla="*/ 431419 w 511468"/>
                <a:gd name="connsiteY460" fmla="*/ 671262 h 857029"/>
                <a:gd name="connsiteX461" fmla="*/ 429490 w 511468"/>
                <a:gd name="connsiteY461" fmla="*/ 671934 h 857029"/>
                <a:gd name="connsiteX462" fmla="*/ 427072 w 511468"/>
                <a:gd name="connsiteY462" fmla="*/ 671753 h 857029"/>
                <a:gd name="connsiteX463" fmla="*/ 423939 w 511468"/>
                <a:gd name="connsiteY463" fmla="*/ 670035 h 857029"/>
                <a:gd name="connsiteX464" fmla="*/ 421088 w 511468"/>
                <a:gd name="connsiteY464" fmla="*/ 668058 h 857029"/>
                <a:gd name="connsiteX465" fmla="*/ 418970 w 511468"/>
                <a:gd name="connsiteY465" fmla="*/ 668009 h 857029"/>
                <a:gd name="connsiteX466" fmla="*/ 416742 w 511468"/>
                <a:gd name="connsiteY466" fmla="*/ 667735 h 857029"/>
                <a:gd name="connsiteX467" fmla="*/ 412483 w 511468"/>
                <a:gd name="connsiteY467" fmla="*/ 665187 h 857029"/>
                <a:gd name="connsiteX468" fmla="*/ 411380 w 511468"/>
                <a:gd name="connsiteY468" fmla="*/ 665212 h 857029"/>
                <a:gd name="connsiteX469" fmla="*/ 410691 w 511468"/>
                <a:gd name="connsiteY469" fmla="*/ 665965 h 857029"/>
                <a:gd name="connsiteX470" fmla="*/ 410363 w 511468"/>
                <a:gd name="connsiteY470" fmla="*/ 668010 h 857029"/>
                <a:gd name="connsiteX471" fmla="*/ 410011 w 511468"/>
                <a:gd name="connsiteY471" fmla="*/ 668447 h 857029"/>
                <a:gd name="connsiteX472" fmla="*/ 409253 w 511468"/>
                <a:gd name="connsiteY472" fmla="*/ 668781 h 857029"/>
                <a:gd name="connsiteX473" fmla="*/ 407802 w 511468"/>
                <a:gd name="connsiteY473" fmla="*/ 669006 h 857029"/>
                <a:gd name="connsiteX474" fmla="*/ 405666 w 511468"/>
                <a:gd name="connsiteY474" fmla="*/ 667731 h 857029"/>
                <a:gd name="connsiteX475" fmla="*/ 400224 w 511468"/>
                <a:gd name="connsiteY475" fmla="*/ 663548 h 857029"/>
                <a:gd name="connsiteX476" fmla="*/ 398033 w 511468"/>
                <a:gd name="connsiteY476" fmla="*/ 660486 h 857029"/>
                <a:gd name="connsiteX477" fmla="*/ 397530 w 511468"/>
                <a:gd name="connsiteY477" fmla="*/ 658260 h 857029"/>
                <a:gd name="connsiteX478" fmla="*/ 395739 w 511468"/>
                <a:gd name="connsiteY478" fmla="*/ 656844 h 857029"/>
                <a:gd name="connsiteX479" fmla="*/ 394003 w 511468"/>
                <a:gd name="connsiteY479" fmla="*/ 654792 h 857029"/>
                <a:gd name="connsiteX480" fmla="*/ 392241 w 511468"/>
                <a:gd name="connsiteY480" fmla="*/ 654614 h 857029"/>
                <a:gd name="connsiteX481" fmla="*/ 390289 w 511468"/>
                <a:gd name="connsiteY481" fmla="*/ 655271 h 857029"/>
                <a:gd name="connsiteX482" fmla="*/ 388436 w 511468"/>
                <a:gd name="connsiteY482" fmla="*/ 656259 h 857029"/>
                <a:gd name="connsiteX483" fmla="*/ 387555 w 511468"/>
                <a:gd name="connsiteY483" fmla="*/ 656531 h 857029"/>
                <a:gd name="connsiteX484" fmla="*/ 384398 w 511468"/>
                <a:gd name="connsiteY484" fmla="*/ 656877 h 857029"/>
                <a:gd name="connsiteX485" fmla="*/ 379326 w 511468"/>
                <a:gd name="connsiteY485" fmla="*/ 658260 h 857029"/>
                <a:gd name="connsiteX486" fmla="*/ 377939 w 511468"/>
                <a:gd name="connsiteY486" fmla="*/ 659580 h 857029"/>
                <a:gd name="connsiteX487" fmla="*/ 376238 w 511468"/>
                <a:gd name="connsiteY487" fmla="*/ 660651 h 857029"/>
                <a:gd name="connsiteX488" fmla="*/ 374916 w 511468"/>
                <a:gd name="connsiteY488" fmla="*/ 659909 h 857029"/>
                <a:gd name="connsiteX489" fmla="*/ 373593 w 511468"/>
                <a:gd name="connsiteY489" fmla="*/ 658589 h 857029"/>
                <a:gd name="connsiteX490" fmla="*/ 370697 w 511468"/>
                <a:gd name="connsiteY490" fmla="*/ 658115 h 857029"/>
                <a:gd name="connsiteX491" fmla="*/ 369309 w 511468"/>
                <a:gd name="connsiteY491" fmla="*/ 658589 h 857029"/>
                <a:gd name="connsiteX492" fmla="*/ 367922 w 511468"/>
                <a:gd name="connsiteY492" fmla="*/ 657682 h 857029"/>
                <a:gd name="connsiteX493" fmla="*/ 366730 w 511468"/>
                <a:gd name="connsiteY493" fmla="*/ 656058 h 857029"/>
                <a:gd name="connsiteX494" fmla="*/ 365115 w 511468"/>
                <a:gd name="connsiteY494" fmla="*/ 654877 h 857029"/>
                <a:gd name="connsiteX495" fmla="*/ 362714 w 511468"/>
                <a:gd name="connsiteY495" fmla="*/ 654554 h 857029"/>
                <a:gd name="connsiteX496" fmla="*/ 360114 w 511468"/>
                <a:gd name="connsiteY496" fmla="*/ 654049 h 857029"/>
                <a:gd name="connsiteX497" fmla="*/ 358034 w 511468"/>
                <a:gd name="connsiteY497" fmla="*/ 654958 h 857029"/>
                <a:gd name="connsiteX498" fmla="*/ 355326 w 511468"/>
                <a:gd name="connsiteY498" fmla="*/ 656691 h 857029"/>
                <a:gd name="connsiteX499" fmla="*/ 353500 w 511468"/>
                <a:gd name="connsiteY499" fmla="*/ 656031 h 857029"/>
                <a:gd name="connsiteX500" fmla="*/ 352491 w 511468"/>
                <a:gd name="connsiteY500" fmla="*/ 653965 h 857029"/>
                <a:gd name="connsiteX501" fmla="*/ 351230 w 511468"/>
                <a:gd name="connsiteY501" fmla="*/ 653387 h 857029"/>
                <a:gd name="connsiteX502" fmla="*/ 349531 w 511468"/>
                <a:gd name="connsiteY502" fmla="*/ 651070 h 857029"/>
                <a:gd name="connsiteX503" fmla="*/ 349090 w 511468"/>
                <a:gd name="connsiteY503" fmla="*/ 649000 h 857029"/>
                <a:gd name="connsiteX504" fmla="*/ 349531 w 511468"/>
                <a:gd name="connsiteY504" fmla="*/ 648090 h 857029"/>
                <a:gd name="connsiteX505" fmla="*/ 350161 w 511468"/>
                <a:gd name="connsiteY505" fmla="*/ 646930 h 857029"/>
                <a:gd name="connsiteX506" fmla="*/ 350161 w 511468"/>
                <a:gd name="connsiteY506" fmla="*/ 645603 h 857029"/>
                <a:gd name="connsiteX507" fmla="*/ 349658 w 511468"/>
                <a:gd name="connsiteY507" fmla="*/ 644441 h 857029"/>
                <a:gd name="connsiteX508" fmla="*/ 348902 w 511468"/>
                <a:gd name="connsiteY508" fmla="*/ 643528 h 857029"/>
                <a:gd name="connsiteX509" fmla="*/ 348082 w 511468"/>
                <a:gd name="connsiteY509" fmla="*/ 640455 h 857029"/>
                <a:gd name="connsiteX510" fmla="*/ 347389 w 511468"/>
                <a:gd name="connsiteY510" fmla="*/ 639124 h 857029"/>
                <a:gd name="connsiteX511" fmla="*/ 347263 w 511468"/>
                <a:gd name="connsiteY511" fmla="*/ 638044 h 857029"/>
                <a:gd name="connsiteX512" fmla="*/ 347831 w 511468"/>
                <a:gd name="connsiteY512" fmla="*/ 637044 h 857029"/>
                <a:gd name="connsiteX513" fmla="*/ 347326 w 511468"/>
                <a:gd name="connsiteY513" fmla="*/ 636379 h 857029"/>
                <a:gd name="connsiteX514" fmla="*/ 346380 w 511468"/>
                <a:gd name="connsiteY514" fmla="*/ 636295 h 857029"/>
                <a:gd name="connsiteX515" fmla="*/ 344808 w 511468"/>
                <a:gd name="connsiteY515" fmla="*/ 636379 h 857029"/>
                <a:gd name="connsiteX516" fmla="*/ 343925 w 511468"/>
                <a:gd name="connsiteY516" fmla="*/ 635879 h 857029"/>
                <a:gd name="connsiteX517" fmla="*/ 342979 w 511468"/>
                <a:gd name="connsiteY517" fmla="*/ 634129 h 857029"/>
                <a:gd name="connsiteX518" fmla="*/ 342476 w 511468"/>
                <a:gd name="connsiteY518" fmla="*/ 632379 h 857029"/>
                <a:gd name="connsiteX519" fmla="*/ 341845 w 511468"/>
                <a:gd name="connsiteY519" fmla="*/ 631712 h 857029"/>
                <a:gd name="connsiteX520" fmla="*/ 340213 w 511468"/>
                <a:gd name="connsiteY520" fmla="*/ 631761 h 857029"/>
                <a:gd name="connsiteX521" fmla="*/ 337522 w 511468"/>
                <a:gd name="connsiteY521" fmla="*/ 632128 h 857029"/>
                <a:gd name="connsiteX522" fmla="*/ 335130 w 511468"/>
                <a:gd name="connsiteY522" fmla="*/ 632710 h 857029"/>
                <a:gd name="connsiteX523" fmla="*/ 334067 w 511468"/>
                <a:gd name="connsiteY523" fmla="*/ 632626 h 857029"/>
                <a:gd name="connsiteX524" fmla="*/ 331955 w 511468"/>
                <a:gd name="connsiteY524" fmla="*/ 631721 h 857029"/>
                <a:gd name="connsiteX525" fmla="*/ 329174 w 511468"/>
                <a:gd name="connsiteY525" fmla="*/ 630727 h 857029"/>
                <a:gd name="connsiteX526" fmla="*/ 323495 w 511468"/>
                <a:gd name="connsiteY526" fmla="*/ 630530 h 857029"/>
                <a:gd name="connsiteX527" fmla="*/ 323046 w 511468"/>
                <a:gd name="connsiteY527" fmla="*/ 630191 h 857029"/>
                <a:gd name="connsiteX528" fmla="*/ 323368 w 511468"/>
                <a:gd name="connsiteY528" fmla="*/ 629561 h 857029"/>
                <a:gd name="connsiteX529" fmla="*/ 324523 w 511468"/>
                <a:gd name="connsiteY529" fmla="*/ 628540 h 857029"/>
                <a:gd name="connsiteX530" fmla="*/ 324398 w 511468"/>
                <a:gd name="connsiteY530" fmla="*/ 627704 h 857029"/>
                <a:gd name="connsiteX531" fmla="*/ 323400 w 511468"/>
                <a:gd name="connsiteY531" fmla="*/ 627028 h 857029"/>
                <a:gd name="connsiteX532" fmla="*/ 322884 w 511468"/>
                <a:gd name="connsiteY532" fmla="*/ 625364 h 857029"/>
                <a:gd name="connsiteX533" fmla="*/ 322944 w 511468"/>
                <a:gd name="connsiteY533" fmla="*/ 623480 h 857029"/>
                <a:gd name="connsiteX534" fmla="*/ 322759 w 511468"/>
                <a:gd name="connsiteY534" fmla="*/ 621430 h 857029"/>
                <a:gd name="connsiteX535" fmla="*/ 321562 w 511468"/>
                <a:gd name="connsiteY535" fmla="*/ 619837 h 857029"/>
                <a:gd name="connsiteX536" fmla="*/ 320869 w 511468"/>
                <a:gd name="connsiteY536" fmla="*/ 618748 h 857029"/>
                <a:gd name="connsiteX537" fmla="*/ 320994 w 511468"/>
                <a:gd name="connsiteY537" fmla="*/ 617741 h 857029"/>
                <a:gd name="connsiteX538" fmla="*/ 323605 w 511468"/>
                <a:gd name="connsiteY538" fmla="*/ 617356 h 857029"/>
                <a:gd name="connsiteX539" fmla="*/ 326704 w 511468"/>
                <a:gd name="connsiteY539" fmla="*/ 616641 h 857029"/>
                <a:gd name="connsiteX540" fmla="*/ 327222 w 511468"/>
                <a:gd name="connsiteY540" fmla="*/ 615904 h 857029"/>
                <a:gd name="connsiteX541" fmla="*/ 327114 w 511468"/>
                <a:gd name="connsiteY541" fmla="*/ 614757 h 857029"/>
                <a:gd name="connsiteX542" fmla="*/ 320817 w 511468"/>
                <a:gd name="connsiteY542" fmla="*/ 608875 h 857029"/>
                <a:gd name="connsiteX543" fmla="*/ 318656 w 511468"/>
                <a:gd name="connsiteY543" fmla="*/ 603657 h 857029"/>
                <a:gd name="connsiteX544" fmla="*/ 316594 w 511468"/>
                <a:gd name="connsiteY544" fmla="*/ 600825 h 857029"/>
                <a:gd name="connsiteX545" fmla="*/ 314311 w 511468"/>
                <a:gd name="connsiteY545" fmla="*/ 598921 h 857029"/>
                <a:gd name="connsiteX546" fmla="*/ 312463 w 511468"/>
                <a:gd name="connsiteY546" fmla="*/ 598056 h 857029"/>
                <a:gd name="connsiteX547" fmla="*/ 309768 w 511468"/>
                <a:gd name="connsiteY547" fmla="*/ 598417 h 857029"/>
                <a:gd name="connsiteX548" fmla="*/ 306196 w 511468"/>
                <a:gd name="connsiteY548" fmla="*/ 598382 h 857029"/>
                <a:gd name="connsiteX549" fmla="*/ 302553 w 511468"/>
                <a:gd name="connsiteY549" fmla="*/ 597795 h 857029"/>
                <a:gd name="connsiteX550" fmla="*/ 299487 w 511468"/>
                <a:gd name="connsiteY550" fmla="*/ 598185 h 857029"/>
                <a:gd name="connsiteX551" fmla="*/ 293987 w 511468"/>
                <a:gd name="connsiteY551" fmla="*/ 600681 h 857029"/>
                <a:gd name="connsiteX552" fmla="*/ 291925 w 511468"/>
                <a:gd name="connsiteY552" fmla="*/ 600791 h 857029"/>
                <a:gd name="connsiteX553" fmla="*/ 288364 w 511468"/>
                <a:gd name="connsiteY553" fmla="*/ 600006 h 857029"/>
                <a:gd name="connsiteX554" fmla="*/ 285324 w 511468"/>
                <a:gd name="connsiteY554" fmla="*/ 599132 h 857029"/>
                <a:gd name="connsiteX555" fmla="*/ 283721 w 511468"/>
                <a:gd name="connsiteY555" fmla="*/ 599171 h 857029"/>
                <a:gd name="connsiteX556" fmla="*/ 282745 w 511468"/>
                <a:gd name="connsiteY556" fmla="*/ 599539 h 857029"/>
                <a:gd name="connsiteX557" fmla="*/ 282119 w 511468"/>
                <a:gd name="connsiteY557" fmla="*/ 600213 h 857029"/>
                <a:gd name="connsiteX558" fmla="*/ 280346 w 511468"/>
                <a:gd name="connsiteY558" fmla="*/ 604899 h 857029"/>
                <a:gd name="connsiteX559" fmla="*/ 278887 w 511468"/>
                <a:gd name="connsiteY559" fmla="*/ 605819 h 857029"/>
                <a:gd name="connsiteX560" fmla="*/ 276796 w 511468"/>
                <a:gd name="connsiteY560" fmla="*/ 606776 h 857029"/>
                <a:gd name="connsiteX561" fmla="*/ 275012 w 511468"/>
                <a:gd name="connsiteY561" fmla="*/ 606941 h 857029"/>
                <a:gd name="connsiteX562" fmla="*/ 273514 w 511468"/>
                <a:gd name="connsiteY562" fmla="*/ 606893 h 857029"/>
                <a:gd name="connsiteX563" fmla="*/ 271342 w 511468"/>
                <a:gd name="connsiteY563" fmla="*/ 606175 h 857029"/>
                <a:gd name="connsiteX564" fmla="*/ 269281 w 511468"/>
                <a:gd name="connsiteY564" fmla="*/ 605331 h 857029"/>
                <a:gd name="connsiteX565" fmla="*/ 268860 w 511468"/>
                <a:gd name="connsiteY565" fmla="*/ 605282 h 857029"/>
                <a:gd name="connsiteX566" fmla="*/ 268755 w 511468"/>
                <a:gd name="connsiteY566" fmla="*/ 604549 h 857029"/>
                <a:gd name="connsiteX567" fmla="*/ 267252 w 511468"/>
                <a:gd name="connsiteY567" fmla="*/ 601739 h 857029"/>
                <a:gd name="connsiteX568" fmla="*/ 266351 w 511468"/>
                <a:gd name="connsiteY568" fmla="*/ 600507 h 857029"/>
                <a:gd name="connsiteX569" fmla="*/ 265282 w 511468"/>
                <a:gd name="connsiteY569" fmla="*/ 599836 h 857029"/>
                <a:gd name="connsiteX570" fmla="*/ 264747 w 511468"/>
                <a:gd name="connsiteY570" fmla="*/ 599020 h 857029"/>
                <a:gd name="connsiteX571" fmla="*/ 264730 w 511468"/>
                <a:gd name="connsiteY571" fmla="*/ 595642 h 857029"/>
                <a:gd name="connsiteX572" fmla="*/ 264928 w 511468"/>
                <a:gd name="connsiteY572" fmla="*/ 592475 h 857029"/>
                <a:gd name="connsiteX573" fmla="*/ 265600 w 511468"/>
                <a:gd name="connsiteY573" fmla="*/ 592067 h 857029"/>
                <a:gd name="connsiteX574" fmla="*/ 263615 w 511468"/>
                <a:gd name="connsiteY574" fmla="*/ 589481 h 857029"/>
                <a:gd name="connsiteX575" fmla="*/ 263466 w 511468"/>
                <a:gd name="connsiteY575" fmla="*/ 587521 h 857029"/>
                <a:gd name="connsiteX576" fmla="*/ 264440 w 511468"/>
                <a:gd name="connsiteY576" fmla="*/ 586545 h 857029"/>
                <a:gd name="connsiteX577" fmla="*/ 264470 w 511468"/>
                <a:gd name="connsiteY577" fmla="*/ 585716 h 857029"/>
                <a:gd name="connsiteX578" fmla="*/ 263814 w 511468"/>
                <a:gd name="connsiteY578" fmla="*/ 584551 h 857029"/>
                <a:gd name="connsiteX579" fmla="*/ 261771 w 511468"/>
                <a:gd name="connsiteY579" fmla="*/ 582651 h 857029"/>
                <a:gd name="connsiteX580" fmla="*/ 259787 w 511468"/>
                <a:gd name="connsiteY580" fmla="*/ 580509 h 857029"/>
                <a:gd name="connsiteX581" fmla="*/ 258506 w 511468"/>
                <a:gd name="connsiteY581" fmla="*/ 578823 h 857029"/>
                <a:gd name="connsiteX582" fmla="*/ 257703 w 511468"/>
                <a:gd name="connsiteY582" fmla="*/ 578017 h 857029"/>
                <a:gd name="connsiteX583" fmla="*/ 258679 w 511468"/>
                <a:gd name="connsiteY583" fmla="*/ 576693 h 857029"/>
                <a:gd name="connsiteX584" fmla="*/ 260042 w 511468"/>
                <a:gd name="connsiteY584" fmla="*/ 574352 h 857029"/>
                <a:gd name="connsiteX585" fmla="*/ 260568 w 511468"/>
                <a:gd name="connsiteY585" fmla="*/ 572977 h 857029"/>
                <a:gd name="connsiteX586" fmla="*/ 261221 w 511468"/>
                <a:gd name="connsiteY586" fmla="*/ 572640 h 857029"/>
                <a:gd name="connsiteX587" fmla="*/ 264429 w 511468"/>
                <a:gd name="connsiteY587" fmla="*/ 572446 h 857029"/>
                <a:gd name="connsiteX588" fmla="*/ 266757 w 511468"/>
                <a:gd name="connsiteY588" fmla="*/ 572493 h 857029"/>
                <a:gd name="connsiteX589" fmla="*/ 268508 w 511468"/>
                <a:gd name="connsiteY589" fmla="*/ 572996 h 857029"/>
                <a:gd name="connsiteX590" fmla="*/ 269171 w 511468"/>
                <a:gd name="connsiteY590" fmla="*/ 574115 h 857029"/>
                <a:gd name="connsiteX591" fmla="*/ 270769 w 511468"/>
                <a:gd name="connsiteY591" fmla="*/ 575335 h 857029"/>
                <a:gd name="connsiteX592" fmla="*/ 275319 w 511468"/>
                <a:gd name="connsiteY592" fmla="*/ 575837 h 857029"/>
                <a:gd name="connsiteX593" fmla="*/ 277232 w 511468"/>
                <a:gd name="connsiteY593" fmla="*/ 575786 h 857029"/>
                <a:gd name="connsiteX594" fmla="*/ 279636 w 511468"/>
                <a:gd name="connsiteY594" fmla="*/ 574670 h 857029"/>
                <a:gd name="connsiteX595" fmla="*/ 283518 w 511468"/>
                <a:gd name="connsiteY595" fmla="*/ 572203 h 857029"/>
                <a:gd name="connsiteX596" fmla="*/ 284471 w 511468"/>
                <a:gd name="connsiteY596" fmla="*/ 570409 h 857029"/>
                <a:gd name="connsiteX597" fmla="*/ 286874 w 511468"/>
                <a:gd name="connsiteY597" fmla="*/ 569144 h 857029"/>
                <a:gd name="connsiteX598" fmla="*/ 288342 w 511468"/>
                <a:gd name="connsiteY598" fmla="*/ 568648 h 857029"/>
                <a:gd name="connsiteX599" fmla="*/ 289666 w 511468"/>
                <a:gd name="connsiteY599" fmla="*/ 568425 h 857029"/>
                <a:gd name="connsiteX600" fmla="*/ 289798 w 511468"/>
                <a:gd name="connsiteY600" fmla="*/ 567369 h 857029"/>
                <a:gd name="connsiteX601" fmla="*/ 289713 w 511468"/>
                <a:gd name="connsiteY601" fmla="*/ 565924 h 857029"/>
                <a:gd name="connsiteX602" fmla="*/ 289256 w 511468"/>
                <a:gd name="connsiteY602" fmla="*/ 565060 h 857029"/>
                <a:gd name="connsiteX603" fmla="*/ 284477 w 511468"/>
                <a:gd name="connsiteY603" fmla="*/ 562081 h 857029"/>
                <a:gd name="connsiteX604" fmla="*/ 283875 w 511468"/>
                <a:gd name="connsiteY604" fmla="*/ 561108 h 857029"/>
                <a:gd name="connsiteX605" fmla="*/ 283494 w 511468"/>
                <a:gd name="connsiteY605" fmla="*/ 559960 h 857029"/>
                <a:gd name="connsiteX606" fmla="*/ 284064 w 511468"/>
                <a:gd name="connsiteY606" fmla="*/ 558872 h 857029"/>
                <a:gd name="connsiteX607" fmla="*/ 284047 w 511468"/>
                <a:gd name="connsiteY607" fmla="*/ 557676 h 857029"/>
                <a:gd name="connsiteX608" fmla="*/ 278524 w 511468"/>
                <a:gd name="connsiteY608" fmla="*/ 555006 h 857029"/>
                <a:gd name="connsiteX609" fmla="*/ 273920 w 511468"/>
                <a:gd name="connsiteY609" fmla="*/ 554533 h 857029"/>
                <a:gd name="connsiteX610" fmla="*/ 270130 w 511468"/>
                <a:gd name="connsiteY610" fmla="*/ 554683 h 857029"/>
                <a:gd name="connsiteX611" fmla="*/ 268657 w 511468"/>
                <a:gd name="connsiteY611" fmla="*/ 554123 h 857029"/>
                <a:gd name="connsiteX612" fmla="*/ 269294 w 511468"/>
                <a:gd name="connsiteY612" fmla="*/ 552775 h 857029"/>
                <a:gd name="connsiteX613" fmla="*/ 270229 w 511468"/>
                <a:gd name="connsiteY613" fmla="*/ 550351 h 857029"/>
                <a:gd name="connsiteX614" fmla="*/ 270506 w 511468"/>
                <a:gd name="connsiteY614" fmla="*/ 548356 h 857029"/>
                <a:gd name="connsiteX615" fmla="*/ 270244 w 511468"/>
                <a:gd name="connsiteY615" fmla="*/ 547448 h 857029"/>
                <a:gd name="connsiteX616" fmla="*/ 269493 w 511468"/>
                <a:gd name="connsiteY616" fmla="*/ 546684 h 857029"/>
                <a:gd name="connsiteX617" fmla="*/ 265876 w 511468"/>
                <a:gd name="connsiteY617" fmla="*/ 545005 h 857029"/>
                <a:gd name="connsiteX618" fmla="*/ 260905 w 511468"/>
                <a:gd name="connsiteY618" fmla="*/ 542429 h 857029"/>
                <a:gd name="connsiteX619" fmla="*/ 258595 w 511468"/>
                <a:gd name="connsiteY619" fmla="*/ 539515 h 857029"/>
                <a:gd name="connsiteX620" fmla="*/ 257409 w 511468"/>
                <a:gd name="connsiteY620" fmla="*/ 536469 h 857029"/>
                <a:gd name="connsiteX621" fmla="*/ 256066 w 511468"/>
                <a:gd name="connsiteY621" fmla="*/ 534599 h 857029"/>
                <a:gd name="connsiteX622" fmla="*/ 253635 w 511468"/>
                <a:gd name="connsiteY622" fmla="*/ 533414 h 857029"/>
                <a:gd name="connsiteX623" fmla="*/ 253792 w 511468"/>
                <a:gd name="connsiteY623" fmla="*/ 532641 h 857029"/>
                <a:gd name="connsiteX624" fmla="*/ 255405 w 511468"/>
                <a:gd name="connsiteY624" fmla="*/ 529773 h 857029"/>
                <a:gd name="connsiteX625" fmla="*/ 255345 w 511468"/>
                <a:gd name="connsiteY625" fmla="*/ 529333 h 857029"/>
                <a:gd name="connsiteX626" fmla="*/ 254662 w 511468"/>
                <a:gd name="connsiteY626" fmla="*/ 528625 h 857029"/>
                <a:gd name="connsiteX627" fmla="*/ 251630 w 511468"/>
                <a:gd name="connsiteY627" fmla="*/ 527174 h 857029"/>
                <a:gd name="connsiteX628" fmla="*/ 247532 w 511468"/>
                <a:gd name="connsiteY628" fmla="*/ 524498 h 857029"/>
                <a:gd name="connsiteX629" fmla="*/ 247359 w 511468"/>
                <a:gd name="connsiteY629" fmla="*/ 523800 h 857029"/>
                <a:gd name="connsiteX630" fmla="*/ 247657 w 511468"/>
                <a:gd name="connsiteY630" fmla="*/ 522116 h 857029"/>
                <a:gd name="connsiteX631" fmla="*/ 248219 w 511468"/>
                <a:gd name="connsiteY631" fmla="*/ 520457 h 857029"/>
                <a:gd name="connsiteX632" fmla="*/ 249035 w 511468"/>
                <a:gd name="connsiteY632" fmla="*/ 519666 h 857029"/>
                <a:gd name="connsiteX633" fmla="*/ 251488 w 511468"/>
                <a:gd name="connsiteY633" fmla="*/ 516293 h 857029"/>
                <a:gd name="connsiteX634" fmla="*/ 251488 w 511468"/>
                <a:gd name="connsiteY634" fmla="*/ 515145 h 857029"/>
                <a:gd name="connsiteX635" fmla="*/ 251071 w 511468"/>
                <a:gd name="connsiteY635" fmla="*/ 513612 h 857029"/>
                <a:gd name="connsiteX636" fmla="*/ 249270 w 511468"/>
                <a:gd name="connsiteY636" fmla="*/ 510966 h 857029"/>
                <a:gd name="connsiteX637" fmla="*/ 247878 w 511468"/>
                <a:gd name="connsiteY637" fmla="*/ 509262 h 857029"/>
                <a:gd name="connsiteX638" fmla="*/ 247791 w 511468"/>
                <a:gd name="connsiteY638" fmla="*/ 508389 h 857029"/>
                <a:gd name="connsiteX639" fmla="*/ 248022 w 511468"/>
                <a:gd name="connsiteY639" fmla="*/ 507670 h 857029"/>
                <a:gd name="connsiteX640" fmla="*/ 248925 w 511468"/>
                <a:gd name="connsiteY640" fmla="*/ 506740 h 857029"/>
                <a:gd name="connsiteX641" fmla="*/ 249782 w 511468"/>
                <a:gd name="connsiteY641" fmla="*/ 505596 h 857029"/>
                <a:gd name="connsiteX642" fmla="*/ 249963 w 511468"/>
                <a:gd name="connsiteY642" fmla="*/ 501639 h 857029"/>
                <a:gd name="connsiteX643" fmla="*/ 249920 w 511468"/>
                <a:gd name="connsiteY643" fmla="*/ 500255 h 857029"/>
                <a:gd name="connsiteX644" fmla="*/ 249376 w 511468"/>
                <a:gd name="connsiteY644" fmla="*/ 499438 h 857029"/>
                <a:gd name="connsiteX645" fmla="*/ 248795 w 511468"/>
                <a:gd name="connsiteY645" fmla="*/ 499093 h 857029"/>
                <a:gd name="connsiteX646" fmla="*/ 247575 w 511468"/>
                <a:gd name="connsiteY646" fmla="*/ 499291 h 857029"/>
                <a:gd name="connsiteX647" fmla="*/ 245826 w 511468"/>
                <a:gd name="connsiteY647" fmla="*/ 498641 h 857029"/>
                <a:gd name="connsiteX648" fmla="*/ 244513 w 511468"/>
                <a:gd name="connsiteY648" fmla="*/ 497607 h 857029"/>
                <a:gd name="connsiteX649" fmla="*/ 243701 w 511468"/>
                <a:gd name="connsiteY649" fmla="*/ 497272 h 857029"/>
                <a:gd name="connsiteX650" fmla="*/ 242842 w 511468"/>
                <a:gd name="connsiteY650" fmla="*/ 496216 h 857029"/>
                <a:gd name="connsiteX651" fmla="*/ 240380 w 511468"/>
                <a:gd name="connsiteY651" fmla="*/ 494089 h 857029"/>
                <a:gd name="connsiteX652" fmla="*/ 239957 w 511468"/>
                <a:gd name="connsiteY652" fmla="*/ 493529 h 857029"/>
                <a:gd name="connsiteX653" fmla="*/ 235033 w 511468"/>
                <a:gd name="connsiteY653" fmla="*/ 491714 h 857029"/>
                <a:gd name="connsiteX654" fmla="*/ 230812 w 511468"/>
                <a:gd name="connsiteY654" fmla="*/ 491987 h 857029"/>
                <a:gd name="connsiteX655" fmla="*/ 228476 w 511468"/>
                <a:gd name="connsiteY655" fmla="*/ 491712 h 857029"/>
                <a:gd name="connsiteX656" fmla="*/ 227251 w 511468"/>
                <a:gd name="connsiteY656" fmla="*/ 492115 h 857029"/>
                <a:gd name="connsiteX657" fmla="*/ 225975 w 511468"/>
                <a:gd name="connsiteY657" fmla="*/ 493271 h 857029"/>
                <a:gd name="connsiteX658" fmla="*/ 224211 w 511468"/>
                <a:gd name="connsiteY658" fmla="*/ 494039 h 857029"/>
                <a:gd name="connsiteX659" fmla="*/ 222893 w 511468"/>
                <a:gd name="connsiteY659" fmla="*/ 494060 h 857029"/>
                <a:gd name="connsiteX660" fmla="*/ 221688 w 511468"/>
                <a:gd name="connsiteY660" fmla="*/ 494636 h 857029"/>
                <a:gd name="connsiteX661" fmla="*/ 218419 w 511468"/>
                <a:gd name="connsiteY661" fmla="*/ 496704 h 857029"/>
                <a:gd name="connsiteX662" fmla="*/ 216888 w 511468"/>
                <a:gd name="connsiteY662" fmla="*/ 495454 h 857029"/>
                <a:gd name="connsiteX663" fmla="*/ 215571 w 511468"/>
                <a:gd name="connsiteY663" fmla="*/ 493605 h 857029"/>
                <a:gd name="connsiteX664" fmla="*/ 216007 w 511468"/>
                <a:gd name="connsiteY664" fmla="*/ 492040 h 857029"/>
                <a:gd name="connsiteX665" fmla="*/ 216556 w 511468"/>
                <a:gd name="connsiteY665" fmla="*/ 490599 h 857029"/>
                <a:gd name="connsiteX666" fmla="*/ 216515 w 511468"/>
                <a:gd name="connsiteY666" fmla="*/ 489630 h 857029"/>
                <a:gd name="connsiteX667" fmla="*/ 216048 w 511468"/>
                <a:gd name="connsiteY667" fmla="*/ 488804 h 857029"/>
                <a:gd name="connsiteX668" fmla="*/ 214014 w 511468"/>
                <a:gd name="connsiteY668" fmla="*/ 487896 h 857029"/>
                <a:gd name="connsiteX669" fmla="*/ 209689 w 511468"/>
                <a:gd name="connsiteY669" fmla="*/ 486237 h 857029"/>
                <a:gd name="connsiteX670" fmla="*/ 208458 w 511468"/>
                <a:gd name="connsiteY670" fmla="*/ 486217 h 857029"/>
                <a:gd name="connsiteX671" fmla="*/ 206594 w 511468"/>
                <a:gd name="connsiteY671" fmla="*/ 486830 h 857029"/>
                <a:gd name="connsiteX672" fmla="*/ 203217 w 511468"/>
                <a:gd name="connsiteY672" fmla="*/ 488684 h 857029"/>
                <a:gd name="connsiteX673" fmla="*/ 202025 w 511468"/>
                <a:gd name="connsiteY673" fmla="*/ 488286 h 857029"/>
                <a:gd name="connsiteX674" fmla="*/ 200920 w 511468"/>
                <a:gd name="connsiteY674" fmla="*/ 486813 h 857029"/>
                <a:gd name="connsiteX675" fmla="*/ 199728 w 511468"/>
                <a:gd name="connsiteY675" fmla="*/ 484970 h 857029"/>
                <a:gd name="connsiteX676" fmla="*/ 198115 w 511468"/>
                <a:gd name="connsiteY676" fmla="*/ 484027 h 857029"/>
                <a:gd name="connsiteX677" fmla="*/ 194644 w 511468"/>
                <a:gd name="connsiteY677" fmla="*/ 484120 h 857029"/>
                <a:gd name="connsiteX678" fmla="*/ 194314 w 511468"/>
                <a:gd name="connsiteY678" fmla="*/ 484191 h 857029"/>
                <a:gd name="connsiteX679" fmla="*/ 192638 w 511468"/>
                <a:gd name="connsiteY679" fmla="*/ 485258 h 857029"/>
                <a:gd name="connsiteX680" fmla="*/ 191930 w 511468"/>
                <a:gd name="connsiteY680" fmla="*/ 485152 h 857029"/>
                <a:gd name="connsiteX681" fmla="*/ 188916 w 511468"/>
                <a:gd name="connsiteY681" fmla="*/ 482437 h 857029"/>
                <a:gd name="connsiteX682" fmla="*/ 189477 w 511468"/>
                <a:gd name="connsiteY682" fmla="*/ 480956 h 857029"/>
                <a:gd name="connsiteX683" fmla="*/ 190112 w 511468"/>
                <a:gd name="connsiteY683" fmla="*/ 478766 h 857029"/>
                <a:gd name="connsiteX684" fmla="*/ 189883 w 511468"/>
                <a:gd name="connsiteY684" fmla="*/ 477040 h 857029"/>
                <a:gd name="connsiteX685" fmla="*/ 189386 w 511468"/>
                <a:gd name="connsiteY685" fmla="*/ 474807 h 857029"/>
                <a:gd name="connsiteX686" fmla="*/ 188095 w 511468"/>
                <a:gd name="connsiteY686" fmla="*/ 470924 h 857029"/>
                <a:gd name="connsiteX687" fmla="*/ 187924 w 511468"/>
                <a:gd name="connsiteY687" fmla="*/ 469825 h 857029"/>
                <a:gd name="connsiteX688" fmla="*/ 185810 w 511468"/>
                <a:gd name="connsiteY688" fmla="*/ 468124 h 857029"/>
                <a:gd name="connsiteX689" fmla="*/ 185458 w 511468"/>
                <a:gd name="connsiteY689" fmla="*/ 466695 h 857029"/>
                <a:gd name="connsiteX690" fmla="*/ 184348 w 511468"/>
                <a:gd name="connsiteY690" fmla="*/ 464858 h 857029"/>
                <a:gd name="connsiteX691" fmla="*/ 183258 w 511468"/>
                <a:gd name="connsiteY691" fmla="*/ 463682 h 857029"/>
                <a:gd name="connsiteX692" fmla="*/ 183025 w 511468"/>
                <a:gd name="connsiteY692" fmla="*/ 461064 h 857029"/>
                <a:gd name="connsiteX693" fmla="*/ 182297 w 511468"/>
                <a:gd name="connsiteY693" fmla="*/ 460142 h 857029"/>
                <a:gd name="connsiteX694" fmla="*/ 181356 w 511468"/>
                <a:gd name="connsiteY694" fmla="*/ 459710 h 857029"/>
                <a:gd name="connsiteX695" fmla="*/ 178030 w 511468"/>
                <a:gd name="connsiteY695" fmla="*/ 460463 h 857029"/>
                <a:gd name="connsiteX696" fmla="*/ 177672 w 511468"/>
                <a:gd name="connsiteY696" fmla="*/ 460386 h 857029"/>
                <a:gd name="connsiteX697" fmla="*/ 179257 w 511468"/>
                <a:gd name="connsiteY697" fmla="*/ 456207 h 857029"/>
                <a:gd name="connsiteX698" fmla="*/ 179395 w 511468"/>
                <a:gd name="connsiteY698" fmla="*/ 453786 h 857029"/>
                <a:gd name="connsiteX699" fmla="*/ 180399 w 511468"/>
                <a:gd name="connsiteY699" fmla="*/ 451240 h 857029"/>
                <a:gd name="connsiteX700" fmla="*/ 181543 w 511468"/>
                <a:gd name="connsiteY700" fmla="*/ 450233 h 857029"/>
                <a:gd name="connsiteX701" fmla="*/ 181891 w 511468"/>
                <a:gd name="connsiteY701" fmla="*/ 449359 h 857029"/>
                <a:gd name="connsiteX702" fmla="*/ 182068 w 511468"/>
                <a:gd name="connsiteY702" fmla="*/ 447671 h 857029"/>
                <a:gd name="connsiteX703" fmla="*/ 181854 w 511468"/>
                <a:gd name="connsiteY703" fmla="*/ 446224 h 857029"/>
                <a:gd name="connsiteX704" fmla="*/ 181153 w 511468"/>
                <a:gd name="connsiteY704" fmla="*/ 445474 h 857029"/>
                <a:gd name="connsiteX705" fmla="*/ 178408 w 511468"/>
                <a:gd name="connsiteY705" fmla="*/ 443849 h 857029"/>
                <a:gd name="connsiteX706" fmla="*/ 175443 w 511468"/>
                <a:gd name="connsiteY706" fmla="*/ 441889 h 857029"/>
                <a:gd name="connsiteX707" fmla="*/ 174834 w 511468"/>
                <a:gd name="connsiteY707" fmla="*/ 439396 h 857029"/>
                <a:gd name="connsiteX708" fmla="*/ 173918 w 511468"/>
                <a:gd name="connsiteY708" fmla="*/ 438890 h 857029"/>
                <a:gd name="connsiteX709" fmla="*/ 171314 w 511468"/>
                <a:gd name="connsiteY709" fmla="*/ 438760 h 857029"/>
                <a:gd name="connsiteX710" fmla="*/ 171366 w 511468"/>
                <a:gd name="connsiteY710" fmla="*/ 438054 h 857029"/>
                <a:gd name="connsiteX711" fmla="*/ 171753 w 511468"/>
                <a:gd name="connsiteY711" fmla="*/ 436069 h 857029"/>
                <a:gd name="connsiteX712" fmla="*/ 172377 w 511468"/>
                <a:gd name="connsiteY712" fmla="*/ 434339 h 857029"/>
                <a:gd name="connsiteX713" fmla="*/ 174411 w 511468"/>
                <a:gd name="connsiteY713" fmla="*/ 432483 h 857029"/>
                <a:gd name="connsiteX714" fmla="*/ 174914 w 511468"/>
                <a:gd name="connsiteY714" fmla="*/ 431229 h 857029"/>
                <a:gd name="connsiteX715" fmla="*/ 175519 w 511468"/>
                <a:gd name="connsiteY715" fmla="*/ 430103 h 857029"/>
                <a:gd name="connsiteX716" fmla="*/ 180179 w 511468"/>
                <a:gd name="connsiteY716" fmla="*/ 428773 h 857029"/>
                <a:gd name="connsiteX717" fmla="*/ 180712 w 511468"/>
                <a:gd name="connsiteY717" fmla="*/ 428270 h 857029"/>
                <a:gd name="connsiteX718" fmla="*/ 180747 w 511468"/>
                <a:gd name="connsiteY718" fmla="*/ 427823 h 857029"/>
                <a:gd name="connsiteX719" fmla="*/ 180530 w 511468"/>
                <a:gd name="connsiteY719" fmla="*/ 427393 h 857029"/>
                <a:gd name="connsiteX720" fmla="*/ 179496 w 511468"/>
                <a:gd name="connsiteY720" fmla="*/ 426710 h 857029"/>
                <a:gd name="connsiteX721" fmla="*/ 178423 w 511468"/>
                <a:gd name="connsiteY721" fmla="*/ 425777 h 857029"/>
                <a:gd name="connsiteX722" fmla="*/ 177775 w 511468"/>
                <a:gd name="connsiteY722" fmla="*/ 423235 h 857029"/>
                <a:gd name="connsiteX723" fmla="*/ 176160 w 511468"/>
                <a:gd name="connsiteY723" fmla="*/ 419249 h 857029"/>
                <a:gd name="connsiteX724" fmla="*/ 174642 w 511468"/>
                <a:gd name="connsiteY724" fmla="*/ 416573 h 857029"/>
                <a:gd name="connsiteX725" fmla="*/ 174318 w 511468"/>
                <a:gd name="connsiteY725" fmla="*/ 415005 h 857029"/>
                <a:gd name="connsiteX726" fmla="*/ 174711 w 511468"/>
                <a:gd name="connsiteY726" fmla="*/ 413194 h 857029"/>
                <a:gd name="connsiteX727" fmla="*/ 175253 w 511468"/>
                <a:gd name="connsiteY727" fmla="*/ 411415 h 857029"/>
                <a:gd name="connsiteX728" fmla="*/ 175281 w 511468"/>
                <a:gd name="connsiteY728" fmla="*/ 409681 h 857029"/>
                <a:gd name="connsiteX729" fmla="*/ 172975 w 511468"/>
                <a:gd name="connsiteY729" fmla="*/ 400049 h 857029"/>
                <a:gd name="connsiteX730" fmla="*/ 173132 w 511468"/>
                <a:gd name="connsiteY730" fmla="*/ 398291 h 857029"/>
                <a:gd name="connsiteX731" fmla="*/ 173802 w 511468"/>
                <a:gd name="connsiteY731" fmla="*/ 396537 h 857029"/>
                <a:gd name="connsiteX732" fmla="*/ 174877 w 511468"/>
                <a:gd name="connsiteY732" fmla="*/ 395076 h 857029"/>
                <a:gd name="connsiteX733" fmla="*/ 177281 w 511468"/>
                <a:gd name="connsiteY733" fmla="*/ 393169 h 857029"/>
                <a:gd name="connsiteX734" fmla="*/ 180284 w 511468"/>
                <a:gd name="connsiteY734" fmla="*/ 389686 h 857029"/>
                <a:gd name="connsiteX735" fmla="*/ 182316 w 511468"/>
                <a:gd name="connsiteY735" fmla="*/ 385099 h 857029"/>
                <a:gd name="connsiteX736" fmla="*/ 183381 w 511468"/>
                <a:gd name="connsiteY736" fmla="*/ 382324 h 857029"/>
                <a:gd name="connsiteX737" fmla="*/ 184277 w 511468"/>
                <a:gd name="connsiteY737" fmla="*/ 381691 h 857029"/>
                <a:gd name="connsiteX738" fmla="*/ 186007 w 511468"/>
                <a:gd name="connsiteY738" fmla="*/ 381537 h 857029"/>
                <a:gd name="connsiteX739" fmla="*/ 186663 w 511468"/>
                <a:gd name="connsiteY739" fmla="*/ 380683 h 857029"/>
                <a:gd name="connsiteX740" fmla="*/ 187000 w 511468"/>
                <a:gd name="connsiteY740" fmla="*/ 380178 h 857029"/>
                <a:gd name="connsiteX741" fmla="*/ 188482 w 511468"/>
                <a:gd name="connsiteY741" fmla="*/ 379710 h 857029"/>
                <a:gd name="connsiteX742" fmla="*/ 188985 w 511468"/>
                <a:gd name="connsiteY742" fmla="*/ 379159 h 857029"/>
                <a:gd name="connsiteX743" fmla="*/ 188585 w 511468"/>
                <a:gd name="connsiteY743" fmla="*/ 378221 h 857029"/>
                <a:gd name="connsiteX744" fmla="*/ 187099 w 511468"/>
                <a:gd name="connsiteY744" fmla="*/ 376580 h 857029"/>
                <a:gd name="connsiteX745" fmla="*/ 185920 w 511468"/>
                <a:gd name="connsiteY745" fmla="*/ 375560 h 857029"/>
                <a:gd name="connsiteX746" fmla="*/ 187058 w 511468"/>
                <a:gd name="connsiteY746" fmla="*/ 373273 h 857029"/>
                <a:gd name="connsiteX747" fmla="*/ 186668 w 511468"/>
                <a:gd name="connsiteY747" fmla="*/ 370213 h 857029"/>
                <a:gd name="connsiteX748" fmla="*/ 185953 w 511468"/>
                <a:gd name="connsiteY748" fmla="*/ 367662 h 857029"/>
                <a:gd name="connsiteX749" fmla="*/ 186927 w 511468"/>
                <a:gd name="connsiteY749" fmla="*/ 365792 h 857029"/>
                <a:gd name="connsiteX750" fmla="*/ 188544 w 511468"/>
                <a:gd name="connsiteY750" fmla="*/ 365628 h 857029"/>
                <a:gd name="connsiteX751" fmla="*/ 190343 w 511468"/>
                <a:gd name="connsiteY751" fmla="*/ 367665 h 857029"/>
                <a:gd name="connsiteX752" fmla="*/ 193042 w 511468"/>
                <a:gd name="connsiteY752" fmla="*/ 368722 h 857029"/>
                <a:gd name="connsiteX753" fmla="*/ 195014 w 511468"/>
                <a:gd name="connsiteY753" fmla="*/ 367355 h 857029"/>
                <a:gd name="connsiteX754" fmla="*/ 195681 w 511468"/>
                <a:gd name="connsiteY754" fmla="*/ 364714 h 857029"/>
                <a:gd name="connsiteX755" fmla="*/ 197102 w 511468"/>
                <a:gd name="connsiteY755" fmla="*/ 363551 h 857029"/>
                <a:gd name="connsiteX756" fmla="*/ 198998 w 511468"/>
                <a:gd name="connsiteY756" fmla="*/ 364589 h 857029"/>
                <a:gd name="connsiteX757" fmla="*/ 202176 w 511468"/>
                <a:gd name="connsiteY757" fmla="*/ 364964 h 857029"/>
                <a:gd name="connsiteX758" fmla="*/ 204813 w 511468"/>
                <a:gd name="connsiteY758" fmla="*/ 364792 h 857029"/>
                <a:gd name="connsiteX759" fmla="*/ 206590 w 511468"/>
                <a:gd name="connsiteY759" fmla="*/ 364237 h 857029"/>
                <a:gd name="connsiteX760" fmla="*/ 207348 w 511468"/>
                <a:gd name="connsiteY760" fmla="*/ 363378 h 857029"/>
                <a:gd name="connsiteX761" fmla="*/ 208052 w 511468"/>
                <a:gd name="connsiteY761" fmla="*/ 361836 h 857029"/>
                <a:gd name="connsiteX762" fmla="*/ 209505 w 511468"/>
                <a:gd name="connsiteY762" fmla="*/ 359874 h 857029"/>
                <a:gd name="connsiteX763" fmla="*/ 211013 w 511468"/>
                <a:gd name="connsiteY763" fmla="*/ 358593 h 857029"/>
                <a:gd name="connsiteX764" fmla="*/ 222565 w 511468"/>
                <a:gd name="connsiteY764" fmla="*/ 360050 h 857029"/>
                <a:gd name="connsiteX765" fmla="*/ 232578 w 511468"/>
                <a:gd name="connsiteY765" fmla="*/ 362759 h 857029"/>
                <a:gd name="connsiteX766" fmla="*/ 233336 w 511468"/>
                <a:gd name="connsiteY766" fmla="*/ 361745 h 857029"/>
                <a:gd name="connsiteX767" fmla="*/ 233686 w 511468"/>
                <a:gd name="connsiteY767" fmla="*/ 360001 h 857029"/>
                <a:gd name="connsiteX768" fmla="*/ 231194 w 511468"/>
                <a:gd name="connsiteY768" fmla="*/ 358500 h 857029"/>
                <a:gd name="connsiteX769" fmla="*/ 229354 w 511468"/>
                <a:gd name="connsiteY769" fmla="*/ 357714 h 857029"/>
                <a:gd name="connsiteX770" fmla="*/ 227044 w 511468"/>
                <a:gd name="connsiteY770" fmla="*/ 354588 h 857029"/>
                <a:gd name="connsiteX771" fmla="*/ 223703 w 511468"/>
                <a:gd name="connsiteY771" fmla="*/ 352121 h 857029"/>
                <a:gd name="connsiteX772" fmla="*/ 220346 w 511468"/>
                <a:gd name="connsiteY772" fmla="*/ 351904 h 857029"/>
                <a:gd name="connsiteX773" fmla="*/ 215947 w 511468"/>
                <a:gd name="connsiteY773" fmla="*/ 352763 h 857029"/>
                <a:gd name="connsiteX774" fmla="*/ 209285 w 511468"/>
                <a:gd name="connsiteY774" fmla="*/ 352249 h 857029"/>
                <a:gd name="connsiteX775" fmla="*/ 203614 w 511468"/>
                <a:gd name="connsiteY775" fmla="*/ 347601 h 857029"/>
                <a:gd name="connsiteX776" fmla="*/ 199866 w 511468"/>
                <a:gd name="connsiteY776" fmla="*/ 346147 h 857029"/>
                <a:gd name="connsiteX777" fmla="*/ 197193 w 511468"/>
                <a:gd name="connsiteY777" fmla="*/ 342565 h 857029"/>
                <a:gd name="connsiteX778" fmla="*/ 196514 w 511468"/>
                <a:gd name="connsiteY778" fmla="*/ 340661 h 857029"/>
                <a:gd name="connsiteX779" fmla="*/ 199408 w 511468"/>
                <a:gd name="connsiteY779" fmla="*/ 342277 h 857029"/>
                <a:gd name="connsiteX780" fmla="*/ 199803 w 511468"/>
                <a:gd name="connsiteY780" fmla="*/ 340569 h 857029"/>
                <a:gd name="connsiteX781" fmla="*/ 200030 w 511468"/>
                <a:gd name="connsiteY781" fmla="*/ 338298 h 857029"/>
                <a:gd name="connsiteX782" fmla="*/ 198421 w 511468"/>
                <a:gd name="connsiteY782" fmla="*/ 336911 h 857029"/>
                <a:gd name="connsiteX783" fmla="*/ 196983 w 511468"/>
                <a:gd name="connsiteY783" fmla="*/ 336085 h 857029"/>
                <a:gd name="connsiteX784" fmla="*/ 189609 w 511468"/>
                <a:gd name="connsiteY784" fmla="*/ 339632 h 857029"/>
                <a:gd name="connsiteX785" fmla="*/ 181170 w 511468"/>
                <a:gd name="connsiteY785" fmla="*/ 340794 h 857029"/>
                <a:gd name="connsiteX786" fmla="*/ 189004 w 511468"/>
                <a:gd name="connsiteY786" fmla="*/ 333794 h 857029"/>
                <a:gd name="connsiteX787" fmla="*/ 194653 w 511468"/>
                <a:gd name="connsiteY787" fmla="*/ 328737 h 857029"/>
                <a:gd name="connsiteX788" fmla="*/ 195707 w 511468"/>
                <a:gd name="connsiteY788" fmla="*/ 327975 h 857029"/>
                <a:gd name="connsiteX789" fmla="*/ 198207 w 511468"/>
                <a:gd name="connsiteY789" fmla="*/ 326615 h 857029"/>
                <a:gd name="connsiteX790" fmla="*/ 200302 w 511468"/>
                <a:gd name="connsiteY790" fmla="*/ 325184 h 857029"/>
                <a:gd name="connsiteX791" fmla="*/ 201986 w 511468"/>
                <a:gd name="connsiteY791" fmla="*/ 323306 h 857029"/>
                <a:gd name="connsiteX792" fmla="*/ 207601 w 511468"/>
                <a:gd name="connsiteY792" fmla="*/ 319597 h 857029"/>
                <a:gd name="connsiteX793" fmla="*/ 213321 w 511468"/>
                <a:gd name="connsiteY793" fmla="*/ 315596 h 857029"/>
                <a:gd name="connsiteX794" fmla="*/ 218644 w 511468"/>
                <a:gd name="connsiteY794" fmla="*/ 310313 h 857029"/>
                <a:gd name="connsiteX795" fmla="*/ 220568 w 511468"/>
                <a:gd name="connsiteY795" fmla="*/ 308648 h 857029"/>
                <a:gd name="connsiteX796" fmla="*/ 223017 w 511468"/>
                <a:gd name="connsiteY796" fmla="*/ 306866 h 857029"/>
                <a:gd name="connsiteX797" fmla="*/ 228391 w 511468"/>
                <a:gd name="connsiteY797" fmla="*/ 301255 h 857029"/>
                <a:gd name="connsiteX798" fmla="*/ 230089 w 511468"/>
                <a:gd name="connsiteY798" fmla="*/ 299699 h 857029"/>
                <a:gd name="connsiteX799" fmla="*/ 236645 w 511468"/>
                <a:gd name="connsiteY799" fmla="*/ 292637 h 857029"/>
                <a:gd name="connsiteX800" fmla="*/ 240475 w 511468"/>
                <a:gd name="connsiteY800" fmla="*/ 289109 h 857029"/>
                <a:gd name="connsiteX801" fmla="*/ 242376 w 511468"/>
                <a:gd name="connsiteY801" fmla="*/ 287080 h 857029"/>
                <a:gd name="connsiteX802" fmla="*/ 250560 w 511468"/>
                <a:gd name="connsiteY802" fmla="*/ 280362 h 857029"/>
                <a:gd name="connsiteX803" fmla="*/ 256109 w 511468"/>
                <a:gd name="connsiteY803" fmla="*/ 274948 h 857029"/>
                <a:gd name="connsiteX804" fmla="*/ 258297 w 511468"/>
                <a:gd name="connsiteY804" fmla="*/ 271974 h 857029"/>
                <a:gd name="connsiteX805" fmla="*/ 260436 w 511468"/>
                <a:gd name="connsiteY805" fmla="*/ 267705 h 857029"/>
                <a:gd name="connsiteX806" fmla="*/ 261650 w 511468"/>
                <a:gd name="connsiteY806" fmla="*/ 264788 h 857029"/>
                <a:gd name="connsiteX807" fmla="*/ 263788 w 511468"/>
                <a:gd name="connsiteY807" fmla="*/ 261008 h 857029"/>
                <a:gd name="connsiteX808" fmla="*/ 263844 w 511468"/>
                <a:gd name="connsiteY808" fmla="*/ 259753 h 857029"/>
                <a:gd name="connsiteX809" fmla="*/ 263242 w 511468"/>
                <a:gd name="connsiteY809" fmla="*/ 258585 h 857029"/>
                <a:gd name="connsiteX810" fmla="*/ 261644 w 511468"/>
                <a:gd name="connsiteY810" fmla="*/ 256769 h 857029"/>
                <a:gd name="connsiteX811" fmla="*/ 259426 w 511468"/>
                <a:gd name="connsiteY811" fmla="*/ 254674 h 857029"/>
                <a:gd name="connsiteX812" fmla="*/ 257452 w 511468"/>
                <a:gd name="connsiteY812" fmla="*/ 252108 h 857029"/>
                <a:gd name="connsiteX813" fmla="*/ 255980 w 511468"/>
                <a:gd name="connsiteY813" fmla="*/ 249797 h 857029"/>
                <a:gd name="connsiteX814" fmla="*/ 251423 w 511468"/>
                <a:gd name="connsiteY814" fmla="*/ 246581 h 857029"/>
                <a:gd name="connsiteX815" fmla="*/ 244358 w 511468"/>
                <a:gd name="connsiteY815" fmla="*/ 242503 h 857029"/>
                <a:gd name="connsiteX816" fmla="*/ 239123 w 511468"/>
                <a:gd name="connsiteY816" fmla="*/ 239476 h 857029"/>
                <a:gd name="connsiteX817" fmla="*/ 231093 w 511468"/>
                <a:gd name="connsiteY817" fmla="*/ 232994 h 857029"/>
                <a:gd name="connsiteX818" fmla="*/ 229681 w 511468"/>
                <a:gd name="connsiteY818" fmla="*/ 231374 h 857029"/>
                <a:gd name="connsiteX819" fmla="*/ 229959 w 511468"/>
                <a:gd name="connsiteY819" fmla="*/ 230947 h 857029"/>
                <a:gd name="connsiteX820" fmla="*/ 234518 w 511468"/>
                <a:gd name="connsiteY820" fmla="*/ 228978 h 857029"/>
                <a:gd name="connsiteX821" fmla="*/ 239052 w 511468"/>
                <a:gd name="connsiteY821" fmla="*/ 223901 h 857029"/>
                <a:gd name="connsiteX822" fmla="*/ 241011 w 511468"/>
                <a:gd name="connsiteY822" fmla="*/ 221322 h 857029"/>
                <a:gd name="connsiteX823" fmla="*/ 241501 w 511468"/>
                <a:gd name="connsiteY823" fmla="*/ 219320 h 857029"/>
                <a:gd name="connsiteX824" fmla="*/ 241542 w 511468"/>
                <a:gd name="connsiteY824" fmla="*/ 217063 h 857029"/>
                <a:gd name="connsiteX825" fmla="*/ 241229 w 511468"/>
                <a:gd name="connsiteY825" fmla="*/ 214979 h 857029"/>
                <a:gd name="connsiteX826" fmla="*/ 240657 w 511468"/>
                <a:gd name="connsiteY826" fmla="*/ 213685 h 857029"/>
                <a:gd name="connsiteX827" fmla="*/ 238506 w 511468"/>
                <a:gd name="connsiteY827" fmla="*/ 212058 h 857029"/>
                <a:gd name="connsiteX828" fmla="*/ 232259 w 511468"/>
                <a:gd name="connsiteY828" fmla="*/ 209088 h 857029"/>
                <a:gd name="connsiteX829" fmla="*/ 230794 w 511468"/>
                <a:gd name="connsiteY829" fmla="*/ 206343 h 857029"/>
                <a:gd name="connsiteX830" fmla="*/ 229572 w 511468"/>
                <a:gd name="connsiteY830" fmla="*/ 203463 h 857029"/>
                <a:gd name="connsiteX831" fmla="*/ 229549 w 511468"/>
                <a:gd name="connsiteY831" fmla="*/ 202272 h 857029"/>
                <a:gd name="connsiteX832" fmla="*/ 232524 w 511468"/>
                <a:gd name="connsiteY832" fmla="*/ 199172 h 857029"/>
                <a:gd name="connsiteX833" fmla="*/ 232658 w 511468"/>
                <a:gd name="connsiteY833" fmla="*/ 197621 h 857029"/>
                <a:gd name="connsiteX834" fmla="*/ 232306 w 511468"/>
                <a:gd name="connsiteY834" fmla="*/ 196031 h 857029"/>
                <a:gd name="connsiteX835" fmla="*/ 231479 w 511468"/>
                <a:gd name="connsiteY835" fmla="*/ 194870 h 857029"/>
                <a:gd name="connsiteX836" fmla="*/ 225075 w 511468"/>
                <a:gd name="connsiteY836" fmla="*/ 193466 h 857029"/>
                <a:gd name="connsiteX837" fmla="*/ 223271 w 511468"/>
                <a:gd name="connsiteY837" fmla="*/ 191982 h 857029"/>
                <a:gd name="connsiteX838" fmla="*/ 221853 w 511468"/>
                <a:gd name="connsiteY838" fmla="*/ 189616 h 857029"/>
                <a:gd name="connsiteX839" fmla="*/ 221116 w 511468"/>
                <a:gd name="connsiteY839" fmla="*/ 187583 h 857029"/>
                <a:gd name="connsiteX840" fmla="*/ 221043 w 511468"/>
                <a:gd name="connsiteY840" fmla="*/ 186379 h 857029"/>
                <a:gd name="connsiteX841" fmla="*/ 221520 w 511468"/>
                <a:gd name="connsiteY841" fmla="*/ 185030 h 857029"/>
                <a:gd name="connsiteX842" fmla="*/ 223677 w 511468"/>
                <a:gd name="connsiteY842" fmla="*/ 183562 h 857029"/>
                <a:gd name="connsiteX843" fmla="*/ 225685 w 511468"/>
                <a:gd name="connsiteY843" fmla="*/ 182570 h 857029"/>
                <a:gd name="connsiteX844" fmla="*/ 226042 w 511468"/>
                <a:gd name="connsiteY844" fmla="*/ 181232 h 857029"/>
                <a:gd name="connsiteX845" fmla="*/ 226025 w 511468"/>
                <a:gd name="connsiteY845" fmla="*/ 179783 h 857029"/>
                <a:gd name="connsiteX846" fmla="*/ 225679 w 511468"/>
                <a:gd name="connsiteY846" fmla="*/ 179082 h 857029"/>
                <a:gd name="connsiteX847" fmla="*/ 221680 w 511468"/>
                <a:gd name="connsiteY847" fmla="*/ 178392 h 857029"/>
                <a:gd name="connsiteX848" fmla="*/ 221298 w 511468"/>
                <a:gd name="connsiteY848" fmla="*/ 178000 h 857029"/>
                <a:gd name="connsiteX849" fmla="*/ 221200 w 511468"/>
                <a:gd name="connsiteY849" fmla="*/ 177498 h 857029"/>
                <a:gd name="connsiteX850" fmla="*/ 221404 w 511468"/>
                <a:gd name="connsiteY850" fmla="*/ 176897 h 857029"/>
                <a:gd name="connsiteX851" fmla="*/ 223563 w 511468"/>
                <a:gd name="connsiteY851" fmla="*/ 174310 h 857029"/>
                <a:gd name="connsiteX852" fmla="*/ 223854 w 511468"/>
                <a:gd name="connsiteY852" fmla="*/ 169373 h 857029"/>
                <a:gd name="connsiteX853" fmla="*/ 225876 w 511468"/>
                <a:gd name="connsiteY853" fmla="*/ 165917 h 857029"/>
                <a:gd name="connsiteX854" fmla="*/ 223587 w 511468"/>
                <a:gd name="connsiteY854" fmla="*/ 163891 h 857029"/>
                <a:gd name="connsiteX855" fmla="*/ 223764 w 511468"/>
                <a:gd name="connsiteY855" fmla="*/ 163534 h 857029"/>
                <a:gd name="connsiteX856" fmla="*/ 227273 w 511468"/>
                <a:gd name="connsiteY856" fmla="*/ 162472 h 857029"/>
                <a:gd name="connsiteX857" fmla="*/ 230510 w 511468"/>
                <a:gd name="connsiteY857" fmla="*/ 162214 h 857029"/>
                <a:gd name="connsiteX858" fmla="*/ 231976 w 511468"/>
                <a:gd name="connsiteY858" fmla="*/ 161815 h 857029"/>
                <a:gd name="connsiteX859" fmla="*/ 232140 w 511468"/>
                <a:gd name="connsiteY859" fmla="*/ 160193 h 857029"/>
                <a:gd name="connsiteX860" fmla="*/ 231803 w 511468"/>
                <a:gd name="connsiteY860" fmla="*/ 157999 h 857029"/>
                <a:gd name="connsiteX861" fmla="*/ 228467 w 511468"/>
                <a:gd name="connsiteY861" fmla="*/ 149368 h 857029"/>
                <a:gd name="connsiteX862" fmla="*/ 227733 w 511468"/>
                <a:gd name="connsiteY862" fmla="*/ 146874 h 857029"/>
                <a:gd name="connsiteX863" fmla="*/ 225523 w 511468"/>
                <a:gd name="connsiteY863" fmla="*/ 143721 h 857029"/>
                <a:gd name="connsiteX864" fmla="*/ 223693 w 511468"/>
                <a:gd name="connsiteY864" fmla="*/ 141599 h 857029"/>
                <a:gd name="connsiteX865" fmla="*/ 222591 w 511468"/>
                <a:gd name="connsiteY865" fmla="*/ 140083 h 857029"/>
                <a:gd name="connsiteX866" fmla="*/ 220818 w 511468"/>
                <a:gd name="connsiteY866" fmla="*/ 137113 h 857029"/>
                <a:gd name="connsiteX867" fmla="*/ 219792 w 511468"/>
                <a:gd name="connsiteY867" fmla="*/ 134061 h 857029"/>
                <a:gd name="connsiteX868" fmla="*/ 218024 w 511468"/>
                <a:gd name="connsiteY868" fmla="*/ 130648 h 857029"/>
                <a:gd name="connsiteX869" fmla="*/ 215964 w 511468"/>
                <a:gd name="connsiteY869" fmla="*/ 127511 h 857029"/>
                <a:gd name="connsiteX870" fmla="*/ 214241 w 511468"/>
                <a:gd name="connsiteY870" fmla="*/ 124605 h 857029"/>
                <a:gd name="connsiteX871" fmla="*/ 209814 w 511468"/>
                <a:gd name="connsiteY871" fmla="*/ 118903 h 857029"/>
                <a:gd name="connsiteX872" fmla="*/ 209220 w 511468"/>
                <a:gd name="connsiteY872" fmla="*/ 117322 h 857029"/>
                <a:gd name="connsiteX873" fmla="*/ 209283 w 511468"/>
                <a:gd name="connsiteY873" fmla="*/ 115891 h 857029"/>
                <a:gd name="connsiteX874" fmla="*/ 209680 w 511468"/>
                <a:gd name="connsiteY874" fmla="*/ 114375 h 857029"/>
                <a:gd name="connsiteX875" fmla="*/ 213137 w 511468"/>
                <a:gd name="connsiteY875" fmla="*/ 109690 h 857029"/>
                <a:gd name="connsiteX876" fmla="*/ 216329 w 511468"/>
                <a:gd name="connsiteY876" fmla="*/ 105773 h 857029"/>
                <a:gd name="connsiteX877" fmla="*/ 220410 w 511468"/>
                <a:gd name="connsiteY877" fmla="*/ 101168 h 857029"/>
                <a:gd name="connsiteX878" fmla="*/ 224353 w 511468"/>
                <a:gd name="connsiteY878" fmla="*/ 97338 h 857029"/>
                <a:gd name="connsiteX879" fmla="*/ 228568 w 511468"/>
                <a:gd name="connsiteY879" fmla="*/ 92786 h 857029"/>
                <a:gd name="connsiteX880" fmla="*/ 229605 w 511468"/>
                <a:gd name="connsiteY880" fmla="*/ 88232 h 857029"/>
                <a:gd name="connsiteX881" fmla="*/ 229409 w 511468"/>
                <a:gd name="connsiteY881" fmla="*/ 87465 h 857029"/>
                <a:gd name="connsiteX882" fmla="*/ 225923 w 511468"/>
                <a:gd name="connsiteY882" fmla="*/ 84993 h 857029"/>
                <a:gd name="connsiteX883" fmla="*/ 219348 w 511468"/>
                <a:gd name="connsiteY883" fmla="*/ 78363 h 857029"/>
                <a:gd name="connsiteX884" fmla="*/ 215359 w 511468"/>
                <a:gd name="connsiteY884" fmla="*/ 73320 h 857029"/>
                <a:gd name="connsiteX885" fmla="*/ 209149 w 511468"/>
                <a:gd name="connsiteY885" fmla="*/ 71185 h 857029"/>
                <a:gd name="connsiteX886" fmla="*/ 200794 w 511468"/>
                <a:gd name="connsiteY886" fmla="*/ 68448 h 857029"/>
                <a:gd name="connsiteX887" fmla="*/ 198030 w 511468"/>
                <a:gd name="connsiteY887" fmla="*/ 62279 h 857029"/>
                <a:gd name="connsiteX888" fmla="*/ 196052 w 511468"/>
                <a:gd name="connsiteY888" fmla="*/ 57031 h 857029"/>
                <a:gd name="connsiteX889" fmla="*/ 196242 w 511468"/>
                <a:gd name="connsiteY889" fmla="*/ 55141 h 857029"/>
                <a:gd name="connsiteX890" fmla="*/ 202273 w 511468"/>
                <a:gd name="connsiteY890" fmla="*/ 46145 h 857029"/>
                <a:gd name="connsiteX891" fmla="*/ 202839 w 511468"/>
                <a:gd name="connsiteY891" fmla="*/ 44510 h 857029"/>
                <a:gd name="connsiteX892" fmla="*/ 202733 w 511468"/>
                <a:gd name="connsiteY892" fmla="*/ 43497 h 857029"/>
                <a:gd name="connsiteX893" fmla="*/ 202114 w 511468"/>
                <a:gd name="connsiteY893" fmla="*/ 42863 h 857029"/>
                <a:gd name="connsiteX894" fmla="*/ 201254 w 511468"/>
                <a:gd name="connsiteY894" fmla="*/ 42513 h 857029"/>
                <a:gd name="connsiteX895" fmla="*/ 195672 w 511468"/>
                <a:gd name="connsiteY895" fmla="*/ 42252 h 857029"/>
                <a:gd name="connsiteX896" fmla="*/ 194800 w 511468"/>
                <a:gd name="connsiteY896" fmla="*/ 41019 h 857029"/>
                <a:gd name="connsiteX897" fmla="*/ 198160 w 511468"/>
                <a:gd name="connsiteY897" fmla="*/ 40088 h 857029"/>
                <a:gd name="connsiteX898" fmla="*/ 200950 w 511468"/>
                <a:gd name="connsiteY898" fmla="*/ 38818 h 857029"/>
                <a:gd name="connsiteX899" fmla="*/ 205521 w 511468"/>
                <a:gd name="connsiteY899" fmla="*/ 36935 h 857029"/>
                <a:gd name="connsiteX900" fmla="*/ 207001 w 511468"/>
                <a:gd name="connsiteY900" fmla="*/ 36458 h 857029"/>
                <a:gd name="connsiteX901" fmla="*/ 210378 w 511468"/>
                <a:gd name="connsiteY901" fmla="*/ 35373 h 857029"/>
                <a:gd name="connsiteX902" fmla="*/ 211535 w 511468"/>
                <a:gd name="connsiteY902" fmla="*/ 34536 h 857029"/>
                <a:gd name="connsiteX903" fmla="*/ 212399 w 511468"/>
                <a:gd name="connsiteY903" fmla="*/ 33547 h 857029"/>
                <a:gd name="connsiteX904" fmla="*/ 215562 w 511468"/>
                <a:gd name="connsiteY904" fmla="*/ 26796 h 857029"/>
                <a:gd name="connsiteX905" fmla="*/ 216342 w 511468"/>
                <a:gd name="connsiteY905" fmla="*/ 25723 h 857029"/>
                <a:gd name="connsiteX906" fmla="*/ 226169 w 511468"/>
                <a:gd name="connsiteY906" fmla="*/ 23293 h 857029"/>
                <a:gd name="connsiteX907" fmla="*/ 229737 w 511468"/>
                <a:gd name="connsiteY907" fmla="*/ 22043 h 857029"/>
                <a:gd name="connsiteX908" fmla="*/ 231799 w 511468"/>
                <a:gd name="connsiteY908" fmla="*/ 20465 h 857029"/>
                <a:gd name="connsiteX909" fmla="*/ 232784 w 511468"/>
                <a:gd name="connsiteY909" fmla="*/ 19237 h 857029"/>
                <a:gd name="connsiteX910" fmla="*/ 233490 w 511468"/>
                <a:gd name="connsiteY910" fmla="*/ 17776 h 857029"/>
                <a:gd name="connsiteX911" fmla="*/ 233997 w 511468"/>
                <a:gd name="connsiteY911" fmla="*/ 16164 h 857029"/>
                <a:gd name="connsiteX912" fmla="*/ 234213 w 511468"/>
                <a:gd name="connsiteY912" fmla="*/ 14683 h 857029"/>
                <a:gd name="connsiteX913" fmla="*/ 233401 w 511468"/>
                <a:gd name="connsiteY913" fmla="*/ 12749 h 857029"/>
                <a:gd name="connsiteX914" fmla="*/ 233852 w 511468"/>
                <a:gd name="connsiteY914" fmla="*/ 12515 h 857029"/>
                <a:gd name="connsiteX915" fmla="*/ 234900 w 511468"/>
                <a:gd name="connsiteY915" fmla="*/ 12596 h 857029"/>
                <a:gd name="connsiteX916" fmla="*/ 238264 w 511468"/>
                <a:gd name="connsiteY916" fmla="*/ 14521 h 857029"/>
                <a:gd name="connsiteX917" fmla="*/ 243477 w 511468"/>
                <a:gd name="connsiteY917" fmla="*/ 16564 h 857029"/>
                <a:gd name="connsiteX918" fmla="*/ 247312 w 511468"/>
                <a:gd name="connsiteY918" fmla="*/ 16723 h 857029"/>
                <a:gd name="connsiteX919" fmla="*/ 248901 w 511468"/>
                <a:gd name="connsiteY919" fmla="*/ 16334 h 857029"/>
                <a:gd name="connsiteX920" fmla="*/ 249696 w 511468"/>
                <a:gd name="connsiteY920" fmla="*/ 15441 h 857029"/>
                <a:gd name="connsiteX921" fmla="*/ 250266 w 511468"/>
                <a:gd name="connsiteY921" fmla="*/ 13693 h 857029"/>
                <a:gd name="connsiteX922" fmla="*/ 250303 w 511468"/>
                <a:gd name="connsiteY922" fmla="*/ 11890 h 857029"/>
                <a:gd name="connsiteX923" fmla="*/ 249100 w 511468"/>
                <a:gd name="connsiteY923" fmla="*/ 6713 h 857029"/>
                <a:gd name="connsiteX924" fmla="*/ 253075 w 511468"/>
                <a:gd name="connsiteY924" fmla="*/ 7272 h 857029"/>
                <a:gd name="connsiteX925" fmla="*/ 261991 w 511468"/>
                <a:gd name="connsiteY925" fmla="*/ 10404 h 857029"/>
                <a:gd name="connsiteX926" fmla="*/ 264075 w 511468"/>
                <a:gd name="connsiteY926" fmla="*/ 10116 h 857029"/>
                <a:gd name="connsiteX927" fmla="*/ 266712 w 511468"/>
                <a:gd name="connsiteY927" fmla="*/ 9170 h 857029"/>
                <a:gd name="connsiteX928" fmla="*/ 269417 w 511468"/>
                <a:gd name="connsiteY928" fmla="*/ 5440 h 857029"/>
                <a:gd name="connsiteX929" fmla="*/ 271426 w 511468"/>
                <a:gd name="connsiteY929" fmla="*/ 4801 h 857029"/>
                <a:gd name="connsiteX930" fmla="*/ 274047 w 511468"/>
                <a:gd name="connsiteY930" fmla="*/ 5671 h 857029"/>
                <a:gd name="connsiteX931" fmla="*/ 274769 w 511468"/>
                <a:gd name="connsiteY931" fmla="*/ 4670 h 857029"/>
                <a:gd name="connsiteX932" fmla="*/ 273414 w 511468"/>
                <a:gd name="connsiteY932" fmla="*/ 1570 h 857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</a:cxnLst>
              <a:rect l="l" t="t" r="r" b="b"/>
              <a:pathLst>
                <a:path w="511468" h="857029">
                  <a:moveTo>
                    <a:pt x="28644" y="509016"/>
                  </a:moveTo>
                  <a:lnTo>
                    <a:pt x="29927" y="509255"/>
                  </a:lnTo>
                  <a:lnTo>
                    <a:pt x="27750" y="512193"/>
                  </a:lnTo>
                  <a:lnTo>
                    <a:pt x="21900" y="518387"/>
                  </a:lnTo>
                  <a:lnTo>
                    <a:pt x="23733" y="519208"/>
                  </a:lnTo>
                  <a:lnTo>
                    <a:pt x="25862" y="519473"/>
                  </a:lnTo>
                  <a:lnTo>
                    <a:pt x="28372" y="520626"/>
                  </a:lnTo>
                  <a:lnTo>
                    <a:pt x="30769" y="520834"/>
                  </a:lnTo>
                  <a:lnTo>
                    <a:pt x="35036" y="519836"/>
                  </a:lnTo>
                  <a:lnTo>
                    <a:pt x="35787" y="514530"/>
                  </a:lnTo>
                  <a:lnTo>
                    <a:pt x="36072" y="509712"/>
                  </a:lnTo>
                  <a:lnTo>
                    <a:pt x="37439" y="509701"/>
                  </a:lnTo>
                  <a:lnTo>
                    <a:pt x="39467" y="509360"/>
                  </a:lnTo>
                  <a:lnTo>
                    <a:pt x="40745" y="510627"/>
                  </a:lnTo>
                  <a:lnTo>
                    <a:pt x="43125" y="511833"/>
                  </a:lnTo>
                  <a:lnTo>
                    <a:pt x="45955" y="512911"/>
                  </a:lnTo>
                  <a:lnTo>
                    <a:pt x="50184" y="514747"/>
                  </a:lnTo>
                  <a:lnTo>
                    <a:pt x="54572" y="515887"/>
                  </a:lnTo>
                  <a:lnTo>
                    <a:pt x="56020" y="516019"/>
                  </a:lnTo>
                  <a:lnTo>
                    <a:pt x="60631" y="515869"/>
                  </a:lnTo>
                  <a:lnTo>
                    <a:pt x="65515" y="516027"/>
                  </a:lnTo>
                  <a:lnTo>
                    <a:pt x="66846" y="518746"/>
                  </a:lnTo>
                  <a:lnTo>
                    <a:pt x="69257" y="520031"/>
                  </a:lnTo>
                  <a:lnTo>
                    <a:pt x="71207" y="521798"/>
                  </a:lnTo>
                  <a:lnTo>
                    <a:pt x="71352" y="522805"/>
                  </a:lnTo>
                  <a:lnTo>
                    <a:pt x="68664" y="529110"/>
                  </a:lnTo>
                  <a:lnTo>
                    <a:pt x="68107" y="531241"/>
                  </a:lnTo>
                  <a:lnTo>
                    <a:pt x="68005" y="533376"/>
                  </a:lnTo>
                  <a:lnTo>
                    <a:pt x="68988" y="536043"/>
                  </a:lnTo>
                  <a:lnTo>
                    <a:pt x="69914" y="537532"/>
                  </a:lnTo>
                  <a:lnTo>
                    <a:pt x="69154" y="537736"/>
                  </a:lnTo>
                  <a:lnTo>
                    <a:pt x="56696" y="537438"/>
                  </a:lnTo>
                  <a:lnTo>
                    <a:pt x="44883" y="536932"/>
                  </a:lnTo>
                  <a:lnTo>
                    <a:pt x="33967" y="536465"/>
                  </a:lnTo>
                  <a:lnTo>
                    <a:pt x="23446" y="536012"/>
                  </a:lnTo>
                  <a:lnTo>
                    <a:pt x="13351" y="535582"/>
                  </a:lnTo>
                  <a:lnTo>
                    <a:pt x="7074" y="535178"/>
                  </a:lnTo>
                  <a:lnTo>
                    <a:pt x="881" y="534779"/>
                  </a:lnTo>
                  <a:lnTo>
                    <a:pt x="0" y="534410"/>
                  </a:lnTo>
                  <a:lnTo>
                    <a:pt x="3407" y="531794"/>
                  </a:lnTo>
                  <a:lnTo>
                    <a:pt x="5627" y="529073"/>
                  </a:lnTo>
                  <a:lnTo>
                    <a:pt x="7512" y="525517"/>
                  </a:lnTo>
                  <a:lnTo>
                    <a:pt x="7713" y="523051"/>
                  </a:lnTo>
                  <a:lnTo>
                    <a:pt x="8184" y="520266"/>
                  </a:lnTo>
                  <a:lnTo>
                    <a:pt x="11127" y="519182"/>
                  </a:lnTo>
                  <a:lnTo>
                    <a:pt x="17519" y="519343"/>
                  </a:lnTo>
                  <a:lnTo>
                    <a:pt x="20252" y="518003"/>
                  </a:lnTo>
                  <a:lnTo>
                    <a:pt x="23759" y="514688"/>
                  </a:lnTo>
                  <a:lnTo>
                    <a:pt x="27448" y="510701"/>
                  </a:lnTo>
                  <a:close/>
                  <a:moveTo>
                    <a:pt x="356551" y="179341"/>
                  </a:moveTo>
                  <a:lnTo>
                    <a:pt x="358475" y="179899"/>
                  </a:lnTo>
                  <a:lnTo>
                    <a:pt x="359190" y="181318"/>
                  </a:lnTo>
                  <a:lnTo>
                    <a:pt x="359410" y="183648"/>
                  </a:lnTo>
                  <a:lnTo>
                    <a:pt x="358723" y="185139"/>
                  </a:lnTo>
                  <a:lnTo>
                    <a:pt x="359054" y="186396"/>
                  </a:lnTo>
                  <a:lnTo>
                    <a:pt x="357648" y="187287"/>
                  </a:lnTo>
                  <a:lnTo>
                    <a:pt x="355467" y="184379"/>
                  </a:lnTo>
                  <a:lnTo>
                    <a:pt x="354169" y="184337"/>
                  </a:lnTo>
                  <a:lnTo>
                    <a:pt x="352780" y="183084"/>
                  </a:lnTo>
                  <a:lnTo>
                    <a:pt x="352124" y="181016"/>
                  </a:lnTo>
                  <a:lnTo>
                    <a:pt x="353381" y="180439"/>
                  </a:lnTo>
                  <a:lnTo>
                    <a:pt x="353889" y="180798"/>
                  </a:lnTo>
                  <a:close/>
                  <a:moveTo>
                    <a:pt x="507319" y="120897"/>
                  </a:moveTo>
                  <a:lnTo>
                    <a:pt x="509176" y="121390"/>
                  </a:lnTo>
                  <a:lnTo>
                    <a:pt x="510487" y="123131"/>
                  </a:lnTo>
                  <a:lnTo>
                    <a:pt x="510994" y="124376"/>
                  </a:lnTo>
                  <a:lnTo>
                    <a:pt x="510152" y="124880"/>
                  </a:lnTo>
                  <a:lnTo>
                    <a:pt x="505769" y="123140"/>
                  </a:lnTo>
                  <a:lnTo>
                    <a:pt x="505387" y="121830"/>
                  </a:lnTo>
                  <a:lnTo>
                    <a:pt x="505574" y="121267"/>
                  </a:lnTo>
                  <a:close/>
                  <a:moveTo>
                    <a:pt x="273751" y="0"/>
                  </a:moveTo>
                  <a:lnTo>
                    <a:pt x="282752" y="3354"/>
                  </a:lnTo>
                  <a:lnTo>
                    <a:pt x="286595" y="5805"/>
                  </a:lnTo>
                  <a:lnTo>
                    <a:pt x="294915" y="7956"/>
                  </a:lnTo>
                  <a:lnTo>
                    <a:pt x="296377" y="9126"/>
                  </a:lnTo>
                  <a:lnTo>
                    <a:pt x="296483" y="11154"/>
                  </a:lnTo>
                  <a:lnTo>
                    <a:pt x="296086" y="12894"/>
                  </a:lnTo>
                  <a:lnTo>
                    <a:pt x="294326" y="13854"/>
                  </a:lnTo>
                  <a:lnTo>
                    <a:pt x="290771" y="13697"/>
                  </a:lnTo>
                  <a:lnTo>
                    <a:pt x="278001" y="11016"/>
                  </a:lnTo>
                  <a:lnTo>
                    <a:pt x="276116" y="12644"/>
                  </a:lnTo>
                  <a:lnTo>
                    <a:pt x="277660" y="14053"/>
                  </a:lnTo>
                  <a:lnTo>
                    <a:pt x="281402" y="15715"/>
                  </a:lnTo>
                  <a:lnTo>
                    <a:pt x="282445" y="18657"/>
                  </a:lnTo>
                  <a:lnTo>
                    <a:pt x="288174" y="18252"/>
                  </a:lnTo>
                  <a:lnTo>
                    <a:pt x="293635" y="19371"/>
                  </a:lnTo>
                  <a:lnTo>
                    <a:pt x="296200" y="19008"/>
                  </a:lnTo>
                  <a:lnTo>
                    <a:pt x="296669" y="19967"/>
                  </a:lnTo>
                  <a:lnTo>
                    <a:pt x="294913" y="22399"/>
                  </a:lnTo>
                  <a:lnTo>
                    <a:pt x="295738" y="23024"/>
                  </a:lnTo>
                  <a:lnTo>
                    <a:pt x="301862" y="20665"/>
                  </a:lnTo>
                  <a:lnTo>
                    <a:pt x="304715" y="20018"/>
                  </a:lnTo>
                  <a:lnTo>
                    <a:pt x="306250" y="20648"/>
                  </a:lnTo>
                  <a:lnTo>
                    <a:pt x="306457" y="22601"/>
                  </a:lnTo>
                  <a:lnTo>
                    <a:pt x="305447" y="25055"/>
                  </a:lnTo>
                  <a:lnTo>
                    <a:pt x="305337" y="26920"/>
                  </a:lnTo>
                  <a:lnTo>
                    <a:pt x="303452" y="31417"/>
                  </a:lnTo>
                  <a:lnTo>
                    <a:pt x="300547" y="32777"/>
                  </a:lnTo>
                  <a:lnTo>
                    <a:pt x="299327" y="34646"/>
                  </a:lnTo>
                  <a:lnTo>
                    <a:pt x="303577" y="33501"/>
                  </a:lnTo>
                  <a:lnTo>
                    <a:pt x="305838" y="32252"/>
                  </a:lnTo>
                  <a:lnTo>
                    <a:pt x="310070" y="26073"/>
                  </a:lnTo>
                  <a:lnTo>
                    <a:pt x="311338" y="25251"/>
                  </a:lnTo>
                  <a:lnTo>
                    <a:pt x="323389" y="25139"/>
                  </a:lnTo>
                  <a:lnTo>
                    <a:pt x="326117" y="25537"/>
                  </a:lnTo>
                  <a:lnTo>
                    <a:pt x="337421" y="28452"/>
                  </a:lnTo>
                  <a:lnTo>
                    <a:pt x="340640" y="28719"/>
                  </a:lnTo>
                  <a:lnTo>
                    <a:pt x="344318" y="28346"/>
                  </a:lnTo>
                  <a:lnTo>
                    <a:pt x="345586" y="26992"/>
                  </a:lnTo>
                  <a:lnTo>
                    <a:pt x="346838" y="26608"/>
                  </a:lnTo>
                  <a:lnTo>
                    <a:pt x="359399" y="29866"/>
                  </a:lnTo>
                  <a:lnTo>
                    <a:pt x="376212" y="37175"/>
                  </a:lnTo>
                  <a:lnTo>
                    <a:pt x="400807" y="49201"/>
                  </a:lnTo>
                  <a:lnTo>
                    <a:pt x="414673" y="59838"/>
                  </a:lnTo>
                  <a:lnTo>
                    <a:pt x="416277" y="62116"/>
                  </a:lnTo>
                  <a:lnTo>
                    <a:pt x="421289" y="63406"/>
                  </a:lnTo>
                  <a:lnTo>
                    <a:pt x="422367" y="62533"/>
                  </a:lnTo>
                  <a:lnTo>
                    <a:pt x="425152" y="63290"/>
                  </a:lnTo>
                  <a:lnTo>
                    <a:pt x="441458" y="72945"/>
                  </a:lnTo>
                  <a:lnTo>
                    <a:pt x="447083" y="73444"/>
                  </a:lnTo>
                  <a:lnTo>
                    <a:pt x="446340" y="71406"/>
                  </a:lnTo>
                  <a:lnTo>
                    <a:pt x="445379" y="69500"/>
                  </a:lnTo>
                  <a:lnTo>
                    <a:pt x="446772" y="69933"/>
                  </a:lnTo>
                  <a:lnTo>
                    <a:pt x="448681" y="71317"/>
                  </a:lnTo>
                  <a:lnTo>
                    <a:pt x="451780" y="75087"/>
                  </a:lnTo>
                  <a:lnTo>
                    <a:pt x="455559" y="77877"/>
                  </a:lnTo>
                  <a:lnTo>
                    <a:pt x="459407" y="82047"/>
                  </a:lnTo>
                  <a:lnTo>
                    <a:pt x="462616" y="83643"/>
                  </a:lnTo>
                  <a:lnTo>
                    <a:pt x="465507" y="84234"/>
                  </a:lnTo>
                  <a:lnTo>
                    <a:pt x="467934" y="85408"/>
                  </a:lnTo>
                  <a:lnTo>
                    <a:pt x="472359" y="86525"/>
                  </a:lnTo>
                  <a:lnTo>
                    <a:pt x="474449" y="96670"/>
                  </a:lnTo>
                  <a:lnTo>
                    <a:pt x="476062" y="98855"/>
                  </a:lnTo>
                  <a:lnTo>
                    <a:pt x="476062" y="103320"/>
                  </a:lnTo>
                  <a:lnTo>
                    <a:pt x="478889" y="105135"/>
                  </a:lnTo>
                  <a:lnTo>
                    <a:pt x="481035" y="105464"/>
                  </a:lnTo>
                  <a:lnTo>
                    <a:pt x="480936" y="108762"/>
                  </a:lnTo>
                  <a:lnTo>
                    <a:pt x="479195" y="116483"/>
                  </a:lnTo>
                  <a:lnTo>
                    <a:pt x="477280" y="119759"/>
                  </a:lnTo>
                  <a:lnTo>
                    <a:pt x="462523" y="133805"/>
                  </a:lnTo>
                  <a:lnTo>
                    <a:pt x="453274" y="139207"/>
                  </a:lnTo>
                  <a:lnTo>
                    <a:pt x="435269" y="145372"/>
                  </a:lnTo>
                  <a:lnTo>
                    <a:pt x="421224" y="147680"/>
                  </a:lnTo>
                  <a:lnTo>
                    <a:pt x="415556" y="147848"/>
                  </a:lnTo>
                  <a:lnTo>
                    <a:pt x="404569" y="146708"/>
                  </a:lnTo>
                  <a:lnTo>
                    <a:pt x="398544" y="145462"/>
                  </a:lnTo>
                  <a:lnTo>
                    <a:pt x="391172" y="141959"/>
                  </a:lnTo>
                  <a:lnTo>
                    <a:pt x="384292" y="140214"/>
                  </a:lnTo>
                  <a:lnTo>
                    <a:pt x="379566" y="139442"/>
                  </a:lnTo>
                  <a:lnTo>
                    <a:pt x="370798" y="139120"/>
                  </a:lnTo>
                  <a:lnTo>
                    <a:pt x="351783" y="135678"/>
                  </a:lnTo>
                  <a:lnTo>
                    <a:pt x="348477" y="134467"/>
                  </a:lnTo>
                  <a:lnTo>
                    <a:pt x="336550" y="127729"/>
                  </a:lnTo>
                  <a:lnTo>
                    <a:pt x="331811" y="129634"/>
                  </a:lnTo>
                  <a:lnTo>
                    <a:pt x="328988" y="129977"/>
                  </a:lnTo>
                  <a:lnTo>
                    <a:pt x="327075" y="127653"/>
                  </a:lnTo>
                  <a:lnTo>
                    <a:pt x="327844" y="127039"/>
                  </a:lnTo>
                  <a:lnTo>
                    <a:pt x="328302" y="126246"/>
                  </a:lnTo>
                  <a:lnTo>
                    <a:pt x="321547" y="124318"/>
                  </a:lnTo>
                  <a:lnTo>
                    <a:pt x="315965" y="124189"/>
                  </a:lnTo>
                  <a:lnTo>
                    <a:pt x="313000" y="122550"/>
                  </a:lnTo>
                  <a:lnTo>
                    <a:pt x="309370" y="121301"/>
                  </a:lnTo>
                  <a:lnTo>
                    <a:pt x="307768" y="122053"/>
                  </a:lnTo>
                  <a:lnTo>
                    <a:pt x="306863" y="122046"/>
                  </a:lnTo>
                  <a:lnTo>
                    <a:pt x="299526" y="119098"/>
                  </a:lnTo>
                  <a:lnTo>
                    <a:pt x="296248" y="116706"/>
                  </a:lnTo>
                  <a:lnTo>
                    <a:pt x="292834" y="112490"/>
                  </a:lnTo>
                  <a:lnTo>
                    <a:pt x="293667" y="111013"/>
                  </a:lnTo>
                  <a:lnTo>
                    <a:pt x="294667" y="110055"/>
                  </a:lnTo>
                  <a:lnTo>
                    <a:pt x="282935" y="107594"/>
                  </a:lnTo>
                  <a:lnTo>
                    <a:pt x="271778" y="107268"/>
                  </a:lnTo>
                  <a:lnTo>
                    <a:pt x="273717" y="108448"/>
                  </a:lnTo>
                  <a:lnTo>
                    <a:pt x="278549" y="109068"/>
                  </a:lnTo>
                  <a:lnTo>
                    <a:pt x="281624" y="110762"/>
                  </a:lnTo>
                  <a:lnTo>
                    <a:pt x="285170" y="113148"/>
                  </a:lnTo>
                  <a:lnTo>
                    <a:pt x="284345" y="116408"/>
                  </a:lnTo>
                  <a:lnTo>
                    <a:pt x="289271" y="119633"/>
                  </a:lnTo>
                  <a:lnTo>
                    <a:pt x="293050" y="122700"/>
                  </a:lnTo>
                  <a:lnTo>
                    <a:pt x="293162" y="123646"/>
                  </a:lnTo>
                  <a:lnTo>
                    <a:pt x="294628" y="124287"/>
                  </a:lnTo>
                  <a:lnTo>
                    <a:pt x="300197" y="125183"/>
                  </a:lnTo>
                  <a:lnTo>
                    <a:pt x="301167" y="127998"/>
                  </a:lnTo>
                  <a:lnTo>
                    <a:pt x="300249" y="129107"/>
                  </a:lnTo>
                  <a:lnTo>
                    <a:pt x="301012" y="130668"/>
                  </a:lnTo>
                  <a:lnTo>
                    <a:pt x="305166" y="132416"/>
                  </a:lnTo>
                  <a:lnTo>
                    <a:pt x="307651" y="132892"/>
                  </a:lnTo>
                  <a:lnTo>
                    <a:pt x="310709" y="133952"/>
                  </a:lnTo>
                  <a:lnTo>
                    <a:pt x="309323" y="136092"/>
                  </a:lnTo>
                  <a:lnTo>
                    <a:pt x="306751" y="137480"/>
                  </a:lnTo>
                  <a:lnTo>
                    <a:pt x="304177" y="138118"/>
                  </a:lnTo>
                  <a:lnTo>
                    <a:pt x="305399" y="138630"/>
                  </a:lnTo>
                  <a:lnTo>
                    <a:pt x="308735" y="138432"/>
                  </a:lnTo>
                  <a:lnTo>
                    <a:pt x="320809" y="141952"/>
                  </a:lnTo>
                  <a:lnTo>
                    <a:pt x="327157" y="145505"/>
                  </a:lnTo>
                  <a:lnTo>
                    <a:pt x="333614" y="151967"/>
                  </a:lnTo>
                  <a:lnTo>
                    <a:pt x="335704" y="155155"/>
                  </a:lnTo>
                  <a:lnTo>
                    <a:pt x="335855" y="156912"/>
                  </a:lnTo>
                  <a:lnTo>
                    <a:pt x="335497" y="158664"/>
                  </a:lnTo>
                  <a:lnTo>
                    <a:pt x="334564" y="160556"/>
                  </a:lnTo>
                  <a:lnTo>
                    <a:pt x="334139" y="162455"/>
                  </a:lnTo>
                  <a:lnTo>
                    <a:pt x="331932" y="168051"/>
                  </a:lnTo>
                  <a:lnTo>
                    <a:pt x="330349" y="169979"/>
                  </a:lnTo>
                  <a:lnTo>
                    <a:pt x="327304" y="172185"/>
                  </a:lnTo>
                  <a:lnTo>
                    <a:pt x="330167" y="176442"/>
                  </a:lnTo>
                  <a:lnTo>
                    <a:pt x="333156" y="180402"/>
                  </a:lnTo>
                  <a:lnTo>
                    <a:pt x="336084" y="186952"/>
                  </a:lnTo>
                  <a:lnTo>
                    <a:pt x="336607" y="189582"/>
                  </a:lnTo>
                  <a:lnTo>
                    <a:pt x="336728" y="193613"/>
                  </a:lnTo>
                  <a:lnTo>
                    <a:pt x="339373" y="195195"/>
                  </a:lnTo>
                  <a:lnTo>
                    <a:pt x="338339" y="195813"/>
                  </a:lnTo>
                  <a:lnTo>
                    <a:pt x="337296" y="196956"/>
                  </a:lnTo>
                  <a:lnTo>
                    <a:pt x="337544" y="202190"/>
                  </a:lnTo>
                  <a:lnTo>
                    <a:pt x="341211" y="206454"/>
                  </a:lnTo>
                  <a:lnTo>
                    <a:pt x="346711" y="209215"/>
                  </a:lnTo>
                  <a:lnTo>
                    <a:pt x="349982" y="209775"/>
                  </a:lnTo>
                  <a:lnTo>
                    <a:pt x="354737" y="208655"/>
                  </a:lnTo>
                  <a:lnTo>
                    <a:pt x="358164" y="210180"/>
                  </a:lnTo>
                  <a:lnTo>
                    <a:pt x="365780" y="215368"/>
                  </a:lnTo>
                  <a:lnTo>
                    <a:pt x="369218" y="220836"/>
                  </a:lnTo>
                  <a:lnTo>
                    <a:pt x="370611" y="221949"/>
                  </a:lnTo>
                  <a:lnTo>
                    <a:pt x="378324" y="223987"/>
                  </a:lnTo>
                  <a:lnTo>
                    <a:pt x="384105" y="225239"/>
                  </a:lnTo>
                  <a:lnTo>
                    <a:pt x="392895" y="228506"/>
                  </a:lnTo>
                  <a:lnTo>
                    <a:pt x="394431" y="228624"/>
                  </a:lnTo>
                  <a:lnTo>
                    <a:pt x="398702" y="225807"/>
                  </a:lnTo>
                  <a:lnTo>
                    <a:pt x="406057" y="223844"/>
                  </a:lnTo>
                  <a:lnTo>
                    <a:pt x="408331" y="221137"/>
                  </a:lnTo>
                  <a:lnTo>
                    <a:pt x="408141" y="218835"/>
                  </a:lnTo>
                  <a:lnTo>
                    <a:pt x="406260" y="214730"/>
                  </a:lnTo>
                  <a:lnTo>
                    <a:pt x="405742" y="210721"/>
                  </a:lnTo>
                  <a:lnTo>
                    <a:pt x="403306" y="209081"/>
                  </a:lnTo>
                  <a:lnTo>
                    <a:pt x="401030" y="207992"/>
                  </a:lnTo>
                  <a:lnTo>
                    <a:pt x="394152" y="208823"/>
                  </a:lnTo>
                  <a:lnTo>
                    <a:pt x="391056" y="208668"/>
                  </a:lnTo>
                  <a:lnTo>
                    <a:pt x="388715" y="207582"/>
                  </a:lnTo>
                  <a:lnTo>
                    <a:pt x="385547" y="204713"/>
                  </a:lnTo>
                  <a:lnTo>
                    <a:pt x="379552" y="197722"/>
                  </a:lnTo>
                  <a:lnTo>
                    <a:pt x="376344" y="195389"/>
                  </a:lnTo>
                  <a:lnTo>
                    <a:pt x="375338" y="193943"/>
                  </a:lnTo>
                  <a:lnTo>
                    <a:pt x="374221" y="191924"/>
                  </a:lnTo>
                  <a:lnTo>
                    <a:pt x="374361" y="188652"/>
                  </a:lnTo>
                  <a:lnTo>
                    <a:pt x="376979" y="188766"/>
                  </a:lnTo>
                  <a:lnTo>
                    <a:pt x="379920" y="186910"/>
                  </a:lnTo>
                  <a:lnTo>
                    <a:pt x="382062" y="180249"/>
                  </a:lnTo>
                  <a:lnTo>
                    <a:pt x="385763" y="179401"/>
                  </a:lnTo>
                  <a:lnTo>
                    <a:pt x="387767" y="179459"/>
                  </a:lnTo>
                  <a:lnTo>
                    <a:pt x="396331" y="182557"/>
                  </a:lnTo>
                  <a:lnTo>
                    <a:pt x="406972" y="190799"/>
                  </a:lnTo>
                  <a:lnTo>
                    <a:pt x="409324" y="191665"/>
                  </a:lnTo>
                  <a:lnTo>
                    <a:pt x="411812" y="191786"/>
                  </a:lnTo>
                  <a:lnTo>
                    <a:pt x="415878" y="191576"/>
                  </a:lnTo>
                  <a:lnTo>
                    <a:pt x="416539" y="192648"/>
                  </a:lnTo>
                  <a:lnTo>
                    <a:pt x="418726" y="193932"/>
                  </a:lnTo>
                  <a:lnTo>
                    <a:pt x="420322" y="194097"/>
                  </a:lnTo>
                  <a:lnTo>
                    <a:pt x="430061" y="196698"/>
                  </a:lnTo>
                  <a:lnTo>
                    <a:pt x="441423" y="201814"/>
                  </a:lnTo>
                  <a:lnTo>
                    <a:pt x="445638" y="201583"/>
                  </a:lnTo>
                  <a:lnTo>
                    <a:pt x="447297" y="198752"/>
                  </a:lnTo>
                  <a:lnTo>
                    <a:pt x="447642" y="197533"/>
                  </a:lnTo>
                  <a:lnTo>
                    <a:pt x="452268" y="194666"/>
                  </a:lnTo>
                  <a:lnTo>
                    <a:pt x="455494" y="194191"/>
                  </a:lnTo>
                  <a:lnTo>
                    <a:pt x="460007" y="195234"/>
                  </a:lnTo>
                  <a:lnTo>
                    <a:pt x="460828" y="194381"/>
                  </a:lnTo>
                  <a:lnTo>
                    <a:pt x="459290" y="190171"/>
                  </a:lnTo>
                  <a:lnTo>
                    <a:pt x="457209" y="186518"/>
                  </a:lnTo>
                  <a:lnTo>
                    <a:pt x="454144" y="184175"/>
                  </a:lnTo>
                  <a:lnTo>
                    <a:pt x="448701" y="177277"/>
                  </a:lnTo>
                  <a:lnTo>
                    <a:pt x="446524" y="173844"/>
                  </a:lnTo>
                  <a:lnTo>
                    <a:pt x="445442" y="170296"/>
                  </a:lnTo>
                  <a:lnTo>
                    <a:pt x="446150" y="167152"/>
                  </a:lnTo>
                  <a:lnTo>
                    <a:pt x="446932" y="164857"/>
                  </a:lnTo>
                  <a:lnTo>
                    <a:pt x="458238" y="159267"/>
                  </a:lnTo>
                  <a:lnTo>
                    <a:pt x="462328" y="155912"/>
                  </a:lnTo>
                  <a:lnTo>
                    <a:pt x="466282" y="151544"/>
                  </a:lnTo>
                  <a:lnTo>
                    <a:pt x="468113" y="150650"/>
                  </a:lnTo>
                  <a:lnTo>
                    <a:pt x="474783" y="149435"/>
                  </a:lnTo>
                  <a:lnTo>
                    <a:pt x="483622" y="145688"/>
                  </a:lnTo>
                  <a:lnTo>
                    <a:pt x="490368" y="140700"/>
                  </a:lnTo>
                  <a:lnTo>
                    <a:pt x="497062" y="133093"/>
                  </a:lnTo>
                  <a:lnTo>
                    <a:pt x="499869" y="131109"/>
                  </a:lnTo>
                  <a:lnTo>
                    <a:pt x="502150" y="131291"/>
                  </a:lnTo>
                  <a:lnTo>
                    <a:pt x="505181" y="132484"/>
                  </a:lnTo>
                  <a:lnTo>
                    <a:pt x="508528" y="134694"/>
                  </a:lnTo>
                  <a:lnTo>
                    <a:pt x="511468" y="134962"/>
                  </a:lnTo>
                  <a:lnTo>
                    <a:pt x="511468" y="856713"/>
                  </a:lnTo>
                  <a:lnTo>
                    <a:pt x="509813" y="856922"/>
                  </a:lnTo>
                  <a:lnTo>
                    <a:pt x="507730" y="857029"/>
                  </a:lnTo>
                  <a:lnTo>
                    <a:pt x="504480" y="855174"/>
                  </a:lnTo>
                  <a:lnTo>
                    <a:pt x="501398" y="855070"/>
                  </a:lnTo>
                  <a:lnTo>
                    <a:pt x="497917" y="855627"/>
                  </a:lnTo>
                  <a:lnTo>
                    <a:pt x="497155" y="855848"/>
                  </a:lnTo>
                  <a:lnTo>
                    <a:pt x="496319" y="856089"/>
                  </a:lnTo>
                  <a:lnTo>
                    <a:pt x="485939" y="855307"/>
                  </a:lnTo>
                  <a:lnTo>
                    <a:pt x="483290" y="853774"/>
                  </a:lnTo>
                  <a:lnTo>
                    <a:pt x="481022" y="852240"/>
                  </a:lnTo>
                  <a:lnTo>
                    <a:pt x="474939" y="851136"/>
                  </a:lnTo>
                  <a:lnTo>
                    <a:pt x="471819" y="849963"/>
                  </a:lnTo>
                  <a:lnTo>
                    <a:pt x="468716" y="848298"/>
                  </a:lnTo>
                  <a:lnTo>
                    <a:pt x="465319" y="846845"/>
                  </a:lnTo>
                  <a:lnTo>
                    <a:pt x="462464" y="847434"/>
                  </a:lnTo>
                  <a:lnTo>
                    <a:pt x="458558" y="846606"/>
                  </a:lnTo>
                  <a:lnTo>
                    <a:pt x="454311" y="845878"/>
                  </a:lnTo>
                  <a:lnTo>
                    <a:pt x="452860" y="846326"/>
                  </a:lnTo>
                  <a:lnTo>
                    <a:pt x="451514" y="848165"/>
                  </a:lnTo>
                  <a:lnTo>
                    <a:pt x="450510" y="849915"/>
                  </a:lnTo>
                  <a:lnTo>
                    <a:pt x="448195" y="848490"/>
                  </a:lnTo>
                  <a:lnTo>
                    <a:pt x="440303" y="841614"/>
                  </a:lnTo>
                  <a:lnTo>
                    <a:pt x="436161" y="837039"/>
                  </a:lnTo>
                  <a:lnTo>
                    <a:pt x="422626" y="826453"/>
                  </a:lnTo>
                  <a:lnTo>
                    <a:pt x="420825" y="825641"/>
                  </a:lnTo>
                  <a:lnTo>
                    <a:pt x="413660" y="824109"/>
                  </a:lnTo>
                  <a:lnTo>
                    <a:pt x="410773" y="822880"/>
                  </a:lnTo>
                  <a:lnTo>
                    <a:pt x="403481" y="815284"/>
                  </a:lnTo>
                  <a:lnTo>
                    <a:pt x="400240" y="816304"/>
                  </a:lnTo>
                  <a:lnTo>
                    <a:pt x="397311" y="816046"/>
                  </a:lnTo>
                  <a:lnTo>
                    <a:pt x="395601" y="815381"/>
                  </a:lnTo>
                  <a:lnTo>
                    <a:pt x="393748" y="814289"/>
                  </a:lnTo>
                  <a:lnTo>
                    <a:pt x="392444" y="812843"/>
                  </a:lnTo>
                  <a:lnTo>
                    <a:pt x="390935" y="809659"/>
                  </a:lnTo>
                  <a:lnTo>
                    <a:pt x="389181" y="807831"/>
                  </a:lnTo>
                  <a:lnTo>
                    <a:pt x="383424" y="805162"/>
                  </a:lnTo>
                  <a:lnTo>
                    <a:pt x="376931" y="803606"/>
                  </a:lnTo>
                  <a:lnTo>
                    <a:pt x="376419" y="802926"/>
                  </a:lnTo>
                  <a:lnTo>
                    <a:pt x="376231" y="801990"/>
                  </a:lnTo>
                  <a:lnTo>
                    <a:pt x="381846" y="800175"/>
                  </a:lnTo>
                  <a:lnTo>
                    <a:pt x="383353" y="799135"/>
                  </a:lnTo>
                  <a:lnTo>
                    <a:pt x="380474" y="797755"/>
                  </a:lnTo>
                  <a:lnTo>
                    <a:pt x="379382" y="797527"/>
                  </a:lnTo>
                  <a:lnTo>
                    <a:pt x="378471" y="796881"/>
                  </a:lnTo>
                  <a:lnTo>
                    <a:pt x="380092" y="795843"/>
                  </a:lnTo>
                  <a:lnTo>
                    <a:pt x="381688" y="795367"/>
                  </a:lnTo>
                  <a:lnTo>
                    <a:pt x="384163" y="796560"/>
                  </a:lnTo>
                  <a:lnTo>
                    <a:pt x="386942" y="798774"/>
                  </a:lnTo>
                  <a:lnTo>
                    <a:pt x="389375" y="799612"/>
                  </a:lnTo>
                  <a:lnTo>
                    <a:pt x="390496" y="798553"/>
                  </a:lnTo>
                  <a:lnTo>
                    <a:pt x="398963" y="796735"/>
                  </a:lnTo>
                  <a:lnTo>
                    <a:pt x="399533" y="795294"/>
                  </a:lnTo>
                  <a:lnTo>
                    <a:pt x="399510" y="793683"/>
                  </a:lnTo>
                  <a:lnTo>
                    <a:pt x="398680" y="793740"/>
                  </a:lnTo>
                  <a:lnTo>
                    <a:pt x="398140" y="793377"/>
                  </a:lnTo>
                  <a:lnTo>
                    <a:pt x="398195" y="791586"/>
                  </a:lnTo>
                  <a:lnTo>
                    <a:pt x="399451" y="789128"/>
                  </a:lnTo>
                  <a:lnTo>
                    <a:pt x="403248" y="785122"/>
                  </a:lnTo>
                  <a:lnTo>
                    <a:pt x="405286" y="779545"/>
                  </a:lnTo>
                  <a:lnTo>
                    <a:pt x="407081" y="778273"/>
                  </a:lnTo>
                  <a:lnTo>
                    <a:pt x="408398" y="779121"/>
                  </a:lnTo>
                  <a:lnTo>
                    <a:pt x="408307" y="780424"/>
                  </a:lnTo>
                  <a:lnTo>
                    <a:pt x="408525" y="781392"/>
                  </a:lnTo>
                  <a:lnTo>
                    <a:pt x="409702" y="779514"/>
                  </a:lnTo>
                  <a:lnTo>
                    <a:pt x="410825" y="776973"/>
                  </a:lnTo>
                  <a:lnTo>
                    <a:pt x="413660" y="776958"/>
                  </a:lnTo>
                  <a:lnTo>
                    <a:pt x="415618" y="777382"/>
                  </a:lnTo>
                  <a:lnTo>
                    <a:pt x="417651" y="777091"/>
                  </a:lnTo>
                  <a:lnTo>
                    <a:pt x="413736" y="772903"/>
                  </a:lnTo>
                  <a:lnTo>
                    <a:pt x="408484" y="768680"/>
                  </a:lnTo>
                  <a:lnTo>
                    <a:pt x="406269" y="768998"/>
                  </a:lnTo>
                  <a:lnTo>
                    <a:pt x="404861" y="768343"/>
                  </a:lnTo>
                  <a:lnTo>
                    <a:pt x="402555" y="764858"/>
                  </a:lnTo>
                  <a:lnTo>
                    <a:pt x="401602" y="761967"/>
                  </a:lnTo>
                  <a:lnTo>
                    <a:pt x="403833" y="762032"/>
                  </a:lnTo>
                  <a:lnTo>
                    <a:pt x="406057" y="762470"/>
                  </a:lnTo>
                  <a:lnTo>
                    <a:pt x="410292" y="760450"/>
                  </a:lnTo>
                  <a:lnTo>
                    <a:pt x="411850" y="760155"/>
                  </a:lnTo>
                  <a:lnTo>
                    <a:pt x="414360" y="760794"/>
                  </a:lnTo>
                  <a:lnTo>
                    <a:pt x="417843" y="761201"/>
                  </a:lnTo>
                  <a:lnTo>
                    <a:pt x="417556" y="759295"/>
                  </a:lnTo>
                  <a:lnTo>
                    <a:pt x="416465" y="757043"/>
                  </a:lnTo>
                  <a:lnTo>
                    <a:pt x="420713" y="755372"/>
                  </a:lnTo>
                  <a:lnTo>
                    <a:pt x="424479" y="754449"/>
                  </a:lnTo>
                  <a:lnTo>
                    <a:pt x="431680" y="751177"/>
                  </a:lnTo>
                  <a:lnTo>
                    <a:pt x="434863" y="750599"/>
                  </a:lnTo>
                  <a:lnTo>
                    <a:pt x="435269" y="749852"/>
                  </a:lnTo>
                  <a:lnTo>
                    <a:pt x="435366" y="748878"/>
                  </a:lnTo>
                  <a:lnTo>
                    <a:pt x="434284" y="746257"/>
                  </a:lnTo>
                  <a:lnTo>
                    <a:pt x="433205" y="744317"/>
                  </a:lnTo>
                  <a:lnTo>
                    <a:pt x="429402" y="744223"/>
                  </a:lnTo>
                  <a:lnTo>
                    <a:pt x="427292" y="746924"/>
                  </a:lnTo>
                  <a:lnTo>
                    <a:pt x="421540" y="747811"/>
                  </a:lnTo>
                  <a:lnTo>
                    <a:pt x="418981" y="747632"/>
                  </a:lnTo>
                  <a:lnTo>
                    <a:pt x="421013" y="745902"/>
                  </a:lnTo>
                  <a:lnTo>
                    <a:pt x="423040" y="745241"/>
                  </a:lnTo>
                  <a:lnTo>
                    <a:pt x="423613" y="744520"/>
                  </a:lnTo>
                  <a:lnTo>
                    <a:pt x="419529" y="745149"/>
                  </a:lnTo>
                  <a:lnTo>
                    <a:pt x="417484" y="746928"/>
                  </a:lnTo>
                  <a:lnTo>
                    <a:pt x="411505" y="749278"/>
                  </a:lnTo>
                  <a:lnTo>
                    <a:pt x="411317" y="748044"/>
                  </a:lnTo>
                  <a:lnTo>
                    <a:pt x="411218" y="746936"/>
                  </a:lnTo>
                  <a:lnTo>
                    <a:pt x="411656" y="745887"/>
                  </a:lnTo>
                  <a:lnTo>
                    <a:pt x="412632" y="745209"/>
                  </a:lnTo>
                  <a:lnTo>
                    <a:pt x="412973" y="744592"/>
                  </a:lnTo>
                  <a:lnTo>
                    <a:pt x="412973" y="744098"/>
                  </a:lnTo>
                  <a:lnTo>
                    <a:pt x="412095" y="743789"/>
                  </a:lnTo>
                  <a:lnTo>
                    <a:pt x="411364" y="743542"/>
                  </a:lnTo>
                  <a:lnTo>
                    <a:pt x="411218" y="742863"/>
                  </a:lnTo>
                  <a:lnTo>
                    <a:pt x="411462" y="742247"/>
                  </a:lnTo>
                  <a:lnTo>
                    <a:pt x="412144" y="741381"/>
                  </a:lnTo>
                  <a:lnTo>
                    <a:pt x="412438" y="740393"/>
                  </a:lnTo>
                  <a:lnTo>
                    <a:pt x="412488" y="738413"/>
                  </a:lnTo>
                  <a:lnTo>
                    <a:pt x="413120" y="736178"/>
                  </a:lnTo>
                  <a:lnTo>
                    <a:pt x="414921" y="734752"/>
                  </a:lnTo>
                  <a:lnTo>
                    <a:pt x="418063" y="734402"/>
                  </a:lnTo>
                  <a:lnTo>
                    <a:pt x="420931" y="733179"/>
                  </a:lnTo>
                  <a:lnTo>
                    <a:pt x="422663" y="731824"/>
                  </a:lnTo>
                  <a:lnTo>
                    <a:pt x="424947" y="728365"/>
                  </a:lnTo>
                  <a:lnTo>
                    <a:pt x="426672" y="727855"/>
                  </a:lnTo>
                  <a:lnTo>
                    <a:pt x="430156" y="728042"/>
                  </a:lnTo>
                  <a:lnTo>
                    <a:pt x="432382" y="728354"/>
                  </a:lnTo>
                  <a:lnTo>
                    <a:pt x="437523" y="728457"/>
                  </a:lnTo>
                  <a:lnTo>
                    <a:pt x="443438" y="728247"/>
                  </a:lnTo>
                  <a:lnTo>
                    <a:pt x="445150" y="728145"/>
                  </a:lnTo>
                  <a:lnTo>
                    <a:pt x="446096" y="726941"/>
                  </a:lnTo>
                  <a:lnTo>
                    <a:pt x="446031" y="724773"/>
                  </a:lnTo>
                  <a:lnTo>
                    <a:pt x="446876" y="722774"/>
                  </a:lnTo>
                  <a:lnTo>
                    <a:pt x="448448" y="719015"/>
                  </a:lnTo>
                  <a:lnTo>
                    <a:pt x="450128" y="717048"/>
                  </a:lnTo>
                  <a:lnTo>
                    <a:pt x="450059" y="716172"/>
                  </a:lnTo>
                  <a:lnTo>
                    <a:pt x="449180" y="715803"/>
                  </a:lnTo>
                  <a:lnTo>
                    <a:pt x="448033" y="715619"/>
                  </a:lnTo>
                  <a:lnTo>
                    <a:pt x="447617" y="715213"/>
                  </a:lnTo>
                  <a:lnTo>
                    <a:pt x="447670" y="714387"/>
                  </a:lnTo>
                  <a:lnTo>
                    <a:pt x="448554" y="713580"/>
                  </a:lnTo>
                  <a:lnTo>
                    <a:pt x="448394" y="711918"/>
                  </a:lnTo>
                  <a:lnTo>
                    <a:pt x="447839" y="710071"/>
                  </a:lnTo>
                  <a:lnTo>
                    <a:pt x="447355" y="708409"/>
                  </a:lnTo>
                  <a:lnTo>
                    <a:pt x="445803" y="707583"/>
                  </a:lnTo>
                  <a:lnTo>
                    <a:pt x="443133" y="707034"/>
                  </a:lnTo>
                  <a:lnTo>
                    <a:pt x="443702" y="705010"/>
                  </a:lnTo>
                  <a:lnTo>
                    <a:pt x="444457" y="702823"/>
                  </a:lnTo>
                  <a:lnTo>
                    <a:pt x="445591" y="701607"/>
                  </a:lnTo>
                  <a:lnTo>
                    <a:pt x="446409" y="700877"/>
                  </a:lnTo>
                  <a:lnTo>
                    <a:pt x="448869" y="701275"/>
                  </a:lnTo>
                  <a:lnTo>
                    <a:pt x="450646" y="700887"/>
                  </a:lnTo>
                  <a:lnTo>
                    <a:pt x="451069" y="700468"/>
                  </a:lnTo>
                  <a:lnTo>
                    <a:pt x="450750" y="699633"/>
                  </a:lnTo>
                  <a:lnTo>
                    <a:pt x="447977" y="698876"/>
                  </a:lnTo>
                  <a:lnTo>
                    <a:pt x="445535" y="697836"/>
                  </a:lnTo>
                  <a:lnTo>
                    <a:pt x="444481" y="696550"/>
                  </a:lnTo>
                  <a:lnTo>
                    <a:pt x="444058" y="695171"/>
                  </a:lnTo>
                  <a:lnTo>
                    <a:pt x="445671" y="694353"/>
                  </a:lnTo>
                  <a:lnTo>
                    <a:pt x="448551" y="693568"/>
                  </a:lnTo>
                  <a:lnTo>
                    <a:pt x="450467" y="691689"/>
                  </a:lnTo>
                  <a:lnTo>
                    <a:pt x="452538" y="689675"/>
                  </a:lnTo>
                  <a:lnTo>
                    <a:pt x="453395" y="688208"/>
                  </a:lnTo>
                  <a:lnTo>
                    <a:pt x="453827" y="686615"/>
                  </a:lnTo>
                  <a:lnTo>
                    <a:pt x="453779" y="684850"/>
                  </a:lnTo>
                  <a:lnTo>
                    <a:pt x="452268" y="683053"/>
                  </a:lnTo>
                  <a:lnTo>
                    <a:pt x="452268" y="681173"/>
                  </a:lnTo>
                  <a:lnTo>
                    <a:pt x="453088" y="679864"/>
                  </a:lnTo>
                  <a:lnTo>
                    <a:pt x="452773" y="678882"/>
                  </a:lnTo>
                  <a:lnTo>
                    <a:pt x="451667" y="678312"/>
                  </a:lnTo>
                  <a:lnTo>
                    <a:pt x="450072" y="678483"/>
                  </a:lnTo>
                  <a:lnTo>
                    <a:pt x="448266" y="679146"/>
                  </a:lnTo>
                  <a:lnTo>
                    <a:pt x="446137" y="679021"/>
                  </a:lnTo>
                  <a:lnTo>
                    <a:pt x="442732" y="676761"/>
                  </a:lnTo>
                  <a:lnTo>
                    <a:pt x="439110" y="674536"/>
                  </a:lnTo>
                  <a:lnTo>
                    <a:pt x="437025" y="674461"/>
                  </a:lnTo>
                  <a:lnTo>
                    <a:pt x="435576" y="674133"/>
                  </a:lnTo>
                  <a:lnTo>
                    <a:pt x="434317" y="672985"/>
                  </a:lnTo>
                  <a:lnTo>
                    <a:pt x="433561" y="671508"/>
                  </a:lnTo>
                  <a:lnTo>
                    <a:pt x="432743" y="670853"/>
                  </a:lnTo>
                  <a:lnTo>
                    <a:pt x="431419" y="671262"/>
                  </a:lnTo>
                  <a:lnTo>
                    <a:pt x="429490" y="671934"/>
                  </a:lnTo>
                  <a:lnTo>
                    <a:pt x="427072" y="671753"/>
                  </a:lnTo>
                  <a:lnTo>
                    <a:pt x="423939" y="670035"/>
                  </a:lnTo>
                  <a:lnTo>
                    <a:pt x="421088" y="668058"/>
                  </a:lnTo>
                  <a:lnTo>
                    <a:pt x="418970" y="668009"/>
                  </a:lnTo>
                  <a:lnTo>
                    <a:pt x="416742" y="667735"/>
                  </a:lnTo>
                  <a:lnTo>
                    <a:pt x="412483" y="665187"/>
                  </a:lnTo>
                  <a:lnTo>
                    <a:pt x="411380" y="665212"/>
                  </a:lnTo>
                  <a:lnTo>
                    <a:pt x="410691" y="665965"/>
                  </a:lnTo>
                  <a:lnTo>
                    <a:pt x="410363" y="668010"/>
                  </a:lnTo>
                  <a:lnTo>
                    <a:pt x="410011" y="668447"/>
                  </a:lnTo>
                  <a:lnTo>
                    <a:pt x="409253" y="668781"/>
                  </a:lnTo>
                  <a:lnTo>
                    <a:pt x="407802" y="669006"/>
                  </a:lnTo>
                  <a:lnTo>
                    <a:pt x="405666" y="667731"/>
                  </a:lnTo>
                  <a:lnTo>
                    <a:pt x="400224" y="663548"/>
                  </a:lnTo>
                  <a:lnTo>
                    <a:pt x="398033" y="660486"/>
                  </a:lnTo>
                  <a:lnTo>
                    <a:pt x="397530" y="658260"/>
                  </a:lnTo>
                  <a:lnTo>
                    <a:pt x="395739" y="656844"/>
                  </a:lnTo>
                  <a:lnTo>
                    <a:pt x="394003" y="654792"/>
                  </a:lnTo>
                  <a:lnTo>
                    <a:pt x="392241" y="654614"/>
                  </a:lnTo>
                  <a:lnTo>
                    <a:pt x="390289" y="655271"/>
                  </a:lnTo>
                  <a:lnTo>
                    <a:pt x="388436" y="656259"/>
                  </a:lnTo>
                  <a:lnTo>
                    <a:pt x="387555" y="656531"/>
                  </a:lnTo>
                  <a:lnTo>
                    <a:pt x="384398" y="656877"/>
                  </a:lnTo>
                  <a:lnTo>
                    <a:pt x="379326" y="658260"/>
                  </a:lnTo>
                  <a:lnTo>
                    <a:pt x="377939" y="659580"/>
                  </a:lnTo>
                  <a:lnTo>
                    <a:pt x="376238" y="660651"/>
                  </a:lnTo>
                  <a:lnTo>
                    <a:pt x="374916" y="659909"/>
                  </a:lnTo>
                  <a:lnTo>
                    <a:pt x="373593" y="658589"/>
                  </a:lnTo>
                  <a:lnTo>
                    <a:pt x="370697" y="658115"/>
                  </a:lnTo>
                  <a:lnTo>
                    <a:pt x="369309" y="658589"/>
                  </a:lnTo>
                  <a:lnTo>
                    <a:pt x="367922" y="657682"/>
                  </a:lnTo>
                  <a:lnTo>
                    <a:pt x="366730" y="656058"/>
                  </a:lnTo>
                  <a:lnTo>
                    <a:pt x="365115" y="654877"/>
                  </a:lnTo>
                  <a:lnTo>
                    <a:pt x="362714" y="654554"/>
                  </a:lnTo>
                  <a:lnTo>
                    <a:pt x="360114" y="654049"/>
                  </a:lnTo>
                  <a:lnTo>
                    <a:pt x="358034" y="654958"/>
                  </a:lnTo>
                  <a:lnTo>
                    <a:pt x="355326" y="656691"/>
                  </a:lnTo>
                  <a:lnTo>
                    <a:pt x="353500" y="656031"/>
                  </a:lnTo>
                  <a:lnTo>
                    <a:pt x="352491" y="653965"/>
                  </a:lnTo>
                  <a:lnTo>
                    <a:pt x="351230" y="653387"/>
                  </a:lnTo>
                  <a:lnTo>
                    <a:pt x="349531" y="651070"/>
                  </a:lnTo>
                  <a:lnTo>
                    <a:pt x="349090" y="649000"/>
                  </a:lnTo>
                  <a:lnTo>
                    <a:pt x="349531" y="648090"/>
                  </a:lnTo>
                  <a:lnTo>
                    <a:pt x="350161" y="646930"/>
                  </a:lnTo>
                  <a:lnTo>
                    <a:pt x="350161" y="645603"/>
                  </a:lnTo>
                  <a:lnTo>
                    <a:pt x="349658" y="644441"/>
                  </a:lnTo>
                  <a:lnTo>
                    <a:pt x="348902" y="643528"/>
                  </a:lnTo>
                  <a:lnTo>
                    <a:pt x="348082" y="640455"/>
                  </a:lnTo>
                  <a:lnTo>
                    <a:pt x="347389" y="639124"/>
                  </a:lnTo>
                  <a:lnTo>
                    <a:pt x="347263" y="638044"/>
                  </a:lnTo>
                  <a:lnTo>
                    <a:pt x="347831" y="637044"/>
                  </a:lnTo>
                  <a:lnTo>
                    <a:pt x="347326" y="636379"/>
                  </a:lnTo>
                  <a:lnTo>
                    <a:pt x="346380" y="636295"/>
                  </a:lnTo>
                  <a:lnTo>
                    <a:pt x="344808" y="636379"/>
                  </a:lnTo>
                  <a:lnTo>
                    <a:pt x="343925" y="635879"/>
                  </a:lnTo>
                  <a:lnTo>
                    <a:pt x="342979" y="634129"/>
                  </a:lnTo>
                  <a:lnTo>
                    <a:pt x="342476" y="632379"/>
                  </a:lnTo>
                  <a:lnTo>
                    <a:pt x="341845" y="631712"/>
                  </a:lnTo>
                  <a:lnTo>
                    <a:pt x="340213" y="631761"/>
                  </a:lnTo>
                  <a:lnTo>
                    <a:pt x="337522" y="632128"/>
                  </a:lnTo>
                  <a:lnTo>
                    <a:pt x="335130" y="632710"/>
                  </a:lnTo>
                  <a:lnTo>
                    <a:pt x="334067" y="632626"/>
                  </a:lnTo>
                  <a:lnTo>
                    <a:pt x="331955" y="631721"/>
                  </a:lnTo>
                  <a:lnTo>
                    <a:pt x="329174" y="630727"/>
                  </a:lnTo>
                  <a:lnTo>
                    <a:pt x="323495" y="630530"/>
                  </a:lnTo>
                  <a:lnTo>
                    <a:pt x="323046" y="630191"/>
                  </a:lnTo>
                  <a:lnTo>
                    <a:pt x="323368" y="629561"/>
                  </a:lnTo>
                  <a:lnTo>
                    <a:pt x="324523" y="628540"/>
                  </a:lnTo>
                  <a:lnTo>
                    <a:pt x="324398" y="627704"/>
                  </a:lnTo>
                  <a:lnTo>
                    <a:pt x="323400" y="627028"/>
                  </a:lnTo>
                  <a:lnTo>
                    <a:pt x="322884" y="625364"/>
                  </a:lnTo>
                  <a:lnTo>
                    <a:pt x="322944" y="623480"/>
                  </a:lnTo>
                  <a:lnTo>
                    <a:pt x="322759" y="621430"/>
                  </a:lnTo>
                  <a:lnTo>
                    <a:pt x="321562" y="619837"/>
                  </a:lnTo>
                  <a:lnTo>
                    <a:pt x="320869" y="618748"/>
                  </a:lnTo>
                  <a:lnTo>
                    <a:pt x="320994" y="617741"/>
                  </a:lnTo>
                  <a:lnTo>
                    <a:pt x="323605" y="617356"/>
                  </a:lnTo>
                  <a:lnTo>
                    <a:pt x="326704" y="616641"/>
                  </a:lnTo>
                  <a:lnTo>
                    <a:pt x="327222" y="615904"/>
                  </a:lnTo>
                  <a:lnTo>
                    <a:pt x="327114" y="614757"/>
                  </a:lnTo>
                  <a:lnTo>
                    <a:pt x="320817" y="608875"/>
                  </a:lnTo>
                  <a:lnTo>
                    <a:pt x="318656" y="603657"/>
                  </a:lnTo>
                  <a:lnTo>
                    <a:pt x="316594" y="600825"/>
                  </a:lnTo>
                  <a:lnTo>
                    <a:pt x="314311" y="598921"/>
                  </a:lnTo>
                  <a:lnTo>
                    <a:pt x="312463" y="598056"/>
                  </a:lnTo>
                  <a:lnTo>
                    <a:pt x="309768" y="598417"/>
                  </a:lnTo>
                  <a:lnTo>
                    <a:pt x="306196" y="598382"/>
                  </a:lnTo>
                  <a:lnTo>
                    <a:pt x="302553" y="597795"/>
                  </a:lnTo>
                  <a:lnTo>
                    <a:pt x="299487" y="598185"/>
                  </a:lnTo>
                  <a:lnTo>
                    <a:pt x="293987" y="600681"/>
                  </a:lnTo>
                  <a:lnTo>
                    <a:pt x="291925" y="600791"/>
                  </a:lnTo>
                  <a:lnTo>
                    <a:pt x="288364" y="600006"/>
                  </a:lnTo>
                  <a:lnTo>
                    <a:pt x="285324" y="599132"/>
                  </a:lnTo>
                  <a:lnTo>
                    <a:pt x="283721" y="599171"/>
                  </a:lnTo>
                  <a:lnTo>
                    <a:pt x="282745" y="599539"/>
                  </a:lnTo>
                  <a:lnTo>
                    <a:pt x="282119" y="600213"/>
                  </a:lnTo>
                  <a:lnTo>
                    <a:pt x="280346" y="604899"/>
                  </a:lnTo>
                  <a:lnTo>
                    <a:pt x="278887" y="605819"/>
                  </a:lnTo>
                  <a:lnTo>
                    <a:pt x="276796" y="606776"/>
                  </a:lnTo>
                  <a:lnTo>
                    <a:pt x="275012" y="606941"/>
                  </a:lnTo>
                  <a:lnTo>
                    <a:pt x="273514" y="606893"/>
                  </a:lnTo>
                  <a:lnTo>
                    <a:pt x="271342" y="606175"/>
                  </a:lnTo>
                  <a:lnTo>
                    <a:pt x="269281" y="605331"/>
                  </a:lnTo>
                  <a:lnTo>
                    <a:pt x="268860" y="605282"/>
                  </a:lnTo>
                  <a:lnTo>
                    <a:pt x="268755" y="604549"/>
                  </a:lnTo>
                  <a:lnTo>
                    <a:pt x="267252" y="601739"/>
                  </a:lnTo>
                  <a:lnTo>
                    <a:pt x="266351" y="600507"/>
                  </a:lnTo>
                  <a:lnTo>
                    <a:pt x="265282" y="599836"/>
                  </a:lnTo>
                  <a:lnTo>
                    <a:pt x="264747" y="599020"/>
                  </a:lnTo>
                  <a:lnTo>
                    <a:pt x="264730" y="595642"/>
                  </a:lnTo>
                  <a:lnTo>
                    <a:pt x="264928" y="592475"/>
                  </a:lnTo>
                  <a:lnTo>
                    <a:pt x="265600" y="592067"/>
                  </a:lnTo>
                  <a:lnTo>
                    <a:pt x="263615" y="589481"/>
                  </a:lnTo>
                  <a:lnTo>
                    <a:pt x="263466" y="587521"/>
                  </a:lnTo>
                  <a:lnTo>
                    <a:pt x="264440" y="586545"/>
                  </a:lnTo>
                  <a:lnTo>
                    <a:pt x="264470" y="585716"/>
                  </a:lnTo>
                  <a:lnTo>
                    <a:pt x="263814" y="584551"/>
                  </a:lnTo>
                  <a:lnTo>
                    <a:pt x="261771" y="582651"/>
                  </a:lnTo>
                  <a:lnTo>
                    <a:pt x="259787" y="580509"/>
                  </a:lnTo>
                  <a:lnTo>
                    <a:pt x="258506" y="578823"/>
                  </a:lnTo>
                  <a:lnTo>
                    <a:pt x="257703" y="578017"/>
                  </a:lnTo>
                  <a:lnTo>
                    <a:pt x="258679" y="576693"/>
                  </a:lnTo>
                  <a:lnTo>
                    <a:pt x="260042" y="574352"/>
                  </a:lnTo>
                  <a:lnTo>
                    <a:pt x="260568" y="572977"/>
                  </a:lnTo>
                  <a:lnTo>
                    <a:pt x="261221" y="572640"/>
                  </a:lnTo>
                  <a:lnTo>
                    <a:pt x="264429" y="572446"/>
                  </a:lnTo>
                  <a:lnTo>
                    <a:pt x="266757" y="572493"/>
                  </a:lnTo>
                  <a:lnTo>
                    <a:pt x="268508" y="572996"/>
                  </a:lnTo>
                  <a:lnTo>
                    <a:pt x="269171" y="574115"/>
                  </a:lnTo>
                  <a:lnTo>
                    <a:pt x="270769" y="575335"/>
                  </a:lnTo>
                  <a:lnTo>
                    <a:pt x="275319" y="575837"/>
                  </a:lnTo>
                  <a:lnTo>
                    <a:pt x="277232" y="575786"/>
                  </a:lnTo>
                  <a:lnTo>
                    <a:pt x="279636" y="574670"/>
                  </a:lnTo>
                  <a:lnTo>
                    <a:pt x="283518" y="572203"/>
                  </a:lnTo>
                  <a:lnTo>
                    <a:pt x="284471" y="570409"/>
                  </a:lnTo>
                  <a:lnTo>
                    <a:pt x="286874" y="569144"/>
                  </a:lnTo>
                  <a:lnTo>
                    <a:pt x="288342" y="568648"/>
                  </a:lnTo>
                  <a:lnTo>
                    <a:pt x="289666" y="568425"/>
                  </a:lnTo>
                  <a:lnTo>
                    <a:pt x="289798" y="567369"/>
                  </a:lnTo>
                  <a:lnTo>
                    <a:pt x="289713" y="565924"/>
                  </a:lnTo>
                  <a:lnTo>
                    <a:pt x="289256" y="565060"/>
                  </a:lnTo>
                  <a:lnTo>
                    <a:pt x="284477" y="562081"/>
                  </a:lnTo>
                  <a:lnTo>
                    <a:pt x="283875" y="561108"/>
                  </a:lnTo>
                  <a:lnTo>
                    <a:pt x="283494" y="559960"/>
                  </a:lnTo>
                  <a:lnTo>
                    <a:pt x="284064" y="558872"/>
                  </a:lnTo>
                  <a:lnTo>
                    <a:pt x="284047" y="557676"/>
                  </a:lnTo>
                  <a:lnTo>
                    <a:pt x="278524" y="555006"/>
                  </a:lnTo>
                  <a:lnTo>
                    <a:pt x="273920" y="554533"/>
                  </a:lnTo>
                  <a:lnTo>
                    <a:pt x="270130" y="554683"/>
                  </a:lnTo>
                  <a:lnTo>
                    <a:pt x="268657" y="554123"/>
                  </a:lnTo>
                  <a:lnTo>
                    <a:pt x="269294" y="552775"/>
                  </a:lnTo>
                  <a:lnTo>
                    <a:pt x="270229" y="550351"/>
                  </a:lnTo>
                  <a:lnTo>
                    <a:pt x="270506" y="548356"/>
                  </a:lnTo>
                  <a:lnTo>
                    <a:pt x="270244" y="547448"/>
                  </a:lnTo>
                  <a:lnTo>
                    <a:pt x="269493" y="546684"/>
                  </a:lnTo>
                  <a:lnTo>
                    <a:pt x="265876" y="545005"/>
                  </a:lnTo>
                  <a:lnTo>
                    <a:pt x="260905" y="542429"/>
                  </a:lnTo>
                  <a:lnTo>
                    <a:pt x="258595" y="539515"/>
                  </a:lnTo>
                  <a:lnTo>
                    <a:pt x="257409" y="536469"/>
                  </a:lnTo>
                  <a:lnTo>
                    <a:pt x="256066" y="534599"/>
                  </a:lnTo>
                  <a:lnTo>
                    <a:pt x="253635" y="533414"/>
                  </a:lnTo>
                  <a:lnTo>
                    <a:pt x="253792" y="532641"/>
                  </a:lnTo>
                  <a:lnTo>
                    <a:pt x="255405" y="529773"/>
                  </a:lnTo>
                  <a:lnTo>
                    <a:pt x="255345" y="529333"/>
                  </a:lnTo>
                  <a:lnTo>
                    <a:pt x="254662" y="528625"/>
                  </a:lnTo>
                  <a:lnTo>
                    <a:pt x="251630" y="527174"/>
                  </a:lnTo>
                  <a:lnTo>
                    <a:pt x="247532" y="524498"/>
                  </a:lnTo>
                  <a:lnTo>
                    <a:pt x="247359" y="523800"/>
                  </a:lnTo>
                  <a:lnTo>
                    <a:pt x="247657" y="522116"/>
                  </a:lnTo>
                  <a:lnTo>
                    <a:pt x="248219" y="520457"/>
                  </a:lnTo>
                  <a:lnTo>
                    <a:pt x="249035" y="519666"/>
                  </a:lnTo>
                  <a:lnTo>
                    <a:pt x="251488" y="516293"/>
                  </a:lnTo>
                  <a:lnTo>
                    <a:pt x="251488" y="515145"/>
                  </a:lnTo>
                  <a:lnTo>
                    <a:pt x="251071" y="513612"/>
                  </a:lnTo>
                  <a:lnTo>
                    <a:pt x="249270" y="510966"/>
                  </a:lnTo>
                  <a:lnTo>
                    <a:pt x="247878" y="509262"/>
                  </a:lnTo>
                  <a:lnTo>
                    <a:pt x="247791" y="508389"/>
                  </a:lnTo>
                  <a:lnTo>
                    <a:pt x="248022" y="507670"/>
                  </a:lnTo>
                  <a:lnTo>
                    <a:pt x="248925" y="506740"/>
                  </a:lnTo>
                  <a:lnTo>
                    <a:pt x="249782" y="505596"/>
                  </a:lnTo>
                  <a:lnTo>
                    <a:pt x="249963" y="501639"/>
                  </a:lnTo>
                  <a:lnTo>
                    <a:pt x="249920" y="500255"/>
                  </a:lnTo>
                  <a:lnTo>
                    <a:pt x="249376" y="499438"/>
                  </a:lnTo>
                  <a:lnTo>
                    <a:pt x="248795" y="499093"/>
                  </a:lnTo>
                  <a:lnTo>
                    <a:pt x="247575" y="499291"/>
                  </a:lnTo>
                  <a:lnTo>
                    <a:pt x="245826" y="498641"/>
                  </a:lnTo>
                  <a:lnTo>
                    <a:pt x="244513" y="497607"/>
                  </a:lnTo>
                  <a:lnTo>
                    <a:pt x="243701" y="497272"/>
                  </a:lnTo>
                  <a:lnTo>
                    <a:pt x="242842" y="496216"/>
                  </a:lnTo>
                  <a:lnTo>
                    <a:pt x="240380" y="494089"/>
                  </a:lnTo>
                  <a:lnTo>
                    <a:pt x="239957" y="493529"/>
                  </a:lnTo>
                  <a:lnTo>
                    <a:pt x="235033" y="491714"/>
                  </a:lnTo>
                  <a:lnTo>
                    <a:pt x="230812" y="491987"/>
                  </a:lnTo>
                  <a:lnTo>
                    <a:pt x="228476" y="491712"/>
                  </a:lnTo>
                  <a:lnTo>
                    <a:pt x="227251" y="492115"/>
                  </a:lnTo>
                  <a:lnTo>
                    <a:pt x="225975" y="493271"/>
                  </a:lnTo>
                  <a:lnTo>
                    <a:pt x="224211" y="494039"/>
                  </a:lnTo>
                  <a:lnTo>
                    <a:pt x="222893" y="494060"/>
                  </a:lnTo>
                  <a:lnTo>
                    <a:pt x="221688" y="494636"/>
                  </a:lnTo>
                  <a:lnTo>
                    <a:pt x="218419" y="496704"/>
                  </a:lnTo>
                  <a:lnTo>
                    <a:pt x="216888" y="495454"/>
                  </a:lnTo>
                  <a:lnTo>
                    <a:pt x="215571" y="493605"/>
                  </a:lnTo>
                  <a:lnTo>
                    <a:pt x="216007" y="492040"/>
                  </a:lnTo>
                  <a:lnTo>
                    <a:pt x="216556" y="490599"/>
                  </a:lnTo>
                  <a:lnTo>
                    <a:pt x="216515" y="489630"/>
                  </a:lnTo>
                  <a:lnTo>
                    <a:pt x="216048" y="488804"/>
                  </a:lnTo>
                  <a:lnTo>
                    <a:pt x="214014" y="487896"/>
                  </a:lnTo>
                  <a:lnTo>
                    <a:pt x="209689" y="486237"/>
                  </a:lnTo>
                  <a:lnTo>
                    <a:pt x="208458" y="486217"/>
                  </a:lnTo>
                  <a:lnTo>
                    <a:pt x="206594" y="486830"/>
                  </a:lnTo>
                  <a:lnTo>
                    <a:pt x="203217" y="488684"/>
                  </a:lnTo>
                  <a:lnTo>
                    <a:pt x="202025" y="488286"/>
                  </a:lnTo>
                  <a:lnTo>
                    <a:pt x="200920" y="486813"/>
                  </a:lnTo>
                  <a:lnTo>
                    <a:pt x="199728" y="484970"/>
                  </a:lnTo>
                  <a:lnTo>
                    <a:pt x="198115" y="484027"/>
                  </a:lnTo>
                  <a:lnTo>
                    <a:pt x="194644" y="484120"/>
                  </a:lnTo>
                  <a:lnTo>
                    <a:pt x="194314" y="484191"/>
                  </a:lnTo>
                  <a:lnTo>
                    <a:pt x="192638" y="485258"/>
                  </a:lnTo>
                  <a:lnTo>
                    <a:pt x="191930" y="485152"/>
                  </a:lnTo>
                  <a:lnTo>
                    <a:pt x="188916" y="482437"/>
                  </a:lnTo>
                  <a:lnTo>
                    <a:pt x="189477" y="480956"/>
                  </a:lnTo>
                  <a:lnTo>
                    <a:pt x="190112" y="478766"/>
                  </a:lnTo>
                  <a:lnTo>
                    <a:pt x="189883" y="477040"/>
                  </a:lnTo>
                  <a:lnTo>
                    <a:pt x="189386" y="474807"/>
                  </a:lnTo>
                  <a:lnTo>
                    <a:pt x="188095" y="470924"/>
                  </a:lnTo>
                  <a:lnTo>
                    <a:pt x="187924" y="469825"/>
                  </a:lnTo>
                  <a:lnTo>
                    <a:pt x="185810" y="468124"/>
                  </a:lnTo>
                  <a:lnTo>
                    <a:pt x="185458" y="466695"/>
                  </a:lnTo>
                  <a:lnTo>
                    <a:pt x="184348" y="464858"/>
                  </a:lnTo>
                  <a:lnTo>
                    <a:pt x="183258" y="463682"/>
                  </a:lnTo>
                  <a:lnTo>
                    <a:pt x="183025" y="461064"/>
                  </a:lnTo>
                  <a:lnTo>
                    <a:pt x="182297" y="460142"/>
                  </a:lnTo>
                  <a:lnTo>
                    <a:pt x="181356" y="459710"/>
                  </a:lnTo>
                  <a:lnTo>
                    <a:pt x="178030" y="460463"/>
                  </a:lnTo>
                  <a:lnTo>
                    <a:pt x="177672" y="460386"/>
                  </a:lnTo>
                  <a:lnTo>
                    <a:pt x="179257" y="456207"/>
                  </a:lnTo>
                  <a:lnTo>
                    <a:pt x="179395" y="453786"/>
                  </a:lnTo>
                  <a:lnTo>
                    <a:pt x="180399" y="451240"/>
                  </a:lnTo>
                  <a:lnTo>
                    <a:pt x="181543" y="450233"/>
                  </a:lnTo>
                  <a:lnTo>
                    <a:pt x="181891" y="449359"/>
                  </a:lnTo>
                  <a:lnTo>
                    <a:pt x="182068" y="447671"/>
                  </a:lnTo>
                  <a:lnTo>
                    <a:pt x="181854" y="446224"/>
                  </a:lnTo>
                  <a:lnTo>
                    <a:pt x="181153" y="445474"/>
                  </a:lnTo>
                  <a:lnTo>
                    <a:pt x="178408" y="443849"/>
                  </a:lnTo>
                  <a:lnTo>
                    <a:pt x="175443" y="441889"/>
                  </a:lnTo>
                  <a:lnTo>
                    <a:pt x="174834" y="439396"/>
                  </a:lnTo>
                  <a:lnTo>
                    <a:pt x="173918" y="438890"/>
                  </a:lnTo>
                  <a:lnTo>
                    <a:pt x="171314" y="438760"/>
                  </a:lnTo>
                  <a:lnTo>
                    <a:pt x="171366" y="438054"/>
                  </a:lnTo>
                  <a:lnTo>
                    <a:pt x="171753" y="436069"/>
                  </a:lnTo>
                  <a:lnTo>
                    <a:pt x="172377" y="434339"/>
                  </a:lnTo>
                  <a:lnTo>
                    <a:pt x="174411" y="432483"/>
                  </a:lnTo>
                  <a:lnTo>
                    <a:pt x="174914" y="431229"/>
                  </a:lnTo>
                  <a:lnTo>
                    <a:pt x="175519" y="430103"/>
                  </a:lnTo>
                  <a:lnTo>
                    <a:pt x="180179" y="428773"/>
                  </a:lnTo>
                  <a:lnTo>
                    <a:pt x="180712" y="428270"/>
                  </a:lnTo>
                  <a:lnTo>
                    <a:pt x="180747" y="427823"/>
                  </a:lnTo>
                  <a:lnTo>
                    <a:pt x="180530" y="427393"/>
                  </a:lnTo>
                  <a:lnTo>
                    <a:pt x="179496" y="426710"/>
                  </a:lnTo>
                  <a:lnTo>
                    <a:pt x="178423" y="425777"/>
                  </a:lnTo>
                  <a:lnTo>
                    <a:pt x="177775" y="423235"/>
                  </a:lnTo>
                  <a:lnTo>
                    <a:pt x="176160" y="419249"/>
                  </a:lnTo>
                  <a:lnTo>
                    <a:pt x="174642" y="416573"/>
                  </a:lnTo>
                  <a:lnTo>
                    <a:pt x="174318" y="415005"/>
                  </a:lnTo>
                  <a:lnTo>
                    <a:pt x="174711" y="413194"/>
                  </a:lnTo>
                  <a:lnTo>
                    <a:pt x="175253" y="411415"/>
                  </a:lnTo>
                  <a:lnTo>
                    <a:pt x="175281" y="409681"/>
                  </a:lnTo>
                  <a:lnTo>
                    <a:pt x="172975" y="400049"/>
                  </a:lnTo>
                  <a:lnTo>
                    <a:pt x="173132" y="398291"/>
                  </a:lnTo>
                  <a:lnTo>
                    <a:pt x="173802" y="396537"/>
                  </a:lnTo>
                  <a:lnTo>
                    <a:pt x="174877" y="395076"/>
                  </a:lnTo>
                  <a:lnTo>
                    <a:pt x="177281" y="393169"/>
                  </a:lnTo>
                  <a:lnTo>
                    <a:pt x="180284" y="389686"/>
                  </a:lnTo>
                  <a:lnTo>
                    <a:pt x="182316" y="385099"/>
                  </a:lnTo>
                  <a:lnTo>
                    <a:pt x="183381" y="382324"/>
                  </a:lnTo>
                  <a:lnTo>
                    <a:pt x="184277" y="381691"/>
                  </a:lnTo>
                  <a:lnTo>
                    <a:pt x="186007" y="381537"/>
                  </a:lnTo>
                  <a:lnTo>
                    <a:pt x="186663" y="380683"/>
                  </a:lnTo>
                  <a:lnTo>
                    <a:pt x="187000" y="380178"/>
                  </a:lnTo>
                  <a:lnTo>
                    <a:pt x="188482" y="379710"/>
                  </a:lnTo>
                  <a:lnTo>
                    <a:pt x="188985" y="379159"/>
                  </a:lnTo>
                  <a:lnTo>
                    <a:pt x="188585" y="378221"/>
                  </a:lnTo>
                  <a:lnTo>
                    <a:pt x="187099" y="376580"/>
                  </a:lnTo>
                  <a:lnTo>
                    <a:pt x="185920" y="375560"/>
                  </a:lnTo>
                  <a:lnTo>
                    <a:pt x="187058" y="373273"/>
                  </a:lnTo>
                  <a:lnTo>
                    <a:pt x="186668" y="370213"/>
                  </a:lnTo>
                  <a:lnTo>
                    <a:pt x="185953" y="367662"/>
                  </a:lnTo>
                  <a:lnTo>
                    <a:pt x="186927" y="365792"/>
                  </a:lnTo>
                  <a:lnTo>
                    <a:pt x="188544" y="365628"/>
                  </a:lnTo>
                  <a:lnTo>
                    <a:pt x="190343" y="367665"/>
                  </a:lnTo>
                  <a:lnTo>
                    <a:pt x="193042" y="368722"/>
                  </a:lnTo>
                  <a:lnTo>
                    <a:pt x="195014" y="367355"/>
                  </a:lnTo>
                  <a:lnTo>
                    <a:pt x="195681" y="364714"/>
                  </a:lnTo>
                  <a:lnTo>
                    <a:pt x="197102" y="363551"/>
                  </a:lnTo>
                  <a:lnTo>
                    <a:pt x="198998" y="364589"/>
                  </a:lnTo>
                  <a:lnTo>
                    <a:pt x="202176" y="364964"/>
                  </a:lnTo>
                  <a:lnTo>
                    <a:pt x="204813" y="364792"/>
                  </a:lnTo>
                  <a:lnTo>
                    <a:pt x="206590" y="364237"/>
                  </a:lnTo>
                  <a:lnTo>
                    <a:pt x="207348" y="363378"/>
                  </a:lnTo>
                  <a:lnTo>
                    <a:pt x="208052" y="361836"/>
                  </a:lnTo>
                  <a:lnTo>
                    <a:pt x="209505" y="359874"/>
                  </a:lnTo>
                  <a:lnTo>
                    <a:pt x="211013" y="358593"/>
                  </a:lnTo>
                  <a:lnTo>
                    <a:pt x="222565" y="360050"/>
                  </a:lnTo>
                  <a:lnTo>
                    <a:pt x="232578" y="362759"/>
                  </a:lnTo>
                  <a:lnTo>
                    <a:pt x="233336" y="361745"/>
                  </a:lnTo>
                  <a:lnTo>
                    <a:pt x="233686" y="360001"/>
                  </a:lnTo>
                  <a:lnTo>
                    <a:pt x="231194" y="358500"/>
                  </a:lnTo>
                  <a:lnTo>
                    <a:pt x="229354" y="357714"/>
                  </a:lnTo>
                  <a:lnTo>
                    <a:pt x="227044" y="354588"/>
                  </a:lnTo>
                  <a:lnTo>
                    <a:pt x="223703" y="352121"/>
                  </a:lnTo>
                  <a:lnTo>
                    <a:pt x="220346" y="351904"/>
                  </a:lnTo>
                  <a:lnTo>
                    <a:pt x="215947" y="352763"/>
                  </a:lnTo>
                  <a:lnTo>
                    <a:pt x="209285" y="352249"/>
                  </a:lnTo>
                  <a:lnTo>
                    <a:pt x="203614" y="347601"/>
                  </a:lnTo>
                  <a:lnTo>
                    <a:pt x="199866" y="346147"/>
                  </a:lnTo>
                  <a:lnTo>
                    <a:pt x="197193" y="342565"/>
                  </a:lnTo>
                  <a:lnTo>
                    <a:pt x="196514" y="340661"/>
                  </a:lnTo>
                  <a:lnTo>
                    <a:pt x="199408" y="342277"/>
                  </a:lnTo>
                  <a:lnTo>
                    <a:pt x="199803" y="340569"/>
                  </a:lnTo>
                  <a:lnTo>
                    <a:pt x="200030" y="338298"/>
                  </a:lnTo>
                  <a:lnTo>
                    <a:pt x="198421" y="336911"/>
                  </a:lnTo>
                  <a:lnTo>
                    <a:pt x="196983" y="336085"/>
                  </a:lnTo>
                  <a:lnTo>
                    <a:pt x="189609" y="339632"/>
                  </a:lnTo>
                  <a:lnTo>
                    <a:pt x="181170" y="340794"/>
                  </a:lnTo>
                  <a:lnTo>
                    <a:pt x="189004" y="333794"/>
                  </a:lnTo>
                  <a:lnTo>
                    <a:pt x="194653" y="328737"/>
                  </a:lnTo>
                  <a:lnTo>
                    <a:pt x="195707" y="327975"/>
                  </a:lnTo>
                  <a:lnTo>
                    <a:pt x="198207" y="326615"/>
                  </a:lnTo>
                  <a:lnTo>
                    <a:pt x="200302" y="325184"/>
                  </a:lnTo>
                  <a:lnTo>
                    <a:pt x="201986" y="323306"/>
                  </a:lnTo>
                  <a:lnTo>
                    <a:pt x="207601" y="319597"/>
                  </a:lnTo>
                  <a:lnTo>
                    <a:pt x="213321" y="315596"/>
                  </a:lnTo>
                  <a:lnTo>
                    <a:pt x="218644" y="310313"/>
                  </a:lnTo>
                  <a:lnTo>
                    <a:pt x="220568" y="308648"/>
                  </a:lnTo>
                  <a:lnTo>
                    <a:pt x="223017" y="306866"/>
                  </a:lnTo>
                  <a:lnTo>
                    <a:pt x="228391" y="301255"/>
                  </a:lnTo>
                  <a:lnTo>
                    <a:pt x="230089" y="299699"/>
                  </a:lnTo>
                  <a:lnTo>
                    <a:pt x="236645" y="292637"/>
                  </a:lnTo>
                  <a:lnTo>
                    <a:pt x="240475" y="289109"/>
                  </a:lnTo>
                  <a:lnTo>
                    <a:pt x="242376" y="287080"/>
                  </a:lnTo>
                  <a:lnTo>
                    <a:pt x="250560" y="280362"/>
                  </a:lnTo>
                  <a:lnTo>
                    <a:pt x="256109" y="274948"/>
                  </a:lnTo>
                  <a:lnTo>
                    <a:pt x="258297" y="271974"/>
                  </a:lnTo>
                  <a:lnTo>
                    <a:pt x="260436" y="267705"/>
                  </a:lnTo>
                  <a:lnTo>
                    <a:pt x="261650" y="264788"/>
                  </a:lnTo>
                  <a:lnTo>
                    <a:pt x="263788" y="261008"/>
                  </a:lnTo>
                  <a:lnTo>
                    <a:pt x="263844" y="259753"/>
                  </a:lnTo>
                  <a:lnTo>
                    <a:pt x="263242" y="258585"/>
                  </a:lnTo>
                  <a:lnTo>
                    <a:pt x="261644" y="256769"/>
                  </a:lnTo>
                  <a:lnTo>
                    <a:pt x="259426" y="254674"/>
                  </a:lnTo>
                  <a:lnTo>
                    <a:pt x="257452" y="252108"/>
                  </a:lnTo>
                  <a:lnTo>
                    <a:pt x="255980" y="249797"/>
                  </a:lnTo>
                  <a:lnTo>
                    <a:pt x="251423" y="246581"/>
                  </a:lnTo>
                  <a:lnTo>
                    <a:pt x="244358" y="242503"/>
                  </a:lnTo>
                  <a:lnTo>
                    <a:pt x="239123" y="239476"/>
                  </a:lnTo>
                  <a:lnTo>
                    <a:pt x="231093" y="232994"/>
                  </a:lnTo>
                  <a:lnTo>
                    <a:pt x="229681" y="231374"/>
                  </a:lnTo>
                  <a:lnTo>
                    <a:pt x="229959" y="230947"/>
                  </a:lnTo>
                  <a:lnTo>
                    <a:pt x="234518" y="228978"/>
                  </a:lnTo>
                  <a:lnTo>
                    <a:pt x="239052" y="223901"/>
                  </a:lnTo>
                  <a:lnTo>
                    <a:pt x="241011" y="221322"/>
                  </a:lnTo>
                  <a:lnTo>
                    <a:pt x="241501" y="219320"/>
                  </a:lnTo>
                  <a:lnTo>
                    <a:pt x="241542" y="217063"/>
                  </a:lnTo>
                  <a:lnTo>
                    <a:pt x="241229" y="214979"/>
                  </a:lnTo>
                  <a:lnTo>
                    <a:pt x="240657" y="213685"/>
                  </a:lnTo>
                  <a:lnTo>
                    <a:pt x="238506" y="212058"/>
                  </a:lnTo>
                  <a:lnTo>
                    <a:pt x="232259" y="209088"/>
                  </a:lnTo>
                  <a:lnTo>
                    <a:pt x="230794" y="206343"/>
                  </a:lnTo>
                  <a:lnTo>
                    <a:pt x="229572" y="203463"/>
                  </a:lnTo>
                  <a:lnTo>
                    <a:pt x="229549" y="202272"/>
                  </a:lnTo>
                  <a:lnTo>
                    <a:pt x="232524" y="199172"/>
                  </a:lnTo>
                  <a:lnTo>
                    <a:pt x="232658" y="197621"/>
                  </a:lnTo>
                  <a:lnTo>
                    <a:pt x="232306" y="196031"/>
                  </a:lnTo>
                  <a:lnTo>
                    <a:pt x="231479" y="194870"/>
                  </a:lnTo>
                  <a:lnTo>
                    <a:pt x="225075" y="193466"/>
                  </a:lnTo>
                  <a:lnTo>
                    <a:pt x="223271" y="191982"/>
                  </a:lnTo>
                  <a:lnTo>
                    <a:pt x="221853" y="189616"/>
                  </a:lnTo>
                  <a:lnTo>
                    <a:pt x="221116" y="187583"/>
                  </a:lnTo>
                  <a:lnTo>
                    <a:pt x="221043" y="186379"/>
                  </a:lnTo>
                  <a:lnTo>
                    <a:pt x="221520" y="185030"/>
                  </a:lnTo>
                  <a:lnTo>
                    <a:pt x="223677" y="183562"/>
                  </a:lnTo>
                  <a:lnTo>
                    <a:pt x="225685" y="182570"/>
                  </a:lnTo>
                  <a:lnTo>
                    <a:pt x="226042" y="181232"/>
                  </a:lnTo>
                  <a:lnTo>
                    <a:pt x="226025" y="179783"/>
                  </a:lnTo>
                  <a:lnTo>
                    <a:pt x="225679" y="179082"/>
                  </a:lnTo>
                  <a:lnTo>
                    <a:pt x="221680" y="178392"/>
                  </a:lnTo>
                  <a:lnTo>
                    <a:pt x="221298" y="178000"/>
                  </a:lnTo>
                  <a:lnTo>
                    <a:pt x="221200" y="177498"/>
                  </a:lnTo>
                  <a:lnTo>
                    <a:pt x="221404" y="176897"/>
                  </a:lnTo>
                  <a:lnTo>
                    <a:pt x="223563" y="174310"/>
                  </a:lnTo>
                  <a:lnTo>
                    <a:pt x="223854" y="169373"/>
                  </a:lnTo>
                  <a:lnTo>
                    <a:pt x="225876" y="165917"/>
                  </a:lnTo>
                  <a:lnTo>
                    <a:pt x="223587" y="163891"/>
                  </a:lnTo>
                  <a:lnTo>
                    <a:pt x="223764" y="163534"/>
                  </a:lnTo>
                  <a:lnTo>
                    <a:pt x="227273" y="162472"/>
                  </a:lnTo>
                  <a:lnTo>
                    <a:pt x="230510" y="162214"/>
                  </a:lnTo>
                  <a:lnTo>
                    <a:pt x="231976" y="161815"/>
                  </a:lnTo>
                  <a:lnTo>
                    <a:pt x="232140" y="160193"/>
                  </a:lnTo>
                  <a:lnTo>
                    <a:pt x="231803" y="157999"/>
                  </a:lnTo>
                  <a:lnTo>
                    <a:pt x="228467" y="149368"/>
                  </a:lnTo>
                  <a:lnTo>
                    <a:pt x="227733" y="146874"/>
                  </a:lnTo>
                  <a:lnTo>
                    <a:pt x="225523" y="143721"/>
                  </a:lnTo>
                  <a:lnTo>
                    <a:pt x="223693" y="141599"/>
                  </a:lnTo>
                  <a:lnTo>
                    <a:pt x="222591" y="140083"/>
                  </a:lnTo>
                  <a:lnTo>
                    <a:pt x="220818" y="137113"/>
                  </a:lnTo>
                  <a:lnTo>
                    <a:pt x="219792" y="134061"/>
                  </a:lnTo>
                  <a:lnTo>
                    <a:pt x="218024" y="130648"/>
                  </a:lnTo>
                  <a:lnTo>
                    <a:pt x="215964" y="127511"/>
                  </a:lnTo>
                  <a:lnTo>
                    <a:pt x="214241" y="124605"/>
                  </a:lnTo>
                  <a:lnTo>
                    <a:pt x="209814" y="118903"/>
                  </a:lnTo>
                  <a:lnTo>
                    <a:pt x="209220" y="117322"/>
                  </a:lnTo>
                  <a:lnTo>
                    <a:pt x="209283" y="115891"/>
                  </a:lnTo>
                  <a:lnTo>
                    <a:pt x="209680" y="114375"/>
                  </a:lnTo>
                  <a:lnTo>
                    <a:pt x="213137" y="109690"/>
                  </a:lnTo>
                  <a:lnTo>
                    <a:pt x="216329" y="105773"/>
                  </a:lnTo>
                  <a:lnTo>
                    <a:pt x="220410" y="101168"/>
                  </a:lnTo>
                  <a:lnTo>
                    <a:pt x="224353" y="97338"/>
                  </a:lnTo>
                  <a:lnTo>
                    <a:pt x="228568" y="92786"/>
                  </a:lnTo>
                  <a:lnTo>
                    <a:pt x="229605" y="88232"/>
                  </a:lnTo>
                  <a:lnTo>
                    <a:pt x="229409" y="87465"/>
                  </a:lnTo>
                  <a:lnTo>
                    <a:pt x="225923" y="84993"/>
                  </a:lnTo>
                  <a:lnTo>
                    <a:pt x="219348" y="78363"/>
                  </a:lnTo>
                  <a:lnTo>
                    <a:pt x="215359" y="73320"/>
                  </a:lnTo>
                  <a:lnTo>
                    <a:pt x="209149" y="71185"/>
                  </a:lnTo>
                  <a:lnTo>
                    <a:pt x="200794" y="68448"/>
                  </a:lnTo>
                  <a:lnTo>
                    <a:pt x="198030" y="62279"/>
                  </a:lnTo>
                  <a:lnTo>
                    <a:pt x="196052" y="57031"/>
                  </a:lnTo>
                  <a:lnTo>
                    <a:pt x="196242" y="55141"/>
                  </a:lnTo>
                  <a:lnTo>
                    <a:pt x="202273" y="46145"/>
                  </a:lnTo>
                  <a:lnTo>
                    <a:pt x="202839" y="44510"/>
                  </a:lnTo>
                  <a:lnTo>
                    <a:pt x="202733" y="43497"/>
                  </a:lnTo>
                  <a:lnTo>
                    <a:pt x="202114" y="42863"/>
                  </a:lnTo>
                  <a:lnTo>
                    <a:pt x="201254" y="42513"/>
                  </a:lnTo>
                  <a:lnTo>
                    <a:pt x="195672" y="42252"/>
                  </a:lnTo>
                  <a:lnTo>
                    <a:pt x="194800" y="41019"/>
                  </a:lnTo>
                  <a:lnTo>
                    <a:pt x="198160" y="40088"/>
                  </a:lnTo>
                  <a:lnTo>
                    <a:pt x="200950" y="38818"/>
                  </a:lnTo>
                  <a:lnTo>
                    <a:pt x="205521" y="36935"/>
                  </a:lnTo>
                  <a:lnTo>
                    <a:pt x="207001" y="36458"/>
                  </a:lnTo>
                  <a:lnTo>
                    <a:pt x="210378" y="35373"/>
                  </a:lnTo>
                  <a:lnTo>
                    <a:pt x="211535" y="34536"/>
                  </a:lnTo>
                  <a:lnTo>
                    <a:pt x="212399" y="33547"/>
                  </a:lnTo>
                  <a:lnTo>
                    <a:pt x="215562" y="26796"/>
                  </a:lnTo>
                  <a:lnTo>
                    <a:pt x="216342" y="25723"/>
                  </a:lnTo>
                  <a:lnTo>
                    <a:pt x="226169" y="23293"/>
                  </a:lnTo>
                  <a:lnTo>
                    <a:pt x="229737" y="22043"/>
                  </a:lnTo>
                  <a:lnTo>
                    <a:pt x="231799" y="20465"/>
                  </a:lnTo>
                  <a:lnTo>
                    <a:pt x="232784" y="19237"/>
                  </a:lnTo>
                  <a:lnTo>
                    <a:pt x="233490" y="17776"/>
                  </a:lnTo>
                  <a:lnTo>
                    <a:pt x="233997" y="16164"/>
                  </a:lnTo>
                  <a:lnTo>
                    <a:pt x="234213" y="14683"/>
                  </a:lnTo>
                  <a:lnTo>
                    <a:pt x="233401" y="12749"/>
                  </a:lnTo>
                  <a:lnTo>
                    <a:pt x="233852" y="12515"/>
                  </a:lnTo>
                  <a:lnTo>
                    <a:pt x="234900" y="12596"/>
                  </a:lnTo>
                  <a:lnTo>
                    <a:pt x="238264" y="14521"/>
                  </a:lnTo>
                  <a:lnTo>
                    <a:pt x="243477" y="16564"/>
                  </a:lnTo>
                  <a:lnTo>
                    <a:pt x="247312" y="16723"/>
                  </a:lnTo>
                  <a:lnTo>
                    <a:pt x="248901" y="16334"/>
                  </a:lnTo>
                  <a:lnTo>
                    <a:pt x="249696" y="15441"/>
                  </a:lnTo>
                  <a:lnTo>
                    <a:pt x="250266" y="13693"/>
                  </a:lnTo>
                  <a:lnTo>
                    <a:pt x="250303" y="11890"/>
                  </a:lnTo>
                  <a:lnTo>
                    <a:pt x="249100" y="6713"/>
                  </a:lnTo>
                  <a:lnTo>
                    <a:pt x="253075" y="7272"/>
                  </a:lnTo>
                  <a:lnTo>
                    <a:pt x="261991" y="10404"/>
                  </a:lnTo>
                  <a:lnTo>
                    <a:pt x="264075" y="10116"/>
                  </a:lnTo>
                  <a:lnTo>
                    <a:pt x="266712" y="9170"/>
                  </a:lnTo>
                  <a:lnTo>
                    <a:pt x="269417" y="5440"/>
                  </a:lnTo>
                  <a:lnTo>
                    <a:pt x="271426" y="4801"/>
                  </a:lnTo>
                  <a:lnTo>
                    <a:pt x="274047" y="5671"/>
                  </a:lnTo>
                  <a:lnTo>
                    <a:pt x="274769" y="4670"/>
                  </a:lnTo>
                  <a:lnTo>
                    <a:pt x="273414" y="1570"/>
                  </a:lnTo>
                  <a:close/>
                </a:path>
              </a:pathLst>
            </a:custGeom>
            <a:solidFill>
              <a:srgbClr val="92D050"/>
            </a:solidFill>
            <a:ln w="3175" cap="rnd" cmpd="sng" algn="ctr">
              <a:solidFill>
                <a:srgbClr val="494949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ee4p_AL_1_37764">
              <a:extLst>
                <a:ext uri="{FF2B5EF4-FFF2-40B4-BE49-F238E27FC236}">
                  <a16:creationId xmlns:a16="http://schemas.microsoft.com/office/drawing/2014/main" id="{66172B1D-7924-43E9-88C5-F88864CDFF8B}"/>
                </a:ext>
              </a:extLst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12433321" y="11191156"/>
              <a:ext cx="364343" cy="742600"/>
            </a:xfrm>
            <a:custGeom>
              <a:avLst/>
              <a:gdLst/>
              <a:ahLst/>
              <a:cxnLst/>
              <a:rect l="0" t="0" r="0" b="0"/>
              <a:pathLst>
                <a:path w="38706" h="78890">
                  <a:moveTo>
                    <a:pt x="17320" y="2687"/>
                  </a:moveTo>
                  <a:lnTo>
                    <a:pt x="18195" y="3291"/>
                  </a:lnTo>
                  <a:lnTo>
                    <a:pt x="20013" y="5925"/>
                  </a:lnTo>
                  <a:lnTo>
                    <a:pt x="21225" y="8240"/>
                  </a:lnTo>
                  <a:lnTo>
                    <a:pt x="23606" y="9044"/>
                  </a:lnTo>
                  <a:lnTo>
                    <a:pt x="24935" y="9945"/>
                  </a:lnTo>
                  <a:lnTo>
                    <a:pt x="26640" y="11317"/>
                  </a:lnTo>
                  <a:lnTo>
                    <a:pt x="27467" y="12697"/>
                  </a:lnTo>
                  <a:lnTo>
                    <a:pt x="28629" y="16906"/>
                  </a:lnTo>
                  <a:lnTo>
                    <a:pt x="28763" y="19445"/>
                  </a:lnTo>
                  <a:lnTo>
                    <a:pt x="28426" y="20605"/>
                  </a:lnTo>
                  <a:lnTo>
                    <a:pt x="28137" y="20905"/>
                  </a:lnTo>
                  <a:lnTo>
                    <a:pt x="27077" y="25035"/>
                  </a:lnTo>
                  <a:lnTo>
                    <a:pt x="27330" y="27137"/>
                  </a:lnTo>
                  <a:lnTo>
                    <a:pt x="27321" y="28520"/>
                  </a:lnTo>
                  <a:lnTo>
                    <a:pt x="26423" y="29066"/>
                  </a:lnTo>
                  <a:lnTo>
                    <a:pt x="25827" y="29934"/>
                  </a:lnTo>
                  <a:lnTo>
                    <a:pt x="26794" y="33365"/>
                  </a:lnTo>
                  <a:lnTo>
                    <a:pt x="26675" y="34825"/>
                  </a:lnTo>
                  <a:lnTo>
                    <a:pt x="26718" y="36499"/>
                  </a:lnTo>
                  <a:lnTo>
                    <a:pt x="28463" y="40315"/>
                  </a:lnTo>
                  <a:lnTo>
                    <a:pt x="29493" y="41494"/>
                  </a:lnTo>
                  <a:lnTo>
                    <a:pt x="30413" y="42057"/>
                  </a:lnTo>
                  <a:lnTo>
                    <a:pt x="31590" y="45563"/>
                  </a:lnTo>
                  <a:lnTo>
                    <a:pt x="32287" y="46170"/>
                  </a:lnTo>
                  <a:lnTo>
                    <a:pt x="35148" y="45838"/>
                  </a:lnTo>
                  <a:lnTo>
                    <a:pt x="36548" y="46227"/>
                  </a:lnTo>
                  <a:lnTo>
                    <a:pt x="37103" y="47057"/>
                  </a:lnTo>
                  <a:lnTo>
                    <a:pt x="37228" y="47625"/>
                  </a:lnTo>
                  <a:lnTo>
                    <a:pt x="37040" y="49585"/>
                  </a:lnTo>
                  <a:lnTo>
                    <a:pt x="37751" y="51094"/>
                  </a:lnTo>
                  <a:lnTo>
                    <a:pt x="38705" y="52646"/>
                  </a:lnTo>
                  <a:lnTo>
                    <a:pt x="38701" y="53594"/>
                  </a:lnTo>
                  <a:lnTo>
                    <a:pt x="38061" y="55143"/>
                  </a:lnTo>
                  <a:lnTo>
                    <a:pt x="36917" y="56950"/>
                  </a:lnTo>
                  <a:lnTo>
                    <a:pt x="35401" y="57643"/>
                  </a:lnTo>
                  <a:lnTo>
                    <a:pt x="33730" y="58231"/>
                  </a:lnTo>
                  <a:lnTo>
                    <a:pt x="32933" y="59633"/>
                  </a:lnTo>
                  <a:lnTo>
                    <a:pt x="32527" y="61123"/>
                  </a:lnTo>
                  <a:lnTo>
                    <a:pt x="31780" y="62228"/>
                  </a:lnTo>
                  <a:lnTo>
                    <a:pt x="31318" y="63438"/>
                  </a:lnTo>
                  <a:lnTo>
                    <a:pt x="30610" y="65909"/>
                  </a:lnTo>
                  <a:lnTo>
                    <a:pt x="30443" y="66807"/>
                  </a:lnTo>
                  <a:lnTo>
                    <a:pt x="29312" y="67713"/>
                  </a:lnTo>
                  <a:lnTo>
                    <a:pt x="27561" y="68082"/>
                  </a:lnTo>
                  <a:lnTo>
                    <a:pt x="25990" y="68159"/>
                  </a:lnTo>
                  <a:lnTo>
                    <a:pt x="24928" y="68579"/>
                  </a:lnTo>
                  <a:lnTo>
                    <a:pt x="24391" y="69421"/>
                  </a:lnTo>
                  <a:lnTo>
                    <a:pt x="23391" y="70102"/>
                  </a:lnTo>
                  <a:lnTo>
                    <a:pt x="22786" y="70405"/>
                  </a:lnTo>
                  <a:lnTo>
                    <a:pt x="22790" y="71152"/>
                  </a:lnTo>
                  <a:lnTo>
                    <a:pt x="23518" y="72719"/>
                  </a:lnTo>
                  <a:lnTo>
                    <a:pt x="24345" y="73991"/>
                  </a:lnTo>
                  <a:lnTo>
                    <a:pt x="24362" y="75011"/>
                  </a:lnTo>
                  <a:lnTo>
                    <a:pt x="23956" y="75294"/>
                  </a:lnTo>
                  <a:lnTo>
                    <a:pt x="22676" y="75166"/>
                  </a:lnTo>
                  <a:lnTo>
                    <a:pt x="22404" y="75542"/>
                  </a:lnTo>
                  <a:lnTo>
                    <a:pt x="22265" y="76677"/>
                  </a:lnTo>
                  <a:lnTo>
                    <a:pt x="21922" y="77650"/>
                  </a:lnTo>
                  <a:lnTo>
                    <a:pt x="21395" y="78243"/>
                  </a:lnTo>
                  <a:lnTo>
                    <a:pt x="20480" y="78889"/>
                  </a:lnTo>
                  <a:lnTo>
                    <a:pt x="18804" y="78679"/>
                  </a:lnTo>
                  <a:lnTo>
                    <a:pt x="17228" y="77704"/>
                  </a:lnTo>
                  <a:lnTo>
                    <a:pt x="16405" y="77403"/>
                  </a:lnTo>
                  <a:lnTo>
                    <a:pt x="15934" y="77436"/>
                  </a:lnTo>
                  <a:lnTo>
                    <a:pt x="15809" y="75052"/>
                  </a:lnTo>
                  <a:lnTo>
                    <a:pt x="15129" y="73197"/>
                  </a:lnTo>
                  <a:lnTo>
                    <a:pt x="12630" y="68733"/>
                  </a:lnTo>
                  <a:lnTo>
                    <a:pt x="4509" y="64389"/>
                  </a:lnTo>
                  <a:lnTo>
                    <a:pt x="2598" y="62432"/>
                  </a:lnTo>
                  <a:lnTo>
                    <a:pt x="1758" y="60789"/>
                  </a:lnTo>
                  <a:lnTo>
                    <a:pt x="920" y="59236"/>
                  </a:lnTo>
                  <a:lnTo>
                    <a:pt x="1723" y="59192"/>
                  </a:lnTo>
                  <a:lnTo>
                    <a:pt x="2518" y="59586"/>
                  </a:lnTo>
                  <a:lnTo>
                    <a:pt x="3535" y="60057"/>
                  </a:lnTo>
                  <a:lnTo>
                    <a:pt x="3948" y="59280"/>
                  </a:lnTo>
                  <a:lnTo>
                    <a:pt x="3507" y="57582"/>
                  </a:lnTo>
                  <a:lnTo>
                    <a:pt x="1414" y="53604"/>
                  </a:lnTo>
                  <a:lnTo>
                    <a:pt x="1257" y="52510"/>
                  </a:lnTo>
                  <a:lnTo>
                    <a:pt x="2283" y="49180"/>
                  </a:lnTo>
                  <a:lnTo>
                    <a:pt x="3993" y="45434"/>
                  </a:lnTo>
                  <a:lnTo>
                    <a:pt x="3879" y="40888"/>
                  </a:lnTo>
                  <a:lnTo>
                    <a:pt x="4410" y="37455"/>
                  </a:lnTo>
                  <a:lnTo>
                    <a:pt x="3820" y="35223"/>
                  </a:lnTo>
                  <a:lnTo>
                    <a:pt x="3537" y="32484"/>
                  </a:lnTo>
                  <a:lnTo>
                    <a:pt x="4792" y="28839"/>
                  </a:lnTo>
                  <a:lnTo>
                    <a:pt x="5863" y="27937"/>
                  </a:lnTo>
                  <a:lnTo>
                    <a:pt x="6524" y="26783"/>
                  </a:lnTo>
                  <a:lnTo>
                    <a:pt x="6565" y="22889"/>
                  </a:lnTo>
                  <a:lnTo>
                    <a:pt x="4148" y="21070"/>
                  </a:lnTo>
                  <a:lnTo>
                    <a:pt x="1365" y="20727"/>
                  </a:lnTo>
                  <a:lnTo>
                    <a:pt x="1434" y="19407"/>
                  </a:lnTo>
                  <a:lnTo>
                    <a:pt x="1780" y="17313"/>
                  </a:lnTo>
                  <a:lnTo>
                    <a:pt x="1581" y="16615"/>
                  </a:lnTo>
                  <a:lnTo>
                    <a:pt x="1786" y="15418"/>
                  </a:lnTo>
                  <a:lnTo>
                    <a:pt x="1110" y="13819"/>
                  </a:lnTo>
                  <a:lnTo>
                    <a:pt x="0" y="12669"/>
                  </a:lnTo>
                  <a:lnTo>
                    <a:pt x="1069" y="10628"/>
                  </a:lnTo>
                  <a:lnTo>
                    <a:pt x="2630" y="8162"/>
                  </a:lnTo>
                  <a:lnTo>
                    <a:pt x="4079" y="6205"/>
                  </a:lnTo>
                  <a:lnTo>
                    <a:pt x="5835" y="4163"/>
                  </a:lnTo>
                  <a:lnTo>
                    <a:pt x="7005" y="2203"/>
                  </a:lnTo>
                  <a:lnTo>
                    <a:pt x="8266" y="517"/>
                  </a:lnTo>
                  <a:lnTo>
                    <a:pt x="9348" y="0"/>
                  </a:lnTo>
                  <a:lnTo>
                    <a:pt x="9888" y="358"/>
                  </a:lnTo>
                  <a:lnTo>
                    <a:pt x="10173" y="1095"/>
                  </a:lnTo>
                  <a:lnTo>
                    <a:pt x="10108" y="3278"/>
                  </a:lnTo>
                  <a:lnTo>
                    <a:pt x="10477" y="4030"/>
                  </a:lnTo>
                  <a:lnTo>
                    <a:pt x="11225" y="4584"/>
                  </a:lnTo>
                  <a:lnTo>
                    <a:pt x="12805" y="4313"/>
                  </a:lnTo>
                  <a:lnTo>
                    <a:pt x="14559" y="3770"/>
                  </a:lnTo>
                  <a:lnTo>
                    <a:pt x="16917" y="2617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ee4p_AD_1_37764">
              <a:extLst>
                <a:ext uri="{FF2B5EF4-FFF2-40B4-BE49-F238E27FC236}">
                  <a16:creationId xmlns:a16="http://schemas.microsoft.com/office/drawing/2014/main" id="{D20577E8-8E10-499B-81BE-8B25402D5BA3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8714664" y="11192465"/>
              <a:ext cx="67738" cy="52318"/>
            </a:xfrm>
            <a:custGeom>
              <a:avLst/>
              <a:gdLst/>
              <a:ahLst/>
              <a:cxnLst/>
              <a:rect l="0" t="0" r="0" b="0"/>
              <a:pathLst>
                <a:path w="7196" h="5558">
                  <a:moveTo>
                    <a:pt x="6440" y="3721"/>
                  </a:moveTo>
                  <a:lnTo>
                    <a:pt x="5830" y="3898"/>
                  </a:lnTo>
                  <a:lnTo>
                    <a:pt x="3794" y="4984"/>
                  </a:lnTo>
                  <a:lnTo>
                    <a:pt x="2637" y="5364"/>
                  </a:lnTo>
                  <a:lnTo>
                    <a:pt x="1579" y="5557"/>
                  </a:lnTo>
                  <a:lnTo>
                    <a:pt x="752" y="5477"/>
                  </a:lnTo>
                  <a:lnTo>
                    <a:pt x="294" y="4841"/>
                  </a:lnTo>
                  <a:lnTo>
                    <a:pt x="342" y="3867"/>
                  </a:lnTo>
                  <a:lnTo>
                    <a:pt x="158" y="2988"/>
                  </a:lnTo>
                  <a:lnTo>
                    <a:pt x="0" y="2519"/>
                  </a:lnTo>
                  <a:lnTo>
                    <a:pt x="298" y="1250"/>
                  </a:lnTo>
                  <a:lnTo>
                    <a:pt x="974" y="562"/>
                  </a:lnTo>
                  <a:lnTo>
                    <a:pt x="1914" y="0"/>
                  </a:lnTo>
                  <a:lnTo>
                    <a:pt x="3391" y="206"/>
                  </a:lnTo>
                  <a:lnTo>
                    <a:pt x="6524" y="1023"/>
                  </a:lnTo>
                  <a:lnTo>
                    <a:pt x="7178" y="1784"/>
                  </a:lnTo>
                  <a:lnTo>
                    <a:pt x="7195" y="2296"/>
                  </a:lnTo>
                  <a:lnTo>
                    <a:pt x="6614" y="3126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ee4p_AT_1_37764">
              <a:extLst>
                <a:ext uri="{FF2B5EF4-FFF2-40B4-BE49-F238E27FC236}">
                  <a16:creationId xmlns:a16="http://schemas.microsoft.com/office/drawing/2014/main" id="{182374E4-DBE7-4A28-B207-0A3D3CB18809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10402537" y="9541576"/>
              <a:ext cx="1586758" cy="688729"/>
            </a:xfrm>
            <a:custGeom>
              <a:avLst/>
              <a:gdLst/>
              <a:ahLst/>
              <a:cxnLst/>
              <a:rect l="0" t="0" r="0" b="0"/>
              <a:pathLst>
                <a:path w="168569" h="73167">
                  <a:moveTo>
                    <a:pt x="164274" y="11453"/>
                  </a:moveTo>
                  <a:lnTo>
                    <a:pt x="164178" y="11744"/>
                  </a:lnTo>
                  <a:lnTo>
                    <a:pt x="164057" y="12813"/>
                  </a:lnTo>
                  <a:lnTo>
                    <a:pt x="163198" y="14159"/>
                  </a:lnTo>
                  <a:lnTo>
                    <a:pt x="162274" y="15920"/>
                  </a:lnTo>
                  <a:lnTo>
                    <a:pt x="162334" y="17465"/>
                  </a:lnTo>
                  <a:lnTo>
                    <a:pt x="164705" y="22810"/>
                  </a:lnTo>
                  <a:lnTo>
                    <a:pt x="166811" y="26055"/>
                  </a:lnTo>
                  <a:lnTo>
                    <a:pt x="167210" y="27289"/>
                  </a:lnTo>
                  <a:lnTo>
                    <a:pt x="168568" y="28237"/>
                  </a:lnTo>
                  <a:lnTo>
                    <a:pt x="167279" y="29431"/>
                  </a:lnTo>
                  <a:lnTo>
                    <a:pt x="167029" y="31200"/>
                  </a:lnTo>
                  <a:lnTo>
                    <a:pt x="166193" y="31987"/>
                  </a:lnTo>
                  <a:lnTo>
                    <a:pt x="165975" y="32997"/>
                  </a:lnTo>
                  <a:lnTo>
                    <a:pt x="166325" y="33914"/>
                  </a:lnTo>
                  <a:lnTo>
                    <a:pt x="166318" y="35062"/>
                  </a:lnTo>
                  <a:lnTo>
                    <a:pt x="166783" y="36643"/>
                  </a:lnTo>
                  <a:lnTo>
                    <a:pt x="164722" y="36987"/>
                  </a:lnTo>
                  <a:lnTo>
                    <a:pt x="162274" y="36933"/>
                  </a:lnTo>
                  <a:lnTo>
                    <a:pt x="161397" y="37025"/>
                  </a:lnTo>
                  <a:lnTo>
                    <a:pt x="160576" y="37456"/>
                  </a:lnTo>
                  <a:lnTo>
                    <a:pt x="159728" y="37242"/>
                  </a:lnTo>
                  <a:lnTo>
                    <a:pt x="157515" y="35758"/>
                  </a:lnTo>
                  <a:lnTo>
                    <a:pt x="156264" y="35434"/>
                  </a:lnTo>
                  <a:lnTo>
                    <a:pt x="155381" y="35524"/>
                  </a:lnTo>
                  <a:lnTo>
                    <a:pt x="154720" y="36168"/>
                  </a:lnTo>
                  <a:lnTo>
                    <a:pt x="153582" y="36994"/>
                  </a:lnTo>
                  <a:lnTo>
                    <a:pt x="152513" y="37574"/>
                  </a:lnTo>
                  <a:lnTo>
                    <a:pt x="152753" y="38084"/>
                  </a:lnTo>
                  <a:lnTo>
                    <a:pt x="157344" y="39417"/>
                  </a:lnTo>
                  <a:lnTo>
                    <a:pt x="158158" y="41463"/>
                  </a:lnTo>
                  <a:lnTo>
                    <a:pt x="157275" y="43130"/>
                  </a:lnTo>
                  <a:lnTo>
                    <a:pt x="156975" y="43945"/>
                  </a:lnTo>
                  <a:lnTo>
                    <a:pt x="155899" y="44587"/>
                  </a:lnTo>
                  <a:lnTo>
                    <a:pt x="154580" y="45151"/>
                  </a:lnTo>
                  <a:lnTo>
                    <a:pt x="152991" y="45292"/>
                  </a:lnTo>
                  <a:lnTo>
                    <a:pt x="152803" y="46191"/>
                  </a:lnTo>
                  <a:lnTo>
                    <a:pt x="153427" y="48832"/>
                  </a:lnTo>
                  <a:lnTo>
                    <a:pt x="152922" y="49403"/>
                  </a:lnTo>
                  <a:lnTo>
                    <a:pt x="152416" y="50223"/>
                  </a:lnTo>
                  <a:lnTo>
                    <a:pt x="152891" y="52391"/>
                  </a:lnTo>
                  <a:lnTo>
                    <a:pt x="153874" y="52545"/>
                  </a:lnTo>
                  <a:lnTo>
                    <a:pt x="154092" y="53041"/>
                  </a:lnTo>
                  <a:lnTo>
                    <a:pt x="153917" y="53918"/>
                  </a:lnTo>
                  <a:lnTo>
                    <a:pt x="153744" y="54851"/>
                  </a:lnTo>
                  <a:lnTo>
                    <a:pt x="153397" y="55839"/>
                  </a:lnTo>
                  <a:lnTo>
                    <a:pt x="153224" y="56277"/>
                  </a:lnTo>
                  <a:lnTo>
                    <a:pt x="152572" y="56551"/>
                  </a:lnTo>
                  <a:lnTo>
                    <a:pt x="150535" y="56405"/>
                  </a:lnTo>
                  <a:lnTo>
                    <a:pt x="148782" y="57250"/>
                  </a:lnTo>
                  <a:lnTo>
                    <a:pt x="145256" y="60279"/>
                  </a:lnTo>
                  <a:lnTo>
                    <a:pt x="144021" y="60793"/>
                  </a:lnTo>
                  <a:lnTo>
                    <a:pt x="142686" y="62004"/>
                  </a:lnTo>
                  <a:lnTo>
                    <a:pt x="142766" y="64663"/>
                  </a:lnTo>
                  <a:lnTo>
                    <a:pt x="142585" y="64903"/>
                  </a:lnTo>
                  <a:lnTo>
                    <a:pt x="142261" y="65448"/>
                  </a:lnTo>
                  <a:lnTo>
                    <a:pt x="138043" y="64512"/>
                  </a:lnTo>
                  <a:lnTo>
                    <a:pt x="137896" y="64527"/>
                  </a:lnTo>
                  <a:lnTo>
                    <a:pt x="135074" y="64869"/>
                  </a:lnTo>
                  <a:lnTo>
                    <a:pt x="133144" y="66087"/>
                  </a:lnTo>
                  <a:lnTo>
                    <a:pt x="130798" y="66782"/>
                  </a:lnTo>
                  <a:lnTo>
                    <a:pt x="125884" y="66412"/>
                  </a:lnTo>
                  <a:lnTo>
                    <a:pt x="121101" y="66884"/>
                  </a:lnTo>
                  <a:lnTo>
                    <a:pt x="119967" y="67238"/>
                  </a:lnTo>
                  <a:lnTo>
                    <a:pt x="118726" y="67442"/>
                  </a:lnTo>
                  <a:lnTo>
                    <a:pt x="117562" y="68149"/>
                  </a:lnTo>
                  <a:lnTo>
                    <a:pt x="116897" y="69146"/>
                  </a:lnTo>
                  <a:lnTo>
                    <a:pt x="115707" y="70408"/>
                  </a:lnTo>
                  <a:lnTo>
                    <a:pt x="114014" y="71399"/>
                  </a:lnTo>
                  <a:lnTo>
                    <a:pt x="112174" y="72157"/>
                  </a:lnTo>
                  <a:lnTo>
                    <a:pt x="111736" y="72799"/>
                  </a:lnTo>
                  <a:lnTo>
                    <a:pt x="111131" y="73166"/>
                  </a:lnTo>
                  <a:lnTo>
                    <a:pt x="110107" y="72686"/>
                  </a:lnTo>
                  <a:lnTo>
                    <a:pt x="109276" y="72711"/>
                  </a:lnTo>
                  <a:lnTo>
                    <a:pt x="108259" y="72384"/>
                  </a:lnTo>
                  <a:lnTo>
                    <a:pt x="104884" y="72029"/>
                  </a:lnTo>
                  <a:lnTo>
                    <a:pt x="101174" y="71441"/>
                  </a:lnTo>
                  <a:lnTo>
                    <a:pt x="99408" y="70878"/>
                  </a:lnTo>
                  <a:lnTo>
                    <a:pt x="97399" y="70434"/>
                  </a:lnTo>
                  <a:lnTo>
                    <a:pt x="95244" y="70072"/>
                  </a:lnTo>
                  <a:lnTo>
                    <a:pt x="93312" y="69987"/>
                  </a:lnTo>
                  <a:lnTo>
                    <a:pt x="92340" y="69821"/>
                  </a:lnTo>
                  <a:lnTo>
                    <a:pt x="87697" y="68841"/>
                  </a:lnTo>
                  <a:lnTo>
                    <a:pt x="84635" y="68775"/>
                  </a:lnTo>
                  <a:lnTo>
                    <a:pt x="80593" y="68366"/>
                  </a:lnTo>
                  <a:lnTo>
                    <a:pt x="72562" y="66887"/>
                  </a:lnTo>
                  <a:lnTo>
                    <a:pt x="70223" y="66287"/>
                  </a:lnTo>
                  <a:lnTo>
                    <a:pt x="67986" y="66102"/>
                  </a:lnTo>
                  <a:lnTo>
                    <a:pt x="65345" y="65590"/>
                  </a:lnTo>
                  <a:lnTo>
                    <a:pt x="63335" y="64752"/>
                  </a:lnTo>
                  <a:lnTo>
                    <a:pt x="62048" y="63161"/>
                  </a:lnTo>
                  <a:lnTo>
                    <a:pt x="60675" y="61043"/>
                  </a:lnTo>
                  <a:lnTo>
                    <a:pt x="58157" y="58273"/>
                  </a:lnTo>
                  <a:lnTo>
                    <a:pt x="57641" y="56892"/>
                  </a:lnTo>
                  <a:lnTo>
                    <a:pt x="58409" y="55680"/>
                  </a:lnTo>
                  <a:lnTo>
                    <a:pt x="59200" y="54766"/>
                  </a:lnTo>
                  <a:lnTo>
                    <a:pt x="59109" y="54372"/>
                  </a:lnTo>
                  <a:lnTo>
                    <a:pt x="58496" y="54173"/>
                  </a:lnTo>
                  <a:lnTo>
                    <a:pt x="54076" y="55358"/>
                  </a:lnTo>
                  <a:lnTo>
                    <a:pt x="49789" y="56855"/>
                  </a:lnTo>
                  <a:lnTo>
                    <a:pt x="48103" y="56894"/>
                  </a:lnTo>
                  <a:lnTo>
                    <a:pt x="46468" y="56562"/>
                  </a:lnTo>
                  <a:lnTo>
                    <a:pt x="44302" y="56539"/>
                  </a:lnTo>
                  <a:lnTo>
                    <a:pt x="42216" y="56939"/>
                  </a:lnTo>
                  <a:lnTo>
                    <a:pt x="38042" y="57145"/>
                  </a:lnTo>
                  <a:lnTo>
                    <a:pt x="35598" y="58247"/>
                  </a:lnTo>
                  <a:lnTo>
                    <a:pt x="34041" y="60395"/>
                  </a:lnTo>
                  <a:lnTo>
                    <a:pt x="33192" y="62127"/>
                  </a:lnTo>
                  <a:lnTo>
                    <a:pt x="32488" y="62683"/>
                  </a:lnTo>
                  <a:lnTo>
                    <a:pt x="31031" y="62892"/>
                  </a:lnTo>
                  <a:lnTo>
                    <a:pt x="28854" y="62732"/>
                  </a:lnTo>
                  <a:lnTo>
                    <a:pt x="27325" y="62229"/>
                  </a:lnTo>
                  <a:lnTo>
                    <a:pt x="25766" y="60750"/>
                  </a:lnTo>
                  <a:lnTo>
                    <a:pt x="23345" y="60546"/>
                  </a:lnTo>
                  <a:lnTo>
                    <a:pt x="21126" y="60507"/>
                  </a:lnTo>
                  <a:lnTo>
                    <a:pt x="20538" y="60233"/>
                  </a:lnTo>
                  <a:lnTo>
                    <a:pt x="20577" y="59272"/>
                  </a:lnTo>
                  <a:lnTo>
                    <a:pt x="19700" y="57459"/>
                  </a:lnTo>
                  <a:lnTo>
                    <a:pt x="18251" y="56892"/>
                  </a:lnTo>
                  <a:lnTo>
                    <a:pt x="14501" y="60305"/>
                  </a:lnTo>
                  <a:lnTo>
                    <a:pt x="13477" y="60607"/>
                  </a:lnTo>
                  <a:lnTo>
                    <a:pt x="10456" y="59664"/>
                  </a:lnTo>
                  <a:lnTo>
                    <a:pt x="7821" y="58205"/>
                  </a:lnTo>
                  <a:lnTo>
                    <a:pt x="7532" y="57137"/>
                  </a:lnTo>
                  <a:lnTo>
                    <a:pt x="7104" y="56261"/>
                  </a:lnTo>
                  <a:lnTo>
                    <a:pt x="4887" y="55431"/>
                  </a:lnTo>
                  <a:lnTo>
                    <a:pt x="2121" y="54862"/>
                  </a:lnTo>
                  <a:lnTo>
                    <a:pt x="1244" y="54865"/>
                  </a:lnTo>
                  <a:lnTo>
                    <a:pt x="1585" y="54349"/>
                  </a:lnTo>
                  <a:lnTo>
                    <a:pt x="1913" y="53475"/>
                  </a:lnTo>
                  <a:lnTo>
                    <a:pt x="1706" y="52778"/>
                  </a:lnTo>
                  <a:lnTo>
                    <a:pt x="1058" y="52056"/>
                  </a:lnTo>
                  <a:lnTo>
                    <a:pt x="702" y="51284"/>
                  </a:lnTo>
                  <a:lnTo>
                    <a:pt x="598" y="50535"/>
                  </a:lnTo>
                  <a:lnTo>
                    <a:pt x="402" y="49924"/>
                  </a:lnTo>
                  <a:lnTo>
                    <a:pt x="283" y="49350"/>
                  </a:lnTo>
                  <a:lnTo>
                    <a:pt x="78" y="48899"/>
                  </a:lnTo>
                  <a:lnTo>
                    <a:pt x="1881" y="45509"/>
                  </a:lnTo>
                  <a:lnTo>
                    <a:pt x="2252" y="43399"/>
                  </a:lnTo>
                  <a:lnTo>
                    <a:pt x="672" y="42162"/>
                  </a:lnTo>
                  <a:lnTo>
                    <a:pt x="0" y="41794"/>
                  </a:lnTo>
                  <a:lnTo>
                    <a:pt x="551" y="41519"/>
                  </a:lnTo>
                  <a:lnTo>
                    <a:pt x="2799" y="41748"/>
                  </a:lnTo>
                  <a:lnTo>
                    <a:pt x="4226" y="41048"/>
                  </a:lnTo>
                  <a:lnTo>
                    <a:pt x="4973" y="40354"/>
                  </a:lnTo>
                  <a:lnTo>
                    <a:pt x="6968" y="41006"/>
                  </a:lnTo>
                  <a:lnTo>
                    <a:pt x="9897" y="42325"/>
                  </a:lnTo>
                  <a:lnTo>
                    <a:pt x="11279" y="43215"/>
                  </a:lnTo>
                  <a:lnTo>
                    <a:pt x="11849" y="43903"/>
                  </a:lnTo>
                  <a:lnTo>
                    <a:pt x="12166" y="44479"/>
                  </a:lnTo>
                  <a:lnTo>
                    <a:pt x="11991" y="45465"/>
                  </a:lnTo>
                  <a:lnTo>
                    <a:pt x="12658" y="45851"/>
                  </a:lnTo>
                  <a:lnTo>
                    <a:pt x="14036" y="46000"/>
                  </a:lnTo>
                  <a:lnTo>
                    <a:pt x="14954" y="46304"/>
                  </a:lnTo>
                  <a:lnTo>
                    <a:pt x="14632" y="47599"/>
                  </a:lnTo>
                  <a:lnTo>
                    <a:pt x="14572" y="48673"/>
                  </a:lnTo>
                  <a:lnTo>
                    <a:pt x="15846" y="48524"/>
                  </a:lnTo>
                  <a:lnTo>
                    <a:pt x="17441" y="47704"/>
                  </a:lnTo>
                  <a:lnTo>
                    <a:pt x="18687" y="46230"/>
                  </a:lnTo>
                  <a:lnTo>
                    <a:pt x="19456" y="44802"/>
                  </a:lnTo>
                  <a:lnTo>
                    <a:pt x="20042" y="41321"/>
                  </a:lnTo>
                  <a:lnTo>
                    <a:pt x="20242" y="41027"/>
                  </a:lnTo>
                  <a:lnTo>
                    <a:pt x="21201" y="41301"/>
                  </a:lnTo>
                  <a:lnTo>
                    <a:pt x="25090" y="41149"/>
                  </a:lnTo>
                  <a:lnTo>
                    <a:pt x="26923" y="41797"/>
                  </a:lnTo>
                  <a:lnTo>
                    <a:pt x="29830" y="41907"/>
                  </a:lnTo>
                  <a:lnTo>
                    <a:pt x="29776" y="42452"/>
                  </a:lnTo>
                  <a:lnTo>
                    <a:pt x="30292" y="43303"/>
                  </a:lnTo>
                  <a:lnTo>
                    <a:pt x="31579" y="44530"/>
                  </a:lnTo>
                  <a:lnTo>
                    <a:pt x="32214" y="45331"/>
                  </a:lnTo>
                  <a:lnTo>
                    <a:pt x="33566" y="45471"/>
                  </a:lnTo>
                  <a:lnTo>
                    <a:pt x="35645" y="45030"/>
                  </a:lnTo>
                  <a:lnTo>
                    <a:pt x="36865" y="44572"/>
                  </a:lnTo>
                  <a:lnTo>
                    <a:pt x="37323" y="44897"/>
                  </a:lnTo>
                  <a:lnTo>
                    <a:pt x="39225" y="44580"/>
                  </a:lnTo>
                  <a:lnTo>
                    <a:pt x="40910" y="43589"/>
                  </a:lnTo>
                  <a:lnTo>
                    <a:pt x="41326" y="42834"/>
                  </a:lnTo>
                  <a:lnTo>
                    <a:pt x="43028" y="42303"/>
                  </a:lnTo>
                  <a:lnTo>
                    <a:pt x="45328" y="41078"/>
                  </a:lnTo>
                  <a:lnTo>
                    <a:pt x="48487" y="40130"/>
                  </a:lnTo>
                  <a:lnTo>
                    <a:pt x="58854" y="39118"/>
                  </a:lnTo>
                  <a:lnTo>
                    <a:pt x="59256" y="38353"/>
                  </a:lnTo>
                  <a:lnTo>
                    <a:pt x="59102" y="36600"/>
                  </a:lnTo>
                  <a:lnTo>
                    <a:pt x="59377" y="36342"/>
                  </a:lnTo>
                  <a:lnTo>
                    <a:pt x="60683" y="36779"/>
                  </a:lnTo>
                  <a:lnTo>
                    <a:pt x="62780" y="37188"/>
                  </a:lnTo>
                  <a:lnTo>
                    <a:pt x="64385" y="37808"/>
                  </a:lnTo>
                  <a:lnTo>
                    <a:pt x="65428" y="38618"/>
                  </a:lnTo>
                  <a:lnTo>
                    <a:pt x="66393" y="38651"/>
                  </a:lnTo>
                  <a:lnTo>
                    <a:pt x="67889" y="38084"/>
                  </a:lnTo>
                  <a:lnTo>
                    <a:pt x="69915" y="37718"/>
                  </a:lnTo>
                  <a:lnTo>
                    <a:pt x="71806" y="38559"/>
                  </a:lnTo>
                  <a:lnTo>
                    <a:pt x="72355" y="39469"/>
                  </a:lnTo>
                  <a:lnTo>
                    <a:pt x="72022" y="39935"/>
                  </a:lnTo>
                  <a:lnTo>
                    <a:pt x="72059" y="40673"/>
                  </a:lnTo>
                  <a:lnTo>
                    <a:pt x="72646" y="41290"/>
                  </a:lnTo>
                  <a:lnTo>
                    <a:pt x="74184" y="42293"/>
                  </a:lnTo>
                  <a:lnTo>
                    <a:pt x="76155" y="43156"/>
                  </a:lnTo>
                  <a:lnTo>
                    <a:pt x="77179" y="43089"/>
                  </a:lnTo>
                  <a:lnTo>
                    <a:pt x="77559" y="42249"/>
                  </a:lnTo>
                  <a:lnTo>
                    <a:pt x="77922" y="40252"/>
                  </a:lnTo>
                  <a:lnTo>
                    <a:pt x="78058" y="38117"/>
                  </a:lnTo>
                  <a:lnTo>
                    <a:pt x="77604" y="36891"/>
                  </a:lnTo>
                  <a:lnTo>
                    <a:pt x="76542" y="36591"/>
                  </a:lnTo>
                  <a:lnTo>
                    <a:pt x="75272" y="36494"/>
                  </a:lnTo>
                  <a:lnTo>
                    <a:pt x="74598" y="36241"/>
                  </a:lnTo>
                  <a:lnTo>
                    <a:pt x="74834" y="35567"/>
                  </a:lnTo>
                  <a:lnTo>
                    <a:pt x="75849" y="33823"/>
                  </a:lnTo>
                  <a:lnTo>
                    <a:pt x="75834" y="31489"/>
                  </a:lnTo>
                  <a:lnTo>
                    <a:pt x="73542" y="28834"/>
                  </a:lnTo>
                  <a:lnTo>
                    <a:pt x="71556" y="26261"/>
                  </a:lnTo>
                  <a:lnTo>
                    <a:pt x="71562" y="25385"/>
                  </a:lnTo>
                  <a:lnTo>
                    <a:pt x="72754" y="23863"/>
                  </a:lnTo>
                  <a:lnTo>
                    <a:pt x="74594" y="22651"/>
                  </a:lnTo>
                  <a:lnTo>
                    <a:pt x="78678" y="20632"/>
                  </a:lnTo>
                  <a:lnTo>
                    <a:pt x="79967" y="20211"/>
                  </a:lnTo>
                  <a:lnTo>
                    <a:pt x="81621" y="19873"/>
                  </a:lnTo>
                  <a:lnTo>
                    <a:pt x="84000" y="19042"/>
                  </a:lnTo>
                  <a:lnTo>
                    <a:pt x="85145" y="18188"/>
                  </a:lnTo>
                  <a:lnTo>
                    <a:pt x="85914" y="17260"/>
                  </a:lnTo>
                  <a:lnTo>
                    <a:pt x="87030" y="12426"/>
                  </a:lnTo>
                  <a:lnTo>
                    <a:pt x="87291" y="12220"/>
                  </a:lnTo>
                  <a:lnTo>
                    <a:pt x="87622" y="11935"/>
                  </a:lnTo>
                  <a:lnTo>
                    <a:pt x="91792" y="13604"/>
                  </a:lnTo>
                  <a:lnTo>
                    <a:pt x="92167" y="13328"/>
                  </a:lnTo>
                  <a:lnTo>
                    <a:pt x="92869" y="13056"/>
                  </a:lnTo>
                  <a:lnTo>
                    <a:pt x="94227" y="11776"/>
                  </a:lnTo>
                  <a:lnTo>
                    <a:pt x="94525" y="10803"/>
                  </a:lnTo>
                  <a:lnTo>
                    <a:pt x="94495" y="8963"/>
                  </a:lnTo>
                  <a:lnTo>
                    <a:pt x="94616" y="7226"/>
                  </a:lnTo>
                  <a:lnTo>
                    <a:pt x="94877" y="6673"/>
                  </a:lnTo>
                  <a:lnTo>
                    <a:pt x="95506" y="6874"/>
                  </a:lnTo>
                  <a:lnTo>
                    <a:pt x="97300" y="7780"/>
                  </a:lnTo>
                  <a:lnTo>
                    <a:pt x="98725" y="8792"/>
                  </a:lnTo>
                  <a:lnTo>
                    <a:pt x="100060" y="11349"/>
                  </a:lnTo>
                  <a:lnTo>
                    <a:pt x="103171" y="12028"/>
                  </a:lnTo>
                  <a:lnTo>
                    <a:pt x="107101" y="12095"/>
                  </a:lnTo>
                  <a:lnTo>
                    <a:pt x="108505" y="10957"/>
                  </a:lnTo>
                  <a:lnTo>
                    <a:pt x="109779" y="10694"/>
                  </a:lnTo>
                  <a:lnTo>
                    <a:pt x="111222" y="11041"/>
                  </a:lnTo>
                  <a:lnTo>
                    <a:pt x="114260" y="11441"/>
                  </a:lnTo>
                  <a:lnTo>
                    <a:pt x="114599" y="9376"/>
                  </a:lnTo>
                  <a:lnTo>
                    <a:pt x="116352" y="7230"/>
                  </a:lnTo>
                  <a:lnTo>
                    <a:pt x="117147" y="6472"/>
                  </a:lnTo>
                  <a:lnTo>
                    <a:pt x="119373" y="6546"/>
                  </a:lnTo>
                  <a:lnTo>
                    <a:pt x="119922" y="4942"/>
                  </a:lnTo>
                  <a:lnTo>
                    <a:pt x="120470" y="490"/>
                  </a:lnTo>
                  <a:lnTo>
                    <a:pt x="120941" y="0"/>
                  </a:lnTo>
                  <a:lnTo>
                    <a:pt x="122563" y="93"/>
                  </a:lnTo>
                  <a:lnTo>
                    <a:pt x="124176" y="906"/>
                  </a:lnTo>
                  <a:lnTo>
                    <a:pt x="124662" y="1564"/>
                  </a:lnTo>
                  <a:lnTo>
                    <a:pt x="125500" y="1511"/>
                  </a:lnTo>
                  <a:lnTo>
                    <a:pt x="126674" y="1063"/>
                  </a:lnTo>
                  <a:lnTo>
                    <a:pt x="127961" y="773"/>
                  </a:lnTo>
                  <a:lnTo>
                    <a:pt x="129995" y="1248"/>
                  </a:lnTo>
                  <a:lnTo>
                    <a:pt x="134340" y="3272"/>
                  </a:lnTo>
                  <a:lnTo>
                    <a:pt x="136581" y="4010"/>
                  </a:lnTo>
                  <a:lnTo>
                    <a:pt x="138002" y="3869"/>
                  </a:lnTo>
                  <a:lnTo>
                    <a:pt x="139332" y="3896"/>
                  </a:lnTo>
                  <a:lnTo>
                    <a:pt x="144463" y="7019"/>
                  </a:lnTo>
                  <a:lnTo>
                    <a:pt x="148048" y="7456"/>
                  </a:lnTo>
                  <a:lnTo>
                    <a:pt x="151319" y="7469"/>
                  </a:lnTo>
                  <a:lnTo>
                    <a:pt x="152371" y="6527"/>
                  </a:lnTo>
                  <a:lnTo>
                    <a:pt x="153766" y="5729"/>
                  </a:lnTo>
                  <a:lnTo>
                    <a:pt x="155217" y="5839"/>
                  </a:lnTo>
                  <a:lnTo>
                    <a:pt x="156486" y="6248"/>
                  </a:lnTo>
                  <a:lnTo>
                    <a:pt x="158957" y="7604"/>
                  </a:lnTo>
                  <a:lnTo>
                    <a:pt x="160101" y="7951"/>
                  </a:lnTo>
                  <a:lnTo>
                    <a:pt x="161622" y="8170"/>
                  </a:lnTo>
                  <a:lnTo>
                    <a:pt x="162738" y="8472"/>
                  </a:lnTo>
                  <a:lnTo>
                    <a:pt x="163725" y="10826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ee4p_BE_1_37764">
              <a:extLst>
                <a:ext uri="{FF2B5EF4-FFF2-40B4-BE49-F238E27FC236}">
                  <a16:creationId xmlns:a16="http://schemas.microsoft.com/office/drawing/2014/main" id="{58833D14-74EE-4830-A903-E1ECC391DC28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8945718" y="8862967"/>
              <a:ext cx="799192" cy="541301"/>
            </a:xfrm>
            <a:custGeom>
              <a:avLst/>
              <a:gdLst/>
              <a:ahLst/>
              <a:cxnLst/>
              <a:rect l="0" t="0" r="0" b="0"/>
              <a:pathLst>
                <a:path w="84902" h="57505">
                  <a:moveTo>
                    <a:pt x="50661" y="1713"/>
                  </a:moveTo>
                  <a:lnTo>
                    <a:pt x="50765" y="2322"/>
                  </a:lnTo>
                  <a:lnTo>
                    <a:pt x="51370" y="2580"/>
                  </a:lnTo>
                  <a:lnTo>
                    <a:pt x="53490" y="2448"/>
                  </a:lnTo>
                  <a:lnTo>
                    <a:pt x="54566" y="1344"/>
                  </a:lnTo>
                  <a:lnTo>
                    <a:pt x="55414" y="647"/>
                  </a:lnTo>
                  <a:lnTo>
                    <a:pt x="56045" y="1116"/>
                  </a:lnTo>
                  <a:lnTo>
                    <a:pt x="56353" y="2475"/>
                  </a:lnTo>
                  <a:lnTo>
                    <a:pt x="56939" y="4246"/>
                  </a:lnTo>
                  <a:lnTo>
                    <a:pt x="59465" y="6226"/>
                  </a:lnTo>
                  <a:lnTo>
                    <a:pt x="61603" y="6790"/>
                  </a:lnTo>
                  <a:lnTo>
                    <a:pt x="64233" y="6401"/>
                  </a:lnTo>
                  <a:lnTo>
                    <a:pt x="65274" y="6048"/>
                  </a:lnTo>
                  <a:lnTo>
                    <a:pt x="65980" y="6342"/>
                  </a:lnTo>
                  <a:lnTo>
                    <a:pt x="66680" y="7388"/>
                  </a:lnTo>
                  <a:lnTo>
                    <a:pt x="68191" y="8585"/>
                  </a:lnTo>
                  <a:lnTo>
                    <a:pt x="71365" y="9433"/>
                  </a:lnTo>
                  <a:lnTo>
                    <a:pt x="72342" y="9913"/>
                  </a:lnTo>
                  <a:lnTo>
                    <a:pt x="73019" y="10716"/>
                  </a:lnTo>
                  <a:lnTo>
                    <a:pt x="72823" y="11863"/>
                  </a:lnTo>
                  <a:lnTo>
                    <a:pt x="71309" y="14717"/>
                  </a:lnTo>
                  <a:lnTo>
                    <a:pt x="71111" y="15559"/>
                  </a:lnTo>
                  <a:lnTo>
                    <a:pt x="71314" y="15842"/>
                  </a:lnTo>
                  <a:lnTo>
                    <a:pt x="71018" y="16370"/>
                  </a:lnTo>
                  <a:lnTo>
                    <a:pt x="69048" y="18281"/>
                  </a:lnTo>
                  <a:lnTo>
                    <a:pt x="68869" y="18953"/>
                  </a:lnTo>
                  <a:lnTo>
                    <a:pt x="69525" y="20050"/>
                  </a:lnTo>
                  <a:lnTo>
                    <a:pt x="70065" y="20959"/>
                  </a:lnTo>
                  <a:lnTo>
                    <a:pt x="70087" y="20776"/>
                  </a:lnTo>
                  <a:lnTo>
                    <a:pt x="73104" y="19957"/>
                  </a:lnTo>
                  <a:lnTo>
                    <a:pt x="74464" y="21606"/>
                  </a:lnTo>
                  <a:lnTo>
                    <a:pt x="76708" y="21667"/>
                  </a:lnTo>
                  <a:lnTo>
                    <a:pt x="76973" y="22198"/>
                  </a:lnTo>
                  <a:lnTo>
                    <a:pt x="79483" y="23740"/>
                  </a:lnTo>
                  <a:lnTo>
                    <a:pt x="80258" y="24961"/>
                  </a:lnTo>
                  <a:lnTo>
                    <a:pt x="82059" y="26141"/>
                  </a:lnTo>
                  <a:lnTo>
                    <a:pt x="80567" y="27633"/>
                  </a:lnTo>
                  <a:lnTo>
                    <a:pt x="80793" y="28296"/>
                  </a:lnTo>
                  <a:lnTo>
                    <a:pt x="81331" y="28975"/>
                  </a:lnTo>
                  <a:lnTo>
                    <a:pt x="83363" y="29371"/>
                  </a:lnTo>
                  <a:lnTo>
                    <a:pt x="84380" y="30350"/>
                  </a:lnTo>
                  <a:lnTo>
                    <a:pt x="84440" y="31845"/>
                  </a:lnTo>
                  <a:lnTo>
                    <a:pt x="84901" y="34282"/>
                  </a:lnTo>
                  <a:lnTo>
                    <a:pt x="80714" y="36700"/>
                  </a:lnTo>
                  <a:lnTo>
                    <a:pt x="79524" y="39399"/>
                  </a:lnTo>
                  <a:lnTo>
                    <a:pt x="79418" y="39930"/>
                  </a:lnTo>
                  <a:lnTo>
                    <a:pt x="79275" y="39850"/>
                  </a:lnTo>
                  <a:lnTo>
                    <a:pt x="78811" y="38959"/>
                  </a:lnTo>
                  <a:lnTo>
                    <a:pt x="78053" y="38967"/>
                  </a:lnTo>
                  <a:lnTo>
                    <a:pt x="76317" y="38595"/>
                  </a:lnTo>
                  <a:lnTo>
                    <a:pt x="73898" y="41034"/>
                  </a:lnTo>
                  <a:lnTo>
                    <a:pt x="72804" y="43059"/>
                  </a:lnTo>
                  <a:lnTo>
                    <a:pt x="72156" y="44544"/>
                  </a:lnTo>
                  <a:lnTo>
                    <a:pt x="71182" y="45744"/>
                  </a:lnTo>
                  <a:lnTo>
                    <a:pt x="70987" y="47012"/>
                  </a:lnTo>
                  <a:lnTo>
                    <a:pt x="71111" y="47544"/>
                  </a:lnTo>
                  <a:lnTo>
                    <a:pt x="70778" y="48231"/>
                  </a:lnTo>
                  <a:lnTo>
                    <a:pt x="70761" y="48953"/>
                  </a:lnTo>
                  <a:lnTo>
                    <a:pt x="72154" y="50375"/>
                  </a:lnTo>
                  <a:lnTo>
                    <a:pt x="72501" y="51144"/>
                  </a:lnTo>
                  <a:lnTo>
                    <a:pt x="74197" y="53658"/>
                  </a:lnTo>
                  <a:lnTo>
                    <a:pt x="73669" y="54575"/>
                  </a:lnTo>
                  <a:lnTo>
                    <a:pt x="73250" y="55567"/>
                  </a:lnTo>
                  <a:lnTo>
                    <a:pt x="72761" y="56271"/>
                  </a:lnTo>
                  <a:lnTo>
                    <a:pt x="72192" y="56717"/>
                  </a:lnTo>
                  <a:lnTo>
                    <a:pt x="70439" y="56690"/>
                  </a:lnTo>
                  <a:lnTo>
                    <a:pt x="68219" y="57006"/>
                  </a:lnTo>
                  <a:lnTo>
                    <a:pt x="66723" y="57499"/>
                  </a:lnTo>
                  <a:lnTo>
                    <a:pt x="65947" y="57504"/>
                  </a:lnTo>
                  <a:lnTo>
                    <a:pt x="64341" y="56252"/>
                  </a:lnTo>
                  <a:lnTo>
                    <a:pt x="62546" y="54375"/>
                  </a:lnTo>
                  <a:lnTo>
                    <a:pt x="61406" y="53479"/>
                  </a:lnTo>
                  <a:lnTo>
                    <a:pt x="60895" y="52705"/>
                  </a:lnTo>
                  <a:lnTo>
                    <a:pt x="59485" y="52379"/>
                  </a:lnTo>
                  <a:lnTo>
                    <a:pt x="57474" y="51452"/>
                  </a:lnTo>
                  <a:lnTo>
                    <a:pt x="56079" y="50443"/>
                  </a:lnTo>
                  <a:lnTo>
                    <a:pt x="54883" y="49815"/>
                  </a:lnTo>
                  <a:lnTo>
                    <a:pt x="53194" y="49501"/>
                  </a:lnTo>
                  <a:lnTo>
                    <a:pt x="51801" y="49533"/>
                  </a:lnTo>
                  <a:lnTo>
                    <a:pt x="51393" y="47834"/>
                  </a:lnTo>
                  <a:lnTo>
                    <a:pt x="51225" y="45892"/>
                  </a:lnTo>
                  <a:lnTo>
                    <a:pt x="50087" y="44592"/>
                  </a:lnTo>
                  <a:lnTo>
                    <a:pt x="51646" y="39500"/>
                  </a:lnTo>
                  <a:lnTo>
                    <a:pt x="50720" y="39000"/>
                  </a:lnTo>
                  <a:lnTo>
                    <a:pt x="49707" y="39408"/>
                  </a:lnTo>
                  <a:lnTo>
                    <a:pt x="48243" y="40622"/>
                  </a:lnTo>
                  <a:lnTo>
                    <a:pt x="47545" y="42072"/>
                  </a:lnTo>
                  <a:lnTo>
                    <a:pt x="47126" y="43355"/>
                  </a:lnTo>
                  <a:lnTo>
                    <a:pt x="44669" y="44572"/>
                  </a:lnTo>
                  <a:lnTo>
                    <a:pt x="40771" y="45013"/>
                  </a:lnTo>
                  <a:lnTo>
                    <a:pt x="36511" y="44572"/>
                  </a:lnTo>
                  <a:lnTo>
                    <a:pt x="35919" y="44245"/>
                  </a:lnTo>
                  <a:lnTo>
                    <a:pt x="35647" y="43873"/>
                  </a:lnTo>
                  <a:lnTo>
                    <a:pt x="35643" y="43425"/>
                  </a:lnTo>
                  <a:lnTo>
                    <a:pt x="35941" y="42736"/>
                  </a:lnTo>
                  <a:lnTo>
                    <a:pt x="36684" y="41900"/>
                  </a:lnTo>
                  <a:lnTo>
                    <a:pt x="36867" y="40706"/>
                  </a:lnTo>
                  <a:lnTo>
                    <a:pt x="36105" y="39673"/>
                  </a:lnTo>
                  <a:lnTo>
                    <a:pt x="35608" y="39271"/>
                  </a:lnTo>
                  <a:lnTo>
                    <a:pt x="35805" y="38270"/>
                  </a:lnTo>
                  <a:lnTo>
                    <a:pt x="36368" y="37015"/>
                  </a:lnTo>
                  <a:lnTo>
                    <a:pt x="36478" y="36300"/>
                  </a:lnTo>
                  <a:lnTo>
                    <a:pt x="33594" y="34132"/>
                  </a:lnTo>
                  <a:lnTo>
                    <a:pt x="31505" y="33709"/>
                  </a:lnTo>
                  <a:lnTo>
                    <a:pt x="29480" y="33633"/>
                  </a:lnTo>
                  <a:lnTo>
                    <a:pt x="27942" y="33389"/>
                  </a:lnTo>
                  <a:lnTo>
                    <a:pt x="27046" y="33490"/>
                  </a:lnTo>
                  <a:lnTo>
                    <a:pt x="26401" y="34122"/>
                  </a:lnTo>
                  <a:lnTo>
                    <a:pt x="25748" y="34575"/>
                  </a:lnTo>
                  <a:lnTo>
                    <a:pt x="25260" y="34032"/>
                  </a:lnTo>
                  <a:lnTo>
                    <a:pt x="24364" y="30189"/>
                  </a:lnTo>
                  <a:lnTo>
                    <a:pt x="23671" y="29608"/>
                  </a:lnTo>
                  <a:lnTo>
                    <a:pt x="21052" y="28966"/>
                  </a:lnTo>
                  <a:lnTo>
                    <a:pt x="17497" y="28736"/>
                  </a:lnTo>
                  <a:lnTo>
                    <a:pt x="16549" y="28034"/>
                  </a:lnTo>
                  <a:lnTo>
                    <a:pt x="16029" y="26302"/>
                  </a:lnTo>
                  <a:lnTo>
                    <a:pt x="15701" y="24214"/>
                  </a:lnTo>
                  <a:lnTo>
                    <a:pt x="14530" y="22213"/>
                  </a:lnTo>
                  <a:lnTo>
                    <a:pt x="13930" y="21712"/>
                  </a:lnTo>
                  <a:lnTo>
                    <a:pt x="12868" y="20823"/>
                  </a:lnTo>
                  <a:lnTo>
                    <a:pt x="11010" y="21188"/>
                  </a:lnTo>
                  <a:lnTo>
                    <a:pt x="8780" y="22348"/>
                  </a:lnTo>
                  <a:lnTo>
                    <a:pt x="7463" y="22670"/>
                  </a:lnTo>
                  <a:lnTo>
                    <a:pt x="6962" y="22793"/>
                  </a:lnTo>
                  <a:lnTo>
                    <a:pt x="5184" y="21662"/>
                  </a:lnTo>
                  <a:lnTo>
                    <a:pt x="3189" y="19891"/>
                  </a:lnTo>
                  <a:lnTo>
                    <a:pt x="1589" y="18010"/>
                  </a:lnTo>
                  <a:lnTo>
                    <a:pt x="1203" y="16965"/>
                  </a:lnTo>
                  <a:lnTo>
                    <a:pt x="1693" y="15695"/>
                  </a:lnTo>
                  <a:lnTo>
                    <a:pt x="1103" y="14722"/>
                  </a:lnTo>
                  <a:lnTo>
                    <a:pt x="246" y="12942"/>
                  </a:lnTo>
                  <a:lnTo>
                    <a:pt x="0" y="11550"/>
                  </a:lnTo>
                  <a:lnTo>
                    <a:pt x="9624" y="6623"/>
                  </a:lnTo>
                  <a:lnTo>
                    <a:pt x="15485" y="4096"/>
                  </a:lnTo>
                  <a:lnTo>
                    <a:pt x="18247" y="3331"/>
                  </a:lnTo>
                  <a:lnTo>
                    <a:pt x="18910" y="5870"/>
                  </a:lnTo>
                  <a:lnTo>
                    <a:pt x="19413" y="6676"/>
                  </a:lnTo>
                  <a:lnTo>
                    <a:pt x="20069" y="7199"/>
                  </a:lnTo>
                  <a:lnTo>
                    <a:pt x="20942" y="7302"/>
                  </a:lnTo>
                  <a:lnTo>
                    <a:pt x="21939" y="6676"/>
                  </a:lnTo>
                  <a:lnTo>
                    <a:pt x="23336" y="6015"/>
                  </a:lnTo>
                  <a:lnTo>
                    <a:pt x="25582" y="6322"/>
                  </a:lnTo>
                  <a:lnTo>
                    <a:pt x="27215" y="6933"/>
                  </a:lnTo>
                  <a:lnTo>
                    <a:pt x="27795" y="7567"/>
                  </a:lnTo>
                  <a:lnTo>
                    <a:pt x="28875" y="8171"/>
                  </a:lnTo>
                  <a:lnTo>
                    <a:pt x="30452" y="8315"/>
                  </a:lnTo>
                  <a:lnTo>
                    <a:pt x="33503" y="7161"/>
                  </a:lnTo>
                  <a:lnTo>
                    <a:pt x="36433" y="5402"/>
                  </a:lnTo>
                  <a:lnTo>
                    <a:pt x="37293" y="4180"/>
                  </a:lnTo>
                  <a:lnTo>
                    <a:pt x="37619" y="3073"/>
                  </a:lnTo>
                  <a:lnTo>
                    <a:pt x="39351" y="3805"/>
                  </a:lnTo>
                  <a:lnTo>
                    <a:pt x="40881" y="3967"/>
                  </a:lnTo>
                  <a:lnTo>
                    <a:pt x="41551" y="3642"/>
                  </a:lnTo>
                  <a:lnTo>
                    <a:pt x="41125" y="1866"/>
                  </a:lnTo>
                  <a:lnTo>
                    <a:pt x="42367" y="920"/>
                  </a:lnTo>
                  <a:lnTo>
                    <a:pt x="43749" y="482"/>
                  </a:lnTo>
                  <a:lnTo>
                    <a:pt x="44373" y="1250"/>
                  </a:lnTo>
                  <a:lnTo>
                    <a:pt x="45636" y="2033"/>
                  </a:lnTo>
                  <a:lnTo>
                    <a:pt x="46636" y="2038"/>
                  </a:lnTo>
                  <a:lnTo>
                    <a:pt x="49327" y="0"/>
                  </a:lnTo>
                  <a:lnTo>
                    <a:pt x="49957" y="403"/>
                  </a:lnTo>
                  <a:lnTo>
                    <a:pt x="50540" y="1128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ee4p_BG_1_37764">
              <a:extLst>
                <a:ext uri="{FF2B5EF4-FFF2-40B4-BE49-F238E27FC236}">
                  <a16:creationId xmlns:a16="http://schemas.microsoft.com/office/drawing/2014/main" id="{3D9E755D-9667-4886-A7EE-66BC10CDDF50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13070947" y="10788370"/>
              <a:ext cx="1299102" cy="753584"/>
            </a:xfrm>
            <a:custGeom>
              <a:avLst/>
              <a:gdLst/>
              <a:ahLst/>
              <a:cxnLst/>
              <a:rect l="0" t="0" r="0" b="0"/>
              <a:pathLst>
                <a:path w="138010" h="80057">
                  <a:moveTo>
                    <a:pt x="138009" y="13408"/>
                  </a:moveTo>
                  <a:lnTo>
                    <a:pt x="137488" y="19904"/>
                  </a:lnTo>
                  <a:lnTo>
                    <a:pt x="135357" y="22918"/>
                  </a:lnTo>
                  <a:lnTo>
                    <a:pt x="132133" y="21908"/>
                  </a:lnTo>
                  <a:lnTo>
                    <a:pt x="128021" y="22749"/>
                  </a:lnTo>
                  <a:lnTo>
                    <a:pt x="125843" y="26172"/>
                  </a:lnTo>
                  <a:lnTo>
                    <a:pt x="124607" y="27186"/>
                  </a:lnTo>
                  <a:lnTo>
                    <a:pt x="123493" y="28378"/>
                  </a:lnTo>
                  <a:lnTo>
                    <a:pt x="122776" y="32816"/>
                  </a:lnTo>
                  <a:lnTo>
                    <a:pt x="122608" y="40070"/>
                  </a:lnTo>
                  <a:lnTo>
                    <a:pt x="121049" y="40954"/>
                  </a:lnTo>
                  <a:lnTo>
                    <a:pt x="119619" y="41224"/>
                  </a:lnTo>
                  <a:lnTo>
                    <a:pt x="113672" y="47590"/>
                  </a:lnTo>
                  <a:lnTo>
                    <a:pt x="117095" y="49378"/>
                  </a:lnTo>
                  <a:lnTo>
                    <a:pt x="118613" y="50738"/>
                  </a:lnTo>
                  <a:lnTo>
                    <a:pt x="121115" y="54516"/>
                  </a:lnTo>
                  <a:lnTo>
                    <a:pt x="124683" y="58784"/>
                  </a:lnTo>
                  <a:lnTo>
                    <a:pt x="125385" y="60865"/>
                  </a:lnTo>
                  <a:lnTo>
                    <a:pt x="122394" y="60399"/>
                  </a:lnTo>
                  <a:lnTo>
                    <a:pt x="121349" y="60540"/>
                  </a:lnTo>
                  <a:lnTo>
                    <a:pt x="120679" y="61197"/>
                  </a:lnTo>
                  <a:lnTo>
                    <a:pt x="119291" y="61064"/>
                  </a:lnTo>
                  <a:lnTo>
                    <a:pt x="117572" y="61070"/>
                  </a:lnTo>
                  <a:lnTo>
                    <a:pt x="115775" y="61824"/>
                  </a:lnTo>
                  <a:lnTo>
                    <a:pt x="114780" y="62145"/>
                  </a:lnTo>
                  <a:lnTo>
                    <a:pt x="113452" y="61453"/>
                  </a:lnTo>
                  <a:lnTo>
                    <a:pt x="110977" y="59378"/>
                  </a:lnTo>
                  <a:lnTo>
                    <a:pt x="109474" y="57931"/>
                  </a:lnTo>
                  <a:lnTo>
                    <a:pt x="108356" y="57566"/>
                  </a:lnTo>
                  <a:lnTo>
                    <a:pt x="107229" y="57996"/>
                  </a:lnTo>
                  <a:lnTo>
                    <a:pt x="103212" y="58486"/>
                  </a:lnTo>
                  <a:lnTo>
                    <a:pt x="102262" y="59330"/>
                  </a:lnTo>
                  <a:lnTo>
                    <a:pt x="100407" y="60260"/>
                  </a:lnTo>
                  <a:lnTo>
                    <a:pt x="98539" y="60703"/>
                  </a:lnTo>
                  <a:lnTo>
                    <a:pt x="95860" y="61017"/>
                  </a:lnTo>
                  <a:lnTo>
                    <a:pt x="94447" y="60975"/>
                  </a:lnTo>
                  <a:lnTo>
                    <a:pt x="93659" y="61425"/>
                  </a:lnTo>
                  <a:lnTo>
                    <a:pt x="92996" y="62784"/>
                  </a:lnTo>
                  <a:lnTo>
                    <a:pt x="92545" y="64111"/>
                  </a:lnTo>
                  <a:lnTo>
                    <a:pt x="92150" y="64649"/>
                  </a:lnTo>
                  <a:lnTo>
                    <a:pt x="88809" y="65306"/>
                  </a:lnTo>
                  <a:lnTo>
                    <a:pt x="88077" y="66068"/>
                  </a:lnTo>
                  <a:lnTo>
                    <a:pt x="87872" y="66813"/>
                  </a:lnTo>
                  <a:lnTo>
                    <a:pt x="87936" y="67558"/>
                  </a:lnTo>
                  <a:lnTo>
                    <a:pt x="85276" y="66837"/>
                  </a:lnTo>
                  <a:lnTo>
                    <a:pt x="83216" y="67316"/>
                  </a:lnTo>
                  <a:lnTo>
                    <a:pt x="82732" y="67887"/>
                  </a:lnTo>
                  <a:lnTo>
                    <a:pt x="82301" y="68705"/>
                  </a:lnTo>
                  <a:lnTo>
                    <a:pt x="82543" y="69580"/>
                  </a:lnTo>
                  <a:lnTo>
                    <a:pt x="83300" y="70426"/>
                  </a:lnTo>
                  <a:lnTo>
                    <a:pt x="84015" y="72718"/>
                  </a:lnTo>
                  <a:lnTo>
                    <a:pt x="84272" y="75007"/>
                  </a:lnTo>
                  <a:lnTo>
                    <a:pt x="83834" y="76304"/>
                  </a:lnTo>
                  <a:lnTo>
                    <a:pt x="82309" y="77230"/>
                  </a:lnTo>
                  <a:lnTo>
                    <a:pt x="79146" y="78253"/>
                  </a:lnTo>
                  <a:lnTo>
                    <a:pt x="76086" y="77764"/>
                  </a:lnTo>
                  <a:lnTo>
                    <a:pt x="74736" y="78170"/>
                  </a:lnTo>
                  <a:lnTo>
                    <a:pt x="72471" y="78300"/>
                  </a:lnTo>
                  <a:lnTo>
                    <a:pt x="70383" y="78572"/>
                  </a:lnTo>
                  <a:lnTo>
                    <a:pt x="67174" y="79507"/>
                  </a:lnTo>
                  <a:lnTo>
                    <a:pt x="64283" y="80056"/>
                  </a:lnTo>
                  <a:lnTo>
                    <a:pt x="61678" y="78151"/>
                  </a:lnTo>
                  <a:lnTo>
                    <a:pt x="58586" y="76852"/>
                  </a:lnTo>
                  <a:lnTo>
                    <a:pt x="55343" y="76080"/>
                  </a:lnTo>
                  <a:lnTo>
                    <a:pt x="54214" y="76643"/>
                  </a:lnTo>
                  <a:lnTo>
                    <a:pt x="53725" y="77087"/>
                  </a:lnTo>
                  <a:lnTo>
                    <a:pt x="51013" y="75401"/>
                  </a:lnTo>
                  <a:lnTo>
                    <a:pt x="49795" y="74800"/>
                  </a:lnTo>
                  <a:lnTo>
                    <a:pt x="49206" y="74148"/>
                  </a:lnTo>
                  <a:lnTo>
                    <a:pt x="48076" y="71898"/>
                  </a:lnTo>
                  <a:lnTo>
                    <a:pt x="47405" y="71827"/>
                  </a:lnTo>
                  <a:lnTo>
                    <a:pt x="45168" y="72665"/>
                  </a:lnTo>
                  <a:lnTo>
                    <a:pt x="43017" y="72625"/>
                  </a:lnTo>
                  <a:lnTo>
                    <a:pt x="41711" y="72472"/>
                  </a:lnTo>
                  <a:lnTo>
                    <a:pt x="37856" y="72566"/>
                  </a:lnTo>
                  <a:lnTo>
                    <a:pt x="37345" y="74103"/>
                  </a:lnTo>
                  <a:lnTo>
                    <a:pt x="36867" y="74342"/>
                  </a:lnTo>
                  <a:lnTo>
                    <a:pt x="36031" y="74547"/>
                  </a:lnTo>
                  <a:lnTo>
                    <a:pt x="33982" y="74450"/>
                  </a:lnTo>
                  <a:lnTo>
                    <a:pt x="31361" y="75585"/>
                  </a:lnTo>
                  <a:lnTo>
                    <a:pt x="28549" y="76277"/>
                  </a:lnTo>
                  <a:lnTo>
                    <a:pt x="26353" y="76296"/>
                  </a:lnTo>
                  <a:lnTo>
                    <a:pt x="24088" y="75961"/>
                  </a:lnTo>
                  <a:lnTo>
                    <a:pt x="22732" y="76201"/>
                  </a:lnTo>
                  <a:lnTo>
                    <a:pt x="19808" y="76325"/>
                  </a:lnTo>
                  <a:lnTo>
                    <a:pt x="17953" y="77985"/>
                  </a:lnTo>
                  <a:lnTo>
                    <a:pt x="15070" y="77891"/>
                  </a:lnTo>
                  <a:lnTo>
                    <a:pt x="12648" y="77610"/>
                  </a:lnTo>
                  <a:lnTo>
                    <a:pt x="12950" y="77087"/>
                  </a:lnTo>
                  <a:lnTo>
                    <a:pt x="13431" y="70494"/>
                  </a:lnTo>
                  <a:lnTo>
                    <a:pt x="14630" y="67548"/>
                  </a:lnTo>
                  <a:lnTo>
                    <a:pt x="14584" y="66942"/>
                  </a:lnTo>
                  <a:lnTo>
                    <a:pt x="14327" y="66482"/>
                  </a:lnTo>
                  <a:lnTo>
                    <a:pt x="13265" y="66008"/>
                  </a:lnTo>
                  <a:lnTo>
                    <a:pt x="12496" y="64415"/>
                  </a:lnTo>
                  <a:lnTo>
                    <a:pt x="10896" y="60213"/>
                  </a:lnTo>
                  <a:lnTo>
                    <a:pt x="9996" y="59361"/>
                  </a:lnTo>
                  <a:lnTo>
                    <a:pt x="7480" y="58473"/>
                  </a:lnTo>
                  <a:lnTo>
                    <a:pt x="5277" y="57259"/>
                  </a:lnTo>
                  <a:lnTo>
                    <a:pt x="3410" y="55657"/>
                  </a:lnTo>
                  <a:lnTo>
                    <a:pt x="0" y="51696"/>
                  </a:lnTo>
                  <a:lnTo>
                    <a:pt x="1725" y="51300"/>
                  </a:lnTo>
                  <a:lnTo>
                    <a:pt x="2248" y="50493"/>
                  </a:lnTo>
                  <a:lnTo>
                    <a:pt x="3969" y="48313"/>
                  </a:lnTo>
                  <a:lnTo>
                    <a:pt x="4166" y="47240"/>
                  </a:lnTo>
                  <a:lnTo>
                    <a:pt x="3984" y="46634"/>
                  </a:lnTo>
                  <a:lnTo>
                    <a:pt x="2831" y="45583"/>
                  </a:lnTo>
                  <a:lnTo>
                    <a:pt x="2039" y="43293"/>
                  </a:lnTo>
                  <a:lnTo>
                    <a:pt x="2637" y="41146"/>
                  </a:lnTo>
                  <a:lnTo>
                    <a:pt x="2688" y="40042"/>
                  </a:lnTo>
                  <a:lnTo>
                    <a:pt x="2105" y="38949"/>
                  </a:lnTo>
                  <a:lnTo>
                    <a:pt x="2714" y="37589"/>
                  </a:lnTo>
                  <a:lnTo>
                    <a:pt x="3952" y="36844"/>
                  </a:lnTo>
                  <a:lnTo>
                    <a:pt x="4733" y="36626"/>
                  </a:lnTo>
                  <a:lnTo>
                    <a:pt x="8007" y="36480"/>
                  </a:lnTo>
                  <a:lnTo>
                    <a:pt x="10080" y="33753"/>
                  </a:lnTo>
                  <a:lnTo>
                    <a:pt x="11339" y="32881"/>
                  </a:lnTo>
                  <a:lnTo>
                    <a:pt x="12630" y="31334"/>
                  </a:lnTo>
                  <a:lnTo>
                    <a:pt x="13229" y="30768"/>
                  </a:lnTo>
                  <a:lnTo>
                    <a:pt x="13796" y="29562"/>
                  </a:lnTo>
                  <a:lnTo>
                    <a:pt x="13993" y="28328"/>
                  </a:lnTo>
                  <a:lnTo>
                    <a:pt x="11399" y="26600"/>
                  </a:lnTo>
                  <a:lnTo>
                    <a:pt x="10518" y="25300"/>
                  </a:lnTo>
                  <a:lnTo>
                    <a:pt x="9365" y="23864"/>
                  </a:lnTo>
                  <a:lnTo>
                    <a:pt x="7804" y="22871"/>
                  </a:lnTo>
                  <a:lnTo>
                    <a:pt x="4655" y="21165"/>
                  </a:lnTo>
                  <a:lnTo>
                    <a:pt x="3429" y="19432"/>
                  </a:lnTo>
                  <a:lnTo>
                    <a:pt x="2876" y="17185"/>
                  </a:lnTo>
                  <a:lnTo>
                    <a:pt x="2040" y="15480"/>
                  </a:lnTo>
                  <a:lnTo>
                    <a:pt x="1123" y="14369"/>
                  </a:lnTo>
                  <a:lnTo>
                    <a:pt x="948" y="13465"/>
                  </a:lnTo>
                  <a:lnTo>
                    <a:pt x="566" y="12354"/>
                  </a:lnTo>
                  <a:lnTo>
                    <a:pt x="473" y="10171"/>
                  </a:lnTo>
                  <a:lnTo>
                    <a:pt x="1216" y="7267"/>
                  </a:lnTo>
                  <a:lnTo>
                    <a:pt x="1697" y="6241"/>
                  </a:lnTo>
                  <a:lnTo>
                    <a:pt x="2764" y="5955"/>
                  </a:lnTo>
                  <a:lnTo>
                    <a:pt x="5603" y="4404"/>
                  </a:lnTo>
                  <a:lnTo>
                    <a:pt x="5735" y="2418"/>
                  </a:lnTo>
                  <a:lnTo>
                    <a:pt x="6247" y="1185"/>
                  </a:lnTo>
                  <a:lnTo>
                    <a:pt x="7152" y="477"/>
                  </a:lnTo>
                  <a:lnTo>
                    <a:pt x="7983" y="0"/>
                  </a:lnTo>
                  <a:lnTo>
                    <a:pt x="9534" y="1155"/>
                  </a:lnTo>
                  <a:lnTo>
                    <a:pt x="13298" y="2996"/>
                  </a:lnTo>
                  <a:lnTo>
                    <a:pt x="15135" y="4331"/>
                  </a:lnTo>
                  <a:lnTo>
                    <a:pt x="15044" y="5164"/>
                  </a:lnTo>
                  <a:lnTo>
                    <a:pt x="14181" y="5983"/>
                  </a:lnTo>
                  <a:lnTo>
                    <a:pt x="12544" y="6788"/>
                  </a:lnTo>
                  <a:lnTo>
                    <a:pt x="11591" y="7852"/>
                  </a:lnTo>
                  <a:lnTo>
                    <a:pt x="11330" y="9173"/>
                  </a:lnTo>
                  <a:lnTo>
                    <a:pt x="11579" y="10105"/>
                  </a:lnTo>
                  <a:lnTo>
                    <a:pt x="12714" y="10918"/>
                  </a:lnTo>
                  <a:lnTo>
                    <a:pt x="19471" y="9853"/>
                  </a:lnTo>
                  <a:lnTo>
                    <a:pt x="26325" y="10402"/>
                  </a:lnTo>
                  <a:lnTo>
                    <a:pt x="35528" y="12209"/>
                  </a:lnTo>
                  <a:lnTo>
                    <a:pt x="41631" y="12835"/>
                  </a:lnTo>
                  <a:lnTo>
                    <a:pt x="46137" y="12000"/>
                  </a:lnTo>
                  <a:lnTo>
                    <a:pt x="54488" y="13512"/>
                  </a:lnTo>
                  <a:lnTo>
                    <a:pt x="62259" y="14917"/>
                  </a:lnTo>
                  <a:lnTo>
                    <a:pt x="69720" y="15336"/>
                  </a:lnTo>
                  <a:lnTo>
                    <a:pt x="73900" y="14231"/>
                  </a:lnTo>
                  <a:lnTo>
                    <a:pt x="76835" y="12744"/>
                  </a:lnTo>
                  <a:lnTo>
                    <a:pt x="79368" y="9943"/>
                  </a:lnTo>
                  <a:lnTo>
                    <a:pt x="85613" y="6245"/>
                  </a:lnTo>
                  <a:lnTo>
                    <a:pt x="91659" y="4169"/>
                  </a:lnTo>
                  <a:lnTo>
                    <a:pt x="99586" y="2484"/>
                  </a:lnTo>
                  <a:lnTo>
                    <a:pt x="104875" y="1909"/>
                  </a:lnTo>
                  <a:lnTo>
                    <a:pt x="105622" y="2485"/>
                  </a:lnTo>
                  <a:lnTo>
                    <a:pt x="112359" y="5887"/>
                  </a:lnTo>
                  <a:lnTo>
                    <a:pt x="115359" y="5899"/>
                  </a:lnTo>
                  <a:lnTo>
                    <a:pt x="117788" y="6502"/>
                  </a:lnTo>
                  <a:lnTo>
                    <a:pt x="118669" y="7400"/>
                  </a:lnTo>
                  <a:lnTo>
                    <a:pt x="119284" y="7625"/>
                  </a:lnTo>
                  <a:lnTo>
                    <a:pt x="122506" y="6784"/>
                  </a:lnTo>
                  <a:lnTo>
                    <a:pt x="123936" y="8644"/>
                  </a:lnTo>
                  <a:lnTo>
                    <a:pt x="126170" y="11243"/>
                  </a:lnTo>
                  <a:lnTo>
                    <a:pt x="129973" y="12582"/>
                  </a:lnTo>
                  <a:lnTo>
                    <a:pt x="133362" y="13340"/>
                  </a:lnTo>
                  <a:lnTo>
                    <a:pt x="134428" y="13456"/>
                  </a:lnTo>
                  <a:close/>
                </a:path>
              </a:pathLst>
            </a:custGeom>
            <a:solidFill>
              <a:srgbClr val="92D050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ee4p_BA_1_37764">
              <a:extLst>
                <a:ext uri="{FF2B5EF4-FFF2-40B4-BE49-F238E27FC236}">
                  <a16:creationId xmlns:a16="http://schemas.microsoft.com/office/drawing/2014/main" id="{03C81DB0-DFE4-4563-9984-6C2664D85266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11695653" y="10521763"/>
              <a:ext cx="800773" cy="691572"/>
            </a:xfrm>
            <a:custGeom>
              <a:avLst/>
              <a:gdLst/>
              <a:ahLst/>
              <a:cxnLst/>
              <a:rect l="0" t="0" r="0" b="0"/>
              <a:pathLst>
                <a:path w="85070" h="73469">
                  <a:moveTo>
                    <a:pt x="26137" y="0"/>
                  </a:moveTo>
                  <a:lnTo>
                    <a:pt x="30709" y="2871"/>
                  </a:lnTo>
                  <a:lnTo>
                    <a:pt x="32594" y="3301"/>
                  </a:lnTo>
                  <a:lnTo>
                    <a:pt x="33656" y="2904"/>
                  </a:lnTo>
                  <a:lnTo>
                    <a:pt x="35103" y="3085"/>
                  </a:lnTo>
                  <a:lnTo>
                    <a:pt x="38310" y="3924"/>
                  </a:lnTo>
                  <a:lnTo>
                    <a:pt x="39050" y="4278"/>
                  </a:lnTo>
                  <a:lnTo>
                    <a:pt x="40015" y="4218"/>
                  </a:lnTo>
                  <a:lnTo>
                    <a:pt x="42387" y="3098"/>
                  </a:lnTo>
                  <a:lnTo>
                    <a:pt x="43196" y="3237"/>
                  </a:lnTo>
                  <a:lnTo>
                    <a:pt x="45908" y="5434"/>
                  </a:lnTo>
                  <a:lnTo>
                    <a:pt x="47271" y="5458"/>
                  </a:lnTo>
                  <a:lnTo>
                    <a:pt x="48912" y="4510"/>
                  </a:lnTo>
                  <a:lnTo>
                    <a:pt x="49966" y="3692"/>
                  </a:lnTo>
                  <a:lnTo>
                    <a:pt x="53082" y="4305"/>
                  </a:lnTo>
                  <a:lnTo>
                    <a:pt x="54868" y="3935"/>
                  </a:lnTo>
                  <a:lnTo>
                    <a:pt x="56349" y="3897"/>
                  </a:lnTo>
                  <a:lnTo>
                    <a:pt x="57956" y="4273"/>
                  </a:lnTo>
                  <a:lnTo>
                    <a:pt x="59422" y="4781"/>
                  </a:lnTo>
                  <a:lnTo>
                    <a:pt x="60845" y="5223"/>
                  </a:lnTo>
                  <a:lnTo>
                    <a:pt x="64700" y="5453"/>
                  </a:lnTo>
                  <a:lnTo>
                    <a:pt x="66546" y="6845"/>
                  </a:lnTo>
                  <a:lnTo>
                    <a:pt x="67282" y="8192"/>
                  </a:lnTo>
                  <a:lnTo>
                    <a:pt x="67299" y="9012"/>
                  </a:lnTo>
                  <a:lnTo>
                    <a:pt x="67481" y="9895"/>
                  </a:lnTo>
                  <a:lnTo>
                    <a:pt x="68543" y="10759"/>
                  </a:lnTo>
                  <a:lnTo>
                    <a:pt x="70862" y="11252"/>
                  </a:lnTo>
                  <a:lnTo>
                    <a:pt x="72318" y="11143"/>
                  </a:lnTo>
                  <a:lnTo>
                    <a:pt x="73091" y="11084"/>
                  </a:lnTo>
                  <a:lnTo>
                    <a:pt x="75069" y="10312"/>
                  </a:lnTo>
                  <a:lnTo>
                    <a:pt x="77396" y="9912"/>
                  </a:lnTo>
                  <a:lnTo>
                    <a:pt x="79074" y="10371"/>
                  </a:lnTo>
                  <a:lnTo>
                    <a:pt x="79869" y="10823"/>
                  </a:lnTo>
                  <a:lnTo>
                    <a:pt x="80051" y="11433"/>
                  </a:lnTo>
                  <a:lnTo>
                    <a:pt x="79556" y="13558"/>
                  </a:lnTo>
                  <a:lnTo>
                    <a:pt x="78615" y="15845"/>
                  </a:lnTo>
                  <a:lnTo>
                    <a:pt x="77094" y="18220"/>
                  </a:lnTo>
                  <a:lnTo>
                    <a:pt x="75507" y="20458"/>
                  </a:lnTo>
                  <a:lnTo>
                    <a:pt x="75088" y="21642"/>
                  </a:lnTo>
                  <a:lnTo>
                    <a:pt x="74976" y="23524"/>
                  </a:lnTo>
                  <a:lnTo>
                    <a:pt x="74780" y="25007"/>
                  </a:lnTo>
                  <a:lnTo>
                    <a:pt x="74997" y="25813"/>
                  </a:lnTo>
                  <a:lnTo>
                    <a:pt x="75518" y="26566"/>
                  </a:lnTo>
                  <a:lnTo>
                    <a:pt x="77280" y="27163"/>
                  </a:lnTo>
                  <a:lnTo>
                    <a:pt x="79653" y="28647"/>
                  </a:lnTo>
                  <a:lnTo>
                    <a:pt x="81672" y="30581"/>
                  </a:lnTo>
                  <a:lnTo>
                    <a:pt x="84259" y="32776"/>
                  </a:lnTo>
                  <a:lnTo>
                    <a:pt x="85069" y="33589"/>
                  </a:lnTo>
                  <a:lnTo>
                    <a:pt x="85067" y="34465"/>
                  </a:lnTo>
                  <a:lnTo>
                    <a:pt x="84311" y="35114"/>
                  </a:lnTo>
                  <a:lnTo>
                    <a:pt x="82098" y="35360"/>
                  </a:lnTo>
                  <a:lnTo>
                    <a:pt x="79794" y="35168"/>
                  </a:lnTo>
                  <a:lnTo>
                    <a:pt x="78910" y="34945"/>
                  </a:lnTo>
                  <a:lnTo>
                    <a:pt x="78088" y="35213"/>
                  </a:lnTo>
                  <a:lnTo>
                    <a:pt x="77578" y="35711"/>
                  </a:lnTo>
                  <a:lnTo>
                    <a:pt x="77848" y="36299"/>
                  </a:lnTo>
                  <a:lnTo>
                    <a:pt x="80210" y="38962"/>
                  </a:lnTo>
                  <a:lnTo>
                    <a:pt x="82955" y="42775"/>
                  </a:lnTo>
                  <a:lnTo>
                    <a:pt x="83108" y="44412"/>
                  </a:lnTo>
                  <a:lnTo>
                    <a:pt x="82774" y="45698"/>
                  </a:lnTo>
                  <a:lnTo>
                    <a:pt x="82138" y="46590"/>
                  </a:lnTo>
                  <a:lnTo>
                    <a:pt x="80996" y="46442"/>
                  </a:lnTo>
                  <a:lnTo>
                    <a:pt x="80128" y="45744"/>
                  </a:lnTo>
                  <a:lnTo>
                    <a:pt x="78811" y="45789"/>
                  </a:lnTo>
                  <a:lnTo>
                    <a:pt x="77788" y="45989"/>
                  </a:lnTo>
                  <a:lnTo>
                    <a:pt x="76457" y="47365"/>
                  </a:lnTo>
                  <a:lnTo>
                    <a:pt x="75794" y="47307"/>
                  </a:lnTo>
                  <a:lnTo>
                    <a:pt x="74654" y="47515"/>
                  </a:lnTo>
                  <a:lnTo>
                    <a:pt x="73931" y="47785"/>
                  </a:lnTo>
                  <a:lnTo>
                    <a:pt x="72786" y="47386"/>
                  </a:lnTo>
                  <a:lnTo>
                    <a:pt x="71590" y="47122"/>
                  </a:lnTo>
                  <a:lnTo>
                    <a:pt x="71070" y="47544"/>
                  </a:lnTo>
                  <a:lnTo>
                    <a:pt x="70839" y="48350"/>
                  </a:lnTo>
                  <a:lnTo>
                    <a:pt x="71581" y="49813"/>
                  </a:lnTo>
                  <a:lnTo>
                    <a:pt x="72972" y="52102"/>
                  </a:lnTo>
                  <a:lnTo>
                    <a:pt x="72749" y="53846"/>
                  </a:lnTo>
                  <a:lnTo>
                    <a:pt x="71689" y="54035"/>
                  </a:lnTo>
                  <a:lnTo>
                    <a:pt x="70715" y="52582"/>
                  </a:lnTo>
                  <a:lnTo>
                    <a:pt x="69852" y="52347"/>
                  </a:lnTo>
                  <a:lnTo>
                    <a:pt x="68867" y="52397"/>
                  </a:lnTo>
                  <a:lnTo>
                    <a:pt x="66615" y="54085"/>
                  </a:lnTo>
                  <a:lnTo>
                    <a:pt x="64957" y="55502"/>
                  </a:lnTo>
                  <a:lnTo>
                    <a:pt x="64572" y="56491"/>
                  </a:lnTo>
                  <a:lnTo>
                    <a:pt x="63978" y="57573"/>
                  </a:lnTo>
                  <a:lnTo>
                    <a:pt x="63799" y="58353"/>
                  </a:lnTo>
                  <a:lnTo>
                    <a:pt x="63838" y="60952"/>
                  </a:lnTo>
                  <a:lnTo>
                    <a:pt x="60849" y="61368"/>
                  </a:lnTo>
                  <a:lnTo>
                    <a:pt x="60223" y="61750"/>
                  </a:lnTo>
                  <a:lnTo>
                    <a:pt x="59862" y="62539"/>
                  </a:lnTo>
                  <a:lnTo>
                    <a:pt x="60111" y="65869"/>
                  </a:lnTo>
                  <a:lnTo>
                    <a:pt x="60353" y="67657"/>
                  </a:lnTo>
                  <a:lnTo>
                    <a:pt x="62061" y="70412"/>
                  </a:lnTo>
                  <a:lnTo>
                    <a:pt x="62119" y="71282"/>
                  </a:lnTo>
                  <a:lnTo>
                    <a:pt x="61877" y="71856"/>
                  </a:lnTo>
                  <a:lnTo>
                    <a:pt x="60663" y="72948"/>
                  </a:lnTo>
                  <a:lnTo>
                    <a:pt x="60085" y="73340"/>
                  </a:lnTo>
                  <a:lnTo>
                    <a:pt x="59696" y="73468"/>
                  </a:lnTo>
                  <a:lnTo>
                    <a:pt x="57712" y="72749"/>
                  </a:lnTo>
                  <a:lnTo>
                    <a:pt x="56770" y="72409"/>
                  </a:lnTo>
                  <a:lnTo>
                    <a:pt x="52788" y="69974"/>
                  </a:lnTo>
                  <a:lnTo>
                    <a:pt x="51033" y="68619"/>
                  </a:lnTo>
                  <a:lnTo>
                    <a:pt x="48254" y="66850"/>
                  </a:lnTo>
                  <a:lnTo>
                    <a:pt x="46539" y="65843"/>
                  </a:lnTo>
                  <a:lnTo>
                    <a:pt x="45669" y="64312"/>
                  </a:lnTo>
                  <a:lnTo>
                    <a:pt x="44304" y="63958"/>
                  </a:lnTo>
                  <a:lnTo>
                    <a:pt x="42697" y="64450"/>
                  </a:lnTo>
                  <a:lnTo>
                    <a:pt x="40875" y="63345"/>
                  </a:lnTo>
                  <a:lnTo>
                    <a:pt x="42164" y="62772"/>
                  </a:lnTo>
                  <a:lnTo>
                    <a:pt x="42482" y="62227"/>
                  </a:lnTo>
                  <a:lnTo>
                    <a:pt x="42320" y="61517"/>
                  </a:lnTo>
                  <a:lnTo>
                    <a:pt x="41752" y="60547"/>
                  </a:lnTo>
                  <a:lnTo>
                    <a:pt x="36830" y="56358"/>
                  </a:lnTo>
                  <a:lnTo>
                    <a:pt x="34416" y="53492"/>
                  </a:lnTo>
                  <a:lnTo>
                    <a:pt x="34023" y="52464"/>
                  </a:lnTo>
                  <a:lnTo>
                    <a:pt x="33991" y="49723"/>
                  </a:lnTo>
                  <a:lnTo>
                    <a:pt x="33421" y="49064"/>
                  </a:lnTo>
                  <a:lnTo>
                    <a:pt x="29806" y="47816"/>
                  </a:lnTo>
                  <a:lnTo>
                    <a:pt x="25766" y="44246"/>
                  </a:lnTo>
                  <a:lnTo>
                    <a:pt x="21600" y="40744"/>
                  </a:lnTo>
                  <a:lnTo>
                    <a:pt x="21030" y="39766"/>
                  </a:lnTo>
                  <a:lnTo>
                    <a:pt x="18881" y="37114"/>
                  </a:lnTo>
                  <a:lnTo>
                    <a:pt x="16262" y="34695"/>
                  </a:lnTo>
                  <a:lnTo>
                    <a:pt x="14172" y="33151"/>
                  </a:lnTo>
                  <a:lnTo>
                    <a:pt x="12460" y="31394"/>
                  </a:lnTo>
                  <a:lnTo>
                    <a:pt x="10561" y="28937"/>
                  </a:lnTo>
                  <a:lnTo>
                    <a:pt x="9579" y="25223"/>
                  </a:lnTo>
                  <a:lnTo>
                    <a:pt x="8705" y="21916"/>
                  </a:lnTo>
                  <a:lnTo>
                    <a:pt x="8111" y="20630"/>
                  </a:lnTo>
                  <a:lnTo>
                    <a:pt x="6908" y="20179"/>
                  </a:lnTo>
                  <a:lnTo>
                    <a:pt x="3172" y="16249"/>
                  </a:lnTo>
                  <a:lnTo>
                    <a:pt x="0" y="13963"/>
                  </a:lnTo>
                  <a:lnTo>
                    <a:pt x="30" y="11492"/>
                  </a:lnTo>
                  <a:lnTo>
                    <a:pt x="550" y="7365"/>
                  </a:lnTo>
                  <a:lnTo>
                    <a:pt x="1138" y="2674"/>
                  </a:lnTo>
                  <a:lnTo>
                    <a:pt x="1907" y="2022"/>
                  </a:lnTo>
                  <a:lnTo>
                    <a:pt x="3353" y="1667"/>
                  </a:lnTo>
                  <a:lnTo>
                    <a:pt x="5010" y="1803"/>
                  </a:lnTo>
                  <a:lnTo>
                    <a:pt x="6450" y="2383"/>
                  </a:lnTo>
                  <a:lnTo>
                    <a:pt x="9303" y="5595"/>
                  </a:lnTo>
                  <a:lnTo>
                    <a:pt x="10933" y="6843"/>
                  </a:lnTo>
                  <a:lnTo>
                    <a:pt x="12311" y="7329"/>
                  </a:lnTo>
                  <a:lnTo>
                    <a:pt x="13896" y="5975"/>
                  </a:lnTo>
                  <a:lnTo>
                    <a:pt x="15852" y="3138"/>
                  </a:lnTo>
                  <a:lnTo>
                    <a:pt x="17558" y="1640"/>
                  </a:lnTo>
                  <a:lnTo>
                    <a:pt x="23311" y="2183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ee4p_BY_1_37764">
              <a:extLst>
                <a:ext uri="{FF2B5EF4-FFF2-40B4-BE49-F238E27FC236}">
                  <a16:creationId xmlns:a16="http://schemas.microsoft.com/office/drawing/2014/main" id="{5A71DD56-BF17-4C61-8F16-E6D78BCE1C2C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13243923" y="7536415"/>
              <a:ext cx="1984697" cy="1389008"/>
            </a:xfrm>
            <a:custGeom>
              <a:avLst/>
              <a:gdLst/>
              <a:ahLst/>
              <a:cxnLst/>
              <a:rect l="0" t="0" r="0" b="0"/>
              <a:pathLst>
                <a:path w="210844" h="147561">
                  <a:moveTo>
                    <a:pt x="109961" y="90"/>
                  </a:moveTo>
                  <a:lnTo>
                    <a:pt x="112975" y="2805"/>
                  </a:lnTo>
                  <a:lnTo>
                    <a:pt x="113683" y="2911"/>
                  </a:lnTo>
                  <a:lnTo>
                    <a:pt x="115359" y="1844"/>
                  </a:lnTo>
                  <a:lnTo>
                    <a:pt x="115689" y="1773"/>
                  </a:lnTo>
                  <a:lnTo>
                    <a:pt x="119160" y="1680"/>
                  </a:lnTo>
                  <a:lnTo>
                    <a:pt x="120773" y="2623"/>
                  </a:lnTo>
                  <a:lnTo>
                    <a:pt x="121965" y="4466"/>
                  </a:lnTo>
                  <a:lnTo>
                    <a:pt x="123070" y="5939"/>
                  </a:lnTo>
                  <a:lnTo>
                    <a:pt x="124262" y="6337"/>
                  </a:lnTo>
                  <a:lnTo>
                    <a:pt x="127639" y="4483"/>
                  </a:lnTo>
                  <a:lnTo>
                    <a:pt x="129503" y="3870"/>
                  </a:lnTo>
                  <a:lnTo>
                    <a:pt x="130734" y="3890"/>
                  </a:lnTo>
                  <a:lnTo>
                    <a:pt x="135059" y="5549"/>
                  </a:lnTo>
                  <a:lnTo>
                    <a:pt x="137093" y="6457"/>
                  </a:lnTo>
                  <a:lnTo>
                    <a:pt x="137560" y="7283"/>
                  </a:lnTo>
                  <a:lnTo>
                    <a:pt x="137601" y="8252"/>
                  </a:lnTo>
                  <a:lnTo>
                    <a:pt x="137052" y="9693"/>
                  </a:lnTo>
                  <a:lnTo>
                    <a:pt x="136616" y="11258"/>
                  </a:lnTo>
                  <a:lnTo>
                    <a:pt x="137933" y="13107"/>
                  </a:lnTo>
                  <a:lnTo>
                    <a:pt x="139464" y="14357"/>
                  </a:lnTo>
                  <a:lnTo>
                    <a:pt x="142733" y="12289"/>
                  </a:lnTo>
                  <a:lnTo>
                    <a:pt x="143938" y="11713"/>
                  </a:lnTo>
                  <a:lnTo>
                    <a:pt x="145256" y="11692"/>
                  </a:lnTo>
                  <a:lnTo>
                    <a:pt x="147020" y="10924"/>
                  </a:lnTo>
                  <a:lnTo>
                    <a:pt x="148296" y="9768"/>
                  </a:lnTo>
                  <a:lnTo>
                    <a:pt x="149521" y="9365"/>
                  </a:lnTo>
                  <a:lnTo>
                    <a:pt x="151857" y="9640"/>
                  </a:lnTo>
                  <a:lnTo>
                    <a:pt x="156078" y="9367"/>
                  </a:lnTo>
                  <a:lnTo>
                    <a:pt x="161002" y="11182"/>
                  </a:lnTo>
                  <a:lnTo>
                    <a:pt x="161425" y="11742"/>
                  </a:lnTo>
                  <a:lnTo>
                    <a:pt x="163887" y="13869"/>
                  </a:lnTo>
                  <a:lnTo>
                    <a:pt x="164746" y="14925"/>
                  </a:lnTo>
                  <a:lnTo>
                    <a:pt x="165558" y="15260"/>
                  </a:lnTo>
                  <a:lnTo>
                    <a:pt x="166871" y="16294"/>
                  </a:lnTo>
                  <a:lnTo>
                    <a:pt x="168620" y="16944"/>
                  </a:lnTo>
                  <a:lnTo>
                    <a:pt x="169840" y="16746"/>
                  </a:lnTo>
                  <a:lnTo>
                    <a:pt x="170421" y="17091"/>
                  </a:lnTo>
                  <a:lnTo>
                    <a:pt x="170965" y="17908"/>
                  </a:lnTo>
                  <a:lnTo>
                    <a:pt x="171008" y="19292"/>
                  </a:lnTo>
                  <a:lnTo>
                    <a:pt x="170827" y="23249"/>
                  </a:lnTo>
                  <a:lnTo>
                    <a:pt x="169970" y="24393"/>
                  </a:lnTo>
                  <a:lnTo>
                    <a:pt x="169067" y="25323"/>
                  </a:lnTo>
                  <a:lnTo>
                    <a:pt x="168836" y="26042"/>
                  </a:lnTo>
                  <a:lnTo>
                    <a:pt x="168923" y="26915"/>
                  </a:lnTo>
                  <a:lnTo>
                    <a:pt x="170315" y="28619"/>
                  </a:lnTo>
                  <a:lnTo>
                    <a:pt x="172116" y="31265"/>
                  </a:lnTo>
                  <a:lnTo>
                    <a:pt x="172533" y="32798"/>
                  </a:lnTo>
                  <a:lnTo>
                    <a:pt x="172533" y="33946"/>
                  </a:lnTo>
                  <a:lnTo>
                    <a:pt x="170080" y="37319"/>
                  </a:lnTo>
                  <a:lnTo>
                    <a:pt x="169264" y="38110"/>
                  </a:lnTo>
                  <a:lnTo>
                    <a:pt x="168702" y="39769"/>
                  </a:lnTo>
                  <a:lnTo>
                    <a:pt x="168404" y="41453"/>
                  </a:lnTo>
                  <a:lnTo>
                    <a:pt x="168577" y="42151"/>
                  </a:lnTo>
                  <a:lnTo>
                    <a:pt x="172675" y="44827"/>
                  </a:lnTo>
                  <a:lnTo>
                    <a:pt x="175707" y="46278"/>
                  </a:lnTo>
                  <a:lnTo>
                    <a:pt x="176390" y="46986"/>
                  </a:lnTo>
                  <a:lnTo>
                    <a:pt x="176450" y="47426"/>
                  </a:lnTo>
                  <a:lnTo>
                    <a:pt x="174837" y="50294"/>
                  </a:lnTo>
                  <a:lnTo>
                    <a:pt x="174680" y="51067"/>
                  </a:lnTo>
                  <a:lnTo>
                    <a:pt x="177111" y="52252"/>
                  </a:lnTo>
                  <a:lnTo>
                    <a:pt x="178454" y="54122"/>
                  </a:lnTo>
                  <a:lnTo>
                    <a:pt x="179640" y="57168"/>
                  </a:lnTo>
                  <a:lnTo>
                    <a:pt x="181950" y="60082"/>
                  </a:lnTo>
                  <a:lnTo>
                    <a:pt x="186921" y="62658"/>
                  </a:lnTo>
                  <a:lnTo>
                    <a:pt x="190538" y="64337"/>
                  </a:lnTo>
                  <a:lnTo>
                    <a:pt x="191289" y="65101"/>
                  </a:lnTo>
                  <a:lnTo>
                    <a:pt x="191551" y="66009"/>
                  </a:lnTo>
                  <a:lnTo>
                    <a:pt x="191274" y="68004"/>
                  </a:lnTo>
                  <a:lnTo>
                    <a:pt x="190339" y="70428"/>
                  </a:lnTo>
                  <a:lnTo>
                    <a:pt x="189702" y="71776"/>
                  </a:lnTo>
                  <a:lnTo>
                    <a:pt x="191175" y="72336"/>
                  </a:lnTo>
                  <a:lnTo>
                    <a:pt x="194965" y="72186"/>
                  </a:lnTo>
                  <a:lnTo>
                    <a:pt x="199569" y="72659"/>
                  </a:lnTo>
                  <a:lnTo>
                    <a:pt x="205092" y="75329"/>
                  </a:lnTo>
                  <a:lnTo>
                    <a:pt x="205109" y="76525"/>
                  </a:lnTo>
                  <a:lnTo>
                    <a:pt x="204539" y="77613"/>
                  </a:lnTo>
                  <a:lnTo>
                    <a:pt x="204920" y="78761"/>
                  </a:lnTo>
                  <a:lnTo>
                    <a:pt x="205522" y="79734"/>
                  </a:lnTo>
                  <a:lnTo>
                    <a:pt x="210301" y="82713"/>
                  </a:lnTo>
                  <a:lnTo>
                    <a:pt x="210758" y="83577"/>
                  </a:lnTo>
                  <a:lnTo>
                    <a:pt x="210843" y="85022"/>
                  </a:lnTo>
                  <a:lnTo>
                    <a:pt x="210711" y="86078"/>
                  </a:lnTo>
                  <a:lnTo>
                    <a:pt x="209387" y="86301"/>
                  </a:lnTo>
                  <a:lnTo>
                    <a:pt x="207919" y="86797"/>
                  </a:lnTo>
                  <a:lnTo>
                    <a:pt x="205516" y="88062"/>
                  </a:lnTo>
                  <a:lnTo>
                    <a:pt x="204563" y="89856"/>
                  </a:lnTo>
                  <a:lnTo>
                    <a:pt x="200681" y="92323"/>
                  </a:lnTo>
                  <a:lnTo>
                    <a:pt x="198277" y="93439"/>
                  </a:lnTo>
                  <a:lnTo>
                    <a:pt x="196364" y="93490"/>
                  </a:lnTo>
                  <a:lnTo>
                    <a:pt x="191814" y="92988"/>
                  </a:lnTo>
                  <a:lnTo>
                    <a:pt x="190216" y="91768"/>
                  </a:lnTo>
                  <a:lnTo>
                    <a:pt x="189553" y="90649"/>
                  </a:lnTo>
                  <a:lnTo>
                    <a:pt x="187802" y="90146"/>
                  </a:lnTo>
                  <a:lnTo>
                    <a:pt x="185474" y="90099"/>
                  </a:lnTo>
                  <a:lnTo>
                    <a:pt x="182266" y="90293"/>
                  </a:lnTo>
                  <a:lnTo>
                    <a:pt x="181613" y="90630"/>
                  </a:lnTo>
                  <a:lnTo>
                    <a:pt x="181087" y="92005"/>
                  </a:lnTo>
                  <a:lnTo>
                    <a:pt x="179724" y="94346"/>
                  </a:lnTo>
                  <a:lnTo>
                    <a:pt x="178748" y="95670"/>
                  </a:lnTo>
                  <a:lnTo>
                    <a:pt x="179551" y="96476"/>
                  </a:lnTo>
                  <a:lnTo>
                    <a:pt x="180832" y="98162"/>
                  </a:lnTo>
                  <a:lnTo>
                    <a:pt x="182816" y="100304"/>
                  </a:lnTo>
                  <a:lnTo>
                    <a:pt x="184859" y="102204"/>
                  </a:lnTo>
                  <a:lnTo>
                    <a:pt x="185515" y="103369"/>
                  </a:lnTo>
                  <a:lnTo>
                    <a:pt x="185485" y="104198"/>
                  </a:lnTo>
                  <a:lnTo>
                    <a:pt x="184511" y="105174"/>
                  </a:lnTo>
                  <a:lnTo>
                    <a:pt x="184660" y="107134"/>
                  </a:lnTo>
                  <a:lnTo>
                    <a:pt x="186645" y="109720"/>
                  </a:lnTo>
                  <a:lnTo>
                    <a:pt x="185973" y="110128"/>
                  </a:lnTo>
                  <a:lnTo>
                    <a:pt x="185775" y="113295"/>
                  </a:lnTo>
                  <a:lnTo>
                    <a:pt x="185792" y="116673"/>
                  </a:lnTo>
                  <a:lnTo>
                    <a:pt x="186327" y="117489"/>
                  </a:lnTo>
                  <a:lnTo>
                    <a:pt x="187396" y="118160"/>
                  </a:lnTo>
                  <a:lnTo>
                    <a:pt x="188297" y="119392"/>
                  </a:lnTo>
                  <a:lnTo>
                    <a:pt x="189800" y="122202"/>
                  </a:lnTo>
                  <a:lnTo>
                    <a:pt x="189905" y="122935"/>
                  </a:lnTo>
                  <a:lnTo>
                    <a:pt x="185712" y="122727"/>
                  </a:lnTo>
                  <a:lnTo>
                    <a:pt x="180676" y="122808"/>
                  </a:lnTo>
                  <a:lnTo>
                    <a:pt x="177845" y="124440"/>
                  </a:lnTo>
                  <a:lnTo>
                    <a:pt x="176750" y="124064"/>
                  </a:lnTo>
                  <a:lnTo>
                    <a:pt x="174779" y="123649"/>
                  </a:lnTo>
                  <a:lnTo>
                    <a:pt x="172598" y="124559"/>
                  </a:lnTo>
                  <a:lnTo>
                    <a:pt x="169614" y="127313"/>
                  </a:lnTo>
                  <a:lnTo>
                    <a:pt x="167614" y="129024"/>
                  </a:lnTo>
                  <a:lnTo>
                    <a:pt x="165668" y="131416"/>
                  </a:lnTo>
                  <a:lnTo>
                    <a:pt x="165053" y="132715"/>
                  </a:lnTo>
                  <a:lnTo>
                    <a:pt x="163824" y="135105"/>
                  </a:lnTo>
                  <a:lnTo>
                    <a:pt x="162699" y="137832"/>
                  </a:lnTo>
                  <a:lnTo>
                    <a:pt x="163312" y="139739"/>
                  </a:lnTo>
                  <a:lnTo>
                    <a:pt x="164233" y="141510"/>
                  </a:lnTo>
                  <a:lnTo>
                    <a:pt x="164440" y="143416"/>
                  </a:lnTo>
                  <a:lnTo>
                    <a:pt x="164900" y="144910"/>
                  </a:lnTo>
                  <a:lnTo>
                    <a:pt x="163671" y="145997"/>
                  </a:lnTo>
                  <a:lnTo>
                    <a:pt x="162954" y="147560"/>
                  </a:lnTo>
                  <a:lnTo>
                    <a:pt x="160853" y="147289"/>
                  </a:lnTo>
                  <a:lnTo>
                    <a:pt x="158286" y="145787"/>
                  </a:lnTo>
                  <a:lnTo>
                    <a:pt x="157746" y="143614"/>
                  </a:lnTo>
                  <a:lnTo>
                    <a:pt x="155768" y="142098"/>
                  </a:lnTo>
                  <a:lnTo>
                    <a:pt x="154468" y="141315"/>
                  </a:lnTo>
                  <a:lnTo>
                    <a:pt x="152324" y="141193"/>
                  </a:lnTo>
                  <a:lnTo>
                    <a:pt x="148896" y="141899"/>
                  </a:lnTo>
                  <a:lnTo>
                    <a:pt x="144414" y="142441"/>
                  </a:lnTo>
                  <a:lnTo>
                    <a:pt x="141032" y="142587"/>
                  </a:lnTo>
                  <a:lnTo>
                    <a:pt x="139186" y="143357"/>
                  </a:lnTo>
                  <a:lnTo>
                    <a:pt x="136463" y="144114"/>
                  </a:lnTo>
                  <a:lnTo>
                    <a:pt x="135409" y="143219"/>
                  </a:lnTo>
                  <a:lnTo>
                    <a:pt x="133897" y="140753"/>
                  </a:lnTo>
                  <a:lnTo>
                    <a:pt x="132653" y="138295"/>
                  </a:lnTo>
                  <a:lnTo>
                    <a:pt x="131800" y="137216"/>
                  </a:lnTo>
                  <a:lnTo>
                    <a:pt x="131058" y="136914"/>
                  </a:lnTo>
                  <a:lnTo>
                    <a:pt x="130144" y="136976"/>
                  </a:lnTo>
                  <a:lnTo>
                    <a:pt x="129090" y="137756"/>
                  </a:lnTo>
                  <a:lnTo>
                    <a:pt x="128309" y="138555"/>
                  </a:lnTo>
                  <a:lnTo>
                    <a:pt x="127199" y="138838"/>
                  </a:lnTo>
                  <a:lnTo>
                    <a:pt x="125474" y="139484"/>
                  </a:lnTo>
                  <a:lnTo>
                    <a:pt x="124230" y="140361"/>
                  </a:lnTo>
                  <a:lnTo>
                    <a:pt x="122859" y="142622"/>
                  </a:lnTo>
                  <a:lnTo>
                    <a:pt x="121952" y="142461"/>
                  </a:lnTo>
                  <a:lnTo>
                    <a:pt x="121012" y="141942"/>
                  </a:lnTo>
                  <a:lnTo>
                    <a:pt x="119935" y="139412"/>
                  </a:lnTo>
                  <a:lnTo>
                    <a:pt x="118454" y="138829"/>
                  </a:lnTo>
                  <a:lnTo>
                    <a:pt x="116078" y="138795"/>
                  </a:lnTo>
                  <a:lnTo>
                    <a:pt x="113137" y="138259"/>
                  </a:lnTo>
                  <a:lnTo>
                    <a:pt x="110753" y="137493"/>
                  </a:lnTo>
                  <a:lnTo>
                    <a:pt x="109883" y="137676"/>
                  </a:lnTo>
                  <a:lnTo>
                    <a:pt x="108464" y="138753"/>
                  </a:lnTo>
                  <a:lnTo>
                    <a:pt x="106927" y="138908"/>
                  </a:lnTo>
                  <a:lnTo>
                    <a:pt x="103562" y="137949"/>
                  </a:lnTo>
                  <a:lnTo>
                    <a:pt x="102904" y="138388"/>
                  </a:lnTo>
                  <a:lnTo>
                    <a:pt x="102020" y="139808"/>
                  </a:lnTo>
                  <a:lnTo>
                    <a:pt x="100969" y="141177"/>
                  </a:lnTo>
                  <a:lnTo>
                    <a:pt x="100055" y="141312"/>
                  </a:lnTo>
                  <a:lnTo>
                    <a:pt x="99542" y="140961"/>
                  </a:lnTo>
                  <a:lnTo>
                    <a:pt x="99829" y="138536"/>
                  </a:lnTo>
                  <a:lnTo>
                    <a:pt x="97875" y="137677"/>
                  </a:lnTo>
                  <a:lnTo>
                    <a:pt x="94579" y="137545"/>
                  </a:lnTo>
                  <a:lnTo>
                    <a:pt x="92264" y="137897"/>
                  </a:lnTo>
                  <a:lnTo>
                    <a:pt x="91128" y="137801"/>
                  </a:lnTo>
                  <a:lnTo>
                    <a:pt x="90550" y="137325"/>
                  </a:lnTo>
                  <a:lnTo>
                    <a:pt x="87717" y="133246"/>
                  </a:lnTo>
                  <a:lnTo>
                    <a:pt x="86216" y="132987"/>
                  </a:lnTo>
                  <a:lnTo>
                    <a:pt x="83534" y="133189"/>
                  </a:lnTo>
                  <a:lnTo>
                    <a:pt x="79567" y="132696"/>
                  </a:lnTo>
                  <a:lnTo>
                    <a:pt x="75000" y="131776"/>
                  </a:lnTo>
                  <a:lnTo>
                    <a:pt x="72491" y="131436"/>
                  </a:lnTo>
                  <a:lnTo>
                    <a:pt x="71184" y="130522"/>
                  </a:lnTo>
                  <a:lnTo>
                    <a:pt x="68371" y="130209"/>
                  </a:lnTo>
                  <a:lnTo>
                    <a:pt x="60813" y="128482"/>
                  </a:lnTo>
                  <a:lnTo>
                    <a:pt x="57727" y="128177"/>
                  </a:lnTo>
                  <a:lnTo>
                    <a:pt x="53184" y="128150"/>
                  </a:lnTo>
                  <a:lnTo>
                    <a:pt x="46261" y="127766"/>
                  </a:lnTo>
                  <a:lnTo>
                    <a:pt x="41828" y="127979"/>
                  </a:lnTo>
                  <a:lnTo>
                    <a:pt x="39774" y="128552"/>
                  </a:lnTo>
                  <a:lnTo>
                    <a:pt x="37399" y="128907"/>
                  </a:lnTo>
                  <a:lnTo>
                    <a:pt x="33391" y="129227"/>
                  </a:lnTo>
                  <a:lnTo>
                    <a:pt x="31758" y="129191"/>
                  </a:lnTo>
                  <a:lnTo>
                    <a:pt x="29191" y="129381"/>
                  </a:lnTo>
                  <a:lnTo>
                    <a:pt x="26243" y="129840"/>
                  </a:lnTo>
                  <a:lnTo>
                    <a:pt x="25399" y="130699"/>
                  </a:lnTo>
                  <a:lnTo>
                    <a:pt x="24434" y="132578"/>
                  </a:lnTo>
                  <a:lnTo>
                    <a:pt x="21046" y="135821"/>
                  </a:lnTo>
                  <a:lnTo>
                    <a:pt x="17761" y="137980"/>
                  </a:lnTo>
                  <a:lnTo>
                    <a:pt x="17161" y="138164"/>
                  </a:lnTo>
                  <a:lnTo>
                    <a:pt x="15239" y="137019"/>
                  </a:lnTo>
                  <a:lnTo>
                    <a:pt x="13635" y="136632"/>
                  </a:lnTo>
                  <a:lnTo>
                    <a:pt x="11758" y="136509"/>
                  </a:lnTo>
                  <a:lnTo>
                    <a:pt x="10428" y="136875"/>
                  </a:lnTo>
                  <a:lnTo>
                    <a:pt x="9586" y="137416"/>
                  </a:lnTo>
                  <a:lnTo>
                    <a:pt x="9700" y="139919"/>
                  </a:lnTo>
                  <a:lnTo>
                    <a:pt x="9513" y="140138"/>
                  </a:lnTo>
                  <a:lnTo>
                    <a:pt x="8061" y="137168"/>
                  </a:lnTo>
                  <a:lnTo>
                    <a:pt x="8176" y="134478"/>
                  </a:lnTo>
                  <a:lnTo>
                    <a:pt x="8983" y="132941"/>
                  </a:lnTo>
                  <a:lnTo>
                    <a:pt x="9964" y="131557"/>
                  </a:lnTo>
                  <a:lnTo>
                    <a:pt x="9560" y="129478"/>
                  </a:lnTo>
                  <a:lnTo>
                    <a:pt x="10525" y="126724"/>
                  </a:lnTo>
                  <a:lnTo>
                    <a:pt x="10555" y="124731"/>
                  </a:lnTo>
                  <a:lnTo>
                    <a:pt x="10132" y="123867"/>
                  </a:lnTo>
                  <a:lnTo>
                    <a:pt x="9351" y="122876"/>
                  </a:lnTo>
                  <a:lnTo>
                    <a:pt x="7210" y="121771"/>
                  </a:lnTo>
                  <a:lnTo>
                    <a:pt x="6265" y="120908"/>
                  </a:lnTo>
                  <a:lnTo>
                    <a:pt x="3362" y="119754"/>
                  </a:lnTo>
                  <a:lnTo>
                    <a:pt x="484" y="118316"/>
                  </a:lnTo>
                  <a:lnTo>
                    <a:pt x="0" y="117435"/>
                  </a:lnTo>
                  <a:lnTo>
                    <a:pt x="136" y="116831"/>
                  </a:lnTo>
                  <a:lnTo>
                    <a:pt x="642" y="115913"/>
                  </a:lnTo>
                  <a:lnTo>
                    <a:pt x="2835" y="113225"/>
                  </a:lnTo>
                  <a:lnTo>
                    <a:pt x="5215" y="110612"/>
                  </a:lnTo>
                  <a:lnTo>
                    <a:pt x="6733" y="109560"/>
                  </a:lnTo>
                  <a:lnTo>
                    <a:pt x="14807" y="106204"/>
                  </a:lnTo>
                  <a:lnTo>
                    <a:pt x="16057" y="105029"/>
                  </a:lnTo>
                  <a:lnTo>
                    <a:pt x="16371" y="103040"/>
                  </a:lnTo>
                  <a:lnTo>
                    <a:pt x="16390" y="101591"/>
                  </a:lnTo>
                  <a:lnTo>
                    <a:pt x="16237" y="99017"/>
                  </a:lnTo>
                  <a:lnTo>
                    <a:pt x="15744" y="95346"/>
                  </a:lnTo>
                  <a:lnTo>
                    <a:pt x="15127" y="92811"/>
                  </a:lnTo>
                  <a:lnTo>
                    <a:pt x="13581" y="88043"/>
                  </a:lnTo>
                  <a:lnTo>
                    <a:pt x="9372" y="78158"/>
                  </a:lnTo>
                  <a:lnTo>
                    <a:pt x="6846" y="67858"/>
                  </a:lnTo>
                  <a:lnTo>
                    <a:pt x="8491" y="68464"/>
                  </a:lnTo>
                  <a:lnTo>
                    <a:pt x="12352" y="68693"/>
                  </a:lnTo>
                  <a:lnTo>
                    <a:pt x="15423" y="67983"/>
                  </a:lnTo>
                  <a:lnTo>
                    <a:pt x="17012" y="67884"/>
                  </a:lnTo>
                  <a:lnTo>
                    <a:pt x="18429" y="68106"/>
                  </a:lnTo>
                  <a:lnTo>
                    <a:pt x="20538" y="67700"/>
                  </a:lnTo>
                  <a:lnTo>
                    <a:pt x="22471" y="67536"/>
                  </a:lnTo>
                  <a:lnTo>
                    <a:pt x="23473" y="68459"/>
                  </a:lnTo>
                  <a:lnTo>
                    <a:pt x="25272" y="69278"/>
                  </a:lnTo>
                  <a:lnTo>
                    <a:pt x="28822" y="68100"/>
                  </a:lnTo>
                  <a:lnTo>
                    <a:pt x="31966" y="66645"/>
                  </a:lnTo>
                  <a:lnTo>
                    <a:pt x="35226" y="66802"/>
                  </a:lnTo>
                  <a:lnTo>
                    <a:pt x="35693" y="66086"/>
                  </a:lnTo>
                  <a:lnTo>
                    <a:pt x="36498" y="62421"/>
                  </a:lnTo>
                  <a:lnTo>
                    <a:pt x="37468" y="61626"/>
                  </a:lnTo>
                  <a:lnTo>
                    <a:pt x="41372" y="61994"/>
                  </a:lnTo>
                  <a:lnTo>
                    <a:pt x="42817" y="61329"/>
                  </a:lnTo>
                  <a:lnTo>
                    <a:pt x="44322" y="59525"/>
                  </a:lnTo>
                  <a:lnTo>
                    <a:pt x="46626" y="58399"/>
                  </a:lnTo>
                  <a:lnTo>
                    <a:pt x="48548" y="58400"/>
                  </a:lnTo>
                  <a:lnTo>
                    <a:pt x="50550" y="57135"/>
                  </a:lnTo>
                  <a:lnTo>
                    <a:pt x="51534" y="57983"/>
                  </a:lnTo>
                  <a:lnTo>
                    <a:pt x="52013" y="59498"/>
                  </a:lnTo>
                  <a:lnTo>
                    <a:pt x="51351" y="60711"/>
                  </a:lnTo>
                  <a:lnTo>
                    <a:pt x="51638" y="61186"/>
                  </a:lnTo>
                  <a:lnTo>
                    <a:pt x="53024" y="61786"/>
                  </a:lnTo>
                  <a:lnTo>
                    <a:pt x="55402" y="61768"/>
                  </a:lnTo>
                  <a:lnTo>
                    <a:pt x="56920" y="61266"/>
                  </a:lnTo>
                  <a:lnTo>
                    <a:pt x="57274" y="60573"/>
                  </a:lnTo>
                  <a:lnTo>
                    <a:pt x="57269" y="59314"/>
                  </a:lnTo>
                  <a:lnTo>
                    <a:pt x="56896" y="58143"/>
                  </a:lnTo>
                  <a:lnTo>
                    <a:pt x="55888" y="57129"/>
                  </a:lnTo>
                  <a:lnTo>
                    <a:pt x="53994" y="56607"/>
                  </a:lnTo>
                  <a:lnTo>
                    <a:pt x="52681" y="56590"/>
                  </a:lnTo>
                  <a:lnTo>
                    <a:pt x="52456" y="55945"/>
                  </a:lnTo>
                  <a:lnTo>
                    <a:pt x="52903" y="54567"/>
                  </a:lnTo>
                  <a:lnTo>
                    <a:pt x="54069" y="52025"/>
                  </a:lnTo>
                  <a:lnTo>
                    <a:pt x="55503" y="49723"/>
                  </a:lnTo>
                  <a:lnTo>
                    <a:pt x="56380" y="48853"/>
                  </a:lnTo>
                  <a:lnTo>
                    <a:pt x="56531" y="48055"/>
                  </a:lnTo>
                  <a:lnTo>
                    <a:pt x="56360" y="46659"/>
                  </a:lnTo>
                  <a:lnTo>
                    <a:pt x="56328" y="44154"/>
                  </a:lnTo>
                  <a:lnTo>
                    <a:pt x="57619" y="40618"/>
                  </a:lnTo>
                  <a:lnTo>
                    <a:pt x="59353" y="37978"/>
                  </a:lnTo>
                  <a:lnTo>
                    <a:pt x="61679" y="37122"/>
                  </a:lnTo>
                  <a:lnTo>
                    <a:pt x="64521" y="36657"/>
                  </a:lnTo>
                  <a:lnTo>
                    <a:pt x="66339" y="35397"/>
                  </a:lnTo>
                  <a:lnTo>
                    <a:pt x="67237" y="33949"/>
                  </a:lnTo>
                  <a:lnTo>
                    <a:pt x="67578" y="32726"/>
                  </a:lnTo>
                  <a:lnTo>
                    <a:pt x="68010" y="31667"/>
                  </a:lnTo>
                  <a:lnTo>
                    <a:pt x="68917" y="31203"/>
                  </a:lnTo>
                  <a:lnTo>
                    <a:pt x="75758" y="31493"/>
                  </a:lnTo>
                  <a:lnTo>
                    <a:pt x="76803" y="29212"/>
                  </a:lnTo>
                  <a:lnTo>
                    <a:pt x="77391" y="28574"/>
                  </a:lnTo>
                  <a:lnTo>
                    <a:pt x="78704" y="27900"/>
                  </a:lnTo>
                  <a:lnTo>
                    <a:pt x="79617" y="27088"/>
                  </a:lnTo>
                  <a:lnTo>
                    <a:pt x="79273" y="26463"/>
                  </a:lnTo>
                  <a:lnTo>
                    <a:pt x="77529" y="26058"/>
                  </a:lnTo>
                  <a:lnTo>
                    <a:pt x="73417" y="25701"/>
                  </a:lnTo>
                  <a:lnTo>
                    <a:pt x="72584" y="24946"/>
                  </a:lnTo>
                  <a:lnTo>
                    <a:pt x="72847" y="24036"/>
                  </a:lnTo>
                  <a:lnTo>
                    <a:pt x="73946" y="21680"/>
                  </a:lnTo>
                  <a:lnTo>
                    <a:pt x="74994" y="18637"/>
                  </a:lnTo>
                  <a:lnTo>
                    <a:pt x="75529" y="16277"/>
                  </a:lnTo>
                  <a:lnTo>
                    <a:pt x="75589" y="14885"/>
                  </a:lnTo>
                  <a:lnTo>
                    <a:pt x="76179" y="14510"/>
                  </a:lnTo>
                  <a:lnTo>
                    <a:pt x="79533" y="14064"/>
                  </a:lnTo>
                  <a:lnTo>
                    <a:pt x="80651" y="13591"/>
                  </a:lnTo>
                  <a:lnTo>
                    <a:pt x="83538" y="10370"/>
                  </a:lnTo>
                  <a:lnTo>
                    <a:pt x="85739" y="9822"/>
                  </a:lnTo>
                  <a:lnTo>
                    <a:pt x="91414" y="10651"/>
                  </a:lnTo>
                  <a:lnTo>
                    <a:pt x="94022" y="10587"/>
                  </a:lnTo>
                  <a:lnTo>
                    <a:pt x="94731" y="10663"/>
                  </a:lnTo>
                  <a:lnTo>
                    <a:pt x="97330" y="10810"/>
                  </a:lnTo>
                  <a:lnTo>
                    <a:pt x="97611" y="10487"/>
                  </a:lnTo>
                  <a:lnTo>
                    <a:pt x="98779" y="7298"/>
                  </a:lnTo>
                  <a:lnTo>
                    <a:pt x="99928" y="6369"/>
                  </a:lnTo>
                  <a:lnTo>
                    <a:pt x="104396" y="2174"/>
                  </a:lnTo>
                  <a:lnTo>
                    <a:pt x="107397" y="390"/>
                  </a:lnTo>
                  <a:lnTo>
                    <a:pt x="109296" y="0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ee4p_CH_1_37764">
              <a:extLst>
                <a:ext uri="{FF2B5EF4-FFF2-40B4-BE49-F238E27FC236}">
                  <a16:creationId xmlns:a16="http://schemas.microsoft.com/office/drawing/2014/main" id="{8D567259-6862-4E57-8B24-898BFFAF95B3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9662799" y="9868475"/>
              <a:ext cx="933442" cy="510097"/>
            </a:xfrm>
            <a:custGeom>
              <a:avLst/>
              <a:gdLst/>
              <a:ahLst/>
              <a:cxnLst/>
              <a:rect l="0" t="0" r="0" b="0"/>
              <a:pathLst>
                <a:path w="99164" h="54190">
                  <a:moveTo>
                    <a:pt x="78586" y="7066"/>
                  </a:moveTo>
                  <a:lnTo>
                    <a:pt x="79258" y="7434"/>
                  </a:lnTo>
                  <a:lnTo>
                    <a:pt x="80838" y="8671"/>
                  </a:lnTo>
                  <a:lnTo>
                    <a:pt x="80467" y="10781"/>
                  </a:lnTo>
                  <a:lnTo>
                    <a:pt x="78664" y="14171"/>
                  </a:lnTo>
                  <a:lnTo>
                    <a:pt x="77707" y="16915"/>
                  </a:lnTo>
                  <a:lnTo>
                    <a:pt x="77601" y="19015"/>
                  </a:lnTo>
                  <a:lnTo>
                    <a:pt x="77783" y="20000"/>
                  </a:lnTo>
                  <a:lnTo>
                    <a:pt x="78107" y="19987"/>
                  </a:lnTo>
                  <a:lnTo>
                    <a:pt x="79830" y="20137"/>
                  </a:lnTo>
                  <a:lnTo>
                    <a:pt x="80707" y="20134"/>
                  </a:lnTo>
                  <a:lnTo>
                    <a:pt x="83473" y="20703"/>
                  </a:lnTo>
                  <a:lnTo>
                    <a:pt x="85690" y="21533"/>
                  </a:lnTo>
                  <a:lnTo>
                    <a:pt x="86118" y="22409"/>
                  </a:lnTo>
                  <a:lnTo>
                    <a:pt x="86407" y="23477"/>
                  </a:lnTo>
                  <a:lnTo>
                    <a:pt x="89042" y="24936"/>
                  </a:lnTo>
                  <a:lnTo>
                    <a:pt x="92063" y="25879"/>
                  </a:lnTo>
                  <a:lnTo>
                    <a:pt x="93087" y="25577"/>
                  </a:lnTo>
                  <a:lnTo>
                    <a:pt x="96837" y="22164"/>
                  </a:lnTo>
                  <a:lnTo>
                    <a:pt x="98286" y="22731"/>
                  </a:lnTo>
                  <a:lnTo>
                    <a:pt x="99163" y="24544"/>
                  </a:lnTo>
                  <a:lnTo>
                    <a:pt x="99124" y="25505"/>
                  </a:lnTo>
                  <a:lnTo>
                    <a:pt x="98090" y="29128"/>
                  </a:lnTo>
                  <a:lnTo>
                    <a:pt x="97911" y="31070"/>
                  </a:lnTo>
                  <a:lnTo>
                    <a:pt x="98802" y="32354"/>
                  </a:lnTo>
                  <a:lnTo>
                    <a:pt x="98895" y="33354"/>
                  </a:lnTo>
                  <a:lnTo>
                    <a:pt x="98634" y="34266"/>
                  </a:lnTo>
                  <a:lnTo>
                    <a:pt x="97140" y="34349"/>
                  </a:lnTo>
                  <a:lnTo>
                    <a:pt x="95131" y="33855"/>
                  </a:lnTo>
                  <a:lnTo>
                    <a:pt x="93434" y="32292"/>
                  </a:lnTo>
                  <a:lnTo>
                    <a:pt x="92152" y="32479"/>
                  </a:lnTo>
                  <a:lnTo>
                    <a:pt x="91035" y="32881"/>
                  </a:lnTo>
                  <a:lnTo>
                    <a:pt x="90465" y="34357"/>
                  </a:lnTo>
                  <a:lnTo>
                    <a:pt x="89958" y="36122"/>
                  </a:lnTo>
                  <a:lnTo>
                    <a:pt x="90120" y="37102"/>
                  </a:lnTo>
                  <a:lnTo>
                    <a:pt x="90923" y="37855"/>
                  </a:lnTo>
                  <a:lnTo>
                    <a:pt x="91536" y="39460"/>
                  </a:lnTo>
                  <a:lnTo>
                    <a:pt x="91983" y="41535"/>
                  </a:lnTo>
                  <a:lnTo>
                    <a:pt x="92322" y="42489"/>
                  </a:lnTo>
                  <a:lnTo>
                    <a:pt x="91949" y="42912"/>
                  </a:lnTo>
                  <a:lnTo>
                    <a:pt x="90892" y="43196"/>
                  </a:lnTo>
                  <a:lnTo>
                    <a:pt x="90018" y="42916"/>
                  </a:lnTo>
                  <a:lnTo>
                    <a:pt x="88485" y="40435"/>
                  </a:lnTo>
                  <a:lnTo>
                    <a:pt x="87768" y="39489"/>
                  </a:lnTo>
                  <a:lnTo>
                    <a:pt x="86557" y="39324"/>
                  </a:lnTo>
                  <a:lnTo>
                    <a:pt x="84419" y="39926"/>
                  </a:lnTo>
                  <a:lnTo>
                    <a:pt x="81139" y="41316"/>
                  </a:lnTo>
                  <a:lnTo>
                    <a:pt x="79815" y="41310"/>
                  </a:lnTo>
                  <a:lnTo>
                    <a:pt x="78690" y="41030"/>
                  </a:lnTo>
                  <a:lnTo>
                    <a:pt x="77636" y="39850"/>
                  </a:lnTo>
                  <a:lnTo>
                    <a:pt x="76742" y="37576"/>
                  </a:lnTo>
                  <a:lnTo>
                    <a:pt x="76455" y="36146"/>
                  </a:lnTo>
                  <a:lnTo>
                    <a:pt x="75829" y="36192"/>
                  </a:lnTo>
                  <a:lnTo>
                    <a:pt x="73730" y="35779"/>
                  </a:lnTo>
                  <a:lnTo>
                    <a:pt x="72752" y="36344"/>
                  </a:lnTo>
                  <a:lnTo>
                    <a:pt x="72743" y="38673"/>
                  </a:lnTo>
                  <a:lnTo>
                    <a:pt x="72551" y="41568"/>
                  </a:lnTo>
                  <a:lnTo>
                    <a:pt x="71497" y="43438"/>
                  </a:lnTo>
                  <a:lnTo>
                    <a:pt x="68569" y="46669"/>
                  </a:lnTo>
                  <a:lnTo>
                    <a:pt x="67494" y="48078"/>
                  </a:lnTo>
                  <a:lnTo>
                    <a:pt x="67066" y="49088"/>
                  </a:lnTo>
                  <a:lnTo>
                    <a:pt x="66975" y="49966"/>
                  </a:lnTo>
                  <a:lnTo>
                    <a:pt x="67422" y="51484"/>
                  </a:lnTo>
                  <a:lnTo>
                    <a:pt x="68031" y="52933"/>
                  </a:lnTo>
                  <a:lnTo>
                    <a:pt x="67524" y="53757"/>
                  </a:lnTo>
                  <a:lnTo>
                    <a:pt x="65975" y="54189"/>
                  </a:lnTo>
                  <a:lnTo>
                    <a:pt x="64883" y="53309"/>
                  </a:lnTo>
                  <a:lnTo>
                    <a:pt x="64460" y="51744"/>
                  </a:lnTo>
                  <a:lnTo>
                    <a:pt x="62091" y="49605"/>
                  </a:lnTo>
                  <a:lnTo>
                    <a:pt x="63168" y="47813"/>
                  </a:lnTo>
                  <a:lnTo>
                    <a:pt x="62987" y="47368"/>
                  </a:lnTo>
                  <a:lnTo>
                    <a:pt x="59076" y="46438"/>
                  </a:lnTo>
                  <a:lnTo>
                    <a:pt x="57390" y="45082"/>
                  </a:lnTo>
                  <a:lnTo>
                    <a:pt x="55023" y="42700"/>
                  </a:lnTo>
                  <a:lnTo>
                    <a:pt x="54583" y="41677"/>
                  </a:lnTo>
                  <a:lnTo>
                    <a:pt x="54682" y="38353"/>
                  </a:lnTo>
                  <a:lnTo>
                    <a:pt x="54546" y="37546"/>
                  </a:lnTo>
                  <a:lnTo>
                    <a:pt x="54230" y="37153"/>
                  </a:lnTo>
                  <a:lnTo>
                    <a:pt x="53084" y="37179"/>
                  </a:lnTo>
                  <a:lnTo>
                    <a:pt x="51488" y="38335"/>
                  </a:lnTo>
                  <a:lnTo>
                    <a:pt x="50016" y="40060"/>
                  </a:lnTo>
                  <a:lnTo>
                    <a:pt x="47003" y="42004"/>
                  </a:lnTo>
                  <a:lnTo>
                    <a:pt x="46690" y="42420"/>
                  </a:lnTo>
                  <a:lnTo>
                    <a:pt x="47701" y="44314"/>
                  </a:lnTo>
                  <a:lnTo>
                    <a:pt x="47655" y="45051"/>
                  </a:lnTo>
                  <a:lnTo>
                    <a:pt x="45202" y="48066"/>
                  </a:lnTo>
                  <a:lnTo>
                    <a:pt x="44736" y="49060"/>
                  </a:lnTo>
                  <a:lnTo>
                    <a:pt x="41622" y="50950"/>
                  </a:lnTo>
                  <a:lnTo>
                    <a:pt x="40197" y="51657"/>
                  </a:lnTo>
                  <a:lnTo>
                    <a:pt x="35878" y="50267"/>
                  </a:lnTo>
                  <a:lnTo>
                    <a:pt x="34684" y="50102"/>
                  </a:lnTo>
                  <a:lnTo>
                    <a:pt x="32760" y="51033"/>
                  </a:lnTo>
                  <a:lnTo>
                    <a:pt x="30026" y="51918"/>
                  </a:lnTo>
                  <a:lnTo>
                    <a:pt x="25627" y="52799"/>
                  </a:lnTo>
                  <a:lnTo>
                    <a:pt x="24008" y="52155"/>
                  </a:lnTo>
                  <a:lnTo>
                    <a:pt x="23241" y="51548"/>
                  </a:lnTo>
                  <a:lnTo>
                    <a:pt x="22861" y="50636"/>
                  </a:lnTo>
                  <a:lnTo>
                    <a:pt x="21751" y="49026"/>
                  </a:lnTo>
                  <a:lnTo>
                    <a:pt x="20503" y="48070"/>
                  </a:lnTo>
                  <a:lnTo>
                    <a:pt x="19635" y="47029"/>
                  </a:lnTo>
                  <a:lnTo>
                    <a:pt x="18478" y="45889"/>
                  </a:lnTo>
                  <a:lnTo>
                    <a:pt x="17735" y="44935"/>
                  </a:lnTo>
                  <a:lnTo>
                    <a:pt x="18724" y="41889"/>
                  </a:lnTo>
                  <a:lnTo>
                    <a:pt x="18002" y="40815"/>
                  </a:lnTo>
                  <a:lnTo>
                    <a:pt x="17631" y="39284"/>
                  </a:lnTo>
                  <a:lnTo>
                    <a:pt x="17823" y="38246"/>
                  </a:lnTo>
                  <a:lnTo>
                    <a:pt x="17426" y="37993"/>
                  </a:lnTo>
                  <a:lnTo>
                    <a:pt x="13448" y="37394"/>
                  </a:lnTo>
                  <a:lnTo>
                    <a:pt x="10147" y="37584"/>
                  </a:lnTo>
                  <a:lnTo>
                    <a:pt x="7780" y="38605"/>
                  </a:lnTo>
                  <a:lnTo>
                    <a:pt x="5852" y="40298"/>
                  </a:lnTo>
                  <a:lnTo>
                    <a:pt x="5621" y="40663"/>
                  </a:lnTo>
                  <a:lnTo>
                    <a:pt x="5740" y="40968"/>
                  </a:lnTo>
                  <a:lnTo>
                    <a:pt x="6698" y="42524"/>
                  </a:lnTo>
                  <a:lnTo>
                    <a:pt x="5072" y="44162"/>
                  </a:lnTo>
                  <a:lnTo>
                    <a:pt x="2578" y="45436"/>
                  </a:lnTo>
                  <a:lnTo>
                    <a:pt x="810" y="45566"/>
                  </a:lnTo>
                  <a:lnTo>
                    <a:pt x="32" y="45320"/>
                  </a:lnTo>
                  <a:lnTo>
                    <a:pt x="0" y="43564"/>
                  </a:lnTo>
                  <a:lnTo>
                    <a:pt x="1461" y="42916"/>
                  </a:lnTo>
                  <a:lnTo>
                    <a:pt x="2783" y="41773"/>
                  </a:lnTo>
                  <a:lnTo>
                    <a:pt x="3226" y="40159"/>
                  </a:lnTo>
                  <a:lnTo>
                    <a:pt x="3388" y="39023"/>
                  </a:lnTo>
                  <a:lnTo>
                    <a:pt x="1995" y="37649"/>
                  </a:lnTo>
                  <a:lnTo>
                    <a:pt x="2166" y="36806"/>
                  </a:lnTo>
                  <a:lnTo>
                    <a:pt x="3029" y="35210"/>
                  </a:lnTo>
                  <a:lnTo>
                    <a:pt x="3530" y="33795"/>
                  </a:lnTo>
                  <a:lnTo>
                    <a:pt x="4217" y="32572"/>
                  </a:lnTo>
                  <a:lnTo>
                    <a:pt x="6968" y="30569"/>
                  </a:lnTo>
                  <a:lnTo>
                    <a:pt x="9732" y="28556"/>
                  </a:lnTo>
                  <a:lnTo>
                    <a:pt x="10149" y="26415"/>
                  </a:lnTo>
                  <a:lnTo>
                    <a:pt x="10361" y="23806"/>
                  </a:lnTo>
                  <a:lnTo>
                    <a:pt x="10751" y="23180"/>
                  </a:lnTo>
                  <a:lnTo>
                    <a:pt x="14479" y="21617"/>
                  </a:lnTo>
                  <a:lnTo>
                    <a:pt x="15409" y="20998"/>
                  </a:lnTo>
                  <a:lnTo>
                    <a:pt x="15878" y="20112"/>
                  </a:lnTo>
                  <a:lnTo>
                    <a:pt x="18810" y="17180"/>
                  </a:lnTo>
                  <a:lnTo>
                    <a:pt x="21715" y="14271"/>
                  </a:lnTo>
                  <a:lnTo>
                    <a:pt x="22300" y="13294"/>
                  </a:lnTo>
                  <a:lnTo>
                    <a:pt x="22788" y="12722"/>
                  </a:lnTo>
                  <a:lnTo>
                    <a:pt x="22788" y="12247"/>
                  </a:lnTo>
                  <a:lnTo>
                    <a:pt x="22423" y="11881"/>
                  </a:lnTo>
                  <a:lnTo>
                    <a:pt x="21039" y="11637"/>
                  </a:lnTo>
                  <a:lnTo>
                    <a:pt x="20572" y="10712"/>
                  </a:lnTo>
                  <a:lnTo>
                    <a:pt x="22075" y="9058"/>
                  </a:lnTo>
                  <a:lnTo>
                    <a:pt x="23956" y="8045"/>
                  </a:lnTo>
                  <a:lnTo>
                    <a:pt x="25783" y="8031"/>
                  </a:lnTo>
                  <a:lnTo>
                    <a:pt x="26517" y="8497"/>
                  </a:lnTo>
                  <a:lnTo>
                    <a:pt x="26478" y="9045"/>
                  </a:lnTo>
                  <a:lnTo>
                    <a:pt x="27266" y="9633"/>
                  </a:lnTo>
                  <a:lnTo>
                    <a:pt x="28651" y="9828"/>
                  </a:lnTo>
                  <a:lnTo>
                    <a:pt x="30363" y="9623"/>
                  </a:lnTo>
                  <a:lnTo>
                    <a:pt x="32062" y="9004"/>
                  </a:lnTo>
                  <a:lnTo>
                    <a:pt x="33110" y="7531"/>
                  </a:lnTo>
                  <a:lnTo>
                    <a:pt x="33718" y="6417"/>
                  </a:lnTo>
                  <a:lnTo>
                    <a:pt x="36388" y="5143"/>
                  </a:lnTo>
                  <a:lnTo>
                    <a:pt x="38210" y="5784"/>
                  </a:lnTo>
                  <a:lnTo>
                    <a:pt x="43274" y="5953"/>
                  </a:lnTo>
                  <a:lnTo>
                    <a:pt x="46960" y="5608"/>
                  </a:lnTo>
                  <a:lnTo>
                    <a:pt x="49271" y="4744"/>
                  </a:lnTo>
                  <a:lnTo>
                    <a:pt x="52136" y="4744"/>
                  </a:lnTo>
                  <a:lnTo>
                    <a:pt x="54058" y="5231"/>
                  </a:lnTo>
                  <a:lnTo>
                    <a:pt x="54397" y="5159"/>
                  </a:lnTo>
                  <a:lnTo>
                    <a:pt x="54926" y="5045"/>
                  </a:lnTo>
                  <a:lnTo>
                    <a:pt x="55449" y="4582"/>
                  </a:lnTo>
                  <a:lnTo>
                    <a:pt x="57258" y="4264"/>
                  </a:lnTo>
                  <a:lnTo>
                    <a:pt x="57502" y="3876"/>
                  </a:lnTo>
                  <a:lnTo>
                    <a:pt x="57426" y="3480"/>
                  </a:lnTo>
                  <a:lnTo>
                    <a:pt x="57100" y="3277"/>
                  </a:lnTo>
                  <a:lnTo>
                    <a:pt x="54876" y="3483"/>
                  </a:lnTo>
                  <a:lnTo>
                    <a:pt x="54025" y="3176"/>
                  </a:lnTo>
                  <a:lnTo>
                    <a:pt x="53807" y="2471"/>
                  </a:lnTo>
                  <a:lnTo>
                    <a:pt x="54522" y="1246"/>
                  </a:lnTo>
                  <a:lnTo>
                    <a:pt x="56161" y="246"/>
                  </a:lnTo>
                  <a:lnTo>
                    <a:pt x="57550" y="0"/>
                  </a:lnTo>
                  <a:lnTo>
                    <a:pt x="58549" y="268"/>
                  </a:lnTo>
                  <a:lnTo>
                    <a:pt x="60992" y="2126"/>
                  </a:lnTo>
                  <a:lnTo>
                    <a:pt x="61577" y="2183"/>
                  </a:lnTo>
                  <a:lnTo>
                    <a:pt x="61916" y="1849"/>
                  </a:lnTo>
                  <a:lnTo>
                    <a:pt x="62423" y="1662"/>
                  </a:lnTo>
                  <a:lnTo>
                    <a:pt x="63265" y="2026"/>
                  </a:lnTo>
                  <a:lnTo>
                    <a:pt x="64213" y="3176"/>
                  </a:lnTo>
                  <a:lnTo>
                    <a:pt x="64371" y="3354"/>
                  </a:lnTo>
                  <a:lnTo>
                    <a:pt x="69819" y="2951"/>
                  </a:lnTo>
                  <a:lnTo>
                    <a:pt x="71041" y="2951"/>
                  </a:lnTo>
                  <a:lnTo>
                    <a:pt x="74738" y="4969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ee4p_CZ_1_37764">
              <a:extLst>
                <a:ext uri="{FF2B5EF4-FFF2-40B4-BE49-F238E27FC236}">
                  <a16:creationId xmlns:a16="http://schemas.microsoft.com/office/drawing/2014/main" id="{BBD76128-7F6A-4014-8BF6-1FAEDF562819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10936582" y="8988011"/>
              <a:ext cx="1403410" cy="667428"/>
            </a:xfrm>
            <a:custGeom>
              <a:avLst/>
              <a:gdLst/>
              <a:ahLst/>
              <a:cxnLst/>
              <a:rect l="0" t="0" r="0" b="0"/>
              <a:pathLst>
                <a:path w="149091" h="70904">
                  <a:moveTo>
                    <a:pt x="60137" y="5220"/>
                  </a:moveTo>
                  <a:lnTo>
                    <a:pt x="62048" y="5150"/>
                  </a:lnTo>
                  <a:lnTo>
                    <a:pt x="63974" y="4416"/>
                  </a:lnTo>
                  <a:lnTo>
                    <a:pt x="64129" y="3229"/>
                  </a:lnTo>
                  <a:lnTo>
                    <a:pt x="64008" y="1005"/>
                  </a:lnTo>
                  <a:lnTo>
                    <a:pt x="64214" y="685"/>
                  </a:lnTo>
                  <a:lnTo>
                    <a:pt x="67137" y="1313"/>
                  </a:lnTo>
                  <a:lnTo>
                    <a:pt x="70070" y="2315"/>
                  </a:lnTo>
                  <a:lnTo>
                    <a:pt x="70478" y="4520"/>
                  </a:lnTo>
                  <a:lnTo>
                    <a:pt x="71264" y="5606"/>
                  </a:lnTo>
                  <a:lnTo>
                    <a:pt x="72188" y="6597"/>
                  </a:lnTo>
                  <a:lnTo>
                    <a:pt x="73078" y="7048"/>
                  </a:lnTo>
                  <a:lnTo>
                    <a:pt x="74611" y="7119"/>
                  </a:lnTo>
                  <a:lnTo>
                    <a:pt x="78591" y="8429"/>
                  </a:lnTo>
                  <a:lnTo>
                    <a:pt x="80506" y="8696"/>
                  </a:lnTo>
                  <a:lnTo>
                    <a:pt x="82467" y="9599"/>
                  </a:lnTo>
                  <a:lnTo>
                    <a:pt x="84118" y="10524"/>
                  </a:lnTo>
                  <a:lnTo>
                    <a:pt x="85326" y="10717"/>
                  </a:lnTo>
                  <a:lnTo>
                    <a:pt x="85885" y="11730"/>
                  </a:lnTo>
                  <a:lnTo>
                    <a:pt x="86623" y="12423"/>
                  </a:lnTo>
                  <a:lnTo>
                    <a:pt x="87932" y="11891"/>
                  </a:lnTo>
                  <a:lnTo>
                    <a:pt x="92704" y="11143"/>
                  </a:lnTo>
                  <a:lnTo>
                    <a:pt x="94423" y="12139"/>
                  </a:lnTo>
                  <a:lnTo>
                    <a:pt x="95585" y="13192"/>
                  </a:lnTo>
                  <a:lnTo>
                    <a:pt x="95745" y="13527"/>
                  </a:lnTo>
                  <a:lnTo>
                    <a:pt x="95138" y="14456"/>
                  </a:lnTo>
                  <a:lnTo>
                    <a:pt x="94847" y="15175"/>
                  </a:lnTo>
                  <a:lnTo>
                    <a:pt x="94350" y="15652"/>
                  </a:lnTo>
                  <a:lnTo>
                    <a:pt x="92711" y="16159"/>
                  </a:lnTo>
                  <a:lnTo>
                    <a:pt x="91787" y="16981"/>
                  </a:lnTo>
                  <a:lnTo>
                    <a:pt x="91115" y="17880"/>
                  </a:lnTo>
                  <a:lnTo>
                    <a:pt x="91566" y="18739"/>
                  </a:lnTo>
                  <a:lnTo>
                    <a:pt x="92905" y="19383"/>
                  </a:lnTo>
                  <a:lnTo>
                    <a:pt x="93853" y="19528"/>
                  </a:lnTo>
                  <a:lnTo>
                    <a:pt x="94214" y="20156"/>
                  </a:lnTo>
                  <a:lnTo>
                    <a:pt x="97246" y="22961"/>
                  </a:lnTo>
                  <a:lnTo>
                    <a:pt x="99657" y="26619"/>
                  </a:lnTo>
                  <a:lnTo>
                    <a:pt x="100597" y="27191"/>
                  </a:lnTo>
                  <a:lnTo>
                    <a:pt x="101480" y="27326"/>
                  </a:lnTo>
                  <a:lnTo>
                    <a:pt x="102501" y="26789"/>
                  </a:lnTo>
                  <a:lnTo>
                    <a:pt x="103680" y="25604"/>
                  </a:lnTo>
                  <a:lnTo>
                    <a:pt x="105078" y="24746"/>
                  </a:lnTo>
                  <a:lnTo>
                    <a:pt x="106261" y="24305"/>
                  </a:lnTo>
                  <a:lnTo>
                    <a:pt x="108347" y="23293"/>
                  </a:lnTo>
                  <a:lnTo>
                    <a:pt x="108429" y="22633"/>
                  </a:lnTo>
                  <a:lnTo>
                    <a:pt x="106691" y="20156"/>
                  </a:lnTo>
                  <a:lnTo>
                    <a:pt x="105682" y="18147"/>
                  </a:lnTo>
                  <a:lnTo>
                    <a:pt x="105924" y="17783"/>
                  </a:lnTo>
                  <a:lnTo>
                    <a:pt x="108150" y="18101"/>
                  </a:lnTo>
                  <a:lnTo>
                    <a:pt x="111936" y="19197"/>
                  </a:lnTo>
                  <a:lnTo>
                    <a:pt x="117758" y="22776"/>
                  </a:lnTo>
                  <a:lnTo>
                    <a:pt x="118799" y="22776"/>
                  </a:lnTo>
                  <a:lnTo>
                    <a:pt x="120839" y="22507"/>
                  </a:lnTo>
                  <a:lnTo>
                    <a:pt x="123053" y="21923"/>
                  </a:lnTo>
                  <a:lnTo>
                    <a:pt x="124104" y="21258"/>
                  </a:lnTo>
                  <a:lnTo>
                    <a:pt x="124499" y="21506"/>
                  </a:lnTo>
                  <a:lnTo>
                    <a:pt x="124838" y="23471"/>
                  </a:lnTo>
                  <a:lnTo>
                    <a:pt x="124259" y="24548"/>
                  </a:lnTo>
                  <a:lnTo>
                    <a:pt x="121608" y="25592"/>
                  </a:lnTo>
                  <a:lnTo>
                    <a:pt x="121761" y="26111"/>
                  </a:lnTo>
                  <a:lnTo>
                    <a:pt x="122441" y="26779"/>
                  </a:lnTo>
                  <a:lnTo>
                    <a:pt x="123635" y="27230"/>
                  </a:lnTo>
                  <a:lnTo>
                    <a:pt x="125084" y="28502"/>
                  </a:lnTo>
                  <a:lnTo>
                    <a:pt x="126082" y="29951"/>
                  </a:lnTo>
                  <a:lnTo>
                    <a:pt x="126957" y="30623"/>
                  </a:lnTo>
                  <a:lnTo>
                    <a:pt x="127920" y="30942"/>
                  </a:lnTo>
                  <a:lnTo>
                    <a:pt x="130330" y="30168"/>
                  </a:lnTo>
                  <a:lnTo>
                    <a:pt x="131012" y="29556"/>
                  </a:lnTo>
                  <a:lnTo>
                    <a:pt x="131314" y="29123"/>
                  </a:lnTo>
                  <a:lnTo>
                    <a:pt x="131783" y="29219"/>
                  </a:lnTo>
                  <a:lnTo>
                    <a:pt x="132627" y="29931"/>
                  </a:lnTo>
                  <a:lnTo>
                    <a:pt x="132882" y="30350"/>
                  </a:lnTo>
                  <a:lnTo>
                    <a:pt x="135227" y="31159"/>
                  </a:lnTo>
                  <a:lnTo>
                    <a:pt x="136577" y="32153"/>
                  </a:lnTo>
                  <a:lnTo>
                    <a:pt x="137438" y="32621"/>
                  </a:lnTo>
                  <a:lnTo>
                    <a:pt x="138393" y="32166"/>
                  </a:lnTo>
                  <a:lnTo>
                    <a:pt x="142103" y="32957"/>
                  </a:lnTo>
                  <a:lnTo>
                    <a:pt x="143124" y="33621"/>
                  </a:lnTo>
                  <a:lnTo>
                    <a:pt x="143450" y="34723"/>
                  </a:lnTo>
                  <a:lnTo>
                    <a:pt x="143266" y="35391"/>
                  </a:lnTo>
                  <a:lnTo>
                    <a:pt x="143837" y="37122"/>
                  </a:lnTo>
                  <a:lnTo>
                    <a:pt x="148531" y="41266"/>
                  </a:lnTo>
                  <a:lnTo>
                    <a:pt x="149025" y="43380"/>
                  </a:lnTo>
                  <a:lnTo>
                    <a:pt x="149090" y="44222"/>
                  </a:lnTo>
                  <a:lnTo>
                    <a:pt x="148533" y="44267"/>
                  </a:lnTo>
                  <a:lnTo>
                    <a:pt x="147265" y="44704"/>
                  </a:lnTo>
                  <a:lnTo>
                    <a:pt x="145640" y="44863"/>
                  </a:lnTo>
                  <a:lnTo>
                    <a:pt x="143878" y="44777"/>
                  </a:lnTo>
                  <a:lnTo>
                    <a:pt x="142508" y="45545"/>
                  </a:lnTo>
                  <a:lnTo>
                    <a:pt x="141215" y="46795"/>
                  </a:lnTo>
                  <a:lnTo>
                    <a:pt x="139883" y="47660"/>
                  </a:lnTo>
                  <a:lnTo>
                    <a:pt x="139159" y="48434"/>
                  </a:lnTo>
                  <a:lnTo>
                    <a:pt x="138755" y="49227"/>
                  </a:lnTo>
                  <a:lnTo>
                    <a:pt x="134247" y="51485"/>
                  </a:lnTo>
                  <a:lnTo>
                    <a:pt x="133621" y="52424"/>
                  </a:lnTo>
                  <a:lnTo>
                    <a:pt x="133119" y="53704"/>
                  </a:lnTo>
                  <a:lnTo>
                    <a:pt x="132908" y="55432"/>
                  </a:lnTo>
                  <a:lnTo>
                    <a:pt x="132588" y="56980"/>
                  </a:lnTo>
                  <a:lnTo>
                    <a:pt x="131813" y="57797"/>
                  </a:lnTo>
                  <a:lnTo>
                    <a:pt x="129377" y="58498"/>
                  </a:lnTo>
                  <a:lnTo>
                    <a:pt x="128770" y="58876"/>
                  </a:lnTo>
                  <a:lnTo>
                    <a:pt x="128315" y="59663"/>
                  </a:lnTo>
                  <a:lnTo>
                    <a:pt x="126948" y="60876"/>
                  </a:lnTo>
                  <a:lnTo>
                    <a:pt x="125348" y="62030"/>
                  </a:lnTo>
                  <a:lnTo>
                    <a:pt x="122405" y="63348"/>
                  </a:lnTo>
                  <a:lnTo>
                    <a:pt x="119248" y="63749"/>
                  </a:lnTo>
                  <a:lnTo>
                    <a:pt x="115140" y="63321"/>
                  </a:lnTo>
                  <a:lnTo>
                    <a:pt x="112743" y="62804"/>
                  </a:lnTo>
                  <a:lnTo>
                    <a:pt x="111575" y="63371"/>
                  </a:lnTo>
                  <a:lnTo>
                    <a:pt x="109975" y="65088"/>
                  </a:lnTo>
                  <a:lnTo>
                    <a:pt x="108250" y="68042"/>
                  </a:lnTo>
                  <a:lnTo>
                    <a:pt x="107540" y="70261"/>
                  </a:lnTo>
                  <a:lnTo>
                    <a:pt x="106991" y="69634"/>
                  </a:lnTo>
                  <a:lnTo>
                    <a:pt x="106004" y="67280"/>
                  </a:lnTo>
                  <a:lnTo>
                    <a:pt x="104888" y="66978"/>
                  </a:lnTo>
                  <a:lnTo>
                    <a:pt x="103367" y="66759"/>
                  </a:lnTo>
                  <a:lnTo>
                    <a:pt x="102223" y="66412"/>
                  </a:lnTo>
                  <a:lnTo>
                    <a:pt x="99752" y="65056"/>
                  </a:lnTo>
                  <a:lnTo>
                    <a:pt x="98483" y="64647"/>
                  </a:lnTo>
                  <a:lnTo>
                    <a:pt x="97032" y="64537"/>
                  </a:lnTo>
                  <a:lnTo>
                    <a:pt x="95637" y="65335"/>
                  </a:lnTo>
                  <a:lnTo>
                    <a:pt x="94585" y="66277"/>
                  </a:lnTo>
                  <a:lnTo>
                    <a:pt x="91314" y="66264"/>
                  </a:lnTo>
                  <a:lnTo>
                    <a:pt x="87729" y="65827"/>
                  </a:lnTo>
                  <a:lnTo>
                    <a:pt x="82598" y="62704"/>
                  </a:lnTo>
                  <a:lnTo>
                    <a:pt x="81268" y="62677"/>
                  </a:lnTo>
                  <a:lnTo>
                    <a:pt x="79847" y="62818"/>
                  </a:lnTo>
                  <a:lnTo>
                    <a:pt x="77606" y="62080"/>
                  </a:lnTo>
                  <a:lnTo>
                    <a:pt x="73261" y="60056"/>
                  </a:lnTo>
                  <a:lnTo>
                    <a:pt x="71227" y="59581"/>
                  </a:lnTo>
                  <a:lnTo>
                    <a:pt x="69940" y="59871"/>
                  </a:lnTo>
                  <a:lnTo>
                    <a:pt x="68766" y="60319"/>
                  </a:lnTo>
                  <a:lnTo>
                    <a:pt x="67928" y="60372"/>
                  </a:lnTo>
                  <a:lnTo>
                    <a:pt x="67442" y="59714"/>
                  </a:lnTo>
                  <a:lnTo>
                    <a:pt x="65829" y="58901"/>
                  </a:lnTo>
                  <a:lnTo>
                    <a:pt x="64207" y="58808"/>
                  </a:lnTo>
                  <a:lnTo>
                    <a:pt x="63736" y="59298"/>
                  </a:lnTo>
                  <a:lnTo>
                    <a:pt x="63188" y="63750"/>
                  </a:lnTo>
                  <a:lnTo>
                    <a:pt x="62639" y="65354"/>
                  </a:lnTo>
                  <a:lnTo>
                    <a:pt x="60413" y="65280"/>
                  </a:lnTo>
                  <a:lnTo>
                    <a:pt x="59618" y="66038"/>
                  </a:lnTo>
                  <a:lnTo>
                    <a:pt x="57865" y="68184"/>
                  </a:lnTo>
                  <a:lnTo>
                    <a:pt x="57526" y="70249"/>
                  </a:lnTo>
                  <a:lnTo>
                    <a:pt x="54488" y="69849"/>
                  </a:lnTo>
                  <a:lnTo>
                    <a:pt x="53045" y="69502"/>
                  </a:lnTo>
                  <a:lnTo>
                    <a:pt x="51771" y="69765"/>
                  </a:lnTo>
                  <a:lnTo>
                    <a:pt x="50367" y="70903"/>
                  </a:lnTo>
                  <a:lnTo>
                    <a:pt x="46437" y="70836"/>
                  </a:lnTo>
                  <a:lnTo>
                    <a:pt x="43326" y="70157"/>
                  </a:lnTo>
                  <a:lnTo>
                    <a:pt x="41991" y="67600"/>
                  </a:lnTo>
                  <a:lnTo>
                    <a:pt x="40566" y="66588"/>
                  </a:lnTo>
                  <a:lnTo>
                    <a:pt x="38772" y="65682"/>
                  </a:lnTo>
                  <a:lnTo>
                    <a:pt x="38143" y="65481"/>
                  </a:lnTo>
                  <a:lnTo>
                    <a:pt x="37152" y="64085"/>
                  </a:lnTo>
                  <a:lnTo>
                    <a:pt x="35273" y="62355"/>
                  </a:lnTo>
                  <a:lnTo>
                    <a:pt x="32237" y="59990"/>
                  </a:lnTo>
                  <a:lnTo>
                    <a:pt x="29873" y="60107"/>
                  </a:lnTo>
                  <a:lnTo>
                    <a:pt x="28998" y="59479"/>
                  </a:lnTo>
                  <a:lnTo>
                    <a:pt x="28612" y="58609"/>
                  </a:lnTo>
                  <a:lnTo>
                    <a:pt x="27625" y="57104"/>
                  </a:lnTo>
                  <a:lnTo>
                    <a:pt x="26513" y="56057"/>
                  </a:lnTo>
                  <a:lnTo>
                    <a:pt x="25165" y="55651"/>
                  </a:lnTo>
                  <a:lnTo>
                    <a:pt x="23235" y="54317"/>
                  </a:lnTo>
                  <a:lnTo>
                    <a:pt x="20652" y="51407"/>
                  </a:lnTo>
                  <a:lnTo>
                    <a:pt x="18285" y="49393"/>
                  </a:lnTo>
                  <a:lnTo>
                    <a:pt x="16001" y="49425"/>
                  </a:lnTo>
                  <a:lnTo>
                    <a:pt x="14552" y="48369"/>
                  </a:lnTo>
                  <a:lnTo>
                    <a:pt x="13077" y="46985"/>
                  </a:lnTo>
                  <a:lnTo>
                    <a:pt x="11991" y="45644"/>
                  </a:lnTo>
                  <a:lnTo>
                    <a:pt x="10304" y="42383"/>
                  </a:lnTo>
                  <a:lnTo>
                    <a:pt x="9078" y="40520"/>
                  </a:lnTo>
                  <a:lnTo>
                    <a:pt x="8121" y="39367"/>
                  </a:lnTo>
                  <a:lnTo>
                    <a:pt x="7041" y="38406"/>
                  </a:lnTo>
                  <a:lnTo>
                    <a:pt x="6651" y="37645"/>
                  </a:lnTo>
                  <a:lnTo>
                    <a:pt x="7970" y="35903"/>
                  </a:lnTo>
                  <a:lnTo>
                    <a:pt x="8449" y="35041"/>
                  </a:lnTo>
                  <a:lnTo>
                    <a:pt x="9017" y="34379"/>
                  </a:lnTo>
                  <a:lnTo>
                    <a:pt x="9348" y="33676"/>
                  </a:lnTo>
                  <a:lnTo>
                    <a:pt x="9337" y="33147"/>
                  </a:lnTo>
                  <a:lnTo>
                    <a:pt x="8134" y="31425"/>
                  </a:lnTo>
                  <a:lnTo>
                    <a:pt x="6510" y="30182"/>
                  </a:lnTo>
                  <a:lnTo>
                    <a:pt x="4128" y="28919"/>
                  </a:lnTo>
                  <a:lnTo>
                    <a:pt x="2610" y="27325"/>
                  </a:lnTo>
                  <a:lnTo>
                    <a:pt x="2051" y="25864"/>
                  </a:lnTo>
                  <a:lnTo>
                    <a:pt x="1885" y="25061"/>
                  </a:lnTo>
                  <a:lnTo>
                    <a:pt x="842" y="23973"/>
                  </a:lnTo>
                  <a:lnTo>
                    <a:pt x="0" y="22377"/>
                  </a:lnTo>
                  <a:lnTo>
                    <a:pt x="2" y="21416"/>
                  </a:lnTo>
                  <a:lnTo>
                    <a:pt x="209" y="21148"/>
                  </a:lnTo>
                  <a:lnTo>
                    <a:pt x="998" y="21149"/>
                  </a:lnTo>
                  <a:lnTo>
                    <a:pt x="1880" y="21803"/>
                  </a:lnTo>
                  <a:lnTo>
                    <a:pt x="3127" y="23063"/>
                  </a:lnTo>
                  <a:lnTo>
                    <a:pt x="4148" y="24898"/>
                  </a:lnTo>
                  <a:lnTo>
                    <a:pt x="4774" y="24196"/>
                  </a:lnTo>
                  <a:lnTo>
                    <a:pt x="5945" y="22241"/>
                  </a:lnTo>
                  <a:lnTo>
                    <a:pt x="8024" y="20023"/>
                  </a:lnTo>
                  <a:lnTo>
                    <a:pt x="10156" y="18759"/>
                  </a:lnTo>
                  <a:lnTo>
                    <a:pt x="12069" y="18653"/>
                  </a:lnTo>
                  <a:lnTo>
                    <a:pt x="13636" y="18303"/>
                  </a:lnTo>
                  <a:lnTo>
                    <a:pt x="14941" y="17670"/>
                  </a:lnTo>
                  <a:lnTo>
                    <a:pt x="17214" y="17923"/>
                  </a:lnTo>
                  <a:lnTo>
                    <a:pt x="18860" y="18381"/>
                  </a:lnTo>
                  <a:lnTo>
                    <a:pt x="19393" y="18098"/>
                  </a:lnTo>
                  <a:lnTo>
                    <a:pt x="20063" y="16942"/>
                  </a:lnTo>
                  <a:lnTo>
                    <a:pt x="20490" y="15945"/>
                  </a:lnTo>
                  <a:lnTo>
                    <a:pt x="24133" y="15361"/>
                  </a:lnTo>
                  <a:lnTo>
                    <a:pt x="25383" y="13436"/>
                  </a:lnTo>
                  <a:lnTo>
                    <a:pt x="26087" y="13446"/>
                  </a:lnTo>
                  <a:lnTo>
                    <a:pt x="26895" y="13158"/>
                  </a:lnTo>
                  <a:lnTo>
                    <a:pt x="27668" y="12428"/>
                  </a:lnTo>
                  <a:lnTo>
                    <a:pt x="28411" y="12129"/>
                  </a:lnTo>
                  <a:lnTo>
                    <a:pt x="28998" y="12490"/>
                  </a:lnTo>
                  <a:lnTo>
                    <a:pt x="29771" y="12729"/>
                  </a:lnTo>
                  <a:lnTo>
                    <a:pt x="30577" y="12268"/>
                  </a:lnTo>
                  <a:lnTo>
                    <a:pt x="31771" y="10061"/>
                  </a:lnTo>
                  <a:lnTo>
                    <a:pt x="32438" y="9717"/>
                  </a:lnTo>
                  <a:lnTo>
                    <a:pt x="35636" y="9371"/>
                  </a:lnTo>
                  <a:lnTo>
                    <a:pt x="39996" y="8068"/>
                  </a:lnTo>
                  <a:lnTo>
                    <a:pt x="42205" y="6907"/>
                  </a:lnTo>
                  <a:lnTo>
                    <a:pt x="44373" y="6277"/>
                  </a:lnTo>
                  <a:lnTo>
                    <a:pt x="46701" y="5155"/>
                  </a:lnTo>
                  <a:lnTo>
                    <a:pt x="50400" y="4061"/>
                  </a:lnTo>
                  <a:lnTo>
                    <a:pt x="50577" y="3614"/>
                  </a:lnTo>
                  <a:lnTo>
                    <a:pt x="48860" y="2489"/>
                  </a:lnTo>
                  <a:lnTo>
                    <a:pt x="48283" y="1779"/>
                  </a:lnTo>
                  <a:lnTo>
                    <a:pt x="47897" y="1050"/>
                  </a:lnTo>
                  <a:lnTo>
                    <a:pt x="48502" y="243"/>
                  </a:lnTo>
                  <a:lnTo>
                    <a:pt x="49309" y="0"/>
                  </a:lnTo>
                  <a:lnTo>
                    <a:pt x="50361" y="337"/>
                  </a:lnTo>
                  <a:lnTo>
                    <a:pt x="53458" y="816"/>
                  </a:lnTo>
                  <a:lnTo>
                    <a:pt x="54306" y="1281"/>
                  </a:lnTo>
                  <a:lnTo>
                    <a:pt x="54615" y="2421"/>
                  </a:lnTo>
                  <a:lnTo>
                    <a:pt x="55401" y="3481"/>
                  </a:lnTo>
                  <a:lnTo>
                    <a:pt x="56034" y="3594"/>
                  </a:lnTo>
                  <a:lnTo>
                    <a:pt x="55807" y="5320"/>
                  </a:lnTo>
                  <a:lnTo>
                    <a:pt x="56794" y="5989"/>
                  </a:lnTo>
                  <a:lnTo>
                    <a:pt x="58234" y="6511"/>
                  </a:lnTo>
                  <a:lnTo>
                    <a:pt x="59189" y="6406"/>
                  </a:lnTo>
                  <a:lnTo>
                    <a:pt x="59873" y="5706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ee4p_DE_1_37764">
              <a:extLst>
                <a:ext uri="{FF2B5EF4-FFF2-40B4-BE49-F238E27FC236}">
                  <a16:creationId xmlns:a16="http://schemas.microsoft.com/office/drawing/2014/main" id="{BABFB9B3-821C-4FCA-B8D3-E59D5D862F45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9639388" y="7853562"/>
              <a:ext cx="1906410" cy="2146178"/>
            </a:xfrm>
            <a:custGeom>
              <a:avLst/>
              <a:gdLst>
                <a:gd name="connsiteX0" fmla="*/ 176238 w 202527"/>
                <a:gd name="connsiteY0" fmla="*/ 28478 h 227999"/>
                <a:gd name="connsiteX1" fmla="*/ 180907 w 202527"/>
                <a:gd name="connsiteY1" fmla="*/ 31292 h 227999"/>
                <a:gd name="connsiteX2" fmla="*/ 184723 w 202527"/>
                <a:gd name="connsiteY2" fmla="*/ 33847 h 227999"/>
                <a:gd name="connsiteX3" fmla="*/ 184431 w 202527"/>
                <a:gd name="connsiteY3" fmla="*/ 34795 h 227999"/>
                <a:gd name="connsiteX4" fmla="*/ 184772 w 202527"/>
                <a:gd name="connsiteY4" fmla="*/ 36258 h 227999"/>
                <a:gd name="connsiteX5" fmla="*/ 183854 w 202527"/>
                <a:gd name="connsiteY5" fmla="*/ 36149 h 227999"/>
                <a:gd name="connsiteX6" fmla="*/ 181117 w 202527"/>
                <a:gd name="connsiteY6" fmla="*/ 36490 h 227999"/>
                <a:gd name="connsiteX7" fmla="*/ 178406 w 202527"/>
                <a:gd name="connsiteY7" fmla="*/ 36007 h 227999"/>
                <a:gd name="connsiteX8" fmla="*/ 177884 w 202527"/>
                <a:gd name="connsiteY8" fmla="*/ 34192 h 227999"/>
                <a:gd name="connsiteX9" fmla="*/ 178316 w 202527"/>
                <a:gd name="connsiteY9" fmla="*/ 32443 h 227999"/>
                <a:gd name="connsiteX10" fmla="*/ 177227 w 202527"/>
                <a:gd name="connsiteY10" fmla="*/ 31240 h 227999"/>
                <a:gd name="connsiteX11" fmla="*/ 176225 w 202527"/>
                <a:gd name="connsiteY11" fmla="*/ 30534 h 227999"/>
                <a:gd name="connsiteX12" fmla="*/ 176077 w 202527"/>
                <a:gd name="connsiteY12" fmla="*/ 29524 h 227999"/>
                <a:gd name="connsiteX13" fmla="*/ 115590 w 202527"/>
                <a:gd name="connsiteY13" fmla="*/ 16104 h 227999"/>
                <a:gd name="connsiteX14" fmla="*/ 118877 w 202527"/>
                <a:gd name="connsiteY14" fmla="*/ 17086 h 227999"/>
                <a:gd name="connsiteX15" fmla="*/ 119909 w 202527"/>
                <a:gd name="connsiteY15" fmla="*/ 19005 h 227999"/>
                <a:gd name="connsiteX16" fmla="*/ 119965 w 202527"/>
                <a:gd name="connsiteY16" fmla="*/ 19628 h 227999"/>
                <a:gd name="connsiteX17" fmla="*/ 116570 w 202527"/>
                <a:gd name="connsiteY17" fmla="*/ 19687 h 227999"/>
                <a:gd name="connsiteX18" fmla="*/ 115274 w 202527"/>
                <a:gd name="connsiteY18" fmla="*/ 18467 h 227999"/>
                <a:gd name="connsiteX19" fmla="*/ 113970 w 202527"/>
                <a:gd name="connsiteY19" fmla="*/ 18157 h 227999"/>
                <a:gd name="connsiteX20" fmla="*/ 114672 w 202527"/>
                <a:gd name="connsiteY20" fmla="*/ 16652 h 227999"/>
                <a:gd name="connsiteX21" fmla="*/ 167283 w 202527"/>
                <a:gd name="connsiteY21" fmla="*/ 11030 h 227999"/>
                <a:gd name="connsiteX22" fmla="*/ 167888 w 202527"/>
                <a:gd name="connsiteY22" fmla="*/ 12552 h 227999"/>
                <a:gd name="connsiteX23" fmla="*/ 168797 w 202527"/>
                <a:gd name="connsiteY23" fmla="*/ 13599 h 227999"/>
                <a:gd name="connsiteX24" fmla="*/ 171999 w 202527"/>
                <a:gd name="connsiteY24" fmla="*/ 14772 h 227999"/>
                <a:gd name="connsiteX25" fmla="*/ 172477 w 202527"/>
                <a:gd name="connsiteY25" fmla="*/ 15305 h 227999"/>
                <a:gd name="connsiteX26" fmla="*/ 172766 w 202527"/>
                <a:gd name="connsiteY26" fmla="*/ 16042 h 227999"/>
                <a:gd name="connsiteX27" fmla="*/ 171276 w 202527"/>
                <a:gd name="connsiteY27" fmla="*/ 17485 h 227999"/>
                <a:gd name="connsiteX28" fmla="*/ 170771 w 202527"/>
                <a:gd name="connsiteY28" fmla="*/ 18224 h 227999"/>
                <a:gd name="connsiteX29" fmla="*/ 171244 w 202527"/>
                <a:gd name="connsiteY29" fmla="*/ 19409 h 227999"/>
                <a:gd name="connsiteX30" fmla="*/ 173617 w 202527"/>
                <a:gd name="connsiteY30" fmla="*/ 20703 h 227999"/>
                <a:gd name="connsiteX31" fmla="*/ 174170 w 202527"/>
                <a:gd name="connsiteY31" fmla="*/ 22753 h 227999"/>
                <a:gd name="connsiteX32" fmla="*/ 173576 w 202527"/>
                <a:gd name="connsiteY32" fmla="*/ 23797 h 227999"/>
                <a:gd name="connsiteX33" fmla="*/ 171090 w 202527"/>
                <a:gd name="connsiteY33" fmla="*/ 22060 h 227999"/>
                <a:gd name="connsiteX34" fmla="*/ 168594 w 202527"/>
                <a:gd name="connsiteY34" fmla="*/ 22084 h 227999"/>
                <a:gd name="connsiteX35" fmla="*/ 167102 w 202527"/>
                <a:gd name="connsiteY35" fmla="*/ 24759 h 227999"/>
                <a:gd name="connsiteX36" fmla="*/ 165992 w 202527"/>
                <a:gd name="connsiteY36" fmla="*/ 24872 h 227999"/>
                <a:gd name="connsiteX37" fmla="*/ 162138 w 202527"/>
                <a:gd name="connsiteY37" fmla="*/ 22442 h 227999"/>
                <a:gd name="connsiteX38" fmla="*/ 161520 w 202527"/>
                <a:gd name="connsiteY38" fmla="*/ 21256 h 227999"/>
                <a:gd name="connsiteX39" fmla="*/ 161393 w 202527"/>
                <a:gd name="connsiteY39" fmla="*/ 20270 h 227999"/>
                <a:gd name="connsiteX40" fmla="*/ 161943 w 202527"/>
                <a:gd name="connsiteY40" fmla="*/ 16850 h 227999"/>
                <a:gd name="connsiteX41" fmla="*/ 161842 w 202527"/>
                <a:gd name="connsiteY41" fmla="*/ 15773 h 227999"/>
                <a:gd name="connsiteX42" fmla="*/ 163053 w 202527"/>
                <a:gd name="connsiteY42" fmla="*/ 14596 h 227999"/>
                <a:gd name="connsiteX43" fmla="*/ 163241 w 202527"/>
                <a:gd name="connsiteY43" fmla="*/ 12894 h 227999"/>
                <a:gd name="connsiteX44" fmla="*/ 165383 w 202527"/>
                <a:gd name="connsiteY44" fmla="*/ 11098 h 227999"/>
                <a:gd name="connsiteX45" fmla="*/ 58651 w 202527"/>
                <a:gd name="connsiteY45" fmla="*/ 9162 h 227999"/>
                <a:gd name="connsiteX46" fmla="*/ 60055 w 202527"/>
                <a:gd name="connsiteY46" fmla="*/ 9517 h 227999"/>
                <a:gd name="connsiteX47" fmla="*/ 60374 w 202527"/>
                <a:gd name="connsiteY47" fmla="*/ 10621 h 227999"/>
                <a:gd name="connsiteX48" fmla="*/ 59513 w 202527"/>
                <a:gd name="connsiteY48" fmla="*/ 11371 h 227999"/>
                <a:gd name="connsiteX49" fmla="*/ 57409 w 202527"/>
                <a:gd name="connsiteY49" fmla="*/ 11283 h 227999"/>
                <a:gd name="connsiteX50" fmla="*/ 56228 w 202527"/>
                <a:gd name="connsiteY50" fmla="*/ 10577 h 227999"/>
                <a:gd name="connsiteX51" fmla="*/ 56611 w 202527"/>
                <a:gd name="connsiteY51" fmla="*/ 9825 h 227999"/>
                <a:gd name="connsiteX52" fmla="*/ 57727 w 202527"/>
                <a:gd name="connsiteY52" fmla="*/ 9251 h 227999"/>
                <a:gd name="connsiteX53" fmla="*/ 62197 w 202527"/>
                <a:gd name="connsiteY53" fmla="*/ 4773 h 227999"/>
                <a:gd name="connsiteX54" fmla="*/ 62206 w 202527"/>
                <a:gd name="connsiteY54" fmla="*/ 4776 h 227999"/>
                <a:gd name="connsiteX55" fmla="*/ 66330 w 202527"/>
                <a:gd name="connsiteY55" fmla="*/ 4843 h 227999"/>
                <a:gd name="connsiteX56" fmla="*/ 67341 w 202527"/>
                <a:gd name="connsiteY56" fmla="*/ 4973 h 227999"/>
                <a:gd name="connsiteX57" fmla="*/ 73596 w 202527"/>
                <a:gd name="connsiteY57" fmla="*/ 6576 h 227999"/>
                <a:gd name="connsiteX58" fmla="*/ 75125 w 202527"/>
                <a:gd name="connsiteY58" fmla="*/ 7700 h 227999"/>
                <a:gd name="connsiteX59" fmla="*/ 77049 w 202527"/>
                <a:gd name="connsiteY59" fmla="*/ 7753 h 227999"/>
                <a:gd name="connsiteX60" fmla="*/ 80515 w 202527"/>
                <a:gd name="connsiteY60" fmla="*/ 6706 h 227999"/>
                <a:gd name="connsiteX61" fmla="*/ 83104 w 202527"/>
                <a:gd name="connsiteY61" fmla="*/ 6246 h 227999"/>
                <a:gd name="connsiteX62" fmla="*/ 84108 w 202527"/>
                <a:gd name="connsiteY62" fmla="*/ 6892 h 227999"/>
                <a:gd name="connsiteX63" fmla="*/ 85518 w 202527"/>
                <a:gd name="connsiteY63" fmla="*/ 7163 h 227999"/>
                <a:gd name="connsiteX64" fmla="*/ 85844 w 202527"/>
                <a:gd name="connsiteY64" fmla="*/ 7163 h 227999"/>
                <a:gd name="connsiteX65" fmla="*/ 85981 w 202527"/>
                <a:gd name="connsiteY65" fmla="*/ 7726 h 227999"/>
                <a:gd name="connsiteX66" fmla="*/ 89217 w 202527"/>
                <a:gd name="connsiteY66" fmla="*/ 8540 h 227999"/>
                <a:gd name="connsiteX67" fmla="*/ 90578 w 202527"/>
                <a:gd name="connsiteY67" fmla="*/ 9837 h 227999"/>
                <a:gd name="connsiteX68" fmla="*/ 92089 w 202527"/>
                <a:gd name="connsiteY68" fmla="*/ 11807 h 227999"/>
                <a:gd name="connsiteX69" fmla="*/ 92236 w 202527"/>
                <a:gd name="connsiteY69" fmla="*/ 14641 h 227999"/>
                <a:gd name="connsiteX70" fmla="*/ 90301 w 202527"/>
                <a:gd name="connsiteY70" fmla="*/ 16677 h 227999"/>
                <a:gd name="connsiteX71" fmla="*/ 88695 w 202527"/>
                <a:gd name="connsiteY71" fmla="*/ 17965 h 227999"/>
                <a:gd name="connsiteX72" fmla="*/ 94771 w 202527"/>
                <a:gd name="connsiteY72" fmla="*/ 17478 h 227999"/>
                <a:gd name="connsiteX73" fmla="*/ 95376 w 202527"/>
                <a:gd name="connsiteY73" fmla="*/ 18645 h 227999"/>
                <a:gd name="connsiteX74" fmla="*/ 96296 w 202527"/>
                <a:gd name="connsiteY74" fmla="*/ 19903 h 227999"/>
                <a:gd name="connsiteX75" fmla="*/ 99569 w 202527"/>
                <a:gd name="connsiteY75" fmla="*/ 19007 h 227999"/>
                <a:gd name="connsiteX76" fmla="*/ 107775 w 202527"/>
                <a:gd name="connsiteY76" fmla="*/ 22728 h 227999"/>
                <a:gd name="connsiteX77" fmla="*/ 112737 w 202527"/>
                <a:gd name="connsiteY77" fmla="*/ 20917 h 227999"/>
                <a:gd name="connsiteX78" fmla="*/ 114007 w 202527"/>
                <a:gd name="connsiteY78" fmla="*/ 20811 h 227999"/>
                <a:gd name="connsiteX79" fmla="*/ 115134 w 202527"/>
                <a:gd name="connsiteY79" fmla="*/ 23817 h 227999"/>
                <a:gd name="connsiteX80" fmla="*/ 113901 w 202527"/>
                <a:gd name="connsiteY80" fmla="*/ 26840 h 227999"/>
                <a:gd name="connsiteX81" fmla="*/ 109526 w 202527"/>
                <a:gd name="connsiteY81" fmla="*/ 30061 h 227999"/>
                <a:gd name="connsiteX82" fmla="*/ 110496 w 202527"/>
                <a:gd name="connsiteY82" fmla="*/ 32043 h 227999"/>
                <a:gd name="connsiteX83" fmla="*/ 111893 w 202527"/>
                <a:gd name="connsiteY83" fmla="*/ 32483 h 227999"/>
                <a:gd name="connsiteX84" fmla="*/ 116017 w 202527"/>
                <a:gd name="connsiteY84" fmla="*/ 32063 h 227999"/>
                <a:gd name="connsiteX85" fmla="*/ 122547 w 202527"/>
                <a:gd name="connsiteY85" fmla="*/ 34020 h 227999"/>
                <a:gd name="connsiteX86" fmla="*/ 123908 w 202527"/>
                <a:gd name="connsiteY86" fmla="*/ 33410 h 227999"/>
                <a:gd name="connsiteX87" fmla="*/ 129203 w 202527"/>
                <a:gd name="connsiteY87" fmla="*/ 28895 h 227999"/>
                <a:gd name="connsiteX88" fmla="*/ 131319 w 202527"/>
                <a:gd name="connsiteY88" fmla="*/ 27925 h 227999"/>
                <a:gd name="connsiteX89" fmla="*/ 138285 w 202527"/>
                <a:gd name="connsiteY89" fmla="*/ 27230 h 227999"/>
                <a:gd name="connsiteX90" fmla="*/ 139552 w 202527"/>
                <a:gd name="connsiteY90" fmla="*/ 25479 h 227999"/>
                <a:gd name="connsiteX91" fmla="*/ 142375 w 202527"/>
                <a:gd name="connsiteY91" fmla="*/ 23717 h 227999"/>
                <a:gd name="connsiteX92" fmla="*/ 144193 w 202527"/>
                <a:gd name="connsiteY92" fmla="*/ 21791 h 227999"/>
                <a:gd name="connsiteX93" fmla="*/ 148546 w 202527"/>
                <a:gd name="connsiteY93" fmla="*/ 18120 h 227999"/>
                <a:gd name="connsiteX94" fmla="*/ 153051 w 202527"/>
                <a:gd name="connsiteY94" fmla="*/ 18782 h 227999"/>
                <a:gd name="connsiteX95" fmla="*/ 155681 w 202527"/>
                <a:gd name="connsiteY95" fmla="*/ 19485 h 227999"/>
                <a:gd name="connsiteX96" fmla="*/ 158568 w 202527"/>
                <a:gd name="connsiteY96" fmla="*/ 19839 h 227999"/>
                <a:gd name="connsiteX97" fmla="*/ 161196 w 202527"/>
                <a:gd name="connsiteY97" fmla="*/ 23749 h 227999"/>
                <a:gd name="connsiteX98" fmla="*/ 167843 w 202527"/>
                <a:gd name="connsiteY98" fmla="*/ 28064 h 227999"/>
                <a:gd name="connsiteX99" fmla="*/ 173950 w 202527"/>
                <a:gd name="connsiteY99" fmla="*/ 27689 h 227999"/>
                <a:gd name="connsiteX100" fmla="*/ 176117 w 202527"/>
                <a:gd name="connsiteY100" fmla="*/ 31764 h 227999"/>
                <a:gd name="connsiteX101" fmla="*/ 177074 w 202527"/>
                <a:gd name="connsiteY101" fmla="*/ 36785 h 227999"/>
                <a:gd name="connsiteX102" fmla="*/ 178950 w 202527"/>
                <a:gd name="connsiteY102" fmla="*/ 38358 h 227999"/>
                <a:gd name="connsiteX103" fmla="*/ 180600 w 202527"/>
                <a:gd name="connsiteY103" fmla="*/ 39385 h 227999"/>
                <a:gd name="connsiteX104" fmla="*/ 185576 w 202527"/>
                <a:gd name="connsiteY104" fmla="*/ 40460 h 227999"/>
                <a:gd name="connsiteX105" fmla="*/ 185772 w 202527"/>
                <a:gd name="connsiteY105" fmla="*/ 40528 h 227999"/>
                <a:gd name="connsiteX106" fmla="*/ 185932 w 202527"/>
                <a:gd name="connsiteY106" fmla="*/ 41208 h 227999"/>
                <a:gd name="connsiteX107" fmla="*/ 186236 w 202527"/>
                <a:gd name="connsiteY107" fmla="*/ 43696 h 227999"/>
                <a:gd name="connsiteX108" fmla="*/ 186653 w 202527"/>
                <a:gd name="connsiteY108" fmla="*/ 45757 h 227999"/>
                <a:gd name="connsiteX109" fmla="*/ 189214 w 202527"/>
                <a:gd name="connsiteY109" fmla="*/ 53974 h 227999"/>
                <a:gd name="connsiteX110" fmla="*/ 189165 w 202527"/>
                <a:gd name="connsiteY110" fmla="*/ 55979 h 227999"/>
                <a:gd name="connsiteX111" fmla="*/ 189134 w 202527"/>
                <a:gd name="connsiteY111" fmla="*/ 56511 h 227999"/>
                <a:gd name="connsiteX112" fmla="*/ 188197 w 202527"/>
                <a:gd name="connsiteY112" fmla="*/ 59315 h 227999"/>
                <a:gd name="connsiteX113" fmla="*/ 186530 w 202527"/>
                <a:gd name="connsiteY113" fmla="*/ 61677 h 227999"/>
                <a:gd name="connsiteX114" fmla="*/ 184330 w 202527"/>
                <a:gd name="connsiteY114" fmla="*/ 63008 h 227999"/>
                <a:gd name="connsiteX115" fmla="*/ 183118 w 202527"/>
                <a:gd name="connsiteY115" fmla="*/ 64488 h 227999"/>
                <a:gd name="connsiteX116" fmla="*/ 182891 w 202527"/>
                <a:gd name="connsiteY116" fmla="*/ 66122 h 227999"/>
                <a:gd name="connsiteX117" fmla="*/ 185658 w 202527"/>
                <a:gd name="connsiteY117" fmla="*/ 68981 h 227999"/>
                <a:gd name="connsiteX118" fmla="*/ 191414 w 202527"/>
                <a:gd name="connsiteY118" fmla="*/ 73066 h 227999"/>
                <a:gd name="connsiteX119" fmla="*/ 193744 w 202527"/>
                <a:gd name="connsiteY119" fmla="*/ 76554 h 227999"/>
                <a:gd name="connsiteX120" fmla="*/ 192645 w 202527"/>
                <a:gd name="connsiteY120" fmla="*/ 79452 h 227999"/>
                <a:gd name="connsiteX121" fmla="*/ 192311 w 202527"/>
                <a:gd name="connsiteY121" fmla="*/ 81575 h 227999"/>
                <a:gd name="connsiteX122" fmla="*/ 192738 w 202527"/>
                <a:gd name="connsiteY122" fmla="*/ 82926 h 227999"/>
                <a:gd name="connsiteX123" fmla="*/ 193660 w 202527"/>
                <a:gd name="connsiteY123" fmla="*/ 84010 h 227999"/>
                <a:gd name="connsiteX124" fmla="*/ 195081 w 202527"/>
                <a:gd name="connsiteY124" fmla="*/ 84830 h 227999"/>
                <a:gd name="connsiteX125" fmla="*/ 195645 w 202527"/>
                <a:gd name="connsiteY125" fmla="*/ 86091 h 227999"/>
                <a:gd name="connsiteX126" fmla="*/ 195358 w 202527"/>
                <a:gd name="connsiteY126" fmla="*/ 87793 h 227999"/>
                <a:gd name="connsiteX127" fmla="*/ 195627 w 202527"/>
                <a:gd name="connsiteY127" fmla="*/ 88973 h 227999"/>
                <a:gd name="connsiteX128" fmla="*/ 196688 w 202527"/>
                <a:gd name="connsiteY128" fmla="*/ 89813 h 227999"/>
                <a:gd name="connsiteX129" fmla="*/ 196590 w 202527"/>
                <a:gd name="connsiteY129" fmla="*/ 90139 h 227999"/>
                <a:gd name="connsiteX130" fmla="*/ 196075 w 202527"/>
                <a:gd name="connsiteY130" fmla="*/ 91321 h 227999"/>
                <a:gd name="connsiteX131" fmla="*/ 195370 w 202527"/>
                <a:gd name="connsiteY131" fmla="*/ 93475 h 227999"/>
                <a:gd name="connsiteX132" fmla="*/ 194971 w 202527"/>
                <a:gd name="connsiteY132" fmla="*/ 95046 h 227999"/>
                <a:gd name="connsiteX133" fmla="*/ 193351 w 202527"/>
                <a:gd name="connsiteY133" fmla="*/ 97185 h 227999"/>
                <a:gd name="connsiteX134" fmla="*/ 193844 w 202527"/>
                <a:gd name="connsiteY134" fmla="*/ 99001 h 227999"/>
                <a:gd name="connsiteX135" fmla="*/ 195113 w 202527"/>
                <a:gd name="connsiteY135" fmla="*/ 101141 h 227999"/>
                <a:gd name="connsiteX136" fmla="*/ 196077 w 202527"/>
                <a:gd name="connsiteY136" fmla="*/ 102216 h 227999"/>
                <a:gd name="connsiteX137" fmla="*/ 196381 w 202527"/>
                <a:gd name="connsiteY137" fmla="*/ 103234 h 227999"/>
                <a:gd name="connsiteX138" fmla="*/ 195768 w 202527"/>
                <a:gd name="connsiteY138" fmla="*/ 105653 h 227999"/>
                <a:gd name="connsiteX139" fmla="*/ 196072 w 202527"/>
                <a:gd name="connsiteY139" fmla="*/ 106271 h 227999"/>
                <a:gd name="connsiteX140" fmla="*/ 200080 w 202527"/>
                <a:gd name="connsiteY140" fmla="*/ 108051 h 227999"/>
                <a:gd name="connsiteX141" fmla="*/ 200734 w 202527"/>
                <a:gd name="connsiteY141" fmla="*/ 108872 h 227999"/>
                <a:gd name="connsiteX142" fmla="*/ 201123 w 202527"/>
                <a:gd name="connsiteY142" fmla="*/ 110581 h 227999"/>
                <a:gd name="connsiteX143" fmla="*/ 202527 w 202527"/>
                <a:gd name="connsiteY143" fmla="*/ 114229 h 227999"/>
                <a:gd name="connsiteX144" fmla="*/ 201361 w 202527"/>
                <a:gd name="connsiteY144" fmla="*/ 118843 h 227999"/>
                <a:gd name="connsiteX145" fmla="*/ 200335 w 202527"/>
                <a:gd name="connsiteY145" fmla="*/ 121367 h 227999"/>
                <a:gd name="connsiteX146" fmla="*/ 198052 w 202527"/>
                <a:gd name="connsiteY146" fmla="*/ 125369 h 227999"/>
                <a:gd name="connsiteX147" fmla="*/ 197945 w 202527"/>
                <a:gd name="connsiteY147" fmla="*/ 125738 h 227999"/>
                <a:gd name="connsiteX148" fmla="*/ 197681 w 202527"/>
                <a:gd name="connsiteY148" fmla="*/ 126224 h 227999"/>
                <a:gd name="connsiteX149" fmla="*/ 196997 w 202527"/>
                <a:gd name="connsiteY149" fmla="*/ 126924 h 227999"/>
                <a:gd name="connsiteX150" fmla="*/ 196042 w 202527"/>
                <a:gd name="connsiteY150" fmla="*/ 127029 h 227999"/>
                <a:gd name="connsiteX151" fmla="*/ 194602 w 202527"/>
                <a:gd name="connsiteY151" fmla="*/ 126507 h 227999"/>
                <a:gd name="connsiteX152" fmla="*/ 193615 w 202527"/>
                <a:gd name="connsiteY152" fmla="*/ 125838 h 227999"/>
                <a:gd name="connsiteX153" fmla="*/ 193842 w 202527"/>
                <a:gd name="connsiteY153" fmla="*/ 124112 h 227999"/>
                <a:gd name="connsiteX154" fmla="*/ 193209 w 202527"/>
                <a:gd name="connsiteY154" fmla="*/ 123999 h 227999"/>
                <a:gd name="connsiteX155" fmla="*/ 192423 w 202527"/>
                <a:gd name="connsiteY155" fmla="*/ 122939 h 227999"/>
                <a:gd name="connsiteX156" fmla="*/ 192114 w 202527"/>
                <a:gd name="connsiteY156" fmla="*/ 121799 h 227999"/>
                <a:gd name="connsiteX157" fmla="*/ 191266 w 202527"/>
                <a:gd name="connsiteY157" fmla="*/ 121334 h 227999"/>
                <a:gd name="connsiteX158" fmla="*/ 188169 w 202527"/>
                <a:gd name="connsiteY158" fmla="*/ 120855 h 227999"/>
                <a:gd name="connsiteX159" fmla="*/ 187117 w 202527"/>
                <a:gd name="connsiteY159" fmla="*/ 120518 h 227999"/>
                <a:gd name="connsiteX160" fmla="*/ 186310 w 202527"/>
                <a:gd name="connsiteY160" fmla="*/ 120761 h 227999"/>
                <a:gd name="connsiteX161" fmla="*/ 185705 w 202527"/>
                <a:gd name="connsiteY161" fmla="*/ 121568 h 227999"/>
                <a:gd name="connsiteX162" fmla="*/ 186091 w 202527"/>
                <a:gd name="connsiteY162" fmla="*/ 122297 h 227999"/>
                <a:gd name="connsiteX163" fmla="*/ 186668 w 202527"/>
                <a:gd name="connsiteY163" fmla="*/ 123007 h 227999"/>
                <a:gd name="connsiteX164" fmla="*/ 188385 w 202527"/>
                <a:gd name="connsiteY164" fmla="*/ 124132 h 227999"/>
                <a:gd name="connsiteX165" fmla="*/ 188208 w 202527"/>
                <a:gd name="connsiteY165" fmla="*/ 124579 h 227999"/>
                <a:gd name="connsiteX166" fmla="*/ 184509 w 202527"/>
                <a:gd name="connsiteY166" fmla="*/ 125673 h 227999"/>
                <a:gd name="connsiteX167" fmla="*/ 182181 w 202527"/>
                <a:gd name="connsiteY167" fmla="*/ 126795 h 227999"/>
                <a:gd name="connsiteX168" fmla="*/ 180013 w 202527"/>
                <a:gd name="connsiteY168" fmla="*/ 127425 h 227999"/>
                <a:gd name="connsiteX169" fmla="*/ 177804 w 202527"/>
                <a:gd name="connsiteY169" fmla="*/ 128586 h 227999"/>
                <a:gd name="connsiteX170" fmla="*/ 173444 w 202527"/>
                <a:gd name="connsiteY170" fmla="*/ 129889 h 227999"/>
                <a:gd name="connsiteX171" fmla="*/ 170246 w 202527"/>
                <a:gd name="connsiteY171" fmla="*/ 130235 h 227999"/>
                <a:gd name="connsiteX172" fmla="*/ 169579 w 202527"/>
                <a:gd name="connsiteY172" fmla="*/ 130579 h 227999"/>
                <a:gd name="connsiteX173" fmla="*/ 168385 w 202527"/>
                <a:gd name="connsiteY173" fmla="*/ 132786 h 227999"/>
                <a:gd name="connsiteX174" fmla="*/ 167579 w 202527"/>
                <a:gd name="connsiteY174" fmla="*/ 133247 h 227999"/>
                <a:gd name="connsiteX175" fmla="*/ 166806 w 202527"/>
                <a:gd name="connsiteY175" fmla="*/ 133008 h 227999"/>
                <a:gd name="connsiteX176" fmla="*/ 166219 w 202527"/>
                <a:gd name="connsiteY176" fmla="*/ 132647 h 227999"/>
                <a:gd name="connsiteX177" fmla="*/ 165476 w 202527"/>
                <a:gd name="connsiteY177" fmla="*/ 132946 h 227999"/>
                <a:gd name="connsiteX178" fmla="*/ 164703 w 202527"/>
                <a:gd name="connsiteY178" fmla="*/ 133676 h 227999"/>
                <a:gd name="connsiteX179" fmla="*/ 163895 w 202527"/>
                <a:gd name="connsiteY179" fmla="*/ 133964 h 227999"/>
                <a:gd name="connsiteX180" fmla="*/ 163191 w 202527"/>
                <a:gd name="connsiteY180" fmla="*/ 133954 h 227999"/>
                <a:gd name="connsiteX181" fmla="*/ 161941 w 202527"/>
                <a:gd name="connsiteY181" fmla="*/ 135879 h 227999"/>
                <a:gd name="connsiteX182" fmla="*/ 158298 w 202527"/>
                <a:gd name="connsiteY182" fmla="*/ 136463 h 227999"/>
                <a:gd name="connsiteX183" fmla="*/ 157871 w 202527"/>
                <a:gd name="connsiteY183" fmla="*/ 137460 h 227999"/>
                <a:gd name="connsiteX184" fmla="*/ 157201 w 202527"/>
                <a:gd name="connsiteY184" fmla="*/ 138616 h 227999"/>
                <a:gd name="connsiteX185" fmla="*/ 156668 w 202527"/>
                <a:gd name="connsiteY185" fmla="*/ 138899 h 227999"/>
                <a:gd name="connsiteX186" fmla="*/ 155022 w 202527"/>
                <a:gd name="connsiteY186" fmla="*/ 138441 h 227999"/>
                <a:gd name="connsiteX187" fmla="*/ 152749 w 202527"/>
                <a:gd name="connsiteY187" fmla="*/ 138188 h 227999"/>
                <a:gd name="connsiteX188" fmla="*/ 151444 w 202527"/>
                <a:gd name="connsiteY188" fmla="*/ 138821 h 227999"/>
                <a:gd name="connsiteX189" fmla="*/ 149877 w 202527"/>
                <a:gd name="connsiteY189" fmla="*/ 139171 h 227999"/>
                <a:gd name="connsiteX190" fmla="*/ 147964 w 202527"/>
                <a:gd name="connsiteY190" fmla="*/ 139277 h 227999"/>
                <a:gd name="connsiteX191" fmla="*/ 145832 w 202527"/>
                <a:gd name="connsiteY191" fmla="*/ 140541 h 227999"/>
                <a:gd name="connsiteX192" fmla="*/ 143753 w 202527"/>
                <a:gd name="connsiteY192" fmla="*/ 142759 h 227999"/>
                <a:gd name="connsiteX193" fmla="*/ 142582 w 202527"/>
                <a:gd name="connsiteY193" fmla="*/ 144714 h 227999"/>
                <a:gd name="connsiteX194" fmla="*/ 141956 w 202527"/>
                <a:gd name="connsiteY194" fmla="*/ 145416 h 227999"/>
                <a:gd name="connsiteX195" fmla="*/ 140935 w 202527"/>
                <a:gd name="connsiteY195" fmla="*/ 143581 h 227999"/>
                <a:gd name="connsiteX196" fmla="*/ 139688 w 202527"/>
                <a:gd name="connsiteY196" fmla="*/ 142321 h 227999"/>
                <a:gd name="connsiteX197" fmla="*/ 138806 w 202527"/>
                <a:gd name="connsiteY197" fmla="*/ 141667 h 227999"/>
                <a:gd name="connsiteX198" fmla="*/ 138017 w 202527"/>
                <a:gd name="connsiteY198" fmla="*/ 141666 h 227999"/>
                <a:gd name="connsiteX199" fmla="*/ 137810 w 202527"/>
                <a:gd name="connsiteY199" fmla="*/ 141934 h 227999"/>
                <a:gd name="connsiteX200" fmla="*/ 137808 w 202527"/>
                <a:gd name="connsiteY200" fmla="*/ 142895 h 227999"/>
                <a:gd name="connsiteX201" fmla="*/ 138650 w 202527"/>
                <a:gd name="connsiteY201" fmla="*/ 144491 h 227999"/>
                <a:gd name="connsiteX202" fmla="*/ 139693 w 202527"/>
                <a:gd name="connsiteY202" fmla="*/ 145579 h 227999"/>
                <a:gd name="connsiteX203" fmla="*/ 139859 w 202527"/>
                <a:gd name="connsiteY203" fmla="*/ 146382 h 227999"/>
                <a:gd name="connsiteX204" fmla="*/ 140418 w 202527"/>
                <a:gd name="connsiteY204" fmla="*/ 147843 h 227999"/>
                <a:gd name="connsiteX205" fmla="*/ 141936 w 202527"/>
                <a:gd name="connsiteY205" fmla="*/ 149437 h 227999"/>
                <a:gd name="connsiteX206" fmla="*/ 144318 w 202527"/>
                <a:gd name="connsiteY206" fmla="*/ 150700 h 227999"/>
                <a:gd name="connsiteX207" fmla="*/ 145942 w 202527"/>
                <a:gd name="connsiteY207" fmla="*/ 151943 h 227999"/>
                <a:gd name="connsiteX208" fmla="*/ 147145 w 202527"/>
                <a:gd name="connsiteY208" fmla="*/ 153665 h 227999"/>
                <a:gd name="connsiteX209" fmla="*/ 147156 w 202527"/>
                <a:gd name="connsiteY209" fmla="*/ 154194 h 227999"/>
                <a:gd name="connsiteX210" fmla="*/ 146825 w 202527"/>
                <a:gd name="connsiteY210" fmla="*/ 154897 h 227999"/>
                <a:gd name="connsiteX211" fmla="*/ 146257 w 202527"/>
                <a:gd name="connsiteY211" fmla="*/ 155559 h 227999"/>
                <a:gd name="connsiteX212" fmla="*/ 145778 w 202527"/>
                <a:gd name="connsiteY212" fmla="*/ 156421 h 227999"/>
                <a:gd name="connsiteX213" fmla="*/ 144459 w 202527"/>
                <a:gd name="connsiteY213" fmla="*/ 158163 h 227999"/>
                <a:gd name="connsiteX214" fmla="*/ 144849 w 202527"/>
                <a:gd name="connsiteY214" fmla="*/ 158924 h 227999"/>
                <a:gd name="connsiteX215" fmla="*/ 145929 w 202527"/>
                <a:gd name="connsiteY215" fmla="*/ 159885 h 227999"/>
                <a:gd name="connsiteX216" fmla="*/ 146886 w 202527"/>
                <a:gd name="connsiteY216" fmla="*/ 161038 h 227999"/>
                <a:gd name="connsiteX217" fmla="*/ 148112 w 202527"/>
                <a:gd name="connsiteY217" fmla="*/ 162901 h 227999"/>
                <a:gd name="connsiteX218" fmla="*/ 149799 w 202527"/>
                <a:gd name="connsiteY218" fmla="*/ 166162 h 227999"/>
                <a:gd name="connsiteX219" fmla="*/ 150885 w 202527"/>
                <a:gd name="connsiteY219" fmla="*/ 167503 h 227999"/>
                <a:gd name="connsiteX220" fmla="*/ 152360 w 202527"/>
                <a:gd name="connsiteY220" fmla="*/ 168887 h 227999"/>
                <a:gd name="connsiteX221" fmla="*/ 153809 w 202527"/>
                <a:gd name="connsiteY221" fmla="*/ 169943 h 227999"/>
                <a:gd name="connsiteX222" fmla="*/ 156093 w 202527"/>
                <a:gd name="connsiteY222" fmla="*/ 169911 h 227999"/>
                <a:gd name="connsiteX223" fmla="*/ 158460 w 202527"/>
                <a:gd name="connsiteY223" fmla="*/ 171925 h 227999"/>
                <a:gd name="connsiteX224" fmla="*/ 161043 w 202527"/>
                <a:gd name="connsiteY224" fmla="*/ 174835 h 227999"/>
                <a:gd name="connsiteX225" fmla="*/ 162973 w 202527"/>
                <a:gd name="connsiteY225" fmla="*/ 176169 h 227999"/>
                <a:gd name="connsiteX226" fmla="*/ 164321 w 202527"/>
                <a:gd name="connsiteY226" fmla="*/ 176575 h 227999"/>
                <a:gd name="connsiteX227" fmla="*/ 165433 w 202527"/>
                <a:gd name="connsiteY227" fmla="*/ 177622 h 227999"/>
                <a:gd name="connsiteX228" fmla="*/ 166420 w 202527"/>
                <a:gd name="connsiteY228" fmla="*/ 179127 h 227999"/>
                <a:gd name="connsiteX229" fmla="*/ 166806 w 202527"/>
                <a:gd name="connsiteY229" fmla="*/ 179997 h 227999"/>
                <a:gd name="connsiteX230" fmla="*/ 167681 w 202527"/>
                <a:gd name="connsiteY230" fmla="*/ 180625 h 227999"/>
                <a:gd name="connsiteX231" fmla="*/ 170045 w 202527"/>
                <a:gd name="connsiteY231" fmla="*/ 180508 h 227999"/>
                <a:gd name="connsiteX232" fmla="*/ 173081 w 202527"/>
                <a:gd name="connsiteY232" fmla="*/ 182873 h 227999"/>
                <a:gd name="connsiteX233" fmla="*/ 174960 w 202527"/>
                <a:gd name="connsiteY233" fmla="*/ 184603 h 227999"/>
                <a:gd name="connsiteX234" fmla="*/ 175951 w 202527"/>
                <a:gd name="connsiteY234" fmla="*/ 185999 h 227999"/>
                <a:gd name="connsiteX235" fmla="*/ 175690 w 202527"/>
                <a:gd name="connsiteY235" fmla="*/ 186552 h 227999"/>
                <a:gd name="connsiteX236" fmla="*/ 175569 w 202527"/>
                <a:gd name="connsiteY236" fmla="*/ 188289 h 227999"/>
                <a:gd name="connsiteX237" fmla="*/ 175599 w 202527"/>
                <a:gd name="connsiteY237" fmla="*/ 190129 h 227999"/>
                <a:gd name="connsiteX238" fmla="*/ 175301 w 202527"/>
                <a:gd name="connsiteY238" fmla="*/ 191102 h 227999"/>
                <a:gd name="connsiteX239" fmla="*/ 173943 w 202527"/>
                <a:gd name="connsiteY239" fmla="*/ 192382 h 227999"/>
                <a:gd name="connsiteX240" fmla="*/ 173241 w 202527"/>
                <a:gd name="connsiteY240" fmla="*/ 192654 h 227999"/>
                <a:gd name="connsiteX241" fmla="*/ 172866 w 202527"/>
                <a:gd name="connsiteY241" fmla="*/ 192930 h 227999"/>
                <a:gd name="connsiteX242" fmla="*/ 168696 w 202527"/>
                <a:gd name="connsiteY242" fmla="*/ 191261 h 227999"/>
                <a:gd name="connsiteX243" fmla="*/ 168365 w 202527"/>
                <a:gd name="connsiteY243" fmla="*/ 191546 h 227999"/>
                <a:gd name="connsiteX244" fmla="*/ 168104 w 202527"/>
                <a:gd name="connsiteY244" fmla="*/ 191752 h 227999"/>
                <a:gd name="connsiteX245" fmla="*/ 166988 w 202527"/>
                <a:gd name="connsiteY245" fmla="*/ 196586 h 227999"/>
                <a:gd name="connsiteX246" fmla="*/ 166219 w 202527"/>
                <a:gd name="connsiteY246" fmla="*/ 197514 h 227999"/>
                <a:gd name="connsiteX247" fmla="*/ 165074 w 202527"/>
                <a:gd name="connsiteY247" fmla="*/ 198368 h 227999"/>
                <a:gd name="connsiteX248" fmla="*/ 162695 w 202527"/>
                <a:gd name="connsiteY248" fmla="*/ 199199 h 227999"/>
                <a:gd name="connsiteX249" fmla="*/ 161041 w 202527"/>
                <a:gd name="connsiteY249" fmla="*/ 199537 h 227999"/>
                <a:gd name="connsiteX250" fmla="*/ 159752 w 202527"/>
                <a:gd name="connsiteY250" fmla="*/ 199958 h 227999"/>
                <a:gd name="connsiteX251" fmla="*/ 155668 w 202527"/>
                <a:gd name="connsiteY251" fmla="*/ 201977 h 227999"/>
                <a:gd name="connsiteX252" fmla="*/ 153828 w 202527"/>
                <a:gd name="connsiteY252" fmla="*/ 203189 h 227999"/>
                <a:gd name="connsiteX253" fmla="*/ 152636 w 202527"/>
                <a:gd name="connsiteY253" fmla="*/ 204711 h 227999"/>
                <a:gd name="connsiteX254" fmla="*/ 152630 w 202527"/>
                <a:gd name="connsiteY254" fmla="*/ 205587 h 227999"/>
                <a:gd name="connsiteX255" fmla="*/ 154616 w 202527"/>
                <a:gd name="connsiteY255" fmla="*/ 208160 h 227999"/>
                <a:gd name="connsiteX256" fmla="*/ 156908 w 202527"/>
                <a:gd name="connsiteY256" fmla="*/ 210815 h 227999"/>
                <a:gd name="connsiteX257" fmla="*/ 156923 w 202527"/>
                <a:gd name="connsiteY257" fmla="*/ 213149 h 227999"/>
                <a:gd name="connsiteX258" fmla="*/ 155908 w 202527"/>
                <a:gd name="connsiteY258" fmla="*/ 214893 h 227999"/>
                <a:gd name="connsiteX259" fmla="*/ 155672 w 202527"/>
                <a:gd name="connsiteY259" fmla="*/ 215567 h 227999"/>
                <a:gd name="connsiteX260" fmla="*/ 156346 w 202527"/>
                <a:gd name="connsiteY260" fmla="*/ 215820 h 227999"/>
                <a:gd name="connsiteX261" fmla="*/ 157616 w 202527"/>
                <a:gd name="connsiteY261" fmla="*/ 215917 h 227999"/>
                <a:gd name="connsiteX262" fmla="*/ 158678 w 202527"/>
                <a:gd name="connsiteY262" fmla="*/ 216217 h 227999"/>
                <a:gd name="connsiteX263" fmla="*/ 159132 w 202527"/>
                <a:gd name="connsiteY263" fmla="*/ 217443 h 227999"/>
                <a:gd name="connsiteX264" fmla="*/ 158996 w 202527"/>
                <a:gd name="connsiteY264" fmla="*/ 219578 h 227999"/>
                <a:gd name="connsiteX265" fmla="*/ 158633 w 202527"/>
                <a:gd name="connsiteY265" fmla="*/ 221575 h 227999"/>
                <a:gd name="connsiteX266" fmla="*/ 158253 w 202527"/>
                <a:gd name="connsiteY266" fmla="*/ 222415 h 227999"/>
                <a:gd name="connsiteX267" fmla="*/ 157229 w 202527"/>
                <a:gd name="connsiteY267" fmla="*/ 222482 h 227999"/>
                <a:gd name="connsiteX268" fmla="*/ 155258 w 202527"/>
                <a:gd name="connsiteY268" fmla="*/ 221619 h 227999"/>
                <a:gd name="connsiteX269" fmla="*/ 153720 w 202527"/>
                <a:gd name="connsiteY269" fmla="*/ 220616 h 227999"/>
                <a:gd name="connsiteX270" fmla="*/ 153133 w 202527"/>
                <a:gd name="connsiteY270" fmla="*/ 219999 h 227999"/>
                <a:gd name="connsiteX271" fmla="*/ 153096 w 202527"/>
                <a:gd name="connsiteY271" fmla="*/ 219261 h 227999"/>
                <a:gd name="connsiteX272" fmla="*/ 153429 w 202527"/>
                <a:gd name="connsiteY272" fmla="*/ 218795 h 227999"/>
                <a:gd name="connsiteX273" fmla="*/ 152880 w 202527"/>
                <a:gd name="connsiteY273" fmla="*/ 217885 h 227999"/>
                <a:gd name="connsiteX274" fmla="*/ 150989 w 202527"/>
                <a:gd name="connsiteY274" fmla="*/ 217044 h 227999"/>
                <a:gd name="connsiteX275" fmla="*/ 148963 w 202527"/>
                <a:gd name="connsiteY275" fmla="*/ 217410 h 227999"/>
                <a:gd name="connsiteX276" fmla="*/ 147467 w 202527"/>
                <a:gd name="connsiteY276" fmla="*/ 217977 h 227999"/>
                <a:gd name="connsiteX277" fmla="*/ 146502 w 202527"/>
                <a:gd name="connsiteY277" fmla="*/ 217944 h 227999"/>
                <a:gd name="connsiteX278" fmla="*/ 145459 w 202527"/>
                <a:gd name="connsiteY278" fmla="*/ 217134 h 227999"/>
                <a:gd name="connsiteX279" fmla="*/ 143854 w 202527"/>
                <a:gd name="connsiteY279" fmla="*/ 216514 h 227999"/>
                <a:gd name="connsiteX280" fmla="*/ 141757 w 202527"/>
                <a:gd name="connsiteY280" fmla="*/ 216105 h 227999"/>
                <a:gd name="connsiteX281" fmla="*/ 140451 w 202527"/>
                <a:gd name="connsiteY281" fmla="*/ 215668 h 227999"/>
                <a:gd name="connsiteX282" fmla="*/ 140176 w 202527"/>
                <a:gd name="connsiteY282" fmla="*/ 215926 h 227999"/>
                <a:gd name="connsiteX283" fmla="*/ 140330 w 202527"/>
                <a:gd name="connsiteY283" fmla="*/ 217679 h 227999"/>
                <a:gd name="connsiteX284" fmla="*/ 139928 w 202527"/>
                <a:gd name="connsiteY284" fmla="*/ 218444 h 227999"/>
                <a:gd name="connsiteX285" fmla="*/ 129561 w 202527"/>
                <a:gd name="connsiteY285" fmla="*/ 219456 h 227999"/>
                <a:gd name="connsiteX286" fmla="*/ 126402 w 202527"/>
                <a:gd name="connsiteY286" fmla="*/ 220404 h 227999"/>
                <a:gd name="connsiteX287" fmla="*/ 124102 w 202527"/>
                <a:gd name="connsiteY287" fmla="*/ 221629 h 227999"/>
                <a:gd name="connsiteX288" fmla="*/ 122400 w 202527"/>
                <a:gd name="connsiteY288" fmla="*/ 222160 h 227999"/>
                <a:gd name="connsiteX289" fmla="*/ 121984 w 202527"/>
                <a:gd name="connsiteY289" fmla="*/ 222915 h 227999"/>
                <a:gd name="connsiteX290" fmla="*/ 120299 w 202527"/>
                <a:gd name="connsiteY290" fmla="*/ 223906 h 227999"/>
                <a:gd name="connsiteX291" fmla="*/ 118397 w 202527"/>
                <a:gd name="connsiteY291" fmla="*/ 224223 h 227999"/>
                <a:gd name="connsiteX292" fmla="*/ 117939 w 202527"/>
                <a:gd name="connsiteY292" fmla="*/ 223898 h 227999"/>
                <a:gd name="connsiteX293" fmla="*/ 116719 w 202527"/>
                <a:gd name="connsiteY293" fmla="*/ 224356 h 227999"/>
                <a:gd name="connsiteX294" fmla="*/ 114640 w 202527"/>
                <a:gd name="connsiteY294" fmla="*/ 224797 h 227999"/>
                <a:gd name="connsiteX295" fmla="*/ 113288 w 202527"/>
                <a:gd name="connsiteY295" fmla="*/ 224657 h 227999"/>
                <a:gd name="connsiteX296" fmla="*/ 112653 w 202527"/>
                <a:gd name="connsiteY296" fmla="*/ 223856 h 227999"/>
                <a:gd name="connsiteX297" fmla="*/ 111366 w 202527"/>
                <a:gd name="connsiteY297" fmla="*/ 222629 h 227999"/>
                <a:gd name="connsiteX298" fmla="*/ 110850 w 202527"/>
                <a:gd name="connsiteY298" fmla="*/ 221778 h 227999"/>
                <a:gd name="connsiteX299" fmla="*/ 110904 w 202527"/>
                <a:gd name="connsiteY299" fmla="*/ 221233 h 227999"/>
                <a:gd name="connsiteX300" fmla="*/ 107997 w 202527"/>
                <a:gd name="connsiteY300" fmla="*/ 221123 h 227999"/>
                <a:gd name="connsiteX301" fmla="*/ 106164 w 202527"/>
                <a:gd name="connsiteY301" fmla="*/ 220475 h 227999"/>
                <a:gd name="connsiteX302" fmla="*/ 102275 w 202527"/>
                <a:gd name="connsiteY302" fmla="*/ 220627 h 227999"/>
                <a:gd name="connsiteX303" fmla="*/ 101316 w 202527"/>
                <a:gd name="connsiteY303" fmla="*/ 220353 h 227999"/>
                <a:gd name="connsiteX304" fmla="*/ 101116 w 202527"/>
                <a:gd name="connsiteY304" fmla="*/ 220647 h 227999"/>
                <a:gd name="connsiteX305" fmla="*/ 100530 w 202527"/>
                <a:gd name="connsiteY305" fmla="*/ 224128 h 227999"/>
                <a:gd name="connsiteX306" fmla="*/ 99761 w 202527"/>
                <a:gd name="connsiteY306" fmla="*/ 225556 h 227999"/>
                <a:gd name="connsiteX307" fmla="*/ 98515 w 202527"/>
                <a:gd name="connsiteY307" fmla="*/ 227030 h 227999"/>
                <a:gd name="connsiteX308" fmla="*/ 96920 w 202527"/>
                <a:gd name="connsiteY308" fmla="*/ 227850 h 227999"/>
                <a:gd name="connsiteX309" fmla="*/ 95646 w 202527"/>
                <a:gd name="connsiteY309" fmla="*/ 227999 h 227999"/>
                <a:gd name="connsiteX310" fmla="*/ 95706 w 202527"/>
                <a:gd name="connsiteY310" fmla="*/ 226925 h 227999"/>
                <a:gd name="connsiteX311" fmla="*/ 96028 w 202527"/>
                <a:gd name="connsiteY311" fmla="*/ 225630 h 227999"/>
                <a:gd name="connsiteX312" fmla="*/ 95110 w 202527"/>
                <a:gd name="connsiteY312" fmla="*/ 225326 h 227999"/>
                <a:gd name="connsiteX313" fmla="*/ 93732 w 202527"/>
                <a:gd name="connsiteY313" fmla="*/ 225177 h 227999"/>
                <a:gd name="connsiteX314" fmla="*/ 93065 w 202527"/>
                <a:gd name="connsiteY314" fmla="*/ 224791 h 227999"/>
                <a:gd name="connsiteX315" fmla="*/ 93240 w 202527"/>
                <a:gd name="connsiteY315" fmla="*/ 223805 h 227999"/>
                <a:gd name="connsiteX316" fmla="*/ 92923 w 202527"/>
                <a:gd name="connsiteY316" fmla="*/ 223229 h 227999"/>
                <a:gd name="connsiteX317" fmla="*/ 92353 w 202527"/>
                <a:gd name="connsiteY317" fmla="*/ 222541 h 227999"/>
                <a:gd name="connsiteX318" fmla="*/ 90971 w 202527"/>
                <a:gd name="connsiteY318" fmla="*/ 221651 h 227999"/>
                <a:gd name="connsiteX319" fmla="*/ 88042 w 202527"/>
                <a:gd name="connsiteY319" fmla="*/ 220332 h 227999"/>
                <a:gd name="connsiteX320" fmla="*/ 86047 w 202527"/>
                <a:gd name="connsiteY320" fmla="*/ 219680 h 227999"/>
                <a:gd name="connsiteX321" fmla="*/ 85300 w 202527"/>
                <a:gd name="connsiteY321" fmla="*/ 220374 h 227999"/>
                <a:gd name="connsiteX322" fmla="*/ 83873 w 202527"/>
                <a:gd name="connsiteY322" fmla="*/ 221074 h 227999"/>
                <a:gd name="connsiteX323" fmla="*/ 81625 w 202527"/>
                <a:gd name="connsiteY323" fmla="*/ 220845 h 227999"/>
                <a:gd name="connsiteX324" fmla="*/ 81074 w 202527"/>
                <a:gd name="connsiteY324" fmla="*/ 221120 h 227999"/>
                <a:gd name="connsiteX325" fmla="*/ 77226 w 202527"/>
                <a:gd name="connsiteY325" fmla="*/ 219023 h 227999"/>
                <a:gd name="connsiteX326" fmla="*/ 73529 w 202527"/>
                <a:gd name="connsiteY326" fmla="*/ 217005 h 227999"/>
                <a:gd name="connsiteX327" fmla="*/ 72307 w 202527"/>
                <a:gd name="connsiteY327" fmla="*/ 217005 h 227999"/>
                <a:gd name="connsiteX328" fmla="*/ 66859 w 202527"/>
                <a:gd name="connsiteY328" fmla="*/ 217408 h 227999"/>
                <a:gd name="connsiteX329" fmla="*/ 66701 w 202527"/>
                <a:gd name="connsiteY329" fmla="*/ 217230 h 227999"/>
                <a:gd name="connsiteX330" fmla="*/ 65753 w 202527"/>
                <a:gd name="connsiteY330" fmla="*/ 216080 h 227999"/>
                <a:gd name="connsiteX331" fmla="*/ 64911 w 202527"/>
                <a:gd name="connsiteY331" fmla="*/ 215716 h 227999"/>
                <a:gd name="connsiteX332" fmla="*/ 64404 w 202527"/>
                <a:gd name="connsiteY332" fmla="*/ 215903 h 227999"/>
                <a:gd name="connsiteX333" fmla="*/ 64065 w 202527"/>
                <a:gd name="connsiteY333" fmla="*/ 216237 h 227999"/>
                <a:gd name="connsiteX334" fmla="*/ 63480 w 202527"/>
                <a:gd name="connsiteY334" fmla="*/ 216180 h 227999"/>
                <a:gd name="connsiteX335" fmla="*/ 61037 w 202527"/>
                <a:gd name="connsiteY335" fmla="*/ 214322 h 227999"/>
                <a:gd name="connsiteX336" fmla="*/ 60038 w 202527"/>
                <a:gd name="connsiteY336" fmla="*/ 214054 h 227999"/>
                <a:gd name="connsiteX337" fmla="*/ 58649 w 202527"/>
                <a:gd name="connsiteY337" fmla="*/ 214300 h 227999"/>
                <a:gd name="connsiteX338" fmla="*/ 57010 w 202527"/>
                <a:gd name="connsiteY338" fmla="*/ 215300 h 227999"/>
                <a:gd name="connsiteX339" fmla="*/ 56295 w 202527"/>
                <a:gd name="connsiteY339" fmla="*/ 216525 h 227999"/>
                <a:gd name="connsiteX340" fmla="*/ 56513 w 202527"/>
                <a:gd name="connsiteY340" fmla="*/ 217230 h 227999"/>
                <a:gd name="connsiteX341" fmla="*/ 57364 w 202527"/>
                <a:gd name="connsiteY341" fmla="*/ 217537 h 227999"/>
                <a:gd name="connsiteX342" fmla="*/ 59588 w 202527"/>
                <a:gd name="connsiteY342" fmla="*/ 217331 h 227999"/>
                <a:gd name="connsiteX343" fmla="*/ 59914 w 202527"/>
                <a:gd name="connsiteY343" fmla="*/ 217534 h 227999"/>
                <a:gd name="connsiteX344" fmla="*/ 59990 w 202527"/>
                <a:gd name="connsiteY344" fmla="*/ 217930 h 227999"/>
                <a:gd name="connsiteX345" fmla="*/ 59746 w 202527"/>
                <a:gd name="connsiteY345" fmla="*/ 218318 h 227999"/>
                <a:gd name="connsiteX346" fmla="*/ 57937 w 202527"/>
                <a:gd name="connsiteY346" fmla="*/ 218636 h 227999"/>
                <a:gd name="connsiteX347" fmla="*/ 57414 w 202527"/>
                <a:gd name="connsiteY347" fmla="*/ 219099 h 227999"/>
                <a:gd name="connsiteX348" fmla="*/ 56885 w 202527"/>
                <a:gd name="connsiteY348" fmla="*/ 219213 h 227999"/>
                <a:gd name="connsiteX349" fmla="*/ 56546 w 202527"/>
                <a:gd name="connsiteY349" fmla="*/ 219285 h 227999"/>
                <a:gd name="connsiteX350" fmla="*/ 54624 w 202527"/>
                <a:gd name="connsiteY350" fmla="*/ 218798 h 227999"/>
                <a:gd name="connsiteX351" fmla="*/ 51759 w 202527"/>
                <a:gd name="connsiteY351" fmla="*/ 218798 h 227999"/>
                <a:gd name="connsiteX352" fmla="*/ 49448 w 202527"/>
                <a:gd name="connsiteY352" fmla="*/ 219662 h 227999"/>
                <a:gd name="connsiteX353" fmla="*/ 45762 w 202527"/>
                <a:gd name="connsiteY353" fmla="*/ 220007 h 227999"/>
                <a:gd name="connsiteX354" fmla="*/ 40698 w 202527"/>
                <a:gd name="connsiteY354" fmla="*/ 219838 h 227999"/>
                <a:gd name="connsiteX355" fmla="*/ 38876 w 202527"/>
                <a:gd name="connsiteY355" fmla="*/ 219197 h 227999"/>
                <a:gd name="connsiteX356" fmla="*/ 37766 w 202527"/>
                <a:gd name="connsiteY356" fmla="*/ 218809 h 227999"/>
                <a:gd name="connsiteX357" fmla="*/ 36969 w 202527"/>
                <a:gd name="connsiteY357" fmla="*/ 216916 h 227999"/>
                <a:gd name="connsiteX358" fmla="*/ 37172 w 202527"/>
                <a:gd name="connsiteY358" fmla="*/ 214110 h 227999"/>
                <a:gd name="connsiteX359" fmla="*/ 38381 w 202527"/>
                <a:gd name="connsiteY359" fmla="*/ 210391 h 227999"/>
                <a:gd name="connsiteX360" fmla="*/ 38718 w 202527"/>
                <a:gd name="connsiteY360" fmla="*/ 207658 h 227999"/>
                <a:gd name="connsiteX361" fmla="*/ 38180 w 202527"/>
                <a:gd name="connsiteY361" fmla="*/ 205916 h 227999"/>
                <a:gd name="connsiteX362" fmla="*/ 38897 w 202527"/>
                <a:gd name="connsiteY362" fmla="*/ 203303 h 227999"/>
                <a:gd name="connsiteX363" fmla="*/ 40867 w 202527"/>
                <a:gd name="connsiteY363" fmla="*/ 199818 h 227999"/>
                <a:gd name="connsiteX364" fmla="*/ 42182 w 202527"/>
                <a:gd name="connsiteY364" fmla="*/ 196136 h 227999"/>
                <a:gd name="connsiteX365" fmla="*/ 42838 w 202527"/>
                <a:gd name="connsiteY365" fmla="*/ 192255 h 227999"/>
                <a:gd name="connsiteX366" fmla="*/ 43792 w 202527"/>
                <a:gd name="connsiteY366" fmla="*/ 189722 h 227999"/>
                <a:gd name="connsiteX367" fmla="*/ 45667 w 202527"/>
                <a:gd name="connsiteY367" fmla="*/ 187945 h 227999"/>
                <a:gd name="connsiteX368" fmla="*/ 50117 w 202527"/>
                <a:gd name="connsiteY368" fmla="*/ 182971 h 227999"/>
                <a:gd name="connsiteX369" fmla="*/ 50478 w 202527"/>
                <a:gd name="connsiteY369" fmla="*/ 182596 h 227999"/>
                <a:gd name="connsiteX370" fmla="*/ 50357 w 202527"/>
                <a:gd name="connsiteY370" fmla="*/ 180111 h 227999"/>
                <a:gd name="connsiteX371" fmla="*/ 49158 w 202527"/>
                <a:gd name="connsiteY371" fmla="*/ 179760 h 227999"/>
                <a:gd name="connsiteX372" fmla="*/ 47403 w 202527"/>
                <a:gd name="connsiteY372" fmla="*/ 179046 h 227999"/>
                <a:gd name="connsiteX373" fmla="*/ 42935 w 202527"/>
                <a:gd name="connsiteY373" fmla="*/ 178162 h 227999"/>
                <a:gd name="connsiteX374" fmla="*/ 38772 w 202527"/>
                <a:gd name="connsiteY374" fmla="*/ 177595 h 227999"/>
                <a:gd name="connsiteX375" fmla="*/ 36882 w 202527"/>
                <a:gd name="connsiteY375" fmla="*/ 176892 h 227999"/>
                <a:gd name="connsiteX376" fmla="*/ 35226 w 202527"/>
                <a:gd name="connsiteY376" fmla="*/ 175011 h 227999"/>
                <a:gd name="connsiteX377" fmla="*/ 34200 w 202527"/>
                <a:gd name="connsiteY377" fmla="*/ 174986 h 227999"/>
                <a:gd name="connsiteX378" fmla="*/ 32192 w 202527"/>
                <a:gd name="connsiteY378" fmla="*/ 175659 h 227999"/>
                <a:gd name="connsiteX379" fmla="*/ 29683 w 202527"/>
                <a:gd name="connsiteY379" fmla="*/ 176114 h 227999"/>
                <a:gd name="connsiteX380" fmla="*/ 27859 w 202527"/>
                <a:gd name="connsiteY380" fmla="*/ 175716 h 227999"/>
                <a:gd name="connsiteX381" fmla="*/ 26716 w 202527"/>
                <a:gd name="connsiteY381" fmla="*/ 175793 h 227999"/>
                <a:gd name="connsiteX382" fmla="*/ 26075 w 202527"/>
                <a:gd name="connsiteY382" fmla="*/ 176140 h 227999"/>
                <a:gd name="connsiteX383" fmla="*/ 25753 w 202527"/>
                <a:gd name="connsiteY383" fmla="*/ 175833 h 227999"/>
                <a:gd name="connsiteX384" fmla="*/ 25295 w 202527"/>
                <a:gd name="connsiteY384" fmla="*/ 174220 h 227999"/>
                <a:gd name="connsiteX385" fmla="*/ 24341 w 202527"/>
                <a:gd name="connsiteY385" fmla="*/ 173798 h 227999"/>
                <a:gd name="connsiteX386" fmla="*/ 22857 w 202527"/>
                <a:gd name="connsiteY386" fmla="*/ 173429 h 227999"/>
                <a:gd name="connsiteX387" fmla="*/ 21935 w 202527"/>
                <a:gd name="connsiteY387" fmla="*/ 173589 h 227999"/>
                <a:gd name="connsiteX388" fmla="*/ 21298 w 202527"/>
                <a:gd name="connsiteY388" fmla="*/ 174390 h 227999"/>
                <a:gd name="connsiteX389" fmla="*/ 20316 w 202527"/>
                <a:gd name="connsiteY389" fmla="*/ 174955 h 227999"/>
                <a:gd name="connsiteX390" fmla="*/ 19413 w 202527"/>
                <a:gd name="connsiteY390" fmla="*/ 174771 h 227999"/>
                <a:gd name="connsiteX391" fmla="*/ 16586 w 202527"/>
                <a:gd name="connsiteY391" fmla="*/ 171044 h 227999"/>
                <a:gd name="connsiteX392" fmla="*/ 15858 w 202527"/>
                <a:gd name="connsiteY392" fmla="*/ 170219 h 227999"/>
                <a:gd name="connsiteX393" fmla="*/ 15673 w 202527"/>
                <a:gd name="connsiteY393" fmla="*/ 169460 h 227999"/>
                <a:gd name="connsiteX394" fmla="*/ 14965 w 202527"/>
                <a:gd name="connsiteY394" fmla="*/ 168071 h 227999"/>
                <a:gd name="connsiteX395" fmla="*/ 13280 w 202527"/>
                <a:gd name="connsiteY395" fmla="*/ 166689 h 227999"/>
                <a:gd name="connsiteX396" fmla="*/ 11603 w 202527"/>
                <a:gd name="connsiteY396" fmla="*/ 166251 h 227999"/>
                <a:gd name="connsiteX397" fmla="*/ 10765 w 202527"/>
                <a:gd name="connsiteY397" fmla="*/ 166406 h 227999"/>
                <a:gd name="connsiteX398" fmla="*/ 10855 w 202527"/>
                <a:gd name="connsiteY398" fmla="*/ 164686 h 227999"/>
                <a:gd name="connsiteX399" fmla="*/ 11516 w 202527"/>
                <a:gd name="connsiteY399" fmla="*/ 162190 h 227999"/>
                <a:gd name="connsiteX400" fmla="*/ 12144 w 202527"/>
                <a:gd name="connsiteY400" fmla="*/ 160886 h 227999"/>
                <a:gd name="connsiteX401" fmla="*/ 12982 w 202527"/>
                <a:gd name="connsiteY401" fmla="*/ 159820 h 227999"/>
                <a:gd name="connsiteX402" fmla="*/ 13870 w 202527"/>
                <a:gd name="connsiteY402" fmla="*/ 159079 h 227999"/>
                <a:gd name="connsiteX403" fmla="*/ 14069 w 202527"/>
                <a:gd name="connsiteY403" fmla="*/ 157738 h 227999"/>
                <a:gd name="connsiteX404" fmla="*/ 13926 w 202527"/>
                <a:gd name="connsiteY404" fmla="*/ 156469 h 227999"/>
                <a:gd name="connsiteX405" fmla="*/ 12900 w 202527"/>
                <a:gd name="connsiteY405" fmla="*/ 156272 h 227999"/>
                <a:gd name="connsiteX406" fmla="*/ 10329 w 202527"/>
                <a:gd name="connsiteY406" fmla="*/ 155334 h 227999"/>
                <a:gd name="connsiteX407" fmla="*/ 8813 w 202527"/>
                <a:gd name="connsiteY407" fmla="*/ 154346 h 227999"/>
                <a:gd name="connsiteX408" fmla="*/ 7681 w 202527"/>
                <a:gd name="connsiteY408" fmla="*/ 153108 h 227999"/>
                <a:gd name="connsiteX409" fmla="*/ 6206 w 202527"/>
                <a:gd name="connsiteY409" fmla="*/ 151401 h 227999"/>
                <a:gd name="connsiteX410" fmla="*/ 5578 w 202527"/>
                <a:gd name="connsiteY410" fmla="*/ 149667 h 227999"/>
                <a:gd name="connsiteX411" fmla="*/ 5546 w 202527"/>
                <a:gd name="connsiteY411" fmla="*/ 147938 h 227999"/>
                <a:gd name="connsiteX412" fmla="*/ 5727 w 202527"/>
                <a:gd name="connsiteY412" fmla="*/ 147164 h 227999"/>
                <a:gd name="connsiteX413" fmla="*/ 5833 w 202527"/>
                <a:gd name="connsiteY413" fmla="*/ 146633 h 227999"/>
                <a:gd name="connsiteX414" fmla="*/ 7023 w 202527"/>
                <a:gd name="connsiteY414" fmla="*/ 143934 h 227999"/>
                <a:gd name="connsiteX415" fmla="*/ 11210 w 202527"/>
                <a:gd name="connsiteY415" fmla="*/ 141516 h 227999"/>
                <a:gd name="connsiteX416" fmla="*/ 10749 w 202527"/>
                <a:gd name="connsiteY416" fmla="*/ 139079 h 227999"/>
                <a:gd name="connsiteX417" fmla="*/ 10689 w 202527"/>
                <a:gd name="connsiteY417" fmla="*/ 137584 h 227999"/>
                <a:gd name="connsiteX418" fmla="*/ 9672 w 202527"/>
                <a:gd name="connsiteY418" fmla="*/ 136605 h 227999"/>
                <a:gd name="connsiteX419" fmla="*/ 7640 w 202527"/>
                <a:gd name="connsiteY419" fmla="*/ 136209 h 227999"/>
                <a:gd name="connsiteX420" fmla="*/ 7102 w 202527"/>
                <a:gd name="connsiteY420" fmla="*/ 135530 h 227999"/>
                <a:gd name="connsiteX421" fmla="*/ 6876 w 202527"/>
                <a:gd name="connsiteY421" fmla="*/ 134867 h 227999"/>
                <a:gd name="connsiteX422" fmla="*/ 8368 w 202527"/>
                <a:gd name="connsiteY422" fmla="*/ 133375 h 227999"/>
                <a:gd name="connsiteX423" fmla="*/ 6567 w 202527"/>
                <a:gd name="connsiteY423" fmla="*/ 132195 h 227999"/>
                <a:gd name="connsiteX424" fmla="*/ 5792 w 202527"/>
                <a:gd name="connsiteY424" fmla="*/ 130974 h 227999"/>
                <a:gd name="connsiteX425" fmla="*/ 3282 w 202527"/>
                <a:gd name="connsiteY425" fmla="*/ 129432 h 227999"/>
                <a:gd name="connsiteX426" fmla="*/ 3017 w 202527"/>
                <a:gd name="connsiteY426" fmla="*/ 128901 h 227999"/>
                <a:gd name="connsiteX427" fmla="*/ 4222 w 202527"/>
                <a:gd name="connsiteY427" fmla="*/ 124399 h 227999"/>
                <a:gd name="connsiteX428" fmla="*/ 3302 w 202527"/>
                <a:gd name="connsiteY428" fmla="*/ 123084 h 227999"/>
                <a:gd name="connsiteX429" fmla="*/ 2157 w 202527"/>
                <a:gd name="connsiteY429" fmla="*/ 122413 h 227999"/>
                <a:gd name="connsiteX430" fmla="*/ 823 w 202527"/>
                <a:gd name="connsiteY430" fmla="*/ 122083 h 227999"/>
                <a:gd name="connsiteX431" fmla="*/ 214 w 202527"/>
                <a:gd name="connsiteY431" fmla="*/ 121457 h 227999"/>
                <a:gd name="connsiteX432" fmla="*/ 0 w 202527"/>
                <a:gd name="connsiteY432" fmla="*/ 120742 h 227999"/>
                <a:gd name="connsiteX433" fmla="*/ 240 w 202527"/>
                <a:gd name="connsiteY433" fmla="*/ 120299 h 227999"/>
                <a:gd name="connsiteX434" fmla="*/ 1807 w 202527"/>
                <a:gd name="connsiteY434" fmla="*/ 120430 h 227999"/>
                <a:gd name="connsiteX435" fmla="*/ 2289 w 202527"/>
                <a:gd name="connsiteY435" fmla="*/ 119966 h 227999"/>
                <a:gd name="connsiteX436" fmla="*/ 6025 w 202527"/>
                <a:gd name="connsiteY436" fmla="*/ 117313 h 227999"/>
                <a:gd name="connsiteX437" fmla="*/ 6178 w 202527"/>
                <a:gd name="connsiteY437" fmla="*/ 116803 h 227999"/>
                <a:gd name="connsiteX438" fmla="*/ 5658 w 202527"/>
                <a:gd name="connsiteY438" fmla="*/ 116514 h 227999"/>
                <a:gd name="connsiteX439" fmla="*/ 4973 w 202527"/>
                <a:gd name="connsiteY439" fmla="*/ 116360 h 227999"/>
                <a:gd name="connsiteX440" fmla="*/ 4805 w 202527"/>
                <a:gd name="connsiteY440" fmla="*/ 115802 h 227999"/>
                <a:gd name="connsiteX441" fmla="*/ 4829 w 202527"/>
                <a:gd name="connsiteY441" fmla="*/ 115067 h 227999"/>
                <a:gd name="connsiteX442" fmla="*/ 6826 w 202527"/>
                <a:gd name="connsiteY442" fmla="*/ 111235 h 227999"/>
                <a:gd name="connsiteX443" fmla="*/ 7416 w 202527"/>
                <a:gd name="connsiteY443" fmla="*/ 109599 h 227999"/>
                <a:gd name="connsiteX444" fmla="*/ 7547 w 202527"/>
                <a:gd name="connsiteY444" fmla="*/ 108442 h 227999"/>
                <a:gd name="connsiteX445" fmla="*/ 7424 w 202527"/>
                <a:gd name="connsiteY445" fmla="*/ 107299 h 227999"/>
                <a:gd name="connsiteX446" fmla="*/ 6282 w 202527"/>
                <a:gd name="connsiteY446" fmla="*/ 105500 h 227999"/>
                <a:gd name="connsiteX447" fmla="*/ 5165 w 202527"/>
                <a:gd name="connsiteY447" fmla="*/ 104064 h 227999"/>
                <a:gd name="connsiteX448" fmla="*/ 5127 w 202527"/>
                <a:gd name="connsiteY448" fmla="*/ 102920 h 227999"/>
                <a:gd name="connsiteX449" fmla="*/ 4317 w 202527"/>
                <a:gd name="connsiteY449" fmla="*/ 102318 h 227999"/>
                <a:gd name="connsiteX450" fmla="*/ 2013 w 202527"/>
                <a:gd name="connsiteY450" fmla="*/ 99249 h 227999"/>
                <a:gd name="connsiteX451" fmla="*/ 2017 w 202527"/>
                <a:gd name="connsiteY451" fmla="*/ 98061 h 227999"/>
                <a:gd name="connsiteX452" fmla="*/ 3319 w 202527"/>
                <a:gd name="connsiteY452" fmla="*/ 97138 h 227999"/>
                <a:gd name="connsiteX453" fmla="*/ 5137 w 202527"/>
                <a:gd name="connsiteY453" fmla="*/ 96549 h 227999"/>
                <a:gd name="connsiteX454" fmla="*/ 5742 w 202527"/>
                <a:gd name="connsiteY454" fmla="*/ 96063 h 227999"/>
                <a:gd name="connsiteX455" fmla="*/ 6832 w 202527"/>
                <a:gd name="connsiteY455" fmla="*/ 95757 h 227999"/>
                <a:gd name="connsiteX456" fmla="*/ 9720 w 202527"/>
                <a:gd name="connsiteY456" fmla="*/ 96644 h 227999"/>
                <a:gd name="connsiteX457" fmla="*/ 11015 w 202527"/>
                <a:gd name="connsiteY457" fmla="*/ 97413 h 227999"/>
                <a:gd name="connsiteX458" fmla="*/ 11380 w 202527"/>
                <a:gd name="connsiteY458" fmla="*/ 97254 h 227999"/>
                <a:gd name="connsiteX459" fmla="*/ 12548 w 202527"/>
                <a:gd name="connsiteY459" fmla="*/ 96417 h 227999"/>
                <a:gd name="connsiteX460" fmla="*/ 14595 w 202527"/>
                <a:gd name="connsiteY460" fmla="*/ 96549 h 227999"/>
                <a:gd name="connsiteX461" fmla="*/ 19553 w 202527"/>
                <a:gd name="connsiteY461" fmla="*/ 94867 h 227999"/>
                <a:gd name="connsiteX462" fmla="*/ 20292 w 202527"/>
                <a:gd name="connsiteY462" fmla="*/ 94058 h 227999"/>
                <a:gd name="connsiteX463" fmla="*/ 20849 w 202527"/>
                <a:gd name="connsiteY463" fmla="*/ 93198 h 227999"/>
                <a:gd name="connsiteX464" fmla="*/ 20894 w 202527"/>
                <a:gd name="connsiteY464" fmla="*/ 92820 h 227999"/>
                <a:gd name="connsiteX465" fmla="*/ 18975 w 202527"/>
                <a:gd name="connsiteY465" fmla="*/ 91164 h 227999"/>
                <a:gd name="connsiteX466" fmla="*/ 18916 w 202527"/>
                <a:gd name="connsiteY466" fmla="*/ 90551 h 227999"/>
                <a:gd name="connsiteX467" fmla="*/ 19171 w 202527"/>
                <a:gd name="connsiteY467" fmla="*/ 89860 h 227999"/>
                <a:gd name="connsiteX468" fmla="*/ 19713 w 202527"/>
                <a:gd name="connsiteY468" fmla="*/ 89314 h 227999"/>
                <a:gd name="connsiteX469" fmla="*/ 20849 w 202527"/>
                <a:gd name="connsiteY469" fmla="*/ 88943 h 227999"/>
                <a:gd name="connsiteX470" fmla="*/ 22058 w 202527"/>
                <a:gd name="connsiteY470" fmla="*/ 88215 h 227999"/>
                <a:gd name="connsiteX471" fmla="*/ 24759 w 202527"/>
                <a:gd name="connsiteY471" fmla="*/ 86149 h 227999"/>
                <a:gd name="connsiteX472" fmla="*/ 25697 w 202527"/>
                <a:gd name="connsiteY472" fmla="*/ 84355 h 227999"/>
                <a:gd name="connsiteX473" fmla="*/ 25984 w 202527"/>
                <a:gd name="connsiteY473" fmla="*/ 82411 h 227999"/>
                <a:gd name="connsiteX474" fmla="*/ 26040 w 202527"/>
                <a:gd name="connsiteY474" fmla="*/ 80964 h 227999"/>
                <a:gd name="connsiteX475" fmla="*/ 25304 w 202527"/>
                <a:gd name="connsiteY475" fmla="*/ 79812 h 227999"/>
                <a:gd name="connsiteX476" fmla="*/ 24559 w 202527"/>
                <a:gd name="connsiteY476" fmla="*/ 79066 h 227999"/>
                <a:gd name="connsiteX477" fmla="*/ 23540 w 202527"/>
                <a:gd name="connsiteY477" fmla="*/ 79179 h 227999"/>
                <a:gd name="connsiteX478" fmla="*/ 21559 w 202527"/>
                <a:gd name="connsiteY478" fmla="*/ 79120 h 227999"/>
                <a:gd name="connsiteX479" fmla="*/ 19709 w 202527"/>
                <a:gd name="connsiteY479" fmla="*/ 78473 h 227999"/>
                <a:gd name="connsiteX480" fmla="*/ 18694 w 202527"/>
                <a:gd name="connsiteY480" fmla="*/ 77426 h 227999"/>
                <a:gd name="connsiteX481" fmla="*/ 18444 w 202527"/>
                <a:gd name="connsiteY481" fmla="*/ 76505 h 227999"/>
                <a:gd name="connsiteX482" fmla="*/ 18903 w 202527"/>
                <a:gd name="connsiteY482" fmla="*/ 75925 h 227999"/>
                <a:gd name="connsiteX483" fmla="*/ 19044 w 202527"/>
                <a:gd name="connsiteY483" fmla="*/ 75212 h 227999"/>
                <a:gd name="connsiteX484" fmla="*/ 18748 w 202527"/>
                <a:gd name="connsiteY484" fmla="*/ 74495 h 227999"/>
                <a:gd name="connsiteX485" fmla="*/ 18867 w 202527"/>
                <a:gd name="connsiteY485" fmla="*/ 73893 h 227999"/>
                <a:gd name="connsiteX486" fmla="*/ 19700 w 202527"/>
                <a:gd name="connsiteY486" fmla="*/ 73410 h 227999"/>
                <a:gd name="connsiteX487" fmla="*/ 25554 w 202527"/>
                <a:gd name="connsiteY487" fmla="*/ 73426 h 227999"/>
                <a:gd name="connsiteX488" fmla="*/ 25993 w 202527"/>
                <a:gd name="connsiteY488" fmla="*/ 72895 h 227999"/>
                <a:gd name="connsiteX489" fmla="*/ 26388 w 202527"/>
                <a:gd name="connsiteY489" fmla="*/ 70108 h 227999"/>
                <a:gd name="connsiteX490" fmla="*/ 27852 w 202527"/>
                <a:gd name="connsiteY490" fmla="*/ 65859 h 227999"/>
                <a:gd name="connsiteX491" fmla="*/ 29232 w 202527"/>
                <a:gd name="connsiteY491" fmla="*/ 63490 h 227999"/>
                <a:gd name="connsiteX492" fmla="*/ 29463 w 202527"/>
                <a:gd name="connsiteY492" fmla="*/ 62493 h 227999"/>
                <a:gd name="connsiteX493" fmla="*/ 29441 w 202527"/>
                <a:gd name="connsiteY493" fmla="*/ 56866 h 227999"/>
                <a:gd name="connsiteX494" fmla="*/ 29625 w 202527"/>
                <a:gd name="connsiteY494" fmla="*/ 54011 h 227999"/>
                <a:gd name="connsiteX495" fmla="*/ 28625 w 202527"/>
                <a:gd name="connsiteY495" fmla="*/ 52668 h 227999"/>
                <a:gd name="connsiteX496" fmla="*/ 26442 w 202527"/>
                <a:gd name="connsiteY496" fmla="*/ 51197 h 227999"/>
                <a:gd name="connsiteX497" fmla="*/ 26906 w 202527"/>
                <a:gd name="connsiteY497" fmla="*/ 48132 h 227999"/>
                <a:gd name="connsiteX498" fmla="*/ 27632 w 202527"/>
                <a:gd name="connsiteY498" fmla="*/ 45741 h 227999"/>
                <a:gd name="connsiteX499" fmla="*/ 29828 w 202527"/>
                <a:gd name="connsiteY499" fmla="*/ 42797 h 227999"/>
                <a:gd name="connsiteX500" fmla="*/ 31570 w 202527"/>
                <a:gd name="connsiteY500" fmla="*/ 41987 h 227999"/>
                <a:gd name="connsiteX501" fmla="*/ 39176 w 202527"/>
                <a:gd name="connsiteY501" fmla="*/ 41506 h 227999"/>
                <a:gd name="connsiteX502" fmla="*/ 47580 w 202527"/>
                <a:gd name="connsiteY502" fmla="*/ 41704 h 227999"/>
                <a:gd name="connsiteX503" fmla="*/ 51069 w 202527"/>
                <a:gd name="connsiteY503" fmla="*/ 46150 h 227999"/>
                <a:gd name="connsiteX504" fmla="*/ 49774 w 202527"/>
                <a:gd name="connsiteY504" fmla="*/ 48432 h 227999"/>
                <a:gd name="connsiteX505" fmla="*/ 51814 w 202527"/>
                <a:gd name="connsiteY505" fmla="*/ 49494 h 227999"/>
                <a:gd name="connsiteX506" fmla="*/ 52797 w 202527"/>
                <a:gd name="connsiteY506" fmla="*/ 49106 h 227999"/>
                <a:gd name="connsiteX507" fmla="*/ 53544 w 202527"/>
                <a:gd name="connsiteY507" fmla="*/ 47121 h 227999"/>
                <a:gd name="connsiteX508" fmla="*/ 54043 w 202527"/>
                <a:gd name="connsiteY508" fmla="*/ 44922 h 227999"/>
                <a:gd name="connsiteX509" fmla="*/ 54758 w 202527"/>
                <a:gd name="connsiteY509" fmla="*/ 44256 h 227999"/>
                <a:gd name="connsiteX510" fmla="*/ 57356 w 202527"/>
                <a:gd name="connsiteY510" fmla="*/ 45900 h 227999"/>
                <a:gd name="connsiteX511" fmla="*/ 58269 w 202527"/>
                <a:gd name="connsiteY511" fmla="*/ 47026 h 227999"/>
                <a:gd name="connsiteX512" fmla="*/ 58325 w 202527"/>
                <a:gd name="connsiteY512" fmla="*/ 50644 h 227999"/>
                <a:gd name="connsiteX513" fmla="*/ 59282 w 202527"/>
                <a:gd name="connsiteY513" fmla="*/ 45743 h 227999"/>
                <a:gd name="connsiteX514" fmla="*/ 58569 w 202527"/>
                <a:gd name="connsiteY514" fmla="*/ 42307 h 227999"/>
                <a:gd name="connsiteX515" fmla="*/ 59059 w 202527"/>
                <a:gd name="connsiteY515" fmla="*/ 38972 h 227999"/>
                <a:gd name="connsiteX516" fmla="*/ 60102 w 202527"/>
                <a:gd name="connsiteY516" fmla="*/ 37235 h 227999"/>
                <a:gd name="connsiteX517" fmla="*/ 61061 w 202527"/>
                <a:gd name="connsiteY517" fmla="*/ 36130 h 227999"/>
                <a:gd name="connsiteX518" fmla="*/ 67226 w 202527"/>
                <a:gd name="connsiteY518" fmla="*/ 37320 h 227999"/>
                <a:gd name="connsiteX519" fmla="*/ 74032 w 202527"/>
                <a:gd name="connsiteY519" fmla="*/ 36706 h 227999"/>
                <a:gd name="connsiteX520" fmla="*/ 76606 w 202527"/>
                <a:gd name="connsiteY520" fmla="*/ 37992 h 227999"/>
                <a:gd name="connsiteX521" fmla="*/ 82430 w 202527"/>
                <a:gd name="connsiteY521" fmla="*/ 44428 h 227999"/>
                <a:gd name="connsiteX522" fmla="*/ 84372 w 202527"/>
                <a:gd name="connsiteY522" fmla="*/ 45480 h 227999"/>
                <a:gd name="connsiteX523" fmla="*/ 86822 w 202527"/>
                <a:gd name="connsiteY523" fmla="*/ 45811 h 227999"/>
                <a:gd name="connsiteX524" fmla="*/ 83445 w 202527"/>
                <a:gd name="connsiteY524" fmla="*/ 44437 h 227999"/>
                <a:gd name="connsiteX525" fmla="*/ 76386 w 202527"/>
                <a:gd name="connsiteY525" fmla="*/ 36610 h 227999"/>
                <a:gd name="connsiteX526" fmla="*/ 74272 w 202527"/>
                <a:gd name="connsiteY526" fmla="*/ 35639 h 227999"/>
                <a:gd name="connsiteX527" fmla="*/ 71027 w 202527"/>
                <a:gd name="connsiteY527" fmla="*/ 35344 h 227999"/>
                <a:gd name="connsiteX528" fmla="*/ 69003 w 202527"/>
                <a:gd name="connsiteY528" fmla="*/ 34578 h 227999"/>
                <a:gd name="connsiteX529" fmla="*/ 67727 w 202527"/>
                <a:gd name="connsiteY529" fmla="*/ 33392 h 227999"/>
                <a:gd name="connsiteX530" fmla="*/ 67353 w 202527"/>
                <a:gd name="connsiteY530" fmla="*/ 32332 h 227999"/>
                <a:gd name="connsiteX531" fmla="*/ 67423 w 202527"/>
                <a:gd name="connsiteY531" fmla="*/ 24417 h 227999"/>
                <a:gd name="connsiteX532" fmla="*/ 66205 w 202527"/>
                <a:gd name="connsiteY532" fmla="*/ 23237 h 227999"/>
                <a:gd name="connsiteX533" fmla="*/ 64631 w 202527"/>
                <a:gd name="connsiteY533" fmla="*/ 22826 h 227999"/>
                <a:gd name="connsiteX534" fmla="*/ 63650 w 202527"/>
                <a:gd name="connsiteY534" fmla="*/ 23369 h 227999"/>
                <a:gd name="connsiteX535" fmla="*/ 61636 w 202527"/>
                <a:gd name="connsiteY535" fmla="*/ 23376 h 227999"/>
                <a:gd name="connsiteX536" fmla="*/ 61212 w 202527"/>
                <a:gd name="connsiteY536" fmla="*/ 21579 h 227999"/>
                <a:gd name="connsiteX537" fmla="*/ 61704 w 202527"/>
                <a:gd name="connsiteY537" fmla="*/ 20247 h 227999"/>
                <a:gd name="connsiteX538" fmla="*/ 65753 w 202527"/>
                <a:gd name="connsiteY538" fmla="*/ 19336 h 227999"/>
                <a:gd name="connsiteX539" fmla="*/ 68422 w 202527"/>
                <a:gd name="connsiteY539" fmla="*/ 18114 h 227999"/>
                <a:gd name="connsiteX540" fmla="*/ 68541 w 202527"/>
                <a:gd name="connsiteY540" fmla="*/ 15954 h 227999"/>
                <a:gd name="connsiteX541" fmla="*/ 66855 w 202527"/>
                <a:gd name="connsiteY541" fmla="*/ 14254 h 227999"/>
                <a:gd name="connsiteX542" fmla="*/ 64836 w 202527"/>
                <a:gd name="connsiteY542" fmla="*/ 11133 h 227999"/>
                <a:gd name="connsiteX543" fmla="*/ 62463 w 202527"/>
                <a:gd name="connsiteY543" fmla="*/ 8196 h 227999"/>
                <a:gd name="connsiteX544" fmla="*/ 56334 w 202527"/>
                <a:gd name="connsiteY544" fmla="*/ 0 h 227999"/>
                <a:gd name="connsiteX545" fmla="*/ 57358 w 202527"/>
                <a:gd name="connsiteY545" fmla="*/ 103 h 227999"/>
                <a:gd name="connsiteX546" fmla="*/ 56310 w 202527"/>
                <a:gd name="connsiteY546" fmla="*/ 1353 h 227999"/>
                <a:gd name="connsiteX547" fmla="*/ 56008 w 202527"/>
                <a:gd name="connsiteY547" fmla="*/ 2228 h 227999"/>
                <a:gd name="connsiteX548" fmla="*/ 55583 w 202527"/>
                <a:gd name="connsiteY548" fmla="*/ 3975 h 227999"/>
                <a:gd name="connsiteX549" fmla="*/ 55775 w 202527"/>
                <a:gd name="connsiteY549" fmla="*/ 4882 h 227999"/>
                <a:gd name="connsiteX550" fmla="*/ 61296 w 202527"/>
                <a:gd name="connsiteY550" fmla="*/ 5131 h 227999"/>
                <a:gd name="connsiteX551" fmla="*/ 60655 w 202527"/>
                <a:gd name="connsiteY551" fmla="*/ 5940 h 227999"/>
                <a:gd name="connsiteX552" fmla="*/ 55056 w 202527"/>
                <a:gd name="connsiteY552" fmla="*/ 6486 h 227999"/>
                <a:gd name="connsiteX553" fmla="*/ 54179 w 202527"/>
                <a:gd name="connsiteY553" fmla="*/ 8345 h 227999"/>
                <a:gd name="connsiteX554" fmla="*/ 53669 w 202527"/>
                <a:gd name="connsiteY554" fmla="*/ 8954 h 227999"/>
                <a:gd name="connsiteX555" fmla="*/ 53913 w 202527"/>
                <a:gd name="connsiteY555" fmla="*/ 4623 h 22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</a:cxnLst>
              <a:rect l="l" t="t" r="r" b="b"/>
              <a:pathLst>
                <a:path w="202527" h="227999">
                  <a:moveTo>
                    <a:pt x="176238" y="28478"/>
                  </a:moveTo>
                  <a:lnTo>
                    <a:pt x="180907" y="31292"/>
                  </a:lnTo>
                  <a:lnTo>
                    <a:pt x="184723" y="33847"/>
                  </a:lnTo>
                  <a:lnTo>
                    <a:pt x="184431" y="34795"/>
                  </a:lnTo>
                  <a:lnTo>
                    <a:pt x="184772" y="36258"/>
                  </a:lnTo>
                  <a:lnTo>
                    <a:pt x="183854" y="36149"/>
                  </a:lnTo>
                  <a:lnTo>
                    <a:pt x="181117" y="36490"/>
                  </a:lnTo>
                  <a:lnTo>
                    <a:pt x="178406" y="36007"/>
                  </a:lnTo>
                  <a:lnTo>
                    <a:pt x="177884" y="34192"/>
                  </a:lnTo>
                  <a:lnTo>
                    <a:pt x="178316" y="32443"/>
                  </a:lnTo>
                  <a:lnTo>
                    <a:pt x="177227" y="31240"/>
                  </a:lnTo>
                  <a:lnTo>
                    <a:pt x="176225" y="30534"/>
                  </a:lnTo>
                  <a:lnTo>
                    <a:pt x="176077" y="29524"/>
                  </a:lnTo>
                  <a:close/>
                  <a:moveTo>
                    <a:pt x="115590" y="16104"/>
                  </a:moveTo>
                  <a:lnTo>
                    <a:pt x="118877" y="17086"/>
                  </a:lnTo>
                  <a:lnTo>
                    <a:pt x="119909" y="19005"/>
                  </a:lnTo>
                  <a:lnTo>
                    <a:pt x="119965" y="19628"/>
                  </a:lnTo>
                  <a:lnTo>
                    <a:pt x="116570" y="19687"/>
                  </a:lnTo>
                  <a:lnTo>
                    <a:pt x="115274" y="18467"/>
                  </a:lnTo>
                  <a:lnTo>
                    <a:pt x="113970" y="18157"/>
                  </a:lnTo>
                  <a:lnTo>
                    <a:pt x="114672" y="16652"/>
                  </a:lnTo>
                  <a:close/>
                  <a:moveTo>
                    <a:pt x="167283" y="11030"/>
                  </a:moveTo>
                  <a:lnTo>
                    <a:pt x="167888" y="12552"/>
                  </a:lnTo>
                  <a:lnTo>
                    <a:pt x="168797" y="13599"/>
                  </a:lnTo>
                  <a:lnTo>
                    <a:pt x="171999" y="14772"/>
                  </a:lnTo>
                  <a:lnTo>
                    <a:pt x="172477" y="15305"/>
                  </a:lnTo>
                  <a:lnTo>
                    <a:pt x="172766" y="16042"/>
                  </a:lnTo>
                  <a:lnTo>
                    <a:pt x="171276" y="17485"/>
                  </a:lnTo>
                  <a:lnTo>
                    <a:pt x="170771" y="18224"/>
                  </a:lnTo>
                  <a:lnTo>
                    <a:pt x="171244" y="19409"/>
                  </a:lnTo>
                  <a:lnTo>
                    <a:pt x="173617" y="20703"/>
                  </a:lnTo>
                  <a:lnTo>
                    <a:pt x="174170" y="22753"/>
                  </a:lnTo>
                  <a:lnTo>
                    <a:pt x="173576" y="23797"/>
                  </a:lnTo>
                  <a:lnTo>
                    <a:pt x="171090" y="22060"/>
                  </a:lnTo>
                  <a:lnTo>
                    <a:pt x="168594" y="22084"/>
                  </a:lnTo>
                  <a:lnTo>
                    <a:pt x="167102" y="24759"/>
                  </a:lnTo>
                  <a:lnTo>
                    <a:pt x="165992" y="24872"/>
                  </a:lnTo>
                  <a:lnTo>
                    <a:pt x="162138" y="22442"/>
                  </a:lnTo>
                  <a:lnTo>
                    <a:pt x="161520" y="21256"/>
                  </a:lnTo>
                  <a:lnTo>
                    <a:pt x="161393" y="20270"/>
                  </a:lnTo>
                  <a:lnTo>
                    <a:pt x="161943" y="16850"/>
                  </a:lnTo>
                  <a:lnTo>
                    <a:pt x="161842" y="15773"/>
                  </a:lnTo>
                  <a:lnTo>
                    <a:pt x="163053" y="14596"/>
                  </a:lnTo>
                  <a:lnTo>
                    <a:pt x="163241" y="12894"/>
                  </a:lnTo>
                  <a:lnTo>
                    <a:pt x="165383" y="11098"/>
                  </a:lnTo>
                  <a:close/>
                  <a:moveTo>
                    <a:pt x="58651" y="9162"/>
                  </a:moveTo>
                  <a:lnTo>
                    <a:pt x="60055" y="9517"/>
                  </a:lnTo>
                  <a:lnTo>
                    <a:pt x="60374" y="10621"/>
                  </a:lnTo>
                  <a:lnTo>
                    <a:pt x="59513" y="11371"/>
                  </a:lnTo>
                  <a:lnTo>
                    <a:pt x="57409" y="11283"/>
                  </a:lnTo>
                  <a:lnTo>
                    <a:pt x="56228" y="10577"/>
                  </a:lnTo>
                  <a:lnTo>
                    <a:pt x="56611" y="9825"/>
                  </a:lnTo>
                  <a:lnTo>
                    <a:pt x="57727" y="9251"/>
                  </a:lnTo>
                  <a:close/>
                  <a:moveTo>
                    <a:pt x="62197" y="4773"/>
                  </a:moveTo>
                  <a:lnTo>
                    <a:pt x="62206" y="4776"/>
                  </a:lnTo>
                  <a:lnTo>
                    <a:pt x="66330" y="4843"/>
                  </a:lnTo>
                  <a:lnTo>
                    <a:pt x="67341" y="4973"/>
                  </a:lnTo>
                  <a:lnTo>
                    <a:pt x="73596" y="6576"/>
                  </a:lnTo>
                  <a:lnTo>
                    <a:pt x="75125" y="7700"/>
                  </a:lnTo>
                  <a:lnTo>
                    <a:pt x="77049" y="7753"/>
                  </a:lnTo>
                  <a:lnTo>
                    <a:pt x="80515" y="6706"/>
                  </a:lnTo>
                  <a:lnTo>
                    <a:pt x="83104" y="6246"/>
                  </a:lnTo>
                  <a:lnTo>
                    <a:pt x="84108" y="6892"/>
                  </a:lnTo>
                  <a:lnTo>
                    <a:pt x="85518" y="7163"/>
                  </a:lnTo>
                  <a:lnTo>
                    <a:pt x="85844" y="7163"/>
                  </a:lnTo>
                  <a:lnTo>
                    <a:pt x="85981" y="7726"/>
                  </a:lnTo>
                  <a:lnTo>
                    <a:pt x="89217" y="8540"/>
                  </a:lnTo>
                  <a:lnTo>
                    <a:pt x="90578" y="9837"/>
                  </a:lnTo>
                  <a:lnTo>
                    <a:pt x="92089" y="11807"/>
                  </a:lnTo>
                  <a:lnTo>
                    <a:pt x="92236" y="14641"/>
                  </a:lnTo>
                  <a:lnTo>
                    <a:pt x="90301" y="16677"/>
                  </a:lnTo>
                  <a:lnTo>
                    <a:pt x="88695" y="17965"/>
                  </a:lnTo>
                  <a:lnTo>
                    <a:pt x="94771" y="17478"/>
                  </a:lnTo>
                  <a:lnTo>
                    <a:pt x="95376" y="18645"/>
                  </a:lnTo>
                  <a:lnTo>
                    <a:pt x="96296" y="19903"/>
                  </a:lnTo>
                  <a:lnTo>
                    <a:pt x="99569" y="19007"/>
                  </a:lnTo>
                  <a:lnTo>
                    <a:pt x="107775" y="22728"/>
                  </a:lnTo>
                  <a:lnTo>
                    <a:pt x="112737" y="20917"/>
                  </a:lnTo>
                  <a:lnTo>
                    <a:pt x="114007" y="20811"/>
                  </a:lnTo>
                  <a:lnTo>
                    <a:pt x="115134" y="23817"/>
                  </a:lnTo>
                  <a:lnTo>
                    <a:pt x="113901" y="26840"/>
                  </a:lnTo>
                  <a:lnTo>
                    <a:pt x="109526" y="30061"/>
                  </a:lnTo>
                  <a:lnTo>
                    <a:pt x="110496" y="32043"/>
                  </a:lnTo>
                  <a:lnTo>
                    <a:pt x="111893" y="32483"/>
                  </a:lnTo>
                  <a:lnTo>
                    <a:pt x="116017" y="32063"/>
                  </a:lnTo>
                  <a:lnTo>
                    <a:pt x="122547" y="34020"/>
                  </a:lnTo>
                  <a:lnTo>
                    <a:pt x="123908" y="33410"/>
                  </a:lnTo>
                  <a:lnTo>
                    <a:pt x="129203" y="28895"/>
                  </a:lnTo>
                  <a:lnTo>
                    <a:pt x="131319" y="27925"/>
                  </a:lnTo>
                  <a:lnTo>
                    <a:pt x="138285" y="27230"/>
                  </a:lnTo>
                  <a:lnTo>
                    <a:pt x="139552" y="25479"/>
                  </a:lnTo>
                  <a:lnTo>
                    <a:pt x="142375" y="23717"/>
                  </a:lnTo>
                  <a:lnTo>
                    <a:pt x="144193" y="21791"/>
                  </a:lnTo>
                  <a:lnTo>
                    <a:pt x="148546" y="18120"/>
                  </a:lnTo>
                  <a:lnTo>
                    <a:pt x="153051" y="18782"/>
                  </a:lnTo>
                  <a:lnTo>
                    <a:pt x="155681" y="19485"/>
                  </a:lnTo>
                  <a:lnTo>
                    <a:pt x="158568" y="19839"/>
                  </a:lnTo>
                  <a:lnTo>
                    <a:pt x="161196" y="23749"/>
                  </a:lnTo>
                  <a:lnTo>
                    <a:pt x="167843" y="28064"/>
                  </a:lnTo>
                  <a:lnTo>
                    <a:pt x="173950" y="27689"/>
                  </a:lnTo>
                  <a:lnTo>
                    <a:pt x="176117" y="31764"/>
                  </a:lnTo>
                  <a:lnTo>
                    <a:pt x="177074" y="36785"/>
                  </a:lnTo>
                  <a:lnTo>
                    <a:pt x="178950" y="38358"/>
                  </a:lnTo>
                  <a:lnTo>
                    <a:pt x="180600" y="39385"/>
                  </a:lnTo>
                  <a:lnTo>
                    <a:pt x="185576" y="40460"/>
                  </a:lnTo>
                  <a:lnTo>
                    <a:pt x="185772" y="40528"/>
                  </a:lnTo>
                  <a:lnTo>
                    <a:pt x="185932" y="41208"/>
                  </a:lnTo>
                  <a:lnTo>
                    <a:pt x="186236" y="43696"/>
                  </a:lnTo>
                  <a:lnTo>
                    <a:pt x="186653" y="45757"/>
                  </a:lnTo>
                  <a:lnTo>
                    <a:pt x="189214" y="53974"/>
                  </a:lnTo>
                  <a:lnTo>
                    <a:pt x="189165" y="55979"/>
                  </a:lnTo>
                  <a:lnTo>
                    <a:pt x="189134" y="56511"/>
                  </a:lnTo>
                  <a:lnTo>
                    <a:pt x="188197" y="59315"/>
                  </a:lnTo>
                  <a:lnTo>
                    <a:pt x="186530" y="61677"/>
                  </a:lnTo>
                  <a:lnTo>
                    <a:pt x="184330" y="63008"/>
                  </a:lnTo>
                  <a:lnTo>
                    <a:pt x="183118" y="64488"/>
                  </a:lnTo>
                  <a:lnTo>
                    <a:pt x="182891" y="66122"/>
                  </a:lnTo>
                  <a:lnTo>
                    <a:pt x="185658" y="68981"/>
                  </a:lnTo>
                  <a:lnTo>
                    <a:pt x="191414" y="73066"/>
                  </a:lnTo>
                  <a:lnTo>
                    <a:pt x="193744" y="76554"/>
                  </a:lnTo>
                  <a:lnTo>
                    <a:pt x="192645" y="79452"/>
                  </a:lnTo>
                  <a:lnTo>
                    <a:pt x="192311" y="81575"/>
                  </a:lnTo>
                  <a:lnTo>
                    <a:pt x="192738" y="82926"/>
                  </a:lnTo>
                  <a:lnTo>
                    <a:pt x="193660" y="84010"/>
                  </a:lnTo>
                  <a:lnTo>
                    <a:pt x="195081" y="84830"/>
                  </a:lnTo>
                  <a:lnTo>
                    <a:pt x="195645" y="86091"/>
                  </a:lnTo>
                  <a:lnTo>
                    <a:pt x="195358" y="87793"/>
                  </a:lnTo>
                  <a:lnTo>
                    <a:pt x="195627" y="88973"/>
                  </a:lnTo>
                  <a:lnTo>
                    <a:pt x="196688" y="89813"/>
                  </a:lnTo>
                  <a:lnTo>
                    <a:pt x="196590" y="90139"/>
                  </a:lnTo>
                  <a:lnTo>
                    <a:pt x="196075" y="91321"/>
                  </a:lnTo>
                  <a:lnTo>
                    <a:pt x="195370" y="93475"/>
                  </a:lnTo>
                  <a:lnTo>
                    <a:pt x="194971" y="95046"/>
                  </a:lnTo>
                  <a:lnTo>
                    <a:pt x="193351" y="97185"/>
                  </a:lnTo>
                  <a:lnTo>
                    <a:pt x="193844" y="99001"/>
                  </a:lnTo>
                  <a:lnTo>
                    <a:pt x="195113" y="101141"/>
                  </a:lnTo>
                  <a:lnTo>
                    <a:pt x="196077" y="102216"/>
                  </a:lnTo>
                  <a:lnTo>
                    <a:pt x="196381" y="103234"/>
                  </a:lnTo>
                  <a:lnTo>
                    <a:pt x="195768" y="105653"/>
                  </a:lnTo>
                  <a:lnTo>
                    <a:pt x="196072" y="106271"/>
                  </a:lnTo>
                  <a:lnTo>
                    <a:pt x="200080" y="108051"/>
                  </a:lnTo>
                  <a:lnTo>
                    <a:pt x="200734" y="108872"/>
                  </a:lnTo>
                  <a:lnTo>
                    <a:pt x="201123" y="110581"/>
                  </a:lnTo>
                  <a:lnTo>
                    <a:pt x="202527" y="114229"/>
                  </a:lnTo>
                  <a:lnTo>
                    <a:pt x="201361" y="118843"/>
                  </a:lnTo>
                  <a:lnTo>
                    <a:pt x="200335" y="121367"/>
                  </a:lnTo>
                  <a:lnTo>
                    <a:pt x="198052" y="125369"/>
                  </a:lnTo>
                  <a:lnTo>
                    <a:pt x="197945" y="125738"/>
                  </a:lnTo>
                  <a:lnTo>
                    <a:pt x="197681" y="126224"/>
                  </a:lnTo>
                  <a:lnTo>
                    <a:pt x="196997" y="126924"/>
                  </a:lnTo>
                  <a:lnTo>
                    <a:pt x="196042" y="127029"/>
                  </a:lnTo>
                  <a:lnTo>
                    <a:pt x="194602" y="126507"/>
                  </a:lnTo>
                  <a:lnTo>
                    <a:pt x="193615" y="125838"/>
                  </a:lnTo>
                  <a:lnTo>
                    <a:pt x="193842" y="124112"/>
                  </a:lnTo>
                  <a:lnTo>
                    <a:pt x="193209" y="123999"/>
                  </a:lnTo>
                  <a:lnTo>
                    <a:pt x="192423" y="122939"/>
                  </a:lnTo>
                  <a:lnTo>
                    <a:pt x="192114" y="121799"/>
                  </a:lnTo>
                  <a:lnTo>
                    <a:pt x="191266" y="121334"/>
                  </a:lnTo>
                  <a:lnTo>
                    <a:pt x="188169" y="120855"/>
                  </a:lnTo>
                  <a:lnTo>
                    <a:pt x="187117" y="120518"/>
                  </a:lnTo>
                  <a:lnTo>
                    <a:pt x="186310" y="120761"/>
                  </a:lnTo>
                  <a:lnTo>
                    <a:pt x="185705" y="121568"/>
                  </a:lnTo>
                  <a:lnTo>
                    <a:pt x="186091" y="122297"/>
                  </a:lnTo>
                  <a:lnTo>
                    <a:pt x="186668" y="123007"/>
                  </a:lnTo>
                  <a:lnTo>
                    <a:pt x="188385" y="124132"/>
                  </a:lnTo>
                  <a:lnTo>
                    <a:pt x="188208" y="124579"/>
                  </a:lnTo>
                  <a:lnTo>
                    <a:pt x="184509" y="125673"/>
                  </a:lnTo>
                  <a:lnTo>
                    <a:pt x="182181" y="126795"/>
                  </a:lnTo>
                  <a:lnTo>
                    <a:pt x="180013" y="127425"/>
                  </a:lnTo>
                  <a:lnTo>
                    <a:pt x="177804" y="128586"/>
                  </a:lnTo>
                  <a:lnTo>
                    <a:pt x="173444" y="129889"/>
                  </a:lnTo>
                  <a:lnTo>
                    <a:pt x="170246" y="130235"/>
                  </a:lnTo>
                  <a:lnTo>
                    <a:pt x="169579" y="130579"/>
                  </a:lnTo>
                  <a:lnTo>
                    <a:pt x="168385" y="132786"/>
                  </a:lnTo>
                  <a:lnTo>
                    <a:pt x="167579" y="133247"/>
                  </a:lnTo>
                  <a:lnTo>
                    <a:pt x="166806" y="133008"/>
                  </a:lnTo>
                  <a:lnTo>
                    <a:pt x="166219" y="132647"/>
                  </a:lnTo>
                  <a:lnTo>
                    <a:pt x="165476" y="132946"/>
                  </a:lnTo>
                  <a:lnTo>
                    <a:pt x="164703" y="133676"/>
                  </a:lnTo>
                  <a:lnTo>
                    <a:pt x="163895" y="133964"/>
                  </a:lnTo>
                  <a:lnTo>
                    <a:pt x="163191" y="133954"/>
                  </a:lnTo>
                  <a:lnTo>
                    <a:pt x="161941" y="135879"/>
                  </a:lnTo>
                  <a:lnTo>
                    <a:pt x="158298" y="136463"/>
                  </a:lnTo>
                  <a:lnTo>
                    <a:pt x="157871" y="137460"/>
                  </a:lnTo>
                  <a:lnTo>
                    <a:pt x="157201" y="138616"/>
                  </a:lnTo>
                  <a:lnTo>
                    <a:pt x="156668" y="138899"/>
                  </a:lnTo>
                  <a:lnTo>
                    <a:pt x="155022" y="138441"/>
                  </a:lnTo>
                  <a:lnTo>
                    <a:pt x="152749" y="138188"/>
                  </a:lnTo>
                  <a:lnTo>
                    <a:pt x="151444" y="138821"/>
                  </a:lnTo>
                  <a:lnTo>
                    <a:pt x="149877" y="139171"/>
                  </a:lnTo>
                  <a:lnTo>
                    <a:pt x="147964" y="139277"/>
                  </a:lnTo>
                  <a:lnTo>
                    <a:pt x="145832" y="140541"/>
                  </a:lnTo>
                  <a:lnTo>
                    <a:pt x="143753" y="142759"/>
                  </a:lnTo>
                  <a:lnTo>
                    <a:pt x="142582" y="144714"/>
                  </a:lnTo>
                  <a:lnTo>
                    <a:pt x="141956" y="145416"/>
                  </a:lnTo>
                  <a:lnTo>
                    <a:pt x="140935" y="143581"/>
                  </a:lnTo>
                  <a:lnTo>
                    <a:pt x="139688" y="142321"/>
                  </a:lnTo>
                  <a:lnTo>
                    <a:pt x="138806" y="141667"/>
                  </a:lnTo>
                  <a:lnTo>
                    <a:pt x="138017" y="141666"/>
                  </a:lnTo>
                  <a:lnTo>
                    <a:pt x="137810" y="141934"/>
                  </a:lnTo>
                  <a:lnTo>
                    <a:pt x="137808" y="142895"/>
                  </a:lnTo>
                  <a:lnTo>
                    <a:pt x="138650" y="144491"/>
                  </a:lnTo>
                  <a:lnTo>
                    <a:pt x="139693" y="145579"/>
                  </a:lnTo>
                  <a:lnTo>
                    <a:pt x="139859" y="146382"/>
                  </a:lnTo>
                  <a:lnTo>
                    <a:pt x="140418" y="147843"/>
                  </a:lnTo>
                  <a:lnTo>
                    <a:pt x="141936" y="149437"/>
                  </a:lnTo>
                  <a:lnTo>
                    <a:pt x="144318" y="150700"/>
                  </a:lnTo>
                  <a:lnTo>
                    <a:pt x="145942" y="151943"/>
                  </a:lnTo>
                  <a:lnTo>
                    <a:pt x="147145" y="153665"/>
                  </a:lnTo>
                  <a:lnTo>
                    <a:pt x="147156" y="154194"/>
                  </a:lnTo>
                  <a:lnTo>
                    <a:pt x="146825" y="154897"/>
                  </a:lnTo>
                  <a:lnTo>
                    <a:pt x="146257" y="155559"/>
                  </a:lnTo>
                  <a:lnTo>
                    <a:pt x="145778" y="156421"/>
                  </a:lnTo>
                  <a:lnTo>
                    <a:pt x="144459" y="158163"/>
                  </a:lnTo>
                  <a:lnTo>
                    <a:pt x="144849" y="158924"/>
                  </a:lnTo>
                  <a:lnTo>
                    <a:pt x="145929" y="159885"/>
                  </a:lnTo>
                  <a:lnTo>
                    <a:pt x="146886" y="161038"/>
                  </a:lnTo>
                  <a:lnTo>
                    <a:pt x="148112" y="162901"/>
                  </a:lnTo>
                  <a:lnTo>
                    <a:pt x="149799" y="166162"/>
                  </a:lnTo>
                  <a:lnTo>
                    <a:pt x="150885" y="167503"/>
                  </a:lnTo>
                  <a:lnTo>
                    <a:pt x="152360" y="168887"/>
                  </a:lnTo>
                  <a:lnTo>
                    <a:pt x="153809" y="169943"/>
                  </a:lnTo>
                  <a:lnTo>
                    <a:pt x="156093" y="169911"/>
                  </a:lnTo>
                  <a:lnTo>
                    <a:pt x="158460" y="171925"/>
                  </a:lnTo>
                  <a:lnTo>
                    <a:pt x="161043" y="174835"/>
                  </a:lnTo>
                  <a:lnTo>
                    <a:pt x="162973" y="176169"/>
                  </a:lnTo>
                  <a:lnTo>
                    <a:pt x="164321" y="176575"/>
                  </a:lnTo>
                  <a:lnTo>
                    <a:pt x="165433" y="177622"/>
                  </a:lnTo>
                  <a:lnTo>
                    <a:pt x="166420" y="179127"/>
                  </a:lnTo>
                  <a:lnTo>
                    <a:pt x="166806" y="179997"/>
                  </a:lnTo>
                  <a:lnTo>
                    <a:pt x="167681" y="180625"/>
                  </a:lnTo>
                  <a:lnTo>
                    <a:pt x="170045" y="180508"/>
                  </a:lnTo>
                  <a:lnTo>
                    <a:pt x="173081" y="182873"/>
                  </a:lnTo>
                  <a:lnTo>
                    <a:pt x="174960" y="184603"/>
                  </a:lnTo>
                  <a:lnTo>
                    <a:pt x="175951" y="185999"/>
                  </a:lnTo>
                  <a:lnTo>
                    <a:pt x="175690" y="186552"/>
                  </a:lnTo>
                  <a:lnTo>
                    <a:pt x="175569" y="188289"/>
                  </a:lnTo>
                  <a:lnTo>
                    <a:pt x="175599" y="190129"/>
                  </a:lnTo>
                  <a:lnTo>
                    <a:pt x="175301" y="191102"/>
                  </a:lnTo>
                  <a:lnTo>
                    <a:pt x="173943" y="192382"/>
                  </a:lnTo>
                  <a:lnTo>
                    <a:pt x="173241" y="192654"/>
                  </a:lnTo>
                  <a:lnTo>
                    <a:pt x="172866" y="192930"/>
                  </a:lnTo>
                  <a:lnTo>
                    <a:pt x="168696" y="191261"/>
                  </a:lnTo>
                  <a:lnTo>
                    <a:pt x="168365" y="191546"/>
                  </a:lnTo>
                  <a:lnTo>
                    <a:pt x="168104" y="191752"/>
                  </a:lnTo>
                  <a:lnTo>
                    <a:pt x="166988" y="196586"/>
                  </a:lnTo>
                  <a:lnTo>
                    <a:pt x="166219" y="197514"/>
                  </a:lnTo>
                  <a:lnTo>
                    <a:pt x="165074" y="198368"/>
                  </a:lnTo>
                  <a:lnTo>
                    <a:pt x="162695" y="199199"/>
                  </a:lnTo>
                  <a:lnTo>
                    <a:pt x="161041" y="199537"/>
                  </a:lnTo>
                  <a:lnTo>
                    <a:pt x="159752" y="199958"/>
                  </a:lnTo>
                  <a:lnTo>
                    <a:pt x="155668" y="201977"/>
                  </a:lnTo>
                  <a:lnTo>
                    <a:pt x="153828" y="203189"/>
                  </a:lnTo>
                  <a:lnTo>
                    <a:pt x="152636" y="204711"/>
                  </a:lnTo>
                  <a:lnTo>
                    <a:pt x="152630" y="205587"/>
                  </a:lnTo>
                  <a:lnTo>
                    <a:pt x="154616" y="208160"/>
                  </a:lnTo>
                  <a:lnTo>
                    <a:pt x="156908" y="210815"/>
                  </a:lnTo>
                  <a:lnTo>
                    <a:pt x="156923" y="213149"/>
                  </a:lnTo>
                  <a:lnTo>
                    <a:pt x="155908" y="214893"/>
                  </a:lnTo>
                  <a:lnTo>
                    <a:pt x="155672" y="215567"/>
                  </a:lnTo>
                  <a:lnTo>
                    <a:pt x="156346" y="215820"/>
                  </a:lnTo>
                  <a:lnTo>
                    <a:pt x="157616" y="215917"/>
                  </a:lnTo>
                  <a:lnTo>
                    <a:pt x="158678" y="216217"/>
                  </a:lnTo>
                  <a:lnTo>
                    <a:pt x="159132" y="217443"/>
                  </a:lnTo>
                  <a:lnTo>
                    <a:pt x="158996" y="219578"/>
                  </a:lnTo>
                  <a:lnTo>
                    <a:pt x="158633" y="221575"/>
                  </a:lnTo>
                  <a:lnTo>
                    <a:pt x="158253" y="222415"/>
                  </a:lnTo>
                  <a:lnTo>
                    <a:pt x="157229" y="222482"/>
                  </a:lnTo>
                  <a:lnTo>
                    <a:pt x="155258" y="221619"/>
                  </a:lnTo>
                  <a:lnTo>
                    <a:pt x="153720" y="220616"/>
                  </a:lnTo>
                  <a:lnTo>
                    <a:pt x="153133" y="219999"/>
                  </a:lnTo>
                  <a:lnTo>
                    <a:pt x="153096" y="219261"/>
                  </a:lnTo>
                  <a:lnTo>
                    <a:pt x="153429" y="218795"/>
                  </a:lnTo>
                  <a:lnTo>
                    <a:pt x="152880" y="217885"/>
                  </a:lnTo>
                  <a:lnTo>
                    <a:pt x="150989" y="217044"/>
                  </a:lnTo>
                  <a:lnTo>
                    <a:pt x="148963" y="217410"/>
                  </a:lnTo>
                  <a:lnTo>
                    <a:pt x="147467" y="217977"/>
                  </a:lnTo>
                  <a:lnTo>
                    <a:pt x="146502" y="217944"/>
                  </a:lnTo>
                  <a:lnTo>
                    <a:pt x="145459" y="217134"/>
                  </a:lnTo>
                  <a:lnTo>
                    <a:pt x="143854" y="216514"/>
                  </a:lnTo>
                  <a:lnTo>
                    <a:pt x="141757" y="216105"/>
                  </a:lnTo>
                  <a:lnTo>
                    <a:pt x="140451" y="215668"/>
                  </a:lnTo>
                  <a:lnTo>
                    <a:pt x="140176" y="215926"/>
                  </a:lnTo>
                  <a:lnTo>
                    <a:pt x="140330" y="217679"/>
                  </a:lnTo>
                  <a:lnTo>
                    <a:pt x="139928" y="218444"/>
                  </a:lnTo>
                  <a:lnTo>
                    <a:pt x="129561" y="219456"/>
                  </a:lnTo>
                  <a:lnTo>
                    <a:pt x="126402" y="220404"/>
                  </a:lnTo>
                  <a:lnTo>
                    <a:pt x="124102" y="221629"/>
                  </a:lnTo>
                  <a:lnTo>
                    <a:pt x="122400" y="222160"/>
                  </a:lnTo>
                  <a:lnTo>
                    <a:pt x="121984" y="222915"/>
                  </a:lnTo>
                  <a:lnTo>
                    <a:pt x="120299" y="223906"/>
                  </a:lnTo>
                  <a:lnTo>
                    <a:pt x="118397" y="224223"/>
                  </a:lnTo>
                  <a:lnTo>
                    <a:pt x="117939" y="223898"/>
                  </a:lnTo>
                  <a:lnTo>
                    <a:pt x="116719" y="224356"/>
                  </a:lnTo>
                  <a:lnTo>
                    <a:pt x="114640" y="224797"/>
                  </a:lnTo>
                  <a:lnTo>
                    <a:pt x="113288" y="224657"/>
                  </a:lnTo>
                  <a:lnTo>
                    <a:pt x="112653" y="223856"/>
                  </a:lnTo>
                  <a:lnTo>
                    <a:pt x="111366" y="222629"/>
                  </a:lnTo>
                  <a:lnTo>
                    <a:pt x="110850" y="221778"/>
                  </a:lnTo>
                  <a:lnTo>
                    <a:pt x="110904" y="221233"/>
                  </a:lnTo>
                  <a:lnTo>
                    <a:pt x="107997" y="221123"/>
                  </a:lnTo>
                  <a:lnTo>
                    <a:pt x="106164" y="220475"/>
                  </a:lnTo>
                  <a:lnTo>
                    <a:pt x="102275" y="220627"/>
                  </a:lnTo>
                  <a:lnTo>
                    <a:pt x="101316" y="220353"/>
                  </a:lnTo>
                  <a:lnTo>
                    <a:pt x="101116" y="220647"/>
                  </a:lnTo>
                  <a:lnTo>
                    <a:pt x="100530" y="224128"/>
                  </a:lnTo>
                  <a:lnTo>
                    <a:pt x="99761" y="225556"/>
                  </a:lnTo>
                  <a:lnTo>
                    <a:pt x="98515" y="227030"/>
                  </a:lnTo>
                  <a:lnTo>
                    <a:pt x="96920" y="227850"/>
                  </a:lnTo>
                  <a:lnTo>
                    <a:pt x="95646" y="227999"/>
                  </a:lnTo>
                  <a:lnTo>
                    <a:pt x="95706" y="226925"/>
                  </a:lnTo>
                  <a:lnTo>
                    <a:pt x="96028" y="225630"/>
                  </a:lnTo>
                  <a:lnTo>
                    <a:pt x="95110" y="225326"/>
                  </a:lnTo>
                  <a:lnTo>
                    <a:pt x="93732" y="225177"/>
                  </a:lnTo>
                  <a:lnTo>
                    <a:pt x="93065" y="224791"/>
                  </a:lnTo>
                  <a:lnTo>
                    <a:pt x="93240" y="223805"/>
                  </a:lnTo>
                  <a:lnTo>
                    <a:pt x="92923" y="223229"/>
                  </a:lnTo>
                  <a:lnTo>
                    <a:pt x="92353" y="222541"/>
                  </a:lnTo>
                  <a:lnTo>
                    <a:pt x="90971" y="221651"/>
                  </a:lnTo>
                  <a:lnTo>
                    <a:pt x="88042" y="220332"/>
                  </a:lnTo>
                  <a:lnTo>
                    <a:pt x="86047" y="219680"/>
                  </a:lnTo>
                  <a:lnTo>
                    <a:pt x="85300" y="220374"/>
                  </a:lnTo>
                  <a:lnTo>
                    <a:pt x="83873" y="221074"/>
                  </a:lnTo>
                  <a:lnTo>
                    <a:pt x="81625" y="220845"/>
                  </a:lnTo>
                  <a:lnTo>
                    <a:pt x="81074" y="221120"/>
                  </a:lnTo>
                  <a:lnTo>
                    <a:pt x="77226" y="219023"/>
                  </a:lnTo>
                  <a:lnTo>
                    <a:pt x="73529" y="217005"/>
                  </a:lnTo>
                  <a:lnTo>
                    <a:pt x="72307" y="217005"/>
                  </a:lnTo>
                  <a:lnTo>
                    <a:pt x="66859" y="217408"/>
                  </a:lnTo>
                  <a:lnTo>
                    <a:pt x="66701" y="217230"/>
                  </a:lnTo>
                  <a:lnTo>
                    <a:pt x="65753" y="216080"/>
                  </a:lnTo>
                  <a:lnTo>
                    <a:pt x="64911" y="215716"/>
                  </a:lnTo>
                  <a:lnTo>
                    <a:pt x="64404" y="215903"/>
                  </a:lnTo>
                  <a:lnTo>
                    <a:pt x="64065" y="216237"/>
                  </a:lnTo>
                  <a:lnTo>
                    <a:pt x="63480" y="216180"/>
                  </a:lnTo>
                  <a:lnTo>
                    <a:pt x="61037" y="214322"/>
                  </a:lnTo>
                  <a:lnTo>
                    <a:pt x="60038" y="214054"/>
                  </a:lnTo>
                  <a:lnTo>
                    <a:pt x="58649" y="214300"/>
                  </a:lnTo>
                  <a:lnTo>
                    <a:pt x="57010" y="215300"/>
                  </a:lnTo>
                  <a:lnTo>
                    <a:pt x="56295" y="216525"/>
                  </a:lnTo>
                  <a:lnTo>
                    <a:pt x="56513" y="217230"/>
                  </a:lnTo>
                  <a:lnTo>
                    <a:pt x="57364" y="217537"/>
                  </a:lnTo>
                  <a:lnTo>
                    <a:pt x="59588" y="217331"/>
                  </a:lnTo>
                  <a:lnTo>
                    <a:pt x="59914" y="217534"/>
                  </a:lnTo>
                  <a:lnTo>
                    <a:pt x="59990" y="217930"/>
                  </a:lnTo>
                  <a:lnTo>
                    <a:pt x="59746" y="218318"/>
                  </a:lnTo>
                  <a:lnTo>
                    <a:pt x="57937" y="218636"/>
                  </a:lnTo>
                  <a:lnTo>
                    <a:pt x="57414" y="219099"/>
                  </a:lnTo>
                  <a:lnTo>
                    <a:pt x="56885" y="219213"/>
                  </a:lnTo>
                  <a:lnTo>
                    <a:pt x="56546" y="219285"/>
                  </a:lnTo>
                  <a:lnTo>
                    <a:pt x="54624" y="218798"/>
                  </a:lnTo>
                  <a:lnTo>
                    <a:pt x="51759" y="218798"/>
                  </a:lnTo>
                  <a:lnTo>
                    <a:pt x="49448" y="219662"/>
                  </a:lnTo>
                  <a:lnTo>
                    <a:pt x="45762" y="220007"/>
                  </a:lnTo>
                  <a:lnTo>
                    <a:pt x="40698" y="219838"/>
                  </a:lnTo>
                  <a:lnTo>
                    <a:pt x="38876" y="219197"/>
                  </a:lnTo>
                  <a:lnTo>
                    <a:pt x="37766" y="218809"/>
                  </a:lnTo>
                  <a:lnTo>
                    <a:pt x="36969" y="216916"/>
                  </a:lnTo>
                  <a:lnTo>
                    <a:pt x="37172" y="214110"/>
                  </a:lnTo>
                  <a:lnTo>
                    <a:pt x="38381" y="210391"/>
                  </a:lnTo>
                  <a:lnTo>
                    <a:pt x="38718" y="207658"/>
                  </a:lnTo>
                  <a:lnTo>
                    <a:pt x="38180" y="205916"/>
                  </a:lnTo>
                  <a:lnTo>
                    <a:pt x="38897" y="203303"/>
                  </a:lnTo>
                  <a:lnTo>
                    <a:pt x="40867" y="199818"/>
                  </a:lnTo>
                  <a:lnTo>
                    <a:pt x="42182" y="196136"/>
                  </a:lnTo>
                  <a:lnTo>
                    <a:pt x="42838" y="192255"/>
                  </a:lnTo>
                  <a:lnTo>
                    <a:pt x="43792" y="189722"/>
                  </a:lnTo>
                  <a:lnTo>
                    <a:pt x="45667" y="187945"/>
                  </a:lnTo>
                  <a:lnTo>
                    <a:pt x="50117" y="182971"/>
                  </a:lnTo>
                  <a:lnTo>
                    <a:pt x="50478" y="182596"/>
                  </a:lnTo>
                  <a:lnTo>
                    <a:pt x="50357" y="180111"/>
                  </a:lnTo>
                  <a:lnTo>
                    <a:pt x="49158" y="179760"/>
                  </a:lnTo>
                  <a:lnTo>
                    <a:pt x="47403" y="179046"/>
                  </a:lnTo>
                  <a:lnTo>
                    <a:pt x="42935" y="178162"/>
                  </a:lnTo>
                  <a:lnTo>
                    <a:pt x="38772" y="177595"/>
                  </a:lnTo>
                  <a:lnTo>
                    <a:pt x="36882" y="176892"/>
                  </a:lnTo>
                  <a:lnTo>
                    <a:pt x="35226" y="175011"/>
                  </a:lnTo>
                  <a:lnTo>
                    <a:pt x="34200" y="174986"/>
                  </a:lnTo>
                  <a:lnTo>
                    <a:pt x="32192" y="175659"/>
                  </a:lnTo>
                  <a:lnTo>
                    <a:pt x="29683" y="176114"/>
                  </a:lnTo>
                  <a:lnTo>
                    <a:pt x="27859" y="175716"/>
                  </a:lnTo>
                  <a:lnTo>
                    <a:pt x="26716" y="175793"/>
                  </a:lnTo>
                  <a:lnTo>
                    <a:pt x="26075" y="176140"/>
                  </a:lnTo>
                  <a:lnTo>
                    <a:pt x="25753" y="175833"/>
                  </a:lnTo>
                  <a:lnTo>
                    <a:pt x="25295" y="174220"/>
                  </a:lnTo>
                  <a:lnTo>
                    <a:pt x="24341" y="173798"/>
                  </a:lnTo>
                  <a:lnTo>
                    <a:pt x="22857" y="173429"/>
                  </a:lnTo>
                  <a:lnTo>
                    <a:pt x="21935" y="173589"/>
                  </a:lnTo>
                  <a:lnTo>
                    <a:pt x="21298" y="174390"/>
                  </a:lnTo>
                  <a:lnTo>
                    <a:pt x="20316" y="174955"/>
                  </a:lnTo>
                  <a:lnTo>
                    <a:pt x="19413" y="174771"/>
                  </a:lnTo>
                  <a:lnTo>
                    <a:pt x="16586" y="171044"/>
                  </a:lnTo>
                  <a:lnTo>
                    <a:pt x="15858" y="170219"/>
                  </a:lnTo>
                  <a:lnTo>
                    <a:pt x="15673" y="169460"/>
                  </a:lnTo>
                  <a:lnTo>
                    <a:pt x="14965" y="168071"/>
                  </a:lnTo>
                  <a:lnTo>
                    <a:pt x="13280" y="166689"/>
                  </a:lnTo>
                  <a:lnTo>
                    <a:pt x="11603" y="166251"/>
                  </a:lnTo>
                  <a:lnTo>
                    <a:pt x="10765" y="166406"/>
                  </a:lnTo>
                  <a:lnTo>
                    <a:pt x="10855" y="164686"/>
                  </a:lnTo>
                  <a:lnTo>
                    <a:pt x="11516" y="162190"/>
                  </a:lnTo>
                  <a:lnTo>
                    <a:pt x="12144" y="160886"/>
                  </a:lnTo>
                  <a:lnTo>
                    <a:pt x="12982" y="159820"/>
                  </a:lnTo>
                  <a:lnTo>
                    <a:pt x="13870" y="159079"/>
                  </a:lnTo>
                  <a:lnTo>
                    <a:pt x="14069" y="157738"/>
                  </a:lnTo>
                  <a:lnTo>
                    <a:pt x="13926" y="156469"/>
                  </a:lnTo>
                  <a:lnTo>
                    <a:pt x="12900" y="156272"/>
                  </a:lnTo>
                  <a:lnTo>
                    <a:pt x="10329" y="155334"/>
                  </a:lnTo>
                  <a:lnTo>
                    <a:pt x="8813" y="154346"/>
                  </a:lnTo>
                  <a:lnTo>
                    <a:pt x="7681" y="153108"/>
                  </a:lnTo>
                  <a:lnTo>
                    <a:pt x="6206" y="151401"/>
                  </a:lnTo>
                  <a:lnTo>
                    <a:pt x="5578" y="149667"/>
                  </a:lnTo>
                  <a:lnTo>
                    <a:pt x="5546" y="147938"/>
                  </a:lnTo>
                  <a:lnTo>
                    <a:pt x="5727" y="147164"/>
                  </a:lnTo>
                  <a:lnTo>
                    <a:pt x="5833" y="146633"/>
                  </a:lnTo>
                  <a:lnTo>
                    <a:pt x="7023" y="143934"/>
                  </a:lnTo>
                  <a:lnTo>
                    <a:pt x="11210" y="141516"/>
                  </a:lnTo>
                  <a:lnTo>
                    <a:pt x="10749" y="139079"/>
                  </a:lnTo>
                  <a:lnTo>
                    <a:pt x="10689" y="137584"/>
                  </a:lnTo>
                  <a:lnTo>
                    <a:pt x="9672" y="136605"/>
                  </a:lnTo>
                  <a:lnTo>
                    <a:pt x="7640" y="136209"/>
                  </a:lnTo>
                  <a:lnTo>
                    <a:pt x="7102" y="135530"/>
                  </a:lnTo>
                  <a:lnTo>
                    <a:pt x="6876" y="134867"/>
                  </a:lnTo>
                  <a:lnTo>
                    <a:pt x="8368" y="133375"/>
                  </a:lnTo>
                  <a:lnTo>
                    <a:pt x="6567" y="132195"/>
                  </a:lnTo>
                  <a:lnTo>
                    <a:pt x="5792" y="130974"/>
                  </a:lnTo>
                  <a:lnTo>
                    <a:pt x="3282" y="129432"/>
                  </a:lnTo>
                  <a:lnTo>
                    <a:pt x="3017" y="128901"/>
                  </a:lnTo>
                  <a:lnTo>
                    <a:pt x="4222" y="124399"/>
                  </a:lnTo>
                  <a:lnTo>
                    <a:pt x="3302" y="123084"/>
                  </a:lnTo>
                  <a:lnTo>
                    <a:pt x="2157" y="122413"/>
                  </a:lnTo>
                  <a:lnTo>
                    <a:pt x="823" y="122083"/>
                  </a:lnTo>
                  <a:lnTo>
                    <a:pt x="214" y="121457"/>
                  </a:lnTo>
                  <a:lnTo>
                    <a:pt x="0" y="120742"/>
                  </a:lnTo>
                  <a:lnTo>
                    <a:pt x="240" y="120299"/>
                  </a:lnTo>
                  <a:lnTo>
                    <a:pt x="1807" y="120430"/>
                  </a:lnTo>
                  <a:lnTo>
                    <a:pt x="2289" y="119966"/>
                  </a:lnTo>
                  <a:lnTo>
                    <a:pt x="6025" y="117313"/>
                  </a:lnTo>
                  <a:lnTo>
                    <a:pt x="6178" y="116803"/>
                  </a:lnTo>
                  <a:lnTo>
                    <a:pt x="5658" y="116514"/>
                  </a:lnTo>
                  <a:lnTo>
                    <a:pt x="4973" y="116360"/>
                  </a:lnTo>
                  <a:lnTo>
                    <a:pt x="4805" y="115802"/>
                  </a:lnTo>
                  <a:lnTo>
                    <a:pt x="4829" y="115067"/>
                  </a:lnTo>
                  <a:lnTo>
                    <a:pt x="6826" y="111235"/>
                  </a:lnTo>
                  <a:lnTo>
                    <a:pt x="7416" y="109599"/>
                  </a:lnTo>
                  <a:lnTo>
                    <a:pt x="7547" y="108442"/>
                  </a:lnTo>
                  <a:lnTo>
                    <a:pt x="7424" y="107299"/>
                  </a:lnTo>
                  <a:lnTo>
                    <a:pt x="6282" y="105500"/>
                  </a:lnTo>
                  <a:lnTo>
                    <a:pt x="5165" y="104064"/>
                  </a:lnTo>
                  <a:lnTo>
                    <a:pt x="5127" y="102920"/>
                  </a:lnTo>
                  <a:lnTo>
                    <a:pt x="4317" y="102318"/>
                  </a:lnTo>
                  <a:lnTo>
                    <a:pt x="2013" y="99249"/>
                  </a:lnTo>
                  <a:lnTo>
                    <a:pt x="2017" y="98061"/>
                  </a:lnTo>
                  <a:lnTo>
                    <a:pt x="3319" y="97138"/>
                  </a:lnTo>
                  <a:lnTo>
                    <a:pt x="5137" y="96549"/>
                  </a:lnTo>
                  <a:lnTo>
                    <a:pt x="5742" y="96063"/>
                  </a:lnTo>
                  <a:lnTo>
                    <a:pt x="6832" y="95757"/>
                  </a:lnTo>
                  <a:lnTo>
                    <a:pt x="9720" y="96644"/>
                  </a:lnTo>
                  <a:lnTo>
                    <a:pt x="11015" y="97413"/>
                  </a:lnTo>
                  <a:lnTo>
                    <a:pt x="11380" y="97254"/>
                  </a:lnTo>
                  <a:lnTo>
                    <a:pt x="12548" y="96417"/>
                  </a:lnTo>
                  <a:lnTo>
                    <a:pt x="14595" y="96549"/>
                  </a:lnTo>
                  <a:lnTo>
                    <a:pt x="19553" y="94867"/>
                  </a:lnTo>
                  <a:lnTo>
                    <a:pt x="20292" y="94058"/>
                  </a:lnTo>
                  <a:lnTo>
                    <a:pt x="20849" y="93198"/>
                  </a:lnTo>
                  <a:lnTo>
                    <a:pt x="20894" y="92820"/>
                  </a:lnTo>
                  <a:lnTo>
                    <a:pt x="18975" y="91164"/>
                  </a:lnTo>
                  <a:lnTo>
                    <a:pt x="18916" y="90551"/>
                  </a:lnTo>
                  <a:lnTo>
                    <a:pt x="19171" y="89860"/>
                  </a:lnTo>
                  <a:lnTo>
                    <a:pt x="19713" y="89314"/>
                  </a:lnTo>
                  <a:lnTo>
                    <a:pt x="20849" y="88943"/>
                  </a:lnTo>
                  <a:lnTo>
                    <a:pt x="22058" y="88215"/>
                  </a:lnTo>
                  <a:lnTo>
                    <a:pt x="24759" y="86149"/>
                  </a:lnTo>
                  <a:lnTo>
                    <a:pt x="25697" y="84355"/>
                  </a:lnTo>
                  <a:lnTo>
                    <a:pt x="25984" y="82411"/>
                  </a:lnTo>
                  <a:lnTo>
                    <a:pt x="26040" y="80964"/>
                  </a:lnTo>
                  <a:lnTo>
                    <a:pt x="25304" y="79812"/>
                  </a:lnTo>
                  <a:lnTo>
                    <a:pt x="24559" y="79066"/>
                  </a:lnTo>
                  <a:lnTo>
                    <a:pt x="23540" y="79179"/>
                  </a:lnTo>
                  <a:lnTo>
                    <a:pt x="21559" y="79120"/>
                  </a:lnTo>
                  <a:lnTo>
                    <a:pt x="19709" y="78473"/>
                  </a:lnTo>
                  <a:lnTo>
                    <a:pt x="18694" y="77426"/>
                  </a:lnTo>
                  <a:lnTo>
                    <a:pt x="18444" y="76505"/>
                  </a:lnTo>
                  <a:lnTo>
                    <a:pt x="18903" y="75925"/>
                  </a:lnTo>
                  <a:lnTo>
                    <a:pt x="19044" y="75212"/>
                  </a:lnTo>
                  <a:lnTo>
                    <a:pt x="18748" y="74495"/>
                  </a:lnTo>
                  <a:lnTo>
                    <a:pt x="18867" y="73893"/>
                  </a:lnTo>
                  <a:lnTo>
                    <a:pt x="19700" y="73410"/>
                  </a:lnTo>
                  <a:lnTo>
                    <a:pt x="25554" y="73426"/>
                  </a:lnTo>
                  <a:lnTo>
                    <a:pt x="25993" y="72895"/>
                  </a:lnTo>
                  <a:lnTo>
                    <a:pt x="26388" y="70108"/>
                  </a:lnTo>
                  <a:lnTo>
                    <a:pt x="27852" y="65859"/>
                  </a:lnTo>
                  <a:lnTo>
                    <a:pt x="29232" y="63490"/>
                  </a:lnTo>
                  <a:lnTo>
                    <a:pt x="29463" y="62493"/>
                  </a:lnTo>
                  <a:lnTo>
                    <a:pt x="29441" y="56866"/>
                  </a:lnTo>
                  <a:lnTo>
                    <a:pt x="29625" y="54011"/>
                  </a:lnTo>
                  <a:lnTo>
                    <a:pt x="28625" y="52668"/>
                  </a:lnTo>
                  <a:lnTo>
                    <a:pt x="26442" y="51197"/>
                  </a:lnTo>
                  <a:lnTo>
                    <a:pt x="26906" y="48132"/>
                  </a:lnTo>
                  <a:lnTo>
                    <a:pt x="27632" y="45741"/>
                  </a:lnTo>
                  <a:lnTo>
                    <a:pt x="29828" y="42797"/>
                  </a:lnTo>
                  <a:lnTo>
                    <a:pt x="31570" y="41987"/>
                  </a:lnTo>
                  <a:lnTo>
                    <a:pt x="39176" y="41506"/>
                  </a:lnTo>
                  <a:lnTo>
                    <a:pt x="47580" y="41704"/>
                  </a:lnTo>
                  <a:lnTo>
                    <a:pt x="51069" y="46150"/>
                  </a:lnTo>
                  <a:lnTo>
                    <a:pt x="49774" y="48432"/>
                  </a:lnTo>
                  <a:lnTo>
                    <a:pt x="51814" y="49494"/>
                  </a:lnTo>
                  <a:lnTo>
                    <a:pt x="52797" y="49106"/>
                  </a:lnTo>
                  <a:lnTo>
                    <a:pt x="53544" y="47121"/>
                  </a:lnTo>
                  <a:lnTo>
                    <a:pt x="54043" y="44922"/>
                  </a:lnTo>
                  <a:lnTo>
                    <a:pt x="54758" y="44256"/>
                  </a:lnTo>
                  <a:lnTo>
                    <a:pt x="57356" y="45900"/>
                  </a:lnTo>
                  <a:lnTo>
                    <a:pt x="58269" y="47026"/>
                  </a:lnTo>
                  <a:lnTo>
                    <a:pt x="58325" y="50644"/>
                  </a:lnTo>
                  <a:lnTo>
                    <a:pt x="59282" y="45743"/>
                  </a:lnTo>
                  <a:lnTo>
                    <a:pt x="58569" y="42307"/>
                  </a:lnTo>
                  <a:lnTo>
                    <a:pt x="59059" y="38972"/>
                  </a:lnTo>
                  <a:lnTo>
                    <a:pt x="60102" y="37235"/>
                  </a:lnTo>
                  <a:lnTo>
                    <a:pt x="61061" y="36130"/>
                  </a:lnTo>
                  <a:lnTo>
                    <a:pt x="67226" y="37320"/>
                  </a:lnTo>
                  <a:lnTo>
                    <a:pt x="74032" y="36706"/>
                  </a:lnTo>
                  <a:lnTo>
                    <a:pt x="76606" y="37992"/>
                  </a:lnTo>
                  <a:lnTo>
                    <a:pt x="82430" y="44428"/>
                  </a:lnTo>
                  <a:lnTo>
                    <a:pt x="84372" y="45480"/>
                  </a:lnTo>
                  <a:lnTo>
                    <a:pt x="86822" y="45811"/>
                  </a:lnTo>
                  <a:lnTo>
                    <a:pt x="83445" y="44437"/>
                  </a:lnTo>
                  <a:lnTo>
                    <a:pt x="76386" y="36610"/>
                  </a:lnTo>
                  <a:lnTo>
                    <a:pt x="74272" y="35639"/>
                  </a:lnTo>
                  <a:lnTo>
                    <a:pt x="71027" y="35344"/>
                  </a:lnTo>
                  <a:lnTo>
                    <a:pt x="69003" y="34578"/>
                  </a:lnTo>
                  <a:lnTo>
                    <a:pt x="67727" y="33392"/>
                  </a:lnTo>
                  <a:lnTo>
                    <a:pt x="67353" y="32332"/>
                  </a:lnTo>
                  <a:lnTo>
                    <a:pt x="67423" y="24417"/>
                  </a:lnTo>
                  <a:lnTo>
                    <a:pt x="66205" y="23237"/>
                  </a:lnTo>
                  <a:lnTo>
                    <a:pt x="64631" y="22826"/>
                  </a:lnTo>
                  <a:lnTo>
                    <a:pt x="63650" y="23369"/>
                  </a:lnTo>
                  <a:lnTo>
                    <a:pt x="61636" y="23376"/>
                  </a:lnTo>
                  <a:lnTo>
                    <a:pt x="61212" y="21579"/>
                  </a:lnTo>
                  <a:lnTo>
                    <a:pt x="61704" y="20247"/>
                  </a:lnTo>
                  <a:lnTo>
                    <a:pt x="65753" y="19336"/>
                  </a:lnTo>
                  <a:lnTo>
                    <a:pt x="68422" y="18114"/>
                  </a:lnTo>
                  <a:lnTo>
                    <a:pt x="68541" y="15954"/>
                  </a:lnTo>
                  <a:lnTo>
                    <a:pt x="66855" y="14254"/>
                  </a:lnTo>
                  <a:lnTo>
                    <a:pt x="64836" y="11133"/>
                  </a:lnTo>
                  <a:lnTo>
                    <a:pt x="62463" y="8196"/>
                  </a:lnTo>
                  <a:close/>
                  <a:moveTo>
                    <a:pt x="56334" y="0"/>
                  </a:moveTo>
                  <a:lnTo>
                    <a:pt x="57358" y="103"/>
                  </a:lnTo>
                  <a:lnTo>
                    <a:pt x="56310" y="1353"/>
                  </a:lnTo>
                  <a:lnTo>
                    <a:pt x="56008" y="2228"/>
                  </a:lnTo>
                  <a:lnTo>
                    <a:pt x="55583" y="3975"/>
                  </a:lnTo>
                  <a:lnTo>
                    <a:pt x="55775" y="4882"/>
                  </a:lnTo>
                  <a:lnTo>
                    <a:pt x="61296" y="5131"/>
                  </a:lnTo>
                  <a:lnTo>
                    <a:pt x="60655" y="5940"/>
                  </a:lnTo>
                  <a:lnTo>
                    <a:pt x="55056" y="6486"/>
                  </a:lnTo>
                  <a:lnTo>
                    <a:pt x="54179" y="8345"/>
                  </a:lnTo>
                  <a:lnTo>
                    <a:pt x="53669" y="8954"/>
                  </a:lnTo>
                  <a:lnTo>
                    <a:pt x="53913" y="4623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ee4p_DK_1_37764">
              <a:extLst>
                <a:ext uri="{FF2B5EF4-FFF2-40B4-BE49-F238E27FC236}">
                  <a16:creationId xmlns:a16="http://schemas.microsoft.com/office/drawing/2014/main" id="{E97A4424-DCB9-4290-9A90-8C6E65CCBDDF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10110601" y="7063444"/>
              <a:ext cx="1460256" cy="914249"/>
            </a:xfrm>
            <a:custGeom>
              <a:avLst/>
              <a:gdLst>
                <a:gd name="connsiteX0" fmla="*/ 69366 w 155130"/>
                <a:gd name="connsiteY0" fmla="*/ 87225 h 97125"/>
                <a:gd name="connsiteX1" fmla="*/ 71642 w 155130"/>
                <a:gd name="connsiteY1" fmla="*/ 89072 h 97125"/>
                <a:gd name="connsiteX2" fmla="*/ 75555 w 155130"/>
                <a:gd name="connsiteY2" fmla="*/ 90976 h 97125"/>
                <a:gd name="connsiteX3" fmla="*/ 78202 w 155130"/>
                <a:gd name="connsiteY3" fmla="*/ 90867 h 97125"/>
                <a:gd name="connsiteX4" fmla="*/ 80003 w 155130"/>
                <a:gd name="connsiteY4" fmla="*/ 91656 h 97125"/>
                <a:gd name="connsiteX5" fmla="*/ 80433 w 155130"/>
                <a:gd name="connsiteY5" fmla="*/ 92874 h 97125"/>
                <a:gd name="connsiteX6" fmla="*/ 80586 w 155130"/>
                <a:gd name="connsiteY6" fmla="*/ 95577 h 97125"/>
                <a:gd name="connsiteX7" fmla="*/ 78695 w 155130"/>
                <a:gd name="connsiteY7" fmla="*/ 96364 h 97125"/>
                <a:gd name="connsiteX8" fmla="*/ 76607 w 155130"/>
                <a:gd name="connsiteY8" fmla="*/ 96097 h 97125"/>
                <a:gd name="connsiteX9" fmla="*/ 73765 w 155130"/>
                <a:gd name="connsiteY9" fmla="*/ 97125 h 97125"/>
                <a:gd name="connsiteX10" fmla="*/ 64436 w 155130"/>
                <a:gd name="connsiteY10" fmla="*/ 92708 h 97125"/>
                <a:gd name="connsiteX11" fmla="*/ 64572 w 155130"/>
                <a:gd name="connsiteY11" fmla="*/ 89020 h 97125"/>
                <a:gd name="connsiteX12" fmla="*/ 64946 w 155130"/>
                <a:gd name="connsiteY12" fmla="*/ 87570 h 97125"/>
                <a:gd name="connsiteX13" fmla="*/ 45958 w 155130"/>
                <a:gd name="connsiteY13" fmla="*/ 86889 h 97125"/>
                <a:gd name="connsiteX14" fmla="*/ 47410 w 155130"/>
                <a:gd name="connsiteY14" fmla="*/ 87316 h 97125"/>
                <a:gd name="connsiteX15" fmla="*/ 49211 w 155130"/>
                <a:gd name="connsiteY15" fmla="*/ 88633 h 97125"/>
                <a:gd name="connsiteX16" fmla="*/ 50685 w 155130"/>
                <a:gd name="connsiteY16" fmla="*/ 88913 h 97125"/>
                <a:gd name="connsiteX17" fmla="*/ 52702 w 155130"/>
                <a:gd name="connsiteY17" fmla="*/ 90027 h 97125"/>
                <a:gd name="connsiteX18" fmla="*/ 52249 w 155130"/>
                <a:gd name="connsiteY18" fmla="*/ 90425 h 97125"/>
                <a:gd name="connsiteX19" fmla="*/ 50765 w 155130"/>
                <a:gd name="connsiteY19" fmla="*/ 90744 h 97125"/>
                <a:gd name="connsiteX20" fmla="*/ 49068 w 155130"/>
                <a:gd name="connsiteY20" fmla="*/ 90076 h 97125"/>
                <a:gd name="connsiteX21" fmla="*/ 46306 w 155130"/>
                <a:gd name="connsiteY21" fmla="*/ 87558 h 97125"/>
                <a:gd name="connsiteX22" fmla="*/ 91822 w 155130"/>
                <a:gd name="connsiteY22" fmla="*/ 83772 h 97125"/>
                <a:gd name="connsiteX23" fmla="*/ 92618 w 155130"/>
                <a:gd name="connsiteY23" fmla="*/ 84486 h 97125"/>
                <a:gd name="connsiteX24" fmla="*/ 94987 w 155130"/>
                <a:gd name="connsiteY24" fmla="*/ 84785 h 97125"/>
                <a:gd name="connsiteX25" fmla="*/ 96145 w 155130"/>
                <a:gd name="connsiteY25" fmla="*/ 85207 h 97125"/>
                <a:gd name="connsiteX26" fmla="*/ 97112 w 155130"/>
                <a:gd name="connsiteY26" fmla="*/ 85827 h 97125"/>
                <a:gd name="connsiteX27" fmla="*/ 97907 w 155130"/>
                <a:gd name="connsiteY27" fmla="*/ 86796 h 97125"/>
                <a:gd name="connsiteX28" fmla="*/ 97062 w 155130"/>
                <a:gd name="connsiteY28" fmla="*/ 87254 h 97125"/>
                <a:gd name="connsiteX29" fmla="*/ 93668 w 155130"/>
                <a:gd name="connsiteY29" fmla="*/ 86918 h 97125"/>
                <a:gd name="connsiteX30" fmla="*/ 89841 w 155130"/>
                <a:gd name="connsiteY30" fmla="*/ 89047 h 97125"/>
                <a:gd name="connsiteX31" fmla="*/ 88390 w 155130"/>
                <a:gd name="connsiteY31" fmla="*/ 88374 h 97125"/>
                <a:gd name="connsiteX32" fmla="*/ 88939 w 155130"/>
                <a:gd name="connsiteY32" fmla="*/ 87014 h 97125"/>
                <a:gd name="connsiteX33" fmla="*/ 89338 w 155130"/>
                <a:gd name="connsiteY33" fmla="*/ 86518 h 97125"/>
                <a:gd name="connsiteX34" fmla="*/ 90625 w 155130"/>
                <a:gd name="connsiteY34" fmla="*/ 85941 h 97125"/>
                <a:gd name="connsiteX35" fmla="*/ 91485 w 155130"/>
                <a:gd name="connsiteY35" fmla="*/ 85096 h 97125"/>
                <a:gd name="connsiteX36" fmla="*/ 36701 w 155130"/>
                <a:gd name="connsiteY36" fmla="*/ 83621 h 97125"/>
                <a:gd name="connsiteX37" fmla="*/ 37787 w 155130"/>
                <a:gd name="connsiteY37" fmla="*/ 83953 h 97125"/>
                <a:gd name="connsiteX38" fmla="*/ 41512 w 155130"/>
                <a:gd name="connsiteY38" fmla="*/ 86160 h 97125"/>
                <a:gd name="connsiteX39" fmla="*/ 42814 w 155130"/>
                <a:gd name="connsiteY39" fmla="*/ 88573 h 97125"/>
                <a:gd name="connsiteX40" fmla="*/ 42892 w 155130"/>
                <a:gd name="connsiteY40" fmla="*/ 89234 h 97125"/>
                <a:gd name="connsiteX41" fmla="*/ 40590 w 155130"/>
                <a:gd name="connsiteY41" fmla="*/ 89661 h 97125"/>
                <a:gd name="connsiteX42" fmla="*/ 39413 w 155130"/>
                <a:gd name="connsiteY42" fmla="*/ 88919 h 97125"/>
                <a:gd name="connsiteX43" fmla="*/ 37254 w 155130"/>
                <a:gd name="connsiteY43" fmla="*/ 88632 h 97125"/>
                <a:gd name="connsiteX44" fmla="*/ 36479 w 155130"/>
                <a:gd name="connsiteY44" fmla="*/ 83902 h 97125"/>
                <a:gd name="connsiteX45" fmla="*/ 61992 w 155130"/>
                <a:gd name="connsiteY45" fmla="*/ 80886 h 97125"/>
                <a:gd name="connsiteX46" fmla="*/ 62568 w 155130"/>
                <a:gd name="connsiteY46" fmla="*/ 80938 h 97125"/>
                <a:gd name="connsiteX47" fmla="*/ 61899 w 155130"/>
                <a:gd name="connsiteY47" fmla="*/ 83834 h 97125"/>
                <a:gd name="connsiteX48" fmla="*/ 58459 w 155130"/>
                <a:gd name="connsiteY48" fmla="*/ 91894 h 97125"/>
                <a:gd name="connsiteX49" fmla="*/ 57770 w 155130"/>
                <a:gd name="connsiteY49" fmla="*/ 93394 h 97125"/>
                <a:gd name="connsiteX50" fmla="*/ 56790 w 155130"/>
                <a:gd name="connsiteY50" fmla="*/ 93567 h 97125"/>
                <a:gd name="connsiteX51" fmla="*/ 55457 w 155130"/>
                <a:gd name="connsiteY51" fmla="*/ 91084 h 97125"/>
                <a:gd name="connsiteX52" fmla="*/ 55285 w 155130"/>
                <a:gd name="connsiteY52" fmla="*/ 90307 h 97125"/>
                <a:gd name="connsiteX53" fmla="*/ 56850 w 155130"/>
                <a:gd name="connsiteY53" fmla="*/ 88716 h 97125"/>
                <a:gd name="connsiteX54" fmla="*/ 57863 w 155130"/>
                <a:gd name="connsiteY54" fmla="*/ 86912 h 97125"/>
                <a:gd name="connsiteX55" fmla="*/ 60482 w 155130"/>
                <a:gd name="connsiteY55" fmla="*/ 84139 h 97125"/>
                <a:gd name="connsiteX56" fmla="*/ 146910 w 155130"/>
                <a:gd name="connsiteY56" fmla="*/ 76604 h 97125"/>
                <a:gd name="connsiteX57" fmla="*/ 155031 w 155130"/>
                <a:gd name="connsiteY57" fmla="*/ 81297 h 97125"/>
                <a:gd name="connsiteX58" fmla="*/ 155130 w 155130"/>
                <a:gd name="connsiteY58" fmla="*/ 83063 h 97125"/>
                <a:gd name="connsiteX59" fmla="*/ 154038 w 155130"/>
                <a:gd name="connsiteY59" fmla="*/ 85072 h 97125"/>
                <a:gd name="connsiteX60" fmla="*/ 153222 w 155130"/>
                <a:gd name="connsiteY60" fmla="*/ 85592 h 97125"/>
                <a:gd name="connsiteX61" fmla="*/ 149568 w 155130"/>
                <a:gd name="connsiteY61" fmla="*/ 84731 h 97125"/>
                <a:gd name="connsiteX62" fmla="*/ 145115 w 155130"/>
                <a:gd name="connsiteY62" fmla="*/ 82599 h 97125"/>
                <a:gd name="connsiteX63" fmla="*/ 145767 w 155130"/>
                <a:gd name="connsiteY63" fmla="*/ 78415 h 97125"/>
                <a:gd name="connsiteX64" fmla="*/ 55309 w 155130"/>
                <a:gd name="connsiteY64" fmla="*/ 66827 h 97125"/>
                <a:gd name="connsiteX65" fmla="*/ 55803 w 155130"/>
                <a:gd name="connsiteY65" fmla="*/ 66921 h 97125"/>
                <a:gd name="connsiteX66" fmla="*/ 56725 w 155130"/>
                <a:gd name="connsiteY66" fmla="*/ 68538 h 97125"/>
                <a:gd name="connsiteX67" fmla="*/ 57859 w 155130"/>
                <a:gd name="connsiteY67" fmla="*/ 71982 h 97125"/>
                <a:gd name="connsiteX68" fmla="*/ 59653 w 155130"/>
                <a:gd name="connsiteY68" fmla="*/ 75828 h 97125"/>
                <a:gd name="connsiteX69" fmla="*/ 58904 w 155130"/>
                <a:gd name="connsiteY69" fmla="*/ 77436 h 97125"/>
                <a:gd name="connsiteX70" fmla="*/ 59413 w 155130"/>
                <a:gd name="connsiteY70" fmla="*/ 79495 h 97125"/>
                <a:gd name="connsiteX71" fmla="*/ 58902 w 155130"/>
                <a:gd name="connsiteY71" fmla="*/ 81640 h 97125"/>
                <a:gd name="connsiteX72" fmla="*/ 55332 w 155130"/>
                <a:gd name="connsiteY72" fmla="*/ 84132 h 97125"/>
                <a:gd name="connsiteX73" fmla="*/ 51329 w 155130"/>
                <a:gd name="connsiteY73" fmla="*/ 84244 h 97125"/>
                <a:gd name="connsiteX74" fmla="*/ 47168 w 155130"/>
                <a:gd name="connsiteY74" fmla="*/ 83041 h 97125"/>
                <a:gd name="connsiteX75" fmla="*/ 41290 w 155130"/>
                <a:gd name="connsiteY75" fmla="*/ 80722 h 97125"/>
                <a:gd name="connsiteX76" fmla="*/ 40817 w 155130"/>
                <a:gd name="connsiteY76" fmla="*/ 79419 h 97125"/>
                <a:gd name="connsiteX77" fmla="*/ 39992 w 155130"/>
                <a:gd name="connsiteY77" fmla="*/ 78697 h 97125"/>
                <a:gd name="connsiteX78" fmla="*/ 38420 w 155130"/>
                <a:gd name="connsiteY78" fmla="*/ 74737 h 97125"/>
                <a:gd name="connsiteX79" fmla="*/ 38457 w 155130"/>
                <a:gd name="connsiteY79" fmla="*/ 69843 h 97125"/>
                <a:gd name="connsiteX80" fmla="*/ 41411 w 155130"/>
                <a:gd name="connsiteY80" fmla="*/ 69229 h 97125"/>
                <a:gd name="connsiteX81" fmla="*/ 47865 w 155130"/>
                <a:gd name="connsiteY81" fmla="*/ 66889 h 97125"/>
                <a:gd name="connsiteX82" fmla="*/ 49357 w 155130"/>
                <a:gd name="connsiteY82" fmla="*/ 67257 h 97125"/>
                <a:gd name="connsiteX83" fmla="*/ 50914 w 155130"/>
                <a:gd name="connsiteY83" fmla="*/ 68454 h 97125"/>
                <a:gd name="connsiteX84" fmla="*/ 52706 w 155130"/>
                <a:gd name="connsiteY84" fmla="*/ 68525 h 97125"/>
                <a:gd name="connsiteX85" fmla="*/ 99012 w 155130"/>
                <a:gd name="connsiteY85" fmla="*/ 64738 h 97125"/>
                <a:gd name="connsiteX86" fmla="*/ 99472 w 155130"/>
                <a:gd name="connsiteY86" fmla="*/ 64765 h 97125"/>
                <a:gd name="connsiteX87" fmla="*/ 100101 w 155130"/>
                <a:gd name="connsiteY87" fmla="*/ 65775 h 97125"/>
                <a:gd name="connsiteX88" fmla="*/ 100483 w 155130"/>
                <a:gd name="connsiteY88" fmla="*/ 67333 h 97125"/>
                <a:gd name="connsiteX89" fmla="*/ 98401 w 155130"/>
                <a:gd name="connsiteY89" fmla="*/ 68650 h 97125"/>
                <a:gd name="connsiteX90" fmla="*/ 97943 w 155130"/>
                <a:gd name="connsiteY90" fmla="*/ 68581 h 97125"/>
                <a:gd name="connsiteX91" fmla="*/ 97267 w 155130"/>
                <a:gd name="connsiteY91" fmla="*/ 66773 h 97125"/>
                <a:gd name="connsiteX92" fmla="*/ 98365 w 155130"/>
                <a:gd name="connsiteY92" fmla="*/ 65672 h 97125"/>
                <a:gd name="connsiteX93" fmla="*/ 53637 w 155130"/>
                <a:gd name="connsiteY93" fmla="*/ 55046 h 97125"/>
                <a:gd name="connsiteX94" fmla="*/ 55609 w 155130"/>
                <a:gd name="connsiteY94" fmla="*/ 57468 h 97125"/>
                <a:gd name="connsiteX95" fmla="*/ 56170 w 155130"/>
                <a:gd name="connsiteY95" fmla="*/ 58606 h 97125"/>
                <a:gd name="connsiteX96" fmla="*/ 55410 w 155130"/>
                <a:gd name="connsiteY96" fmla="*/ 59965 h 97125"/>
                <a:gd name="connsiteX97" fmla="*/ 54967 w 155130"/>
                <a:gd name="connsiteY97" fmla="*/ 61545 h 97125"/>
                <a:gd name="connsiteX98" fmla="*/ 54592 w 155130"/>
                <a:gd name="connsiteY98" fmla="*/ 62103 h 97125"/>
                <a:gd name="connsiteX99" fmla="*/ 53190 w 155130"/>
                <a:gd name="connsiteY99" fmla="*/ 61522 h 97125"/>
                <a:gd name="connsiteX100" fmla="*/ 53043 w 155130"/>
                <a:gd name="connsiteY100" fmla="*/ 59511 h 97125"/>
                <a:gd name="connsiteX101" fmla="*/ 53575 w 155130"/>
                <a:gd name="connsiteY101" fmla="*/ 57704 h 97125"/>
                <a:gd name="connsiteX102" fmla="*/ 52950 w 155130"/>
                <a:gd name="connsiteY102" fmla="*/ 56086 h 97125"/>
                <a:gd name="connsiteX103" fmla="*/ 92910 w 155130"/>
                <a:gd name="connsiteY103" fmla="*/ 50986 h 97125"/>
                <a:gd name="connsiteX104" fmla="*/ 95231 w 155130"/>
                <a:gd name="connsiteY104" fmla="*/ 51493 h 97125"/>
                <a:gd name="connsiteX105" fmla="*/ 97389 w 155130"/>
                <a:gd name="connsiteY105" fmla="*/ 52194 h 97125"/>
                <a:gd name="connsiteX106" fmla="*/ 98559 w 155130"/>
                <a:gd name="connsiteY106" fmla="*/ 52797 h 97125"/>
                <a:gd name="connsiteX107" fmla="*/ 99215 w 155130"/>
                <a:gd name="connsiteY107" fmla="*/ 53766 h 97125"/>
                <a:gd name="connsiteX108" fmla="*/ 97768 w 155130"/>
                <a:gd name="connsiteY108" fmla="*/ 56072 h 97125"/>
                <a:gd name="connsiteX109" fmla="*/ 97367 w 155130"/>
                <a:gd name="connsiteY109" fmla="*/ 57334 h 97125"/>
                <a:gd name="connsiteX110" fmla="*/ 98339 w 155130"/>
                <a:gd name="connsiteY110" fmla="*/ 61483 h 97125"/>
                <a:gd name="connsiteX111" fmla="*/ 98392 w 155130"/>
                <a:gd name="connsiteY111" fmla="*/ 64591 h 97125"/>
                <a:gd name="connsiteX112" fmla="*/ 97818 w 155130"/>
                <a:gd name="connsiteY112" fmla="*/ 65495 h 97125"/>
                <a:gd name="connsiteX113" fmla="*/ 96974 w 155130"/>
                <a:gd name="connsiteY113" fmla="*/ 66090 h 97125"/>
                <a:gd name="connsiteX114" fmla="*/ 94765 w 155130"/>
                <a:gd name="connsiteY114" fmla="*/ 66721 h 97125"/>
                <a:gd name="connsiteX115" fmla="*/ 92852 w 155130"/>
                <a:gd name="connsiteY115" fmla="*/ 67602 h 97125"/>
                <a:gd name="connsiteX116" fmla="*/ 91146 w 155130"/>
                <a:gd name="connsiteY116" fmla="*/ 69149 h 97125"/>
                <a:gd name="connsiteX117" fmla="*/ 90517 w 155130"/>
                <a:gd name="connsiteY117" fmla="*/ 71359 h 97125"/>
                <a:gd name="connsiteX118" fmla="*/ 91852 w 155130"/>
                <a:gd name="connsiteY118" fmla="*/ 72974 h 97125"/>
                <a:gd name="connsiteX119" fmla="*/ 94279 w 155130"/>
                <a:gd name="connsiteY119" fmla="*/ 73859 h 97125"/>
                <a:gd name="connsiteX120" fmla="*/ 94897 w 155130"/>
                <a:gd name="connsiteY120" fmla="*/ 76930 h 97125"/>
                <a:gd name="connsiteX121" fmla="*/ 92893 w 155130"/>
                <a:gd name="connsiteY121" fmla="*/ 78444 h 97125"/>
                <a:gd name="connsiteX122" fmla="*/ 87751 w 155130"/>
                <a:gd name="connsiteY122" fmla="*/ 79954 h 97125"/>
                <a:gd name="connsiteX123" fmla="*/ 87211 w 155130"/>
                <a:gd name="connsiteY123" fmla="*/ 83594 h 97125"/>
                <a:gd name="connsiteX124" fmla="*/ 87378 w 155130"/>
                <a:gd name="connsiteY124" fmla="*/ 86459 h 97125"/>
                <a:gd name="connsiteX125" fmla="*/ 87285 w 155130"/>
                <a:gd name="connsiteY125" fmla="*/ 88539 h 97125"/>
                <a:gd name="connsiteX126" fmla="*/ 86877 w 155130"/>
                <a:gd name="connsiteY126" fmla="*/ 91414 h 97125"/>
                <a:gd name="connsiteX127" fmla="*/ 82717 w 155130"/>
                <a:gd name="connsiteY127" fmla="*/ 92723 h 97125"/>
                <a:gd name="connsiteX128" fmla="*/ 80034 w 155130"/>
                <a:gd name="connsiteY128" fmla="*/ 88345 h 97125"/>
                <a:gd name="connsiteX129" fmla="*/ 80010 w 155130"/>
                <a:gd name="connsiteY129" fmla="*/ 86590 h 97125"/>
                <a:gd name="connsiteX130" fmla="*/ 79209 w 155130"/>
                <a:gd name="connsiteY130" fmla="*/ 84540 h 97125"/>
                <a:gd name="connsiteX131" fmla="*/ 79058 w 155130"/>
                <a:gd name="connsiteY131" fmla="*/ 82791 h 97125"/>
                <a:gd name="connsiteX132" fmla="*/ 78107 w 155130"/>
                <a:gd name="connsiteY132" fmla="*/ 79991 h 97125"/>
                <a:gd name="connsiteX133" fmla="*/ 74173 w 155130"/>
                <a:gd name="connsiteY133" fmla="*/ 79233 h 97125"/>
                <a:gd name="connsiteX134" fmla="*/ 72646 w 155130"/>
                <a:gd name="connsiteY134" fmla="*/ 79133 h 97125"/>
                <a:gd name="connsiteX135" fmla="*/ 70510 w 155130"/>
                <a:gd name="connsiteY135" fmla="*/ 79654 h 97125"/>
                <a:gd name="connsiteX136" fmla="*/ 69981 w 155130"/>
                <a:gd name="connsiteY136" fmla="*/ 79451 h 97125"/>
                <a:gd name="connsiteX137" fmla="*/ 67425 w 155130"/>
                <a:gd name="connsiteY137" fmla="*/ 75620 h 97125"/>
                <a:gd name="connsiteX138" fmla="*/ 67846 w 155130"/>
                <a:gd name="connsiteY138" fmla="*/ 71386 h 97125"/>
                <a:gd name="connsiteX139" fmla="*/ 66481 w 155130"/>
                <a:gd name="connsiteY139" fmla="*/ 69246 h 97125"/>
                <a:gd name="connsiteX140" fmla="*/ 66293 w 155130"/>
                <a:gd name="connsiteY140" fmla="*/ 68277 h 97125"/>
                <a:gd name="connsiteX141" fmla="*/ 66326 w 155130"/>
                <a:gd name="connsiteY141" fmla="*/ 67203 h 97125"/>
                <a:gd name="connsiteX142" fmla="*/ 65205 w 155130"/>
                <a:gd name="connsiteY142" fmla="*/ 66317 h 97125"/>
                <a:gd name="connsiteX143" fmla="*/ 63845 w 155130"/>
                <a:gd name="connsiteY143" fmla="*/ 65848 h 97125"/>
                <a:gd name="connsiteX144" fmla="*/ 63184 w 155130"/>
                <a:gd name="connsiteY144" fmla="*/ 63455 h 97125"/>
                <a:gd name="connsiteX145" fmla="*/ 64747 w 155130"/>
                <a:gd name="connsiteY145" fmla="*/ 62875 h 97125"/>
                <a:gd name="connsiteX146" fmla="*/ 68612 w 155130"/>
                <a:gd name="connsiteY146" fmla="*/ 63155 h 97125"/>
                <a:gd name="connsiteX147" fmla="*/ 69742 w 155130"/>
                <a:gd name="connsiteY147" fmla="*/ 62992 h 97125"/>
                <a:gd name="connsiteX148" fmla="*/ 70776 w 155130"/>
                <a:gd name="connsiteY148" fmla="*/ 62493 h 97125"/>
                <a:gd name="connsiteX149" fmla="*/ 73903 w 155130"/>
                <a:gd name="connsiteY149" fmla="*/ 58553 h 97125"/>
                <a:gd name="connsiteX150" fmla="*/ 73812 w 155130"/>
                <a:gd name="connsiteY150" fmla="*/ 57684 h 97125"/>
                <a:gd name="connsiteX151" fmla="*/ 74147 w 155130"/>
                <a:gd name="connsiteY151" fmla="*/ 56556 h 97125"/>
                <a:gd name="connsiteX152" fmla="*/ 77531 w 155130"/>
                <a:gd name="connsiteY152" fmla="*/ 56138 h 97125"/>
                <a:gd name="connsiteX153" fmla="*/ 79038 w 155130"/>
                <a:gd name="connsiteY153" fmla="*/ 57662 h 97125"/>
                <a:gd name="connsiteX154" fmla="*/ 78736 w 155130"/>
                <a:gd name="connsiteY154" fmla="*/ 60102 h 97125"/>
                <a:gd name="connsiteX155" fmla="*/ 78928 w 155130"/>
                <a:gd name="connsiteY155" fmla="*/ 63224 h 97125"/>
                <a:gd name="connsiteX156" fmla="*/ 80977 w 155130"/>
                <a:gd name="connsiteY156" fmla="*/ 64072 h 97125"/>
                <a:gd name="connsiteX157" fmla="*/ 81776 w 155130"/>
                <a:gd name="connsiteY157" fmla="*/ 64197 h 97125"/>
                <a:gd name="connsiteX158" fmla="*/ 82629 w 155130"/>
                <a:gd name="connsiteY158" fmla="*/ 61892 h 97125"/>
                <a:gd name="connsiteX159" fmla="*/ 83227 w 155130"/>
                <a:gd name="connsiteY159" fmla="*/ 60771 h 97125"/>
                <a:gd name="connsiteX160" fmla="*/ 84039 w 155130"/>
                <a:gd name="connsiteY160" fmla="*/ 60146 h 97125"/>
                <a:gd name="connsiteX161" fmla="*/ 84315 w 155130"/>
                <a:gd name="connsiteY161" fmla="*/ 58036 h 97125"/>
                <a:gd name="connsiteX162" fmla="*/ 83834 w 155130"/>
                <a:gd name="connsiteY162" fmla="*/ 56747 h 97125"/>
                <a:gd name="connsiteX163" fmla="*/ 82808 w 155130"/>
                <a:gd name="connsiteY163" fmla="*/ 55786 h 97125"/>
                <a:gd name="connsiteX164" fmla="*/ 86639 w 155130"/>
                <a:gd name="connsiteY164" fmla="*/ 53169 h 97125"/>
                <a:gd name="connsiteX165" fmla="*/ 90604 w 155130"/>
                <a:gd name="connsiteY165" fmla="*/ 51094 h 97125"/>
                <a:gd name="connsiteX166" fmla="*/ 65546 w 155130"/>
                <a:gd name="connsiteY166" fmla="*/ 12961 h 97125"/>
                <a:gd name="connsiteX167" fmla="*/ 67509 w 155130"/>
                <a:gd name="connsiteY167" fmla="*/ 13184 h 97125"/>
                <a:gd name="connsiteX168" fmla="*/ 65350 w 155130"/>
                <a:gd name="connsiteY168" fmla="*/ 14644 h 97125"/>
                <a:gd name="connsiteX169" fmla="*/ 64803 w 155130"/>
                <a:gd name="connsiteY169" fmla="*/ 15417 h 97125"/>
                <a:gd name="connsiteX170" fmla="*/ 63903 w 155130"/>
                <a:gd name="connsiteY170" fmla="*/ 16160 h 97125"/>
                <a:gd name="connsiteX171" fmla="*/ 60860 w 155130"/>
                <a:gd name="connsiteY171" fmla="*/ 15109 h 97125"/>
                <a:gd name="connsiteX172" fmla="*/ 62204 w 155130"/>
                <a:gd name="connsiteY172" fmla="*/ 13639 h 97125"/>
                <a:gd name="connsiteX173" fmla="*/ 55026 w 155130"/>
                <a:gd name="connsiteY173" fmla="*/ 0 h 97125"/>
                <a:gd name="connsiteX174" fmla="*/ 52173 w 155130"/>
                <a:gd name="connsiteY174" fmla="*/ 2816 h 97125"/>
                <a:gd name="connsiteX175" fmla="*/ 51715 w 155130"/>
                <a:gd name="connsiteY175" fmla="*/ 3905 h 97125"/>
                <a:gd name="connsiteX176" fmla="*/ 51370 w 155130"/>
                <a:gd name="connsiteY176" fmla="*/ 5573 h 97125"/>
                <a:gd name="connsiteX177" fmla="*/ 53415 w 155130"/>
                <a:gd name="connsiteY177" fmla="*/ 9192 h 97125"/>
                <a:gd name="connsiteX178" fmla="*/ 52983 w 155130"/>
                <a:gd name="connsiteY178" fmla="*/ 11391 h 97125"/>
                <a:gd name="connsiteX179" fmla="*/ 53127 w 155130"/>
                <a:gd name="connsiteY179" fmla="*/ 15713 h 97125"/>
                <a:gd name="connsiteX180" fmla="*/ 51199 w 155130"/>
                <a:gd name="connsiteY180" fmla="*/ 17962 h 97125"/>
                <a:gd name="connsiteX181" fmla="*/ 49023 w 155130"/>
                <a:gd name="connsiteY181" fmla="*/ 22738 h 97125"/>
                <a:gd name="connsiteX182" fmla="*/ 48085 w 155130"/>
                <a:gd name="connsiteY182" fmla="*/ 23440 h 97125"/>
                <a:gd name="connsiteX183" fmla="*/ 47885 w 155130"/>
                <a:gd name="connsiteY183" fmla="*/ 29001 h 97125"/>
                <a:gd name="connsiteX184" fmla="*/ 48098 w 155130"/>
                <a:gd name="connsiteY184" fmla="*/ 30326 h 97125"/>
                <a:gd name="connsiteX185" fmla="*/ 47789 w 155130"/>
                <a:gd name="connsiteY185" fmla="*/ 35374 h 97125"/>
                <a:gd name="connsiteX186" fmla="*/ 50020 w 155130"/>
                <a:gd name="connsiteY186" fmla="*/ 37437 h 97125"/>
                <a:gd name="connsiteX187" fmla="*/ 52378 w 155130"/>
                <a:gd name="connsiteY187" fmla="*/ 38515 h 97125"/>
                <a:gd name="connsiteX188" fmla="*/ 60243 w 155130"/>
                <a:gd name="connsiteY188" fmla="*/ 38477 h 97125"/>
                <a:gd name="connsiteX189" fmla="*/ 61059 w 155130"/>
                <a:gd name="connsiteY189" fmla="*/ 39383 h 97125"/>
                <a:gd name="connsiteX190" fmla="*/ 62018 w 155130"/>
                <a:gd name="connsiteY190" fmla="*/ 40939 h 97125"/>
                <a:gd name="connsiteX191" fmla="*/ 61316 w 155130"/>
                <a:gd name="connsiteY191" fmla="*/ 43578 h 97125"/>
                <a:gd name="connsiteX192" fmla="*/ 60476 w 155130"/>
                <a:gd name="connsiteY192" fmla="*/ 45567 h 97125"/>
                <a:gd name="connsiteX193" fmla="*/ 58198 w 155130"/>
                <a:gd name="connsiteY193" fmla="*/ 47241 h 97125"/>
                <a:gd name="connsiteX194" fmla="*/ 55274 w 155130"/>
                <a:gd name="connsiteY194" fmla="*/ 48488 h 97125"/>
                <a:gd name="connsiteX195" fmla="*/ 53456 w 155130"/>
                <a:gd name="connsiteY195" fmla="*/ 48543 h 97125"/>
                <a:gd name="connsiteX196" fmla="*/ 50979 w 155130"/>
                <a:gd name="connsiteY196" fmla="*/ 46172 h 97125"/>
                <a:gd name="connsiteX197" fmla="*/ 49802 w 155130"/>
                <a:gd name="connsiteY197" fmla="*/ 46941 h 97125"/>
                <a:gd name="connsiteX198" fmla="*/ 48586 w 155130"/>
                <a:gd name="connsiteY198" fmla="*/ 48150 h 97125"/>
                <a:gd name="connsiteX199" fmla="*/ 46550 w 155130"/>
                <a:gd name="connsiteY199" fmla="*/ 54627 h 97125"/>
                <a:gd name="connsiteX200" fmla="*/ 45585 w 155130"/>
                <a:gd name="connsiteY200" fmla="*/ 58992 h 97125"/>
                <a:gd name="connsiteX201" fmla="*/ 45062 w 155130"/>
                <a:gd name="connsiteY201" fmla="*/ 59346 h 97125"/>
                <a:gd name="connsiteX202" fmla="*/ 43911 w 155130"/>
                <a:gd name="connsiteY202" fmla="*/ 58703 h 97125"/>
                <a:gd name="connsiteX203" fmla="*/ 41923 w 155130"/>
                <a:gd name="connsiteY203" fmla="*/ 58653 h 97125"/>
                <a:gd name="connsiteX204" fmla="*/ 39409 w 155130"/>
                <a:gd name="connsiteY204" fmla="*/ 59687 h 97125"/>
                <a:gd name="connsiteX205" fmla="*/ 40698 w 155130"/>
                <a:gd name="connsiteY205" fmla="*/ 60612 h 97125"/>
                <a:gd name="connsiteX206" fmla="*/ 42061 w 155130"/>
                <a:gd name="connsiteY206" fmla="*/ 62217 h 97125"/>
                <a:gd name="connsiteX207" fmla="*/ 41516 w 155130"/>
                <a:gd name="connsiteY207" fmla="*/ 63021 h 97125"/>
                <a:gd name="connsiteX208" fmla="*/ 39305 w 155130"/>
                <a:gd name="connsiteY208" fmla="*/ 63889 h 97125"/>
                <a:gd name="connsiteX209" fmla="*/ 37345 w 155130"/>
                <a:gd name="connsiteY209" fmla="*/ 65645 h 97125"/>
                <a:gd name="connsiteX210" fmla="*/ 36524 w 155130"/>
                <a:gd name="connsiteY210" fmla="*/ 66973 h 97125"/>
                <a:gd name="connsiteX211" fmla="*/ 34051 w 155130"/>
                <a:gd name="connsiteY211" fmla="*/ 68543 h 97125"/>
                <a:gd name="connsiteX212" fmla="*/ 32497 w 155130"/>
                <a:gd name="connsiteY212" fmla="*/ 70532 h 97125"/>
                <a:gd name="connsiteX213" fmla="*/ 33259 w 155130"/>
                <a:gd name="connsiteY213" fmla="*/ 72995 h 97125"/>
                <a:gd name="connsiteX214" fmla="*/ 33583 w 155130"/>
                <a:gd name="connsiteY214" fmla="*/ 75156 h 97125"/>
                <a:gd name="connsiteX215" fmla="*/ 34263 w 155130"/>
                <a:gd name="connsiteY215" fmla="*/ 77540 h 97125"/>
                <a:gd name="connsiteX216" fmla="*/ 33650 w 155130"/>
                <a:gd name="connsiteY216" fmla="*/ 79442 h 97125"/>
                <a:gd name="connsiteX217" fmla="*/ 30588 w 155130"/>
                <a:gd name="connsiteY217" fmla="*/ 82168 h 97125"/>
                <a:gd name="connsiteX218" fmla="*/ 29459 w 155130"/>
                <a:gd name="connsiteY218" fmla="*/ 84528 h 97125"/>
                <a:gd name="connsiteX219" fmla="*/ 32082 w 155130"/>
                <a:gd name="connsiteY219" fmla="*/ 84498 h 97125"/>
                <a:gd name="connsiteX220" fmla="*/ 33697 w 155130"/>
                <a:gd name="connsiteY220" fmla="*/ 85043 h 97125"/>
                <a:gd name="connsiteX221" fmla="*/ 34643 w 155130"/>
                <a:gd name="connsiteY221" fmla="*/ 85740 h 97125"/>
                <a:gd name="connsiteX222" fmla="*/ 35619 w 155130"/>
                <a:gd name="connsiteY222" fmla="*/ 86727 h 97125"/>
                <a:gd name="connsiteX223" fmla="*/ 35021 w 155130"/>
                <a:gd name="connsiteY223" fmla="*/ 87946 h 97125"/>
                <a:gd name="connsiteX224" fmla="*/ 35783 w 155130"/>
                <a:gd name="connsiteY224" fmla="*/ 91101 h 97125"/>
                <a:gd name="connsiteX225" fmla="*/ 35457 w 155130"/>
                <a:gd name="connsiteY225" fmla="*/ 91101 h 97125"/>
                <a:gd name="connsiteX226" fmla="*/ 34047 w 155130"/>
                <a:gd name="connsiteY226" fmla="*/ 90830 h 97125"/>
                <a:gd name="connsiteX227" fmla="*/ 33043 w 155130"/>
                <a:gd name="connsiteY227" fmla="*/ 90184 h 97125"/>
                <a:gd name="connsiteX228" fmla="*/ 30454 w 155130"/>
                <a:gd name="connsiteY228" fmla="*/ 90644 h 97125"/>
                <a:gd name="connsiteX229" fmla="*/ 26988 w 155130"/>
                <a:gd name="connsiteY229" fmla="*/ 91691 h 97125"/>
                <a:gd name="connsiteX230" fmla="*/ 25064 w 155130"/>
                <a:gd name="connsiteY230" fmla="*/ 91638 h 97125"/>
                <a:gd name="connsiteX231" fmla="*/ 23535 w 155130"/>
                <a:gd name="connsiteY231" fmla="*/ 90514 h 97125"/>
                <a:gd name="connsiteX232" fmla="*/ 17280 w 155130"/>
                <a:gd name="connsiteY232" fmla="*/ 88911 h 97125"/>
                <a:gd name="connsiteX233" fmla="*/ 16269 w 155130"/>
                <a:gd name="connsiteY233" fmla="*/ 88781 h 97125"/>
                <a:gd name="connsiteX234" fmla="*/ 12145 w 155130"/>
                <a:gd name="connsiteY234" fmla="*/ 88714 h 97125"/>
                <a:gd name="connsiteX235" fmla="*/ 12136 w 155130"/>
                <a:gd name="connsiteY235" fmla="*/ 88711 h 97125"/>
                <a:gd name="connsiteX236" fmla="*/ 11939 w 155130"/>
                <a:gd name="connsiteY236" fmla="*/ 86176 h 97125"/>
                <a:gd name="connsiteX237" fmla="*/ 11428 w 155130"/>
                <a:gd name="connsiteY237" fmla="*/ 84343 h 97125"/>
                <a:gd name="connsiteX238" fmla="*/ 9983 w 155130"/>
                <a:gd name="connsiteY238" fmla="*/ 81613 h 97125"/>
                <a:gd name="connsiteX239" fmla="*/ 12125 w 155130"/>
                <a:gd name="connsiteY239" fmla="*/ 80954 h 97125"/>
                <a:gd name="connsiteX240" fmla="*/ 11711 w 155130"/>
                <a:gd name="connsiteY240" fmla="*/ 75622 h 97125"/>
                <a:gd name="connsiteX241" fmla="*/ 10933 w 155130"/>
                <a:gd name="connsiteY241" fmla="*/ 72852 h 97125"/>
                <a:gd name="connsiteX242" fmla="*/ 4949 w 155130"/>
                <a:gd name="connsiteY242" fmla="*/ 70003 h 97125"/>
                <a:gd name="connsiteX243" fmla="*/ 236 w 155130"/>
                <a:gd name="connsiteY243" fmla="*/ 67231 h 97125"/>
                <a:gd name="connsiteX244" fmla="*/ 1324 w 155130"/>
                <a:gd name="connsiteY244" fmla="*/ 57872 h 97125"/>
                <a:gd name="connsiteX245" fmla="*/ 1788 w 155130"/>
                <a:gd name="connsiteY245" fmla="*/ 55344 h 97125"/>
                <a:gd name="connsiteX246" fmla="*/ 0 w 155130"/>
                <a:gd name="connsiteY246" fmla="*/ 50431 h 97125"/>
                <a:gd name="connsiteX247" fmla="*/ 186 w 155130"/>
                <a:gd name="connsiteY247" fmla="*/ 44763 h 97125"/>
                <a:gd name="connsiteX248" fmla="*/ 939 w 155130"/>
                <a:gd name="connsiteY248" fmla="*/ 35802 h 97125"/>
                <a:gd name="connsiteX249" fmla="*/ 2438 w 155130"/>
                <a:gd name="connsiteY249" fmla="*/ 35451 h 97125"/>
                <a:gd name="connsiteX250" fmla="*/ 3537 w 155130"/>
                <a:gd name="connsiteY250" fmla="*/ 35494 h 97125"/>
                <a:gd name="connsiteX251" fmla="*/ 7776 w 155130"/>
                <a:gd name="connsiteY251" fmla="*/ 37105 h 97125"/>
                <a:gd name="connsiteX252" fmla="*/ 9541 w 155130"/>
                <a:gd name="connsiteY252" fmla="*/ 37266 h 97125"/>
                <a:gd name="connsiteX253" fmla="*/ 10750 w 155130"/>
                <a:gd name="connsiteY253" fmla="*/ 38703 h 97125"/>
                <a:gd name="connsiteX254" fmla="*/ 12166 w 155130"/>
                <a:gd name="connsiteY254" fmla="*/ 39295 h 97125"/>
                <a:gd name="connsiteX255" fmla="*/ 13192 w 155130"/>
                <a:gd name="connsiteY255" fmla="*/ 37768 h 97125"/>
                <a:gd name="connsiteX256" fmla="*/ 13591 w 155130"/>
                <a:gd name="connsiteY256" fmla="*/ 35156 h 97125"/>
                <a:gd name="connsiteX257" fmla="*/ 16951 w 155130"/>
                <a:gd name="connsiteY257" fmla="*/ 31770 h 97125"/>
                <a:gd name="connsiteX258" fmla="*/ 19305 w 155130"/>
                <a:gd name="connsiteY258" fmla="*/ 30519 h 97125"/>
                <a:gd name="connsiteX259" fmla="*/ 20910 w 155130"/>
                <a:gd name="connsiteY259" fmla="*/ 29918 h 97125"/>
                <a:gd name="connsiteX260" fmla="*/ 22529 w 155130"/>
                <a:gd name="connsiteY260" fmla="*/ 31286 h 97125"/>
                <a:gd name="connsiteX261" fmla="*/ 23768 w 155130"/>
                <a:gd name="connsiteY261" fmla="*/ 32821 h 97125"/>
                <a:gd name="connsiteX262" fmla="*/ 24062 w 155130"/>
                <a:gd name="connsiteY262" fmla="*/ 29460 h 97125"/>
                <a:gd name="connsiteX263" fmla="*/ 25062 w 155130"/>
                <a:gd name="connsiteY263" fmla="*/ 23042 h 97125"/>
                <a:gd name="connsiteX264" fmla="*/ 21868 w 155130"/>
                <a:gd name="connsiteY264" fmla="*/ 22033 h 97125"/>
                <a:gd name="connsiteX265" fmla="*/ 19266 w 155130"/>
                <a:gd name="connsiteY265" fmla="*/ 22903 h 97125"/>
                <a:gd name="connsiteX266" fmla="*/ 16686 w 155130"/>
                <a:gd name="connsiteY266" fmla="*/ 26973 h 97125"/>
                <a:gd name="connsiteX267" fmla="*/ 14384 w 155130"/>
                <a:gd name="connsiteY267" fmla="*/ 32078 h 97125"/>
                <a:gd name="connsiteX268" fmla="*/ 10650 w 155130"/>
                <a:gd name="connsiteY268" fmla="*/ 32546 h 97125"/>
                <a:gd name="connsiteX269" fmla="*/ 7670 w 155130"/>
                <a:gd name="connsiteY269" fmla="*/ 33989 h 97125"/>
                <a:gd name="connsiteX270" fmla="*/ 4980 w 155130"/>
                <a:gd name="connsiteY270" fmla="*/ 32493 h 97125"/>
                <a:gd name="connsiteX271" fmla="*/ 3246 w 155130"/>
                <a:gd name="connsiteY271" fmla="*/ 31174 h 97125"/>
                <a:gd name="connsiteX272" fmla="*/ 3203 w 155130"/>
                <a:gd name="connsiteY272" fmla="*/ 29241 h 97125"/>
                <a:gd name="connsiteX273" fmla="*/ 3596 w 155130"/>
                <a:gd name="connsiteY273" fmla="*/ 28074 h 97125"/>
                <a:gd name="connsiteX274" fmla="*/ 6757 w 155130"/>
                <a:gd name="connsiteY274" fmla="*/ 23905 h 97125"/>
                <a:gd name="connsiteX275" fmla="*/ 10992 w 155130"/>
                <a:gd name="connsiteY275" fmla="*/ 19893 h 97125"/>
                <a:gd name="connsiteX276" fmla="*/ 15258 w 155130"/>
                <a:gd name="connsiteY276" fmla="*/ 19932 h 97125"/>
                <a:gd name="connsiteX277" fmla="*/ 18370 w 155130"/>
                <a:gd name="connsiteY277" fmla="*/ 18649 h 97125"/>
                <a:gd name="connsiteX278" fmla="*/ 20229 w 155130"/>
                <a:gd name="connsiteY278" fmla="*/ 18495 h 97125"/>
                <a:gd name="connsiteX279" fmla="*/ 26034 w 155130"/>
                <a:gd name="connsiteY279" fmla="*/ 18777 h 97125"/>
                <a:gd name="connsiteX280" fmla="*/ 29014 w 155130"/>
                <a:gd name="connsiteY280" fmla="*/ 17897 h 97125"/>
                <a:gd name="connsiteX281" fmla="*/ 31683 w 155130"/>
                <a:gd name="connsiteY281" fmla="*/ 16054 h 97125"/>
                <a:gd name="connsiteX282" fmla="*/ 37450 w 155130"/>
                <a:gd name="connsiteY282" fmla="*/ 8241 h 97125"/>
                <a:gd name="connsiteX283" fmla="*/ 40705 w 155130"/>
                <a:gd name="connsiteY283" fmla="*/ 4976 h 97125"/>
                <a:gd name="connsiteX284" fmla="*/ 47267 w 155130"/>
                <a:gd name="connsiteY284" fmla="*/ 3825 h 97125"/>
                <a:gd name="connsiteX285" fmla="*/ 53330 w 155130"/>
                <a:gd name="connsiteY285" fmla="*/ 48 h 9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</a:cxnLst>
              <a:rect l="l" t="t" r="r" b="b"/>
              <a:pathLst>
                <a:path w="155130" h="97125">
                  <a:moveTo>
                    <a:pt x="69366" y="87225"/>
                  </a:moveTo>
                  <a:lnTo>
                    <a:pt x="71642" y="89072"/>
                  </a:lnTo>
                  <a:lnTo>
                    <a:pt x="75555" y="90976"/>
                  </a:lnTo>
                  <a:lnTo>
                    <a:pt x="78202" y="90867"/>
                  </a:lnTo>
                  <a:lnTo>
                    <a:pt x="80003" y="91656"/>
                  </a:lnTo>
                  <a:lnTo>
                    <a:pt x="80433" y="92874"/>
                  </a:lnTo>
                  <a:lnTo>
                    <a:pt x="80586" y="95577"/>
                  </a:lnTo>
                  <a:lnTo>
                    <a:pt x="78695" y="96364"/>
                  </a:lnTo>
                  <a:lnTo>
                    <a:pt x="76607" y="96097"/>
                  </a:lnTo>
                  <a:lnTo>
                    <a:pt x="73765" y="97125"/>
                  </a:lnTo>
                  <a:lnTo>
                    <a:pt x="64436" y="92708"/>
                  </a:lnTo>
                  <a:lnTo>
                    <a:pt x="64572" y="89020"/>
                  </a:lnTo>
                  <a:lnTo>
                    <a:pt x="64946" y="87570"/>
                  </a:lnTo>
                  <a:close/>
                  <a:moveTo>
                    <a:pt x="45958" y="86889"/>
                  </a:moveTo>
                  <a:lnTo>
                    <a:pt x="47410" y="87316"/>
                  </a:lnTo>
                  <a:lnTo>
                    <a:pt x="49211" y="88633"/>
                  </a:lnTo>
                  <a:lnTo>
                    <a:pt x="50685" y="88913"/>
                  </a:lnTo>
                  <a:lnTo>
                    <a:pt x="52702" y="90027"/>
                  </a:lnTo>
                  <a:lnTo>
                    <a:pt x="52249" y="90425"/>
                  </a:lnTo>
                  <a:lnTo>
                    <a:pt x="50765" y="90744"/>
                  </a:lnTo>
                  <a:lnTo>
                    <a:pt x="49068" y="90076"/>
                  </a:lnTo>
                  <a:lnTo>
                    <a:pt x="46306" y="87558"/>
                  </a:lnTo>
                  <a:close/>
                  <a:moveTo>
                    <a:pt x="91822" y="83772"/>
                  </a:moveTo>
                  <a:lnTo>
                    <a:pt x="92618" y="84486"/>
                  </a:lnTo>
                  <a:lnTo>
                    <a:pt x="94987" y="84785"/>
                  </a:lnTo>
                  <a:lnTo>
                    <a:pt x="96145" y="85207"/>
                  </a:lnTo>
                  <a:lnTo>
                    <a:pt x="97112" y="85827"/>
                  </a:lnTo>
                  <a:lnTo>
                    <a:pt x="97907" y="86796"/>
                  </a:lnTo>
                  <a:lnTo>
                    <a:pt x="97062" y="87254"/>
                  </a:lnTo>
                  <a:lnTo>
                    <a:pt x="93668" y="86918"/>
                  </a:lnTo>
                  <a:lnTo>
                    <a:pt x="89841" y="89047"/>
                  </a:lnTo>
                  <a:lnTo>
                    <a:pt x="88390" y="88374"/>
                  </a:lnTo>
                  <a:lnTo>
                    <a:pt x="88939" y="87014"/>
                  </a:lnTo>
                  <a:lnTo>
                    <a:pt x="89338" y="86518"/>
                  </a:lnTo>
                  <a:lnTo>
                    <a:pt x="90625" y="85941"/>
                  </a:lnTo>
                  <a:lnTo>
                    <a:pt x="91485" y="85096"/>
                  </a:lnTo>
                  <a:close/>
                  <a:moveTo>
                    <a:pt x="36701" y="83621"/>
                  </a:moveTo>
                  <a:lnTo>
                    <a:pt x="37787" y="83953"/>
                  </a:lnTo>
                  <a:lnTo>
                    <a:pt x="41512" y="86160"/>
                  </a:lnTo>
                  <a:lnTo>
                    <a:pt x="42814" y="88573"/>
                  </a:lnTo>
                  <a:lnTo>
                    <a:pt x="42892" y="89234"/>
                  </a:lnTo>
                  <a:lnTo>
                    <a:pt x="40590" y="89661"/>
                  </a:lnTo>
                  <a:lnTo>
                    <a:pt x="39413" y="88919"/>
                  </a:lnTo>
                  <a:lnTo>
                    <a:pt x="37254" y="88632"/>
                  </a:lnTo>
                  <a:lnTo>
                    <a:pt x="36479" y="83902"/>
                  </a:lnTo>
                  <a:close/>
                  <a:moveTo>
                    <a:pt x="61992" y="80886"/>
                  </a:moveTo>
                  <a:lnTo>
                    <a:pt x="62568" y="80938"/>
                  </a:lnTo>
                  <a:lnTo>
                    <a:pt x="61899" y="83834"/>
                  </a:lnTo>
                  <a:lnTo>
                    <a:pt x="58459" y="91894"/>
                  </a:lnTo>
                  <a:lnTo>
                    <a:pt x="57770" y="93394"/>
                  </a:lnTo>
                  <a:lnTo>
                    <a:pt x="56790" y="93567"/>
                  </a:lnTo>
                  <a:lnTo>
                    <a:pt x="55457" y="91084"/>
                  </a:lnTo>
                  <a:lnTo>
                    <a:pt x="55285" y="90307"/>
                  </a:lnTo>
                  <a:lnTo>
                    <a:pt x="56850" y="88716"/>
                  </a:lnTo>
                  <a:lnTo>
                    <a:pt x="57863" y="86912"/>
                  </a:lnTo>
                  <a:lnTo>
                    <a:pt x="60482" y="84139"/>
                  </a:lnTo>
                  <a:close/>
                  <a:moveTo>
                    <a:pt x="146910" y="76604"/>
                  </a:moveTo>
                  <a:lnTo>
                    <a:pt x="155031" y="81297"/>
                  </a:lnTo>
                  <a:lnTo>
                    <a:pt x="155130" y="83063"/>
                  </a:lnTo>
                  <a:lnTo>
                    <a:pt x="154038" y="85072"/>
                  </a:lnTo>
                  <a:lnTo>
                    <a:pt x="153222" y="85592"/>
                  </a:lnTo>
                  <a:lnTo>
                    <a:pt x="149568" y="84731"/>
                  </a:lnTo>
                  <a:lnTo>
                    <a:pt x="145115" y="82599"/>
                  </a:lnTo>
                  <a:lnTo>
                    <a:pt x="145767" y="78415"/>
                  </a:lnTo>
                  <a:close/>
                  <a:moveTo>
                    <a:pt x="55309" y="66827"/>
                  </a:moveTo>
                  <a:lnTo>
                    <a:pt x="55803" y="66921"/>
                  </a:lnTo>
                  <a:lnTo>
                    <a:pt x="56725" y="68538"/>
                  </a:lnTo>
                  <a:lnTo>
                    <a:pt x="57859" y="71982"/>
                  </a:lnTo>
                  <a:lnTo>
                    <a:pt x="59653" y="75828"/>
                  </a:lnTo>
                  <a:lnTo>
                    <a:pt x="58904" y="77436"/>
                  </a:lnTo>
                  <a:lnTo>
                    <a:pt x="59413" y="79495"/>
                  </a:lnTo>
                  <a:lnTo>
                    <a:pt x="58902" y="81640"/>
                  </a:lnTo>
                  <a:lnTo>
                    <a:pt x="55332" y="84132"/>
                  </a:lnTo>
                  <a:lnTo>
                    <a:pt x="51329" y="84244"/>
                  </a:lnTo>
                  <a:lnTo>
                    <a:pt x="47168" y="83041"/>
                  </a:lnTo>
                  <a:lnTo>
                    <a:pt x="41290" y="80722"/>
                  </a:lnTo>
                  <a:lnTo>
                    <a:pt x="40817" y="79419"/>
                  </a:lnTo>
                  <a:lnTo>
                    <a:pt x="39992" y="78697"/>
                  </a:lnTo>
                  <a:lnTo>
                    <a:pt x="38420" y="74737"/>
                  </a:lnTo>
                  <a:lnTo>
                    <a:pt x="38457" y="69843"/>
                  </a:lnTo>
                  <a:lnTo>
                    <a:pt x="41411" y="69229"/>
                  </a:lnTo>
                  <a:lnTo>
                    <a:pt x="47865" y="66889"/>
                  </a:lnTo>
                  <a:lnTo>
                    <a:pt x="49357" y="67257"/>
                  </a:lnTo>
                  <a:lnTo>
                    <a:pt x="50914" y="68454"/>
                  </a:lnTo>
                  <a:lnTo>
                    <a:pt x="52706" y="68525"/>
                  </a:lnTo>
                  <a:close/>
                  <a:moveTo>
                    <a:pt x="99012" y="64738"/>
                  </a:moveTo>
                  <a:lnTo>
                    <a:pt x="99472" y="64765"/>
                  </a:lnTo>
                  <a:lnTo>
                    <a:pt x="100101" y="65775"/>
                  </a:lnTo>
                  <a:lnTo>
                    <a:pt x="100483" y="67333"/>
                  </a:lnTo>
                  <a:lnTo>
                    <a:pt x="98401" y="68650"/>
                  </a:lnTo>
                  <a:lnTo>
                    <a:pt x="97943" y="68581"/>
                  </a:lnTo>
                  <a:lnTo>
                    <a:pt x="97267" y="66773"/>
                  </a:lnTo>
                  <a:lnTo>
                    <a:pt x="98365" y="65672"/>
                  </a:lnTo>
                  <a:close/>
                  <a:moveTo>
                    <a:pt x="53637" y="55046"/>
                  </a:moveTo>
                  <a:lnTo>
                    <a:pt x="55609" y="57468"/>
                  </a:lnTo>
                  <a:lnTo>
                    <a:pt x="56170" y="58606"/>
                  </a:lnTo>
                  <a:lnTo>
                    <a:pt x="55410" y="59965"/>
                  </a:lnTo>
                  <a:lnTo>
                    <a:pt x="54967" y="61545"/>
                  </a:lnTo>
                  <a:lnTo>
                    <a:pt x="54592" y="62103"/>
                  </a:lnTo>
                  <a:lnTo>
                    <a:pt x="53190" y="61522"/>
                  </a:lnTo>
                  <a:lnTo>
                    <a:pt x="53043" y="59511"/>
                  </a:lnTo>
                  <a:lnTo>
                    <a:pt x="53575" y="57704"/>
                  </a:lnTo>
                  <a:lnTo>
                    <a:pt x="52950" y="56086"/>
                  </a:lnTo>
                  <a:close/>
                  <a:moveTo>
                    <a:pt x="92910" y="50986"/>
                  </a:moveTo>
                  <a:lnTo>
                    <a:pt x="95231" y="51493"/>
                  </a:lnTo>
                  <a:lnTo>
                    <a:pt x="97389" y="52194"/>
                  </a:lnTo>
                  <a:lnTo>
                    <a:pt x="98559" y="52797"/>
                  </a:lnTo>
                  <a:lnTo>
                    <a:pt x="99215" y="53766"/>
                  </a:lnTo>
                  <a:lnTo>
                    <a:pt x="97768" y="56072"/>
                  </a:lnTo>
                  <a:lnTo>
                    <a:pt x="97367" y="57334"/>
                  </a:lnTo>
                  <a:lnTo>
                    <a:pt x="98339" y="61483"/>
                  </a:lnTo>
                  <a:lnTo>
                    <a:pt x="98392" y="64591"/>
                  </a:lnTo>
                  <a:lnTo>
                    <a:pt x="97818" y="65495"/>
                  </a:lnTo>
                  <a:lnTo>
                    <a:pt x="96974" y="66090"/>
                  </a:lnTo>
                  <a:lnTo>
                    <a:pt x="94765" y="66721"/>
                  </a:lnTo>
                  <a:lnTo>
                    <a:pt x="92852" y="67602"/>
                  </a:lnTo>
                  <a:lnTo>
                    <a:pt x="91146" y="69149"/>
                  </a:lnTo>
                  <a:lnTo>
                    <a:pt x="90517" y="71359"/>
                  </a:lnTo>
                  <a:lnTo>
                    <a:pt x="91852" y="72974"/>
                  </a:lnTo>
                  <a:lnTo>
                    <a:pt x="94279" y="73859"/>
                  </a:lnTo>
                  <a:lnTo>
                    <a:pt x="94897" y="76930"/>
                  </a:lnTo>
                  <a:lnTo>
                    <a:pt x="92893" y="78444"/>
                  </a:lnTo>
                  <a:lnTo>
                    <a:pt x="87751" y="79954"/>
                  </a:lnTo>
                  <a:lnTo>
                    <a:pt x="87211" y="83594"/>
                  </a:lnTo>
                  <a:lnTo>
                    <a:pt x="87378" y="86459"/>
                  </a:lnTo>
                  <a:lnTo>
                    <a:pt x="87285" y="88539"/>
                  </a:lnTo>
                  <a:lnTo>
                    <a:pt x="86877" y="91414"/>
                  </a:lnTo>
                  <a:lnTo>
                    <a:pt x="82717" y="92723"/>
                  </a:lnTo>
                  <a:lnTo>
                    <a:pt x="80034" y="88345"/>
                  </a:lnTo>
                  <a:lnTo>
                    <a:pt x="80010" y="86590"/>
                  </a:lnTo>
                  <a:lnTo>
                    <a:pt x="79209" y="84540"/>
                  </a:lnTo>
                  <a:lnTo>
                    <a:pt x="79058" y="82791"/>
                  </a:lnTo>
                  <a:lnTo>
                    <a:pt x="78107" y="79991"/>
                  </a:lnTo>
                  <a:lnTo>
                    <a:pt x="74173" y="79233"/>
                  </a:lnTo>
                  <a:lnTo>
                    <a:pt x="72646" y="79133"/>
                  </a:lnTo>
                  <a:lnTo>
                    <a:pt x="70510" y="79654"/>
                  </a:lnTo>
                  <a:lnTo>
                    <a:pt x="69981" y="79451"/>
                  </a:lnTo>
                  <a:lnTo>
                    <a:pt x="67425" y="75620"/>
                  </a:lnTo>
                  <a:lnTo>
                    <a:pt x="67846" y="71386"/>
                  </a:lnTo>
                  <a:lnTo>
                    <a:pt x="66481" y="69246"/>
                  </a:lnTo>
                  <a:lnTo>
                    <a:pt x="66293" y="68277"/>
                  </a:lnTo>
                  <a:lnTo>
                    <a:pt x="66326" y="67203"/>
                  </a:lnTo>
                  <a:lnTo>
                    <a:pt x="65205" y="66317"/>
                  </a:lnTo>
                  <a:lnTo>
                    <a:pt x="63845" y="65848"/>
                  </a:lnTo>
                  <a:lnTo>
                    <a:pt x="63184" y="63455"/>
                  </a:lnTo>
                  <a:lnTo>
                    <a:pt x="64747" y="62875"/>
                  </a:lnTo>
                  <a:lnTo>
                    <a:pt x="68612" y="63155"/>
                  </a:lnTo>
                  <a:lnTo>
                    <a:pt x="69742" y="62992"/>
                  </a:lnTo>
                  <a:lnTo>
                    <a:pt x="70776" y="62493"/>
                  </a:lnTo>
                  <a:lnTo>
                    <a:pt x="73903" y="58553"/>
                  </a:lnTo>
                  <a:lnTo>
                    <a:pt x="73812" y="57684"/>
                  </a:lnTo>
                  <a:lnTo>
                    <a:pt x="74147" y="56556"/>
                  </a:lnTo>
                  <a:lnTo>
                    <a:pt x="77531" y="56138"/>
                  </a:lnTo>
                  <a:lnTo>
                    <a:pt x="79038" y="57662"/>
                  </a:lnTo>
                  <a:lnTo>
                    <a:pt x="78736" y="60102"/>
                  </a:lnTo>
                  <a:lnTo>
                    <a:pt x="78928" y="63224"/>
                  </a:lnTo>
                  <a:lnTo>
                    <a:pt x="80977" y="64072"/>
                  </a:lnTo>
                  <a:lnTo>
                    <a:pt x="81776" y="64197"/>
                  </a:lnTo>
                  <a:lnTo>
                    <a:pt x="82629" y="61892"/>
                  </a:lnTo>
                  <a:lnTo>
                    <a:pt x="83227" y="60771"/>
                  </a:lnTo>
                  <a:lnTo>
                    <a:pt x="84039" y="60146"/>
                  </a:lnTo>
                  <a:lnTo>
                    <a:pt x="84315" y="58036"/>
                  </a:lnTo>
                  <a:lnTo>
                    <a:pt x="83834" y="56747"/>
                  </a:lnTo>
                  <a:lnTo>
                    <a:pt x="82808" y="55786"/>
                  </a:lnTo>
                  <a:lnTo>
                    <a:pt x="86639" y="53169"/>
                  </a:lnTo>
                  <a:lnTo>
                    <a:pt x="90604" y="51094"/>
                  </a:lnTo>
                  <a:close/>
                  <a:moveTo>
                    <a:pt x="65546" y="12961"/>
                  </a:moveTo>
                  <a:lnTo>
                    <a:pt x="67509" y="13184"/>
                  </a:lnTo>
                  <a:lnTo>
                    <a:pt x="65350" y="14644"/>
                  </a:lnTo>
                  <a:lnTo>
                    <a:pt x="64803" y="15417"/>
                  </a:lnTo>
                  <a:lnTo>
                    <a:pt x="63903" y="16160"/>
                  </a:lnTo>
                  <a:lnTo>
                    <a:pt x="60860" y="15109"/>
                  </a:lnTo>
                  <a:lnTo>
                    <a:pt x="62204" y="13639"/>
                  </a:lnTo>
                  <a:close/>
                  <a:moveTo>
                    <a:pt x="55026" y="0"/>
                  </a:moveTo>
                  <a:lnTo>
                    <a:pt x="52173" y="2816"/>
                  </a:lnTo>
                  <a:lnTo>
                    <a:pt x="51715" y="3905"/>
                  </a:lnTo>
                  <a:lnTo>
                    <a:pt x="51370" y="5573"/>
                  </a:lnTo>
                  <a:lnTo>
                    <a:pt x="53415" y="9192"/>
                  </a:lnTo>
                  <a:lnTo>
                    <a:pt x="52983" y="11391"/>
                  </a:lnTo>
                  <a:lnTo>
                    <a:pt x="53127" y="15713"/>
                  </a:lnTo>
                  <a:lnTo>
                    <a:pt x="51199" y="17962"/>
                  </a:lnTo>
                  <a:lnTo>
                    <a:pt x="49023" y="22738"/>
                  </a:lnTo>
                  <a:lnTo>
                    <a:pt x="48085" y="23440"/>
                  </a:lnTo>
                  <a:lnTo>
                    <a:pt x="47885" y="29001"/>
                  </a:lnTo>
                  <a:lnTo>
                    <a:pt x="48098" y="30326"/>
                  </a:lnTo>
                  <a:lnTo>
                    <a:pt x="47789" y="35374"/>
                  </a:lnTo>
                  <a:lnTo>
                    <a:pt x="50020" y="37437"/>
                  </a:lnTo>
                  <a:lnTo>
                    <a:pt x="52378" y="38515"/>
                  </a:lnTo>
                  <a:lnTo>
                    <a:pt x="60243" y="38477"/>
                  </a:lnTo>
                  <a:lnTo>
                    <a:pt x="61059" y="39383"/>
                  </a:lnTo>
                  <a:lnTo>
                    <a:pt x="62018" y="40939"/>
                  </a:lnTo>
                  <a:lnTo>
                    <a:pt x="61316" y="43578"/>
                  </a:lnTo>
                  <a:lnTo>
                    <a:pt x="60476" y="45567"/>
                  </a:lnTo>
                  <a:lnTo>
                    <a:pt x="58198" y="47241"/>
                  </a:lnTo>
                  <a:lnTo>
                    <a:pt x="55274" y="48488"/>
                  </a:lnTo>
                  <a:lnTo>
                    <a:pt x="53456" y="48543"/>
                  </a:lnTo>
                  <a:lnTo>
                    <a:pt x="50979" y="46172"/>
                  </a:lnTo>
                  <a:lnTo>
                    <a:pt x="49802" y="46941"/>
                  </a:lnTo>
                  <a:lnTo>
                    <a:pt x="48586" y="48150"/>
                  </a:lnTo>
                  <a:lnTo>
                    <a:pt x="46550" y="54627"/>
                  </a:lnTo>
                  <a:lnTo>
                    <a:pt x="45585" y="58992"/>
                  </a:lnTo>
                  <a:lnTo>
                    <a:pt x="45062" y="59346"/>
                  </a:lnTo>
                  <a:lnTo>
                    <a:pt x="43911" y="58703"/>
                  </a:lnTo>
                  <a:lnTo>
                    <a:pt x="41923" y="58653"/>
                  </a:lnTo>
                  <a:lnTo>
                    <a:pt x="39409" y="59687"/>
                  </a:lnTo>
                  <a:lnTo>
                    <a:pt x="40698" y="60612"/>
                  </a:lnTo>
                  <a:lnTo>
                    <a:pt x="42061" y="62217"/>
                  </a:lnTo>
                  <a:lnTo>
                    <a:pt x="41516" y="63021"/>
                  </a:lnTo>
                  <a:lnTo>
                    <a:pt x="39305" y="63889"/>
                  </a:lnTo>
                  <a:lnTo>
                    <a:pt x="37345" y="65645"/>
                  </a:lnTo>
                  <a:lnTo>
                    <a:pt x="36524" y="66973"/>
                  </a:lnTo>
                  <a:lnTo>
                    <a:pt x="34051" y="68543"/>
                  </a:lnTo>
                  <a:lnTo>
                    <a:pt x="32497" y="70532"/>
                  </a:lnTo>
                  <a:lnTo>
                    <a:pt x="33259" y="72995"/>
                  </a:lnTo>
                  <a:lnTo>
                    <a:pt x="33583" y="75156"/>
                  </a:lnTo>
                  <a:lnTo>
                    <a:pt x="34263" y="77540"/>
                  </a:lnTo>
                  <a:lnTo>
                    <a:pt x="33650" y="79442"/>
                  </a:lnTo>
                  <a:lnTo>
                    <a:pt x="30588" y="82168"/>
                  </a:lnTo>
                  <a:lnTo>
                    <a:pt x="29459" y="84528"/>
                  </a:lnTo>
                  <a:lnTo>
                    <a:pt x="32082" y="84498"/>
                  </a:lnTo>
                  <a:lnTo>
                    <a:pt x="33697" y="85043"/>
                  </a:lnTo>
                  <a:lnTo>
                    <a:pt x="34643" y="85740"/>
                  </a:lnTo>
                  <a:lnTo>
                    <a:pt x="35619" y="86727"/>
                  </a:lnTo>
                  <a:lnTo>
                    <a:pt x="35021" y="87946"/>
                  </a:lnTo>
                  <a:lnTo>
                    <a:pt x="35783" y="91101"/>
                  </a:lnTo>
                  <a:lnTo>
                    <a:pt x="35457" y="91101"/>
                  </a:lnTo>
                  <a:lnTo>
                    <a:pt x="34047" y="90830"/>
                  </a:lnTo>
                  <a:lnTo>
                    <a:pt x="33043" y="90184"/>
                  </a:lnTo>
                  <a:lnTo>
                    <a:pt x="30454" y="90644"/>
                  </a:lnTo>
                  <a:lnTo>
                    <a:pt x="26988" y="91691"/>
                  </a:lnTo>
                  <a:lnTo>
                    <a:pt x="25064" y="91638"/>
                  </a:lnTo>
                  <a:lnTo>
                    <a:pt x="23535" y="90514"/>
                  </a:lnTo>
                  <a:lnTo>
                    <a:pt x="17280" y="88911"/>
                  </a:lnTo>
                  <a:lnTo>
                    <a:pt x="16269" y="88781"/>
                  </a:lnTo>
                  <a:lnTo>
                    <a:pt x="12145" y="88714"/>
                  </a:lnTo>
                  <a:lnTo>
                    <a:pt x="12136" y="88711"/>
                  </a:lnTo>
                  <a:lnTo>
                    <a:pt x="11939" y="86176"/>
                  </a:lnTo>
                  <a:lnTo>
                    <a:pt x="11428" y="84343"/>
                  </a:lnTo>
                  <a:lnTo>
                    <a:pt x="9983" y="81613"/>
                  </a:lnTo>
                  <a:lnTo>
                    <a:pt x="12125" y="80954"/>
                  </a:lnTo>
                  <a:lnTo>
                    <a:pt x="11711" y="75622"/>
                  </a:lnTo>
                  <a:lnTo>
                    <a:pt x="10933" y="72852"/>
                  </a:lnTo>
                  <a:lnTo>
                    <a:pt x="4949" y="70003"/>
                  </a:lnTo>
                  <a:lnTo>
                    <a:pt x="236" y="67231"/>
                  </a:lnTo>
                  <a:lnTo>
                    <a:pt x="1324" y="57872"/>
                  </a:lnTo>
                  <a:lnTo>
                    <a:pt x="1788" y="55344"/>
                  </a:lnTo>
                  <a:lnTo>
                    <a:pt x="0" y="50431"/>
                  </a:lnTo>
                  <a:lnTo>
                    <a:pt x="186" y="44763"/>
                  </a:lnTo>
                  <a:lnTo>
                    <a:pt x="939" y="35802"/>
                  </a:lnTo>
                  <a:lnTo>
                    <a:pt x="2438" y="35451"/>
                  </a:lnTo>
                  <a:lnTo>
                    <a:pt x="3537" y="35494"/>
                  </a:lnTo>
                  <a:lnTo>
                    <a:pt x="7776" y="37105"/>
                  </a:lnTo>
                  <a:lnTo>
                    <a:pt x="9541" y="37266"/>
                  </a:lnTo>
                  <a:lnTo>
                    <a:pt x="10750" y="38703"/>
                  </a:lnTo>
                  <a:lnTo>
                    <a:pt x="12166" y="39295"/>
                  </a:lnTo>
                  <a:lnTo>
                    <a:pt x="13192" y="37768"/>
                  </a:lnTo>
                  <a:lnTo>
                    <a:pt x="13591" y="35156"/>
                  </a:lnTo>
                  <a:lnTo>
                    <a:pt x="16951" y="31770"/>
                  </a:lnTo>
                  <a:lnTo>
                    <a:pt x="19305" y="30519"/>
                  </a:lnTo>
                  <a:lnTo>
                    <a:pt x="20910" y="29918"/>
                  </a:lnTo>
                  <a:lnTo>
                    <a:pt x="22529" y="31286"/>
                  </a:lnTo>
                  <a:lnTo>
                    <a:pt x="23768" y="32821"/>
                  </a:lnTo>
                  <a:lnTo>
                    <a:pt x="24062" y="29460"/>
                  </a:lnTo>
                  <a:lnTo>
                    <a:pt x="25062" y="23042"/>
                  </a:lnTo>
                  <a:lnTo>
                    <a:pt x="21868" y="22033"/>
                  </a:lnTo>
                  <a:lnTo>
                    <a:pt x="19266" y="22903"/>
                  </a:lnTo>
                  <a:lnTo>
                    <a:pt x="16686" y="26973"/>
                  </a:lnTo>
                  <a:lnTo>
                    <a:pt x="14384" y="32078"/>
                  </a:lnTo>
                  <a:lnTo>
                    <a:pt x="10650" y="32546"/>
                  </a:lnTo>
                  <a:lnTo>
                    <a:pt x="7670" y="33989"/>
                  </a:lnTo>
                  <a:lnTo>
                    <a:pt x="4980" y="32493"/>
                  </a:lnTo>
                  <a:lnTo>
                    <a:pt x="3246" y="31174"/>
                  </a:lnTo>
                  <a:lnTo>
                    <a:pt x="3203" y="29241"/>
                  </a:lnTo>
                  <a:lnTo>
                    <a:pt x="3596" y="28074"/>
                  </a:lnTo>
                  <a:lnTo>
                    <a:pt x="6757" y="23905"/>
                  </a:lnTo>
                  <a:lnTo>
                    <a:pt x="10992" y="19893"/>
                  </a:lnTo>
                  <a:lnTo>
                    <a:pt x="15258" y="19932"/>
                  </a:lnTo>
                  <a:lnTo>
                    <a:pt x="18370" y="18649"/>
                  </a:lnTo>
                  <a:lnTo>
                    <a:pt x="20229" y="18495"/>
                  </a:lnTo>
                  <a:lnTo>
                    <a:pt x="26034" y="18777"/>
                  </a:lnTo>
                  <a:lnTo>
                    <a:pt x="29014" y="17897"/>
                  </a:lnTo>
                  <a:lnTo>
                    <a:pt x="31683" y="16054"/>
                  </a:lnTo>
                  <a:lnTo>
                    <a:pt x="37450" y="8241"/>
                  </a:lnTo>
                  <a:lnTo>
                    <a:pt x="40705" y="4976"/>
                  </a:lnTo>
                  <a:lnTo>
                    <a:pt x="47267" y="3825"/>
                  </a:lnTo>
                  <a:lnTo>
                    <a:pt x="53330" y="48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ee4p_DK_2_37764">
              <a:extLst>
                <a:ext uri="{FF2B5EF4-FFF2-40B4-BE49-F238E27FC236}">
                  <a16:creationId xmlns:a16="http://schemas.microsoft.com/office/drawing/2014/main" id="{4AB3FB82-7806-4123-A4E0-3E85AE1A83CE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6875210" y="5624810"/>
              <a:ext cx="211588" cy="301755"/>
            </a:xfrm>
            <a:custGeom>
              <a:avLst/>
              <a:gdLst>
                <a:gd name="connsiteX0" fmla="*/ 10785 w 22478"/>
                <a:gd name="connsiteY0" fmla="*/ 24608 h 32057"/>
                <a:gd name="connsiteX1" fmla="*/ 11425 w 22478"/>
                <a:gd name="connsiteY1" fmla="*/ 24727 h 32057"/>
                <a:gd name="connsiteX2" fmla="*/ 11961 w 22478"/>
                <a:gd name="connsiteY2" fmla="*/ 25678 h 32057"/>
                <a:gd name="connsiteX3" fmla="*/ 14429 w 22478"/>
                <a:gd name="connsiteY3" fmla="*/ 26302 h 32057"/>
                <a:gd name="connsiteX4" fmla="*/ 15079 w 22478"/>
                <a:gd name="connsiteY4" fmla="*/ 26771 h 32057"/>
                <a:gd name="connsiteX5" fmla="*/ 15070 w 22478"/>
                <a:gd name="connsiteY5" fmla="*/ 27927 h 32057"/>
                <a:gd name="connsiteX6" fmla="*/ 15900 w 22478"/>
                <a:gd name="connsiteY6" fmla="*/ 29296 h 32057"/>
                <a:gd name="connsiteX7" fmla="*/ 15990 w 22478"/>
                <a:gd name="connsiteY7" fmla="*/ 31032 h 32057"/>
                <a:gd name="connsiteX8" fmla="*/ 16427 w 22478"/>
                <a:gd name="connsiteY8" fmla="*/ 32057 h 32057"/>
                <a:gd name="connsiteX9" fmla="*/ 15911 w 22478"/>
                <a:gd name="connsiteY9" fmla="*/ 31943 h 32057"/>
                <a:gd name="connsiteX10" fmla="*/ 14419 w 22478"/>
                <a:gd name="connsiteY10" fmla="*/ 30774 h 32057"/>
                <a:gd name="connsiteX11" fmla="*/ 11818 w 22478"/>
                <a:gd name="connsiteY11" fmla="*/ 27982 h 32057"/>
                <a:gd name="connsiteX12" fmla="*/ 10909 w 22478"/>
                <a:gd name="connsiteY12" fmla="*/ 25673 h 32057"/>
                <a:gd name="connsiteX13" fmla="*/ 12842 w 22478"/>
                <a:gd name="connsiteY13" fmla="*/ 15452 h 32057"/>
                <a:gd name="connsiteX14" fmla="*/ 13971 w 22478"/>
                <a:gd name="connsiteY14" fmla="*/ 15736 h 32057"/>
                <a:gd name="connsiteX15" fmla="*/ 16816 w 22478"/>
                <a:gd name="connsiteY15" fmla="*/ 16880 h 32057"/>
                <a:gd name="connsiteX16" fmla="*/ 17618 w 22478"/>
                <a:gd name="connsiteY16" fmla="*/ 18073 h 32057"/>
                <a:gd name="connsiteX17" fmla="*/ 17676 w 22478"/>
                <a:gd name="connsiteY17" fmla="*/ 18779 h 32057"/>
                <a:gd name="connsiteX18" fmla="*/ 17243 w 22478"/>
                <a:gd name="connsiteY18" fmla="*/ 20059 h 32057"/>
                <a:gd name="connsiteX19" fmla="*/ 16637 w 22478"/>
                <a:gd name="connsiteY19" fmla="*/ 20048 h 32057"/>
                <a:gd name="connsiteX20" fmla="*/ 14557 w 22478"/>
                <a:gd name="connsiteY20" fmla="*/ 18460 h 32057"/>
                <a:gd name="connsiteX21" fmla="*/ 12901 w 22478"/>
                <a:gd name="connsiteY21" fmla="*/ 17595 h 32057"/>
                <a:gd name="connsiteX22" fmla="*/ 12352 w 22478"/>
                <a:gd name="connsiteY22" fmla="*/ 16864 h 32057"/>
                <a:gd name="connsiteX23" fmla="*/ 11892 w 22478"/>
                <a:gd name="connsiteY23" fmla="*/ 15608 h 32057"/>
                <a:gd name="connsiteX24" fmla="*/ 4141 w 22478"/>
                <a:gd name="connsiteY24" fmla="*/ 7004 h 32057"/>
                <a:gd name="connsiteX25" fmla="*/ 5212 w 22478"/>
                <a:gd name="connsiteY25" fmla="*/ 7411 h 32057"/>
                <a:gd name="connsiteX26" fmla="*/ 7197 w 22478"/>
                <a:gd name="connsiteY26" fmla="*/ 8737 h 32057"/>
                <a:gd name="connsiteX27" fmla="*/ 7903 w 22478"/>
                <a:gd name="connsiteY27" fmla="*/ 9669 h 32057"/>
                <a:gd name="connsiteX28" fmla="*/ 6762 w 22478"/>
                <a:gd name="connsiteY28" fmla="*/ 10571 h 32057"/>
                <a:gd name="connsiteX29" fmla="*/ 5377 w 22478"/>
                <a:gd name="connsiteY29" fmla="*/ 10803 h 32057"/>
                <a:gd name="connsiteX30" fmla="*/ 3707 w 22478"/>
                <a:gd name="connsiteY30" fmla="*/ 10595 h 32057"/>
                <a:gd name="connsiteX31" fmla="*/ 962 w 22478"/>
                <a:gd name="connsiteY31" fmla="*/ 9616 h 32057"/>
                <a:gd name="connsiteX32" fmla="*/ 0 w 22478"/>
                <a:gd name="connsiteY32" fmla="*/ 7378 h 32057"/>
                <a:gd name="connsiteX33" fmla="*/ 1898 w 22478"/>
                <a:gd name="connsiteY33" fmla="*/ 7433 h 32057"/>
                <a:gd name="connsiteX34" fmla="*/ 10259 w 22478"/>
                <a:gd name="connsiteY34" fmla="*/ 1351 h 32057"/>
                <a:gd name="connsiteX35" fmla="*/ 13686 w 22478"/>
                <a:gd name="connsiteY35" fmla="*/ 3076 h 32057"/>
                <a:gd name="connsiteX36" fmla="*/ 17502 w 22478"/>
                <a:gd name="connsiteY36" fmla="*/ 4380 h 32057"/>
                <a:gd name="connsiteX37" fmla="*/ 16955 w 22478"/>
                <a:gd name="connsiteY37" fmla="*/ 8974 h 32057"/>
                <a:gd name="connsiteX38" fmla="*/ 16057 w 22478"/>
                <a:gd name="connsiteY38" fmla="*/ 8948 h 32057"/>
                <a:gd name="connsiteX39" fmla="*/ 14454 w 22478"/>
                <a:gd name="connsiteY39" fmla="*/ 7679 h 32057"/>
                <a:gd name="connsiteX40" fmla="*/ 13248 w 22478"/>
                <a:gd name="connsiteY40" fmla="*/ 7418 h 32057"/>
                <a:gd name="connsiteX41" fmla="*/ 12871 w 22478"/>
                <a:gd name="connsiteY41" fmla="*/ 8096 h 32057"/>
                <a:gd name="connsiteX42" fmla="*/ 12933 w 22478"/>
                <a:gd name="connsiteY42" fmla="*/ 8912 h 32057"/>
                <a:gd name="connsiteX43" fmla="*/ 13557 w 22478"/>
                <a:gd name="connsiteY43" fmla="*/ 9424 h 32057"/>
                <a:gd name="connsiteX44" fmla="*/ 15479 w 22478"/>
                <a:gd name="connsiteY44" fmla="*/ 12498 h 32057"/>
                <a:gd name="connsiteX45" fmla="*/ 15659 w 22478"/>
                <a:gd name="connsiteY45" fmla="*/ 13392 h 32057"/>
                <a:gd name="connsiteX46" fmla="*/ 15421 w 22478"/>
                <a:gd name="connsiteY46" fmla="*/ 13825 h 32057"/>
                <a:gd name="connsiteX47" fmla="*/ 13552 w 22478"/>
                <a:gd name="connsiteY47" fmla="*/ 12939 h 32057"/>
                <a:gd name="connsiteX48" fmla="*/ 9044 w 22478"/>
                <a:gd name="connsiteY48" fmla="*/ 8960 h 32057"/>
                <a:gd name="connsiteX49" fmla="*/ 5537 w 22478"/>
                <a:gd name="connsiteY49" fmla="*/ 2403 h 32057"/>
                <a:gd name="connsiteX50" fmla="*/ 19193 w 22478"/>
                <a:gd name="connsiteY50" fmla="*/ 0 h 32057"/>
                <a:gd name="connsiteX51" fmla="*/ 20996 w 22478"/>
                <a:gd name="connsiteY51" fmla="*/ 2187 h 32057"/>
                <a:gd name="connsiteX52" fmla="*/ 22478 w 22478"/>
                <a:gd name="connsiteY52" fmla="*/ 3327 h 32057"/>
                <a:gd name="connsiteX53" fmla="*/ 21420 w 22478"/>
                <a:gd name="connsiteY53" fmla="*/ 5796 h 32057"/>
                <a:gd name="connsiteX54" fmla="*/ 19854 w 22478"/>
                <a:gd name="connsiteY54" fmla="*/ 5408 h 32057"/>
                <a:gd name="connsiteX55" fmla="*/ 19424 w 22478"/>
                <a:gd name="connsiteY55" fmla="*/ 5143 h 32057"/>
                <a:gd name="connsiteX56" fmla="*/ 19085 w 22478"/>
                <a:gd name="connsiteY56" fmla="*/ 4496 h 32057"/>
                <a:gd name="connsiteX57" fmla="*/ 19249 w 22478"/>
                <a:gd name="connsiteY57" fmla="*/ 2659 h 32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2478" h="32057">
                  <a:moveTo>
                    <a:pt x="10785" y="24608"/>
                  </a:moveTo>
                  <a:lnTo>
                    <a:pt x="11425" y="24727"/>
                  </a:lnTo>
                  <a:lnTo>
                    <a:pt x="11961" y="25678"/>
                  </a:lnTo>
                  <a:lnTo>
                    <a:pt x="14429" y="26302"/>
                  </a:lnTo>
                  <a:lnTo>
                    <a:pt x="15079" y="26771"/>
                  </a:lnTo>
                  <a:lnTo>
                    <a:pt x="15070" y="27927"/>
                  </a:lnTo>
                  <a:lnTo>
                    <a:pt x="15900" y="29296"/>
                  </a:lnTo>
                  <a:lnTo>
                    <a:pt x="15990" y="31032"/>
                  </a:lnTo>
                  <a:lnTo>
                    <a:pt x="16427" y="32057"/>
                  </a:lnTo>
                  <a:lnTo>
                    <a:pt x="15911" y="31943"/>
                  </a:lnTo>
                  <a:lnTo>
                    <a:pt x="14419" y="30774"/>
                  </a:lnTo>
                  <a:lnTo>
                    <a:pt x="11818" y="27982"/>
                  </a:lnTo>
                  <a:lnTo>
                    <a:pt x="10909" y="25673"/>
                  </a:lnTo>
                  <a:close/>
                  <a:moveTo>
                    <a:pt x="12842" y="15452"/>
                  </a:moveTo>
                  <a:lnTo>
                    <a:pt x="13971" y="15736"/>
                  </a:lnTo>
                  <a:lnTo>
                    <a:pt x="16816" y="16880"/>
                  </a:lnTo>
                  <a:lnTo>
                    <a:pt x="17618" y="18073"/>
                  </a:lnTo>
                  <a:lnTo>
                    <a:pt x="17676" y="18779"/>
                  </a:lnTo>
                  <a:lnTo>
                    <a:pt x="17243" y="20059"/>
                  </a:lnTo>
                  <a:lnTo>
                    <a:pt x="16637" y="20048"/>
                  </a:lnTo>
                  <a:lnTo>
                    <a:pt x="14557" y="18460"/>
                  </a:lnTo>
                  <a:lnTo>
                    <a:pt x="12901" y="17595"/>
                  </a:lnTo>
                  <a:lnTo>
                    <a:pt x="12352" y="16864"/>
                  </a:lnTo>
                  <a:lnTo>
                    <a:pt x="11892" y="15608"/>
                  </a:lnTo>
                  <a:close/>
                  <a:moveTo>
                    <a:pt x="4141" y="7004"/>
                  </a:moveTo>
                  <a:lnTo>
                    <a:pt x="5212" y="7411"/>
                  </a:lnTo>
                  <a:lnTo>
                    <a:pt x="7197" y="8737"/>
                  </a:lnTo>
                  <a:lnTo>
                    <a:pt x="7903" y="9669"/>
                  </a:lnTo>
                  <a:lnTo>
                    <a:pt x="6762" y="10571"/>
                  </a:lnTo>
                  <a:lnTo>
                    <a:pt x="5377" y="10803"/>
                  </a:lnTo>
                  <a:lnTo>
                    <a:pt x="3707" y="10595"/>
                  </a:lnTo>
                  <a:lnTo>
                    <a:pt x="962" y="9616"/>
                  </a:lnTo>
                  <a:lnTo>
                    <a:pt x="0" y="7378"/>
                  </a:lnTo>
                  <a:lnTo>
                    <a:pt x="1898" y="7433"/>
                  </a:lnTo>
                  <a:close/>
                  <a:moveTo>
                    <a:pt x="10259" y="1351"/>
                  </a:moveTo>
                  <a:lnTo>
                    <a:pt x="13686" y="3076"/>
                  </a:lnTo>
                  <a:lnTo>
                    <a:pt x="17502" y="4380"/>
                  </a:lnTo>
                  <a:lnTo>
                    <a:pt x="16955" y="8974"/>
                  </a:lnTo>
                  <a:lnTo>
                    <a:pt x="16057" y="8948"/>
                  </a:lnTo>
                  <a:lnTo>
                    <a:pt x="14454" y="7679"/>
                  </a:lnTo>
                  <a:lnTo>
                    <a:pt x="13248" y="7418"/>
                  </a:lnTo>
                  <a:lnTo>
                    <a:pt x="12871" y="8096"/>
                  </a:lnTo>
                  <a:lnTo>
                    <a:pt x="12933" y="8912"/>
                  </a:lnTo>
                  <a:lnTo>
                    <a:pt x="13557" y="9424"/>
                  </a:lnTo>
                  <a:lnTo>
                    <a:pt x="15479" y="12498"/>
                  </a:lnTo>
                  <a:lnTo>
                    <a:pt x="15659" y="13392"/>
                  </a:lnTo>
                  <a:lnTo>
                    <a:pt x="15421" y="13825"/>
                  </a:lnTo>
                  <a:lnTo>
                    <a:pt x="13552" y="12939"/>
                  </a:lnTo>
                  <a:lnTo>
                    <a:pt x="9044" y="8960"/>
                  </a:lnTo>
                  <a:lnTo>
                    <a:pt x="5537" y="2403"/>
                  </a:lnTo>
                  <a:close/>
                  <a:moveTo>
                    <a:pt x="19193" y="0"/>
                  </a:moveTo>
                  <a:lnTo>
                    <a:pt x="20996" y="2187"/>
                  </a:lnTo>
                  <a:lnTo>
                    <a:pt x="22478" y="3327"/>
                  </a:lnTo>
                  <a:lnTo>
                    <a:pt x="21420" y="5796"/>
                  </a:lnTo>
                  <a:lnTo>
                    <a:pt x="19854" y="5408"/>
                  </a:lnTo>
                  <a:lnTo>
                    <a:pt x="19424" y="5143"/>
                  </a:lnTo>
                  <a:lnTo>
                    <a:pt x="19085" y="4496"/>
                  </a:lnTo>
                  <a:lnTo>
                    <a:pt x="19249" y="2659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ee4p_ES_1_37764">
              <a:extLst>
                <a:ext uri="{FF2B5EF4-FFF2-40B4-BE49-F238E27FC236}">
                  <a16:creationId xmlns:a16="http://schemas.microsoft.com/office/drawing/2014/main" id="{90B284F8-9DAF-4209-AEF8-ADF76F7DF98D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8674791" y="11830401"/>
              <a:ext cx="644986" cy="345715"/>
            </a:xfrm>
            <a:custGeom>
              <a:avLst/>
              <a:gdLst>
                <a:gd name="connsiteX0" fmla="*/ 4710 w 68520"/>
                <a:gd name="connsiteY0" fmla="*/ 33907 h 36727"/>
                <a:gd name="connsiteX1" fmla="*/ 6049 w 68520"/>
                <a:gd name="connsiteY1" fmla="*/ 35359 h 36727"/>
                <a:gd name="connsiteX2" fmla="*/ 8167 w 68520"/>
                <a:gd name="connsiteY2" fmla="*/ 35628 h 36727"/>
                <a:gd name="connsiteX3" fmla="*/ 8195 w 68520"/>
                <a:gd name="connsiteY3" fmla="*/ 36386 h 36727"/>
                <a:gd name="connsiteX4" fmla="*/ 7692 w 68520"/>
                <a:gd name="connsiteY4" fmla="*/ 36727 h 36727"/>
                <a:gd name="connsiteX5" fmla="*/ 6228 w 68520"/>
                <a:gd name="connsiteY5" fmla="*/ 36414 h 36727"/>
                <a:gd name="connsiteX6" fmla="*/ 4034 w 68520"/>
                <a:gd name="connsiteY6" fmla="*/ 36414 h 36727"/>
                <a:gd name="connsiteX7" fmla="*/ 3950 w 68520"/>
                <a:gd name="connsiteY7" fmla="*/ 35372 h 36727"/>
                <a:gd name="connsiteX8" fmla="*/ 4287 w 68520"/>
                <a:gd name="connsiteY8" fmla="*/ 34644 h 36727"/>
                <a:gd name="connsiteX9" fmla="*/ 7543 w 68520"/>
                <a:gd name="connsiteY9" fmla="*/ 24790 h 36727"/>
                <a:gd name="connsiteX10" fmla="*/ 8621 w 68520"/>
                <a:gd name="connsiteY10" fmla="*/ 25661 h 36727"/>
                <a:gd name="connsiteX11" fmla="*/ 8852 w 68520"/>
                <a:gd name="connsiteY11" fmla="*/ 26917 h 36727"/>
                <a:gd name="connsiteX12" fmla="*/ 5997 w 68520"/>
                <a:gd name="connsiteY12" fmla="*/ 29665 h 36727"/>
                <a:gd name="connsiteX13" fmla="*/ 4907 w 68520"/>
                <a:gd name="connsiteY13" fmla="*/ 30022 h 36727"/>
                <a:gd name="connsiteX14" fmla="*/ 4106 w 68520"/>
                <a:gd name="connsiteY14" fmla="*/ 31608 h 36727"/>
                <a:gd name="connsiteX15" fmla="*/ 743 w 68520"/>
                <a:gd name="connsiteY15" fmla="*/ 31047 h 36727"/>
                <a:gd name="connsiteX16" fmla="*/ 0 w 68520"/>
                <a:gd name="connsiteY16" fmla="*/ 30405 h 36727"/>
                <a:gd name="connsiteX17" fmla="*/ 728 w 68520"/>
                <a:gd name="connsiteY17" fmla="*/ 28609 h 36727"/>
                <a:gd name="connsiteX18" fmla="*/ 1691 w 68520"/>
                <a:gd name="connsiteY18" fmla="*/ 28393 h 36727"/>
                <a:gd name="connsiteX19" fmla="*/ 1752 w 68520"/>
                <a:gd name="connsiteY19" fmla="*/ 27115 h 36727"/>
                <a:gd name="connsiteX20" fmla="*/ 2771 w 68520"/>
                <a:gd name="connsiteY20" fmla="*/ 25831 h 36727"/>
                <a:gd name="connsiteX21" fmla="*/ 42795 w 68520"/>
                <a:gd name="connsiteY21" fmla="*/ 2728 h 36727"/>
                <a:gd name="connsiteX22" fmla="*/ 43655 w 68520"/>
                <a:gd name="connsiteY22" fmla="*/ 2973 h 36727"/>
                <a:gd name="connsiteX23" fmla="*/ 42923 w 68520"/>
                <a:gd name="connsiteY23" fmla="*/ 3934 h 36727"/>
                <a:gd name="connsiteX24" fmla="*/ 42979 w 68520"/>
                <a:gd name="connsiteY24" fmla="*/ 4364 h 36727"/>
                <a:gd name="connsiteX25" fmla="*/ 43678 w 68520"/>
                <a:gd name="connsiteY25" fmla="*/ 4830 h 36727"/>
                <a:gd name="connsiteX26" fmla="*/ 43508 w 68520"/>
                <a:gd name="connsiteY26" fmla="*/ 5571 h 36727"/>
                <a:gd name="connsiteX27" fmla="*/ 42795 w 68520"/>
                <a:gd name="connsiteY27" fmla="*/ 6217 h 36727"/>
                <a:gd name="connsiteX28" fmla="*/ 42499 w 68520"/>
                <a:gd name="connsiteY28" fmla="*/ 7427 h 36727"/>
                <a:gd name="connsiteX29" fmla="*/ 44618 w 68520"/>
                <a:gd name="connsiteY29" fmla="*/ 8296 h 36727"/>
                <a:gd name="connsiteX30" fmla="*/ 46853 w 68520"/>
                <a:gd name="connsiteY30" fmla="*/ 7515 h 36727"/>
                <a:gd name="connsiteX31" fmla="*/ 48041 w 68520"/>
                <a:gd name="connsiteY31" fmla="*/ 7760 h 36727"/>
                <a:gd name="connsiteX32" fmla="*/ 49213 w 68520"/>
                <a:gd name="connsiteY32" fmla="*/ 8178 h 36727"/>
                <a:gd name="connsiteX33" fmla="*/ 49498 w 68520"/>
                <a:gd name="connsiteY33" fmla="*/ 9829 h 36727"/>
                <a:gd name="connsiteX34" fmla="*/ 48455 w 68520"/>
                <a:gd name="connsiteY34" fmla="*/ 11665 h 36727"/>
                <a:gd name="connsiteX35" fmla="*/ 46998 w 68520"/>
                <a:gd name="connsiteY35" fmla="*/ 13522 h 36727"/>
                <a:gd name="connsiteX36" fmla="*/ 45764 w 68520"/>
                <a:gd name="connsiteY36" fmla="*/ 15563 h 36727"/>
                <a:gd name="connsiteX37" fmla="*/ 44698 w 68520"/>
                <a:gd name="connsiteY37" fmla="*/ 17910 h 36727"/>
                <a:gd name="connsiteX38" fmla="*/ 42704 w 68520"/>
                <a:gd name="connsiteY38" fmla="*/ 19294 h 36727"/>
                <a:gd name="connsiteX39" fmla="*/ 40897 w 68520"/>
                <a:gd name="connsiteY39" fmla="*/ 20123 h 36727"/>
                <a:gd name="connsiteX40" fmla="*/ 37077 w 68520"/>
                <a:gd name="connsiteY40" fmla="*/ 18383 h 36727"/>
                <a:gd name="connsiteX41" fmla="*/ 34860 w 68520"/>
                <a:gd name="connsiteY41" fmla="*/ 17950 h 36727"/>
                <a:gd name="connsiteX42" fmla="*/ 34197 w 68520"/>
                <a:gd name="connsiteY42" fmla="*/ 17297 h 36727"/>
                <a:gd name="connsiteX43" fmla="*/ 33670 w 68520"/>
                <a:gd name="connsiteY43" fmla="*/ 14701 h 36727"/>
                <a:gd name="connsiteX44" fmla="*/ 32666 w 68520"/>
                <a:gd name="connsiteY44" fmla="*/ 13873 h 36727"/>
                <a:gd name="connsiteX45" fmla="*/ 31195 w 68520"/>
                <a:gd name="connsiteY45" fmla="*/ 13508 h 36727"/>
                <a:gd name="connsiteX46" fmla="*/ 29908 w 68520"/>
                <a:gd name="connsiteY46" fmla="*/ 14171 h 36727"/>
                <a:gd name="connsiteX47" fmla="*/ 28219 w 68520"/>
                <a:gd name="connsiteY47" fmla="*/ 15542 h 36727"/>
                <a:gd name="connsiteX48" fmla="*/ 27319 w 68520"/>
                <a:gd name="connsiteY48" fmla="*/ 14176 h 36727"/>
                <a:gd name="connsiteX49" fmla="*/ 25894 w 68520"/>
                <a:gd name="connsiteY49" fmla="*/ 13919 h 36727"/>
                <a:gd name="connsiteX50" fmla="*/ 25356 w 68520"/>
                <a:gd name="connsiteY50" fmla="*/ 13096 h 36727"/>
                <a:gd name="connsiteX51" fmla="*/ 25384 w 68520"/>
                <a:gd name="connsiteY51" fmla="*/ 12030 h 36727"/>
                <a:gd name="connsiteX52" fmla="*/ 34531 w 68520"/>
                <a:gd name="connsiteY52" fmla="*/ 5741 h 36727"/>
                <a:gd name="connsiteX53" fmla="*/ 37181 w 68520"/>
                <a:gd name="connsiteY53" fmla="*/ 4349 h 36727"/>
                <a:gd name="connsiteX54" fmla="*/ 62707 w 68520"/>
                <a:gd name="connsiteY54" fmla="*/ 0 h 36727"/>
                <a:gd name="connsiteX55" fmla="*/ 66391 w 68520"/>
                <a:gd name="connsiteY55" fmla="*/ 1114 h 36727"/>
                <a:gd name="connsiteX56" fmla="*/ 68367 w 68520"/>
                <a:gd name="connsiteY56" fmla="*/ 4116 h 36727"/>
                <a:gd name="connsiteX57" fmla="*/ 68520 w 68520"/>
                <a:gd name="connsiteY57" fmla="*/ 4630 h 36727"/>
                <a:gd name="connsiteX58" fmla="*/ 67892 w 68520"/>
                <a:gd name="connsiteY58" fmla="*/ 6080 h 36727"/>
                <a:gd name="connsiteX59" fmla="*/ 67486 w 68520"/>
                <a:gd name="connsiteY59" fmla="*/ 6381 h 36727"/>
                <a:gd name="connsiteX60" fmla="*/ 60684 w 68520"/>
                <a:gd name="connsiteY60" fmla="*/ 3371 h 36727"/>
                <a:gd name="connsiteX61" fmla="*/ 58462 w 68520"/>
                <a:gd name="connsiteY61" fmla="*/ 3035 h 36727"/>
                <a:gd name="connsiteX62" fmla="*/ 57920 w 68520"/>
                <a:gd name="connsiteY62" fmla="*/ 2575 h 36727"/>
                <a:gd name="connsiteX63" fmla="*/ 57980 w 68520"/>
                <a:gd name="connsiteY63" fmla="*/ 1008 h 36727"/>
                <a:gd name="connsiteX64" fmla="*/ 58157 w 68520"/>
                <a:gd name="connsiteY64" fmla="*/ 315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8520" h="36727">
                  <a:moveTo>
                    <a:pt x="4710" y="33907"/>
                  </a:moveTo>
                  <a:lnTo>
                    <a:pt x="6049" y="35359"/>
                  </a:lnTo>
                  <a:lnTo>
                    <a:pt x="8167" y="35628"/>
                  </a:lnTo>
                  <a:lnTo>
                    <a:pt x="8195" y="36386"/>
                  </a:lnTo>
                  <a:lnTo>
                    <a:pt x="7692" y="36727"/>
                  </a:lnTo>
                  <a:lnTo>
                    <a:pt x="6228" y="36414"/>
                  </a:lnTo>
                  <a:lnTo>
                    <a:pt x="4034" y="36414"/>
                  </a:lnTo>
                  <a:lnTo>
                    <a:pt x="3950" y="35372"/>
                  </a:lnTo>
                  <a:lnTo>
                    <a:pt x="4287" y="34644"/>
                  </a:lnTo>
                  <a:close/>
                  <a:moveTo>
                    <a:pt x="7543" y="24790"/>
                  </a:moveTo>
                  <a:lnTo>
                    <a:pt x="8621" y="25661"/>
                  </a:lnTo>
                  <a:lnTo>
                    <a:pt x="8852" y="26917"/>
                  </a:lnTo>
                  <a:lnTo>
                    <a:pt x="5997" y="29665"/>
                  </a:lnTo>
                  <a:lnTo>
                    <a:pt x="4907" y="30022"/>
                  </a:lnTo>
                  <a:lnTo>
                    <a:pt x="4106" y="31608"/>
                  </a:lnTo>
                  <a:lnTo>
                    <a:pt x="743" y="31047"/>
                  </a:lnTo>
                  <a:lnTo>
                    <a:pt x="0" y="30405"/>
                  </a:lnTo>
                  <a:lnTo>
                    <a:pt x="728" y="28609"/>
                  </a:lnTo>
                  <a:lnTo>
                    <a:pt x="1691" y="28393"/>
                  </a:lnTo>
                  <a:lnTo>
                    <a:pt x="1752" y="27115"/>
                  </a:lnTo>
                  <a:lnTo>
                    <a:pt x="2771" y="25831"/>
                  </a:lnTo>
                  <a:close/>
                  <a:moveTo>
                    <a:pt x="42795" y="2728"/>
                  </a:moveTo>
                  <a:lnTo>
                    <a:pt x="43655" y="2973"/>
                  </a:lnTo>
                  <a:lnTo>
                    <a:pt x="42923" y="3934"/>
                  </a:lnTo>
                  <a:lnTo>
                    <a:pt x="42979" y="4364"/>
                  </a:lnTo>
                  <a:lnTo>
                    <a:pt x="43678" y="4830"/>
                  </a:lnTo>
                  <a:lnTo>
                    <a:pt x="43508" y="5571"/>
                  </a:lnTo>
                  <a:lnTo>
                    <a:pt x="42795" y="6217"/>
                  </a:lnTo>
                  <a:lnTo>
                    <a:pt x="42499" y="7427"/>
                  </a:lnTo>
                  <a:lnTo>
                    <a:pt x="44618" y="8296"/>
                  </a:lnTo>
                  <a:lnTo>
                    <a:pt x="46853" y="7515"/>
                  </a:lnTo>
                  <a:lnTo>
                    <a:pt x="48041" y="7760"/>
                  </a:lnTo>
                  <a:lnTo>
                    <a:pt x="49213" y="8178"/>
                  </a:lnTo>
                  <a:lnTo>
                    <a:pt x="49498" y="9829"/>
                  </a:lnTo>
                  <a:lnTo>
                    <a:pt x="48455" y="11665"/>
                  </a:lnTo>
                  <a:lnTo>
                    <a:pt x="46998" y="13522"/>
                  </a:lnTo>
                  <a:lnTo>
                    <a:pt x="45764" y="15563"/>
                  </a:lnTo>
                  <a:lnTo>
                    <a:pt x="44698" y="17910"/>
                  </a:lnTo>
                  <a:lnTo>
                    <a:pt x="42704" y="19294"/>
                  </a:lnTo>
                  <a:lnTo>
                    <a:pt x="40897" y="20123"/>
                  </a:lnTo>
                  <a:lnTo>
                    <a:pt x="37077" y="18383"/>
                  </a:lnTo>
                  <a:lnTo>
                    <a:pt x="34860" y="17950"/>
                  </a:lnTo>
                  <a:lnTo>
                    <a:pt x="34197" y="17297"/>
                  </a:lnTo>
                  <a:lnTo>
                    <a:pt x="33670" y="14701"/>
                  </a:lnTo>
                  <a:lnTo>
                    <a:pt x="32666" y="13873"/>
                  </a:lnTo>
                  <a:lnTo>
                    <a:pt x="31195" y="13508"/>
                  </a:lnTo>
                  <a:lnTo>
                    <a:pt x="29908" y="14171"/>
                  </a:lnTo>
                  <a:lnTo>
                    <a:pt x="28219" y="15542"/>
                  </a:lnTo>
                  <a:lnTo>
                    <a:pt x="27319" y="14176"/>
                  </a:lnTo>
                  <a:lnTo>
                    <a:pt x="25894" y="13919"/>
                  </a:lnTo>
                  <a:lnTo>
                    <a:pt x="25356" y="13096"/>
                  </a:lnTo>
                  <a:lnTo>
                    <a:pt x="25384" y="12030"/>
                  </a:lnTo>
                  <a:lnTo>
                    <a:pt x="34531" y="5741"/>
                  </a:lnTo>
                  <a:lnTo>
                    <a:pt x="37181" y="4349"/>
                  </a:lnTo>
                  <a:close/>
                  <a:moveTo>
                    <a:pt x="62707" y="0"/>
                  </a:moveTo>
                  <a:lnTo>
                    <a:pt x="66391" y="1114"/>
                  </a:lnTo>
                  <a:lnTo>
                    <a:pt x="68367" y="4116"/>
                  </a:lnTo>
                  <a:lnTo>
                    <a:pt x="68520" y="4630"/>
                  </a:lnTo>
                  <a:lnTo>
                    <a:pt x="67892" y="6080"/>
                  </a:lnTo>
                  <a:lnTo>
                    <a:pt x="67486" y="6381"/>
                  </a:lnTo>
                  <a:lnTo>
                    <a:pt x="60684" y="3371"/>
                  </a:lnTo>
                  <a:lnTo>
                    <a:pt x="58462" y="3035"/>
                  </a:lnTo>
                  <a:lnTo>
                    <a:pt x="57920" y="2575"/>
                  </a:lnTo>
                  <a:lnTo>
                    <a:pt x="57980" y="1008"/>
                  </a:lnTo>
                  <a:lnTo>
                    <a:pt x="58157" y="315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ee4p_ES_2_37764">
              <a:extLst>
                <a:ext uri="{FF2B5EF4-FFF2-40B4-BE49-F238E27FC236}">
                  <a16:creationId xmlns:a16="http://schemas.microsoft.com/office/drawing/2014/main" id="{7D19A8C5-AD23-4901-8F59-11FEF3F776E9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6497829" y="10908915"/>
              <a:ext cx="2610633" cy="1899274"/>
            </a:xfrm>
            <a:custGeom>
              <a:avLst/>
              <a:gdLst/>
              <a:ahLst/>
              <a:cxnLst/>
              <a:rect l="0" t="0" r="0" b="0"/>
              <a:pathLst>
                <a:path w="277340" h="201769">
                  <a:moveTo>
                    <a:pt x="33998" y="0"/>
                  </a:moveTo>
                  <a:lnTo>
                    <a:pt x="36288" y="1004"/>
                  </a:lnTo>
                  <a:lnTo>
                    <a:pt x="38299" y="664"/>
                  </a:lnTo>
                  <a:lnTo>
                    <a:pt x="40605" y="1855"/>
                  </a:lnTo>
                  <a:lnTo>
                    <a:pt x="43643" y="4584"/>
                  </a:lnTo>
                  <a:lnTo>
                    <a:pt x="48087" y="5680"/>
                  </a:lnTo>
                  <a:lnTo>
                    <a:pt x="51631" y="4826"/>
                  </a:lnTo>
                  <a:lnTo>
                    <a:pt x="57898" y="4644"/>
                  </a:lnTo>
                  <a:lnTo>
                    <a:pt x="61029" y="5008"/>
                  </a:lnTo>
                  <a:lnTo>
                    <a:pt x="66591" y="4335"/>
                  </a:lnTo>
                  <a:lnTo>
                    <a:pt x="69776" y="4576"/>
                  </a:lnTo>
                  <a:lnTo>
                    <a:pt x="74938" y="3224"/>
                  </a:lnTo>
                  <a:lnTo>
                    <a:pt x="78937" y="4912"/>
                  </a:lnTo>
                  <a:lnTo>
                    <a:pt x="86678" y="5701"/>
                  </a:lnTo>
                  <a:lnTo>
                    <a:pt x="91332" y="7083"/>
                  </a:lnTo>
                  <a:lnTo>
                    <a:pt x="104206" y="9402"/>
                  </a:lnTo>
                  <a:lnTo>
                    <a:pt x="108855" y="9428"/>
                  </a:lnTo>
                  <a:lnTo>
                    <a:pt x="115433" y="8127"/>
                  </a:lnTo>
                  <a:lnTo>
                    <a:pt x="118218" y="7149"/>
                  </a:lnTo>
                  <a:lnTo>
                    <a:pt x="120768" y="7729"/>
                  </a:lnTo>
                  <a:lnTo>
                    <a:pt x="124514" y="6609"/>
                  </a:lnTo>
                  <a:lnTo>
                    <a:pt x="126305" y="6836"/>
                  </a:lnTo>
                  <a:lnTo>
                    <a:pt x="128644" y="8433"/>
                  </a:lnTo>
                  <a:lnTo>
                    <a:pt x="136875" y="10589"/>
                  </a:lnTo>
                  <a:lnTo>
                    <a:pt x="139040" y="8757"/>
                  </a:lnTo>
                  <a:lnTo>
                    <a:pt x="140647" y="8360"/>
                  </a:lnTo>
                  <a:lnTo>
                    <a:pt x="146572" y="9482"/>
                  </a:lnTo>
                  <a:lnTo>
                    <a:pt x="152542" y="11760"/>
                  </a:lnTo>
                  <a:lnTo>
                    <a:pt x="155647" y="11924"/>
                  </a:lnTo>
                  <a:lnTo>
                    <a:pt x="160188" y="11302"/>
                  </a:lnTo>
                  <a:lnTo>
                    <a:pt x="163788" y="9802"/>
                  </a:lnTo>
                  <a:lnTo>
                    <a:pt x="164550" y="9627"/>
                  </a:lnTo>
                  <a:lnTo>
                    <a:pt x="164579" y="10563"/>
                  </a:lnTo>
                  <a:lnTo>
                    <a:pt x="165452" y="11849"/>
                  </a:lnTo>
                  <a:lnTo>
                    <a:pt x="166345" y="12325"/>
                  </a:lnTo>
                  <a:lnTo>
                    <a:pt x="168240" y="12985"/>
                  </a:lnTo>
                  <a:lnTo>
                    <a:pt x="169692" y="13073"/>
                  </a:lnTo>
                  <a:lnTo>
                    <a:pt x="171677" y="13382"/>
                  </a:lnTo>
                  <a:lnTo>
                    <a:pt x="173027" y="14123"/>
                  </a:lnTo>
                  <a:lnTo>
                    <a:pt x="173101" y="15277"/>
                  </a:lnTo>
                  <a:lnTo>
                    <a:pt x="172763" y="16566"/>
                  </a:lnTo>
                  <a:lnTo>
                    <a:pt x="171949" y="17750"/>
                  </a:lnTo>
                  <a:lnTo>
                    <a:pt x="171484" y="18658"/>
                  </a:lnTo>
                  <a:lnTo>
                    <a:pt x="171918" y="19177"/>
                  </a:lnTo>
                  <a:lnTo>
                    <a:pt x="172627" y="19580"/>
                  </a:lnTo>
                  <a:lnTo>
                    <a:pt x="173395" y="19691"/>
                  </a:lnTo>
                  <a:lnTo>
                    <a:pt x="173915" y="19557"/>
                  </a:lnTo>
                  <a:lnTo>
                    <a:pt x="174308" y="18842"/>
                  </a:lnTo>
                  <a:lnTo>
                    <a:pt x="175058" y="17965"/>
                  </a:lnTo>
                  <a:lnTo>
                    <a:pt x="175473" y="17858"/>
                  </a:lnTo>
                  <a:lnTo>
                    <a:pt x="175440" y="18354"/>
                  </a:lnTo>
                  <a:lnTo>
                    <a:pt x="175796" y="18967"/>
                  </a:lnTo>
                  <a:lnTo>
                    <a:pt x="178228" y="19998"/>
                  </a:lnTo>
                  <a:lnTo>
                    <a:pt x="183571" y="21917"/>
                  </a:lnTo>
                  <a:lnTo>
                    <a:pt x="185663" y="21953"/>
                  </a:lnTo>
                  <a:lnTo>
                    <a:pt x="187356" y="22178"/>
                  </a:lnTo>
                  <a:lnTo>
                    <a:pt x="187853" y="22988"/>
                  </a:lnTo>
                  <a:lnTo>
                    <a:pt x="191253" y="25947"/>
                  </a:lnTo>
                  <a:lnTo>
                    <a:pt x="192063" y="25866"/>
                  </a:lnTo>
                  <a:lnTo>
                    <a:pt x="193581" y="25938"/>
                  </a:lnTo>
                  <a:lnTo>
                    <a:pt x="195410" y="25703"/>
                  </a:lnTo>
                  <a:lnTo>
                    <a:pt x="196733" y="25149"/>
                  </a:lnTo>
                  <a:lnTo>
                    <a:pt x="197602" y="25242"/>
                  </a:lnTo>
                  <a:lnTo>
                    <a:pt x="198558" y="25814"/>
                  </a:lnTo>
                  <a:lnTo>
                    <a:pt x="199680" y="26313"/>
                  </a:lnTo>
                  <a:lnTo>
                    <a:pt x="201123" y="27285"/>
                  </a:lnTo>
                  <a:lnTo>
                    <a:pt x="202418" y="28490"/>
                  </a:lnTo>
                  <a:lnTo>
                    <a:pt x="203310" y="28884"/>
                  </a:lnTo>
                  <a:lnTo>
                    <a:pt x="208673" y="28076"/>
                  </a:lnTo>
                  <a:lnTo>
                    <a:pt x="209869" y="28782"/>
                  </a:lnTo>
                  <a:lnTo>
                    <a:pt x="211139" y="28773"/>
                  </a:lnTo>
                  <a:lnTo>
                    <a:pt x="212562" y="28589"/>
                  </a:lnTo>
                  <a:lnTo>
                    <a:pt x="215667" y="28960"/>
                  </a:lnTo>
                  <a:lnTo>
                    <a:pt x="218187" y="28871"/>
                  </a:lnTo>
                  <a:lnTo>
                    <a:pt x="218416" y="28576"/>
                  </a:lnTo>
                  <a:lnTo>
                    <a:pt x="218632" y="25908"/>
                  </a:lnTo>
                  <a:lnTo>
                    <a:pt x="219031" y="24963"/>
                  </a:lnTo>
                  <a:lnTo>
                    <a:pt x="219629" y="24713"/>
                  </a:lnTo>
                  <a:lnTo>
                    <a:pt x="221124" y="24902"/>
                  </a:lnTo>
                  <a:lnTo>
                    <a:pt x="226554" y="26482"/>
                  </a:lnTo>
                  <a:lnTo>
                    <a:pt x="228790" y="27469"/>
                  </a:lnTo>
                  <a:lnTo>
                    <a:pt x="230938" y="28242"/>
                  </a:lnTo>
                  <a:lnTo>
                    <a:pt x="232817" y="28327"/>
                  </a:lnTo>
                  <a:lnTo>
                    <a:pt x="234058" y="28842"/>
                  </a:lnTo>
                  <a:lnTo>
                    <a:pt x="235803" y="31373"/>
                  </a:lnTo>
                  <a:lnTo>
                    <a:pt x="235505" y="32642"/>
                  </a:lnTo>
                  <a:lnTo>
                    <a:pt x="235663" y="33111"/>
                  </a:lnTo>
                  <a:lnTo>
                    <a:pt x="235847" y="33990"/>
                  </a:lnTo>
                  <a:lnTo>
                    <a:pt x="235799" y="34964"/>
                  </a:lnTo>
                  <a:lnTo>
                    <a:pt x="236257" y="35600"/>
                  </a:lnTo>
                  <a:lnTo>
                    <a:pt x="237084" y="35680"/>
                  </a:lnTo>
                  <a:lnTo>
                    <a:pt x="238142" y="35487"/>
                  </a:lnTo>
                  <a:lnTo>
                    <a:pt x="239299" y="35107"/>
                  </a:lnTo>
                  <a:lnTo>
                    <a:pt x="241335" y="34021"/>
                  </a:lnTo>
                  <a:lnTo>
                    <a:pt x="241945" y="33844"/>
                  </a:lnTo>
                  <a:lnTo>
                    <a:pt x="245343" y="35077"/>
                  </a:lnTo>
                  <a:lnTo>
                    <a:pt x="246851" y="35897"/>
                  </a:lnTo>
                  <a:lnTo>
                    <a:pt x="247371" y="36791"/>
                  </a:lnTo>
                  <a:lnTo>
                    <a:pt x="248146" y="37704"/>
                  </a:lnTo>
                  <a:lnTo>
                    <a:pt x="249167" y="37837"/>
                  </a:lnTo>
                  <a:lnTo>
                    <a:pt x="250619" y="36969"/>
                  </a:lnTo>
                  <a:lnTo>
                    <a:pt x="252875" y="36040"/>
                  </a:lnTo>
                  <a:lnTo>
                    <a:pt x="256723" y="36857"/>
                  </a:lnTo>
                  <a:lnTo>
                    <a:pt x="261003" y="38042"/>
                  </a:lnTo>
                  <a:lnTo>
                    <a:pt x="262854" y="38184"/>
                  </a:lnTo>
                  <a:lnTo>
                    <a:pt x="262923" y="37608"/>
                  </a:lnTo>
                  <a:lnTo>
                    <a:pt x="263260" y="36784"/>
                  </a:lnTo>
                  <a:lnTo>
                    <a:pt x="263964" y="36372"/>
                  </a:lnTo>
                  <a:lnTo>
                    <a:pt x="265015" y="36251"/>
                  </a:lnTo>
                  <a:lnTo>
                    <a:pt x="266480" y="35819"/>
                  </a:lnTo>
                  <a:lnTo>
                    <a:pt x="268155" y="35104"/>
                  </a:lnTo>
                  <a:lnTo>
                    <a:pt x="269893" y="34806"/>
                  </a:lnTo>
                  <a:lnTo>
                    <a:pt x="271720" y="35340"/>
                  </a:lnTo>
                  <a:lnTo>
                    <a:pt x="273921" y="35772"/>
                  </a:lnTo>
                  <a:lnTo>
                    <a:pt x="275231" y="35768"/>
                  </a:lnTo>
                  <a:lnTo>
                    <a:pt x="275860" y="37454"/>
                  </a:lnTo>
                  <a:lnTo>
                    <a:pt x="276922" y="38098"/>
                  </a:lnTo>
                  <a:lnTo>
                    <a:pt x="277339" y="39556"/>
                  </a:lnTo>
                  <a:lnTo>
                    <a:pt x="275391" y="40317"/>
                  </a:lnTo>
                  <a:lnTo>
                    <a:pt x="274236" y="40420"/>
                  </a:lnTo>
                  <a:lnTo>
                    <a:pt x="273882" y="42921"/>
                  </a:lnTo>
                  <a:lnTo>
                    <a:pt x="274430" y="43625"/>
                  </a:lnTo>
                  <a:lnTo>
                    <a:pt x="275523" y="44285"/>
                  </a:lnTo>
                  <a:lnTo>
                    <a:pt x="275821" y="45054"/>
                  </a:lnTo>
                  <a:lnTo>
                    <a:pt x="276041" y="48717"/>
                  </a:lnTo>
                  <a:lnTo>
                    <a:pt x="273804" y="50924"/>
                  </a:lnTo>
                  <a:lnTo>
                    <a:pt x="270664" y="53405"/>
                  </a:lnTo>
                  <a:lnTo>
                    <a:pt x="255320" y="61366"/>
                  </a:lnTo>
                  <a:lnTo>
                    <a:pt x="251664" y="65214"/>
                  </a:lnTo>
                  <a:lnTo>
                    <a:pt x="250271" y="66093"/>
                  </a:lnTo>
                  <a:lnTo>
                    <a:pt x="238861" y="68513"/>
                  </a:lnTo>
                  <a:lnTo>
                    <a:pt x="230884" y="71096"/>
                  </a:lnTo>
                  <a:lnTo>
                    <a:pt x="227060" y="72030"/>
                  </a:lnTo>
                  <a:lnTo>
                    <a:pt x="222283" y="76514"/>
                  </a:lnTo>
                  <a:lnTo>
                    <a:pt x="220022" y="78320"/>
                  </a:lnTo>
                  <a:lnTo>
                    <a:pt x="221823" y="78820"/>
                  </a:lnTo>
                  <a:lnTo>
                    <a:pt x="223924" y="80958"/>
                  </a:lnTo>
                  <a:lnTo>
                    <a:pt x="223218" y="81906"/>
                  </a:lnTo>
                  <a:lnTo>
                    <a:pt x="220154" y="83368"/>
                  </a:lnTo>
                  <a:lnTo>
                    <a:pt x="218815" y="83818"/>
                  </a:lnTo>
                  <a:lnTo>
                    <a:pt x="218088" y="83585"/>
                  </a:lnTo>
                  <a:lnTo>
                    <a:pt x="217401" y="83787"/>
                  </a:lnTo>
                  <a:lnTo>
                    <a:pt x="212262" y="91522"/>
                  </a:lnTo>
                  <a:lnTo>
                    <a:pt x="207723" y="97072"/>
                  </a:lnTo>
                  <a:lnTo>
                    <a:pt x="205172" y="99489"/>
                  </a:lnTo>
                  <a:lnTo>
                    <a:pt x="202558" y="103086"/>
                  </a:lnTo>
                  <a:lnTo>
                    <a:pt x="196989" y="112346"/>
                  </a:lnTo>
                  <a:lnTo>
                    <a:pt x="196946" y="115013"/>
                  </a:lnTo>
                  <a:lnTo>
                    <a:pt x="199689" y="124196"/>
                  </a:lnTo>
                  <a:lnTo>
                    <a:pt x="201261" y="126604"/>
                  </a:lnTo>
                  <a:lnTo>
                    <a:pt x="203465" y="128626"/>
                  </a:lnTo>
                  <a:lnTo>
                    <a:pt x="207645" y="130344"/>
                  </a:lnTo>
                  <a:lnTo>
                    <a:pt x="208677" y="132034"/>
                  </a:lnTo>
                  <a:lnTo>
                    <a:pt x="207234" y="133643"/>
                  </a:lnTo>
                  <a:lnTo>
                    <a:pt x="203054" y="136506"/>
                  </a:lnTo>
                  <a:lnTo>
                    <a:pt x="195790" y="140369"/>
                  </a:lnTo>
                  <a:lnTo>
                    <a:pt x="192704" y="143413"/>
                  </a:lnTo>
                  <a:lnTo>
                    <a:pt x="192043" y="146346"/>
                  </a:lnTo>
                  <a:lnTo>
                    <a:pt x="189918" y="147662"/>
                  </a:lnTo>
                  <a:lnTo>
                    <a:pt x="189113" y="151762"/>
                  </a:lnTo>
                  <a:lnTo>
                    <a:pt x="187823" y="154476"/>
                  </a:lnTo>
                  <a:lnTo>
                    <a:pt x="187575" y="155395"/>
                  </a:lnTo>
                  <a:lnTo>
                    <a:pt x="186207" y="157451"/>
                  </a:lnTo>
                  <a:lnTo>
                    <a:pt x="186020" y="158942"/>
                  </a:lnTo>
                  <a:lnTo>
                    <a:pt x="188264" y="161002"/>
                  </a:lnTo>
                  <a:lnTo>
                    <a:pt x="187152" y="161892"/>
                  </a:lnTo>
                  <a:lnTo>
                    <a:pt x="186040" y="162288"/>
                  </a:lnTo>
                  <a:lnTo>
                    <a:pt x="183477" y="162528"/>
                  </a:lnTo>
                  <a:lnTo>
                    <a:pt x="174865" y="162789"/>
                  </a:lnTo>
                  <a:lnTo>
                    <a:pt x="167935" y="167235"/>
                  </a:lnTo>
                  <a:lnTo>
                    <a:pt x="164471" y="171164"/>
                  </a:lnTo>
                  <a:lnTo>
                    <a:pt x="161338" y="178468"/>
                  </a:lnTo>
                  <a:lnTo>
                    <a:pt x="157530" y="182766"/>
                  </a:lnTo>
                  <a:lnTo>
                    <a:pt x="155846" y="183558"/>
                  </a:lnTo>
                  <a:lnTo>
                    <a:pt x="153239" y="181670"/>
                  </a:lnTo>
                  <a:lnTo>
                    <a:pt x="149983" y="181382"/>
                  </a:lnTo>
                  <a:lnTo>
                    <a:pt x="146824" y="182008"/>
                  </a:lnTo>
                  <a:lnTo>
                    <a:pt x="145167" y="183504"/>
                  </a:lnTo>
                  <a:lnTo>
                    <a:pt x="142581" y="184337"/>
                  </a:lnTo>
                  <a:lnTo>
                    <a:pt x="140054" y="183616"/>
                  </a:lnTo>
                  <a:lnTo>
                    <a:pt x="134585" y="183227"/>
                  </a:lnTo>
                  <a:lnTo>
                    <a:pt x="132154" y="183296"/>
                  </a:lnTo>
                  <a:lnTo>
                    <a:pt x="128348" y="184511"/>
                  </a:lnTo>
                  <a:lnTo>
                    <a:pt x="125085" y="183700"/>
                  </a:lnTo>
                  <a:lnTo>
                    <a:pt x="119580" y="183289"/>
                  </a:lnTo>
                  <a:lnTo>
                    <a:pt x="107660" y="184252"/>
                  </a:lnTo>
                  <a:lnTo>
                    <a:pt x="106156" y="184705"/>
                  </a:lnTo>
                  <a:lnTo>
                    <a:pt x="104666" y="186509"/>
                  </a:lnTo>
                  <a:lnTo>
                    <a:pt x="100865" y="189618"/>
                  </a:lnTo>
                  <a:lnTo>
                    <a:pt x="95090" y="189730"/>
                  </a:lnTo>
                  <a:lnTo>
                    <a:pt x="89867" y="191712"/>
                  </a:lnTo>
                  <a:lnTo>
                    <a:pt x="88562" y="192981"/>
                  </a:lnTo>
                  <a:lnTo>
                    <a:pt x="86369" y="196469"/>
                  </a:lnTo>
                  <a:lnTo>
                    <a:pt x="85678" y="199017"/>
                  </a:lnTo>
                  <a:lnTo>
                    <a:pt x="85222" y="199038"/>
                  </a:lnTo>
                  <a:lnTo>
                    <a:pt x="84655" y="198411"/>
                  </a:lnTo>
                  <a:lnTo>
                    <a:pt x="83850" y="198621"/>
                  </a:lnTo>
                  <a:lnTo>
                    <a:pt x="83433" y="200560"/>
                  </a:lnTo>
                  <a:lnTo>
                    <a:pt x="81470" y="201443"/>
                  </a:lnTo>
                  <a:lnTo>
                    <a:pt x="79829" y="201768"/>
                  </a:lnTo>
                  <a:lnTo>
                    <a:pt x="75784" y="200193"/>
                  </a:lnTo>
                  <a:lnTo>
                    <a:pt x="72417" y="197833"/>
                  </a:lnTo>
                  <a:lnTo>
                    <a:pt x="70648" y="197664"/>
                  </a:lnTo>
                  <a:lnTo>
                    <a:pt x="67778" y="193989"/>
                  </a:lnTo>
                  <a:lnTo>
                    <a:pt x="66544" y="191644"/>
                  </a:lnTo>
                  <a:lnTo>
                    <a:pt x="65667" y="189110"/>
                  </a:lnTo>
                  <a:lnTo>
                    <a:pt x="65849" y="188139"/>
                  </a:lnTo>
                  <a:lnTo>
                    <a:pt x="65600" y="187331"/>
                  </a:lnTo>
                  <a:lnTo>
                    <a:pt x="63053" y="186309"/>
                  </a:lnTo>
                  <a:lnTo>
                    <a:pt x="62432" y="183979"/>
                  </a:lnTo>
                  <a:lnTo>
                    <a:pt x="64288" y="180951"/>
                  </a:lnTo>
                  <a:lnTo>
                    <a:pt x="65811" y="179659"/>
                  </a:lnTo>
                  <a:lnTo>
                    <a:pt x="66753" y="179288"/>
                  </a:lnTo>
                  <a:lnTo>
                    <a:pt x="64450" y="179418"/>
                  </a:lnTo>
                  <a:lnTo>
                    <a:pt x="62787" y="181370"/>
                  </a:lnTo>
                  <a:lnTo>
                    <a:pt x="60659" y="178244"/>
                  </a:lnTo>
                  <a:lnTo>
                    <a:pt x="51986" y="172148"/>
                  </a:lnTo>
                  <a:lnTo>
                    <a:pt x="52545" y="170748"/>
                  </a:lnTo>
                  <a:lnTo>
                    <a:pt x="52448" y="169991"/>
                  </a:lnTo>
                  <a:lnTo>
                    <a:pt x="50994" y="171620"/>
                  </a:lnTo>
                  <a:lnTo>
                    <a:pt x="49995" y="172041"/>
                  </a:lnTo>
                  <a:lnTo>
                    <a:pt x="45567" y="171777"/>
                  </a:lnTo>
                  <a:lnTo>
                    <a:pt x="40454" y="172525"/>
                  </a:lnTo>
                  <a:lnTo>
                    <a:pt x="39105" y="166187"/>
                  </a:lnTo>
                  <a:lnTo>
                    <a:pt x="38467" y="163748"/>
                  </a:lnTo>
                  <a:lnTo>
                    <a:pt x="38301" y="162167"/>
                  </a:lnTo>
                  <a:lnTo>
                    <a:pt x="39619" y="158516"/>
                  </a:lnTo>
                  <a:lnTo>
                    <a:pt x="41057" y="157030"/>
                  </a:lnTo>
                  <a:lnTo>
                    <a:pt x="42973" y="153956"/>
                  </a:lnTo>
                  <a:lnTo>
                    <a:pt x="45335" y="151395"/>
                  </a:lnTo>
                  <a:lnTo>
                    <a:pt x="47832" y="150788"/>
                  </a:lnTo>
                  <a:lnTo>
                    <a:pt x="48930" y="150411"/>
                  </a:lnTo>
                  <a:lnTo>
                    <a:pt x="49853" y="148429"/>
                  </a:lnTo>
                  <a:lnTo>
                    <a:pt x="50373" y="146737"/>
                  </a:lnTo>
                  <a:lnTo>
                    <a:pt x="49992" y="146569"/>
                  </a:lnTo>
                  <a:lnTo>
                    <a:pt x="47082" y="146914"/>
                  </a:lnTo>
                  <a:lnTo>
                    <a:pt x="41850" y="139809"/>
                  </a:lnTo>
                  <a:lnTo>
                    <a:pt x="42010" y="138675"/>
                  </a:lnTo>
                  <a:lnTo>
                    <a:pt x="42670" y="136992"/>
                  </a:lnTo>
                  <a:lnTo>
                    <a:pt x="43103" y="134866"/>
                  </a:lnTo>
                  <a:lnTo>
                    <a:pt x="43210" y="133185"/>
                  </a:lnTo>
                  <a:lnTo>
                    <a:pt x="44572" y="131742"/>
                  </a:lnTo>
                  <a:lnTo>
                    <a:pt x="46660" y="130285"/>
                  </a:lnTo>
                  <a:lnTo>
                    <a:pt x="48417" y="128217"/>
                  </a:lnTo>
                  <a:lnTo>
                    <a:pt x="49297" y="126196"/>
                  </a:lnTo>
                  <a:lnTo>
                    <a:pt x="49480" y="124355"/>
                  </a:lnTo>
                  <a:lnTo>
                    <a:pt x="48485" y="123045"/>
                  </a:lnTo>
                  <a:lnTo>
                    <a:pt x="45623" y="122318"/>
                  </a:lnTo>
                  <a:lnTo>
                    <a:pt x="42674" y="117061"/>
                  </a:lnTo>
                  <a:lnTo>
                    <a:pt x="42018" y="113766"/>
                  </a:lnTo>
                  <a:lnTo>
                    <a:pt x="41415" y="113424"/>
                  </a:lnTo>
                  <a:lnTo>
                    <a:pt x="39593" y="111922"/>
                  </a:lnTo>
                  <a:lnTo>
                    <a:pt x="37844" y="109102"/>
                  </a:lnTo>
                  <a:lnTo>
                    <a:pt x="37590" y="108664"/>
                  </a:lnTo>
                  <a:lnTo>
                    <a:pt x="39394" y="108168"/>
                  </a:lnTo>
                  <a:lnTo>
                    <a:pt x="46833" y="108141"/>
                  </a:lnTo>
                  <a:lnTo>
                    <a:pt x="48387" y="107520"/>
                  </a:lnTo>
                  <a:lnTo>
                    <a:pt x="48623" y="107302"/>
                  </a:lnTo>
                  <a:lnTo>
                    <a:pt x="49979" y="105105"/>
                  </a:lnTo>
                  <a:lnTo>
                    <a:pt x="51399" y="101492"/>
                  </a:lnTo>
                  <a:lnTo>
                    <a:pt x="51733" y="99284"/>
                  </a:lnTo>
                  <a:lnTo>
                    <a:pt x="51284" y="98371"/>
                  </a:lnTo>
                  <a:lnTo>
                    <a:pt x="48820" y="96132"/>
                  </a:lnTo>
                  <a:lnTo>
                    <a:pt x="48714" y="95471"/>
                  </a:lnTo>
                  <a:lnTo>
                    <a:pt x="49110" y="94415"/>
                  </a:lnTo>
                  <a:lnTo>
                    <a:pt x="50575" y="93285"/>
                  </a:lnTo>
                  <a:lnTo>
                    <a:pt x="52555" y="92001"/>
                  </a:lnTo>
                  <a:lnTo>
                    <a:pt x="53633" y="90893"/>
                  </a:lnTo>
                  <a:lnTo>
                    <a:pt x="53376" y="90026"/>
                  </a:lnTo>
                  <a:lnTo>
                    <a:pt x="52797" y="89117"/>
                  </a:lnTo>
                  <a:lnTo>
                    <a:pt x="52707" y="88273"/>
                  </a:lnTo>
                  <a:lnTo>
                    <a:pt x="53069" y="87228"/>
                  </a:lnTo>
                  <a:lnTo>
                    <a:pt x="53198" y="83667"/>
                  </a:lnTo>
                  <a:lnTo>
                    <a:pt x="53452" y="82750"/>
                  </a:lnTo>
                  <a:lnTo>
                    <a:pt x="53064" y="79511"/>
                  </a:lnTo>
                  <a:lnTo>
                    <a:pt x="52581" y="76863"/>
                  </a:lnTo>
                  <a:lnTo>
                    <a:pt x="51017" y="73423"/>
                  </a:lnTo>
                  <a:lnTo>
                    <a:pt x="51303" y="72663"/>
                  </a:lnTo>
                  <a:lnTo>
                    <a:pt x="52026" y="72021"/>
                  </a:lnTo>
                  <a:lnTo>
                    <a:pt x="54393" y="70828"/>
                  </a:lnTo>
                  <a:lnTo>
                    <a:pt x="56287" y="68015"/>
                  </a:lnTo>
                  <a:lnTo>
                    <a:pt x="59034" y="65663"/>
                  </a:lnTo>
                  <a:lnTo>
                    <a:pt x="62633" y="63771"/>
                  </a:lnTo>
                  <a:lnTo>
                    <a:pt x="65149" y="61669"/>
                  </a:lnTo>
                  <a:lnTo>
                    <a:pt x="66145" y="60060"/>
                  </a:lnTo>
                  <a:lnTo>
                    <a:pt x="66848" y="59634"/>
                  </a:lnTo>
                  <a:lnTo>
                    <a:pt x="66646" y="58883"/>
                  </a:lnTo>
                  <a:lnTo>
                    <a:pt x="66172" y="57789"/>
                  </a:lnTo>
                  <a:lnTo>
                    <a:pt x="64736" y="56721"/>
                  </a:lnTo>
                  <a:lnTo>
                    <a:pt x="62886" y="56107"/>
                  </a:lnTo>
                  <a:lnTo>
                    <a:pt x="60830" y="56133"/>
                  </a:lnTo>
                  <a:lnTo>
                    <a:pt x="59558" y="55918"/>
                  </a:lnTo>
                  <a:lnTo>
                    <a:pt x="59187" y="55083"/>
                  </a:lnTo>
                  <a:lnTo>
                    <a:pt x="59328" y="52819"/>
                  </a:lnTo>
                  <a:lnTo>
                    <a:pt x="59219" y="50577"/>
                  </a:lnTo>
                  <a:lnTo>
                    <a:pt x="58825" y="49544"/>
                  </a:lnTo>
                  <a:lnTo>
                    <a:pt x="57876" y="48767"/>
                  </a:lnTo>
                  <a:lnTo>
                    <a:pt x="55989" y="48974"/>
                  </a:lnTo>
                  <a:lnTo>
                    <a:pt x="54360" y="48339"/>
                  </a:lnTo>
                  <a:lnTo>
                    <a:pt x="53124" y="48189"/>
                  </a:lnTo>
                  <a:lnTo>
                    <a:pt x="52409" y="48690"/>
                  </a:lnTo>
                  <a:lnTo>
                    <a:pt x="48761" y="48548"/>
                  </a:lnTo>
                  <a:lnTo>
                    <a:pt x="47243" y="48187"/>
                  </a:lnTo>
                  <a:lnTo>
                    <a:pt x="46182" y="47738"/>
                  </a:lnTo>
                  <a:lnTo>
                    <a:pt x="45501" y="47989"/>
                  </a:lnTo>
                  <a:lnTo>
                    <a:pt x="45116" y="48426"/>
                  </a:lnTo>
                  <a:lnTo>
                    <a:pt x="45050" y="49111"/>
                  </a:lnTo>
                  <a:lnTo>
                    <a:pt x="44800" y="50017"/>
                  </a:lnTo>
                  <a:lnTo>
                    <a:pt x="43497" y="50835"/>
                  </a:lnTo>
                  <a:lnTo>
                    <a:pt x="40510" y="51649"/>
                  </a:lnTo>
                  <a:lnTo>
                    <a:pt x="38100" y="51588"/>
                  </a:lnTo>
                  <a:lnTo>
                    <a:pt x="35889" y="51006"/>
                  </a:lnTo>
                  <a:lnTo>
                    <a:pt x="35180" y="50581"/>
                  </a:lnTo>
                  <a:lnTo>
                    <a:pt x="34110" y="50196"/>
                  </a:lnTo>
                  <a:lnTo>
                    <a:pt x="29614" y="50671"/>
                  </a:lnTo>
                  <a:lnTo>
                    <a:pt x="29073" y="50325"/>
                  </a:lnTo>
                  <a:lnTo>
                    <a:pt x="27523" y="51166"/>
                  </a:lnTo>
                  <a:lnTo>
                    <a:pt x="25235" y="52166"/>
                  </a:lnTo>
                  <a:lnTo>
                    <a:pt x="23951" y="52225"/>
                  </a:lnTo>
                  <a:lnTo>
                    <a:pt x="23486" y="52013"/>
                  </a:lnTo>
                  <a:lnTo>
                    <a:pt x="23315" y="51562"/>
                  </a:lnTo>
                  <a:lnTo>
                    <a:pt x="22353" y="50001"/>
                  </a:lnTo>
                  <a:lnTo>
                    <a:pt x="22606" y="49172"/>
                  </a:lnTo>
                  <a:lnTo>
                    <a:pt x="24449" y="46755"/>
                  </a:lnTo>
                  <a:lnTo>
                    <a:pt x="24243" y="46177"/>
                  </a:lnTo>
                  <a:lnTo>
                    <a:pt x="23485" y="45395"/>
                  </a:lnTo>
                  <a:lnTo>
                    <a:pt x="22808" y="44266"/>
                  </a:lnTo>
                  <a:lnTo>
                    <a:pt x="22612" y="43686"/>
                  </a:lnTo>
                  <a:lnTo>
                    <a:pt x="21440" y="43587"/>
                  </a:lnTo>
                  <a:lnTo>
                    <a:pt x="20191" y="44180"/>
                  </a:lnTo>
                  <a:lnTo>
                    <a:pt x="15425" y="45396"/>
                  </a:lnTo>
                  <a:lnTo>
                    <a:pt x="14285" y="45837"/>
                  </a:lnTo>
                  <a:lnTo>
                    <a:pt x="12221" y="47012"/>
                  </a:lnTo>
                  <a:lnTo>
                    <a:pt x="10139" y="48801"/>
                  </a:lnTo>
                  <a:lnTo>
                    <a:pt x="8476" y="49177"/>
                  </a:lnTo>
                  <a:lnTo>
                    <a:pt x="7902" y="48647"/>
                  </a:lnTo>
                  <a:lnTo>
                    <a:pt x="7705" y="44441"/>
                  </a:lnTo>
                  <a:lnTo>
                    <a:pt x="10242" y="41641"/>
                  </a:lnTo>
                  <a:lnTo>
                    <a:pt x="12045" y="39949"/>
                  </a:lnTo>
                  <a:lnTo>
                    <a:pt x="11199" y="39608"/>
                  </a:lnTo>
                  <a:lnTo>
                    <a:pt x="9284" y="39654"/>
                  </a:lnTo>
                  <a:lnTo>
                    <a:pt x="9413" y="38344"/>
                  </a:lnTo>
                  <a:lnTo>
                    <a:pt x="10310" y="37713"/>
                  </a:lnTo>
                  <a:lnTo>
                    <a:pt x="11181" y="36286"/>
                  </a:lnTo>
                  <a:lnTo>
                    <a:pt x="10160" y="35670"/>
                  </a:lnTo>
                  <a:lnTo>
                    <a:pt x="9366" y="34731"/>
                  </a:lnTo>
                  <a:lnTo>
                    <a:pt x="9414" y="32269"/>
                  </a:lnTo>
                  <a:lnTo>
                    <a:pt x="9636" y="31266"/>
                  </a:lnTo>
                  <a:lnTo>
                    <a:pt x="9379" y="30187"/>
                  </a:lnTo>
                  <a:lnTo>
                    <a:pt x="5481" y="31647"/>
                  </a:lnTo>
                  <a:lnTo>
                    <a:pt x="4479" y="31428"/>
                  </a:lnTo>
                  <a:lnTo>
                    <a:pt x="4436" y="29599"/>
                  </a:lnTo>
                  <a:lnTo>
                    <a:pt x="6599" y="26810"/>
                  </a:lnTo>
                  <a:lnTo>
                    <a:pt x="6821" y="25958"/>
                  </a:lnTo>
                  <a:lnTo>
                    <a:pt x="4291" y="25545"/>
                  </a:lnTo>
                  <a:lnTo>
                    <a:pt x="2398" y="24174"/>
                  </a:lnTo>
                  <a:lnTo>
                    <a:pt x="1243" y="22949"/>
                  </a:lnTo>
                  <a:lnTo>
                    <a:pt x="10" y="21184"/>
                  </a:lnTo>
                  <a:lnTo>
                    <a:pt x="0" y="19606"/>
                  </a:lnTo>
                  <a:lnTo>
                    <a:pt x="1273" y="15897"/>
                  </a:lnTo>
                  <a:lnTo>
                    <a:pt x="3098" y="14818"/>
                  </a:lnTo>
                  <a:lnTo>
                    <a:pt x="4669" y="14154"/>
                  </a:lnTo>
                  <a:lnTo>
                    <a:pt x="8004" y="11588"/>
                  </a:lnTo>
                  <a:lnTo>
                    <a:pt x="12605" y="12067"/>
                  </a:lnTo>
                  <a:lnTo>
                    <a:pt x="15448" y="11517"/>
                  </a:lnTo>
                  <a:lnTo>
                    <a:pt x="18001" y="10206"/>
                  </a:lnTo>
                  <a:lnTo>
                    <a:pt x="19463" y="9910"/>
                  </a:lnTo>
                  <a:lnTo>
                    <a:pt x="21819" y="8764"/>
                  </a:lnTo>
                  <a:lnTo>
                    <a:pt x="21745" y="7216"/>
                  </a:lnTo>
                  <a:lnTo>
                    <a:pt x="20936" y="6066"/>
                  </a:lnTo>
                  <a:lnTo>
                    <a:pt x="21646" y="4981"/>
                  </a:lnTo>
                  <a:lnTo>
                    <a:pt x="24290" y="3656"/>
                  </a:lnTo>
                  <a:lnTo>
                    <a:pt x="27219" y="1894"/>
                  </a:lnTo>
                  <a:lnTo>
                    <a:pt x="30580" y="1554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ee4p_EE_1_37764">
              <a:extLst>
                <a:ext uri="{FF2B5EF4-FFF2-40B4-BE49-F238E27FC236}">
                  <a16:creationId xmlns:a16="http://schemas.microsoft.com/office/drawing/2014/main" id="{2F161BF5-5BE5-41A6-9C8E-423AB12C1DD1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12969049" y="6483408"/>
              <a:ext cx="1310597" cy="643500"/>
            </a:xfrm>
            <a:custGeom>
              <a:avLst/>
              <a:gdLst>
                <a:gd name="connsiteX0" fmla="*/ 15312 w 139231"/>
                <a:gd name="connsiteY0" fmla="*/ 32990 h 68362"/>
                <a:gd name="connsiteX1" fmla="*/ 16869 w 139231"/>
                <a:gd name="connsiteY1" fmla="*/ 33189 h 68362"/>
                <a:gd name="connsiteX2" fmla="*/ 18439 w 139231"/>
                <a:gd name="connsiteY2" fmla="*/ 33973 h 68362"/>
                <a:gd name="connsiteX3" fmla="*/ 19886 w 139231"/>
                <a:gd name="connsiteY3" fmla="*/ 33725 h 68362"/>
                <a:gd name="connsiteX4" fmla="*/ 21352 w 139231"/>
                <a:gd name="connsiteY4" fmla="*/ 33180 h 68362"/>
                <a:gd name="connsiteX5" fmla="*/ 24539 w 139231"/>
                <a:gd name="connsiteY5" fmla="*/ 33692 h 68362"/>
                <a:gd name="connsiteX6" fmla="*/ 31805 w 139231"/>
                <a:gd name="connsiteY6" fmla="*/ 37642 h 68362"/>
                <a:gd name="connsiteX7" fmla="*/ 32477 w 139231"/>
                <a:gd name="connsiteY7" fmla="*/ 38697 h 68362"/>
                <a:gd name="connsiteX8" fmla="*/ 28141 w 139231"/>
                <a:gd name="connsiteY8" fmla="*/ 39176 h 68362"/>
                <a:gd name="connsiteX9" fmla="*/ 27156 w 139231"/>
                <a:gd name="connsiteY9" fmla="*/ 40385 h 68362"/>
                <a:gd name="connsiteX10" fmla="*/ 26114 w 139231"/>
                <a:gd name="connsiteY10" fmla="*/ 41230 h 68362"/>
                <a:gd name="connsiteX11" fmla="*/ 24885 w 139231"/>
                <a:gd name="connsiteY11" fmla="*/ 41502 h 68362"/>
                <a:gd name="connsiteX12" fmla="*/ 22790 w 139231"/>
                <a:gd name="connsiteY12" fmla="*/ 43197 h 68362"/>
                <a:gd name="connsiteX13" fmla="*/ 19957 w 139231"/>
                <a:gd name="connsiteY13" fmla="*/ 44819 h 68362"/>
                <a:gd name="connsiteX14" fmla="*/ 19365 w 139231"/>
                <a:gd name="connsiteY14" fmla="*/ 45792 h 68362"/>
                <a:gd name="connsiteX15" fmla="*/ 14239 w 139231"/>
                <a:gd name="connsiteY15" fmla="*/ 45613 h 68362"/>
                <a:gd name="connsiteX16" fmla="*/ 11436 w 139231"/>
                <a:gd name="connsiteY16" fmla="*/ 46227 h 68362"/>
                <a:gd name="connsiteX17" fmla="*/ 9173 w 139231"/>
                <a:gd name="connsiteY17" fmla="*/ 48040 h 68362"/>
                <a:gd name="connsiteX18" fmla="*/ 8244 w 139231"/>
                <a:gd name="connsiteY18" fmla="*/ 51538 h 68362"/>
                <a:gd name="connsiteX19" fmla="*/ 6588 w 139231"/>
                <a:gd name="connsiteY19" fmla="*/ 54265 h 68362"/>
                <a:gd name="connsiteX20" fmla="*/ 4904 w 139231"/>
                <a:gd name="connsiteY20" fmla="*/ 55250 h 68362"/>
                <a:gd name="connsiteX21" fmla="*/ 3148 w 139231"/>
                <a:gd name="connsiteY21" fmla="*/ 55400 h 68362"/>
                <a:gd name="connsiteX22" fmla="*/ 2732 w 139231"/>
                <a:gd name="connsiteY22" fmla="*/ 54377 h 68362"/>
                <a:gd name="connsiteX23" fmla="*/ 2898 w 139231"/>
                <a:gd name="connsiteY23" fmla="*/ 53355 h 68362"/>
                <a:gd name="connsiteX24" fmla="*/ 6599 w 139231"/>
                <a:gd name="connsiteY24" fmla="*/ 49499 h 68362"/>
                <a:gd name="connsiteX25" fmla="*/ 7368 w 139231"/>
                <a:gd name="connsiteY25" fmla="*/ 48246 h 68362"/>
                <a:gd name="connsiteX26" fmla="*/ 5526 w 139231"/>
                <a:gd name="connsiteY26" fmla="*/ 47689 h 68362"/>
                <a:gd name="connsiteX27" fmla="*/ 3982 w 139231"/>
                <a:gd name="connsiteY27" fmla="*/ 46348 h 68362"/>
                <a:gd name="connsiteX28" fmla="*/ 611 w 139231"/>
                <a:gd name="connsiteY28" fmla="*/ 44772 h 68362"/>
                <a:gd name="connsiteX29" fmla="*/ 0 w 139231"/>
                <a:gd name="connsiteY29" fmla="*/ 43506 h 68362"/>
                <a:gd name="connsiteX30" fmla="*/ 808 w 139231"/>
                <a:gd name="connsiteY30" fmla="*/ 43412 h 68362"/>
                <a:gd name="connsiteX31" fmla="*/ 1546 w 139231"/>
                <a:gd name="connsiteY31" fmla="*/ 43049 h 68362"/>
                <a:gd name="connsiteX32" fmla="*/ 2444 w 139231"/>
                <a:gd name="connsiteY32" fmla="*/ 41987 h 68362"/>
                <a:gd name="connsiteX33" fmla="*/ 2865 w 139231"/>
                <a:gd name="connsiteY33" fmla="*/ 40767 h 68362"/>
                <a:gd name="connsiteX34" fmla="*/ 173 w 139231"/>
                <a:gd name="connsiteY34" fmla="*/ 37200 h 68362"/>
                <a:gd name="connsiteX35" fmla="*/ 1546 w 139231"/>
                <a:gd name="connsiteY35" fmla="*/ 36648 h 68362"/>
                <a:gd name="connsiteX36" fmla="*/ 3258 w 139231"/>
                <a:gd name="connsiteY36" fmla="*/ 36778 h 68362"/>
                <a:gd name="connsiteX37" fmla="*/ 5016 w 139231"/>
                <a:gd name="connsiteY37" fmla="*/ 37815 h 68362"/>
                <a:gd name="connsiteX38" fmla="*/ 6945 w 139231"/>
                <a:gd name="connsiteY38" fmla="*/ 36598 h 68362"/>
                <a:gd name="connsiteX39" fmla="*/ 7763 w 139231"/>
                <a:gd name="connsiteY39" fmla="*/ 36418 h 68362"/>
                <a:gd name="connsiteX40" fmla="*/ 9113 w 139231"/>
                <a:gd name="connsiteY40" fmla="*/ 36852 h 68362"/>
                <a:gd name="connsiteX41" fmla="*/ 10473 w 139231"/>
                <a:gd name="connsiteY41" fmla="*/ 34496 h 68362"/>
                <a:gd name="connsiteX42" fmla="*/ 13708 w 139231"/>
                <a:gd name="connsiteY42" fmla="*/ 33718 h 68362"/>
                <a:gd name="connsiteX43" fmla="*/ 28987 w 139231"/>
                <a:gd name="connsiteY43" fmla="*/ 31348 h 68362"/>
                <a:gd name="connsiteX44" fmla="*/ 32689 w 139231"/>
                <a:gd name="connsiteY44" fmla="*/ 32304 h 68362"/>
                <a:gd name="connsiteX45" fmla="*/ 33211 w 139231"/>
                <a:gd name="connsiteY45" fmla="*/ 34668 h 68362"/>
                <a:gd name="connsiteX46" fmla="*/ 32926 w 139231"/>
                <a:gd name="connsiteY46" fmla="*/ 35482 h 68362"/>
                <a:gd name="connsiteX47" fmla="*/ 31086 w 139231"/>
                <a:gd name="connsiteY47" fmla="*/ 35817 h 68362"/>
                <a:gd name="connsiteX48" fmla="*/ 26733 w 139231"/>
                <a:gd name="connsiteY48" fmla="*/ 33518 h 68362"/>
                <a:gd name="connsiteX49" fmla="*/ 27742 w 139231"/>
                <a:gd name="connsiteY49" fmla="*/ 31960 h 68362"/>
                <a:gd name="connsiteX50" fmla="*/ 17577 w 139231"/>
                <a:gd name="connsiteY50" fmla="*/ 18061 h 68362"/>
                <a:gd name="connsiteX51" fmla="*/ 18746 w 139231"/>
                <a:gd name="connsiteY51" fmla="*/ 18475 h 68362"/>
                <a:gd name="connsiteX52" fmla="*/ 18966 w 139231"/>
                <a:gd name="connsiteY52" fmla="*/ 19857 h 68362"/>
                <a:gd name="connsiteX53" fmla="*/ 19260 w 139231"/>
                <a:gd name="connsiteY53" fmla="*/ 20406 h 68362"/>
                <a:gd name="connsiteX54" fmla="*/ 23337 w 139231"/>
                <a:gd name="connsiteY54" fmla="*/ 21184 h 68362"/>
                <a:gd name="connsiteX55" fmla="*/ 24924 w 139231"/>
                <a:gd name="connsiteY55" fmla="*/ 23505 h 68362"/>
                <a:gd name="connsiteX56" fmla="*/ 25522 w 139231"/>
                <a:gd name="connsiteY56" fmla="*/ 26295 h 68362"/>
                <a:gd name="connsiteX57" fmla="*/ 23643 w 139231"/>
                <a:gd name="connsiteY57" fmla="*/ 26524 h 68362"/>
                <a:gd name="connsiteX58" fmla="*/ 21829 w 139231"/>
                <a:gd name="connsiteY58" fmla="*/ 28128 h 68362"/>
                <a:gd name="connsiteX59" fmla="*/ 20749 w 139231"/>
                <a:gd name="connsiteY59" fmla="*/ 27487 h 68362"/>
                <a:gd name="connsiteX60" fmla="*/ 20184 w 139231"/>
                <a:gd name="connsiteY60" fmla="*/ 26718 h 68362"/>
                <a:gd name="connsiteX61" fmla="*/ 17843 w 139231"/>
                <a:gd name="connsiteY61" fmla="*/ 30342 h 68362"/>
                <a:gd name="connsiteX62" fmla="*/ 15206 w 139231"/>
                <a:gd name="connsiteY62" fmla="*/ 30963 h 68362"/>
                <a:gd name="connsiteX63" fmla="*/ 13669 w 139231"/>
                <a:gd name="connsiteY63" fmla="*/ 30248 h 68362"/>
                <a:gd name="connsiteX64" fmla="*/ 13807 w 139231"/>
                <a:gd name="connsiteY64" fmla="*/ 28895 h 68362"/>
                <a:gd name="connsiteX65" fmla="*/ 12306 w 139231"/>
                <a:gd name="connsiteY65" fmla="*/ 25339 h 68362"/>
                <a:gd name="connsiteX66" fmla="*/ 10015 w 139231"/>
                <a:gd name="connsiteY66" fmla="*/ 24297 h 68362"/>
                <a:gd name="connsiteX67" fmla="*/ 6798 w 139231"/>
                <a:gd name="connsiteY67" fmla="*/ 24199 h 68362"/>
                <a:gd name="connsiteX68" fmla="*/ 4461 w 139231"/>
                <a:gd name="connsiteY68" fmla="*/ 22732 h 68362"/>
                <a:gd name="connsiteX69" fmla="*/ 13446 w 139231"/>
                <a:gd name="connsiteY69" fmla="*/ 21733 h 68362"/>
                <a:gd name="connsiteX70" fmla="*/ 14375 w 139231"/>
                <a:gd name="connsiteY70" fmla="*/ 20036 h 68362"/>
                <a:gd name="connsiteX71" fmla="*/ 16202 w 139231"/>
                <a:gd name="connsiteY71" fmla="*/ 18254 h 68362"/>
                <a:gd name="connsiteX72" fmla="*/ 80815 w 139231"/>
                <a:gd name="connsiteY72" fmla="*/ 0 h 68362"/>
                <a:gd name="connsiteX73" fmla="*/ 83169 w 139231"/>
                <a:gd name="connsiteY73" fmla="*/ 377 h 68362"/>
                <a:gd name="connsiteX74" fmla="*/ 87105 w 139231"/>
                <a:gd name="connsiteY74" fmla="*/ 143 h 68362"/>
                <a:gd name="connsiteX75" fmla="*/ 101856 w 139231"/>
                <a:gd name="connsiteY75" fmla="*/ 2795 h 68362"/>
                <a:gd name="connsiteX76" fmla="*/ 105486 w 139231"/>
                <a:gd name="connsiteY76" fmla="*/ 2795 h 68362"/>
                <a:gd name="connsiteX77" fmla="*/ 110506 w 139231"/>
                <a:gd name="connsiteY77" fmla="*/ 5489 h 68362"/>
                <a:gd name="connsiteX78" fmla="*/ 113219 w 139231"/>
                <a:gd name="connsiteY78" fmla="*/ 6182 h 68362"/>
                <a:gd name="connsiteX79" fmla="*/ 121204 w 139231"/>
                <a:gd name="connsiteY79" fmla="*/ 6187 h 68362"/>
                <a:gd name="connsiteX80" fmla="*/ 133515 w 139231"/>
                <a:gd name="connsiteY80" fmla="*/ 7375 h 68362"/>
                <a:gd name="connsiteX81" fmla="*/ 135931 w 139231"/>
                <a:gd name="connsiteY81" fmla="*/ 5553 h 68362"/>
                <a:gd name="connsiteX82" fmla="*/ 136166 w 139231"/>
                <a:gd name="connsiteY82" fmla="*/ 5079 h 68362"/>
                <a:gd name="connsiteX83" fmla="*/ 137345 w 139231"/>
                <a:gd name="connsiteY83" fmla="*/ 6099 h 68362"/>
                <a:gd name="connsiteX84" fmla="*/ 138831 w 139231"/>
                <a:gd name="connsiteY84" fmla="*/ 7740 h 68362"/>
                <a:gd name="connsiteX85" fmla="*/ 139231 w 139231"/>
                <a:gd name="connsiteY85" fmla="*/ 8678 h 68362"/>
                <a:gd name="connsiteX86" fmla="*/ 138728 w 139231"/>
                <a:gd name="connsiteY86" fmla="*/ 9229 h 68362"/>
                <a:gd name="connsiteX87" fmla="*/ 137246 w 139231"/>
                <a:gd name="connsiteY87" fmla="*/ 9697 h 68362"/>
                <a:gd name="connsiteX88" fmla="*/ 136909 w 139231"/>
                <a:gd name="connsiteY88" fmla="*/ 10202 h 68362"/>
                <a:gd name="connsiteX89" fmla="*/ 136253 w 139231"/>
                <a:gd name="connsiteY89" fmla="*/ 11056 h 68362"/>
                <a:gd name="connsiteX90" fmla="*/ 134523 w 139231"/>
                <a:gd name="connsiteY90" fmla="*/ 11210 h 68362"/>
                <a:gd name="connsiteX91" fmla="*/ 133627 w 139231"/>
                <a:gd name="connsiteY91" fmla="*/ 11843 h 68362"/>
                <a:gd name="connsiteX92" fmla="*/ 132562 w 139231"/>
                <a:gd name="connsiteY92" fmla="*/ 14618 h 68362"/>
                <a:gd name="connsiteX93" fmla="*/ 130530 w 139231"/>
                <a:gd name="connsiteY93" fmla="*/ 19205 h 68362"/>
                <a:gd name="connsiteX94" fmla="*/ 127527 w 139231"/>
                <a:gd name="connsiteY94" fmla="*/ 22688 h 68362"/>
                <a:gd name="connsiteX95" fmla="*/ 125123 w 139231"/>
                <a:gd name="connsiteY95" fmla="*/ 24595 h 68362"/>
                <a:gd name="connsiteX96" fmla="*/ 124048 w 139231"/>
                <a:gd name="connsiteY96" fmla="*/ 26056 h 68362"/>
                <a:gd name="connsiteX97" fmla="*/ 123378 w 139231"/>
                <a:gd name="connsiteY97" fmla="*/ 27810 h 68362"/>
                <a:gd name="connsiteX98" fmla="*/ 123221 w 139231"/>
                <a:gd name="connsiteY98" fmla="*/ 29568 h 68362"/>
                <a:gd name="connsiteX99" fmla="*/ 125527 w 139231"/>
                <a:gd name="connsiteY99" fmla="*/ 39200 h 68362"/>
                <a:gd name="connsiteX100" fmla="*/ 125499 w 139231"/>
                <a:gd name="connsiteY100" fmla="*/ 40934 h 68362"/>
                <a:gd name="connsiteX101" fmla="*/ 124957 w 139231"/>
                <a:gd name="connsiteY101" fmla="*/ 42713 h 68362"/>
                <a:gd name="connsiteX102" fmla="*/ 124564 w 139231"/>
                <a:gd name="connsiteY102" fmla="*/ 44524 h 68362"/>
                <a:gd name="connsiteX103" fmla="*/ 124888 w 139231"/>
                <a:gd name="connsiteY103" fmla="*/ 46092 h 68362"/>
                <a:gd name="connsiteX104" fmla="*/ 126406 w 139231"/>
                <a:gd name="connsiteY104" fmla="*/ 48768 h 68362"/>
                <a:gd name="connsiteX105" fmla="*/ 128021 w 139231"/>
                <a:gd name="connsiteY105" fmla="*/ 52754 h 68362"/>
                <a:gd name="connsiteX106" fmla="*/ 128669 w 139231"/>
                <a:gd name="connsiteY106" fmla="*/ 55296 h 68362"/>
                <a:gd name="connsiteX107" fmla="*/ 129742 w 139231"/>
                <a:gd name="connsiteY107" fmla="*/ 56229 h 68362"/>
                <a:gd name="connsiteX108" fmla="*/ 130776 w 139231"/>
                <a:gd name="connsiteY108" fmla="*/ 56912 h 68362"/>
                <a:gd name="connsiteX109" fmla="*/ 130993 w 139231"/>
                <a:gd name="connsiteY109" fmla="*/ 57342 h 68362"/>
                <a:gd name="connsiteX110" fmla="*/ 130958 w 139231"/>
                <a:gd name="connsiteY110" fmla="*/ 57789 h 68362"/>
                <a:gd name="connsiteX111" fmla="*/ 130425 w 139231"/>
                <a:gd name="connsiteY111" fmla="*/ 58292 h 68362"/>
                <a:gd name="connsiteX112" fmla="*/ 125765 w 139231"/>
                <a:gd name="connsiteY112" fmla="*/ 59622 h 68362"/>
                <a:gd name="connsiteX113" fmla="*/ 125160 w 139231"/>
                <a:gd name="connsiteY113" fmla="*/ 60748 h 68362"/>
                <a:gd name="connsiteX114" fmla="*/ 124657 w 139231"/>
                <a:gd name="connsiteY114" fmla="*/ 62002 h 68362"/>
                <a:gd name="connsiteX115" fmla="*/ 122623 w 139231"/>
                <a:gd name="connsiteY115" fmla="*/ 63858 h 68362"/>
                <a:gd name="connsiteX116" fmla="*/ 121999 w 139231"/>
                <a:gd name="connsiteY116" fmla="*/ 65588 h 68362"/>
                <a:gd name="connsiteX117" fmla="*/ 121612 w 139231"/>
                <a:gd name="connsiteY117" fmla="*/ 67573 h 68362"/>
                <a:gd name="connsiteX118" fmla="*/ 121560 w 139231"/>
                <a:gd name="connsiteY118" fmla="*/ 68279 h 68362"/>
                <a:gd name="connsiteX119" fmla="*/ 120999 w 139231"/>
                <a:gd name="connsiteY119" fmla="*/ 68362 h 68362"/>
                <a:gd name="connsiteX120" fmla="*/ 117915 w 139231"/>
                <a:gd name="connsiteY120" fmla="*/ 67954 h 68362"/>
                <a:gd name="connsiteX121" fmla="*/ 114517 w 139231"/>
                <a:gd name="connsiteY121" fmla="*/ 66666 h 68362"/>
                <a:gd name="connsiteX122" fmla="*/ 113026 w 139231"/>
                <a:gd name="connsiteY122" fmla="*/ 65698 h 68362"/>
                <a:gd name="connsiteX123" fmla="*/ 111563 w 139231"/>
                <a:gd name="connsiteY123" fmla="*/ 65708 h 68362"/>
                <a:gd name="connsiteX124" fmla="*/ 109792 w 139231"/>
                <a:gd name="connsiteY124" fmla="*/ 66348 h 68362"/>
                <a:gd name="connsiteX125" fmla="*/ 103443 w 139231"/>
                <a:gd name="connsiteY125" fmla="*/ 68187 h 68362"/>
                <a:gd name="connsiteX126" fmla="*/ 101884 w 139231"/>
                <a:gd name="connsiteY126" fmla="*/ 67758 h 68362"/>
                <a:gd name="connsiteX127" fmla="*/ 98256 w 139231"/>
                <a:gd name="connsiteY127" fmla="*/ 65954 h 68362"/>
                <a:gd name="connsiteX128" fmla="*/ 96421 w 139231"/>
                <a:gd name="connsiteY128" fmla="*/ 63988 h 68362"/>
                <a:gd name="connsiteX129" fmla="*/ 92337 w 139231"/>
                <a:gd name="connsiteY129" fmla="*/ 60066 h 68362"/>
                <a:gd name="connsiteX130" fmla="*/ 92003 w 139231"/>
                <a:gd name="connsiteY130" fmla="*/ 59132 h 68362"/>
                <a:gd name="connsiteX131" fmla="*/ 91469 w 139231"/>
                <a:gd name="connsiteY131" fmla="*/ 58383 h 68362"/>
                <a:gd name="connsiteX132" fmla="*/ 87105 w 139231"/>
                <a:gd name="connsiteY132" fmla="*/ 57411 h 68362"/>
                <a:gd name="connsiteX133" fmla="*/ 85494 w 139231"/>
                <a:gd name="connsiteY133" fmla="*/ 55962 h 68362"/>
                <a:gd name="connsiteX134" fmla="*/ 84151 w 139231"/>
                <a:gd name="connsiteY134" fmla="*/ 55759 h 68362"/>
                <a:gd name="connsiteX135" fmla="*/ 82186 w 139231"/>
                <a:gd name="connsiteY135" fmla="*/ 55035 h 68362"/>
                <a:gd name="connsiteX136" fmla="*/ 77073 w 139231"/>
                <a:gd name="connsiteY136" fmla="*/ 51935 h 68362"/>
                <a:gd name="connsiteX137" fmla="*/ 75803 w 139231"/>
                <a:gd name="connsiteY137" fmla="*/ 51645 h 68362"/>
                <a:gd name="connsiteX138" fmla="*/ 75494 w 139231"/>
                <a:gd name="connsiteY138" fmla="*/ 52167 h 68362"/>
                <a:gd name="connsiteX139" fmla="*/ 75583 w 139231"/>
                <a:gd name="connsiteY139" fmla="*/ 52900 h 68362"/>
                <a:gd name="connsiteX140" fmla="*/ 75265 w 139231"/>
                <a:gd name="connsiteY140" fmla="*/ 53324 h 68362"/>
                <a:gd name="connsiteX141" fmla="*/ 74611 w 139231"/>
                <a:gd name="connsiteY141" fmla="*/ 53310 h 68362"/>
                <a:gd name="connsiteX142" fmla="*/ 73428 w 139231"/>
                <a:gd name="connsiteY142" fmla="*/ 52170 h 68362"/>
                <a:gd name="connsiteX143" fmla="*/ 72009 w 139231"/>
                <a:gd name="connsiteY143" fmla="*/ 51166 h 68362"/>
                <a:gd name="connsiteX144" fmla="*/ 67593 w 139231"/>
                <a:gd name="connsiteY144" fmla="*/ 53053 h 68362"/>
                <a:gd name="connsiteX145" fmla="*/ 65995 w 139231"/>
                <a:gd name="connsiteY145" fmla="*/ 53562 h 68362"/>
                <a:gd name="connsiteX146" fmla="*/ 64596 w 139231"/>
                <a:gd name="connsiteY146" fmla="*/ 53673 h 68362"/>
                <a:gd name="connsiteX147" fmla="*/ 57589 w 139231"/>
                <a:gd name="connsiteY147" fmla="*/ 56153 h 68362"/>
                <a:gd name="connsiteX148" fmla="*/ 55457 w 139231"/>
                <a:gd name="connsiteY148" fmla="*/ 57488 h 68362"/>
                <a:gd name="connsiteX149" fmla="*/ 54574 w 139231"/>
                <a:gd name="connsiteY149" fmla="*/ 57345 h 68362"/>
                <a:gd name="connsiteX150" fmla="*/ 54783 w 139231"/>
                <a:gd name="connsiteY150" fmla="*/ 56092 h 68362"/>
                <a:gd name="connsiteX151" fmla="*/ 57699 w 139231"/>
                <a:gd name="connsiteY151" fmla="*/ 49800 h 68362"/>
                <a:gd name="connsiteX152" fmla="*/ 58221 w 139231"/>
                <a:gd name="connsiteY152" fmla="*/ 44795 h 68362"/>
                <a:gd name="connsiteX153" fmla="*/ 59288 w 139231"/>
                <a:gd name="connsiteY153" fmla="*/ 44107 h 68362"/>
                <a:gd name="connsiteX154" fmla="*/ 59597 w 139231"/>
                <a:gd name="connsiteY154" fmla="*/ 43412 h 68362"/>
                <a:gd name="connsiteX155" fmla="*/ 59141 w 139231"/>
                <a:gd name="connsiteY155" fmla="*/ 41812 h 68362"/>
                <a:gd name="connsiteX156" fmla="*/ 56114 w 139231"/>
                <a:gd name="connsiteY156" fmla="*/ 40786 h 68362"/>
                <a:gd name="connsiteX157" fmla="*/ 54892 w 139231"/>
                <a:gd name="connsiteY157" fmla="*/ 40937 h 68362"/>
                <a:gd name="connsiteX158" fmla="*/ 53792 w 139231"/>
                <a:gd name="connsiteY158" fmla="*/ 42657 h 68362"/>
                <a:gd name="connsiteX159" fmla="*/ 52652 w 139231"/>
                <a:gd name="connsiteY159" fmla="*/ 43896 h 68362"/>
                <a:gd name="connsiteX160" fmla="*/ 49981 w 139231"/>
                <a:gd name="connsiteY160" fmla="*/ 44651 h 68362"/>
                <a:gd name="connsiteX161" fmla="*/ 47684 w 139231"/>
                <a:gd name="connsiteY161" fmla="*/ 43346 h 68362"/>
                <a:gd name="connsiteX162" fmla="*/ 42302 w 139231"/>
                <a:gd name="connsiteY162" fmla="*/ 41600 h 68362"/>
                <a:gd name="connsiteX163" fmla="*/ 40942 w 139231"/>
                <a:gd name="connsiteY163" fmla="*/ 39272 h 68362"/>
                <a:gd name="connsiteX164" fmla="*/ 40620 w 139231"/>
                <a:gd name="connsiteY164" fmla="*/ 36928 h 68362"/>
                <a:gd name="connsiteX165" fmla="*/ 37774 w 139231"/>
                <a:gd name="connsiteY165" fmla="*/ 34658 h 68362"/>
                <a:gd name="connsiteX166" fmla="*/ 36591 w 139231"/>
                <a:gd name="connsiteY166" fmla="*/ 31982 h 68362"/>
                <a:gd name="connsiteX167" fmla="*/ 37064 w 139231"/>
                <a:gd name="connsiteY167" fmla="*/ 30112 h 68362"/>
                <a:gd name="connsiteX168" fmla="*/ 39646 w 139231"/>
                <a:gd name="connsiteY168" fmla="*/ 28884 h 68362"/>
                <a:gd name="connsiteX169" fmla="*/ 40383 w 139231"/>
                <a:gd name="connsiteY169" fmla="*/ 27813 h 68362"/>
                <a:gd name="connsiteX170" fmla="*/ 37128 w 139231"/>
                <a:gd name="connsiteY170" fmla="*/ 27983 h 68362"/>
                <a:gd name="connsiteX171" fmla="*/ 36466 w 139231"/>
                <a:gd name="connsiteY171" fmla="*/ 27726 h 68362"/>
                <a:gd name="connsiteX172" fmla="*/ 36323 w 139231"/>
                <a:gd name="connsiteY172" fmla="*/ 26763 h 68362"/>
                <a:gd name="connsiteX173" fmla="*/ 34883 w 139231"/>
                <a:gd name="connsiteY173" fmla="*/ 23478 h 68362"/>
                <a:gd name="connsiteX174" fmla="*/ 36157 w 139231"/>
                <a:gd name="connsiteY174" fmla="*/ 22183 h 68362"/>
                <a:gd name="connsiteX175" fmla="*/ 36718 w 139231"/>
                <a:gd name="connsiteY175" fmla="*/ 20923 h 68362"/>
                <a:gd name="connsiteX176" fmla="*/ 35673 w 139231"/>
                <a:gd name="connsiteY176" fmla="*/ 19850 h 68362"/>
                <a:gd name="connsiteX177" fmla="*/ 35947 w 139231"/>
                <a:gd name="connsiteY177" fmla="*/ 18629 h 68362"/>
                <a:gd name="connsiteX178" fmla="*/ 36761 w 139231"/>
                <a:gd name="connsiteY178" fmla="*/ 17394 h 68362"/>
                <a:gd name="connsiteX179" fmla="*/ 36262 w 139231"/>
                <a:gd name="connsiteY179" fmla="*/ 14521 h 68362"/>
                <a:gd name="connsiteX180" fmla="*/ 39493 w 139231"/>
                <a:gd name="connsiteY180" fmla="*/ 12997 h 68362"/>
                <a:gd name="connsiteX181" fmla="*/ 42633 w 139231"/>
                <a:gd name="connsiteY181" fmla="*/ 11924 h 68362"/>
                <a:gd name="connsiteX182" fmla="*/ 49286 w 139231"/>
                <a:gd name="connsiteY182" fmla="*/ 11377 h 68362"/>
                <a:gd name="connsiteX183" fmla="*/ 48627 w 139231"/>
                <a:gd name="connsiteY183" fmla="*/ 8747 h 68362"/>
                <a:gd name="connsiteX184" fmla="*/ 51320 w 139231"/>
                <a:gd name="connsiteY184" fmla="*/ 8628 h 68362"/>
                <a:gd name="connsiteX185" fmla="*/ 55852 w 139231"/>
                <a:gd name="connsiteY185" fmla="*/ 5460 h 68362"/>
                <a:gd name="connsiteX186" fmla="*/ 60346 w 139231"/>
                <a:gd name="connsiteY186" fmla="*/ 6017 h 68362"/>
                <a:gd name="connsiteX187" fmla="*/ 66846 w 139231"/>
                <a:gd name="connsiteY187" fmla="*/ 3840 h 68362"/>
                <a:gd name="connsiteX188" fmla="*/ 79366 w 139231"/>
                <a:gd name="connsiteY188" fmla="*/ 3870 h 68362"/>
                <a:gd name="connsiteX189" fmla="*/ 81072 w 139231"/>
                <a:gd name="connsiteY189" fmla="*/ 2612 h 68362"/>
                <a:gd name="connsiteX190" fmla="*/ 80774 w 139231"/>
                <a:gd name="connsiteY190" fmla="*/ 1348 h 68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</a:cxnLst>
              <a:rect l="l" t="t" r="r" b="b"/>
              <a:pathLst>
                <a:path w="139231" h="68362">
                  <a:moveTo>
                    <a:pt x="15312" y="32990"/>
                  </a:moveTo>
                  <a:lnTo>
                    <a:pt x="16869" y="33189"/>
                  </a:lnTo>
                  <a:lnTo>
                    <a:pt x="18439" y="33973"/>
                  </a:lnTo>
                  <a:lnTo>
                    <a:pt x="19886" y="33725"/>
                  </a:lnTo>
                  <a:lnTo>
                    <a:pt x="21352" y="33180"/>
                  </a:lnTo>
                  <a:lnTo>
                    <a:pt x="24539" y="33692"/>
                  </a:lnTo>
                  <a:lnTo>
                    <a:pt x="31805" y="37642"/>
                  </a:lnTo>
                  <a:lnTo>
                    <a:pt x="32477" y="38697"/>
                  </a:lnTo>
                  <a:lnTo>
                    <a:pt x="28141" y="39176"/>
                  </a:lnTo>
                  <a:lnTo>
                    <a:pt x="27156" y="40385"/>
                  </a:lnTo>
                  <a:lnTo>
                    <a:pt x="26114" y="41230"/>
                  </a:lnTo>
                  <a:lnTo>
                    <a:pt x="24885" y="41502"/>
                  </a:lnTo>
                  <a:lnTo>
                    <a:pt x="22790" y="43197"/>
                  </a:lnTo>
                  <a:lnTo>
                    <a:pt x="19957" y="44819"/>
                  </a:lnTo>
                  <a:lnTo>
                    <a:pt x="19365" y="45792"/>
                  </a:lnTo>
                  <a:lnTo>
                    <a:pt x="14239" y="45613"/>
                  </a:lnTo>
                  <a:lnTo>
                    <a:pt x="11436" y="46227"/>
                  </a:lnTo>
                  <a:lnTo>
                    <a:pt x="9173" y="48040"/>
                  </a:lnTo>
                  <a:lnTo>
                    <a:pt x="8244" y="51538"/>
                  </a:lnTo>
                  <a:lnTo>
                    <a:pt x="6588" y="54265"/>
                  </a:lnTo>
                  <a:lnTo>
                    <a:pt x="4904" y="55250"/>
                  </a:lnTo>
                  <a:lnTo>
                    <a:pt x="3148" y="55400"/>
                  </a:lnTo>
                  <a:lnTo>
                    <a:pt x="2732" y="54377"/>
                  </a:lnTo>
                  <a:lnTo>
                    <a:pt x="2898" y="53355"/>
                  </a:lnTo>
                  <a:lnTo>
                    <a:pt x="6599" y="49499"/>
                  </a:lnTo>
                  <a:lnTo>
                    <a:pt x="7368" y="48246"/>
                  </a:lnTo>
                  <a:lnTo>
                    <a:pt x="5526" y="47689"/>
                  </a:lnTo>
                  <a:lnTo>
                    <a:pt x="3982" y="46348"/>
                  </a:lnTo>
                  <a:lnTo>
                    <a:pt x="611" y="44772"/>
                  </a:lnTo>
                  <a:lnTo>
                    <a:pt x="0" y="43506"/>
                  </a:lnTo>
                  <a:lnTo>
                    <a:pt x="808" y="43412"/>
                  </a:lnTo>
                  <a:lnTo>
                    <a:pt x="1546" y="43049"/>
                  </a:lnTo>
                  <a:lnTo>
                    <a:pt x="2444" y="41987"/>
                  </a:lnTo>
                  <a:lnTo>
                    <a:pt x="2865" y="40767"/>
                  </a:lnTo>
                  <a:lnTo>
                    <a:pt x="173" y="37200"/>
                  </a:lnTo>
                  <a:lnTo>
                    <a:pt x="1546" y="36648"/>
                  </a:lnTo>
                  <a:lnTo>
                    <a:pt x="3258" y="36778"/>
                  </a:lnTo>
                  <a:lnTo>
                    <a:pt x="5016" y="37815"/>
                  </a:lnTo>
                  <a:lnTo>
                    <a:pt x="6945" y="36598"/>
                  </a:lnTo>
                  <a:lnTo>
                    <a:pt x="7763" y="36418"/>
                  </a:lnTo>
                  <a:lnTo>
                    <a:pt x="9113" y="36852"/>
                  </a:lnTo>
                  <a:lnTo>
                    <a:pt x="10473" y="34496"/>
                  </a:lnTo>
                  <a:lnTo>
                    <a:pt x="13708" y="33718"/>
                  </a:lnTo>
                  <a:close/>
                  <a:moveTo>
                    <a:pt x="28987" y="31348"/>
                  </a:moveTo>
                  <a:lnTo>
                    <a:pt x="32689" y="32304"/>
                  </a:lnTo>
                  <a:lnTo>
                    <a:pt x="33211" y="34668"/>
                  </a:lnTo>
                  <a:lnTo>
                    <a:pt x="32926" y="35482"/>
                  </a:lnTo>
                  <a:lnTo>
                    <a:pt x="31086" y="35817"/>
                  </a:lnTo>
                  <a:lnTo>
                    <a:pt x="26733" y="33518"/>
                  </a:lnTo>
                  <a:lnTo>
                    <a:pt x="27742" y="31960"/>
                  </a:lnTo>
                  <a:close/>
                  <a:moveTo>
                    <a:pt x="17577" y="18061"/>
                  </a:moveTo>
                  <a:lnTo>
                    <a:pt x="18746" y="18475"/>
                  </a:lnTo>
                  <a:lnTo>
                    <a:pt x="18966" y="19857"/>
                  </a:lnTo>
                  <a:lnTo>
                    <a:pt x="19260" y="20406"/>
                  </a:lnTo>
                  <a:lnTo>
                    <a:pt x="23337" y="21184"/>
                  </a:lnTo>
                  <a:lnTo>
                    <a:pt x="24924" y="23505"/>
                  </a:lnTo>
                  <a:lnTo>
                    <a:pt x="25522" y="26295"/>
                  </a:lnTo>
                  <a:lnTo>
                    <a:pt x="23643" y="26524"/>
                  </a:lnTo>
                  <a:lnTo>
                    <a:pt x="21829" y="28128"/>
                  </a:lnTo>
                  <a:lnTo>
                    <a:pt x="20749" y="27487"/>
                  </a:lnTo>
                  <a:lnTo>
                    <a:pt x="20184" y="26718"/>
                  </a:lnTo>
                  <a:lnTo>
                    <a:pt x="17843" y="30342"/>
                  </a:lnTo>
                  <a:lnTo>
                    <a:pt x="15206" y="30963"/>
                  </a:lnTo>
                  <a:lnTo>
                    <a:pt x="13669" y="30248"/>
                  </a:lnTo>
                  <a:lnTo>
                    <a:pt x="13807" y="28895"/>
                  </a:lnTo>
                  <a:lnTo>
                    <a:pt x="12306" y="25339"/>
                  </a:lnTo>
                  <a:lnTo>
                    <a:pt x="10015" y="24297"/>
                  </a:lnTo>
                  <a:lnTo>
                    <a:pt x="6798" y="24199"/>
                  </a:lnTo>
                  <a:lnTo>
                    <a:pt x="4461" y="22732"/>
                  </a:lnTo>
                  <a:lnTo>
                    <a:pt x="13446" y="21733"/>
                  </a:lnTo>
                  <a:lnTo>
                    <a:pt x="14375" y="20036"/>
                  </a:lnTo>
                  <a:lnTo>
                    <a:pt x="16202" y="18254"/>
                  </a:lnTo>
                  <a:close/>
                  <a:moveTo>
                    <a:pt x="80815" y="0"/>
                  </a:moveTo>
                  <a:lnTo>
                    <a:pt x="83169" y="377"/>
                  </a:lnTo>
                  <a:lnTo>
                    <a:pt x="87105" y="143"/>
                  </a:lnTo>
                  <a:lnTo>
                    <a:pt x="101856" y="2795"/>
                  </a:lnTo>
                  <a:lnTo>
                    <a:pt x="105486" y="2795"/>
                  </a:lnTo>
                  <a:lnTo>
                    <a:pt x="110506" y="5489"/>
                  </a:lnTo>
                  <a:lnTo>
                    <a:pt x="113219" y="6182"/>
                  </a:lnTo>
                  <a:lnTo>
                    <a:pt x="121204" y="6187"/>
                  </a:lnTo>
                  <a:lnTo>
                    <a:pt x="133515" y="7375"/>
                  </a:lnTo>
                  <a:lnTo>
                    <a:pt x="135931" y="5553"/>
                  </a:lnTo>
                  <a:lnTo>
                    <a:pt x="136166" y="5079"/>
                  </a:lnTo>
                  <a:lnTo>
                    <a:pt x="137345" y="6099"/>
                  </a:lnTo>
                  <a:lnTo>
                    <a:pt x="138831" y="7740"/>
                  </a:lnTo>
                  <a:lnTo>
                    <a:pt x="139231" y="8678"/>
                  </a:lnTo>
                  <a:lnTo>
                    <a:pt x="138728" y="9229"/>
                  </a:lnTo>
                  <a:lnTo>
                    <a:pt x="137246" y="9697"/>
                  </a:lnTo>
                  <a:lnTo>
                    <a:pt x="136909" y="10202"/>
                  </a:lnTo>
                  <a:lnTo>
                    <a:pt x="136253" y="11056"/>
                  </a:lnTo>
                  <a:lnTo>
                    <a:pt x="134523" y="11210"/>
                  </a:lnTo>
                  <a:lnTo>
                    <a:pt x="133627" y="11843"/>
                  </a:lnTo>
                  <a:lnTo>
                    <a:pt x="132562" y="14618"/>
                  </a:lnTo>
                  <a:lnTo>
                    <a:pt x="130530" y="19205"/>
                  </a:lnTo>
                  <a:lnTo>
                    <a:pt x="127527" y="22688"/>
                  </a:lnTo>
                  <a:lnTo>
                    <a:pt x="125123" y="24595"/>
                  </a:lnTo>
                  <a:lnTo>
                    <a:pt x="124048" y="26056"/>
                  </a:lnTo>
                  <a:lnTo>
                    <a:pt x="123378" y="27810"/>
                  </a:lnTo>
                  <a:lnTo>
                    <a:pt x="123221" y="29568"/>
                  </a:lnTo>
                  <a:lnTo>
                    <a:pt x="125527" y="39200"/>
                  </a:lnTo>
                  <a:lnTo>
                    <a:pt x="125499" y="40934"/>
                  </a:lnTo>
                  <a:lnTo>
                    <a:pt x="124957" y="42713"/>
                  </a:lnTo>
                  <a:lnTo>
                    <a:pt x="124564" y="44524"/>
                  </a:lnTo>
                  <a:lnTo>
                    <a:pt x="124888" y="46092"/>
                  </a:lnTo>
                  <a:lnTo>
                    <a:pt x="126406" y="48768"/>
                  </a:lnTo>
                  <a:lnTo>
                    <a:pt x="128021" y="52754"/>
                  </a:lnTo>
                  <a:lnTo>
                    <a:pt x="128669" y="55296"/>
                  </a:lnTo>
                  <a:lnTo>
                    <a:pt x="129742" y="56229"/>
                  </a:lnTo>
                  <a:lnTo>
                    <a:pt x="130776" y="56912"/>
                  </a:lnTo>
                  <a:lnTo>
                    <a:pt x="130993" y="57342"/>
                  </a:lnTo>
                  <a:lnTo>
                    <a:pt x="130958" y="57789"/>
                  </a:lnTo>
                  <a:lnTo>
                    <a:pt x="130425" y="58292"/>
                  </a:lnTo>
                  <a:lnTo>
                    <a:pt x="125765" y="59622"/>
                  </a:lnTo>
                  <a:lnTo>
                    <a:pt x="125160" y="60748"/>
                  </a:lnTo>
                  <a:lnTo>
                    <a:pt x="124657" y="62002"/>
                  </a:lnTo>
                  <a:lnTo>
                    <a:pt x="122623" y="63858"/>
                  </a:lnTo>
                  <a:lnTo>
                    <a:pt x="121999" y="65588"/>
                  </a:lnTo>
                  <a:lnTo>
                    <a:pt x="121612" y="67573"/>
                  </a:lnTo>
                  <a:lnTo>
                    <a:pt x="121560" y="68279"/>
                  </a:lnTo>
                  <a:lnTo>
                    <a:pt x="120999" y="68362"/>
                  </a:lnTo>
                  <a:lnTo>
                    <a:pt x="117915" y="67954"/>
                  </a:lnTo>
                  <a:lnTo>
                    <a:pt x="114517" y="66666"/>
                  </a:lnTo>
                  <a:lnTo>
                    <a:pt x="113026" y="65698"/>
                  </a:lnTo>
                  <a:lnTo>
                    <a:pt x="111563" y="65708"/>
                  </a:lnTo>
                  <a:lnTo>
                    <a:pt x="109792" y="66348"/>
                  </a:lnTo>
                  <a:lnTo>
                    <a:pt x="103443" y="68187"/>
                  </a:lnTo>
                  <a:lnTo>
                    <a:pt x="101884" y="67758"/>
                  </a:lnTo>
                  <a:lnTo>
                    <a:pt x="98256" y="65954"/>
                  </a:lnTo>
                  <a:lnTo>
                    <a:pt x="96421" y="63988"/>
                  </a:lnTo>
                  <a:lnTo>
                    <a:pt x="92337" y="60066"/>
                  </a:lnTo>
                  <a:lnTo>
                    <a:pt x="92003" y="59132"/>
                  </a:lnTo>
                  <a:lnTo>
                    <a:pt x="91469" y="58383"/>
                  </a:lnTo>
                  <a:lnTo>
                    <a:pt x="87105" y="57411"/>
                  </a:lnTo>
                  <a:lnTo>
                    <a:pt x="85494" y="55962"/>
                  </a:lnTo>
                  <a:lnTo>
                    <a:pt x="84151" y="55759"/>
                  </a:lnTo>
                  <a:lnTo>
                    <a:pt x="82186" y="55035"/>
                  </a:lnTo>
                  <a:lnTo>
                    <a:pt x="77073" y="51935"/>
                  </a:lnTo>
                  <a:lnTo>
                    <a:pt x="75803" y="51645"/>
                  </a:lnTo>
                  <a:lnTo>
                    <a:pt x="75494" y="52167"/>
                  </a:lnTo>
                  <a:lnTo>
                    <a:pt x="75583" y="52900"/>
                  </a:lnTo>
                  <a:lnTo>
                    <a:pt x="75265" y="53324"/>
                  </a:lnTo>
                  <a:lnTo>
                    <a:pt x="74611" y="53310"/>
                  </a:lnTo>
                  <a:lnTo>
                    <a:pt x="73428" y="52170"/>
                  </a:lnTo>
                  <a:lnTo>
                    <a:pt x="72009" y="51166"/>
                  </a:lnTo>
                  <a:lnTo>
                    <a:pt x="67593" y="53053"/>
                  </a:lnTo>
                  <a:lnTo>
                    <a:pt x="65995" y="53562"/>
                  </a:lnTo>
                  <a:lnTo>
                    <a:pt x="64596" y="53673"/>
                  </a:lnTo>
                  <a:lnTo>
                    <a:pt x="57589" y="56153"/>
                  </a:lnTo>
                  <a:lnTo>
                    <a:pt x="55457" y="57488"/>
                  </a:lnTo>
                  <a:lnTo>
                    <a:pt x="54574" y="57345"/>
                  </a:lnTo>
                  <a:lnTo>
                    <a:pt x="54783" y="56092"/>
                  </a:lnTo>
                  <a:lnTo>
                    <a:pt x="57699" y="49800"/>
                  </a:lnTo>
                  <a:lnTo>
                    <a:pt x="58221" y="44795"/>
                  </a:lnTo>
                  <a:lnTo>
                    <a:pt x="59288" y="44107"/>
                  </a:lnTo>
                  <a:lnTo>
                    <a:pt x="59597" y="43412"/>
                  </a:lnTo>
                  <a:lnTo>
                    <a:pt x="59141" y="41812"/>
                  </a:lnTo>
                  <a:lnTo>
                    <a:pt x="56114" y="40786"/>
                  </a:lnTo>
                  <a:lnTo>
                    <a:pt x="54892" y="40937"/>
                  </a:lnTo>
                  <a:lnTo>
                    <a:pt x="53792" y="42657"/>
                  </a:lnTo>
                  <a:lnTo>
                    <a:pt x="52652" y="43896"/>
                  </a:lnTo>
                  <a:lnTo>
                    <a:pt x="49981" y="44651"/>
                  </a:lnTo>
                  <a:lnTo>
                    <a:pt x="47684" y="43346"/>
                  </a:lnTo>
                  <a:lnTo>
                    <a:pt x="42302" y="41600"/>
                  </a:lnTo>
                  <a:lnTo>
                    <a:pt x="40942" y="39272"/>
                  </a:lnTo>
                  <a:lnTo>
                    <a:pt x="40620" y="36928"/>
                  </a:lnTo>
                  <a:lnTo>
                    <a:pt x="37774" y="34658"/>
                  </a:lnTo>
                  <a:lnTo>
                    <a:pt x="36591" y="31982"/>
                  </a:lnTo>
                  <a:lnTo>
                    <a:pt x="37064" y="30112"/>
                  </a:lnTo>
                  <a:lnTo>
                    <a:pt x="39646" y="28884"/>
                  </a:lnTo>
                  <a:lnTo>
                    <a:pt x="40383" y="27813"/>
                  </a:lnTo>
                  <a:lnTo>
                    <a:pt x="37128" y="27983"/>
                  </a:lnTo>
                  <a:lnTo>
                    <a:pt x="36466" y="27726"/>
                  </a:lnTo>
                  <a:lnTo>
                    <a:pt x="36323" y="26763"/>
                  </a:lnTo>
                  <a:lnTo>
                    <a:pt x="34883" y="23478"/>
                  </a:lnTo>
                  <a:lnTo>
                    <a:pt x="36157" y="22183"/>
                  </a:lnTo>
                  <a:lnTo>
                    <a:pt x="36718" y="20923"/>
                  </a:lnTo>
                  <a:lnTo>
                    <a:pt x="35673" y="19850"/>
                  </a:lnTo>
                  <a:lnTo>
                    <a:pt x="35947" y="18629"/>
                  </a:lnTo>
                  <a:lnTo>
                    <a:pt x="36761" y="17394"/>
                  </a:lnTo>
                  <a:lnTo>
                    <a:pt x="36262" y="14521"/>
                  </a:lnTo>
                  <a:lnTo>
                    <a:pt x="39493" y="12997"/>
                  </a:lnTo>
                  <a:lnTo>
                    <a:pt x="42633" y="11924"/>
                  </a:lnTo>
                  <a:lnTo>
                    <a:pt x="49286" y="11377"/>
                  </a:lnTo>
                  <a:lnTo>
                    <a:pt x="48627" y="8747"/>
                  </a:lnTo>
                  <a:lnTo>
                    <a:pt x="51320" y="8628"/>
                  </a:lnTo>
                  <a:lnTo>
                    <a:pt x="55852" y="5460"/>
                  </a:lnTo>
                  <a:lnTo>
                    <a:pt x="60346" y="6017"/>
                  </a:lnTo>
                  <a:lnTo>
                    <a:pt x="66846" y="3840"/>
                  </a:lnTo>
                  <a:lnTo>
                    <a:pt x="79366" y="3870"/>
                  </a:lnTo>
                  <a:lnTo>
                    <a:pt x="81072" y="2612"/>
                  </a:lnTo>
                  <a:lnTo>
                    <a:pt x="80774" y="1348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ee4p_FI_1_37764">
              <a:extLst>
                <a:ext uri="{FF2B5EF4-FFF2-40B4-BE49-F238E27FC236}">
                  <a16:creationId xmlns:a16="http://schemas.microsoft.com/office/drawing/2014/main" id="{7F397C7A-CFF7-446C-9C48-A764A095DAB0}"/>
                </a:ext>
              </a:extLst>
            </p:cNvPr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12482930" y="2954651"/>
              <a:ext cx="2501365" cy="3473936"/>
            </a:xfrm>
            <a:custGeom>
              <a:avLst/>
              <a:gdLst>
                <a:gd name="connsiteX0" fmla="*/ 21473 w 265732"/>
                <a:gd name="connsiteY0" fmla="*/ 360506 h 369053"/>
                <a:gd name="connsiteX1" fmla="*/ 23220 w 265732"/>
                <a:gd name="connsiteY1" fmla="*/ 360680 h 369053"/>
                <a:gd name="connsiteX2" fmla="*/ 24153 w 265732"/>
                <a:gd name="connsiteY2" fmla="*/ 361638 h 369053"/>
                <a:gd name="connsiteX3" fmla="*/ 23978 w 265732"/>
                <a:gd name="connsiteY3" fmla="*/ 362422 h 369053"/>
                <a:gd name="connsiteX4" fmla="*/ 22173 w 265732"/>
                <a:gd name="connsiteY4" fmla="*/ 362597 h 369053"/>
                <a:gd name="connsiteX5" fmla="*/ 21415 w 265732"/>
                <a:gd name="connsiteY5" fmla="*/ 361899 h 369053"/>
                <a:gd name="connsiteX6" fmla="*/ 19728 w 265732"/>
                <a:gd name="connsiteY6" fmla="*/ 361986 h 369053"/>
                <a:gd name="connsiteX7" fmla="*/ 19435 w 265732"/>
                <a:gd name="connsiteY7" fmla="*/ 361638 h 369053"/>
                <a:gd name="connsiteX8" fmla="*/ 20134 w 265732"/>
                <a:gd name="connsiteY8" fmla="*/ 360942 h 369053"/>
                <a:gd name="connsiteX9" fmla="*/ 45306 w 265732"/>
                <a:gd name="connsiteY9" fmla="*/ 357280 h 369053"/>
                <a:gd name="connsiteX10" fmla="*/ 46768 w 265732"/>
                <a:gd name="connsiteY10" fmla="*/ 357390 h 369053"/>
                <a:gd name="connsiteX11" fmla="*/ 47079 w 265732"/>
                <a:gd name="connsiteY11" fmla="*/ 358322 h 369053"/>
                <a:gd name="connsiteX12" fmla="*/ 46641 w 265732"/>
                <a:gd name="connsiteY12" fmla="*/ 359417 h 369053"/>
                <a:gd name="connsiteX13" fmla="*/ 44702 w 265732"/>
                <a:gd name="connsiteY13" fmla="*/ 359744 h 369053"/>
                <a:gd name="connsiteX14" fmla="*/ 43494 w 265732"/>
                <a:gd name="connsiteY14" fmla="*/ 358787 h 369053"/>
                <a:gd name="connsiteX15" fmla="*/ 43953 w 265732"/>
                <a:gd name="connsiteY15" fmla="*/ 358075 h 369053"/>
                <a:gd name="connsiteX16" fmla="*/ 51860 w 265732"/>
                <a:gd name="connsiteY16" fmla="*/ 356303 h 369053"/>
                <a:gd name="connsiteX17" fmla="*/ 51171 w 265732"/>
                <a:gd name="connsiteY17" fmla="*/ 358333 h 369053"/>
                <a:gd name="connsiteX18" fmla="*/ 48958 w 265732"/>
                <a:gd name="connsiteY18" fmla="*/ 359471 h 369053"/>
                <a:gd name="connsiteX19" fmla="*/ 48115 w 265732"/>
                <a:gd name="connsiteY19" fmla="*/ 359200 h 369053"/>
                <a:gd name="connsiteX20" fmla="*/ 48332 w 265732"/>
                <a:gd name="connsiteY20" fmla="*/ 357280 h 369053"/>
                <a:gd name="connsiteX21" fmla="*/ 49647 w 265732"/>
                <a:gd name="connsiteY21" fmla="*/ 356401 h 369053"/>
                <a:gd name="connsiteX22" fmla="*/ 2428 w 265732"/>
                <a:gd name="connsiteY22" fmla="*/ 354834 h 369053"/>
                <a:gd name="connsiteX23" fmla="*/ 3168 w 265732"/>
                <a:gd name="connsiteY23" fmla="*/ 356788 h 369053"/>
                <a:gd name="connsiteX24" fmla="*/ 3283 w 265732"/>
                <a:gd name="connsiteY24" fmla="*/ 357531 h 369053"/>
                <a:gd name="connsiteX25" fmla="*/ 2436 w 265732"/>
                <a:gd name="connsiteY25" fmla="*/ 357345 h 369053"/>
                <a:gd name="connsiteX26" fmla="*/ 1786 w 265732"/>
                <a:gd name="connsiteY26" fmla="*/ 357599 h 369053"/>
                <a:gd name="connsiteX27" fmla="*/ 1345 w 265732"/>
                <a:gd name="connsiteY27" fmla="*/ 358514 h 369053"/>
                <a:gd name="connsiteX28" fmla="*/ 387 w 265732"/>
                <a:gd name="connsiteY28" fmla="*/ 358186 h 369053"/>
                <a:gd name="connsiteX29" fmla="*/ 0 w 265732"/>
                <a:gd name="connsiteY29" fmla="*/ 356874 h 369053"/>
                <a:gd name="connsiteX30" fmla="*/ 715 w 265732"/>
                <a:gd name="connsiteY30" fmla="*/ 354909 h 369053"/>
                <a:gd name="connsiteX31" fmla="*/ 58731 w 265732"/>
                <a:gd name="connsiteY31" fmla="*/ 350695 h 369053"/>
                <a:gd name="connsiteX32" fmla="*/ 61532 w 265732"/>
                <a:gd name="connsiteY32" fmla="*/ 351466 h 369053"/>
                <a:gd name="connsiteX33" fmla="*/ 62709 w 265732"/>
                <a:gd name="connsiteY33" fmla="*/ 351190 h 369053"/>
                <a:gd name="connsiteX34" fmla="*/ 64047 w 265732"/>
                <a:gd name="connsiteY34" fmla="*/ 352933 h 369053"/>
                <a:gd name="connsiteX35" fmla="*/ 61778 w 265732"/>
                <a:gd name="connsiteY35" fmla="*/ 354042 h 369053"/>
                <a:gd name="connsiteX36" fmla="*/ 61620 w 265732"/>
                <a:gd name="connsiteY36" fmla="*/ 355416 h 369053"/>
                <a:gd name="connsiteX37" fmla="*/ 62517 w 265732"/>
                <a:gd name="connsiteY37" fmla="*/ 356269 h 369053"/>
                <a:gd name="connsiteX38" fmla="*/ 62832 w 265732"/>
                <a:gd name="connsiteY38" fmla="*/ 357503 h 369053"/>
                <a:gd name="connsiteX39" fmla="*/ 60571 w 265732"/>
                <a:gd name="connsiteY39" fmla="*/ 357502 h 369053"/>
                <a:gd name="connsiteX40" fmla="*/ 59489 w 265732"/>
                <a:gd name="connsiteY40" fmla="*/ 356463 h 369053"/>
                <a:gd name="connsiteX41" fmla="*/ 59018 w 265732"/>
                <a:gd name="connsiteY41" fmla="*/ 355144 h 369053"/>
                <a:gd name="connsiteX42" fmla="*/ 57967 w 265732"/>
                <a:gd name="connsiteY42" fmla="*/ 354210 h 369053"/>
                <a:gd name="connsiteX43" fmla="*/ 56565 w 265732"/>
                <a:gd name="connsiteY43" fmla="*/ 353499 h 369053"/>
                <a:gd name="connsiteX44" fmla="*/ 57252 w 265732"/>
                <a:gd name="connsiteY44" fmla="*/ 352551 h 369053"/>
                <a:gd name="connsiteX45" fmla="*/ 57643 w 265732"/>
                <a:gd name="connsiteY45" fmla="*/ 351190 h 369053"/>
                <a:gd name="connsiteX46" fmla="*/ 8165 w 265732"/>
                <a:gd name="connsiteY46" fmla="*/ 349529 h 369053"/>
                <a:gd name="connsiteX47" fmla="*/ 9409 w 265732"/>
                <a:gd name="connsiteY47" fmla="*/ 351135 h 369053"/>
                <a:gd name="connsiteX48" fmla="*/ 10404 w 265732"/>
                <a:gd name="connsiteY48" fmla="*/ 351345 h 369053"/>
                <a:gd name="connsiteX49" fmla="*/ 11082 w 265732"/>
                <a:gd name="connsiteY49" fmla="*/ 351355 h 369053"/>
                <a:gd name="connsiteX50" fmla="*/ 11384 w 265732"/>
                <a:gd name="connsiteY50" fmla="*/ 351075 h 369053"/>
                <a:gd name="connsiteX51" fmla="*/ 12568 w 265732"/>
                <a:gd name="connsiteY51" fmla="*/ 351271 h 369053"/>
                <a:gd name="connsiteX52" fmla="*/ 14347 w 265732"/>
                <a:gd name="connsiteY52" fmla="*/ 352557 h 369053"/>
                <a:gd name="connsiteX53" fmla="*/ 14705 w 265732"/>
                <a:gd name="connsiteY53" fmla="*/ 353253 h 369053"/>
                <a:gd name="connsiteX54" fmla="*/ 15932 w 265732"/>
                <a:gd name="connsiteY54" fmla="*/ 353609 h 369053"/>
                <a:gd name="connsiteX55" fmla="*/ 16360 w 265732"/>
                <a:gd name="connsiteY55" fmla="*/ 354330 h 369053"/>
                <a:gd name="connsiteX56" fmla="*/ 14941 w 265732"/>
                <a:gd name="connsiteY56" fmla="*/ 356576 h 369053"/>
                <a:gd name="connsiteX57" fmla="*/ 14064 w 265732"/>
                <a:gd name="connsiteY57" fmla="*/ 356618 h 369053"/>
                <a:gd name="connsiteX58" fmla="*/ 13410 w 265732"/>
                <a:gd name="connsiteY58" fmla="*/ 356334 h 369053"/>
                <a:gd name="connsiteX59" fmla="*/ 12255 w 265732"/>
                <a:gd name="connsiteY59" fmla="*/ 356579 h 369053"/>
                <a:gd name="connsiteX60" fmla="*/ 11577 w 265732"/>
                <a:gd name="connsiteY60" fmla="*/ 357004 h 369053"/>
                <a:gd name="connsiteX61" fmla="*/ 11350 w 265732"/>
                <a:gd name="connsiteY61" fmla="*/ 357937 h 369053"/>
                <a:gd name="connsiteX62" fmla="*/ 11387 w 265732"/>
                <a:gd name="connsiteY62" fmla="*/ 359888 h 369053"/>
                <a:gd name="connsiteX63" fmla="*/ 6208 w 265732"/>
                <a:gd name="connsiteY63" fmla="*/ 360279 h 369053"/>
                <a:gd name="connsiteX64" fmla="*/ 5018 w 265732"/>
                <a:gd name="connsiteY64" fmla="*/ 359709 h 369053"/>
                <a:gd name="connsiteX65" fmla="*/ 3388 w 265732"/>
                <a:gd name="connsiteY65" fmla="*/ 355268 h 369053"/>
                <a:gd name="connsiteX66" fmla="*/ 3712 w 265732"/>
                <a:gd name="connsiteY66" fmla="*/ 354120 h 369053"/>
                <a:gd name="connsiteX67" fmla="*/ 4809 w 265732"/>
                <a:gd name="connsiteY67" fmla="*/ 353630 h 369053"/>
                <a:gd name="connsiteX68" fmla="*/ 5749 w 265732"/>
                <a:gd name="connsiteY68" fmla="*/ 353525 h 369053"/>
                <a:gd name="connsiteX69" fmla="*/ 5887 w 265732"/>
                <a:gd name="connsiteY69" fmla="*/ 355919 h 369053"/>
                <a:gd name="connsiteX70" fmla="*/ 7266 w 265732"/>
                <a:gd name="connsiteY70" fmla="*/ 355681 h 369053"/>
                <a:gd name="connsiteX71" fmla="*/ 7699 w 265732"/>
                <a:gd name="connsiteY71" fmla="*/ 354103 h 369053"/>
                <a:gd name="connsiteX72" fmla="*/ 7795 w 265732"/>
                <a:gd name="connsiteY72" fmla="*/ 352992 h 369053"/>
                <a:gd name="connsiteX73" fmla="*/ 7422 w 265732"/>
                <a:gd name="connsiteY73" fmla="*/ 352431 h 369053"/>
                <a:gd name="connsiteX74" fmla="*/ 6485 w 265732"/>
                <a:gd name="connsiteY74" fmla="*/ 351996 h 369053"/>
                <a:gd name="connsiteX75" fmla="*/ 5943 w 265732"/>
                <a:gd name="connsiteY75" fmla="*/ 351250 h 369053"/>
                <a:gd name="connsiteX76" fmla="*/ 6722 w 265732"/>
                <a:gd name="connsiteY76" fmla="*/ 350049 h 369053"/>
                <a:gd name="connsiteX77" fmla="*/ 51039 w 265732"/>
                <a:gd name="connsiteY77" fmla="*/ 347396 h 369053"/>
                <a:gd name="connsiteX78" fmla="*/ 52799 w 265732"/>
                <a:gd name="connsiteY78" fmla="*/ 348443 h 369053"/>
                <a:gd name="connsiteX79" fmla="*/ 53760 w 265732"/>
                <a:gd name="connsiteY79" fmla="*/ 349666 h 369053"/>
                <a:gd name="connsiteX80" fmla="*/ 52821 w 265732"/>
                <a:gd name="connsiteY80" fmla="*/ 349950 h 369053"/>
                <a:gd name="connsiteX81" fmla="*/ 54412 w 265732"/>
                <a:gd name="connsiteY81" fmla="*/ 351211 h 369053"/>
                <a:gd name="connsiteX82" fmla="*/ 54732 w 265732"/>
                <a:gd name="connsiteY82" fmla="*/ 351827 h 369053"/>
                <a:gd name="connsiteX83" fmla="*/ 53123 w 265732"/>
                <a:gd name="connsiteY83" fmla="*/ 351973 h 369053"/>
                <a:gd name="connsiteX84" fmla="*/ 50849 w 265732"/>
                <a:gd name="connsiteY84" fmla="*/ 350326 h 369053"/>
                <a:gd name="connsiteX85" fmla="*/ 50562 w 265732"/>
                <a:gd name="connsiteY85" fmla="*/ 349682 h 369053"/>
                <a:gd name="connsiteX86" fmla="*/ 51454 w 265732"/>
                <a:gd name="connsiteY86" fmla="*/ 349308 h 369053"/>
                <a:gd name="connsiteX87" fmla="*/ 50865 w 265732"/>
                <a:gd name="connsiteY87" fmla="*/ 347983 h 369053"/>
                <a:gd name="connsiteX88" fmla="*/ 38675 w 265732"/>
                <a:gd name="connsiteY88" fmla="*/ 341784 h 369053"/>
                <a:gd name="connsiteX89" fmla="*/ 39409 w 265732"/>
                <a:gd name="connsiteY89" fmla="*/ 343210 h 369053"/>
                <a:gd name="connsiteX90" fmla="*/ 42717 w 265732"/>
                <a:gd name="connsiteY90" fmla="*/ 345409 h 369053"/>
                <a:gd name="connsiteX91" fmla="*/ 42408 w 265732"/>
                <a:gd name="connsiteY91" fmla="*/ 346959 h 369053"/>
                <a:gd name="connsiteX92" fmla="*/ 40908 w 265732"/>
                <a:gd name="connsiteY92" fmla="*/ 346787 h 369053"/>
                <a:gd name="connsiteX93" fmla="*/ 39381 w 265732"/>
                <a:gd name="connsiteY93" fmla="*/ 347068 h 369053"/>
                <a:gd name="connsiteX94" fmla="*/ 38150 w 265732"/>
                <a:gd name="connsiteY94" fmla="*/ 345529 h 369053"/>
                <a:gd name="connsiteX95" fmla="*/ 37491 w 265732"/>
                <a:gd name="connsiteY95" fmla="*/ 342933 h 369053"/>
                <a:gd name="connsiteX96" fmla="*/ 37716 w 265732"/>
                <a:gd name="connsiteY96" fmla="*/ 342374 h 369053"/>
                <a:gd name="connsiteX97" fmla="*/ 37973 w 265732"/>
                <a:gd name="connsiteY97" fmla="*/ 251776 h 369053"/>
                <a:gd name="connsiteX98" fmla="*/ 37651 w 265732"/>
                <a:gd name="connsiteY98" fmla="*/ 252424 h 369053"/>
                <a:gd name="connsiteX99" fmla="*/ 37563 w 265732"/>
                <a:gd name="connsiteY99" fmla="*/ 253045 h 369053"/>
                <a:gd name="connsiteX100" fmla="*/ 37800 w 265732"/>
                <a:gd name="connsiteY100" fmla="*/ 253695 h 369053"/>
                <a:gd name="connsiteX101" fmla="*/ 39096 w 265732"/>
                <a:gd name="connsiteY101" fmla="*/ 253516 h 369053"/>
                <a:gd name="connsiteX102" fmla="*/ 40841 w 265732"/>
                <a:gd name="connsiteY102" fmla="*/ 252332 h 369053"/>
                <a:gd name="connsiteX103" fmla="*/ 42078 w 265732"/>
                <a:gd name="connsiteY103" fmla="*/ 252885 h 369053"/>
                <a:gd name="connsiteX104" fmla="*/ 41938 w 265732"/>
                <a:gd name="connsiteY104" fmla="*/ 254575 h 369053"/>
                <a:gd name="connsiteX105" fmla="*/ 41098 w 265732"/>
                <a:gd name="connsiteY105" fmla="*/ 254511 h 369053"/>
                <a:gd name="connsiteX106" fmla="*/ 40867 w 265732"/>
                <a:gd name="connsiteY106" fmla="*/ 254232 h 369053"/>
                <a:gd name="connsiteX107" fmla="*/ 39789 w 265732"/>
                <a:gd name="connsiteY107" fmla="*/ 255197 h 369053"/>
                <a:gd name="connsiteX108" fmla="*/ 39597 w 265732"/>
                <a:gd name="connsiteY108" fmla="*/ 255781 h 369053"/>
                <a:gd name="connsiteX109" fmla="*/ 38351 w 265732"/>
                <a:gd name="connsiteY109" fmla="*/ 256154 h 369053"/>
                <a:gd name="connsiteX110" fmla="*/ 36049 w 265732"/>
                <a:gd name="connsiteY110" fmla="*/ 254502 h 369053"/>
                <a:gd name="connsiteX111" fmla="*/ 34602 w 265732"/>
                <a:gd name="connsiteY111" fmla="*/ 251783 h 369053"/>
                <a:gd name="connsiteX112" fmla="*/ 116464 w 265732"/>
                <a:gd name="connsiteY112" fmla="*/ 187740 h 369053"/>
                <a:gd name="connsiteX113" fmla="*/ 120546 w 265732"/>
                <a:gd name="connsiteY113" fmla="*/ 188858 h 369053"/>
                <a:gd name="connsiteX114" fmla="*/ 121142 w 265732"/>
                <a:gd name="connsiteY114" fmla="*/ 189455 h 369053"/>
                <a:gd name="connsiteX115" fmla="*/ 118803 w 265732"/>
                <a:gd name="connsiteY115" fmla="*/ 189902 h 369053"/>
                <a:gd name="connsiteX116" fmla="*/ 117840 w 265732"/>
                <a:gd name="connsiteY116" fmla="*/ 191169 h 369053"/>
                <a:gd name="connsiteX117" fmla="*/ 114539 w 265732"/>
                <a:gd name="connsiteY117" fmla="*/ 192361 h 369053"/>
                <a:gd name="connsiteX118" fmla="*/ 111878 w 265732"/>
                <a:gd name="connsiteY118" fmla="*/ 191616 h 369053"/>
                <a:gd name="connsiteX119" fmla="*/ 111832 w 265732"/>
                <a:gd name="connsiteY119" fmla="*/ 189306 h 369053"/>
                <a:gd name="connsiteX120" fmla="*/ 113482 w 265732"/>
                <a:gd name="connsiteY120" fmla="*/ 188187 h 369053"/>
                <a:gd name="connsiteX121" fmla="*/ 181957 w 265732"/>
                <a:gd name="connsiteY121" fmla="*/ 0 h 369053"/>
                <a:gd name="connsiteX122" fmla="*/ 185099 w 265732"/>
                <a:gd name="connsiteY122" fmla="*/ 126 h 369053"/>
                <a:gd name="connsiteX123" fmla="*/ 188577 w 265732"/>
                <a:gd name="connsiteY123" fmla="*/ 3686 h 369053"/>
                <a:gd name="connsiteX124" fmla="*/ 193483 w 265732"/>
                <a:gd name="connsiteY124" fmla="*/ 7643 h 369053"/>
                <a:gd name="connsiteX125" fmla="*/ 196636 w 265732"/>
                <a:gd name="connsiteY125" fmla="*/ 9562 h 369053"/>
                <a:gd name="connsiteX126" fmla="*/ 205230 w 265732"/>
                <a:gd name="connsiteY126" fmla="*/ 13154 h 369053"/>
                <a:gd name="connsiteX127" fmla="*/ 212775 w 265732"/>
                <a:gd name="connsiteY127" fmla="*/ 15515 h 369053"/>
                <a:gd name="connsiteX128" fmla="*/ 217016 w 265732"/>
                <a:gd name="connsiteY128" fmla="*/ 23292 h 369053"/>
                <a:gd name="connsiteX129" fmla="*/ 214926 w 265732"/>
                <a:gd name="connsiteY129" fmla="*/ 26382 h 369053"/>
                <a:gd name="connsiteX130" fmla="*/ 213885 w 265732"/>
                <a:gd name="connsiteY130" fmla="*/ 27446 h 369053"/>
                <a:gd name="connsiteX131" fmla="*/ 210195 w 265732"/>
                <a:gd name="connsiteY131" fmla="*/ 30516 h 369053"/>
                <a:gd name="connsiteX132" fmla="*/ 206245 w 265732"/>
                <a:gd name="connsiteY132" fmla="*/ 34840 h 369053"/>
                <a:gd name="connsiteX133" fmla="*/ 205943 w 265732"/>
                <a:gd name="connsiteY133" fmla="*/ 37090 h 369053"/>
                <a:gd name="connsiteX134" fmla="*/ 207254 w 265732"/>
                <a:gd name="connsiteY134" fmla="*/ 39357 h 369053"/>
                <a:gd name="connsiteX135" fmla="*/ 208889 w 265732"/>
                <a:gd name="connsiteY135" fmla="*/ 40855 h 369053"/>
                <a:gd name="connsiteX136" fmla="*/ 207409 w 265732"/>
                <a:gd name="connsiteY136" fmla="*/ 41332 h 369053"/>
                <a:gd name="connsiteX137" fmla="*/ 202838 w 265732"/>
                <a:gd name="connsiteY137" fmla="*/ 43215 h 369053"/>
                <a:gd name="connsiteX138" fmla="*/ 200048 w 265732"/>
                <a:gd name="connsiteY138" fmla="*/ 44485 h 369053"/>
                <a:gd name="connsiteX139" fmla="*/ 196688 w 265732"/>
                <a:gd name="connsiteY139" fmla="*/ 45416 h 369053"/>
                <a:gd name="connsiteX140" fmla="*/ 197560 w 265732"/>
                <a:gd name="connsiteY140" fmla="*/ 46649 h 369053"/>
                <a:gd name="connsiteX141" fmla="*/ 203142 w 265732"/>
                <a:gd name="connsiteY141" fmla="*/ 46910 h 369053"/>
                <a:gd name="connsiteX142" fmla="*/ 204002 w 265732"/>
                <a:gd name="connsiteY142" fmla="*/ 47260 h 369053"/>
                <a:gd name="connsiteX143" fmla="*/ 204621 w 265732"/>
                <a:gd name="connsiteY143" fmla="*/ 47894 h 369053"/>
                <a:gd name="connsiteX144" fmla="*/ 204727 w 265732"/>
                <a:gd name="connsiteY144" fmla="*/ 48907 h 369053"/>
                <a:gd name="connsiteX145" fmla="*/ 204161 w 265732"/>
                <a:gd name="connsiteY145" fmla="*/ 50542 h 369053"/>
                <a:gd name="connsiteX146" fmla="*/ 198130 w 265732"/>
                <a:gd name="connsiteY146" fmla="*/ 59538 h 369053"/>
                <a:gd name="connsiteX147" fmla="*/ 197940 w 265732"/>
                <a:gd name="connsiteY147" fmla="*/ 61428 h 369053"/>
                <a:gd name="connsiteX148" fmla="*/ 199918 w 265732"/>
                <a:gd name="connsiteY148" fmla="*/ 66676 h 369053"/>
                <a:gd name="connsiteX149" fmla="*/ 202682 w 265732"/>
                <a:gd name="connsiteY149" fmla="*/ 72845 h 369053"/>
                <a:gd name="connsiteX150" fmla="*/ 211037 w 265732"/>
                <a:gd name="connsiteY150" fmla="*/ 75582 h 369053"/>
                <a:gd name="connsiteX151" fmla="*/ 217247 w 265732"/>
                <a:gd name="connsiteY151" fmla="*/ 77717 h 369053"/>
                <a:gd name="connsiteX152" fmla="*/ 221236 w 265732"/>
                <a:gd name="connsiteY152" fmla="*/ 82760 h 369053"/>
                <a:gd name="connsiteX153" fmla="*/ 227811 w 265732"/>
                <a:gd name="connsiteY153" fmla="*/ 89390 h 369053"/>
                <a:gd name="connsiteX154" fmla="*/ 231297 w 265732"/>
                <a:gd name="connsiteY154" fmla="*/ 91862 h 369053"/>
                <a:gd name="connsiteX155" fmla="*/ 231493 w 265732"/>
                <a:gd name="connsiteY155" fmla="*/ 92629 h 369053"/>
                <a:gd name="connsiteX156" fmla="*/ 230456 w 265732"/>
                <a:gd name="connsiteY156" fmla="*/ 97183 h 369053"/>
                <a:gd name="connsiteX157" fmla="*/ 226241 w 265732"/>
                <a:gd name="connsiteY157" fmla="*/ 101735 h 369053"/>
                <a:gd name="connsiteX158" fmla="*/ 222298 w 265732"/>
                <a:gd name="connsiteY158" fmla="*/ 105565 h 369053"/>
                <a:gd name="connsiteX159" fmla="*/ 218217 w 265732"/>
                <a:gd name="connsiteY159" fmla="*/ 110170 h 369053"/>
                <a:gd name="connsiteX160" fmla="*/ 215025 w 265732"/>
                <a:gd name="connsiteY160" fmla="*/ 114087 h 369053"/>
                <a:gd name="connsiteX161" fmla="*/ 211568 w 265732"/>
                <a:gd name="connsiteY161" fmla="*/ 118772 h 369053"/>
                <a:gd name="connsiteX162" fmla="*/ 211171 w 265732"/>
                <a:gd name="connsiteY162" fmla="*/ 120288 h 369053"/>
                <a:gd name="connsiteX163" fmla="*/ 211108 w 265732"/>
                <a:gd name="connsiteY163" fmla="*/ 121719 h 369053"/>
                <a:gd name="connsiteX164" fmla="*/ 211702 w 265732"/>
                <a:gd name="connsiteY164" fmla="*/ 123300 h 369053"/>
                <a:gd name="connsiteX165" fmla="*/ 216129 w 265732"/>
                <a:gd name="connsiteY165" fmla="*/ 129002 h 369053"/>
                <a:gd name="connsiteX166" fmla="*/ 217852 w 265732"/>
                <a:gd name="connsiteY166" fmla="*/ 131908 h 369053"/>
                <a:gd name="connsiteX167" fmla="*/ 219912 w 265732"/>
                <a:gd name="connsiteY167" fmla="*/ 135045 h 369053"/>
                <a:gd name="connsiteX168" fmla="*/ 221680 w 265732"/>
                <a:gd name="connsiteY168" fmla="*/ 138458 h 369053"/>
                <a:gd name="connsiteX169" fmla="*/ 222706 w 265732"/>
                <a:gd name="connsiteY169" fmla="*/ 141510 h 369053"/>
                <a:gd name="connsiteX170" fmla="*/ 224479 w 265732"/>
                <a:gd name="connsiteY170" fmla="*/ 144480 h 369053"/>
                <a:gd name="connsiteX171" fmla="*/ 225581 w 265732"/>
                <a:gd name="connsiteY171" fmla="*/ 145996 h 369053"/>
                <a:gd name="connsiteX172" fmla="*/ 227411 w 265732"/>
                <a:gd name="connsiteY172" fmla="*/ 148118 h 369053"/>
                <a:gd name="connsiteX173" fmla="*/ 229621 w 265732"/>
                <a:gd name="connsiteY173" fmla="*/ 151271 h 369053"/>
                <a:gd name="connsiteX174" fmla="*/ 230355 w 265732"/>
                <a:gd name="connsiteY174" fmla="*/ 153765 h 369053"/>
                <a:gd name="connsiteX175" fmla="*/ 233691 w 265732"/>
                <a:gd name="connsiteY175" fmla="*/ 162396 h 369053"/>
                <a:gd name="connsiteX176" fmla="*/ 234028 w 265732"/>
                <a:gd name="connsiteY176" fmla="*/ 164590 h 369053"/>
                <a:gd name="connsiteX177" fmla="*/ 233864 w 265732"/>
                <a:gd name="connsiteY177" fmla="*/ 166212 h 369053"/>
                <a:gd name="connsiteX178" fmla="*/ 232398 w 265732"/>
                <a:gd name="connsiteY178" fmla="*/ 166611 h 369053"/>
                <a:gd name="connsiteX179" fmla="*/ 229161 w 265732"/>
                <a:gd name="connsiteY179" fmla="*/ 166869 h 369053"/>
                <a:gd name="connsiteX180" fmla="*/ 225652 w 265732"/>
                <a:gd name="connsiteY180" fmla="*/ 167931 h 369053"/>
                <a:gd name="connsiteX181" fmla="*/ 225475 w 265732"/>
                <a:gd name="connsiteY181" fmla="*/ 168288 h 369053"/>
                <a:gd name="connsiteX182" fmla="*/ 227764 w 265732"/>
                <a:gd name="connsiteY182" fmla="*/ 170314 h 369053"/>
                <a:gd name="connsiteX183" fmla="*/ 225742 w 265732"/>
                <a:gd name="connsiteY183" fmla="*/ 173770 h 369053"/>
                <a:gd name="connsiteX184" fmla="*/ 225451 w 265732"/>
                <a:gd name="connsiteY184" fmla="*/ 178707 h 369053"/>
                <a:gd name="connsiteX185" fmla="*/ 223292 w 265732"/>
                <a:gd name="connsiteY185" fmla="*/ 181294 h 369053"/>
                <a:gd name="connsiteX186" fmla="*/ 223088 w 265732"/>
                <a:gd name="connsiteY186" fmla="*/ 181895 h 369053"/>
                <a:gd name="connsiteX187" fmla="*/ 223186 w 265732"/>
                <a:gd name="connsiteY187" fmla="*/ 182397 h 369053"/>
                <a:gd name="connsiteX188" fmla="*/ 223568 w 265732"/>
                <a:gd name="connsiteY188" fmla="*/ 182789 h 369053"/>
                <a:gd name="connsiteX189" fmla="*/ 227567 w 265732"/>
                <a:gd name="connsiteY189" fmla="*/ 183479 h 369053"/>
                <a:gd name="connsiteX190" fmla="*/ 227913 w 265732"/>
                <a:gd name="connsiteY190" fmla="*/ 184180 h 369053"/>
                <a:gd name="connsiteX191" fmla="*/ 227930 w 265732"/>
                <a:gd name="connsiteY191" fmla="*/ 185629 h 369053"/>
                <a:gd name="connsiteX192" fmla="*/ 227573 w 265732"/>
                <a:gd name="connsiteY192" fmla="*/ 186967 h 369053"/>
                <a:gd name="connsiteX193" fmla="*/ 225565 w 265732"/>
                <a:gd name="connsiteY193" fmla="*/ 187959 h 369053"/>
                <a:gd name="connsiteX194" fmla="*/ 223408 w 265732"/>
                <a:gd name="connsiteY194" fmla="*/ 189427 h 369053"/>
                <a:gd name="connsiteX195" fmla="*/ 222931 w 265732"/>
                <a:gd name="connsiteY195" fmla="*/ 190776 h 369053"/>
                <a:gd name="connsiteX196" fmla="*/ 223004 w 265732"/>
                <a:gd name="connsiteY196" fmla="*/ 191980 h 369053"/>
                <a:gd name="connsiteX197" fmla="*/ 223741 w 265732"/>
                <a:gd name="connsiteY197" fmla="*/ 194013 h 369053"/>
                <a:gd name="connsiteX198" fmla="*/ 225159 w 265732"/>
                <a:gd name="connsiteY198" fmla="*/ 196379 h 369053"/>
                <a:gd name="connsiteX199" fmla="*/ 226963 w 265732"/>
                <a:gd name="connsiteY199" fmla="*/ 197863 h 369053"/>
                <a:gd name="connsiteX200" fmla="*/ 233367 w 265732"/>
                <a:gd name="connsiteY200" fmla="*/ 199267 h 369053"/>
                <a:gd name="connsiteX201" fmla="*/ 234194 w 265732"/>
                <a:gd name="connsiteY201" fmla="*/ 200428 h 369053"/>
                <a:gd name="connsiteX202" fmla="*/ 234546 w 265732"/>
                <a:gd name="connsiteY202" fmla="*/ 202018 h 369053"/>
                <a:gd name="connsiteX203" fmla="*/ 234412 w 265732"/>
                <a:gd name="connsiteY203" fmla="*/ 203569 h 369053"/>
                <a:gd name="connsiteX204" fmla="*/ 231437 w 265732"/>
                <a:gd name="connsiteY204" fmla="*/ 206669 h 369053"/>
                <a:gd name="connsiteX205" fmla="*/ 231460 w 265732"/>
                <a:gd name="connsiteY205" fmla="*/ 207860 h 369053"/>
                <a:gd name="connsiteX206" fmla="*/ 232682 w 265732"/>
                <a:gd name="connsiteY206" fmla="*/ 210740 h 369053"/>
                <a:gd name="connsiteX207" fmla="*/ 234147 w 265732"/>
                <a:gd name="connsiteY207" fmla="*/ 213485 h 369053"/>
                <a:gd name="connsiteX208" fmla="*/ 240394 w 265732"/>
                <a:gd name="connsiteY208" fmla="*/ 216455 h 369053"/>
                <a:gd name="connsiteX209" fmla="*/ 242545 w 265732"/>
                <a:gd name="connsiteY209" fmla="*/ 218082 h 369053"/>
                <a:gd name="connsiteX210" fmla="*/ 243117 w 265732"/>
                <a:gd name="connsiteY210" fmla="*/ 219376 h 369053"/>
                <a:gd name="connsiteX211" fmla="*/ 243430 w 265732"/>
                <a:gd name="connsiteY211" fmla="*/ 221460 h 369053"/>
                <a:gd name="connsiteX212" fmla="*/ 243389 w 265732"/>
                <a:gd name="connsiteY212" fmla="*/ 223717 h 369053"/>
                <a:gd name="connsiteX213" fmla="*/ 242899 w 265732"/>
                <a:gd name="connsiteY213" fmla="*/ 225719 h 369053"/>
                <a:gd name="connsiteX214" fmla="*/ 240940 w 265732"/>
                <a:gd name="connsiteY214" fmla="*/ 228298 h 369053"/>
                <a:gd name="connsiteX215" fmla="*/ 236406 w 265732"/>
                <a:gd name="connsiteY215" fmla="*/ 233375 h 369053"/>
                <a:gd name="connsiteX216" fmla="*/ 231847 w 265732"/>
                <a:gd name="connsiteY216" fmla="*/ 235344 h 369053"/>
                <a:gd name="connsiteX217" fmla="*/ 231569 w 265732"/>
                <a:gd name="connsiteY217" fmla="*/ 235771 h 369053"/>
                <a:gd name="connsiteX218" fmla="*/ 232981 w 265732"/>
                <a:gd name="connsiteY218" fmla="*/ 237391 h 369053"/>
                <a:gd name="connsiteX219" fmla="*/ 241011 w 265732"/>
                <a:gd name="connsiteY219" fmla="*/ 243873 h 369053"/>
                <a:gd name="connsiteX220" fmla="*/ 246246 w 265732"/>
                <a:gd name="connsiteY220" fmla="*/ 246900 h 369053"/>
                <a:gd name="connsiteX221" fmla="*/ 253311 w 265732"/>
                <a:gd name="connsiteY221" fmla="*/ 250978 h 369053"/>
                <a:gd name="connsiteX222" fmla="*/ 257868 w 265732"/>
                <a:gd name="connsiteY222" fmla="*/ 254194 h 369053"/>
                <a:gd name="connsiteX223" fmla="*/ 259340 w 265732"/>
                <a:gd name="connsiteY223" fmla="*/ 256505 h 369053"/>
                <a:gd name="connsiteX224" fmla="*/ 261314 w 265732"/>
                <a:gd name="connsiteY224" fmla="*/ 259071 h 369053"/>
                <a:gd name="connsiteX225" fmla="*/ 263532 w 265732"/>
                <a:gd name="connsiteY225" fmla="*/ 261166 h 369053"/>
                <a:gd name="connsiteX226" fmla="*/ 265130 w 265732"/>
                <a:gd name="connsiteY226" fmla="*/ 262982 h 369053"/>
                <a:gd name="connsiteX227" fmla="*/ 265732 w 265732"/>
                <a:gd name="connsiteY227" fmla="*/ 264150 h 369053"/>
                <a:gd name="connsiteX228" fmla="*/ 265676 w 265732"/>
                <a:gd name="connsiteY228" fmla="*/ 265405 h 369053"/>
                <a:gd name="connsiteX229" fmla="*/ 263538 w 265732"/>
                <a:gd name="connsiteY229" fmla="*/ 269185 h 369053"/>
                <a:gd name="connsiteX230" fmla="*/ 262324 w 265732"/>
                <a:gd name="connsiteY230" fmla="*/ 272102 h 369053"/>
                <a:gd name="connsiteX231" fmla="*/ 260185 w 265732"/>
                <a:gd name="connsiteY231" fmla="*/ 276371 h 369053"/>
                <a:gd name="connsiteX232" fmla="*/ 257997 w 265732"/>
                <a:gd name="connsiteY232" fmla="*/ 279345 h 369053"/>
                <a:gd name="connsiteX233" fmla="*/ 252448 w 265732"/>
                <a:gd name="connsiteY233" fmla="*/ 284759 h 369053"/>
                <a:gd name="connsiteX234" fmla="*/ 244264 w 265732"/>
                <a:gd name="connsiteY234" fmla="*/ 291477 h 369053"/>
                <a:gd name="connsiteX235" fmla="*/ 242363 w 265732"/>
                <a:gd name="connsiteY235" fmla="*/ 293506 h 369053"/>
                <a:gd name="connsiteX236" fmla="*/ 238533 w 265732"/>
                <a:gd name="connsiteY236" fmla="*/ 297034 h 369053"/>
                <a:gd name="connsiteX237" fmla="*/ 231977 w 265732"/>
                <a:gd name="connsiteY237" fmla="*/ 304096 h 369053"/>
                <a:gd name="connsiteX238" fmla="*/ 230279 w 265732"/>
                <a:gd name="connsiteY238" fmla="*/ 305652 h 369053"/>
                <a:gd name="connsiteX239" fmla="*/ 224905 w 265732"/>
                <a:gd name="connsiteY239" fmla="*/ 311263 h 369053"/>
                <a:gd name="connsiteX240" fmla="*/ 222456 w 265732"/>
                <a:gd name="connsiteY240" fmla="*/ 313045 h 369053"/>
                <a:gd name="connsiteX241" fmla="*/ 220532 w 265732"/>
                <a:gd name="connsiteY241" fmla="*/ 314710 h 369053"/>
                <a:gd name="connsiteX242" fmla="*/ 215209 w 265732"/>
                <a:gd name="connsiteY242" fmla="*/ 319993 h 369053"/>
                <a:gd name="connsiteX243" fmla="*/ 209489 w 265732"/>
                <a:gd name="connsiteY243" fmla="*/ 323994 h 369053"/>
                <a:gd name="connsiteX244" fmla="*/ 203874 w 265732"/>
                <a:gd name="connsiteY244" fmla="*/ 327703 h 369053"/>
                <a:gd name="connsiteX245" fmla="*/ 202190 w 265732"/>
                <a:gd name="connsiteY245" fmla="*/ 329581 h 369053"/>
                <a:gd name="connsiteX246" fmla="*/ 200095 w 265732"/>
                <a:gd name="connsiteY246" fmla="*/ 331012 h 369053"/>
                <a:gd name="connsiteX247" fmla="*/ 197595 w 265732"/>
                <a:gd name="connsiteY247" fmla="*/ 332372 h 369053"/>
                <a:gd name="connsiteX248" fmla="*/ 196541 w 265732"/>
                <a:gd name="connsiteY248" fmla="*/ 333134 h 369053"/>
                <a:gd name="connsiteX249" fmla="*/ 190892 w 265732"/>
                <a:gd name="connsiteY249" fmla="*/ 338191 h 369053"/>
                <a:gd name="connsiteX250" fmla="*/ 183058 w 265732"/>
                <a:gd name="connsiteY250" fmla="*/ 345191 h 369053"/>
                <a:gd name="connsiteX251" fmla="*/ 182261 w 265732"/>
                <a:gd name="connsiteY251" fmla="*/ 345300 h 369053"/>
                <a:gd name="connsiteX252" fmla="*/ 180221 w 265732"/>
                <a:gd name="connsiteY252" fmla="*/ 346429 h 369053"/>
                <a:gd name="connsiteX253" fmla="*/ 177031 w 265732"/>
                <a:gd name="connsiteY253" fmla="*/ 346702 h 369053"/>
                <a:gd name="connsiteX254" fmla="*/ 175645 w 265732"/>
                <a:gd name="connsiteY254" fmla="*/ 347565 h 369053"/>
                <a:gd name="connsiteX255" fmla="*/ 170769 w 265732"/>
                <a:gd name="connsiteY255" fmla="*/ 345106 h 369053"/>
                <a:gd name="connsiteX256" fmla="*/ 169959 w 265732"/>
                <a:gd name="connsiteY256" fmla="*/ 344947 h 369053"/>
                <a:gd name="connsiteX257" fmla="*/ 167092 w 265732"/>
                <a:gd name="connsiteY257" fmla="*/ 345557 h 369053"/>
                <a:gd name="connsiteX258" fmla="*/ 164340 w 265732"/>
                <a:gd name="connsiteY258" fmla="*/ 347344 h 369053"/>
                <a:gd name="connsiteX259" fmla="*/ 159261 w 265732"/>
                <a:gd name="connsiteY259" fmla="*/ 347890 h 369053"/>
                <a:gd name="connsiteX260" fmla="*/ 156739 w 265732"/>
                <a:gd name="connsiteY260" fmla="*/ 348469 h 369053"/>
                <a:gd name="connsiteX261" fmla="*/ 155131 w 265732"/>
                <a:gd name="connsiteY261" fmla="*/ 349294 h 369053"/>
                <a:gd name="connsiteX262" fmla="*/ 154800 w 265732"/>
                <a:gd name="connsiteY262" fmla="*/ 347341 h 369053"/>
                <a:gd name="connsiteX263" fmla="*/ 155495 w 265732"/>
                <a:gd name="connsiteY263" fmla="*/ 344862 h 369053"/>
                <a:gd name="connsiteX264" fmla="*/ 156614 w 265732"/>
                <a:gd name="connsiteY264" fmla="*/ 343208 h 369053"/>
                <a:gd name="connsiteX265" fmla="*/ 156718 w 265732"/>
                <a:gd name="connsiteY265" fmla="*/ 342130 h 369053"/>
                <a:gd name="connsiteX266" fmla="*/ 155897 w 265732"/>
                <a:gd name="connsiteY266" fmla="*/ 342242 h 369053"/>
                <a:gd name="connsiteX267" fmla="*/ 154271 w 265732"/>
                <a:gd name="connsiteY267" fmla="*/ 344669 h 369053"/>
                <a:gd name="connsiteX268" fmla="*/ 153401 w 265732"/>
                <a:gd name="connsiteY268" fmla="*/ 347500 h 369053"/>
                <a:gd name="connsiteX269" fmla="*/ 151660 w 265732"/>
                <a:gd name="connsiteY269" fmla="*/ 348922 h 369053"/>
                <a:gd name="connsiteX270" fmla="*/ 147834 w 265732"/>
                <a:gd name="connsiteY270" fmla="*/ 349503 h 369053"/>
                <a:gd name="connsiteX271" fmla="*/ 144105 w 265732"/>
                <a:gd name="connsiteY271" fmla="*/ 347230 h 369053"/>
                <a:gd name="connsiteX272" fmla="*/ 142334 w 265732"/>
                <a:gd name="connsiteY272" fmla="*/ 347253 h 369053"/>
                <a:gd name="connsiteX273" fmla="*/ 143446 w 265732"/>
                <a:gd name="connsiteY273" fmla="*/ 348881 h 369053"/>
                <a:gd name="connsiteX274" fmla="*/ 144198 w 265732"/>
                <a:gd name="connsiteY274" fmla="*/ 350667 h 369053"/>
                <a:gd name="connsiteX275" fmla="*/ 144100 w 265732"/>
                <a:gd name="connsiteY275" fmla="*/ 351667 h 369053"/>
                <a:gd name="connsiteX276" fmla="*/ 142112 w 265732"/>
                <a:gd name="connsiteY276" fmla="*/ 351491 h 369053"/>
                <a:gd name="connsiteX277" fmla="*/ 139898 w 265732"/>
                <a:gd name="connsiteY277" fmla="*/ 352561 h 369053"/>
                <a:gd name="connsiteX278" fmla="*/ 137957 w 265732"/>
                <a:gd name="connsiteY278" fmla="*/ 354123 h 369053"/>
                <a:gd name="connsiteX279" fmla="*/ 137015 w 265732"/>
                <a:gd name="connsiteY279" fmla="*/ 354126 h 369053"/>
                <a:gd name="connsiteX280" fmla="*/ 135711 w 265732"/>
                <a:gd name="connsiteY280" fmla="*/ 351943 h 369053"/>
                <a:gd name="connsiteX281" fmla="*/ 133318 w 265732"/>
                <a:gd name="connsiteY281" fmla="*/ 352962 h 369053"/>
                <a:gd name="connsiteX282" fmla="*/ 131274 w 265732"/>
                <a:gd name="connsiteY282" fmla="*/ 354332 h 369053"/>
                <a:gd name="connsiteX283" fmla="*/ 127119 w 265732"/>
                <a:gd name="connsiteY283" fmla="*/ 354760 h 369053"/>
                <a:gd name="connsiteX284" fmla="*/ 124642 w 265732"/>
                <a:gd name="connsiteY284" fmla="*/ 356559 h 369053"/>
                <a:gd name="connsiteX285" fmla="*/ 120259 w 265732"/>
                <a:gd name="connsiteY285" fmla="*/ 357772 h 369053"/>
                <a:gd name="connsiteX286" fmla="*/ 117851 w 265732"/>
                <a:gd name="connsiteY286" fmla="*/ 357743 h 369053"/>
                <a:gd name="connsiteX287" fmla="*/ 112362 w 265732"/>
                <a:gd name="connsiteY287" fmla="*/ 359203 h 369053"/>
                <a:gd name="connsiteX288" fmla="*/ 110537 w 265732"/>
                <a:gd name="connsiteY288" fmla="*/ 361452 h 369053"/>
                <a:gd name="connsiteX289" fmla="*/ 108937 w 265732"/>
                <a:gd name="connsiteY289" fmla="*/ 362279 h 369053"/>
                <a:gd name="connsiteX290" fmla="*/ 106659 w 265732"/>
                <a:gd name="connsiteY290" fmla="*/ 361583 h 369053"/>
                <a:gd name="connsiteX291" fmla="*/ 99641 w 265732"/>
                <a:gd name="connsiteY291" fmla="*/ 362679 h 369053"/>
                <a:gd name="connsiteX292" fmla="*/ 92932 w 265732"/>
                <a:gd name="connsiteY292" fmla="*/ 364116 h 369053"/>
                <a:gd name="connsiteX293" fmla="*/ 90077 w 265732"/>
                <a:gd name="connsiteY293" fmla="*/ 364034 h 369053"/>
                <a:gd name="connsiteX294" fmla="*/ 87222 w 265732"/>
                <a:gd name="connsiteY294" fmla="*/ 363437 h 369053"/>
                <a:gd name="connsiteX295" fmla="*/ 84197 w 265732"/>
                <a:gd name="connsiteY295" fmla="*/ 365433 h 369053"/>
                <a:gd name="connsiteX296" fmla="*/ 80984 w 265732"/>
                <a:gd name="connsiteY296" fmla="*/ 368101 h 369053"/>
                <a:gd name="connsiteX297" fmla="*/ 77442 w 265732"/>
                <a:gd name="connsiteY297" fmla="*/ 369053 h 369053"/>
                <a:gd name="connsiteX298" fmla="*/ 76173 w 265732"/>
                <a:gd name="connsiteY298" fmla="*/ 368712 h 369053"/>
                <a:gd name="connsiteX299" fmla="*/ 77187 w 265732"/>
                <a:gd name="connsiteY299" fmla="*/ 367314 h 369053"/>
                <a:gd name="connsiteX300" fmla="*/ 79531 w 265732"/>
                <a:gd name="connsiteY300" fmla="*/ 365865 h 369053"/>
                <a:gd name="connsiteX301" fmla="*/ 81139 w 265732"/>
                <a:gd name="connsiteY301" fmla="*/ 363900 h 369053"/>
                <a:gd name="connsiteX302" fmla="*/ 81360 w 265732"/>
                <a:gd name="connsiteY302" fmla="*/ 362261 h 369053"/>
                <a:gd name="connsiteX303" fmla="*/ 80254 w 265732"/>
                <a:gd name="connsiteY303" fmla="*/ 361617 h 369053"/>
                <a:gd name="connsiteX304" fmla="*/ 78744 w 265732"/>
                <a:gd name="connsiteY304" fmla="*/ 361420 h 369053"/>
                <a:gd name="connsiteX305" fmla="*/ 76842 w 265732"/>
                <a:gd name="connsiteY305" fmla="*/ 359723 h 369053"/>
                <a:gd name="connsiteX306" fmla="*/ 75019 w 265732"/>
                <a:gd name="connsiteY306" fmla="*/ 356041 h 369053"/>
                <a:gd name="connsiteX307" fmla="*/ 74032 w 265732"/>
                <a:gd name="connsiteY307" fmla="*/ 355838 h 369053"/>
                <a:gd name="connsiteX308" fmla="*/ 73532 w 265732"/>
                <a:gd name="connsiteY308" fmla="*/ 356806 h 369053"/>
                <a:gd name="connsiteX309" fmla="*/ 72972 w 265732"/>
                <a:gd name="connsiteY309" fmla="*/ 359630 h 369053"/>
                <a:gd name="connsiteX310" fmla="*/ 72404 w 265732"/>
                <a:gd name="connsiteY310" fmla="*/ 360443 h 369053"/>
                <a:gd name="connsiteX311" fmla="*/ 71439 w 265732"/>
                <a:gd name="connsiteY311" fmla="*/ 361089 h 369053"/>
                <a:gd name="connsiteX312" fmla="*/ 70280 w 265732"/>
                <a:gd name="connsiteY312" fmla="*/ 361739 h 369053"/>
                <a:gd name="connsiteX313" fmla="*/ 69148 w 265732"/>
                <a:gd name="connsiteY313" fmla="*/ 362056 h 369053"/>
                <a:gd name="connsiteX314" fmla="*/ 65091 w 265732"/>
                <a:gd name="connsiteY314" fmla="*/ 362017 h 369053"/>
                <a:gd name="connsiteX315" fmla="*/ 64557 w 265732"/>
                <a:gd name="connsiteY315" fmla="*/ 360593 h 369053"/>
                <a:gd name="connsiteX316" fmla="*/ 64557 w 265732"/>
                <a:gd name="connsiteY316" fmla="*/ 359997 h 369053"/>
                <a:gd name="connsiteX317" fmla="*/ 65276 w 265732"/>
                <a:gd name="connsiteY317" fmla="*/ 358120 h 369053"/>
                <a:gd name="connsiteX318" fmla="*/ 64648 w 265732"/>
                <a:gd name="connsiteY318" fmla="*/ 357792 h 369053"/>
                <a:gd name="connsiteX319" fmla="*/ 65246 w 265732"/>
                <a:gd name="connsiteY319" fmla="*/ 356319 h 369053"/>
                <a:gd name="connsiteX320" fmla="*/ 66203 w 265732"/>
                <a:gd name="connsiteY320" fmla="*/ 356398 h 369053"/>
                <a:gd name="connsiteX321" fmla="*/ 67336 w 265732"/>
                <a:gd name="connsiteY321" fmla="*/ 356180 h 369053"/>
                <a:gd name="connsiteX322" fmla="*/ 67904 w 265732"/>
                <a:gd name="connsiteY322" fmla="*/ 355422 h 369053"/>
                <a:gd name="connsiteX323" fmla="*/ 67861 w 265732"/>
                <a:gd name="connsiteY323" fmla="*/ 354517 h 369053"/>
                <a:gd name="connsiteX324" fmla="*/ 66285 w 265732"/>
                <a:gd name="connsiteY324" fmla="*/ 354282 h 369053"/>
                <a:gd name="connsiteX325" fmla="*/ 66188 w 265732"/>
                <a:gd name="connsiteY325" fmla="*/ 353664 h 369053"/>
                <a:gd name="connsiteX326" fmla="*/ 67593 w 265732"/>
                <a:gd name="connsiteY326" fmla="*/ 351083 h 369053"/>
                <a:gd name="connsiteX327" fmla="*/ 67794 w 265732"/>
                <a:gd name="connsiteY327" fmla="*/ 350369 h 369053"/>
                <a:gd name="connsiteX328" fmla="*/ 67250 w 265732"/>
                <a:gd name="connsiteY328" fmla="*/ 350221 h 369053"/>
                <a:gd name="connsiteX329" fmla="*/ 66369 w 265732"/>
                <a:gd name="connsiteY329" fmla="*/ 350502 h 369053"/>
                <a:gd name="connsiteX330" fmla="*/ 60562 w 265732"/>
                <a:gd name="connsiteY330" fmla="*/ 349692 h 369053"/>
                <a:gd name="connsiteX331" fmla="*/ 53400 w 265732"/>
                <a:gd name="connsiteY331" fmla="*/ 346385 h 369053"/>
                <a:gd name="connsiteX332" fmla="*/ 51638 w 265732"/>
                <a:gd name="connsiteY332" fmla="*/ 346214 h 369053"/>
                <a:gd name="connsiteX333" fmla="*/ 50554 w 265732"/>
                <a:gd name="connsiteY333" fmla="*/ 343257 h 369053"/>
                <a:gd name="connsiteX334" fmla="*/ 48826 w 265732"/>
                <a:gd name="connsiteY334" fmla="*/ 343632 h 369053"/>
                <a:gd name="connsiteX335" fmla="*/ 46308 w 265732"/>
                <a:gd name="connsiteY335" fmla="*/ 345363 h 369053"/>
                <a:gd name="connsiteX336" fmla="*/ 44419 w 265732"/>
                <a:gd name="connsiteY336" fmla="*/ 344048 h 369053"/>
                <a:gd name="connsiteX337" fmla="*/ 42389 w 265732"/>
                <a:gd name="connsiteY337" fmla="*/ 343182 h 369053"/>
                <a:gd name="connsiteX338" fmla="*/ 41827 w 265732"/>
                <a:gd name="connsiteY338" fmla="*/ 341828 h 369053"/>
                <a:gd name="connsiteX339" fmla="*/ 41856 w 265732"/>
                <a:gd name="connsiteY339" fmla="*/ 339829 h 369053"/>
                <a:gd name="connsiteX340" fmla="*/ 41681 w 265732"/>
                <a:gd name="connsiteY340" fmla="*/ 337469 h 369053"/>
                <a:gd name="connsiteX341" fmla="*/ 41126 w 265732"/>
                <a:gd name="connsiteY341" fmla="*/ 334704 h 369053"/>
                <a:gd name="connsiteX342" fmla="*/ 40720 w 265732"/>
                <a:gd name="connsiteY342" fmla="*/ 330768 h 369053"/>
                <a:gd name="connsiteX343" fmla="*/ 41100 w 265732"/>
                <a:gd name="connsiteY343" fmla="*/ 327687 h 369053"/>
                <a:gd name="connsiteX344" fmla="*/ 42719 w 265732"/>
                <a:gd name="connsiteY344" fmla="*/ 325403 h 369053"/>
                <a:gd name="connsiteX345" fmla="*/ 43341 w 265732"/>
                <a:gd name="connsiteY345" fmla="*/ 323944 h 369053"/>
                <a:gd name="connsiteX346" fmla="*/ 44101 w 265732"/>
                <a:gd name="connsiteY346" fmla="*/ 320215 h 369053"/>
                <a:gd name="connsiteX347" fmla="*/ 44272 w 265732"/>
                <a:gd name="connsiteY347" fmla="*/ 315839 h 369053"/>
                <a:gd name="connsiteX348" fmla="*/ 43842 w 265732"/>
                <a:gd name="connsiteY348" fmla="*/ 314347 h 369053"/>
                <a:gd name="connsiteX349" fmla="*/ 43950 w 265732"/>
                <a:gd name="connsiteY349" fmla="*/ 313354 h 369053"/>
                <a:gd name="connsiteX350" fmla="*/ 45242 w 265732"/>
                <a:gd name="connsiteY350" fmla="*/ 313354 h 369053"/>
                <a:gd name="connsiteX351" fmla="*/ 44961 w 265732"/>
                <a:gd name="connsiteY351" fmla="*/ 312502 h 369053"/>
                <a:gd name="connsiteX352" fmla="*/ 44393 w 265732"/>
                <a:gd name="connsiteY352" fmla="*/ 312035 h 369053"/>
                <a:gd name="connsiteX353" fmla="*/ 43765 w 265732"/>
                <a:gd name="connsiteY353" fmla="*/ 311065 h 369053"/>
                <a:gd name="connsiteX354" fmla="*/ 44300 w 265732"/>
                <a:gd name="connsiteY354" fmla="*/ 310551 h 369053"/>
                <a:gd name="connsiteX355" fmla="*/ 45846 w 265732"/>
                <a:gd name="connsiteY355" fmla="*/ 310514 h 369053"/>
                <a:gd name="connsiteX356" fmla="*/ 45971 w 265732"/>
                <a:gd name="connsiteY356" fmla="*/ 310187 h 369053"/>
                <a:gd name="connsiteX357" fmla="*/ 46146 w 265732"/>
                <a:gd name="connsiteY357" fmla="*/ 309723 h 369053"/>
                <a:gd name="connsiteX358" fmla="*/ 44950 w 265732"/>
                <a:gd name="connsiteY358" fmla="*/ 307170 h 369053"/>
                <a:gd name="connsiteX359" fmla="*/ 44812 w 265732"/>
                <a:gd name="connsiteY359" fmla="*/ 305952 h 369053"/>
                <a:gd name="connsiteX360" fmla="*/ 43151 w 265732"/>
                <a:gd name="connsiteY360" fmla="*/ 302250 h 369053"/>
                <a:gd name="connsiteX361" fmla="*/ 41257 w 265732"/>
                <a:gd name="connsiteY361" fmla="*/ 298735 h 369053"/>
                <a:gd name="connsiteX362" fmla="*/ 38407 w 265732"/>
                <a:gd name="connsiteY362" fmla="*/ 296188 h 369053"/>
                <a:gd name="connsiteX363" fmla="*/ 39418 w 265732"/>
                <a:gd name="connsiteY363" fmla="*/ 291988 h 369053"/>
                <a:gd name="connsiteX364" fmla="*/ 40569 w 265732"/>
                <a:gd name="connsiteY364" fmla="*/ 288184 h 369053"/>
                <a:gd name="connsiteX365" fmla="*/ 40340 w 265732"/>
                <a:gd name="connsiteY365" fmla="*/ 286349 h 369053"/>
                <a:gd name="connsiteX366" fmla="*/ 39899 w 265732"/>
                <a:gd name="connsiteY366" fmla="*/ 284114 h 369053"/>
                <a:gd name="connsiteX367" fmla="*/ 36410 w 265732"/>
                <a:gd name="connsiteY367" fmla="*/ 281660 h 369053"/>
                <a:gd name="connsiteX368" fmla="*/ 35891 w 265732"/>
                <a:gd name="connsiteY368" fmla="*/ 278196 h 369053"/>
                <a:gd name="connsiteX369" fmla="*/ 35038 w 265732"/>
                <a:gd name="connsiteY369" fmla="*/ 274472 h 369053"/>
                <a:gd name="connsiteX370" fmla="*/ 35360 w 265732"/>
                <a:gd name="connsiteY370" fmla="*/ 272185 h 369053"/>
                <a:gd name="connsiteX371" fmla="*/ 35928 w 265732"/>
                <a:gd name="connsiteY371" fmla="*/ 270433 h 369053"/>
                <a:gd name="connsiteX372" fmla="*/ 37075 w 265732"/>
                <a:gd name="connsiteY372" fmla="*/ 268687 h 369053"/>
                <a:gd name="connsiteX373" fmla="*/ 42864 w 265732"/>
                <a:gd name="connsiteY373" fmla="*/ 263167 h 369053"/>
                <a:gd name="connsiteX374" fmla="*/ 43218 w 265732"/>
                <a:gd name="connsiteY374" fmla="*/ 260279 h 369053"/>
                <a:gd name="connsiteX375" fmla="*/ 47142 w 265732"/>
                <a:gd name="connsiteY375" fmla="*/ 260069 h 369053"/>
                <a:gd name="connsiteX376" fmla="*/ 45321 w 265732"/>
                <a:gd name="connsiteY376" fmla="*/ 257484 h 369053"/>
                <a:gd name="connsiteX377" fmla="*/ 44892 w 265732"/>
                <a:gd name="connsiteY377" fmla="*/ 256031 h 369053"/>
                <a:gd name="connsiteX378" fmla="*/ 44801 w 265732"/>
                <a:gd name="connsiteY378" fmla="*/ 254334 h 369053"/>
                <a:gd name="connsiteX379" fmla="*/ 50446 w 265732"/>
                <a:gd name="connsiteY379" fmla="*/ 253171 h 369053"/>
                <a:gd name="connsiteX380" fmla="*/ 52553 w 265732"/>
                <a:gd name="connsiteY380" fmla="*/ 254126 h 369053"/>
                <a:gd name="connsiteX381" fmla="*/ 57520 w 265732"/>
                <a:gd name="connsiteY381" fmla="*/ 252946 h 369053"/>
                <a:gd name="connsiteX382" fmla="*/ 61929 w 265732"/>
                <a:gd name="connsiteY382" fmla="*/ 250636 h 369053"/>
                <a:gd name="connsiteX383" fmla="*/ 61851 w 265732"/>
                <a:gd name="connsiteY383" fmla="*/ 249407 h 369053"/>
                <a:gd name="connsiteX384" fmla="*/ 61174 w 265732"/>
                <a:gd name="connsiteY384" fmla="*/ 248306 h 369053"/>
                <a:gd name="connsiteX385" fmla="*/ 60238 w 265732"/>
                <a:gd name="connsiteY385" fmla="*/ 246185 h 369053"/>
                <a:gd name="connsiteX386" fmla="*/ 60901 w 265732"/>
                <a:gd name="connsiteY386" fmla="*/ 245596 h 369053"/>
                <a:gd name="connsiteX387" fmla="*/ 62510 w 265732"/>
                <a:gd name="connsiteY387" fmla="*/ 246029 h 369053"/>
                <a:gd name="connsiteX388" fmla="*/ 61772 w 265732"/>
                <a:gd name="connsiteY388" fmla="*/ 244974 h 369053"/>
                <a:gd name="connsiteX389" fmla="*/ 61906 w 265732"/>
                <a:gd name="connsiteY389" fmla="*/ 243861 h 369053"/>
                <a:gd name="connsiteX390" fmla="*/ 63661 w 265732"/>
                <a:gd name="connsiteY390" fmla="*/ 244324 h 369053"/>
                <a:gd name="connsiteX391" fmla="*/ 66527 w 265732"/>
                <a:gd name="connsiteY391" fmla="*/ 241214 h 369053"/>
                <a:gd name="connsiteX392" fmla="*/ 66630 w 265732"/>
                <a:gd name="connsiteY392" fmla="*/ 238835 h 369053"/>
                <a:gd name="connsiteX393" fmla="*/ 71582 w 265732"/>
                <a:gd name="connsiteY393" fmla="*/ 237590 h 369053"/>
                <a:gd name="connsiteX394" fmla="*/ 77291 w 265732"/>
                <a:gd name="connsiteY394" fmla="*/ 232724 h 369053"/>
                <a:gd name="connsiteX395" fmla="*/ 79926 w 265732"/>
                <a:gd name="connsiteY395" fmla="*/ 231207 h 369053"/>
                <a:gd name="connsiteX396" fmla="*/ 82471 w 265732"/>
                <a:gd name="connsiteY396" fmla="*/ 230108 h 369053"/>
                <a:gd name="connsiteX397" fmla="*/ 87894 w 265732"/>
                <a:gd name="connsiteY397" fmla="*/ 225229 h 369053"/>
                <a:gd name="connsiteX398" fmla="*/ 90215 w 265732"/>
                <a:gd name="connsiteY398" fmla="*/ 225002 h 369053"/>
                <a:gd name="connsiteX399" fmla="*/ 91409 w 265732"/>
                <a:gd name="connsiteY399" fmla="*/ 221706 h 369053"/>
                <a:gd name="connsiteX400" fmla="*/ 96020 w 265732"/>
                <a:gd name="connsiteY400" fmla="*/ 217312 h 369053"/>
                <a:gd name="connsiteX401" fmla="*/ 97421 w 265732"/>
                <a:gd name="connsiteY401" fmla="*/ 216749 h 369053"/>
                <a:gd name="connsiteX402" fmla="*/ 99576 w 265732"/>
                <a:gd name="connsiteY402" fmla="*/ 212779 h 369053"/>
                <a:gd name="connsiteX403" fmla="*/ 105238 w 265732"/>
                <a:gd name="connsiteY403" fmla="*/ 208180 h 369053"/>
                <a:gd name="connsiteX404" fmla="*/ 108827 w 265732"/>
                <a:gd name="connsiteY404" fmla="*/ 202302 h 369053"/>
                <a:gd name="connsiteX405" fmla="*/ 110807 w 265732"/>
                <a:gd name="connsiteY405" fmla="*/ 200210 h 369053"/>
                <a:gd name="connsiteX406" fmla="*/ 111420 w 265732"/>
                <a:gd name="connsiteY406" fmla="*/ 197980 h 369053"/>
                <a:gd name="connsiteX407" fmla="*/ 113625 w 265732"/>
                <a:gd name="connsiteY407" fmla="*/ 197791 h 369053"/>
                <a:gd name="connsiteX408" fmla="*/ 115614 w 265732"/>
                <a:gd name="connsiteY408" fmla="*/ 196151 h 369053"/>
                <a:gd name="connsiteX409" fmla="*/ 119917 w 265732"/>
                <a:gd name="connsiteY409" fmla="*/ 195007 h 369053"/>
                <a:gd name="connsiteX410" fmla="*/ 124165 w 265732"/>
                <a:gd name="connsiteY410" fmla="*/ 195324 h 369053"/>
                <a:gd name="connsiteX411" fmla="*/ 125934 w 265732"/>
                <a:gd name="connsiteY411" fmla="*/ 196102 h 369053"/>
                <a:gd name="connsiteX412" fmla="*/ 127568 w 265732"/>
                <a:gd name="connsiteY412" fmla="*/ 195855 h 369053"/>
                <a:gd name="connsiteX413" fmla="*/ 127404 w 265732"/>
                <a:gd name="connsiteY413" fmla="*/ 193846 h 369053"/>
                <a:gd name="connsiteX414" fmla="*/ 126238 w 265732"/>
                <a:gd name="connsiteY414" fmla="*/ 192604 h 369053"/>
                <a:gd name="connsiteX415" fmla="*/ 127190 w 265732"/>
                <a:gd name="connsiteY415" fmla="*/ 191411 h 369053"/>
                <a:gd name="connsiteX416" fmla="*/ 129436 w 265732"/>
                <a:gd name="connsiteY416" fmla="*/ 190506 h 369053"/>
                <a:gd name="connsiteX417" fmla="*/ 129207 w 265732"/>
                <a:gd name="connsiteY417" fmla="*/ 188505 h 369053"/>
                <a:gd name="connsiteX418" fmla="*/ 128719 w 265732"/>
                <a:gd name="connsiteY418" fmla="*/ 187300 h 369053"/>
                <a:gd name="connsiteX419" fmla="*/ 126853 w 265732"/>
                <a:gd name="connsiteY419" fmla="*/ 185694 h 369053"/>
                <a:gd name="connsiteX420" fmla="*/ 127782 w 265732"/>
                <a:gd name="connsiteY420" fmla="*/ 182092 h 369053"/>
                <a:gd name="connsiteX421" fmla="*/ 128004 w 265732"/>
                <a:gd name="connsiteY421" fmla="*/ 178137 h 369053"/>
                <a:gd name="connsiteX422" fmla="*/ 128888 w 265732"/>
                <a:gd name="connsiteY422" fmla="*/ 173559 h 369053"/>
                <a:gd name="connsiteX423" fmla="*/ 126542 w 265732"/>
                <a:gd name="connsiteY423" fmla="*/ 171129 h 369053"/>
                <a:gd name="connsiteX424" fmla="*/ 117644 w 265732"/>
                <a:gd name="connsiteY424" fmla="*/ 166987 h 369053"/>
                <a:gd name="connsiteX425" fmla="*/ 115983 w 265732"/>
                <a:gd name="connsiteY425" fmla="*/ 167131 h 369053"/>
                <a:gd name="connsiteX426" fmla="*/ 114007 w 265732"/>
                <a:gd name="connsiteY426" fmla="*/ 166611 h 369053"/>
                <a:gd name="connsiteX427" fmla="*/ 111943 w 265732"/>
                <a:gd name="connsiteY427" fmla="*/ 163467 h 369053"/>
                <a:gd name="connsiteX428" fmla="*/ 112865 w 265732"/>
                <a:gd name="connsiteY428" fmla="*/ 160750 h 369053"/>
                <a:gd name="connsiteX429" fmla="*/ 112971 w 265732"/>
                <a:gd name="connsiteY429" fmla="*/ 159748 h 369053"/>
                <a:gd name="connsiteX430" fmla="*/ 112165 w 265732"/>
                <a:gd name="connsiteY430" fmla="*/ 159778 h 369053"/>
                <a:gd name="connsiteX431" fmla="*/ 110861 w 265732"/>
                <a:gd name="connsiteY431" fmla="*/ 161103 h 369053"/>
                <a:gd name="connsiteX432" fmla="*/ 108023 w 265732"/>
                <a:gd name="connsiteY432" fmla="*/ 162617 h 369053"/>
                <a:gd name="connsiteX433" fmla="*/ 104335 w 265732"/>
                <a:gd name="connsiteY433" fmla="*/ 161455 h 369053"/>
                <a:gd name="connsiteX434" fmla="*/ 102521 w 265732"/>
                <a:gd name="connsiteY434" fmla="*/ 161713 h 369053"/>
                <a:gd name="connsiteX435" fmla="*/ 100168 w 265732"/>
                <a:gd name="connsiteY435" fmla="*/ 154976 h 369053"/>
                <a:gd name="connsiteX436" fmla="*/ 98965 w 265732"/>
                <a:gd name="connsiteY436" fmla="*/ 152396 h 369053"/>
                <a:gd name="connsiteX437" fmla="*/ 97035 w 265732"/>
                <a:gd name="connsiteY437" fmla="*/ 149175 h 369053"/>
                <a:gd name="connsiteX438" fmla="*/ 93588 w 265732"/>
                <a:gd name="connsiteY438" fmla="*/ 147600 h 369053"/>
                <a:gd name="connsiteX439" fmla="*/ 92914 w 265732"/>
                <a:gd name="connsiteY439" fmla="*/ 146709 h 369053"/>
                <a:gd name="connsiteX440" fmla="*/ 92457 w 265732"/>
                <a:gd name="connsiteY440" fmla="*/ 145343 h 369053"/>
                <a:gd name="connsiteX441" fmla="*/ 92307 w 265732"/>
                <a:gd name="connsiteY441" fmla="*/ 143444 h 369053"/>
                <a:gd name="connsiteX442" fmla="*/ 91871 w 265732"/>
                <a:gd name="connsiteY442" fmla="*/ 140631 h 369053"/>
                <a:gd name="connsiteX443" fmla="*/ 92053 w 265732"/>
                <a:gd name="connsiteY443" fmla="*/ 138321 h 369053"/>
                <a:gd name="connsiteX444" fmla="*/ 92476 w 265732"/>
                <a:gd name="connsiteY444" fmla="*/ 136943 h 369053"/>
                <a:gd name="connsiteX445" fmla="*/ 93961 w 265732"/>
                <a:gd name="connsiteY445" fmla="*/ 136017 h 369053"/>
                <a:gd name="connsiteX446" fmla="*/ 96110 w 265732"/>
                <a:gd name="connsiteY446" fmla="*/ 133403 h 369053"/>
                <a:gd name="connsiteX447" fmla="*/ 96559 w 265732"/>
                <a:gd name="connsiteY447" fmla="*/ 131501 h 369053"/>
                <a:gd name="connsiteX448" fmla="*/ 96743 w 265732"/>
                <a:gd name="connsiteY448" fmla="*/ 128581 h 369053"/>
                <a:gd name="connsiteX449" fmla="*/ 97732 w 265732"/>
                <a:gd name="connsiteY449" fmla="*/ 126028 h 369053"/>
                <a:gd name="connsiteX450" fmla="*/ 98831 w 265732"/>
                <a:gd name="connsiteY450" fmla="*/ 124736 h 369053"/>
                <a:gd name="connsiteX451" fmla="*/ 98555 w 265732"/>
                <a:gd name="connsiteY451" fmla="*/ 123708 h 369053"/>
                <a:gd name="connsiteX452" fmla="*/ 97797 w 265732"/>
                <a:gd name="connsiteY452" fmla="*/ 122236 h 369053"/>
                <a:gd name="connsiteX453" fmla="*/ 96194 w 265732"/>
                <a:gd name="connsiteY453" fmla="*/ 120145 h 369053"/>
                <a:gd name="connsiteX454" fmla="*/ 93754 w 265732"/>
                <a:gd name="connsiteY454" fmla="*/ 117593 h 369053"/>
                <a:gd name="connsiteX455" fmla="*/ 91949 w 265732"/>
                <a:gd name="connsiteY455" fmla="*/ 115149 h 369053"/>
                <a:gd name="connsiteX456" fmla="*/ 91157 w 265732"/>
                <a:gd name="connsiteY456" fmla="*/ 112862 h 369053"/>
                <a:gd name="connsiteX457" fmla="*/ 90749 w 265732"/>
                <a:gd name="connsiteY457" fmla="*/ 110816 h 369053"/>
                <a:gd name="connsiteX458" fmla="*/ 90815 w 265732"/>
                <a:gd name="connsiteY458" fmla="*/ 108953 h 369053"/>
                <a:gd name="connsiteX459" fmla="*/ 91491 w 265732"/>
                <a:gd name="connsiteY459" fmla="*/ 107684 h 369053"/>
                <a:gd name="connsiteX460" fmla="*/ 93798 w 265732"/>
                <a:gd name="connsiteY460" fmla="*/ 106085 h 369053"/>
                <a:gd name="connsiteX461" fmla="*/ 94106 w 265732"/>
                <a:gd name="connsiteY461" fmla="*/ 105406 h 369053"/>
                <a:gd name="connsiteX462" fmla="*/ 93193 w 265732"/>
                <a:gd name="connsiteY462" fmla="*/ 101868 h 369053"/>
                <a:gd name="connsiteX463" fmla="*/ 91584 w 265732"/>
                <a:gd name="connsiteY463" fmla="*/ 101223 h 369053"/>
                <a:gd name="connsiteX464" fmla="*/ 88848 w 265732"/>
                <a:gd name="connsiteY464" fmla="*/ 100880 h 369053"/>
                <a:gd name="connsiteX465" fmla="*/ 87322 w 265732"/>
                <a:gd name="connsiteY465" fmla="*/ 100851 h 369053"/>
                <a:gd name="connsiteX466" fmla="*/ 87030 w 265732"/>
                <a:gd name="connsiteY466" fmla="*/ 100464 h 369053"/>
                <a:gd name="connsiteX467" fmla="*/ 86955 w 265732"/>
                <a:gd name="connsiteY467" fmla="*/ 99751 h 369053"/>
                <a:gd name="connsiteX468" fmla="*/ 87263 w 265732"/>
                <a:gd name="connsiteY468" fmla="*/ 98297 h 369053"/>
                <a:gd name="connsiteX469" fmla="*/ 88127 w 265732"/>
                <a:gd name="connsiteY469" fmla="*/ 96629 h 369053"/>
                <a:gd name="connsiteX470" fmla="*/ 88846 w 265732"/>
                <a:gd name="connsiteY470" fmla="*/ 95566 h 369053"/>
                <a:gd name="connsiteX471" fmla="*/ 88941 w 265732"/>
                <a:gd name="connsiteY471" fmla="*/ 94664 h 369053"/>
                <a:gd name="connsiteX472" fmla="*/ 88032 w 265732"/>
                <a:gd name="connsiteY472" fmla="*/ 91575 h 369053"/>
                <a:gd name="connsiteX473" fmla="*/ 87758 w 265732"/>
                <a:gd name="connsiteY473" fmla="*/ 87780 h 369053"/>
                <a:gd name="connsiteX474" fmla="*/ 88069 w 265732"/>
                <a:gd name="connsiteY474" fmla="*/ 84803 h 369053"/>
                <a:gd name="connsiteX475" fmla="*/ 90967 w 265732"/>
                <a:gd name="connsiteY475" fmla="*/ 82604 h 369053"/>
                <a:gd name="connsiteX476" fmla="*/ 91098 w 265732"/>
                <a:gd name="connsiteY476" fmla="*/ 81800 h 369053"/>
                <a:gd name="connsiteX477" fmla="*/ 87458 w 265732"/>
                <a:gd name="connsiteY477" fmla="*/ 79410 h 369053"/>
                <a:gd name="connsiteX478" fmla="*/ 84832 w 265732"/>
                <a:gd name="connsiteY478" fmla="*/ 76697 h 369053"/>
                <a:gd name="connsiteX479" fmla="*/ 84016 w 265732"/>
                <a:gd name="connsiteY479" fmla="*/ 75112 h 369053"/>
                <a:gd name="connsiteX480" fmla="*/ 81007 w 265732"/>
                <a:gd name="connsiteY480" fmla="*/ 74872 h 369053"/>
                <a:gd name="connsiteX481" fmla="*/ 79135 w 265732"/>
                <a:gd name="connsiteY481" fmla="*/ 70260 h 369053"/>
                <a:gd name="connsiteX482" fmla="*/ 76427 w 265732"/>
                <a:gd name="connsiteY482" fmla="*/ 68010 h 369053"/>
                <a:gd name="connsiteX483" fmla="*/ 73745 w 265732"/>
                <a:gd name="connsiteY483" fmla="*/ 66065 h 369053"/>
                <a:gd name="connsiteX484" fmla="*/ 72160 w 265732"/>
                <a:gd name="connsiteY484" fmla="*/ 65159 h 369053"/>
                <a:gd name="connsiteX485" fmla="*/ 62866 w 265732"/>
                <a:gd name="connsiteY485" fmla="*/ 62360 h 369053"/>
                <a:gd name="connsiteX486" fmla="*/ 59174 w 265732"/>
                <a:gd name="connsiteY486" fmla="*/ 61827 h 369053"/>
                <a:gd name="connsiteX487" fmla="*/ 54803 w 265732"/>
                <a:gd name="connsiteY487" fmla="*/ 60192 h 369053"/>
                <a:gd name="connsiteX488" fmla="*/ 51547 w 265732"/>
                <a:gd name="connsiteY488" fmla="*/ 58137 h 369053"/>
                <a:gd name="connsiteX489" fmla="*/ 48757 w 265732"/>
                <a:gd name="connsiteY489" fmla="*/ 56814 h 369053"/>
                <a:gd name="connsiteX490" fmla="*/ 46369 w 265732"/>
                <a:gd name="connsiteY490" fmla="*/ 55182 h 369053"/>
                <a:gd name="connsiteX491" fmla="*/ 43039 w 265732"/>
                <a:gd name="connsiteY491" fmla="*/ 53654 h 369053"/>
                <a:gd name="connsiteX492" fmla="*/ 42087 w 265732"/>
                <a:gd name="connsiteY492" fmla="*/ 52347 h 369053"/>
                <a:gd name="connsiteX493" fmla="*/ 38491 w 265732"/>
                <a:gd name="connsiteY493" fmla="*/ 49924 h 369053"/>
                <a:gd name="connsiteX494" fmla="*/ 36803 w 265732"/>
                <a:gd name="connsiteY494" fmla="*/ 48328 h 369053"/>
                <a:gd name="connsiteX495" fmla="*/ 30946 w 265732"/>
                <a:gd name="connsiteY495" fmla="*/ 45309 h 369053"/>
                <a:gd name="connsiteX496" fmla="*/ 30735 w 265732"/>
                <a:gd name="connsiteY496" fmla="*/ 44117 h 369053"/>
                <a:gd name="connsiteX497" fmla="*/ 30692 w 265732"/>
                <a:gd name="connsiteY497" fmla="*/ 42966 h 369053"/>
                <a:gd name="connsiteX498" fmla="*/ 30428 w 265732"/>
                <a:gd name="connsiteY498" fmla="*/ 42488 h 369053"/>
                <a:gd name="connsiteX499" fmla="*/ 24392 w 265732"/>
                <a:gd name="connsiteY499" fmla="*/ 40278 h 369053"/>
                <a:gd name="connsiteX500" fmla="*/ 25580 w 265732"/>
                <a:gd name="connsiteY500" fmla="*/ 39013 h 369053"/>
                <a:gd name="connsiteX501" fmla="*/ 30299 w 265732"/>
                <a:gd name="connsiteY501" fmla="*/ 38937 h 369053"/>
                <a:gd name="connsiteX502" fmla="*/ 34201 w 265732"/>
                <a:gd name="connsiteY502" fmla="*/ 40088 h 369053"/>
                <a:gd name="connsiteX503" fmla="*/ 35058 w 265732"/>
                <a:gd name="connsiteY503" fmla="*/ 39596 h 369053"/>
                <a:gd name="connsiteX504" fmla="*/ 35574 w 265732"/>
                <a:gd name="connsiteY504" fmla="*/ 38573 h 369053"/>
                <a:gd name="connsiteX505" fmla="*/ 33911 w 265732"/>
                <a:gd name="connsiteY505" fmla="*/ 34464 h 369053"/>
                <a:gd name="connsiteX506" fmla="*/ 34209 w 265732"/>
                <a:gd name="connsiteY506" fmla="*/ 33393 h 369053"/>
                <a:gd name="connsiteX507" fmla="*/ 35926 w 265732"/>
                <a:gd name="connsiteY507" fmla="*/ 32102 h 369053"/>
                <a:gd name="connsiteX508" fmla="*/ 38647 w 265732"/>
                <a:gd name="connsiteY508" fmla="*/ 31074 h 369053"/>
                <a:gd name="connsiteX509" fmla="*/ 42946 w 265732"/>
                <a:gd name="connsiteY509" fmla="*/ 30925 h 369053"/>
                <a:gd name="connsiteX510" fmla="*/ 45876 w 265732"/>
                <a:gd name="connsiteY510" fmla="*/ 31077 h 369053"/>
                <a:gd name="connsiteX511" fmla="*/ 46496 w 265732"/>
                <a:gd name="connsiteY511" fmla="*/ 31189 h 369053"/>
                <a:gd name="connsiteX512" fmla="*/ 50873 w 265732"/>
                <a:gd name="connsiteY512" fmla="*/ 35711 h 369053"/>
                <a:gd name="connsiteX513" fmla="*/ 54626 w 265732"/>
                <a:gd name="connsiteY513" fmla="*/ 40113 h 369053"/>
                <a:gd name="connsiteX514" fmla="*/ 56622 w 265732"/>
                <a:gd name="connsiteY514" fmla="*/ 41986 h 369053"/>
                <a:gd name="connsiteX515" fmla="*/ 61502 w 265732"/>
                <a:gd name="connsiteY515" fmla="*/ 47283 h 369053"/>
                <a:gd name="connsiteX516" fmla="*/ 63327 w 265732"/>
                <a:gd name="connsiteY516" fmla="*/ 50342 h 369053"/>
                <a:gd name="connsiteX517" fmla="*/ 63946 w 265732"/>
                <a:gd name="connsiteY517" fmla="*/ 52530 h 369053"/>
                <a:gd name="connsiteX518" fmla="*/ 65931 w 265732"/>
                <a:gd name="connsiteY518" fmla="*/ 52516 h 369053"/>
                <a:gd name="connsiteX519" fmla="*/ 72793 w 265732"/>
                <a:gd name="connsiteY519" fmla="*/ 53475 h 369053"/>
                <a:gd name="connsiteX520" fmla="*/ 78557 w 265732"/>
                <a:gd name="connsiteY520" fmla="*/ 54282 h 369053"/>
                <a:gd name="connsiteX521" fmla="*/ 80163 w 265732"/>
                <a:gd name="connsiteY521" fmla="*/ 55505 h 369053"/>
                <a:gd name="connsiteX522" fmla="*/ 84137 w 265732"/>
                <a:gd name="connsiteY522" fmla="*/ 55259 h 369053"/>
                <a:gd name="connsiteX523" fmla="*/ 87198 w 265732"/>
                <a:gd name="connsiteY523" fmla="*/ 54156 h 369053"/>
                <a:gd name="connsiteX524" fmla="*/ 92605 w 265732"/>
                <a:gd name="connsiteY524" fmla="*/ 52761 h 369053"/>
                <a:gd name="connsiteX525" fmla="*/ 94055 w 265732"/>
                <a:gd name="connsiteY525" fmla="*/ 51044 h 369053"/>
                <a:gd name="connsiteX526" fmla="*/ 95855 w 265732"/>
                <a:gd name="connsiteY526" fmla="*/ 49212 h 369053"/>
                <a:gd name="connsiteX527" fmla="*/ 99026 w 265732"/>
                <a:gd name="connsiteY527" fmla="*/ 49500 h 369053"/>
                <a:gd name="connsiteX528" fmla="*/ 102491 w 265732"/>
                <a:gd name="connsiteY528" fmla="*/ 50949 h 369053"/>
                <a:gd name="connsiteX529" fmla="*/ 106425 w 265732"/>
                <a:gd name="connsiteY529" fmla="*/ 52851 h 369053"/>
                <a:gd name="connsiteX530" fmla="*/ 109930 w 265732"/>
                <a:gd name="connsiteY530" fmla="*/ 53731 h 369053"/>
                <a:gd name="connsiteX531" fmla="*/ 114633 w 265732"/>
                <a:gd name="connsiteY531" fmla="*/ 55111 h 369053"/>
                <a:gd name="connsiteX532" fmla="*/ 116827 w 265732"/>
                <a:gd name="connsiteY532" fmla="*/ 56893 h 369053"/>
                <a:gd name="connsiteX533" fmla="*/ 119900 w 265732"/>
                <a:gd name="connsiteY533" fmla="*/ 57401 h 369053"/>
                <a:gd name="connsiteX534" fmla="*/ 123117 w 265732"/>
                <a:gd name="connsiteY534" fmla="*/ 55620 h 369053"/>
                <a:gd name="connsiteX535" fmla="*/ 125018 w 265732"/>
                <a:gd name="connsiteY535" fmla="*/ 50779 h 369053"/>
                <a:gd name="connsiteX536" fmla="*/ 126704 w 265732"/>
                <a:gd name="connsiteY536" fmla="*/ 48616 h 369053"/>
                <a:gd name="connsiteX537" fmla="*/ 129093 w 265732"/>
                <a:gd name="connsiteY537" fmla="*/ 47028 h 369053"/>
                <a:gd name="connsiteX538" fmla="*/ 131829 w 265732"/>
                <a:gd name="connsiteY538" fmla="*/ 46327 h 369053"/>
                <a:gd name="connsiteX539" fmla="*/ 133917 w 265732"/>
                <a:gd name="connsiteY539" fmla="*/ 46073 h 369053"/>
                <a:gd name="connsiteX540" fmla="*/ 135495 w 265732"/>
                <a:gd name="connsiteY540" fmla="*/ 44837 h 369053"/>
                <a:gd name="connsiteX541" fmla="*/ 137743 w 265732"/>
                <a:gd name="connsiteY541" fmla="*/ 42089 h 369053"/>
                <a:gd name="connsiteX542" fmla="*/ 138182 w 265732"/>
                <a:gd name="connsiteY542" fmla="*/ 38755 h 369053"/>
                <a:gd name="connsiteX543" fmla="*/ 137750 w 265732"/>
                <a:gd name="connsiteY543" fmla="*/ 32718 h 369053"/>
                <a:gd name="connsiteX544" fmla="*/ 138160 w 265732"/>
                <a:gd name="connsiteY544" fmla="*/ 30723 h 369053"/>
                <a:gd name="connsiteX545" fmla="*/ 139996 w 265732"/>
                <a:gd name="connsiteY545" fmla="*/ 27454 h 369053"/>
                <a:gd name="connsiteX546" fmla="*/ 142457 w 265732"/>
                <a:gd name="connsiteY546" fmla="*/ 18764 h 369053"/>
                <a:gd name="connsiteX547" fmla="*/ 143563 w 265732"/>
                <a:gd name="connsiteY547" fmla="*/ 16253 h 369053"/>
                <a:gd name="connsiteX548" fmla="*/ 144910 w 265732"/>
                <a:gd name="connsiteY548" fmla="*/ 14724 h 369053"/>
                <a:gd name="connsiteX549" fmla="*/ 146761 w 265732"/>
                <a:gd name="connsiteY549" fmla="*/ 13814 h 369053"/>
                <a:gd name="connsiteX550" fmla="*/ 150123 w 265732"/>
                <a:gd name="connsiteY550" fmla="*/ 11169 h 369053"/>
                <a:gd name="connsiteX551" fmla="*/ 154925 w 265732"/>
                <a:gd name="connsiteY551" fmla="*/ 5923 h 369053"/>
                <a:gd name="connsiteX552" fmla="*/ 156227 w 265732"/>
                <a:gd name="connsiteY552" fmla="*/ 5477 h 369053"/>
                <a:gd name="connsiteX553" fmla="*/ 159676 w 265732"/>
                <a:gd name="connsiteY553" fmla="*/ 5211 h 369053"/>
                <a:gd name="connsiteX554" fmla="*/ 163967 w 265732"/>
                <a:gd name="connsiteY554" fmla="*/ 5406 h 369053"/>
                <a:gd name="connsiteX555" fmla="*/ 167823 w 265732"/>
                <a:gd name="connsiteY555" fmla="*/ 6331 h 369053"/>
                <a:gd name="connsiteX556" fmla="*/ 168240 w 265732"/>
                <a:gd name="connsiteY556" fmla="*/ 6260 h 369053"/>
                <a:gd name="connsiteX557" fmla="*/ 169968 w 265732"/>
                <a:gd name="connsiteY557" fmla="*/ 5778 h 369053"/>
                <a:gd name="connsiteX558" fmla="*/ 173116 w 265732"/>
                <a:gd name="connsiteY558" fmla="*/ 4145 h 369053"/>
                <a:gd name="connsiteX559" fmla="*/ 178504 w 265732"/>
                <a:gd name="connsiteY559" fmla="*/ 895 h 36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</a:cxnLst>
              <a:rect l="l" t="t" r="r" b="b"/>
              <a:pathLst>
                <a:path w="265732" h="369053">
                  <a:moveTo>
                    <a:pt x="21473" y="360506"/>
                  </a:moveTo>
                  <a:lnTo>
                    <a:pt x="23220" y="360680"/>
                  </a:lnTo>
                  <a:lnTo>
                    <a:pt x="24153" y="361638"/>
                  </a:lnTo>
                  <a:lnTo>
                    <a:pt x="23978" y="362422"/>
                  </a:lnTo>
                  <a:lnTo>
                    <a:pt x="22173" y="362597"/>
                  </a:lnTo>
                  <a:lnTo>
                    <a:pt x="21415" y="361899"/>
                  </a:lnTo>
                  <a:lnTo>
                    <a:pt x="19728" y="361986"/>
                  </a:lnTo>
                  <a:lnTo>
                    <a:pt x="19435" y="361638"/>
                  </a:lnTo>
                  <a:lnTo>
                    <a:pt x="20134" y="360942"/>
                  </a:lnTo>
                  <a:close/>
                  <a:moveTo>
                    <a:pt x="45306" y="357280"/>
                  </a:moveTo>
                  <a:lnTo>
                    <a:pt x="46768" y="357390"/>
                  </a:lnTo>
                  <a:lnTo>
                    <a:pt x="47079" y="358322"/>
                  </a:lnTo>
                  <a:lnTo>
                    <a:pt x="46641" y="359417"/>
                  </a:lnTo>
                  <a:lnTo>
                    <a:pt x="44702" y="359744"/>
                  </a:lnTo>
                  <a:lnTo>
                    <a:pt x="43494" y="358787"/>
                  </a:lnTo>
                  <a:lnTo>
                    <a:pt x="43953" y="358075"/>
                  </a:lnTo>
                  <a:close/>
                  <a:moveTo>
                    <a:pt x="51860" y="356303"/>
                  </a:moveTo>
                  <a:lnTo>
                    <a:pt x="51171" y="358333"/>
                  </a:lnTo>
                  <a:lnTo>
                    <a:pt x="48958" y="359471"/>
                  </a:lnTo>
                  <a:lnTo>
                    <a:pt x="48115" y="359200"/>
                  </a:lnTo>
                  <a:lnTo>
                    <a:pt x="48332" y="357280"/>
                  </a:lnTo>
                  <a:lnTo>
                    <a:pt x="49647" y="356401"/>
                  </a:lnTo>
                  <a:close/>
                  <a:moveTo>
                    <a:pt x="2428" y="354834"/>
                  </a:moveTo>
                  <a:lnTo>
                    <a:pt x="3168" y="356788"/>
                  </a:lnTo>
                  <a:lnTo>
                    <a:pt x="3283" y="357531"/>
                  </a:lnTo>
                  <a:lnTo>
                    <a:pt x="2436" y="357345"/>
                  </a:lnTo>
                  <a:lnTo>
                    <a:pt x="1786" y="357599"/>
                  </a:lnTo>
                  <a:lnTo>
                    <a:pt x="1345" y="358514"/>
                  </a:lnTo>
                  <a:lnTo>
                    <a:pt x="387" y="358186"/>
                  </a:lnTo>
                  <a:lnTo>
                    <a:pt x="0" y="356874"/>
                  </a:lnTo>
                  <a:lnTo>
                    <a:pt x="715" y="354909"/>
                  </a:lnTo>
                  <a:close/>
                  <a:moveTo>
                    <a:pt x="58731" y="350695"/>
                  </a:moveTo>
                  <a:lnTo>
                    <a:pt x="61532" y="351466"/>
                  </a:lnTo>
                  <a:lnTo>
                    <a:pt x="62709" y="351190"/>
                  </a:lnTo>
                  <a:lnTo>
                    <a:pt x="64047" y="352933"/>
                  </a:lnTo>
                  <a:lnTo>
                    <a:pt x="61778" y="354042"/>
                  </a:lnTo>
                  <a:lnTo>
                    <a:pt x="61620" y="355416"/>
                  </a:lnTo>
                  <a:lnTo>
                    <a:pt x="62517" y="356269"/>
                  </a:lnTo>
                  <a:lnTo>
                    <a:pt x="62832" y="357503"/>
                  </a:lnTo>
                  <a:lnTo>
                    <a:pt x="60571" y="357502"/>
                  </a:lnTo>
                  <a:lnTo>
                    <a:pt x="59489" y="356463"/>
                  </a:lnTo>
                  <a:lnTo>
                    <a:pt x="59018" y="355144"/>
                  </a:lnTo>
                  <a:lnTo>
                    <a:pt x="57967" y="354210"/>
                  </a:lnTo>
                  <a:lnTo>
                    <a:pt x="56565" y="353499"/>
                  </a:lnTo>
                  <a:lnTo>
                    <a:pt x="57252" y="352551"/>
                  </a:lnTo>
                  <a:lnTo>
                    <a:pt x="57643" y="351190"/>
                  </a:lnTo>
                  <a:close/>
                  <a:moveTo>
                    <a:pt x="8165" y="349529"/>
                  </a:moveTo>
                  <a:lnTo>
                    <a:pt x="9409" y="351135"/>
                  </a:lnTo>
                  <a:lnTo>
                    <a:pt x="10404" y="351345"/>
                  </a:lnTo>
                  <a:lnTo>
                    <a:pt x="11082" y="351355"/>
                  </a:lnTo>
                  <a:lnTo>
                    <a:pt x="11384" y="351075"/>
                  </a:lnTo>
                  <a:lnTo>
                    <a:pt x="12568" y="351271"/>
                  </a:lnTo>
                  <a:lnTo>
                    <a:pt x="14347" y="352557"/>
                  </a:lnTo>
                  <a:lnTo>
                    <a:pt x="14705" y="353253"/>
                  </a:lnTo>
                  <a:lnTo>
                    <a:pt x="15932" y="353609"/>
                  </a:lnTo>
                  <a:lnTo>
                    <a:pt x="16360" y="354330"/>
                  </a:lnTo>
                  <a:lnTo>
                    <a:pt x="14941" y="356576"/>
                  </a:lnTo>
                  <a:lnTo>
                    <a:pt x="14064" y="356618"/>
                  </a:lnTo>
                  <a:lnTo>
                    <a:pt x="13410" y="356334"/>
                  </a:lnTo>
                  <a:lnTo>
                    <a:pt x="12255" y="356579"/>
                  </a:lnTo>
                  <a:lnTo>
                    <a:pt x="11577" y="357004"/>
                  </a:lnTo>
                  <a:lnTo>
                    <a:pt x="11350" y="357937"/>
                  </a:lnTo>
                  <a:lnTo>
                    <a:pt x="11387" y="359888"/>
                  </a:lnTo>
                  <a:lnTo>
                    <a:pt x="6208" y="360279"/>
                  </a:lnTo>
                  <a:lnTo>
                    <a:pt x="5018" y="359709"/>
                  </a:lnTo>
                  <a:lnTo>
                    <a:pt x="3388" y="355268"/>
                  </a:lnTo>
                  <a:lnTo>
                    <a:pt x="3712" y="354120"/>
                  </a:lnTo>
                  <a:lnTo>
                    <a:pt x="4809" y="353630"/>
                  </a:lnTo>
                  <a:lnTo>
                    <a:pt x="5749" y="353525"/>
                  </a:lnTo>
                  <a:lnTo>
                    <a:pt x="5887" y="355919"/>
                  </a:lnTo>
                  <a:lnTo>
                    <a:pt x="7266" y="355681"/>
                  </a:lnTo>
                  <a:lnTo>
                    <a:pt x="7699" y="354103"/>
                  </a:lnTo>
                  <a:lnTo>
                    <a:pt x="7795" y="352992"/>
                  </a:lnTo>
                  <a:lnTo>
                    <a:pt x="7422" y="352431"/>
                  </a:lnTo>
                  <a:lnTo>
                    <a:pt x="6485" y="351996"/>
                  </a:lnTo>
                  <a:lnTo>
                    <a:pt x="5943" y="351250"/>
                  </a:lnTo>
                  <a:lnTo>
                    <a:pt x="6722" y="350049"/>
                  </a:lnTo>
                  <a:close/>
                  <a:moveTo>
                    <a:pt x="51039" y="347396"/>
                  </a:moveTo>
                  <a:lnTo>
                    <a:pt x="52799" y="348443"/>
                  </a:lnTo>
                  <a:lnTo>
                    <a:pt x="53760" y="349666"/>
                  </a:lnTo>
                  <a:lnTo>
                    <a:pt x="52821" y="349950"/>
                  </a:lnTo>
                  <a:lnTo>
                    <a:pt x="54412" y="351211"/>
                  </a:lnTo>
                  <a:lnTo>
                    <a:pt x="54732" y="351827"/>
                  </a:lnTo>
                  <a:lnTo>
                    <a:pt x="53123" y="351973"/>
                  </a:lnTo>
                  <a:lnTo>
                    <a:pt x="50849" y="350326"/>
                  </a:lnTo>
                  <a:lnTo>
                    <a:pt x="50562" y="349682"/>
                  </a:lnTo>
                  <a:lnTo>
                    <a:pt x="51454" y="349308"/>
                  </a:lnTo>
                  <a:lnTo>
                    <a:pt x="50865" y="347983"/>
                  </a:lnTo>
                  <a:close/>
                  <a:moveTo>
                    <a:pt x="38675" y="341784"/>
                  </a:moveTo>
                  <a:lnTo>
                    <a:pt x="39409" y="343210"/>
                  </a:lnTo>
                  <a:lnTo>
                    <a:pt x="42717" y="345409"/>
                  </a:lnTo>
                  <a:lnTo>
                    <a:pt x="42408" y="346959"/>
                  </a:lnTo>
                  <a:lnTo>
                    <a:pt x="40908" y="346787"/>
                  </a:lnTo>
                  <a:lnTo>
                    <a:pt x="39381" y="347068"/>
                  </a:lnTo>
                  <a:lnTo>
                    <a:pt x="38150" y="345529"/>
                  </a:lnTo>
                  <a:lnTo>
                    <a:pt x="37491" y="342933"/>
                  </a:lnTo>
                  <a:lnTo>
                    <a:pt x="37716" y="342374"/>
                  </a:lnTo>
                  <a:close/>
                  <a:moveTo>
                    <a:pt x="37973" y="251776"/>
                  </a:moveTo>
                  <a:lnTo>
                    <a:pt x="37651" y="252424"/>
                  </a:lnTo>
                  <a:lnTo>
                    <a:pt x="37563" y="253045"/>
                  </a:lnTo>
                  <a:lnTo>
                    <a:pt x="37800" y="253695"/>
                  </a:lnTo>
                  <a:lnTo>
                    <a:pt x="39096" y="253516"/>
                  </a:lnTo>
                  <a:lnTo>
                    <a:pt x="40841" y="252332"/>
                  </a:lnTo>
                  <a:lnTo>
                    <a:pt x="42078" y="252885"/>
                  </a:lnTo>
                  <a:lnTo>
                    <a:pt x="41938" y="254575"/>
                  </a:lnTo>
                  <a:lnTo>
                    <a:pt x="41098" y="254511"/>
                  </a:lnTo>
                  <a:lnTo>
                    <a:pt x="40867" y="254232"/>
                  </a:lnTo>
                  <a:lnTo>
                    <a:pt x="39789" y="255197"/>
                  </a:lnTo>
                  <a:lnTo>
                    <a:pt x="39597" y="255781"/>
                  </a:lnTo>
                  <a:lnTo>
                    <a:pt x="38351" y="256154"/>
                  </a:lnTo>
                  <a:lnTo>
                    <a:pt x="36049" y="254502"/>
                  </a:lnTo>
                  <a:lnTo>
                    <a:pt x="34602" y="251783"/>
                  </a:lnTo>
                  <a:close/>
                  <a:moveTo>
                    <a:pt x="116464" y="187740"/>
                  </a:moveTo>
                  <a:lnTo>
                    <a:pt x="120546" y="188858"/>
                  </a:lnTo>
                  <a:lnTo>
                    <a:pt x="121142" y="189455"/>
                  </a:lnTo>
                  <a:lnTo>
                    <a:pt x="118803" y="189902"/>
                  </a:lnTo>
                  <a:lnTo>
                    <a:pt x="117840" y="191169"/>
                  </a:lnTo>
                  <a:lnTo>
                    <a:pt x="114539" y="192361"/>
                  </a:lnTo>
                  <a:lnTo>
                    <a:pt x="111878" y="191616"/>
                  </a:lnTo>
                  <a:lnTo>
                    <a:pt x="111832" y="189306"/>
                  </a:lnTo>
                  <a:lnTo>
                    <a:pt x="113482" y="188187"/>
                  </a:lnTo>
                  <a:close/>
                  <a:moveTo>
                    <a:pt x="181957" y="0"/>
                  </a:moveTo>
                  <a:lnTo>
                    <a:pt x="185099" y="126"/>
                  </a:lnTo>
                  <a:lnTo>
                    <a:pt x="188577" y="3686"/>
                  </a:lnTo>
                  <a:lnTo>
                    <a:pt x="193483" y="7643"/>
                  </a:lnTo>
                  <a:lnTo>
                    <a:pt x="196636" y="9562"/>
                  </a:lnTo>
                  <a:lnTo>
                    <a:pt x="205230" y="13154"/>
                  </a:lnTo>
                  <a:lnTo>
                    <a:pt x="212775" y="15515"/>
                  </a:lnTo>
                  <a:lnTo>
                    <a:pt x="217016" y="23292"/>
                  </a:lnTo>
                  <a:lnTo>
                    <a:pt x="214926" y="26382"/>
                  </a:lnTo>
                  <a:lnTo>
                    <a:pt x="213885" y="27446"/>
                  </a:lnTo>
                  <a:lnTo>
                    <a:pt x="210195" y="30516"/>
                  </a:lnTo>
                  <a:lnTo>
                    <a:pt x="206245" y="34840"/>
                  </a:lnTo>
                  <a:lnTo>
                    <a:pt x="205943" y="37090"/>
                  </a:lnTo>
                  <a:lnTo>
                    <a:pt x="207254" y="39357"/>
                  </a:lnTo>
                  <a:lnTo>
                    <a:pt x="208889" y="40855"/>
                  </a:lnTo>
                  <a:lnTo>
                    <a:pt x="207409" y="41332"/>
                  </a:lnTo>
                  <a:lnTo>
                    <a:pt x="202838" y="43215"/>
                  </a:lnTo>
                  <a:lnTo>
                    <a:pt x="200048" y="44485"/>
                  </a:lnTo>
                  <a:lnTo>
                    <a:pt x="196688" y="45416"/>
                  </a:lnTo>
                  <a:lnTo>
                    <a:pt x="197560" y="46649"/>
                  </a:lnTo>
                  <a:lnTo>
                    <a:pt x="203142" y="46910"/>
                  </a:lnTo>
                  <a:lnTo>
                    <a:pt x="204002" y="47260"/>
                  </a:lnTo>
                  <a:lnTo>
                    <a:pt x="204621" y="47894"/>
                  </a:lnTo>
                  <a:lnTo>
                    <a:pt x="204727" y="48907"/>
                  </a:lnTo>
                  <a:lnTo>
                    <a:pt x="204161" y="50542"/>
                  </a:lnTo>
                  <a:lnTo>
                    <a:pt x="198130" y="59538"/>
                  </a:lnTo>
                  <a:lnTo>
                    <a:pt x="197940" y="61428"/>
                  </a:lnTo>
                  <a:lnTo>
                    <a:pt x="199918" y="66676"/>
                  </a:lnTo>
                  <a:lnTo>
                    <a:pt x="202682" y="72845"/>
                  </a:lnTo>
                  <a:lnTo>
                    <a:pt x="211037" y="75582"/>
                  </a:lnTo>
                  <a:lnTo>
                    <a:pt x="217247" y="77717"/>
                  </a:lnTo>
                  <a:lnTo>
                    <a:pt x="221236" y="82760"/>
                  </a:lnTo>
                  <a:lnTo>
                    <a:pt x="227811" y="89390"/>
                  </a:lnTo>
                  <a:lnTo>
                    <a:pt x="231297" y="91862"/>
                  </a:lnTo>
                  <a:lnTo>
                    <a:pt x="231493" y="92629"/>
                  </a:lnTo>
                  <a:lnTo>
                    <a:pt x="230456" y="97183"/>
                  </a:lnTo>
                  <a:lnTo>
                    <a:pt x="226241" y="101735"/>
                  </a:lnTo>
                  <a:lnTo>
                    <a:pt x="222298" y="105565"/>
                  </a:lnTo>
                  <a:lnTo>
                    <a:pt x="218217" y="110170"/>
                  </a:lnTo>
                  <a:lnTo>
                    <a:pt x="215025" y="114087"/>
                  </a:lnTo>
                  <a:lnTo>
                    <a:pt x="211568" y="118772"/>
                  </a:lnTo>
                  <a:lnTo>
                    <a:pt x="211171" y="120288"/>
                  </a:lnTo>
                  <a:lnTo>
                    <a:pt x="211108" y="121719"/>
                  </a:lnTo>
                  <a:lnTo>
                    <a:pt x="211702" y="123300"/>
                  </a:lnTo>
                  <a:lnTo>
                    <a:pt x="216129" y="129002"/>
                  </a:lnTo>
                  <a:lnTo>
                    <a:pt x="217852" y="131908"/>
                  </a:lnTo>
                  <a:lnTo>
                    <a:pt x="219912" y="135045"/>
                  </a:lnTo>
                  <a:lnTo>
                    <a:pt x="221680" y="138458"/>
                  </a:lnTo>
                  <a:lnTo>
                    <a:pt x="222706" y="141510"/>
                  </a:lnTo>
                  <a:lnTo>
                    <a:pt x="224479" y="144480"/>
                  </a:lnTo>
                  <a:lnTo>
                    <a:pt x="225581" y="145996"/>
                  </a:lnTo>
                  <a:lnTo>
                    <a:pt x="227411" y="148118"/>
                  </a:lnTo>
                  <a:lnTo>
                    <a:pt x="229621" y="151271"/>
                  </a:lnTo>
                  <a:lnTo>
                    <a:pt x="230355" y="153765"/>
                  </a:lnTo>
                  <a:lnTo>
                    <a:pt x="233691" y="162396"/>
                  </a:lnTo>
                  <a:lnTo>
                    <a:pt x="234028" y="164590"/>
                  </a:lnTo>
                  <a:lnTo>
                    <a:pt x="233864" y="166212"/>
                  </a:lnTo>
                  <a:lnTo>
                    <a:pt x="232398" y="166611"/>
                  </a:lnTo>
                  <a:lnTo>
                    <a:pt x="229161" y="166869"/>
                  </a:lnTo>
                  <a:lnTo>
                    <a:pt x="225652" y="167931"/>
                  </a:lnTo>
                  <a:lnTo>
                    <a:pt x="225475" y="168288"/>
                  </a:lnTo>
                  <a:lnTo>
                    <a:pt x="227764" y="170314"/>
                  </a:lnTo>
                  <a:lnTo>
                    <a:pt x="225742" y="173770"/>
                  </a:lnTo>
                  <a:lnTo>
                    <a:pt x="225451" y="178707"/>
                  </a:lnTo>
                  <a:lnTo>
                    <a:pt x="223292" y="181294"/>
                  </a:lnTo>
                  <a:lnTo>
                    <a:pt x="223088" y="181895"/>
                  </a:lnTo>
                  <a:lnTo>
                    <a:pt x="223186" y="182397"/>
                  </a:lnTo>
                  <a:lnTo>
                    <a:pt x="223568" y="182789"/>
                  </a:lnTo>
                  <a:lnTo>
                    <a:pt x="227567" y="183479"/>
                  </a:lnTo>
                  <a:lnTo>
                    <a:pt x="227913" y="184180"/>
                  </a:lnTo>
                  <a:lnTo>
                    <a:pt x="227930" y="185629"/>
                  </a:lnTo>
                  <a:lnTo>
                    <a:pt x="227573" y="186967"/>
                  </a:lnTo>
                  <a:lnTo>
                    <a:pt x="225565" y="187959"/>
                  </a:lnTo>
                  <a:lnTo>
                    <a:pt x="223408" y="189427"/>
                  </a:lnTo>
                  <a:lnTo>
                    <a:pt x="222931" y="190776"/>
                  </a:lnTo>
                  <a:lnTo>
                    <a:pt x="223004" y="191980"/>
                  </a:lnTo>
                  <a:lnTo>
                    <a:pt x="223741" y="194013"/>
                  </a:lnTo>
                  <a:lnTo>
                    <a:pt x="225159" y="196379"/>
                  </a:lnTo>
                  <a:lnTo>
                    <a:pt x="226963" y="197863"/>
                  </a:lnTo>
                  <a:lnTo>
                    <a:pt x="233367" y="199267"/>
                  </a:lnTo>
                  <a:lnTo>
                    <a:pt x="234194" y="200428"/>
                  </a:lnTo>
                  <a:lnTo>
                    <a:pt x="234546" y="202018"/>
                  </a:lnTo>
                  <a:lnTo>
                    <a:pt x="234412" y="203569"/>
                  </a:lnTo>
                  <a:lnTo>
                    <a:pt x="231437" y="206669"/>
                  </a:lnTo>
                  <a:lnTo>
                    <a:pt x="231460" y="207860"/>
                  </a:lnTo>
                  <a:lnTo>
                    <a:pt x="232682" y="210740"/>
                  </a:lnTo>
                  <a:lnTo>
                    <a:pt x="234147" y="213485"/>
                  </a:lnTo>
                  <a:lnTo>
                    <a:pt x="240394" y="216455"/>
                  </a:lnTo>
                  <a:lnTo>
                    <a:pt x="242545" y="218082"/>
                  </a:lnTo>
                  <a:lnTo>
                    <a:pt x="243117" y="219376"/>
                  </a:lnTo>
                  <a:lnTo>
                    <a:pt x="243430" y="221460"/>
                  </a:lnTo>
                  <a:lnTo>
                    <a:pt x="243389" y="223717"/>
                  </a:lnTo>
                  <a:lnTo>
                    <a:pt x="242899" y="225719"/>
                  </a:lnTo>
                  <a:lnTo>
                    <a:pt x="240940" y="228298"/>
                  </a:lnTo>
                  <a:lnTo>
                    <a:pt x="236406" y="233375"/>
                  </a:lnTo>
                  <a:lnTo>
                    <a:pt x="231847" y="235344"/>
                  </a:lnTo>
                  <a:lnTo>
                    <a:pt x="231569" y="235771"/>
                  </a:lnTo>
                  <a:lnTo>
                    <a:pt x="232981" y="237391"/>
                  </a:lnTo>
                  <a:lnTo>
                    <a:pt x="241011" y="243873"/>
                  </a:lnTo>
                  <a:lnTo>
                    <a:pt x="246246" y="246900"/>
                  </a:lnTo>
                  <a:lnTo>
                    <a:pt x="253311" y="250978"/>
                  </a:lnTo>
                  <a:lnTo>
                    <a:pt x="257868" y="254194"/>
                  </a:lnTo>
                  <a:lnTo>
                    <a:pt x="259340" y="256505"/>
                  </a:lnTo>
                  <a:lnTo>
                    <a:pt x="261314" y="259071"/>
                  </a:lnTo>
                  <a:lnTo>
                    <a:pt x="263532" y="261166"/>
                  </a:lnTo>
                  <a:lnTo>
                    <a:pt x="265130" y="262982"/>
                  </a:lnTo>
                  <a:lnTo>
                    <a:pt x="265732" y="264150"/>
                  </a:lnTo>
                  <a:lnTo>
                    <a:pt x="265676" y="265405"/>
                  </a:lnTo>
                  <a:lnTo>
                    <a:pt x="263538" y="269185"/>
                  </a:lnTo>
                  <a:lnTo>
                    <a:pt x="262324" y="272102"/>
                  </a:lnTo>
                  <a:lnTo>
                    <a:pt x="260185" y="276371"/>
                  </a:lnTo>
                  <a:lnTo>
                    <a:pt x="257997" y="279345"/>
                  </a:lnTo>
                  <a:lnTo>
                    <a:pt x="252448" y="284759"/>
                  </a:lnTo>
                  <a:lnTo>
                    <a:pt x="244264" y="291477"/>
                  </a:lnTo>
                  <a:lnTo>
                    <a:pt x="242363" y="293506"/>
                  </a:lnTo>
                  <a:lnTo>
                    <a:pt x="238533" y="297034"/>
                  </a:lnTo>
                  <a:lnTo>
                    <a:pt x="231977" y="304096"/>
                  </a:lnTo>
                  <a:lnTo>
                    <a:pt x="230279" y="305652"/>
                  </a:lnTo>
                  <a:lnTo>
                    <a:pt x="224905" y="311263"/>
                  </a:lnTo>
                  <a:lnTo>
                    <a:pt x="222456" y="313045"/>
                  </a:lnTo>
                  <a:lnTo>
                    <a:pt x="220532" y="314710"/>
                  </a:lnTo>
                  <a:lnTo>
                    <a:pt x="215209" y="319993"/>
                  </a:lnTo>
                  <a:lnTo>
                    <a:pt x="209489" y="323994"/>
                  </a:lnTo>
                  <a:lnTo>
                    <a:pt x="203874" y="327703"/>
                  </a:lnTo>
                  <a:lnTo>
                    <a:pt x="202190" y="329581"/>
                  </a:lnTo>
                  <a:lnTo>
                    <a:pt x="200095" y="331012"/>
                  </a:lnTo>
                  <a:lnTo>
                    <a:pt x="197595" y="332372"/>
                  </a:lnTo>
                  <a:lnTo>
                    <a:pt x="196541" y="333134"/>
                  </a:lnTo>
                  <a:lnTo>
                    <a:pt x="190892" y="338191"/>
                  </a:lnTo>
                  <a:lnTo>
                    <a:pt x="183058" y="345191"/>
                  </a:lnTo>
                  <a:lnTo>
                    <a:pt x="182261" y="345300"/>
                  </a:lnTo>
                  <a:lnTo>
                    <a:pt x="180221" y="346429"/>
                  </a:lnTo>
                  <a:lnTo>
                    <a:pt x="177031" y="346702"/>
                  </a:lnTo>
                  <a:lnTo>
                    <a:pt x="175645" y="347565"/>
                  </a:lnTo>
                  <a:lnTo>
                    <a:pt x="170769" y="345106"/>
                  </a:lnTo>
                  <a:lnTo>
                    <a:pt x="169959" y="344947"/>
                  </a:lnTo>
                  <a:lnTo>
                    <a:pt x="167092" y="345557"/>
                  </a:lnTo>
                  <a:lnTo>
                    <a:pt x="164340" y="347344"/>
                  </a:lnTo>
                  <a:lnTo>
                    <a:pt x="159261" y="347890"/>
                  </a:lnTo>
                  <a:lnTo>
                    <a:pt x="156739" y="348469"/>
                  </a:lnTo>
                  <a:lnTo>
                    <a:pt x="155131" y="349294"/>
                  </a:lnTo>
                  <a:lnTo>
                    <a:pt x="154800" y="347341"/>
                  </a:lnTo>
                  <a:lnTo>
                    <a:pt x="155495" y="344862"/>
                  </a:lnTo>
                  <a:lnTo>
                    <a:pt x="156614" y="343208"/>
                  </a:lnTo>
                  <a:lnTo>
                    <a:pt x="156718" y="342130"/>
                  </a:lnTo>
                  <a:lnTo>
                    <a:pt x="155897" y="342242"/>
                  </a:lnTo>
                  <a:lnTo>
                    <a:pt x="154271" y="344669"/>
                  </a:lnTo>
                  <a:lnTo>
                    <a:pt x="153401" y="347500"/>
                  </a:lnTo>
                  <a:lnTo>
                    <a:pt x="151660" y="348922"/>
                  </a:lnTo>
                  <a:lnTo>
                    <a:pt x="147834" y="349503"/>
                  </a:lnTo>
                  <a:lnTo>
                    <a:pt x="144105" y="347230"/>
                  </a:lnTo>
                  <a:lnTo>
                    <a:pt x="142334" y="347253"/>
                  </a:lnTo>
                  <a:lnTo>
                    <a:pt x="143446" y="348881"/>
                  </a:lnTo>
                  <a:lnTo>
                    <a:pt x="144198" y="350667"/>
                  </a:lnTo>
                  <a:lnTo>
                    <a:pt x="144100" y="351667"/>
                  </a:lnTo>
                  <a:lnTo>
                    <a:pt x="142112" y="351491"/>
                  </a:lnTo>
                  <a:lnTo>
                    <a:pt x="139898" y="352561"/>
                  </a:lnTo>
                  <a:lnTo>
                    <a:pt x="137957" y="354123"/>
                  </a:lnTo>
                  <a:lnTo>
                    <a:pt x="137015" y="354126"/>
                  </a:lnTo>
                  <a:lnTo>
                    <a:pt x="135711" y="351943"/>
                  </a:lnTo>
                  <a:lnTo>
                    <a:pt x="133318" y="352962"/>
                  </a:lnTo>
                  <a:lnTo>
                    <a:pt x="131274" y="354332"/>
                  </a:lnTo>
                  <a:lnTo>
                    <a:pt x="127119" y="354760"/>
                  </a:lnTo>
                  <a:lnTo>
                    <a:pt x="124642" y="356559"/>
                  </a:lnTo>
                  <a:lnTo>
                    <a:pt x="120259" y="357772"/>
                  </a:lnTo>
                  <a:lnTo>
                    <a:pt x="117851" y="357743"/>
                  </a:lnTo>
                  <a:lnTo>
                    <a:pt x="112362" y="359203"/>
                  </a:lnTo>
                  <a:lnTo>
                    <a:pt x="110537" y="361452"/>
                  </a:lnTo>
                  <a:lnTo>
                    <a:pt x="108937" y="362279"/>
                  </a:lnTo>
                  <a:lnTo>
                    <a:pt x="106659" y="361583"/>
                  </a:lnTo>
                  <a:lnTo>
                    <a:pt x="99641" y="362679"/>
                  </a:lnTo>
                  <a:lnTo>
                    <a:pt x="92932" y="364116"/>
                  </a:lnTo>
                  <a:lnTo>
                    <a:pt x="90077" y="364034"/>
                  </a:lnTo>
                  <a:lnTo>
                    <a:pt x="87222" y="363437"/>
                  </a:lnTo>
                  <a:lnTo>
                    <a:pt x="84197" y="365433"/>
                  </a:lnTo>
                  <a:lnTo>
                    <a:pt x="80984" y="368101"/>
                  </a:lnTo>
                  <a:lnTo>
                    <a:pt x="77442" y="369053"/>
                  </a:lnTo>
                  <a:lnTo>
                    <a:pt x="76173" y="368712"/>
                  </a:lnTo>
                  <a:lnTo>
                    <a:pt x="77187" y="367314"/>
                  </a:lnTo>
                  <a:lnTo>
                    <a:pt x="79531" y="365865"/>
                  </a:lnTo>
                  <a:lnTo>
                    <a:pt x="81139" y="363900"/>
                  </a:lnTo>
                  <a:lnTo>
                    <a:pt x="81360" y="362261"/>
                  </a:lnTo>
                  <a:lnTo>
                    <a:pt x="80254" y="361617"/>
                  </a:lnTo>
                  <a:lnTo>
                    <a:pt x="78744" y="361420"/>
                  </a:lnTo>
                  <a:lnTo>
                    <a:pt x="76842" y="359723"/>
                  </a:lnTo>
                  <a:lnTo>
                    <a:pt x="75019" y="356041"/>
                  </a:lnTo>
                  <a:lnTo>
                    <a:pt x="74032" y="355838"/>
                  </a:lnTo>
                  <a:lnTo>
                    <a:pt x="73532" y="356806"/>
                  </a:lnTo>
                  <a:lnTo>
                    <a:pt x="72972" y="359630"/>
                  </a:lnTo>
                  <a:lnTo>
                    <a:pt x="72404" y="360443"/>
                  </a:lnTo>
                  <a:lnTo>
                    <a:pt x="71439" y="361089"/>
                  </a:lnTo>
                  <a:lnTo>
                    <a:pt x="70280" y="361739"/>
                  </a:lnTo>
                  <a:lnTo>
                    <a:pt x="69148" y="362056"/>
                  </a:lnTo>
                  <a:lnTo>
                    <a:pt x="65091" y="362017"/>
                  </a:lnTo>
                  <a:lnTo>
                    <a:pt x="64557" y="360593"/>
                  </a:lnTo>
                  <a:lnTo>
                    <a:pt x="64557" y="359997"/>
                  </a:lnTo>
                  <a:lnTo>
                    <a:pt x="65276" y="358120"/>
                  </a:lnTo>
                  <a:lnTo>
                    <a:pt x="64648" y="357792"/>
                  </a:lnTo>
                  <a:lnTo>
                    <a:pt x="65246" y="356319"/>
                  </a:lnTo>
                  <a:lnTo>
                    <a:pt x="66203" y="356398"/>
                  </a:lnTo>
                  <a:lnTo>
                    <a:pt x="67336" y="356180"/>
                  </a:lnTo>
                  <a:lnTo>
                    <a:pt x="67904" y="355422"/>
                  </a:lnTo>
                  <a:lnTo>
                    <a:pt x="67861" y="354517"/>
                  </a:lnTo>
                  <a:lnTo>
                    <a:pt x="66285" y="354282"/>
                  </a:lnTo>
                  <a:lnTo>
                    <a:pt x="66188" y="353664"/>
                  </a:lnTo>
                  <a:lnTo>
                    <a:pt x="67593" y="351083"/>
                  </a:lnTo>
                  <a:lnTo>
                    <a:pt x="67794" y="350369"/>
                  </a:lnTo>
                  <a:lnTo>
                    <a:pt x="67250" y="350221"/>
                  </a:lnTo>
                  <a:lnTo>
                    <a:pt x="66369" y="350502"/>
                  </a:lnTo>
                  <a:lnTo>
                    <a:pt x="60562" y="349692"/>
                  </a:lnTo>
                  <a:lnTo>
                    <a:pt x="53400" y="346385"/>
                  </a:lnTo>
                  <a:lnTo>
                    <a:pt x="51638" y="346214"/>
                  </a:lnTo>
                  <a:lnTo>
                    <a:pt x="50554" y="343257"/>
                  </a:lnTo>
                  <a:lnTo>
                    <a:pt x="48826" y="343632"/>
                  </a:lnTo>
                  <a:lnTo>
                    <a:pt x="46308" y="345363"/>
                  </a:lnTo>
                  <a:lnTo>
                    <a:pt x="44419" y="344048"/>
                  </a:lnTo>
                  <a:lnTo>
                    <a:pt x="42389" y="343182"/>
                  </a:lnTo>
                  <a:lnTo>
                    <a:pt x="41827" y="341828"/>
                  </a:lnTo>
                  <a:lnTo>
                    <a:pt x="41856" y="339829"/>
                  </a:lnTo>
                  <a:lnTo>
                    <a:pt x="41681" y="337469"/>
                  </a:lnTo>
                  <a:lnTo>
                    <a:pt x="41126" y="334704"/>
                  </a:lnTo>
                  <a:lnTo>
                    <a:pt x="40720" y="330768"/>
                  </a:lnTo>
                  <a:lnTo>
                    <a:pt x="41100" y="327687"/>
                  </a:lnTo>
                  <a:lnTo>
                    <a:pt x="42719" y="325403"/>
                  </a:lnTo>
                  <a:lnTo>
                    <a:pt x="43341" y="323944"/>
                  </a:lnTo>
                  <a:lnTo>
                    <a:pt x="44101" y="320215"/>
                  </a:lnTo>
                  <a:lnTo>
                    <a:pt x="44272" y="315839"/>
                  </a:lnTo>
                  <a:lnTo>
                    <a:pt x="43842" y="314347"/>
                  </a:lnTo>
                  <a:lnTo>
                    <a:pt x="43950" y="313354"/>
                  </a:lnTo>
                  <a:lnTo>
                    <a:pt x="45242" y="313354"/>
                  </a:lnTo>
                  <a:lnTo>
                    <a:pt x="44961" y="312502"/>
                  </a:lnTo>
                  <a:lnTo>
                    <a:pt x="44393" y="312035"/>
                  </a:lnTo>
                  <a:lnTo>
                    <a:pt x="43765" y="311065"/>
                  </a:lnTo>
                  <a:lnTo>
                    <a:pt x="44300" y="310551"/>
                  </a:lnTo>
                  <a:lnTo>
                    <a:pt x="45846" y="310514"/>
                  </a:lnTo>
                  <a:lnTo>
                    <a:pt x="45971" y="310187"/>
                  </a:lnTo>
                  <a:lnTo>
                    <a:pt x="46146" y="309723"/>
                  </a:lnTo>
                  <a:lnTo>
                    <a:pt x="44950" y="307170"/>
                  </a:lnTo>
                  <a:lnTo>
                    <a:pt x="44812" y="305952"/>
                  </a:lnTo>
                  <a:lnTo>
                    <a:pt x="43151" y="302250"/>
                  </a:lnTo>
                  <a:lnTo>
                    <a:pt x="41257" y="298735"/>
                  </a:lnTo>
                  <a:lnTo>
                    <a:pt x="38407" y="296188"/>
                  </a:lnTo>
                  <a:lnTo>
                    <a:pt x="39418" y="291988"/>
                  </a:lnTo>
                  <a:lnTo>
                    <a:pt x="40569" y="288184"/>
                  </a:lnTo>
                  <a:lnTo>
                    <a:pt x="40340" y="286349"/>
                  </a:lnTo>
                  <a:lnTo>
                    <a:pt x="39899" y="284114"/>
                  </a:lnTo>
                  <a:lnTo>
                    <a:pt x="36410" y="281660"/>
                  </a:lnTo>
                  <a:lnTo>
                    <a:pt x="35891" y="278196"/>
                  </a:lnTo>
                  <a:lnTo>
                    <a:pt x="35038" y="274472"/>
                  </a:lnTo>
                  <a:lnTo>
                    <a:pt x="35360" y="272185"/>
                  </a:lnTo>
                  <a:lnTo>
                    <a:pt x="35928" y="270433"/>
                  </a:lnTo>
                  <a:lnTo>
                    <a:pt x="37075" y="268687"/>
                  </a:lnTo>
                  <a:lnTo>
                    <a:pt x="42864" y="263167"/>
                  </a:lnTo>
                  <a:lnTo>
                    <a:pt x="43218" y="260279"/>
                  </a:lnTo>
                  <a:lnTo>
                    <a:pt x="47142" y="260069"/>
                  </a:lnTo>
                  <a:lnTo>
                    <a:pt x="45321" y="257484"/>
                  </a:lnTo>
                  <a:lnTo>
                    <a:pt x="44892" y="256031"/>
                  </a:lnTo>
                  <a:lnTo>
                    <a:pt x="44801" y="254334"/>
                  </a:lnTo>
                  <a:lnTo>
                    <a:pt x="50446" y="253171"/>
                  </a:lnTo>
                  <a:lnTo>
                    <a:pt x="52553" y="254126"/>
                  </a:lnTo>
                  <a:lnTo>
                    <a:pt x="57520" y="252946"/>
                  </a:lnTo>
                  <a:lnTo>
                    <a:pt x="61929" y="250636"/>
                  </a:lnTo>
                  <a:lnTo>
                    <a:pt x="61851" y="249407"/>
                  </a:lnTo>
                  <a:lnTo>
                    <a:pt x="61174" y="248306"/>
                  </a:lnTo>
                  <a:lnTo>
                    <a:pt x="60238" y="246185"/>
                  </a:lnTo>
                  <a:lnTo>
                    <a:pt x="60901" y="245596"/>
                  </a:lnTo>
                  <a:lnTo>
                    <a:pt x="62510" y="246029"/>
                  </a:lnTo>
                  <a:lnTo>
                    <a:pt x="61772" y="244974"/>
                  </a:lnTo>
                  <a:lnTo>
                    <a:pt x="61906" y="243861"/>
                  </a:lnTo>
                  <a:lnTo>
                    <a:pt x="63661" y="244324"/>
                  </a:lnTo>
                  <a:lnTo>
                    <a:pt x="66527" y="241214"/>
                  </a:lnTo>
                  <a:lnTo>
                    <a:pt x="66630" y="238835"/>
                  </a:lnTo>
                  <a:lnTo>
                    <a:pt x="71582" y="237590"/>
                  </a:lnTo>
                  <a:lnTo>
                    <a:pt x="77291" y="232724"/>
                  </a:lnTo>
                  <a:lnTo>
                    <a:pt x="79926" y="231207"/>
                  </a:lnTo>
                  <a:lnTo>
                    <a:pt x="82471" y="230108"/>
                  </a:lnTo>
                  <a:lnTo>
                    <a:pt x="87894" y="225229"/>
                  </a:lnTo>
                  <a:lnTo>
                    <a:pt x="90215" y="225002"/>
                  </a:lnTo>
                  <a:lnTo>
                    <a:pt x="91409" y="221706"/>
                  </a:lnTo>
                  <a:lnTo>
                    <a:pt x="96020" y="217312"/>
                  </a:lnTo>
                  <a:lnTo>
                    <a:pt x="97421" y="216749"/>
                  </a:lnTo>
                  <a:lnTo>
                    <a:pt x="99576" y="212779"/>
                  </a:lnTo>
                  <a:lnTo>
                    <a:pt x="105238" y="208180"/>
                  </a:lnTo>
                  <a:lnTo>
                    <a:pt x="108827" y="202302"/>
                  </a:lnTo>
                  <a:lnTo>
                    <a:pt x="110807" y="200210"/>
                  </a:lnTo>
                  <a:lnTo>
                    <a:pt x="111420" y="197980"/>
                  </a:lnTo>
                  <a:lnTo>
                    <a:pt x="113625" y="197791"/>
                  </a:lnTo>
                  <a:lnTo>
                    <a:pt x="115614" y="196151"/>
                  </a:lnTo>
                  <a:lnTo>
                    <a:pt x="119917" y="195007"/>
                  </a:lnTo>
                  <a:lnTo>
                    <a:pt x="124165" y="195324"/>
                  </a:lnTo>
                  <a:lnTo>
                    <a:pt x="125934" y="196102"/>
                  </a:lnTo>
                  <a:lnTo>
                    <a:pt x="127568" y="195855"/>
                  </a:lnTo>
                  <a:lnTo>
                    <a:pt x="127404" y="193846"/>
                  </a:lnTo>
                  <a:lnTo>
                    <a:pt x="126238" y="192604"/>
                  </a:lnTo>
                  <a:lnTo>
                    <a:pt x="127190" y="191411"/>
                  </a:lnTo>
                  <a:lnTo>
                    <a:pt x="129436" y="190506"/>
                  </a:lnTo>
                  <a:lnTo>
                    <a:pt x="129207" y="188505"/>
                  </a:lnTo>
                  <a:lnTo>
                    <a:pt x="128719" y="187300"/>
                  </a:lnTo>
                  <a:lnTo>
                    <a:pt x="126853" y="185694"/>
                  </a:lnTo>
                  <a:lnTo>
                    <a:pt x="127782" y="182092"/>
                  </a:lnTo>
                  <a:lnTo>
                    <a:pt x="128004" y="178137"/>
                  </a:lnTo>
                  <a:lnTo>
                    <a:pt x="128888" y="173559"/>
                  </a:lnTo>
                  <a:lnTo>
                    <a:pt x="126542" y="171129"/>
                  </a:lnTo>
                  <a:lnTo>
                    <a:pt x="117644" y="166987"/>
                  </a:lnTo>
                  <a:lnTo>
                    <a:pt x="115983" y="167131"/>
                  </a:lnTo>
                  <a:lnTo>
                    <a:pt x="114007" y="166611"/>
                  </a:lnTo>
                  <a:lnTo>
                    <a:pt x="111943" y="163467"/>
                  </a:lnTo>
                  <a:lnTo>
                    <a:pt x="112865" y="160750"/>
                  </a:lnTo>
                  <a:lnTo>
                    <a:pt x="112971" y="159748"/>
                  </a:lnTo>
                  <a:lnTo>
                    <a:pt x="112165" y="159778"/>
                  </a:lnTo>
                  <a:lnTo>
                    <a:pt x="110861" y="161103"/>
                  </a:lnTo>
                  <a:lnTo>
                    <a:pt x="108023" y="162617"/>
                  </a:lnTo>
                  <a:lnTo>
                    <a:pt x="104335" y="161455"/>
                  </a:lnTo>
                  <a:lnTo>
                    <a:pt x="102521" y="161713"/>
                  </a:lnTo>
                  <a:lnTo>
                    <a:pt x="100168" y="154976"/>
                  </a:lnTo>
                  <a:lnTo>
                    <a:pt x="98965" y="152396"/>
                  </a:lnTo>
                  <a:lnTo>
                    <a:pt x="97035" y="149175"/>
                  </a:lnTo>
                  <a:lnTo>
                    <a:pt x="93588" y="147600"/>
                  </a:lnTo>
                  <a:lnTo>
                    <a:pt x="92914" y="146709"/>
                  </a:lnTo>
                  <a:lnTo>
                    <a:pt x="92457" y="145343"/>
                  </a:lnTo>
                  <a:lnTo>
                    <a:pt x="92307" y="143444"/>
                  </a:lnTo>
                  <a:lnTo>
                    <a:pt x="91871" y="140631"/>
                  </a:lnTo>
                  <a:lnTo>
                    <a:pt x="92053" y="138321"/>
                  </a:lnTo>
                  <a:lnTo>
                    <a:pt x="92476" y="136943"/>
                  </a:lnTo>
                  <a:lnTo>
                    <a:pt x="93961" y="136017"/>
                  </a:lnTo>
                  <a:lnTo>
                    <a:pt x="96110" y="133403"/>
                  </a:lnTo>
                  <a:lnTo>
                    <a:pt x="96559" y="131501"/>
                  </a:lnTo>
                  <a:lnTo>
                    <a:pt x="96743" y="128581"/>
                  </a:lnTo>
                  <a:lnTo>
                    <a:pt x="97732" y="126028"/>
                  </a:lnTo>
                  <a:lnTo>
                    <a:pt x="98831" y="124736"/>
                  </a:lnTo>
                  <a:lnTo>
                    <a:pt x="98555" y="123708"/>
                  </a:lnTo>
                  <a:lnTo>
                    <a:pt x="97797" y="122236"/>
                  </a:lnTo>
                  <a:lnTo>
                    <a:pt x="96194" y="120145"/>
                  </a:lnTo>
                  <a:lnTo>
                    <a:pt x="93754" y="117593"/>
                  </a:lnTo>
                  <a:lnTo>
                    <a:pt x="91949" y="115149"/>
                  </a:lnTo>
                  <a:lnTo>
                    <a:pt x="91157" y="112862"/>
                  </a:lnTo>
                  <a:lnTo>
                    <a:pt x="90749" y="110816"/>
                  </a:lnTo>
                  <a:lnTo>
                    <a:pt x="90815" y="108953"/>
                  </a:lnTo>
                  <a:lnTo>
                    <a:pt x="91491" y="107684"/>
                  </a:lnTo>
                  <a:lnTo>
                    <a:pt x="93798" y="106085"/>
                  </a:lnTo>
                  <a:lnTo>
                    <a:pt x="94106" y="105406"/>
                  </a:lnTo>
                  <a:lnTo>
                    <a:pt x="93193" y="101868"/>
                  </a:lnTo>
                  <a:lnTo>
                    <a:pt x="91584" y="101223"/>
                  </a:lnTo>
                  <a:lnTo>
                    <a:pt x="88848" y="100880"/>
                  </a:lnTo>
                  <a:lnTo>
                    <a:pt x="87322" y="100851"/>
                  </a:lnTo>
                  <a:lnTo>
                    <a:pt x="87030" y="100464"/>
                  </a:lnTo>
                  <a:lnTo>
                    <a:pt x="86955" y="99751"/>
                  </a:lnTo>
                  <a:lnTo>
                    <a:pt x="87263" y="98297"/>
                  </a:lnTo>
                  <a:lnTo>
                    <a:pt x="88127" y="96629"/>
                  </a:lnTo>
                  <a:lnTo>
                    <a:pt x="88846" y="95566"/>
                  </a:lnTo>
                  <a:lnTo>
                    <a:pt x="88941" y="94664"/>
                  </a:lnTo>
                  <a:lnTo>
                    <a:pt x="88032" y="91575"/>
                  </a:lnTo>
                  <a:lnTo>
                    <a:pt x="87758" y="87780"/>
                  </a:lnTo>
                  <a:lnTo>
                    <a:pt x="88069" y="84803"/>
                  </a:lnTo>
                  <a:lnTo>
                    <a:pt x="90967" y="82604"/>
                  </a:lnTo>
                  <a:lnTo>
                    <a:pt x="91098" y="81800"/>
                  </a:lnTo>
                  <a:lnTo>
                    <a:pt x="87458" y="79410"/>
                  </a:lnTo>
                  <a:lnTo>
                    <a:pt x="84832" y="76697"/>
                  </a:lnTo>
                  <a:lnTo>
                    <a:pt x="84016" y="75112"/>
                  </a:lnTo>
                  <a:lnTo>
                    <a:pt x="81007" y="74872"/>
                  </a:lnTo>
                  <a:lnTo>
                    <a:pt x="79135" y="70260"/>
                  </a:lnTo>
                  <a:lnTo>
                    <a:pt x="76427" y="68010"/>
                  </a:lnTo>
                  <a:lnTo>
                    <a:pt x="73745" y="66065"/>
                  </a:lnTo>
                  <a:lnTo>
                    <a:pt x="72160" y="65159"/>
                  </a:lnTo>
                  <a:lnTo>
                    <a:pt x="62866" y="62360"/>
                  </a:lnTo>
                  <a:lnTo>
                    <a:pt x="59174" y="61827"/>
                  </a:lnTo>
                  <a:lnTo>
                    <a:pt x="54803" y="60192"/>
                  </a:lnTo>
                  <a:lnTo>
                    <a:pt x="51547" y="58137"/>
                  </a:lnTo>
                  <a:lnTo>
                    <a:pt x="48757" y="56814"/>
                  </a:lnTo>
                  <a:lnTo>
                    <a:pt x="46369" y="55182"/>
                  </a:lnTo>
                  <a:lnTo>
                    <a:pt x="43039" y="53654"/>
                  </a:lnTo>
                  <a:lnTo>
                    <a:pt x="42087" y="52347"/>
                  </a:lnTo>
                  <a:lnTo>
                    <a:pt x="38491" y="49924"/>
                  </a:lnTo>
                  <a:lnTo>
                    <a:pt x="36803" y="48328"/>
                  </a:lnTo>
                  <a:lnTo>
                    <a:pt x="30946" y="45309"/>
                  </a:lnTo>
                  <a:lnTo>
                    <a:pt x="30735" y="44117"/>
                  </a:lnTo>
                  <a:lnTo>
                    <a:pt x="30692" y="42966"/>
                  </a:lnTo>
                  <a:lnTo>
                    <a:pt x="30428" y="42488"/>
                  </a:lnTo>
                  <a:lnTo>
                    <a:pt x="24392" y="40278"/>
                  </a:lnTo>
                  <a:lnTo>
                    <a:pt x="25580" y="39013"/>
                  </a:lnTo>
                  <a:lnTo>
                    <a:pt x="30299" y="38937"/>
                  </a:lnTo>
                  <a:lnTo>
                    <a:pt x="34201" y="40088"/>
                  </a:lnTo>
                  <a:lnTo>
                    <a:pt x="35058" y="39596"/>
                  </a:lnTo>
                  <a:lnTo>
                    <a:pt x="35574" y="38573"/>
                  </a:lnTo>
                  <a:lnTo>
                    <a:pt x="33911" y="34464"/>
                  </a:lnTo>
                  <a:lnTo>
                    <a:pt x="34209" y="33393"/>
                  </a:lnTo>
                  <a:lnTo>
                    <a:pt x="35926" y="32102"/>
                  </a:lnTo>
                  <a:lnTo>
                    <a:pt x="38647" y="31074"/>
                  </a:lnTo>
                  <a:lnTo>
                    <a:pt x="42946" y="30925"/>
                  </a:lnTo>
                  <a:lnTo>
                    <a:pt x="45876" y="31077"/>
                  </a:lnTo>
                  <a:lnTo>
                    <a:pt x="46496" y="31189"/>
                  </a:lnTo>
                  <a:lnTo>
                    <a:pt x="50873" y="35711"/>
                  </a:lnTo>
                  <a:lnTo>
                    <a:pt x="54626" y="40113"/>
                  </a:lnTo>
                  <a:lnTo>
                    <a:pt x="56622" y="41986"/>
                  </a:lnTo>
                  <a:lnTo>
                    <a:pt x="61502" y="47283"/>
                  </a:lnTo>
                  <a:lnTo>
                    <a:pt x="63327" y="50342"/>
                  </a:lnTo>
                  <a:lnTo>
                    <a:pt x="63946" y="52530"/>
                  </a:lnTo>
                  <a:lnTo>
                    <a:pt x="65931" y="52516"/>
                  </a:lnTo>
                  <a:lnTo>
                    <a:pt x="72793" y="53475"/>
                  </a:lnTo>
                  <a:lnTo>
                    <a:pt x="78557" y="54282"/>
                  </a:lnTo>
                  <a:lnTo>
                    <a:pt x="80163" y="55505"/>
                  </a:lnTo>
                  <a:lnTo>
                    <a:pt x="84137" y="55259"/>
                  </a:lnTo>
                  <a:lnTo>
                    <a:pt x="87198" y="54156"/>
                  </a:lnTo>
                  <a:lnTo>
                    <a:pt x="92605" y="52761"/>
                  </a:lnTo>
                  <a:lnTo>
                    <a:pt x="94055" y="51044"/>
                  </a:lnTo>
                  <a:lnTo>
                    <a:pt x="95855" y="49212"/>
                  </a:lnTo>
                  <a:lnTo>
                    <a:pt x="99026" y="49500"/>
                  </a:lnTo>
                  <a:lnTo>
                    <a:pt x="102491" y="50949"/>
                  </a:lnTo>
                  <a:lnTo>
                    <a:pt x="106425" y="52851"/>
                  </a:lnTo>
                  <a:lnTo>
                    <a:pt x="109930" y="53731"/>
                  </a:lnTo>
                  <a:lnTo>
                    <a:pt x="114633" y="55111"/>
                  </a:lnTo>
                  <a:lnTo>
                    <a:pt x="116827" y="56893"/>
                  </a:lnTo>
                  <a:lnTo>
                    <a:pt x="119900" y="57401"/>
                  </a:lnTo>
                  <a:lnTo>
                    <a:pt x="123117" y="55620"/>
                  </a:lnTo>
                  <a:lnTo>
                    <a:pt x="125018" y="50779"/>
                  </a:lnTo>
                  <a:lnTo>
                    <a:pt x="126704" y="48616"/>
                  </a:lnTo>
                  <a:lnTo>
                    <a:pt x="129093" y="47028"/>
                  </a:lnTo>
                  <a:lnTo>
                    <a:pt x="131829" y="46327"/>
                  </a:lnTo>
                  <a:lnTo>
                    <a:pt x="133917" y="46073"/>
                  </a:lnTo>
                  <a:lnTo>
                    <a:pt x="135495" y="44837"/>
                  </a:lnTo>
                  <a:lnTo>
                    <a:pt x="137743" y="42089"/>
                  </a:lnTo>
                  <a:lnTo>
                    <a:pt x="138182" y="38755"/>
                  </a:lnTo>
                  <a:lnTo>
                    <a:pt x="137750" y="32718"/>
                  </a:lnTo>
                  <a:lnTo>
                    <a:pt x="138160" y="30723"/>
                  </a:lnTo>
                  <a:lnTo>
                    <a:pt x="139996" y="27454"/>
                  </a:lnTo>
                  <a:lnTo>
                    <a:pt x="142457" y="18764"/>
                  </a:lnTo>
                  <a:lnTo>
                    <a:pt x="143563" y="16253"/>
                  </a:lnTo>
                  <a:lnTo>
                    <a:pt x="144910" y="14724"/>
                  </a:lnTo>
                  <a:lnTo>
                    <a:pt x="146761" y="13814"/>
                  </a:lnTo>
                  <a:lnTo>
                    <a:pt x="150123" y="11169"/>
                  </a:lnTo>
                  <a:lnTo>
                    <a:pt x="154925" y="5923"/>
                  </a:lnTo>
                  <a:lnTo>
                    <a:pt x="156227" y="5477"/>
                  </a:lnTo>
                  <a:lnTo>
                    <a:pt x="159676" y="5211"/>
                  </a:lnTo>
                  <a:lnTo>
                    <a:pt x="163967" y="5406"/>
                  </a:lnTo>
                  <a:lnTo>
                    <a:pt x="167823" y="6331"/>
                  </a:lnTo>
                  <a:lnTo>
                    <a:pt x="168240" y="6260"/>
                  </a:lnTo>
                  <a:lnTo>
                    <a:pt x="169968" y="5778"/>
                  </a:lnTo>
                  <a:lnTo>
                    <a:pt x="173116" y="4145"/>
                  </a:lnTo>
                  <a:lnTo>
                    <a:pt x="178504" y="895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ee4p_FR_1_37764">
              <a:extLst>
                <a:ext uri="{FF2B5EF4-FFF2-40B4-BE49-F238E27FC236}">
                  <a16:creationId xmlns:a16="http://schemas.microsoft.com/office/drawing/2014/main" id="{F80556E2-EF5A-4921-8471-421038FAE6CD}"/>
                </a:ext>
              </a:extLst>
            </p:cNvPr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7428889" y="8971689"/>
              <a:ext cx="2980399" cy="2535147"/>
            </a:xfrm>
            <a:custGeom>
              <a:avLst/>
              <a:gdLst>
                <a:gd name="connsiteX0" fmla="*/ 313500 w 316622"/>
                <a:gd name="connsiteY0" fmla="*/ 225790 h 269321"/>
                <a:gd name="connsiteX1" fmla="*/ 314562 w 316622"/>
                <a:gd name="connsiteY1" fmla="*/ 226875 h 269321"/>
                <a:gd name="connsiteX2" fmla="*/ 314508 w 316622"/>
                <a:gd name="connsiteY2" fmla="*/ 227834 h 269321"/>
                <a:gd name="connsiteX3" fmla="*/ 314901 w 316622"/>
                <a:gd name="connsiteY3" fmla="*/ 230102 h 269321"/>
                <a:gd name="connsiteX4" fmla="*/ 314940 w 316622"/>
                <a:gd name="connsiteY4" fmla="*/ 231576 h 269321"/>
                <a:gd name="connsiteX5" fmla="*/ 314361 w 316622"/>
                <a:gd name="connsiteY5" fmla="*/ 235501 h 269321"/>
                <a:gd name="connsiteX6" fmla="*/ 314782 w 316622"/>
                <a:gd name="connsiteY6" fmla="*/ 236649 h 269321"/>
                <a:gd name="connsiteX7" fmla="*/ 315581 w 316622"/>
                <a:gd name="connsiteY7" fmla="*/ 237450 h 269321"/>
                <a:gd name="connsiteX8" fmla="*/ 315953 w 316622"/>
                <a:gd name="connsiteY8" fmla="*/ 238329 h 269321"/>
                <a:gd name="connsiteX9" fmla="*/ 316622 w 316622"/>
                <a:gd name="connsiteY9" fmla="*/ 248763 h 269321"/>
                <a:gd name="connsiteX10" fmla="*/ 316495 w 316622"/>
                <a:gd name="connsiteY10" fmla="*/ 249592 h 269321"/>
                <a:gd name="connsiteX11" fmla="*/ 313791 w 316622"/>
                <a:gd name="connsiteY11" fmla="*/ 253771 h 269321"/>
                <a:gd name="connsiteX12" fmla="*/ 313182 w 316622"/>
                <a:gd name="connsiteY12" fmla="*/ 254996 h 269321"/>
                <a:gd name="connsiteX13" fmla="*/ 313048 w 316622"/>
                <a:gd name="connsiteY13" fmla="*/ 260165 h 269321"/>
                <a:gd name="connsiteX14" fmla="*/ 312593 w 316622"/>
                <a:gd name="connsiteY14" fmla="*/ 261552 h 269321"/>
                <a:gd name="connsiteX15" fmla="*/ 311634 w 316622"/>
                <a:gd name="connsiteY15" fmla="*/ 262920 h 269321"/>
                <a:gd name="connsiteX16" fmla="*/ 309922 w 316622"/>
                <a:gd name="connsiteY16" fmla="*/ 267337 h 269321"/>
                <a:gd name="connsiteX17" fmla="*/ 308434 w 316622"/>
                <a:gd name="connsiteY17" fmla="*/ 269321 h 269321"/>
                <a:gd name="connsiteX18" fmla="*/ 304385 w 316622"/>
                <a:gd name="connsiteY18" fmla="*/ 266901 h 269321"/>
                <a:gd name="connsiteX19" fmla="*/ 301997 w 316622"/>
                <a:gd name="connsiteY19" fmla="*/ 265854 h 269321"/>
                <a:gd name="connsiteX20" fmla="*/ 300826 w 316622"/>
                <a:gd name="connsiteY20" fmla="*/ 264725 h 269321"/>
                <a:gd name="connsiteX21" fmla="*/ 300062 w 316622"/>
                <a:gd name="connsiteY21" fmla="*/ 263945 h 269321"/>
                <a:gd name="connsiteX22" fmla="*/ 300554 w 316622"/>
                <a:gd name="connsiteY22" fmla="*/ 262905 h 269321"/>
                <a:gd name="connsiteX23" fmla="*/ 301643 w 316622"/>
                <a:gd name="connsiteY23" fmla="*/ 261824 h 269321"/>
                <a:gd name="connsiteX24" fmla="*/ 301815 w 316622"/>
                <a:gd name="connsiteY24" fmla="*/ 260973 h 269321"/>
                <a:gd name="connsiteX25" fmla="*/ 299254 w 316622"/>
                <a:gd name="connsiteY25" fmla="*/ 260009 h 269321"/>
                <a:gd name="connsiteX26" fmla="*/ 298082 w 316622"/>
                <a:gd name="connsiteY26" fmla="*/ 259365 h 269321"/>
                <a:gd name="connsiteX27" fmla="*/ 298097 w 316622"/>
                <a:gd name="connsiteY27" fmla="*/ 258237 h 269321"/>
                <a:gd name="connsiteX28" fmla="*/ 298982 w 316622"/>
                <a:gd name="connsiteY28" fmla="*/ 256476 h 269321"/>
                <a:gd name="connsiteX29" fmla="*/ 298578 w 316622"/>
                <a:gd name="connsiteY29" fmla="*/ 255025 h 269321"/>
                <a:gd name="connsiteX30" fmla="*/ 297101 w 316622"/>
                <a:gd name="connsiteY30" fmla="*/ 255099 h 269321"/>
                <a:gd name="connsiteX31" fmla="*/ 295957 w 316622"/>
                <a:gd name="connsiteY31" fmla="*/ 254877 h 269321"/>
                <a:gd name="connsiteX32" fmla="*/ 295808 w 316622"/>
                <a:gd name="connsiteY32" fmla="*/ 254123 h 269321"/>
                <a:gd name="connsiteX33" fmla="*/ 296654 w 316622"/>
                <a:gd name="connsiteY33" fmla="*/ 253156 h 269321"/>
                <a:gd name="connsiteX34" fmla="*/ 297740 w 316622"/>
                <a:gd name="connsiteY34" fmla="*/ 251893 h 269321"/>
                <a:gd name="connsiteX35" fmla="*/ 297706 w 316622"/>
                <a:gd name="connsiteY35" fmla="*/ 250499 h 269321"/>
                <a:gd name="connsiteX36" fmla="*/ 296393 w 316622"/>
                <a:gd name="connsiteY36" fmla="*/ 249898 h 269321"/>
                <a:gd name="connsiteX37" fmla="*/ 295203 w 316622"/>
                <a:gd name="connsiteY37" fmla="*/ 248765 h 269321"/>
                <a:gd name="connsiteX38" fmla="*/ 294726 w 316622"/>
                <a:gd name="connsiteY38" fmla="*/ 247224 h 269321"/>
                <a:gd name="connsiteX39" fmla="*/ 295648 w 316622"/>
                <a:gd name="connsiteY39" fmla="*/ 246169 h 269321"/>
                <a:gd name="connsiteX40" fmla="*/ 297142 w 316622"/>
                <a:gd name="connsiteY40" fmla="*/ 245488 h 269321"/>
                <a:gd name="connsiteX41" fmla="*/ 296045 w 316622"/>
                <a:gd name="connsiteY41" fmla="*/ 243907 h 269321"/>
                <a:gd name="connsiteX42" fmla="*/ 295305 w 316622"/>
                <a:gd name="connsiteY42" fmla="*/ 243872 h 269321"/>
                <a:gd name="connsiteX43" fmla="*/ 294713 w 316622"/>
                <a:gd name="connsiteY43" fmla="*/ 243526 h 269321"/>
                <a:gd name="connsiteX44" fmla="*/ 295197 w 316622"/>
                <a:gd name="connsiteY44" fmla="*/ 242791 h 269321"/>
                <a:gd name="connsiteX45" fmla="*/ 296358 w 316622"/>
                <a:gd name="connsiteY45" fmla="*/ 241692 h 269321"/>
                <a:gd name="connsiteX46" fmla="*/ 297974 w 316622"/>
                <a:gd name="connsiteY46" fmla="*/ 238406 h 269321"/>
                <a:gd name="connsiteX47" fmla="*/ 300224 w 316622"/>
                <a:gd name="connsiteY47" fmla="*/ 236854 h 269321"/>
                <a:gd name="connsiteX48" fmla="*/ 304206 w 316622"/>
                <a:gd name="connsiteY48" fmla="*/ 235855 h 269321"/>
                <a:gd name="connsiteX49" fmla="*/ 305283 w 316622"/>
                <a:gd name="connsiteY49" fmla="*/ 235418 h 269321"/>
                <a:gd name="connsiteX50" fmla="*/ 306272 w 316622"/>
                <a:gd name="connsiteY50" fmla="*/ 234261 h 269321"/>
                <a:gd name="connsiteX51" fmla="*/ 307367 w 316622"/>
                <a:gd name="connsiteY51" fmla="*/ 233515 h 269321"/>
                <a:gd name="connsiteX52" fmla="*/ 308697 w 316622"/>
                <a:gd name="connsiteY52" fmla="*/ 233614 h 269321"/>
                <a:gd name="connsiteX53" fmla="*/ 309924 w 316622"/>
                <a:gd name="connsiteY53" fmla="*/ 234061 h 269321"/>
                <a:gd name="connsiteX54" fmla="*/ 310680 w 316622"/>
                <a:gd name="connsiteY54" fmla="*/ 234537 h 269321"/>
                <a:gd name="connsiteX55" fmla="*/ 311247 w 316622"/>
                <a:gd name="connsiteY55" fmla="*/ 234042 h 269321"/>
                <a:gd name="connsiteX56" fmla="*/ 311800 w 316622"/>
                <a:gd name="connsiteY56" fmla="*/ 232606 h 269321"/>
                <a:gd name="connsiteX57" fmla="*/ 311461 w 316622"/>
                <a:gd name="connsiteY57" fmla="*/ 231344 h 269321"/>
                <a:gd name="connsiteX58" fmla="*/ 311636 w 316622"/>
                <a:gd name="connsiteY58" fmla="*/ 227872 h 269321"/>
                <a:gd name="connsiteX59" fmla="*/ 312349 w 316622"/>
                <a:gd name="connsiteY59" fmla="*/ 225900 h 269321"/>
                <a:gd name="connsiteX60" fmla="*/ 74603 w 316622"/>
                <a:gd name="connsiteY60" fmla="*/ 143377 h 269321"/>
                <a:gd name="connsiteX61" fmla="*/ 76893 w 316622"/>
                <a:gd name="connsiteY61" fmla="*/ 144695 h 269321"/>
                <a:gd name="connsiteX62" fmla="*/ 79254 w 316622"/>
                <a:gd name="connsiteY62" fmla="*/ 147418 h 269321"/>
                <a:gd name="connsiteX63" fmla="*/ 78474 w 316622"/>
                <a:gd name="connsiteY63" fmla="*/ 149829 h 269321"/>
                <a:gd name="connsiteX64" fmla="*/ 76999 w 316622"/>
                <a:gd name="connsiteY64" fmla="*/ 147609 h 269321"/>
                <a:gd name="connsiteX65" fmla="*/ 75044 w 316622"/>
                <a:gd name="connsiteY65" fmla="*/ 145662 h 269321"/>
                <a:gd name="connsiteX66" fmla="*/ 74598 w 316622"/>
                <a:gd name="connsiteY66" fmla="*/ 143859 h 269321"/>
                <a:gd name="connsiteX67" fmla="*/ 161140 w 316622"/>
                <a:gd name="connsiteY67" fmla="*/ 0 h 269321"/>
                <a:gd name="connsiteX68" fmla="*/ 161386 w 316622"/>
                <a:gd name="connsiteY68" fmla="*/ 1392 h 269321"/>
                <a:gd name="connsiteX69" fmla="*/ 162243 w 316622"/>
                <a:gd name="connsiteY69" fmla="*/ 3172 h 269321"/>
                <a:gd name="connsiteX70" fmla="*/ 162833 w 316622"/>
                <a:gd name="connsiteY70" fmla="*/ 4145 h 269321"/>
                <a:gd name="connsiteX71" fmla="*/ 162343 w 316622"/>
                <a:gd name="connsiteY71" fmla="*/ 5415 h 269321"/>
                <a:gd name="connsiteX72" fmla="*/ 162729 w 316622"/>
                <a:gd name="connsiteY72" fmla="*/ 6460 h 269321"/>
                <a:gd name="connsiteX73" fmla="*/ 164329 w 316622"/>
                <a:gd name="connsiteY73" fmla="*/ 8341 h 269321"/>
                <a:gd name="connsiteX74" fmla="*/ 166324 w 316622"/>
                <a:gd name="connsiteY74" fmla="*/ 10112 h 269321"/>
                <a:gd name="connsiteX75" fmla="*/ 168102 w 316622"/>
                <a:gd name="connsiteY75" fmla="*/ 11243 h 269321"/>
                <a:gd name="connsiteX76" fmla="*/ 168603 w 316622"/>
                <a:gd name="connsiteY76" fmla="*/ 11120 h 269321"/>
                <a:gd name="connsiteX77" fmla="*/ 169920 w 316622"/>
                <a:gd name="connsiteY77" fmla="*/ 10798 h 269321"/>
                <a:gd name="connsiteX78" fmla="*/ 172150 w 316622"/>
                <a:gd name="connsiteY78" fmla="*/ 9638 h 269321"/>
                <a:gd name="connsiteX79" fmla="*/ 174008 w 316622"/>
                <a:gd name="connsiteY79" fmla="*/ 9273 h 269321"/>
                <a:gd name="connsiteX80" fmla="*/ 175070 w 316622"/>
                <a:gd name="connsiteY80" fmla="*/ 10162 h 269321"/>
                <a:gd name="connsiteX81" fmla="*/ 175670 w 316622"/>
                <a:gd name="connsiteY81" fmla="*/ 10663 h 269321"/>
                <a:gd name="connsiteX82" fmla="*/ 176841 w 316622"/>
                <a:gd name="connsiteY82" fmla="*/ 12664 h 269321"/>
                <a:gd name="connsiteX83" fmla="*/ 177169 w 316622"/>
                <a:gd name="connsiteY83" fmla="*/ 14752 h 269321"/>
                <a:gd name="connsiteX84" fmla="*/ 177689 w 316622"/>
                <a:gd name="connsiteY84" fmla="*/ 16484 h 269321"/>
                <a:gd name="connsiteX85" fmla="*/ 178637 w 316622"/>
                <a:gd name="connsiteY85" fmla="*/ 17186 h 269321"/>
                <a:gd name="connsiteX86" fmla="*/ 182192 w 316622"/>
                <a:gd name="connsiteY86" fmla="*/ 17416 h 269321"/>
                <a:gd name="connsiteX87" fmla="*/ 184811 w 316622"/>
                <a:gd name="connsiteY87" fmla="*/ 18058 h 269321"/>
                <a:gd name="connsiteX88" fmla="*/ 185504 w 316622"/>
                <a:gd name="connsiteY88" fmla="*/ 18639 h 269321"/>
                <a:gd name="connsiteX89" fmla="*/ 186400 w 316622"/>
                <a:gd name="connsiteY89" fmla="*/ 22482 h 269321"/>
                <a:gd name="connsiteX90" fmla="*/ 186888 w 316622"/>
                <a:gd name="connsiteY90" fmla="*/ 23025 h 269321"/>
                <a:gd name="connsiteX91" fmla="*/ 187541 w 316622"/>
                <a:gd name="connsiteY91" fmla="*/ 22572 h 269321"/>
                <a:gd name="connsiteX92" fmla="*/ 188186 w 316622"/>
                <a:gd name="connsiteY92" fmla="*/ 21940 h 269321"/>
                <a:gd name="connsiteX93" fmla="*/ 189082 w 316622"/>
                <a:gd name="connsiteY93" fmla="*/ 21839 h 269321"/>
                <a:gd name="connsiteX94" fmla="*/ 190620 w 316622"/>
                <a:gd name="connsiteY94" fmla="*/ 22083 h 269321"/>
                <a:gd name="connsiteX95" fmla="*/ 192645 w 316622"/>
                <a:gd name="connsiteY95" fmla="*/ 22159 h 269321"/>
                <a:gd name="connsiteX96" fmla="*/ 194734 w 316622"/>
                <a:gd name="connsiteY96" fmla="*/ 22582 h 269321"/>
                <a:gd name="connsiteX97" fmla="*/ 197618 w 316622"/>
                <a:gd name="connsiteY97" fmla="*/ 24750 h 269321"/>
                <a:gd name="connsiteX98" fmla="*/ 197508 w 316622"/>
                <a:gd name="connsiteY98" fmla="*/ 25465 h 269321"/>
                <a:gd name="connsiteX99" fmla="*/ 196945 w 316622"/>
                <a:gd name="connsiteY99" fmla="*/ 26720 h 269321"/>
                <a:gd name="connsiteX100" fmla="*/ 196748 w 316622"/>
                <a:gd name="connsiteY100" fmla="*/ 27721 h 269321"/>
                <a:gd name="connsiteX101" fmla="*/ 197245 w 316622"/>
                <a:gd name="connsiteY101" fmla="*/ 28123 h 269321"/>
                <a:gd name="connsiteX102" fmla="*/ 198007 w 316622"/>
                <a:gd name="connsiteY102" fmla="*/ 29156 h 269321"/>
                <a:gd name="connsiteX103" fmla="*/ 197824 w 316622"/>
                <a:gd name="connsiteY103" fmla="*/ 30350 h 269321"/>
                <a:gd name="connsiteX104" fmla="*/ 197081 w 316622"/>
                <a:gd name="connsiteY104" fmla="*/ 31186 h 269321"/>
                <a:gd name="connsiteX105" fmla="*/ 196783 w 316622"/>
                <a:gd name="connsiteY105" fmla="*/ 31875 h 269321"/>
                <a:gd name="connsiteX106" fmla="*/ 196787 w 316622"/>
                <a:gd name="connsiteY106" fmla="*/ 32323 h 269321"/>
                <a:gd name="connsiteX107" fmla="*/ 197059 w 316622"/>
                <a:gd name="connsiteY107" fmla="*/ 32695 h 269321"/>
                <a:gd name="connsiteX108" fmla="*/ 197651 w 316622"/>
                <a:gd name="connsiteY108" fmla="*/ 33022 h 269321"/>
                <a:gd name="connsiteX109" fmla="*/ 201911 w 316622"/>
                <a:gd name="connsiteY109" fmla="*/ 33463 h 269321"/>
                <a:gd name="connsiteX110" fmla="*/ 205809 w 316622"/>
                <a:gd name="connsiteY110" fmla="*/ 33022 h 269321"/>
                <a:gd name="connsiteX111" fmla="*/ 208266 w 316622"/>
                <a:gd name="connsiteY111" fmla="*/ 31805 h 269321"/>
                <a:gd name="connsiteX112" fmla="*/ 208685 w 316622"/>
                <a:gd name="connsiteY112" fmla="*/ 30522 h 269321"/>
                <a:gd name="connsiteX113" fmla="*/ 209383 w 316622"/>
                <a:gd name="connsiteY113" fmla="*/ 29072 h 269321"/>
                <a:gd name="connsiteX114" fmla="*/ 210847 w 316622"/>
                <a:gd name="connsiteY114" fmla="*/ 27858 h 269321"/>
                <a:gd name="connsiteX115" fmla="*/ 211860 w 316622"/>
                <a:gd name="connsiteY115" fmla="*/ 27450 h 269321"/>
                <a:gd name="connsiteX116" fmla="*/ 212786 w 316622"/>
                <a:gd name="connsiteY116" fmla="*/ 27950 h 269321"/>
                <a:gd name="connsiteX117" fmla="*/ 211227 w 316622"/>
                <a:gd name="connsiteY117" fmla="*/ 33042 h 269321"/>
                <a:gd name="connsiteX118" fmla="*/ 212365 w 316622"/>
                <a:gd name="connsiteY118" fmla="*/ 34342 h 269321"/>
                <a:gd name="connsiteX119" fmla="*/ 212533 w 316622"/>
                <a:gd name="connsiteY119" fmla="*/ 36284 h 269321"/>
                <a:gd name="connsiteX120" fmla="*/ 212941 w 316622"/>
                <a:gd name="connsiteY120" fmla="*/ 37983 h 269321"/>
                <a:gd name="connsiteX121" fmla="*/ 214334 w 316622"/>
                <a:gd name="connsiteY121" fmla="*/ 37951 h 269321"/>
                <a:gd name="connsiteX122" fmla="*/ 216023 w 316622"/>
                <a:gd name="connsiteY122" fmla="*/ 38265 h 269321"/>
                <a:gd name="connsiteX123" fmla="*/ 217219 w 316622"/>
                <a:gd name="connsiteY123" fmla="*/ 38893 h 269321"/>
                <a:gd name="connsiteX124" fmla="*/ 218614 w 316622"/>
                <a:gd name="connsiteY124" fmla="*/ 39902 h 269321"/>
                <a:gd name="connsiteX125" fmla="*/ 220625 w 316622"/>
                <a:gd name="connsiteY125" fmla="*/ 40829 h 269321"/>
                <a:gd name="connsiteX126" fmla="*/ 222035 w 316622"/>
                <a:gd name="connsiteY126" fmla="*/ 41155 h 269321"/>
                <a:gd name="connsiteX127" fmla="*/ 222546 w 316622"/>
                <a:gd name="connsiteY127" fmla="*/ 41929 h 269321"/>
                <a:gd name="connsiteX128" fmla="*/ 223686 w 316622"/>
                <a:gd name="connsiteY128" fmla="*/ 42825 h 269321"/>
                <a:gd name="connsiteX129" fmla="*/ 225481 w 316622"/>
                <a:gd name="connsiteY129" fmla="*/ 44702 h 269321"/>
                <a:gd name="connsiteX130" fmla="*/ 227087 w 316622"/>
                <a:gd name="connsiteY130" fmla="*/ 45954 h 269321"/>
                <a:gd name="connsiteX131" fmla="*/ 227863 w 316622"/>
                <a:gd name="connsiteY131" fmla="*/ 45949 h 269321"/>
                <a:gd name="connsiteX132" fmla="*/ 229359 w 316622"/>
                <a:gd name="connsiteY132" fmla="*/ 45456 h 269321"/>
                <a:gd name="connsiteX133" fmla="*/ 231579 w 316622"/>
                <a:gd name="connsiteY133" fmla="*/ 45140 h 269321"/>
                <a:gd name="connsiteX134" fmla="*/ 233332 w 316622"/>
                <a:gd name="connsiteY134" fmla="*/ 45167 h 269321"/>
                <a:gd name="connsiteX135" fmla="*/ 234078 w 316622"/>
                <a:gd name="connsiteY135" fmla="*/ 46120 h 269321"/>
                <a:gd name="connsiteX136" fmla="*/ 235801 w 316622"/>
                <a:gd name="connsiteY136" fmla="*/ 46560 h 269321"/>
                <a:gd name="connsiteX137" fmla="*/ 236410 w 316622"/>
                <a:gd name="connsiteY137" fmla="*/ 46910 h 269321"/>
                <a:gd name="connsiteX138" fmla="*/ 237086 w 316622"/>
                <a:gd name="connsiteY138" fmla="*/ 47567 h 269321"/>
                <a:gd name="connsiteX139" fmla="*/ 238234 w 316622"/>
                <a:gd name="connsiteY139" fmla="*/ 47831 h 269321"/>
                <a:gd name="connsiteX140" fmla="*/ 239621 w 316622"/>
                <a:gd name="connsiteY140" fmla="*/ 47567 h 269321"/>
                <a:gd name="connsiteX141" fmla="*/ 240633 w 316622"/>
                <a:gd name="connsiteY141" fmla="*/ 46690 h 269321"/>
                <a:gd name="connsiteX142" fmla="*/ 241985 w 316622"/>
                <a:gd name="connsiteY142" fmla="*/ 46297 h 269321"/>
                <a:gd name="connsiteX143" fmla="*/ 243337 w 316622"/>
                <a:gd name="connsiteY143" fmla="*/ 46428 h 269321"/>
                <a:gd name="connsiteX144" fmla="*/ 244114 w 316622"/>
                <a:gd name="connsiteY144" fmla="*/ 46910 h 269321"/>
                <a:gd name="connsiteX145" fmla="*/ 245596 w 316622"/>
                <a:gd name="connsiteY145" fmla="*/ 47622 h 269321"/>
                <a:gd name="connsiteX146" fmla="*/ 246434 w 316622"/>
                <a:gd name="connsiteY146" fmla="*/ 47467 h 269321"/>
                <a:gd name="connsiteX147" fmla="*/ 248111 w 316622"/>
                <a:gd name="connsiteY147" fmla="*/ 47905 h 269321"/>
                <a:gd name="connsiteX148" fmla="*/ 249796 w 316622"/>
                <a:gd name="connsiteY148" fmla="*/ 49287 h 269321"/>
                <a:gd name="connsiteX149" fmla="*/ 250504 w 316622"/>
                <a:gd name="connsiteY149" fmla="*/ 50676 h 269321"/>
                <a:gd name="connsiteX150" fmla="*/ 250689 w 316622"/>
                <a:gd name="connsiteY150" fmla="*/ 51435 h 269321"/>
                <a:gd name="connsiteX151" fmla="*/ 251417 w 316622"/>
                <a:gd name="connsiteY151" fmla="*/ 52260 h 269321"/>
                <a:gd name="connsiteX152" fmla="*/ 254244 w 316622"/>
                <a:gd name="connsiteY152" fmla="*/ 55987 h 269321"/>
                <a:gd name="connsiteX153" fmla="*/ 255147 w 316622"/>
                <a:gd name="connsiteY153" fmla="*/ 56171 h 269321"/>
                <a:gd name="connsiteX154" fmla="*/ 256129 w 316622"/>
                <a:gd name="connsiteY154" fmla="*/ 55606 h 269321"/>
                <a:gd name="connsiteX155" fmla="*/ 256766 w 316622"/>
                <a:gd name="connsiteY155" fmla="*/ 54805 h 269321"/>
                <a:gd name="connsiteX156" fmla="*/ 257688 w 316622"/>
                <a:gd name="connsiteY156" fmla="*/ 54645 h 269321"/>
                <a:gd name="connsiteX157" fmla="*/ 259172 w 316622"/>
                <a:gd name="connsiteY157" fmla="*/ 55014 h 269321"/>
                <a:gd name="connsiteX158" fmla="*/ 260126 w 316622"/>
                <a:gd name="connsiteY158" fmla="*/ 55436 h 269321"/>
                <a:gd name="connsiteX159" fmla="*/ 260584 w 316622"/>
                <a:gd name="connsiteY159" fmla="*/ 57049 h 269321"/>
                <a:gd name="connsiteX160" fmla="*/ 260906 w 316622"/>
                <a:gd name="connsiteY160" fmla="*/ 57356 h 269321"/>
                <a:gd name="connsiteX161" fmla="*/ 261547 w 316622"/>
                <a:gd name="connsiteY161" fmla="*/ 57009 h 269321"/>
                <a:gd name="connsiteX162" fmla="*/ 262690 w 316622"/>
                <a:gd name="connsiteY162" fmla="*/ 56932 h 269321"/>
                <a:gd name="connsiteX163" fmla="*/ 264514 w 316622"/>
                <a:gd name="connsiteY163" fmla="*/ 57330 h 269321"/>
                <a:gd name="connsiteX164" fmla="*/ 267023 w 316622"/>
                <a:gd name="connsiteY164" fmla="*/ 56875 h 269321"/>
                <a:gd name="connsiteX165" fmla="*/ 269031 w 316622"/>
                <a:gd name="connsiteY165" fmla="*/ 56202 h 269321"/>
                <a:gd name="connsiteX166" fmla="*/ 270057 w 316622"/>
                <a:gd name="connsiteY166" fmla="*/ 56227 h 269321"/>
                <a:gd name="connsiteX167" fmla="*/ 271713 w 316622"/>
                <a:gd name="connsiteY167" fmla="*/ 58108 h 269321"/>
                <a:gd name="connsiteX168" fmla="*/ 273603 w 316622"/>
                <a:gd name="connsiteY168" fmla="*/ 58811 h 269321"/>
                <a:gd name="connsiteX169" fmla="*/ 277766 w 316622"/>
                <a:gd name="connsiteY169" fmla="*/ 59378 h 269321"/>
                <a:gd name="connsiteX170" fmla="*/ 282234 w 316622"/>
                <a:gd name="connsiteY170" fmla="*/ 60262 h 269321"/>
                <a:gd name="connsiteX171" fmla="*/ 283989 w 316622"/>
                <a:gd name="connsiteY171" fmla="*/ 60976 h 269321"/>
                <a:gd name="connsiteX172" fmla="*/ 285188 w 316622"/>
                <a:gd name="connsiteY172" fmla="*/ 61327 h 269321"/>
                <a:gd name="connsiteX173" fmla="*/ 285309 w 316622"/>
                <a:gd name="connsiteY173" fmla="*/ 63812 h 269321"/>
                <a:gd name="connsiteX174" fmla="*/ 284948 w 316622"/>
                <a:gd name="connsiteY174" fmla="*/ 64187 h 269321"/>
                <a:gd name="connsiteX175" fmla="*/ 280498 w 316622"/>
                <a:gd name="connsiteY175" fmla="*/ 69161 h 269321"/>
                <a:gd name="connsiteX176" fmla="*/ 278623 w 316622"/>
                <a:gd name="connsiteY176" fmla="*/ 70938 h 269321"/>
                <a:gd name="connsiteX177" fmla="*/ 277669 w 316622"/>
                <a:gd name="connsiteY177" fmla="*/ 73471 h 269321"/>
                <a:gd name="connsiteX178" fmla="*/ 277013 w 316622"/>
                <a:gd name="connsiteY178" fmla="*/ 77352 h 269321"/>
                <a:gd name="connsiteX179" fmla="*/ 275698 w 316622"/>
                <a:gd name="connsiteY179" fmla="*/ 81034 h 269321"/>
                <a:gd name="connsiteX180" fmla="*/ 273728 w 316622"/>
                <a:gd name="connsiteY180" fmla="*/ 84519 h 269321"/>
                <a:gd name="connsiteX181" fmla="*/ 273011 w 316622"/>
                <a:gd name="connsiteY181" fmla="*/ 87132 h 269321"/>
                <a:gd name="connsiteX182" fmla="*/ 273549 w 316622"/>
                <a:gd name="connsiteY182" fmla="*/ 88874 h 269321"/>
                <a:gd name="connsiteX183" fmla="*/ 273212 w 316622"/>
                <a:gd name="connsiteY183" fmla="*/ 91607 h 269321"/>
                <a:gd name="connsiteX184" fmla="*/ 272003 w 316622"/>
                <a:gd name="connsiteY184" fmla="*/ 95326 h 269321"/>
                <a:gd name="connsiteX185" fmla="*/ 271800 w 316622"/>
                <a:gd name="connsiteY185" fmla="*/ 98132 h 269321"/>
                <a:gd name="connsiteX186" fmla="*/ 272597 w 316622"/>
                <a:gd name="connsiteY186" fmla="*/ 100025 h 269321"/>
                <a:gd name="connsiteX187" fmla="*/ 273707 w 316622"/>
                <a:gd name="connsiteY187" fmla="*/ 100413 h 269321"/>
                <a:gd name="connsiteX188" fmla="*/ 271037 w 316622"/>
                <a:gd name="connsiteY188" fmla="*/ 101687 h 269321"/>
                <a:gd name="connsiteX189" fmla="*/ 270429 w 316622"/>
                <a:gd name="connsiteY189" fmla="*/ 102801 h 269321"/>
                <a:gd name="connsiteX190" fmla="*/ 269381 w 316622"/>
                <a:gd name="connsiteY190" fmla="*/ 104274 h 269321"/>
                <a:gd name="connsiteX191" fmla="*/ 267682 w 316622"/>
                <a:gd name="connsiteY191" fmla="*/ 104893 h 269321"/>
                <a:gd name="connsiteX192" fmla="*/ 265970 w 316622"/>
                <a:gd name="connsiteY192" fmla="*/ 105098 h 269321"/>
                <a:gd name="connsiteX193" fmla="*/ 264585 w 316622"/>
                <a:gd name="connsiteY193" fmla="*/ 104903 h 269321"/>
                <a:gd name="connsiteX194" fmla="*/ 263797 w 316622"/>
                <a:gd name="connsiteY194" fmla="*/ 104315 h 269321"/>
                <a:gd name="connsiteX195" fmla="*/ 263836 w 316622"/>
                <a:gd name="connsiteY195" fmla="*/ 103767 h 269321"/>
                <a:gd name="connsiteX196" fmla="*/ 263102 w 316622"/>
                <a:gd name="connsiteY196" fmla="*/ 103301 h 269321"/>
                <a:gd name="connsiteX197" fmla="*/ 261275 w 316622"/>
                <a:gd name="connsiteY197" fmla="*/ 103315 h 269321"/>
                <a:gd name="connsiteX198" fmla="*/ 259394 w 316622"/>
                <a:gd name="connsiteY198" fmla="*/ 104328 h 269321"/>
                <a:gd name="connsiteX199" fmla="*/ 257891 w 316622"/>
                <a:gd name="connsiteY199" fmla="*/ 105982 h 269321"/>
                <a:gd name="connsiteX200" fmla="*/ 258358 w 316622"/>
                <a:gd name="connsiteY200" fmla="*/ 106907 h 269321"/>
                <a:gd name="connsiteX201" fmla="*/ 259742 w 316622"/>
                <a:gd name="connsiteY201" fmla="*/ 107151 h 269321"/>
                <a:gd name="connsiteX202" fmla="*/ 260107 w 316622"/>
                <a:gd name="connsiteY202" fmla="*/ 107517 h 269321"/>
                <a:gd name="connsiteX203" fmla="*/ 260107 w 316622"/>
                <a:gd name="connsiteY203" fmla="*/ 107992 h 269321"/>
                <a:gd name="connsiteX204" fmla="*/ 259619 w 316622"/>
                <a:gd name="connsiteY204" fmla="*/ 108564 h 269321"/>
                <a:gd name="connsiteX205" fmla="*/ 259034 w 316622"/>
                <a:gd name="connsiteY205" fmla="*/ 109541 h 269321"/>
                <a:gd name="connsiteX206" fmla="*/ 256129 w 316622"/>
                <a:gd name="connsiteY206" fmla="*/ 112450 h 269321"/>
                <a:gd name="connsiteX207" fmla="*/ 253197 w 316622"/>
                <a:gd name="connsiteY207" fmla="*/ 115382 h 269321"/>
                <a:gd name="connsiteX208" fmla="*/ 252728 w 316622"/>
                <a:gd name="connsiteY208" fmla="*/ 116268 h 269321"/>
                <a:gd name="connsiteX209" fmla="*/ 251798 w 316622"/>
                <a:gd name="connsiteY209" fmla="*/ 116887 h 269321"/>
                <a:gd name="connsiteX210" fmla="*/ 248070 w 316622"/>
                <a:gd name="connsiteY210" fmla="*/ 118450 h 269321"/>
                <a:gd name="connsiteX211" fmla="*/ 247680 w 316622"/>
                <a:gd name="connsiteY211" fmla="*/ 119076 h 269321"/>
                <a:gd name="connsiteX212" fmla="*/ 247468 w 316622"/>
                <a:gd name="connsiteY212" fmla="*/ 121685 h 269321"/>
                <a:gd name="connsiteX213" fmla="*/ 247051 w 316622"/>
                <a:gd name="connsiteY213" fmla="*/ 123826 h 269321"/>
                <a:gd name="connsiteX214" fmla="*/ 244287 w 316622"/>
                <a:gd name="connsiteY214" fmla="*/ 125839 h 269321"/>
                <a:gd name="connsiteX215" fmla="*/ 241536 w 316622"/>
                <a:gd name="connsiteY215" fmla="*/ 127842 h 269321"/>
                <a:gd name="connsiteX216" fmla="*/ 240849 w 316622"/>
                <a:gd name="connsiteY216" fmla="*/ 129065 h 269321"/>
                <a:gd name="connsiteX217" fmla="*/ 240348 w 316622"/>
                <a:gd name="connsiteY217" fmla="*/ 130480 h 269321"/>
                <a:gd name="connsiteX218" fmla="*/ 239485 w 316622"/>
                <a:gd name="connsiteY218" fmla="*/ 132076 h 269321"/>
                <a:gd name="connsiteX219" fmla="*/ 239314 w 316622"/>
                <a:gd name="connsiteY219" fmla="*/ 132919 h 269321"/>
                <a:gd name="connsiteX220" fmla="*/ 240707 w 316622"/>
                <a:gd name="connsiteY220" fmla="*/ 134293 h 269321"/>
                <a:gd name="connsiteX221" fmla="*/ 240545 w 316622"/>
                <a:gd name="connsiteY221" fmla="*/ 135429 h 269321"/>
                <a:gd name="connsiteX222" fmla="*/ 240102 w 316622"/>
                <a:gd name="connsiteY222" fmla="*/ 137043 h 269321"/>
                <a:gd name="connsiteX223" fmla="*/ 238780 w 316622"/>
                <a:gd name="connsiteY223" fmla="*/ 138186 h 269321"/>
                <a:gd name="connsiteX224" fmla="*/ 237319 w 316622"/>
                <a:gd name="connsiteY224" fmla="*/ 138834 h 269321"/>
                <a:gd name="connsiteX225" fmla="*/ 237351 w 316622"/>
                <a:gd name="connsiteY225" fmla="*/ 140590 h 269321"/>
                <a:gd name="connsiteX226" fmla="*/ 238129 w 316622"/>
                <a:gd name="connsiteY226" fmla="*/ 140836 h 269321"/>
                <a:gd name="connsiteX227" fmla="*/ 239897 w 316622"/>
                <a:gd name="connsiteY227" fmla="*/ 140706 h 269321"/>
                <a:gd name="connsiteX228" fmla="*/ 242391 w 316622"/>
                <a:gd name="connsiteY228" fmla="*/ 139432 h 269321"/>
                <a:gd name="connsiteX229" fmla="*/ 244017 w 316622"/>
                <a:gd name="connsiteY229" fmla="*/ 137794 h 269321"/>
                <a:gd name="connsiteX230" fmla="*/ 243059 w 316622"/>
                <a:gd name="connsiteY230" fmla="*/ 136238 h 269321"/>
                <a:gd name="connsiteX231" fmla="*/ 242940 w 316622"/>
                <a:gd name="connsiteY231" fmla="*/ 135933 h 269321"/>
                <a:gd name="connsiteX232" fmla="*/ 243171 w 316622"/>
                <a:gd name="connsiteY232" fmla="*/ 135568 h 269321"/>
                <a:gd name="connsiteX233" fmla="*/ 245099 w 316622"/>
                <a:gd name="connsiteY233" fmla="*/ 133875 h 269321"/>
                <a:gd name="connsiteX234" fmla="*/ 247466 w 316622"/>
                <a:gd name="connsiteY234" fmla="*/ 132854 h 269321"/>
                <a:gd name="connsiteX235" fmla="*/ 250767 w 316622"/>
                <a:gd name="connsiteY235" fmla="*/ 132664 h 269321"/>
                <a:gd name="connsiteX236" fmla="*/ 254745 w 316622"/>
                <a:gd name="connsiteY236" fmla="*/ 133263 h 269321"/>
                <a:gd name="connsiteX237" fmla="*/ 255142 w 316622"/>
                <a:gd name="connsiteY237" fmla="*/ 133516 h 269321"/>
                <a:gd name="connsiteX238" fmla="*/ 254950 w 316622"/>
                <a:gd name="connsiteY238" fmla="*/ 134554 h 269321"/>
                <a:gd name="connsiteX239" fmla="*/ 255321 w 316622"/>
                <a:gd name="connsiteY239" fmla="*/ 136085 h 269321"/>
                <a:gd name="connsiteX240" fmla="*/ 256043 w 316622"/>
                <a:gd name="connsiteY240" fmla="*/ 137159 h 269321"/>
                <a:gd name="connsiteX241" fmla="*/ 255054 w 316622"/>
                <a:gd name="connsiteY241" fmla="*/ 140205 h 269321"/>
                <a:gd name="connsiteX242" fmla="*/ 255797 w 316622"/>
                <a:gd name="connsiteY242" fmla="*/ 141159 h 269321"/>
                <a:gd name="connsiteX243" fmla="*/ 256954 w 316622"/>
                <a:gd name="connsiteY243" fmla="*/ 142299 h 269321"/>
                <a:gd name="connsiteX244" fmla="*/ 257822 w 316622"/>
                <a:gd name="connsiteY244" fmla="*/ 143340 h 269321"/>
                <a:gd name="connsiteX245" fmla="*/ 259070 w 316622"/>
                <a:gd name="connsiteY245" fmla="*/ 144296 h 269321"/>
                <a:gd name="connsiteX246" fmla="*/ 260180 w 316622"/>
                <a:gd name="connsiteY246" fmla="*/ 145906 h 269321"/>
                <a:gd name="connsiteX247" fmla="*/ 260560 w 316622"/>
                <a:gd name="connsiteY247" fmla="*/ 146818 h 269321"/>
                <a:gd name="connsiteX248" fmla="*/ 258785 w 316622"/>
                <a:gd name="connsiteY248" fmla="*/ 148402 h 269321"/>
                <a:gd name="connsiteX249" fmla="*/ 255771 w 316622"/>
                <a:gd name="connsiteY249" fmla="*/ 149886 h 269321"/>
                <a:gd name="connsiteX250" fmla="*/ 255432 w 316622"/>
                <a:gd name="connsiteY250" fmla="*/ 150836 h 269321"/>
                <a:gd name="connsiteX251" fmla="*/ 255471 w 316622"/>
                <a:gd name="connsiteY251" fmla="*/ 151916 h 269321"/>
                <a:gd name="connsiteX252" fmla="*/ 255810 w 316622"/>
                <a:gd name="connsiteY252" fmla="*/ 152765 h 269321"/>
                <a:gd name="connsiteX253" fmla="*/ 257472 w 316622"/>
                <a:gd name="connsiteY253" fmla="*/ 153857 h 269321"/>
                <a:gd name="connsiteX254" fmla="*/ 259263 w 316622"/>
                <a:gd name="connsiteY254" fmla="*/ 156327 h 269321"/>
                <a:gd name="connsiteX255" fmla="*/ 260396 w 316622"/>
                <a:gd name="connsiteY255" fmla="*/ 158528 h 269321"/>
                <a:gd name="connsiteX256" fmla="*/ 262881 w 316622"/>
                <a:gd name="connsiteY256" fmla="*/ 160637 h 269321"/>
                <a:gd name="connsiteX257" fmla="*/ 263486 w 316622"/>
                <a:gd name="connsiteY257" fmla="*/ 161261 h 269321"/>
                <a:gd name="connsiteX258" fmla="*/ 263331 w 316622"/>
                <a:gd name="connsiteY258" fmla="*/ 161788 h 269321"/>
                <a:gd name="connsiteX259" fmla="*/ 262676 w 316622"/>
                <a:gd name="connsiteY259" fmla="*/ 162686 h 269321"/>
                <a:gd name="connsiteX260" fmla="*/ 261826 w 316622"/>
                <a:gd name="connsiteY260" fmla="*/ 165676 h 269321"/>
                <a:gd name="connsiteX261" fmla="*/ 260811 w 316622"/>
                <a:gd name="connsiteY261" fmla="*/ 166151 h 269321"/>
                <a:gd name="connsiteX262" fmla="*/ 259679 w 316622"/>
                <a:gd name="connsiteY262" fmla="*/ 166344 h 269321"/>
                <a:gd name="connsiteX263" fmla="*/ 256607 w 316622"/>
                <a:gd name="connsiteY263" fmla="*/ 168532 h 269321"/>
                <a:gd name="connsiteX264" fmla="*/ 255237 w 316622"/>
                <a:gd name="connsiteY264" fmla="*/ 168267 h 269321"/>
                <a:gd name="connsiteX265" fmla="*/ 253290 w 316622"/>
                <a:gd name="connsiteY265" fmla="*/ 168295 h 269321"/>
                <a:gd name="connsiteX266" fmla="*/ 251862 w 316622"/>
                <a:gd name="connsiteY266" fmla="*/ 169016 h 269321"/>
                <a:gd name="connsiteX267" fmla="*/ 252018 w 316622"/>
                <a:gd name="connsiteY267" fmla="*/ 170378 h 269321"/>
                <a:gd name="connsiteX268" fmla="*/ 253270 w 316622"/>
                <a:gd name="connsiteY268" fmla="*/ 171624 h 269321"/>
                <a:gd name="connsiteX269" fmla="*/ 254006 w 316622"/>
                <a:gd name="connsiteY269" fmla="*/ 172980 h 269321"/>
                <a:gd name="connsiteX270" fmla="*/ 254304 w 316622"/>
                <a:gd name="connsiteY270" fmla="*/ 174390 h 269321"/>
                <a:gd name="connsiteX271" fmla="*/ 255695 w 316622"/>
                <a:gd name="connsiteY271" fmla="*/ 175434 h 269321"/>
                <a:gd name="connsiteX272" fmla="*/ 257647 w 316622"/>
                <a:gd name="connsiteY272" fmla="*/ 176058 h 269321"/>
                <a:gd name="connsiteX273" fmla="*/ 258764 w 316622"/>
                <a:gd name="connsiteY273" fmla="*/ 176100 h 269321"/>
                <a:gd name="connsiteX274" fmla="*/ 259494 w 316622"/>
                <a:gd name="connsiteY274" fmla="*/ 176475 h 269321"/>
                <a:gd name="connsiteX275" fmla="*/ 259932 w 316622"/>
                <a:gd name="connsiteY275" fmla="*/ 176958 h 269321"/>
                <a:gd name="connsiteX276" fmla="*/ 260772 w 316622"/>
                <a:gd name="connsiteY276" fmla="*/ 179974 h 269321"/>
                <a:gd name="connsiteX277" fmla="*/ 260269 w 316622"/>
                <a:gd name="connsiteY277" fmla="*/ 180730 h 269321"/>
                <a:gd name="connsiteX278" fmla="*/ 259217 w 316622"/>
                <a:gd name="connsiteY278" fmla="*/ 181052 h 269321"/>
                <a:gd name="connsiteX279" fmla="*/ 258589 w 316622"/>
                <a:gd name="connsiteY279" fmla="*/ 182291 h 269321"/>
                <a:gd name="connsiteX280" fmla="*/ 257334 w 316622"/>
                <a:gd name="connsiteY280" fmla="*/ 184118 h 269321"/>
                <a:gd name="connsiteX281" fmla="*/ 256622 w 316622"/>
                <a:gd name="connsiteY281" fmla="*/ 185583 h 269321"/>
                <a:gd name="connsiteX282" fmla="*/ 257410 w 316622"/>
                <a:gd name="connsiteY282" fmla="*/ 186872 h 269321"/>
                <a:gd name="connsiteX283" fmla="*/ 257746 w 316622"/>
                <a:gd name="connsiteY283" fmla="*/ 187826 h 269321"/>
                <a:gd name="connsiteX284" fmla="*/ 257325 w 316622"/>
                <a:gd name="connsiteY284" fmla="*/ 188808 h 269321"/>
                <a:gd name="connsiteX285" fmla="*/ 257887 w 316622"/>
                <a:gd name="connsiteY285" fmla="*/ 190337 h 269321"/>
                <a:gd name="connsiteX286" fmla="*/ 259370 w 316622"/>
                <a:gd name="connsiteY286" fmla="*/ 191849 h 269321"/>
                <a:gd name="connsiteX287" fmla="*/ 263398 w 316622"/>
                <a:gd name="connsiteY287" fmla="*/ 193974 h 269321"/>
                <a:gd name="connsiteX288" fmla="*/ 267138 w 316622"/>
                <a:gd name="connsiteY288" fmla="*/ 195701 h 269321"/>
                <a:gd name="connsiteX289" fmla="*/ 268295 w 316622"/>
                <a:gd name="connsiteY289" fmla="*/ 195988 h 269321"/>
                <a:gd name="connsiteX290" fmla="*/ 273348 w 316622"/>
                <a:gd name="connsiteY290" fmla="*/ 194877 h 269321"/>
                <a:gd name="connsiteX291" fmla="*/ 274184 w 316622"/>
                <a:gd name="connsiteY291" fmla="*/ 194973 h 269321"/>
                <a:gd name="connsiteX292" fmla="*/ 274799 w 316622"/>
                <a:gd name="connsiteY292" fmla="*/ 196296 h 269321"/>
                <a:gd name="connsiteX293" fmla="*/ 275067 w 316622"/>
                <a:gd name="connsiteY293" fmla="*/ 197186 h 269321"/>
                <a:gd name="connsiteX294" fmla="*/ 274499 w 316622"/>
                <a:gd name="connsiteY294" fmla="*/ 198527 h 269321"/>
                <a:gd name="connsiteX295" fmla="*/ 273132 w 316622"/>
                <a:gd name="connsiteY295" fmla="*/ 200372 h 269321"/>
                <a:gd name="connsiteX296" fmla="*/ 271651 w 316622"/>
                <a:gd name="connsiteY296" fmla="*/ 201842 h 269321"/>
                <a:gd name="connsiteX297" fmla="*/ 270753 w 316622"/>
                <a:gd name="connsiteY297" fmla="*/ 203091 h 269321"/>
                <a:gd name="connsiteX298" fmla="*/ 270940 w 316622"/>
                <a:gd name="connsiteY298" fmla="*/ 204224 h 269321"/>
                <a:gd name="connsiteX299" fmla="*/ 270999 w 316622"/>
                <a:gd name="connsiteY299" fmla="*/ 205731 h 269321"/>
                <a:gd name="connsiteX300" fmla="*/ 269794 w 316622"/>
                <a:gd name="connsiteY300" fmla="*/ 206182 h 269321"/>
                <a:gd name="connsiteX301" fmla="*/ 269755 w 316622"/>
                <a:gd name="connsiteY301" fmla="*/ 205884 h 269321"/>
                <a:gd name="connsiteX302" fmla="*/ 269258 w 316622"/>
                <a:gd name="connsiteY302" fmla="*/ 205630 h 269321"/>
                <a:gd name="connsiteX303" fmla="*/ 268829 w 316622"/>
                <a:gd name="connsiteY303" fmla="*/ 205780 h 269321"/>
                <a:gd name="connsiteX304" fmla="*/ 268498 w 316622"/>
                <a:gd name="connsiteY304" fmla="*/ 206107 h 269321"/>
                <a:gd name="connsiteX305" fmla="*/ 268446 w 316622"/>
                <a:gd name="connsiteY305" fmla="*/ 206687 h 269321"/>
                <a:gd name="connsiteX306" fmla="*/ 265877 w 316622"/>
                <a:gd name="connsiteY306" fmla="*/ 207649 h 269321"/>
                <a:gd name="connsiteX307" fmla="*/ 264106 w 316622"/>
                <a:gd name="connsiteY307" fmla="*/ 208646 h 269321"/>
                <a:gd name="connsiteX308" fmla="*/ 257103 w 316622"/>
                <a:gd name="connsiteY308" fmla="*/ 214594 h 269321"/>
                <a:gd name="connsiteX309" fmla="*/ 253827 w 316622"/>
                <a:gd name="connsiteY309" fmla="*/ 216336 h 269321"/>
                <a:gd name="connsiteX310" fmla="*/ 253182 w 316622"/>
                <a:gd name="connsiteY310" fmla="*/ 217385 h 269321"/>
                <a:gd name="connsiteX311" fmla="*/ 252514 w 316622"/>
                <a:gd name="connsiteY311" fmla="*/ 219345 h 269321"/>
                <a:gd name="connsiteX312" fmla="*/ 250590 w 316622"/>
                <a:gd name="connsiteY312" fmla="*/ 221026 h 269321"/>
                <a:gd name="connsiteX313" fmla="*/ 248906 w 316622"/>
                <a:gd name="connsiteY313" fmla="*/ 221825 h 269321"/>
                <a:gd name="connsiteX314" fmla="*/ 244734 w 316622"/>
                <a:gd name="connsiteY314" fmla="*/ 222646 h 269321"/>
                <a:gd name="connsiteX315" fmla="*/ 240545 w 316622"/>
                <a:gd name="connsiteY315" fmla="*/ 224426 h 269321"/>
                <a:gd name="connsiteX316" fmla="*/ 238658 w 316622"/>
                <a:gd name="connsiteY316" fmla="*/ 223659 h 269321"/>
                <a:gd name="connsiteX317" fmla="*/ 233769 w 316622"/>
                <a:gd name="connsiteY317" fmla="*/ 223741 h 269321"/>
                <a:gd name="connsiteX318" fmla="*/ 230720 w 316622"/>
                <a:gd name="connsiteY318" fmla="*/ 221596 h 269321"/>
                <a:gd name="connsiteX319" fmla="*/ 224859 w 316622"/>
                <a:gd name="connsiteY319" fmla="*/ 220235 h 269321"/>
                <a:gd name="connsiteX320" fmla="*/ 222950 w 316622"/>
                <a:gd name="connsiteY320" fmla="*/ 217107 h 269321"/>
                <a:gd name="connsiteX321" fmla="*/ 220281 w 316622"/>
                <a:gd name="connsiteY321" fmla="*/ 216904 h 269321"/>
                <a:gd name="connsiteX322" fmla="*/ 218532 w 316622"/>
                <a:gd name="connsiteY322" fmla="*/ 216998 h 269321"/>
                <a:gd name="connsiteX323" fmla="*/ 217487 w 316622"/>
                <a:gd name="connsiteY323" fmla="*/ 216524 h 269321"/>
                <a:gd name="connsiteX324" fmla="*/ 217215 w 316622"/>
                <a:gd name="connsiteY324" fmla="*/ 215456 h 269321"/>
                <a:gd name="connsiteX325" fmla="*/ 217191 w 316622"/>
                <a:gd name="connsiteY325" fmla="*/ 214427 h 269321"/>
                <a:gd name="connsiteX326" fmla="*/ 215339 w 316622"/>
                <a:gd name="connsiteY326" fmla="*/ 214901 h 269321"/>
                <a:gd name="connsiteX327" fmla="*/ 213922 w 316622"/>
                <a:gd name="connsiteY327" fmla="*/ 214901 h 269321"/>
                <a:gd name="connsiteX328" fmla="*/ 213077 w 316622"/>
                <a:gd name="connsiteY328" fmla="*/ 215313 h 269321"/>
                <a:gd name="connsiteX329" fmla="*/ 212410 w 316622"/>
                <a:gd name="connsiteY329" fmla="*/ 215789 h 269321"/>
                <a:gd name="connsiteX330" fmla="*/ 211622 w 316622"/>
                <a:gd name="connsiteY330" fmla="*/ 215485 h 269321"/>
                <a:gd name="connsiteX331" fmla="*/ 211164 w 316622"/>
                <a:gd name="connsiteY331" fmla="*/ 215587 h 269321"/>
                <a:gd name="connsiteX332" fmla="*/ 211205 w 316622"/>
                <a:gd name="connsiteY332" fmla="*/ 216193 h 269321"/>
                <a:gd name="connsiteX333" fmla="*/ 209504 w 316622"/>
                <a:gd name="connsiteY333" fmla="*/ 216344 h 269321"/>
                <a:gd name="connsiteX334" fmla="*/ 207660 w 316622"/>
                <a:gd name="connsiteY334" fmla="*/ 215973 h 269321"/>
                <a:gd name="connsiteX335" fmla="*/ 202818 w 316622"/>
                <a:gd name="connsiteY335" fmla="*/ 214355 h 269321"/>
                <a:gd name="connsiteX336" fmla="*/ 202075 w 316622"/>
                <a:gd name="connsiteY336" fmla="*/ 214108 h 269321"/>
                <a:gd name="connsiteX337" fmla="*/ 198715 w 316622"/>
                <a:gd name="connsiteY337" fmla="*/ 213482 h 269321"/>
                <a:gd name="connsiteX338" fmla="*/ 197357 w 316622"/>
                <a:gd name="connsiteY338" fmla="*/ 212836 h 269321"/>
                <a:gd name="connsiteX339" fmla="*/ 196258 w 316622"/>
                <a:gd name="connsiteY339" fmla="*/ 211236 h 269321"/>
                <a:gd name="connsiteX340" fmla="*/ 195418 w 316622"/>
                <a:gd name="connsiteY340" fmla="*/ 210730 h 269321"/>
                <a:gd name="connsiteX341" fmla="*/ 194921 w 316622"/>
                <a:gd name="connsiteY341" fmla="*/ 210427 h 269321"/>
                <a:gd name="connsiteX342" fmla="*/ 191786 w 316622"/>
                <a:gd name="connsiteY342" fmla="*/ 211235 h 269321"/>
                <a:gd name="connsiteX343" fmla="*/ 190698 w 316622"/>
                <a:gd name="connsiteY343" fmla="*/ 212494 h 269321"/>
                <a:gd name="connsiteX344" fmla="*/ 188998 w 316622"/>
                <a:gd name="connsiteY344" fmla="*/ 213967 h 269321"/>
                <a:gd name="connsiteX345" fmla="*/ 177370 w 316622"/>
                <a:gd name="connsiteY345" fmla="*/ 221183 h 269321"/>
                <a:gd name="connsiteX346" fmla="*/ 175247 w 316622"/>
                <a:gd name="connsiteY346" fmla="*/ 224201 h 269321"/>
                <a:gd name="connsiteX347" fmla="*/ 172790 w 316622"/>
                <a:gd name="connsiteY347" fmla="*/ 228639 h 269321"/>
                <a:gd name="connsiteX348" fmla="*/ 172598 w 316622"/>
                <a:gd name="connsiteY348" fmla="*/ 230707 h 269321"/>
                <a:gd name="connsiteX349" fmla="*/ 173656 w 316622"/>
                <a:gd name="connsiteY349" fmla="*/ 237309 h 269321"/>
                <a:gd name="connsiteX350" fmla="*/ 176020 w 316622"/>
                <a:gd name="connsiteY350" fmla="*/ 240769 h 269321"/>
                <a:gd name="connsiteX351" fmla="*/ 176320 w 316622"/>
                <a:gd name="connsiteY351" fmla="*/ 241569 h 269321"/>
                <a:gd name="connsiteX352" fmla="*/ 175010 w 316622"/>
                <a:gd name="connsiteY352" fmla="*/ 241573 h 269321"/>
                <a:gd name="connsiteX353" fmla="*/ 172809 w 316622"/>
                <a:gd name="connsiteY353" fmla="*/ 241141 h 269321"/>
                <a:gd name="connsiteX354" fmla="*/ 170982 w 316622"/>
                <a:gd name="connsiteY354" fmla="*/ 240607 h 269321"/>
                <a:gd name="connsiteX355" fmla="*/ 169244 w 316622"/>
                <a:gd name="connsiteY355" fmla="*/ 240905 h 269321"/>
                <a:gd name="connsiteX356" fmla="*/ 167569 w 316622"/>
                <a:gd name="connsiteY356" fmla="*/ 241620 h 269321"/>
                <a:gd name="connsiteX357" fmla="*/ 166104 w 316622"/>
                <a:gd name="connsiteY357" fmla="*/ 242052 h 269321"/>
                <a:gd name="connsiteX358" fmla="*/ 165053 w 316622"/>
                <a:gd name="connsiteY358" fmla="*/ 242173 h 269321"/>
                <a:gd name="connsiteX359" fmla="*/ 164349 w 316622"/>
                <a:gd name="connsiteY359" fmla="*/ 242585 h 269321"/>
                <a:gd name="connsiteX360" fmla="*/ 164012 w 316622"/>
                <a:gd name="connsiteY360" fmla="*/ 243409 h 269321"/>
                <a:gd name="connsiteX361" fmla="*/ 163943 w 316622"/>
                <a:gd name="connsiteY361" fmla="*/ 243985 h 269321"/>
                <a:gd name="connsiteX362" fmla="*/ 162092 w 316622"/>
                <a:gd name="connsiteY362" fmla="*/ 243843 h 269321"/>
                <a:gd name="connsiteX363" fmla="*/ 157812 w 316622"/>
                <a:gd name="connsiteY363" fmla="*/ 242658 h 269321"/>
                <a:gd name="connsiteX364" fmla="*/ 153964 w 316622"/>
                <a:gd name="connsiteY364" fmla="*/ 241841 h 269321"/>
                <a:gd name="connsiteX365" fmla="*/ 151708 w 316622"/>
                <a:gd name="connsiteY365" fmla="*/ 242770 h 269321"/>
                <a:gd name="connsiteX366" fmla="*/ 150256 w 316622"/>
                <a:gd name="connsiteY366" fmla="*/ 243638 h 269321"/>
                <a:gd name="connsiteX367" fmla="*/ 149235 w 316622"/>
                <a:gd name="connsiteY367" fmla="*/ 243505 h 269321"/>
                <a:gd name="connsiteX368" fmla="*/ 148460 w 316622"/>
                <a:gd name="connsiteY368" fmla="*/ 242592 h 269321"/>
                <a:gd name="connsiteX369" fmla="*/ 147940 w 316622"/>
                <a:gd name="connsiteY369" fmla="*/ 241698 h 269321"/>
                <a:gd name="connsiteX370" fmla="*/ 146432 w 316622"/>
                <a:gd name="connsiteY370" fmla="*/ 240878 h 269321"/>
                <a:gd name="connsiteX371" fmla="*/ 143034 w 316622"/>
                <a:gd name="connsiteY371" fmla="*/ 239645 h 269321"/>
                <a:gd name="connsiteX372" fmla="*/ 143208 w 316622"/>
                <a:gd name="connsiteY372" fmla="*/ 239050 h 269321"/>
                <a:gd name="connsiteX373" fmla="*/ 143789 w 316622"/>
                <a:gd name="connsiteY373" fmla="*/ 238220 h 269321"/>
                <a:gd name="connsiteX374" fmla="*/ 143772 w 316622"/>
                <a:gd name="connsiteY374" fmla="*/ 237708 h 269321"/>
                <a:gd name="connsiteX375" fmla="*/ 143118 w 316622"/>
                <a:gd name="connsiteY375" fmla="*/ 236947 h 269321"/>
                <a:gd name="connsiteX376" fmla="*/ 139985 w 316622"/>
                <a:gd name="connsiteY376" fmla="*/ 236130 h 269321"/>
                <a:gd name="connsiteX377" fmla="*/ 138508 w 316622"/>
                <a:gd name="connsiteY377" fmla="*/ 235924 h 269321"/>
                <a:gd name="connsiteX378" fmla="*/ 137568 w 316622"/>
                <a:gd name="connsiteY378" fmla="*/ 236486 h 269321"/>
                <a:gd name="connsiteX379" fmla="*/ 136892 w 316622"/>
                <a:gd name="connsiteY379" fmla="*/ 237174 h 269321"/>
                <a:gd name="connsiteX380" fmla="*/ 135147 w 316622"/>
                <a:gd name="connsiteY380" fmla="*/ 234643 h 269321"/>
                <a:gd name="connsiteX381" fmla="*/ 133906 w 316622"/>
                <a:gd name="connsiteY381" fmla="*/ 234128 h 269321"/>
                <a:gd name="connsiteX382" fmla="*/ 132027 w 316622"/>
                <a:gd name="connsiteY382" fmla="*/ 234043 h 269321"/>
                <a:gd name="connsiteX383" fmla="*/ 129879 w 316622"/>
                <a:gd name="connsiteY383" fmla="*/ 233270 h 269321"/>
                <a:gd name="connsiteX384" fmla="*/ 127643 w 316622"/>
                <a:gd name="connsiteY384" fmla="*/ 232283 h 269321"/>
                <a:gd name="connsiteX385" fmla="*/ 122213 w 316622"/>
                <a:gd name="connsiteY385" fmla="*/ 230703 h 269321"/>
                <a:gd name="connsiteX386" fmla="*/ 120718 w 316622"/>
                <a:gd name="connsiteY386" fmla="*/ 230514 h 269321"/>
                <a:gd name="connsiteX387" fmla="*/ 120120 w 316622"/>
                <a:gd name="connsiteY387" fmla="*/ 230764 h 269321"/>
                <a:gd name="connsiteX388" fmla="*/ 119721 w 316622"/>
                <a:gd name="connsiteY388" fmla="*/ 231709 h 269321"/>
                <a:gd name="connsiteX389" fmla="*/ 119505 w 316622"/>
                <a:gd name="connsiteY389" fmla="*/ 234377 h 269321"/>
                <a:gd name="connsiteX390" fmla="*/ 119276 w 316622"/>
                <a:gd name="connsiteY390" fmla="*/ 234672 h 269321"/>
                <a:gd name="connsiteX391" fmla="*/ 116756 w 316622"/>
                <a:gd name="connsiteY391" fmla="*/ 234761 h 269321"/>
                <a:gd name="connsiteX392" fmla="*/ 113651 w 316622"/>
                <a:gd name="connsiteY392" fmla="*/ 234390 h 269321"/>
                <a:gd name="connsiteX393" fmla="*/ 112228 w 316622"/>
                <a:gd name="connsiteY393" fmla="*/ 234574 h 269321"/>
                <a:gd name="connsiteX394" fmla="*/ 110958 w 316622"/>
                <a:gd name="connsiteY394" fmla="*/ 234583 h 269321"/>
                <a:gd name="connsiteX395" fmla="*/ 109762 w 316622"/>
                <a:gd name="connsiteY395" fmla="*/ 233877 h 269321"/>
                <a:gd name="connsiteX396" fmla="*/ 104399 w 316622"/>
                <a:gd name="connsiteY396" fmla="*/ 234685 h 269321"/>
                <a:gd name="connsiteX397" fmla="*/ 103507 w 316622"/>
                <a:gd name="connsiteY397" fmla="*/ 234291 h 269321"/>
                <a:gd name="connsiteX398" fmla="*/ 102212 w 316622"/>
                <a:gd name="connsiteY398" fmla="*/ 233086 h 269321"/>
                <a:gd name="connsiteX399" fmla="*/ 100769 w 316622"/>
                <a:gd name="connsiteY399" fmla="*/ 232114 h 269321"/>
                <a:gd name="connsiteX400" fmla="*/ 99647 w 316622"/>
                <a:gd name="connsiteY400" fmla="*/ 231615 h 269321"/>
                <a:gd name="connsiteX401" fmla="*/ 98691 w 316622"/>
                <a:gd name="connsiteY401" fmla="*/ 231043 h 269321"/>
                <a:gd name="connsiteX402" fmla="*/ 97822 w 316622"/>
                <a:gd name="connsiteY402" fmla="*/ 230950 h 269321"/>
                <a:gd name="connsiteX403" fmla="*/ 96499 w 316622"/>
                <a:gd name="connsiteY403" fmla="*/ 231504 h 269321"/>
                <a:gd name="connsiteX404" fmla="*/ 94670 w 316622"/>
                <a:gd name="connsiteY404" fmla="*/ 231739 h 269321"/>
                <a:gd name="connsiteX405" fmla="*/ 93152 w 316622"/>
                <a:gd name="connsiteY405" fmla="*/ 231667 h 269321"/>
                <a:gd name="connsiteX406" fmla="*/ 92342 w 316622"/>
                <a:gd name="connsiteY406" fmla="*/ 231748 h 269321"/>
                <a:gd name="connsiteX407" fmla="*/ 88942 w 316622"/>
                <a:gd name="connsiteY407" fmla="*/ 228789 h 269321"/>
                <a:gd name="connsiteX408" fmla="*/ 88445 w 316622"/>
                <a:gd name="connsiteY408" fmla="*/ 227979 h 269321"/>
                <a:gd name="connsiteX409" fmla="*/ 86752 w 316622"/>
                <a:gd name="connsiteY409" fmla="*/ 227754 h 269321"/>
                <a:gd name="connsiteX410" fmla="*/ 84660 w 316622"/>
                <a:gd name="connsiteY410" fmla="*/ 227718 h 269321"/>
                <a:gd name="connsiteX411" fmla="*/ 79317 w 316622"/>
                <a:gd name="connsiteY411" fmla="*/ 225799 h 269321"/>
                <a:gd name="connsiteX412" fmla="*/ 76885 w 316622"/>
                <a:gd name="connsiteY412" fmla="*/ 224768 h 269321"/>
                <a:gd name="connsiteX413" fmla="*/ 76529 w 316622"/>
                <a:gd name="connsiteY413" fmla="*/ 224155 h 269321"/>
                <a:gd name="connsiteX414" fmla="*/ 76562 w 316622"/>
                <a:gd name="connsiteY414" fmla="*/ 223659 h 269321"/>
                <a:gd name="connsiteX415" fmla="*/ 76147 w 316622"/>
                <a:gd name="connsiteY415" fmla="*/ 223766 h 269321"/>
                <a:gd name="connsiteX416" fmla="*/ 75397 w 316622"/>
                <a:gd name="connsiteY416" fmla="*/ 224643 h 269321"/>
                <a:gd name="connsiteX417" fmla="*/ 75004 w 316622"/>
                <a:gd name="connsiteY417" fmla="*/ 225358 h 269321"/>
                <a:gd name="connsiteX418" fmla="*/ 74484 w 316622"/>
                <a:gd name="connsiteY418" fmla="*/ 225492 h 269321"/>
                <a:gd name="connsiteX419" fmla="*/ 73716 w 316622"/>
                <a:gd name="connsiteY419" fmla="*/ 225381 h 269321"/>
                <a:gd name="connsiteX420" fmla="*/ 73007 w 316622"/>
                <a:gd name="connsiteY420" fmla="*/ 224978 h 269321"/>
                <a:gd name="connsiteX421" fmla="*/ 72573 w 316622"/>
                <a:gd name="connsiteY421" fmla="*/ 224459 h 269321"/>
                <a:gd name="connsiteX422" fmla="*/ 73038 w 316622"/>
                <a:gd name="connsiteY422" fmla="*/ 223551 h 269321"/>
                <a:gd name="connsiteX423" fmla="*/ 73852 w 316622"/>
                <a:gd name="connsiteY423" fmla="*/ 222367 h 269321"/>
                <a:gd name="connsiteX424" fmla="*/ 74190 w 316622"/>
                <a:gd name="connsiteY424" fmla="*/ 221078 h 269321"/>
                <a:gd name="connsiteX425" fmla="*/ 74116 w 316622"/>
                <a:gd name="connsiteY425" fmla="*/ 219924 h 269321"/>
                <a:gd name="connsiteX426" fmla="*/ 72766 w 316622"/>
                <a:gd name="connsiteY426" fmla="*/ 219183 h 269321"/>
                <a:gd name="connsiteX427" fmla="*/ 70781 w 316622"/>
                <a:gd name="connsiteY427" fmla="*/ 218874 h 269321"/>
                <a:gd name="connsiteX428" fmla="*/ 69329 w 316622"/>
                <a:gd name="connsiteY428" fmla="*/ 218786 h 269321"/>
                <a:gd name="connsiteX429" fmla="*/ 67434 w 316622"/>
                <a:gd name="connsiteY429" fmla="*/ 218126 h 269321"/>
                <a:gd name="connsiteX430" fmla="*/ 66541 w 316622"/>
                <a:gd name="connsiteY430" fmla="*/ 217650 h 269321"/>
                <a:gd name="connsiteX431" fmla="*/ 65668 w 316622"/>
                <a:gd name="connsiteY431" fmla="*/ 216364 h 269321"/>
                <a:gd name="connsiteX432" fmla="*/ 65639 w 316622"/>
                <a:gd name="connsiteY432" fmla="*/ 215428 h 269321"/>
                <a:gd name="connsiteX433" fmla="*/ 69234 w 316622"/>
                <a:gd name="connsiteY433" fmla="*/ 214602 h 269321"/>
                <a:gd name="connsiteX434" fmla="*/ 72476 w 316622"/>
                <a:gd name="connsiteY434" fmla="*/ 211216 h 269321"/>
                <a:gd name="connsiteX435" fmla="*/ 75546 w 316622"/>
                <a:gd name="connsiteY435" fmla="*/ 198890 h 269321"/>
                <a:gd name="connsiteX436" fmla="*/ 77768 w 316622"/>
                <a:gd name="connsiteY436" fmla="*/ 184245 h 269321"/>
                <a:gd name="connsiteX437" fmla="*/ 79420 w 316622"/>
                <a:gd name="connsiteY437" fmla="*/ 181469 h 269321"/>
                <a:gd name="connsiteX438" fmla="*/ 81495 w 316622"/>
                <a:gd name="connsiteY438" fmla="*/ 180706 h 269321"/>
                <a:gd name="connsiteX439" fmla="*/ 79817 w 316622"/>
                <a:gd name="connsiteY439" fmla="*/ 178684 h 269321"/>
                <a:gd name="connsiteX440" fmla="*/ 78766 w 316622"/>
                <a:gd name="connsiteY440" fmla="*/ 179708 h 269321"/>
                <a:gd name="connsiteX441" fmla="*/ 78325 w 316622"/>
                <a:gd name="connsiteY441" fmla="*/ 180794 h 269321"/>
                <a:gd name="connsiteX442" fmla="*/ 77775 w 316622"/>
                <a:gd name="connsiteY442" fmla="*/ 181336 h 269321"/>
                <a:gd name="connsiteX443" fmla="*/ 79016 w 316622"/>
                <a:gd name="connsiteY443" fmla="*/ 167825 h 269321"/>
                <a:gd name="connsiteX444" fmla="*/ 79901 w 316622"/>
                <a:gd name="connsiteY444" fmla="*/ 162861 h 269321"/>
                <a:gd name="connsiteX445" fmla="*/ 81406 w 316622"/>
                <a:gd name="connsiteY445" fmla="*/ 157650 h 269321"/>
                <a:gd name="connsiteX446" fmla="*/ 84485 w 316622"/>
                <a:gd name="connsiteY446" fmla="*/ 159720 h 269321"/>
                <a:gd name="connsiteX447" fmla="*/ 87037 w 316622"/>
                <a:gd name="connsiteY447" fmla="*/ 161817 h 269321"/>
                <a:gd name="connsiteX448" fmla="*/ 88357 w 316622"/>
                <a:gd name="connsiteY448" fmla="*/ 163636 h 269321"/>
                <a:gd name="connsiteX449" fmla="*/ 90027 w 316622"/>
                <a:gd name="connsiteY449" fmla="*/ 169686 h 269321"/>
                <a:gd name="connsiteX450" fmla="*/ 91290 w 316622"/>
                <a:gd name="connsiteY450" fmla="*/ 170954 h 269321"/>
                <a:gd name="connsiteX451" fmla="*/ 93181 w 316622"/>
                <a:gd name="connsiteY451" fmla="*/ 172226 h 269321"/>
                <a:gd name="connsiteX452" fmla="*/ 92434 w 316622"/>
                <a:gd name="connsiteY452" fmla="*/ 170837 h 269321"/>
                <a:gd name="connsiteX453" fmla="*/ 91133 w 316622"/>
                <a:gd name="connsiteY453" fmla="*/ 169776 h 269321"/>
                <a:gd name="connsiteX454" fmla="*/ 89099 w 316622"/>
                <a:gd name="connsiteY454" fmla="*/ 161709 h 269321"/>
                <a:gd name="connsiteX455" fmla="*/ 87823 w 316622"/>
                <a:gd name="connsiteY455" fmla="*/ 159420 h 269321"/>
                <a:gd name="connsiteX456" fmla="*/ 85836 w 316622"/>
                <a:gd name="connsiteY456" fmla="*/ 157492 h 269321"/>
                <a:gd name="connsiteX457" fmla="*/ 79438 w 316622"/>
                <a:gd name="connsiteY457" fmla="*/ 153428 h 269321"/>
                <a:gd name="connsiteX458" fmla="*/ 78863 w 316622"/>
                <a:gd name="connsiteY458" fmla="*/ 152643 h 269321"/>
                <a:gd name="connsiteX459" fmla="*/ 78554 w 316622"/>
                <a:gd name="connsiteY459" fmla="*/ 151089 h 269321"/>
                <a:gd name="connsiteX460" fmla="*/ 80668 w 316622"/>
                <a:gd name="connsiteY460" fmla="*/ 151155 h 269321"/>
                <a:gd name="connsiteX461" fmla="*/ 82495 w 316622"/>
                <a:gd name="connsiteY461" fmla="*/ 151910 h 269321"/>
                <a:gd name="connsiteX462" fmla="*/ 82279 w 316622"/>
                <a:gd name="connsiteY462" fmla="*/ 151040 h 269321"/>
                <a:gd name="connsiteX463" fmla="*/ 81737 w 316622"/>
                <a:gd name="connsiteY463" fmla="*/ 150131 h 269321"/>
                <a:gd name="connsiteX464" fmla="*/ 80889 w 316622"/>
                <a:gd name="connsiteY464" fmla="*/ 146830 h 269321"/>
                <a:gd name="connsiteX465" fmla="*/ 80181 w 316622"/>
                <a:gd name="connsiteY465" fmla="*/ 139107 h 269321"/>
                <a:gd name="connsiteX466" fmla="*/ 80277 w 316622"/>
                <a:gd name="connsiteY466" fmla="*/ 137782 h 269321"/>
                <a:gd name="connsiteX467" fmla="*/ 79962 w 316622"/>
                <a:gd name="connsiteY467" fmla="*/ 136157 h 269321"/>
                <a:gd name="connsiteX468" fmla="*/ 77916 w 316622"/>
                <a:gd name="connsiteY468" fmla="*/ 135793 h 269321"/>
                <a:gd name="connsiteX469" fmla="*/ 76280 w 316622"/>
                <a:gd name="connsiteY469" fmla="*/ 135726 h 269321"/>
                <a:gd name="connsiteX470" fmla="*/ 74518 w 316622"/>
                <a:gd name="connsiteY470" fmla="*/ 135084 h 269321"/>
                <a:gd name="connsiteX471" fmla="*/ 65805 w 316622"/>
                <a:gd name="connsiteY471" fmla="*/ 130514 h 269321"/>
                <a:gd name="connsiteX472" fmla="*/ 62822 w 316622"/>
                <a:gd name="connsiteY472" fmla="*/ 125790 h 269321"/>
                <a:gd name="connsiteX473" fmla="*/ 59772 w 316622"/>
                <a:gd name="connsiteY473" fmla="*/ 122297 h 269321"/>
                <a:gd name="connsiteX474" fmla="*/ 59040 w 316622"/>
                <a:gd name="connsiteY474" fmla="*/ 120772 h 269321"/>
                <a:gd name="connsiteX475" fmla="*/ 59088 w 316622"/>
                <a:gd name="connsiteY475" fmla="*/ 119226 h 269321"/>
                <a:gd name="connsiteX476" fmla="*/ 60667 w 316622"/>
                <a:gd name="connsiteY476" fmla="*/ 115957 h 269321"/>
                <a:gd name="connsiteX477" fmla="*/ 59273 w 316622"/>
                <a:gd name="connsiteY477" fmla="*/ 113891 h 269321"/>
                <a:gd name="connsiteX478" fmla="*/ 57911 w 316622"/>
                <a:gd name="connsiteY478" fmla="*/ 113480 h 269321"/>
                <a:gd name="connsiteX479" fmla="*/ 56727 w 316622"/>
                <a:gd name="connsiteY479" fmla="*/ 112457 h 269321"/>
                <a:gd name="connsiteX480" fmla="*/ 57799 w 316622"/>
                <a:gd name="connsiteY480" fmla="*/ 110751 h 269321"/>
                <a:gd name="connsiteX481" fmla="*/ 58690 w 316622"/>
                <a:gd name="connsiteY481" fmla="*/ 109659 h 269321"/>
                <a:gd name="connsiteX482" fmla="*/ 60475 w 316622"/>
                <a:gd name="connsiteY482" fmla="*/ 109362 h 269321"/>
                <a:gd name="connsiteX483" fmla="*/ 62816 w 316622"/>
                <a:gd name="connsiteY483" fmla="*/ 109724 h 269321"/>
                <a:gd name="connsiteX484" fmla="*/ 65036 w 316622"/>
                <a:gd name="connsiteY484" fmla="*/ 110712 h 269321"/>
                <a:gd name="connsiteX485" fmla="*/ 66778 w 316622"/>
                <a:gd name="connsiteY485" fmla="*/ 110974 h 269321"/>
                <a:gd name="connsiteX486" fmla="*/ 61629 w 316622"/>
                <a:gd name="connsiteY486" fmla="*/ 108323 h 269321"/>
                <a:gd name="connsiteX487" fmla="*/ 53279 w 316622"/>
                <a:gd name="connsiteY487" fmla="*/ 109217 h 269321"/>
                <a:gd name="connsiteX488" fmla="*/ 51479 w 316622"/>
                <a:gd name="connsiteY488" fmla="*/ 108875 h 269321"/>
                <a:gd name="connsiteX489" fmla="*/ 49959 w 316622"/>
                <a:gd name="connsiteY489" fmla="*/ 108284 h 269321"/>
                <a:gd name="connsiteX490" fmla="*/ 49365 w 316622"/>
                <a:gd name="connsiteY490" fmla="*/ 106336 h 269321"/>
                <a:gd name="connsiteX491" fmla="*/ 50552 w 316622"/>
                <a:gd name="connsiteY491" fmla="*/ 105458 h 269321"/>
                <a:gd name="connsiteX492" fmla="*/ 51628 w 316622"/>
                <a:gd name="connsiteY492" fmla="*/ 103833 h 269321"/>
                <a:gd name="connsiteX493" fmla="*/ 50411 w 316622"/>
                <a:gd name="connsiteY493" fmla="*/ 102690 h 269321"/>
                <a:gd name="connsiteX494" fmla="*/ 48834 w 316622"/>
                <a:gd name="connsiteY494" fmla="*/ 102257 h 269321"/>
                <a:gd name="connsiteX495" fmla="*/ 46360 w 316622"/>
                <a:gd name="connsiteY495" fmla="*/ 102282 h 269321"/>
                <a:gd name="connsiteX496" fmla="*/ 44052 w 316622"/>
                <a:gd name="connsiteY496" fmla="*/ 102627 h 269321"/>
                <a:gd name="connsiteX497" fmla="*/ 43466 w 316622"/>
                <a:gd name="connsiteY497" fmla="*/ 101970 h 269321"/>
                <a:gd name="connsiteX498" fmla="*/ 44874 w 316622"/>
                <a:gd name="connsiteY498" fmla="*/ 100158 h 269321"/>
                <a:gd name="connsiteX499" fmla="*/ 43678 w 316622"/>
                <a:gd name="connsiteY499" fmla="*/ 99491 h 269321"/>
                <a:gd name="connsiteX500" fmla="*/ 42082 w 316622"/>
                <a:gd name="connsiteY500" fmla="*/ 99802 h 269321"/>
                <a:gd name="connsiteX501" fmla="*/ 39767 w 316622"/>
                <a:gd name="connsiteY501" fmla="*/ 100178 h 269321"/>
                <a:gd name="connsiteX502" fmla="*/ 37553 w 316622"/>
                <a:gd name="connsiteY502" fmla="*/ 99609 h 269321"/>
                <a:gd name="connsiteX503" fmla="*/ 35460 w 316622"/>
                <a:gd name="connsiteY503" fmla="*/ 97547 h 269321"/>
                <a:gd name="connsiteX504" fmla="*/ 34073 w 316622"/>
                <a:gd name="connsiteY504" fmla="*/ 97562 h 269321"/>
                <a:gd name="connsiteX505" fmla="*/ 33120 w 316622"/>
                <a:gd name="connsiteY505" fmla="*/ 97817 h 269321"/>
                <a:gd name="connsiteX506" fmla="*/ 31706 w 316622"/>
                <a:gd name="connsiteY506" fmla="*/ 97023 h 269321"/>
                <a:gd name="connsiteX507" fmla="*/ 30218 w 316622"/>
                <a:gd name="connsiteY507" fmla="*/ 96824 h 269321"/>
                <a:gd name="connsiteX508" fmla="*/ 29156 w 316622"/>
                <a:gd name="connsiteY508" fmla="*/ 97087 h 269321"/>
                <a:gd name="connsiteX509" fmla="*/ 27744 w 316622"/>
                <a:gd name="connsiteY509" fmla="*/ 95903 h 269321"/>
                <a:gd name="connsiteX510" fmla="*/ 19051 w 316622"/>
                <a:gd name="connsiteY510" fmla="*/ 93527 h 269321"/>
                <a:gd name="connsiteX511" fmla="*/ 15297 w 316622"/>
                <a:gd name="connsiteY511" fmla="*/ 93236 h 269321"/>
                <a:gd name="connsiteX512" fmla="*/ 11854 w 316622"/>
                <a:gd name="connsiteY512" fmla="*/ 94313 h 269321"/>
                <a:gd name="connsiteX513" fmla="*/ 9959 w 316622"/>
                <a:gd name="connsiteY513" fmla="*/ 93939 h 269321"/>
                <a:gd name="connsiteX514" fmla="*/ 8566 w 316622"/>
                <a:gd name="connsiteY514" fmla="*/ 92403 h 269321"/>
                <a:gd name="connsiteX515" fmla="*/ 7397 w 316622"/>
                <a:gd name="connsiteY515" fmla="*/ 89823 h 269321"/>
                <a:gd name="connsiteX516" fmla="*/ 1851 w 316622"/>
                <a:gd name="connsiteY516" fmla="*/ 87832 h 269321"/>
                <a:gd name="connsiteX517" fmla="*/ 2948 w 316622"/>
                <a:gd name="connsiteY517" fmla="*/ 86526 h 269321"/>
                <a:gd name="connsiteX518" fmla="*/ 5530 w 316622"/>
                <a:gd name="connsiteY518" fmla="*/ 86217 h 269321"/>
                <a:gd name="connsiteX519" fmla="*/ 8506 w 316622"/>
                <a:gd name="connsiteY519" fmla="*/ 85310 h 269321"/>
                <a:gd name="connsiteX520" fmla="*/ 9576 w 316622"/>
                <a:gd name="connsiteY520" fmla="*/ 84147 h 269321"/>
                <a:gd name="connsiteX521" fmla="*/ 7250 w 316622"/>
                <a:gd name="connsiteY521" fmla="*/ 82790 h 269321"/>
                <a:gd name="connsiteX522" fmla="*/ 5535 w 316622"/>
                <a:gd name="connsiteY522" fmla="*/ 82457 h 269321"/>
                <a:gd name="connsiteX523" fmla="*/ 4824 w 316622"/>
                <a:gd name="connsiteY523" fmla="*/ 81969 h 269321"/>
                <a:gd name="connsiteX524" fmla="*/ 4099 w 316622"/>
                <a:gd name="connsiteY524" fmla="*/ 80751 h 269321"/>
                <a:gd name="connsiteX525" fmla="*/ 5127 w 316622"/>
                <a:gd name="connsiteY525" fmla="*/ 80193 h 269321"/>
                <a:gd name="connsiteX526" fmla="*/ 5851 w 316622"/>
                <a:gd name="connsiteY526" fmla="*/ 80489 h 269321"/>
                <a:gd name="connsiteX527" fmla="*/ 7942 w 316622"/>
                <a:gd name="connsiteY527" fmla="*/ 80665 h 269321"/>
                <a:gd name="connsiteX528" fmla="*/ 11523 w 316622"/>
                <a:gd name="connsiteY528" fmla="*/ 80365 h 269321"/>
                <a:gd name="connsiteX529" fmla="*/ 10188 w 316622"/>
                <a:gd name="connsiteY529" fmla="*/ 79136 h 269321"/>
                <a:gd name="connsiteX530" fmla="*/ 8803 w 316622"/>
                <a:gd name="connsiteY530" fmla="*/ 78862 h 269321"/>
                <a:gd name="connsiteX531" fmla="*/ 8167 w 316622"/>
                <a:gd name="connsiteY531" fmla="*/ 78554 h 269321"/>
                <a:gd name="connsiteX532" fmla="*/ 5256 w 316622"/>
                <a:gd name="connsiteY532" fmla="*/ 78421 h 269321"/>
                <a:gd name="connsiteX533" fmla="*/ 3931 w 316622"/>
                <a:gd name="connsiteY533" fmla="*/ 78840 h 269321"/>
                <a:gd name="connsiteX534" fmla="*/ 954 w 316622"/>
                <a:gd name="connsiteY534" fmla="*/ 78681 h 269321"/>
                <a:gd name="connsiteX535" fmla="*/ 309 w 316622"/>
                <a:gd name="connsiteY535" fmla="*/ 77352 h 269321"/>
                <a:gd name="connsiteX536" fmla="*/ 0 w 316622"/>
                <a:gd name="connsiteY536" fmla="*/ 76212 h 269321"/>
                <a:gd name="connsiteX537" fmla="*/ 923 w 316622"/>
                <a:gd name="connsiteY537" fmla="*/ 73668 h 269321"/>
                <a:gd name="connsiteX538" fmla="*/ 5115 w 316622"/>
                <a:gd name="connsiteY538" fmla="*/ 71394 h 269321"/>
                <a:gd name="connsiteX539" fmla="*/ 15558 w 316622"/>
                <a:gd name="connsiteY539" fmla="*/ 68905 h 269321"/>
                <a:gd name="connsiteX540" fmla="*/ 20052 w 316622"/>
                <a:gd name="connsiteY540" fmla="*/ 69269 h 269321"/>
                <a:gd name="connsiteX541" fmla="*/ 23167 w 316622"/>
                <a:gd name="connsiteY541" fmla="*/ 68821 h 269321"/>
                <a:gd name="connsiteX542" fmla="*/ 26900 w 316622"/>
                <a:gd name="connsiteY542" fmla="*/ 67251 h 269321"/>
                <a:gd name="connsiteX543" fmla="*/ 28547 w 316622"/>
                <a:gd name="connsiteY543" fmla="*/ 65905 h 269321"/>
                <a:gd name="connsiteX544" fmla="*/ 33855 w 316622"/>
                <a:gd name="connsiteY544" fmla="*/ 65112 h 269321"/>
                <a:gd name="connsiteX545" fmla="*/ 38901 w 316622"/>
                <a:gd name="connsiteY545" fmla="*/ 66540 h 269321"/>
                <a:gd name="connsiteX546" fmla="*/ 43553 w 316622"/>
                <a:gd name="connsiteY546" fmla="*/ 71931 h 269321"/>
                <a:gd name="connsiteX547" fmla="*/ 45776 w 316622"/>
                <a:gd name="connsiteY547" fmla="*/ 73755 h 269321"/>
                <a:gd name="connsiteX548" fmla="*/ 51219 w 316622"/>
                <a:gd name="connsiteY548" fmla="*/ 70589 h 269321"/>
                <a:gd name="connsiteX549" fmla="*/ 59328 w 316622"/>
                <a:gd name="connsiteY549" fmla="*/ 70682 h 269321"/>
                <a:gd name="connsiteX550" fmla="*/ 61003 w 316622"/>
                <a:gd name="connsiteY550" fmla="*/ 72470 h 269321"/>
                <a:gd name="connsiteX551" fmla="*/ 61679 w 316622"/>
                <a:gd name="connsiteY551" fmla="*/ 70964 h 269321"/>
                <a:gd name="connsiteX552" fmla="*/ 63170 w 316622"/>
                <a:gd name="connsiteY552" fmla="*/ 69201 h 269321"/>
                <a:gd name="connsiteX553" fmla="*/ 64359 w 316622"/>
                <a:gd name="connsiteY553" fmla="*/ 70005 h 269321"/>
                <a:gd name="connsiteX554" fmla="*/ 64961 w 316622"/>
                <a:gd name="connsiteY554" fmla="*/ 71094 h 269321"/>
                <a:gd name="connsiteX555" fmla="*/ 73520 w 316622"/>
                <a:gd name="connsiteY555" fmla="*/ 70785 h 269321"/>
                <a:gd name="connsiteX556" fmla="*/ 74872 w 316622"/>
                <a:gd name="connsiteY556" fmla="*/ 70467 h 269321"/>
                <a:gd name="connsiteX557" fmla="*/ 72573 w 316622"/>
                <a:gd name="connsiteY557" fmla="*/ 69187 h 269321"/>
                <a:gd name="connsiteX558" fmla="*/ 70693 w 316622"/>
                <a:gd name="connsiteY558" fmla="*/ 66117 h 269321"/>
                <a:gd name="connsiteX559" fmla="*/ 70303 w 316622"/>
                <a:gd name="connsiteY559" fmla="*/ 54792 h 269321"/>
                <a:gd name="connsiteX560" fmla="*/ 67932 w 316622"/>
                <a:gd name="connsiteY560" fmla="*/ 51621 h 269321"/>
                <a:gd name="connsiteX561" fmla="*/ 65210 w 316622"/>
                <a:gd name="connsiteY561" fmla="*/ 46549 h 269321"/>
                <a:gd name="connsiteX562" fmla="*/ 63958 w 316622"/>
                <a:gd name="connsiteY562" fmla="*/ 43535 h 269321"/>
                <a:gd name="connsiteX563" fmla="*/ 63840 w 316622"/>
                <a:gd name="connsiteY563" fmla="*/ 42492 h 269321"/>
                <a:gd name="connsiteX564" fmla="*/ 64259 w 316622"/>
                <a:gd name="connsiteY564" fmla="*/ 40986 h 269321"/>
                <a:gd name="connsiteX565" fmla="*/ 67605 w 316622"/>
                <a:gd name="connsiteY565" fmla="*/ 41067 h 269321"/>
                <a:gd name="connsiteX566" fmla="*/ 70190 w 316622"/>
                <a:gd name="connsiteY566" fmla="*/ 41449 h 269321"/>
                <a:gd name="connsiteX567" fmla="*/ 75110 w 316622"/>
                <a:gd name="connsiteY567" fmla="*/ 40310 h 269321"/>
                <a:gd name="connsiteX568" fmla="*/ 77478 w 316622"/>
                <a:gd name="connsiteY568" fmla="*/ 41090 h 269321"/>
                <a:gd name="connsiteX569" fmla="*/ 77338 w 316622"/>
                <a:gd name="connsiteY569" fmla="*/ 43445 h 269321"/>
                <a:gd name="connsiteX570" fmla="*/ 78061 w 316622"/>
                <a:gd name="connsiteY570" fmla="*/ 46413 h 269321"/>
                <a:gd name="connsiteX571" fmla="*/ 78886 w 316622"/>
                <a:gd name="connsiteY571" fmla="*/ 47849 h 269321"/>
                <a:gd name="connsiteX572" fmla="*/ 80134 w 316622"/>
                <a:gd name="connsiteY572" fmla="*/ 49481 h 269321"/>
                <a:gd name="connsiteX573" fmla="*/ 84100 w 316622"/>
                <a:gd name="connsiteY573" fmla="*/ 49330 h 269321"/>
                <a:gd name="connsiteX574" fmla="*/ 88382 w 316622"/>
                <a:gd name="connsiteY574" fmla="*/ 50289 h 269321"/>
                <a:gd name="connsiteX575" fmla="*/ 93791 w 316622"/>
                <a:gd name="connsiteY575" fmla="*/ 50437 h 269321"/>
                <a:gd name="connsiteX576" fmla="*/ 101694 w 316622"/>
                <a:gd name="connsiteY576" fmla="*/ 52091 h 269321"/>
                <a:gd name="connsiteX577" fmla="*/ 105062 w 316622"/>
                <a:gd name="connsiteY577" fmla="*/ 51133 h 269321"/>
                <a:gd name="connsiteX578" fmla="*/ 108319 w 316622"/>
                <a:gd name="connsiteY578" fmla="*/ 49091 h 269321"/>
                <a:gd name="connsiteX579" fmla="*/ 114527 w 316622"/>
                <a:gd name="connsiteY579" fmla="*/ 47747 h 269321"/>
                <a:gd name="connsiteX580" fmla="*/ 115022 w 316622"/>
                <a:gd name="connsiteY580" fmla="*/ 47035 h 269321"/>
                <a:gd name="connsiteX581" fmla="*/ 111448 w 316622"/>
                <a:gd name="connsiteY581" fmla="*/ 47319 h 269321"/>
                <a:gd name="connsiteX582" fmla="*/ 108170 w 316622"/>
                <a:gd name="connsiteY582" fmla="*/ 46023 h 269321"/>
                <a:gd name="connsiteX583" fmla="*/ 107728 w 316622"/>
                <a:gd name="connsiteY583" fmla="*/ 44615 h 269321"/>
                <a:gd name="connsiteX584" fmla="*/ 108107 w 316622"/>
                <a:gd name="connsiteY584" fmla="*/ 43349 h 269321"/>
                <a:gd name="connsiteX585" fmla="*/ 109438 w 316622"/>
                <a:gd name="connsiteY585" fmla="*/ 40433 h 269321"/>
                <a:gd name="connsiteX586" fmla="*/ 118935 w 316622"/>
                <a:gd name="connsiteY586" fmla="*/ 35828 h 269321"/>
                <a:gd name="connsiteX587" fmla="*/ 125743 w 316622"/>
                <a:gd name="connsiteY587" fmla="*/ 34466 h 269321"/>
                <a:gd name="connsiteX588" fmla="*/ 132850 w 316622"/>
                <a:gd name="connsiteY588" fmla="*/ 31926 h 269321"/>
                <a:gd name="connsiteX589" fmla="*/ 136426 w 316622"/>
                <a:gd name="connsiteY589" fmla="*/ 29319 h 269321"/>
                <a:gd name="connsiteX590" fmla="*/ 138788 w 316622"/>
                <a:gd name="connsiteY590" fmla="*/ 25948 h 269321"/>
                <a:gd name="connsiteX591" fmla="*/ 139548 w 316622"/>
                <a:gd name="connsiteY591" fmla="*/ 25207 h 269321"/>
                <a:gd name="connsiteX592" fmla="*/ 140529 w 316622"/>
                <a:gd name="connsiteY592" fmla="*/ 24585 h 269321"/>
                <a:gd name="connsiteX593" fmla="*/ 139617 w 316622"/>
                <a:gd name="connsiteY593" fmla="*/ 23376 h 269321"/>
                <a:gd name="connsiteX594" fmla="*/ 140235 w 316622"/>
                <a:gd name="connsiteY594" fmla="*/ 10443 h 269321"/>
                <a:gd name="connsiteX595" fmla="*/ 140900 w 316622"/>
                <a:gd name="connsiteY595" fmla="*/ 8106 h 269321"/>
                <a:gd name="connsiteX596" fmla="*/ 142286 w 316622"/>
                <a:gd name="connsiteY596" fmla="*/ 6195 h 269321"/>
                <a:gd name="connsiteX597" fmla="*/ 144396 w 316622"/>
                <a:gd name="connsiteY597" fmla="*/ 4716 h 269321"/>
                <a:gd name="connsiteX598" fmla="*/ 147598 w 316622"/>
                <a:gd name="connsiteY598" fmla="*/ 3112 h 269321"/>
                <a:gd name="connsiteX599" fmla="*/ 159389 w 316622"/>
                <a:gd name="connsiteY599" fmla="*/ 895 h 269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</a:cxnLst>
              <a:rect l="l" t="t" r="r" b="b"/>
              <a:pathLst>
                <a:path w="316622" h="269321">
                  <a:moveTo>
                    <a:pt x="313500" y="225790"/>
                  </a:moveTo>
                  <a:lnTo>
                    <a:pt x="314562" y="226875"/>
                  </a:lnTo>
                  <a:lnTo>
                    <a:pt x="314508" y="227834"/>
                  </a:lnTo>
                  <a:lnTo>
                    <a:pt x="314901" y="230102"/>
                  </a:lnTo>
                  <a:lnTo>
                    <a:pt x="314940" y="231576"/>
                  </a:lnTo>
                  <a:lnTo>
                    <a:pt x="314361" y="235501"/>
                  </a:lnTo>
                  <a:lnTo>
                    <a:pt x="314782" y="236649"/>
                  </a:lnTo>
                  <a:lnTo>
                    <a:pt x="315581" y="237450"/>
                  </a:lnTo>
                  <a:lnTo>
                    <a:pt x="315953" y="238329"/>
                  </a:lnTo>
                  <a:lnTo>
                    <a:pt x="316622" y="248763"/>
                  </a:lnTo>
                  <a:lnTo>
                    <a:pt x="316495" y="249592"/>
                  </a:lnTo>
                  <a:lnTo>
                    <a:pt x="313791" y="253771"/>
                  </a:lnTo>
                  <a:lnTo>
                    <a:pt x="313182" y="254996"/>
                  </a:lnTo>
                  <a:lnTo>
                    <a:pt x="313048" y="260165"/>
                  </a:lnTo>
                  <a:lnTo>
                    <a:pt x="312593" y="261552"/>
                  </a:lnTo>
                  <a:lnTo>
                    <a:pt x="311634" y="262920"/>
                  </a:lnTo>
                  <a:lnTo>
                    <a:pt x="309922" y="267337"/>
                  </a:lnTo>
                  <a:lnTo>
                    <a:pt x="308434" y="269321"/>
                  </a:lnTo>
                  <a:lnTo>
                    <a:pt x="304385" y="266901"/>
                  </a:lnTo>
                  <a:lnTo>
                    <a:pt x="301997" y="265854"/>
                  </a:lnTo>
                  <a:lnTo>
                    <a:pt x="300826" y="264725"/>
                  </a:lnTo>
                  <a:lnTo>
                    <a:pt x="300062" y="263945"/>
                  </a:lnTo>
                  <a:lnTo>
                    <a:pt x="300554" y="262905"/>
                  </a:lnTo>
                  <a:lnTo>
                    <a:pt x="301643" y="261824"/>
                  </a:lnTo>
                  <a:lnTo>
                    <a:pt x="301815" y="260973"/>
                  </a:lnTo>
                  <a:lnTo>
                    <a:pt x="299254" y="260009"/>
                  </a:lnTo>
                  <a:lnTo>
                    <a:pt x="298082" y="259365"/>
                  </a:lnTo>
                  <a:lnTo>
                    <a:pt x="298097" y="258237"/>
                  </a:lnTo>
                  <a:lnTo>
                    <a:pt x="298982" y="256476"/>
                  </a:lnTo>
                  <a:lnTo>
                    <a:pt x="298578" y="255025"/>
                  </a:lnTo>
                  <a:lnTo>
                    <a:pt x="297101" y="255099"/>
                  </a:lnTo>
                  <a:lnTo>
                    <a:pt x="295957" y="254877"/>
                  </a:lnTo>
                  <a:lnTo>
                    <a:pt x="295808" y="254123"/>
                  </a:lnTo>
                  <a:lnTo>
                    <a:pt x="296654" y="253156"/>
                  </a:lnTo>
                  <a:lnTo>
                    <a:pt x="297740" y="251893"/>
                  </a:lnTo>
                  <a:lnTo>
                    <a:pt x="297706" y="250499"/>
                  </a:lnTo>
                  <a:lnTo>
                    <a:pt x="296393" y="249898"/>
                  </a:lnTo>
                  <a:lnTo>
                    <a:pt x="295203" y="248765"/>
                  </a:lnTo>
                  <a:lnTo>
                    <a:pt x="294726" y="247224"/>
                  </a:lnTo>
                  <a:lnTo>
                    <a:pt x="295648" y="246169"/>
                  </a:lnTo>
                  <a:lnTo>
                    <a:pt x="297142" y="245488"/>
                  </a:lnTo>
                  <a:lnTo>
                    <a:pt x="296045" y="243907"/>
                  </a:lnTo>
                  <a:lnTo>
                    <a:pt x="295305" y="243872"/>
                  </a:lnTo>
                  <a:lnTo>
                    <a:pt x="294713" y="243526"/>
                  </a:lnTo>
                  <a:lnTo>
                    <a:pt x="295197" y="242791"/>
                  </a:lnTo>
                  <a:lnTo>
                    <a:pt x="296358" y="241692"/>
                  </a:lnTo>
                  <a:lnTo>
                    <a:pt x="297974" y="238406"/>
                  </a:lnTo>
                  <a:lnTo>
                    <a:pt x="300224" y="236854"/>
                  </a:lnTo>
                  <a:lnTo>
                    <a:pt x="304206" y="235855"/>
                  </a:lnTo>
                  <a:lnTo>
                    <a:pt x="305283" y="235418"/>
                  </a:lnTo>
                  <a:lnTo>
                    <a:pt x="306272" y="234261"/>
                  </a:lnTo>
                  <a:lnTo>
                    <a:pt x="307367" y="233515"/>
                  </a:lnTo>
                  <a:lnTo>
                    <a:pt x="308697" y="233614"/>
                  </a:lnTo>
                  <a:lnTo>
                    <a:pt x="309924" y="234061"/>
                  </a:lnTo>
                  <a:lnTo>
                    <a:pt x="310680" y="234537"/>
                  </a:lnTo>
                  <a:lnTo>
                    <a:pt x="311247" y="234042"/>
                  </a:lnTo>
                  <a:lnTo>
                    <a:pt x="311800" y="232606"/>
                  </a:lnTo>
                  <a:lnTo>
                    <a:pt x="311461" y="231344"/>
                  </a:lnTo>
                  <a:lnTo>
                    <a:pt x="311636" y="227872"/>
                  </a:lnTo>
                  <a:lnTo>
                    <a:pt x="312349" y="225900"/>
                  </a:lnTo>
                  <a:close/>
                  <a:moveTo>
                    <a:pt x="74603" y="143377"/>
                  </a:moveTo>
                  <a:lnTo>
                    <a:pt x="76893" y="144695"/>
                  </a:lnTo>
                  <a:lnTo>
                    <a:pt x="79254" y="147418"/>
                  </a:lnTo>
                  <a:lnTo>
                    <a:pt x="78474" y="149829"/>
                  </a:lnTo>
                  <a:lnTo>
                    <a:pt x="76999" y="147609"/>
                  </a:lnTo>
                  <a:lnTo>
                    <a:pt x="75044" y="145662"/>
                  </a:lnTo>
                  <a:lnTo>
                    <a:pt x="74598" y="143859"/>
                  </a:lnTo>
                  <a:close/>
                  <a:moveTo>
                    <a:pt x="161140" y="0"/>
                  </a:moveTo>
                  <a:lnTo>
                    <a:pt x="161386" y="1392"/>
                  </a:lnTo>
                  <a:lnTo>
                    <a:pt x="162243" y="3172"/>
                  </a:lnTo>
                  <a:lnTo>
                    <a:pt x="162833" y="4145"/>
                  </a:lnTo>
                  <a:lnTo>
                    <a:pt x="162343" y="5415"/>
                  </a:lnTo>
                  <a:lnTo>
                    <a:pt x="162729" y="6460"/>
                  </a:lnTo>
                  <a:lnTo>
                    <a:pt x="164329" y="8341"/>
                  </a:lnTo>
                  <a:lnTo>
                    <a:pt x="166324" y="10112"/>
                  </a:lnTo>
                  <a:lnTo>
                    <a:pt x="168102" y="11243"/>
                  </a:lnTo>
                  <a:lnTo>
                    <a:pt x="168603" y="11120"/>
                  </a:lnTo>
                  <a:lnTo>
                    <a:pt x="169920" y="10798"/>
                  </a:lnTo>
                  <a:lnTo>
                    <a:pt x="172150" y="9638"/>
                  </a:lnTo>
                  <a:lnTo>
                    <a:pt x="174008" y="9273"/>
                  </a:lnTo>
                  <a:lnTo>
                    <a:pt x="175070" y="10162"/>
                  </a:lnTo>
                  <a:lnTo>
                    <a:pt x="175670" y="10663"/>
                  </a:lnTo>
                  <a:lnTo>
                    <a:pt x="176841" y="12664"/>
                  </a:lnTo>
                  <a:lnTo>
                    <a:pt x="177169" y="14752"/>
                  </a:lnTo>
                  <a:lnTo>
                    <a:pt x="177689" y="16484"/>
                  </a:lnTo>
                  <a:lnTo>
                    <a:pt x="178637" y="17186"/>
                  </a:lnTo>
                  <a:lnTo>
                    <a:pt x="182192" y="17416"/>
                  </a:lnTo>
                  <a:lnTo>
                    <a:pt x="184811" y="18058"/>
                  </a:lnTo>
                  <a:lnTo>
                    <a:pt x="185504" y="18639"/>
                  </a:lnTo>
                  <a:lnTo>
                    <a:pt x="186400" y="22482"/>
                  </a:lnTo>
                  <a:lnTo>
                    <a:pt x="186888" y="23025"/>
                  </a:lnTo>
                  <a:lnTo>
                    <a:pt x="187541" y="22572"/>
                  </a:lnTo>
                  <a:lnTo>
                    <a:pt x="188186" y="21940"/>
                  </a:lnTo>
                  <a:lnTo>
                    <a:pt x="189082" y="21839"/>
                  </a:lnTo>
                  <a:lnTo>
                    <a:pt x="190620" y="22083"/>
                  </a:lnTo>
                  <a:lnTo>
                    <a:pt x="192645" y="22159"/>
                  </a:lnTo>
                  <a:lnTo>
                    <a:pt x="194734" y="22582"/>
                  </a:lnTo>
                  <a:lnTo>
                    <a:pt x="197618" y="24750"/>
                  </a:lnTo>
                  <a:lnTo>
                    <a:pt x="197508" y="25465"/>
                  </a:lnTo>
                  <a:lnTo>
                    <a:pt x="196945" y="26720"/>
                  </a:lnTo>
                  <a:lnTo>
                    <a:pt x="196748" y="27721"/>
                  </a:lnTo>
                  <a:lnTo>
                    <a:pt x="197245" y="28123"/>
                  </a:lnTo>
                  <a:lnTo>
                    <a:pt x="198007" y="29156"/>
                  </a:lnTo>
                  <a:lnTo>
                    <a:pt x="197824" y="30350"/>
                  </a:lnTo>
                  <a:lnTo>
                    <a:pt x="197081" y="31186"/>
                  </a:lnTo>
                  <a:lnTo>
                    <a:pt x="196783" y="31875"/>
                  </a:lnTo>
                  <a:lnTo>
                    <a:pt x="196787" y="32323"/>
                  </a:lnTo>
                  <a:lnTo>
                    <a:pt x="197059" y="32695"/>
                  </a:lnTo>
                  <a:lnTo>
                    <a:pt x="197651" y="33022"/>
                  </a:lnTo>
                  <a:lnTo>
                    <a:pt x="201911" y="33463"/>
                  </a:lnTo>
                  <a:lnTo>
                    <a:pt x="205809" y="33022"/>
                  </a:lnTo>
                  <a:lnTo>
                    <a:pt x="208266" y="31805"/>
                  </a:lnTo>
                  <a:lnTo>
                    <a:pt x="208685" y="30522"/>
                  </a:lnTo>
                  <a:lnTo>
                    <a:pt x="209383" y="29072"/>
                  </a:lnTo>
                  <a:lnTo>
                    <a:pt x="210847" y="27858"/>
                  </a:lnTo>
                  <a:lnTo>
                    <a:pt x="211860" y="27450"/>
                  </a:lnTo>
                  <a:lnTo>
                    <a:pt x="212786" y="27950"/>
                  </a:lnTo>
                  <a:lnTo>
                    <a:pt x="211227" y="33042"/>
                  </a:lnTo>
                  <a:lnTo>
                    <a:pt x="212365" y="34342"/>
                  </a:lnTo>
                  <a:lnTo>
                    <a:pt x="212533" y="36284"/>
                  </a:lnTo>
                  <a:lnTo>
                    <a:pt x="212941" y="37983"/>
                  </a:lnTo>
                  <a:lnTo>
                    <a:pt x="214334" y="37951"/>
                  </a:lnTo>
                  <a:lnTo>
                    <a:pt x="216023" y="38265"/>
                  </a:lnTo>
                  <a:lnTo>
                    <a:pt x="217219" y="38893"/>
                  </a:lnTo>
                  <a:lnTo>
                    <a:pt x="218614" y="39902"/>
                  </a:lnTo>
                  <a:lnTo>
                    <a:pt x="220625" y="40829"/>
                  </a:lnTo>
                  <a:lnTo>
                    <a:pt x="222035" y="41155"/>
                  </a:lnTo>
                  <a:lnTo>
                    <a:pt x="222546" y="41929"/>
                  </a:lnTo>
                  <a:lnTo>
                    <a:pt x="223686" y="42825"/>
                  </a:lnTo>
                  <a:lnTo>
                    <a:pt x="225481" y="44702"/>
                  </a:lnTo>
                  <a:lnTo>
                    <a:pt x="227087" y="45954"/>
                  </a:lnTo>
                  <a:lnTo>
                    <a:pt x="227863" y="45949"/>
                  </a:lnTo>
                  <a:lnTo>
                    <a:pt x="229359" y="45456"/>
                  </a:lnTo>
                  <a:lnTo>
                    <a:pt x="231579" y="45140"/>
                  </a:lnTo>
                  <a:lnTo>
                    <a:pt x="233332" y="45167"/>
                  </a:lnTo>
                  <a:lnTo>
                    <a:pt x="234078" y="46120"/>
                  </a:lnTo>
                  <a:lnTo>
                    <a:pt x="235801" y="46560"/>
                  </a:lnTo>
                  <a:lnTo>
                    <a:pt x="236410" y="46910"/>
                  </a:lnTo>
                  <a:lnTo>
                    <a:pt x="237086" y="47567"/>
                  </a:lnTo>
                  <a:lnTo>
                    <a:pt x="238234" y="47831"/>
                  </a:lnTo>
                  <a:lnTo>
                    <a:pt x="239621" y="47567"/>
                  </a:lnTo>
                  <a:lnTo>
                    <a:pt x="240633" y="46690"/>
                  </a:lnTo>
                  <a:lnTo>
                    <a:pt x="241985" y="46297"/>
                  </a:lnTo>
                  <a:lnTo>
                    <a:pt x="243337" y="46428"/>
                  </a:lnTo>
                  <a:lnTo>
                    <a:pt x="244114" y="46910"/>
                  </a:lnTo>
                  <a:lnTo>
                    <a:pt x="245596" y="47622"/>
                  </a:lnTo>
                  <a:lnTo>
                    <a:pt x="246434" y="47467"/>
                  </a:lnTo>
                  <a:lnTo>
                    <a:pt x="248111" y="47905"/>
                  </a:lnTo>
                  <a:lnTo>
                    <a:pt x="249796" y="49287"/>
                  </a:lnTo>
                  <a:lnTo>
                    <a:pt x="250504" y="50676"/>
                  </a:lnTo>
                  <a:lnTo>
                    <a:pt x="250689" y="51435"/>
                  </a:lnTo>
                  <a:lnTo>
                    <a:pt x="251417" y="52260"/>
                  </a:lnTo>
                  <a:lnTo>
                    <a:pt x="254244" y="55987"/>
                  </a:lnTo>
                  <a:lnTo>
                    <a:pt x="255147" y="56171"/>
                  </a:lnTo>
                  <a:lnTo>
                    <a:pt x="256129" y="55606"/>
                  </a:lnTo>
                  <a:lnTo>
                    <a:pt x="256766" y="54805"/>
                  </a:lnTo>
                  <a:lnTo>
                    <a:pt x="257688" y="54645"/>
                  </a:lnTo>
                  <a:lnTo>
                    <a:pt x="259172" y="55014"/>
                  </a:lnTo>
                  <a:lnTo>
                    <a:pt x="260126" y="55436"/>
                  </a:lnTo>
                  <a:lnTo>
                    <a:pt x="260584" y="57049"/>
                  </a:lnTo>
                  <a:lnTo>
                    <a:pt x="260906" y="57356"/>
                  </a:lnTo>
                  <a:lnTo>
                    <a:pt x="261547" y="57009"/>
                  </a:lnTo>
                  <a:lnTo>
                    <a:pt x="262690" y="56932"/>
                  </a:lnTo>
                  <a:lnTo>
                    <a:pt x="264514" y="57330"/>
                  </a:lnTo>
                  <a:lnTo>
                    <a:pt x="267023" y="56875"/>
                  </a:lnTo>
                  <a:lnTo>
                    <a:pt x="269031" y="56202"/>
                  </a:lnTo>
                  <a:lnTo>
                    <a:pt x="270057" y="56227"/>
                  </a:lnTo>
                  <a:lnTo>
                    <a:pt x="271713" y="58108"/>
                  </a:lnTo>
                  <a:lnTo>
                    <a:pt x="273603" y="58811"/>
                  </a:lnTo>
                  <a:lnTo>
                    <a:pt x="277766" y="59378"/>
                  </a:lnTo>
                  <a:lnTo>
                    <a:pt x="282234" y="60262"/>
                  </a:lnTo>
                  <a:lnTo>
                    <a:pt x="283989" y="60976"/>
                  </a:lnTo>
                  <a:lnTo>
                    <a:pt x="285188" y="61327"/>
                  </a:lnTo>
                  <a:lnTo>
                    <a:pt x="285309" y="63812"/>
                  </a:lnTo>
                  <a:lnTo>
                    <a:pt x="284948" y="64187"/>
                  </a:lnTo>
                  <a:lnTo>
                    <a:pt x="280498" y="69161"/>
                  </a:lnTo>
                  <a:lnTo>
                    <a:pt x="278623" y="70938"/>
                  </a:lnTo>
                  <a:lnTo>
                    <a:pt x="277669" y="73471"/>
                  </a:lnTo>
                  <a:lnTo>
                    <a:pt x="277013" y="77352"/>
                  </a:lnTo>
                  <a:lnTo>
                    <a:pt x="275698" y="81034"/>
                  </a:lnTo>
                  <a:lnTo>
                    <a:pt x="273728" y="84519"/>
                  </a:lnTo>
                  <a:lnTo>
                    <a:pt x="273011" y="87132"/>
                  </a:lnTo>
                  <a:lnTo>
                    <a:pt x="273549" y="88874"/>
                  </a:lnTo>
                  <a:lnTo>
                    <a:pt x="273212" y="91607"/>
                  </a:lnTo>
                  <a:lnTo>
                    <a:pt x="272003" y="95326"/>
                  </a:lnTo>
                  <a:lnTo>
                    <a:pt x="271800" y="98132"/>
                  </a:lnTo>
                  <a:lnTo>
                    <a:pt x="272597" y="100025"/>
                  </a:lnTo>
                  <a:lnTo>
                    <a:pt x="273707" y="100413"/>
                  </a:lnTo>
                  <a:lnTo>
                    <a:pt x="271037" y="101687"/>
                  </a:lnTo>
                  <a:lnTo>
                    <a:pt x="270429" y="102801"/>
                  </a:lnTo>
                  <a:lnTo>
                    <a:pt x="269381" y="104274"/>
                  </a:lnTo>
                  <a:lnTo>
                    <a:pt x="267682" y="104893"/>
                  </a:lnTo>
                  <a:lnTo>
                    <a:pt x="265970" y="105098"/>
                  </a:lnTo>
                  <a:lnTo>
                    <a:pt x="264585" y="104903"/>
                  </a:lnTo>
                  <a:lnTo>
                    <a:pt x="263797" y="104315"/>
                  </a:lnTo>
                  <a:lnTo>
                    <a:pt x="263836" y="103767"/>
                  </a:lnTo>
                  <a:lnTo>
                    <a:pt x="263102" y="103301"/>
                  </a:lnTo>
                  <a:lnTo>
                    <a:pt x="261275" y="103315"/>
                  </a:lnTo>
                  <a:lnTo>
                    <a:pt x="259394" y="104328"/>
                  </a:lnTo>
                  <a:lnTo>
                    <a:pt x="257891" y="105982"/>
                  </a:lnTo>
                  <a:lnTo>
                    <a:pt x="258358" y="106907"/>
                  </a:lnTo>
                  <a:lnTo>
                    <a:pt x="259742" y="107151"/>
                  </a:lnTo>
                  <a:lnTo>
                    <a:pt x="260107" y="107517"/>
                  </a:lnTo>
                  <a:lnTo>
                    <a:pt x="260107" y="107992"/>
                  </a:lnTo>
                  <a:lnTo>
                    <a:pt x="259619" y="108564"/>
                  </a:lnTo>
                  <a:lnTo>
                    <a:pt x="259034" y="109541"/>
                  </a:lnTo>
                  <a:lnTo>
                    <a:pt x="256129" y="112450"/>
                  </a:lnTo>
                  <a:lnTo>
                    <a:pt x="253197" y="115382"/>
                  </a:lnTo>
                  <a:lnTo>
                    <a:pt x="252728" y="116268"/>
                  </a:lnTo>
                  <a:lnTo>
                    <a:pt x="251798" y="116887"/>
                  </a:lnTo>
                  <a:lnTo>
                    <a:pt x="248070" y="118450"/>
                  </a:lnTo>
                  <a:lnTo>
                    <a:pt x="247680" y="119076"/>
                  </a:lnTo>
                  <a:lnTo>
                    <a:pt x="247468" y="121685"/>
                  </a:lnTo>
                  <a:lnTo>
                    <a:pt x="247051" y="123826"/>
                  </a:lnTo>
                  <a:lnTo>
                    <a:pt x="244287" y="125839"/>
                  </a:lnTo>
                  <a:lnTo>
                    <a:pt x="241536" y="127842"/>
                  </a:lnTo>
                  <a:lnTo>
                    <a:pt x="240849" y="129065"/>
                  </a:lnTo>
                  <a:lnTo>
                    <a:pt x="240348" y="130480"/>
                  </a:lnTo>
                  <a:lnTo>
                    <a:pt x="239485" y="132076"/>
                  </a:lnTo>
                  <a:lnTo>
                    <a:pt x="239314" y="132919"/>
                  </a:lnTo>
                  <a:lnTo>
                    <a:pt x="240707" y="134293"/>
                  </a:lnTo>
                  <a:lnTo>
                    <a:pt x="240545" y="135429"/>
                  </a:lnTo>
                  <a:lnTo>
                    <a:pt x="240102" y="137043"/>
                  </a:lnTo>
                  <a:lnTo>
                    <a:pt x="238780" y="138186"/>
                  </a:lnTo>
                  <a:lnTo>
                    <a:pt x="237319" y="138834"/>
                  </a:lnTo>
                  <a:lnTo>
                    <a:pt x="237351" y="140590"/>
                  </a:lnTo>
                  <a:lnTo>
                    <a:pt x="238129" y="140836"/>
                  </a:lnTo>
                  <a:lnTo>
                    <a:pt x="239897" y="140706"/>
                  </a:lnTo>
                  <a:lnTo>
                    <a:pt x="242391" y="139432"/>
                  </a:lnTo>
                  <a:lnTo>
                    <a:pt x="244017" y="137794"/>
                  </a:lnTo>
                  <a:lnTo>
                    <a:pt x="243059" y="136238"/>
                  </a:lnTo>
                  <a:lnTo>
                    <a:pt x="242940" y="135933"/>
                  </a:lnTo>
                  <a:lnTo>
                    <a:pt x="243171" y="135568"/>
                  </a:lnTo>
                  <a:lnTo>
                    <a:pt x="245099" y="133875"/>
                  </a:lnTo>
                  <a:lnTo>
                    <a:pt x="247466" y="132854"/>
                  </a:lnTo>
                  <a:lnTo>
                    <a:pt x="250767" y="132664"/>
                  </a:lnTo>
                  <a:lnTo>
                    <a:pt x="254745" y="133263"/>
                  </a:lnTo>
                  <a:lnTo>
                    <a:pt x="255142" y="133516"/>
                  </a:lnTo>
                  <a:lnTo>
                    <a:pt x="254950" y="134554"/>
                  </a:lnTo>
                  <a:lnTo>
                    <a:pt x="255321" y="136085"/>
                  </a:lnTo>
                  <a:lnTo>
                    <a:pt x="256043" y="137159"/>
                  </a:lnTo>
                  <a:lnTo>
                    <a:pt x="255054" y="140205"/>
                  </a:lnTo>
                  <a:lnTo>
                    <a:pt x="255797" y="141159"/>
                  </a:lnTo>
                  <a:lnTo>
                    <a:pt x="256954" y="142299"/>
                  </a:lnTo>
                  <a:lnTo>
                    <a:pt x="257822" y="143340"/>
                  </a:lnTo>
                  <a:lnTo>
                    <a:pt x="259070" y="144296"/>
                  </a:lnTo>
                  <a:lnTo>
                    <a:pt x="260180" y="145906"/>
                  </a:lnTo>
                  <a:lnTo>
                    <a:pt x="260560" y="146818"/>
                  </a:lnTo>
                  <a:lnTo>
                    <a:pt x="258785" y="148402"/>
                  </a:lnTo>
                  <a:lnTo>
                    <a:pt x="255771" y="149886"/>
                  </a:lnTo>
                  <a:lnTo>
                    <a:pt x="255432" y="150836"/>
                  </a:lnTo>
                  <a:lnTo>
                    <a:pt x="255471" y="151916"/>
                  </a:lnTo>
                  <a:lnTo>
                    <a:pt x="255810" y="152765"/>
                  </a:lnTo>
                  <a:lnTo>
                    <a:pt x="257472" y="153857"/>
                  </a:lnTo>
                  <a:lnTo>
                    <a:pt x="259263" y="156327"/>
                  </a:lnTo>
                  <a:lnTo>
                    <a:pt x="260396" y="158528"/>
                  </a:lnTo>
                  <a:lnTo>
                    <a:pt x="262881" y="160637"/>
                  </a:lnTo>
                  <a:lnTo>
                    <a:pt x="263486" y="161261"/>
                  </a:lnTo>
                  <a:lnTo>
                    <a:pt x="263331" y="161788"/>
                  </a:lnTo>
                  <a:lnTo>
                    <a:pt x="262676" y="162686"/>
                  </a:lnTo>
                  <a:lnTo>
                    <a:pt x="261826" y="165676"/>
                  </a:lnTo>
                  <a:lnTo>
                    <a:pt x="260811" y="166151"/>
                  </a:lnTo>
                  <a:lnTo>
                    <a:pt x="259679" y="166344"/>
                  </a:lnTo>
                  <a:lnTo>
                    <a:pt x="256607" y="168532"/>
                  </a:lnTo>
                  <a:lnTo>
                    <a:pt x="255237" y="168267"/>
                  </a:lnTo>
                  <a:lnTo>
                    <a:pt x="253290" y="168295"/>
                  </a:lnTo>
                  <a:lnTo>
                    <a:pt x="251862" y="169016"/>
                  </a:lnTo>
                  <a:lnTo>
                    <a:pt x="252018" y="170378"/>
                  </a:lnTo>
                  <a:lnTo>
                    <a:pt x="253270" y="171624"/>
                  </a:lnTo>
                  <a:lnTo>
                    <a:pt x="254006" y="172980"/>
                  </a:lnTo>
                  <a:lnTo>
                    <a:pt x="254304" y="174390"/>
                  </a:lnTo>
                  <a:lnTo>
                    <a:pt x="255695" y="175434"/>
                  </a:lnTo>
                  <a:lnTo>
                    <a:pt x="257647" y="176058"/>
                  </a:lnTo>
                  <a:lnTo>
                    <a:pt x="258764" y="176100"/>
                  </a:lnTo>
                  <a:lnTo>
                    <a:pt x="259494" y="176475"/>
                  </a:lnTo>
                  <a:lnTo>
                    <a:pt x="259932" y="176958"/>
                  </a:lnTo>
                  <a:lnTo>
                    <a:pt x="260772" y="179974"/>
                  </a:lnTo>
                  <a:lnTo>
                    <a:pt x="260269" y="180730"/>
                  </a:lnTo>
                  <a:lnTo>
                    <a:pt x="259217" y="181052"/>
                  </a:lnTo>
                  <a:lnTo>
                    <a:pt x="258589" y="182291"/>
                  </a:lnTo>
                  <a:lnTo>
                    <a:pt x="257334" y="184118"/>
                  </a:lnTo>
                  <a:lnTo>
                    <a:pt x="256622" y="185583"/>
                  </a:lnTo>
                  <a:lnTo>
                    <a:pt x="257410" y="186872"/>
                  </a:lnTo>
                  <a:lnTo>
                    <a:pt x="257746" y="187826"/>
                  </a:lnTo>
                  <a:lnTo>
                    <a:pt x="257325" y="188808"/>
                  </a:lnTo>
                  <a:lnTo>
                    <a:pt x="257887" y="190337"/>
                  </a:lnTo>
                  <a:lnTo>
                    <a:pt x="259370" y="191849"/>
                  </a:lnTo>
                  <a:lnTo>
                    <a:pt x="263398" y="193974"/>
                  </a:lnTo>
                  <a:lnTo>
                    <a:pt x="267138" y="195701"/>
                  </a:lnTo>
                  <a:lnTo>
                    <a:pt x="268295" y="195988"/>
                  </a:lnTo>
                  <a:lnTo>
                    <a:pt x="273348" y="194877"/>
                  </a:lnTo>
                  <a:lnTo>
                    <a:pt x="274184" y="194973"/>
                  </a:lnTo>
                  <a:lnTo>
                    <a:pt x="274799" y="196296"/>
                  </a:lnTo>
                  <a:lnTo>
                    <a:pt x="275067" y="197186"/>
                  </a:lnTo>
                  <a:lnTo>
                    <a:pt x="274499" y="198527"/>
                  </a:lnTo>
                  <a:lnTo>
                    <a:pt x="273132" y="200372"/>
                  </a:lnTo>
                  <a:lnTo>
                    <a:pt x="271651" y="201842"/>
                  </a:lnTo>
                  <a:lnTo>
                    <a:pt x="270753" y="203091"/>
                  </a:lnTo>
                  <a:lnTo>
                    <a:pt x="270940" y="204224"/>
                  </a:lnTo>
                  <a:lnTo>
                    <a:pt x="270999" y="205731"/>
                  </a:lnTo>
                  <a:lnTo>
                    <a:pt x="269794" y="206182"/>
                  </a:lnTo>
                  <a:lnTo>
                    <a:pt x="269755" y="205884"/>
                  </a:lnTo>
                  <a:lnTo>
                    <a:pt x="269258" y="205630"/>
                  </a:lnTo>
                  <a:lnTo>
                    <a:pt x="268829" y="205780"/>
                  </a:lnTo>
                  <a:lnTo>
                    <a:pt x="268498" y="206107"/>
                  </a:lnTo>
                  <a:lnTo>
                    <a:pt x="268446" y="206687"/>
                  </a:lnTo>
                  <a:lnTo>
                    <a:pt x="265877" y="207649"/>
                  </a:lnTo>
                  <a:lnTo>
                    <a:pt x="264106" y="208646"/>
                  </a:lnTo>
                  <a:lnTo>
                    <a:pt x="257103" y="214594"/>
                  </a:lnTo>
                  <a:lnTo>
                    <a:pt x="253827" y="216336"/>
                  </a:lnTo>
                  <a:lnTo>
                    <a:pt x="253182" y="217385"/>
                  </a:lnTo>
                  <a:lnTo>
                    <a:pt x="252514" y="219345"/>
                  </a:lnTo>
                  <a:lnTo>
                    <a:pt x="250590" y="221026"/>
                  </a:lnTo>
                  <a:lnTo>
                    <a:pt x="248906" y="221825"/>
                  </a:lnTo>
                  <a:lnTo>
                    <a:pt x="244734" y="222646"/>
                  </a:lnTo>
                  <a:lnTo>
                    <a:pt x="240545" y="224426"/>
                  </a:lnTo>
                  <a:lnTo>
                    <a:pt x="238658" y="223659"/>
                  </a:lnTo>
                  <a:lnTo>
                    <a:pt x="233769" y="223741"/>
                  </a:lnTo>
                  <a:lnTo>
                    <a:pt x="230720" y="221596"/>
                  </a:lnTo>
                  <a:lnTo>
                    <a:pt x="224859" y="220235"/>
                  </a:lnTo>
                  <a:lnTo>
                    <a:pt x="222950" y="217107"/>
                  </a:lnTo>
                  <a:lnTo>
                    <a:pt x="220281" y="216904"/>
                  </a:lnTo>
                  <a:lnTo>
                    <a:pt x="218532" y="216998"/>
                  </a:lnTo>
                  <a:lnTo>
                    <a:pt x="217487" y="216524"/>
                  </a:lnTo>
                  <a:lnTo>
                    <a:pt x="217215" y="215456"/>
                  </a:lnTo>
                  <a:lnTo>
                    <a:pt x="217191" y="214427"/>
                  </a:lnTo>
                  <a:lnTo>
                    <a:pt x="215339" y="214901"/>
                  </a:lnTo>
                  <a:lnTo>
                    <a:pt x="213922" y="214901"/>
                  </a:lnTo>
                  <a:lnTo>
                    <a:pt x="213077" y="215313"/>
                  </a:lnTo>
                  <a:lnTo>
                    <a:pt x="212410" y="215789"/>
                  </a:lnTo>
                  <a:lnTo>
                    <a:pt x="211622" y="215485"/>
                  </a:lnTo>
                  <a:lnTo>
                    <a:pt x="211164" y="215587"/>
                  </a:lnTo>
                  <a:lnTo>
                    <a:pt x="211205" y="216193"/>
                  </a:lnTo>
                  <a:lnTo>
                    <a:pt x="209504" y="216344"/>
                  </a:lnTo>
                  <a:lnTo>
                    <a:pt x="207660" y="215973"/>
                  </a:lnTo>
                  <a:lnTo>
                    <a:pt x="202818" y="214355"/>
                  </a:lnTo>
                  <a:lnTo>
                    <a:pt x="202075" y="214108"/>
                  </a:lnTo>
                  <a:lnTo>
                    <a:pt x="198715" y="213482"/>
                  </a:lnTo>
                  <a:lnTo>
                    <a:pt x="197357" y="212836"/>
                  </a:lnTo>
                  <a:lnTo>
                    <a:pt x="196258" y="211236"/>
                  </a:lnTo>
                  <a:lnTo>
                    <a:pt x="195418" y="210730"/>
                  </a:lnTo>
                  <a:lnTo>
                    <a:pt x="194921" y="210427"/>
                  </a:lnTo>
                  <a:lnTo>
                    <a:pt x="191786" y="211235"/>
                  </a:lnTo>
                  <a:lnTo>
                    <a:pt x="190698" y="212494"/>
                  </a:lnTo>
                  <a:lnTo>
                    <a:pt x="188998" y="213967"/>
                  </a:lnTo>
                  <a:lnTo>
                    <a:pt x="177370" y="221183"/>
                  </a:lnTo>
                  <a:lnTo>
                    <a:pt x="175247" y="224201"/>
                  </a:lnTo>
                  <a:lnTo>
                    <a:pt x="172790" y="228639"/>
                  </a:lnTo>
                  <a:lnTo>
                    <a:pt x="172598" y="230707"/>
                  </a:lnTo>
                  <a:lnTo>
                    <a:pt x="173656" y="237309"/>
                  </a:lnTo>
                  <a:lnTo>
                    <a:pt x="176020" y="240769"/>
                  </a:lnTo>
                  <a:lnTo>
                    <a:pt x="176320" y="241569"/>
                  </a:lnTo>
                  <a:lnTo>
                    <a:pt x="175010" y="241573"/>
                  </a:lnTo>
                  <a:lnTo>
                    <a:pt x="172809" y="241141"/>
                  </a:lnTo>
                  <a:lnTo>
                    <a:pt x="170982" y="240607"/>
                  </a:lnTo>
                  <a:lnTo>
                    <a:pt x="169244" y="240905"/>
                  </a:lnTo>
                  <a:lnTo>
                    <a:pt x="167569" y="241620"/>
                  </a:lnTo>
                  <a:lnTo>
                    <a:pt x="166104" y="242052"/>
                  </a:lnTo>
                  <a:lnTo>
                    <a:pt x="165053" y="242173"/>
                  </a:lnTo>
                  <a:lnTo>
                    <a:pt x="164349" y="242585"/>
                  </a:lnTo>
                  <a:lnTo>
                    <a:pt x="164012" y="243409"/>
                  </a:lnTo>
                  <a:lnTo>
                    <a:pt x="163943" y="243985"/>
                  </a:lnTo>
                  <a:lnTo>
                    <a:pt x="162092" y="243843"/>
                  </a:lnTo>
                  <a:lnTo>
                    <a:pt x="157812" y="242658"/>
                  </a:lnTo>
                  <a:lnTo>
                    <a:pt x="153964" y="241841"/>
                  </a:lnTo>
                  <a:lnTo>
                    <a:pt x="151708" y="242770"/>
                  </a:lnTo>
                  <a:lnTo>
                    <a:pt x="150256" y="243638"/>
                  </a:lnTo>
                  <a:lnTo>
                    <a:pt x="149235" y="243505"/>
                  </a:lnTo>
                  <a:lnTo>
                    <a:pt x="148460" y="242592"/>
                  </a:lnTo>
                  <a:lnTo>
                    <a:pt x="147940" y="241698"/>
                  </a:lnTo>
                  <a:lnTo>
                    <a:pt x="146432" y="240878"/>
                  </a:lnTo>
                  <a:lnTo>
                    <a:pt x="143034" y="239645"/>
                  </a:lnTo>
                  <a:lnTo>
                    <a:pt x="143208" y="239050"/>
                  </a:lnTo>
                  <a:lnTo>
                    <a:pt x="143789" y="238220"/>
                  </a:lnTo>
                  <a:lnTo>
                    <a:pt x="143772" y="237708"/>
                  </a:lnTo>
                  <a:lnTo>
                    <a:pt x="143118" y="236947"/>
                  </a:lnTo>
                  <a:lnTo>
                    <a:pt x="139985" y="236130"/>
                  </a:lnTo>
                  <a:lnTo>
                    <a:pt x="138508" y="235924"/>
                  </a:lnTo>
                  <a:lnTo>
                    <a:pt x="137568" y="236486"/>
                  </a:lnTo>
                  <a:lnTo>
                    <a:pt x="136892" y="237174"/>
                  </a:lnTo>
                  <a:lnTo>
                    <a:pt x="135147" y="234643"/>
                  </a:lnTo>
                  <a:lnTo>
                    <a:pt x="133906" y="234128"/>
                  </a:lnTo>
                  <a:lnTo>
                    <a:pt x="132027" y="234043"/>
                  </a:lnTo>
                  <a:lnTo>
                    <a:pt x="129879" y="233270"/>
                  </a:lnTo>
                  <a:lnTo>
                    <a:pt x="127643" y="232283"/>
                  </a:lnTo>
                  <a:lnTo>
                    <a:pt x="122213" y="230703"/>
                  </a:lnTo>
                  <a:lnTo>
                    <a:pt x="120718" y="230514"/>
                  </a:lnTo>
                  <a:lnTo>
                    <a:pt x="120120" y="230764"/>
                  </a:lnTo>
                  <a:lnTo>
                    <a:pt x="119721" y="231709"/>
                  </a:lnTo>
                  <a:lnTo>
                    <a:pt x="119505" y="234377"/>
                  </a:lnTo>
                  <a:lnTo>
                    <a:pt x="119276" y="234672"/>
                  </a:lnTo>
                  <a:lnTo>
                    <a:pt x="116756" y="234761"/>
                  </a:lnTo>
                  <a:lnTo>
                    <a:pt x="113651" y="234390"/>
                  </a:lnTo>
                  <a:lnTo>
                    <a:pt x="112228" y="234574"/>
                  </a:lnTo>
                  <a:lnTo>
                    <a:pt x="110958" y="234583"/>
                  </a:lnTo>
                  <a:lnTo>
                    <a:pt x="109762" y="233877"/>
                  </a:lnTo>
                  <a:lnTo>
                    <a:pt x="104399" y="234685"/>
                  </a:lnTo>
                  <a:lnTo>
                    <a:pt x="103507" y="234291"/>
                  </a:lnTo>
                  <a:lnTo>
                    <a:pt x="102212" y="233086"/>
                  </a:lnTo>
                  <a:lnTo>
                    <a:pt x="100769" y="232114"/>
                  </a:lnTo>
                  <a:lnTo>
                    <a:pt x="99647" y="231615"/>
                  </a:lnTo>
                  <a:lnTo>
                    <a:pt x="98691" y="231043"/>
                  </a:lnTo>
                  <a:lnTo>
                    <a:pt x="97822" y="230950"/>
                  </a:lnTo>
                  <a:lnTo>
                    <a:pt x="96499" y="231504"/>
                  </a:lnTo>
                  <a:lnTo>
                    <a:pt x="94670" y="231739"/>
                  </a:lnTo>
                  <a:lnTo>
                    <a:pt x="93152" y="231667"/>
                  </a:lnTo>
                  <a:lnTo>
                    <a:pt x="92342" y="231748"/>
                  </a:lnTo>
                  <a:lnTo>
                    <a:pt x="88942" y="228789"/>
                  </a:lnTo>
                  <a:lnTo>
                    <a:pt x="88445" y="227979"/>
                  </a:lnTo>
                  <a:lnTo>
                    <a:pt x="86752" y="227754"/>
                  </a:lnTo>
                  <a:lnTo>
                    <a:pt x="84660" y="227718"/>
                  </a:lnTo>
                  <a:lnTo>
                    <a:pt x="79317" y="225799"/>
                  </a:lnTo>
                  <a:lnTo>
                    <a:pt x="76885" y="224768"/>
                  </a:lnTo>
                  <a:lnTo>
                    <a:pt x="76529" y="224155"/>
                  </a:lnTo>
                  <a:lnTo>
                    <a:pt x="76562" y="223659"/>
                  </a:lnTo>
                  <a:lnTo>
                    <a:pt x="76147" y="223766"/>
                  </a:lnTo>
                  <a:lnTo>
                    <a:pt x="75397" y="224643"/>
                  </a:lnTo>
                  <a:lnTo>
                    <a:pt x="75004" y="225358"/>
                  </a:lnTo>
                  <a:lnTo>
                    <a:pt x="74484" y="225492"/>
                  </a:lnTo>
                  <a:lnTo>
                    <a:pt x="73716" y="225381"/>
                  </a:lnTo>
                  <a:lnTo>
                    <a:pt x="73007" y="224978"/>
                  </a:lnTo>
                  <a:lnTo>
                    <a:pt x="72573" y="224459"/>
                  </a:lnTo>
                  <a:lnTo>
                    <a:pt x="73038" y="223551"/>
                  </a:lnTo>
                  <a:lnTo>
                    <a:pt x="73852" y="222367"/>
                  </a:lnTo>
                  <a:lnTo>
                    <a:pt x="74190" y="221078"/>
                  </a:lnTo>
                  <a:lnTo>
                    <a:pt x="74116" y="219924"/>
                  </a:lnTo>
                  <a:lnTo>
                    <a:pt x="72766" y="219183"/>
                  </a:lnTo>
                  <a:lnTo>
                    <a:pt x="70781" y="218874"/>
                  </a:lnTo>
                  <a:lnTo>
                    <a:pt x="69329" y="218786"/>
                  </a:lnTo>
                  <a:lnTo>
                    <a:pt x="67434" y="218126"/>
                  </a:lnTo>
                  <a:lnTo>
                    <a:pt x="66541" y="217650"/>
                  </a:lnTo>
                  <a:lnTo>
                    <a:pt x="65668" y="216364"/>
                  </a:lnTo>
                  <a:lnTo>
                    <a:pt x="65639" y="215428"/>
                  </a:lnTo>
                  <a:lnTo>
                    <a:pt x="69234" y="214602"/>
                  </a:lnTo>
                  <a:lnTo>
                    <a:pt x="72476" y="211216"/>
                  </a:lnTo>
                  <a:lnTo>
                    <a:pt x="75546" y="198890"/>
                  </a:lnTo>
                  <a:lnTo>
                    <a:pt x="77768" y="184245"/>
                  </a:lnTo>
                  <a:lnTo>
                    <a:pt x="79420" y="181469"/>
                  </a:lnTo>
                  <a:lnTo>
                    <a:pt x="81495" y="180706"/>
                  </a:lnTo>
                  <a:lnTo>
                    <a:pt x="79817" y="178684"/>
                  </a:lnTo>
                  <a:lnTo>
                    <a:pt x="78766" y="179708"/>
                  </a:lnTo>
                  <a:lnTo>
                    <a:pt x="78325" y="180794"/>
                  </a:lnTo>
                  <a:lnTo>
                    <a:pt x="77775" y="181336"/>
                  </a:lnTo>
                  <a:lnTo>
                    <a:pt x="79016" y="167825"/>
                  </a:lnTo>
                  <a:lnTo>
                    <a:pt x="79901" y="162861"/>
                  </a:lnTo>
                  <a:lnTo>
                    <a:pt x="81406" y="157650"/>
                  </a:lnTo>
                  <a:lnTo>
                    <a:pt x="84485" y="159720"/>
                  </a:lnTo>
                  <a:lnTo>
                    <a:pt x="87037" y="161817"/>
                  </a:lnTo>
                  <a:lnTo>
                    <a:pt x="88357" y="163636"/>
                  </a:lnTo>
                  <a:lnTo>
                    <a:pt x="90027" y="169686"/>
                  </a:lnTo>
                  <a:lnTo>
                    <a:pt x="91290" y="170954"/>
                  </a:lnTo>
                  <a:lnTo>
                    <a:pt x="93181" y="172226"/>
                  </a:lnTo>
                  <a:lnTo>
                    <a:pt x="92434" y="170837"/>
                  </a:lnTo>
                  <a:lnTo>
                    <a:pt x="91133" y="169776"/>
                  </a:lnTo>
                  <a:lnTo>
                    <a:pt x="89099" y="161709"/>
                  </a:lnTo>
                  <a:lnTo>
                    <a:pt x="87823" y="159420"/>
                  </a:lnTo>
                  <a:lnTo>
                    <a:pt x="85836" y="157492"/>
                  </a:lnTo>
                  <a:lnTo>
                    <a:pt x="79438" y="153428"/>
                  </a:lnTo>
                  <a:lnTo>
                    <a:pt x="78863" y="152643"/>
                  </a:lnTo>
                  <a:lnTo>
                    <a:pt x="78554" y="151089"/>
                  </a:lnTo>
                  <a:lnTo>
                    <a:pt x="80668" y="151155"/>
                  </a:lnTo>
                  <a:lnTo>
                    <a:pt x="82495" y="151910"/>
                  </a:lnTo>
                  <a:lnTo>
                    <a:pt x="82279" y="151040"/>
                  </a:lnTo>
                  <a:lnTo>
                    <a:pt x="81737" y="150131"/>
                  </a:lnTo>
                  <a:lnTo>
                    <a:pt x="80889" y="146830"/>
                  </a:lnTo>
                  <a:lnTo>
                    <a:pt x="80181" y="139107"/>
                  </a:lnTo>
                  <a:lnTo>
                    <a:pt x="80277" y="137782"/>
                  </a:lnTo>
                  <a:lnTo>
                    <a:pt x="79962" y="136157"/>
                  </a:lnTo>
                  <a:lnTo>
                    <a:pt x="77916" y="135793"/>
                  </a:lnTo>
                  <a:lnTo>
                    <a:pt x="76280" y="135726"/>
                  </a:lnTo>
                  <a:lnTo>
                    <a:pt x="74518" y="135084"/>
                  </a:lnTo>
                  <a:lnTo>
                    <a:pt x="65805" y="130514"/>
                  </a:lnTo>
                  <a:lnTo>
                    <a:pt x="62822" y="125790"/>
                  </a:lnTo>
                  <a:lnTo>
                    <a:pt x="59772" y="122297"/>
                  </a:lnTo>
                  <a:lnTo>
                    <a:pt x="59040" y="120772"/>
                  </a:lnTo>
                  <a:lnTo>
                    <a:pt x="59088" y="119226"/>
                  </a:lnTo>
                  <a:lnTo>
                    <a:pt x="60667" y="115957"/>
                  </a:lnTo>
                  <a:lnTo>
                    <a:pt x="59273" y="113891"/>
                  </a:lnTo>
                  <a:lnTo>
                    <a:pt x="57911" y="113480"/>
                  </a:lnTo>
                  <a:lnTo>
                    <a:pt x="56727" y="112457"/>
                  </a:lnTo>
                  <a:lnTo>
                    <a:pt x="57799" y="110751"/>
                  </a:lnTo>
                  <a:lnTo>
                    <a:pt x="58690" y="109659"/>
                  </a:lnTo>
                  <a:lnTo>
                    <a:pt x="60475" y="109362"/>
                  </a:lnTo>
                  <a:lnTo>
                    <a:pt x="62816" y="109724"/>
                  </a:lnTo>
                  <a:lnTo>
                    <a:pt x="65036" y="110712"/>
                  </a:lnTo>
                  <a:lnTo>
                    <a:pt x="66778" y="110974"/>
                  </a:lnTo>
                  <a:lnTo>
                    <a:pt x="61629" y="108323"/>
                  </a:lnTo>
                  <a:lnTo>
                    <a:pt x="53279" y="109217"/>
                  </a:lnTo>
                  <a:lnTo>
                    <a:pt x="51479" y="108875"/>
                  </a:lnTo>
                  <a:lnTo>
                    <a:pt x="49959" y="108284"/>
                  </a:lnTo>
                  <a:lnTo>
                    <a:pt x="49365" y="106336"/>
                  </a:lnTo>
                  <a:lnTo>
                    <a:pt x="50552" y="105458"/>
                  </a:lnTo>
                  <a:lnTo>
                    <a:pt x="51628" y="103833"/>
                  </a:lnTo>
                  <a:lnTo>
                    <a:pt x="50411" y="102690"/>
                  </a:lnTo>
                  <a:lnTo>
                    <a:pt x="48834" y="102257"/>
                  </a:lnTo>
                  <a:lnTo>
                    <a:pt x="46360" y="102282"/>
                  </a:lnTo>
                  <a:lnTo>
                    <a:pt x="44052" y="102627"/>
                  </a:lnTo>
                  <a:lnTo>
                    <a:pt x="43466" y="101970"/>
                  </a:lnTo>
                  <a:lnTo>
                    <a:pt x="44874" y="100158"/>
                  </a:lnTo>
                  <a:lnTo>
                    <a:pt x="43678" y="99491"/>
                  </a:lnTo>
                  <a:lnTo>
                    <a:pt x="42082" y="99802"/>
                  </a:lnTo>
                  <a:lnTo>
                    <a:pt x="39767" y="100178"/>
                  </a:lnTo>
                  <a:lnTo>
                    <a:pt x="37553" y="99609"/>
                  </a:lnTo>
                  <a:lnTo>
                    <a:pt x="35460" y="97547"/>
                  </a:lnTo>
                  <a:lnTo>
                    <a:pt x="34073" y="97562"/>
                  </a:lnTo>
                  <a:lnTo>
                    <a:pt x="33120" y="97817"/>
                  </a:lnTo>
                  <a:lnTo>
                    <a:pt x="31706" y="97023"/>
                  </a:lnTo>
                  <a:lnTo>
                    <a:pt x="30218" y="96824"/>
                  </a:lnTo>
                  <a:lnTo>
                    <a:pt x="29156" y="97087"/>
                  </a:lnTo>
                  <a:lnTo>
                    <a:pt x="27744" y="95903"/>
                  </a:lnTo>
                  <a:lnTo>
                    <a:pt x="19051" y="93527"/>
                  </a:lnTo>
                  <a:lnTo>
                    <a:pt x="15297" y="93236"/>
                  </a:lnTo>
                  <a:lnTo>
                    <a:pt x="11854" y="94313"/>
                  </a:lnTo>
                  <a:lnTo>
                    <a:pt x="9959" y="93939"/>
                  </a:lnTo>
                  <a:lnTo>
                    <a:pt x="8566" y="92403"/>
                  </a:lnTo>
                  <a:lnTo>
                    <a:pt x="7397" y="89823"/>
                  </a:lnTo>
                  <a:lnTo>
                    <a:pt x="1851" y="87832"/>
                  </a:lnTo>
                  <a:lnTo>
                    <a:pt x="2948" y="86526"/>
                  </a:lnTo>
                  <a:lnTo>
                    <a:pt x="5530" y="86217"/>
                  </a:lnTo>
                  <a:lnTo>
                    <a:pt x="8506" y="85310"/>
                  </a:lnTo>
                  <a:lnTo>
                    <a:pt x="9576" y="84147"/>
                  </a:lnTo>
                  <a:lnTo>
                    <a:pt x="7250" y="82790"/>
                  </a:lnTo>
                  <a:lnTo>
                    <a:pt x="5535" y="82457"/>
                  </a:lnTo>
                  <a:lnTo>
                    <a:pt x="4824" y="81969"/>
                  </a:lnTo>
                  <a:lnTo>
                    <a:pt x="4099" y="80751"/>
                  </a:lnTo>
                  <a:lnTo>
                    <a:pt x="5127" y="80193"/>
                  </a:lnTo>
                  <a:lnTo>
                    <a:pt x="5851" y="80489"/>
                  </a:lnTo>
                  <a:lnTo>
                    <a:pt x="7942" y="80665"/>
                  </a:lnTo>
                  <a:lnTo>
                    <a:pt x="11523" y="80365"/>
                  </a:lnTo>
                  <a:lnTo>
                    <a:pt x="10188" y="79136"/>
                  </a:lnTo>
                  <a:lnTo>
                    <a:pt x="8803" y="78862"/>
                  </a:lnTo>
                  <a:lnTo>
                    <a:pt x="8167" y="78554"/>
                  </a:lnTo>
                  <a:lnTo>
                    <a:pt x="5256" y="78421"/>
                  </a:lnTo>
                  <a:lnTo>
                    <a:pt x="3931" y="78840"/>
                  </a:lnTo>
                  <a:lnTo>
                    <a:pt x="954" y="78681"/>
                  </a:lnTo>
                  <a:lnTo>
                    <a:pt x="309" y="77352"/>
                  </a:lnTo>
                  <a:lnTo>
                    <a:pt x="0" y="76212"/>
                  </a:lnTo>
                  <a:lnTo>
                    <a:pt x="923" y="73668"/>
                  </a:lnTo>
                  <a:lnTo>
                    <a:pt x="5115" y="71394"/>
                  </a:lnTo>
                  <a:lnTo>
                    <a:pt x="15558" y="68905"/>
                  </a:lnTo>
                  <a:lnTo>
                    <a:pt x="20052" y="69269"/>
                  </a:lnTo>
                  <a:lnTo>
                    <a:pt x="23167" y="68821"/>
                  </a:lnTo>
                  <a:lnTo>
                    <a:pt x="26900" y="67251"/>
                  </a:lnTo>
                  <a:lnTo>
                    <a:pt x="28547" y="65905"/>
                  </a:lnTo>
                  <a:lnTo>
                    <a:pt x="33855" y="65112"/>
                  </a:lnTo>
                  <a:lnTo>
                    <a:pt x="38901" y="66540"/>
                  </a:lnTo>
                  <a:lnTo>
                    <a:pt x="43553" y="71931"/>
                  </a:lnTo>
                  <a:lnTo>
                    <a:pt x="45776" y="73755"/>
                  </a:lnTo>
                  <a:lnTo>
                    <a:pt x="51219" y="70589"/>
                  </a:lnTo>
                  <a:lnTo>
                    <a:pt x="59328" y="70682"/>
                  </a:lnTo>
                  <a:lnTo>
                    <a:pt x="61003" y="72470"/>
                  </a:lnTo>
                  <a:lnTo>
                    <a:pt x="61679" y="70964"/>
                  </a:lnTo>
                  <a:lnTo>
                    <a:pt x="63170" y="69201"/>
                  </a:lnTo>
                  <a:lnTo>
                    <a:pt x="64359" y="70005"/>
                  </a:lnTo>
                  <a:lnTo>
                    <a:pt x="64961" y="71094"/>
                  </a:lnTo>
                  <a:lnTo>
                    <a:pt x="73520" y="70785"/>
                  </a:lnTo>
                  <a:lnTo>
                    <a:pt x="74872" y="70467"/>
                  </a:lnTo>
                  <a:lnTo>
                    <a:pt x="72573" y="69187"/>
                  </a:lnTo>
                  <a:lnTo>
                    <a:pt x="70693" y="66117"/>
                  </a:lnTo>
                  <a:lnTo>
                    <a:pt x="70303" y="54792"/>
                  </a:lnTo>
                  <a:lnTo>
                    <a:pt x="67932" y="51621"/>
                  </a:lnTo>
                  <a:lnTo>
                    <a:pt x="65210" y="46549"/>
                  </a:lnTo>
                  <a:lnTo>
                    <a:pt x="63958" y="43535"/>
                  </a:lnTo>
                  <a:lnTo>
                    <a:pt x="63840" y="42492"/>
                  </a:lnTo>
                  <a:lnTo>
                    <a:pt x="64259" y="40986"/>
                  </a:lnTo>
                  <a:lnTo>
                    <a:pt x="67605" y="41067"/>
                  </a:lnTo>
                  <a:lnTo>
                    <a:pt x="70190" y="41449"/>
                  </a:lnTo>
                  <a:lnTo>
                    <a:pt x="75110" y="40310"/>
                  </a:lnTo>
                  <a:lnTo>
                    <a:pt x="77478" y="41090"/>
                  </a:lnTo>
                  <a:lnTo>
                    <a:pt x="77338" y="43445"/>
                  </a:lnTo>
                  <a:lnTo>
                    <a:pt x="78061" y="46413"/>
                  </a:lnTo>
                  <a:lnTo>
                    <a:pt x="78886" y="47849"/>
                  </a:lnTo>
                  <a:lnTo>
                    <a:pt x="80134" y="49481"/>
                  </a:lnTo>
                  <a:lnTo>
                    <a:pt x="84100" y="49330"/>
                  </a:lnTo>
                  <a:lnTo>
                    <a:pt x="88382" y="50289"/>
                  </a:lnTo>
                  <a:lnTo>
                    <a:pt x="93791" y="50437"/>
                  </a:lnTo>
                  <a:lnTo>
                    <a:pt x="101694" y="52091"/>
                  </a:lnTo>
                  <a:lnTo>
                    <a:pt x="105062" y="51133"/>
                  </a:lnTo>
                  <a:lnTo>
                    <a:pt x="108319" y="49091"/>
                  </a:lnTo>
                  <a:lnTo>
                    <a:pt x="114527" y="47747"/>
                  </a:lnTo>
                  <a:lnTo>
                    <a:pt x="115022" y="47035"/>
                  </a:lnTo>
                  <a:lnTo>
                    <a:pt x="111448" y="47319"/>
                  </a:lnTo>
                  <a:lnTo>
                    <a:pt x="108170" y="46023"/>
                  </a:lnTo>
                  <a:lnTo>
                    <a:pt x="107728" y="44615"/>
                  </a:lnTo>
                  <a:lnTo>
                    <a:pt x="108107" y="43349"/>
                  </a:lnTo>
                  <a:lnTo>
                    <a:pt x="109438" y="40433"/>
                  </a:lnTo>
                  <a:lnTo>
                    <a:pt x="118935" y="35828"/>
                  </a:lnTo>
                  <a:lnTo>
                    <a:pt x="125743" y="34466"/>
                  </a:lnTo>
                  <a:lnTo>
                    <a:pt x="132850" y="31926"/>
                  </a:lnTo>
                  <a:lnTo>
                    <a:pt x="136426" y="29319"/>
                  </a:lnTo>
                  <a:lnTo>
                    <a:pt x="138788" y="25948"/>
                  </a:lnTo>
                  <a:lnTo>
                    <a:pt x="139548" y="25207"/>
                  </a:lnTo>
                  <a:lnTo>
                    <a:pt x="140529" y="24585"/>
                  </a:lnTo>
                  <a:lnTo>
                    <a:pt x="139617" y="23376"/>
                  </a:lnTo>
                  <a:lnTo>
                    <a:pt x="140235" y="10443"/>
                  </a:lnTo>
                  <a:lnTo>
                    <a:pt x="140900" y="8106"/>
                  </a:lnTo>
                  <a:lnTo>
                    <a:pt x="142286" y="6195"/>
                  </a:lnTo>
                  <a:lnTo>
                    <a:pt x="144396" y="4716"/>
                  </a:lnTo>
                  <a:lnTo>
                    <a:pt x="147598" y="3112"/>
                  </a:lnTo>
                  <a:lnTo>
                    <a:pt x="159389" y="895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ee4p_GB_1_37764">
              <a:extLst>
                <a:ext uri="{FF2B5EF4-FFF2-40B4-BE49-F238E27FC236}">
                  <a16:creationId xmlns:a16="http://schemas.microsoft.com/office/drawing/2014/main" id="{0E28284A-61E5-4A30-8D6C-CB732CEC9DDF}"/>
                </a:ext>
              </a:extLst>
            </p:cNvPr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6724873" y="6110961"/>
              <a:ext cx="2058834" cy="3385255"/>
            </a:xfrm>
            <a:custGeom>
              <a:avLst/>
              <a:gdLst>
                <a:gd name="connsiteX0" fmla="*/ 130999 w 218720"/>
                <a:gd name="connsiteY0" fmla="*/ 356870 h 359632"/>
                <a:gd name="connsiteX1" fmla="*/ 134057 w 218720"/>
                <a:gd name="connsiteY1" fmla="*/ 357184 h 359632"/>
                <a:gd name="connsiteX2" fmla="*/ 135462 w 218720"/>
                <a:gd name="connsiteY2" fmla="*/ 357875 h 359632"/>
                <a:gd name="connsiteX3" fmla="*/ 135656 w 218720"/>
                <a:gd name="connsiteY3" fmla="*/ 359317 h 359632"/>
                <a:gd name="connsiteX4" fmla="*/ 134686 w 218720"/>
                <a:gd name="connsiteY4" fmla="*/ 359632 h 359632"/>
                <a:gd name="connsiteX5" fmla="*/ 133862 w 218720"/>
                <a:gd name="connsiteY5" fmla="*/ 359129 h 359632"/>
                <a:gd name="connsiteX6" fmla="*/ 132211 w 218720"/>
                <a:gd name="connsiteY6" fmla="*/ 359129 h 359632"/>
                <a:gd name="connsiteX7" fmla="*/ 130660 w 218720"/>
                <a:gd name="connsiteY7" fmla="*/ 359444 h 359632"/>
                <a:gd name="connsiteX8" fmla="*/ 123886 w 218720"/>
                <a:gd name="connsiteY8" fmla="*/ 349985 h 359632"/>
                <a:gd name="connsiteX9" fmla="*/ 124356 w 218720"/>
                <a:gd name="connsiteY9" fmla="*/ 349993 h 359632"/>
                <a:gd name="connsiteX10" fmla="*/ 124547 w 218720"/>
                <a:gd name="connsiteY10" fmla="*/ 350331 h 359632"/>
                <a:gd name="connsiteX11" fmla="*/ 123771 w 218720"/>
                <a:gd name="connsiteY11" fmla="*/ 352219 h 359632"/>
                <a:gd name="connsiteX12" fmla="*/ 121745 w 218720"/>
                <a:gd name="connsiteY12" fmla="*/ 351582 h 359632"/>
                <a:gd name="connsiteX13" fmla="*/ 121587 w 218720"/>
                <a:gd name="connsiteY13" fmla="*/ 351086 h 359632"/>
                <a:gd name="connsiteX14" fmla="*/ 151070 w 218720"/>
                <a:gd name="connsiteY14" fmla="*/ 313354 h 359632"/>
                <a:gd name="connsiteX15" fmla="*/ 154798 w 218720"/>
                <a:gd name="connsiteY15" fmla="*/ 314483 h 359632"/>
                <a:gd name="connsiteX16" fmla="*/ 156537 w 218720"/>
                <a:gd name="connsiteY16" fmla="*/ 315778 h 359632"/>
                <a:gd name="connsiteX17" fmla="*/ 154684 w 218720"/>
                <a:gd name="connsiteY17" fmla="*/ 316783 h 359632"/>
                <a:gd name="connsiteX18" fmla="*/ 154099 w 218720"/>
                <a:gd name="connsiteY18" fmla="*/ 317960 h 359632"/>
                <a:gd name="connsiteX19" fmla="*/ 153651 w 218720"/>
                <a:gd name="connsiteY19" fmla="*/ 318425 h 359632"/>
                <a:gd name="connsiteX20" fmla="*/ 152426 w 218720"/>
                <a:gd name="connsiteY20" fmla="*/ 318728 h 359632"/>
                <a:gd name="connsiteX21" fmla="*/ 151214 w 218720"/>
                <a:gd name="connsiteY21" fmla="*/ 318736 h 359632"/>
                <a:gd name="connsiteX22" fmla="*/ 146592 w 218720"/>
                <a:gd name="connsiteY22" fmla="*/ 316373 h 359632"/>
                <a:gd name="connsiteX23" fmla="*/ 145528 w 218720"/>
                <a:gd name="connsiteY23" fmla="*/ 316480 h 359632"/>
                <a:gd name="connsiteX24" fmla="*/ 146584 w 218720"/>
                <a:gd name="connsiteY24" fmla="*/ 315397 h 359632"/>
                <a:gd name="connsiteX25" fmla="*/ 149455 w 218720"/>
                <a:gd name="connsiteY25" fmla="*/ 314517 h 359632"/>
                <a:gd name="connsiteX26" fmla="*/ 81441 w 218720"/>
                <a:gd name="connsiteY26" fmla="*/ 235014 h 359632"/>
                <a:gd name="connsiteX27" fmla="*/ 84683 w 218720"/>
                <a:gd name="connsiteY27" fmla="*/ 235075 h 359632"/>
                <a:gd name="connsiteX28" fmla="*/ 87299 w 218720"/>
                <a:gd name="connsiteY28" fmla="*/ 237958 h 359632"/>
                <a:gd name="connsiteX29" fmla="*/ 88226 w 218720"/>
                <a:gd name="connsiteY29" fmla="*/ 238517 h 359632"/>
                <a:gd name="connsiteX30" fmla="*/ 90559 w 218720"/>
                <a:gd name="connsiteY30" fmla="*/ 238429 h 359632"/>
                <a:gd name="connsiteX31" fmla="*/ 89787 w 218720"/>
                <a:gd name="connsiteY31" fmla="*/ 239675 h 359632"/>
                <a:gd name="connsiteX32" fmla="*/ 87220 w 218720"/>
                <a:gd name="connsiteY32" fmla="*/ 241064 h 359632"/>
                <a:gd name="connsiteX33" fmla="*/ 85490 w 218720"/>
                <a:gd name="connsiteY33" fmla="*/ 242434 h 359632"/>
                <a:gd name="connsiteX34" fmla="*/ 83402 w 218720"/>
                <a:gd name="connsiteY34" fmla="*/ 243581 h 359632"/>
                <a:gd name="connsiteX35" fmla="*/ 82389 w 218720"/>
                <a:gd name="connsiteY35" fmla="*/ 242265 h 359632"/>
                <a:gd name="connsiteX36" fmla="*/ 81214 w 218720"/>
                <a:gd name="connsiteY36" fmla="*/ 242315 h 359632"/>
                <a:gd name="connsiteX37" fmla="*/ 79418 w 218720"/>
                <a:gd name="connsiteY37" fmla="*/ 239791 h 359632"/>
                <a:gd name="connsiteX38" fmla="*/ 79094 w 218720"/>
                <a:gd name="connsiteY38" fmla="*/ 236001 h 359632"/>
                <a:gd name="connsiteX39" fmla="*/ 82259 w 218720"/>
                <a:gd name="connsiteY39" fmla="*/ 205081 h 359632"/>
                <a:gd name="connsiteX40" fmla="*/ 82904 w 218720"/>
                <a:gd name="connsiteY40" fmla="*/ 205211 h 359632"/>
                <a:gd name="connsiteX41" fmla="*/ 83310 w 218720"/>
                <a:gd name="connsiteY41" fmla="*/ 205526 h 359632"/>
                <a:gd name="connsiteX42" fmla="*/ 84177 w 218720"/>
                <a:gd name="connsiteY42" fmla="*/ 209288 h 359632"/>
                <a:gd name="connsiteX43" fmla="*/ 82976 w 218720"/>
                <a:gd name="connsiteY43" fmla="*/ 210618 h 359632"/>
                <a:gd name="connsiteX44" fmla="*/ 82539 w 218720"/>
                <a:gd name="connsiteY44" fmla="*/ 211836 h 359632"/>
                <a:gd name="connsiteX45" fmla="*/ 78068 w 218720"/>
                <a:gd name="connsiteY45" fmla="*/ 215684 h 359632"/>
                <a:gd name="connsiteX46" fmla="*/ 76259 w 218720"/>
                <a:gd name="connsiteY46" fmla="*/ 214993 h 359632"/>
                <a:gd name="connsiteX47" fmla="*/ 74718 w 218720"/>
                <a:gd name="connsiteY47" fmla="*/ 215358 h 359632"/>
                <a:gd name="connsiteX48" fmla="*/ 74285 w 218720"/>
                <a:gd name="connsiteY48" fmla="*/ 215248 h 359632"/>
                <a:gd name="connsiteX49" fmla="*/ 75165 w 218720"/>
                <a:gd name="connsiteY49" fmla="*/ 213859 h 359632"/>
                <a:gd name="connsiteX50" fmla="*/ 76200 w 218720"/>
                <a:gd name="connsiteY50" fmla="*/ 210633 h 359632"/>
                <a:gd name="connsiteX51" fmla="*/ 78055 w 218720"/>
                <a:gd name="connsiteY51" fmla="*/ 209353 h 359632"/>
                <a:gd name="connsiteX52" fmla="*/ 80403 w 218720"/>
                <a:gd name="connsiteY52" fmla="*/ 206010 h 359632"/>
                <a:gd name="connsiteX53" fmla="*/ 39128 w 218720"/>
                <a:gd name="connsiteY53" fmla="*/ 179485 h 359632"/>
                <a:gd name="connsiteX54" fmla="*/ 42247 w 218720"/>
                <a:gd name="connsiteY54" fmla="*/ 180254 h 359632"/>
                <a:gd name="connsiteX55" fmla="*/ 44571 w 218720"/>
                <a:gd name="connsiteY55" fmla="*/ 180238 h 359632"/>
                <a:gd name="connsiteX56" fmla="*/ 46635 w 218720"/>
                <a:gd name="connsiteY56" fmla="*/ 182483 h 359632"/>
                <a:gd name="connsiteX57" fmla="*/ 47742 w 218720"/>
                <a:gd name="connsiteY57" fmla="*/ 186017 h 359632"/>
                <a:gd name="connsiteX58" fmla="*/ 50319 w 218720"/>
                <a:gd name="connsiteY58" fmla="*/ 189504 h 359632"/>
                <a:gd name="connsiteX59" fmla="*/ 53688 w 218720"/>
                <a:gd name="connsiteY59" fmla="*/ 192534 h 359632"/>
                <a:gd name="connsiteX60" fmla="*/ 53822 w 218720"/>
                <a:gd name="connsiteY60" fmla="*/ 194385 h 359632"/>
                <a:gd name="connsiteX61" fmla="*/ 52619 w 218720"/>
                <a:gd name="connsiteY61" fmla="*/ 195378 h 359632"/>
                <a:gd name="connsiteX62" fmla="*/ 50100 w 218720"/>
                <a:gd name="connsiteY62" fmla="*/ 196612 h 359632"/>
                <a:gd name="connsiteX63" fmla="*/ 50111 w 218720"/>
                <a:gd name="connsiteY63" fmla="*/ 197930 h 359632"/>
                <a:gd name="connsiteX64" fmla="*/ 51772 w 218720"/>
                <a:gd name="connsiteY64" fmla="*/ 197265 h 359632"/>
                <a:gd name="connsiteX65" fmla="*/ 53206 w 218720"/>
                <a:gd name="connsiteY65" fmla="*/ 196958 h 359632"/>
                <a:gd name="connsiteX66" fmla="*/ 56658 w 218720"/>
                <a:gd name="connsiteY66" fmla="*/ 197253 h 359632"/>
                <a:gd name="connsiteX67" fmla="*/ 57865 w 218720"/>
                <a:gd name="connsiteY67" fmla="*/ 198593 h 359632"/>
                <a:gd name="connsiteX68" fmla="*/ 58699 w 218720"/>
                <a:gd name="connsiteY68" fmla="*/ 200597 h 359632"/>
                <a:gd name="connsiteX69" fmla="*/ 59137 w 218720"/>
                <a:gd name="connsiteY69" fmla="*/ 202242 h 359632"/>
                <a:gd name="connsiteX70" fmla="*/ 58839 w 218720"/>
                <a:gd name="connsiteY70" fmla="*/ 204029 h 359632"/>
                <a:gd name="connsiteX71" fmla="*/ 57910 w 218720"/>
                <a:gd name="connsiteY71" fmla="*/ 203463 h 359632"/>
                <a:gd name="connsiteX72" fmla="*/ 56966 w 218720"/>
                <a:gd name="connsiteY72" fmla="*/ 201864 h 359632"/>
                <a:gd name="connsiteX73" fmla="*/ 55918 w 218720"/>
                <a:gd name="connsiteY73" fmla="*/ 201127 h 359632"/>
                <a:gd name="connsiteX74" fmla="*/ 54699 w 218720"/>
                <a:gd name="connsiteY74" fmla="*/ 200729 h 359632"/>
                <a:gd name="connsiteX75" fmla="*/ 55252 w 218720"/>
                <a:gd name="connsiteY75" fmla="*/ 202924 h 359632"/>
                <a:gd name="connsiteX76" fmla="*/ 55034 w 218720"/>
                <a:gd name="connsiteY76" fmla="*/ 205857 h 359632"/>
                <a:gd name="connsiteX77" fmla="*/ 55566 w 218720"/>
                <a:gd name="connsiteY77" fmla="*/ 206133 h 359632"/>
                <a:gd name="connsiteX78" fmla="*/ 57204 w 218720"/>
                <a:gd name="connsiteY78" fmla="*/ 206184 h 359632"/>
                <a:gd name="connsiteX79" fmla="*/ 56121 w 218720"/>
                <a:gd name="connsiteY79" fmla="*/ 209183 h 359632"/>
                <a:gd name="connsiteX80" fmla="*/ 53882 w 218720"/>
                <a:gd name="connsiteY80" fmla="*/ 209996 h 359632"/>
                <a:gd name="connsiteX81" fmla="*/ 51270 w 218720"/>
                <a:gd name="connsiteY81" fmla="*/ 210300 h 359632"/>
                <a:gd name="connsiteX82" fmla="*/ 50640 w 218720"/>
                <a:gd name="connsiteY82" fmla="*/ 211361 h 359632"/>
                <a:gd name="connsiteX83" fmla="*/ 50166 w 218720"/>
                <a:gd name="connsiteY83" fmla="*/ 212727 h 359632"/>
                <a:gd name="connsiteX84" fmla="*/ 48803 w 218720"/>
                <a:gd name="connsiteY84" fmla="*/ 214762 h 359632"/>
                <a:gd name="connsiteX85" fmla="*/ 47005 w 218720"/>
                <a:gd name="connsiteY85" fmla="*/ 215909 h 359632"/>
                <a:gd name="connsiteX86" fmla="*/ 44783 w 218720"/>
                <a:gd name="connsiteY86" fmla="*/ 215678 h 359632"/>
                <a:gd name="connsiteX87" fmla="*/ 42606 w 218720"/>
                <a:gd name="connsiteY87" fmla="*/ 214772 h 359632"/>
                <a:gd name="connsiteX88" fmla="*/ 40712 w 218720"/>
                <a:gd name="connsiteY88" fmla="*/ 214586 h 359632"/>
                <a:gd name="connsiteX89" fmla="*/ 39385 w 218720"/>
                <a:gd name="connsiteY89" fmla="*/ 215125 h 359632"/>
                <a:gd name="connsiteX90" fmla="*/ 38524 w 218720"/>
                <a:gd name="connsiteY90" fmla="*/ 215625 h 359632"/>
                <a:gd name="connsiteX91" fmla="*/ 37691 w 218720"/>
                <a:gd name="connsiteY91" fmla="*/ 215534 h 359632"/>
                <a:gd name="connsiteX92" fmla="*/ 35306 w 218720"/>
                <a:gd name="connsiteY92" fmla="*/ 215727 h 359632"/>
                <a:gd name="connsiteX93" fmla="*/ 33058 w 218720"/>
                <a:gd name="connsiteY93" fmla="*/ 215686 h 359632"/>
                <a:gd name="connsiteX94" fmla="*/ 32739 w 218720"/>
                <a:gd name="connsiteY94" fmla="*/ 214892 h 359632"/>
                <a:gd name="connsiteX95" fmla="*/ 33122 w 218720"/>
                <a:gd name="connsiteY95" fmla="*/ 212503 h 359632"/>
                <a:gd name="connsiteX96" fmla="*/ 32622 w 218720"/>
                <a:gd name="connsiteY96" fmla="*/ 211855 h 359632"/>
                <a:gd name="connsiteX97" fmla="*/ 30475 w 218720"/>
                <a:gd name="connsiteY97" fmla="*/ 211524 h 359632"/>
                <a:gd name="connsiteX98" fmla="*/ 29679 w 218720"/>
                <a:gd name="connsiteY98" fmla="*/ 210954 h 359632"/>
                <a:gd name="connsiteX99" fmla="*/ 28446 w 218720"/>
                <a:gd name="connsiteY99" fmla="*/ 209302 h 359632"/>
                <a:gd name="connsiteX100" fmla="*/ 28206 w 218720"/>
                <a:gd name="connsiteY100" fmla="*/ 208528 h 359632"/>
                <a:gd name="connsiteX101" fmla="*/ 28029 w 218720"/>
                <a:gd name="connsiteY101" fmla="*/ 207461 h 359632"/>
                <a:gd name="connsiteX102" fmla="*/ 26726 w 218720"/>
                <a:gd name="connsiteY102" fmla="*/ 206083 h 359632"/>
                <a:gd name="connsiteX103" fmla="*/ 25144 w 218720"/>
                <a:gd name="connsiteY103" fmla="*/ 205096 h 359632"/>
                <a:gd name="connsiteX104" fmla="*/ 24215 w 218720"/>
                <a:gd name="connsiteY104" fmla="*/ 205048 h 359632"/>
                <a:gd name="connsiteX105" fmla="*/ 22362 w 218720"/>
                <a:gd name="connsiteY105" fmla="*/ 206660 h 359632"/>
                <a:gd name="connsiteX106" fmla="*/ 20834 w 218720"/>
                <a:gd name="connsiteY106" fmla="*/ 208292 h 359632"/>
                <a:gd name="connsiteX107" fmla="*/ 21377 w 218720"/>
                <a:gd name="connsiteY107" fmla="*/ 209111 h 359632"/>
                <a:gd name="connsiteX108" fmla="*/ 21876 w 218720"/>
                <a:gd name="connsiteY108" fmla="*/ 210189 h 359632"/>
                <a:gd name="connsiteX109" fmla="*/ 21045 w 218720"/>
                <a:gd name="connsiteY109" fmla="*/ 210961 h 359632"/>
                <a:gd name="connsiteX110" fmla="*/ 18532 w 218720"/>
                <a:gd name="connsiteY110" fmla="*/ 212728 h 359632"/>
                <a:gd name="connsiteX111" fmla="*/ 18139 w 218720"/>
                <a:gd name="connsiteY111" fmla="*/ 213414 h 359632"/>
                <a:gd name="connsiteX112" fmla="*/ 17461 w 218720"/>
                <a:gd name="connsiteY112" fmla="*/ 213785 h 359632"/>
                <a:gd name="connsiteX113" fmla="*/ 16261 w 218720"/>
                <a:gd name="connsiteY113" fmla="*/ 213296 h 359632"/>
                <a:gd name="connsiteX114" fmla="*/ 13276 w 218720"/>
                <a:gd name="connsiteY114" fmla="*/ 213409 h 359632"/>
                <a:gd name="connsiteX115" fmla="*/ 11902 w 218720"/>
                <a:gd name="connsiteY115" fmla="*/ 213097 h 359632"/>
                <a:gd name="connsiteX116" fmla="*/ 10305 w 218720"/>
                <a:gd name="connsiteY116" fmla="*/ 211796 h 359632"/>
                <a:gd name="connsiteX117" fmla="*/ 6410 w 218720"/>
                <a:gd name="connsiteY117" fmla="*/ 210925 h 359632"/>
                <a:gd name="connsiteX118" fmla="*/ 5757 w 218720"/>
                <a:gd name="connsiteY118" fmla="*/ 208841 h 359632"/>
                <a:gd name="connsiteX119" fmla="*/ 5005 w 218720"/>
                <a:gd name="connsiteY119" fmla="*/ 208451 h 359632"/>
                <a:gd name="connsiteX120" fmla="*/ 587 w 218720"/>
                <a:gd name="connsiteY120" fmla="*/ 204865 h 359632"/>
                <a:gd name="connsiteX121" fmla="*/ 0 w 218720"/>
                <a:gd name="connsiteY121" fmla="*/ 203667 h 359632"/>
                <a:gd name="connsiteX122" fmla="*/ 572 w 218720"/>
                <a:gd name="connsiteY122" fmla="*/ 202952 h 359632"/>
                <a:gd name="connsiteX123" fmla="*/ 2222 w 218720"/>
                <a:gd name="connsiteY123" fmla="*/ 201868 h 359632"/>
                <a:gd name="connsiteX124" fmla="*/ 7762 w 218720"/>
                <a:gd name="connsiteY124" fmla="*/ 200072 h 359632"/>
                <a:gd name="connsiteX125" fmla="*/ 8633 w 218720"/>
                <a:gd name="connsiteY125" fmla="*/ 199348 h 359632"/>
                <a:gd name="connsiteX126" fmla="*/ 8812 w 218720"/>
                <a:gd name="connsiteY126" fmla="*/ 198709 h 359632"/>
                <a:gd name="connsiteX127" fmla="*/ 7186 w 218720"/>
                <a:gd name="connsiteY127" fmla="*/ 197979 h 359632"/>
                <a:gd name="connsiteX128" fmla="*/ 5720 w 218720"/>
                <a:gd name="connsiteY128" fmla="*/ 197172 h 359632"/>
                <a:gd name="connsiteX129" fmla="*/ 5220 w 218720"/>
                <a:gd name="connsiteY129" fmla="*/ 196643 h 359632"/>
                <a:gd name="connsiteX130" fmla="*/ 5179 w 218720"/>
                <a:gd name="connsiteY130" fmla="*/ 196184 h 359632"/>
                <a:gd name="connsiteX131" fmla="*/ 6011 w 218720"/>
                <a:gd name="connsiteY131" fmla="*/ 195586 h 359632"/>
                <a:gd name="connsiteX132" fmla="*/ 7685 w 218720"/>
                <a:gd name="connsiteY132" fmla="*/ 195543 h 359632"/>
                <a:gd name="connsiteX133" fmla="*/ 9007 w 218720"/>
                <a:gd name="connsiteY133" fmla="*/ 195813 h 359632"/>
                <a:gd name="connsiteX134" fmla="*/ 10057 w 218720"/>
                <a:gd name="connsiteY134" fmla="*/ 195275 h 359632"/>
                <a:gd name="connsiteX135" fmla="*/ 11904 w 218720"/>
                <a:gd name="connsiteY135" fmla="*/ 194734 h 359632"/>
                <a:gd name="connsiteX136" fmla="*/ 13144 w 218720"/>
                <a:gd name="connsiteY136" fmla="*/ 194052 h 359632"/>
                <a:gd name="connsiteX137" fmla="*/ 14210 w 218720"/>
                <a:gd name="connsiteY137" fmla="*/ 192290 h 359632"/>
                <a:gd name="connsiteX138" fmla="*/ 15336 w 218720"/>
                <a:gd name="connsiteY138" fmla="*/ 190705 h 359632"/>
                <a:gd name="connsiteX139" fmla="*/ 15452 w 218720"/>
                <a:gd name="connsiteY139" fmla="*/ 189845 h 359632"/>
                <a:gd name="connsiteX140" fmla="*/ 16438 w 218720"/>
                <a:gd name="connsiteY140" fmla="*/ 186828 h 359632"/>
                <a:gd name="connsiteX141" fmla="*/ 16980 w 218720"/>
                <a:gd name="connsiteY141" fmla="*/ 186079 h 359632"/>
                <a:gd name="connsiteX142" fmla="*/ 20479 w 218720"/>
                <a:gd name="connsiteY142" fmla="*/ 184101 h 359632"/>
                <a:gd name="connsiteX143" fmla="*/ 21365 w 218720"/>
                <a:gd name="connsiteY143" fmla="*/ 185181 h 359632"/>
                <a:gd name="connsiteX144" fmla="*/ 23089 w 218720"/>
                <a:gd name="connsiteY144" fmla="*/ 185445 h 359632"/>
                <a:gd name="connsiteX145" fmla="*/ 24634 w 218720"/>
                <a:gd name="connsiteY145" fmla="*/ 184451 h 359632"/>
                <a:gd name="connsiteX146" fmla="*/ 26483 w 218720"/>
                <a:gd name="connsiteY146" fmla="*/ 181313 h 359632"/>
                <a:gd name="connsiteX147" fmla="*/ 27769 w 218720"/>
                <a:gd name="connsiteY147" fmla="*/ 181116 h 359632"/>
                <a:gd name="connsiteX148" fmla="*/ 29187 w 218720"/>
                <a:gd name="connsiteY148" fmla="*/ 181370 h 359632"/>
                <a:gd name="connsiteX149" fmla="*/ 31974 w 218720"/>
                <a:gd name="connsiteY149" fmla="*/ 180975 h 359632"/>
                <a:gd name="connsiteX150" fmla="*/ 36922 w 218720"/>
                <a:gd name="connsiteY150" fmla="*/ 179509 h 359632"/>
                <a:gd name="connsiteX151" fmla="*/ 63975 w 218720"/>
                <a:gd name="connsiteY151" fmla="*/ 164784 h 359632"/>
                <a:gd name="connsiteX152" fmla="*/ 65438 w 218720"/>
                <a:gd name="connsiteY152" fmla="*/ 165590 h 359632"/>
                <a:gd name="connsiteX153" fmla="*/ 65992 w 218720"/>
                <a:gd name="connsiteY153" fmla="*/ 166340 h 359632"/>
                <a:gd name="connsiteX154" fmla="*/ 67217 w 218720"/>
                <a:gd name="connsiteY154" fmla="*/ 169218 h 359632"/>
                <a:gd name="connsiteX155" fmla="*/ 67444 w 218720"/>
                <a:gd name="connsiteY155" fmla="*/ 171683 h 359632"/>
                <a:gd name="connsiteX156" fmla="*/ 67207 w 218720"/>
                <a:gd name="connsiteY156" fmla="*/ 173091 h 359632"/>
                <a:gd name="connsiteX157" fmla="*/ 64420 w 218720"/>
                <a:gd name="connsiteY157" fmla="*/ 173114 h 359632"/>
                <a:gd name="connsiteX158" fmla="*/ 63412 w 218720"/>
                <a:gd name="connsiteY158" fmla="*/ 172847 h 359632"/>
                <a:gd name="connsiteX159" fmla="*/ 62208 w 218720"/>
                <a:gd name="connsiteY159" fmla="*/ 172095 h 359632"/>
                <a:gd name="connsiteX160" fmla="*/ 60856 w 218720"/>
                <a:gd name="connsiteY160" fmla="*/ 167842 h 359632"/>
                <a:gd name="connsiteX161" fmla="*/ 61339 w 218720"/>
                <a:gd name="connsiteY161" fmla="*/ 166336 h 359632"/>
                <a:gd name="connsiteX162" fmla="*/ 61894 w 218720"/>
                <a:gd name="connsiteY162" fmla="*/ 165598 h 359632"/>
                <a:gd name="connsiteX163" fmla="*/ 62504 w 218720"/>
                <a:gd name="connsiteY163" fmla="*/ 165025 h 359632"/>
                <a:gd name="connsiteX164" fmla="*/ 44576 w 218720"/>
                <a:gd name="connsiteY164" fmla="*/ 158143 h 359632"/>
                <a:gd name="connsiteX165" fmla="*/ 45374 w 218720"/>
                <a:gd name="connsiteY165" fmla="*/ 162138 h 359632"/>
                <a:gd name="connsiteX166" fmla="*/ 46152 w 218720"/>
                <a:gd name="connsiteY166" fmla="*/ 164611 h 359632"/>
                <a:gd name="connsiteX167" fmla="*/ 46203 w 218720"/>
                <a:gd name="connsiteY167" fmla="*/ 165455 h 359632"/>
                <a:gd name="connsiteX168" fmla="*/ 45472 w 218720"/>
                <a:gd name="connsiteY168" fmla="*/ 166628 h 359632"/>
                <a:gd name="connsiteX169" fmla="*/ 41828 w 218720"/>
                <a:gd name="connsiteY169" fmla="*/ 168187 h 359632"/>
                <a:gd name="connsiteX170" fmla="*/ 40681 w 218720"/>
                <a:gd name="connsiteY170" fmla="*/ 168196 h 359632"/>
                <a:gd name="connsiteX171" fmla="*/ 40633 w 218720"/>
                <a:gd name="connsiteY171" fmla="*/ 167818 h 359632"/>
                <a:gd name="connsiteX172" fmla="*/ 41456 w 218720"/>
                <a:gd name="connsiteY172" fmla="*/ 166231 h 359632"/>
                <a:gd name="connsiteX173" fmla="*/ 40747 w 218720"/>
                <a:gd name="connsiteY173" fmla="*/ 164429 h 359632"/>
                <a:gd name="connsiteX174" fmla="*/ 41093 w 218720"/>
                <a:gd name="connsiteY174" fmla="*/ 163059 h 359632"/>
                <a:gd name="connsiteX175" fmla="*/ 40754 w 218720"/>
                <a:gd name="connsiteY175" fmla="*/ 162807 h 359632"/>
                <a:gd name="connsiteX176" fmla="*/ 40043 w 218720"/>
                <a:gd name="connsiteY176" fmla="*/ 163001 h 359632"/>
                <a:gd name="connsiteX177" fmla="*/ 37433 w 218720"/>
                <a:gd name="connsiteY177" fmla="*/ 165178 h 359632"/>
                <a:gd name="connsiteX178" fmla="*/ 36561 w 218720"/>
                <a:gd name="connsiteY178" fmla="*/ 165393 h 359632"/>
                <a:gd name="connsiteX179" fmla="*/ 36466 w 218720"/>
                <a:gd name="connsiteY179" fmla="*/ 164951 h 359632"/>
                <a:gd name="connsiteX180" fmla="*/ 37112 w 218720"/>
                <a:gd name="connsiteY180" fmla="*/ 163168 h 359632"/>
                <a:gd name="connsiteX181" fmla="*/ 37192 w 218720"/>
                <a:gd name="connsiteY181" fmla="*/ 161948 h 359632"/>
                <a:gd name="connsiteX182" fmla="*/ 37581 w 218720"/>
                <a:gd name="connsiteY182" fmla="*/ 161198 h 359632"/>
                <a:gd name="connsiteX183" fmla="*/ 38290 w 218720"/>
                <a:gd name="connsiteY183" fmla="*/ 160506 h 359632"/>
                <a:gd name="connsiteX184" fmla="*/ 39135 w 218720"/>
                <a:gd name="connsiteY184" fmla="*/ 159986 h 359632"/>
                <a:gd name="connsiteX185" fmla="*/ 39817 w 218720"/>
                <a:gd name="connsiteY185" fmla="*/ 159912 h 359632"/>
                <a:gd name="connsiteX186" fmla="*/ 40543 w 218720"/>
                <a:gd name="connsiteY186" fmla="*/ 160448 h 359632"/>
                <a:gd name="connsiteX187" fmla="*/ 42657 w 218720"/>
                <a:gd name="connsiteY187" fmla="*/ 158952 h 359632"/>
                <a:gd name="connsiteX188" fmla="*/ 52683 w 218720"/>
                <a:gd name="connsiteY188" fmla="*/ 152228 h 359632"/>
                <a:gd name="connsiteX189" fmla="*/ 53504 w 218720"/>
                <a:gd name="connsiteY189" fmla="*/ 152283 h 359632"/>
                <a:gd name="connsiteX190" fmla="*/ 51910 w 218720"/>
                <a:gd name="connsiteY190" fmla="*/ 155806 h 359632"/>
                <a:gd name="connsiteX191" fmla="*/ 48088 w 218720"/>
                <a:gd name="connsiteY191" fmla="*/ 161752 h 359632"/>
                <a:gd name="connsiteX192" fmla="*/ 47627 w 218720"/>
                <a:gd name="connsiteY192" fmla="*/ 162086 h 359632"/>
                <a:gd name="connsiteX193" fmla="*/ 46507 w 218720"/>
                <a:gd name="connsiteY193" fmla="*/ 161994 h 359632"/>
                <a:gd name="connsiteX194" fmla="*/ 46092 w 218720"/>
                <a:gd name="connsiteY194" fmla="*/ 161493 h 359632"/>
                <a:gd name="connsiteX195" fmla="*/ 45863 w 218720"/>
                <a:gd name="connsiteY195" fmla="*/ 160723 h 359632"/>
                <a:gd name="connsiteX196" fmla="*/ 45835 w 218720"/>
                <a:gd name="connsiteY196" fmla="*/ 159309 h 359632"/>
                <a:gd name="connsiteX197" fmla="*/ 46513 w 218720"/>
                <a:gd name="connsiteY197" fmla="*/ 158297 h 359632"/>
                <a:gd name="connsiteX198" fmla="*/ 49377 w 218720"/>
                <a:gd name="connsiteY198" fmla="*/ 156767 h 359632"/>
                <a:gd name="connsiteX199" fmla="*/ 48083 w 218720"/>
                <a:gd name="connsiteY199" fmla="*/ 156224 h 359632"/>
                <a:gd name="connsiteX200" fmla="*/ 48031 w 218720"/>
                <a:gd name="connsiteY200" fmla="*/ 155842 h 359632"/>
                <a:gd name="connsiteX201" fmla="*/ 48774 w 218720"/>
                <a:gd name="connsiteY201" fmla="*/ 154570 h 359632"/>
                <a:gd name="connsiteX202" fmla="*/ 51857 w 218720"/>
                <a:gd name="connsiteY202" fmla="*/ 152588 h 359632"/>
                <a:gd name="connsiteX203" fmla="*/ 44369 w 218720"/>
                <a:gd name="connsiteY203" fmla="*/ 135637 h 359632"/>
                <a:gd name="connsiteX204" fmla="*/ 45155 w 218720"/>
                <a:gd name="connsiteY204" fmla="*/ 135769 h 359632"/>
                <a:gd name="connsiteX205" fmla="*/ 46772 w 218720"/>
                <a:gd name="connsiteY205" fmla="*/ 136896 h 359632"/>
                <a:gd name="connsiteX206" fmla="*/ 48605 w 218720"/>
                <a:gd name="connsiteY206" fmla="*/ 139261 h 359632"/>
                <a:gd name="connsiteX207" fmla="*/ 51052 w 218720"/>
                <a:gd name="connsiteY207" fmla="*/ 139637 h 359632"/>
                <a:gd name="connsiteX208" fmla="*/ 52715 w 218720"/>
                <a:gd name="connsiteY208" fmla="*/ 140638 h 359632"/>
                <a:gd name="connsiteX209" fmla="*/ 52338 w 218720"/>
                <a:gd name="connsiteY209" fmla="*/ 145224 h 359632"/>
                <a:gd name="connsiteX210" fmla="*/ 43531 w 218720"/>
                <a:gd name="connsiteY210" fmla="*/ 146965 h 359632"/>
                <a:gd name="connsiteX211" fmla="*/ 40496 w 218720"/>
                <a:gd name="connsiteY211" fmla="*/ 146811 h 359632"/>
                <a:gd name="connsiteX212" fmla="*/ 40222 w 218720"/>
                <a:gd name="connsiteY212" fmla="*/ 145957 h 359632"/>
                <a:gd name="connsiteX213" fmla="*/ 40826 w 218720"/>
                <a:gd name="connsiteY213" fmla="*/ 145386 h 359632"/>
                <a:gd name="connsiteX214" fmla="*/ 43339 w 218720"/>
                <a:gd name="connsiteY214" fmla="*/ 144831 h 359632"/>
                <a:gd name="connsiteX215" fmla="*/ 44356 w 218720"/>
                <a:gd name="connsiteY215" fmla="*/ 140639 h 359632"/>
                <a:gd name="connsiteX216" fmla="*/ 40557 w 218720"/>
                <a:gd name="connsiteY216" fmla="*/ 138708 h 359632"/>
                <a:gd name="connsiteX217" fmla="*/ 40358 w 218720"/>
                <a:gd name="connsiteY217" fmla="*/ 138165 h 359632"/>
                <a:gd name="connsiteX218" fmla="*/ 40655 w 218720"/>
                <a:gd name="connsiteY218" fmla="*/ 137243 h 359632"/>
                <a:gd name="connsiteX219" fmla="*/ 41095 w 218720"/>
                <a:gd name="connsiteY219" fmla="*/ 136832 h 359632"/>
                <a:gd name="connsiteX220" fmla="*/ 43400 w 218720"/>
                <a:gd name="connsiteY220" fmla="*/ 135854 h 359632"/>
                <a:gd name="connsiteX221" fmla="*/ 36236 w 218720"/>
                <a:gd name="connsiteY221" fmla="*/ 134929 h 359632"/>
                <a:gd name="connsiteX222" fmla="*/ 36731 w 218720"/>
                <a:gd name="connsiteY222" fmla="*/ 135137 h 359632"/>
                <a:gd name="connsiteX223" fmla="*/ 35705 w 218720"/>
                <a:gd name="connsiteY223" fmla="*/ 136368 h 359632"/>
                <a:gd name="connsiteX224" fmla="*/ 33991 w 218720"/>
                <a:gd name="connsiteY224" fmla="*/ 137675 h 359632"/>
                <a:gd name="connsiteX225" fmla="*/ 32734 w 218720"/>
                <a:gd name="connsiteY225" fmla="*/ 137850 h 359632"/>
                <a:gd name="connsiteX226" fmla="*/ 32643 w 218720"/>
                <a:gd name="connsiteY226" fmla="*/ 137405 h 359632"/>
                <a:gd name="connsiteX227" fmla="*/ 34824 w 218720"/>
                <a:gd name="connsiteY227" fmla="*/ 135279 h 359632"/>
                <a:gd name="connsiteX228" fmla="*/ 15243 w 218720"/>
                <a:gd name="connsiteY228" fmla="*/ 124000 h 359632"/>
                <a:gd name="connsiteX229" fmla="*/ 16322 w 218720"/>
                <a:gd name="connsiteY229" fmla="*/ 124589 h 359632"/>
                <a:gd name="connsiteX230" fmla="*/ 16493 w 218720"/>
                <a:gd name="connsiteY230" fmla="*/ 125125 h 359632"/>
                <a:gd name="connsiteX231" fmla="*/ 16096 w 218720"/>
                <a:gd name="connsiteY231" fmla="*/ 125691 h 359632"/>
                <a:gd name="connsiteX232" fmla="*/ 14152 w 218720"/>
                <a:gd name="connsiteY232" fmla="*/ 126126 h 359632"/>
                <a:gd name="connsiteX233" fmla="*/ 13431 w 218720"/>
                <a:gd name="connsiteY233" fmla="*/ 125871 h 359632"/>
                <a:gd name="connsiteX234" fmla="*/ 13308 w 218720"/>
                <a:gd name="connsiteY234" fmla="*/ 125472 h 359632"/>
                <a:gd name="connsiteX235" fmla="*/ 13751 w 218720"/>
                <a:gd name="connsiteY235" fmla="*/ 124384 h 359632"/>
                <a:gd name="connsiteX236" fmla="*/ 40298 w 218720"/>
                <a:gd name="connsiteY236" fmla="*/ 123001 h 359632"/>
                <a:gd name="connsiteX237" fmla="*/ 41274 w 218720"/>
                <a:gd name="connsiteY237" fmla="*/ 123606 h 359632"/>
                <a:gd name="connsiteX238" fmla="*/ 41649 w 218720"/>
                <a:gd name="connsiteY238" fmla="*/ 124298 h 359632"/>
                <a:gd name="connsiteX239" fmla="*/ 41665 w 218720"/>
                <a:gd name="connsiteY239" fmla="*/ 125065 h 359632"/>
                <a:gd name="connsiteX240" fmla="*/ 41256 w 218720"/>
                <a:gd name="connsiteY240" fmla="*/ 125714 h 359632"/>
                <a:gd name="connsiteX241" fmla="*/ 40600 w 218720"/>
                <a:gd name="connsiteY241" fmla="*/ 126121 h 359632"/>
                <a:gd name="connsiteX242" fmla="*/ 39770 w 218720"/>
                <a:gd name="connsiteY242" fmla="*/ 126043 h 359632"/>
                <a:gd name="connsiteX243" fmla="*/ 38948 w 218720"/>
                <a:gd name="connsiteY243" fmla="*/ 125518 h 359632"/>
                <a:gd name="connsiteX244" fmla="*/ 37860 w 218720"/>
                <a:gd name="connsiteY244" fmla="*/ 124032 h 359632"/>
                <a:gd name="connsiteX245" fmla="*/ 18761 w 218720"/>
                <a:gd name="connsiteY245" fmla="*/ 112439 h 359632"/>
                <a:gd name="connsiteX246" fmla="*/ 19407 w 218720"/>
                <a:gd name="connsiteY246" fmla="*/ 112818 h 359632"/>
                <a:gd name="connsiteX247" fmla="*/ 19840 w 218720"/>
                <a:gd name="connsiteY247" fmla="*/ 120602 h 359632"/>
                <a:gd name="connsiteX248" fmla="*/ 19790 w 218720"/>
                <a:gd name="connsiteY248" fmla="*/ 120951 h 359632"/>
                <a:gd name="connsiteX249" fmla="*/ 18857 w 218720"/>
                <a:gd name="connsiteY249" fmla="*/ 121127 h 359632"/>
                <a:gd name="connsiteX250" fmla="*/ 17632 w 218720"/>
                <a:gd name="connsiteY250" fmla="*/ 120957 h 359632"/>
                <a:gd name="connsiteX251" fmla="*/ 16879 w 218720"/>
                <a:gd name="connsiteY251" fmla="*/ 120465 h 359632"/>
                <a:gd name="connsiteX252" fmla="*/ 16117 w 218720"/>
                <a:gd name="connsiteY252" fmla="*/ 118518 h 359632"/>
                <a:gd name="connsiteX253" fmla="*/ 15975 w 218720"/>
                <a:gd name="connsiteY253" fmla="*/ 117339 h 359632"/>
                <a:gd name="connsiteX254" fmla="*/ 16314 w 218720"/>
                <a:gd name="connsiteY254" fmla="*/ 115145 h 359632"/>
                <a:gd name="connsiteX255" fmla="*/ 16236 w 218720"/>
                <a:gd name="connsiteY255" fmla="*/ 112521 h 359632"/>
                <a:gd name="connsiteX256" fmla="*/ 40661 w 218720"/>
                <a:gd name="connsiteY256" fmla="*/ 103259 h 359632"/>
                <a:gd name="connsiteX257" fmla="*/ 41966 w 218720"/>
                <a:gd name="connsiteY257" fmla="*/ 103921 h 359632"/>
                <a:gd name="connsiteX258" fmla="*/ 43754 w 218720"/>
                <a:gd name="connsiteY258" fmla="*/ 106023 h 359632"/>
                <a:gd name="connsiteX259" fmla="*/ 44226 w 218720"/>
                <a:gd name="connsiteY259" fmla="*/ 108582 h 359632"/>
                <a:gd name="connsiteX260" fmla="*/ 44195 w 218720"/>
                <a:gd name="connsiteY260" fmla="*/ 109988 h 359632"/>
                <a:gd name="connsiteX261" fmla="*/ 43805 w 218720"/>
                <a:gd name="connsiteY261" fmla="*/ 111640 h 359632"/>
                <a:gd name="connsiteX262" fmla="*/ 44313 w 218720"/>
                <a:gd name="connsiteY262" fmla="*/ 113393 h 359632"/>
                <a:gd name="connsiteX263" fmla="*/ 44429 w 218720"/>
                <a:gd name="connsiteY263" fmla="*/ 114645 h 359632"/>
                <a:gd name="connsiteX264" fmla="*/ 45361 w 218720"/>
                <a:gd name="connsiteY264" fmla="*/ 115043 h 359632"/>
                <a:gd name="connsiteX265" fmla="*/ 45931 w 218720"/>
                <a:gd name="connsiteY265" fmla="*/ 115619 h 359632"/>
                <a:gd name="connsiteX266" fmla="*/ 50074 w 218720"/>
                <a:gd name="connsiteY266" fmla="*/ 116264 h 359632"/>
                <a:gd name="connsiteX267" fmla="*/ 53927 w 218720"/>
                <a:gd name="connsiteY267" fmla="*/ 116083 h 359632"/>
                <a:gd name="connsiteX268" fmla="*/ 54669 w 218720"/>
                <a:gd name="connsiteY268" fmla="*/ 116598 h 359632"/>
                <a:gd name="connsiteX269" fmla="*/ 54753 w 218720"/>
                <a:gd name="connsiteY269" fmla="*/ 117416 h 359632"/>
                <a:gd name="connsiteX270" fmla="*/ 54144 w 218720"/>
                <a:gd name="connsiteY270" fmla="*/ 118318 h 359632"/>
                <a:gd name="connsiteX271" fmla="*/ 51950 w 218720"/>
                <a:gd name="connsiteY271" fmla="*/ 119963 h 359632"/>
                <a:gd name="connsiteX272" fmla="*/ 49333 w 218720"/>
                <a:gd name="connsiteY272" fmla="*/ 122618 h 359632"/>
                <a:gd name="connsiteX273" fmla="*/ 48553 w 218720"/>
                <a:gd name="connsiteY273" fmla="*/ 123171 h 359632"/>
                <a:gd name="connsiteX274" fmla="*/ 47707 w 218720"/>
                <a:gd name="connsiteY274" fmla="*/ 123194 h 359632"/>
                <a:gd name="connsiteX275" fmla="*/ 47100 w 218720"/>
                <a:gd name="connsiteY275" fmla="*/ 122956 h 359632"/>
                <a:gd name="connsiteX276" fmla="*/ 46666 w 218720"/>
                <a:gd name="connsiteY276" fmla="*/ 118230 h 359632"/>
                <a:gd name="connsiteX277" fmla="*/ 43828 w 218720"/>
                <a:gd name="connsiteY277" fmla="*/ 118835 h 359632"/>
                <a:gd name="connsiteX278" fmla="*/ 41542 w 218720"/>
                <a:gd name="connsiteY278" fmla="*/ 118766 h 359632"/>
                <a:gd name="connsiteX279" fmla="*/ 40291 w 218720"/>
                <a:gd name="connsiteY279" fmla="*/ 118190 h 359632"/>
                <a:gd name="connsiteX280" fmla="*/ 39413 w 218720"/>
                <a:gd name="connsiteY280" fmla="*/ 117080 h 359632"/>
                <a:gd name="connsiteX281" fmla="*/ 37643 w 218720"/>
                <a:gd name="connsiteY281" fmla="*/ 114224 h 359632"/>
                <a:gd name="connsiteX282" fmla="*/ 32491 w 218720"/>
                <a:gd name="connsiteY282" fmla="*/ 113100 h 359632"/>
                <a:gd name="connsiteX283" fmla="*/ 31034 w 218720"/>
                <a:gd name="connsiteY283" fmla="*/ 111525 h 359632"/>
                <a:gd name="connsiteX284" fmla="*/ 30596 w 218720"/>
                <a:gd name="connsiteY284" fmla="*/ 110573 h 359632"/>
                <a:gd name="connsiteX285" fmla="*/ 30782 w 218720"/>
                <a:gd name="connsiteY285" fmla="*/ 110047 h 359632"/>
                <a:gd name="connsiteX286" fmla="*/ 31855 w 218720"/>
                <a:gd name="connsiteY286" fmla="*/ 108875 h 359632"/>
                <a:gd name="connsiteX287" fmla="*/ 33198 w 218720"/>
                <a:gd name="connsiteY287" fmla="*/ 109293 h 359632"/>
                <a:gd name="connsiteX288" fmla="*/ 34029 w 218720"/>
                <a:gd name="connsiteY288" fmla="*/ 109037 h 359632"/>
                <a:gd name="connsiteX289" fmla="*/ 34535 w 218720"/>
                <a:gd name="connsiteY289" fmla="*/ 108513 h 359632"/>
                <a:gd name="connsiteX290" fmla="*/ 34524 w 218720"/>
                <a:gd name="connsiteY290" fmla="*/ 108083 h 359632"/>
                <a:gd name="connsiteX291" fmla="*/ 33821 w 218720"/>
                <a:gd name="connsiteY291" fmla="*/ 107061 h 359632"/>
                <a:gd name="connsiteX292" fmla="*/ 33788 w 218720"/>
                <a:gd name="connsiteY292" fmla="*/ 106743 h 359632"/>
                <a:gd name="connsiteX293" fmla="*/ 39057 w 218720"/>
                <a:gd name="connsiteY293" fmla="*/ 105449 h 359632"/>
                <a:gd name="connsiteX294" fmla="*/ 39517 w 218720"/>
                <a:gd name="connsiteY294" fmla="*/ 103424 h 359632"/>
                <a:gd name="connsiteX295" fmla="*/ 20769 w 218720"/>
                <a:gd name="connsiteY295" fmla="*/ 102908 h 359632"/>
                <a:gd name="connsiteX296" fmla="*/ 23263 w 218720"/>
                <a:gd name="connsiteY296" fmla="*/ 104705 h 359632"/>
                <a:gd name="connsiteX297" fmla="*/ 21276 w 218720"/>
                <a:gd name="connsiteY297" fmla="*/ 107680 h 359632"/>
                <a:gd name="connsiteX298" fmla="*/ 18226 w 218720"/>
                <a:gd name="connsiteY298" fmla="*/ 107666 h 359632"/>
                <a:gd name="connsiteX299" fmla="*/ 13932 w 218720"/>
                <a:gd name="connsiteY299" fmla="*/ 105492 h 359632"/>
                <a:gd name="connsiteX300" fmla="*/ 13913 w 218720"/>
                <a:gd name="connsiteY300" fmla="*/ 105049 h 359632"/>
                <a:gd name="connsiteX301" fmla="*/ 14271 w 218720"/>
                <a:gd name="connsiteY301" fmla="*/ 104396 h 359632"/>
                <a:gd name="connsiteX302" fmla="*/ 14915 w 218720"/>
                <a:gd name="connsiteY302" fmla="*/ 103879 h 359632"/>
                <a:gd name="connsiteX303" fmla="*/ 15584 w 218720"/>
                <a:gd name="connsiteY303" fmla="*/ 103756 h 359632"/>
                <a:gd name="connsiteX304" fmla="*/ 16649 w 218720"/>
                <a:gd name="connsiteY304" fmla="*/ 104113 h 359632"/>
                <a:gd name="connsiteX305" fmla="*/ 18131 w 218720"/>
                <a:gd name="connsiteY305" fmla="*/ 103541 h 359632"/>
                <a:gd name="connsiteX306" fmla="*/ 19318 w 218720"/>
                <a:gd name="connsiteY306" fmla="*/ 103722 h 359632"/>
                <a:gd name="connsiteX307" fmla="*/ 42176 w 218720"/>
                <a:gd name="connsiteY307" fmla="*/ 76583 h 359632"/>
                <a:gd name="connsiteX308" fmla="*/ 42574 w 218720"/>
                <a:gd name="connsiteY308" fmla="*/ 77039 h 359632"/>
                <a:gd name="connsiteX309" fmla="*/ 43131 w 218720"/>
                <a:gd name="connsiteY309" fmla="*/ 78770 h 359632"/>
                <a:gd name="connsiteX310" fmla="*/ 43033 w 218720"/>
                <a:gd name="connsiteY310" fmla="*/ 81087 h 359632"/>
                <a:gd name="connsiteX311" fmla="*/ 40222 w 218720"/>
                <a:gd name="connsiteY311" fmla="*/ 86702 h 359632"/>
                <a:gd name="connsiteX312" fmla="*/ 39121 w 218720"/>
                <a:gd name="connsiteY312" fmla="*/ 86840 h 359632"/>
                <a:gd name="connsiteX313" fmla="*/ 38155 w 218720"/>
                <a:gd name="connsiteY313" fmla="*/ 88241 h 359632"/>
                <a:gd name="connsiteX314" fmla="*/ 35163 w 218720"/>
                <a:gd name="connsiteY314" fmla="*/ 89786 h 359632"/>
                <a:gd name="connsiteX315" fmla="*/ 37774 w 218720"/>
                <a:gd name="connsiteY315" fmla="*/ 89818 h 359632"/>
                <a:gd name="connsiteX316" fmla="*/ 38507 w 218720"/>
                <a:gd name="connsiteY316" fmla="*/ 90332 h 359632"/>
                <a:gd name="connsiteX317" fmla="*/ 38528 w 218720"/>
                <a:gd name="connsiteY317" fmla="*/ 91440 h 359632"/>
                <a:gd name="connsiteX318" fmla="*/ 38025 w 218720"/>
                <a:gd name="connsiteY318" fmla="*/ 92084 h 359632"/>
                <a:gd name="connsiteX319" fmla="*/ 34643 w 218720"/>
                <a:gd name="connsiteY319" fmla="*/ 94646 h 359632"/>
                <a:gd name="connsiteX320" fmla="*/ 32317 w 218720"/>
                <a:gd name="connsiteY320" fmla="*/ 95617 h 359632"/>
                <a:gd name="connsiteX321" fmla="*/ 29812 w 218720"/>
                <a:gd name="connsiteY321" fmla="*/ 98289 h 359632"/>
                <a:gd name="connsiteX322" fmla="*/ 28548 w 218720"/>
                <a:gd name="connsiteY322" fmla="*/ 98322 h 359632"/>
                <a:gd name="connsiteX323" fmla="*/ 27296 w 218720"/>
                <a:gd name="connsiteY323" fmla="*/ 100020 h 359632"/>
                <a:gd name="connsiteX324" fmla="*/ 26266 w 218720"/>
                <a:gd name="connsiteY324" fmla="*/ 100766 h 359632"/>
                <a:gd name="connsiteX325" fmla="*/ 25688 w 218720"/>
                <a:gd name="connsiteY325" fmla="*/ 100768 h 359632"/>
                <a:gd name="connsiteX326" fmla="*/ 25023 w 218720"/>
                <a:gd name="connsiteY326" fmla="*/ 100392 h 359632"/>
                <a:gd name="connsiteX327" fmla="*/ 23469 w 218720"/>
                <a:gd name="connsiteY327" fmla="*/ 98730 h 359632"/>
                <a:gd name="connsiteX328" fmla="*/ 26288 w 218720"/>
                <a:gd name="connsiteY328" fmla="*/ 97094 h 359632"/>
                <a:gd name="connsiteX329" fmla="*/ 26549 w 218720"/>
                <a:gd name="connsiteY329" fmla="*/ 96174 h 359632"/>
                <a:gd name="connsiteX330" fmla="*/ 28480 w 218720"/>
                <a:gd name="connsiteY330" fmla="*/ 95217 h 359632"/>
                <a:gd name="connsiteX331" fmla="*/ 28318 w 218720"/>
                <a:gd name="connsiteY331" fmla="*/ 94918 h 359632"/>
                <a:gd name="connsiteX332" fmla="*/ 25258 w 218720"/>
                <a:gd name="connsiteY332" fmla="*/ 93571 h 359632"/>
                <a:gd name="connsiteX333" fmla="*/ 24052 w 218720"/>
                <a:gd name="connsiteY333" fmla="*/ 92664 h 359632"/>
                <a:gd name="connsiteX334" fmla="*/ 24166 w 218720"/>
                <a:gd name="connsiteY334" fmla="*/ 92190 h 359632"/>
                <a:gd name="connsiteX335" fmla="*/ 25639 w 218720"/>
                <a:gd name="connsiteY335" fmla="*/ 91147 h 359632"/>
                <a:gd name="connsiteX336" fmla="*/ 24941 w 218720"/>
                <a:gd name="connsiteY336" fmla="*/ 91009 h 359632"/>
                <a:gd name="connsiteX337" fmla="*/ 24469 w 218720"/>
                <a:gd name="connsiteY337" fmla="*/ 90446 h 359632"/>
                <a:gd name="connsiteX338" fmla="*/ 23614 w 218720"/>
                <a:gd name="connsiteY338" fmla="*/ 90232 h 359632"/>
                <a:gd name="connsiteX339" fmla="*/ 23358 w 218720"/>
                <a:gd name="connsiteY339" fmla="*/ 89707 h 359632"/>
                <a:gd name="connsiteX340" fmla="*/ 23200 w 218720"/>
                <a:gd name="connsiteY340" fmla="*/ 88328 h 359632"/>
                <a:gd name="connsiteX341" fmla="*/ 23429 w 218720"/>
                <a:gd name="connsiteY341" fmla="*/ 86917 h 359632"/>
                <a:gd name="connsiteX342" fmla="*/ 24321 w 218720"/>
                <a:gd name="connsiteY342" fmla="*/ 86294 h 359632"/>
                <a:gd name="connsiteX343" fmla="*/ 24686 w 218720"/>
                <a:gd name="connsiteY343" fmla="*/ 85626 h 359632"/>
                <a:gd name="connsiteX344" fmla="*/ 25047 w 218720"/>
                <a:gd name="connsiteY344" fmla="*/ 85421 h 359632"/>
                <a:gd name="connsiteX345" fmla="*/ 26429 w 218720"/>
                <a:gd name="connsiteY345" fmla="*/ 85776 h 359632"/>
                <a:gd name="connsiteX346" fmla="*/ 27830 w 218720"/>
                <a:gd name="connsiteY346" fmla="*/ 86905 h 359632"/>
                <a:gd name="connsiteX347" fmla="*/ 29465 w 218720"/>
                <a:gd name="connsiteY347" fmla="*/ 86470 h 359632"/>
                <a:gd name="connsiteX348" fmla="*/ 31363 w 218720"/>
                <a:gd name="connsiteY348" fmla="*/ 86685 h 359632"/>
                <a:gd name="connsiteX349" fmla="*/ 31402 w 218720"/>
                <a:gd name="connsiteY349" fmla="*/ 86423 h 359632"/>
                <a:gd name="connsiteX350" fmla="*/ 30008 w 218720"/>
                <a:gd name="connsiteY350" fmla="*/ 83645 h 359632"/>
                <a:gd name="connsiteX351" fmla="*/ 30257 w 218720"/>
                <a:gd name="connsiteY351" fmla="*/ 83077 h 359632"/>
                <a:gd name="connsiteX352" fmla="*/ 31013 w 218720"/>
                <a:gd name="connsiteY352" fmla="*/ 82429 h 359632"/>
                <a:gd name="connsiteX353" fmla="*/ 35393 w 218720"/>
                <a:gd name="connsiteY353" fmla="*/ 80446 h 359632"/>
                <a:gd name="connsiteX354" fmla="*/ 40855 w 218720"/>
                <a:gd name="connsiteY354" fmla="*/ 77107 h 359632"/>
                <a:gd name="connsiteX355" fmla="*/ 108033 w 218720"/>
                <a:gd name="connsiteY355" fmla="*/ 71824 h 359632"/>
                <a:gd name="connsiteX356" fmla="*/ 112589 w 218720"/>
                <a:gd name="connsiteY356" fmla="*/ 72316 h 359632"/>
                <a:gd name="connsiteX357" fmla="*/ 112741 w 218720"/>
                <a:gd name="connsiteY357" fmla="*/ 72940 h 359632"/>
                <a:gd name="connsiteX358" fmla="*/ 112503 w 218720"/>
                <a:gd name="connsiteY358" fmla="*/ 73806 h 359632"/>
                <a:gd name="connsiteX359" fmla="*/ 111337 w 218720"/>
                <a:gd name="connsiteY359" fmla="*/ 76175 h 359632"/>
                <a:gd name="connsiteX360" fmla="*/ 111527 w 218720"/>
                <a:gd name="connsiteY360" fmla="*/ 78816 h 359632"/>
                <a:gd name="connsiteX361" fmla="*/ 111267 w 218720"/>
                <a:gd name="connsiteY361" fmla="*/ 79616 h 359632"/>
                <a:gd name="connsiteX362" fmla="*/ 110738 w 218720"/>
                <a:gd name="connsiteY362" fmla="*/ 80602 h 359632"/>
                <a:gd name="connsiteX363" fmla="*/ 109067 w 218720"/>
                <a:gd name="connsiteY363" fmla="*/ 82442 h 359632"/>
                <a:gd name="connsiteX364" fmla="*/ 104675 w 218720"/>
                <a:gd name="connsiteY364" fmla="*/ 85069 h 359632"/>
                <a:gd name="connsiteX365" fmla="*/ 96626 w 218720"/>
                <a:gd name="connsiteY365" fmla="*/ 91095 h 359632"/>
                <a:gd name="connsiteX366" fmla="*/ 91871 w 218720"/>
                <a:gd name="connsiteY366" fmla="*/ 94080 h 359632"/>
                <a:gd name="connsiteX367" fmla="*/ 91217 w 218720"/>
                <a:gd name="connsiteY367" fmla="*/ 95514 h 359632"/>
                <a:gd name="connsiteX368" fmla="*/ 90864 w 218720"/>
                <a:gd name="connsiteY368" fmla="*/ 97507 h 359632"/>
                <a:gd name="connsiteX369" fmla="*/ 93711 w 218720"/>
                <a:gd name="connsiteY369" fmla="*/ 97902 h 359632"/>
                <a:gd name="connsiteX370" fmla="*/ 94810 w 218720"/>
                <a:gd name="connsiteY370" fmla="*/ 98577 h 359632"/>
                <a:gd name="connsiteX371" fmla="*/ 94128 w 218720"/>
                <a:gd name="connsiteY371" fmla="*/ 99588 h 359632"/>
                <a:gd name="connsiteX372" fmla="*/ 89917 w 218720"/>
                <a:gd name="connsiteY372" fmla="*/ 103097 h 359632"/>
                <a:gd name="connsiteX373" fmla="*/ 88676 w 218720"/>
                <a:gd name="connsiteY373" fmla="*/ 106264 h 359632"/>
                <a:gd name="connsiteX374" fmla="*/ 91905 w 218720"/>
                <a:gd name="connsiteY374" fmla="*/ 106152 h 359632"/>
                <a:gd name="connsiteX375" fmla="*/ 94566 w 218720"/>
                <a:gd name="connsiteY375" fmla="*/ 105544 h 359632"/>
                <a:gd name="connsiteX376" fmla="*/ 99872 w 218720"/>
                <a:gd name="connsiteY376" fmla="*/ 103569 h 359632"/>
                <a:gd name="connsiteX377" fmla="*/ 104856 w 218720"/>
                <a:gd name="connsiteY377" fmla="*/ 102101 h 359632"/>
                <a:gd name="connsiteX378" fmla="*/ 107250 w 218720"/>
                <a:gd name="connsiteY378" fmla="*/ 102040 h 359632"/>
                <a:gd name="connsiteX379" fmla="*/ 111907 w 218720"/>
                <a:gd name="connsiteY379" fmla="*/ 103211 h 359632"/>
                <a:gd name="connsiteX380" fmla="*/ 112966 w 218720"/>
                <a:gd name="connsiteY380" fmla="*/ 103248 h 359632"/>
                <a:gd name="connsiteX381" fmla="*/ 114942 w 218720"/>
                <a:gd name="connsiteY381" fmla="*/ 102707 h 359632"/>
                <a:gd name="connsiteX382" fmla="*/ 116940 w 218720"/>
                <a:gd name="connsiteY382" fmla="*/ 102611 h 359632"/>
                <a:gd name="connsiteX383" fmla="*/ 130476 w 218720"/>
                <a:gd name="connsiteY383" fmla="*/ 102975 h 359632"/>
                <a:gd name="connsiteX384" fmla="*/ 134237 w 218720"/>
                <a:gd name="connsiteY384" fmla="*/ 102288 h 359632"/>
                <a:gd name="connsiteX385" fmla="*/ 136725 w 218720"/>
                <a:gd name="connsiteY385" fmla="*/ 103110 h 359632"/>
                <a:gd name="connsiteX386" fmla="*/ 138807 w 218720"/>
                <a:gd name="connsiteY386" fmla="*/ 105161 h 359632"/>
                <a:gd name="connsiteX387" fmla="*/ 140785 w 218720"/>
                <a:gd name="connsiteY387" fmla="*/ 108939 h 359632"/>
                <a:gd name="connsiteX388" fmla="*/ 140725 w 218720"/>
                <a:gd name="connsiteY388" fmla="*/ 109567 h 359632"/>
                <a:gd name="connsiteX389" fmla="*/ 139530 w 218720"/>
                <a:gd name="connsiteY389" fmla="*/ 111286 h 359632"/>
                <a:gd name="connsiteX390" fmla="*/ 137324 w 218720"/>
                <a:gd name="connsiteY390" fmla="*/ 113440 h 359632"/>
                <a:gd name="connsiteX391" fmla="*/ 135426 w 218720"/>
                <a:gd name="connsiteY391" fmla="*/ 116402 h 359632"/>
                <a:gd name="connsiteX392" fmla="*/ 134869 w 218720"/>
                <a:gd name="connsiteY392" fmla="*/ 117998 h 359632"/>
                <a:gd name="connsiteX393" fmla="*/ 134496 w 218720"/>
                <a:gd name="connsiteY393" fmla="*/ 119743 h 359632"/>
                <a:gd name="connsiteX394" fmla="*/ 133895 w 218720"/>
                <a:gd name="connsiteY394" fmla="*/ 121356 h 359632"/>
                <a:gd name="connsiteX395" fmla="*/ 130120 w 218720"/>
                <a:gd name="connsiteY395" fmla="*/ 128914 h 359632"/>
                <a:gd name="connsiteX396" fmla="*/ 126440 w 218720"/>
                <a:gd name="connsiteY396" fmla="*/ 133093 h 359632"/>
                <a:gd name="connsiteX397" fmla="*/ 124797 w 218720"/>
                <a:gd name="connsiteY397" fmla="*/ 136055 h 359632"/>
                <a:gd name="connsiteX398" fmla="*/ 122769 w 218720"/>
                <a:gd name="connsiteY398" fmla="*/ 138412 h 359632"/>
                <a:gd name="connsiteX399" fmla="*/ 120818 w 218720"/>
                <a:gd name="connsiteY399" fmla="*/ 139893 h 359632"/>
                <a:gd name="connsiteX400" fmla="*/ 118734 w 218720"/>
                <a:gd name="connsiteY400" fmla="*/ 140879 h 359632"/>
                <a:gd name="connsiteX401" fmla="*/ 112714 w 218720"/>
                <a:gd name="connsiteY401" fmla="*/ 141933 h 359632"/>
                <a:gd name="connsiteX402" fmla="*/ 111030 w 218720"/>
                <a:gd name="connsiteY402" fmla="*/ 142688 h 359632"/>
                <a:gd name="connsiteX403" fmla="*/ 109021 w 218720"/>
                <a:gd name="connsiteY403" fmla="*/ 143984 h 359632"/>
                <a:gd name="connsiteX404" fmla="*/ 106909 w 218720"/>
                <a:gd name="connsiteY404" fmla="*/ 144625 h 359632"/>
                <a:gd name="connsiteX405" fmla="*/ 109385 w 218720"/>
                <a:gd name="connsiteY405" fmla="*/ 144544 h 359632"/>
                <a:gd name="connsiteX406" fmla="*/ 111839 w 218720"/>
                <a:gd name="connsiteY406" fmla="*/ 143823 h 359632"/>
                <a:gd name="connsiteX407" fmla="*/ 116302 w 218720"/>
                <a:gd name="connsiteY407" fmla="*/ 143559 h 359632"/>
                <a:gd name="connsiteX408" fmla="*/ 121442 w 218720"/>
                <a:gd name="connsiteY408" fmla="*/ 146041 h 359632"/>
                <a:gd name="connsiteX409" fmla="*/ 120965 w 218720"/>
                <a:gd name="connsiteY409" fmla="*/ 148069 h 359632"/>
                <a:gd name="connsiteX410" fmla="*/ 118902 w 218720"/>
                <a:gd name="connsiteY410" fmla="*/ 149672 h 359632"/>
                <a:gd name="connsiteX411" fmla="*/ 114210 w 218720"/>
                <a:gd name="connsiteY411" fmla="*/ 149924 h 359632"/>
                <a:gd name="connsiteX412" fmla="*/ 109822 w 218720"/>
                <a:gd name="connsiteY412" fmla="*/ 153482 h 359632"/>
                <a:gd name="connsiteX413" fmla="*/ 107842 w 218720"/>
                <a:gd name="connsiteY413" fmla="*/ 154576 h 359632"/>
                <a:gd name="connsiteX414" fmla="*/ 105753 w 218720"/>
                <a:gd name="connsiteY414" fmla="*/ 155119 h 359632"/>
                <a:gd name="connsiteX415" fmla="*/ 103140 w 218720"/>
                <a:gd name="connsiteY415" fmla="*/ 154958 h 359632"/>
                <a:gd name="connsiteX416" fmla="*/ 98392 w 218720"/>
                <a:gd name="connsiteY416" fmla="*/ 154006 h 359632"/>
                <a:gd name="connsiteX417" fmla="*/ 96315 w 218720"/>
                <a:gd name="connsiteY417" fmla="*/ 153011 h 359632"/>
                <a:gd name="connsiteX418" fmla="*/ 98193 w 218720"/>
                <a:gd name="connsiteY418" fmla="*/ 154635 h 359632"/>
                <a:gd name="connsiteX419" fmla="*/ 100323 w 218720"/>
                <a:gd name="connsiteY419" fmla="*/ 155481 h 359632"/>
                <a:gd name="connsiteX420" fmla="*/ 112685 w 218720"/>
                <a:gd name="connsiteY420" fmla="*/ 157477 h 359632"/>
                <a:gd name="connsiteX421" fmla="*/ 113429 w 218720"/>
                <a:gd name="connsiteY421" fmla="*/ 157270 h 359632"/>
                <a:gd name="connsiteX422" fmla="*/ 117370 w 218720"/>
                <a:gd name="connsiteY422" fmla="*/ 155162 h 359632"/>
                <a:gd name="connsiteX423" fmla="*/ 122622 w 218720"/>
                <a:gd name="connsiteY423" fmla="*/ 155130 h 359632"/>
                <a:gd name="connsiteX424" fmla="*/ 132623 w 218720"/>
                <a:gd name="connsiteY424" fmla="*/ 159002 h 359632"/>
                <a:gd name="connsiteX425" fmla="*/ 135502 w 218720"/>
                <a:gd name="connsiteY425" fmla="*/ 161957 h 359632"/>
                <a:gd name="connsiteX426" fmla="*/ 139628 w 218720"/>
                <a:gd name="connsiteY426" fmla="*/ 166187 h 359632"/>
                <a:gd name="connsiteX427" fmla="*/ 141872 w 218720"/>
                <a:gd name="connsiteY427" fmla="*/ 167836 h 359632"/>
                <a:gd name="connsiteX428" fmla="*/ 143495 w 218720"/>
                <a:gd name="connsiteY428" fmla="*/ 169330 h 359632"/>
                <a:gd name="connsiteX429" fmla="*/ 144495 w 218720"/>
                <a:gd name="connsiteY429" fmla="*/ 171567 h 359632"/>
                <a:gd name="connsiteX430" fmla="*/ 146432 w 218720"/>
                <a:gd name="connsiteY430" fmla="*/ 178938 h 359632"/>
                <a:gd name="connsiteX431" fmla="*/ 148641 w 218720"/>
                <a:gd name="connsiteY431" fmla="*/ 186118 h 359632"/>
                <a:gd name="connsiteX432" fmla="*/ 151536 w 218720"/>
                <a:gd name="connsiteY432" fmla="*/ 193871 h 359632"/>
                <a:gd name="connsiteX433" fmla="*/ 152847 w 218720"/>
                <a:gd name="connsiteY433" fmla="*/ 196020 h 359632"/>
                <a:gd name="connsiteX434" fmla="*/ 154573 w 218720"/>
                <a:gd name="connsiteY434" fmla="*/ 197526 h 359632"/>
                <a:gd name="connsiteX435" fmla="*/ 163309 w 218720"/>
                <a:gd name="connsiteY435" fmla="*/ 200984 h 359632"/>
                <a:gd name="connsiteX436" fmla="*/ 165253 w 218720"/>
                <a:gd name="connsiteY436" fmla="*/ 202129 h 359632"/>
                <a:gd name="connsiteX437" fmla="*/ 168643 w 218720"/>
                <a:gd name="connsiteY437" fmla="*/ 205449 h 359632"/>
                <a:gd name="connsiteX438" fmla="*/ 171909 w 218720"/>
                <a:gd name="connsiteY438" fmla="*/ 208981 h 359632"/>
                <a:gd name="connsiteX439" fmla="*/ 174950 w 218720"/>
                <a:gd name="connsiteY439" fmla="*/ 211690 h 359632"/>
                <a:gd name="connsiteX440" fmla="*/ 178233 w 218720"/>
                <a:gd name="connsiteY440" fmla="*/ 213881 h 359632"/>
                <a:gd name="connsiteX441" fmla="*/ 176643 w 218720"/>
                <a:gd name="connsiteY441" fmla="*/ 215018 h 359632"/>
                <a:gd name="connsiteX442" fmla="*/ 175553 w 218720"/>
                <a:gd name="connsiteY442" fmla="*/ 216806 h 359632"/>
                <a:gd name="connsiteX443" fmla="*/ 176368 w 218720"/>
                <a:gd name="connsiteY443" fmla="*/ 219234 h 359632"/>
                <a:gd name="connsiteX444" fmla="*/ 177705 w 218720"/>
                <a:gd name="connsiteY444" fmla="*/ 221551 h 359632"/>
                <a:gd name="connsiteX445" fmla="*/ 180332 w 218720"/>
                <a:gd name="connsiteY445" fmla="*/ 225253 h 359632"/>
                <a:gd name="connsiteX446" fmla="*/ 182649 w 218720"/>
                <a:gd name="connsiteY446" fmla="*/ 229287 h 359632"/>
                <a:gd name="connsiteX447" fmla="*/ 181795 w 218720"/>
                <a:gd name="connsiteY447" fmla="*/ 228678 h 359632"/>
                <a:gd name="connsiteX448" fmla="*/ 180897 w 218720"/>
                <a:gd name="connsiteY448" fmla="*/ 228344 h 359632"/>
                <a:gd name="connsiteX449" fmla="*/ 179669 w 218720"/>
                <a:gd name="connsiteY449" fmla="*/ 228444 h 359632"/>
                <a:gd name="connsiteX450" fmla="*/ 178469 w 218720"/>
                <a:gd name="connsiteY450" fmla="*/ 228249 h 359632"/>
                <a:gd name="connsiteX451" fmla="*/ 176255 w 218720"/>
                <a:gd name="connsiteY451" fmla="*/ 226987 h 359632"/>
                <a:gd name="connsiteX452" fmla="*/ 174128 w 218720"/>
                <a:gd name="connsiteY452" fmla="*/ 225436 h 359632"/>
                <a:gd name="connsiteX453" fmla="*/ 169897 w 218720"/>
                <a:gd name="connsiteY453" fmla="*/ 226059 h 359632"/>
                <a:gd name="connsiteX454" fmla="*/ 167546 w 218720"/>
                <a:gd name="connsiteY454" fmla="*/ 225780 h 359632"/>
                <a:gd name="connsiteX455" fmla="*/ 165507 w 218720"/>
                <a:gd name="connsiteY455" fmla="*/ 225821 h 359632"/>
                <a:gd name="connsiteX456" fmla="*/ 169373 w 218720"/>
                <a:gd name="connsiteY456" fmla="*/ 226717 h 359632"/>
                <a:gd name="connsiteX457" fmla="*/ 173605 w 218720"/>
                <a:gd name="connsiteY457" fmla="*/ 226779 h 359632"/>
                <a:gd name="connsiteX458" fmla="*/ 182937 w 218720"/>
                <a:gd name="connsiteY458" fmla="*/ 233539 h 359632"/>
                <a:gd name="connsiteX459" fmla="*/ 186091 w 218720"/>
                <a:gd name="connsiteY459" fmla="*/ 237535 h 359632"/>
                <a:gd name="connsiteX460" fmla="*/ 187966 w 218720"/>
                <a:gd name="connsiteY460" fmla="*/ 242808 h 359632"/>
                <a:gd name="connsiteX461" fmla="*/ 186689 w 218720"/>
                <a:gd name="connsiteY461" fmla="*/ 245172 h 359632"/>
                <a:gd name="connsiteX462" fmla="*/ 184703 w 218720"/>
                <a:gd name="connsiteY462" fmla="*/ 246703 h 359632"/>
                <a:gd name="connsiteX463" fmla="*/ 182850 w 218720"/>
                <a:gd name="connsiteY463" fmla="*/ 248453 h 359632"/>
                <a:gd name="connsiteX464" fmla="*/ 181114 w 218720"/>
                <a:gd name="connsiteY464" fmla="*/ 250427 h 359632"/>
                <a:gd name="connsiteX465" fmla="*/ 186286 w 218720"/>
                <a:gd name="connsiteY465" fmla="*/ 253324 h 359632"/>
                <a:gd name="connsiteX466" fmla="*/ 187400 w 218720"/>
                <a:gd name="connsiteY466" fmla="*/ 253236 h 359632"/>
                <a:gd name="connsiteX467" fmla="*/ 188544 w 218720"/>
                <a:gd name="connsiteY467" fmla="*/ 252831 h 359632"/>
                <a:gd name="connsiteX468" fmla="*/ 189644 w 218720"/>
                <a:gd name="connsiteY468" fmla="*/ 251846 h 359632"/>
                <a:gd name="connsiteX469" fmla="*/ 191498 w 218720"/>
                <a:gd name="connsiteY469" fmla="*/ 249447 h 359632"/>
                <a:gd name="connsiteX470" fmla="*/ 192455 w 218720"/>
                <a:gd name="connsiteY470" fmla="*/ 248592 h 359632"/>
                <a:gd name="connsiteX471" fmla="*/ 195677 w 218720"/>
                <a:gd name="connsiteY471" fmla="*/ 248284 h 359632"/>
                <a:gd name="connsiteX472" fmla="*/ 198380 w 218720"/>
                <a:gd name="connsiteY472" fmla="*/ 248468 h 359632"/>
                <a:gd name="connsiteX473" fmla="*/ 201073 w 218720"/>
                <a:gd name="connsiteY473" fmla="*/ 248998 h 359632"/>
                <a:gd name="connsiteX474" fmla="*/ 203440 w 218720"/>
                <a:gd name="connsiteY474" fmla="*/ 248830 h 359632"/>
                <a:gd name="connsiteX475" fmla="*/ 208210 w 218720"/>
                <a:gd name="connsiteY475" fmla="*/ 249860 h 359632"/>
                <a:gd name="connsiteX476" fmla="*/ 210661 w 218720"/>
                <a:gd name="connsiteY476" fmla="*/ 250789 h 359632"/>
                <a:gd name="connsiteX477" fmla="*/ 216733 w 218720"/>
                <a:gd name="connsiteY477" fmla="*/ 254966 h 359632"/>
                <a:gd name="connsiteX478" fmla="*/ 218046 w 218720"/>
                <a:gd name="connsiteY478" fmla="*/ 257247 h 359632"/>
                <a:gd name="connsiteX479" fmla="*/ 218648 w 218720"/>
                <a:gd name="connsiteY479" fmla="*/ 260190 h 359632"/>
                <a:gd name="connsiteX480" fmla="*/ 218720 w 218720"/>
                <a:gd name="connsiteY480" fmla="*/ 263449 h 359632"/>
                <a:gd name="connsiteX481" fmla="*/ 217698 w 218720"/>
                <a:gd name="connsiteY481" fmla="*/ 266425 h 359632"/>
                <a:gd name="connsiteX482" fmla="*/ 216526 w 218720"/>
                <a:gd name="connsiteY482" fmla="*/ 269108 h 359632"/>
                <a:gd name="connsiteX483" fmla="*/ 215802 w 218720"/>
                <a:gd name="connsiteY483" fmla="*/ 272568 h 359632"/>
                <a:gd name="connsiteX484" fmla="*/ 215289 w 218720"/>
                <a:gd name="connsiteY484" fmla="*/ 273813 h 359632"/>
                <a:gd name="connsiteX485" fmla="*/ 214571 w 218720"/>
                <a:gd name="connsiteY485" fmla="*/ 274788 h 359632"/>
                <a:gd name="connsiteX486" fmla="*/ 211354 w 218720"/>
                <a:gd name="connsiteY486" fmla="*/ 277512 h 359632"/>
                <a:gd name="connsiteX487" fmla="*/ 209216 w 218720"/>
                <a:gd name="connsiteY487" fmla="*/ 278631 h 359632"/>
                <a:gd name="connsiteX488" fmla="*/ 208313 w 218720"/>
                <a:gd name="connsiteY488" fmla="*/ 278140 h 359632"/>
                <a:gd name="connsiteX489" fmla="*/ 207351 w 218720"/>
                <a:gd name="connsiteY489" fmla="*/ 278208 h 359632"/>
                <a:gd name="connsiteX490" fmla="*/ 207249 w 218720"/>
                <a:gd name="connsiteY490" fmla="*/ 278862 h 359632"/>
                <a:gd name="connsiteX491" fmla="*/ 208266 w 218720"/>
                <a:gd name="connsiteY491" fmla="*/ 280251 h 359632"/>
                <a:gd name="connsiteX492" fmla="*/ 208279 w 218720"/>
                <a:gd name="connsiteY492" fmla="*/ 281926 h 359632"/>
                <a:gd name="connsiteX493" fmla="*/ 206379 w 218720"/>
                <a:gd name="connsiteY493" fmla="*/ 283165 h 359632"/>
                <a:gd name="connsiteX494" fmla="*/ 204448 w 218720"/>
                <a:gd name="connsiteY494" fmla="*/ 283694 h 359632"/>
                <a:gd name="connsiteX495" fmla="*/ 201218 w 218720"/>
                <a:gd name="connsiteY495" fmla="*/ 283034 h 359632"/>
                <a:gd name="connsiteX496" fmla="*/ 196733 w 218720"/>
                <a:gd name="connsiteY496" fmla="*/ 285340 h 359632"/>
                <a:gd name="connsiteX497" fmla="*/ 199957 w 218720"/>
                <a:gd name="connsiteY497" fmla="*/ 286524 h 359632"/>
                <a:gd name="connsiteX498" fmla="*/ 200607 w 218720"/>
                <a:gd name="connsiteY498" fmla="*/ 287784 h 359632"/>
                <a:gd name="connsiteX499" fmla="*/ 199799 w 218720"/>
                <a:gd name="connsiteY499" fmla="*/ 289997 h 359632"/>
                <a:gd name="connsiteX500" fmla="*/ 197771 w 218720"/>
                <a:gd name="connsiteY500" fmla="*/ 290983 h 359632"/>
                <a:gd name="connsiteX501" fmla="*/ 195523 w 218720"/>
                <a:gd name="connsiteY501" fmla="*/ 291420 h 359632"/>
                <a:gd name="connsiteX502" fmla="*/ 193222 w 218720"/>
                <a:gd name="connsiteY502" fmla="*/ 291524 h 359632"/>
                <a:gd name="connsiteX503" fmla="*/ 191315 w 218720"/>
                <a:gd name="connsiteY503" fmla="*/ 292065 h 359632"/>
                <a:gd name="connsiteX504" fmla="*/ 189486 w 218720"/>
                <a:gd name="connsiteY504" fmla="*/ 293107 h 359632"/>
                <a:gd name="connsiteX505" fmla="*/ 191781 w 218720"/>
                <a:gd name="connsiteY505" fmla="*/ 292553 h 359632"/>
                <a:gd name="connsiteX506" fmla="*/ 193373 w 218720"/>
                <a:gd name="connsiteY506" fmla="*/ 293038 h 359632"/>
                <a:gd name="connsiteX507" fmla="*/ 194372 w 218720"/>
                <a:gd name="connsiteY507" fmla="*/ 294897 h 359632"/>
                <a:gd name="connsiteX508" fmla="*/ 195280 w 218720"/>
                <a:gd name="connsiteY508" fmla="*/ 295428 h 359632"/>
                <a:gd name="connsiteX509" fmla="*/ 199765 w 218720"/>
                <a:gd name="connsiteY509" fmla="*/ 296222 h 359632"/>
                <a:gd name="connsiteX510" fmla="*/ 202542 w 218720"/>
                <a:gd name="connsiteY510" fmla="*/ 296216 h 359632"/>
                <a:gd name="connsiteX511" fmla="*/ 207897 w 218720"/>
                <a:gd name="connsiteY511" fmla="*/ 295765 h 359632"/>
                <a:gd name="connsiteX512" fmla="*/ 210469 w 218720"/>
                <a:gd name="connsiteY512" fmla="*/ 295776 h 359632"/>
                <a:gd name="connsiteX513" fmla="*/ 211386 w 218720"/>
                <a:gd name="connsiteY513" fmla="*/ 296112 h 359632"/>
                <a:gd name="connsiteX514" fmla="*/ 211402 w 218720"/>
                <a:gd name="connsiteY514" fmla="*/ 297650 h 359632"/>
                <a:gd name="connsiteX515" fmla="*/ 211002 w 218720"/>
                <a:gd name="connsiteY515" fmla="*/ 301424 h 359632"/>
                <a:gd name="connsiteX516" fmla="*/ 210294 w 218720"/>
                <a:gd name="connsiteY516" fmla="*/ 302201 h 359632"/>
                <a:gd name="connsiteX517" fmla="*/ 203194 w 218720"/>
                <a:gd name="connsiteY517" fmla="*/ 305366 h 359632"/>
                <a:gd name="connsiteX518" fmla="*/ 201738 w 218720"/>
                <a:gd name="connsiteY518" fmla="*/ 307574 h 359632"/>
                <a:gd name="connsiteX519" fmla="*/ 201330 w 218720"/>
                <a:gd name="connsiteY519" fmla="*/ 308911 h 359632"/>
                <a:gd name="connsiteX520" fmla="*/ 197178 w 218720"/>
                <a:gd name="connsiteY520" fmla="*/ 308674 h 359632"/>
                <a:gd name="connsiteX521" fmla="*/ 195232 w 218720"/>
                <a:gd name="connsiteY521" fmla="*/ 310087 h 359632"/>
                <a:gd name="connsiteX522" fmla="*/ 191870 w 218720"/>
                <a:gd name="connsiteY522" fmla="*/ 311025 h 359632"/>
                <a:gd name="connsiteX523" fmla="*/ 189270 w 218720"/>
                <a:gd name="connsiteY523" fmla="*/ 312022 h 359632"/>
                <a:gd name="connsiteX524" fmla="*/ 186726 w 218720"/>
                <a:gd name="connsiteY524" fmla="*/ 313282 h 359632"/>
                <a:gd name="connsiteX525" fmla="*/ 184634 w 218720"/>
                <a:gd name="connsiteY525" fmla="*/ 313658 h 359632"/>
                <a:gd name="connsiteX526" fmla="*/ 175590 w 218720"/>
                <a:gd name="connsiteY526" fmla="*/ 312163 h 359632"/>
                <a:gd name="connsiteX527" fmla="*/ 170131 w 218720"/>
                <a:gd name="connsiteY527" fmla="*/ 312286 h 359632"/>
                <a:gd name="connsiteX528" fmla="*/ 162736 w 218720"/>
                <a:gd name="connsiteY528" fmla="*/ 313589 h 359632"/>
                <a:gd name="connsiteX529" fmla="*/ 160831 w 218720"/>
                <a:gd name="connsiteY529" fmla="*/ 313374 h 359632"/>
                <a:gd name="connsiteX530" fmla="*/ 157974 w 218720"/>
                <a:gd name="connsiteY530" fmla="*/ 312126 h 359632"/>
                <a:gd name="connsiteX531" fmla="*/ 155049 w 218720"/>
                <a:gd name="connsiteY531" fmla="*/ 311282 h 359632"/>
                <a:gd name="connsiteX532" fmla="*/ 151683 w 218720"/>
                <a:gd name="connsiteY532" fmla="*/ 310911 h 359632"/>
                <a:gd name="connsiteX533" fmla="*/ 148778 w 218720"/>
                <a:gd name="connsiteY533" fmla="*/ 309757 h 359632"/>
                <a:gd name="connsiteX534" fmla="*/ 150591 w 218720"/>
                <a:gd name="connsiteY534" fmla="*/ 311976 h 359632"/>
                <a:gd name="connsiteX535" fmla="*/ 146561 w 218720"/>
                <a:gd name="connsiteY535" fmla="*/ 314112 h 359632"/>
                <a:gd name="connsiteX536" fmla="*/ 144701 w 218720"/>
                <a:gd name="connsiteY536" fmla="*/ 314537 h 359632"/>
                <a:gd name="connsiteX537" fmla="*/ 142776 w 218720"/>
                <a:gd name="connsiteY537" fmla="*/ 314471 h 359632"/>
                <a:gd name="connsiteX538" fmla="*/ 138837 w 218720"/>
                <a:gd name="connsiteY538" fmla="*/ 315051 h 359632"/>
                <a:gd name="connsiteX539" fmla="*/ 135188 w 218720"/>
                <a:gd name="connsiteY539" fmla="*/ 314755 h 359632"/>
                <a:gd name="connsiteX540" fmla="*/ 135736 w 218720"/>
                <a:gd name="connsiteY540" fmla="*/ 316273 h 359632"/>
                <a:gd name="connsiteX541" fmla="*/ 136714 w 218720"/>
                <a:gd name="connsiteY541" fmla="*/ 317595 h 359632"/>
                <a:gd name="connsiteX542" fmla="*/ 135921 w 218720"/>
                <a:gd name="connsiteY542" fmla="*/ 318170 h 359632"/>
                <a:gd name="connsiteX543" fmla="*/ 135082 w 218720"/>
                <a:gd name="connsiteY543" fmla="*/ 318313 h 359632"/>
                <a:gd name="connsiteX544" fmla="*/ 128132 w 218720"/>
                <a:gd name="connsiteY544" fmla="*/ 317315 h 359632"/>
                <a:gd name="connsiteX545" fmla="*/ 127148 w 218720"/>
                <a:gd name="connsiteY545" fmla="*/ 317504 h 359632"/>
                <a:gd name="connsiteX546" fmla="*/ 126290 w 218720"/>
                <a:gd name="connsiteY546" fmla="*/ 318425 h 359632"/>
                <a:gd name="connsiteX547" fmla="*/ 123763 w 218720"/>
                <a:gd name="connsiteY547" fmla="*/ 317928 h 359632"/>
                <a:gd name="connsiteX548" fmla="*/ 121307 w 218720"/>
                <a:gd name="connsiteY548" fmla="*/ 316375 h 359632"/>
                <a:gd name="connsiteX549" fmla="*/ 118695 w 218720"/>
                <a:gd name="connsiteY549" fmla="*/ 315332 h 359632"/>
                <a:gd name="connsiteX550" fmla="*/ 115954 w 218720"/>
                <a:gd name="connsiteY550" fmla="*/ 314842 h 359632"/>
                <a:gd name="connsiteX551" fmla="*/ 113776 w 218720"/>
                <a:gd name="connsiteY551" fmla="*/ 315011 h 359632"/>
                <a:gd name="connsiteX552" fmla="*/ 104816 w 218720"/>
                <a:gd name="connsiteY552" fmla="*/ 317460 h 359632"/>
                <a:gd name="connsiteX553" fmla="*/ 103028 w 218720"/>
                <a:gd name="connsiteY553" fmla="*/ 319915 h 359632"/>
                <a:gd name="connsiteX554" fmla="*/ 102135 w 218720"/>
                <a:gd name="connsiteY554" fmla="*/ 323393 h 359632"/>
                <a:gd name="connsiteX555" fmla="*/ 100841 w 218720"/>
                <a:gd name="connsiteY555" fmla="*/ 326476 h 359632"/>
                <a:gd name="connsiteX556" fmla="*/ 98731 w 218720"/>
                <a:gd name="connsiteY556" fmla="*/ 328848 h 359632"/>
                <a:gd name="connsiteX557" fmla="*/ 96220 w 218720"/>
                <a:gd name="connsiteY557" fmla="*/ 329157 h 359632"/>
                <a:gd name="connsiteX558" fmla="*/ 93858 w 218720"/>
                <a:gd name="connsiteY558" fmla="*/ 327516 h 359632"/>
                <a:gd name="connsiteX559" fmla="*/ 89364 w 218720"/>
                <a:gd name="connsiteY559" fmla="*/ 325702 h 359632"/>
                <a:gd name="connsiteX560" fmla="*/ 87835 w 218720"/>
                <a:gd name="connsiteY560" fmla="*/ 324476 h 359632"/>
                <a:gd name="connsiteX561" fmla="*/ 87348 w 218720"/>
                <a:gd name="connsiteY561" fmla="*/ 324404 h 359632"/>
                <a:gd name="connsiteX562" fmla="*/ 86846 w 218720"/>
                <a:gd name="connsiteY562" fmla="*/ 324843 h 359632"/>
                <a:gd name="connsiteX563" fmla="*/ 85084 w 218720"/>
                <a:gd name="connsiteY563" fmla="*/ 325396 h 359632"/>
                <a:gd name="connsiteX564" fmla="*/ 83259 w 218720"/>
                <a:gd name="connsiteY564" fmla="*/ 325422 h 359632"/>
                <a:gd name="connsiteX565" fmla="*/ 80447 w 218720"/>
                <a:gd name="connsiteY565" fmla="*/ 325910 h 359632"/>
                <a:gd name="connsiteX566" fmla="*/ 75553 w 218720"/>
                <a:gd name="connsiteY566" fmla="*/ 327384 h 359632"/>
                <a:gd name="connsiteX567" fmla="*/ 73577 w 218720"/>
                <a:gd name="connsiteY567" fmla="*/ 328384 h 359632"/>
                <a:gd name="connsiteX568" fmla="*/ 69328 w 218720"/>
                <a:gd name="connsiteY568" fmla="*/ 331139 h 359632"/>
                <a:gd name="connsiteX569" fmla="*/ 68463 w 218720"/>
                <a:gd name="connsiteY569" fmla="*/ 331901 h 359632"/>
                <a:gd name="connsiteX570" fmla="*/ 66918 w 218720"/>
                <a:gd name="connsiteY570" fmla="*/ 334677 h 359632"/>
                <a:gd name="connsiteX571" fmla="*/ 64558 w 218720"/>
                <a:gd name="connsiteY571" fmla="*/ 335166 h 359632"/>
                <a:gd name="connsiteX572" fmla="*/ 62399 w 218720"/>
                <a:gd name="connsiteY572" fmla="*/ 333388 h 359632"/>
                <a:gd name="connsiteX573" fmla="*/ 59942 w 218720"/>
                <a:gd name="connsiteY573" fmla="*/ 332767 h 359632"/>
                <a:gd name="connsiteX574" fmla="*/ 57350 w 218720"/>
                <a:gd name="connsiteY574" fmla="*/ 333375 h 359632"/>
                <a:gd name="connsiteX575" fmla="*/ 55782 w 218720"/>
                <a:gd name="connsiteY575" fmla="*/ 334320 h 359632"/>
                <a:gd name="connsiteX576" fmla="*/ 55051 w 218720"/>
                <a:gd name="connsiteY576" fmla="*/ 333552 h 359632"/>
                <a:gd name="connsiteX577" fmla="*/ 55027 w 218720"/>
                <a:gd name="connsiteY577" fmla="*/ 331973 h 359632"/>
                <a:gd name="connsiteX578" fmla="*/ 56920 w 218720"/>
                <a:gd name="connsiteY578" fmla="*/ 330091 h 359632"/>
                <a:gd name="connsiteX579" fmla="*/ 61970 w 218720"/>
                <a:gd name="connsiteY579" fmla="*/ 328668 h 359632"/>
                <a:gd name="connsiteX580" fmla="*/ 66403 w 218720"/>
                <a:gd name="connsiteY580" fmla="*/ 324972 h 359632"/>
                <a:gd name="connsiteX581" fmla="*/ 68578 w 218720"/>
                <a:gd name="connsiteY581" fmla="*/ 322716 h 359632"/>
                <a:gd name="connsiteX582" fmla="*/ 69440 w 218720"/>
                <a:gd name="connsiteY582" fmla="*/ 321446 h 359632"/>
                <a:gd name="connsiteX583" fmla="*/ 70503 w 218720"/>
                <a:gd name="connsiteY583" fmla="*/ 320636 h 359632"/>
                <a:gd name="connsiteX584" fmla="*/ 71892 w 218720"/>
                <a:gd name="connsiteY584" fmla="*/ 320330 h 359632"/>
                <a:gd name="connsiteX585" fmla="*/ 72606 w 218720"/>
                <a:gd name="connsiteY585" fmla="*/ 318925 h 359632"/>
                <a:gd name="connsiteX586" fmla="*/ 78761 w 218720"/>
                <a:gd name="connsiteY586" fmla="*/ 313270 h 359632"/>
                <a:gd name="connsiteX587" fmla="*/ 79269 w 218720"/>
                <a:gd name="connsiteY587" fmla="*/ 311971 h 359632"/>
                <a:gd name="connsiteX588" fmla="*/ 79575 w 218720"/>
                <a:gd name="connsiteY588" fmla="*/ 309646 h 359632"/>
                <a:gd name="connsiteX589" fmla="*/ 80084 w 218720"/>
                <a:gd name="connsiteY589" fmla="*/ 307405 h 359632"/>
                <a:gd name="connsiteX590" fmla="*/ 85095 w 218720"/>
                <a:gd name="connsiteY590" fmla="*/ 305953 h 359632"/>
                <a:gd name="connsiteX591" fmla="*/ 87489 w 218720"/>
                <a:gd name="connsiteY591" fmla="*/ 301233 h 359632"/>
                <a:gd name="connsiteX592" fmla="*/ 88148 w 218720"/>
                <a:gd name="connsiteY592" fmla="*/ 300859 h 359632"/>
                <a:gd name="connsiteX593" fmla="*/ 95137 w 218720"/>
                <a:gd name="connsiteY593" fmla="*/ 299992 h 359632"/>
                <a:gd name="connsiteX594" fmla="*/ 100320 w 218720"/>
                <a:gd name="connsiteY594" fmla="*/ 300061 h 359632"/>
                <a:gd name="connsiteX595" fmla="*/ 105468 w 218720"/>
                <a:gd name="connsiteY595" fmla="*/ 300986 h 359632"/>
                <a:gd name="connsiteX596" fmla="*/ 108107 w 218720"/>
                <a:gd name="connsiteY596" fmla="*/ 301069 h 359632"/>
                <a:gd name="connsiteX597" fmla="*/ 110756 w 218720"/>
                <a:gd name="connsiteY597" fmla="*/ 300750 h 359632"/>
                <a:gd name="connsiteX598" fmla="*/ 112833 w 218720"/>
                <a:gd name="connsiteY598" fmla="*/ 299474 h 359632"/>
                <a:gd name="connsiteX599" fmla="*/ 116388 w 218720"/>
                <a:gd name="connsiteY599" fmla="*/ 294868 h 359632"/>
                <a:gd name="connsiteX600" fmla="*/ 118388 w 218720"/>
                <a:gd name="connsiteY600" fmla="*/ 292838 h 359632"/>
                <a:gd name="connsiteX601" fmla="*/ 120679 w 218720"/>
                <a:gd name="connsiteY601" fmla="*/ 291002 h 359632"/>
                <a:gd name="connsiteX602" fmla="*/ 122822 w 218720"/>
                <a:gd name="connsiteY602" fmla="*/ 288904 h 359632"/>
                <a:gd name="connsiteX603" fmla="*/ 126299 w 218720"/>
                <a:gd name="connsiteY603" fmla="*/ 285012 h 359632"/>
                <a:gd name="connsiteX604" fmla="*/ 123948 w 218720"/>
                <a:gd name="connsiteY604" fmla="*/ 286353 h 359632"/>
                <a:gd name="connsiteX605" fmla="*/ 121111 w 218720"/>
                <a:gd name="connsiteY605" fmla="*/ 288480 h 359632"/>
                <a:gd name="connsiteX606" fmla="*/ 119465 w 218720"/>
                <a:gd name="connsiteY606" fmla="*/ 289713 h 359632"/>
                <a:gd name="connsiteX607" fmla="*/ 114238 w 218720"/>
                <a:gd name="connsiteY607" fmla="*/ 290955 h 359632"/>
                <a:gd name="connsiteX608" fmla="*/ 111986 w 218720"/>
                <a:gd name="connsiteY608" fmla="*/ 292221 h 359632"/>
                <a:gd name="connsiteX609" fmla="*/ 108040 w 218720"/>
                <a:gd name="connsiteY609" fmla="*/ 295078 h 359632"/>
                <a:gd name="connsiteX610" fmla="*/ 107281 w 218720"/>
                <a:gd name="connsiteY610" fmla="*/ 295315 h 359632"/>
                <a:gd name="connsiteX611" fmla="*/ 101328 w 218720"/>
                <a:gd name="connsiteY611" fmla="*/ 294629 h 359632"/>
                <a:gd name="connsiteX612" fmla="*/ 96898 w 218720"/>
                <a:gd name="connsiteY612" fmla="*/ 290923 h 359632"/>
                <a:gd name="connsiteX613" fmla="*/ 94066 w 218720"/>
                <a:gd name="connsiteY613" fmla="*/ 289402 h 359632"/>
                <a:gd name="connsiteX614" fmla="*/ 92896 w 218720"/>
                <a:gd name="connsiteY614" fmla="*/ 289230 h 359632"/>
                <a:gd name="connsiteX615" fmla="*/ 91687 w 218720"/>
                <a:gd name="connsiteY615" fmla="*/ 289682 h 359632"/>
                <a:gd name="connsiteX616" fmla="*/ 89101 w 218720"/>
                <a:gd name="connsiteY616" fmla="*/ 290145 h 359632"/>
                <a:gd name="connsiteX617" fmla="*/ 86464 w 218720"/>
                <a:gd name="connsiteY617" fmla="*/ 290066 h 359632"/>
                <a:gd name="connsiteX618" fmla="*/ 87810 w 218720"/>
                <a:gd name="connsiteY618" fmla="*/ 288352 h 359632"/>
                <a:gd name="connsiteX619" fmla="*/ 89638 w 218720"/>
                <a:gd name="connsiteY619" fmla="*/ 287393 h 359632"/>
                <a:gd name="connsiteX620" fmla="*/ 85544 w 218720"/>
                <a:gd name="connsiteY620" fmla="*/ 286727 h 359632"/>
                <a:gd name="connsiteX621" fmla="*/ 84406 w 218720"/>
                <a:gd name="connsiteY621" fmla="*/ 286205 h 359632"/>
                <a:gd name="connsiteX622" fmla="*/ 83109 w 218720"/>
                <a:gd name="connsiteY622" fmla="*/ 285002 h 359632"/>
                <a:gd name="connsiteX623" fmla="*/ 79898 w 218720"/>
                <a:gd name="connsiteY623" fmla="*/ 284796 h 359632"/>
                <a:gd name="connsiteX624" fmla="*/ 78366 w 218720"/>
                <a:gd name="connsiteY624" fmla="*/ 285103 h 359632"/>
                <a:gd name="connsiteX625" fmla="*/ 75782 w 218720"/>
                <a:gd name="connsiteY625" fmla="*/ 286693 h 359632"/>
                <a:gd name="connsiteX626" fmla="*/ 71699 w 218720"/>
                <a:gd name="connsiteY626" fmla="*/ 288383 h 359632"/>
                <a:gd name="connsiteX627" fmla="*/ 66780 w 218720"/>
                <a:gd name="connsiteY627" fmla="*/ 286040 h 359632"/>
                <a:gd name="connsiteX628" fmla="*/ 65816 w 218720"/>
                <a:gd name="connsiteY628" fmla="*/ 285012 h 359632"/>
                <a:gd name="connsiteX629" fmla="*/ 65841 w 218720"/>
                <a:gd name="connsiteY629" fmla="*/ 283027 h 359632"/>
                <a:gd name="connsiteX630" fmla="*/ 65103 w 218720"/>
                <a:gd name="connsiteY630" fmla="*/ 281453 h 359632"/>
                <a:gd name="connsiteX631" fmla="*/ 63738 w 218720"/>
                <a:gd name="connsiteY631" fmla="*/ 280898 h 359632"/>
                <a:gd name="connsiteX632" fmla="*/ 65484 w 218720"/>
                <a:gd name="connsiteY632" fmla="*/ 278846 h 359632"/>
                <a:gd name="connsiteX633" fmla="*/ 67591 w 218720"/>
                <a:gd name="connsiteY633" fmla="*/ 277479 h 359632"/>
                <a:gd name="connsiteX634" fmla="*/ 72225 w 218720"/>
                <a:gd name="connsiteY634" fmla="*/ 276120 h 359632"/>
                <a:gd name="connsiteX635" fmla="*/ 79243 w 218720"/>
                <a:gd name="connsiteY635" fmla="*/ 272892 h 359632"/>
                <a:gd name="connsiteX636" fmla="*/ 83178 w 218720"/>
                <a:gd name="connsiteY636" fmla="*/ 271516 h 359632"/>
                <a:gd name="connsiteX637" fmla="*/ 86836 w 218720"/>
                <a:gd name="connsiteY637" fmla="*/ 269140 h 359632"/>
                <a:gd name="connsiteX638" fmla="*/ 88348 w 218720"/>
                <a:gd name="connsiteY638" fmla="*/ 267690 h 359632"/>
                <a:gd name="connsiteX639" fmla="*/ 89445 w 218720"/>
                <a:gd name="connsiteY639" fmla="*/ 265705 h 359632"/>
                <a:gd name="connsiteX640" fmla="*/ 90533 w 218720"/>
                <a:gd name="connsiteY640" fmla="*/ 263266 h 359632"/>
                <a:gd name="connsiteX641" fmla="*/ 92086 w 218720"/>
                <a:gd name="connsiteY641" fmla="*/ 261284 h 359632"/>
                <a:gd name="connsiteX642" fmla="*/ 90579 w 218720"/>
                <a:gd name="connsiteY642" fmla="*/ 260812 h 359632"/>
                <a:gd name="connsiteX643" fmla="*/ 89906 w 218720"/>
                <a:gd name="connsiteY643" fmla="*/ 259315 h 359632"/>
                <a:gd name="connsiteX644" fmla="*/ 90087 w 218720"/>
                <a:gd name="connsiteY644" fmla="*/ 257796 h 359632"/>
                <a:gd name="connsiteX645" fmla="*/ 90783 w 218720"/>
                <a:gd name="connsiteY645" fmla="*/ 256448 h 359632"/>
                <a:gd name="connsiteX646" fmla="*/ 90159 w 218720"/>
                <a:gd name="connsiteY646" fmla="*/ 254756 h 359632"/>
                <a:gd name="connsiteX647" fmla="*/ 89052 w 218720"/>
                <a:gd name="connsiteY647" fmla="*/ 252986 h 359632"/>
                <a:gd name="connsiteX648" fmla="*/ 89113 w 218720"/>
                <a:gd name="connsiteY648" fmla="*/ 251607 h 359632"/>
                <a:gd name="connsiteX649" fmla="*/ 89407 w 218720"/>
                <a:gd name="connsiteY649" fmla="*/ 250132 h 359632"/>
                <a:gd name="connsiteX650" fmla="*/ 86584 w 218720"/>
                <a:gd name="connsiteY650" fmla="*/ 250211 h 359632"/>
                <a:gd name="connsiteX651" fmla="*/ 83769 w 218720"/>
                <a:gd name="connsiteY651" fmla="*/ 250672 h 359632"/>
                <a:gd name="connsiteX652" fmla="*/ 81218 w 218720"/>
                <a:gd name="connsiteY652" fmla="*/ 251718 h 359632"/>
                <a:gd name="connsiteX653" fmla="*/ 78744 w 218720"/>
                <a:gd name="connsiteY653" fmla="*/ 253137 h 359632"/>
                <a:gd name="connsiteX654" fmla="*/ 76547 w 218720"/>
                <a:gd name="connsiteY654" fmla="*/ 253400 h 359632"/>
                <a:gd name="connsiteX655" fmla="*/ 76582 w 218720"/>
                <a:gd name="connsiteY655" fmla="*/ 252265 h 359632"/>
                <a:gd name="connsiteX656" fmla="*/ 77536 w 218720"/>
                <a:gd name="connsiteY656" fmla="*/ 250861 h 359632"/>
                <a:gd name="connsiteX657" fmla="*/ 80027 w 218720"/>
                <a:gd name="connsiteY657" fmla="*/ 248854 h 359632"/>
                <a:gd name="connsiteX658" fmla="*/ 82694 w 218720"/>
                <a:gd name="connsiteY658" fmla="*/ 247189 h 359632"/>
                <a:gd name="connsiteX659" fmla="*/ 83642 w 218720"/>
                <a:gd name="connsiteY659" fmla="*/ 245923 h 359632"/>
                <a:gd name="connsiteX660" fmla="*/ 84388 w 218720"/>
                <a:gd name="connsiteY660" fmla="*/ 244452 h 359632"/>
                <a:gd name="connsiteX661" fmla="*/ 85712 w 218720"/>
                <a:gd name="connsiteY661" fmla="*/ 243271 h 359632"/>
                <a:gd name="connsiteX662" fmla="*/ 89195 w 218720"/>
                <a:gd name="connsiteY662" fmla="*/ 241037 h 359632"/>
                <a:gd name="connsiteX663" fmla="*/ 95868 w 218720"/>
                <a:gd name="connsiteY663" fmla="*/ 238521 h 359632"/>
                <a:gd name="connsiteX664" fmla="*/ 96864 w 218720"/>
                <a:gd name="connsiteY664" fmla="*/ 238373 h 359632"/>
                <a:gd name="connsiteX665" fmla="*/ 99480 w 218720"/>
                <a:gd name="connsiteY665" fmla="*/ 238665 h 359632"/>
                <a:gd name="connsiteX666" fmla="*/ 102052 w 218720"/>
                <a:gd name="connsiteY666" fmla="*/ 238285 h 359632"/>
                <a:gd name="connsiteX667" fmla="*/ 104305 w 218720"/>
                <a:gd name="connsiteY667" fmla="*/ 237379 h 359632"/>
                <a:gd name="connsiteX668" fmla="*/ 106550 w 218720"/>
                <a:gd name="connsiteY668" fmla="*/ 237184 h 359632"/>
                <a:gd name="connsiteX669" fmla="*/ 111605 w 218720"/>
                <a:gd name="connsiteY669" fmla="*/ 239795 h 359632"/>
                <a:gd name="connsiteX670" fmla="*/ 110102 w 218720"/>
                <a:gd name="connsiteY670" fmla="*/ 235754 h 359632"/>
                <a:gd name="connsiteX671" fmla="*/ 112331 w 218720"/>
                <a:gd name="connsiteY671" fmla="*/ 234786 h 359632"/>
                <a:gd name="connsiteX672" fmla="*/ 115564 w 218720"/>
                <a:gd name="connsiteY672" fmla="*/ 238440 h 359632"/>
                <a:gd name="connsiteX673" fmla="*/ 116766 w 218720"/>
                <a:gd name="connsiteY673" fmla="*/ 238825 h 359632"/>
                <a:gd name="connsiteX674" fmla="*/ 119301 w 218720"/>
                <a:gd name="connsiteY674" fmla="*/ 238295 h 359632"/>
                <a:gd name="connsiteX675" fmla="*/ 118323 w 218720"/>
                <a:gd name="connsiteY675" fmla="*/ 237679 h 359632"/>
                <a:gd name="connsiteX676" fmla="*/ 117181 w 218720"/>
                <a:gd name="connsiteY676" fmla="*/ 237642 h 359632"/>
                <a:gd name="connsiteX677" fmla="*/ 115685 w 218720"/>
                <a:gd name="connsiteY677" fmla="*/ 237091 h 359632"/>
                <a:gd name="connsiteX678" fmla="*/ 114427 w 218720"/>
                <a:gd name="connsiteY678" fmla="*/ 235919 h 359632"/>
                <a:gd name="connsiteX679" fmla="*/ 112334 w 218720"/>
                <a:gd name="connsiteY679" fmla="*/ 232195 h 359632"/>
                <a:gd name="connsiteX680" fmla="*/ 112447 w 218720"/>
                <a:gd name="connsiteY680" fmla="*/ 229982 h 359632"/>
                <a:gd name="connsiteX681" fmla="*/ 113857 w 218720"/>
                <a:gd name="connsiteY681" fmla="*/ 227679 h 359632"/>
                <a:gd name="connsiteX682" fmla="*/ 115419 w 218720"/>
                <a:gd name="connsiteY682" fmla="*/ 225557 h 359632"/>
                <a:gd name="connsiteX683" fmla="*/ 114109 w 218720"/>
                <a:gd name="connsiteY683" fmla="*/ 225135 h 359632"/>
                <a:gd name="connsiteX684" fmla="*/ 113060 w 218720"/>
                <a:gd name="connsiteY684" fmla="*/ 224323 h 359632"/>
                <a:gd name="connsiteX685" fmla="*/ 112759 w 218720"/>
                <a:gd name="connsiteY685" fmla="*/ 222197 h 359632"/>
                <a:gd name="connsiteX686" fmla="*/ 113171 w 218720"/>
                <a:gd name="connsiteY686" fmla="*/ 220318 h 359632"/>
                <a:gd name="connsiteX687" fmla="*/ 115977 w 218720"/>
                <a:gd name="connsiteY687" fmla="*/ 218657 h 359632"/>
                <a:gd name="connsiteX688" fmla="*/ 116805 w 218720"/>
                <a:gd name="connsiteY688" fmla="*/ 216135 h 359632"/>
                <a:gd name="connsiteX689" fmla="*/ 117157 w 218720"/>
                <a:gd name="connsiteY689" fmla="*/ 213357 h 359632"/>
                <a:gd name="connsiteX690" fmla="*/ 116691 w 218720"/>
                <a:gd name="connsiteY690" fmla="*/ 212082 h 359632"/>
                <a:gd name="connsiteX691" fmla="*/ 113906 w 218720"/>
                <a:gd name="connsiteY691" fmla="*/ 212287 h 359632"/>
                <a:gd name="connsiteX692" fmla="*/ 112552 w 218720"/>
                <a:gd name="connsiteY692" fmla="*/ 212807 h 359632"/>
                <a:gd name="connsiteX693" fmla="*/ 111337 w 218720"/>
                <a:gd name="connsiteY693" fmla="*/ 213630 h 359632"/>
                <a:gd name="connsiteX694" fmla="*/ 110093 w 218720"/>
                <a:gd name="connsiteY694" fmla="*/ 213581 h 359632"/>
                <a:gd name="connsiteX695" fmla="*/ 106653 w 218720"/>
                <a:gd name="connsiteY695" fmla="*/ 210505 h 359632"/>
                <a:gd name="connsiteX696" fmla="*/ 104691 w 218720"/>
                <a:gd name="connsiteY696" fmla="*/ 208176 h 359632"/>
                <a:gd name="connsiteX697" fmla="*/ 101172 w 218720"/>
                <a:gd name="connsiteY697" fmla="*/ 203238 h 359632"/>
                <a:gd name="connsiteX698" fmla="*/ 100671 w 218720"/>
                <a:gd name="connsiteY698" fmla="*/ 200283 h 359632"/>
                <a:gd name="connsiteX699" fmla="*/ 103490 w 218720"/>
                <a:gd name="connsiteY699" fmla="*/ 193894 h 359632"/>
                <a:gd name="connsiteX700" fmla="*/ 107838 w 218720"/>
                <a:gd name="connsiteY700" fmla="*/ 189799 h 359632"/>
                <a:gd name="connsiteX701" fmla="*/ 112961 w 218720"/>
                <a:gd name="connsiteY701" fmla="*/ 188372 h 359632"/>
                <a:gd name="connsiteX702" fmla="*/ 111970 w 218720"/>
                <a:gd name="connsiteY702" fmla="*/ 188099 h 359632"/>
                <a:gd name="connsiteX703" fmla="*/ 104164 w 218720"/>
                <a:gd name="connsiteY703" fmla="*/ 188044 h 359632"/>
                <a:gd name="connsiteX704" fmla="*/ 101591 w 218720"/>
                <a:gd name="connsiteY704" fmla="*/ 188546 h 359632"/>
                <a:gd name="connsiteX705" fmla="*/ 99206 w 218720"/>
                <a:gd name="connsiteY705" fmla="*/ 190221 h 359632"/>
                <a:gd name="connsiteX706" fmla="*/ 97859 w 218720"/>
                <a:gd name="connsiteY706" fmla="*/ 190735 h 359632"/>
                <a:gd name="connsiteX707" fmla="*/ 96443 w 218720"/>
                <a:gd name="connsiteY707" fmla="*/ 190925 h 359632"/>
                <a:gd name="connsiteX708" fmla="*/ 95153 w 218720"/>
                <a:gd name="connsiteY708" fmla="*/ 191758 h 359632"/>
                <a:gd name="connsiteX709" fmla="*/ 93893 w 218720"/>
                <a:gd name="connsiteY709" fmla="*/ 192914 h 359632"/>
                <a:gd name="connsiteX710" fmla="*/ 92581 w 218720"/>
                <a:gd name="connsiteY710" fmla="*/ 193653 h 359632"/>
                <a:gd name="connsiteX711" fmla="*/ 89975 w 218720"/>
                <a:gd name="connsiteY711" fmla="*/ 193462 h 359632"/>
                <a:gd name="connsiteX712" fmla="*/ 88711 w 218720"/>
                <a:gd name="connsiteY712" fmla="*/ 193706 h 359632"/>
                <a:gd name="connsiteX713" fmla="*/ 87802 w 218720"/>
                <a:gd name="connsiteY713" fmla="*/ 193037 h 359632"/>
                <a:gd name="connsiteX714" fmla="*/ 87042 w 218720"/>
                <a:gd name="connsiteY714" fmla="*/ 191930 h 359632"/>
                <a:gd name="connsiteX715" fmla="*/ 86047 w 218720"/>
                <a:gd name="connsiteY715" fmla="*/ 191635 h 359632"/>
                <a:gd name="connsiteX716" fmla="*/ 84936 w 218720"/>
                <a:gd name="connsiteY716" fmla="*/ 191975 h 359632"/>
                <a:gd name="connsiteX717" fmla="*/ 82587 w 218720"/>
                <a:gd name="connsiteY717" fmla="*/ 193466 h 359632"/>
                <a:gd name="connsiteX718" fmla="*/ 80208 w 218720"/>
                <a:gd name="connsiteY718" fmla="*/ 194346 h 359632"/>
                <a:gd name="connsiteX719" fmla="*/ 77332 w 218720"/>
                <a:gd name="connsiteY719" fmla="*/ 193407 h 359632"/>
                <a:gd name="connsiteX720" fmla="*/ 73562 w 218720"/>
                <a:gd name="connsiteY720" fmla="*/ 191655 h 359632"/>
                <a:gd name="connsiteX721" fmla="*/ 72817 w 218720"/>
                <a:gd name="connsiteY721" fmla="*/ 192294 h 359632"/>
                <a:gd name="connsiteX722" fmla="*/ 71982 w 218720"/>
                <a:gd name="connsiteY722" fmla="*/ 193920 h 359632"/>
                <a:gd name="connsiteX723" fmla="*/ 71501 w 218720"/>
                <a:gd name="connsiteY723" fmla="*/ 196456 h 359632"/>
                <a:gd name="connsiteX724" fmla="*/ 68824 w 218720"/>
                <a:gd name="connsiteY724" fmla="*/ 194254 h 359632"/>
                <a:gd name="connsiteX725" fmla="*/ 66542 w 218720"/>
                <a:gd name="connsiteY725" fmla="*/ 191306 h 359632"/>
                <a:gd name="connsiteX726" fmla="*/ 65777 w 218720"/>
                <a:gd name="connsiteY726" fmla="*/ 189452 h 359632"/>
                <a:gd name="connsiteX727" fmla="*/ 65720 w 218720"/>
                <a:gd name="connsiteY727" fmla="*/ 187364 h 359632"/>
                <a:gd name="connsiteX728" fmla="*/ 66958 w 218720"/>
                <a:gd name="connsiteY728" fmla="*/ 186553 h 359632"/>
                <a:gd name="connsiteX729" fmla="*/ 68303 w 218720"/>
                <a:gd name="connsiteY729" fmla="*/ 187295 h 359632"/>
                <a:gd name="connsiteX730" fmla="*/ 70308 w 218720"/>
                <a:gd name="connsiteY730" fmla="*/ 182331 h 359632"/>
                <a:gd name="connsiteX731" fmla="*/ 74297 w 218720"/>
                <a:gd name="connsiteY731" fmla="*/ 175855 h 359632"/>
                <a:gd name="connsiteX732" fmla="*/ 75704 w 218720"/>
                <a:gd name="connsiteY732" fmla="*/ 173952 h 359632"/>
                <a:gd name="connsiteX733" fmla="*/ 76686 w 218720"/>
                <a:gd name="connsiteY733" fmla="*/ 171467 h 359632"/>
                <a:gd name="connsiteX734" fmla="*/ 76518 w 218720"/>
                <a:gd name="connsiteY734" fmla="*/ 169839 h 359632"/>
                <a:gd name="connsiteX735" fmla="*/ 75638 w 218720"/>
                <a:gd name="connsiteY735" fmla="*/ 168464 h 359632"/>
                <a:gd name="connsiteX736" fmla="*/ 71930 w 218720"/>
                <a:gd name="connsiteY736" fmla="*/ 165337 h 359632"/>
                <a:gd name="connsiteX737" fmla="*/ 71979 w 218720"/>
                <a:gd name="connsiteY737" fmla="*/ 162788 h 359632"/>
                <a:gd name="connsiteX738" fmla="*/ 72376 w 218720"/>
                <a:gd name="connsiteY738" fmla="*/ 159906 h 359632"/>
                <a:gd name="connsiteX739" fmla="*/ 73384 w 218720"/>
                <a:gd name="connsiteY739" fmla="*/ 158175 h 359632"/>
                <a:gd name="connsiteX740" fmla="*/ 73810 w 218720"/>
                <a:gd name="connsiteY740" fmla="*/ 157845 h 359632"/>
                <a:gd name="connsiteX741" fmla="*/ 78735 w 218720"/>
                <a:gd name="connsiteY741" fmla="*/ 157891 h 359632"/>
                <a:gd name="connsiteX742" fmla="*/ 76814 w 218720"/>
                <a:gd name="connsiteY742" fmla="*/ 156997 h 359632"/>
                <a:gd name="connsiteX743" fmla="*/ 72986 w 218720"/>
                <a:gd name="connsiteY743" fmla="*/ 154385 h 359632"/>
                <a:gd name="connsiteX744" fmla="*/ 73054 w 218720"/>
                <a:gd name="connsiteY744" fmla="*/ 153459 h 359632"/>
                <a:gd name="connsiteX745" fmla="*/ 73955 w 218720"/>
                <a:gd name="connsiteY745" fmla="*/ 151041 h 359632"/>
                <a:gd name="connsiteX746" fmla="*/ 73537 w 218720"/>
                <a:gd name="connsiteY746" fmla="*/ 151286 h 359632"/>
                <a:gd name="connsiteX747" fmla="*/ 72717 w 218720"/>
                <a:gd name="connsiteY747" fmla="*/ 152403 h 359632"/>
                <a:gd name="connsiteX748" fmla="*/ 71150 w 218720"/>
                <a:gd name="connsiteY748" fmla="*/ 155105 h 359632"/>
                <a:gd name="connsiteX749" fmla="*/ 70194 w 218720"/>
                <a:gd name="connsiteY749" fmla="*/ 155735 h 359632"/>
                <a:gd name="connsiteX750" fmla="*/ 67486 w 218720"/>
                <a:gd name="connsiteY750" fmla="*/ 156376 h 359632"/>
                <a:gd name="connsiteX751" fmla="*/ 66996 w 218720"/>
                <a:gd name="connsiteY751" fmla="*/ 157705 h 359632"/>
                <a:gd name="connsiteX752" fmla="*/ 66561 w 218720"/>
                <a:gd name="connsiteY752" fmla="*/ 158052 h 359632"/>
                <a:gd name="connsiteX753" fmla="*/ 65208 w 218720"/>
                <a:gd name="connsiteY753" fmla="*/ 158203 h 359632"/>
                <a:gd name="connsiteX754" fmla="*/ 64793 w 218720"/>
                <a:gd name="connsiteY754" fmla="*/ 159441 h 359632"/>
                <a:gd name="connsiteX755" fmla="*/ 64492 w 218720"/>
                <a:gd name="connsiteY755" fmla="*/ 159520 h 359632"/>
                <a:gd name="connsiteX756" fmla="*/ 64107 w 218720"/>
                <a:gd name="connsiteY756" fmla="*/ 158184 h 359632"/>
                <a:gd name="connsiteX757" fmla="*/ 64070 w 218720"/>
                <a:gd name="connsiteY757" fmla="*/ 155968 h 359632"/>
                <a:gd name="connsiteX758" fmla="*/ 64609 w 218720"/>
                <a:gd name="connsiteY758" fmla="*/ 153929 h 359632"/>
                <a:gd name="connsiteX759" fmla="*/ 65638 w 218720"/>
                <a:gd name="connsiteY759" fmla="*/ 152332 h 359632"/>
                <a:gd name="connsiteX760" fmla="*/ 69606 w 218720"/>
                <a:gd name="connsiteY760" fmla="*/ 148697 h 359632"/>
                <a:gd name="connsiteX761" fmla="*/ 67674 w 218720"/>
                <a:gd name="connsiteY761" fmla="*/ 149819 h 359632"/>
                <a:gd name="connsiteX762" fmla="*/ 63295 w 218720"/>
                <a:gd name="connsiteY762" fmla="*/ 153176 h 359632"/>
                <a:gd name="connsiteX763" fmla="*/ 61060 w 218720"/>
                <a:gd name="connsiteY763" fmla="*/ 155381 h 359632"/>
                <a:gd name="connsiteX764" fmla="*/ 60463 w 218720"/>
                <a:gd name="connsiteY764" fmla="*/ 156125 h 359632"/>
                <a:gd name="connsiteX765" fmla="*/ 60276 w 218720"/>
                <a:gd name="connsiteY765" fmla="*/ 156752 h 359632"/>
                <a:gd name="connsiteX766" fmla="*/ 60289 w 218720"/>
                <a:gd name="connsiteY766" fmla="*/ 157474 h 359632"/>
                <a:gd name="connsiteX767" fmla="*/ 61293 w 218720"/>
                <a:gd name="connsiteY767" fmla="*/ 161344 h 359632"/>
                <a:gd name="connsiteX768" fmla="*/ 61007 w 218720"/>
                <a:gd name="connsiteY768" fmla="*/ 163133 h 359632"/>
                <a:gd name="connsiteX769" fmla="*/ 57234 w 218720"/>
                <a:gd name="connsiteY769" fmla="*/ 174922 h 359632"/>
                <a:gd name="connsiteX770" fmla="*/ 56520 w 218720"/>
                <a:gd name="connsiteY770" fmla="*/ 176102 h 359632"/>
                <a:gd name="connsiteX771" fmla="*/ 55863 w 218720"/>
                <a:gd name="connsiteY771" fmla="*/ 176719 h 359632"/>
                <a:gd name="connsiteX772" fmla="*/ 55242 w 218720"/>
                <a:gd name="connsiteY772" fmla="*/ 176860 h 359632"/>
                <a:gd name="connsiteX773" fmla="*/ 53382 w 218720"/>
                <a:gd name="connsiteY773" fmla="*/ 176636 h 359632"/>
                <a:gd name="connsiteX774" fmla="*/ 52552 w 218720"/>
                <a:gd name="connsiteY774" fmla="*/ 175755 h 359632"/>
                <a:gd name="connsiteX775" fmla="*/ 52559 w 218720"/>
                <a:gd name="connsiteY775" fmla="*/ 174757 h 359632"/>
                <a:gd name="connsiteX776" fmla="*/ 52908 w 218720"/>
                <a:gd name="connsiteY776" fmla="*/ 173257 h 359632"/>
                <a:gd name="connsiteX777" fmla="*/ 54472 w 218720"/>
                <a:gd name="connsiteY777" fmla="*/ 167668 h 359632"/>
                <a:gd name="connsiteX778" fmla="*/ 55151 w 218720"/>
                <a:gd name="connsiteY778" fmla="*/ 166113 h 359632"/>
                <a:gd name="connsiteX779" fmla="*/ 56160 w 218720"/>
                <a:gd name="connsiteY779" fmla="*/ 164666 h 359632"/>
                <a:gd name="connsiteX780" fmla="*/ 58383 w 218720"/>
                <a:gd name="connsiteY780" fmla="*/ 162130 h 359632"/>
                <a:gd name="connsiteX781" fmla="*/ 58329 w 218720"/>
                <a:gd name="connsiteY781" fmla="*/ 161965 h 359632"/>
                <a:gd name="connsiteX782" fmla="*/ 56849 w 218720"/>
                <a:gd name="connsiteY782" fmla="*/ 162462 h 359632"/>
                <a:gd name="connsiteX783" fmla="*/ 56218 w 218720"/>
                <a:gd name="connsiteY783" fmla="*/ 162298 h 359632"/>
                <a:gd name="connsiteX784" fmla="*/ 55766 w 218720"/>
                <a:gd name="connsiteY784" fmla="*/ 161796 h 359632"/>
                <a:gd name="connsiteX785" fmla="*/ 56059 w 218720"/>
                <a:gd name="connsiteY785" fmla="*/ 154257 h 359632"/>
                <a:gd name="connsiteX786" fmla="*/ 57260 w 218720"/>
                <a:gd name="connsiteY786" fmla="*/ 151771 h 359632"/>
                <a:gd name="connsiteX787" fmla="*/ 57709 w 218720"/>
                <a:gd name="connsiteY787" fmla="*/ 148150 h 359632"/>
                <a:gd name="connsiteX788" fmla="*/ 58750 w 218720"/>
                <a:gd name="connsiteY788" fmla="*/ 145045 h 359632"/>
                <a:gd name="connsiteX789" fmla="*/ 59955 w 218720"/>
                <a:gd name="connsiteY789" fmla="*/ 142781 h 359632"/>
                <a:gd name="connsiteX790" fmla="*/ 60872 w 218720"/>
                <a:gd name="connsiteY790" fmla="*/ 139881 h 359632"/>
                <a:gd name="connsiteX791" fmla="*/ 62254 w 218720"/>
                <a:gd name="connsiteY791" fmla="*/ 138590 h 359632"/>
                <a:gd name="connsiteX792" fmla="*/ 62624 w 218720"/>
                <a:gd name="connsiteY792" fmla="*/ 136614 h 359632"/>
                <a:gd name="connsiteX793" fmla="*/ 64174 w 218720"/>
                <a:gd name="connsiteY793" fmla="*/ 134473 h 359632"/>
                <a:gd name="connsiteX794" fmla="*/ 65373 w 218720"/>
                <a:gd name="connsiteY794" fmla="*/ 132232 h 359632"/>
                <a:gd name="connsiteX795" fmla="*/ 64727 w 218720"/>
                <a:gd name="connsiteY795" fmla="*/ 132454 h 359632"/>
                <a:gd name="connsiteX796" fmla="*/ 57063 w 218720"/>
                <a:gd name="connsiteY796" fmla="*/ 138281 h 359632"/>
                <a:gd name="connsiteX797" fmla="*/ 55111 w 218720"/>
                <a:gd name="connsiteY797" fmla="*/ 139341 h 359632"/>
                <a:gd name="connsiteX798" fmla="*/ 52450 w 218720"/>
                <a:gd name="connsiteY798" fmla="*/ 139057 h 359632"/>
                <a:gd name="connsiteX799" fmla="*/ 50415 w 218720"/>
                <a:gd name="connsiteY799" fmla="*/ 138403 h 359632"/>
                <a:gd name="connsiteX800" fmla="*/ 48825 w 218720"/>
                <a:gd name="connsiteY800" fmla="*/ 137025 h 359632"/>
                <a:gd name="connsiteX801" fmla="*/ 48114 w 218720"/>
                <a:gd name="connsiteY801" fmla="*/ 134378 h 359632"/>
                <a:gd name="connsiteX802" fmla="*/ 46150 w 218720"/>
                <a:gd name="connsiteY802" fmla="*/ 134307 h 359632"/>
                <a:gd name="connsiteX803" fmla="*/ 44470 w 218720"/>
                <a:gd name="connsiteY803" fmla="*/ 133849 h 359632"/>
                <a:gd name="connsiteX804" fmla="*/ 44491 w 218720"/>
                <a:gd name="connsiteY804" fmla="*/ 133493 h 359632"/>
                <a:gd name="connsiteX805" fmla="*/ 46658 w 218720"/>
                <a:gd name="connsiteY805" fmla="*/ 132048 h 359632"/>
                <a:gd name="connsiteX806" fmla="*/ 50132 w 218720"/>
                <a:gd name="connsiteY806" fmla="*/ 131552 h 359632"/>
                <a:gd name="connsiteX807" fmla="*/ 53383 w 218720"/>
                <a:gd name="connsiteY807" fmla="*/ 129237 h 359632"/>
                <a:gd name="connsiteX808" fmla="*/ 50490 w 218720"/>
                <a:gd name="connsiteY808" fmla="*/ 127672 h 359632"/>
                <a:gd name="connsiteX809" fmla="*/ 50735 w 218720"/>
                <a:gd name="connsiteY809" fmla="*/ 127176 h 359632"/>
                <a:gd name="connsiteX810" fmla="*/ 53258 w 218720"/>
                <a:gd name="connsiteY810" fmla="*/ 125842 h 359632"/>
                <a:gd name="connsiteX811" fmla="*/ 56463 w 218720"/>
                <a:gd name="connsiteY811" fmla="*/ 121362 h 359632"/>
                <a:gd name="connsiteX812" fmla="*/ 57113 w 218720"/>
                <a:gd name="connsiteY812" fmla="*/ 117232 h 359632"/>
                <a:gd name="connsiteX813" fmla="*/ 55580 w 218720"/>
                <a:gd name="connsiteY813" fmla="*/ 115289 h 359632"/>
                <a:gd name="connsiteX814" fmla="*/ 55025 w 218720"/>
                <a:gd name="connsiteY814" fmla="*/ 114015 h 359632"/>
                <a:gd name="connsiteX815" fmla="*/ 51961 w 218720"/>
                <a:gd name="connsiteY815" fmla="*/ 112594 h 359632"/>
                <a:gd name="connsiteX816" fmla="*/ 51449 w 218720"/>
                <a:gd name="connsiteY816" fmla="*/ 110774 h 359632"/>
                <a:gd name="connsiteX817" fmla="*/ 51805 w 218720"/>
                <a:gd name="connsiteY817" fmla="*/ 109758 h 359632"/>
                <a:gd name="connsiteX818" fmla="*/ 52805 w 218720"/>
                <a:gd name="connsiteY818" fmla="*/ 108765 h 359632"/>
                <a:gd name="connsiteX819" fmla="*/ 54312 w 218720"/>
                <a:gd name="connsiteY819" fmla="*/ 107991 h 359632"/>
                <a:gd name="connsiteX820" fmla="*/ 56674 w 218720"/>
                <a:gd name="connsiteY820" fmla="*/ 107251 h 359632"/>
                <a:gd name="connsiteX821" fmla="*/ 54530 w 218720"/>
                <a:gd name="connsiteY821" fmla="*/ 106457 h 359632"/>
                <a:gd name="connsiteX822" fmla="*/ 53730 w 218720"/>
                <a:gd name="connsiteY822" fmla="*/ 105520 h 359632"/>
                <a:gd name="connsiteX823" fmla="*/ 53123 w 218720"/>
                <a:gd name="connsiteY823" fmla="*/ 104163 h 359632"/>
                <a:gd name="connsiteX824" fmla="*/ 53067 w 218720"/>
                <a:gd name="connsiteY824" fmla="*/ 103376 h 359632"/>
                <a:gd name="connsiteX825" fmla="*/ 54177 w 218720"/>
                <a:gd name="connsiteY825" fmla="*/ 99866 h 359632"/>
                <a:gd name="connsiteX826" fmla="*/ 54823 w 218720"/>
                <a:gd name="connsiteY826" fmla="*/ 98417 h 359632"/>
                <a:gd name="connsiteX827" fmla="*/ 56087 w 218720"/>
                <a:gd name="connsiteY827" fmla="*/ 96568 h 359632"/>
                <a:gd name="connsiteX828" fmla="*/ 61821 w 218720"/>
                <a:gd name="connsiteY828" fmla="*/ 96672 h 359632"/>
                <a:gd name="connsiteX829" fmla="*/ 62480 w 218720"/>
                <a:gd name="connsiteY829" fmla="*/ 95855 h 359632"/>
                <a:gd name="connsiteX830" fmla="*/ 63130 w 218720"/>
                <a:gd name="connsiteY830" fmla="*/ 95823 h 359632"/>
                <a:gd name="connsiteX831" fmla="*/ 66062 w 218720"/>
                <a:gd name="connsiteY831" fmla="*/ 96568 h 359632"/>
                <a:gd name="connsiteX832" fmla="*/ 65627 w 218720"/>
                <a:gd name="connsiteY832" fmla="*/ 95766 h 359632"/>
                <a:gd name="connsiteX833" fmla="*/ 60832 w 218720"/>
                <a:gd name="connsiteY833" fmla="*/ 91368 h 359632"/>
                <a:gd name="connsiteX834" fmla="*/ 60402 w 218720"/>
                <a:gd name="connsiteY834" fmla="*/ 90530 h 359632"/>
                <a:gd name="connsiteX835" fmla="*/ 61769 w 218720"/>
                <a:gd name="connsiteY835" fmla="*/ 88154 h 359632"/>
                <a:gd name="connsiteX836" fmla="*/ 61868 w 218720"/>
                <a:gd name="connsiteY836" fmla="*/ 87094 h 359632"/>
                <a:gd name="connsiteX837" fmla="*/ 61668 w 218720"/>
                <a:gd name="connsiteY837" fmla="*/ 85961 h 359632"/>
                <a:gd name="connsiteX838" fmla="*/ 62058 w 218720"/>
                <a:gd name="connsiteY838" fmla="*/ 85098 h 359632"/>
                <a:gd name="connsiteX839" fmla="*/ 63578 w 218720"/>
                <a:gd name="connsiteY839" fmla="*/ 84690 h 359632"/>
                <a:gd name="connsiteX840" fmla="*/ 68213 w 218720"/>
                <a:gd name="connsiteY840" fmla="*/ 84731 h 359632"/>
                <a:gd name="connsiteX841" fmla="*/ 69355 w 218720"/>
                <a:gd name="connsiteY841" fmla="*/ 84329 h 359632"/>
                <a:gd name="connsiteX842" fmla="*/ 68835 w 218720"/>
                <a:gd name="connsiteY842" fmla="*/ 83181 h 359632"/>
                <a:gd name="connsiteX843" fmla="*/ 67756 w 218720"/>
                <a:gd name="connsiteY843" fmla="*/ 81671 h 359632"/>
                <a:gd name="connsiteX844" fmla="*/ 67545 w 218720"/>
                <a:gd name="connsiteY844" fmla="*/ 80402 h 359632"/>
                <a:gd name="connsiteX845" fmla="*/ 67798 w 218720"/>
                <a:gd name="connsiteY845" fmla="*/ 79281 h 359632"/>
                <a:gd name="connsiteX846" fmla="*/ 67857 w 218720"/>
                <a:gd name="connsiteY846" fmla="*/ 77022 h 359632"/>
                <a:gd name="connsiteX847" fmla="*/ 68068 w 218720"/>
                <a:gd name="connsiteY847" fmla="*/ 76022 h 359632"/>
                <a:gd name="connsiteX848" fmla="*/ 69168 w 218720"/>
                <a:gd name="connsiteY848" fmla="*/ 74524 h 359632"/>
                <a:gd name="connsiteX849" fmla="*/ 70077 w 218720"/>
                <a:gd name="connsiteY849" fmla="*/ 74079 h 359632"/>
                <a:gd name="connsiteX850" fmla="*/ 71204 w 218720"/>
                <a:gd name="connsiteY850" fmla="*/ 73818 h 359632"/>
                <a:gd name="connsiteX851" fmla="*/ 73748 w 218720"/>
                <a:gd name="connsiteY851" fmla="*/ 74319 h 359632"/>
                <a:gd name="connsiteX852" fmla="*/ 74718 w 218720"/>
                <a:gd name="connsiteY852" fmla="*/ 74924 h 359632"/>
                <a:gd name="connsiteX853" fmla="*/ 75831 w 218720"/>
                <a:gd name="connsiteY853" fmla="*/ 76352 h 359632"/>
                <a:gd name="connsiteX854" fmla="*/ 76654 w 218720"/>
                <a:gd name="connsiteY854" fmla="*/ 76236 h 359632"/>
                <a:gd name="connsiteX855" fmla="*/ 79822 w 218720"/>
                <a:gd name="connsiteY855" fmla="*/ 74685 h 359632"/>
                <a:gd name="connsiteX856" fmla="*/ 80774 w 218720"/>
                <a:gd name="connsiteY856" fmla="*/ 74462 h 359632"/>
                <a:gd name="connsiteX857" fmla="*/ 82070 w 218720"/>
                <a:gd name="connsiteY857" fmla="*/ 76260 h 359632"/>
                <a:gd name="connsiteX858" fmla="*/ 87480 w 218720"/>
                <a:gd name="connsiteY858" fmla="*/ 74826 h 359632"/>
                <a:gd name="connsiteX859" fmla="*/ 94757 w 218720"/>
                <a:gd name="connsiteY859" fmla="*/ 74183 h 359632"/>
                <a:gd name="connsiteX860" fmla="*/ 99129 w 218720"/>
                <a:gd name="connsiteY860" fmla="*/ 73239 h 359632"/>
                <a:gd name="connsiteX861" fmla="*/ 103733 w 218720"/>
                <a:gd name="connsiteY861" fmla="*/ 72896 h 359632"/>
                <a:gd name="connsiteX862" fmla="*/ 115062 w 218720"/>
                <a:gd name="connsiteY862" fmla="*/ 65804 h 359632"/>
                <a:gd name="connsiteX863" fmla="*/ 116053 w 218720"/>
                <a:gd name="connsiteY863" fmla="*/ 66067 h 359632"/>
                <a:gd name="connsiteX864" fmla="*/ 115685 w 218720"/>
                <a:gd name="connsiteY864" fmla="*/ 66975 h 359632"/>
                <a:gd name="connsiteX865" fmla="*/ 115324 w 218720"/>
                <a:gd name="connsiteY865" fmla="*/ 68857 h 359632"/>
                <a:gd name="connsiteX866" fmla="*/ 115112 w 218720"/>
                <a:gd name="connsiteY866" fmla="*/ 68953 h 359632"/>
                <a:gd name="connsiteX867" fmla="*/ 114307 w 218720"/>
                <a:gd name="connsiteY867" fmla="*/ 68360 h 359632"/>
                <a:gd name="connsiteX868" fmla="*/ 112979 w 218720"/>
                <a:gd name="connsiteY868" fmla="*/ 66228 h 359632"/>
                <a:gd name="connsiteX869" fmla="*/ 105859 w 218720"/>
                <a:gd name="connsiteY869" fmla="*/ 63098 h 359632"/>
                <a:gd name="connsiteX870" fmla="*/ 107750 w 218720"/>
                <a:gd name="connsiteY870" fmla="*/ 63544 h 359632"/>
                <a:gd name="connsiteX871" fmla="*/ 108729 w 218720"/>
                <a:gd name="connsiteY871" fmla="*/ 65107 h 359632"/>
                <a:gd name="connsiteX872" fmla="*/ 108851 w 218720"/>
                <a:gd name="connsiteY872" fmla="*/ 66123 h 359632"/>
                <a:gd name="connsiteX873" fmla="*/ 109083 w 218720"/>
                <a:gd name="connsiteY873" fmla="*/ 66522 h 359632"/>
                <a:gd name="connsiteX874" fmla="*/ 110257 w 218720"/>
                <a:gd name="connsiteY874" fmla="*/ 66923 h 359632"/>
                <a:gd name="connsiteX875" fmla="*/ 110115 w 218720"/>
                <a:gd name="connsiteY875" fmla="*/ 67151 h 359632"/>
                <a:gd name="connsiteX876" fmla="*/ 108851 w 218720"/>
                <a:gd name="connsiteY876" fmla="*/ 67581 h 359632"/>
                <a:gd name="connsiteX877" fmla="*/ 107598 w 218720"/>
                <a:gd name="connsiteY877" fmla="*/ 67549 h 359632"/>
                <a:gd name="connsiteX878" fmla="*/ 105643 w 218720"/>
                <a:gd name="connsiteY878" fmla="*/ 65673 h 359632"/>
                <a:gd name="connsiteX879" fmla="*/ 104900 w 218720"/>
                <a:gd name="connsiteY879" fmla="*/ 64307 h 359632"/>
                <a:gd name="connsiteX880" fmla="*/ 105034 w 218720"/>
                <a:gd name="connsiteY880" fmla="*/ 63403 h 359632"/>
                <a:gd name="connsiteX881" fmla="*/ 108266 w 218720"/>
                <a:gd name="connsiteY881" fmla="*/ 55774 h 359632"/>
                <a:gd name="connsiteX882" fmla="*/ 110302 w 218720"/>
                <a:gd name="connsiteY882" fmla="*/ 56022 h 359632"/>
                <a:gd name="connsiteX883" fmla="*/ 112632 w 218720"/>
                <a:gd name="connsiteY883" fmla="*/ 57239 h 359632"/>
                <a:gd name="connsiteX884" fmla="*/ 113337 w 218720"/>
                <a:gd name="connsiteY884" fmla="*/ 57988 h 359632"/>
                <a:gd name="connsiteX885" fmla="*/ 113320 w 218720"/>
                <a:gd name="connsiteY885" fmla="*/ 58586 h 359632"/>
                <a:gd name="connsiteX886" fmla="*/ 112493 w 218720"/>
                <a:gd name="connsiteY886" fmla="*/ 59499 h 359632"/>
                <a:gd name="connsiteX887" fmla="*/ 112199 w 218720"/>
                <a:gd name="connsiteY887" fmla="*/ 60302 h 359632"/>
                <a:gd name="connsiteX888" fmla="*/ 113880 w 218720"/>
                <a:gd name="connsiteY888" fmla="*/ 60283 h 359632"/>
                <a:gd name="connsiteX889" fmla="*/ 116315 w 218720"/>
                <a:gd name="connsiteY889" fmla="*/ 60967 h 359632"/>
                <a:gd name="connsiteX890" fmla="*/ 117789 w 218720"/>
                <a:gd name="connsiteY890" fmla="*/ 61053 h 359632"/>
                <a:gd name="connsiteX891" fmla="*/ 119015 w 218720"/>
                <a:gd name="connsiteY891" fmla="*/ 61901 h 359632"/>
                <a:gd name="connsiteX892" fmla="*/ 118339 w 218720"/>
                <a:gd name="connsiteY892" fmla="*/ 63490 h 359632"/>
                <a:gd name="connsiteX893" fmla="*/ 117605 w 218720"/>
                <a:gd name="connsiteY893" fmla="*/ 63935 h 359632"/>
                <a:gd name="connsiteX894" fmla="*/ 116775 w 218720"/>
                <a:gd name="connsiteY894" fmla="*/ 64023 h 359632"/>
                <a:gd name="connsiteX895" fmla="*/ 113877 w 218720"/>
                <a:gd name="connsiteY895" fmla="*/ 62436 h 359632"/>
                <a:gd name="connsiteX896" fmla="*/ 110079 w 218720"/>
                <a:gd name="connsiteY896" fmla="*/ 63095 h 359632"/>
                <a:gd name="connsiteX897" fmla="*/ 109323 w 218720"/>
                <a:gd name="connsiteY897" fmla="*/ 62894 h 359632"/>
                <a:gd name="connsiteX898" fmla="*/ 108824 w 218720"/>
                <a:gd name="connsiteY898" fmla="*/ 62455 h 359632"/>
                <a:gd name="connsiteX899" fmla="*/ 108619 w 218720"/>
                <a:gd name="connsiteY899" fmla="*/ 61911 h 359632"/>
                <a:gd name="connsiteX900" fmla="*/ 108615 w 218720"/>
                <a:gd name="connsiteY900" fmla="*/ 60801 h 359632"/>
                <a:gd name="connsiteX901" fmla="*/ 108409 w 218720"/>
                <a:gd name="connsiteY901" fmla="*/ 60473 h 359632"/>
                <a:gd name="connsiteX902" fmla="*/ 107033 w 218720"/>
                <a:gd name="connsiteY902" fmla="*/ 61523 h 359632"/>
                <a:gd name="connsiteX903" fmla="*/ 106429 w 218720"/>
                <a:gd name="connsiteY903" fmla="*/ 61399 h 359632"/>
                <a:gd name="connsiteX904" fmla="*/ 106088 w 218720"/>
                <a:gd name="connsiteY904" fmla="*/ 60896 h 359632"/>
                <a:gd name="connsiteX905" fmla="*/ 105941 w 218720"/>
                <a:gd name="connsiteY905" fmla="*/ 59853 h 359632"/>
                <a:gd name="connsiteX906" fmla="*/ 106094 w 218720"/>
                <a:gd name="connsiteY906" fmla="*/ 58347 h 359632"/>
                <a:gd name="connsiteX907" fmla="*/ 106900 w 218720"/>
                <a:gd name="connsiteY907" fmla="*/ 56202 h 359632"/>
                <a:gd name="connsiteX908" fmla="*/ 124031 w 218720"/>
                <a:gd name="connsiteY908" fmla="*/ 50542 h 359632"/>
                <a:gd name="connsiteX909" fmla="*/ 126876 w 218720"/>
                <a:gd name="connsiteY909" fmla="*/ 50758 h 359632"/>
                <a:gd name="connsiteX910" fmla="*/ 126370 w 218720"/>
                <a:gd name="connsiteY910" fmla="*/ 51625 h 359632"/>
                <a:gd name="connsiteX911" fmla="*/ 123738 w 218720"/>
                <a:gd name="connsiteY911" fmla="*/ 52921 h 359632"/>
                <a:gd name="connsiteX912" fmla="*/ 121235 w 218720"/>
                <a:gd name="connsiteY912" fmla="*/ 52960 h 359632"/>
                <a:gd name="connsiteX913" fmla="*/ 122528 w 218720"/>
                <a:gd name="connsiteY913" fmla="*/ 51028 h 359632"/>
                <a:gd name="connsiteX914" fmla="*/ 114304 w 218720"/>
                <a:gd name="connsiteY914" fmla="*/ 49137 h 359632"/>
                <a:gd name="connsiteX915" fmla="*/ 116822 w 218720"/>
                <a:gd name="connsiteY915" fmla="*/ 51059 h 359632"/>
                <a:gd name="connsiteX916" fmla="*/ 117853 w 218720"/>
                <a:gd name="connsiteY916" fmla="*/ 52612 h 359632"/>
                <a:gd name="connsiteX917" fmla="*/ 119718 w 218720"/>
                <a:gd name="connsiteY917" fmla="*/ 53071 h 359632"/>
                <a:gd name="connsiteX918" fmla="*/ 119956 w 218720"/>
                <a:gd name="connsiteY918" fmla="*/ 53309 h 359632"/>
                <a:gd name="connsiteX919" fmla="*/ 119746 w 218720"/>
                <a:gd name="connsiteY919" fmla="*/ 54377 h 359632"/>
                <a:gd name="connsiteX920" fmla="*/ 117848 w 218720"/>
                <a:gd name="connsiteY920" fmla="*/ 55188 h 359632"/>
                <a:gd name="connsiteX921" fmla="*/ 117038 w 218720"/>
                <a:gd name="connsiteY921" fmla="*/ 54517 h 359632"/>
                <a:gd name="connsiteX922" fmla="*/ 116827 w 218720"/>
                <a:gd name="connsiteY922" fmla="*/ 52416 h 359632"/>
                <a:gd name="connsiteX923" fmla="*/ 114564 w 218720"/>
                <a:gd name="connsiteY923" fmla="*/ 51516 h 359632"/>
                <a:gd name="connsiteX924" fmla="*/ 113464 w 218720"/>
                <a:gd name="connsiteY924" fmla="*/ 50957 h 359632"/>
                <a:gd name="connsiteX925" fmla="*/ 112612 w 218720"/>
                <a:gd name="connsiteY925" fmla="*/ 49897 h 359632"/>
                <a:gd name="connsiteX926" fmla="*/ 112829 w 218720"/>
                <a:gd name="connsiteY926" fmla="*/ 49572 h 359632"/>
                <a:gd name="connsiteX927" fmla="*/ 149939 w 218720"/>
                <a:gd name="connsiteY927" fmla="*/ 7430 h 359632"/>
                <a:gd name="connsiteX928" fmla="*/ 151315 w 218720"/>
                <a:gd name="connsiteY928" fmla="*/ 7494 h 359632"/>
                <a:gd name="connsiteX929" fmla="*/ 151174 w 218720"/>
                <a:gd name="connsiteY929" fmla="*/ 9833 h 359632"/>
                <a:gd name="connsiteX930" fmla="*/ 151632 w 218720"/>
                <a:gd name="connsiteY930" fmla="*/ 12180 h 359632"/>
                <a:gd name="connsiteX931" fmla="*/ 152774 w 218720"/>
                <a:gd name="connsiteY931" fmla="*/ 11572 h 359632"/>
                <a:gd name="connsiteX932" fmla="*/ 154498 w 218720"/>
                <a:gd name="connsiteY932" fmla="*/ 13821 h 359632"/>
                <a:gd name="connsiteX933" fmla="*/ 155378 w 218720"/>
                <a:gd name="connsiteY933" fmla="*/ 13824 h 359632"/>
                <a:gd name="connsiteX934" fmla="*/ 156827 w 218720"/>
                <a:gd name="connsiteY934" fmla="*/ 12931 h 359632"/>
                <a:gd name="connsiteX935" fmla="*/ 156535 w 218720"/>
                <a:gd name="connsiteY935" fmla="*/ 15023 h 359632"/>
                <a:gd name="connsiteX936" fmla="*/ 155031 w 218720"/>
                <a:gd name="connsiteY936" fmla="*/ 20819 h 359632"/>
                <a:gd name="connsiteX937" fmla="*/ 154608 w 218720"/>
                <a:gd name="connsiteY937" fmla="*/ 21802 h 359632"/>
                <a:gd name="connsiteX938" fmla="*/ 154322 w 218720"/>
                <a:gd name="connsiteY938" fmla="*/ 23560 h 359632"/>
                <a:gd name="connsiteX939" fmla="*/ 154023 w 218720"/>
                <a:gd name="connsiteY939" fmla="*/ 23902 h 359632"/>
                <a:gd name="connsiteX940" fmla="*/ 153579 w 218720"/>
                <a:gd name="connsiteY940" fmla="*/ 27452 h 359632"/>
                <a:gd name="connsiteX941" fmla="*/ 152562 w 218720"/>
                <a:gd name="connsiteY941" fmla="*/ 28620 h 359632"/>
                <a:gd name="connsiteX942" fmla="*/ 151712 w 218720"/>
                <a:gd name="connsiteY942" fmla="*/ 31404 h 359632"/>
                <a:gd name="connsiteX943" fmla="*/ 151365 w 218720"/>
                <a:gd name="connsiteY943" fmla="*/ 31676 h 359632"/>
                <a:gd name="connsiteX944" fmla="*/ 150118 w 218720"/>
                <a:gd name="connsiteY944" fmla="*/ 30605 h 359632"/>
                <a:gd name="connsiteX945" fmla="*/ 151364 w 218720"/>
                <a:gd name="connsiteY945" fmla="*/ 26353 h 359632"/>
                <a:gd name="connsiteX946" fmla="*/ 151880 w 218720"/>
                <a:gd name="connsiteY946" fmla="*/ 23878 h 359632"/>
                <a:gd name="connsiteX947" fmla="*/ 151554 w 218720"/>
                <a:gd name="connsiteY947" fmla="*/ 22593 h 359632"/>
                <a:gd name="connsiteX948" fmla="*/ 150849 w 218720"/>
                <a:gd name="connsiteY948" fmla="*/ 21436 h 359632"/>
                <a:gd name="connsiteX949" fmla="*/ 148942 w 218720"/>
                <a:gd name="connsiteY949" fmla="*/ 21399 h 359632"/>
                <a:gd name="connsiteX950" fmla="*/ 147340 w 218720"/>
                <a:gd name="connsiteY950" fmla="*/ 21933 h 359632"/>
                <a:gd name="connsiteX951" fmla="*/ 147000 w 218720"/>
                <a:gd name="connsiteY951" fmla="*/ 21250 h 359632"/>
                <a:gd name="connsiteX952" fmla="*/ 146950 w 218720"/>
                <a:gd name="connsiteY952" fmla="*/ 20329 h 359632"/>
                <a:gd name="connsiteX953" fmla="*/ 146564 w 218720"/>
                <a:gd name="connsiteY953" fmla="*/ 20023 h 359632"/>
                <a:gd name="connsiteX954" fmla="*/ 144431 w 218720"/>
                <a:gd name="connsiteY954" fmla="*/ 20086 h 359632"/>
                <a:gd name="connsiteX955" fmla="*/ 143805 w 218720"/>
                <a:gd name="connsiteY955" fmla="*/ 19832 h 359632"/>
                <a:gd name="connsiteX956" fmla="*/ 143392 w 218720"/>
                <a:gd name="connsiteY956" fmla="*/ 18986 h 359632"/>
                <a:gd name="connsiteX957" fmla="*/ 143310 w 218720"/>
                <a:gd name="connsiteY957" fmla="*/ 18314 h 359632"/>
                <a:gd name="connsiteX958" fmla="*/ 145236 w 218720"/>
                <a:gd name="connsiteY958" fmla="*/ 17787 h 359632"/>
                <a:gd name="connsiteX959" fmla="*/ 147054 w 218720"/>
                <a:gd name="connsiteY959" fmla="*/ 17983 h 359632"/>
                <a:gd name="connsiteX960" fmla="*/ 149703 w 218720"/>
                <a:gd name="connsiteY960" fmla="*/ 16640 h 359632"/>
                <a:gd name="connsiteX961" fmla="*/ 148046 w 218720"/>
                <a:gd name="connsiteY961" fmla="*/ 12130 h 359632"/>
                <a:gd name="connsiteX962" fmla="*/ 145851 w 218720"/>
                <a:gd name="connsiteY962" fmla="*/ 11705 h 359632"/>
                <a:gd name="connsiteX963" fmla="*/ 145344 w 218720"/>
                <a:gd name="connsiteY963" fmla="*/ 11268 h 359632"/>
                <a:gd name="connsiteX964" fmla="*/ 145767 w 218720"/>
                <a:gd name="connsiteY964" fmla="*/ 10502 h 359632"/>
                <a:gd name="connsiteX965" fmla="*/ 146972 w 218720"/>
                <a:gd name="connsiteY965" fmla="*/ 10089 h 359632"/>
                <a:gd name="connsiteX966" fmla="*/ 148828 w 218720"/>
                <a:gd name="connsiteY966" fmla="*/ 7792 h 359632"/>
                <a:gd name="connsiteX967" fmla="*/ 155924 w 218720"/>
                <a:gd name="connsiteY967" fmla="*/ 3736 h 359632"/>
                <a:gd name="connsiteX968" fmla="*/ 157863 w 218720"/>
                <a:gd name="connsiteY968" fmla="*/ 3860 h 359632"/>
                <a:gd name="connsiteX969" fmla="*/ 158171 w 218720"/>
                <a:gd name="connsiteY969" fmla="*/ 4878 h 359632"/>
                <a:gd name="connsiteX970" fmla="*/ 157979 w 218720"/>
                <a:gd name="connsiteY970" fmla="*/ 5814 h 359632"/>
                <a:gd name="connsiteX971" fmla="*/ 156991 w 218720"/>
                <a:gd name="connsiteY971" fmla="*/ 5897 h 359632"/>
                <a:gd name="connsiteX972" fmla="*/ 156903 w 218720"/>
                <a:gd name="connsiteY972" fmla="*/ 6184 h 359632"/>
                <a:gd name="connsiteX973" fmla="*/ 157211 w 218720"/>
                <a:gd name="connsiteY973" fmla="*/ 7986 h 359632"/>
                <a:gd name="connsiteX974" fmla="*/ 157230 w 218720"/>
                <a:gd name="connsiteY974" fmla="*/ 10077 h 359632"/>
                <a:gd name="connsiteX975" fmla="*/ 157046 w 218720"/>
                <a:gd name="connsiteY975" fmla="*/ 10621 h 359632"/>
                <a:gd name="connsiteX976" fmla="*/ 156486 w 218720"/>
                <a:gd name="connsiteY976" fmla="*/ 11006 h 359632"/>
                <a:gd name="connsiteX977" fmla="*/ 154327 w 218720"/>
                <a:gd name="connsiteY977" fmla="*/ 7619 h 359632"/>
                <a:gd name="connsiteX978" fmla="*/ 161891 w 218720"/>
                <a:gd name="connsiteY978" fmla="*/ 0 h 359632"/>
                <a:gd name="connsiteX979" fmla="*/ 162369 w 218720"/>
                <a:gd name="connsiteY979" fmla="*/ 21 h 359632"/>
                <a:gd name="connsiteX980" fmla="*/ 162978 w 218720"/>
                <a:gd name="connsiteY980" fmla="*/ 667 h 359632"/>
                <a:gd name="connsiteX981" fmla="*/ 162977 w 218720"/>
                <a:gd name="connsiteY981" fmla="*/ 1051 h 359632"/>
                <a:gd name="connsiteX982" fmla="*/ 161831 w 218720"/>
                <a:gd name="connsiteY982" fmla="*/ 3871 h 359632"/>
                <a:gd name="connsiteX983" fmla="*/ 161846 w 218720"/>
                <a:gd name="connsiteY983" fmla="*/ 4948 h 359632"/>
                <a:gd name="connsiteX984" fmla="*/ 159996 w 218720"/>
                <a:gd name="connsiteY984" fmla="*/ 4845 h 359632"/>
                <a:gd name="connsiteX985" fmla="*/ 159706 w 218720"/>
                <a:gd name="connsiteY985" fmla="*/ 4502 h 359632"/>
                <a:gd name="connsiteX986" fmla="*/ 159356 w 218720"/>
                <a:gd name="connsiteY986" fmla="*/ 2885 h 359632"/>
                <a:gd name="connsiteX987" fmla="*/ 159589 w 218720"/>
                <a:gd name="connsiteY987" fmla="*/ 1162 h 359632"/>
                <a:gd name="connsiteX988" fmla="*/ 159848 w 218720"/>
                <a:gd name="connsiteY988" fmla="*/ 718 h 359632"/>
                <a:gd name="connsiteX989" fmla="*/ 160388 w 218720"/>
                <a:gd name="connsiteY989" fmla="*/ 535 h 359632"/>
                <a:gd name="connsiteX990" fmla="*/ 160973 w 218720"/>
                <a:gd name="connsiteY990" fmla="*/ 873 h 359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</a:cxnLst>
              <a:rect l="l" t="t" r="r" b="b"/>
              <a:pathLst>
                <a:path w="218720" h="359632">
                  <a:moveTo>
                    <a:pt x="130999" y="356870"/>
                  </a:moveTo>
                  <a:lnTo>
                    <a:pt x="134057" y="357184"/>
                  </a:lnTo>
                  <a:lnTo>
                    <a:pt x="135462" y="357875"/>
                  </a:lnTo>
                  <a:lnTo>
                    <a:pt x="135656" y="359317"/>
                  </a:lnTo>
                  <a:lnTo>
                    <a:pt x="134686" y="359632"/>
                  </a:lnTo>
                  <a:lnTo>
                    <a:pt x="133862" y="359129"/>
                  </a:lnTo>
                  <a:lnTo>
                    <a:pt x="132211" y="359129"/>
                  </a:lnTo>
                  <a:lnTo>
                    <a:pt x="130660" y="359444"/>
                  </a:lnTo>
                  <a:close/>
                  <a:moveTo>
                    <a:pt x="123886" y="349985"/>
                  </a:moveTo>
                  <a:lnTo>
                    <a:pt x="124356" y="349993"/>
                  </a:lnTo>
                  <a:lnTo>
                    <a:pt x="124547" y="350331"/>
                  </a:lnTo>
                  <a:lnTo>
                    <a:pt x="123771" y="352219"/>
                  </a:lnTo>
                  <a:lnTo>
                    <a:pt x="121745" y="351582"/>
                  </a:lnTo>
                  <a:lnTo>
                    <a:pt x="121587" y="351086"/>
                  </a:lnTo>
                  <a:close/>
                  <a:moveTo>
                    <a:pt x="151070" y="313354"/>
                  </a:moveTo>
                  <a:lnTo>
                    <a:pt x="154798" y="314483"/>
                  </a:lnTo>
                  <a:lnTo>
                    <a:pt x="156537" y="315778"/>
                  </a:lnTo>
                  <a:lnTo>
                    <a:pt x="154684" y="316783"/>
                  </a:lnTo>
                  <a:lnTo>
                    <a:pt x="154099" y="317960"/>
                  </a:lnTo>
                  <a:lnTo>
                    <a:pt x="153651" y="318425"/>
                  </a:lnTo>
                  <a:lnTo>
                    <a:pt x="152426" y="318728"/>
                  </a:lnTo>
                  <a:lnTo>
                    <a:pt x="151214" y="318736"/>
                  </a:lnTo>
                  <a:lnTo>
                    <a:pt x="146592" y="316373"/>
                  </a:lnTo>
                  <a:lnTo>
                    <a:pt x="145528" y="316480"/>
                  </a:lnTo>
                  <a:lnTo>
                    <a:pt x="146584" y="315397"/>
                  </a:lnTo>
                  <a:lnTo>
                    <a:pt x="149455" y="314517"/>
                  </a:lnTo>
                  <a:close/>
                  <a:moveTo>
                    <a:pt x="81441" y="235014"/>
                  </a:moveTo>
                  <a:lnTo>
                    <a:pt x="84683" y="235075"/>
                  </a:lnTo>
                  <a:lnTo>
                    <a:pt x="87299" y="237958"/>
                  </a:lnTo>
                  <a:lnTo>
                    <a:pt x="88226" y="238517"/>
                  </a:lnTo>
                  <a:lnTo>
                    <a:pt x="90559" y="238429"/>
                  </a:lnTo>
                  <a:lnTo>
                    <a:pt x="89787" y="239675"/>
                  </a:lnTo>
                  <a:lnTo>
                    <a:pt x="87220" y="241064"/>
                  </a:lnTo>
                  <a:lnTo>
                    <a:pt x="85490" y="242434"/>
                  </a:lnTo>
                  <a:lnTo>
                    <a:pt x="83402" y="243581"/>
                  </a:lnTo>
                  <a:lnTo>
                    <a:pt x="82389" y="242265"/>
                  </a:lnTo>
                  <a:lnTo>
                    <a:pt x="81214" y="242315"/>
                  </a:lnTo>
                  <a:lnTo>
                    <a:pt x="79418" y="239791"/>
                  </a:lnTo>
                  <a:lnTo>
                    <a:pt x="79094" y="236001"/>
                  </a:lnTo>
                  <a:close/>
                  <a:moveTo>
                    <a:pt x="82259" y="205081"/>
                  </a:moveTo>
                  <a:lnTo>
                    <a:pt x="82904" y="205211"/>
                  </a:lnTo>
                  <a:lnTo>
                    <a:pt x="83310" y="205526"/>
                  </a:lnTo>
                  <a:lnTo>
                    <a:pt x="84177" y="209288"/>
                  </a:lnTo>
                  <a:lnTo>
                    <a:pt x="82976" y="210618"/>
                  </a:lnTo>
                  <a:lnTo>
                    <a:pt x="82539" y="211836"/>
                  </a:lnTo>
                  <a:lnTo>
                    <a:pt x="78068" y="215684"/>
                  </a:lnTo>
                  <a:lnTo>
                    <a:pt x="76259" y="214993"/>
                  </a:lnTo>
                  <a:lnTo>
                    <a:pt x="74718" y="215358"/>
                  </a:lnTo>
                  <a:lnTo>
                    <a:pt x="74285" y="215248"/>
                  </a:lnTo>
                  <a:lnTo>
                    <a:pt x="75165" y="213859"/>
                  </a:lnTo>
                  <a:lnTo>
                    <a:pt x="76200" y="210633"/>
                  </a:lnTo>
                  <a:lnTo>
                    <a:pt x="78055" y="209353"/>
                  </a:lnTo>
                  <a:lnTo>
                    <a:pt x="80403" y="206010"/>
                  </a:lnTo>
                  <a:close/>
                  <a:moveTo>
                    <a:pt x="39128" y="179485"/>
                  </a:moveTo>
                  <a:lnTo>
                    <a:pt x="42247" y="180254"/>
                  </a:lnTo>
                  <a:lnTo>
                    <a:pt x="44571" y="180238"/>
                  </a:lnTo>
                  <a:lnTo>
                    <a:pt x="46635" y="182483"/>
                  </a:lnTo>
                  <a:lnTo>
                    <a:pt x="47742" y="186017"/>
                  </a:lnTo>
                  <a:lnTo>
                    <a:pt x="50319" y="189504"/>
                  </a:lnTo>
                  <a:lnTo>
                    <a:pt x="53688" y="192534"/>
                  </a:lnTo>
                  <a:lnTo>
                    <a:pt x="53822" y="194385"/>
                  </a:lnTo>
                  <a:lnTo>
                    <a:pt x="52619" y="195378"/>
                  </a:lnTo>
                  <a:lnTo>
                    <a:pt x="50100" y="196612"/>
                  </a:lnTo>
                  <a:lnTo>
                    <a:pt x="50111" y="197930"/>
                  </a:lnTo>
                  <a:lnTo>
                    <a:pt x="51772" y="197265"/>
                  </a:lnTo>
                  <a:lnTo>
                    <a:pt x="53206" y="196958"/>
                  </a:lnTo>
                  <a:lnTo>
                    <a:pt x="56658" y="197253"/>
                  </a:lnTo>
                  <a:lnTo>
                    <a:pt x="57865" y="198593"/>
                  </a:lnTo>
                  <a:lnTo>
                    <a:pt x="58699" y="200597"/>
                  </a:lnTo>
                  <a:lnTo>
                    <a:pt x="59137" y="202242"/>
                  </a:lnTo>
                  <a:lnTo>
                    <a:pt x="58839" y="204029"/>
                  </a:lnTo>
                  <a:lnTo>
                    <a:pt x="57910" y="203463"/>
                  </a:lnTo>
                  <a:lnTo>
                    <a:pt x="56966" y="201864"/>
                  </a:lnTo>
                  <a:lnTo>
                    <a:pt x="55918" y="201127"/>
                  </a:lnTo>
                  <a:lnTo>
                    <a:pt x="54699" y="200729"/>
                  </a:lnTo>
                  <a:lnTo>
                    <a:pt x="55252" y="202924"/>
                  </a:lnTo>
                  <a:lnTo>
                    <a:pt x="55034" y="205857"/>
                  </a:lnTo>
                  <a:lnTo>
                    <a:pt x="55566" y="206133"/>
                  </a:lnTo>
                  <a:lnTo>
                    <a:pt x="57204" y="206184"/>
                  </a:lnTo>
                  <a:lnTo>
                    <a:pt x="56121" y="209183"/>
                  </a:lnTo>
                  <a:lnTo>
                    <a:pt x="53882" y="209996"/>
                  </a:lnTo>
                  <a:lnTo>
                    <a:pt x="51270" y="210300"/>
                  </a:lnTo>
                  <a:lnTo>
                    <a:pt x="50640" y="211361"/>
                  </a:lnTo>
                  <a:lnTo>
                    <a:pt x="50166" y="212727"/>
                  </a:lnTo>
                  <a:lnTo>
                    <a:pt x="48803" y="214762"/>
                  </a:lnTo>
                  <a:lnTo>
                    <a:pt x="47005" y="215909"/>
                  </a:lnTo>
                  <a:lnTo>
                    <a:pt x="44783" y="215678"/>
                  </a:lnTo>
                  <a:lnTo>
                    <a:pt x="42606" y="214772"/>
                  </a:lnTo>
                  <a:lnTo>
                    <a:pt x="40712" y="214586"/>
                  </a:lnTo>
                  <a:lnTo>
                    <a:pt x="39385" y="215125"/>
                  </a:lnTo>
                  <a:lnTo>
                    <a:pt x="38524" y="215625"/>
                  </a:lnTo>
                  <a:lnTo>
                    <a:pt x="37691" y="215534"/>
                  </a:lnTo>
                  <a:lnTo>
                    <a:pt x="35306" y="215727"/>
                  </a:lnTo>
                  <a:lnTo>
                    <a:pt x="33058" y="215686"/>
                  </a:lnTo>
                  <a:lnTo>
                    <a:pt x="32739" y="214892"/>
                  </a:lnTo>
                  <a:lnTo>
                    <a:pt x="33122" y="212503"/>
                  </a:lnTo>
                  <a:lnTo>
                    <a:pt x="32622" y="211855"/>
                  </a:lnTo>
                  <a:lnTo>
                    <a:pt x="30475" y="211524"/>
                  </a:lnTo>
                  <a:lnTo>
                    <a:pt x="29679" y="210954"/>
                  </a:lnTo>
                  <a:lnTo>
                    <a:pt x="28446" y="209302"/>
                  </a:lnTo>
                  <a:lnTo>
                    <a:pt x="28206" y="208528"/>
                  </a:lnTo>
                  <a:lnTo>
                    <a:pt x="28029" y="207461"/>
                  </a:lnTo>
                  <a:lnTo>
                    <a:pt x="26726" y="206083"/>
                  </a:lnTo>
                  <a:lnTo>
                    <a:pt x="25144" y="205096"/>
                  </a:lnTo>
                  <a:lnTo>
                    <a:pt x="24215" y="205048"/>
                  </a:lnTo>
                  <a:lnTo>
                    <a:pt x="22362" y="206660"/>
                  </a:lnTo>
                  <a:lnTo>
                    <a:pt x="20834" y="208292"/>
                  </a:lnTo>
                  <a:lnTo>
                    <a:pt x="21377" y="209111"/>
                  </a:lnTo>
                  <a:lnTo>
                    <a:pt x="21876" y="210189"/>
                  </a:lnTo>
                  <a:lnTo>
                    <a:pt x="21045" y="210961"/>
                  </a:lnTo>
                  <a:lnTo>
                    <a:pt x="18532" y="212728"/>
                  </a:lnTo>
                  <a:lnTo>
                    <a:pt x="18139" y="213414"/>
                  </a:lnTo>
                  <a:lnTo>
                    <a:pt x="17461" y="213785"/>
                  </a:lnTo>
                  <a:lnTo>
                    <a:pt x="16261" y="213296"/>
                  </a:lnTo>
                  <a:lnTo>
                    <a:pt x="13276" y="213409"/>
                  </a:lnTo>
                  <a:lnTo>
                    <a:pt x="11902" y="213097"/>
                  </a:lnTo>
                  <a:lnTo>
                    <a:pt x="10305" y="211796"/>
                  </a:lnTo>
                  <a:lnTo>
                    <a:pt x="6410" y="210925"/>
                  </a:lnTo>
                  <a:lnTo>
                    <a:pt x="5757" y="208841"/>
                  </a:lnTo>
                  <a:lnTo>
                    <a:pt x="5005" y="208451"/>
                  </a:lnTo>
                  <a:lnTo>
                    <a:pt x="587" y="204865"/>
                  </a:lnTo>
                  <a:lnTo>
                    <a:pt x="0" y="203667"/>
                  </a:lnTo>
                  <a:lnTo>
                    <a:pt x="572" y="202952"/>
                  </a:lnTo>
                  <a:lnTo>
                    <a:pt x="2222" y="201868"/>
                  </a:lnTo>
                  <a:lnTo>
                    <a:pt x="7762" y="200072"/>
                  </a:lnTo>
                  <a:lnTo>
                    <a:pt x="8633" y="199348"/>
                  </a:lnTo>
                  <a:lnTo>
                    <a:pt x="8812" y="198709"/>
                  </a:lnTo>
                  <a:lnTo>
                    <a:pt x="7186" y="197979"/>
                  </a:lnTo>
                  <a:lnTo>
                    <a:pt x="5720" y="197172"/>
                  </a:lnTo>
                  <a:lnTo>
                    <a:pt x="5220" y="196643"/>
                  </a:lnTo>
                  <a:lnTo>
                    <a:pt x="5179" y="196184"/>
                  </a:lnTo>
                  <a:lnTo>
                    <a:pt x="6011" y="195586"/>
                  </a:lnTo>
                  <a:lnTo>
                    <a:pt x="7685" y="195543"/>
                  </a:lnTo>
                  <a:lnTo>
                    <a:pt x="9007" y="195813"/>
                  </a:lnTo>
                  <a:lnTo>
                    <a:pt x="10057" y="195275"/>
                  </a:lnTo>
                  <a:lnTo>
                    <a:pt x="11904" y="194734"/>
                  </a:lnTo>
                  <a:lnTo>
                    <a:pt x="13144" y="194052"/>
                  </a:lnTo>
                  <a:lnTo>
                    <a:pt x="14210" y="192290"/>
                  </a:lnTo>
                  <a:lnTo>
                    <a:pt x="15336" y="190705"/>
                  </a:lnTo>
                  <a:lnTo>
                    <a:pt x="15452" y="189845"/>
                  </a:lnTo>
                  <a:lnTo>
                    <a:pt x="16438" y="186828"/>
                  </a:lnTo>
                  <a:lnTo>
                    <a:pt x="16980" y="186079"/>
                  </a:lnTo>
                  <a:lnTo>
                    <a:pt x="20479" y="184101"/>
                  </a:lnTo>
                  <a:lnTo>
                    <a:pt x="21365" y="185181"/>
                  </a:lnTo>
                  <a:lnTo>
                    <a:pt x="23089" y="185445"/>
                  </a:lnTo>
                  <a:lnTo>
                    <a:pt x="24634" y="184451"/>
                  </a:lnTo>
                  <a:lnTo>
                    <a:pt x="26483" y="181313"/>
                  </a:lnTo>
                  <a:lnTo>
                    <a:pt x="27769" y="181116"/>
                  </a:lnTo>
                  <a:lnTo>
                    <a:pt x="29187" y="181370"/>
                  </a:lnTo>
                  <a:lnTo>
                    <a:pt x="31974" y="180975"/>
                  </a:lnTo>
                  <a:lnTo>
                    <a:pt x="36922" y="179509"/>
                  </a:lnTo>
                  <a:close/>
                  <a:moveTo>
                    <a:pt x="63975" y="164784"/>
                  </a:moveTo>
                  <a:lnTo>
                    <a:pt x="65438" y="165590"/>
                  </a:lnTo>
                  <a:lnTo>
                    <a:pt x="65992" y="166340"/>
                  </a:lnTo>
                  <a:lnTo>
                    <a:pt x="67217" y="169218"/>
                  </a:lnTo>
                  <a:lnTo>
                    <a:pt x="67444" y="171683"/>
                  </a:lnTo>
                  <a:lnTo>
                    <a:pt x="67207" y="173091"/>
                  </a:lnTo>
                  <a:lnTo>
                    <a:pt x="64420" y="173114"/>
                  </a:lnTo>
                  <a:lnTo>
                    <a:pt x="63412" y="172847"/>
                  </a:lnTo>
                  <a:lnTo>
                    <a:pt x="62208" y="172095"/>
                  </a:lnTo>
                  <a:lnTo>
                    <a:pt x="60856" y="167842"/>
                  </a:lnTo>
                  <a:lnTo>
                    <a:pt x="61339" y="166336"/>
                  </a:lnTo>
                  <a:lnTo>
                    <a:pt x="61894" y="165598"/>
                  </a:lnTo>
                  <a:lnTo>
                    <a:pt x="62504" y="165025"/>
                  </a:lnTo>
                  <a:close/>
                  <a:moveTo>
                    <a:pt x="44576" y="158143"/>
                  </a:moveTo>
                  <a:lnTo>
                    <a:pt x="45374" y="162138"/>
                  </a:lnTo>
                  <a:lnTo>
                    <a:pt x="46152" y="164611"/>
                  </a:lnTo>
                  <a:lnTo>
                    <a:pt x="46203" y="165455"/>
                  </a:lnTo>
                  <a:lnTo>
                    <a:pt x="45472" y="166628"/>
                  </a:lnTo>
                  <a:lnTo>
                    <a:pt x="41828" y="168187"/>
                  </a:lnTo>
                  <a:lnTo>
                    <a:pt x="40681" y="168196"/>
                  </a:lnTo>
                  <a:lnTo>
                    <a:pt x="40633" y="167818"/>
                  </a:lnTo>
                  <a:lnTo>
                    <a:pt x="41456" y="166231"/>
                  </a:lnTo>
                  <a:lnTo>
                    <a:pt x="40747" y="164429"/>
                  </a:lnTo>
                  <a:lnTo>
                    <a:pt x="41093" y="163059"/>
                  </a:lnTo>
                  <a:lnTo>
                    <a:pt x="40754" y="162807"/>
                  </a:lnTo>
                  <a:lnTo>
                    <a:pt x="40043" y="163001"/>
                  </a:lnTo>
                  <a:lnTo>
                    <a:pt x="37433" y="165178"/>
                  </a:lnTo>
                  <a:lnTo>
                    <a:pt x="36561" y="165393"/>
                  </a:lnTo>
                  <a:lnTo>
                    <a:pt x="36466" y="164951"/>
                  </a:lnTo>
                  <a:lnTo>
                    <a:pt x="37112" y="163168"/>
                  </a:lnTo>
                  <a:lnTo>
                    <a:pt x="37192" y="161948"/>
                  </a:lnTo>
                  <a:lnTo>
                    <a:pt x="37581" y="161198"/>
                  </a:lnTo>
                  <a:lnTo>
                    <a:pt x="38290" y="160506"/>
                  </a:lnTo>
                  <a:lnTo>
                    <a:pt x="39135" y="159986"/>
                  </a:lnTo>
                  <a:lnTo>
                    <a:pt x="39817" y="159912"/>
                  </a:lnTo>
                  <a:lnTo>
                    <a:pt x="40543" y="160448"/>
                  </a:lnTo>
                  <a:lnTo>
                    <a:pt x="42657" y="158952"/>
                  </a:lnTo>
                  <a:close/>
                  <a:moveTo>
                    <a:pt x="52683" y="152228"/>
                  </a:moveTo>
                  <a:lnTo>
                    <a:pt x="53504" y="152283"/>
                  </a:lnTo>
                  <a:lnTo>
                    <a:pt x="51910" y="155806"/>
                  </a:lnTo>
                  <a:lnTo>
                    <a:pt x="48088" y="161752"/>
                  </a:lnTo>
                  <a:lnTo>
                    <a:pt x="47627" y="162086"/>
                  </a:lnTo>
                  <a:lnTo>
                    <a:pt x="46507" y="161994"/>
                  </a:lnTo>
                  <a:lnTo>
                    <a:pt x="46092" y="161493"/>
                  </a:lnTo>
                  <a:lnTo>
                    <a:pt x="45863" y="160723"/>
                  </a:lnTo>
                  <a:lnTo>
                    <a:pt x="45835" y="159309"/>
                  </a:lnTo>
                  <a:lnTo>
                    <a:pt x="46513" y="158297"/>
                  </a:lnTo>
                  <a:lnTo>
                    <a:pt x="49377" y="156767"/>
                  </a:lnTo>
                  <a:lnTo>
                    <a:pt x="48083" y="156224"/>
                  </a:lnTo>
                  <a:lnTo>
                    <a:pt x="48031" y="155842"/>
                  </a:lnTo>
                  <a:lnTo>
                    <a:pt x="48774" y="154570"/>
                  </a:lnTo>
                  <a:lnTo>
                    <a:pt x="51857" y="152588"/>
                  </a:lnTo>
                  <a:close/>
                  <a:moveTo>
                    <a:pt x="44369" y="135637"/>
                  </a:moveTo>
                  <a:lnTo>
                    <a:pt x="45155" y="135769"/>
                  </a:lnTo>
                  <a:lnTo>
                    <a:pt x="46772" y="136896"/>
                  </a:lnTo>
                  <a:lnTo>
                    <a:pt x="48605" y="139261"/>
                  </a:lnTo>
                  <a:lnTo>
                    <a:pt x="51052" y="139637"/>
                  </a:lnTo>
                  <a:lnTo>
                    <a:pt x="52715" y="140638"/>
                  </a:lnTo>
                  <a:lnTo>
                    <a:pt x="52338" y="145224"/>
                  </a:lnTo>
                  <a:lnTo>
                    <a:pt x="43531" y="146965"/>
                  </a:lnTo>
                  <a:lnTo>
                    <a:pt x="40496" y="146811"/>
                  </a:lnTo>
                  <a:lnTo>
                    <a:pt x="40222" y="145957"/>
                  </a:lnTo>
                  <a:lnTo>
                    <a:pt x="40826" y="145386"/>
                  </a:lnTo>
                  <a:lnTo>
                    <a:pt x="43339" y="144831"/>
                  </a:lnTo>
                  <a:lnTo>
                    <a:pt x="44356" y="140639"/>
                  </a:lnTo>
                  <a:lnTo>
                    <a:pt x="40557" y="138708"/>
                  </a:lnTo>
                  <a:lnTo>
                    <a:pt x="40358" y="138165"/>
                  </a:lnTo>
                  <a:lnTo>
                    <a:pt x="40655" y="137243"/>
                  </a:lnTo>
                  <a:lnTo>
                    <a:pt x="41095" y="136832"/>
                  </a:lnTo>
                  <a:lnTo>
                    <a:pt x="43400" y="135854"/>
                  </a:lnTo>
                  <a:close/>
                  <a:moveTo>
                    <a:pt x="36236" y="134929"/>
                  </a:moveTo>
                  <a:lnTo>
                    <a:pt x="36731" y="135137"/>
                  </a:lnTo>
                  <a:lnTo>
                    <a:pt x="35705" y="136368"/>
                  </a:lnTo>
                  <a:lnTo>
                    <a:pt x="33991" y="137675"/>
                  </a:lnTo>
                  <a:lnTo>
                    <a:pt x="32734" y="137850"/>
                  </a:lnTo>
                  <a:lnTo>
                    <a:pt x="32643" y="137405"/>
                  </a:lnTo>
                  <a:lnTo>
                    <a:pt x="34824" y="135279"/>
                  </a:lnTo>
                  <a:close/>
                  <a:moveTo>
                    <a:pt x="15243" y="124000"/>
                  </a:moveTo>
                  <a:lnTo>
                    <a:pt x="16322" y="124589"/>
                  </a:lnTo>
                  <a:lnTo>
                    <a:pt x="16493" y="125125"/>
                  </a:lnTo>
                  <a:lnTo>
                    <a:pt x="16096" y="125691"/>
                  </a:lnTo>
                  <a:lnTo>
                    <a:pt x="14152" y="126126"/>
                  </a:lnTo>
                  <a:lnTo>
                    <a:pt x="13431" y="125871"/>
                  </a:lnTo>
                  <a:lnTo>
                    <a:pt x="13308" y="125472"/>
                  </a:lnTo>
                  <a:lnTo>
                    <a:pt x="13751" y="124384"/>
                  </a:lnTo>
                  <a:close/>
                  <a:moveTo>
                    <a:pt x="40298" y="123001"/>
                  </a:moveTo>
                  <a:lnTo>
                    <a:pt x="41274" y="123606"/>
                  </a:lnTo>
                  <a:lnTo>
                    <a:pt x="41649" y="124298"/>
                  </a:lnTo>
                  <a:lnTo>
                    <a:pt x="41665" y="125065"/>
                  </a:lnTo>
                  <a:lnTo>
                    <a:pt x="41256" y="125714"/>
                  </a:lnTo>
                  <a:lnTo>
                    <a:pt x="40600" y="126121"/>
                  </a:lnTo>
                  <a:lnTo>
                    <a:pt x="39770" y="126043"/>
                  </a:lnTo>
                  <a:lnTo>
                    <a:pt x="38948" y="125518"/>
                  </a:lnTo>
                  <a:lnTo>
                    <a:pt x="37860" y="124032"/>
                  </a:lnTo>
                  <a:close/>
                  <a:moveTo>
                    <a:pt x="18761" y="112439"/>
                  </a:moveTo>
                  <a:lnTo>
                    <a:pt x="19407" y="112818"/>
                  </a:lnTo>
                  <a:lnTo>
                    <a:pt x="19840" y="120602"/>
                  </a:lnTo>
                  <a:lnTo>
                    <a:pt x="19790" y="120951"/>
                  </a:lnTo>
                  <a:lnTo>
                    <a:pt x="18857" y="121127"/>
                  </a:lnTo>
                  <a:lnTo>
                    <a:pt x="17632" y="120957"/>
                  </a:lnTo>
                  <a:lnTo>
                    <a:pt x="16879" y="120465"/>
                  </a:lnTo>
                  <a:lnTo>
                    <a:pt x="16117" y="118518"/>
                  </a:lnTo>
                  <a:lnTo>
                    <a:pt x="15975" y="117339"/>
                  </a:lnTo>
                  <a:lnTo>
                    <a:pt x="16314" y="115145"/>
                  </a:lnTo>
                  <a:lnTo>
                    <a:pt x="16236" y="112521"/>
                  </a:lnTo>
                  <a:close/>
                  <a:moveTo>
                    <a:pt x="40661" y="103259"/>
                  </a:moveTo>
                  <a:lnTo>
                    <a:pt x="41966" y="103921"/>
                  </a:lnTo>
                  <a:lnTo>
                    <a:pt x="43754" y="106023"/>
                  </a:lnTo>
                  <a:lnTo>
                    <a:pt x="44226" y="108582"/>
                  </a:lnTo>
                  <a:lnTo>
                    <a:pt x="44195" y="109988"/>
                  </a:lnTo>
                  <a:lnTo>
                    <a:pt x="43805" y="111640"/>
                  </a:lnTo>
                  <a:lnTo>
                    <a:pt x="44313" y="113393"/>
                  </a:lnTo>
                  <a:lnTo>
                    <a:pt x="44429" y="114645"/>
                  </a:lnTo>
                  <a:lnTo>
                    <a:pt x="45361" y="115043"/>
                  </a:lnTo>
                  <a:lnTo>
                    <a:pt x="45931" y="115619"/>
                  </a:lnTo>
                  <a:lnTo>
                    <a:pt x="50074" y="116264"/>
                  </a:lnTo>
                  <a:lnTo>
                    <a:pt x="53927" y="116083"/>
                  </a:lnTo>
                  <a:lnTo>
                    <a:pt x="54669" y="116598"/>
                  </a:lnTo>
                  <a:lnTo>
                    <a:pt x="54753" y="117416"/>
                  </a:lnTo>
                  <a:lnTo>
                    <a:pt x="54144" y="118318"/>
                  </a:lnTo>
                  <a:lnTo>
                    <a:pt x="51950" y="119963"/>
                  </a:lnTo>
                  <a:lnTo>
                    <a:pt x="49333" y="122618"/>
                  </a:lnTo>
                  <a:lnTo>
                    <a:pt x="48553" y="123171"/>
                  </a:lnTo>
                  <a:lnTo>
                    <a:pt x="47707" y="123194"/>
                  </a:lnTo>
                  <a:lnTo>
                    <a:pt x="47100" y="122956"/>
                  </a:lnTo>
                  <a:lnTo>
                    <a:pt x="46666" y="118230"/>
                  </a:lnTo>
                  <a:lnTo>
                    <a:pt x="43828" y="118835"/>
                  </a:lnTo>
                  <a:lnTo>
                    <a:pt x="41542" y="118766"/>
                  </a:lnTo>
                  <a:lnTo>
                    <a:pt x="40291" y="118190"/>
                  </a:lnTo>
                  <a:lnTo>
                    <a:pt x="39413" y="117080"/>
                  </a:lnTo>
                  <a:lnTo>
                    <a:pt x="37643" y="114224"/>
                  </a:lnTo>
                  <a:lnTo>
                    <a:pt x="32491" y="113100"/>
                  </a:lnTo>
                  <a:lnTo>
                    <a:pt x="31034" y="111525"/>
                  </a:lnTo>
                  <a:lnTo>
                    <a:pt x="30596" y="110573"/>
                  </a:lnTo>
                  <a:lnTo>
                    <a:pt x="30782" y="110047"/>
                  </a:lnTo>
                  <a:lnTo>
                    <a:pt x="31855" y="108875"/>
                  </a:lnTo>
                  <a:lnTo>
                    <a:pt x="33198" y="109293"/>
                  </a:lnTo>
                  <a:lnTo>
                    <a:pt x="34029" y="109037"/>
                  </a:lnTo>
                  <a:lnTo>
                    <a:pt x="34535" y="108513"/>
                  </a:lnTo>
                  <a:lnTo>
                    <a:pt x="34524" y="108083"/>
                  </a:lnTo>
                  <a:lnTo>
                    <a:pt x="33821" y="107061"/>
                  </a:lnTo>
                  <a:lnTo>
                    <a:pt x="33788" y="106743"/>
                  </a:lnTo>
                  <a:lnTo>
                    <a:pt x="39057" y="105449"/>
                  </a:lnTo>
                  <a:lnTo>
                    <a:pt x="39517" y="103424"/>
                  </a:lnTo>
                  <a:close/>
                  <a:moveTo>
                    <a:pt x="20769" y="102908"/>
                  </a:moveTo>
                  <a:lnTo>
                    <a:pt x="23263" y="104705"/>
                  </a:lnTo>
                  <a:lnTo>
                    <a:pt x="21276" y="107680"/>
                  </a:lnTo>
                  <a:lnTo>
                    <a:pt x="18226" y="107666"/>
                  </a:lnTo>
                  <a:lnTo>
                    <a:pt x="13932" y="105492"/>
                  </a:lnTo>
                  <a:lnTo>
                    <a:pt x="13913" y="105049"/>
                  </a:lnTo>
                  <a:lnTo>
                    <a:pt x="14271" y="104396"/>
                  </a:lnTo>
                  <a:lnTo>
                    <a:pt x="14915" y="103879"/>
                  </a:lnTo>
                  <a:lnTo>
                    <a:pt x="15584" y="103756"/>
                  </a:lnTo>
                  <a:lnTo>
                    <a:pt x="16649" y="104113"/>
                  </a:lnTo>
                  <a:lnTo>
                    <a:pt x="18131" y="103541"/>
                  </a:lnTo>
                  <a:lnTo>
                    <a:pt x="19318" y="103722"/>
                  </a:lnTo>
                  <a:close/>
                  <a:moveTo>
                    <a:pt x="42176" y="76583"/>
                  </a:moveTo>
                  <a:lnTo>
                    <a:pt x="42574" y="77039"/>
                  </a:lnTo>
                  <a:lnTo>
                    <a:pt x="43131" y="78770"/>
                  </a:lnTo>
                  <a:lnTo>
                    <a:pt x="43033" y="81087"/>
                  </a:lnTo>
                  <a:lnTo>
                    <a:pt x="40222" y="86702"/>
                  </a:lnTo>
                  <a:lnTo>
                    <a:pt x="39121" y="86840"/>
                  </a:lnTo>
                  <a:lnTo>
                    <a:pt x="38155" y="88241"/>
                  </a:lnTo>
                  <a:lnTo>
                    <a:pt x="35163" y="89786"/>
                  </a:lnTo>
                  <a:lnTo>
                    <a:pt x="37774" y="89818"/>
                  </a:lnTo>
                  <a:lnTo>
                    <a:pt x="38507" y="90332"/>
                  </a:lnTo>
                  <a:lnTo>
                    <a:pt x="38528" y="91440"/>
                  </a:lnTo>
                  <a:lnTo>
                    <a:pt x="38025" y="92084"/>
                  </a:lnTo>
                  <a:lnTo>
                    <a:pt x="34643" y="94646"/>
                  </a:lnTo>
                  <a:lnTo>
                    <a:pt x="32317" y="95617"/>
                  </a:lnTo>
                  <a:lnTo>
                    <a:pt x="29812" y="98289"/>
                  </a:lnTo>
                  <a:lnTo>
                    <a:pt x="28548" y="98322"/>
                  </a:lnTo>
                  <a:lnTo>
                    <a:pt x="27296" y="100020"/>
                  </a:lnTo>
                  <a:lnTo>
                    <a:pt x="26266" y="100766"/>
                  </a:lnTo>
                  <a:lnTo>
                    <a:pt x="25688" y="100768"/>
                  </a:lnTo>
                  <a:lnTo>
                    <a:pt x="25023" y="100392"/>
                  </a:lnTo>
                  <a:lnTo>
                    <a:pt x="23469" y="98730"/>
                  </a:lnTo>
                  <a:lnTo>
                    <a:pt x="26288" y="97094"/>
                  </a:lnTo>
                  <a:lnTo>
                    <a:pt x="26549" y="96174"/>
                  </a:lnTo>
                  <a:lnTo>
                    <a:pt x="28480" y="95217"/>
                  </a:lnTo>
                  <a:lnTo>
                    <a:pt x="28318" y="94918"/>
                  </a:lnTo>
                  <a:lnTo>
                    <a:pt x="25258" y="93571"/>
                  </a:lnTo>
                  <a:lnTo>
                    <a:pt x="24052" y="92664"/>
                  </a:lnTo>
                  <a:lnTo>
                    <a:pt x="24166" y="92190"/>
                  </a:lnTo>
                  <a:lnTo>
                    <a:pt x="25639" y="91147"/>
                  </a:lnTo>
                  <a:lnTo>
                    <a:pt x="24941" y="91009"/>
                  </a:lnTo>
                  <a:lnTo>
                    <a:pt x="24469" y="90446"/>
                  </a:lnTo>
                  <a:lnTo>
                    <a:pt x="23614" y="90232"/>
                  </a:lnTo>
                  <a:lnTo>
                    <a:pt x="23358" y="89707"/>
                  </a:lnTo>
                  <a:lnTo>
                    <a:pt x="23200" y="88328"/>
                  </a:lnTo>
                  <a:lnTo>
                    <a:pt x="23429" y="86917"/>
                  </a:lnTo>
                  <a:lnTo>
                    <a:pt x="24321" y="86294"/>
                  </a:lnTo>
                  <a:lnTo>
                    <a:pt x="24686" y="85626"/>
                  </a:lnTo>
                  <a:lnTo>
                    <a:pt x="25047" y="85421"/>
                  </a:lnTo>
                  <a:lnTo>
                    <a:pt x="26429" y="85776"/>
                  </a:lnTo>
                  <a:lnTo>
                    <a:pt x="27830" y="86905"/>
                  </a:lnTo>
                  <a:lnTo>
                    <a:pt x="29465" y="86470"/>
                  </a:lnTo>
                  <a:lnTo>
                    <a:pt x="31363" y="86685"/>
                  </a:lnTo>
                  <a:lnTo>
                    <a:pt x="31402" y="86423"/>
                  </a:lnTo>
                  <a:lnTo>
                    <a:pt x="30008" y="83645"/>
                  </a:lnTo>
                  <a:lnTo>
                    <a:pt x="30257" y="83077"/>
                  </a:lnTo>
                  <a:lnTo>
                    <a:pt x="31013" y="82429"/>
                  </a:lnTo>
                  <a:lnTo>
                    <a:pt x="35393" y="80446"/>
                  </a:lnTo>
                  <a:lnTo>
                    <a:pt x="40855" y="77107"/>
                  </a:lnTo>
                  <a:close/>
                  <a:moveTo>
                    <a:pt x="108033" y="71824"/>
                  </a:moveTo>
                  <a:lnTo>
                    <a:pt x="112589" y="72316"/>
                  </a:lnTo>
                  <a:lnTo>
                    <a:pt x="112741" y="72940"/>
                  </a:lnTo>
                  <a:lnTo>
                    <a:pt x="112503" y="73806"/>
                  </a:lnTo>
                  <a:lnTo>
                    <a:pt x="111337" y="76175"/>
                  </a:lnTo>
                  <a:lnTo>
                    <a:pt x="111527" y="78816"/>
                  </a:lnTo>
                  <a:lnTo>
                    <a:pt x="111267" y="79616"/>
                  </a:lnTo>
                  <a:lnTo>
                    <a:pt x="110738" y="80602"/>
                  </a:lnTo>
                  <a:lnTo>
                    <a:pt x="109067" y="82442"/>
                  </a:lnTo>
                  <a:lnTo>
                    <a:pt x="104675" y="85069"/>
                  </a:lnTo>
                  <a:lnTo>
                    <a:pt x="96626" y="91095"/>
                  </a:lnTo>
                  <a:lnTo>
                    <a:pt x="91871" y="94080"/>
                  </a:lnTo>
                  <a:lnTo>
                    <a:pt x="91217" y="95514"/>
                  </a:lnTo>
                  <a:lnTo>
                    <a:pt x="90864" y="97507"/>
                  </a:lnTo>
                  <a:lnTo>
                    <a:pt x="93711" y="97902"/>
                  </a:lnTo>
                  <a:lnTo>
                    <a:pt x="94810" y="98577"/>
                  </a:lnTo>
                  <a:lnTo>
                    <a:pt x="94128" y="99588"/>
                  </a:lnTo>
                  <a:lnTo>
                    <a:pt x="89917" y="103097"/>
                  </a:lnTo>
                  <a:lnTo>
                    <a:pt x="88676" y="106264"/>
                  </a:lnTo>
                  <a:lnTo>
                    <a:pt x="91905" y="106152"/>
                  </a:lnTo>
                  <a:lnTo>
                    <a:pt x="94566" y="105544"/>
                  </a:lnTo>
                  <a:lnTo>
                    <a:pt x="99872" y="103569"/>
                  </a:lnTo>
                  <a:lnTo>
                    <a:pt x="104856" y="102101"/>
                  </a:lnTo>
                  <a:lnTo>
                    <a:pt x="107250" y="102040"/>
                  </a:lnTo>
                  <a:lnTo>
                    <a:pt x="111907" y="103211"/>
                  </a:lnTo>
                  <a:lnTo>
                    <a:pt x="112966" y="103248"/>
                  </a:lnTo>
                  <a:lnTo>
                    <a:pt x="114942" y="102707"/>
                  </a:lnTo>
                  <a:lnTo>
                    <a:pt x="116940" y="102611"/>
                  </a:lnTo>
                  <a:lnTo>
                    <a:pt x="130476" y="102975"/>
                  </a:lnTo>
                  <a:lnTo>
                    <a:pt x="134237" y="102288"/>
                  </a:lnTo>
                  <a:lnTo>
                    <a:pt x="136725" y="103110"/>
                  </a:lnTo>
                  <a:lnTo>
                    <a:pt x="138807" y="105161"/>
                  </a:lnTo>
                  <a:lnTo>
                    <a:pt x="140785" y="108939"/>
                  </a:lnTo>
                  <a:lnTo>
                    <a:pt x="140725" y="109567"/>
                  </a:lnTo>
                  <a:lnTo>
                    <a:pt x="139530" y="111286"/>
                  </a:lnTo>
                  <a:lnTo>
                    <a:pt x="137324" y="113440"/>
                  </a:lnTo>
                  <a:lnTo>
                    <a:pt x="135426" y="116402"/>
                  </a:lnTo>
                  <a:lnTo>
                    <a:pt x="134869" y="117998"/>
                  </a:lnTo>
                  <a:lnTo>
                    <a:pt x="134496" y="119743"/>
                  </a:lnTo>
                  <a:lnTo>
                    <a:pt x="133895" y="121356"/>
                  </a:lnTo>
                  <a:lnTo>
                    <a:pt x="130120" y="128914"/>
                  </a:lnTo>
                  <a:lnTo>
                    <a:pt x="126440" y="133093"/>
                  </a:lnTo>
                  <a:lnTo>
                    <a:pt x="124797" y="136055"/>
                  </a:lnTo>
                  <a:lnTo>
                    <a:pt x="122769" y="138412"/>
                  </a:lnTo>
                  <a:lnTo>
                    <a:pt x="120818" y="139893"/>
                  </a:lnTo>
                  <a:lnTo>
                    <a:pt x="118734" y="140879"/>
                  </a:lnTo>
                  <a:lnTo>
                    <a:pt x="112714" y="141933"/>
                  </a:lnTo>
                  <a:lnTo>
                    <a:pt x="111030" y="142688"/>
                  </a:lnTo>
                  <a:lnTo>
                    <a:pt x="109021" y="143984"/>
                  </a:lnTo>
                  <a:lnTo>
                    <a:pt x="106909" y="144625"/>
                  </a:lnTo>
                  <a:lnTo>
                    <a:pt x="109385" y="144544"/>
                  </a:lnTo>
                  <a:lnTo>
                    <a:pt x="111839" y="143823"/>
                  </a:lnTo>
                  <a:lnTo>
                    <a:pt x="116302" y="143559"/>
                  </a:lnTo>
                  <a:lnTo>
                    <a:pt x="121442" y="146041"/>
                  </a:lnTo>
                  <a:lnTo>
                    <a:pt x="120965" y="148069"/>
                  </a:lnTo>
                  <a:lnTo>
                    <a:pt x="118902" y="149672"/>
                  </a:lnTo>
                  <a:lnTo>
                    <a:pt x="114210" y="149924"/>
                  </a:lnTo>
                  <a:lnTo>
                    <a:pt x="109822" y="153482"/>
                  </a:lnTo>
                  <a:lnTo>
                    <a:pt x="107842" y="154576"/>
                  </a:lnTo>
                  <a:lnTo>
                    <a:pt x="105753" y="155119"/>
                  </a:lnTo>
                  <a:lnTo>
                    <a:pt x="103140" y="154958"/>
                  </a:lnTo>
                  <a:lnTo>
                    <a:pt x="98392" y="154006"/>
                  </a:lnTo>
                  <a:lnTo>
                    <a:pt x="96315" y="153011"/>
                  </a:lnTo>
                  <a:lnTo>
                    <a:pt x="98193" y="154635"/>
                  </a:lnTo>
                  <a:lnTo>
                    <a:pt x="100323" y="155481"/>
                  </a:lnTo>
                  <a:lnTo>
                    <a:pt x="112685" y="157477"/>
                  </a:lnTo>
                  <a:lnTo>
                    <a:pt x="113429" y="157270"/>
                  </a:lnTo>
                  <a:lnTo>
                    <a:pt x="117370" y="155162"/>
                  </a:lnTo>
                  <a:lnTo>
                    <a:pt x="122622" y="155130"/>
                  </a:lnTo>
                  <a:lnTo>
                    <a:pt x="132623" y="159002"/>
                  </a:lnTo>
                  <a:lnTo>
                    <a:pt x="135502" y="161957"/>
                  </a:lnTo>
                  <a:lnTo>
                    <a:pt x="139628" y="166187"/>
                  </a:lnTo>
                  <a:lnTo>
                    <a:pt x="141872" y="167836"/>
                  </a:lnTo>
                  <a:lnTo>
                    <a:pt x="143495" y="169330"/>
                  </a:lnTo>
                  <a:lnTo>
                    <a:pt x="144495" y="171567"/>
                  </a:lnTo>
                  <a:lnTo>
                    <a:pt x="146432" y="178938"/>
                  </a:lnTo>
                  <a:lnTo>
                    <a:pt x="148641" y="186118"/>
                  </a:lnTo>
                  <a:lnTo>
                    <a:pt x="151536" y="193871"/>
                  </a:lnTo>
                  <a:lnTo>
                    <a:pt x="152847" y="196020"/>
                  </a:lnTo>
                  <a:lnTo>
                    <a:pt x="154573" y="197526"/>
                  </a:lnTo>
                  <a:lnTo>
                    <a:pt x="163309" y="200984"/>
                  </a:lnTo>
                  <a:lnTo>
                    <a:pt x="165253" y="202129"/>
                  </a:lnTo>
                  <a:lnTo>
                    <a:pt x="168643" y="205449"/>
                  </a:lnTo>
                  <a:lnTo>
                    <a:pt x="171909" y="208981"/>
                  </a:lnTo>
                  <a:lnTo>
                    <a:pt x="174950" y="211690"/>
                  </a:lnTo>
                  <a:lnTo>
                    <a:pt x="178233" y="213881"/>
                  </a:lnTo>
                  <a:lnTo>
                    <a:pt x="176643" y="215018"/>
                  </a:lnTo>
                  <a:lnTo>
                    <a:pt x="175553" y="216806"/>
                  </a:lnTo>
                  <a:lnTo>
                    <a:pt x="176368" y="219234"/>
                  </a:lnTo>
                  <a:lnTo>
                    <a:pt x="177705" y="221551"/>
                  </a:lnTo>
                  <a:lnTo>
                    <a:pt x="180332" y="225253"/>
                  </a:lnTo>
                  <a:lnTo>
                    <a:pt x="182649" y="229287"/>
                  </a:lnTo>
                  <a:lnTo>
                    <a:pt x="181795" y="228678"/>
                  </a:lnTo>
                  <a:lnTo>
                    <a:pt x="180897" y="228344"/>
                  </a:lnTo>
                  <a:lnTo>
                    <a:pt x="179669" y="228444"/>
                  </a:lnTo>
                  <a:lnTo>
                    <a:pt x="178469" y="228249"/>
                  </a:lnTo>
                  <a:lnTo>
                    <a:pt x="176255" y="226987"/>
                  </a:lnTo>
                  <a:lnTo>
                    <a:pt x="174128" y="225436"/>
                  </a:lnTo>
                  <a:lnTo>
                    <a:pt x="169897" y="226059"/>
                  </a:lnTo>
                  <a:lnTo>
                    <a:pt x="167546" y="225780"/>
                  </a:lnTo>
                  <a:lnTo>
                    <a:pt x="165507" y="225821"/>
                  </a:lnTo>
                  <a:lnTo>
                    <a:pt x="169373" y="226717"/>
                  </a:lnTo>
                  <a:lnTo>
                    <a:pt x="173605" y="226779"/>
                  </a:lnTo>
                  <a:lnTo>
                    <a:pt x="182937" y="233539"/>
                  </a:lnTo>
                  <a:lnTo>
                    <a:pt x="186091" y="237535"/>
                  </a:lnTo>
                  <a:lnTo>
                    <a:pt x="187966" y="242808"/>
                  </a:lnTo>
                  <a:lnTo>
                    <a:pt x="186689" y="245172"/>
                  </a:lnTo>
                  <a:lnTo>
                    <a:pt x="184703" y="246703"/>
                  </a:lnTo>
                  <a:lnTo>
                    <a:pt x="182850" y="248453"/>
                  </a:lnTo>
                  <a:lnTo>
                    <a:pt x="181114" y="250427"/>
                  </a:lnTo>
                  <a:lnTo>
                    <a:pt x="186286" y="253324"/>
                  </a:lnTo>
                  <a:lnTo>
                    <a:pt x="187400" y="253236"/>
                  </a:lnTo>
                  <a:lnTo>
                    <a:pt x="188544" y="252831"/>
                  </a:lnTo>
                  <a:lnTo>
                    <a:pt x="189644" y="251846"/>
                  </a:lnTo>
                  <a:lnTo>
                    <a:pt x="191498" y="249447"/>
                  </a:lnTo>
                  <a:lnTo>
                    <a:pt x="192455" y="248592"/>
                  </a:lnTo>
                  <a:lnTo>
                    <a:pt x="195677" y="248284"/>
                  </a:lnTo>
                  <a:lnTo>
                    <a:pt x="198380" y="248468"/>
                  </a:lnTo>
                  <a:lnTo>
                    <a:pt x="201073" y="248998"/>
                  </a:lnTo>
                  <a:lnTo>
                    <a:pt x="203440" y="248830"/>
                  </a:lnTo>
                  <a:lnTo>
                    <a:pt x="208210" y="249860"/>
                  </a:lnTo>
                  <a:lnTo>
                    <a:pt x="210661" y="250789"/>
                  </a:lnTo>
                  <a:lnTo>
                    <a:pt x="216733" y="254966"/>
                  </a:lnTo>
                  <a:lnTo>
                    <a:pt x="218046" y="257247"/>
                  </a:lnTo>
                  <a:lnTo>
                    <a:pt x="218648" y="260190"/>
                  </a:lnTo>
                  <a:lnTo>
                    <a:pt x="218720" y="263449"/>
                  </a:lnTo>
                  <a:lnTo>
                    <a:pt x="217698" y="266425"/>
                  </a:lnTo>
                  <a:lnTo>
                    <a:pt x="216526" y="269108"/>
                  </a:lnTo>
                  <a:lnTo>
                    <a:pt x="215802" y="272568"/>
                  </a:lnTo>
                  <a:lnTo>
                    <a:pt x="215289" y="273813"/>
                  </a:lnTo>
                  <a:lnTo>
                    <a:pt x="214571" y="274788"/>
                  </a:lnTo>
                  <a:lnTo>
                    <a:pt x="211354" y="277512"/>
                  </a:lnTo>
                  <a:lnTo>
                    <a:pt x="209216" y="278631"/>
                  </a:lnTo>
                  <a:lnTo>
                    <a:pt x="208313" y="278140"/>
                  </a:lnTo>
                  <a:lnTo>
                    <a:pt x="207351" y="278208"/>
                  </a:lnTo>
                  <a:lnTo>
                    <a:pt x="207249" y="278862"/>
                  </a:lnTo>
                  <a:lnTo>
                    <a:pt x="208266" y="280251"/>
                  </a:lnTo>
                  <a:lnTo>
                    <a:pt x="208279" y="281926"/>
                  </a:lnTo>
                  <a:lnTo>
                    <a:pt x="206379" y="283165"/>
                  </a:lnTo>
                  <a:lnTo>
                    <a:pt x="204448" y="283694"/>
                  </a:lnTo>
                  <a:lnTo>
                    <a:pt x="201218" y="283034"/>
                  </a:lnTo>
                  <a:lnTo>
                    <a:pt x="196733" y="285340"/>
                  </a:lnTo>
                  <a:lnTo>
                    <a:pt x="199957" y="286524"/>
                  </a:lnTo>
                  <a:lnTo>
                    <a:pt x="200607" y="287784"/>
                  </a:lnTo>
                  <a:lnTo>
                    <a:pt x="199799" y="289997"/>
                  </a:lnTo>
                  <a:lnTo>
                    <a:pt x="197771" y="290983"/>
                  </a:lnTo>
                  <a:lnTo>
                    <a:pt x="195523" y="291420"/>
                  </a:lnTo>
                  <a:lnTo>
                    <a:pt x="193222" y="291524"/>
                  </a:lnTo>
                  <a:lnTo>
                    <a:pt x="191315" y="292065"/>
                  </a:lnTo>
                  <a:lnTo>
                    <a:pt x="189486" y="293107"/>
                  </a:lnTo>
                  <a:lnTo>
                    <a:pt x="191781" y="292553"/>
                  </a:lnTo>
                  <a:lnTo>
                    <a:pt x="193373" y="293038"/>
                  </a:lnTo>
                  <a:lnTo>
                    <a:pt x="194372" y="294897"/>
                  </a:lnTo>
                  <a:lnTo>
                    <a:pt x="195280" y="295428"/>
                  </a:lnTo>
                  <a:lnTo>
                    <a:pt x="199765" y="296222"/>
                  </a:lnTo>
                  <a:lnTo>
                    <a:pt x="202542" y="296216"/>
                  </a:lnTo>
                  <a:lnTo>
                    <a:pt x="207897" y="295765"/>
                  </a:lnTo>
                  <a:lnTo>
                    <a:pt x="210469" y="295776"/>
                  </a:lnTo>
                  <a:lnTo>
                    <a:pt x="211386" y="296112"/>
                  </a:lnTo>
                  <a:lnTo>
                    <a:pt x="211402" y="297650"/>
                  </a:lnTo>
                  <a:lnTo>
                    <a:pt x="211002" y="301424"/>
                  </a:lnTo>
                  <a:lnTo>
                    <a:pt x="210294" y="302201"/>
                  </a:lnTo>
                  <a:lnTo>
                    <a:pt x="203194" y="305366"/>
                  </a:lnTo>
                  <a:lnTo>
                    <a:pt x="201738" y="307574"/>
                  </a:lnTo>
                  <a:lnTo>
                    <a:pt x="201330" y="308911"/>
                  </a:lnTo>
                  <a:lnTo>
                    <a:pt x="197178" y="308674"/>
                  </a:lnTo>
                  <a:lnTo>
                    <a:pt x="195232" y="310087"/>
                  </a:lnTo>
                  <a:lnTo>
                    <a:pt x="191870" y="311025"/>
                  </a:lnTo>
                  <a:lnTo>
                    <a:pt x="189270" y="312022"/>
                  </a:lnTo>
                  <a:lnTo>
                    <a:pt x="186726" y="313282"/>
                  </a:lnTo>
                  <a:lnTo>
                    <a:pt x="184634" y="313658"/>
                  </a:lnTo>
                  <a:lnTo>
                    <a:pt x="175590" y="312163"/>
                  </a:lnTo>
                  <a:lnTo>
                    <a:pt x="170131" y="312286"/>
                  </a:lnTo>
                  <a:lnTo>
                    <a:pt x="162736" y="313589"/>
                  </a:lnTo>
                  <a:lnTo>
                    <a:pt x="160831" y="313374"/>
                  </a:lnTo>
                  <a:lnTo>
                    <a:pt x="157974" y="312126"/>
                  </a:lnTo>
                  <a:lnTo>
                    <a:pt x="155049" y="311282"/>
                  </a:lnTo>
                  <a:lnTo>
                    <a:pt x="151683" y="310911"/>
                  </a:lnTo>
                  <a:lnTo>
                    <a:pt x="148778" y="309757"/>
                  </a:lnTo>
                  <a:lnTo>
                    <a:pt x="150591" y="311976"/>
                  </a:lnTo>
                  <a:lnTo>
                    <a:pt x="146561" y="314112"/>
                  </a:lnTo>
                  <a:lnTo>
                    <a:pt x="144701" y="314537"/>
                  </a:lnTo>
                  <a:lnTo>
                    <a:pt x="142776" y="314471"/>
                  </a:lnTo>
                  <a:lnTo>
                    <a:pt x="138837" y="315051"/>
                  </a:lnTo>
                  <a:lnTo>
                    <a:pt x="135188" y="314755"/>
                  </a:lnTo>
                  <a:lnTo>
                    <a:pt x="135736" y="316273"/>
                  </a:lnTo>
                  <a:lnTo>
                    <a:pt x="136714" y="317595"/>
                  </a:lnTo>
                  <a:lnTo>
                    <a:pt x="135921" y="318170"/>
                  </a:lnTo>
                  <a:lnTo>
                    <a:pt x="135082" y="318313"/>
                  </a:lnTo>
                  <a:lnTo>
                    <a:pt x="128132" y="317315"/>
                  </a:lnTo>
                  <a:lnTo>
                    <a:pt x="127148" y="317504"/>
                  </a:lnTo>
                  <a:lnTo>
                    <a:pt x="126290" y="318425"/>
                  </a:lnTo>
                  <a:lnTo>
                    <a:pt x="123763" y="317928"/>
                  </a:lnTo>
                  <a:lnTo>
                    <a:pt x="121307" y="316375"/>
                  </a:lnTo>
                  <a:lnTo>
                    <a:pt x="118695" y="315332"/>
                  </a:lnTo>
                  <a:lnTo>
                    <a:pt x="115954" y="314842"/>
                  </a:lnTo>
                  <a:lnTo>
                    <a:pt x="113776" y="315011"/>
                  </a:lnTo>
                  <a:lnTo>
                    <a:pt x="104816" y="317460"/>
                  </a:lnTo>
                  <a:lnTo>
                    <a:pt x="103028" y="319915"/>
                  </a:lnTo>
                  <a:lnTo>
                    <a:pt x="102135" y="323393"/>
                  </a:lnTo>
                  <a:lnTo>
                    <a:pt x="100841" y="326476"/>
                  </a:lnTo>
                  <a:lnTo>
                    <a:pt x="98731" y="328848"/>
                  </a:lnTo>
                  <a:lnTo>
                    <a:pt x="96220" y="329157"/>
                  </a:lnTo>
                  <a:lnTo>
                    <a:pt x="93858" y="327516"/>
                  </a:lnTo>
                  <a:lnTo>
                    <a:pt x="89364" y="325702"/>
                  </a:lnTo>
                  <a:lnTo>
                    <a:pt x="87835" y="324476"/>
                  </a:lnTo>
                  <a:lnTo>
                    <a:pt x="87348" y="324404"/>
                  </a:lnTo>
                  <a:lnTo>
                    <a:pt x="86846" y="324843"/>
                  </a:lnTo>
                  <a:lnTo>
                    <a:pt x="85084" y="325396"/>
                  </a:lnTo>
                  <a:lnTo>
                    <a:pt x="83259" y="325422"/>
                  </a:lnTo>
                  <a:lnTo>
                    <a:pt x="80447" y="325910"/>
                  </a:lnTo>
                  <a:lnTo>
                    <a:pt x="75553" y="327384"/>
                  </a:lnTo>
                  <a:lnTo>
                    <a:pt x="73577" y="328384"/>
                  </a:lnTo>
                  <a:lnTo>
                    <a:pt x="69328" y="331139"/>
                  </a:lnTo>
                  <a:lnTo>
                    <a:pt x="68463" y="331901"/>
                  </a:lnTo>
                  <a:lnTo>
                    <a:pt x="66918" y="334677"/>
                  </a:lnTo>
                  <a:lnTo>
                    <a:pt x="64558" y="335166"/>
                  </a:lnTo>
                  <a:lnTo>
                    <a:pt x="62399" y="333388"/>
                  </a:lnTo>
                  <a:lnTo>
                    <a:pt x="59942" y="332767"/>
                  </a:lnTo>
                  <a:lnTo>
                    <a:pt x="57350" y="333375"/>
                  </a:lnTo>
                  <a:lnTo>
                    <a:pt x="55782" y="334320"/>
                  </a:lnTo>
                  <a:lnTo>
                    <a:pt x="55051" y="333552"/>
                  </a:lnTo>
                  <a:lnTo>
                    <a:pt x="55027" y="331973"/>
                  </a:lnTo>
                  <a:lnTo>
                    <a:pt x="56920" y="330091"/>
                  </a:lnTo>
                  <a:lnTo>
                    <a:pt x="61970" y="328668"/>
                  </a:lnTo>
                  <a:lnTo>
                    <a:pt x="66403" y="324972"/>
                  </a:lnTo>
                  <a:lnTo>
                    <a:pt x="68578" y="322716"/>
                  </a:lnTo>
                  <a:lnTo>
                    <a:pt x="69440" y="321446"/>
                  </a:lnTo>
                  <a:lnTo>
                    <a:pt x="70503" y="320636"/>
                  </a:lnTo>
                  <a:lnTo>
                    <a:pt x="71892" y="320330"/>
                  </a:lnTo>
                  <a:lnTo>
                    <a:pt x="72606" y="318925"/>
                  </a:lnTo>
                  <a:lnTo>
                    <a:pt x="78761" y="313270"/>
                  </a:lnTo>
                  <a:lnTo>
                    <a:pt x="79269" y="311971"/>
                  </a:lnTo>
                  <a:lnTo>
                    <a:pt x="79575" y="309646"/>
                  </a:lnTo>
                  <a:lnTo>
                    <a:pt x="80084" y="307405"/>
                  </a:lnTo>
                  <a:lnTo>
                    <a:pt x="85095" y="305953"/>
                  </a:lnTo>
                  <a:lnTo>
                    <a:pt x="87489" y="301233"/>
                  </a:lnTo>
                  <a:lnTo>
                    <a:pt x="88148" y="300859"/>
                  </a:lnTo>
                  <a:lnTo>
                    <a:pt x="95137" y="299992"/>
                  </a:lnTo>
                  <a:lnTo>
                    <a:pt x="100320" y="300061"/>
                  </a:lnTo>
                  <a:lnTo>
                    <a:pt x="105468" y="300986"/>
                  </a:lnTo>
                  <a:lnTo>
                    <a:pt x="108107" y="301069"/>
                  </a:lnTo>
                  <a:lnTo>
                    <a:pt x="110756" y="300750"/>
                  </a:lnTo>
                  <a:lnTo>
                    <a:pt x="112833" y="299474"/>
                  </a:lnTo>
                  <a:lnTo>
                    <a:pt x="116388" y="294868"/>
                  </a:lnTo>
                  <a:lnTo>
                    <a:pt x="118388" y="292838"/>
                  </a:lnTo>
                  <a:lnTo>
                    <a:pt x="120679" y="291002"/>
                  </a:lnTo>
                  <a:lnTo>
                    <a:pt x="122822" y="288904"/>
                  </a:lnTo>
                  <a:lnTo>
                    <a:pt x="126299" y="285012"/>
                  </a:lnTo>
                  <a:lnTo>
                    <a:pt x="123948" y="286353"/>
                  </a:lnTo>
                  <a:lnTo>
                    <a:pt x="121111" y="288480"/>
                  </a:lnTo>
                  <a:lnTo>
                    <a:pt x="119465" y="289713"/>
                  </a:lnTo>
                  <a:lnTo>
                    <a:pt x="114238" y="290955"/>
                  </a:lnTo>
                  <a:lnTo>
                    <a:pt x="111986" y="292221"/>
                  </a:lnTo>
                  <a:lnTo>
                    <a:pt x="108040" y="295078"/>
                  </a:lnTo>
                  <a:lnTo>
                    <a:pt x="107281" y="295315"/>
                  </a:lnTo>
                  <a:lnTo>
                    <a:pt x="101328" y="294629"/>
                  </a:lnTo>
                  <a:lnTo>
                    <a:pt x="96898" y="290923"/>
                  </a:lnTo>
                  <a:lnTo>
                    <a:pt x="94066" y="289402"/>
                  </a:lnTo>
                  <a:lnTo>
                    <a:pt x="92896" y="289230"/>
                  </a:lnTo>
                  <a:lnTo>
                    <a:pt x="91687" y="289682"/>
                  </a:lnTo>
                  <a:lnTo>
                    <a:pt x="89101" y="290145"/>
                  </a:lnTo>
                  <a:lnTo>
                    <a:pt x="86464" y="290066"/>
                  </a:lnTo>
                  <a:lnTo>
                    <a:pt x="87810" y="288352"/>
                  </a:lnTo>
                  <a:lnTo>
                    <a:pt x="89638" y="287393"/>
                  </a:lnTo>
                  <a:lnTo>
                    <a:pt x="85544" y="286727"/>
                  </a:lnTo>
                  <a:lnTo>
                    <a:pt x="84406" y="286205"/>
                  </a:lnTo>
                  <a:lnTo>
                    <a:pt x="83109" y="285002"/>
                  </a:lnTo>
                  <a:lnTo>
                    <a:pt x="79898" y="284796"/>
                  </a:lnTo>
                  <a:lnTo>
                    <a:pt x="78366" y="285103"/>
                  </a:lnTo>
                  <a:lnTo>
                    <a:pt x="75782" y="286693"/>
                  </a:lnTo>
                  <a:lnTo>
                    <a:pt x="71699" y="288383"/>
                  </a:lnTo>
                  <a:lnTo>
                    <a:pt x="66780" y="286040"/>
                  </a:lnTo>
                  <a:lnTo>
                    <a:pt x="65816" y="285012"/>
                  </a:lnTo>
                  <a:lnTo>
                    <a:pt x="65841" y="283027"/>
                  </a:lnTo>
                  <a:lnTo>
                    <a:pt x="65103" y="281453"/>
                  </a:lnTo>
                  <a:lnTo>
                    <a:pt x="63738" y="280898"/>
                  </a:lnTo>
                  <a:lnTo>
                    <a:pt x="65484" y="278846"/>
                  </a:lnTo>
                  <a:lnTo>
                    <a:pt x="67591" y="277479"/>
                  </a:lnTo>
                  <a:lnTo>
                    <a:pt x="72225" y="276120"/>
                  </a:lnTo>
                  <a:lnTo>
                    <a:pt x="79243" y="272892"/>
                  </a:lnTo>
                  <a:lnTo>
                    <a:pt x="83178" y="271516"/>
                  </a:lnTo>
                  <a:lnTo>
                    <a:pt x="86836" y="269140"/>
                  </a:lnTo>
                  <a:lnTo>
                    <a:pt x="88348" y="267690"/>
                  </a:lnTo>
                  <a:lnTo>
                    <a:pt x="89445" y="265705"/>
                  </a:lnTo>
                  <a:lnTo>
                    <a:pt x="90533" y="263266"/>
                  </a:lnTo>
                  <a:lnTo>
                    <a:pt x="92086" y="261284"/>
                  </a:lnTo>
                  <a:lnTo>
                    <a:pt x="90579" y="260812"/>
                  </a:lnTo>
                  <a:lnTo>
                    <a:pt x="89906" y="259315"/>
                  </a:lnTo>
                  <a:lnTo>
                    <a:pt x="90087" y="257796"/>
                  </a:lnTo>
                  <a:lnTo>
                    <a:pt x="90783" y="256448"/>
                  </a:lnTo>
                  <a:lnTo>
                    <a:pt x="90159" y="254756"/>
                  </a:lnTo>
                  <a:lnTo>
                    <a:pt x="89052" y="252986"/>
                  </a:lnTo>
                  <a:lnTo>
                    <a:pt x="89113" y="251607"/>
                  </a:lnTo>
                  <a:lnTo>
                    <a:pt x="89407" y="250132"/>
                  </a:lnTo>
                  <a:lnTo>
                    <a:pt x="86584" y="250211"/>
                  </a:lnTo>
                  <a:lnTo>
                    <a:pt x="83769" y="250672"/>
                  </a:lnTo>
                  <a:lnTo>
                    <a:pt x="81218" y="251718"/>
                  </a:lnTo>
                  <a:lnTo>
                    <a:pt x="78744" y="253137"/>
                  </a:lnTo>
                  <a:lnTo>
                    <a:pt x="76547" y="253400"/>
                  </a:lnTo>
                  <a:lnTo>
                    <a:pt x="76582" y="252265"/>
                  </a:lnTo>
                  <a:lnTo>
                    <a:pt x="77536" y="250861"/>
                  </a:lnTo>
                  <a:lnTo>
                    <a:pt x="80027" y="248854"/>
                  </a:lnTo>
                  <a:lnTo>
                    <a:pt x="82694" y="247189"/>
                  </a:lnTo>
                  <a:lnTo>
                    <a:pt x="83642" y="245923"/>
                  </a:lnTo>
                  <a:lnTo>
                    <a:pt x="84388" y="244452"/>
                  </a:lnTo>
                  <a:lnTo>
                    <a:pt x="85712" y="243271"/>
                  </a:lnTo>
                  <a:lnTo>
                    <a:pt x="89195" y="241037"/>
                  </a:lnTo>
                  <a:lnTo>
                    <a:pt x="95868" y="238521"/>
                  </a:lnTo>
                  <a:lnTo>
                    <a:pt x="96864" y="238373"/>
                  </a:lnTo>
                  <a:lnTo>
                    <a:pt x="99480" y="238665"/>
                  </a:lnTo>
                  <a:lnTo>
                    <a:pt x="102052" y="238285"/>
                  </a:lnTo>
                  <a:lnTo>
                    <a:pt x="104305" y="237379"/>
                  </a:lnTo>
                  <a:lnTo>
                    <a:pt x="106550" y="237184"/>
                  </a:lnTo>
                  <a:lnTo>
                    <a:pt x="111605" y="239795"/>
                  </a:lnTo>
                  <a:lnTo>
                    <a:pt x="110102" y="235754"/>
                  </a:lnTo>
                  <a:lnTo>
                    <a:pt x="112331" y="234786"/>
                  </a:lnTo>
                  <a:lnTo>
                    <a:pt x="115564" y="238440"/>
                  </a:lnTo>
                  <a:lnTo>
                    <a:pt x="116766" y="238825"/>
                  </a:lnTo>
                  <a:lnTo>
                    <a:pt x="119301" y="238295"/>
                  </a:lnTo>
                  <a:lnTo>
                    <a:pt x="118323" y="237679"/>
                  </a:lnTo>
                  <a:lnTo>
                    <a:pt x="117181" y="237642"/>
                  </a:lnTo>
                  <a:lnTo>
                    <a:pt x="115685" y="237091"/>
                  </a:lnTo>
                  <a:lnTo>
                    <a:pt x="114427" y="235919"/>
                  </a:lnTo>
                  <a:lnTo>
                    <a:pt x="112334" y="232195"/>
                  </a:lnTo>
                  <a:lnTo>
                    <a:pt x="112447" y="229982"/>
                  </a:lnTo>
                  <a:lnTo>
                    <a:pt x="113857" y="227679"/>
                  </a:lnTo>
                  <a:lnTo>
                    <a:pt x="115419" y="225557"/>
                  </a:lnTo>
                  <a:lnTo>
                    <a:pt x="114109" y="225135"/>
                  </a:lnTo>
                  <a:lnTo>
                    <a:pt x="113060" y="224323"/>
                  </a:lnTo>
                  <a:lnTo>
                    <a:pt x="112759" y="222197"/>
                  </a:lnTo>
                  <a:lnTo>
                    <a:pt x="113171" y="220318"/>
                  </a:lnTo>
                  <a:lnTo>
                    <a:pt x="115977" y="218657"/>
                  </a:lnTo>
                  <a:lnTo>
                    <a:pt x="116805" y="216135"/>
                  </a:lnTo>
                  <a:lnTo>
                    <a:pt x="117157" y="213357"/>
                  </a:lnTo>
                  <a:lnTo>
                    <a:pt x="116691" y="212082"/>
                  </a:lnTo>
                  <a:lnTo>
                    <a:pt x="113906" y="212287"/>
                  </a:lnTo>
                  <a:lnTo>
                    <a:pt x="112552" y="212807"/>
                  </a:lnTo>
                  <a:lnTo>
                    <a:pt x="111337" y="213630"/>
                  </a:lnTo>
                  <a:lnTo>
                    <a:pt x="110093" y="213581"/>
                  </a:lnTo>
                  <a:lnTo>
                    <a:pt x="106653" y="210505"/>
                  </a:lnTo>
                  <a:lnTo>
                    <a:pt x="104691" y="208176"/>
                  </a:lnTo>
                  <a:lnTo>
                    <a:pt x="101172" y="203238"/>
                  </a:lnTo>
                  <a:lnTo>
                    <a:pt x="100671" y="200283"/>
                  </a:lnTo>
                  <a:lnTo>
                    <a:pt x="103490" y="193894"/>
                  </a:lnTo>
                  <a:lnTo>
                    <a:pt x="107838" y="189799"/>
                  </a:lnTo>
                  <a:lnTo>
                    <a:pt x="112961" y="188372"/>
                  </a:lnTo>
                  <a:lnTo>
                    <a:pt x="111970" y="188099"/>
                  </a:lnTo>
                  <a:lnTo>
                    <a:pt x="104164" y="188044"/>
                  </a:lnTo>
                  <a:lnTo>
                    <a:pt x="101591" y="188546"/>
                  </a:lnTo>
                  <a:lnTo>
                    <a:pt x="99206" y="190221"/>
                  </a:lnTo>
                  <a:lnTo>
                    <a:pt x="97859" y="190735"/>
                  </a:lnTo>
                  <a:lnTo>
                    <a:pt x="96443" y="190925"/>
                  </a:lnTo>
                  <a:lnTo>
                    <a:pt x="95153" y="191758"/>
                  </a:lnTo>
                  <a:lnTo>
                    <a:pt x="93893" y="192914"/>
                  </a:lnTo>
                  <a:lnTo>
                    <a:pt x="92581" y="193653"/>
                  </a:lnTo>
                  <a:lnTo>
                    <a:pt x="89975" y="193462"/>
                  </a:lnTo>
                  <a:lnTo>
                    <a:pt x="88711" y="193706"/>
                  </a:lnTo>
                  <a:lnTo>
                    <a:pt x="87802" y="193037"/>
                  </a:lnTo>
                  <a:lnTo>
                    <a:pt x="87042" y="191930"/>
                  </a:lnTo>
                  <a:lnTo>
                    <a:pt x="86047" y="191635"/>
                  </a:lnTo>
                  <a:lnTo>
                    <a:pt x="84936" y="191975"/>
                  </a:lnTo>
                  <a:lnTo>
                    <a:pt x="82587" y="193466"/>
                  </a:lnTo>
                  <a:lnTo>
                    <a:pt x="80208" y="194346"/>
                  </a:lnTo>
                  <a:lnTo>
                    <a:pt x="77332" y="193407"/>
                  </a:lnTo>
                  <a:lnTo>
                    <a:pt x="73562" y="191655"/>
                  </a:lnTo>
                  <a:lnTo>
                    <a:pt x="72817" y="192294"/>
                  </a:lnTo>
                  <a:lnTo>
                    <a:pt x="71982" y="193920"/>
                  </a:lnTo>
                  <a:lnTo>
                    <a:pt x="71501" y="196456"/>
                  </a:lnTo>
                  <a:lnTo>
                    <a:pt x="68824" y="194254"/>
                  </a:lnTo>
                  <a:lnTo>
                    <a:pt x="66542" y="191306"/>
                  </a:lnTo>
                  <a:lnTo>
                    <a:pt x="65777" y="189452"/>
                  </a:lnTo>
                  <a:lnTo>
                    <a:pt x="65720" y="187364"/>
                  </a:lnTo>
                  <a:lnTo>
                    <a:pt x="66958" y="186553"/>
                  </a:lnTo>
                  <a:lnTo>
                    <a:pt x="68303" y="187295"/>
                  </a:lnTo>
                  <a:lnTo>
                    <a:pt x="70308" y="182331"/>
                  </a:lnTo>
                  <a:lnTo>
                    <a:pt x="74297" y="175855"/>
                  </a:lnTo>
                  <a:lnTo>
                    <a:pt x="75704" y="173952"/>
                  </a:lnTo>
                  <a:lnTo>
                    <a:pt x="76686" y="171467"/>
                  </a:lnTo>
                  <a:lnTo>
                    <a:pt x="76518" y="169839"/>
                  </a:lnTo>
                  <a:lnTo>
                    <a:pt x="75638" y="168464"/>
                  </a:lnTo>
                  <a:lnTo>
                    <a:pt x="71930" y="165337"/>
                  </a:lnTo>
                  <a:lnTo>
                    <a:pt x="71979" y="162788"/>
                  </a:lnTo>
                  <a:lnTo>
                    <a:pt x="72376" y="159906"/>
                  </a:lnTo>
                  <a:lnTo>
                    <a:pt x="73384" y="158175"/>
                  </a:lnTo>
                  <a:lnTo>
                    <a:pt x="73810" y="157845"/>
                  </a:lnTo>
                  <a:lnTo>
                    <a:pt x="78735" y="157891"/>
                  </a:lnTo>
                  <a:lnTo>
                    <a:pt x="76814" y="156997"/>
                  </a:lnTo>
                  <a:lnTo>
                    <a:pt x="72986" y="154385"/>
                  </a:lnTo>
                  <a:lnTo>
                    <a:pt x="73054" y="153459"/>
                  </a:lnTo>
                  <a:lnTo>
                    <a:pt x="73955" y="151041"/>
                  </a:lnTo>
                  <a:lnTo>
                    <a:pt x="73537" y="151286"/>
                  </a:lnTo>
                  <a:lnTo>
                    <a:pt x="72717" y="152403"/>
                  </a:lnTo>
                  <a:lnTo>
                    <a:pt x="71150" y="155105"/>
                  </a:lnTo>
                  <a:lnTo>
                    <a:pt x="70194" y="155735"/>
                  </a:lnTo>
                  <a:lnTo>
                    <a:pt x="67486" y="156376"/>
                  </a:lnTo>
                  <a:lnTo>
                    <a:pt x="66996" y="157705"/>
                  </a:lnTo>
                  <a:lnTo>
                    <a:pt x="66561" y="158052"/>
                  </a:lnTo>
                  <a:lnTo>
                    <a:pt x="65208" y="158203"/>
                  </a:lnTo>
                  <a:lnTo>
                    <a:pt x="64793" y="159441"/>
                  </a:lnTo>
                  <a:lnTo>
                    <a:pt x="64492" y="159520"/>
                  </a:lnTo>
                  <a:lnTo>
                    <a:pt x="64107" y="158184"/>
                  </a:lnTo>
                  <a:lnTo>
                    <a:pt x="64070" y="155968"/>
                  </a:lnTo>
                  <a:lnTo>
                    <a:pt x="64609" y="153929"/>
                  </a:lnTo>
                  <a:lnTo>
                    <a:pt x="65638" y="152332"/>
                  </a:lnTo>
                  <a:lnTo>
                    <a:pt x="69606" y="148697"/>
                  </a:lnTo>
                  <a:lnTo>
                    <a:pt x="67674" y="149819"/>
                  </a:lnTo>
                  <a:lnTo>
                    <a:pt x="63295" y="153176"/>
                  </a:lnTo>
                  <a:lnTo>
                    <a:pt x="61060" y="155381"/>
                  </a:lnTo>
                  <a:lnTo>
                    <a:pt x="60463" y="156125"/>
                  </a:lnTo>
                  <a:lnTo>
                    <a:pt x="60276" y="156752"/>
                  </a:lnTo>
                  <a:lnTo>
                    <a:pt x="60289" y="157474"/>
                  </a:lnTo>
                  <a:lnTo>
                    <a:pt x="61293" y="161344"/>
                  </a:lnTo>
                  <a:lnTo>
                    <a:pt x="61007" y="163133"/>
                  </a:lnTo>
                  <a:lnTo>
                    <a:pt x="57234" y="174922"/>
                  </a:lnTo>
                  <a:lnTo>
                    <a:pt x="56520" y="176102"/>
                  </a:lnTo>
                  <a:lnTo>
                    <a:pt x="55863" y="176719"/>
                  </a:lnTo>
                  <a:lnTo>
                    <a:pt x="55242" y="176860"/>
                  </a:lnTo>
                  <a:lnTo>
                    <a:pt x="53382" y="176636"/>
                  </a:lnTo>
                  <a:lnTo>
                    <a:pt x="52552" y="175755"/>
                  </a:lnTo>
                  <a:lnTo>
                    <a:pt x="52559" y="174757"/>
                  </a:lnTo>
                  <a:lnTo>
                    <a:pt x="52908" y="173257"/>
                  </a:lnTo>
                  <a:lnTo>
                    <a:pt x="54472" y="167668"/>
                  </a:lnTo>
                  <a:lnTo>
                    <a:pt x="55151" y="166113"/>
                  </a:lnTo>
                  <a:lnTo>
                    <a:pt x="56160" y="164666"/>
                  </a:lnTo>
                  <a:lnTo>
                    <a:pt x="58383" y="162130"/>
                  </a:lnTo>
                  <a:lnTo>
                    <a:pt x="58329" y="161965"/>
                  </a:lnTo>
                  <a:lnTo>
                    <a:pt x="56849" y="162462"/>
                  </a:lnTo>
                  <a:lnTo>
                    <a:pt x="56218" y="162298"/>
                  </a:lnTo>
                  <a:lnTo>
                    <a:pt x="55766" y="161796"/>
                  </a:lnTo>
                  <a:lnTo>
                    <a:pt x="56059" y="154257"/>
                  </a:lnTo>
                  <a:lnTo>
                    <a:pt x="57260" y="151771"/>
                  </a:lnTo>
                  <a:lnTo>
                    <a:pt x="57709" y="148150"/>
                  </a:lnTo>
                  <a:lnTo>
                    <a:pt x="58750" y="145045"/>
                  </a:lnTo>
                  <a:lnTo>
                    <a:pt x="59955" y="142781"/>
                  </a:lnTo>
                  <a:lnTo>
                    <a:pt x="60872" y="139881"/>
                  </a:lnTo>
                  <a:lnTo>
                    <a:pt x="62254" y="138590"/>
                  </a:lnTo>
                  <a:lnTo>
                    <a:pt x="62624" y="136614"/>
                  </a:lnTo>
                  <a:lnTo>
                    <a:pt x="64174" y="134473"/>
                  </a:lnTo>
                  <a:lnTo>
                    <a:pt x="65373" y="132232"/>
                  </a:lnTo>
                  <a:lnTo>
                    <a:pt x="64727" y="132454"/>
                  </a:lnTo>
                  <a:lnTo>
                    <a:pt x="57063" y="138281"/>
                  </a:lnTo>
                  <a:lnTo>
                    <a:pt x="55111" y="139341"/>
                  </a:lnTo>
                  <a:lnTo>
                    <a:pt x="52450" y="139057"/>
                  </a:lnTo>
                  <a:lnTo>
                    <a:pt x="50415" y="138403"/>
                  </a:lnTo>
                  <a:lnTo>
                    <a:pt x="48825" y="137025"/>
                  </a:lnTo>
                  <a:lnTo>
                    <a:pt x="48114" y="134378"/>
                  </a:lnTo>
                  <a:lnTo>
                    <a:pt x="46150" y="134307"/>
                  </a:lnTo>
                  <a:lnTo>
                    <a:pt x="44470" y="133849"/>
                  </a:lnTo>
                  <a:lnTo>
                    <a:pt x="44491" y="133493"/>
                  </a:lnTo>
                  <a:lnTo>
                    <a:pt x="46658" y="132048"/>
                  </a:lnTo>
                  <a:lnTo>
                    <a:pt x="50132" y="131552"/>
                  </a:lnTo>
                  <a:lnTo>
                    <a:pt x="53383" y="129237"/>
                  </a:lnTo>
                  <a:lnTo>
                    <a:pt x="50490" y="127672"/>
                  </a:lnTo>
                  <a:lnTo>
                    <a:pt x="50735" y="127176"/>
                  </a:lnTo>
                  <a:lnTo>
                    <a:pt x="53258" y="125842"/>
                  </a:lnTo>
                  <a:lnTo>
                    <a:pt x="56463" y="121362"/>
                  </a:lnTo>
                  <a:lnTo>
                    <a:pt x="57113" y="117232"/>
                  </a:lnTo>
                  <a:lnTo>
                    <a:pt x="55580" y="115289"/>
                  </a:lnTo>
                  <a:lnTo>
                    <a:pt x="55025" y="114015"/>
                  </a:lnTo>
                  <a:lnTo>
                    <a:pt x="51961" y="112594"/>
                  </a:lnTo>
                  <a:lnTo>
                    <a:pt x="51449" y="110774"/>
                  </a:lnTo>
                  <a:lnTo>
                    <a:pt x="51805" y="109758"/>
                  </a:lnTo>
                  <a:lnTo>
                    <a:pt x="52805" y="108765"/>
                  </a:lnTo>
                  <a:lnTo>
                    <a:pt x="54312" y="107991"/>
                  </a:lnTo>
                  <a:lnTo>
                    <a:pt x="56674" y="107251"/>
                  </a:lnTo>
                  <a:lnTo>
                    <a:pt x="54530" y="106457"/>
                  </a:lnTo>
                  <a:lnTo>
                    <a:pt x="53730" y="105520"/>
                  </a:lnTo>
                  <a:lnTo>
                    <a:pt x="53123" y="104163"/>
                  </a:lnTo>
                  <a:lnTo>
                    <a:pt x="53067" y="103376"/>
                  </a:lnTo>
                  <a:lnTo>
                    <a:pt x="54177" y="99866"/>
                  </a:lnTo>
                  <a:lnTo>
                    <a:pt x="54823" y="98417"/>
                  </a:lnTo>
                  <a:lnTo>
                    <a:pt x="56087" y="96568"/>
                  </a:lnTo>
                  <a:lnTo>
                    <a:pt x="61821" y="96672"/>
                  </a:lnTo>
                  <a:lnTo>
                    <a:pt x="62480" y="95855"/>
                  </a:lnTo>
                  <a:lnTo>
                    <a:pt x="63130" y="95823"/>
                  </a:lnTo>
                  <a:lnTo>
                    <a:pt x="66062" y="96568"/>
                  </a:lnTo>
                  <a:lnTo>
                    <a:pt x="65627" y="95766"/>
                  </a:lnTo>
                  <a:lnTo>
                    <a:pt x="60832" y="91368"/>
                  </a:lnTo>
                  <a:lnTo>
                    <a:pt x="60402" y="90530"/>
                  </a:lnTo>
                  <a:lnTo>
                    <a:pt x="61769" y="88154"/>
                  </a:lnTo>
                  <a:lnTo>
                    <a:pt x="61868" y="87094"/>
                  </a:lnTo>
                  <a:lnTo>
                    <a:pt x="61668" y="85961"/>
                  </a:lnTo>
                  <a:lnTo>
                    <a:pt x="62058" y="85098"/>
                  </a:lnTo>
                  <a:lnTo>
                    <a:pt x="63578" y="84690"/>
                  </a:lnTo>
                  <a:lnTo>
                    <a:pt x="68213" y="84731"/>
                  </a:lnTo>
                  <a:lnTo>
                    <a:pt x="69355" y="84329"/>
                  </a:lnTo>
                  <a:lnTo>
                    <a:pt x="68835" y="83181"/>
                  </a:lnTo>
                  <a:lnTo>
                    <a:pt x="67756" y="81671"/>
                  </a:lnTo>
                  <a:lnTo>
                    <a:pt x="67545" y="80402"/>
                  </a:lnTo>
                  <a:lnTo>
                    <a:pt x="67798" y="79281"/>
                  </a:lnTo>
                  <a:lnTo>
                    <a:pt x="67857" y="77022"/>
                  </a:lnTo>
                  <a:lnTo>
                    <a:pt x="68068" y="76022"/>
                  </a:lnTo>
                  <a:lnTo>
                    <a:pt x="69168" y="74524"/>
                  </a:lnTo>
                  <a:lnTo>
                    <a:pt x="70077" y="74079"/>
                  </a:lnTo>
                  <a:lnTo>
                    <a:pt x="71204" y="73818"/>
                  </a:lnTo>
                  <a:lnTo>
                    <a:pt x="73748" y="74319"/>
                  </a:lnTo>
                  <a:lnTo>
                    <a:pt x="74718" y="74924"/>
                  </a:lnTo>
                  <a:lnTo>
                    <a:pt x="75831" y="76352"/>
                  </a:lnTo>
                  <a:lnTo>
                    <a:pt x="76654" y="76236"/>
                  </a:lnTo>
                  <a:lnTo>
                    <a:pt x="79822" y="74685"/>
                  </a:lnTo>
                  <a:lnTo>
                    <a:pt x="80774" y="74462"/>
                  </a:lnTo>
                  <a:lnTo>
                    <a:pt x="82070" y="76260"/>
                  </a:lnTo>
                  <a:lnTo>
                    <a:pt x="87480" y="74826"/>
                  </a:lnTo>
                  <a:lnTo>
                    <a:pt x="94757" y="74183"/>
                  </a:lnTo>
                  <a:lnTo>
                    <a:pt x="99129" y="73239"/>
                  </a:lnTo>
                  <a:lnTo>
                    <a:pt x="103733" y="72896"/>
                  </a:lnTo>
                  <a:close/>
                  <a:moveTo>
                    <a:pt x="115062" y="65804"/>
                  </a:moveTo>
                  <a:lnTo>
                    <a:pt x="116053" y="66067"/>
                  </a:lnTo>
                  <a:lnTo>
                    <a:pt x="115685" y="66975"/>
                  </a:lnTo>
                  <a:lnTo>
                    <a:pt x="115324" y="68857"/>
                  </a:lnTo>
                  <a:lnTo>
                    <a:pt x="115112" y="68953"/>
                  </a:lnTo>
                  <a:lnTo>
                    <a:pt x="114307" y="68360"/>
                  </a:lnTo>
                  <a:lnTo>
                    <a:pt x="112979" y="66228"/>
                  </a:lnTo>
                  <a:close/>
                  <a:moveTo>
                    <a:pt x="105859" y="63098"/>
                  </a:moveTo>
                  <a:lnTo>
                    <a:pt x="107750" y="63544"/>
                  </a:lnTo>
                  <a:lnTo>
                    <a:pt x="108729" y="65107"/>
                  </a:lnTo>
                  <a:lnTo>
                    <a:pt x="108851" y="66123"/>
                  </a:lnTo>
                  <a:lnTo>
                    <a:pt x="109083" y="66522"/>
                  </a:lnTo>
                  <a:lnTo>
                    <a:pt x="110257" y="66923"/>
                  </a:lnTo>
                  <a:lnTo>
                    <a:pt x="110115" y="67151"/>
                  </a:lnTo>
                  <a:lnTo>
                    <a:pt x="108851" y="67581"/>
                  </a:lnTo>
                  <a:lnTo>
                    <a:pt x="107598" y="67549"/>
                  </a:lnTo>
                  <a:lnTo>
                    <a:pt x="105643" y="65673"/>
                  </a:lnTo>
                  <a:lnTo>
                    <a:pt x="104900" y="64307"/>
                  </a:lnTo>
                  <a:lnTo>
                    <a:pt x="105034" y="63403"/>
                  </a:lnTo>
                  <a:close/>
                  <a:moveTo>
                    <a:pt x="108266" y="55774"/>
                  </a:moveTo>
                  <a:lnTo>
                    <a:pt x="110302" y="56022"/>
                  </a:lnTo>
                  <a:lnTo>
                    <a:pt x="112632" y="57239"/>
                  </a:lnTo>
                  <a:lnTo>
                    <a:pt x="113337" y="57988"/>
                  </a:lnTo>
                  <a:lnTo>
                    <a:pt x="113320" y="58586"/>
                  </a:lnTo>
                  <a:lnTo>
                    <a:pt x="112493" y="59499"/>
                  </a:lnTo>
                  <a:lnTo>
                    <a:pt x="112199" y="60302"/>
                  </a:lnTo>
                  <a:lnTo>
                    <a:pt x="113880" y="60283"/>
                  </a:lnTo>
                  <a:lnTo>
                    <a:pt x="116315" y="60967"/>
                  </a:lnTo>
                  <a:lnTo>
                    <a:pt x="117789" y="61053"/>
                  </a:lnTo>
                  <a:lnTo>
                    <a:pt x="119015" y="61901"/>
                  </a:lnTo>
                  <a:lnTo>
                    <a:pt x="118339" y="63490"/>
                  </a:lnTo>
                  <a:lnTo>
                    <a:pt x="117605" y="63935"/>
                  </a:lnTo>
                  <a:lnTo>
                    <a:pt x="116775" y="64023"/>
                  </a:lnTo>
                  <a:lnTo>
                    <a:pt x="113877" y="62436"/>
                  </a:lnTo>
                  <a:lnTo>
                    <a:pt x="110079" y="63095"/>
                  </a:lnTo>
                  <a:lnTo>
                    <a:pt x="109323" y="62894"/>
                  </a:lnTo>
                  <a:lnTo>
                    <a:pt x="108824" y="62455"/>
                  </a:lnTo>
                  <a:lnTo>
                    <a:pt x="108619" y="61911"/>
                  </a:lnTo>
                  <a:lnTo>
                    <a:pt x="108615" y="60801"/>
                  </a:lnTo>
                  <a:lnTo>
                    <a:pt x="108409" y="60473"/>
                  </a:lnTo>
                  <a:lnTo>
                    <a:pt x="107033" y="61523"/>
                  </a:lnTo>
                  <a:lnTo>
                    <a:pt x="106429" y="61399"/>
                  </a:lnTo>
                  <a:lnTo>
                    <a:pt x="106088" y="60896"/>
                  </a:lnTo>
                  <a:lnTo>
                    <a:pt x="105941" y="59853"/>
                  </a:lnTo>
                  <a:lnTo>
                    <a:pt x="106094" y="58347"/>
                  </a:lnTo>
                  <a:lnTo>
                    <a:pt x="106900" y="56202"/>
                  </a:lnTo>
                  <a:close/>
                  <a:moveTo>
                    <a:pt x="124031" y="50542"/>
                  </a:moveTo>
                  <a:lnTo>
                    <a:pt x="126876" y="50758"/>
                  </a:lnTo>
                  <a:lnTo>
                    <a:pt x="126370" y="51625"/>
                  </a:lnTo>
                  <a:lnTo>
                    <a:pt x="123738" y="52921"/>
                  </a:lnTo>
                  <a:lnTo>
                    <a:pt x="121235" y="52960"/>
                  </a:lnTo>
                  <a:lnTo>
                    <a:pt x="122528" y="51028"/>
                  </a:lnTo>
                  <a:close/>
                  <a:moveTo>
                    <a:pt x="114304" y="49137"/>
                  </a:moveTo>
                  <a:lnTo>
                    <a:pt x="116822" y="51059"/>
                  </a:lnTo>
                  <a:lnTo>
                    <a:pt x="117853" y="52612"/>
                  </a:lnTo>
                  <a:lnTo>
                    <a:pt x="119718" y="53071"/>
                  </a:lnTo>
                  <a:lnTo>
                    <a:pt x="119956" y="53309"/>
                  </a:lnTo>
                  <a:lnTo>
                    <a:pt x="119746" y="54377"/>
                  </a:lnTo>
                  <a:lnTo>
                    <a:pt x="117848" y="55188"/>
                  </a:lnTo>
                  <a:lnTo>
                    <a:pt x="117038" y="54517"/>
                  </a:lnTo>
                  <a:lnTo>
                    <a:pt x="116827" y="52416"/>
                  </a:lnTo>
                  <a:lnTo>
                    <a:pt x="114564" y="51516"/>
                  </a:lnTo>
                  <a:lnTo>
                    <a:pt x="113464" y="50957"/>
                  </a:lnTo>
                  <a:lnTo>
                    <a:pt x="112612" y="49897"/>
                  </a:lnTo>
                  <a:lnTo>
                    <a:pt x="112829" y="49572"/>
                  </a:lnTo>
                  <a:close/>
                  <a:moveTo>
                    <a:pt x="149939" y="7430"/>
                  </a:moveTo>
                  <a:lnTo>
                    <a:pt x="151315" y="7494"/>
                  </a:lnTo>
                  <a:lnTo>
                    <a:pt x="151174" y="9833"/>
                  </a:lnTo>
                  <a:lnTo>
                    <a:pt x="151632" y="12180"/>
                  </a:lnTo>
                  <a:lnTo>
                    <a:pt x="152774" y="11572"/>
                  </a:lnTo>
                  <a:lnTo>
                    <a:pt x="154498" y="13821"/>
                  </a:lnTo>
                  <a:lnTo>
                    <a:pt x="155378" y="13824"/>
                  </a:lnTo>
                  <a:lnTo>
                    <a:pt x="156827" y="12931"/>
                  </a:lnTo>
                  <a:lnTo>
                    <a:pt x="156535" y="15023"/>
                  </a:lnTo>
                  <a:lnTo>
                    <a:pt x="155031" y="20819"/>
                  </a:lnTo>
                  <a:lnTo>
                    <a:pt x="154608" y="21802"/>
                  </a:lnTo>
                  <a:lnTo>
                    <a:pt x="154322" y="23560"/>
                  </a:lnTo>
                  <a:lnTo>
                    <a:pt x="154023" y="23902"/>
                  </a:lnTo>
                  <a:lnTo>
                    <a:pt x="153579" y="27452"/>
                  </a:lnTo>
                  <a:lnTo>
                    <a:pt x="152562" y="28620"/>
                  </a:lnTo>
                  <a:lnTo>
                    <a:pt x="151712" y="31404"/>
                  </a:lnTo>
                  <a:lnTo>
                    <a:pt x="151365" y="31676"/>
                  </a:lnTo>
                  <a:lnTo>
                    <a:pt x="150118" y="30605"/>
                  </a:lnTo>
                  <a:lnTo>
                    <a:pt x="151364" y="26353"/>
                  </a:lnTo>
                  <a:lnTo>
                    <a:pt x="151880" y="23878"/>
                  </a:lnTo>
                  <a:lnTo>
                    <a:pt x="151554" y="22593"/>
                  </a:lnTo>
                  <a:lnTo>
                    <a:pt x="150849" y="21436"/>
                  </a:lnTo>
                  <a:lnTo>
                    <a:pt x="148942" y="21399"/>
                  </a:lnTo>
                  <a:lnTo>
                    <a:pt x="147340" y="21933"/>
                  </a:lnTo>
                  <a:lnTo>
                    <a:pt x="147000" y="21250"/>
                  </a:lnTo>
                  <a:lnTo>
                    <a:pt x="146950" y="20329"/>
                  </a:lnTo>
                  <a:lnTo>
                    <a:pt x="146564" y="20023"/>
                  </a:lnTo>
                  <a:lnTo>
                    <a:pt x="144431" y="20086"/>
                  </a:lnTo>
                  <a:lnTo>
                    <a:pt x="143805" y="19832"/>
                  </a:lnTo>
                  <a:lnTo>
                    <a:pt x="143392" y="18986"/>
                  </a:lnTo>
                  <a:lnTo>
                    <a:pt x="143310" y="18314"/>
                  </a:lnTo>
                  <a:lnTo>
                    <a:pt x="145236" y="17787"/>
                  </a:lnTo>
                  <a:lnTo>
                    <a:pt x="147054" y="17983"/>
                  </a:lnTo>
                  <a:lnTo>
                    <a:pt x="149703" y="16640"/>
                  </a:lnTo>
                  <a:lnTo>
                    <a:pt x="148046" y="12130"/>
                  </a:lnTo>
                  <a:lnTo>
                    <a:pt x="145851" y="11705"/>
                  </a:lnTo>
                  <a:lnTo>
                    <a:pt x="145344" y="11268"/>
                  </a:lnTo>
                  <a:lnTo>
                    <a:pt x="145767" y="10502"/>
                  </a:lnTo>
                  <a:lnTo>
                    <a:pt x="146972" y="10089"/>
                  </a:lnTo>
                  <a:lnTo>
                    <a:pt x="148828" y="7792"/>
                  </a:lnTo>
                  <a:close/>
                  <a:moveTo>
                    <a:pt x="155924" y="3736"/>
                  </a:moveTo>
                  <a:lnTo>
                    <a:pt x="157863" y="3860"/>
                  </a:lnTo>
                  <a:lnTo>
                    <a:pt x="158171" y="4878"/>
                  </a:lnTo>
                  <a:lnTo>
                    <a:pt x="157979" y="5814"/>
                  </a:lnTo>
                  <a:lnTo>
                    <a:pt x="156991" y="5897"/>
                  </a:lnTo>
                  <a:lnTo>
                    <a:pt x="156903" y="6184"/>
                  </a:lnTo>
                  <a:lnTo>
                    <a:pt x="157211" y="7986"/>
                  </a:lnTo>
                  <a:lnTo>
                    <a:pt x="157230" y="10077"/>
                  </a:lnTo>
                  <a:lnTo>
                    <a:pt x="157046" y="10621"/>
                  </a:lnTo>
                  <a:lnTo>
                    <a:pt x="156486" y="11006"/>
                  </a:lnTo>
                  <a:lnTo>
                    <a:pt x="154327" y="7619"/>
                  </a:lnTo>
                  <a:close/>
                  <a:moveTo>
                    <a:pt x="161891" y="0"/>
                  </a:moveTo>
                  <a:lnTo>
                    <a:pt x="162369" y="21"/>
                  </a:lnTo>
                  <a:lnTo>
                    <a:pt x="162978" y="667"/>
                  </a:lnTo>
                  <a:lnTo>
                    <a:pt x="162977" y="1051"/>
                  </a:lnTo>
                  <a:lnTo>
                    <a:pt x="161831" y="3871"/>
                  </a:lnTo>
                  <a:lnTo>
                    <a:pt x="161846" y="4948"/>
                  </a:lnTo>
                  <a:lnTo>
                    <a:pt x="159996" y="4845"/>
                  </a:lnTo>
                  <a:lnTo>
                    <a:pt x="159706" y="4502"/>
                  </a:lnTo>
                  <a:lnTo>
                    <a:pt x="159356" y="2885"/>
                  </a:lnTo>
                  <a:lnTo>
                    <a:pt x="159589" y="1162"/>
                  </a:lnTo>
                  <a:lnTo>
                    <a:pt x="159848" y="718"/>
                  </a:lnTo>
                  <a:lnTo>
                    <a:pt x="160388" y="535"/>
                  </a:lnTo>
                  <a:lnTo>
                    <a:pt x="160973" y="873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ee4p_GR_1_37764">
              <a:extLst>
                <a:ext uri="{FF2B5EF4-FFF2-40B4-BE49-F238E27FC236}">
                  <a16:creationId xmlns:a16="http://schemas.microsoft.com/office/drawing/2014/main" id="{EBA0152D-1300-4957-93F1-E1507360B836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12509465" y="11417514"/>
              <a:ext cx="1786993" cy="1648894"/>
            </a:xfrm>
            <a:custGeom>
              <a:avLst/>
              <a:gdLst>
                <a:gd name="connsiteX0" fmla="*/ 90448 w 189841"/>
                <a:gd name="connsiteY0" fmla="*/ 157073 h 175170"/>
                <a:gd name="connsiteX1" fmla="*/ 91198 w 189841"/>
                <a:gd name="connsiteY1" fmla="*/ 157609 h 175170"/>
                <a:gd name="connsiteX2" fmla="*/ 91697 w 189841"/>
                <a:gd name="connsiteY2" fmla="*/ 159571 h 175170"/>
                <a:gd name="connsiteX3" fmla="*/ 92998 w 189841"/>
                <a:gd name="connsiteY3" fmla="*/ 160093 h 175170"/>
                <a:gd name="connsiteX4" fmla="*/ 94510 w 189841"/>
                <a:gd name="connsiteY4" fmla="*/ 160276 h 175170"/>
                <a:gd name="connsiteX5" fmla="*/ 96559 w 189841"/>
                <a:gd name="connsiteY5" fmla="*/ 160244 h 175170"/>
                <a:gd name="connsiteX6" fmla="*/ 97026 w 189841"/>
                <a:gd name="connsiteY6" fmla="*/ 160094 h 175170"/>
                <a:gd name="connsiteX7" fmla="*/ 98330 w 189841"/>
                <a:gd name="connsiteY7" fmla="*/ 158624 h 175170"/>
                <a:gd name="connsiteX8" fmla="*/ 99937 w 189841"/>
                <a:gd name="connsiteY8" fmla="*/ 158590 h 175170"/>
                <a:gd name="connsiteX9" fmla="*/ 100638 w 189841"/>
                <a:gd name="connsiteY9" fmla="*/ 160043 h 175170"/>
                <a:gd name="connsiteX10" fmla="*/ 99008 w 189841"/>
                <a:gd name="connsiteY10" fmla="*/ 160712 h 175170"/>
                <a:gd name="connsiteX11" fmla="*/ 98676 w 189841"/>
                <a:gd name="connsiteY11" fmla="*/ 161090 h 175170"/>
                <a:gd name="connsiteX12" fmla="*/ 98989 w 189841"/>
                <a:gd name="connsiteY12" fmla="*/ 161396 h 175170"/>
                <a:gd name="connsiteX13" fmla="*/ 100213 w 189841"/>
                <a:gd name="connsiteY13" fmla="*/ 162002 h 175170"/>
                <a:gd name="connsiteX14" fmla="*/ 101913 w 189841"/>
                <a:gd name="connsiteY14" fmla="*/ 161773 h 175170"/>
                <a:gd name="connsiteX15" fmla="*/ 101964 w 189841"/>
                <a:gd name="connsiteY15" fmla="*/ 162916 h 175170"/>
                <a:gd name="connsiteX16" fmla="*/ 102344 w 189841"/>
                <a:gd name="connsiteY16" fmla="*/ 163849 h 175170"/>
                <a:gd name="connsiteX17" fmla="*/ 103184 w 189841"/>
                <a:gd name="connsiteY17" fmla="*/ 164406 h 175170"/>
                <a:gd name="connsiteX18" fmla="*/ 104093 w 189841"/>
                <a:gd name="connsiteY18" fmla="*/ 164515 h 175170"/>
                <a:gd name="connsiteX19" fmla="*/ 106104 w 189841"/>
                <a:gd name="connsiteY19" fmla="*/ 164350 h 175170"/>
                <a:gd name="connsiteX20" fmla="*/ 108086 w 189841"/>
                <a:gd name="connsiteY20" fmla="*/ 163980 h 175170"/>
                <a:gd name="connsiteX21" fmla="*/ 110129 w 189841"/>
                <a:gd name="connsiteY21" fmla="*/ 163248 h 175170"/>
                <a:gd name="connsiteX22" fmla="*/ 112215 w 189841"/>
                <a:gd name="connsiteY22" fmla="*/ 162874 h 175170"/>
                <a:gd name="connsiteX23" fmla="*/ 118447 w 189841"/>
                <a:gd name="connsiteY23" fmla="*/ 163249 h 175170"/>
                <a:gd name="connsiteX24" fmla="*/ 120684 w 189841"/>
                <a:gd name="connsiteY24" fmla="*/ 164830 h 175170"/>
                <a:gd name="connsiteX25" fmla="*/ 124940 w 189841"/>
                <a:gd name="connsiteY25" fmla="*/ 165020 h 175170"/>
                <a:gd name="connsiteX26" fmla="*/ 128896 w 189841"/>
                <a:gd name="connsiteY26" fmla="*/ 165852 h 175170"/>
                <a:gd name="connsiteX27" fmla="*/ 130974 w 189841"/>
                <a:gd name="connsiteY27" fmla="*/ 165303 h 175170"/>
                <a:gd name="connsiteX28" fmla="*/ 134523 w 189841"/>
                <a:gd name="connsiteY28" fmla="*/ 164788 h 175170"/>
                <a:gd name="connsiteX29" fmla="*/ 135092 w 189841"/>
                <a:gd name="connsiteY29" fmla="*/ 165346 h 175170"/>
                <a:gd name="connsiteX30" fmla="*/ 134633 w 189841"/>
                <a:gd name="connsiteY30" fmla="*/ 168918 h 175170"/>
                <a:gd name="connsiteX31" fmla="*/ 134852 w 189841"/>
                <a:gd name="connsiteY31" fmla="*/ 169953 h 175170"/>
                <a:gd name="connsiteX32" fmla="*/ 135875 w 189841"/>
                <a:gd name="connsiteY32" fmla="*/ 170451 h 175170"/>
                <a:gd name="connsiteX33" fmla="*/ 136888 w 189841"/>
                <a:gd name="connsiteY33" fmla="*/ 170208 h 175170"/>
                <a:gd name="connsiteX34" fmla="*/ 138132 w 189841"/>
                <a:gd name="connsiteY34" fmla="*/ 169039 h 175170"/>
                <a:gd name="connsiteX35" fmla="*/ 141109 w 189841"/>
                <a:gd name="connsiteY35" fmla="*/ 168134 h 175170"/>
                <a:gd name="connsiteX36" fmla="*/ 144202 w 189841"/>
                <a:gd name="connsiteY36" fmla="*/ 168139 h 175170"/>
                <a:gd name="connsiteX37" fmla="*/ 146804 w 189841"/>
                <a:gd name="connsiteY37" fmla="*/ 165763 h 175170"/>
                <a:gd name="connsiteX38" fmla="*/ 147571 w 189841"/>
                <a:gd name="connsiteY38" fmla="*/ 165628 h 175170"/>
                <a:gd name="connsiteX39" fmla="*/ 147093 w 189841"/>
                <a:gd name="connsiteY39" fmla="*/ 166796 h 175170"/>
                <a:gd name="connsiteX40" fmla="*/ 146700 w 189841"/>
                <a:gd name="connsiteY40" fmla="*/ 169539 h 175170"/>
                <a:gd name="connsiteX41" fmla="*/ 146141 w 189841"/>
                <a:gd name="connsiteY41" fmla="*/ 171145 h 175170"/>
                <a:gd name="connsiteX42" fmla="*/ 145892 w 189841"/>
                <a:gd name="connsiteY42" fmla="*/ 172410 h 175170"/>
                <a:gd name="connsiteX43" fmla="*/ 144152 w 189841"/>
                <a:gd name="connsiteY43" fmla="*/ 173063 h 175170"/>
                <a:gd name="connsiteX44" fmla="*/ 141522 w 189841"/>
                <a:gd name="connsiteY44" fmla="*/ 173175 h 175170"/>
                <a:gd name="connsiteX45" fmla="*/ 136724 w 189841"/>
                <a:gd name="connsiteY45" fmla="*/ 172898 h 175170"/>
                <a:gd name="connsiteX46" fmla="*/ 131887 w 189841"/>
                <a:gd name="connsiteY46" fmla="*/ 173346 h 175170"/>
                <a:gd name="connsiteX47" fmla="*/ 122928 w 189841"/>
                <a:gd name="connsiteY47" fmla="*/ 174549 h 175170"/>
                <a:gd name="connsiteX48" fmla="*/ 113951 w 189841"/>
                <a:gd name="connsiteY48" fmla="*/ 175170 h 175170"/>
                <a:gd name="connsiteX49" fmla="*/ 112744 w 189841"/>
                <a:gd name="connsiteY49" fmla="*/ 174765 h 175170"/>
                <a:gd name="connsiteX50" fmla="*/ 112716 w 189841"/>
                <a:gd name="connsiteY50" fmla="*/ 173170 h 175170"/>
                <a:gd name="connsiteX51" fmla="*/ 112522 w 189841"/>
                <a:gd name="connsiteY51" fmla="*/ 172069 h 175170"/>
                <a:gd name="connsiteX52" fmla="*/ 111941 w 189841"/>
                <a:gd name="connsiteY52" fmla="*/ 171298 h 175170"/>
                <a:gd name="connsiteX53" fmla="*/ 109166 w 189841"/>
                <a:gd name="connsiteY53" fmla="*/ 170640 h 175170"/>
                <a:gd name="connsiteX54" fmla="*/ 106519 w 189841"/>
                <a:gd name="connsiteY54" fmla="*/ 169511 h 175170"/>
                <a:gd name="connsiteX55" fmla="*/ 96140 w 189841"/>
                <a:gd name="connsiteY55" fmla="*/ 167967 h 175170"/>
                <a:gd name="connsiteX56" fmla="*/ 93692 w 189841"/>
                <a:gd name="connsiteY56" fmla="*/ 167361 h 175170"/>
                <a:gd name="connsiteX57" fmla="*/ 89718 w 189841"/>
                <a:gd name="connsiteY57" fmla="*/ 167677 h 175170"/>
                <a:gd name="connsiteX58" fmla="*/ 88263 w 189841"/>
                <a:gd name="connsiteY58" fmla="*/ 167635 h 175170"/>
                <a:gd name="connsiteX59" fmla="*/ 87261 w 189841"/>
                <a:gd name="connsiteY59" fmla="*/ 167081 h 175170"/>
                <a:gd name="connsiteX60" fmla="*/ 86572 w 189841"/>
                <a:gd name="connsiteY60" fmla="*/ 166129 h 175170"/>
                <a:gd name="connsiteX61" fmla="*/ 86261 w 189841"/>
                <a:gd name="connsiteY61" fmla="*/ 163106 h 175170"/>
                <a:gd name="connsiteX62" fmla="*/ 86753 w 189841"/>
                <a:gd name="connsiteY62" fmla="*/ 160110 h 175170"/>
                <a:gd name="connsiteX63" fmla="*/ 87613 w 189841"/>
                <a:gd name="connsiteY63" fmla="*/ 159318 h 175170"/>
                <a:gd name="connsiteX64" fmla="*/ 88008 w 189841"/>
                <a:gd name="connsiteY64" fmla="*/ 160221 h 175170"/>
                <a:gd name="connsiteX65" fmla="*/ 89027 w 189841"/>
                <a:gd name="connsiteY65" fmla="*/ 160634 h 175170"/>
                <a:gd name="connsiteX66" fmla="*/ 89973 w 189841"/>
                <a:gd name="connsiteY66" fmla="*/ 159724 h 175170"/>
                <a:gd name="connsiteX67" fmla="*/ 89964 w 189841"/>
                <a:gd name="connsiteY67" fmla="*/ 158350 h 175170"/>
                <a:gd name="connsiteX68" fmla="*/ 167536 w 189841"/>
                <a:gd name="connsiteY68" fmla="*/ 152919 h 175170"/>
                <a:gd name="connsiteX69" fmla="*/ 167180 w 189841"/>
                <a:gd name="connsiteY69" fmla="*/ 155589 h 175170"/>
                <a:gd name="connsiteX70" fmla="*/ 166078 w 189841"/>
                <a:gd name="connsiteY70" fmla="*/ 157728 h 175170"/>
                <a:gd name="connsiteX71" fmla="*/ 167221 w 189841"/>
                <a:gd name="connsiteY71" fmla="*/ 159502 h 175170"/>
                <a:gd name="connsiteX72" fmla="*/ 167767 w 189841"/>
                <a:gd name="connsiteY72" fmla="*/ 161523 h 175170"/>
                <a:gd name="connsiteX73" fmla="*/ 166495 w 189841"/>
                <a:gd name="connsiteY73" fmla="*/ 161857 h 175170"/>
                <a:gd name="connsiteX74" fmla="*/ 165651 w 189841"/>
                <a:gd name="connsiteY74" fmla="*/ 163269 h 175170"/>
                <a:gd name="connsiteX75" fmla="*/ 164794 w 189841"/>
                <a:gd name="connsiteY75" fmla="*/ 162079 h 175170"/>
                <a:gd name="connsiteX76" fmla="*/ 165163 w 189841"/>
                <a:gd name="connsiteY76" fmla="*/ 160705 h 175170"/>
                <a:gd name="connsiteX77" fmla="*/ 164165 w 189841"/>
                <a:gd name="connsiteY77" fmla="*/ 158526 h 175170"/>
                <a:gd name="connsiteX78" fmla="*/ 166053 w 189841"/>
                <a:gd name="connsiteY78" fmla="*/ 155292 h 175170"/>
                <a:gd name="connsiteX79" fmla="*/ 166096 w 189841"/>
                <a:gd name="connsiteY79" fmla="*/ 153720 h 175170"/>
                <a:gd name="connsiteX80" fmla="*/ 73059 w 189841"/>
                <a:gd name="connsiteY80" fmla="*/ 138689 h 175170"/>
                <a:gd name="connsiteX81" fmla="*/ 74106 w 189841"/>
                <a:gd name="connsiteY81" fmla="*/ 140102 h 175170"/>
                <a:gd name="connsiteX82" fmla="*/ 76300 w 189841"/>
                <a:gd name="connsiteY82" fmla="*/ 142164 h 175170"/>
                <a:gd name="connsiteX83" fmla="*/ 75343 w 189841"/>
                <a:gd name="connsiteY83" fmla="*/ 143599 h 175170"/>
                <a:gd name="connsiteX84" fmla="*/ 75086 w 189841"/>
                <a:gd name="connsiteY84" fmla="*/ 144696 h 175170"/>
                <a:gd name="connsiteX85" fmla="*/ 72815 w 189841"/>
                <a:gd name="connsiteY85" fmla="*/ 143942 h 175170"/>
                <a:gd name="connsiteX86" fmla="*/ 72182 w 189841"/>
                <a:gd name="connsiteY86" fmla="*/ 142810 h 175170"/>
                <a:gd name="connsiteX87" fmla="*/ 72068 w 189841"/>
                <a:gd name="connsiteY87" fmla="*/ 140299 h 175170"/>
                <a:gd name="connsiteX88" fmla="*/ 72664 w 189841"/>
                <a:gd name="connsiteY88" fmla="*/ 139074 h 175170"/>
                <a:gd name="connsiteX89" fmla="*/ 189841 w 189841"/>
                <a:gd name="connsiteY89" fmla="*/ 137431 h 175170"/>
                <a:gd name="connsiteX90" fmla="*/ 189801 w 189841"/>
                <a:gd name="connsiteY90" fmla="*/ 139035 h 175170"/>
                <a:gd name="connsiteX91" fmla="*/ 187899 w 189841"/>
                <a:gd name="connsiteY91" fmla="*/ 143092 h 175170"/>
                <a:gd name="connsiteX92" fmla="*/ 186211 w 189841"/>
                <a:gd name="connsiteY92" fmla="*/ 145117 h 175170"/>
                <a:gd name="connsiteX93" fmla="*/ 186655 w 189841"/>
                <a:gd name="connsiteY93" fmla="*/ 146743 h 175170"/>
                <a:gd name="connsiteX94" fmla="*/ 183952 w 189841"/>
                <a:gd name="connsiteY94" fmla="*/ 147193 h 175170"/>
                <a:gd name="connsiteX95" fmla="*/ 181238 w 189841"/>
                <a:gd name="connsiteY95" fmla="*/ 150175 h 175170"/>
                <a:gd name="connsiteX96" fmla="*/ 179642 w 189841"/>
                <a:gd name="connsiteY96" fmla="*/ 150705 h 175170"/>
                <a:gd name="connsiteX97" fmla="*/ 179091 w 189841"/>
                <a:gd name="connsiteY97" fmla="*/ 150636 h 175170"/>
                <a:gd name="connsiteX98" fmla="*/ 178424 w 189841"/>
                <a:gd name="connsiteY98" fmla="*/ 149468 h 175170"/>
                <a:gd name="connsiteX99" fmla="*/ 179348 w 189841"/>
                <a:gd name="connsiteY99" fmla="*/ 146645 h 175170"/>
                <a:gd name="connsiteX100" fmla="*/ 178493 w 189841"/>
                <a:gd name="connsiteY100" fmla="*/ 144829 h 175170"/>
                <a:gd name="connsiteX101" fmla="*/ 178441 w 189841"/>
                <a:gd name="connsiteY101" fmla="*/ 144059 h 175170"/>
                <a:gd name="connsiteX102" fmla="*/ 179726 w 189841"/>
                <a:gd name="connsiteY102" fmla="*/ 142993 h 175170"/>
                <a:gd name="connsiteX103" fmla="*/ 180629 w 189841"/>
                <a:gd name="connsiteY103" fmla="*/ 141396 h 175170"/>
                <a:gd name="connsiteX104" fmla="*/ 182822 w 189841"/>
                <a:gd name="connsiteY104" fmla="*/ 139667 h 175170"/>
                <a:gd name="connsiteX105" fmla="*/ 188506 w 189841"/>
                <a:gd name="connsiteY105" fmla="*/ 137619 h 175170"/>
                <a:gd name="connsiteX106" fmla="*/ 127421 w 189841"/>
                <a:gd name="connsiteY106" fmla="*/ 136416 h 175170"/>
                <a:gd name="connsiteX107" fmla="*/ 128713 w 189841"/>
                <a:gd name="connsiteY107" fmla="*/ 137395 h 175170"/>
                <a:gd name="connsiteX108" fmla="*/ 129045 w 189841"/>
                <a:gd name="connsiteY108" fmla="*/ 138469 h 175170"/>
                <a:gd name="connsiteX109" fmla="*/ 128017 w 189841"/>
                <a:gd name="connsiteY109" fmla="*/ 139799 h 175170"/>
                <a:gd name="connsiteX110" fmla="*/ 126570 w 189841"/>
                <a:gd name="connsiteY110" fmla="*/ 139322 h 175170"/>
                <a:gd name="connsiteX111" fmla="*/ 127160 w 189841"/>
                <a:gd name="connsiteY111" fmla="*/ 138816 h 175170"/>
                <a:gd name="connsiteX112" fmla="*/ 127508 w 189841"/>
                <a:gd name="connsiteY112" fmla="*/ 138159 h 175170"/>
                <a:gd name="connsiteX113" fmla="*/ 127546 w 189841"/>
                <a:gd name="connsiteY113" fmla="*/ 137212 h 175170"/>
                <a:gd name="connsiteX114" fmla="*/ 127154 w 189841"/>
                <a:gd name="connsiteY114" fmla="*/ 136629 h 175170"/>
                <a:gd name="connsiteX115" fmla="*/ 148672 w 189841"/>
                <a:gd name="connsiteY115" fmla="*/ 132238 h 175170"/>
                <a:gd name="connsiteX116" fmla="*/ 149805 w 189841"/>
                <a:gd name="connsiteY116" fmla="*/ 132602 h 175170"/>
                <a:gd name="connsiteX117" fmla="*/ 150676 w 189841"/>
                <a:gd name="connsiteY117" fmla="*/ 133587 h 175170"/>
                <a:gd name="connsiteX118" fmla="*/ 148929 w 189841"/>
                <a:gd name="connsiteY118" fmla="*/ 134192 h 175170"/>
                <a:gd name="connsiteX119" fmla="*/ 147819 w 189841"/>
                <a:gd name="connsiteY119" fmla="*/ 135462 h 175170"/>
                <a:gd name="connsiteX120" fmla="*/ 146461 w 189841"/>
                <a:gd name="connsiteY120" fmla="*/ 134562 h 175170"/>
                <a:gd name="connsiteX121" fmla="*/ 146456 w 189841"/>
                <a:gd name="connsiteY121" fmla="*/ 133333 h 175170"/>
                <a:gd name="connsiteX122" fmla="*/ 147942 w 189841"/>
                <a:gd name="connsiteY122" fmla="*/ 133709 h 175170"/>
                <a:gd name="connsiteX123" fmla="*/ 148985 w 189841"/>
                <a:gd name="connsiteY123" fmla="*/ 133017 h 175170"/>
                <a:gd name="connsiteX124" fmla="*/ 181674 w 189841"/>
                <a:gd name="connsiteY124" fmla="*/ 132173 h 175170"/>
                <a:gd name="connsiteX125" fmla="*/ 181836 w 189841"/>
                <a:gd name="connsiteY125" fmla="*/ 132646 h 175170"/>
                <a:gd name="connsiteX126" fmla="*/ 181818 w 189841"/>
                <a:gd name="connsiteY126" fmla="*/ 133656 h 175170"/>
                <a:gd name="connsiteX127" fmla="*/ 181622 w 189841"/>
                <a:gd name="connsiteY127" fmla="*/ 134385 h 175170"/>
                <a:gd name="connsiteX128" fmla="*/ 181138 w 189841"/>
                <a:gd name="connsiteY128" fmla="*/ 134788 h 175170"/>
                <a:gd name="connsiteX129" fmla="*/ 180028 w 189841"/>
                <a:gd name="connsiteY129" fmla="*/ 133630 h 175170"/>
                <a:gd name="connsiteX130" fmla="*/ 179976 w 189841"/>
                <a:gd name="connsiteY130" fmla="*/ 133026 h 175170"/>
                <a:gd name="connsiteX131" fmla="*/ 181106 w 189841"/>
                <a:gd name="connsiteY131" fmla="*/ 132333 h 175170"/>
                <a:gd name="connsiteX132" fmla="*/ 108112 w 189841"/>
                <a:gd name="connsiteY132" fmla="*/ 129062 h 175170"/>
                <a:gd name="connsiteX133" fmla="*/ 108151 w 189841"/>
                <a:gd name="connsiteY133" fmla="*/ 130553 h 175170"/>
                <a:gd name="connsiteX134" fmla="*/ 108000 w 189841"/>
                <a:gd name="connsiteY134" fmla="*/ 131087 h 175170"/>
                <a:gd name="connsiteX135" fmla="*/ 103474 w 189841"/>
                <a:gd name="connsiteY135" fmla="*/ 131806 h 175170"/>
                <a:gd name="connsiteX136" fmla="*/ 103893 w 189841"/>
                <a:gd name="connsiteY136" fmla="*/ 130097 h 175170"/>
                <a:gd name="connsiteX137" fmla="*/ 104169 w 189841"/>
                <a:gd name="connsiteY137" fmla="*/ 129557 h 175170"/>
                <a:gd name="connsiteX138" fmla="*/ 105668 w 189841"/>
                <a:gd name="connsiteY138" fmla="*/ 130352 h 175170"/>
                <a:gd name="connsiteX139" fmla="*/ 106220 w 189841"/>
                <a:gd name="connsiteY139" fmla="*/ 129946 h 175170"/>
                <a:gd name="connsiteX140" fmla="*/ 106445 w 189841"/>
                <a:gd name="connsiteY140" fmla="*/ 129476 h 175170"/>
                <a:gd name="connsiteX141" fmla="*/ 124921 w 189841"/>
                <a:gd name="connsiteY141" fmla="*/ 128417 h 175170"/>
                <a:gd name="connsiteX142" fmla="*/ 127376 w 189841"/>
                <a:gd name="connsiteY142" fmla="*/ 130240 h 175170"/>
                <a:gd name="connsiteX143" fmla="*/ 126819 w 189841"/>
                <a:gd name="connsiteY143" fmla="*/ 131339 h 175170"/>
                <a:gd name="connsiteX144" fmla="*/ 126434 w 189841"/>
                <a:gd name="connsiteY144" fmla="*/ 131737 h 175170"/>
                <a:gd name="connsiteX145" fmla="*/ 124761 w 189841"/>
                <a:gd name="connsiteY145" fmla="*/ 130134 h 175170"/>
                <a:gd name="connsiteX146" fmla="*/ 124126 w 189841"/>
                <a:gd name="connsiteY146" fmla="*/ 129197 h 175170"/>
                <a:gd name="connsiteX147" fmla="*/ 168476 w 189841"/>
                <a:gd name="connsiteY147" fmla="*/ 125472 h 175170"/>
                <a:gd name="connsiteX148" fmla="*/ 170389 w 189841"/>
                <a:gd name="connsiteY148" fmla="*/ 126393 h 175170"/>
                <a:gd name="connsiteX149" fmla="*/ 166873 w 189841"/>
                <a:gd name="connsiteY149" fmla="*/ 127910 h 175170"/>
                <a:gd name="connsiteX150" fmla="*/ 165940 w 189841"/>
                <a:gd name="connsiteY150" fmla="*/ 128712 h 175170"/>
                <a:gd name="connsiteX151" fmla="*/ 163345 w 189841"/>
                <a:gd name="connsiteY151" fmla="*/ 128885 h 175170"/>
                <a:gd name="connsiteX152" fmla="*/ 161488 w 189841"/>
                <a:gd name="connsiteY152" fmla="*/ 129993 h 175170"/>
                <a:gd name="connsiteX153" fmla="*/ 160797 w 189841"/>
                <a:gd name="connsiteY153" fmla="*/ 130023 h 175170"/>
                <a:gd name="connsiteX154" fmla="*/ 161619 w 189841"/>
                <a:gd name="connsiteY154" fmla="*/ 128797 h 175170"/>
                <a:gd name="connsiteX155" fmla="*/ 163954 w 189841"/>
                <a:gd name="connsiteY155" fmla="*/ 127117 h 175170"/>
                <a:gd name="connsiteX156" fmla="*/ 167355 w 189841"/>
                <a:gd name="connsiteY156" fmla="*/ 125637 h 175170"/>
                <a:gd name="connsiteX157" fmla="*/ 140505 w 189841"/>
                <a:gd name="connsiteY157" fmla="*/ 124652 h 175170"/>
                <a:gd name="connsiteX158" fmla="*/ 141915 w 189841"/>
                <a:gd name="connsiteY158" fmla="*/ 125533 h 175170"/>
                <a:gd name="connsiteX159" fmla="*/ 140151 w 189841"/>
                <a:gd name="connsiteY159" fmla="*/ 126118 h 175170"/>
                <a:gd name="connsiteX160" fmla="*/ 137380 w 189841"/>
                <a:gd name="connsiteY160" fmla="*/ 128386 h 175170"/>
                <a:gd name="connsiteX161" fmla="*/ 135428 w 189841"/>
                <a:gd name="connsiteY161" fmla="*/ 128594 h 175170"/>
                <a:gd name="connsiteX162" fmla="*/ 134811 w 189841"/>
                <a:gd name="connsiteY162" fmla="*/ 128403 h 175170"/>
                <a:gd name="connsiteX163" fmla="*/ 135996 w 189841"/>
                <a:gd name="connsiteY163" fmla="*/ 127964 h 175170"/>
                <a:gd name="connsiteX164" fmla="*/ 136828 w 189841"/>
                <a:gd name="connsiteY164" fmla="*/ 127498 h 175170"/>
                <a:gd name="connsiteX165" fmla="*/ 137227 w 189841"/>
                <a:gd name="connsiteY165" fmla="*/ 126934 h 175170"/>
                <a:gd name="connsiteX166" fmla="*/ 139207 w 189841"/>
                <a:gd name="connsiteY166" fmla="*/ 125943 h 175170"/>
                <a:gd name="connsiteX167" fmla="*/ 112100 w 189841"/>
                <a:gd name="connsiteY167" fmla="*/ 122454 h 175170"/>
                <a:gd name="connsiteX168" fmla="*/ 113141 w 189841"/>
                <a:gd name="connsiteY168" fmla="*/ 124351 h 175170"/>
                <a:gd name="connsiteX169" fmla="*/ 112206 w 189841"/>
                <a:gd name="connsiteY169" fmla="*/ 125057 h 175170"/>
                <a:gd name="connsiteX170" fmla="*/ 111802 w 189841"/>
                <a:gd name="connsiteY170" fmla="*/ 125168 h 175170"/>
                <a:gd name="connsiteX171" fmla="*/ 111224 w 189841"/>
                <a:gd name="connsiteY171" fmla="*/ 124096 h 175170"/>
                <a:gd name="connsiteX172" fmla="*/ 111103 w 189841"/>
                <a:gd name="connsiteY172" fmla="*/ 123096 h 175170"/>
                <a:gd name="connsiteX173" fmla="*/ 111334 w 189841"/>
                <a:gd name="connsiteY173" fmla="*/ 122510 h 175170"/>
                <a:gd name="connsiteX174" fmla="*/ 160140 w 189841"/>
                <a:gd name="connsiteY174" fmla="*/ 120840 h 175170"/>
                <a:gd name="connsiteX175" fmla="*/ 161864 w 189841"/>
                <a:gd name="connsiteY175" fmla="*/ 121735 h 175170"/>
                <a:gd name="connsiteX176" fmla="*/ 162956 w 189841"/>
                <a:gd name="connsiteY176" fmla="*/ 122814 h 175170"/>
                <a:gd name="connsiteX177" fmla="*/ 163489 w 189841"/>
                <a:gd name="connsiteY177" fmla="*/ 123020 h 175170"/>
                <a:gd name="connsiteX178" fmla="*/ 163366 w 189841"/>
                <a:gd name="connsiteY178" fmla="*/ 123671 h 175170"/>
                <a:gd name="connsiteX179" fmla="*/ 163038 w 189841"/>
                <a:gd name="connsiteY179" fmla="*/ 124102 h 175170"/>
                <a:gd name="connsiteX180" fmla="*/ 160831 w 189841"/>
                <a:gd name="connsiteY180" fmla="*/ 124453 h 175170"/>
                <a:gd name="connsiteX181" fmla="*/ 161224 w 189841"/>
                <a:gd name="connsiteY181" fmla="*/ 122434 h 175170"/>
                <a:gd name="connsiteX182" fmla="*/ 123575 w 189841"/>
                <a:gd name="connsiteY182" fmla="*/ 119280 h 175170"/>
                <a:gd name="connsiteX183" fmla="*/ 124465 w 189841"/>
                <a:gd name="connsiteY183" fmla="*/ 119553 h 175170"/>
                <a:gd name="connsiteX184" fmla="*/ 124381 w 189841"/>
                <a:gd name="connsiteY184" fmla="*/ 120919 h 175170"/>
                <a:gd name="connsiteX185" fmla="*/ 124545 w 189841"/>
                <a:gd name="connsiteY185" fmla="*/ 121320 h 175170"/>
                <a:gd name="connsiteX186" fmla="*/ 122787 w 189841"/>
                <a:gd name="connsiteY186" fmla="*/ 123281 h 175170"/>
                <a:gd name="connsiteX187" fmla="*/ 121325 w 189841"/>
                <a:gd name="connsiteY187" fmla="*/ 123069 h 175170"/>
                <a:gd name="connsiteX188" fmla="*/ 120710 w 189841"/>
                <a:gd name="connsiteY188" fmla="*/ 122171 h 175170"/>
                <a:gd name="connsiteX189" fmla="*/ 121617 w 189841"/>
                <a:gd name="connsiteY189" fmla="*/ 120327 h 175170"/>
                <a:gd name="connsiteX190" fmla="*/ 129993 w 189841"/>
                <a:gd name="connsiteY190" fmla="*/ 118062 h 175170"/>
                <a:gd name="connsiteX191" fmla="*/ 130857 w 189841"/>
                <a:gd name="connsiteY191" fmla="*/ 118349 h 175170"/>
                <a:gd name="connsiteX192" fmla="*/ 131377 w 189841"/>
                <a:gd name="connsiteY192" fmla="*/ 119179 h 175170"/>
                <a:gd name="connsiteX193" fmla="*/ 131297 w 189841"/>
                <a:gd name="connsiteY193" fmla="*/ 122060 h 175170"/>
                <a:gd name="connsiteX194" fmla="*/ 130449 w 189841"/>
                <a:gd name="connsiteY194" fmla="*/ 123885 h 175170"/>
                <a:gd name="connsiteX195" fmla="*/ 128477 w 189841"/>
                <a:gd name="connsiteY195" fmla="*/ 124848 h 175170"/>
                <a:gd name="connsiteX196" fmla="*/ 127132 w 189841"/>
                <a:gd name="connsiteY196" fmla="*/ 123458 h 175170"/>
                <a:gd name="connsiteX197" fmla="*/ 126380 w 189841"/>
                <a:gd name="connsiteY197" fmla="*/ 121269 h 175170"/>
                <a:gd name="connsiteX198" fmla="*/ 106963 w 189841"/>
                <a:gd name="connsiteY198" fmla="*/ 117710 h 175170"/>
                <a:gd name="connsiteX199" fmla="*/ 107965 w 189841"/>
                <a:gd name="connsiteY199" fmla="*/ 118165 h 175170"/>
                <a:gd name="connsiteX200" fmla="*/ 108116 w 189841"/>
                <a:gd name="connsiteY200" fmla="*/ 118793 h 175170"/>
                <a:gd name="connsiteX201" fmla="*/ 107842 w 189841"/>
                <a:gd name="connsiteY201" fmla="*/ 119877 h 175170"/>
                <a:gd name="connsiteX202" fmla="*/ 107024 w 189841"/>
                <a:gd name="connsiteY202" fmla="*/ 120260 h 175170"/>
                <a:gd name="connsiteX203" fmla="*/ 105659 w 189841"/>
                <a:gd name="connsiteY203" fmla="*/ 119702 h 175170"/>
                <a:gd name="connsiteX204" fmla="*/ 106022 w 189841"/>
                <a:gd name="connsiteY204" fmla="*/ 118304 h 175170"/>
                <a:gd name="connsiteX205" fmla="*/ 105802 w 189841"/>
                <a:gd name="connsiteY205" fmla="*/ 110953 h 175170"/>
                <a:gd name="connsiteX206" fmla="*/ 106184 w 189841"/>
                <a:gd name="connsiteY206" fmla="*/ 111607 h 175170"/>
                <a:gd name="connsiteX207" fmla="*/ 106912 w 189841"/>
                <a:gd name="connsiteY207" fmla="*/ 112667 h 175170"/>
                <a:gd name="connsiteX208" fmla="*/ 105901 w 189841"/>
                <a:gd name="connsiteY208" fmla="*/ 114289 h 175170"/>
                <a:gd name="connsiteX209" fmla="*/ 104644 w 189841"/>
                <a:gd name="connsiteY209" fmla="*/ 115062 h 175170"/>
                <a:gd name="connsiteX210" fmla="*/ 105061 w 189841"/>
                <a:gd name="connsiteY210" fmla="*/ 113294 h 175170"/>
                <a:gd name="connsiteX211" fmla="*/ 104441 w 189841"/>
                <a:gd name="connsiteY211" fmla="*/ 112371 h 175170"/>
                <a:gd name="connsiteX212" fmla="*/ 104996 w 189841"/>
                <a:gd name="connsiteY212" fmla="*/ 111586 h 175170"/>
                <a:gd name="connsiteX213" fmla="*/ 116311 w 189841"/>
                <a:gd name="connsiteY213" fmla="*/ 110092 h 175170"/>
                <a:gd name="connsiteX214" fmla="*/ 117114 w 189841"/>
                <a:gd name="connsiteY214" fmla="*/ 110485 h 175170"/>
                <a:gd name="connsiteX215" fmla="*/ 117004 w 189841"/>
                <a:gd name="connsiteY215" fmla="*/ 113135 h 175170"/>
                <a:gd name="connsiteX216" fmla="*/ 116421 w 189841"/>
                <a:gd name="connsiteY216" fmla="*/ 113112 h 175170"/>
                <a:gd name="connsiteX217" fmla="*/ 116082 w 189841"/>
                <a:gd name="connsiteY217" fmla="*/ 112703 h 175170"/>
                <a:gd name="connsiteX218" fmla="*/ 116063 w 189841"/>
                <a:gd name="connsiteY218" fmla="*/ 111689 h 175170"/>
                <a:gd name="connsiteX219" fmla="*/ 126076 w 189841"/>
                <a:gd name="connsiteY219" fmla="*/ 110085 h 175170"/>
                <a:gd name="connsiteX220" fmla="*/ 128615 w 189841"/>
                <a:gd name="connsiteY220" fmla="*/ 111057 h 175170"/>
                <a:gd name="connsiteX221" fmla="*/ 128492 w 189841"/>
                <a:gd name="connsiteY221" fmla="*/ 111670 h 175170"/>
                <a:gd name="connsiteX222" fmla="*/ 127283 w 189841"/>
                <a:gd name="connsiteY222" fmla="*/ 112383 h 175170"/>
                <a:gd name="connsiteX223" fmla="*/ 125169 w 189841"/>
                <a:gd name="connsiteY223" fmla="*/ 112540 h 175170"/>
                <a:gd name="connsiteX224" fmla="*/ 125292 w 189841"/>
                <a:gd name="connsiteY224" fmla="*/ 110592 h 175170"/>
                <a:gd name="connsiteX225" fmla="*/ 148259 w 189841"/>
                <a:gd name="connsiteY225" fmla="*/ 105865 h 175170"/>
                <a:gd name="connsiteX226" fmla="*/ 147054 w 189841"/>
                <a:gd name="connsiteY226" fmla="*/ 107265 h 175170"/>
                <a:gd name="connsiteX227" fmla="*/ 145020 w 189841"/>
                <a:gd name="connsiteY227" fmla="*/ 108570 h 175170"/>
                <a:gd name="connsiteX228" fmla="*/ 141138 w 189841"/>
                <a:gd name="connsiteY228" fmla="*/ 109568 h 175170"/>
                <a:gd name="connsiteX229" fmla="*/ 140101 w 189841"/>
                <a:gd name="connsiteY229" fmla="*/ 109666 h 175170"/>
                <a:gd name="connsiteX230" fmla="*/ 140418 w 189841"/>
                <a:gd name="connsiteY230" fmla="*/ 108645 h 175170"/>
                <a:gd name="connsiteX231" fmla="*/ 142399 w 189841"/>
                <a:gd name="connsiteY231" fmla="*/ 106873 h 175170"/>
                <a:gd name="connsiteX232" fmla="*/ 145167 w 189841"/>
                <a:gd name="connsiteY232" fmla="*/ 106786 h 175170"/>
                <a:gd name="connsiteX233" fmla="*/ 147689 w 189841"/>
                <a:gd name="connsiteY233" fmla="*/ 105898 h 175170"/>
                <a:gd name="connsiteX234" fmla="*/ 119248 w 189841"/>
                <a:gd name="connsiteY234" fmla="*/ 105703 h 175170"/>
                <a:gd name="connsiteX235" fmla="*/ 120408 w 189841"/>
                <a:gd name="connsiteY235" fmla="*/ 106538 h 175170"/>
                <a:gd name="connsiteX236" fmla="*/ 123362 w 189841"/>
                <a:gd name="connsiteY236" fmla="*/ 106981 h 175170"/>
                <a:gd name="connsiteX237" fmla="*/ 124035 w 189841"/>
                <a:gd name="connsiteY237" fmla="*/ 107775 h 175170"/>
                <a:gd name="connsiteX238" fmla="*/ 123215 w 189841"/>
                <a:gd name="connsiteY238" fmla="*/ 109423 h 175170"/>
                <a:gd name="connsiteX239" fmla="*/ 121835 w 189841"/>
                <a:gd name="connsiteY239" fmla="*/ 109169 h 175170"/>
                <a:gd name="connsiteX240" fmla="*/ 119527 w 189841"/>
                <a:gd name="connsiteY240" fmla="*/ 107396 h 175170"/>
                <a:gd name="connsiteX241" fmla="*/ 118738 w 189841"/>
                <a:gd name="connsiteY241" fmla="*/ 106591 h 175170"/>
                <a:gd name="connsiteX242" fmla="*/ 118300 w 189841"/>
                <a:gd name="connsiteY242" fmla="*/ 105799 h 175170"/>
                <a:gd name="connsiteX243" fmla="*/ 104648 w 189841"/>
                <a:gd name="connsiteY243" fmla="*/ 105651 h 175170"/>
                <a:gd name="connsiteX244" fmla="*/ 105128 w 189841"/>
                <a:gd name="connsiteY244" fmla="*/ 106512 h 175170"/>
                <a:gd name="connsiteX245" fmla="*/ 104136 w 189841"/>
                <a:gd name="connsiteY245" fmla="*/ 108356 h 175170"/>
                <a:gd name="connsiteX246" fmla="*/ 102655 w 189841"/>
                <a:gd name="connsiteY246" fmla="*/ 109597 h 175170"/>
                <a:gd name="connsiteX247" fmla="*/ 102401 w 189841"/>
                <a:gd name="connsiteY247" fmla="*/ 107736 h 175170"/>
                <a:gd name="connsiteX248" fmla="*/ 103350 w 189841"/>
                <a:gd name="connsiteY248" fmla="*/ 105778 h 175170"/>
                <a:gd name="connsiteX249" fmla="*/ 158719 w 189841"/>
                <a:gd name="connsiteY249" fmla="*/ 102358 h 175170"/>
                <a:gd name="connsiteX250" fmla="*/ 161438 w 189841"/>
                <a:gd name="connsiteY250" fmla="*/ 103201 h 175170"/>
                <a:gd name="connsiteX251" fmla="*/ 162194 w 189841"/>
                <a:gd name="connsiteY251" fmla="*/ 103111 h 175170"/>
                <a:gd name="connsiteX252" fmla="*/ 163479 w 189841"/>
                <a:gd name="connsiteY252" fmla="*/ 103417 h 175170"/>
                <a:gd name="connsiteX253" fmla="*/ 163820 w 189841"/>
                <a:gd name="connsiteY253" fmla="*/ 104971 h 175170"/>
                <a:gd name="connsiteX254" fmla="*/ 162118 w 189841"/>
                <a:gd name="connsiteY254" fmla="*/ 105196 h 175170"/>
                <a:gd name="connsiteX255" fmla="*/ 159173 w 189841"/>
                <a:gd name="connsiteY255" fmla="*/ 106622 h 175170"/>
                <a:gd name="connsiteX256" fmla="*/ 157920 w 189841"/>
                <a:gd name="connsiteY256" fmla="*/ 106309 h 175170"/>
                <a:gd name="connsiteX257" fmla="*/ 156422 w 189841"/>
                <a:gd name="connsiteY257" fmla="*/ 105069 h 175170"/>
                <a:gd name="connsiteX258" fmla="*/ 154042 w 189841"/>
                <a:gd name="connsiteY258" fmla="*/ 104940 h 175170"/>
                <a:gd name="connsiteX259" fmla="*/ 153338 w 189841"/>
                <a:gd name="connsiteY259" fmla="*/ 104602 h 175170"/>
                <a:gd name="connsiteX260" fmla="*/ 154612 w 189841"/>
                <a:gd name="connsiteY260" fmla="*/ 103140 h 175170"/>
                <a:gd name="connsiteX261" fmla="*/ 156927 w 189841"/>
                <a:gd name="connsiteY261" fmla="*/ 102400 h 175170"/>
                <a:gd name="connsiteX262" fmla="*/ 23108 w 189841"/>
                <a:gd name="connsiteY262" fmla="*/ 99333 h 175170"/>
                <a:gd name="connsiteX263" fmla="*/ 24593 w 189841"/>
                <a:gd name="connsiteY263" fmla="*/ 101294 h 175170"/>
                <a:gd name="connsiteX264" fmla="*/ 26388 w 189841"/>
                <a:gd name="connsiteY264" fmla="*/ 101608 h 175170"/>
                <a:gd name="connsiteX265" fmla="*/ 27463 w 189841"/>
                <a:gd name="connsiteY265" fmla="*/ 102513 h 175170"/>
                <a:gd name="connsiteX266" fmla="*/ 29795 w 189841"/>
                <a:gd name="connsiteY266" fmla="*/ 105004 h 175170"/>
                <a:gd name="connsiteX267" fmla="*/ 27919 w 189841"/>
                <a:gd name="connsiteY267" fmla="*/ 104387 h 175170"/>
                <a:gd name="connsiteX268" fmla="*/ 25917 w 189841"/>
                <a:gd name="connsiteY268" fmla="*/ 106110 h 175170"/>
                <a:gd name="connsiteX269" fmla="*/ 23380 w 189841"/>
                <a:gd name="connsiteY269" fmla="*/ 104097 h 175170"/>
                <a:gd name="connsiteX270" fmla="*/ 21860 w 189841"/>
                <a:gd name="connsiteY270" fmla="*/ 102058 h 175170"/>
                <a:gd name="connsiteX271" fmla="*/ 21516 w 189841"/>
                <a:gd name="connsiteY271" fmla="*/ 101241 h 175170"/>
                <a:gd name="connsiteX272" fmla="*/ 113744 w 189841"/>
                <a:gd name="connsiteY272" fmla="*/ 97780 h 175170"/>
                <a:gd name="connsiteX273" fmla="*/ 115173 w 189841"/>
                <a:gd name="connsiteY273" fmla="*/ 99739 h 175170"/>
                <a:gd name="connsiteX274" fmla="*/ 117412 w 189841"/>
                <a:gd name="connsiteY274" fmla="*/ 99967 h 175170"/>
                <a:gd name="connsiteX275" fmla="*/ 117238 w 189841"/>
                <a:gd name="connsiteY275" fmla="*/ 101174 h 175170"/>
                <a:gd name="connsiteX276" fmla="*/ 117946 w 189841"/>
                <a:gd name="connsiteY276" fmla="*/ 102729 h 175170"/>
                <a:gd name="connsiteX277" fmla="*/ 118194 w 189841"/>
                <a:gd name="connsiteY277" fmla="*/ 103684 h 175170"/>
                <a:gd name="connsiteX278" fmla="*/ 117542 w 189841"/>
                <a:gd name="connsiteY278" fmla="*/ 105403 h 175170"/>
                <a:gd name="connsiteX279" fmla="*/ 115814 w 189841"/>
                <a:gd name="connsiteY279" fmla="*/ 103405 h 175170"/>
                <a:gd name="connsiteX280" fmla="*/ 113923 w 189841"/>
                <a:gd name="connsiteY280" fmla="*/ 102035 h 175170"/>
                <a:gd name="connsiteX281" fmla="*/ 113215 w 189841"/>
                <a:gd name="connsiteY281" fmla="*/ 100840 h 175170"/>
                <a:gd name="connsiteX282" fmla="*/ 112062 w 189841"/>
                <a:gd name="connsiteY282" fmla="*/ 100118 h 175170"/>
                <a:gd name="connsiteX283" fmla="*/ 111748 w 189841"/>
                <a:gd name="connsiteY283" fmla="*/ 98509 h 175170"/>
                <a:gd name="connsiteX284" fmla="*/ 113146 w 189841"/>
                <a:gd name="connsiteY284" fmla="*/ 97847 h 175170"/>
                <a:gd name="connsiteX285" fmla="*/ 84849 w 189841"/>
                <a:gd name="connsiteY285" fmla="*/ 97755 h 175170"/>
                <a:gd name="connsiteX286" fmla="*/ 85553 w 189841"/>
                <a:gd name="connsiteY286" fmla="*/ 97885 h 175170"/>
                <a:gd name="connsiteX287" fmla="*/ 85981 w 189841"/>
                <a:gd name="connsiteY287" fmla="*/ 98290 h 175170"/>
                <a:gd name="connsiteX288" fmla="*/ 86337 w 189841"/>
                <a:gd name="connsiteY288" fmla="*/ 99426 h 175170"/>
                <a:gd name="connsiteX289" fmla="*/ 85462 w 189841"/>
                <a:gd name="connsiteY289" fmla="*/ 100060 h 175170"/>
                <a:gd name="connsiteX290" fmla="*/ 84475 w 189841"/>
                <a:gd name="connsiteY290" fmla="*/ 100028 h 175170"/>
                <a:gd name="connsiteX291" fmla="*/ 83778 w 189841"/>
                <a:gd name="connsiteY291" fmla="*/ 99795 h 175170"/>
                <a:gd name="connsiteX292" fmla="*/ 83426 w 189841"/>
                <a:gd name="connsiteY292" fmla="*/ 99289 h 175170"/>
                <a:gd name="connsiteX293" fmla="*/ 83862 w 189841"/>
                <a:gd name="connsiteY293" fmla="*/ 99047 h 175170"/>
                <a:gd name="connsiteX294" fmla="*/ 84374 w 189841"/>
                <a:gd name="connsiteY294" fmla="*/ 98030 h 175170"/>
                <a:gd name="connsiteX295" fmla="*/ 20270 w 189841"/>
                <a:gd name="connsiteY295" fmla="*/ 85327 h 175170"/>
                <a:gd name="connsiteX296" fmla="*/ 21357 w 189841"/>
                <a:gd name="connsiteY296" fmla="*/ 87684 h 175170"/>
                <a:gd name="connsiteX297" fmla="*/ 21631 w 189841"/>
                <a:gd name="connsiteY297" fmla="*/ 90652 h 175170"/>
                <a:gd name="connsiteX298" fmla="*/ 23190 w 189841"/>
                <a:gd name="connsiteY298" fmla="*/ 91209 h 175170"/>
                <a:gd name="connsiteX299" fmla="*/ 25261 w 189841"/>
                <a:gd name="connsiteY299" fmla="*/ 93882 h 175170"/>
                <a:gd name="connsiteX300" fmla="*/ 25082 w 189841"/>
                <a:gd name="connsiteY300" fmla="*/ 95249 h 175170"/>
                <a:gd name="connsiteX301" fmla="*/ 24652 w 189841"/>
                <a:gd name="connsiteY301" fmla="*/ 95717 h 175170"/>
                <a:gd name="connsiteX302" fmla="*/ 21221 w 189841"/>
                <a:gd name="connsiteY302" fmla="*/ 94456 h 175170"/>
                <a:gd name="connsiteX303" fmla="*/ 20398 w 189841"/>
                <a:gd name="connsiteY303" fmla="*/ 95022 h 175170"/>
                <a:gd name="connsiteX304" fmla="*/ 19394 w 189841"/>
                <a:gd name="connsiteY304" fmla="*/ 94792 h 175170"/>
                <a:gd name="connsiteX305" fmla="*/ 18774 w 189841"/>
                <a:gd name="connsiteY305" fmla="*/ 93316 h 175170"/>
                <a:gd name="connsiteX306" fmla="*/ 18845 w 189841"/>
                <a:gd name="connsiteY306" fmla="*/ 92797 h 175170"/>
                <a:gd name="connsiteX307" fmla="*/ 18284 w 189841"/>
                <a:gd name="connsiteY307" fmla="*/ 91913 h 175170"/>
                <a:gd name="connsiteX308" fmla="*/ 17815 w 189841"/>
                <a:gd name="connsiteY308" fmla="*/ 91518 h 175170"/>
                <a:gd name="connsiteX309" fmla="*/ 16464 w 189841"/>
                <a:gd name="connsiteY309" fmla="*/ 92692 h 175170"/>
                <a:gd name="connsiteX310" fmla="*/ 15612 w 189841"/>
                <a:gd name="connsiteY310" fmla="*/ 92912 h 175170"/>
                <a:gd name="connsiteX311" fmla="*/ 15606 w 189841"/>
                <a:gd name="connsiteY311" fmla="*/ 91837 h 175170"/>
                <a:gd name="connsiteX312" fmla="*/ 16854 w 189841"/>
                <a:gd name="connsiteY312" fmla="*/ 88881 h 175170"/>
                <a:gd name="connsiteX313" fmla="*/ 17437 w 189841"/>
                <a:gd name="connsiteY313" fmla="*/ 88382 h 175170"/>
                <a:gd name="connsiteX314" fmla="*/ 18463 w 189841"/>
                <a:gd name="connsiteY314" fmla="*/ 89358 h 175170"/>
                <a:gd name="connsiteX315" fmla="*/ 19307 w 189841"/>
                <a:gd name="connsiteY315" fmla="*/ 88995 h 175170"/>
                <a:gd name="connsiteX316" fmla="*/ 19942 w 189841"/>
                <a:gd name="connsiteY316" fmla="*/ 87396 h 175170"/>
                <a:gd name="connsiteX317" fmla="*/ 19985 w 189841"/>
                <a:gd name="connsiteY317" fmla="*/ 85801 h 175170"/>
                <a:gd name="connsiteX318" fmla="*/ 22184 w 189841"/>
                <a:gd name="connsiteY318" fmla="*/ 85094 h 175170"/>
                <a:gd name="connsiteX319" fmla="*/ 22739 w 189841"/>
                <a:gd name="connsiteY319" fmla="*/ 85292 h 175170"/>
                <a:gd name="connsiteX320" fmla="*/ 23324 w 189841"/>
                <a:gd name="connsiteY320" fmla="*/ 85933 h 175170"/>
                <a:gd name="connsiteX321" fmla="*/ 23319 w 189841"/>
                <a:gd name="connsiteY321" fmla="*/ 86588 h 175170"/>
                <a:gd name="connsiteX322" fmla="*/ 23553 w 189841"/>
                <a:gd name="connsiteY322" fmla="*/ 87290 h 175170"/>
                <a:gd name="connsiteX323" fmla="*/ 24162 w 189841"/>
                <a:gd name="connsiteY323" fmla="*/ 88136 h 175170"/>
                <a:gd name="connsiteX324" fmla="*/ 24593 w 189841"/>
                <a:gd name="connsiteY324" fmla="*/ 89070 h 175170"/>
                <a:gd name="connsiteX325" fmla="*/ 23501 w 189841"/>
                <a:gd name="connsiteY325" fmla="*/ 89348 h 175170"/>
                <a:gd name="connsiteX326" fmla="*/ 22110 w 189841"/>
                <a:gd name="connsiteY326" fmla="*/ 86887 h 175170"/>
                <a:gd name="connsiteX327" fmla="*/ 21607 w 189841"/>
                <a:gd name="connsiteY327" fmla="*/ 85189 h 175170"/>
                <a:gd name="connsiteX328" fmla="*/ 140766 w 189841"/>
                <a:gd name="connsiteY328" fmla="*/ 82063 h 175170"/>
                <a:gd name="connsiteX329" fmla="*/ 142932 w 189841"/>
                <a:gd name="connsiteY329" fmla="*/ 83533 h 175170"/>
                <a:gd name="connsiteX330" fmla="*/ 144036 w 189841"/>
                <a:gd name="connsiteY330" fmla="*/ 83634 h 175170"/>
                <a:gd name="connsiteX331" fmla="*/ 143612 w 189841"/>
                <a:gd name="connsiteY331" fmla="*/ 85038 h 175170"/>
                <a:gd name="connsiteX332" fmla="*/ 143798 w 189841"/>
                <a:gd name="connsiteY332" fmla="*/ 85494 h 175170"/>
                <a:gd name="connsiteX333" fmla="*/ 143962 w 189841"/>
                <a:gd name="connsiteY333" fmla="*/ 89751 h 175170"/>
                <a:gd name="connsiteX334" fmla="*/ 142939 w 189841"/>
                <a:gd name="connsiteY334" fmla="*/ 90350 h 175170"/>
                <a:gd name="connsiteX335" fmla="*/ 142770 w 189841"/>
                <a:gd name="connsiteY335" fmla="*/ 91518 h 175170"/>
                <a:gd name="connsiteX336" fmla="*/ 142569 w 189841"/>
                <a:gd name="connsiteY336" fmla="*/ 91932 h 175170"/>
                <a:gd name="connsiteX337" fmla="*/ 140458 w 189841"/>
                <a:gd name="connsiteY337" fmla="*/ 93383 h 175170"/>
                <a:gd name="connsiteX338" fmla="*/ 138100 w 189841"/>
                <a:gd name="connsiteY338" fmla="*/ 91283 h 175170"/>
                <a:gd name="connsiteX339" fmla="*/ 137711 w 189841"/>
                <a:gd name="connsiteY339" fmla="*/ 90607 h 175170"/>
                <a:gd name="connsiteX340" fmla="*/ 139442 w 189841"/>
                <a:gd name="connsiteY340" fmla="*/ 89759 h 175170"/>
                <a:gd name="connsiteX341" fmla="*/ 140300 w 189841"/>
                <a:gd name="connsiteY341" fmla="*/ 88451 h 175170"/>
                <a:gd name="connsiteX342" fmla="*/ 139604 w 189841"/>
                <a:gd name="connsiteY342" fmla="*/ 86844 h 175170"/>
                <a:gd name="connsiteX343" fmla="*/ 137201 w 189841"/>
                <a:gd name="connsiteY343" fmla="*/ 84466 h 175170"/>
                <a:gd name="connsiteX344" fmla="*/ 137087 w 189841"/>
                <a:gd name="connsiteY344" fmla="*/ 82776 h 175170"/>
                <a:gd name="connsiteX345" fmla="*/ 23166 w 189841"/>
                <a:gd name="connsiteY345" fmla="*/ 75808 h 175170"/>
                <a:gd name="connsiteX346" fmla="*/ 23730 w 189841"/>
                <a:gd name="connsiteY346" fmla="*/ 76971 h 175170"/>
                <a:gd name="connsiteX347" fmla="*/ 23624 w 189841"/>
                <a:gd name="connsiteY347" fmla="*/ 81119 h 175170"/>
                <a:gd name="connsiteX348" fmla="*/ 23002 w 189841"/>
                <a:gd name="connsiteY348" fmla="*/ 81883 h 175170"/>
                <a:gd name="connsiteX349" fmla="*/ 22143 w 189841"/>
                <a:gd name="connsiteY349" fmla="*/ 82082 h 175170"/>
                <a:gd name="connsiteX350" fmla="*/ 21402 w 189841"/>
                <a:gd name="connsiteY350" fmla="*/ 81946 h 175170"/>
                <a:gd name="connsiteX351" fmla="*/ 20730 w 189841"/>
                <a:gd name="connsiteY351" fmla="*/ 82063 h 175170"/>
                <a:gd name="connsiteX352" fmla="*/ 20083 w 189841"/>
                <a:gd name="connsiteY352" fmla="*/ 82556 h 175170"/>
                <a:gd name="connsiteX353" fmla="*/ 20154 w 189841"/>
                <a:gd name="connsiteY353" fmla="*/ 80513 h 175170"/>
                <a:gd name="connsiteX354" fmla="*/ 20918 w 189841"/>
                <a:gd name="connsiteY354" fmla="*/ 77978 h 175170"/>
                <a:gd name="connsiteX355" fmla="*/ 21851 w 189841"/>
                <a:gd name="connsiteY355" fmla="*/ 76496 h 175170"/>
                <a:gd name="connsiteX356" fmla="*/ 107004 w 189841"/>
                <a:gd name="connsiteY356" fmla="*/ 72294 h 175170"/>
                <a:gd name="connsiteX357" fmla="*/ 108738 w 189841"/>
                <a:gd name="connsiteY357" fmla="*/ 73277 h 175170"/>
                <a:gd name="connsiteX358" fmla="*/ 109118 w 189841"/>
                <a:gd name="connsiteY358" fmla="*/ 74914 h 175170"/>
                <a:gd name="connsiteX359" fmla="*/ 111185 w 189841"/>
                <a:gd name="connsiteY359" fmla="*/ 76712 h 175170"/>
                <a:gd name="connsiteX360" fmla="*/ 108848 w 189841"/>
                <a:gd name="connsiteY360" fmla="*/ 77341 h 175170"/>
                <a:gd name="connsiteX361" fmla="*/ 108228 w 189841"/>
                <a:gd name="connsiteY361" fmla="*/ 77242 h 175170"/>
                <a:gd name="connsiteX362" fmla="*/ 108749 w 189841"/>
                <a:gd name="connsiteY362" fmla="*/ 76448 h 175170"/>
                <a:gd name="connsiteX363" fmla="*/ 108790 w 189841"/>
                <a:gd name="connsiteY363" fmla="*/ 76114 h 175170"/>
                <a:gd name="connsiteX364" fmla="*/ 106460 w 189841"/>
                <a:gd name="connsiteY364" fmla="*/ 74662 h 175170"/>
                <a:gd name="connsiteX365" fmla="*/ 106734 w 189841"/>
                <a:gd name="connsiteY365" fmla="*/ 72775 h 175170"/>
                <a:gd name="connsiteX366" fmla="*/ 81068 w 189841"/>
                <a:gd name="connsiteY366" fmla="*/ 70881 h 175170"/>
                <a:gd name="connsiteX367" fmla="*/ 83340 w 189841"/>
                <a:gd name="connsiteY367" fmla="*/ 72853 h 175170"/>
                <a:gd name="connsiteX368" fmla="*/ 84590 w 189841"/>
                <a:gd name="connsiteY368" fmla="*/ 75656 h 175170"/>
                <a:gd name="connsiteX369" fmla="*/ 85762 w 189841"/>
                <a:gd name="connsiteY369" fmla="*/ 76602 h 175170"/>
                <a:gd name="connsiteX370" fmla="*/ 88222 w 189841"/>
                <a:gd name="connsiteY370" fmla="*/ 77718 h 175170"/>
                <a:gd name="connsiteX371" fmla="*/ 89377 w 189841"/>
                <a:gd name="connsiteY371" fmla="*/ 77860 h 175170"/>
                <a:gd name="connsiteX372" fmla="*/ 93573 w 189841"/>
                <a:gd name="connsiteY372" fmla="*/ 79875 h 175170"/>
                <a:gd name="connsiteX373" fmla="*/ 98455 w 189841"/>
                <a:gd name="connsiteY373" fmla="*/ 80277 h 175170"/>
                <a:gd name="connsiteX374" fmla="*/ 99086 w 189841"/>
                <a:gd name="connsiteY374" fmla="*/ 80857 h 175170"/>
                <a:gd name="connsiteX375" fmla="*/ 99686 w 189841"/>
                <a:gd name="connsiteY375" fmla="*/ 82409 h 175170"/>
                <a:gd name="connsiteX376" fmla="*/ 100682 w 189841"/>
                <a:gd name="connsiteY376" fmla="*/ 83626 h 175170"/>
                <a:gd name="connsiteX377" fmla="*/ 100932 w 189841"/>
                <a:gd name="connsiteY377" fmla="*/ 84573 h 175170"/>
                <a:gd name="connsiteX378" fmla="*/ 100412 w 189841"/>
                <a:gd name="connsiteY378" fmla="*/ 85623 h 175170"/>
                <a:gd name="connsiteX379" fmla="*/ 101133 w 189841"/>
                <a:gd name="connsiteY379" fmla="*/ 88834 h 175170"/>
                <a:gd name="connsiteX380" fmla="*/ 102364 w 189841"/>
                <a:gd name="connsiteY380" fmla="*/ 91881 h 175170"/>
                <a:gd name="connsiteX381" fmla="*/ 104219 w 189841"/>
                <a:gd name="connsiteY381" fmla="*/ 93358 h 175170"/>
                <a:gd name="connsiteX382" fmla="*/ 106525 w 189841"/>
                <a:gd name="connsiteY382" fmla="*/ 93804 h 175170"/>
                <a:gd name="connsiteX383" fmla="*/ 108721 w 189841"/>
                <a:gd name="connsiteY383" fmla="*/ 93743 h 175170"/>
                <a:gd name="connsiteX384" fmla="*/ 109276 w 189841"/>
                <a:gd name="connsiteY384" fmla="*/ 94347 h 175170"/>
                <a:gd name="connsiteX385" fmla="*/ 109058 w 189841"/>
                <a:gd name="connsiteY385" fmla="*/ 97010 h 175170"/>
                <a:gd name="connsiteX386" fmla="*/ 108129 w 189841"/>
                <a:gd name="connsiteY386" fmla="*/ 98046 h 175170"/>
                <a:gd name="connsiteX387" fmla="*/ 107374 w 189841"/>
                <a:gd name="connsiteY387" fmla="*/ 98298 h 175170"/>
                <a:gd name="connsiteX388" fmla="*/ 106717 w 189841"/>
                <a:gd name="connsiteY388" fmla="*/ 98026 h 175170"/>
                <a:gd name="connsiteX389" fmla="*/ 106123 w 189841"/>
                <a:gd name="connsiteY389" fmla="*/ 97399 h 175170"/>
                <a:gd name="connsiteX390" fmla="*/ 105476 w 189841"/>
                <a:gd name="connsiteY390" fmla="*/ 97103 h 175170"/>
                <a:gd name="connsiteX391" fmla="*/ 104214 w 189841"/>
                <a:gd name="connsiteY391" fmla="*/ 97051 h 175170"/>
                <a:gd name="connsiteX392" fmla="*/ 103292 w 189841"/>
                <a:gd name="connsiteY392" fmla="*/ 95979 h 175170"/>
                <a:gd name="connsiteX393" fmla="*/ 100954 w 189841"/>
                <a:gd name="connsiteY393" fmla="*/ 94512 h 175170"/>
                <a:gd name="connsiteX394" fmla="*/ 100524 w 189841"/>
                <a:gd name="connsiteY394" fmla="*/ 93637 h 175170"/>
                <a:gd name="connsiteX395" fmla="*/ 100446 w 189841"/>
                <a:gd name="connsiteY395" fmla="*/ 92285 h 175170"/>
                <a:gd name="connsiteX396" fmla="*/ 99453 w 189841"/>
                <a:gd name="connsiteY396" fmla="*/ 91289 h 175170"/>
                <a:gd name="connsiteX397" fmla="*/ 98540 w 189841"/>
                <a:gd name="connsiteY397" fmla="*/ 89393 h 175170"/>
                <a:gd name="connsiteX398" fmla="*/ 97671 w 189841"/>
                <a:gd name="connsiteY398" fmla="*/ 88870 h 175170"/>
                <a:gd name="connsiteX399" fmla="*/ 97192 w 189841"/>
                <a:gd name="connsiteY399" fmla="*/ 87921 h 175170"/>
                <a:gd name="connsiteX400" fmla="*/ 97153 w 189841"/>
                <a:gd name="connsiteY400" fmla="*/ 87513 h 175170"/>
                <a:gd name="connsiteX401" fmla="*/ 93750 w 189841"/>
                <a:gd name="connsiteY401" fmla="*/ 87237 h 175170"/>
                <a:gd name="connsiteX402" fmla="*/ 90932 w 189841"/>
                <a:gd name="connsiteY402" fmla="*/ 87224 h 175170"/>
                <a:gd name="connsiteX403" fmla="*/ 88544 w 189841"/>
                <a:gd name="connsiteY403" fmla="*/ 86147 h 175170"/>
                <a:gd name="connsiteX404" fmla="*/ 87805 w 189841"/>
                <a:gd name="connsiteY404" fmla="*/ 83329 h 175170"/>
                <a:gd name="connsiteX405" fmla="*/ 86389 w 189841"/>
                <a:gd name="connsiteY405" fmla="*/ 82571 h 175170"/>
                <a:gd name="connsiteX406" fmla="*/ 85326 w 189841"/>
                <a:gd name="connsiteY406" fmla="*/ 81773 h 175170"/>
                <a:gd name="connsiteX407" fmla="*/ 84441 w 189841"/>
                <a:gd name="connsiteY407" fmla="*/ 80667 h 175170"/>
                <a:gd name="connsiteX408" fmla="*/ 82204 w 189841"/>
                <a:gd name="connsiteY408" fmla="*/ 78627 h 175170"/>
                <a:gd name="connsiteX409" fmla="*/ 79729 w 189841"/>
                <a:gd name="connsiteY409" fmla="*/ 76918 h 175170"/>
                <a:gd name="connsiteX410" fmla="*/ 77337 w 189841"/>
                <a:gd name="connsiteY410" fmla="*/ 75793 h 175170"/>
                <a:gd name="connsiteX411" fmla="*/ 74797 w 189841"/>
                <a:gd name="connsiteY411" fmla="*/ 75055 h 175170"/>
                <a:gd name="connsiteX412" fmla="*/ 72733 w 189841"/>
                <a:gd name="connsiteY412" fmla="*/ 75926 h 175170"/>
                <a:gd name="connsiteX413" fmla="*/ 71530 w 189841"/>
                <a:gd name="connsiteY413" fmla="*/ 75719 h 175170"/>
                <a:gd name="connsiteX414" fmla="*/ 71286 w 189841"/>
                <a:gd name="connsiteY414" fmla="*/ 75130 h 175170"/>
                <a:gd name="connsiteX415" fmla="*/ 73851 w 189841"/>
                <a:gd name="connsiteY415" fmla="*/ 73957 h 175170"/>
                <a:gd name="connsiteX416" fmla="*/ 77378 w 189841"/>
                <a:gd name="connsiteY416" fmla="*/ 71714 h 175170"/>
                <a:gd name="connsiteX417" fmla="*/ 79863 w 189841"/>
                <a:gd name="connsiteY417" fmla="*/ 70973 h 175170"/>
                <a:gd name="connsiteX418" fmla="*/ 87287 w 189841"/>
                <a:gd name="connsiteY418" fmla="*/ 66387 h 175170"/>
                <a:gd name="connsiteX419" fmla="*/ 91396 w 189841"/>
                <a:gd name="connsiteY419" fmla="*/ 68825 h 175170"/>
                <a:gd name="connsiteX420" fmla="*/ 90409 w 189841"/>
                <a:gd name="connsiteY420" fmla="*/ 69700 h 175170"/>
                <a:gd name="connsiteX421" fmla="*/ 88883 w 189841"/>
                <a:gd name="connsiteY421" fmla="*/ 69317 h 175170"/>
                <a:gd name="connsiteX422" fmla="*/ 95622 w 189841"/>
                <a:gd name="connsiteY422" fmla="*/ 64855 h 175170"/>
                <a:gd name="connsiteX423" fmla="*/ 94933 w 189841"/>
                <a:gd name="connsiteY423" fmla="*/ 66595 h 175170"/>
                <a:gd name="connsiteX424" fmla="*/ 93789 w 189841"/>
                <a:gd name="connsiteY424" fmla="*/ 67688 h 175170"/>
                <a:gd name="connsiteX425" fmla="*/ 92755 w 189841"/>
                <a:gd name="connsiteY425" fmla="*/ 67992 h 175170"/>
                <a:gd name="connsiteX426" fmla="*/ 93791 w 189841"/>
                <a:gd name="connsiteY426" fmla="*/ 65926 h 175170"/>
                <a:gd name="connsiteX427" fmla="*/ 148180 w 189841"/>
                <a:gd name="connsiteY427" fmla="*/ 61866 h 175170"/>
                <a:gd name="connsiteX428" fmla="*/ 149559 w 189841"/>
                <a:gd name="connsiteY428" fmla="*/ 63255 h 175170"/>
                <a:gd name="connsiteX429" fmla="*/ 149175 w 189841"/>
                <a:gd name="connsiteY429" fmla="*/ 64793 h 175170"/>
                <a:gd name="connsiteX430" fmla="*/ 152233 w 189841"/>
                <a:gd name="connsiteY430" fmla="*/ 67340 h 175170"/>
                <a:gd name="connsiteX431" fmla="*/ 153276 w 189841"/>
                <a:gd name="connsiteY431" fmla="*/ 68951 h 175170"/>
                <a:gd name="connsiteX432" fmla="*/ 153660 w 189841"/>
                <a:gd name="connsiteY432" fmla="*/ 70521 h 175170"/>
                <a:gd name="connsiteX433" fmla="*/ 153403 w 189841"/>
                <a:gd name="connsiteY433" fmla="*/ 70971 h 175170"/>
                <a:gd name="connsiteX434" fmla="*/ 152243 w 189841"/>
                <a:gd name="connsiteY434" fmla="*/ 70120 h 175170"/>
                <a:gd name="connsiteX435" fmla="*/ 151296 w 189841"/>
                <a:gd name="connsiteY435" fmla="*/ 69849 h 175170"/>
                <a:gd name="connsiteX436" fmla="*/ 151615 w 189841"/>
                <a:gd name="connsiteY436" fmla="*/ 70971 h 175170"/>
                <a:gd name="connsiteX437" fmla="*/ 152589 w 189841"/>
                <a:gd name="connsiteY437" fmla="*/ 71935 h 175170"/>
                <a:gd name="connsiteX438" fmla="*/ 150855 w 189841"/>
                <a:gd name="connsiteY438" fmla="*/ 72487 h 175170"/>
                <a:gd name="connsiteX439" fmla="*/ 149117 w 189841"/>
                <a:gd name="connsiteY439" fmla="*/ 72458 h 175170"/>
                <a:gd name="connsiteX440" fmla="*/ 144046 w 189841"/>
                <a:gd name="connsiteY440" fmla="*/ 71115 h 175170"/>
                <a:gd name="connsiteX441" fmla="*/ 142876 w 189841"/>
                <a:gd name="connsiteY441" fmla="*/ 69688 h 175170"/>
                <a:gd name="connsiteX442" fmla="*/ 145910 w 189841"/>
                <a:gd name="connsiteY442" fmla="*/ 67538 h 175170"/>
                <a:gd name="connsiteX443" fmla="*/ 146530 w 189841"/>
                <a:gd name="connsiteY443" fmla="*/ 66672 h 175170"/>
                <a:gd name="connsiteX444" fmla="*/ 144381 w 189841"/>
                <a:gd name="connsiteY444" fmla="*/ 66757 h 175170"/>
                <a:gd name="connsiteX445" fmla="*/ 142090 w 189841"/>
                <a:gd name="connsiteY445" fmla="*/ 69311 h 175170"/>
                <a:gd name="connsiteX446" fmla="*/ 138417 w 189841"/>
                <a:gd name="connsiteY446" fmla="*/ 68189 h 175170"/>
                <a:gd name="connsiteX447" fmla="*/ 137294 w 189841"/>
                <a:gd name="connsiteY447" fmla="*/ 67162 h 175170"/>
                <a:gd name="connsiteX448" fmla="*/ 137043 w 189841"/>
                <a:gd name="connsiteY448" fmla="*/ 66608 h 175170"/>
                <a:gd name="connsiteX449" fmla="*/ 138490 w 189841"/>
                <a:gd name="connsiteY449" fmla="*/ 64341 h 175170"/>
                <a:gd name="connsiteX450" fmla="*/ 141075 w 189841"/>
                <a:gd name="connsiteY450" fmla="*/ 64417 h 175170"/>
                <a:gd name="connsiteX451" fmla="*/ 142444 w 189841"/>
                <a:gd name="connsiteY451" fmla="*/ 63907 h 175170"/>
                <a:gd name="connsiteX452" fmla="*/ 144135 w 189841"/>
                <a:gd name="connsiteY452" fmla="*/ 63190 h 175170"/>
                <a:gd name="connsiteX453" fmla="*/ 144148 w 189841"/>
                <a:gd name="connsiteY453" fmla="*/ 62112 h 175170"/>
                <a:gd name="connsiteX454" fmla="*/ 4248 w 189841"/>
                <a:gd name="connsiteY454" fmla="*/ 50509 h 175170"/>
                <a:gd name="connsiteX455" fmla="*/ 5422 w 189841"/>
                <a:gd name="connsiteY455" fmla="*/ 51103 h 175170"/>
                <a:gd name="connsiteX456" fmla="*/ 6182 w 189841"/>
                <a:gd name="connsiteY456" fmla="*/ 51716 h 175170"/>
                <a:gd name="connsiteX457" fmla="*/ 6420 w 189841"/>
                <a:gd name="connsiteY457" fmla="*/ 52418 h 175170"/>
                <a:gd name="connsiteX458" fmla="*/ 4770 w 189841"/>
                <a:gd name="connsiteY458" fmla="*/ 53826 h 175170"/>
                <a:gd name="connsiteX459" fmla="*/ 4427 w 189841"/>
                <a:gd name="connsiteY459" fmla="*/ 54463 h 175170"/>
                <a:gd name="connsiteX460" fmla="*/ 5697 w 189841"/>
                <a:gd name="connsiteY460" fmla="*/ 55727 h 175170"/>
                <a:gd name="connsiteX461" fmla="*/ 5675 w 189841"/>
                <a:gd name="connsiteY461" fmla="*/ 56233 h 175170"/>
                <a:gd name="connsiteX462" fmla="*/ 6211 w 189841"/>
                <a:gd name="connsiteY462" fmla="*/ 58677 h 175170"/>
                <a:gd name="connsiteX463" fmla="*/ 6828 w 189841"/>
                <a:gd name="connsiteY463" fmla="*/ 59599 h 175170"/>
                <a:gd name="connsiteX464" fmla="*/ 8430 w 189841"/>
                <a:gd name="connsiteY464" fmla="*/ 60334 h 175170"/>
                <a:gd name="connsiteX465" fmla="*/ 9540 w 189841"/>
                <a:gd name="connsiteY465" fmla="*/ 60577 h 175170"/>
                <a:gd name="connsiteX466" fmla="*/ 10020 w 189841"/>
                <a:gd name="connsiteY466" fmla="*/ 62032 h 175170"/>
                <a:gd name="connsiteX467" fmla="*/ 7265 w 189841"/>
                <a:gd name="connsiteY467" fmla="*/ 61129 h 175170"/>
                <a:gd name="connsiteX468" fmla="*/ 5252 w 189841"/>
                <a:gd name="connsiteY468" fmla="*/ 59829 h 175170"/>
                <a:gd name="connsiteX469" fmla="*/ 3591 w 189841"/>
                <a:gd name="connsiteY469" fmla="*/ 56615 h 175170"/>
                <a:gd name="connsiteX470" fmla="*/ 54 w 189841"/>
                <a:gd name="connsiteY470" fmla="*/ 52953 h 175170"/>
                <a:gd name="connsiteX471" fmla="*/ 0 w 189841"/>
                <a:gd name="connsiteY471" fmla="*/ 51889 h 175170"/>
                <a:gd name="connsiteX472" fmla="*/ 1345 w 189841"/>
                <a:gd name="connsiteY472" fmla="*/ 51082 h 175170"/>
                <a:gd name="connsiteX473" fmla="*/ 128309 w 189841"/>
                <a:gd name="connsiteY473" fmla="*/ 44914 h 175170"/>
                <a:gd name="connsiteX474" fmla="*/ 128056 w 189841"/>
                <a:gd name="connsiteY474" fmla="*/ 46257 h 175170"/>
                <a:gd name="connsiteX475" fmla="*/ 127220 w 189841"/>
                <a:gd name="connsiteY475" fmla="*/ 47137 h 175170"/>
                <a:gd name="connsiteX476" fmla="*/ 126605 w 189841"/>
                <a:gd name="connsiteY476" fmla="*/ 48654 h 175170"/>
                <a:gd name="connsiteX477" fmla="*/ 126272 w 189841"/>
                <a:gd name="connsiteY477" fmla="*/ 50821 h 175170"/>
                <a:gd name="connsiteX478" fmla="*/ 124983 w 189841"/>
                <a:gd name="connsiteY478" fmla="*/ 50873 h 175170"/>
                <a:gd name="connsiteX479" fmla="*/ 124202 w 189841"/>
                <a:gd name="connsiteY479" fmla="*/ 50435 h 175170"/>
                <a:gd name="connsiteX480" fmla="*/ 123945 w 189841"/>
                <a:gd name="connsiteY480" fmla="*/ 49616 h 175170"/>
                <a:gd name="connsiteX481" fmla="*/ 123893 w 189841"/>
                <a:gd name="connsiteY481" fmla="*/ 48581 h 175170"/>
                <a:gd name="connsiteX482" fmla="*/ 123327 w 189841"/>
                <a:gd name="connsiteY482" fmla="*/ 48621 h 175170"/>
                <a:gd name="connsiteX483" fmla="*/ 122871 w 189841"/>
                <a:gd name="connsiteY483" fmla="*/ 49746 h 175170"/>
                <a:gd name="connsiteX484" fmla="*/ 122472 w 189841"/>
                <a:gd name="connsiteY484" fmla="*/ 50253 h 175170"/>
                <a:gd name="connsiteX485" fmla="*/ 121174 w 189841"/>
                <a:gd name="connsiteY485" fmla="*/ 50360 h 175170"/>
                <a:gd name="connsiteX486" fmla="*/ 119753 w 189841"/>
                <a:gd name="connsiteY486" fmla="*/ 49668 h 175170"/>
                <a:gd name="connsiteX487" fmla="*/ 119820 w 189841"/>
                <a:gd name="connsiteY487" fmla="*/ 48171 h 175170"/>
                <a:gd name="connsiteX488" fmla="*/ 119535 w 189841"/>
                <a:gd name="connsiteY488" fmla="*/ 46438 h 175170"/>
                <a:gd name="connsiteX489" fmla="*/ 119660 w 189841"/>
                <a:gd name="connsiteY489" fmla="*/ 45831 h 175170"/>
                <a:gd name="connsiteX490" fmla="*/ 123556 w 189841"/>
                <a:gd name="connsiteY490" fmla="*/ 45681 h 175170"/>
                <a:gd name="connsiteX491" fmla="*/ 124696 w 189841"/>
                <a:gd name="connsiteY491" fmla="*/ 46961 h 175170"/>
                <a:gd name="connsiteX492" fmla="*/ 126074 w 189841"/>
                <a:gd name="connsiteY492" fmla="*/ 46219 h 175170"/>
                <a:gd name="connsiteX493" fmla="*/ 126639 w 189841"/>
                <a:gd name="connsiteY493" fmla="*/ 45417 h 175170"/>
                <a:gd name="connsiteX494" fmla="*/ 130950 w 189841"/>
                <a:gd name="connsiteY494" fmla="*/ 32341 h 175170"/>
                <a:gd name="connsiteX495" fmla="*/ 132183 w 189841"/>
                <a:gd name="connsiteY495" fmla="*/ 32966 h 175170"/>
                <a:gd name="connsiteX496" fmla="*/ 133066 w 189841"/>
                <a:gd name="connsiteY496" fmla="*/ 33702 h 175170"/>
                <a:gd name="connsiteX497" fmla="*/ 133541 w 189841"/>
                <a:gd name="connsiteY497" fmla="*/ 34679 h 175170"/>
                <a:gd name="connsiteX498" fmla="*/ 131040 w 189841"/>
                <a:gd name="connsiteY498" fmla="*/ 35363 h 175170"/>
                <a:gd name="connsiteX499" fmla="*/ 128285 w 189841"/>
                <a:gd name="connsiteY499" fmla="*/ 33206 h 175170"/>
                <a:gd name="connsiteX500" fmla="*/ 110049 w 189841"/>
                <a:gd name="connsiteY500" fmla="*/ 25075 h 175170"/>
                <a:gd name="connsiteX501" fmla="*/ 112167 w 189841"/>
                <a:gd name="connsiteY501" fmla="*/ 25249 h 175170"/>
                <a:gd name="connsiteX502" fmla="*/ 113372 w 189841"/>
                <a:gd name="connsiteY502" fmla="*/ 26719 h 175170"/>
                <a:gd name="connsiteX503" fmla="*/ 113653 w 189841"/>
                <a:gd name="connsiteY503" fmla="*/ 27413 h 175170"/>
                <a:gd name="connsiteX504" fmla="*/ 113262 w 189841"/>
                <a:gd name="connsiteY504" fmla="*/ 28592 h 175170"/>
                <a:gd name="connsiteX505" fmla="*/ 113385 w 189841"/>
                <a:gd name="connsiteY505" fmla="*/ 29738 h 175170"/>
                <a:gd name="connsiteX506" fmla="*/ 110548 w 189841"/>
                <a:gd name="connsiteY506" fmla="*/ 30675 h 175170"/>
                <a:gd name="connsiteX507" fmla="*/ 107665 w 189841"/>
                <a:gd name="connsiteY507" fmla="*/ 28903 h 175170"/>
                <a:gd name="connsiteX508" fmla="*/ 107691 w 189841"/>
                <a:gd name="connsiteY508" fmla="*/ 27849 h 175170"/>
                <a:gd name="connsiteX509" fmla="*/ 109213 w 189841"/>
                <a:gd name="connsiteY509" fmla="*/ 25709 h 175170"/>
                <a:gd name="connsiteX510" fmla="*/ 144925 w 189841"/>
                <a:gd name="connsiteY510" fmla="*/ 0 h 175170"/>
                <a:gd name="connsiteX511" fmla="*/ 147585 w 189841"/>
                <a:gd name="connsiteY511" fmla="*/ 721 h 175170"/>
                <a:gd name="connsiteX512" fmla="*/ 149568 w 189841"/>
                <a:gd name="connsiteY512" fmla="*/ 1256 h 175170"/>
                <a:gd name="connsiteX513" fmla="*/ 150717 w 189841"/>
                <a:gd name="connsiteY513" fmla="*/ 2129 h 175170"/>
                <a:gd name="connsiteX514" fmla="*/ 151436 w 189841"/>
                <a:gd name="connsiteY514" fmla="*/ 2926 h 175170"/>
                <a:gd name="connsiteX515" fmla="*/ 152530 w 189841"/>
                <a:gd name="connsiteY515" fmla="*/ 3614 h 175170"/>
                <a:gd name="connsiteX516" fmla="*/ 153345 w 189841"/>
                <a:gd name="connsiteY516" fmla="*/ 3772 h 175170"/>
                <a:gd name="connsiteX517" fmla="*/ 153973 w 189841"/>
                <a:gd name="connsiteY517" fmla="*/ 6128 h 175170"/>
                <a:gd name="connsiteX518" fmla="*/ 154308 w 189841"/>
                <a:gd name="connsiteY518" fmla="*/ 9045 h 175170"/>
                <a:gd name="connsiteX519" fmla="*/ 153809 w 189841"/>
                <a:gd name="connsiteY519" fmla="*/ 10301 h 175170"/>
                <a:gd name="connsiteX520" fmla="*/ 152351 w 189841"/>
                <a:gd name="connsiteY520" fmla="*/ 10592 h 175170"/>
                <a:gd name="connsiteX521" fmla="*/ 147802 w 189841"/>
                <a:gd name="connsiteY521" fmla="*/ 13345 h 175170"/>
                <a:gd name="connsiteX522" fmla="*/ 147692 w 189841"/>
                <a:gd name="connsiteY522" fmla="*/ 15861 h 175170"/>
                <a:gd name="connsiteX523" fmla="*/ 147752 w 189841"/>
                <a:gd name="connsiteY523" fmla="*/ 17079 h 175170"/>
                <a:gd name="connsiteX524" fmla="*/ 147845 w 189841"/>
                <a:gd name="connsiteY524" fmla="*/ 17940 h 175170"/>
                <a:gd name="connsiteX525" fmla="*/ 148320 w 189841"/>
                <a:gd name="connsiteY525" fmla="*/ 18665 h 175170"/>
                <a:gd name="connsiteX526" fmla="*/ 148320 w 189841"/>
                <a:gd name="connsiteY526" fmla="*/ 19710 h 175170"/>
                <a:gd name="connsiteX527" fmla="*/ 147810 w 189841"/>
                <a:gd name="connsiteY527" fmla="*/ 20829 h 175170"/>
                <a:gd name="connsiteX528" fmla="*/ 145823 w 189841"/>
                <a:gd name="connsiteY528" fmla="*/ 22703 h 175170"/>
                <a:gd name="connsiteX529" fmla="*/ 144446 w 189841"/>
                <a:gd name="connsiteY529" fmla="*/ 24193 h 175170"/>
                <a:gd name="connsiteX530" fmla="*/ 142904 w 189841"/>
                <a:gd name="connsiteY530" fmla="*/ 26211 h 175170"/>
                <a:gd name="connsiteX531" fmla="*/ 142032 w 189841"/>
                <a:gd name="connsiteY531" fmla="*/ 26457 h 175170"/>
                <a:gd name="connsiteX532" fmla="*/ 141352 w 189841"/>
                <a:gd name="connsiteY532" fmla="*/ 26812 h 175170"/>
                <a:gd name="connsiteX533" fmla="*/ 140727 w 189841"/>
                <a:gd name="connsiteY533" fmla="*/ 25699 h 175170"/>
                <a:gd name="connsiteX534" fmla="*/ 137298 w 189841"/>
                <a:gd name="connsiteY534" fmla="*/ 23731 h 175170"/>
                <a:gd name="connsiteX535" fmla="*/ 129362 w 189841"/>
                <a:gd name="connsiteY535" fmla="*/ 22583 h 175170"/>
                <a:gd name="connsiteX536" fmla="*/ 125571 w 189841"/>
                <a:gd name="connsiteY536" fmla="*/ 21129 h 175170"/>
                <a:gd name="connsiteX537" fmla="*/ 123908 w 189841"/>
                <a:gd name="connsiteY537" fmla="*/ 21399 h 175170"/>
                <a:gd name="connsiteX538" fmla="*/ 120688 w 189841"/>
                <a:gd name="connsiteY538" fmla="*/ 19771 h 175170"/>
                <a:gd name="connsiteX539" fmla="*/ 118481 w 189841"/>
                <a:gd name="connsiteY539" fmla="*/ 20486 h 175170"/>
                <a:gd name="connsiteX540" fmla="*/ 113800 w 189841"/>
                <a:gd name="connsiteY540" fmla="*/ 23378 h 175170"/>
                <a:gd name="connsiteX541" fmla="*/ 111273 w 189841"/>
                <a:gd name="connsiteY541" fmla="*/ 23064 h 175170"/>
                <a:gd name="connsiteX542" fmla="*/ 108572 w 189841"/>
                <a:gd name="connsiteY542" fmla="*/ 21326 h 175170"/>
                <a:gd name="connsiteX543" fmla="*/ 106814 w 189841"/>
                <a:gd name="connsiteY543" fmla="*/ 21006 h 175170"/>
                <a:gd name="connsiteX544" fmla="*/ 104752 w 189841"/>
                <a:gd name="connsiteY544" fmla="*/ 21927 h 175170"/>
                <a:gd name="connsiteX545" fmla="*/ 101448 w 189841"/>
                <a:gd name="connsiteY545" fmla="*/ 25253 h 175170"/>
                <a:gd name="connsiteX546" fmla="*/ 98086 w 189841"/>
                <a:gd name="connsiteY546" fmla="*/ 26882 h 175170"/>
                <a:gd name="connsiteX547" fmla="*/ 95074 w 189841"/>
                <a:gd name="connsiteY547" fmla="*/ 26245 h 175170"/>
                <a:gd name="connsiteX548" fmla="*/ 91021 w 189841"/>
                <a:gd name="connsiteY548" fmla="*/ 26259 h 175170"/>
                <a:gd name="connsiteX549" fmla="*/ 90588 w 189841"/>
                <a:gd name="connsiteY549" fmla="*/ 28117 h 175170"/>
                <a:gd name="connsiteX550" fmla="*/ 91373 w 189841"/>
                <a:gd name="connsiteY550" fmla="*/ 29402 h 175170"/>
                <a:gd name="connsiteX551" fmla="*/ 93588 w 189841"/>
                <a:gd name="connsiteY551" fmla="*/ 31593 h 175170"/>
                <a:gd name="connsiteX552" fmla="*/ 92549 w 189841"/>
                <a:gd name="connsiteY552" fmla="*/ 33239 h 175170"/>
                <a:gd name="connsiteX553" fmla="*/ 93320 w 189841"/>
                <a:gd name="connsiteY553" fmla="*/ 34888 h 175170"/>
                <a:gd name="connsiteX554" fmla="*/ 94763 w 189841"/>
                <a:gd name="connsiteY554" fmla="*/ 35223 h 175170"/>
                <a:gd name="connsiteX555" fmla="*/ 96942 w 189841"/>
                <a:gd name="connsiteY555" fmla="*/ 35130 h 175170"/>
                <a:gd name="connsiteX556" fmla="*/ 100971 w 189841"/>
                <a:gd name="connsiteY556" fmla="*/ 37263 h 175170"/>
                <a:gd name="connsiteX557" fmla="*/ 102733 w 189841"/>
                <a:gd name="connsiteY557" fmla="*/ 39510 h 175170"/>
                <a:gd name="connsiteX558" fmla="*/ 103858 w 189841"/>
                <a:gd name="connsiteY558" fmla="*/ 41968 h 175170"/>
                <a:gd name="connsiteX559" fmla="*/ 101405 w 189841"/>
                <a:gd name="connsiteY559" fmla="*/ 40206 h 175170"/>
                <a:gd name="connsiteX560" fmla="*/ 99777 w 189841"/>
                <a:gd name="connsiteY560" fmla="*/ 38511 h 175170"/>
                <a:gd name="connsiteX561" fmla="*/ 97505 w 189841"/>
                <a:gd name="connsiteY561" fmla="*/ 37896 h 175170"/>
                <a:gd name="connsiteX562" fmla="*/ 94346 w 189841"/>
                <a:gd name="connsiteY562" fmla="*/ 36452 h 175170"/>
                <a:gd name="connsiteX563" fmla="*/ 92362 w 189841"/>
                <a:gd name="connsiteY563" fmla="*/ 36211 h 175170"/>
                <a:gd name="connsiteX564" fmla="*/ 90250 w 189841"/>
                <a:gd name="connsiteY564" fmla="*/ 37212 h 175170"/>
                <a:gd name="connsiteX565" fmla="*/ 90085 w 189841"/>
                <a:gd name="connsiteY565" fmla="*/ 38348 h 175170"/>
                <a:gd name="connsiteX566" fmla="*/ 92362 w 189841"/>
                <a:gd name="connsiteY566" fmla="*/ 40468 h 175170"/>
                <a:gd name="connsiteX567" fmla="*/ 94443 w 189841"/>
                <a:gd name="connsiteY567" fmla="*/ 41772 h 175170"/>
                <a:gd name="connsiteX568" fmla="*/ 95547 w 189841"/>
                <a:gd name="connsiteY568" fmla="*/ 42833 h 175170"/>
                <a:gd name="connsiteX569" fmla="*/ 96283 w 189841"/>
                <a:gd name="connsiteY569" fmla="*/ 45180 h 175170"/>
                <a:gd name="connsiteX570" fmla="*/ 95864 w 189841"/>
                <a:gd name="connsiteY570" fmla="*/ 45977 h 175170"/>
                <a:gd name="connsiteX571" fmla="*/ 95095 w 189841"/>
                <a:gd name="connsiteY571" fmla="*/ 46719 h 175170"/>
                <a:gd name="connsiteX572" fmla="*/ 92625 w 189841"/>
                <a:gd name="connsiteY572" fmla="*/ 45241 h 175170"/>
                <a:gd name="connsiteX573" fmla="*/ 88848 w 189841"/>
                <a:gd name="connsiteY573" fmla="*/ 39980 h 175170"/>
                <a:gd name="connsiteX574" fmla="*/ 83579 w 189841"/>
                <a:gd name="connsiteY574" fmla="*/ 38931 h 175170"/>
                <a:gd name="connsiteX575" fmla="*/ 82698 w 189841"/>
                <a:gd name="connsiteY575" fmla="*/ 40029 h 175170"/>
                <a:gd name="connsiteX576" fmla="*/ 83733 w 189841"/>
                <a:gd name="connsiteY576" fmla="*/ 42811 h 175170"/>
                <a:gd name="connsiteX577" fmla="*/ 84482 w 189841"/>
                <a:gd name="connsiteY577" fmla="*/ 43894 h 175170"/>
                <a:gd name="connsiteX578" fmla="*/ 89060 w 189841"/>
                <a:gd name="connsiteY578" fmla="*/ 46894 h 175170"/>
                <a:gd name="connsiteX579" fmla="*/ 88693 w 189841"/>
                <a:gd name="connsiteY579" fmla="*/ 47530 h 175170"/>
                <a:gd name="connsiteX580" fmla="*/ 88025 w 189841"/>
                <a:gd name="connsiteY580" fmla="*/ 47801 h 175170"/>
                <a:gd name="connsiteX581" fmla="*/ 82901 w 189841"/>
                <a:gd name="connsiteY581" fmla="*/ 46087 h 175170"/>
                <a:gd name="connsiteX582" fmla="*/ 81411 w 189841"/>
                <a:gd name="connsiteY582" fmla="*/ 43476 h 175170"/>
                <a:gd name="connsiteX583" fmla="*/ 81053 w 189841"/>
                <a:gd name="connsiteY583" fmla="*/ 40173 h 175170"/>
                <a:gd name="connsiteX584" fmla="*/ 76324 w 189841"/>
                <a:gd name="connsiteY584" fmla="*/ 37877 h 175170"/>
                <a:gd name="connsiteX585" fmla="*/ 71864 w 189841"/>
                <a:gd name="connsiteY585" fmla="*/ 35377 h 175170"/>
                <a:gd name="connsiteX586" fmla="*/ 70867 w 189841"/>
                <a:gd name="connsiteY586" fmla="*/ 33002 h 175170"/>
                <a:gd name="connsiteX587" fmla="*/ 71785 w 189841"/>
                <a:gd name="connsiteY587" fmla="*/ 32121 h 175170"/>
                <a:gd name="connsiteX588" fmla="*/ 72435 w 189841"/>
                <a:gd name="connsiteY588" fmla="*/ 30375 h 175170"/>
                <a:gd name="connsiteX589" fmla="*/ 69984 w 189841"/>
                <a:gd name="connsiteY589" fmla="*/ 30697 h 175170"/>
                <a:gd name="connsiteX590" fmla="*/ 68446 w 189841"/>
                <a:gd name="connsiteY590" fmla="*/ 31801 h 175170"/>
                <a:gd name="connsiteX591" fmla="*/ 65961 w 189841"/>
                <a:gd name="connsiteY591" fmla="*/ 32872 h 175170"/>
                <a:gd name="connsiteX592" fmla="*/ 65859 w 189841"/>
                <a:gd name="connsiteY592" fmla="*/ 34625 h 175170"/>
                <a:gd name="connsiteX593" fmla="*/ 66252 w 189841"/>
                <a:gd name="connsiteY593" fmla="*/ 36248 h 175170"/>
                <a:gd name="connsiteX594" fmla="*/ 65430 w 189841"/>
                <a:gd name="connsiteY594" fmla="*/ 38606 h 175170"/>
                <a:gd name="connsiteX595" fmla="*/ 64631 w 189841"/>
                <a:gd name="connsiteY595" fmla="*/ 42709 h 175170"/>
                <a:gd name="connsiteX596" fmla="*/ 65136 w 189841"/>
                <a:gd name="connsiteY596" fmla="*/ 44859 h 175170"/>
                <a:gd name="connsiteX597" fmla="*/ 70521 w 189841"/>
                <a:gd name="connsiteY597" fmla="*/ 51017 h 175170"/>
                <a:gd name="connsiteX598" fmla="*/ 72363 w 189841"/>
                <a:gd name="connsiteY598" fmla="*/ 55482 h 175170"/>
                <a:gd name="connsiteX599" fmla="*/ 73685 w 189841"/>
                <a:gd name="connsiteY599" fmla="*/ 57173 h 175170"/>
                <a:gd name="connsiteX600" fmla="*/ 76441 w 189841"/>
                <a:gd name="connsiteY600" fmla="*/ 59037 h 175170"/>
                <a:gd name="connsiteX601" fmla="*/ 79314 w 189841"/>
                <a:gd name="connsiteY601" fmla="*/ 62503 h 175170"/>
                <a:gd name="connsiteX602" fmla="*/ 80533 w 189841"/>
                <a:gd name="connsiteY602" fmla="*/ 64308 h 175170"/>
                <a:gd name="connsiteX603" fmla="*/ 81400 w 189841"/>
                <a:gd name="connsiteY603" fmla="*/ 67259 h 175170"/>
                <a:gd name="connsiteX604" fmla="*/ 78982 w 189841"/>
                <a:gd name="connsiteY604" fmla="*/ 69084 h 175170"/>
                <a:gd name="connsiteX605" fmla="*/ 77574 w 189841"/>
                <a:gd name="connsiteY605" fmla="*/ 69160 h 175170"/>
                <a:gd name="connsiteX606" fmla="*/ 76794 w 189841"/>
                <a:gd name="connsiteY606" fmla="*/ 68350 h 175170"/>
                <a:gd name="connsiteX607" fmla="*/ 77885 w 189841"/>
                <a:gd name="connsiteY607" fmla="*/ 66339 h 175170"/>
                <a:gd name="connsiteX608" fmla="*/ 77730 w 189841"/>
                <a:gd name="connsiteY608" fmla="*/ 65113 h 175170"/>
                <a:gd name="connsiteX609" fmla="*/ 73996 w 189841"/>
                <a:gd name="connsiteY609" fmla="*/ 63214 h 175170"/>
                <a:gd name="connsiteX610" fmla="*/ 72415 w 189841"/>
                <a:gd name="connsiteY610" fmla="*/ 63854 h 175170"/>
                <a:gd name="connsiteX611" fmla="*/ 70593 w 189841"/>
                <a:gd name="connsiteY611" fmla="*/ 65091 h 175170"/>
                <a:gd name="connsiteX612" fmla="*/ 71633 w 189841"/>
                <a:gd name="connsiteY612" fmla="*/ 67387 h 175170"/>
                <a:gd name="connsiteX613" fmla="*/ 72804 w 189841"/>
                <a:gd name="connsiteY613" fmla="*/ 68899 h 175170"/>
                <a:gd name="connsiteX614" fmla="*/ 73391 w 189841"/>
                <a:gd name="connsiteY614" fmla="*/ 70984 h 175170"/>
                <a:gd name="connsiteX615" fmla="*/ 75629 w 189841"/>
                <a:gd name="connsiteY615" fmla="*/ 70803 h 175170"/>
                <a:gd name="connsiteX616" fmla="*/ 72616 w 189841"/>
                <a:gd name="connsiteY616" fmla="*/ 73135 h 175170"/>
                <a:gd name="connsiteX617" fmla="*/ 69789 w 189841"/>
                <a:gd name="connsiteY617" fmla="*/ 74326 h 175170"/>
                <a:gd name="connsiteX618" fmla="*/ 67008 w 189841"/>
                <a:gd name="connsiteY618" fmla="*/ 74395 h 175170"/>
                <a:gd name="connsiteX619" fmla="*/ 65237 w 189841"/>
                <a:gd name="connsiteY619" fmla="*/ 74611 h 175170"/>
                <a:gd name="connsiteX620" fmla="*/ 64627 w 189841"/>
                <a:gd name="connsiteY620" fmla="*/ 75207 h 175170"/>
                <a:gd name="connsiteX621" fmla="*/ 66067 w 189841"/>
                <a:gd name="connsiteY621" fmla="*/ 75641 h 175170"/>
                <a:gd name="connsiteX622" fmla="*/ 67243 w 189841"/>
                <a:gd name="connsiteY622" fmla="*/ 75680 h 175170"/>
                <a:gd name="connsiteX623" fmla="*/ 69157 w 189841"/>
                <a:gd name="connsiteY623" fmla="*/ 76939 h 175170"/>
                <a:gd name="connsiteX624" fmla="*/ 74603 w 189841"/>
                <a:gd name="connsiteY624" fmla="*/ 78449 h 175170"/>
                <a:gd name="connsiteX625" fmla="*/ 77198 w 189841"/>
                <a:gd name="connsiteY625" fmla="*/ 80355 h 175170"/>
                <a:gd name="connsiteX626" fmla="*/ 79747 w 189841"/>
                <a:gd name="connsiteY626" fmla="*/ 80529 h 175170"/>
                <a:gd name="connsiteX627" fmla="*/ 82312 w 189841"/>
                <a:gd name="connsiteY627" fmla="*/ 84025 h 175170"/>
                <a:gd name="connsiteX628" fmla="*/ 86749 w 189841"/>
                <a:gd name="connsiteY628" fmla="*/ 84955 h 175170"/>
                <a:gd name="connsiteX629" fmla="*/ 89278 w 189841"/>
                <a:gd name="connsiteY629" fmla="*/ 88478 h 175170"/>
                <a:gd name="connsiteX630" fmla="*/ 92640 w 189841"/>
                <a:gd name="connsiteY630" fmla="*/ 89171 h 175170"/>
                <a:gd name="connsiteX631" fmla="*/ 95536 w 189841"/>
                <a:gd name="connsiteY631" fmla="*/ 90469 h 175170"/>
                <a:gd name="connsiteX632" fmla="*/ 96384 w 189841"/>
                <a:gd name="connsiteY632" fmla="*/ 91707 h 175170"/>
                <a:gd name="connsiteX633" fmla="*/ 96807 w 189841"/>
                <a:gd name="connsiteY633" fmla="*/ 93941 h 175170"/>
                <a:gd name="connsiteX634" fmla="*/ 96995 w 189841"/>
                <a:gd name="connsiteY634" fmla="*/ 98672 h 175170"/>
                <a:gd name="connsiteX635" fmla="*/ 97622 w 189841"/>
                <a:gd name="connsiteY635" fmla="*/ 102191 h 175170"/>
                <a:gd name="connsiteX636" fmla="*/ 97643 w 189841"/>
                <a:gd name="connsiteY636" fmla="*/ 103303 h 175170"/>
                <a:gd name="connsiteX637" fmla="*/ 97490 w 189841"/>
                <a:gd name="connsiteY637" fmla="*/ 104963 h 175170"/>
                <a:gd name="connsiteX638" fmla="*/ 96702 w 189841"/>
                <a:gd name="connsiteY638" fmla="*/ 105778 h 175170"/>
                <a:gd name="connsiteX639" fmla="*/ 95637 w 189841"/>
                <a:gd name="connsiteY639" fmla="*/ 105803 h 175170"/>
                <a:gd name="connsiteX640" fmla="*/ 93553 w 189841"/>
                <a:gd name="connsiteY640" fmla="*/ 103219 h 175170"/>
                <a:gd name="connsiteX641" fmla="*/ 90357 w 189841"/>
                <a:gd name="connsiteY641" fmla="*/ 100497 h 175170"/>
                <a:gd name="connsiteX642" fmla="*/ 86989 w 189841"/>
                <a:gd name="connsiteY642" fmla="*/ 97256 h 175170"/>
                <a:gd name="connsiteX643" fmla="*/ 86032 w 189841"/>
                <a:gd name="connsiteY643" fmla="*/ 96687 h 175170"/>
                <a:gd name="connsiteX644" fmla="*/ 85249 w 189841"/>
                <a:gd name="connsiteY644" fmla="*/ 96633 h 175170"/>
                <a:gd name="connsiteX645" fmla="*/ 83446 w 189841"/>
                <a:gd name="connsiteY645" fmla="*/ 97730 h 175170"/>
                <a:gd name="connsiteX646" fmla="*/ 78436 w 189841"/>
                <a:gd name="connsiteY646" fmla="*/ 98577 h 175170"/>
                <a:gd name="connsiteX647" fmla="*/ 76086 w 189841"/>
                <a:gd name="connsiteY647" fmla="*/ 99761 h 175170"/>
                <a:gd name="connsiteX648" fmla="*/ 75203 w 189841"/>
                <a:gd name="connsiteY648" fmla="*/ 100022 h 175170"/>
                <a:gd name="connsiteX649" fmla="*/ 74957 w 189841"/>
                <a:gd name="connsiteY649" fmla="*/ 100643 h 175170"/>
                <a:gd name="connsiteX650" fmla="*/ 76058 w 189841"/>
                <a:gd name="connsiteY650" fmla="*/ 101290 h 175170"/>
                <a:gd name="connsiteX651" fmla="*/ 77408 w 189841"/>
                <a:gd name="connsiteY651" fmla="*/ 102770 h 175170"/>
                <a:gd name="connsiteX652" fmla="*/ 77408 w 189841"/>
                <a:gd name="connsiteY652" fmla="*/ 104793 h 175170"/>
                <a:gd name="connsiteX653" fmla="*/ 78522 w 189841"/>
                <a:gd name="connsiteY653" fmla="*/ 107248 h 175170"/>
                <a:gd name="connsiteX654" fmla="*/ 79962 w 189841"/>
                <a:gd name="connsiteY654" fmla="*/ 107882 h 175170"/>
                <a:gd name="connsiteX655" fmla="*/ 81839 w 189841"/>
                <a:gd name="connsiteY655" fmla="*/ 107828 h 175170"/>
                <a:gd name="connsiteX656" fmla="*/ 82914 w 189841"/>
                <a:gd name="connsiteY656" fmla="*/ 108281 h 175170"/>
                <a:gd name="connsiteX657" fmla="*/ 83193 w 189841"/>
                <a:gd name="connsiteY657" fmla="*/ 109258 h 175170"/>
                <a:gd name="connsiteX658" fmla="*/ 84283 w 189841"/>
                <a:gd name="connsiteY658" fmla="*/ 110398 h 175170"/>
                <a:gd name="connsiteX659" fmla="*/ 85002 w 189841"/>
                <a:gd name="connsiteY659" fmla="*/ 111242 h 175170"/>
                <a:gd name="connsiteX660" fmla="*/ 84972 w 189841"/>
                <a:gd name="connsiteY660" fmla="*/ 111846 h 175170"/>
                <a:gd name="connsiteX661" fmla="*/ 79738 w 189841"/>
                <a:gd name="connsiteY661" fmla="*/ 113451 h 175170"/>
                <a:gd name="connsiteX662" fmla="*/ 78643 w 189841"/>
                <a:gd name="connsiteY662" fmla="*/ 114184 h 175170"/>
                <a:gd name="connsiteX663" fmla="*/ 77725 w 189841"/>
                <a:gd name="connsiteY663" fmla="*/ 114559 h 175170"/>
                <a:gd name="connsiteX664" fmla="*/ 76365 w 189841"/>
                <a:gd name="connsiteY664" fmla="*/ 113796 h 175170"/>
                <a:gd name="connsiteX665" fmla="*/ 76287 w 189841"/>
                <a:gd name="connsiteY665" fmla="*/ 111836 h 175170"/>
                <a:gd name="connsiteX666" fmla="*/ 74488 w 189841"/>
                <a:gd name="connsiteY666" fmla="*/ 110784 h 175170"/>
                <a:gd name="connsiteX667" fmla="*/ 72838 w 189841"/>
                <a:gd name="connsiteY667" fmla="*/ 109883 h 175170"/>
                <a:gd name="connsiteX668" fmla="*/ 70861 w 189841"/>
                <a:gd name="connsiteY668" fmla="*/ 109496 h 175170"/>
                <a:gd name="connsiteX669" fmla="*/ 69178 w 189841"/>
                <a:gd name="connsiteY669" fmla="*/ 108146 h 175170"/>
                <a:gd name="connsiteX670" fmla="*/ 68081 w 189841"/>
                <a:gd name="connsiteY670" fmla="*/ 109243 h 175170"/>
                <a:gd name="connsiteX671" fmla="*/ 68958 w 189841"/>
                <a:gd name="connsiteY671" fmla="*/ 113042 h 175170"/>
                <a:gd name="connsiteX672" fmla="*/ 70861 w 189841"/>
                <a:gd name="connsiteY672" fmla="*/ 115656 h 175170"/>
                <a:gd name="connsiteX673" fmla="*/ 74043 w 189841"/>
                <a:gd name="connsiteY673" fmla="*/ 122656 h 175170"/>
                <a:gd name="connsiteX674" fmla="*/ 75488 w 189841"/>
                <a:gd name="connsiteY674" fmla="*/ 126783 h 175170"/>
                <a:gd name="connsiteX675" fmla="*/ 75780 w 189841"/>
                <a:gd name="connsiteY675" fmla="*/ 128778 h 175170"/>
                <a:gd name="connsiteX676" fmla="*/ 75060 w 189841"/>
                <a:gd name="connsiteY676" fmla="*/ 132087 h 175170"/>
                <a:gd name="connsiteX677" fmla="*/ 76624 w 189841"/>
                <a:gd name="connsiteY677" fmla="*/ 134544 h 175170"/>
                <a:gd name="connsiteX678" fmla="*/ 77695 w 189841"/>
                <a:gd name="connsiteY678" fmla="*/ 137065 h 175170"/>
                <a:gd name="connsiteX679" fmla="*/ 76516 w 189841"/>
                <a:gd name="connsiteY679" fmla="*/ 136970 h 175170"/>
                <a:gd name="connsiteX680" fmla="*/ 75493 w 189841"/>
                <a:gd name="connsiteY680" fmla="*/ 136081 h 175170"/>
                <a:gd name="connsiteX681" fmla="*/ 73776 w 189841"/>
                <a:gd name="connsiteY681" fmla="*/ 135032 h 175170"/>
                <a:gd name="connsiteX682" fmla="*/ 70446 w 189841"/>
                <a:gd name="connsiteY682" fmla="*/ 131007 h 175170"/>
                <a:gd name="connsiteX683" fmla="*/ 69286 w 189841"/>
                <a:gd name="connsiteY683" fmla="*/ 128493 h 175170"/>
                <a:gd name="connsiteX684" fmla="*/ 67900 w 189841"/>
                <a:gd name="connsiteY684" fmla="*/ 128296 h 175170"/>
                <a:gd name="connsiteX685" fmla="*/ 65494 w 189841"/>
                <a:gd name="connsiteY685" fmla="*/ 128657 h 175170"/>
                <a:gd name="connsiteX686" fmla="*/ 62856 w 189841"/>
                <a:gd name="connsiteY686" fmla="*/ 134024 h 175170"/>
                <a:gd name="connsiteX687" fmla="*/ 62864 w 189841"/>
                <a:gd name="connsiteY687" fmla="*/ 137095 h 175170"/>
                <a:gd name="connsiteX688" fmla="*/ 61500 w 189841"/>
                <a:gd name="connsiteY688" fmla="*/ 136364 h 175170"/>
                <a:gd name="connsiteX689" fmla="*/ 60329 w 189841"/>
                <a:gd name="connsiteY689" fmla="*/ 135407 h 175170"/>
                <a:gd name="connsiteX690" fmla="*/ 60472 w 189841"/>
                <a:gd name="connsiteY690" fmla="*/ 132045 h 175170"/>
                <a:gd name="connsiteX691" fmla="*/ 60355 w 189841"/>
                <a:gd name="connsiteY691" fmla="*/ 130632 h 175170"/>
                <a:gd name="connsiteX692" fmla="*/ 57153 w 189841"/>
                <a:gd name="connsiteY692" fmla="*/ 126045 h 175170"/>
                <a:gd name="connsiteX693" fmla="*/ 55684 w 189841"/>
                <a:gd name="connsiteY693" fmla="*/ 125530 h 175170"/>
                <a:gd name="connsiteX694" fmla="*/ 55000 w 189841"/>
                <a:gd name="connsiteY694" fmla="*/ 123978 h 175170"/>
                <a:gd name="connsiteX695" fmla="*/ 53821 w 189841"/>
                <a:gd name="connsiteY695" fmla="*/ 122324 h 175170"/>
                <a:gd name="connsiteX696" fmla="*/ 52301 w 189841"/>
                <a:gd name="connsiteY696" fmla="*/ 122641 h 175170"/>
                <a:gd name="connsiteX697" fmla="*/ 51059 w 189841"/>
                <a:gd name="connsiteY697" fmla="*/ 123312 h 175170"/>
                <a:gd name="connsiteX698" fmla="*/ 50716 w 189841"/>
                <a:gd name="connsiteY698" fmla="*/ 125811 h 175170"/>
                <a:gd name="connsiteX699" fmla="*/ 50588 w 189841"/>
                <a:gd name="connsiteY699" fmla="*/ 128050 h 175170"/>
                <a:gd name="connsiteX700" fmla="*/ 49662 w 189841"/>
                <a:gd name="connsiteY700" fmla="*/ 129734 h 175170"/>
                <a:gd name="connsiteX701" fmla="*/ 46250 w 189841"/>
                <a:gd name="connsiteY701" fmla="*/ 126536 h 175170"/>
                <a:gd name="connsiteX702" fmla="*/ 42819 w 189841"/>
                <a:gd name="connsiteY702" fmla="*/ 121001 h 175170"/>
                <a:gd name="connsiteX703" fmla="*/ 42728 w 189841"/>
                <a:gd name="connsiteY703" fmla="*/ 117960 h 175170"/>
                <a:gd name="connsiteX704" fmla="*/ 45242 w 189841"/>
                <a:gd name="connsiteY704" fmla="*/ 115185 h 175170"/>
                <a:gd name="connsiteX705" fmla="*/ 44941 w 189841"/>
                <a:gd name="connsiteY705" fmla="*/ 113198 h 175170"/>
                <a:gd name="connsiteX706" fmla="*/ 42562 w 189841"/>
                <a:gd name="connsiteY706" fmla="*/ 109272 h 175170"/>
                <a:gd name="connsiteX707" fmla="*/ 39133 w 189841"/>
                <a:gd name="connsiteY707" fmla="*/ 106744 h 175170"/>
                <a:gd name="connsiteX708" fmla="*/ 37211 w 189841"/>
                <a:gd name="connsiteY708" fmla="*/ 105993 h 175170"/>
                <a:gd name="connsiteX709" fmla="*/ 36308 w 189841"/>
                <a:gd name="connsiteY709" fmla="*/ 103303 h 175170"/>
                <a:gd name="connsiteX710" fmla="*/ 34468 w 189841"/>
                <a:gd name="connsiteY710" fmla="*/ 101912 h 175170"/>
                <a:gd name="connsiteX711" fmla="*/ 32980 w 189841"/>
                <a:gd name="connsiteY711" fmla="*/ 101264 h 175170"/>
                <a:gd name="connsiteX712" fmla="*/ 32687 w 189841"/>
                <a:gd name="connsiteY712" fmla="*/ 100305 h 175170"/>
                <a:gd name="connsiteX713" fmla="*/ 33136 w 189841"/>
                <a:gd name="connsiteY713" fmla="*/ 99595 h 175170"/>
                <a:gd name="connsiteX714" fmla="*/ 36742 w 189841"/>
                <a:gd name="connsiteY714" fmla="*/ 96823 h 175170"/>
                <a:gd name="connsiteX715" fmla="*/ 38856 w 189841"/>
                <a:gd name="connsiteY715" fmla="*/ 92481 h 175170"/>
                <a:gd name="connsiteX716" fmla="*/ 39906 w 189841"/>
                <a:gd name="connsiteY716" fmla="*/ 92274 h 175170"/>
                <a:gd name="connsiteX717" fmla="*/ 42063 w 189841"/>
                <a:gd name="connsiteY717" fmla="*/ 93304 h 175170"/>
                <a:gd name="connsiteX718" fmla="*/ 44488 w 189841"/>
                <a:gd name="connsiteY718" fmla="*/ 93035 h 175170"/>
                <a:gd name="connsiteX719" fmla="*/ 46479 w 189841"/>
                <a:gd name="connsiteY719" fmla="*/ 90489 h 175170"/>
                <a:gd name="connsiteX720" fmla="*/ 48165 w 189841"/>
                <a:gd name="connsiteY720" fmla="*/ 89103 h 175170"/>
                <a:gd name="connsiteX721" fmla="*/ 51009 w 189841"/>
                <a:gd name="connsiteY721" fmla="*/ 89282 h 175170"/>
                <a:gd name="connsiteX722" fmla="*/ 57431 w 189841"/>
                <a:gd name="connsiteY722" fmla="*/ 92685 h 175170"/>
                <a:gd name="connsiteX723" fmla="*/ 64333 w 189841"/>
                <a:gd name="connsiteY723" fmla="*/ 94623 h 175170"/>
                <a:gd name="connsiteX724" fmla="*/ 67775 w 189841"/>
                <a:gd name="connsiteY724" fmla="*/ 96324 h 175170"/>
                <a:gd name="connsiteX725" fmla="*/ 69722 w 189841"/>
                <a:gd name="connsiteY725" fmla="*/ 98009 h 175170"/>
                <a:gd name="connsiteX726" fmla="*/ 70757 w 189841"/>
                <a:gd name="connsiteY726" fmla="*/ 98358 h 175170"/>
                <a:gd name="connsiteX727" fmla="*/ 72392 w 189841"/>
                <a:gd name="connsiteY727" fmla="*/ 98596 h 175170"/>
                <a:gd name="connsiteX728" fmla="*/ 72318 w 189841"/>
                <a:gd name="connsiteY728" fmla="*/ 97336 h 175170"/>
                <a:gd name="connsiteX729" fmla="*/ 71791 w 189841"/>
                <a:gd name="connsiteY729" fmla="*/ 96221 h 175170"/>
                <a:gd name="connsiteX730" fmla="*/ 73154 w 189841"/>
                <a:gd name="connsiteY730" fmla="*/ 95614 h 175170"/>
                <a:gd name="connsiteX731" fmla="*/ 76853 w 189841"/>
                <a:gd name="connsiteY731" fmla="*/ 95646 h 175170"/>
                <a:gd name="connsiteX732" fmla="*/ 77526 w 189841"/>
                <a:gd name="connsiteY732" fmla="*/ 95055 h 175170"/>
                <a:gd name="connsiteX733" fmla="*/ 78211 w 189841"/>
                <a:gd name="connsiteY733" fmla="*/ 94098 h 175170"/>
                <a:gd name="connsiteX734" fmla="*/ 77447 w 189841"/>
                <a:gd name="connsiteY734" fmla="*/ 93010 h 175170"/>
                <a:gd name="connsiteX735" fmla="*/ 76222 w 189841"/>
                <a:gd name="connsiteY735" fmla="*/ 92487 h 175170"/>
                <a:gd name="connsiteX736" fmla="*/ 74913 w 189841"/>
                <a:gd name="connsiteY736" fmla="*/ 92342 h 175170"/>
                <a:gd name="connsiteX737" fmla="*/ 74052 w 189841"/>
                <a:gd name="connsiteY737" fmla="*/ 91997 h 175170"/>
                <a:gd name="connsiteX738" fmla="*/ 72661 w 189841"/>
                <a:gd name="connsiteY738" fmla="*/ 92345 h 175170"/>
                <a:gd name="connsiteX739" fmla="*/ 70491 w 189841"/>
                <a:gd name="connsiteY739" fmla="*/ 91504 h 175170"/>
                <a:gd name="connsiteX740" fmla="*/ 69370 w 189841"/>
                <a:gd name="connsiteY740" fmla="*/ 90810 h 175170"/>
                <a:gd name="connsiteX741" fmla="*/ 68712 w 189841"/>
                <a:gd name="connsiteY741" fmla="*/ 90096 h 175170"/>
                <a:gd name="connsiteX742" fmla="*/ 64942 w 189841"/>
                <a:gd name="connsiteY742" fmla="*/ 88672 h 175170"/>
                <a:gd name="connsiteX743" fmla="*/ 61366 w 189841"/>
                <a:gd name="connsiteY743" fmla="*/ 86264 h 175170"/>
                <a:gd name="connsiteX744" fmla="*/ 60560 w 189841"/>
                <a:gd name="connsiteY744" fmla="*/ 87627 h 175170"/>
                <a:gd name="connsiteX745" fmla="*/ 59116 w 189841"/>
                <a:gd name="connsiteY745" fmla="*/ 88366 h 175170"/>
                <a:gd name="connsiteX746" fmla="*/ 57058 w 189841"/>
                <a:gd name="connsiteY746" fmla="*/ 88468 h 175170"/>
                <a:gd name="connsiteX747" fmla="*/ 51275 w 189841"/>
                <a:gd name="connsiteY747" fmla="*/ 86935 h 175170"/>
                <a:gd name="connsiteX748" fmla="*/ 47722 w 189841"/>
                <a:gd name="connsiteY748" fmla="*/ 88105 h 175170"/>
                <a:gd name="connsiteX749" fmla="*/ 45786 w 189841"/>
                <a:gd name="connsiteY749" fmla="*/ 88412 h 175170"/>
                <a:gd name="connsiteX750" fmla="*/ 44304 w 189841"/>
                <a:gd name="connsiteY750" fmla="*/ 88438 h 175170"/>
                <a:gd name="connsiteX751" fmla="*/ 42482 w 189841"/>
                <a:gd name="connsiteY751" fmla="*/ 88963 h 175170"/>
                <a:gd name="connsiteX752" fmla="*/ 40379 w 189841"/>
                <a:gd name="connsiteY752" fmla="*/ 89277 h 175170"/>
                <a:gd name="connsiteX753" fmla="*/ 38556 w 189841"/>
                <a:gd name="connsiteY753" fmla="*/ 87054 h 175170"/>
                <a:gd name="connsiteX754" fmla="*/ 37789 w 189841"/>
                <a:gd name="connsiteY754" fmla="*/ 85331 h 175170"/>
                <a:gd name="connsiteX755" fmla="*/ 37249 w 189841"/>
                <a:gd name="connsiteY755" fmla="*/ 85009 h 175170"/>
                <a:gd name="connsiteX756" fmla="*/ 37222 w 189841"/>
                <a:gd name="connsiteY756" fmla="*/ 86628 h 175170"/>
                <a:gd name="connsiteX757" fmla="*/ 36636 w 189841"/>
                <a:gd name="connsiteY757" fmla="*/ 87926 h 175170"/>
                <a:gd name="connsiteX758" fmla="*/ 33968 w 189841"/>
                <a:gd name="connsiteY758" fmla="*/ 88655 h 175170"/>
                <a:gd name="connsiteX759" fmla="*/ 32432 w 189841"/>
                <a:gd name="connsiteY759" fmla="*/ 87650 h 175170"/>
                <a:gd name="connsiteX760" fmla="*/ 31251 w 189841"/>
                <a:gd name="connsiteY760" fmla="*/ 84598 h 175170"/>
                <a:gd name="connsiteX761" fmla="*/ 29757 w 189841"/>
                <a:gd name="connsiteY761" fmla="*/ 80715 h 175170"/>
                <a:gd name="connsiteX762" fmla="*/ 27126 w 189841"/>
                <a:gd name="connsiteY762" fmla="*/ 77576 h 175170"/>
                <a:gd name="connsiteX763" fmla="*/ 24995 w 189841"/>
                <a:gd name="connsiteY763" fmla="*/ 76755 h 175170"/>
                <a:gd name="connsiteX764" fmla="*/ 24811 w 189841"/>
                <a:gd name="connsiteY764" fmla="*/ 75029 h 175170"/>
                <a:gd name="connsiteX765" fmla="*/ 25006 w 189841"/>
                <a:gd name="connsiteY765" fmla="*/ 73647 h 175170"/>
                <a:gd name="connsiteX766" fmla="*/ 27567 w 189841"/>
                <a:gd name="connsiteY766" fmla="*/ 73306 h 175170"/>
                <a:gd name="connsiteX767" fmla="*/ 31570 w 189841"/>
                <a:gd name="connsiteY767" fmla="*/ 74751 h 175170"/>
                <a:gd name="connsiteX768" fmla="*/ 32397 w 189841"/>
                <a:gd name="connsiteY768" fmla="*/ 74464 h 175170"/>
                <a:gd name="connsiteX769" fmla="*/ 33298 w 189841"/>
                <a:gd name="connsiteY769" fmla="*/ 73797 h 175170"/>
                <a:gd name="connsiteX770" fmla="*/ 33125 w 189841"/>
                <a:gd name="connsiteY770" fmla="*/ 72322 h 175170"/>
                <a:gd name="connsiteX771" fmla="*/ 32547 w 189841"/>
                <a:gd name="connsiteY771" fmla="*/ 71008 h 175170"/>
                <a:gd name="connsiteX772" fmla="*/ 31445 w 189841"/>
                <a:gd name="connsiteY772" fmla="*/ 70949 h 175170"/>
                <a:gd name="connsiteX773" fmla="*/ 30683 w 189841"/>
                <a:gd name="connsiteY773" fmla="*/ 71105 h 175170"/>
                <a:gd name="connsiteX774" fmla="*/ 28221 w 189841"/>
                <a:gd name="connsiteY774" fmla="*/ 70833 h 175170"/>
                <a:gd name="connsiteX775" fmla="*/ 25058 w 189841"/>
                <a:gd name="connsiteY775" fmla="*/ 71563 h 175170"/>
                <a:gd name="connsiteX776" fmla="*/ 23591 w 189841"/>
                <a:gd name="connsiteY776" fmla="*/ 70875 h 175170"/>
                <a:gd name="connsiteX777" fmla="*/ 23103 w 189841"/>
                <a:gd name="connsiteY777" fmla="*/ 70039 h 175170"/>
                <a:gd name="connsiteX778" fmla="*/ 20458 w 189841"/>
                <a:gd name="connsiteY778" fmla="*/ 67963 h 175170"/>
                <a:gd name="connsiteX779" fmla="*/ 18172 w 189841"/>
                <a:gd name="connsiteY779" fmla="*/ 65177 h 175170"/>
                <a:gd name="connsiteX780" fmla="*/ 14468 w 189841"/>
                <a:gd name="connsiteY780" fmla="*/ 63316 h 175170"/>
                <a:gd name="connsiteX781" fmla="*/ 12049 w 189841"/>
                <a:gd name="connsiteY781" fmla="*/ 57641 h 175170"/>
                <a:gd name="connsiteX782" fmla="*/ 10015 w 189841"/>
                <a:gd name="connsiteY782" fmla="*/ 55161 h 175170"/>
                <a:gd name="connsiteX783" fmla="*/ 7845 w 189841"/>
                <a:gd name="connsiteY783" fmla="*/ 53389 h 175170"/>
                <a:gd name="connsiteX784" fmla="*/ 8316 w 189841"/>
                <a:gd name="connsiteY784" fmla="*/ 53356 h 175170"/>
                <a:gd name="connsiteX785" fmla="*/ 9139 w 189841"/>
                <a:gd name="connsiteY785" fmla="*/ 53657 h 175170"/>
                <a:gd name="connsiteX786" fmla="*/ 10715 w 189841"/>
                <a:gd name="connsiteY786" fmla="*/ 54632 h 175170"/>
                <a:gd name="connsiteX787" fmla="*/ 12391 w 189841"/>
                <a:gd name="connsiteY787" fmla="*/ 54842 h 175170"/>
                <a:gd name="connsiteX788" fmla="*/ 13306 w 189841"/>
                <a:gd name="connsiteY788" fmla="*/ 54196 h 175170"/>
                <a:gd name="connsiteX789" fmla="*/ 13833 w 189841"/>
                <a:gd name="connsiteY789" fmla="*/ 53603 h 175170"/>
                <a:gd name="connsiteX790" fmla="*/ 14176 w 189841"/>
                <a:gd name="connsiteY790" fmla="*/ 52630 h 175170"/>
                <a:gd name="connsiteX791" fmla="*/ 14315 w 189841"/>
                <a:gd name="connsiteY791" fmla="*/ 51495 h 175170"/>
                <a:gd name="connsiteX792" fmla="*/ 14587 w 189841"/>
                <a:gd name="connsiteY792" fmla="*/ 51119 h 175170"/>
                <a:gd name="connsiteX793" fmla="*/ 15867 w 189841"/>
                <a:gd name="connsiteY793" fmla="*/ 51247 h 175170"/>
                <a:gd name="connsiteX794" fmla="*/ 16273 w 189841"/>
                <a:gd name="connsiteY794" fmla="*/ 50964 h 175170"/>
                <a:gd name="connsiteX795" fmla="*/ 16256 w 189841"/>
                <a:gd name="connsiteY795" fmla="*/ 49944 h 175170"/>
                <a:gd name="connsiteX796" fmla="*/ 15429 w 189841"/>
                <a:gd name="connsiteY796" fmla="*/ 48672 h 175170"/>
                <a:gd name="connsiteX797" fmla="*/ 14701 w 189841"/>
                <a:gd name="connsiteY797" fmla="*/ 47105 h 175170"/>
                <a:gd name="connsiteX798" fmla="*/ 14697 w 189841"/>
                <a:gd name="connsiteY798" fmla="*/ 46358 h 175170"/>
                <a:gd name="connsiteX799" fmla="*/ 15302 w 189841"/>
                <a:gd name="connsiteY799" fmla="*/ 46055 h 175170"/>
                <a:gd name="connsiteX800" fmla="*/ 16302 w 189841"/>
                <a:gd name="connsiteY800" fmla="*/ 45374 h 175170"/>
                <a:gd name="connsiteX801" fmla="*/ 16839 w 189841"/>
                <a:gd name="connsiteY801" fmla="*/ 44532 h 175170"/>
                <a:gd name="connsiteX802" fmla="*/ 17901 w 189841"/>
                <a:gd name="connsiteY802" fmla="*/ 44112 h 175170"/>
                <a:gd name="connsiteX803" fmla="*/ 19472 w 189841"/>
                <a:gd name="connsiteY803" fmla="*/ 44035 h 175170"/>
                <a:gd name="connsiteX804" fmla="*/ 21223 w 189841"/>
                <a:gd name="connsiteY804" fmla="*/ 43666 h 175170"/>
                <a:gd name="connsiteX805" fmla="*/ 22354 w 189841"/>
                <a:gd name="connsiteY805" fmla="*/ 42760 h 175170"/>
                <a:gd name="connsiteX806" fmla="*/ 22521 w 189841"/>
                <a:gd name="connsiteY806" fmla="*/ 41862 h 175170"/>
                <a:gd name="connsiteX807" fmla="*/ 23229 w 189841"/>
                <a:gd name="connsiteY807" fmla="*/ 39391 h 175170"/>
                <a:gd name="connsiteX808" fmla="*/ 23691 w 189841"/>
                <a:gd name="connsiteY808" fmla="*/ 38181 h 175170"/>
                <a:gd name="connsiteX809" fmla="*/ 24438 w 189841"/>
                <a:gd name="connsiteY809" fmla="*/ 37076 h 175170"/>
                <a:gd name="connsiteX810" fmla="*/ 24844 w 189841"/>
                <a:gd name="connsiteY810" fmla="*/ 35586 h 175170"/>
                <a:gd name="connsiteX811" fmla="*/ 25641 w 189841"/>
                <a:gd name="connsiteY811" fmla="*/ 34184 h 175170"/>
                <a:gd name="connsiteX812" fmla="*/ 27312 w 189841"/>
                <a:gd name="connsiteY812" fmla="*/ 33596 h 175170"/>
                <a:gd name="connsiteX813" fmla="*/ 28828 w 189841"/>
                <a:gd name="connsiteY813" fmla="*/ 32903 h 175170"/>
                <a:gd name="connsiteX814" fmla="*/ 29972 w 189841"/>
                <a:gd name="connsiteY814" fmla="*/ 31096 h 175170"/>
                <a:gd name="connsiteX815" fmla="*/ 30612 w 189841"/>
                <a:gd name="connsiteY815" fmla="*/ 29547 h 175170"/>
                <a:gd name="connsiteX816" fmla="*/ 30616 w 189841"/>
                <a:gd name="connsiteY816" fmla="*/ 28599 h 175170"/>
                <a:gd name="connsiteX817" fmla="*/ 29662 w 189841"/>
                <a:gd name="connsiteY817" fmla="*/ 27047 h 175170"/>
                <a:gd name="connsiteX818" fmla="*/ 28951 w 189841"/>
                <a:gd name="connsiteY818" fmla="*/ 25538 h 175170"/>
                <a:gd name="connsiteX819" fmla="*/ 29139 w 189841"/>
                <a:gd name="connsiteY819" fmla="*/ 23578 h 175170"/>
                <a:gd name="connsiteX820" fmla="*/ 32141 w 189841"/>
                <a:gd name="connsiteY820" fmla="*/ 23414 h 175170"/>
                <a:gd name="connsiteX821" fmla="*/ 33192 w 189841"/>
                <a:gd name="connsiteY821" fmla="*/ 23231 h 175170"/>
                <a:gd name="connsiteX822" fmla="*/ 37088 w 189841"/>
                <a:gd name="connsiteY822" fmla="*/ 23125 h 175170"/>
                <a:gd name="connsiteX823" fmla="*/ 38865 w 189841"/>
                <a:gd name="connsiteY823" fmla="*/ 22073 h 175170"/>
                <a:gd name="connsiteX824" fmla="*/ 40094 w 189841"/>
                <a:gd name="connsiteY824" fmla="*/ 22167 h 175170"/>
                <a:gd name="connsiteX825" fmla="*/ 42661 w 189841"/>
                <a:gd name="connsiteY825" fmla="*/ 23078 h 175170"/>
                <a:gd name="connsiteX826" fmla="*/ 43806 w 189841"/>
                <a:gd name="connsiteY826" fmla="*/ 22358 h 175170"/>
                <a:gd name="connsiteX827" fmla="*/ 47166 w 189841"/>
                <a:gd name="connsiteY827" fmla="*/ 20936 h 175170"/>
                <a:gd name="connsiteX828" fmla="*/ 50482 w 189841"/>
                <a:gd name="connsiteY828" fmla="*/ 16805 h 175170"/>
                <a:gd name="connsiteX829" fmla="*/ 51895 w 189841"/>
                <a:gd name="connsiteY829" fmla="*/ 16185 h 175170"/>
                <a:gd name="connsiteX830" fmla="*/ 55112 w 189841"/>
                <a:gd name="connsiteY830" fmla="*/ 15934 h 175170"/>
                <a:gd name="connsiteX831" fmla="*/ 56120 w 189841"/>
                <a:gd name="connsiteY831" fmla="*/ 15456 h 175170"/>
                <a:gd name="connsiteX832" fmla="*/ 57297 w 189841"/>
                <a:gd name="connsiteY832" fmla="*/ 15547 h 175170"/>
                <a:gd name="connsiteX833" fmla="*/ 60903 w 189841"/>
                <a:gd name="connsiteY833" fmla="*/ 16385 h 175170"/>
                <a:gd name="connsiteX834" fmla="*/ 62955 w 189841"/>
                <a:gd name="connsiteY834" fmla="*/ 16513 h 175170"/>
                <a:gd name="connsiteX835" fmla="*/ 65388 w 189841"/>
                <a:gd name="connsiteY835" fmla="*/ 15942 h 175170"/>
                <a:gd name="connsiteX836" fmla="*/ 68069 w 189841"/>
                <a:gd name="connsiteY836" fmla="*/ 14932 h 175170"/>
                <a:gd name="connsiteX837" fmla="*/ 68738 w 189841"/>
                <a:gd name="connsiteY837" fmla="*/ 11394 h 175170"/>
                <a:gd name="connsiteX838" fmla="*/ 69375 w 189841"/>
                <a:gd name="connsiteY838" fmla="*/ 10886 h 175170"/>
                <a:gd name="connsiteX839" fmla="*/ 71042 w 189841"/>
                <a:gd name="connsiteY839" fmla="*/ 10744 h 175170"/>
                <a:gd name="connsiteX840" fmla="*/ 72297 w 189841"/>
                <a:gd name="connsiteY840" fmla="*/ 10773 h 175170"/>
                <a:gd name="connsiteX841" fmla="*/ 74719 w 189841"/>
                <a:gd name="connsiteY841" fmla="*/ 11054 h 175170"/>
                <a:gd name="connsiteX842" fmla="*/ 77602 w 189841"/>
                <a:gd name="connsiteY842" fmla="*/ 11148 h 175170"/>
                <a:gd name="connsiteX843" fmla="*/ 79457 w 189841"/>
                <a:gd name="connsiteY843" fmla="*/ 9488 h 175170"/>
                <a:gd name="connsiteX844" fmla="*/ 82381 w 189841"/>
                <a:gd name="connsiteY844" fmla="*/ 9364 h 175170"/>
                <a:gd name="connsiteX845" fmla="*/ 83737 w 189841"/>
                <a:gd name="connsiteY845" fmla="*/ 9124 h 175170"/>
                <a:gd name="connsiteX846" fmla="*/ 86002 w 189841"/>
                <a:gd name="connsiteY846" fmla="*/ 9459 h 175170"/>
                <a:gd name="connsiteX847" fmla="*/ 88198 w 189841"/>
                <a:gd name="connsiteY847" fmla="*/ 9440 h 175170"/>
                <a:gd name="connsiteX848" fmla="*/ 91010 w 189841"/>
                <a:gd name="connsiteY848" fmla="*/ 8748 h 175170"/>
                <a:gd name="connsiteX849" fmla="*/ 93631 w 189841"/>
                <a:gd name="connsiteY849" fmla="*/ 7613 h 175170"/>
                <a:gd name="connsiteX850" fmla="*/ 95680 w 189841"/>
                <a:gd name="connsiteY850" fmla="*/ 7710 h 175170"/>
                <a:gd name="connsiteX851" fmla="*/ 96516 w 189841"/>
                <a:gd name="connsiteY851" fmla="*/ 7505 h 175170"/>
                <a:gd name="connsiteX852" fmla="*/ 96994 w 189841"/>
                <a:gd name="connsiteY852" fmla="*/ 7266 h 175170"/>
                <a:gd name="connsiteX853" fmla="*/ 97505 w 189841"/>
                <a:gd name="connsiteY853" fmla="*/ 5729 h 175170"/>
                <a:gd name="connsiteX854" fmla="*/ 101360 w 189841"/>
                <a:gd name="connsiteY854" fmla="*/ 5635 h 175170"/>
                <a:gd name="connsiteX855" fmla="*/ 102666 w 189841"/>
                <a:gd name="connsiteY855" fmla="*/ 5788 h 175170"/>
                <a:gd name="connsiteX856" fmla="*/ 104817 w 189841"/>
                <a:gd name="connsiteY856" fmla="*/ 5828 h 175170"/>
                <a:gd name="connsiteX857" fmla="*/ 107054 w 189841"/>
                <a:gd name="connsiteY857" fmla="*/ 4990 h 175170"/>
                <a:gd name="connsiteX858" fmla="*/ 107725 w 189841"/>
                <a:gd name="connsiteY858" fmla="*/ 5061 h 175170"/>
                <a:gd name="connsiteX859" fmla="*/ 108855 w 189841"/>
                <a:gd name="connsiteY859" fmla="*/ 7311 h 175170"/>
                <a:gd name="connsiteX860" fmla="*/ 109444 w 189841"/>
                <a:gd name="connsiteY860" fmla="*/ 7963 h 175170"/>
                <a:gd name="connsiteX861" fmla="*/ 110662 w 189841"/>
                <a:gd name="connsiteY861" fmla="*/ 8564 h 175170"/>
                <a:gd name="connsiteX862" fmla="*/ 113374 w 189841"/>
                <a:gd name="connsiteY862" fmla="*/ 10250 h 175170"/>
                <a:gd name="connsiteX863" fmla="*/ 113863 w 189841"/>
                <a:gd name="connsiteY863" fmla="*/ 9806 h 175170"/>
                <a:gd name="connsiteX864" fmla="*/ 114992 w 189841"/>
                <a:gd name="connsiteY864" fmla="*/ 9243 h 175170"/>
                <a:gd name="connsiteX865" fmla="*/ 118235 w 189841"/>
                <a:gd name="connsiteY865" fmla="*/ 10015 h 175170"/>
                <a:gd name="connsiteX866" fmla="*/ 121327 w 189841"/>
                <a:gd name="connsiteY866" fmla="*/ 11314 h 175170"/>
                <a:gd name="connsiteX867" fmla="*/ 123932 w 189841"/>
                <a:gd name="connsiteY867" fmla="*/ 13219 h 175170"/>
                <a:gd name="connsiteX868" fmla="*/ 126823 w 189841"/>
                <a:gd name="connsiteY868" fmla="*/ 12670 h 175170"/>
                <a:gd name="connsiteX869" fmla="*/ 130032 w 189841"/>
                <a:gd name="connsiteY869" fmla="*/ 11735 h 175170"/>
                <a:gd name="connsiteX870" fmla="*/ 132120 w 189841"/>
                <a:gd name="connsiteY870" fmla="*/ 11463 h 175170"/>
                <a:gd name="connsiteX871" fmla="*/ 134385 w 189841"/>
                <a:gd name="connsiteY871" fmla="*/ 11333 h 175170"/>
                <a:gd name="connsiteX872" fmla="*/ 135735 w 189841"/>
                <a:gd name="connsiteY872" fmla="*/ 10927 h 175170"/>
                <a:gd name="connsiteX873" fmla="*/ 138795 w 189841"/>
                <a:gd name="connsiteY873" fmla="*/ 11416 h 175170"/>
                <a:gd name="connsiteX874" fmla="*/ 141958 w 189841"/>
                <a:gd name="connsiteY874" fmla="*/ 10393 h 175170"/>
                <a:gd name="connsiteX875" fmla="*/ 143483 w 189841"/>
                <a:gd name="connsiteY875" fmla="*/ 9467 h 175170"/>
                <a:gd name="connsiteX876" fmla="*/ 143921 w 189841"/>
                <a:gd name="connsiteY876" fmla="*/ 8170 h 175170"/>
                <a:gd name="connsiteX877" fmla="*/ 143664 w 189841"/>
                <a:gd name="connsiteY877" fmla="*/ 5881 h 175170"/>
                <a:gd name="connsiteX878" fmla="*/ 142949 w 189841"/>
                <a:gd name="connsiteY878" fmla="*/ 3589 h 175170"/>
                <a:gd name="connsiteX879" fmla="*/ 142192 w 189841"/>
                <a:gd name="connsiteY879" fmla="*/ 2743 h 175170"/>
                <a:gd name="connsiteX880" fmla="*/ 141950 w 189841"/>
                <a:gd name="connsiteY880" fmla="*/ 1868 h 175170"/>
                <a:gd name="connsiteX881" fmla="*/ 142381 w 189841"/>
                <a:gd name="connsiteY881" fmla="*/ 1050 h 175170"/>
                <a:gd name="connsiteX882" fmla="*/ 142865 w 189841"/>
                <a:gd name="connsiteY882" fmla="*/ 479 h 17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</a:cxnLst>
              <a:rect l="l" t="t" r="r" b="b"/>
              <a:pathLst>
                <a:path w="189841" h="175170">
                  <a:moveTo>
                    <a:pt x="90448" y="157073"/>
                  </a:moveTo>
                  <a:lnTo>
                    <a:pt x="91198" y="157609"/>
                  </a:lnTo>
                  <a:lnTo>
                    <a:pt x="91697" y="159571"/>
                  </a:lnTo>
                  <a:lnTo>
                    <a:pt x="92998" y="160093"/>
                  </a:lnTo>
                  <a:lnTo>
                    <a:pt x="94510" y="160276"/>
                  </a:lnTo>
                  <a:lnTo>
                    <a:pt x="96559" y="160244"/>
                  </a:lnTo>
                  <a:lnTo>
                    <a:pt x="97026" y="160094"/>
                  </a:lnTo>
                  <a:lnTo>
                    <a:pt x="98330" y="158624"/>
                  </a:lnTo>
                  <a:lnTo>
                    <a:pt x="99937" y="158590"/>
                  </a:lnTo>
                  <a:lnTo>
                    <a:pt x="100638" y="160043"/>
                  </a:lnTo>
                  <a:lnTo>
                    <a:pt x="99008" y="160712"/>
                  </a:lnTo>
                  <a:lnTo>
                    <a:pt x="98676" y="161090"/>
                  </a:lnTo>
                  <a:lnTo>
                    <a:pt x="98989" y="161396"/>
                  </a:lnTo>
                  <a:lnTo>
                    <a:pt x="100213" y="162002"/>
                  </a:lnTo>
                  <a:lnTo>
                    <a:pt x="101913" y="161773"/>
                  </a:lnTo>
                  <a:lnTo>
                    <a:pt x="101964" y="162916"/>
                  </a:lnTo>
                  <a:lnTo>
                    <a:pt x="102344" y="163849"/>
                  </a:lnTo>
                  <a:lnTo>
                    <a:pt x="103184" y="164406"/>
                  </a:lnTo>
                  <a:lnTo>
                    <a:pt x="104093" y="164515"/>
                  </a:lnTo>
                  <a:lnTo>
                    <a:pt x="106104" y="164350"/>
                  </a:lnTo>
                  <a:lnTo>
                    <a:pt x="108086" y="163980"/>
                  </a:lnTo>
                  <a:lnTo>
                    <a:pt x="110129" y="163248"/>
                  </a:lnTo>
                  <a:lnTo>
                    <a:pt x="112215" y="162874"/>
                  </a:lnTo>
                  <a:lnTo>
                    <a:pt x="118447" y="163249"/>
                  </a:lnTo>
                  <a:lnTo>
                    <a:pt x="120684" y="164830"/>
                  </a:lnTo>
                  <a:lnTo>
                    <a:pt x="124940" y="165020"/>
                  </a:lnTo>
                  <a:lnTo>
                    <a:pt x="128896" y="165852"/>
                  </a:lnTo>
                  <a:lnTo>
                    <a:pt x="130974" y="165303"/>
                  </a:lnTo>
                  <a:lnTo>
                    <a:pt x="134523" y="164788"/>
                  </a:lnTo>
                  <a:lnTo>
                    <a:pt x="135092" y="165346"/>
                  </a:lnTo>
                  <a:lnTo>
                    <a:pt x="134633" y="168918"/>
                  </a:lnTo>
                  <a:lnTo>
                    <a:pt x="134852" y="169953"/>
                  </a:lnTo>
                  <a:lnTo>
                    <a:pt x="135875" y="170451"/>
                  </a:lnTo>
                  <a:lnTo>
                    <a:pt x="136888" y="170208"/>
                  </a:lnTo>
                  <a:lnTo>
                    <a:pt x="138132" y="169039"/>
                  </a:lnTo>
                  <a:lnTo>
                    <a:pt x="141109" y="168134"/>
                  </a:lnTo>
                  <a:lnTo>
                    <a:pt x="144202" y="168139"/>
                  </a:lnTo>
                  <a:lnTo>
                    <a:pt x="146804" y="165763"/>
                  </a:lnTo>
                  <a:lnTo>
                    <a:pt x="147571" y="165628"/>
                  </a:lnTo>
                  <a:lnTo>
                    <a:pt x="147093" y="166796"/>
                  </a:lnTo>
                  <a:lnTo>
                    <a:pt x="146700" y="169539"/>
                  </a:lnTo>
                  <a:lnTo>
                    <a:pt x="146141" y="171145"/>
                  </a:lnTo>
                  <a:lnTo>
                    <a:pt x="145892" y="172410"/>
                  </a:lnTo>
                  <a:lnTo>
                    <a:pt x="144152" y="173063"/>
                  </a:lnTo>
                  <a:lnTo>
                    <a:pt x="141522" y="173175"/>
                  </a:lnTo>
                  <a:lnTo>
                    <a:pt x="136724" y="172898"/>
                  </a:lnTo>
                  <a:lnTo>
                    <a:pt x="131887" y="173346"/>
                  </a:lnTo>
                  <a:lnTo>
                    <a:pt x="122928" y="174549"/>
                  </a:lnTo>
                  <a:lnTo>
                    <a:pt x="113951" y="175170"/>
                  </a:lnTo>
                  <a:lnTo>
                    <a:pt x="112744" y="174765"/>
                  </a:lnTo>
                  <a:lnTo>
                    <a:pt x="112716" y="173170"/>
                  </a:lnTo>
                  <a:lnTo>
                    <a:pt x="112522" y="172069"/>
                  </a:lnTo>
                  <a:lnTo>
                    <a:pt x="111941" y="171298"/>
                  </a:lnTo>
                  <a:lnTo>
                    <a:pt x="109166" y="170640"/>
                  </a:lnTo>
                  <a:lnTo>
                    <a:pt x="106519" y="169511"/>
                  </a:lnTo>
                  <a:lnTo>
                    <a:pt x="96140" y="167967"/>
                  </a:lnTo>
                  <a:lnTo>
                    <a:pt x="93692" y="167361"/>
                  </a:lnTo>
                  <a:lnTo>
                    <a:pt x="89718" y="167677"/>
                  </a:lnTo>
                  <a:lnTo>
                    <a:pt x="88263" y="167635"/>
                  </a:lnTo>
                  <a:lnTo>
                    <a:pt x="87261" y="167081"/>
                  </a:lnTo>
                  <a:lnTo>
                    <a:pt x="86572" y="166129"/>
                  </a:lnTo>
                  <a:lnTo>
                    <a:pt x="86261" y="163106"/>
                  </a:lnTo>
                  <a:lnTo>
                    <a:pt x="86753" y="160110"/>
                  </a:lnTo>
                  <a:lnTo>
                    <a:pt x="87613" y="159318"/>
                  </a:lnTo>
                  <a:lnTo>
                    <a:pt x="88008" y="160221"/>
                  </a:lnTo>
                  <a:lnTo>
                    <a:pt x="89027" y="160634"/>
                  </a:lnTo>
                  <a:lnTo>
                    <a:pt x="89973" y="159724"/>
                  </a:lnTo>
                  <a:lnTo>
                    <a:pt x="89964" y="158350"/>
                  </a:lnTo>
                  <a:close/>
                  <a:moveTo>
                    <a:pt x="167536" y="152919"/>
                  </a:moveTo>
                  <a:lnTo>
                    <a:pt x="167180" y="155589"/>
                  </a:lnTo>
                  <a:lnTo>
                    <a:pt x="166078" y="157728"/>
                  </a:lnTo>
                  <a:lnTo>
                    <a:pt x="167221" y="159502"/>
                  </a:lnTo>
                  <a:lnTo>
                    <a:pt x="167767" y="161523"/>
                  </a:lnTo>
                  <a:lnTo>
                    <a:pt x="166495" y="161857"/>
                  </a:lnTo>
                  <a:lnTo>
                    <a:pt x="165651" y="163269"/>
                  </a:lnTo>
                  <a:lnTo>
                    <a:pt x="164794" y="162079"/>
                  </a:lnTo>
                  <a:lnTo>
                    <a:pt x="165163" y="160705"/>
                  </a:lnTo>
                  <a:lnTo>
                    <a:pt x="164165" y="158526"/>
                  </a:lnTo>
                  <a:lnTo>
                    <a:pt x="166053" y="155292"/>
                  </a:lnTo>
                  <a:lnTo>
                    <a:pt x="166096" y="153720"/>
                  </a:lnTo>
                  <a:close/>
                  <a:moveTo>
                    <a:pt x="73059" y="138689"/>
                  </a:moveTo>
                  <a:lnTo>
                    <a:pt x="74106" y="140102"/>
                  </a:lnTo>
                  <a:lnTo>
                    <a:pt x="76300" y="142164"/>
                  </a:lnTo>
                  <a:lnTo>
                    <a:pt x="75343" y="143599"/>
                  </a:lnTo>
                  <a:lnTo>
                    <a:pt x="75086" y="144696"/>
                  </a:lnTo>
                  <a:lnTo>
                    <a:pt x="72815" y="143942"/>
                  </a:lnTo>
                  <a:lnTo>
                    <a:pt x="72182" y="142810"/>
                  </a:lnTo>
                  <a:lnTo>
                    <a:pt x="72068" y="140299"/>
                  </a:lnTo>
                  <a:lnTo>
                    <a:pt x="72664" y="139074"/>
                  </a:lnTo>
                  <a:close/>
                  <a:moveTo>
                    <a:pt x="189841" y="137431"/>
                  </a:moveTo>
                  <a:lnTo>
                    <a:pt x="189801" y="139035"/>
                  </a:lnTo>
                  <a:lnTo>
                    <a:pt x="187899" y="143092"/>
                  </a:lnTo>
                  <a:lnTo>
                    <a:pt x="186211" y="145117"/>
                  </a:lnTo>
                  <a:lnTo>
                    <a:pt x="186655" y="146743"/>
                  </a:lnTo>
                  <a:lnTo>
                    <a:pt x="183952" y="147193"/>
                  </a:lnTo>
                  <a:lnTo>
                    <a:pt x="181238" y="150175"/>
                  </a:lnTo>
                  <a:lnTo>
                    <a:pt x="179642" y="150705"/>
                  </a:lnTo>
                  <a:lnTo>
                    <a:pt x="179091" y="150636"/>
                  </a:lnTo>
                  <a:lnTo>
                    <a:pt x="178424" y="149468"/>
                  </a:lnTo>
                  <a:lnTo>
                    <a:pt x="179348" y="146645"/>
                  </a:lnTo>
                  <a:lnTo>
                    <a:pt x="178493" y="144829"/>
                  </a:lnTo>
                  <a:lnTo>
                    <a:pt x="178441" y="144059"/>
                  </a:lnTo>
                  <a:lnTo>
                    <a:pt x="179726" y="142993"/>
                  </a:lnTo>
                  <a:lnTo>
                    <a:pt x="180629" y="141396"/>
                  </a:lnTo>
                  <a:lnTo>
                    <a:pt x="182822" y="139667"/>
                  </a:lnTo>
                  <a:lnTo>
                    <a:pt x="188506" y="137619"/>
                  </a:lnTo>
                  <a:close/>
                  <a:moveTo>
                    <a:pt x="127421" y="136416"/>
                  </a:moveTo>
                  <a:lnTo>
                    <a:pt x="128713" y="137395"/>
                  </a:lnTo>
                  <a:lnTo>
                    <a:pt x="129045" y="138469"/>
                  </a:lnTo>
                  <a:lnTo>
                    <a:pt x="128017" y="139799"/>
                  </a:lnTo>
                  <a:lnTo>
                    <a:pt x="126570" y="139322"/>
                  </a:lnTo>
                  <a:lnTo>
                    <a:pt x="127160" y="138816"/>
                  </a:lnTo>
                  <a:lnTo>
                    <a:pt x="127508" y="138159"/>
                  </a:lnTo>
                  <a:lnTo>
                    <a:pt x="127546" y="137212"/>
                  </a:lnTo>
                  <a:lnTo>
                    <a:pt x="127154" y="136629"/>
                  </a:lnTo>
                  <a:close/>
                  <a:moveTo>
                    <a:pt x="148672" y="132238"/>
                  </a:moveTo>
                  <a:lnTo>
                    <a:pt x="149805" y="132602"/>
                  </a:lnTo>
                  <a:lnTo>
                    <a:pt x="150676" y="133587"/>
                  </a:lnTo>
                  <a:lnTo>
                    <a:pt x="148929" y="134192"/>
                  </a:lnTo>
                  <a:lnTo>
                    <a:pt x="147819" y="135462"/>
                  </a:lnTo>
                  <a:lnTo>
                    <a:pt x="146461" y="134562"/>
                  </a:lnTo>
                  <a:lnTo>
                    <a:pt x="146456" y="133333"/>
                  </a:lnTo>
                  <a:lnTo>
                    <a:pt x="147942" y="133709"/>
                  </a:lnTo>
                  <a:lnTo>
                    <a:pt x="148985" y="133017"/>
                  </a:lnTo>
                  <a:close/>
                  <a:moveTo>
                    <a:pt x="181674" y="132173"/>
                  </a:moveTo>
                  <a:lnTo>
                    <a:pt x="181836" y="132646"/>
                  </a:lnTo>
                  <a:lnTo>
                    <a:pt x="181818" y="133656"/>
                  </a:lnTo>
                  <a:lnTo>
                    <a:pt x="181622" y="134385"/>
                  </a:lnTo>
                  <a:lnTo>
                    <a:pt x="181138" y="134788"/>
                  </a:lnTo>
                  <a:lnTo>
                    <a:pt x="180028" y="133630"/>
                  </a:lnTo>
                  <a:lnTo>
                    <a:pt x="179976" y="133026"/>
                  </a:lnTo>
                  <a:lnTo>
                    <a:pt x="181106" y="132333"/>
                  </a:lnTo>
                  <a:close/>
                  <a:moveTo>
                    <a:pt x="108112" y="129062"/>
                  </a:moveTo>
                  <a:lnTo>
                    <a:pt x="108151" y="130553"/>
                  </a:lnTo>
                  <a:lnTo>
                    <a:pt x="108000" y="131087"/>
                  </a:lnTo>
                  <a:lnTo>
                    <a:pt x="103474" y="131806"/>
                  </a:lnTo>
                  <a:lnTo>
                    <a:pt x="103893" y="130097"/>
                  </a:lnTo>
                  <a:lnTo>
                    <a:pt x="104169" y="129557"/>
                  </a:lnTo>
                  <a:lnTo>
                    <a:pt x="105668" y="130352"/>
                  </a:lnTo>
                  <a:lnTo>
                    <a:pt x="106220" y="129946"/>
                  </a:lnTo>
                  <a:lnTo>
                    <a:pt x="106445" y="129476"/>
                  </a:lnTo>
                  <a:close/>
                  <a:moveTo>
                    <a:pt x="124921" y="128417"/>
                  </a:moveTo>
                  <a:lnTo>
                    <a:pt x="127376" y="130240"/>
                  </a:lnTo>
                  <a:lnTo>
                    <a:pt x="126819" y="131339"/>
                  </a:lnTo>
                  <a:lnTo>
                    <a:pt x="126434" y="131737"/>
                  </a:lnTo>
                  <a:lnTo>
                    <a:pt x="124761" y="130134"/>
                  </a:lnTo>
                  <a:lnTo>
                    <a:pt x="124126" y="129197"/>
                  </a:lnTo>
                  <a:close/>
                  <a:moveTo>
                    <a:pt x="168476" y="125472"/>
                  </a:moveTo>
                  <a:lnTo>
                    <a:pt x="170389" y="126393"/>
                  </a:lnTo>
                  <a:lnTo>
                    <a:pt x="166873" y="127910"/>
                  </a:lnTo>
                  <a:lnTo>
                    <a:pt x="165940" y="128712"/>
                  </a:lnTo>
                  <a:lnTo>
                    <a:pt x="163345" y="128885"/>
                  </a:lnTo>
                  <a:lnTo>
                    <a:pt x="161488" y="129993"/>
                  </a:lnTo>
                  <a:lnTo>
                    <a:pt x="160797" y="130023"/>
                  </a:lnTo>
                  <a:lnTo>
                    <a:pt x="161619" y="128797"/>
                  </a:lnTo>
                  <a:lnTo>
                    <a:pt x="163954" y="127117"/>
                  </a:lnTo>
                  <a:lnTo>
                    <a:pt x="167355" y="125637"/>
                  </a:lnTo>
                  <a:close/>
                  <a:moveTo>
                    <a:pt x="140505" y="124652"/>
                  </a:moveTo>
                  <a:lnTo>
                    <a:pt x="141915" y="125533"/>
                  </a:lnTo>
                  <a:lnTo>
                    <a:pt x="140151" y="126118"/>
                  </a:lnTo>
                  <a:lnTo>
                    <a:pt x="137380" y="128386"/>
                  </a:lnTo>
                  <a:lnTo>
                    <a:pt x="135428" y="128594"/>
                  </a:lnTo>
                  <a:lnTo>
                    <a:pt x="134811" y="128403"/>
                  </a:lnTo>
                  <a:lnTo>
                    <a:pt x="135996" y="127964"/>
                  </a:lnTo>
                  <a:lnTo>
                    <a:pt x="136828" y="127498"/>
                  </a:lnTo>
                  <a:lnTo>
                    <a:pt x="137227" y="126934"/>
                  </a:lnTo>
                  <a:lnTo>
                    <a:pt x="139207" y="125943"/>
                  </a:lnTo>
                  <a:close/>
                  <a:moveTo>
                    <a:pt x="112100" y="122454"/>
                  </a:moveTo>
                  <a:lnTo>
                    <a:pt x="113141" y="124351"/>
                  </a:lnTo>
                  <a:lnTo>
                    <a:pt x="112206" y="125057"/>
                  </a:lnTo>
                  <a:lnTo>
                    <a:pt x="111802" y="125168"/>
                  </a:lnTo>
                  <a:lnTo>
                    <a:pt x="111224" y="124096"/>
                  </a:lnTo>
                  <a:lnTo>
                    <a:pt x="111103" y="123096"/>
                  </a:lnTo>
                  <a:lnTo>
                    <a:pt x="111334" y="122510"/>
                  </a:lnTo>
                  <a:close/>
                  <a:moveTo>
                    <a:pt x="160140" y="120840"/>
                  </a:moveTo>
                  <a:lnTo>
                    <a:pt x="161864" y="121735"/>
                  </a:lnTo>
                  <a:lnTo>
                    <a:pt x="162956" y="122814"/>
                  </a:lnTo>
                  <a:lnTo>
                    <a:pt x="163489" y="123020"/>
                  </a:lnTo>
                  <a:lnTo>
                    <a:pt x="163366" y="123671"/>
                  </a:lnTo>
                  <a:lnTo>
                    <a:pt x="163038" y="124102"/>
                  </a:lnTo>
                  <a:lnTo>
                    <a:pt x="160831" y="124453"/>
                  </a:lnTo>
                  <a:lnTo>
                    <a:pt x="161224" y="122434"/>
                  </a:lnTo>
                  <a:close/>
                  <a:moveTo>
                    <a:pt x="123575" y="119280"/>
                  </a:moveTo>
                  <a:lnTo>
                    <a:pt x="124465" y="119553"/>
                  </a:lnTo>
                  <a:lnTo>
                    <a:pt x="124381" y="120919"/>
                  </a:lnTo>
                  <a:lnTo>
                    <a:pt x="124545" y="121320"/>
                  </a:lnTo>
                  <a:lnTo>
                    <a:pt x="122787" y="123281"/>
                  </a:lnTo>
                  <a:lnTo>
                    <a:pt x="121325" y="123069"/>
                  </a:lnTo>
                  <a:lnTo>
                    <a:pt x="120710" y="122171"/>
                  </a:lnTo>
                  <a:lnTo>
                    <a:pt x="121617" y="120327"/>
                  </a:lnTo>
                  <a:close/>
                  <a:moveTo>
                    <a:pt x="129993" y="118062"/>
                  </a:moveTo>
                  <a:lnTo>
                    <a:pt x="130857" y="118349"/>
                  </a:lnTo>
                  <a:lnTo>
                    <a:pt x="131377" y="119179"/>
                  </a:lnTo>
                  <a:lnTo>
                    <a:pt x="131297" y="122060"/>
                  </a:lnTo>
                  <a:lnTo>
                    <a:pt x="130449" y="123885"/>
                  </a:lnTo>
                  <a:lnTo>
                    <a:pt x="128477" y="124848"/>
                  </a:lnTo>
                  <a:lnTo>
                    <a:pt x="127132" y="123458"/>
                  </a:lnTo>
                  <a:lnTo>
                    <a:pt x="126380" y="121269"/>
                  </a:lnTo>
                  <a:close/>
                  <a:moveTo>
                    <a:pt x="106963" y="117710"/>
                  </a:moveTo>
                  <a:lnTo>
                    <a:pt x="107965" y="118165"/>
                  </a:lnTo>
                  <a:lnTo>
                    <a:pt x="108116" y="118793"/>
                  </a:lnTo>
                  <a:lnTo>
                    <a:pt x="107842" y="119877"/>
                  </a:lnTo>
                  <a:lnTo>
                    <a:pt x="107024" y="120260"/>
                  </a:lnTo>
                  <a:lnTo>
                    <a:pt x="105659" y="119702"/>
                  </a:lnTo>
                  <a:lnTo>
                    <a:pt x="106022" y="118304"/>
                  </a:lnTo>
                  <a:close/>
                  <a:moveTo>
                    <a:pt x="105802" y="110953"/>
                  </a:moveTo>
                  <a:lnTo>
                    <a:pt x="106184" y="111607"/>
                  </a:lnTo>
                  <a:lnTo>
                    <a:pt x="106912" y="112667"/>
                  </a:lnTo>
                  <a:lnTo>
                    <a:pt x="105901" y="114289"/>
                  </a:lnTo>
                  <a:lnTo>
                    <a:pt x="104644" y="115062"/>
                  </a:lnTo>
                  <a:lnTo>
                    <a:pt x="105061" y="113294"/>
                  </a:lnTo>
                  <a:lnTo>
                    <a:pt x="104441" y="112371"/>
                  </a:lnTo>
                  <a:lnTo>
                    <a:pt x="104996" y="111586"/>
                  </a:lnTo>
                  <a:close/>
                  <a:moveTo>
                    <a:pt x="116311" y="110092"/>
                  </a:moveTo>
                  <a:lnTo>
                    <a:pt x="117114" y="110485"/>
                  </a:lnTo>
                  <a:lnTo>
                    <a:pt x="117004" y="113135"/>
                  </a:lnTo>
                  <a:lnTo>
                    <a:pt x="116421" y="113112"/>
                  </a:lnTo>
                  <a:lnTo>
                    <a:pt x="116082" y="112703"/>
                  </a:lnTo>
                  <a:lnTo>
                    <a:pt x="116063" y="111689"/>
                  </a:lnTo>
                  <a:close/>
                  <a:moveTo>
                    <a:pt x="126076" y="110085"/>
                  </a:moveTo>
                  <a:lnTo>
                    <a:pt x="128615" y="111057"/>
                  </a:lnTo>
                  <a:lnTo>
                    <a:pt x="128492" y="111670"/>
                  </a:lnTo>
                  <a:lnTo>
                    <a:pt x="127283" y="112383"/>
                  </a:lnTo>
                  <a:lnTo>
                    <a:pt x="125169" y="112540"/>
                  </a:lnTo>
                  <a:lnTo>
                    <a:pt x="125292" y="110592"/>
                  </a:lnTo>
                  <a:close/>
                  <a:moveTo>
                    <a:pt x="148259" y="105865"/>
                  </a:moveTo>
                  <a:lnTo>
                    <a:pt x="147054" y="107265"/>
                  </a:lnTo>
                  <a:lnTo>
                    <a:pt x="145020" y="108570"/>
                  </a:lnTo>
                  <a:lnTo>
                    <a:pt x="141138" y="109568"/>
                  </a:lnTo>
                  <a:lnTo>
                    <a:pt x="140101" y="109666"/>
                  </a:lnTo>
                  <a:lnTo>
                    <a:pt x="140418" y="108645"/>
                  </a:lnTo>
                  <a:lnTo>
                    <a:pt x="142399" y="106873"/>
                  </a:lnTo>
                  <a:lnTo>
                    <a:pt x="145167" y="106786"/>
                  </a:lnTo>
                  <a:lnTo>
                    <a:pt x="147689" y="105898"/>
                  </a:lnTo>
                  <a:close/>
                  <a:moveTo>
                    <a:pt x="119248" y="105703"/>
                  </a:moveTo>
                  <a:lnTo>
                    <a:pt x="120408" y="106538"/>
                  </a:lnTo>
                  <a:lnTo>
                    <a:pt x="123362" y="106981"/>
                  </a:lnTo>
                  <a:lnTo>
                    <a:pt x="124035" y="107775"/>
                  </a:lnTo>
                  <a:lnTo>
                    <a:pt x="123215" y="109423"/>
                  </a:lnTo>
                  <a:lnTo>
                    <a:pt x="121835" y="109169"/>
                  </a:lnTo>
                  <a:lnTo>
                    <a:pt x="119527" y="107396"/>
                  </a:lnTo>
                  <a:lnTo>
                    <a:pt x="118738" y="106591"/>
                  </a:lnTo>
                  <a:lnTo>
                    <a:pt x="118300" y="105799"/>
                  </a:lnTo>
                  <a:close/>
                  <a:moveTo>
                    <a:pt x="104648" y="105651"/>
                  </a:moveTo>
                  <a:lnTo>
                    <a:pt x="105128" y="106512"/>
                  </a:lnTo>
                  <a:lnTo>
                    <a:pt x="104136" y="108356"/>
                  </a:lnTo>
                  <a:lnTo>
                    <a:pt x="102655" y="109597"/>
                  </a:lnTo>
                  <a:lnTo>
                    <a:pt x="102401" y="107736"/>
                  </a:lnTo>
                  <a:lnTo>
                    <a:pt x="103350" y="105778"/>
                  </a:lnTo>
                  <a:close/>
                  <a:moveTo>
                    <a:pt x="158719" y="102358"/>
                  </a:moveTo>
                  <a:lnTo>
                    <a:pt x="161438" y="103201"/>
                  </a:lnTo>
                  <a:lnTo>
                    <a:pt x="162194" y="103111"/>
                  </a:lnTo>
                  <a:lnTo>
                    <a:pt x="163479" y="103417"/>
                  </a:lnTo>
                  <a:lnTo>
                    <a:pt x="163820" y="104971"/>
                  </a:lnTo>
                  <a:lnTo>
                    <a:pt x="162118" y="105196"/>
                  </a:lnTo>
                  <a:lnTo>
                    <a:pt x="159173" y="106622"/>
                  </a:lnTo>
                  <a:lnTo>
                    <a:pt x="157920" y="106309"/>
                  </a:lnTo>
                  <a:lnTo>
                    <a:pt x="156422" y="105069"/>
                  </a:lnTo>
                  <a:lnTo>
                    <a:pt x="154042" y="104940"/>
                  </a:lnTo>
                  <a:lnTo>
                    <a:pt x="153338" y="104602"/>
                  </a:lnTo>
                  <a:lnTo>
                    <a:pt x="154612" y="103140"/>
                  </a:lnTo>
                  <a:lnTo>
                    <a:pt x="156927" y="102400"/>
                  </a:lnTo>
                  <a:close/>
                  <a:moveTo>
                    <a:pt x="23108" y="99333"/>
                  </a:moveTo>
                  <a:lnTo>
                    <a:pt x="24593" y="101294"/>
                  </a:lnTo>
                  <a:lnTo>
                    <a:pt x="26388" y="101608"/>
                  </a:lnTo>
                  <a:lnTo>
                    <a:pt x="27463" y="102513"/>
                  </a:lnTo>
                  <a:lnTo>
                    <a:pt x="29795" y="105004"/>
                  </a:lnTo>
                  <a:lnTo>
                    <a:pt x="27919" y="104387"/>
                  </a:lnTo>
                  <a:lnTo>
                    <a:pt x="25917" y="106110"/>
                  </a:lnTo>
                  <a:lnTo>
                    <a:pt x="23380" y="104097"/>
                  </a:lnTo>
                  <a:lnTo>
                    <a:pt x="21860" y="102058"/>
                  </a:lnTo>
                  <a:lnTo>
                    <a:pt x="21516" y="101241"/>
                  </a:lnTo>
                  <a:close/>
                  <a:moveTo>
                    <a:pt x="113744" y="97780"/>
                  </a:moveTo>
                  <a:lnTo>
                    <a:pt x="115173" y="99739"/>
                  </a:lnTo>
                  <a:lnTo>
                    <a:pt x="117412" y="99967"/>
                  </a:lnTo>
                  <a:lnTo>
                    <a:pt x="117238" y="101174"/>
                  </a:lnTo>
                  <a:lnTo>
                    <a:pt x="117946" y="102729"/>
                  </a:lnTo>
                  <a:lnTo>
                    <a:pt x="118194" y="103684"/>
                  </a:lnTo>
                  <a:lnTo>
                    <a:pt x="117542" y="105403"/>
                  </a:lnTo>
                  <a:lnTo>
                    <a:pt x="115814" y="103405"/>
                  </a:lnTo>
                  <a:lnTo>
                    <a:pt x="113923" y="102035"/>
                  </a:lnTo>
                  <a:lnTo>
                    <a:pt x="113215" y="100840"/>
                  </a:lnTo>
                  <a:lnTo>
                    <a:pt x="112062" y="100118"/>
                  </a:lnTo>
                  <a:lnTo>
                    <a:pt x="111748" y="98509"/>
                  </a:lnTo>
                  <a:lnTo>
                    <a:pt x="113146" y="97847"/>
                  </a:lnTo>
                  <a:close/>
                  <a:moveTo>
                    <a:pt x="84849" y="97755"/>
                  </a:moveTo>
                  <a:lnTo>
                    <a:pt x="85553" y="97885"/>
                  </a:lnTo>
                  <a:lnTo>
                    <a:pt x="85981" y="98290"/>
                  </a:lnTo>
                  <a:lnTo>
                    <a:pt x="86337" y="99426"/>
                  </a:lnTo>
                  <a:lnTo>
                    <a:pt x="85462" y="100060"/>
                  </a:lnTo>
                  <a:lnTo>
                    <a:pt x="84475" y="100028"/>
                  </a:lnTo>
                  <a:lnTo>
                    <a:pt x="83778" y="99795"/>
                  </a:lnTo>
                  <a:lnTo>
                    <a:pt x="83426" y="99289"/>
                  </a:lnTo>
                  <a:lnTo>
                    <a:pt x="83862" y="99047"/>
                  </a:lnTo>
                  <a:lnTo>
                    <a:pt x="84374" y="98030"/>
                  </a:lnTo>
                  <a:close/>
                  <a:moveTo>
                    <a:pt x="20270" y="85327"/>
                  </a:moveTo>
                  <a:lnTo>
                    <a:pt x="21357" y="87684"/>
                  </a:lnTo>
                  <a:lnTo>
                    <a:pt x="21631" y="90652"/>
                  </a:lnTo>
                  <a:lnTo>
                    <a:pt x="23190" y="91209"/>
                  </a:lnTo>
                  <a:lnTo>
                    <a:pt x="25261" y="93882"/>
                  </a:lnTo>
                  <a:lnTo>
                    <a:pt x="25082" y="95249"/>
                  </a:lnTo>
                  <a:lnTo>
                    <a:pt x="24652" y="95717"/>
                  </a:lnTo>
                  <a:lnTo>
                    <a:pt x="21221" y="94456"/>
                  </a:lnTo>
                  <a:lnTo>
                    <a:pt x="20398" y="95022"/>
                  </a:lnTo>
                  <a:lnTo>
                    <a:pt x="19394" y="94792"/>
                  </a:lnTo>
                  <a:lnTo>
                    <a:pt x="18774" y="93316"/>
                  </a:lnTo>
                  <a:lnTo>
                    <a:pt x="18845" y="92797"/>
                  </a:lnTo>
                  <a:lnTo>
                    <a:pt x="18284" y="91913"/>
                  </a:lnTo>
                  <a:lnTo>
                    <a:pt x="17815" y="91518"/>
                  </a:lnTo>
                  <a:lnTo>
                    <a:pt x="16464" y="92692"/>
                  </a:lnTo>
                  <a:lnTo>
                    <a:pt x="15612" y="92912"/>
                  </a:lnTo>
                  <a:lnTo>
                    <a:pt x="15606" y="91837"/>
                  </a:lnTo>
                  <a:lnTo>
                    <a:pt x="16854" y="88881"/>
                  </a:lnTo>
                  <a:lnTo>
                    <a:pt x="17437" y="88382"/>
                  </a:lnTo>
                  <a:lnTo>
                    <a:pt x="18463" y="89358"/>
                  </a:lnTo>
                  <a:lnTo>
                    <a:pt x="19307" y="88995"/>
                  </a:lnTo>
                  <a:lnTo>
                    <a:pt x="19942" y="87396"/>
                  </a:lnTo>
                  <a:lnTo>
                    <a:pt x="19985" y="85801"/>
                  </a:lnTo>
                  <a:close/>
                  <a:moveTo>
                    <a:pt x="22184" y="85094"/>
                  </a:moveTo>
                  <a:lnTo>
                    <a:pt x="22739" y="85292"/>
                  </a:lnTo>
                  <a:lnTo>
                    <a:pt x="23324" y="85933"/>
                  </a:lnTo>
                  <a:lnTo>
                    <a:pt x="23319" y="86588"/>
                  </a:lnTo>
                  <a:lnTo>
                    <a:pt x="23553" y="87290"/>
                  </a:lnTo>
                  <a:lnTo>
                    <a:pt x="24162" y="88136"/>
                  </a:lnTo>
                  <a:lnTo>
                    <a:pt x="24593" y="89070"/>
                  </a:lnTo>
                  <a:lnTo>
                    <a:pt x="23501" y="89348"/>
                  </a:lnTo>
                  <a:lnTo>
                    <a:pt x="22110" y="86887"/>
                  </a:lnTo>
                  <a:lnTo>
                    <a:pt x="21607" y="85189"/>
                  </a:lnTo>
                  <a:close/>
                  <a:moveTo>
                    <a:pt x="140766" y="82063"/>
                  </a:moveTo>
                  <a:lnTo>
                    <a:pt x="142932" y="83533"/>
                  </a:lnTo>
                  <a:lnTo>
                    <a:pt x="144036" y="83634"/>
                  </a:lnTo>
                  <a:lnTo>
                    <a:pt x="143612" y="85038"/>
                  </a:lnTo>
                  <a:lnTo>
                    <a:pt x="143798" y="85494"/>
                  </a:lnTo>
                  <a:lnTo>
                    <a:pt x="143962" y="89751"/>
                  </a:lnTo>
                  <a:lnTo>
                    <a:pt x="142939" y="90350"/>
                  </a:lnTo>
                  <a:lnTo>
                    <a:pt x="142770" y="91518"/>
                  </a:lnTo>
                  <a:lnTo>
                    <a:pt x="142569" y="91932"/>
                  </a:lnTo>
                  <a:lnTo>
                    <a:pt x="140458" y="93383"/>
                  </a:lnTo>
                  <a:lnTo>
                    <a:pt x="138100" y="91283"/>
                  </a:lnTo>
                  <a:lnTo>
                    <a:pt x="137711" y="90607"/>
                  </a:lnTo>
                  <a:lnTo>
                    <a:pt x="139442" y="89759"/>
                  </a:lnTo>
                  <a:lnTo>
                    <a:pt x="140300" y="88451"/>
                  </a:lnTo>
                  <a:lnTo>
                    <a:pt x="139604" y="86844"/>
                  </a:lnTo>
                  <a:lnTo>
                    <a:pt x="137201" y="84466"/>
                  </a:lnTo>
                  <a:lnTo>
                    <a:pt x="137087" y="82776"/>
                  </a:lnTo>
                  <a:close/>
                  <a:moveTo>
                    <a:pt x="23166" y="75808"/>
                  </a:moveTo>
                  <a:lnTo>
                    <a:pt x="23730" y="76971"/>
                  </a:lnTo>
                  <a:lnTo>
                    <a:pt x="23624" y="81119"/>
                  </a:lnTo>
                  <a:lnTo>
                    <a:pt x="23002" y="81883"/>
                  </a:lnTo>
                  <a:lnTo>
                    <a:pt x="22143" y="82082"/>
                  </a:lnTo>
                  <a:lnTo>
                    <a:pt x="21402" y="81946"/>
                  </a:lnTo>
                  <a:lnTo>
                    <a:pt x="20730" y="82063"/>
                  </a:lnTo>
                  <a:lnTo>
                    <a:pt x="20083" y="82556"/>
                  </a:lnTo>
                  <a:lnTo>
                    <a:pt x="20154" y="80513"/>
                  </a:lnTo>
                  <a:lnTo>
                    <a:pt x="20918" y="77978"/>
                  </a:lnTo>
                  <a:lnTo>
                    <a:pt x="21851" y="76496"/>
                  </a:lnTo>
                  <a:close/>
                  <a:moveTo>
                    <a:pt x="107004" y="72294"/>
                  </a:moveTo>
                  <a:lnTo>
                    <a:pt x="108738" y="73277"/>
                  </a:lnTo>
                  <a:lnTo>
                    <a:pt x="109118" y="74914"/>
                  </a:lnTo>
                  <a:lnTo>
                    <a:pt x="111185" y="76712"/>
                  </a:lnTo>
                  <a:lnTo>
                    <a:pt x="108848" y="77341"/>
                  </a:lnTo>
                  <a:lnTo>
                    <a:pt x="108228" y="77242"/>
                  </a:lnTo>
                  <a:lnTo>
                    <a:pt x="108749" y="76448"/>
                  </a:lnTo>
                  <a:lnTo>
                    <a:pt x="108790" y="76114"/>
                  </a:lnTo>
                  <a:lnTo>
                    <a:pt x="106460" y="74662"/>
                  </a:lnTo>
                  <a:lnTo>
                    <a:pt x="106734" y="72775"/>
                  </a:lnTo>
                  <a:close/>
                  <a:moveTo>
                    <a:pt x="81068" y="70881"/>
                  </a:moveTo>
                  <a:lnTo>
                    <a:pt x="83340" y="72853"/>
                  </a:lnTo>
                  <a:lnTo>
                    <a:pt x="84590" y="75656"/>
                  </a:lnTo>
                  <a:lnTo>
                    <a:pt x="85762" y="76602"/>
                  </a:lnTo>
                  <a:lnTo>
                    <a:pt x="88222" y="77718"/>
                  </a:lnTo>
                  <a:lnTo>
                    <a:pt x="89377" y="77860"/>
                  </a:lnTo>
                  <a:lnTo>
                    <a:pt x="93573" y="79875"/>
                  </a:lnTo>
                  <a:lnTo>
                    <a:pt x="98455" y="80277"/>
                  </a:lnTo>
                  <a:lnTo>
                    <a:pt x="99086" y="80857"/>
                  </a:lnTo>
                  <a:lnTo>
                    <a:pt x="99686" y="82409"/>
                  </a:lnTo>
                  <a:lnTo>
                    <a:pt x="100682" y="83626"/>
                  </a:lnTo>
                  <a:lnTo>
                    <a:pt x="100932" y="84573"/>
                  </a:lnTo>
                  <a:lnTo>
                    <a:pt x="100412" y="85623"/>
                  </a:lnTo>
                  <a:lnTo>
                    <a:pt x="101133" y="88834"/>
                  </a:lnTo>
                  <a:lnTo>
                    <a:pt x="102364" y="91881"/>
                  </a:lnTo>
                  <a:lnTo>
                    <a:pt x="104219" y="93358"/>
                  </a:lnTo>
                  <a:lnTo>
                    <a:pt x="106525" y="93804"/>
                  </a:lnTo>
                  <a:lnTo>
                    <a:pt x="108721" y="93743"/>
                  </a:lnTo>
                  <a:lnTo>
                    <a:pt x="109276" y="94347"/>
                  </a:lnTo>
                  <a:lnTo>
                    <a:pt x="109058" y="97010"/>
                  </a:lnTo>
                  <a:lnTo>
                    <a:pt x="108129" y="98046"/>
                  </a:lnTo>
                  <a:lnTo>
                    <a:pt x="107374" y="98298"/>
                  </a:lnTo>
                  <a:lnTo>
                    <a:pt x="106717" y="98026"/>
                  </a:lnTo>
                  <a:lnTo>
                    <a:pt x="106123" y="97399"/>
                  </a:lnTo>
                  <a:lnTo>
                    <a:pt x="105476" y="97103"/>
                  </a:lnTo>
                  <a:lnTo>
                    <a:pt x="104214" y="97051"/>
                  </a:lnTo>
                  <a:lnTo>
                    <a:pt x="103292" y="95979"/>
                  </a:lnTo>
                  <a:lnTo>
                    <a:pt x="100954" y="94512"/>
                  </a:lnTo>
                  <a:lnTo>
                    <a:pt x="100524" y="93637"/>
                  </a:lnTo>
                  <a:lnTo>
                    <a:pt x="100446" y="92285"/>
                  </a:lnTo>
                  <a:lnTo>
                    <a:pt x="99453" y="91289"/>
                  </a:lnTo>
                  <a:lnTo>
                    <a:pt x="98540" y="89393"/>
                  </a:lnTo>
                  <a:lnTo>
                    <a:pt x="97671" y="88870"/>
                  </a:lnTo>
                  <a:lnTo>
                    <a:pt x="97192" y="87921"/>
                  </a:lnTo>
                  <a:lnTo>
                    <a:pt x="97153" y="87513"/>
                  </a:lnTo>
                  <a:lnTo>
                    <a:pt x="93750" y="87237"/>
                  </a:lnTo>
                  <a:lnTo>
                    <a:pt x="90932" y="87224"/>
                  </a:lnTo>
                  <a:lnTo>
                    <a:pt x="88544" y="86147"/>
                  </a:lnTo>
                  <a:lnTo>
                    <a:pt x="87805" y="83329"/>
                  </a:lnTo>
                  <a:lnTo>
                    <a:pt x="86389" y="82571"/>
                  </a:lnTo>
                  <a:lnTo>
                    <a:pt x="85326" y="81773"/>
                  </a:lnTo>
                  <a:lnTo>
                    <a:pt x="84441" y="80667"/>
                  </a:lnTo>
                  <a:lnTo>
                    <a:pt x="82204" y="78627"/>
                  </a:lnTo>
                  <a:lnTo>
                    <a:pt x="79729" y="76918"/>
                  </a:lnTo>
                  <a:lnTo>
                    <a:pt x="77337" y="75793"/>
                  </a:lnTo>
                  <a:lnTo>
                    <a:pt x="74797" y="75055"/>
                  </a:lnTo>
                  <a:lnTo>
                    <a:pt x="72733" y="75926"/>
                  </a:lnTo>
                  <a:lnTo>
                    <a:pt x="71530" y="75719"/>
                  </a:lnTo>
                  <a:lnTo>
                    <a:pt x="71286" y="75130"/>
                  </a:lnTo>
                  <a:lnTo>
                    <a:pt x="73851" y="73957"/>
                  </a:lnTo>
                  <a:lnTo>
                    <a:pt x="77378" y="71714"/>
                  </a:lnTo>
                  <a:lnTo>
                    <a:pt x="79863" y="70973"/>
                  </a:lnTo>
                  <a:close/>
                  <a:moveTo>
                    <a:pt x="87287" y="66387"/>
                  </a:moveTo>
                  <a:lnTo>
                    <a:pt x="91396" y="68825"/>
                  </a:lnTo>
                  <a:lnTo>
                    <a:pt x="90409" y="69700"/>
                  </a:lnTo>
                  <a:lnTo>
                    <a:pt x="88883" y="69317"/>
                  </a:lnTo>
                  <a:close/>
                  <a:moveTo>
                    <a:pt x="95622" y="64855"/>
                  </a:moveTo>
                  <a:lnTo>
                    <a:pt x="94933" y="66595"/>
                  </a:lnTo>
                  <a:lnTo>
                    <a:pt x="93789" y="67688"/>
                  </a:lnTo>
                  <a:lnTo>
                    <a:pt x="92755" y="67992"/>
                  </a:lnTo>
                  <a:lnTo>
                    <a:pt x="93791" y="65926"/>
                  </a:lnTo>
                  <a:close/>
                  <a:moveTo>
                    <a:pt x="148180" y="61866"/>
                  </a:moveTo>
                  <a:lnTo>
                    <a:pt x="149559" y="63255"/>
                  </a:lnTo>
                  <a:lnTo>
                    <a:pt x="149175" y="64793"/>
                  </a:lnTo>
                  <a:lnTo>
                    <a:pt x="152233" y="67340"/>
                  </a:lnTo>
                  <a:lnTo>
                    <a:pt x="153276" y="68951"/>
                  </a:lnTo>
                  <a:lnTo>
                    <a:pt x="153660" y="70521"/>
                  </a:lnTo>
                  <a:lnTo>
                    <a:pt x="153403" y="70971"/>
                  </a:lnTo>
                  <a:lnTo>
                    <a:pt x="152243" y="70120"/>
                  </a:lnTo>
                  <a:lnTo>
                    <a:pt x="151296" y="69849"/>
                  </a:lnTo>
                  <a:lnTo>
                    <a:pt x="151615" y="70971"/>
                  </a:lnTo>
                  <a:lnTo>
                    <a:pt x="152589" y="71935"/>
                  </a:lnTo>
                  <a:lnTo>
                    <a:pt x="150855" y="72487"/>
                  </a:lnTo>
                  <a:lnTo>
                    <a:pt x="149117" y="72458"/>
                  </a:lnTo>
                  <a:lnTo>
                    <a:pt x="144046" y="71115"/>
                  </a:lnTo>
                  <a:lnTo>
                    <a:pt x="142876" y="69688"/>
                  </a:lnTo>
                  <a:lnTo>
                    <a:pt x="145910" y="67538"/>
                  </a:lnTo>
                  <a:lnTo>
                    <a:pt x="146530" y="66672"/>
                  </a:lnTo>
                  <a:lnTo>
                    <a:pt x="144381" y="66757"/>
                  </a:lnTo>
                  <a:lnTo>
                    <a:pt x="142090" y="69311"/>
                  </a:lnTo>
                  <a:lnTo>
                    <a:pt x="138417" y="68189"/>
                  </a:lnTo>
                  <a:lnTo>
                    <a:pt x="137294" y="67162"/>
                  </a:lnTo>
                  <a:lnTo>
                    <a:pt x="137043" y="66608"/>
                  </a:lnTo>
                  <a:lnTo>
                    <a:pt x="138490" y="64341"/>
                  </a:lnTo>
                  <a:lnTo>
                    <a:pt x="141075" y="64417"/>
                  </a:lnTo>
                  <a:lnTo>
                    <a:pt x="142444" y="63907"/>
                  </a:lnTo>
                  <a:lnTo>
                    <a:pt x="144135" y="63190"/>
                  </a:lnTo>
                  <a:lnTo>
                    <a:pt x="144148" y="62112"/>
                  </a:lnTo>
                  <a:close/>
                  <a:moveTo>
                    <a:pt x="4248" y="50509"/>
                  </a:moveTo>
                  <a:lnTo>
                    <a:pt x="5422" y="51103"/>
                  </a:lnTo>
                  <a:lnTo>
                    <a:pt x="6182" y="51716"/>
                  </a:lnTo>
                  <a:lnTo>
                    <a:pt x="6420" y="52418"/>
                  </a:lnTo>
                  <a:lnTo>
                    <a:pt x="4770" y="53826"/>
                  </a:lnTo>
                  <a:lnTo>
                    <a:pt x="4427" y="54463"/>
                  </a:lnTo>
                  <a:lnTo>
                    <a:pt x="5697" y="55727"/>
                  </a:lnTo>
                  <a:lnTo>
                    <a:pt x="5675" y="56233"/>
                  </a:lnTo>
                  <a:lnTo>
                    <a:pt x="6211" y="58677"/>
                  </a:lnTo>
                  <a:lnTo>
                    <a:pt x="6828" y="59599"/>
                  </a:lnTo>
                  <a:lnTo>
                    <a:pt x="8430" y="60334"/>
                  </a:lnTo>
                  <a:lnTo>
                    <a:pt x="9540" y="60577"/>
                  </a:lnTo>
                  <a:lnTo>
                    <a:pt x="10020" y="62032"/>
                  </a:lnTo>
                  <a:lnTo>
                    <a:pt x="7265" y="61129"/>
                  </a:lnTo>
                  <a:lnTo>
                    <a:pt x="5252" y="59829"/>
                  </a:lnTo>
                  <a:lnTo>
                    <a:pt x="3591" y="56615"/>
                  </a:lnTo>
                  <a:lnTo>
                    <a:pt x="54" y="52953"/>
                  </a:lnTo>
                  <a:lnTo>
                    <a:pt x="0" y="51889"/>
                  </a:lnTo>
                  <a:lnTo>
                    <a:pt x="1345" y="51082"/>
                  </a:lnTo>
                  <a:close/>
                  <a:moveTo>
                    <a:pt x="128309" y="44914"/>
                  </a:moveTo>
                  <a:lnTo>
                    <a:pt x="128056" y="46257"/>
                  </a:lnTo>
                  <a:lnTo>
                    <a:pt x="127220" y="47137"/>
                  </a:lnTo>
                  <a:lnTo>
                    <a:pt x="126605" y="48654"/>
                  </a:lnTo>
                  <a:lnTo>
                    <a:pt x="126272" y="50821"/>
                  </a:lnTo>
                  <a:lnTo>
                    <a:pt x="124983" y="50873"/>
                  </a:lnTo>
                  <a:lnTo>
                    <a:pt x="124202" y="50435"/>
                  </a:lnTo>
                  <a:lnTo>
                    <a:pt x="123945" y="49616"/>
                  </a:lnTo>
                  <a:lnTo>
                    <a:pt x="123893" y="48581"/>
                  </a:lnTo>
                  <a:lnTo>
                    <a:pt x="123327" y="48621"/>
                  </a:lnTo>
                  <a:lnTo>
                    <a:pt x="122871" y="49746"/>
                  </a:lnTo>
                  <a:lnTo>
                    <a:pt x="122472" y="50253"/>
                  </a:lnTo>
                  <a:lnTo>
                    <a:pt x="121174" y="50360"/>
                  </a:lnTo>
                  <a:lnTo>
                    <a:pt x="119753" y="49668"/>
                  </a:lnTo>
                  <a:lnTo>
                    <a:pt x="119820" y="48171"/>
                  </a:lnTo>
                  <a:lnTo>
                    <a:pt x="119535" y="46438"/>
                  </a:lnTo>
                  <a:lnTo>
                    <a:pt x="119660" y="45831"/>
                  </a:lnTo>
                  <a:lnTo>
                    <a:pt x="123556" y="45681"/>
                  </a:lnTo>
                  <a:lnTo>
                    <a:pt x="124696" y="46961"/>
                  </a:lnTo>
                  <a:lnTo>
                    <a:pt x="126074" y="46219"/>
                  </a:lnTo>
                  <a:lnTo>
                    <a:pt x="126639" y="45417"/>
                  </a:lnTo>
                  <a:close/>
                  <a:moveTo>
                    <a:pt x="130950" y="32341"/>
                  </a:moveTo>
                  <a:lnTo>
                    <a:pt x="132183" y="32966"/>
                  </a:lnTo>
                  <a:lnTo>
                    <a:pt x="133066" y="33702"/>
                  </a:lnTo>
                  <a:lnTo>
                    <a:pt x="133541" y="34679"/>
                  </a:lnTo>
                  <a:lnTo>
                    <a:pt x="131040" y="35363"/>
                  </a:lnTo>
                  <a:lnTo>
                    <a:pt x="128285" y="33206"/>
                  </a:lnTo>
                  <a:close/>
                  <a:moveTo>
                    <a:pt x="110049" y="25075"/>
                  </a:moveTo>
                  <a:lnTo>
                    <a:pt x="112167" y="25249"/>
                  </a:lnTo>
                  <a:lnTo>
                    <a:pt x="113372" y="26719"/>
                  </a:lnTo>
                  <a:lnTo>
                    <a:pt x="113653" y="27413"/>
                  </a:lnTo>
                  <a:lnTo>
                    <a:pt x="113262" y="28592"/>
                  </a:lnTo>
                  <a:lnTo>
                    <a:pt x="113385" y="29738"/>
                  </a:lnTo>
                  <a:lnTo>
                    <a:pt x="110548" y="30675"/>
                  </a:lnTo>
                  <a:lnTo>
                    <a:pt x="107665" y="28903"/>
                  </a:lnTo>
                  <a:lnTo>
                    <a:pt x="107691" y="27849"/>
                  </a:lnTo>
                  <a:lnTo>
                    <a:pt x="109213" y="25709"/>
                  </a:lnTo>
                  <a:close/>
                  <a:moveTo>
                    <a:pt x="144925" y="0"/>
                  </a:moveTo>
                  <a:lnTo>
                    <a:pt x="147585" y="721"/>
                  </a:lnTo>
                  <a:lnTo>
                    <a:pt x="149568" y="1256"/>
                  </a:lnTo>
                  <a:lnTo>
                    <a:pt x="150717" y="2129"/>
                  </a:lnTo>
                  <a:lnTo>
                    <a:pt x="151436" y="2926"/>
                  </a:lnTo>
                  <a:lnTo>
                    <a:pt x="152530" y="3614"/>
                  </a:lnTo>
                  <a:lnTo>
                    <a:pt x="153345" y="3772"/>
                  </a:lnTo>
                  <a:lnTo>
                    <a:pt x="153973" y="6128"/>
                  </a:lnTo>
                  <a:lnTo>
                    <a:pt x="154308" y="9045"/>
                  </a:lnTo>
                  <a:lnTo>
                    <a:pt x="153809" y="10301"/>
                  </a:lnTo>
                  <a:lnTo>
                    <a:pt x="152351" y="10592"/>
                  </a:lnTo>
                  <a:lnTo>
                    <a:pt x="147802" y="13345"/>
                  </a:lnTo>
                  <a:lnTo>
                    <a:pt x="147692" y="15861"/>
                  </a:lnTo>
                  <a:lnTo>
                    <a:pt x="147752" y="17079"/>
                  </a:lnTo>
                  <a:lnTo>
                    <a:pt x="147845" y="17940"/>
                  </a:lnTo>
                  <a:lnTo>
                    <a:pt x="148320" y="18665"/>
                  </a:lnTo>
                  <a:lnTo>
                    <a:pt x="148320" y="19710"/>
                  </a:lnTo>
                  <a:lnTo>
                    <a:pt x="147810" y="20829"/>
                  </a:lnTo>
                  <a:lnTo>
                    <a:pt x="145823" y="22703"/>
                  </a:lnTo>
                  <a:lnTo>
                    <a:pt x="144446" y="24193"/>
                  </a:lnTo>
                  <a:lnTo>
                    <a:pt x="142904" y="26211"/>
                  </a:lnTo>
                  <a:lnTo>
                    <a:pt x="142032" y="26457"/>
                  </a:lnTo>
                  <a:lnTo>
                    <a:pt x="141352" y="26812"/>
                  </a:lnTo>
                  <a:lnTo>
                    <a:pt x="140727" y="25699"/>
                  </a:lnTo>
                  <a:lnTo>
                    <a:pt x="137298" y="23731"/>
                  </a:lnTo>
                  <a:lnTo>
                    <a:pt x="129362" y="22583"/>
                  </a:lnTo>
                  <a:lnTo>
                    <a:pt x="125571" y="21129"/>
                  </a:lnTo>
                  <a:lnTo>
                    <a:pt x="123908" y="21399"/>
                  </a:lnTo>
                  <a:lnTo>
                    <a:pt x="120688" y="19771"/>
                  </a:lnTo>
                  <a:lnTo>
                    <a:pt x="118481" y="20486"/>
                  </a:lnTo>
                  <a:lnTo>
                    <a:pt x="113800" y="23378"/>
                  </a:lnTo>
                  <a:lnTo>
                    <a:pt x="111273" y="23064"/>
                  </a:lnTo>
                  <a:lnTo>
                    <a:pt x="108572" y="21326"/>
                  </a:lnTo>
                  <a:lnTo>
                    <a:pt x="106814" y="21006"/>
                  </a:lnTo>
                  <a:lnTo>
                    <a:pt x="104752" y="21927"/>
                  </a:lnTo>
                  <a:lnTo>
                    <a:pt x="101448" y="25253"/>
                  </a:lnTo>
                  <a:lnTo>
                    <a:pt x="98086" y="26882"/>
                  </a:lnTo>
                  <a:lnTo>
                    <a:pt x="95074" y="26245"/>
                  </a:lnTo>
                  <a:lnTo>
                    <a:pt x="91021" y="26259"/>
                  </a:lnTo>
                  <a:lnTo>
                    <a:pt x="90588" y="28117"/>
                  </a:lnTo>
                  <a:lnTo>
                    <a:pt x="91373" y="29402"/>
                  </a:lnTo>
                  <a:lnTo>
                    <a:pt x="93588" y="31593"/>
                  </a:lnTo>
                  <a:lnTo>
                    <a:pt x="92549" y="33239"/>
                  </a:lnTo>
                  <a:lnTo>
                    <a:pt x="93320" y="34888"/>
                  </a:lnTo>
                  <a:lnTo>
                    <a:pt x="94763" y="35223"/>
                  </a:lnTo>
                  <a:lnTo>
                    <a:pt x="96942" y="35130"/>
                  </a:lnTo>
                  <a:lnTo>
                    <a:pt x="100971" y="37263"/>
                  </a:lnTo>
                  <a:lnTo>
                    <a:pt x="102733" y="39510"/>
                  </a:lnTo>
                  <a:lnTo>
                    <a:pt x="103858" y="41968"/>
                  </a:lnTo>
                  <a:lnTo>
                    <a:pt x="101405" y="40206"/>
                  </a:lnTo>
                  <a:lnTo>
                    <a:pt x="99777" y="38511"/>
                  </a:lnTo>
                  <a:lnTo>
                    <a:pt x="97505" y="37896"/>
                  </a:lnTo>
                  <a:lnTo>
                    <a:pt x="94346" y="36452"/>
                  </a:lnTo>
                  <a:lnTo>
                    <a:pt x="92362" y="36211"/>
                  </a:lnTo>
                  <a:lnTo>
                    <a:pt x="90250" y="37212"/>
                  </a:lnTo>
                  <a:lnTo>
                    <a:pt x="90085" y="38348"/>
                  </a:lnTo>
                  <a:lnTo>
                    <a:pt x="92362" y="40468"/>
                  </a:lnTo>
                  <a:lnTo>
                    <a:pt x="94443" y="41772"/>
                  </a:lnTo>
                  <a:lnTo>
                    <a:pt x="95547" y="42833"/>
                  </a:lnTo>
                  <a:lnTo>
                    <a:pt x="96283" y="45180"/>
                  </a:lnTo>
                  <a:lnTo>
                    <a:pt x="95864" y="45977"/>
                  </a:lnTo>
                  <a:lnTo>
                    <a:pt x="95095" y="46719"/>
                  </a:lnTo>
                  <a:lnTo>
                    <a:pt x="92625" y="45241"/>
                  </a:lnTo>
                  <a:lnTo>
                    <a:pt x="88848" y="39980"/>
                  </a:lnTo>
                  <a:lnTo>
                    <a:pt x="83579" y="38931"/>
                  </a:lnTo>
                  <a:lnTo>
                    <a:pt x="82698" y="40029"/>
                  </a:lnTo>
                  <a:lnTo>
                    <a:pt x="83733" y="42811"/>
                  </a:lnTo>
                  <a:lnTo>
                    <a:pt x="84482" y="43894"/>
                  </a:lnTo>
                  <a:lnTo>
                    <a:pt x="89060" y="46894"/>
                  </a:lnTo>
                  <a:lnTo>
                    <a:pt x="88693" y="47530"/>
                  </a:lnTo>
                  <a:lnTo>
                    <a:pt x="88025" y="47801"/>
                  </a:lnTo>
                  <a:lnTo>
                    <a:pt x="82901" y="46087"/>
                  </a:lnTo>
                  <a:lnTo>
                    <a:pt x="81411" y="43476"/>
                  </a:lnTo>
                  <a:lnTo>
                    <a:pt x="81053" y="40173"/>
                  </a:lnTo>
                  <a:lnTo>
                    <a:pt x="76324" y="37877"/>
                  </a:lnTo>
                  <a:lnTo>
                    <a:pt x="71864" y="35377"/>
                  </a:lnTo>
                  <a:lnTo>
                    <a:pt x="70867" y="33002"/>
                  </a:lnTo>
                  <a:lnTo>
                    <a:pt x="71785" y="32121"/>
                  </a:lnTo>
                  <a:lnTo>
                    <a:pt x="72435" y="30375"/>
                  </a:lnTo>
                  <a:lnTo>
                    <a:pt x="69984" y="30697"/>
                  </a:lnTo>
                  <a:lnTo>
                    <a:pt x="68446" y="31801"/>
                  </a:lnTo>
                  <a:lnTo>
                    <a:pt x="65961" y="32872"/>
                  </a:lnTo>
                  <a:lnTo>
                    <a:pt x="65859" y="34625"/>
                  </a:lnTo>
                  <a:lnTo>
                    <a:pt x="66252" y="36248"/>
                  </a:lnTo>
                  <a:lnTo>
                    <a:pt x="65430" y="38606"/>
                  </a:lnTo>
                  <a:lnTo>
                    <a:pt x="64631" y="42709"/>
                  </a:lnTo>
                  <a:lnTo>
                    <a:pt x="65136" y="44859"/>
                  </a:lnTo>
                  <a:lnTo>
                    <a:pt x="70521" y="51017"/>
                  </a:lnTo>
                  <a:lnTo>
                    <a:pt x="72363" y="55482"/>
                  </a:lnTo>
                  <a:lnTo>
                    <a:pt x="73685" y="57173"/>
                  </a:lnTo>
                  <a:lnTo>
                    <a:pt x="76441" y="59037"/>
                  </a:lnTo>
                  <a:lnTo>
                    <a:pt x="79314" y="62503"/>
                  </a:lnTo>
                  <a:lnTo>
                    <a:pt x="80533" y="64308"/>
                  </a:lnTo>
                  <a:lnTo>
                    <a:pt x="81400" y="67259"/>
                  </a:lnTo>
                  <a:lnTo>
                    <a:pt x="78982" y="69084"/>
                  </a:lnTo>
                  <a:lnTo>
                    <a:pt x="77574" y="69160"/>
                  </a:lnTo>
                  <a:lnTo>
                    <a:pt x="76794" y="68350"/>
                  </a:lnTo>
                  <a:lnTo>
                    <a:pt x="77885" y="66339"/>
                  </a:lnTo>
                  <a:lnTo>
                    <a:pt x="77730" y="65113"/>
                  </a:lnTo>
                  <a:lnTo>
                    <a:pt x="73996" y="63214"/>
                  </a:lnTo>
                  <a:lnTo>
                    <a:pt x="72415" y="63854"/>
                  </a:lnTo>
                  <a:lnTo>
                    <a:pt x="70593" y="65091"/>
                  </a:lnTo>
                  <a:lnTo>
                    <a:pt x="71633" y="67387"/>
                  </a:lnTo>
                  <a:lnTo>
                    <a:pt x="72804" y="68899"/>
                  </a:lnTo>
                  <a:lnTo>
                    <a:pt x="73391" y="70984"/>
                  </a:lnTo>
                  <a:lnTo>
                    <a:pt x="75629" y="70803"/>
                  </a:lnTo>
                  <a:lnTo>
                    <a:pt x="72616" y="73135"/>
                  </a:lnTo>
                  <a:lnTo>
                    <a:pt x="69789" y="74326"/>
                  </a:lnTo>
                  <a:lnTo>
                    <a:pt x="67008" y="74395"/>
                  </a:lnTo>
                  <a:lnTo>
                    <a:pt x="65237" y="74611"/>
                  </a:lnTo>
                  <a:lnTo>
                    <a:pt x="64627" y="75207"/>
                  </a:lnTo>
                  <a:lnTo>
                    <a:pt x="66067" y="75641"/>
                  </a:lnTo>
                  <a:lnTo>
                    <a:pt x="67243" y="75680"/>
                  </a:lnTo>
                  <a:lnTo>
                    <a:pt x="69157" y="76939"/>
                  </a:lnTo>
                  <a:lnTo>
                    <a:pt x="74603" y="78449"/>
                  </a:lnTo>
                  <a:lnTo>
                    <a:pt x="77198" y="80355"/>
                  </a:lnTo>
                  <a:lnTo>
                    <a:pt x="79747" y="80529"/>
                  </a:lnTo>
                  <a:lnTo>
                    <a:pt x="82312" y="84025"/>
                  </a:lnTo>
                  <a:lnTo>
                    <a:pt x="86749" y="84955"/>
                  </a:lnTo>
                  <a:lnTo>
                    <a:pt x="89278" y="88478"/>
                  </a:lnTo>
                  <a:lnTo>
                    <a:pt x="92640" y="89171"/>
                  </a:lnTo>
                  <a:lnTo>
                    <a:pt x="95536" y="90469"/>
                  </a:lnTo>
                  <a:lnTo>
                    <a:pt x="96384" y="91707"/>
                  </a:lnTo>
                  <a:lnTo>
                    <a:pt x="96807" y="93941"/>
                  </a:lnTo>
                  <a:lnTo>
                    <a:pt x="96995" y="98672"/>
                  </a:lnTo>
                  <a:lnTo>
                    <a:pt x="97622" y="102191"/>
                  </a:lnTo>
                  <a:lnTo>
                    <a:pt x="97643" y="103303"/>
                  </a:lnTo>
                  <a:lnTo>
                    <a:pt x="97490" y="104963"/>
                  </a:lnTo>
                  <a:lnTo>
                    <a:pt x="96702" y="105778"/>
                  </a:lnTo>
                  <a:lnTo>
                    <a:pt x="95637" y="105803"/>
                  </a:lnTo>
                  <a:lnTo>
                    <a:pt x="93553" y="103219"/>
                  </a:lnTo>
                  <a:lnTo>
                    <a:pt x="90357" y="100497"/>
                  </a:lnTo>
                  <a:lnTo>
                    <a:pt x="86989" y="97256"/>
                  </a:lnTo>
                  <a:lnTo>
                    <a:pt x="86032" y="96687"/>
                  </a:lnTo>
                  <a:lnTo>
                    <a:pt x="85249" y="96633"/>
                  </a:lnTo>
                  <a:lnTo>
                    <a:pt x="83446" y="97730"/>
                  </a:lnTo>
                  <a:lnTo>
                    <a:pt x="78436" y="98577"/>
                  </a:lnTo>
                  <a:lnTo>
                    <a:pt x="76086" y="99761"/>
                  </a:lnTo>
                  <a:lnTo>
                    <a:pt x="75203" y="100022"/>
                  </a:lnTo>
                  <a:lnTo>
                    <a:pt x="74957" y="100643"/>
                  </a:lnTo>
                  <a:lnTo>
                    <a:pt x="76058" y="101290"/>
                  </a:lnTo>
                  <a:lnTo>
                    <a:pt x="77408" y="102770"/>
                  </a:lnTo>
                  <a:lnTo>
                    <a:pt x="77408" y="104793"/>
                  </a:lnTo>
                  <a:lnTo>
                    <a:pt x="78522" y="107248"/>
                  </a:lnTo>
                  <a:lnTo>
                    <a:pt x="79962" y="107882"/>
                  </a:lnTo>
                  <a:lnTo>
                    <a:pt x="81839" y="107828"/>
                  </a:lnTo>
                  <a:lnTo>
                    <a:pt x="82914" y="108281"/>
                  </a:lnTo>
                  <a:lnTo>
                    <a:pt x="83193" y="109258"/>
                  </a:lnTo>
                  <a:lnTo>
                    <a:pt x="84283" y="110398"/>
                  </a:lnTo>
                  <a:lnTo>
                    <a:pt x="85002" y="111242"/>
                  </a:lnTo>
                  <a:lnTo>
                    <a:pt x="84972" y="111846"/>
                  </a:lnTo>
                  <a:lnTo>
                    <a:pt x="79738" y="113451"/>
                  </a:lnTo>
                  <a:lnTo>
                    <a:pt x="78643" y="114184"/>
                  </a:lnTo>
                  <a:lnTo>
                    <a:pt x="77725" y="114559"/>
                  </a:lnTo>
                  <a:lnTo>
                    <a:pt x="76365" y="113796"/>
                  </a:lnTo>
                  <a:lnTo>
                    <a:pt x="76287" y="111836"/>
                  </a:lnTo>
                  <a:lnTo>
                    <a:pt x="74488" y="110784"/>
                  </a:lnTo>
                  <a:lnTo>
                    <a:pt x="72838" y="109883"/>
                  </a:lnTo>
                  <a:lnTo>
                    <a:pt x="70861" y="109496"/>
                  </a:lnTo>
                  <a:lnTo>
                    <a:pt x="69178" y="108146"/>
                  </a:lnTo>
                  <a:lnTo>
                    <a:pt x="68081" y="109243"/>
                  </a:lnTo>
                  <a:lnTo>
                    <a:pt x="68958" y="113042"/>
                  </a:lnTo>
                  <a:lnTo>
                    <a:pt x="70861" y="115656"/>
                  </a:lnTo>
                  <a:lnTo>
                    <a:pt x="74043" y="122656"/>
                  </a:lnTo>
                  <a:lnTo>
                    <a:pt x="75488" y="126783"/>
                  </a:lnTo>
                  <a:lnTo>
                    <a:pt x="75780" y="128778"/>
                  </a:lnTo>
                  <a:lnTo>
                    <a:pt x="75060" y="132087"/>
                  </a:lnTo>
                  <a:lnTo>
                    <a:pt x="76624" y="134544"/>
                  </a:lnTo>
                  <a:lnTo>
                    <a:pt x="77695" y="137065"/>
                  </a:lnTo>
                  <a:lnTo>
                    <a:pt x="76516" y="136970"/>
                  </a:lnTo>
                  <a:lnTo>
                    <a:pt x="75493" y="136081"/>
                  </a:lnTo>
                  <a:lnTo>
                    <a:pt x="73776" y="135032"/>
                  </a:lnTo>
                  <a:lnTo>
                    <a:pt x="70446" y="131007"/>
                  </a:lnTo>
                  <a:lnTo>
                    <a:pt x="69286" y="128493"/>
                  </a:lnTo>
                  <a:lnTo>
                    <a:pt x="67900" y="128296"/>
                  </a:lnTo>
                  <a:lnTo>
                    <a:pt x="65494" y="128657"/>
                  </a:lnTo>
                  <a:lnTo>
                    <a:pt x="62856" y="134024"/>
                  </a:lnTo>
                  <a:lnTo>
                    <a:pt x="62864" y="137095"/>
                  </a:lnTo>
                  <a:lnTo>
                    <a:pt x="61500" y="136364"/>
                  </a:lnTo>
                  <a:lnTo>
                    <a:pt x="60329" y="135407"/>
                  </a:lnTo>
                  <a:lnTo>
                    <a:pt x="60472" y="132045"/>
                  </a:lnTo>
                  <a:lnTo>
                    <a:pt x="60355" y="130632"/>
                  </a:lnTo>
                  <a:lnTo>
                    <a:pt x="57153" y="126045"/>
                  </a:lnTo>
                  <a:lnTo>
                    <a:pt x="55684" y="125530"/>
                  </a:lnTo>
                  <a:lnTo>
                    <a:pt x="55000" y="123978"/>
                  </a:lnTo>
                  <a:lnTo>
                    <a:pt x="53821" y="122324"/>
                  </a:lnTo>
                  <a:lnTo>
                    <a:pt x="52301" y="122641"/>
                  </a:lnTo>
                  <a:lnTo>
                    <a:pt x="51059" y="123312"/>
                  </a:lnTo>
                  <a:lnTo>
                    <a:pt x="50716" y="125811"/>
                  </a:lnTo>
                  <a:lnTo>
                    <a:pt x="50588" y="128050"/>
                  </a:lnTo>
                  <a:lnTo>
                    <a:pt x="49662" y="129734"/>
                  </a:lnTo>
                  <a:lnTo>
                    <a:pt x="46250" y="126536"/>
                  </a:lnTo>
                  <a:lnTo>
                    <a:pt x="42819" y="121001"/>
                  </a:lnTo>
                  <a:lnTo>
                    <a:pt x="42728" y="117960"/>
                  </a:lnTo>
                  <a:lnTo>
                    <a:pt x="45242" y="115185"/>
                  </a:lnTo>
                  <a:lnTo>
                    <a:pt x="44941" y="113198"/>
                  </a:lnTo>
                  <a:lnTo>
                    <a:pt x="42562" y="109272"/>
                  </a:lnTo>
                  <a:lnTo>
                    <a:pt x="39133" y="106744"/>
                  </a:lnTo>
                  <a:lnTo>
                    <a:pt x="37211" y="105993"/>
                  </a:lnTo>
                  <a:lnTo>
                    <a:pt x="36308" y="103303"/>
                  </a:lnTo>
                  <a:lnTo>
                    <a:pt x="34468" y="101912"/>
                  </a:lnTo>
                  <a:lnTo>
                    <a:pt x="32980" y="101264"/>
                  </a:lnTo>
                  <a:lnTo>
                    <a:pt x="32687" y="100305"/>
                  </a:lnTo>
                  <a:lnTo>
                    <a:pt x="33136" y="99595"/>
                  </a:lnTo>
                  <a:lnTo>
                    <a:pt x="36742" y="96823"/>
                  </a:lnTo>
                  <a:lnTo>
                    <a:pt x="38856" y="92481"/>
                  </a:lnTo>
                  <a:lnTo>
                    <a:pt x="39906" y="92274"/>
                  </a:lnTo>
                  <a:lnTo>
                    <a:pt x="42063" y="93304"/>
                  </a:lnTo>
                  <a:lnTo>
                    <a:pt x="44488" y="93035"/>
                  </a:lnTo>
                  <a:lnTo>
                    <a:pt x="46479" y="90489"/>
                  </a:lnTo>
                  <a:lnTo>
                    <a:pt x="48165" y="89103"/>
                  </a:lnTo>
                  <a:lnTo>
                    <a:pt x="51009" y="89282"/>
                  </a:lnTo>
                  <a:lnTo>
                    <a:pt x="57431" y="92685"/>
                  </a:lnTo>
                  <a:lnTo>
                    <a:pt x="64333" y="94623"/>
                  </a:lnTo>
                  <a:lnTo>
                    <a:pt x="67775" y="96324"/>
                  </a:lnTo>
                  <a:lnTo>
                    <a:pt x="69722" y="98009"/>
                  </a:lnTo>
                  <a:lnTo>
                    <a:pt x="70757" y="98358"/>
                  </a:lnTo>
                  <a:lnTo>
                    <a:pt x="72392" y="98596"/>
                  </a:lnTo>
                  <a:lnTo>
                    <a:pt x="72318" y="97336"/>
                  </a:lnTo>
                  <a:lnTo>
                    <a:pt x="71791" y="96221"/>
                  </a:lnTo>
                  <a:lnTo>
                    <a:pt x="73154" y="95614"/>
                  </a:lnTo>
                  <a:lnTo>
                    <a:pt x="76853" y="95646"/>
                  </a:lnTo>
                  <a:lnTo>
                    <a:pt x="77526" y="95055"/>
                  </a:lnTo>
                  <a:lnTo>
                    <a:pt x="78211" y="94098"/>
                  </a:lnTo>
                  <a:lnTo>
                    <a:pt x="77447" y="93010"/>
                  </a:lnTo>
                  <a:lnTo>
                    <a:pt x="76222" y="92487"/>
                  </a:lnTo>
                  <a:lnTo>
                    <a:pt x="74913" y="92342"/>
                  </a:lnTo>
                  <a:lnTo>
                    <a:pt x="74052" y="91997"/>
                  </a:lnTo>
                  <a:lnTo>
                    <a:pt x="72661" y="92345"/>
                  </a:lnTo>
                  <a:lnTo>
                    <a:pt x="70491" y="91504"/>
                  </a:lnTo>
                  <a:lnTo>
                    <a:pt x="69370" y="90810"/>
                  </a:lnTo>
                  <a:lnTo>
                    <a:pt x="68712" y="90096"/>
                  </a:lnTo>
                  <a:lnTo>
                    <a:pt x="64942" y="88672"/>
                  </a:lnTo>
                  <a:lnTo>
                    <a:pt x="61366" y="86264"/>
                  </a:lnTo>
                  <a:lnTo>
                    <a:pt x="60560" y="87627"/>
                  </a:lnTo>
                  <a:lnTo>
                    <a:pt x="59116" y="88366"/>
                  </a:lnTo>
                  <a:lnTo>
                    <a:pt x="57058" y="88468"/>
                  </a:lnTo>
                  <a:lnTo>
                    <a:pt x="51275" y="86935"/>
                  </a:lnTo>
                  <a:lnTo>
                    <a:pt x="47722" y="88105"/>
                  </a:lnTo>
                  <a:lnTo>
                    <a:pt x="45786" y="88412"/>
                  </a:lnTo>
                  <a:lnTo>
                    <a:pt x="44304" y="88438"/>
                  </a:lnTo>
                  <a:lnTo>
                    <a:pt x="42482" y="88963"/>
                  </a:lnTo>
                  <a:lnTo>
                    <a:pt x="40379" y="89277"/>
                  </a:lnTo>
                  <a:lnTo>
                    <a:pt x="38556" y="87054"/>
                  </a:lnTo>
                  <a:lnTo>
                    <a:pt x="37789" y="85331"/>
                  </a:lnTo>
                  <a:lnTo>
                    <a:pt x="37249" y="85009"/>
                  </a:lnTo>
                  <a:lnTo>
                    <a:pt x="37222" y="86628"/>
                  </a:lnTo>
                  <a:lnTo>
                    <a:pt x="36636" y="87926"/>
                  </a:lnTo>
                  <a:lnTo>
                    <a:pt x="33968" y="88655"/>
                  </a:lnTo>
                  <a:lnTo>
                    <a:pt x="32432" y="87650"/>
                  </a:lnTo>
                  <a:lnTo>
                    <a:pt x="31251" y="84598"/>
                  </a:lnTo>
                  <a:lnTo>
                    <a:pt x="29757" y="80715"/>
                  </a:lnTo>
                  <a:lnTo>
                    <a:pt x="27126" y="77576"/>
                  </a:lnTo>
                  <a:lnTo>
                    <a:pt x="24995" y="76755"/>
                  </a:lnTo>
                  <a:lnTo>
                    <a:pt x="24811" y="75029"/>
                  </a:lnTo>
                  <a:lnTo>
                    <a:pt x="25006" y="73647"/>
                  </a:lnTo>
                  <a:lnTo>
                    <a:pt x="27567" y="73306"/>
                  </a:lnTo>
                  <a:lnTo>
                    <a:pt x="31570" y="74751"/>
                  </a:lnTo>
                  <a:lnTo>
                    <a:pt x="32397" y="74464"/>
                  </a:lnTo>
                  <a:lnTo>
                    <a:pt x="33298" y="73797"/>
                  </a:lnTo>
                  <a:lnTo>
                    <a:pt x="33125" y="72322"/>
                  </a:lnTo>
                  <a:lnTo>
                    <a:pt x="32547" y="71008"/>
                  </a:lnTo>
                  <a:lnTo>
                    <a:pt x="31445" y="70949"/>
                  </a:lnTo>
                  <a:lnTo>
                    <a:pt x="30683" y="71105"/>
                  </a:lnTo>
                  <a:lnTo>
                    <a:pt x="28221" y="70833"/>
                  </a:lnTo>
                  <a:lnTo>
                    <a:pt x="25058" y="71563"/>
                  </a:lnTo>
                  <a:lnTo>
                    <a:pt x="23591" y="70875"/>
                  </a:lnTo>
                  <a:lnTo>
                    <a:pt x="23103" y="70039"/>
                  </a:lnTo>
                  <a:lnTo>
                    <a:pt x="20458" y="67963"/>
                  </a:lnTo>
                  <a:lnTo>
                    <a:pt x="18172" y="65177"/>
                  </a:lnTo>
                  <a:lnTo>
                    <a:pt x="14468" y="63316"/>
                  </a:lnTo>
                  <a:lnTo>
                    <a:pt x="12049" y="57641"/>
                  </a:lnTo>
                  <a:lnTo>
                    <a:pt x="10015" y="55161"/>
                  </a:lnTo>
                  <a:lnTo>
                    <a:pt x="7845" y="53389"/>
                  </a:lnTo>
                  <a:lnTo>
                    <a:pt x="8316" y="53356"/>
                  </a:lnTo>
                  <a:lnTo>
                    <a:pt x="9139" y="53657"/>
                  </a:lnTo>
                  <a:lnTo>
                    <a:pt x="10715" y="54632"/>
                  </a:lnTo>
                  <a:lnTo>
                    <a:pt x="12391" y="54842"/>
                  </a:lnTo>
                  <a:lnTo>
                    <a:pt x="13306" y="54196"/>
                  </a:lnTo>
                  <a:lnTo>
                    <a:pt x="13833" y="53603"/>
                  </a:lnTo>
                  <a:lnTo>
                    <a:pt x="14176" y="52630"/>
                  </a:lnTo>
                  <a:lnTo>
                    <a:pt x="14315" y="51495"/>
                  </a:lnTo>
                  <a:lnTo>
                    <a:pt x="14587" y="51119"/>
                  </a:lnTo>
                  <a:lnTo>
                    <a:pt x="15867" y="51247"/>
                  </a:lnTo>
                  <a:lnTo>
                    <a:pt x="16273" y="50964"/>
                  </a:lnTo>
                  <a:lnTo>
                    <a:pt x="16256" y="49944"/>
                  </a:lnTo>
                  <a:lnTo>
                    <a:pt x="15429" y="48672"/>
                  </a:lnTo>
                  <a:lnTo>
                    <a:pt x="14701" y="47105"/>
                  </a:lnTo>
                  <a:lnTo>
                    <a:pt x="14697" y="46358"/>
                  </a:lnTo>
                  <a:lnTo>
                    <a:pt x="15302" y="46055"/>
                  </a:lnTo>
                  <a:lnTo>
                    <a:pt x="16302" y="45374"/>
                  </a:lnTo>
                  <a:lnTo>
                    <a:pt x="16839" y="44532"/>
                  </a:lnTo>
                  <a:lnTo>
                    <a:pt x="17901" y="44112"/>
                  </a:lnTo>
                  <a:lnTo>
                    <a:pt x="19472" y="44035"/>
                  </a:lnTo>
                  <a:lnTo>
                    <a:pt x="21223" y="43666"/>
                  </a:lnTo>
                  <a:lnTo>
                    <a:pt x="22354" y="42760"/>
                  </a:lnTo>
                  <a:lnTo>
                    <a:pt x="22521" y="41862"/>
                  </a:lnTo>
                  <a:lnTo>
                    <a:pt x="23229" y="39391"/>
                  </a:lnTo>
                  <a:lnTo>
                    <a:pt x="23691" y="38181"/>
                  </a:lnTo>
                  <a:lnTo>
                    <a:pt x="24438" y="37076"/>
                  </a:lnTo>
                  <a:lnTo>
                    <a:pt x="24844" y="35586"/>
                  </a:lnTo>
                  <a:lnTo>
                    <a:pt x="25641" y="34184"/>
                  </a:lnTo>
                  <a:lnTo>
                    <a:pt x="27312" y="33596"/>
                  </a:lnTo>
                  <a:lnTo>
                    <a:pt x="28828" y="32903"/>
                  </a:lnTo>
                  <a:lnTo>
                    <a:pt x="29972" y="31096"/>
                  </a:lnTo>
                  <a:lnTo>
                    <a:pt x="30612" y="29547"/>
                  </a:lnTo>
                  <a:lnTo>
                    <a:pt x="30616" y="28599"/>
                  </a:lnTo>
                  <a:lnTo>
                    <a:pt x="29662" y="27047"/>
                  </a:lnTo>
                  <a:lnTo>
                    <a:pt x="28951" y="25538"/>
                  </a:lnTo>
                  <a:lnTo>
                    <a:pt x="29139" y="23578"/>
                  </a:lnTo>
                  <a:lnTo>
                    <a:pt x="32141" y="23414"/>
                  </a:lnTo>
                  <a:lnTo>
                    <a:pt x="33192" y="23231"/>
                  </a:lnTo>
                  <a:lnTo>
                    <a:pt x="37088" y="23125"/>
                  </a:lnTo>
                  <a:lnTo>
                    <a:pt x="38865" y="22073"/>
                  </a:lnTo>
                  <a:lnTo>
                    <a:pt x="40094" y="22167"/>
                  </a:lnTo>
                  <a:lnTo>
                    <a:pt x="42661" y="23078"/>
                  </a:lnTo>
                  <a:lnTo>
                    <a:pt x="43806" y="22358"/>
                  </a:lnTo>
                  <a:lnTo>
                    <a:pt x="47166" y="20936"/>
                  </a:lnTo>
                  <a:lnTo>
                    <a:pt x="50482" y="16805"/>
                  </a:lnTo>
                  <a:lnTo>
                    <a:pt x="51895" y="16185"/>
                  </a:lnTo>
                  <a:lnTo>
                    <a:pt x="55112" y="15934"/>
                  </a:lnTo>
                  <a:lnTo>
                    <a:pt x="56120" y="15456"/>
                  </a:lnTo>
                  <a:lnTo>
                    <a:pt x="57297" y="15547"/>
                  </a:lnTo>
                  <a:lnTo>
                    <a:pt x="60903" y="16385"/>
                  </a:lnTo>
                  <a:lnTo>
                    <a:pt x="62955" y="16513"/>
                  </a:lnTo>
                  <a:lnTo>
                    <a:pt x="65388" y="15942"/>
                  </a:lnTo>
                  <a:lnTo>
                    <a:pt x="68069" y="14932"/>
                  </a:lnTo>
                  <a:lnTo>
                    <a:pt x="68738" y="11394"/>
                  </a:lnTo>
                  <a:lnTo>
                    <a:pt x="69375" y="10886"/>
                  </a:lnTo>
                  <a:lnTo>
                    <a:pt x="71042" y="10744"/>
                  </a:lnTo>
                  <a:lnTo>
                    <a:pt x="72297" y="10773"/>
                  </a:lnTo>
                  <a:lnTo>
                    <a:pt x="74719" y="11054"/>
                  </a:lnTo>
                  <a:lnTo>
                    <a:pt x="77602" y="11148"/>
                  </a:lnTo>
                  <a:lnTo>
                    <a:pt x="79457" y="9488"/>
                  </a:lnTo>
                  <a:lnTo>
                    <a:pt x="82381" y="9364"/>
                  </a:lnTo>
                  <a:lnTo>
                    <a:pt x="83737" y="9124"/>
                  </a:lnTo>
                  <a:lnTo>
                    <a:pt x="86002" y="9459"/>
                  </a:lnTo>
                  <a:lnTo>
                    <a:pt x="88198" y="9440"/>
                  </a:lnTo>
                  <a:lnTo>
                    <a:pt x="91010" y="8748"/>
                  </a:lnTo>
                  <a:lnTo>
                    <a:pt x="93631" y="7613"/>
                  </a:lnTo>
                  <a:lnTo>
                    <a:pt x="95680" y="7710"/>
                  </a:lnTo>
                  <a:lnTo>
                    <a:pt x="96516" y="7505"/>
                  </a:lnTo>
                  <a:lnTo>
                    <a:pt x="96994" y="7266"/>
                  </a:lnTo>
                  <a:lnTo>
                    <a:pt x="97505" y="5729"/>
                  </a:lnTo>
                  <a:lnTo>
                    <a:pt x="101360" y="5635"/>
                  </a:lnTo>
                  <a:lnTo>
                    <a:pt x="102666" y="5788"/>
                  </a:lnTo>
                  <a:lnTo>
                    <a:pt x="104817" y="5828"/>
                  </a:lnTo>
                  <a:lnTo>
                    <a:pt x="107054" y="4990"/>
                  </a:lnTo>
                  <a:lnTo>
                    <a:pt x="107725" y="5061"/>
                  </a:lnTo>
                  <a:lnTo>
                    <a:pt x="108855" y="7311"/>
                  </a:lnTo>
                  <a:lnTo>
                    <a:pt x="109444" y="7963"/>
                  </a:lnTo>
                  <a:lnTo>
                    <a:pt x="110662" y="8564"/>
                  </a:lnTo>
                  <a:lnTo>
                    <a:pt x="113374" y="10250"/>
                  </a:lnTo>
                  <a:lnTo>
                    <a:pt x="113863" y="9806"/>
                  </a:lnTo>
                  <a:lnTo>
                    <a:pt x="114992" y="9243"/>
                  </a:lnTo>
                  <a:lnTo>
                    <a:pt x="118235" y="10015"/>
                  </a:lnTo>
                  <a:lnTo>
                    <a:pt x="121327" y="11314"/>
                  </a:lnTo>
                  <a:lnTo>
                    <a:pt x="123932" y="13219"/>
                  </a:lnTo>
                  <a:lnTo>
                    <a:pt x="126823" y="12670"/>
                  </a:lnTo>
                  <a:lnTo>
                    <a:pt x="130032" y="11735"/>
                  </a:lnTo>
                  <a:lnTo>
                    <a:pt x="132120" y="11463"/>
                  </a:lnTo>
                  <a:lnTo>
                    <a:pt x="134385" y="11333"/>
                  </a:lnTo>
                  <a:lnTo>
                    <a:pt x="135735" y="10927"/>
                  </a:lnTo>
                  <a:lnTo>
                    <a:pt x="138795" y="11416"/>
                  </a:lnTo>
                  <a:lnTo>
                    <a:pt x="141958" y="10393"/>
                  </a:lnTo>
                  <a:lnTo>
                    <a:pt x="143483" y="9467"/>
                  </a:lnTo>
                  <a:lnTo>
                    <a:pt x="143921" y="8170"/>
                  </a:lnTo>
                  <a:lnTo>
                    <a:pt x="143664" y="5881"/>
                  </a:lnTo>
                  <a:lnTo>
                    <a:pt x="142949" y="3589"/>
                  </a:lnTo>
                  <a:lnTo>
                    <a:pt x="142192" y="2743"/>
                  </a:lnTo>
                  <a:lnTo>
                    <a:pt x="141950" y="1868"/>
                  </a:lnTo>
                  <a:lnTo>
                    <a:pt x="142381" y="1050"/>
                  </a:lnTo>
                  <a:lnTo>
                    <a:pt x="142865" y="479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ee4p_HR_1_37764">
              <a:extLst>
                <a:ext uri="{FF2B5EF4-FFF2-40B4-BE49-F238E27FC236}">
                  <a16:creationId xmlns:a16="http://schemas.microsoft.com/office/drawing/2014/main" id="{8FD6CEA3-DB89-412A-B55E-7E0E8BB11757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11233697" y="10195054"/>
              <a:ext cx="1224664" cy="1050109"/>
            </a:xfrm>
            <a:custGeom>
              <a:avLst/>
              <a:gdLst>
                <a:gd name="connsiteX0" fmla="*/ 86563 w 130102"/>
                <a:gd name="connsiteY0" fmla="*/ 101746 h 111558"/>
                <a:gd name="connsiteX1" fmla="*/ 90452 w 130102"/>
                <a:gd name="connsiteY1" fmla="*/ 102584 h 111558"/>
                <a:gd name="connsiteX2" fmla="*/ 93469 w 130102"/>
                <a:gd name="connsiteY2" fmla="*/ 104421 h 111558"/>
                <a:gd name="connsiteX3" fmla="*/ 84622 w 130102"/>
                <a:gd name="connsiteY3" fmla="*/ 102014 h 111558"/>
                <a:gd name="connsiteX4" fmla="*/ 85626 w 130102"/>
                <a:gd name="connsiteY4" fmla="*/ 101793 h 111558"/>
                <a:gd name="connsiteX5" fmla="*/ 69288 w 130102"/>
                <a:gd name="connsiteY5" fmla="*/ 96494 h 111558"/>
                <a:gd name="connsiteX6" fmla="*/ 73375 w 130102"/>
                <a:gd name="connsiteY6" fmla="*/ 97242 h 111558"/>
                <a:gd name="connsiteX7" fmla="*/ 76373 w 130102"/>
                <a:gd name="connsiteY7" fmla="*/ 96898 h 111558"/>
                <a:gd name="connsiteX8" fmla="*/ 79083 w 130102"/>
                <a:gd name="connsiteY8" fmla="*/ 97357 h 111558"/>
                <a:gd name="connsiteX9" fmla="*/ 80767 w 130102"/>
                <a:gd name="connsiteY9" fmla="*/ 98207 h 111558"/>
                <a:gd name="connsiteX10" fmla="*/ 81175 w 130102"/>
                <a:gd name="connsiteY10" fmla="*/ 98624 h 111558"/>
                <a:gd name="connsiteX11" fmla="*/ 78988 w 130102"/>
                <a:gd name="connsiteY11" fmla="*/ 98682 h 111558"/>
                <a:gd name="connsiteX12" fmla="*/ 76515 w 130102"/>
                <a:gd name="connsiteY12" fmla="*/ 98337 h 111558"/>
                <a:gd name="connsiteX13" fmla="*/ 73710 w 130102"/>
                <a:gd name="connsiteY13" fmla="*/ 99201 h 111558"/>
                <a:gd name="connsiteX14" fmla="*/ 71238 w 130102"/>
                <a:gd name="connsiteY14" fmla="*/ 98739 h 111558"/>
                <a:gd name="connsiteX15" fmla="*/ 70298 w 130102"/>
                <a:gd name="connsiteY15" fmla="*/ 98178 h 111558"/>
                <a:gd name="connsiteX16" fmla="*/ 69633 w 130102"/>
                <a:gd name="connsiteY16" fmla="*/ 97476 h 111558"/>
                <a:gd name="connsiteX17" fmla="*/ 81872 w 130102"/>
                <a:gd name="connsiteY17" fmla="*/ 95708 h 111558"/>
                <a:gd name="connsiteX18" fmla="*/ 93013 w 130102"/>
                <a:gd name="connsiteY18" fmla="*/ 100400 h 111558"/>
                <a:gd name="connsiteX19" fmla="*/ 91773 w 130102"/>
                <a:gd name="connsiteY19" fmla="*/ 99158 h 111558"/>
                <a:gd name="connsiteX20" fmla="*/ 93380 w 130102"/>
                <a:gd name="connsiteY20" fmla="*/ 98666 h 111558"/>
                <a:gd name="connsiteX21" fmla="*/ 94745 w 130102"/>
                <a:gd name="connsiteY21" fmla="*/ 99020 h 111558"/>
                <a:gd name="connsiteX22" fmla="*/ 95615 w 130102"/>
                <a:gd name="connsiteY22" fmla="*/ 100551 h 111558"/>
                <a:gd name="connsiteX23" fmla="*/ 97330 w 130102"/>
                <a:gd name="connsiteY23" fmla="*/ 101558 h 111558"/>
                <a:gd name="connsiteX24" fmla="*/ 100109 w 130102"/>
                <a:gd name="connsiteY24" fmla="*/ 103327 h 111558"/>
                <a:gd name="connsiteX25" fmla="*/ 101864 w 130102"/>
                <a:gd name="connsiteY25" fmla="*/ 104682 h 111558"/>
                <a:gd name="connsiteX26" fmla="*/ 105846 w 130102"/>
                <a:gd name="connsiteY26" fmla="*/ 107117 h 111558"/>
                <a:gd name="connsiteX27" fmla="*/ 106788 w 130102"/>
                <a:gd name="connsiteY27" fmla="*/ 107457 h 111558"/>
                <a:gd name="connsiteX28" fmla="*/ 108772 w 130102"/>
                <a:gd name="connsiteY28" fmla="*/ 108176 h 111558"/>
                <a:gd name="connsiteX29" fmla="*/ 108811 w 130102"/>
                <a:gd name="connsiteY29" fmla="*/ 109157 h 111558"/>
                <a:gd name="connsiteX30" fmla="*/ 109664 w 130102"/>
                <a:gd name="connsiteY30" fmla="*/ 110273 h 111558"/>
                <a:gd name="connsiteX31" fmla="*/ 110566 w 130102"/>
                <a:gd name="connsiteY31" fmla="*/ 111558 h 111558"/>
                <a:gd name="connsiteX32" fmla="*/ 106488 w 130102"/>
                <a:gd name="connsiteY32" fmla="*/ 109026 h 111558"/>
                <a:gd name="connsiteX33" fmla="*/ 102676 w 130102"/>
                <a:gd name="connsiteY33" fmla="*/ 106192 h 111558"/>
                <a:gd name="connsiteX34" fmla="*/ 95229 w 130102"/>
                <a:gd name="connsiteY34" fmla="*/ 101826 h 111558"/>
                <a:gd name="connsiteX35" fmla="*/ 89946 w 130102"/>
                <a:gd name="connsiteY35" fmla="*/ 100762 h 111558"/>
                <a:gd name="connsiteX36" fmla="*/ 82721 w 130102"/>
                <a:gd name="connsiteY36" fmla="*/ 97247 h 111558"/>
                <a:gd name="connsiteX37" fmla="*/ 78016 w 130102"/>
                <a:gd name="connsiteY37" fmla="*/ 96003 h 111558"/>
                <a:gd name="connsiteX38" fmla="*/ 79808 w 130102"/>
                <a:gd name="connsiteY38" fmla="*/ 95716 h 111558"/>
                <a:gd name="connsiteX39" fmla="*/ 66429 w 130102"/>
                <a:gd name="connsiteY39" fmla="*/ 90251 h 111558"/>
                <a:gd name="connsiteX40" fmla="*/ 69404 w 130102"/>
                <a:gd name="connsiteY40" fmla="*/ 90667 h 111558"/>
                <a:gd name="connsiteX41" fmla="*/ 70318 w 130102"/>
                <a:gd name="connsiteY41" fmla="*/ 91709 h 111558"/>
                <a:gd name="connsiteX42" fmla="*/ 78364 w 130102"/>
                <a:gd name="connsiteY42" fmla="*/ 92543 h 111558"/>
                <a:gd name="connsiteX43" fmla="*/ 81302 w 130102"/>
                <a:gd name="connsiteY43" fmla="*/ 93029 h 111558"/>
                <a:gd name="connsiteX44" fmla="*/ 79756 w 130102"/>
                <a:gd name="connsiteY44" fmla="*/ 93307 h 111558"/>
                <a:gd name="connsiteX45" fmla="*/ 69918 w 130102"/>
                <a:gd name="connsiteY45" fmla="*/ 93100 h 111558"/>
                <a:gd name="connsiteX46" fmla="*/ 67057 w 130102"/>
                <a:gd name="connsiteY46" fmla="*/ 92543 h 111558"/>
                <a:gd name="connsiteX47" fmla="*/ 63874 w 130102"/>
                <a:gd name="connsiteY47" fmla="*/ 91108 h 111558"/>
                <a:gd name="connsiteX48" fmla="*/ 63224 w 130102"/>
                <a:gd name="connsiteY48" fmla="*/ 90667 h 111558"/>
                <a:gd name="connsiteX49" fmla="*/ 64827 w 130102"/>
                <a:gd name="connsiteY49" fmla="*/ 86010 h 111558"/>
                <a:gd name="connsiteX50" fmla="*/ 68202 w 130102"/>
                <a:gd name="connsiteY50" fmla="*/ 86149 h 111558"/>
                <a:gd name="connsiteX51" fmla="*/ 73350 w 130102"/>
                <a:gd name="connsiteY51" fmla="*/ 86984 h 111558"/>
                <a:gd name="connsiteX52" fmla="*/ 74609 w 130102"/>
                <a:gd name="connsiteY52" fmla="*/ 87957 h 111558"/>
                <a:gd name="connsiteX53" fmla="*/ 74218 w 130102"/>
                <a:gd name="connsiteY53" fmla="*/ 88406 h 111558"/>
                <a:gd name="connsiteX54" fmla="*/ 72263 w 130102"/>
                <a:gd name="connsiteY54" fmla="*/ 89139 h 111558"/>
                <a:gd name="connsiteX55" fmla="*/ 68774 w 130102"/>
                <a:gd name="connsiteY55" fmla="*/ 89209 h 111558"/>
                <a:gd name="connsiteX56" fmla="*/ 65742 w 130102"/>
                <a:gd name="connsiteY56" fmla="*/ 88722 h 111558"/>
                <a:gd name="connsiteX57" fmla="*/ 64256 w 130102"/>
                <a:gd name="connsiteY57" fmla="*/ 87887 h 111558"/>
                <a:gd name="connsiteX58" fmla="*/ 64367 w 130102"/>
                <a:gd name="connsiteY58" fmla="*/ 87184 h 111558"/>
                <a:gd name="connsiteX59" fmla="*/ 38758 w 130102"/>
                <a:gd name="connsiteY59" fmla="*/ 69183 h 111558"/>
                <a:gd name="connsiteX60" fmla="*/ 41000 w 130102"/>
                <a:gd name="connsiteY60" fmla="*/ 70181 h 111558"/>
                <a:gd name="connsiteX61" fmla="*/ 42455 w 130102"/>
                <a:gd name="connsiteY61" fmla="*/ 72191 h 111558"/>
                <a:gd name="connsiteX62" fmla="*/ 41063 w 130102"/>
                <a:gd name="connsiteY62" fmla="*/ 71778 h 111558"/>
                <a:gd name="connsiteX63" fmla="*/ 39611 w 130102"/>
                <a:gd name="connsiteY63" fmla="*/ 70534 h 111558"/>
                <a:gd name="connsiteX64" fmla="*/ 34243 w 130102"/>
                <a:gd name="connsiteY64" fmla="*/ 65203 h 111558"/>
                <a:gd name="connsiteX65" fmla="*/ 37897 w 130102"/>
                <a:gd name="connsiteY65" fmla="*/ 67787 h 111558"/>
                <a:gd name="connsiteX66" fmla="*/ 38242 w 130102"/>
                <a:gd name="connsiteY66" fmla="*/ 68741 h 111558"/>
                <a:gd name="connsiteX67" fmla="*/ 35483 w 130102"/>
                <a:gd name="connsiteY67" fmla="*/ 66947 h 111558"/>
                <a:gd name="connsiteX68" fmla="*/ 34437 w 130102"/>
                <a:gd name="connsiteY68" fmla="*/ 65741 h 111558"/>
                <a:gd name="connsiteX69" fmla="*/ 29804 w 130102"/>
                <a:gd name="connsiteY69" fmla="*/ 64924 h 111558"/>
                <a:gd name="connsiteX70" fmla="*/ 31738 w 130102"/>
                <a:gd name="connsiteY70" fmla="*/ 66300 h 111558"/>
                <a:gd name="connsiteX71" fmla="*/ 36962 w 130102"/>
                <a:gd name="connsiteY71" fmla="*/ 71573 h 111558"/>
                <a:gd name="connsiteX72" fmla="*/ 37277 w 130102"/>
                <a:gd name="connsiteY72" fmla="*/ 71969 h 111558"/>
                <a:gd name="connsiteX73" fmla="*/ 37247 w 130102"/>
                <a:gd name="connsiteY73" fmla="*/ 72239 h 111558"/>
                <a:gd name="connsiteX74" fmla="*/ 36100 w 130102"/>
                <a:gd name="connsiteY74" fmla="*/ 71858 h 111558"/>
                <a:gd name="connsiteX75" fmla="*/ 35791 w 130102"/>
                <a:gd name="connsiteY75" fmla="*/ 71981 h 111558"/>
                <a:gd name="connsiteX76" fmla="*/ 30384 w 130102"/>
                <a:gd name="connsiteY76" fmla="*/ 66074 h 111558"/>
                <a:gd name="connsiteX77" fmla="*/ 27080 w 130102"/>
                <a:gd name="connsiteY77" fmla="*/ 50537 h 111558"/>
                <a:gd name="connsiteX78" fmla="*/ 28449 w 130102"/>
                <a:gd name="connsiteY78" fmla="*/ 51863 h 111558"/>
                <a:gd name="connsiteX79" fmla="*/ 29590 w 130102"/>
                <a:gd name="connsiteY79" fmla="*/ 52692 h 111558"/>
                <a:gd name="connsiteX80" fmla="*/ 30533 w 130102"/>
                <a:gd name="connsiteY80" fmla="*/ 52894 h 111558"/>
                <a:gd name="connsiteX81" fmla="*/ 32930 w 130102"/>
                <a:gd name="connsiteY81" fmla="*/ 54978 h 111558"/>
                <a:gd name="connsiteX82" fmla="*/ 35286 w 130102"/>
                <a:gd name="connsiteY82" fmla="*/ 57656 h 111558"/>
                <a:gd name="connsiteX83" fmla="*/ 38093 w 130102"/>
                <a:gd name="connsiteY83" fmla="*/ 59980 h 111558"/>
                <a:gd name="connsiteX84" fmla="*/ 37510 w 130102"/>
                <a:gd name="connsiteY84" fmla="*/ 60052 h 111558"/>
                <a:gd name="connsiteX85" fmla="*/ 36955 w 130102"/>
                <a:gd name="connsiteY85" fmla="*/ 60373 h 111558"/>
                <a:gd name="connsiteX86" fmla="*/ 36383 w 130102"/>
                <a:gd name="connsiteY86" fmla="*/ 61094 h 111558"/>
                <a:gd name="connsiteX87" fmla="*/ 34954 w 130102"/>
                <a:gd name="connsiteY87" fmla="*/ 59765 h 111558"/>
                <a:gd name="connsiteX88" fmla="*/ 33641 w 130102"/>
                <a:gd name="connsiteY88" fmla="*/ 58817 h 111558"/>
                <a:gd name="connsiteX89" fmla="*/ 32701 w 130102"/>
                <a:gd name="connsiteY89" fmla="*/ 57695 h 111558"/>
                <a:gd name="connsiteX90" fmla="*/ 30859 w 130102"/>
                <a:gd name="connsiteY90" fmla="*/ 56295 h 111558"/>
                <a:gd name="connsiteX91" fmla="*/ 30237 w 130102"/>
                <a:gd name="connsiteY91" fmla="*/ 54693 h 111558"/>
                <a:gd name="connsiteX92" fmla="*/ 27491 w 130102"/>
                <a:gd name="connsiteY92" fmla="*/ 51425 h 111558"/>
                <a:gd name="connsiteX93" fmla="*/ 25944 w 130102"/>
                <a:gd name="connsiteY93" fmla="*/ 46425 h 111558"/>
                <a:gd name="connsiteX94" fmla="*/ 27353 w 130102"/>
                <a:gd name="connsiteY94" fmla="*/ 46516 h 111558"/>
                <a:gd name="connsiteX95" fmla="*/ 27564 w 130102"/>
                <a:gd name="connsiteY95" fmla="*/ 47155 h 111558"/>
                <a:gd name="connsiteX96" fmla="*/ 29061 w 130102"/>
                <a:gd name="connsiteY96" fmla="*/ 48859 h 111558"/>
                <a:gd name="connsiteX97" fmla="*/ 29618 w 130102"/>
                <a:gd name="connsiteY97" fmla="*/ 50061 h 111558"/>
                <a:gd name="connsiteX98" fmla="*/ 27536 w 130102"/>
                <a:gd name="connsiteY98" fmla="*/ 48976 h 111558"/>
                <a:gd name="connsiteX99" fmla="*/ 25672 w 130102"/>
                <a:gd name="connsiteY99" fmla="*/ 48561 h 111558"/>
                <a:gd name="connsiteX100" fmla="*/ 25277 w 130102"/>
                <a:gd name="connsiteY100" fmla="*/ 47744 h 111558"/>
                <a:gd name="connsiteX101" fmla="*/ 25545 w 130102"/>
                <a:gd name="connsiteY101" fmla="*/ 47074 h 111558"/>
                <a:gd name="connsiteX102" fmla="*/ 18596 w 130102"/>
                <a:gd name="connsiteY102" fmla="*/ 37698 h 111558"/>
                <a:gd name="connsiteX103" fmla="*/ 18838 w 130102"/>
                <a:gd name="connsiteY103" fmla="*/ 40065 h 111558"/>
                <a:gd name="connsiteX104" fmla="*/ 19382 w 130102"/>
                <a:gd name="connsiteY104" fmla="*/ 41424 h 111558"/>
                <a:gd name="connsiteX105" fmla="*/ 21010 w 130102"/>
                <a:gd name="connsiteY105" fmla="*/ 43092 h 111558"/>
                <a:gd name="connsiteX106" fmla="*/ 20682 w 130102"/>
                <a:gd name="connsiteY106" fmla="*/ 45851 h 111558"/>
                <a:gd name="connsiteX107" fmla="*/ 21015 w 130102"/>
                <a:gd name="connsiteY107" fmla="*/ 49774 h 111558"/>
                <a:gd name="connsiteX108" fmla="*/ 21345 w 130102"/>
                <a:gd name="connsiteY108" fmla="*/ 50646 h 111558"/>
                <a:gd name="connsiteX109" fmla="*/ 21468 w 130102"/>
                <a:gd name="connsiteY109" fmla="*/ 51553 h 111558"/>
                <a:gd name="connsiteX110" fmla="*/ 21297 w 130102"/>
                <a:gd name="connsiteY110" fmla="*/ 52610 h 111558"/>
                <a:gd name="connsiteX111" fmla="*/ 19952 w 130102"/>
                <a:gd name="connsiteY111" fmla="*/ 51274 h 111558"/>
                <a:gd name="connsiteX112" fmla="*/ 19274 w 130102"/>
                <a:gd name="connsiteY112" fmla="*/ 48876 h 111558"/>
                <a:gd name="connsiteX113" fmla="*/ 17583 w 130102"/>
                <a:gd name="connsiteY113" fmla="*/ 44999 h 111558"/>
                <a:gd name="connsiteX114" fmla="*/ 17365 w 130102"/>
                <a:gd name="connsiteY114" fmla="*/ 43906 h 111558"/>
                <a:gd name="connsiteX115" fmla="*/ 18242 w 130102"/>
                <a:gd name="connsiteY115" fmla="*/ 42826 h 111558"/>
                <a:gd name="connsiteX116" fmla="*/ 18195 w 130102"/>
                <a:gd name="connsiteY116" fmla="*/ 41732 h 111558"/>
                <a:gd name="connsiteX117" fmla="*/ 16996 w 130102"/>
                <a:gd name="connsiteY117" fmla="*/ 38322 h 111558"/>
                <a:gd name="connsiteX118" fmla="*/ 18000 w 130102"/>
                <a:gd name="connsiteY118" fmla="*/ 37765 h 111558"/>
                <a:gd name="connsiteX119" fmla="*/ 23304 w 130102"/>
                <a:gd name="connsiteY119" fmla="*/ 36128 h 111558"/>
                <a:gd name="connsiteX120" fmla="*/ 24606 w 130102"/>
                <a:gd name="connsiteY120" fmla="*/ 37408 h 111558"/>
                <a:gd name="connsiteX121" fmla="*/ 26180 w 130102"/>
                <a:gd name="connsiteY121" fmla="*/ 39816 h 111558"/>
                <a:gd name="connsiteX122" fmla="*/ 27020 w 130102"/>
                <a:gd name="connsiteY122" fmla="*/ 40488 h 111558"/>
                <a:gd name="connsiteX123" fmla="*/ 28592 w 130102"/>
                <a:gd name="connsiteY123" fmla="*/ 42905 h 111558"/>
                <a:gd name="connsiteX124" fmla="*/ 25867 w 130102"/>
                <a:gd name="connsiteY124" fmla="*/ 43491 h 111558"/>
                <a:gd name="connsiteX125" fmla="*/ 24569 w 130102"/>
                <a:gd name="connsiteY125" fmla="*/ 42443 h 111558"/>
                <a:gd name="connsiteX126" fmla="*/ 24230 w 130102"/>
                <a:gd name="connsiteY126" fmla="*/ 41583 h 111558"/>
                <a:gd name="connsiteX127" fmla="*/ 21991 w 130102"/>
                <a:gd name="connsiteY127" fmla="*/ 41310 h 111558"/>
                <a:gd name="connsiteX128" fmla="*/ 20635 w 130102"/>
                <a:gd name="connsiteY128" fmla="*/ 40112 h 111558"/>
                <a:gd name="connsiteX129" fmla="*/ 20358 w 130102"/>
                <a:gd name="connsiteY129" fmla="*/ 39581 h 111558"/>
                <a:gd name="connsiteX130" fmla="*/ 22276 w 130102"/>
                <a:gd name="connsiteY130" fmla="*/ 38262 h 111558"/>
                <a:gd name="connsiteX131" fmla="*/ 62002 w 130102"/>
                <a:gd name="connsiteY131" fmla="*/ 0 h 111558"/>
                <a:gd name="connsiteX132" fmla="*/ 64356 w 130102"/>
                <a:gd name="connsiteY132" fmla="*/ 284 h 111558"/>
                <a:gd name="connsiteX133" fmla="*/ 66314 w 130102"/>
                <a:gd name="connsiteY133" fmla="*/ 964 h 111558"/>
                <a:gd name="connsiteX134" fmla="*/ 67502 w 130102"/>
                <a:gd name="connsiteY134" fmla="*/ 1378 h 111558"/>
                <a:gd name="connsiteX135" fmla="*/ 71441 w 130102"/>
                <a:gd name="connsiteY135" fmla="*/ 3281 h 111558"/>
                <a:gd name="connsiteX136" fmla="*/ 74170 w 130102"/>
                <a:gd name="connsiteY136" fmla="*/ 5419 h 111558"/>
                <a:gd name="connsiteX137" fmla="*/ 75684 w 130102"/>
                <a:gd name="connsiteY137" fmla="*/ 7791 h 111558"/>
                <a:gd name="connsiteX138" fmla="*/ 77735 w 130102"/>
                <a:gd name="connsiteY138" fmla="*/ 9628 h 111558"/>
                <a:gd name="connsiteX139" fmla="*/ 80320 w 130102"/>
                <a:gd name="connsiteY139" fmla="*/ 10927 h 111558"/>
                <a:gd name="connsiteX140" fmla="*/ 82367 w 130102"/>
                <a:gd name="connsiteY140" fmla="*/ 12689 h 111558"/>
                <a:gd name="connsiteX141" fmla="*/ 83881 w 130102"/>
                <a:gd name="connsiteY141" fmla="*/ 14912 h 111558"/>
                <a:gd name="connsiteX142" fmla="*/ 85997 w 130102"/>
                <a:gd name="connsiteY142" fmla="*/ 16156 h 111558"/>
                <a:gd name="connsiteX143" fmla="*/ 88714 w 130102"/>
                <a:gd name="connsiteY143" fmla="*/ 16426 h 111558"/>
                <a:gd name="connsiteX144" fmla="*/ 90435 w 130102"/>
                <a:gd name="connsiteY144" fmla="*/ 17186 h 111558"/>
                <a:gd name="connsiteX145" fmla="*/ 91156 w 130102"/>
                <a:gd name="connsiteY145" fmla="*/ 18438 h 111558"/>
                <a:gd name="connsiteX146" fmla="*/ 92633 w 130102"/>
                <a:gd name="connsiteY146" fmla="*/ 19572 h 111558"/>
                <a:gd name="connsiteX147" fmla="*/ 94859 w 130102"/>
                <a:gd name="connsiteY147" fmla="*/ 20586 h 111558"/>
                <a:gd name="connsiteX148" fmla="*/ 98325 w 130102"/>
                <a:gd name="connsiteY148" fmla="*/ 21142 h 111558"/>
                <a:gd name="connsiteX149" fmla="*/ 104961 w 130102"/>
                <a:gd name="connsiteY149" fmla="*/ 21274 h 111558"/>
                <a:gd name="connsiteX150" fmla="*/ 105550 w 130102"/>
                <a:gd name="connsiteY150" fmla="*/ 21302 h 111558"/>
                <a:gd name="connsiteX151" fmla="*/ 107047 w 130102"/>
                <a:gd name="connsiteY151" fmla="*/ 21617 h 111558"/>
                <a:gd name="connsiteX152" fmla="*/ 108794 w 130102"/>
                <a:gd name="connsiteY152" fmla="*/ 21223 h 111558"/>
                <a:gd name="connsiteX153" fmla="*/ 110923 w 130102"/>
                <a:gd name="connsiteY153" fmla="*/ 20429 h 111558"/>
                <a:gd name="connsiteX154" fmla="*/ 111609 w 130102"/>
                <a:gd name="connsiteY154" fmla="*/ 19956 h 111558"/>
                <a:gd name="connsiteX155" fmla="*/ 113851 w 130102"/>
                <a:gd name="connsiteY155" fmla="*/ 17359 h 111558"/>
                <a:gd name="connsiteX156" fmla="*/ 115084 w 130102"/>
                <a:gd name="connsiteY156" fmla="*/ 17583 h 111558"/>
                <a:gd name="connsiteX157" fmla="*/ 117544 w 130102"/>
                <a:gd name="connsiteY157" fmla="*/ 17266 h 111558"/>
                <a:gd name="connsiteX158" fmla="*/ 119031 w 130102"/>
                <a:gd name="connsiteY158" fmla="*/ 16690 h 111558"/>
                <a:gd name="connsiteX159" fmla="*/ 119144 w 130102"/>
                <a:gd name="connsiteY159" fmla="*/ 16690 h 111558"/>
                <a:gd name="connsiteX160" fmla="*/ 119049 w 130102"/>
                <a:gd name="connsiteY160" fmla="*/ 17355 h 111558"/>
                <a:gd name="connsiteX161" fmla="*/ 118882 w 130102"/>
                <a:gd name="connsiteY161" fmla="*/ 18516 h 111558"/>
                <a:gd name="connsiteX162" fmla="*/ 117677 w 130102"/>
                <a:gd name="connsiteY162" fmla="*/ 19338 h 111558"/>
                <a:gd name="connsiteX163" fmla="*/ 118904 w 130102"/>
                <a:gd name="connsiteY163" fmla="*/ 21229 h 111558"/>
                <a:gd name="connsiteX164" fmla="*/ 120070 w 130102"/>
                <a:gd name="connsiteY164" fmla="*/ 24293 h 111558"/>
                <a:gd name="connsiteX165" fmla="*/ 119420 w 130102"/>
                <a:gd name="connsiteY165" fmla="*/ 25806 h 111558"/>
                <a:gd name="connsiteX166" fmla="*/ 120212 w 130102"/>
                <a:gd name="connsiteY166" fmla="*/ 26983 h 111558"/>
                <a:gd name="connsiteX167" fmla="*/ 122454 w 130102"/>
                <a:gd name="connsiteY167" fmla="*/ 27828 h 111558"/>
                <a:gd name="connsiteX168" fmla="*/ 122657 w 130102"/>
                <a:gd name="connsiteY168" fmla="*/ 28165 h 111558"/>
                <a:gd name="connsiteX169" fmla="*/ 121972 w 130102"/>
                <a:gd name="connsiteY169" fmla="*/ 28517 h 111558"/>
                <a:gd name="connsiteX170" fmla="*/ 121405 w 130102"/>
                <a:gd name="connsiteY170" fmla="*/ 29516 h 111558"/>
                <a:gd name="connsiteX171" fmla="*/ 121340 w 130102"/>
                <a:gd name="connsiteY171" fmla="*/ 31336 h 111558"/>
                <a:gd name="connsiteX172" fmla="*/ 123294 w 130102"/>
                <a:gd name="connsiteY172" fmla="*/ 33054 h 111558"/>
                <a:gd name="connsiteX173" fmla="*/ 127269 w 130102"/>
                <a:gd name="connsiteY173" fmla="*/ 34670 h 111558"/>
                <a:gd name="connsiteX174" fmla="*/ 128539 w 130102"/>
                <a:gd name="connsiteY174" fmla="*/ 34941 h 111558"/>
                <a:gd name="connsiteX175" fmla="*/ 129025 w 130102"/>
                <a:gd name="connsiteY175" fmla="*/ 35562 h 111558"/>
                <a:gd name="connsiteX176" fmla="*/ 129690 w 130102"/>
                <a:gd name="connsiteY176" fmla="*/ 35968 h 111558"/>
                <a:gd name="connsiteX177" fmla="*/ 130081 w 130102"/>
                <a:gd name="connsiteY177" fmla="*/ 36464 h 111558"/>
                <a:gd name="connsiteX178" fmla="*/ 130102 w 130102"/>
                <a:gd name="connsiteY178" fmla="*/ 37105 h 111558"/>
                <a:gd name="connsiteX179" fmla="*/ 129818 w 130102"/>
                <a:gd name="connsiteY179" fmla="*/ 37545 h 111558"/>
                <a:gd name="connsiteX180" fmla="*/ 127937 w 130102"/>
                <a:gd name="connsiteY180" fmla="*/ 37702 h 111558"/>
                <a:gd name="connsiteX181" fmla="*/ 125790 w 130102"/>
                <a:gd name="connsiteY181" fmla="*/ 37688 h 111558"/>
                <a:gd name="connsiteX182" fmla="*/ 124264 w 130102"/>
                <a:gd name="connsiteY182" fmla="*/ 36909 h 111558"/>
                <a:gd name="connsiteX183" fmla="*/ 124128 w 130102"/>
                <a:gd name="connsiteY183" fmla="*/ 37477 h 111558"/>
                <a:gd name="connsiteX184" fmla="*/ 124104 w 130102"/>
                <a:gd name="connsiteY184" fmla="*/ 38128 h 111558"/>
                <a:gd name="connsiteX185" fmla="*/ 122627 w 130102"/>
                <a:gd name="connsiteY185" fmla="*/ 38525 h 111558"/>
                <a:gd name="connsiteX186" fmla="*/ 123447 w 130102"/>
                <a:gd name="connsiteY186" fmla="*/ 42995 h 111558"/>
                <a:gd name="connsiteX187" fmla="*/ 123121 w 130102"/>
                <a:gd name="connsiteY187" fmla="*/ 44279 h 111558"/>
                <a:gd name="connsiteX188" fmla="*/ 122575 w 130102"/>
                <a:gd name="connsiteY188" fmla="*/ 44710 h 111558"/>
                <a:gd name="connsiteX189" fmla="*/ 122067 w 130102"/>
                <a:gd name="connsiteY189" fmla="*/ 44531 h 111558"/>
                <a:gd name="connsiteX190" fmla="*/ 121448 w 130102"/>
                <a:gd name="connsiteY190" fmla="*/ 44481 h 111558"/>
                <a:gd name="connsiteX191" fmla="*/ 121137 w 130102"/>
                <a:gd name="connsiteY191" fmla="*/ 44900 h 111558"/>
                <a:gd name="connsiteX192" fmla="*/ 121394 w 130102"/>
                <a:gd name="connsiteY192" fmla="*/ 45851 h 111558"/>
                <a:gd name="connsiteX193" fmla="*/ 119938 w 130102"/>
                <a:gd name="connsiteY193" fmla="*/ 45960 h 111558"/>
                <a:gd name="connsiteX194" fmla="*/ 117619 w 130102"/>
                <a:gd name="connsiteY194" fmla="*/ 45467 h 111558"/>
                <a:gd name="connsiteX195" fmla="*/ 116557 w 130102"/>
                <a:gd name="connsiteY195" fmla="*/ 44603 h 111558"/>
                <a:gd name="connsiteX196" fmla="*/ 116375 w 130102"/>
                <a:gd name="connsiteY196" fmla="*/ 43720 h 111558"/>
                <a:gd name="connsiteX197" fmla="*/ 116358 w 130102"/>
                <a:gd name="connsiteY197" fmla="*/ 42900 h 111558"/>
                <a:gd name="connsiteX198" fmla="*/ 115622 w 130102"/>
                <a:gd name="connsiteY198" fmla="*/ 41553 h 111558"/>
                <a:gd name="connsiteX199" fmla="*/ 113776 w 130102"/>
                <a:gd name="connsiteY199" fmla="*/ 40161 h 111558"/>
                <a:gd name="connsiteX200" fmla="*/ 109921 w 130102"/>
                <a:gd name="connsiteY200" fmla="*/ 39931 h 111558"/>
                <a:gd name="connsiteX201" fmla="*/ 108498 w 130102"/>
                <a:gd name="connsiteY201" fmla="*/ 39489 h 111558"/>
                <a:gd name="connsiteX202" fmla="*/ 107032 w 130102"/>
                <a:gd name="connsiteY202" fmla="*/ 38981 h 111558"/>
                <a:gd name="connsiteX203" fmla="*/ 105425 w 130102"/>
                <a:gd name="connsiteY203" fmla="*/ 38605 h 111558"/>
                <a:gd name="connsiteX204" fmla="*/ 103944 w 130102"/>
                <a:gd name="connsiteY204" fmla="*/ 38643 h 111558"/>
                <a:gd name="connsiteX205" fmla="*/ 102158 w 130102"/>
                <a:gd name="connsiteY205" fmla="*/ 39013 h 111558"/>
                <a:gd name="connsiteX206" fmla="*/ 99042 w 130102"/>
                <a:gd name="connsiteY206" fmla="*/ 38400 h 111558"/>
                <a:gd name="connsiteX207" fmla="*/ 97988 w 130102"/>
                <a:gd name="connsiteY207" fmla="*/ 39218 h 111558"/>
                <a:gd name="connsiteX208" fmla="*/ 96347 w 130102"/>
                <a:gd name="connsiteY208" fmla="*/ 40166 h 111558"/>
                <a:gd name="connsiteX209" fmla="*/ 94984 w 130102"/>
                <a:gd name="connsiteY209" fmla="*/ 40142 h 111558"/>
                <a:gd name="connsiteX210" fmla="*/ 92272 w 130102"/>
                <a:gd name="connsiteY210" fmla="*/ 37945 h 111558"/>
                <a:gd name="connsiteX211" fmla="*/ 91463 w 130102"/>
                <a:gd name="connsiteY211" fmla="*/ 37806 h 111558"/>
                <a:gd name="connsiteX212" fmla="*/ 89091 w 130102"/>
                <a:gd name="connsiteY212" fmla="*/ 38926 h 111558"/>
                <a:gd name="connsiteX213" fmla="*/ 88126 w 130102"/>
                <a:gd name="connsiteY213" fmla="*/ 38986 h 111558"/>
                <a:gd name="connsiteX214" fmla="*/ 87386 w 130102"/>
                <a:gd name="connsiteY214" fmla="*/ 38632 h 111558"/>
                <a:gd name="connsiteX215" fmla="*/ 84179 w 130102"/>
                <a:gd name="connsiteY215" fmla="*/ 37793 h 111558"/>
                <a:gd name="connsiteX216" fmla="*/ 82732 w 130102"/>
                <a:gd name="connsiteY216" fmla="*/ 37612 h 111558"/>
                <a:gd name="connsiteX217" fmla="*/ 81670 w 130102"/>
                <a:gd name="connsiteY217" fmla="*/ 38009 h 111558"/>
                <a:gd name="connsiteX218" fmla="*/ 79785 w 130102"/>
                <a:gd name="connsiteY218" fmla="*/ 37579 h 111558"/>
                <a:gd name="connsiteX219" fmla="*/ 75213 w 130102"/>
                <a:gd name="connsiteY219" fmla="*/ 34708 h 111558"/>
                <a:gd name="connsiteX220" fmla="*/ 72387 w 130102"/>
                <a:gd name="connsiteY220" fmla="*/ 36891 h 111558"/>
                <a:gd name="connsiteX221" fmla="*/ 66634 w 130102"/>
                <a:gd name="connsiteY221" fmla="*/ 36348 h 111558"/>
                <a:gd name="connsiteX222" fmla="*/ 64928 w 130102"/>
                <a:gd name="connsiteY222" fmla="*/ 37846 h 111558"/>
                <a:gd name="connsiteX223" fmla="*/ 62972 w 130102"/>
                <a:gd name="connsiteY223" fmla="*/ 40683 h 111558"/>
                <a:gd name="connsiteX224" fmla="*/ 61387 w 130102"/>
                <a:gd name="connsiteY224" fmla="*/ 42037 h 111558"/>
                <a:gd name="connsiteX225" fmla="*/ 60009 w 130102"/>
                <a:gd name="connsiteY225" fmla="*/ 41551 h 111558"/>
                <a:gd name="connsiteX226" fmla="*/ 58379 w 130102"/>
                <a:gd name="connsiteY226" fmla="*/ 40303 h 111558"/>
                <a:gd name="connsiteX227" fmla="*/ 55526 w 130102"/>
                <a:gd name="connsiteY227" fmla="*/ 37091 h 111558"/>
                <a:gd name="connsiteX228" fmla="*/ 54086 w 130102"/>
                <a:gd name="connsiteY228" fmla="*/ 36511 h 111558"/>
                <a:gd name="connsiteX229" fmla="*/ 52429 w 130102"/>
                <a:gd name="connsiteY229" fmla="*/ 36375 h 111558"/>
                <a:gd name="connsiteX230" fmla="*/ 50983 w 130102"/>
                <a:gd name="connsiteY230" fmla="*/ 36730 h 111558"/>
                <a:gd name="connsiteX231" fmla="*/ 50214 w 130102"/>
                <a:gd name="connsiteY231" fmla="*/ 37382 h 111558"/>
                <a:gd name="connsiteX232" fmla="*/ 49626 w 130102"/>
                <a:gd name="connsiteY232" fmla="*/ 42073 h 111558"/>
                <a:gd name="connsiteX233" fmla="*/ 49106 w 130102"/>
                <a:gd name="connsiteY233" fmla="*/ 46200 h 111558"/>
                <a:gd name="connsiteX234" fmla="*/ 49076 w 130102"/>
                <a:gd name="connsiteY234" fmla="*/ 48671 h 111558"/>
                <a:gd name="connsiteX235" fmla="*/ 52248 w 130102"/>
                <a:gd name="connsiteY235" fmla="*/ 50957 h 111558"/>
                <a:gd name="connsiteX236" fmla="*/ 55984 w 130102"/>
                <a:gd name="connsiteY236" fmla="*/ 54887 h 111558"/>
                <a:gd name="connsiteX237" fmla="*/ 57187 w 130102"/>
                <a:gd name="connsiteY237" fmla="*/ 55338 h 111558"/>
                <a:gd name="connsiteX238" fmla="*/ 57781 w 130102"/>
                <a:gd name="connsiteY238" fmla="*/ 56624 h 111558"/>
                <a:gd name="connsiteX239" fmla="*/ 58655 w 130102"/>
                <a:gd name="connsiteY239" fmla="*/ 59931 h 111558"/>
                <a:gd name="connsiteX240" fmla="*/ 59637 w 130102"/>
                <a:gd name="connsiteY240" fmla="*/ 63645 h 111558"/>
                <a:gd name="connsiteX241" fmla="*/ 61536 w 130102"/>
                <a:gd name="connsiteY241" fmla="*/ 66102 h 111558"/>
                <a:gd name="connsiteX242" fmla="*/ 63248 w 130102"/>
                <a:gd name="connsiteY242" fmla="*/ 67859 h 111558"/>
                <a:gd name="connsiteX243" fmla="*/ 65338 w 130102"/>
                <a:gd name="connsiteY243" fmla="*/ 69403 h 111558"/>
                <a:gd name="connsiteX244" fmla="*/ 67957 w 130102"/>
                <a:gd name="connsiteY244" fmla="*/ 71822 h 111558"/>
                <a:gd name="connsiteX245" fmla="*/ 70106 w 130102"/>
                <a:gd name="connsiteY245" fmla="*/ 74474 h 111558"/>
                <a:gd name="connsiteX246" fmla="*/ 70676 w 130102"/>
                <a:gd name="connsiteY246" fmla="*/ 75452 h 111558"/>
                <a:gd name="connsiteX247" fmla="*/ 74842 w 130102"/>
                <a:gd name="connsiteY247" fmla="*/ 78954 h 111558"/>
                <a:gd name="connsiteX248" fmla="*/ 78882 w 130102"/>
                <a:gd name="connsiteY248" fmla="*/ 82524 h 111558"/>
                <a:gd name="connsiteX249" fmla="*/ 82497 w 130102"/>
                <a:gd name="connsiteY249" fmla="*/ 83772 h 111558"/>
                <a:gd name="connsiteX250" fmla="*/ 83067 w 130102"/>
                <a:gd name="connsiteY250" fmla="*/ 84431 h 111558"/>
                <a:gd name="connsiteX251" fmla="*/ 83099 w 130102"/>
                <a:gd name="connsiteY251" fmla="*/ 87172 h 111558"/>
                <a:gd name="connsiteX252" fmla="*/ 83492 w 130102"/>
                <a:gd name="connsiteY252" fmla="*/ 88200 h 111558"/>
                <a:gd name="connsiteX253" fmla="*/ 85906 w 130102"/>
                <a:gd name="connsiteY253" fmla="*/ 91066 h 111558"/>
                <a:gd name="connsiteX254" fmla="*/ 90828 w 130102"/>
                <a:gd name="connsiteY254" fmla="*/ 95255 h 111558"/>
                <a:gd name="connsiteX255" fmla="*/ 91396 w 130102"/>
                <a:gd name="connsiteY255" fmla="*/ 96225 h 111558"/>
                <a:gd name="connsiteX256" fmla="*/ 91558 w 130102"/>
                <a:gd name="connsiteY256" fmla="*/ 96935 h 111558"/>
                <a:gd name="connsiteX257" fmla="*/ 91240 w 130102"/>
                <a:gd name="connsiteY257" fmla="*/ 97480 h 111558"/>
                <a:gd name="connsiteX258" fmla="*/ 89951 w 130102"/>
                <a:gd name="connsiteY258" fmla="*/ 98053 h 111558"/>
                <a:gd name="connsiteX259" fmla="*/ 88893 w 130102"/>
                <a:gd name="connsiteY259" fmla="*/ 97413 h 111558"/>
                <a:gd name="connsiteX260" fmla="*/ 84306 w 130102"/>
                <a:gd name="connsiteY260" fmla="*/ 93321 h 111558"/>
                <a:gd name="connsiteX261" fmla="*/ 79873 w 130102"/>
                <a:gd name="connsiteY261" fmla="*/ 90738 h 111558"/>
                <a:gd name="connsiteX262" fmla="*/ 74870 w 130102"/>
                <a:gd name="connsiteY262" fmla="*/ 85865 h 111558"/>
                <a:gd name="connsiteX263" fmla="*/ 68173 w 130102"/>
                <a:gd name="connsiteY263" fmla="*/ 83938 h 111558"/>
                <a:gd name="connsiteX264" fmla="*/ 63611 w 130102"/>
                <a:gd name="connsiteY264" fmla="*/ 81802 h 111558"/>
                <a:gd name="connsiteX265" fmla="*/ 60847 w 130102"/>
                <a:gd name="connsiteY265" fmla="*/ 82129 h 111558"/>
                <a:gd name="connsiteX266" fmla="*/ 57798 w 130102"/>
                <a:gd name="connsiteY266" fmla="*/ 82801 h 111558"/>
                <a:gd name="connsiteX267" fmla="*/ 55917 w 130102"/>
                <a:gd name="connsiteY267" fmla="*/ 82822 h 111558"/>
                <a:gd name="connsiteX268" fmla="*/ 54580 w 130102"/>
                <a:gd name="connsiteY268" fmla="*/ 82438 h 111558"/>
                <a:gd name="connsiteX269" fmla="*/ 53630 w 130102"/>
                <a:gd name="connsiteY269" fmla="*/ 81113 h 111558"/>
                <a:gd name="connsiteX270" fmla="*/ 53775 w 130102"/>
                <a:gd name="connsiteY270" fmla="*/ 80088 h 111558"/>
                <a:gd name="connsiteX271" fmla="*/ 53606 w 130102"/>
                <a:gd name="connsiteY271" fmla="*/ 78749 h 111558"/>
                <a:gd name="connsiteX272" fmla="*/ 50933 w 130102"/>
                <a:gd name="connsiteY272" fmla="*/ 76610 h 111558"/>
                <a:gd name="connsiteX273" fmla="*/ 47286 w 130102"/>
                <a:gd name="connsiteY273" fmla="*/ 74575 h 111558"/>
                <a:gd name="connsiteX274" fmla="*/ 43831 w 130102"/>
                <a:gd name="connsiteY274" fmla="*/ 71940 h 111558"/>
                <a:gd name="connsiteX275" fmla="*/ 36897 w 130102"/>
                <a:gd name="connsiteY275" fmla="*/ 64811 h 111558"/>
                <a:gd name="connsiteX276" fmla="*/ 35506 w 130102"/>
                <a:gd name="connsiteY276" fmla="*/ 62516 h 111558"/>
                <a:gd name="connsiteX277" fmla="*/ 36871 w 130102"/>
                <a:gd name="connsiteY277" fmla="*/ 62079 h 111558"/>
                <a:gd name="connsiteX278" fmla="*/ 37903 w 130102"/>
                <a:gd name="connsiteY278" fmla="*/ 62118 h 111558"/>
                <a:gd name="connsiteX279" fmla="*/ 39074 w 130102"/>
                <a:gd name="connsiteY279" fmla="*/ 61647 h 111558"/>
                <a:gd name="connsiteX280" fmla="*/ 40963 w 130102"/>
                <a:gd name="connsiteY280" fmla="*/ 61635 h 111558"/>
                <a:gd name="connsiteX281" fmla="*/ 43202 w 130102"/>
                <a:gd name="connsiteY281" fmla="*/ 62104 h 111558"/>
                <a:gd name="connsiteX282" fmla="*/ 41220 w 130102"/>
                <a:gd name="connsiteY282" fmla="*/ 60576 h 111558"/>
                <a:gd name="connsiteX283" fmla="*/ 38754 w 130102"/>
                <a:gd name="connsiteY283" fmla="*/ 59076 h 111558"/>
                <a:gd name="connsiteX284" fmla="*/ 32375 w 130102"/>
                <a:gd name="connsiteY284" fmla="*/ 53109 h 111558"/>
                <a:gd name="connsiteX285" fmla="*/ 30471 w 130102"/>
                <a:gd name="connsiteY285" fmla="*/ 50286 h 111558"/>
                <a:gd name="connsiteX286" fmla="*/ 30250 w 130102"/>
                <a:gd name="connsiteY286" fmla="*/ 47241 h 111558"/>
                <a:gd name="connsiteX287" fmla="*/ 30721 w 130102"/>
                <a:gd name="connsiteY287" fmla="*/ 43060 h 111558"/>
                <a:gd name="connsiteX288" fmla="*/ 29572 w 130102"/>
                <a:gd name="connsiteY288" fmla="*/ 40063 h 111558"/>
                <a:gd name="connsiteX289" fmla="*/ 24651 w 130102"/>
                <a:gd name="connsiteY289" fmla="*/ 36179 h 111558"/>
                <a:gd name="connsiteX290" fmla="*/ 22848 w 130102"/>
                <a:gd name="connsiteY290" fmla="*/ 34128 h 111558"/>
                <a:gd name="connsiteX291" fmla="*/ 19214 w 130102"/>
                <a:gd name="connsiteY291" fmla="*/ 32910 h 111558"/>
                <a:gd name="connsiteX292" fmla="*/ 17590 w 130102"/>
                <a:gd name="connsiteY292" fmla="*/ 33030 h 111558"/>
                <a:gd name="connsiteX293" fmla="*/ 16614 w 130102"/>
                <a:gd name="connsiteY293" fmla="*/ 34545 h 111558"/>
                <a:gd name="connsiteX294" fmla="*/ 15901 w 130102"/>
                <a:gd name="connsiteY294" fmla="*/ 37910 h 111558"/>
                <a:gd name="connsiteX295" fmla="*/ 12679 w 130102"/>
                <a:gd name="connsiteY295" fmla="*/ 42343 h 111558"/>
                <a:gd name="connsiteX296" fmla="*/ 11604 w 130102"/>
                <a:gd name="connsiteY296" fmla="*/ 44267 h 111558"/>
                <a:gd name="connsiteX297" fmla="*/ 9920 w 130102"/>
                <a:gd name="connsiteY297" fmla="*/ 46766 h 111558"/>
                <a:gd name="connsiteX298" fmla="*/ 8460 w 130102"/>
                <a:gd name="connsiteY298" fmla="*/ 46938 h 111558"/>
                <a:gd name="connsiteX299" fmla="*/ 7596 w 130102"/>
                <a:gd name="connsiteY299" fmla="*/ 46718 h 111558"/>
                <a:gd name="connsiteX300" fmla="*/ 4981 w 130102"/>
                <a:gd name="connsiteY300" fmla="*/ 42510 h 111558"/>
                <a:gd name="connsiteX301" fmla="*/ 2478 w 130102"/>
                <a:gd name="connsiteY301" fmla="*/ 39319 h 111558"/>
                <a:gd name="connsiteX302" fmla="*/ 2129 w 130102"/>
                <a:gd name="connsiteY302" fmla="*/ 37807 h 111558"/>
                <a:gd name="connsiteX303" fmla="*/ 1904 w 130102"/>
                <a:gd name="connsiteY303" fmla="*/ 35946 h 111558"/>
                <a:gd name="connsiteX304" fmla="*/ 0 w 130102"/>
                <a:gd name="connsiteY304" fmla="*/ 29077 h 111558"/>
                <a:gd name="connsiteX305" fmla="*/ 1343 w 130102"/>
                <a:gd name="connsiteY305" fmla="*/ 28113 h 111558"/>
                <a:gd name="connsiteX306" fmla="*/ 2168 w 130102"/>
                <a:gd name="connsiteY306" fmla="*/ 29216 h 111558"/>
                <a:gd name="connsiteX307" fmla="*/ 7994 w 130102"/>
                <a:gd name="connsiteY307" fmla="*/ 30544 h 111558"/>
                <a:gd name="connsiteX308" fmla="*/ 9252 w 130102"/>
                <a:gd name="connsiteY308" fmla="*/ 29955 h 111558"/>
                <a:gd name="connsiteX309" fmla="*/ 10015 w 130102"/>
                <a:gd name="connsiteY309" fmla="*/ 29055 h 111558"/>
                <a:gd name="connsiteX310" fmla="*/ 10019 w 130102"/>
                <a:gd name="connsiteY310" fmla="*/ 28485 h 111558"/>
                <a:gd name="connsiteX311" fmla="*/ 10516 w 130102"/>
                <a:gd name="connsiteY311" fmla="*/ 28318 h 111558"/>
                <a:gd name="connsiteX312" fmla="*/ 12567 w 130102"/>
                <a:gd name="connsiteY312" fmla="*/ 29186 h 111558"/>
                <a:gd name="connsiteX313" fmla="*/ 14241 w 130102"/>
                <a:gd name="connsiteY313" fmla="*/ 28985 h 111558"/>
                <a:gd name="connsiteX314" fmla="*/ 16933 w 130102"/>
                <a:gd name="connsiteY314" fmla="*/ 28945 h 111558"/>
                <a:gd name="connsiteX315" fmla="*/ 18855 w 130102"/>
                <a:gd name="connsiteY315" fmla="*/ 29087 h 111558"/>
                <a:gd name="connsiteX316" fmla="*/ 20125 w 130102"/>
                <a:gd name="connsiteY316" fmla="*/ 28419 h 111558"/>
                <a:gd name="connsiteX317" fmla="*/ 21846 w 130102"/>
                <a:gd name="connsiteY317" fmla="*/ 25960 h 111558"/>
                <a:gd name="connsiteX318" fmla="*/ 22483 w 130102"/>
                <a:gd name="connsiteY318" fmla="*/ 24583 h 111558"/>
                <a:gd name="connsiteX319" fmla="*/ 23254 w 130102"/>
                <a:gd name="connsiteY319" fmla="*/ 24254 h 111558"/>
                <a:gd name="connsiteX320" fmla="*/ 23761 w 130102"/>
                <a:gd name="connsiteY320" fmla="*/ 24418 h 111558"/>
                <a:gd name="connsiteX321" fmla="*/ 24133 w 130102"/>
                <a:gd name="connsiteY321" fmla="*/ 25550 h 111558"/>
                <a:gd name="connsiteX322" fmla="*/ 25038 w 130102"/>
                <a:gd name="connsiteY322" fmla="*/ 26613 h 111558"/>
                <a:gd name="connsiteX323" fmla="*/ 26897 w 130102"/>
                <a:gd name="connsiteY323" fmla="*/ 28344 h 111558"/>
                <a:gd name="connsiteX324" fmla="*/ 28212 w 130102"/>
                <a:gd name="connsiteY324" fmla="*/ 29175 h 111558"/>
                <a:gd name="connsiteX325" fmla="*/ 29406 w 130102"/>
                <a:gd name="connsiteY325" fmla="*/ 29474 h 111558"/>
                <a:gd name="connsiteX326" fmla="*/ 30576 w 130102"/>
                <a:gd name="connsiteY326" fmla="*/ 28778 h 111558"/>
                <a:gd name="connsiteX327" fmla="*/ 31784 w 130102"/>
                <a:gd name="connsiteY327" fmla="*/ 28580 h 111558"/>
                <a:gd name="connsiteX328" fmla="*/ 35230 w 130102"/>
                <a:gd name="connsiteY328" fmla="*/ 29929 h 111558"/>
                <a:gd name="connsiteX329" fmla="*/ 38141 w 130102"/>
                <a:gd name="connsiteY329" fmla="*/ 30186 h 111558"/>
                <a:gd name="connsiteX330" fmla="*/ 40294 w 130102"/>
                <a:gd name="connsiteY330" fmla="*/ 29482 h 111558"/>
                <a:gd name="connsiteX331" fmla="*/ 40011 w 130102"/>
                <a:gd name="connsiteY331" fmla="*/ 28514 h 111558"/>
                <a:gd name="connsiteX332" fmla="*/ 39227 w 130102"/>
                <a:gd name="connsiteY332" fmla="*/ 27435 h 111558"/>
                <a:gd name="connsiteX333" fmla="*/ 39058 w 130102"/>
                <a:gd name="connsiteY333" fmla="*/ 26387 h 111558"/>
                <a:gd name="connsiteX334" fmla="*/ 39203 w 130102"/>
                <a:gd name="connsiteY334" fmla="*/ 25481 h 111558"/>
                <a:gd name="connsiteX335" fmla="*/ 40680 w 130102"/>
                <a:gd name="connsiteY335" fmla="*/ 24577 h 111558"/>
                <a:gd name="connsiteX336" fmla="*/ 40609 w 130102"/>
                <a:gd name="connsiteY336" fmla="*/ 24180 h 111558"/>
                <a:gd name="connsiteX337" fmla="*/ 38823 w 130102"/>
                <a:gd name="connsiteY337" fmla="*/ 22589 h 111558"/>
                <a:gd name="connsiteX338" fmla="*/ 38914 w 130102"/>
                <a:gd name="connsiteY338" fmla="*/ 22179 h 111558"/>
                <a:gd name="connsiteX339" fmla="*/ 42829 w 130102"/>
                <a:gd name="connsiteY339" fmla="*/ 20389 h 111558"/>
                <a:gd name="connsiteX340" fmla="*/ 46603 w 130102"/>
                <a:gd name="connsiteY340" fmla="*/ 19384 h 111558"/>
                <a:gd name="connsiteX341" fmla="*/ 47208 w 130102"/>
                <a:gd name="connsiteY341" fmla="*/ 18609 h 111558"/>
                <a:gd name="connsiteX342" fmla="*/ 47560 w 130102"/>
                <a:gd name="connsiteY342" fmla="*/ 17443 h 111558"/>
                <a:gd name="connsiteX343" fmla="*/ 47726 w 130102"/>
                <a:gd name="connsiteY343" fmla="*/ 15256 h 111558"/>
                <a:gd name="connsiteX344" fmla="*/ 47519 w 130102"/>
                <a:gd name="connsiteY344" fmla="*/ 13466 h 111558"/>
                <a:gd name="connsiteX345" fmla="*/ 45986 w 130102"/>
                <a:gd name="connsiteY345" fmla="*/ 11787 h 111558"/>
                <a:gd name="connsiteX346" fmla="*/ 45891 w 130102"/>
                <a:gd name="connsiteY346" fmla="*/ 10937 h 111558"/>
                <a:gd name="connsiteX347" fmla="*/ 46254 w 130102"/>
                <a:gd name="connsiteY347" fmla="*/ 10054 h 111558"/>
                <a:gd name="connsiteX348" fmla="*/ 46849 w 130102"/>
                <a:gd name="connsiteY348" fmla="*/ 9256 h 111558"/>
                <a:gd name="connsiteX349" fmla="*/ 48359 w 130102"/>
                <a:gd name="connsiteY349" fmla="*/ 8910 h 111558"/>
                <a:gd name="connsiteX350" fmla="*/ 50130 w 130102"/>
                <a:gd name="connsiteY350" fmla="*/ 8336 h 111558"/>
                <a:gd name="connsiteX351" fmla="*/ 51529 w 130102"/>
                <a:gd name="connsiteY351" fmla="*/ 7675 h 111558"/>
                <a:gd name="connsiteX352" fmla="*/ 53425 w 130102"/>
                <a:gd name="connsiteY352" fmla="*/ 7127 h 111558"/>
                <a:gd name="connsiteX353" fmla="*/ 54915 w 130102"/>
                <a:gd name="connsiteY353" fmla="*/ 6359 h 111558"/>
                <a:gd name="connsiteX354" fmla="*/ 56370 w 130102"/>
                <a:gd name="connsiteY354" fmla="*/ 4531 h 111558"/>
                <a:gd name="connsiteX355" fmla="*/ 57253 w 130102"/>
                <a:gd name="connsiteY355" fmla="*/ 4229 h 111558"/>
                <a:gd name="connsiteX356" fmla="*/ 59929 w 130102"/>
                <a:gd name="connsiteY356" fmla="*/ 4489 h 111558"/>
                <a:gd name="connsiteX357" fmla="*/ 60501 w 130102"/>
                <a:gd name="connsiteY357" fmla="*/ 4038 h 111558"/>
                <a:gd name="connsiteX358" fmla="*/ 60134 w 130102"/>
                <a:gd name="connsiteY358" fmla="*/ 1410 h 111558"/>
                <a:gd name="connsiteX359" fmla="*/ 60613 w 130102"/>
                <a:gd name="connsiteY359" fmla="*/ 742 h 111558"/>
                <a:gd name="connsiteX360" fmla="*/ 61559 w 130102"/>
                <a:gd name="connsiteY360" fmla="*/ 368 h 111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</a:cxnLst>
              <a:rect l="l" t="t" r="r" b="b"/>
              <a:pathLst>
                <a:path w="130102" h="111558">
                  <a:moveTo>
                    <a:pt x="86563" y="101746"/>
                  </a:moveTo>
                  <a:lnTo>
                    <a:pt x="90452" y="102584"/>
                  </a:lnTo>
                  <a:lnTo>
                    <a:pt x="93469" y="104421"/>
                  </a:lnTo>
                  <a:lnTo>
                    <a:pt x="84622" y="102014"/>
                  </a:lnTo>
                  <a:lnTo>
                    <a:pt x="85626" y="101793"/>
                  </a:lnTo>
                  <a:close/>
                  <a:moveTo>
                    <a:pt x="69288" y="96494"/>
                  </a:moveTo>
                  <a:lnTo>
                    <a:pt x="73375" y="97242"/>
                  </a:lnTo>
                  <a:lnTo>
                    <a:pt x="76373" y="96898"/>
                  </a:lnTo>
                  <a:lnTo>
                    <a:pt x="79083" y="97357"/>
                  </a:lnTo>
                  <a:lnTo>
                    <a:pt x="80767" y="98207"/>
                  </a:lnTo>
                  <a:lnTo>
                    <a:pt x="81175" y="98624"/>
                  </a:lnTo>
                  <a:lnTo>
                    <a:pt x="78988" y="98682"/>
                  </a:lnTo>
                  <a:lnTo>
                    <a:pt x="76515" y="98337"/>
                  </a:lnTo>
                  <a:lnTo>
                    <a:pt x="73710" y="99201"/>
                  </a:lnTo>
                  <a:lnTo>
                    <a:pt x="71238" y="98739"/>
                  </a:lnTo>
                  <a:lnTo>
                    <a:pt x="70298" y="98178"/>
                  </a:lnTo>
                  <a:lnTo>
                    <a:pt x="69633" y="97476"/>
                  </a:lnTo>
                  <a:close/>
                  <a:moveTo>
                    <a:pt x="81872" y="95708"/>
                  </a:moveTo>
                  <a:lnTo>
                    <a:pt x="93013" y="100400"/>
                  </a:lnTo>
                  <a:lnTo>
                    <a:pt x="91773" y="99158"/>
                  </a:lnTo>
                  <a:lnTo>
                    <a:pt x="93380" y="98666"/>
                  </a:lnTo>
                  <a:lnTo>
                    <a:pt x="94745" y="99020"/>
                  </a:lnTo>
                  <a:lnTo>
                    <a:pt x="95615" y="100551"/>
                  </a:lnTo>
                  <a:lnTo>
                    <a:pt x="97330" y="101558"/>
                  </a:lnTo>
                  <a:lnTo>
                    <a:pt x="100109" y="103327"/>
                  </a:lnTo>
                  <a:lnTo>
                    <a:pt x="101864" y="104682"/>
                  </a:lnTo>
                  <a:lnTo>
                    <a:pt x="105846" y="107117"/>
                  </a:lnTo>
                  <a:lnTo>
                    <a:pt x="106788" y="107457"/>
                  </a:lnTo>
                  <a:lnTo>
                    <a:pt x="108772" y="108176"/>
                  </a:lnTo>
                  <a:lnTo>
                    <a:pt x="108811" y="109157"/>
                  </a:lnTo>
                  <a:lnTo>
                    <a:pt x="109664" y="110273"/>
                  </a:lnTo>
                  <a:lnTo>
                    <a:pt x="110566" y="111558"/>
                  </a:lnTo>
                  <a:lnTo>
                    <a:pt x="106488" y="109026"/>
                  </a:lnTo>
                  <a:lnTo>
                    <a:pt x="102676" y="106192"/>
                  </a:lnTo>
                  <a:lnTo>
                    <a:pt x="95229" y="101826"/>
                  </a:lnTo>
                  <a:lnTo>
                    <a:pt x="89946" y="100762"/>
                  </a:lnTo>
                  <a:lnTo>
                    <a:pt x="82721" y="97247"/>
                  </a:lnTo>
                  <a:lnTo>
                    <a:pt x="78016" y="96003"/>
                  </a:lnTo>
                  <a:lnTo>
                    <a:pt x="79808" y="95716"/>
                  </a:lnTo>
                  <a:close/>
                  <a:moveTo>
                    <a:pt x="66429" y="90251"/>
                  </a:moveTo>
                  <a:lnTo>
                    <a:pt x="69404" y="90667"/>
                  </a:lnTo>
                  <a:lnTo>
                    <a:pt x="70318" y="91709"/>
                  </a:lnTo>
                  <a:lnTo>
                    <a:pt x="78364" y="92543"/>
                  </a:lnTo>
                  <a:lnTo>
                    <a:pt x="81302" y="93029"/>
                  </a:lnTo>
                  <a:lnTo>
                    <a:pt x="79756" y="93307"/>
                  </a:lnTo>
                  <a:lnTo>
                    <a:pt x="69918" y="93100"/>
                  </a:lnTo>
                  <a:lnTo>
                    <a:pt x="67057" y="92543"/>
                  </a:lnTo>
                  <a:lnTo>
                    <a:pt x="63874" y="91108"/>
                  </a:lnTo>
                  <a:lnTo>
                    <a:pt x="63224" y="90667"/>
                  </a:lnTo>
                  <a:close/>
                  <a:moveTo>
                    <a:pt x="64827" y="86010"/>
                  </a:moveTo>
                  <a:lnTo>
                    <a:pt x="68202" y="86149"/>
                  </a:lnTo>
                  <a:lnTo>
                    <a:pt x="73350" y="86984"/>
                  </a:lnTo>
                  <a:lnTo>
                    <a:pt x="74609" y="87957"/>
                  </a:lnTo>
                  <a:lnTo>
                    <a:pt x="74218" y="88406"/>
                  </a:lnTo>
                  <a:lnTo>
                    <a:pt x="72263" y="89139"/>
                  </a:lnTo>
                  <a:lnTo>
                    <a:pt x="68774" y="89209"/>
                  </a:lnTo>
                  <a:lnTo>
                    <a:pt x="65742" y="88722"/>
                  </a:lnTo>
                  <a:lnTo>
                    <a:pt x="64256" y="87887"/>
                  </a:lnTo>
                  <a:lnTo>
                    <a:pt x="64367" y="87184"/>
                  </a:lnTo>
                  <a:close/>
                  <a:moveTo>
                    <a:pt x="38758" y="69183"/>
                  </a:moveTo>
                  <a:lnTo>
                    <a:pt x="41000" y="70181"/>
                  </a:lnTo>
                  <a:lnTo>
                    <a:pt x="42455" y="72191"/>
                  </a:lnTo>
                  <a:lnTo>
                    <a:pt x="41063" y="71778"/>
                  </a:lnTo>
                  <a:lnTo>
                    <a:pt x="39611" y="70534"/>
                  </a:lnTo>
                  <a:close/>
                  <a:moveTo>
                    <a:pt x="34243" y="65203"/>
                  </a:moveTo>
                  <a:lnTo>
                    <a:pt x="37897" y="67787"/>
                  </a:lnTo>
                  <a:lnTo>
                    <a:pt x="38242" y="68741"/>
                  </a:lnTo>
                  <a:lnTo>
                    <a:pt x="35483" y="66947"/>
                  </a:lnTo>
                  <a:lnTo>
                    <a:pt x="34437" y="65741"/>
                  </a:lnTo>
                  <a:close/>
                  <a:moveTo>
                    <a:pt x="29804" y="64924"/>
                  </a:moveTo>
                  <a:lnTo>
                    <a:pt x="31738" y="66300"/>
                  </a:lnTo>
                  <a:lnTo>
                    <a:pt x="36962" y="71573"/>
                  </a:lnTo>
                  <a:lnTo>
                    <a:pt x="37277" y="71969"/>
                  </a:lnTo>
                  <a:lnTo>
                    <a:pt x="37247" y="72239"/>
                  </a:lnTo>
                  <a:lnTo>
                    <a:pt x="36100" y="71858"/>
                  </a:lnTo>
                  <a:lnTo>
                    <a:pt x="35791" y="71981"/>
                  </a:lnTo>
                  <a:lnTo>
                    <a:pt x="30384" y="66074"/>
                  </a:lnTo>
                  <a:close/>
                  <a:moveTo>
                    <a:pt x="27080" y="50537"/>
                  </a:moveTo>
                  <a:lnTo>
                    <a:pt x="28449" y="51863"/>
                  </a:lnTo>
                  <a:lnTo>
                    <a:pt x="29590" y="52692"/>
                  </a:lnTo>
                  <a:lnTo>
                    <a:pt x="30533" y="52894"/>
                  </a:lnTo>
                  <a:lnTo>
                    <a:pt x="32930" y="54978"/>
                  </a:lnTo>
                  <a:lnTo>
                    <a:pt x="35286" y="57656"/>
                  </a:lnTo>
                  <a:lnTo>
                    <a:pt x="38093" y="59980"/>
                  </a:lnTo>
                  <a:lnTo>
                    <a:pt x="37510" y="60052"/>
                  </a:lnTo>
                  <a:lnTo>
                    <a:pt x="36955" y="60373"/>
                  </a:lnTo>
                  <a:lnTo>
                    <a:pt x="36383" y="61094"/>
                  </a:lnTo>
                  <a:lnTo>
                    <a:pt x="34954" y="59765"/>
                  </a:lnTo>
                  <a:lnTo>
                    <a:pt x="33641" y="58817"/>
                  </a:lnTo>
                  <a:lnTo>
                    <a:pt x="32701" y="57695"/>
                  </a:lnTo>
                  <a:lnTo>
                    <a:pt x="30859" y="56295"/>
                  </a:lnTo>
                  <a:lnTo>
                    <a:pt x="30237" y="54693"/>
                  </a:lnTo>
                  <a:lnTo>
                    <a:pt x="27491" y="51425"/>
                  </a:lnTo>
                  <a:close/>
                  <a:moveTo>
                    <a:pt x="25944" y="46425"/>
                  </a:moveTo>
                  <a:lnTo>
                    <a:pt x="27353" y="46516"/>
                  </a:lnTo>
                  <a:lnTo>
                    <a:pt x="27564" y="47155"/>
                  </a:lnTo>
                  <a:lnTo>
                    <a:pt x="29061" y="48859"/>
                  </a:lnTo>
                  <a:lnTo>
                    <a:pt x="29618" y="50061"/>
                  </a:lnTo>
                  <a:lnTo>
                    <a:pt x="27536" y="48976"/>
                  </a:lnTo>
                  <a:lnTo>
                    <a:pt x="25672" y="48561"/>
                  </a:lnTo>
                  <a:lnTo>
                    <a:pt x="25277" y="47744"/>
                  </a:lnTo>
                  <a:lnTo>
                    <a:pt x="25545" y="47074"/>
                  </a:lnTo>
                  <a:close/>
                  <a:moveTo>
                    <a:pt x="18596" y="37698"/>
                  </a:moveTo>
                  <a:lnTo>
                    <a:pt x="18838" y="40065"/>
                  </a:lnTo>
                  <a:lnTo>
                    <a:pt x="19382" y="41424"/>
                  </a:lnTo>
                  <a:lnTo>
                    <a:pt x="21010" y="43092"/>
                  </a:lnTo>
                  <a:lnTo>
                    <a:pt x="20682" y="45851"/>
                  </a:lnTo>
                  <a:lnTo>
                    <a:pt x="21015" y="49774"/>
                  </a:lnTo>
                  <a:lnTo>
                    <a:pt x="21345" y="50646"/>
                  </a:lnTo>
                  <a:lnTo>
                    <a:pt x="21468" y="51553"/>
                  </a:lnTo>
                  <a:lnTo>
                    <a:pt x="21297" y="52610"/>
                  </a:lnTo>
                  <a:lnTo>
                    <a:pt x="19952" y="51274"/>
                  </a:lnTo>
                  <a:lnTo>
                    <a:pt x="19274" y="48876"/>
                  </a:lnTo>
                  <a:lnTo>
                    <a:pt x="17583" y="44999"/>
                  </a:lnTo>
                  <a:lnTo>
                    <a:pt x="17365" y="43906"/>
                  </a:lnTo>
                  <a:lnTo>
                    <a:pt x="18242" y="42826"/>
                  </a:lnTo>
                  <a:lnTo>
                    <a:pt x="18195" y="41732"/>
                  </a:lnTo>
                  <a:lnTo>
                    <a:pt x="16996" y="38322"/>
                  </a:lnTo>
                  <a:lnTo>
                    <a:pt x="18000" y="37765"/>
                  </a:lnTo>
                  <a:close/>
                  <a:moveTo>
                    <a:pt x="23304" y="36128"/>
                  </a:moveTo>
                  <a:lnTo>
                    <a:pt x="24606" y="37408"/>
                  </a:lnTo>
                  <a:lnTo>
                    <a:pt x="26180" y="39816"/>
                  </a:lnTo>
                  <a:lnTo>
                    <a:pt x="27020" y="40488"/>
                  </a:lnTo>
                  <a:lnTo>
                    <a:pt x="28592" y="42905"/>
                  </a:lnTo>
                  <a:lnTo>
                    <a:pt x="25867" y="43491"/>
                  </a:lnTo>
                  <a:lnTo>
                    <a:pt x="24569" y="42443"/>
                  </a:lnTo>
                  <a:lnTo>
                    <a:pt x="24230" y="41583"/>
                  </a:lnTo>
                  <a:lnTo>
                    <a:pt x="21991" y="41310"/>
                  </a:lnTo>
                  <a:lnTo>
                    <a:pt x="20635" y="40112"/>
                  </a:lnTo>
                  <a:lnTo>
                    <a:pt x="20358" y="39581"/>
                  </a:lnTo>
                  <a:lnTo>
                    <a:pt x="22276" y="38262"/>
                  </a:lnTo>
                  <a:close/>
                  <a:moveTo>
                    <a:pt x="62002" y="0"/>
                  </a:moveTo>
                  <a:lnTo>
                    <a:pt x="64356" y="284"/>
                  </a:lnTo>
                  <a:lnTo>
                    <a:pt x="66314" y="964"/>
                  </a:lnTo>
                  <a:lnTo>
                    <a:pt x="67502" y="1378"/>
                  </a:lnTo>
                  <a:lnTo>
                    <a:pt x="71441" y="3281"/>
                  </a:lnTo>
                  <a:lnTo>
                    <a:pt x="74170" y="5419"/>
                  </a:lnTo>
                  <a:lnTo>
                    <a:pt x="75684" y="7791"/>
                  </a:lnTo>
                  <a:lnTo>
                    <a:pt x="77735" y="9628"/>
                  </a:lnTo>
                  <a:lnTo>
                    <a:pt x="80320" y="10927"/>
                  </a:lnTo>
                  <a:lnTo>
                    <a:pt x="82367" y="12689"/>
                  </a:lnTo>
                  <a:lnTo>
                    <a:pt x="83881" y="14912"/>
                  </a:lnTo>
                  <a:lnTo>
                    <a:pt x="85997" y="16156"/>
                  </a:lnTo>
                  <a:lnTo>
                    <a:pt x="88714" y="16426"/>
                  </a:lnTo>
                  <a:lnTo>
                    <a:pt x="90435" y="17186"/>
                  </a:lnTo>
                  <a:lnTo>
                    <a:pt x="91156" y="18438"/>
                  </a:lnTo>
                  <a:lnTo>
                    <a:pt x="92633" y="19572"/>
                  </a:lnTo>
                  <a:lnTo>
                    <a:pt x="94859" y="20586"/>
                  </a:lnTo>
                  <a:lnTo>
                    <a:pt x="98325" y="21142"/>
                  </a:lnTo>
                  <a:lnTo>
                    <a:pt x="104961" y="21274"/>
                  </a:lnTo>
                  <a:lnTo>
                    <a:pt x="105550" y="21302"/>
                  </a:lnTo>
                  <a:lnTo>
                    <a:pt x="107047" y="21617"/>
                  </a:lnTo>
                  <a:lnTo>
                    <a:pt x="108794" y="21223"/>
                  </a:lnTo>
                  <a:lnTo>
                    <a:pt x="110923" y="20429"/>
                  </a:lnTo>
                  <a:lnTo>
                    <a:pt x="111609" y="19956"/>
                  </a:lnTo>
                  <a:lnTo>
                    <a:pt x="113851" y="17359"/>
                  </a:lnTo>
                  <a:lnTo>
                    <a:pt x="115084" y="17583"/>
                  </a:lnTo>
                  <a:lnTo>
                    <a:pt x="117544" y="17266"/>
                  </a:lnTo>
                  <a:lnTo>
                    <a:pt x="119031" y="16690"/>
                  </a:lnTo>
                  <a:lnTo>
                    <a:pt x="119144" y="16690"/>
                  </a:lnTo>
                  <a:lnTo>
                    <a:pt x="119049" y="17355"/>
                  </a:lnTo>
                  <a:lnTo>
                    <a:pt x="118882" y="18516"/>
                  </a:lnTo>
                  <a:lnTo>
                    <a:pt x="117677" y="19338"/>
                  </a:lnTo>
                  <a:lnTo>
                    <a:pt x="118904" y="21229"/>
                  </a:lnTo>
                  <a:lnTo>
                    <a:pt x="120070" y="24293"/>
                  </a:lnTo>
                  <a:lnTo>
                    <a:pt x="119420" y="25806"/>
                  </a:lnTo>
                  <a:lnTo>
                    <a:pt x="120212" y="26983"/>
                  </a:lnTo>
                  <a:lnTo>
                    <a:pt x="122454" y="27828"/>
                  </a:lnTo>
                  <a:lnTo>
                    <a:pt x="122657" y="28165"/>
                  </a:lnTo>
                  <a:lnTo>
                    <a:pt x="121972" y="28517"/>
                  </a:lnTo>
                  <a:lnTo>
                    <a:pt x="121405" y="29516"/>
                  </a:lnTo>
                  <a:lnTo>
                    <a:pt x="121340" y="31336"/>
                  </a:lnTo>
                  <a:lnTo>
                    <a:pt x="123294" y="33054"/>
                  </a:lnTo>
                  <a:lnTo>
                    <a:pt x="127269" y="34670"/>
                  </a:lnTo>
                  <a:lnTo>
                    <a:pt x="128539" y="34941"/>
                  </a:lnTo>
                  <a:lnTo>
                    <a:pt x="129025" y="35562"/>
                  </a:lnTo>
                  <a:lnTo>
                    <a:pt x="129690" y="35968"/>
                  </a:lnTo>
                  <a:lnTo>
                    <a:pt x="130081" y="36464"/>
                  </a:lnTo>
                  <a:lnTo>
                    <a:pt x="130102" y="37105"/>
                  </a:lnTo>
                  <a:lnTo>
                    <a:pt x="129818" y="37545"/>
                  </a:lnTo>
                  <a:lnTo>
                    <a:pt x="127937" y="37702"/>
                  </a:lnTo>
                  <a:lnTo>
                    <a:pt x="125790" y="37688"/>
                  </a:lnTo>
                  <a:lnTo>
                    <a:pt x="124264" y="36909"/>
                  </a:lnTo>
                  <a:lnTo>
                    <a:pt x="124128" y="37477"/>
                  </a:lnTo>
                  <a:lnTo>
                    <a:pt x="124104" y="38128"/>
                  </a:lnTo>
                  <a:lnTo>
                    <a:pt x="122627" y="38525"/>
                  </a:lnTo>
                  <a:lnTo>
                    <a:pt x="123447" y="42995"/>
                  </a:lnTo>
                  <a:lnTo>
                    <a:pt x="123121" y="44279"/>
                  </a:lnTo>
                  <a:lnTo>
                    <a:pt x="122575" y="44710"/>
                  </a:lnTo>
                  <a:lnTo>
                    <a:pt x="122067" y="44531"/>
                  </a:lnTo>
                  <a:lnTo>
                    <a:pt x="121448" y="44481"/>
                  </a:lnTo>
                  <a:lnTo>
                    <a:pt x="121137" y="44900"/>
                  </a:lnTo>
                  <a:lnTo>
                    <a:pt x="121394" y="45851"/>
                  </a:lnTo>
                  <a:lnTo>
                    <a:pt x="119938" y="45960"/>
                  </a:lnTo>
                  <a:lnTo>
                    <a:pt x="117619" y="45467"/>
                  </a:lnTo>
                  <a:lnTo>
                    <a:pt x="116557" y="44603"/>
                  </a:lnTo>
                  <a:lnTo>
                    <a:pt x="116375" y="43720"/>
                  </a:lnTo>
                  <a:lnTo>
                    <a:pt x="116358" y="42900"/>
                  </a:lnTo>
                  <a:lnTo>
                    <a:pt x="115622" y="41553"/>
                  </a:lnTo>
                  <a:lnTo>
                    <a:pt x="113776" y="40161"/>
                  </a:lnTo>
                  <a:lnTo>
                    <a:pt x="109921" y="39931"/>
                  </a:lnTo>
                  <a:lnTo>
                    <a:pt x="108498" y="39489"/>
                  </a:lnTo>
                  <a:lnTo>
                    <a:pt x="107032" y="38981"/>
                  </a:lnTo>
                  <a:lnTo>
                    <a:pt x="105425" y="38605"/>
                  </a:lnTo>
                  <a:lnTo>
                    <a:pt x="103944" y="38643"/>
                  </a:lnTo>
                  <a:lnTo>
                    <a:pt x="102158" y="39013"/>
                  </a:lnTo>
                  <a:lnTo>
                    <a:pt x="99042" y="38400"/>
                  </a:lnTo>
                  <a:lnTo>
                    <a:pt x="97988" y="39218"/>
                  </a:lnTo>
                  <a:lnTo>
                    <a:pt x="96347" y="40166"/>
                  </a:lnTo>
                  <a:lnTo>
                    <a:pt x="94984" y="40142"/>
                  </a:lnTo>
                  <a:lnTo>
                    <a:pt x="92272" y="37945"/>
                  </a:lnTo>
                  <a:lnTo>
                    <a:pt x="91463" y="37806"/>
                  </a:lnTo>
                  <a:lnTo>
                    <a:pt x="89091" y="38926"/>
                  </a:lnTo>
                  <a:lnTo>
                    <a:pt x="88126" y="38986"/>
                  </a:lnTo>
                  <a:lnTo>
                    <a:pt x="87386" y="38632"/>
                  </a:lnTo>
                  <a:lnTo>
                    <a:pt x="84179" y="37793"/>
                  </a:lnTo>
                  <a:lnTo>
                    <a:pt x="82732" y="37612"/>
                  </a:lnTo>
                  <a:lnTo>
                    <a:pt x="81670" y="38009"/>
                  </a:lnTo>
                  <a:lnTo>
                    <a:pt x="79785" y="37579"/>
                  </a:lnTo>
                  <a:lnTo>
                    <a:pt x="75213" y="34708"/>
                  </a:lnTo>
                  <a:lnTo>
                    <a:pt x="72387" y="36891"/>
                  </a:lnTo>
                  <a:lnTo>
                    <a:pt x="66634" y="36348"/>
                  </a:lnTo>
                  <a:lnTo>
                    <a:pt x="64928" y="37846"/>
                  </a:lnTo>
                  <a:lnTo>
                    <a:pt x="62972" y="40683"/>
                  </a:lnTo>
                  <a:lnTo>
                    <a:pt x="61387" y="42037"/>
                  </a:lnTo>
                  <a:lnTo>
                    <a:pt x="60009" y="41551"/>
                  </a:lnTo>
                  <a:lnTo>
                    <a:pt x="58379" y="40303"/>
                  </a:lnTo>
                  <a:lnTo>
                    <a:pt x="55526" y="37091"/>
                  </a:lnTo>
                  <a:lnTo>
                    <a:pt x="54086" y="36511"/>
                  </a:lnTo>
                  <a:lnTo>
                    <a:pt x="52429" y="36375"/>
                  </a:lnTo>
                  <a:lnTo>
                    <a:pt x="50983" y="36730"/>
                  </a:lnTo>
                  <a:lnTo>
                    <a:pt x="50214" y="37382"/>
                  </a:lnTo>
                  <a:lnTo>
                    <a:pt x="49626" y="42073"/>
                  </a:lnTo>
                  <a:lnTo>
                    <a:pt x="49106" y="46200"/>
                  </a:lnTo>
                  <a:lnTo>
                    <a:pt x="49076" y="48671"/>
                  </a:lnTo>
                  <a:lnTo>
                    <a:pt x="52248" y="50957"/>
                  </a:lnTo>
                  <a:lnTo>
                    <a:pt x="55984" y="54887"/>
                  </a:lnTo>
                  <a:lnTo>
                    <a:pt x="57187" y="55338"/>
                  </a:lnTo>
                  <a:lnTo>
                    <a:pt x="57781" y="56624"/>
                  </a:lnTo>
                  <a:lnTo>
                    <a:pt x="58655" y="59931"/>
                  </a:lnTo>
                  <a:lnTo>
                    <a:pt x="59637" y="63645"/>
                  </a:lnTo>
                  <a:lnTo>
                    <a:pt x="61536" y="66102"/>
                  </a:lnTo>
                  <a:lnTo>
                    <a:pt x="63248" y="67859"/>
                  </a:lnTo>
                  <a:lnTo>
                    <a:pt x="65338" y="69403"/>
                  </a:lnTo>
                  <a:lnTo>
                    <a:pt x="67957" y="71822"/>
                  </a:lnTo>
                  <a:lnTo>
                    <a:pt x="70106" y="74474"/>
                  </a:lnTo>
                  <a:lnTo>
                    <a:pt x="70676" y="75452"/>
                  </a:lnTo>
                  <a:lnTo>
                    <a:pt x="74842" y="78954"/>
                  </a:lnTo>
                  <a:lnTo>
                    <a:pt x="78882" y="82524"/>
                  </a:lnTo>
                  <a:lnTo>
                    <a:pt x="82497" y="83772"/>
                  </a:lnTo>
                  <a:lnTo>
                    <a:pt x="83067" y="84431"/>
                  </a:lnTo>
                  <a:lnTo>
                    <a:pt x="83099" y="87172"/>
                  </a:lnTo>
                  <a:lnTo>
                    <a:pt x="83492" y="88200"/>
                  </a:lnTo>
                  <a:lnTo>
                    <a:pt x="85906" y="91066"/>
                  </a:lnTo>
                  <a:lnTo>
                    <a:pt x="90828" y="95255"/>
                  </a:lnTo>
                  <a:lnTo>
                    <a:pt x="91396" y="96225"/>
                  </a:lnTo>
                  <a:lnTo>
                    <a:pt x="91558" y="96935"/>
                  </a:lnTo>
                  <a:lnTo>
                    <a:pt x="91240" y="97480"/>
                  </a:lnTo>
                  <a:lnTo>
                    <a:pt x="89951" y="98053"/>
                  </a:lnTo>
                  <a:lnTo>
                    <a:pt x="88893" y="97413"/>
                  </a:lnTo>
                  <a:lnTo>
                    <a:pt x="84306" y="93321"/>
                  </a:lnTo>
                  <a:lnTo>
                    <a:pt x="79873" y="90738"/>
                  </a:lnTo>
                  <a:lnTo>
                    <a:pt x="74870" y="85865"/>
                  </a:lnTo>
                  <a:lnTo>
                    <a:pt x="68173" y="83938"/>
                  </a:lnTo>
                  <a:lnTo>
                    <a:pt x="63611" y="81802"/>
                  </a:lnTo>
                  <a:lnTo>
                    <a:pt x="60847" y="82129"/>
                  </a:lnTo>
                  <a:lnTo>
                    <a:pt x="57798" y="82801"/>
                  </a:lnTo>
                  <a:lnTo>
                    <a:pt x="55917" y="82822"/>
                  </a:lnTo>
                  <a:lnTo>
                    <a:pt x="54580" y="82438"/>
                  </a:lnTo>
                  <a:lnTo>
                    <a:pt x="53630" y="81113"/>
                  </a:lnTo>
                  <a:lnTo>
                    <a:pt x="53775" y="80088"/>
                  </a:lnTo>
                  <a:lnTo>
                    <a:pt x="53606" y="78749"/>
                  </a:lnTo>
                  <a:lnTo>
                    <a:pt x="50933" y="76610"/>
                  </a:lnTo>
                  <a:lnTo>
                    <a:pt x="47286" y="74575"/>
                  </a:lnTo>
                  <a:lnTo>
                    <a:pt x="43831" y="71940"/>
                  </a:lnTo>
                  <a:lnTo>
                    <a:pt x="36897" y="64811"/>
                  </a:lnTo>
                  <a:lnTo>
                    <a:pt x="35506" y="62516"/>
                  </a:lnTo>
                  <a:lnTo>
                    <a:pt x="36871" y="62079"/>
                  </a:lnTo>
                  <a:lnTo>
                    <a:pt x="37903" y="62118"/>
                  </a:lnTo>
                  <a:lnTo>
                    <a:pt x="39074" y="61647"/>
                  </a:lnTo>
                  <a:lnTo>
                    <a:pt x="40963" y="61635"/>
                  </a:lnTo>
                  <a:lnTo>
                    <a:pt x="43202" y="62104"/>
                  </a:lnTo>
                  <a:lnTo>
                    <a:pt x="41220" y="60576"/>
                  </a:lnTo>
                  <a:lnTo>
                    <a:pt x="38754" y="59076"/>
                  </a:lnTo>
                  <a:lnTo>
                    <a:pt x="32375" y="53109"/>
                  </a:lnTo>
                  <a:lnTo>
                    <a:pt x="30471" y="50286"/>
                  </a:lnTo>
                  <a:lnTo>
                    <a:pt x="30250" y="47241"/>
                  </a:lnTo>
                  <a:lnTo>
                    <a:pt x="30721" y="43060"/>
                  </a:lnTo>
                  <a:lnTo>
                    <a:pt x="29572" y="40063"/>
                  </a:lnTo>
                  <a:lnTo>
                    <a:pt x="24651" y="36179"/>
                  </a:lnTo>
                  <a:lnTo>
                    <a:pt x="22848" y="34128"/>
                  </a:lnTo>
                  <a:lnTo>
                    <a:pt x="19214" y="32910"/>
                  </a:lnTo>
                  <a:lnTo>
                    <a:pt x="17590" y="33030"/>
                  </a:lnTo>
                  <a:lnTo>
                    <a:pt x="16614" y="34545"/>
                  </a:lnTo>
                  <a:lnTo>
                    <a:pt x="15901" y="37910"/>
                  </a:lnTo>
                  <a:lnTo>
                    <a:pt x="12679" y="42343"/>
                  </a:lnTo>
                  <a:lnTo>
                    <a:pt x="11604" y="44267"/>
                  </a:lnTo>
                  <a:lnTo>
                    <a:pt x="9920" y="46766"/>
                  </a:lnTo>
                  <a:lnTo>
                    <a:pt x="8460" y="46938"/>
                  </a:lnTo>
                  <a:lnTo>
                    <a:pt x="7596" y="46718"/>
                  </a:lnTo>
                  <a:lnTo>
                    <a:pt x="4981" y="42510"/>
                  </a:lnTo>
                  <a:lnTo>
                    <a:pt x="2478" y="39319"/>
                  </a:lnTo>
                  <a:lnTo>
                    <a:pt x="2129" y="37807"/>
                  </a:lnTo>
                  <a:lnTo>
                    <a:pt x="1904" y="35946"/>
                  </a:lnTo>
                  <a:lnTo>
                    <a:pt x="0" y="29077"/>
                  </a:lnTo>
                  <a:lnTo>
                    <a:pt x="1343" y="28113"/>
                  </a:lnTo>
                  <a:lnTo>
                    <a:pt x="2168" y="29216"/>
                  </a:lnTo>
                  <a:lnTo>
                    <a:pt x="7994" y="30544"/>
                  </a:lnTo>
                  <a:lnTo>
                    <a:pt x="9252" y="29955"/>
                  </a:lnTo>
                  <a:lnTo>
                    <a:pt x="10015" y="29055"/>
                  </a:lnTo>
                  <a:lnTo>
                    <a:pt x="10019" y="28485"/>
                  </a:lnTo>
                  <a:lnTo>
                    <a:pt x="10516" y="28318"/>
                  </a:lnTo>
                  <a:lnTo>
                    <a:pt x="12567" y="29186"/>
                  </a:lnTo>
                  <a:lnTo>
                    <a:pt x="14241" y="28985"/>
                  </a:lnTo>
                  <a:lnTo>
                    <a:pt x="16933" y="28945"/>
                  </a:lnTo>
                  <a:lnTo>
                    <a:pt x="18855" y="29087"/>
                  </a:lnTo>
                  <a:lnTo>
                    <a:pt x="20125" y="28419"/>
                  </a:lnTo>
                  <a:lnTo>
                    <a:pt x="21846" y="25960"/>
                  </a:lnTo>
                  <a:lnTo>
                    <a:pt x="22483" y="24583"/>
                  </a:lnTo>
                  <a:lnTo>
                    <a:pt x="23254" y="24254"/>
                  </a:lnTo>
                  <a:lnTo>
                    <a:pt x="23761" y="24418"/>
                  </a:lnTo>
                  <a:lnTo>
                    <a:pt x="24133" y="25550"/>
                  </a:lnTo>
                  <a:lnTo>
                    <a:pt x="25038" y="26613"/>
                  </a:lnTo>
                  <a:lnTo>
                    <a:pt x="26897" y="28344"/>
                  </a:lnTo>
                  <a:lnTo>
                    <a:pt x="28212" y="29175"/>
                  </a:lnTo>
                  <a:lnTo>
                    <a:pt x="29406" y="29474"/>
                  </a:lnTo>
                  <a:lnTo>
                    <a:pt x="30576" y="28778"/>
                  </a:lnTo>
                  <a:lnTo>
                    <a:pt x="31784" y="28580"/>
                  </a:lnTo>
                  <a:lnTo>
                    <a:pt x="35230" y="29929"/>
                  </a:lnTo>
                  <a:lnTo>
                    <a:pt x="38141" y="30186"/>
                  </a:lnTo>
                  <a:lnTo>
                    <a:pt x="40294" y="29482"/>
                  </a:lnTo>
                  <a:lnTo>
                    <a:pt x="40011" y="28514"/>
                  </a:lnTo>
                  <a:lnTo>
                    <a:pt x="39227" y="27435"/>
                  </a:lnTo>
                  <a:lnTo>
                    <a:pt x="39058" y="26387"/>
                  </a:lnTo>
                  <a:lnTo>
                    <a:pt x="39203" y="25481"/>
                  </a:lnTo>
                  <a:lnTo>
                    <a:pt x="40680" y="24577"/>
                  </a:lnTo>
                  <a:lnTo>
                    <a:pt x="40609" y="24180"/>
                  </a:lnTo>
                  <a:lnTo>
                    <a:pt x="38823" y="22589"/>
                  </a:lnTo>
                  <a:lnTo>
                    <a:pt x="38914" y="22179"/>
                  </a:lnTo>
                  <a:lnTo>
                    <a:pt x="42829" y="20389"/>
                  </a:lnTo>
                  <a:lnTo>
                    <a:pt x="46603" y="19384"/>
                  </a:lnTo>
                  <a:lnTo>
                    <a:pt x="47208" y="18609"/>
                  </a:lnTo>
                  <a:lnTo>
                    <a:pt x="47560" y="17443"/>
                  </a:lnTo>
                  <a:lnTo>
                    <a:pt x="47726" y="15256"/>
                  </a:lnTo>
                  <a:lnTo>
                    <a:pt x="47519" y="13466"/>
                  </a:lnTo>
                  <a:lnTo>
                    <a:pt x="45986" y="11787"/>
                  </a:lnTo>
                  <a:lnTo>
                    <a:pt x="45891" y="10937"/>
                  </a:lnTo>
                  <a:lnTo>
                    <a:pt x="46254" y="10054"/>
                  </a:lnTo>
                  <a:lnTo>
                    <a:pt x="46849" y="9256"/>
                  </a:lnTo>
                  <a:lnTo>
                    <a:pt x="48359" y="8910"/>
                  </a:lnTo>
                  <a:lnTo>
                    <a:pt x="50130" y="8336"/>
                  </a:lnTo>
                  <a:lnTo>
                    <a:pt x="51529" y="7675"/>
                  </a:lnTo>
                  <a:lnTo>
                    <a:pt x="53425" y="7127"/>
                  </a:lnTo>
                  <a:lnTo>
                    <a:pt x="54915" y="6359"/>
                  </a:lnTo>
                  <a:lnTo>
                    <a:pt x="56370" y="4531"/>
                  </a:lnTo>
                  <a:lnTo>
                    <a:pt x="57253" y="4229"/>
                  </a:lnTo>
                  <a:lnTo>
                    <a:pt x="59929" y="4489"/>
                  </a:lnTo>
                  <a:lnTo>
                    <a:pt x="60501" y="4038"/>
                  </a:lnTo>
                  <a:lnTo>
                    <a:pt x="60134" y="1410"/>
                  </a:lnTo>
                  <a:lnTo>
                    <a:pt x="60613" y="742"/>
                  </a:lnTo>
                  <a:lnTo>
                    <a:pt x="61559" y="368"/>
                  </a:lnTo>
                  <a:close/>
                </a:path>
              </a:pathLst>
            </a:custGeom>
            <a:solidFill>
              <a:srgbClr val="92D050"/>
            </a:solidFill>
            <a:ln w="3175" cap="rnd" cmpd="sng" algn="ctr">
              <a:solidFill>
                <a:srgbClr val="494949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ee4p_HU_1_37764">
              <a:extLst>
                <a:ext uri="{FF2B5EF4-FFF2-40B4-BE49-F238E27FC236}">
                  <a16:creationId xmlns:a16="http://schemas.microsoft.com/office/drawing/2014/main" id="{A7B3B220-A193-465D-9E79-1EF32300BEB0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11769847" y="9661508"/>
              <a:ext cx="1411967" cy="737036"/>
            </a:xfrm>
            <a:custGeom>
              <a:avLst/>
              <a:gdLst/>
              <a:ahLst/>
              <a:cxnLst/>
              <a:rect l="0" t="0" r="0" b="0"/>
              <a:pathLst>
                <a:path w="150000" h="78299">
                  <a:moveTo>
                    <a:pt x="133530" y="4202"/>
                  </a:moveTo>
                  <a:lnTo>
                    <a:pt x="135637" y="3973"/>
                  </a:lnTo>
                  <a:lnTo>
                    <a:pt x="135726" y="4008"/>
                  </a:lnTo>
                  <a:lnTo>
                    <a:pt x="136225" y="4144"/>
                  </a:lnTo>
                  <a:lnTo>
                    <a:pt x="136572" y="5461"/>
                  </a:lnTo>
                  <a:lnTo>
                    <a:pt x="136632" y="5543"/>
                  </a:lnTo>
                  <a:lnTo>
                    <a:pt x="137140" y="6413"/>
                  </a:lnTo>
                  <a:lnTo>
                    <a:pt x="137617" y="7564"/>
                  </a:lnTo>
                  <a:lnTo>
                    <a:pt x="138358" y="8429"/>
                  </a:lnTo>
                  <a:lnTo>
                    <a:pt x="139986" y="8790"/>
                  </a:lnTo>
                  <a:lnTo>
                    <a:pt x="142115" y="9863"/>
                  </a:lnTo>
                  <a:lnTo>
                    <a:pt x="143493" y="11880"/>
                  </a:lnTo>
                  <a:lnTo>
                    <a:pt x="145570" y="12717"/>
                  </a:lnTo>
                  <a:lnTo>
                    <a:pt x="145720" y="12739"/>
                  </a:lnTo>
                  <a:lnTo>
                    <a:pt x="146128" y="12643"/>
                  </a:lnTo>
                  <a:lnTo>
                    <a:pt x="147622" y="12569"/>
                  </a:lnTo>
                  <a:lnTo>
                    <a:pt x="147911" y="12976"/>
                  </a:lnTo>
                  <a:lnTo>
                    <a:pt x="149105" y="13962"/>
                  </a:lnTo>
                  <a:lnTo>
                    <a:pt x="149570" y="14830"/>
                  </a:lnTo>
                  <a:lnTo>
                    <a:pt x="149332" y="15747"/>
                  </a:lnTo>
                  <a:lnTo>
                    <a:pt x="149544" y="16784"/>
                  </a:lnTo>
                  <a:lnTo>
                    <a:pt x="149999" y="17152"/>
                  </a:lnTo>
                  <a:lnTo>
                    <a:pt x="149449" y="17848"/>
                  </a:lnTo>
                  <a:lnTo>
                    <a:pt x="145579" y="21328"/>
                  </a:lnTo>
                  <a:lnTo>
                    <a:pt x="144067" y="22249"/>
                  </a:lnTo>
                  <a:lnTo>
                    <a:pt x="143061" y="22439"/>
                  </a:lnTo>
                  <a:lnTo>
                    <a:pt x="141481" y="22073"/>
                  </a:lnTo>
                  <a:lnTo>
                    <a:pt x="139846" y="22352"/>
                  </a:lnTo>
                  <a:lnTo>
                    <a:pt x="138386" y="23096"/>
                  </a:lnTo>
                  <a:lnTo>
                    <a:pt x="137041" y="23332"/>
                  </a:lnTo>
                  <a:lnTo>
                    <a:pt x="136024" y="24216"/>
                  </a:lnTo>
                  <a:lnTo>
                    <a:pt x="134707" y="26109"/>
                  </a:lnTo>
                  <a:lnTo>
                    <a:pt x="133089" y="27711"/>
                  </a:lnTo>
                  <a:lnTo>
                    <a:pt x="131454" y="28705"/>
                  </a:lnTo>
                  <a:lnTo>
                    <a:pt x="130608" y="29592"/>
                  </a:lnTo>
                  <a:lnTo>
                    <a:pt x="130511" y="32658"/>
                  </a:lnTo>
                  <a:lnTo>
                    <a:pt x="129604" y="33539"/>
                  </a:lnTo>
                  <a:lnTo>
                    <a:pt x="128386" y="34427"/>
                  </a:lnTo>
                  <a:lnTo>
                    <a:pt x="127725" y="35211"/>
                  </a:lnTo>
                  <a:lnTo>
                    <a:pt x="125870" y="39867"/>
                  </a:lnTo>
                  <a:lnTo>
                    <a:pt x="124462" y="41357"/>
                  </a:lnTo>
                  <a:lnTo>
                    <a:pt x="123128" y="42500"/>
                  </a:lnTo>
                  <a:lnTo>
                    <a:pt x="122908" y="43543"/>
                  </a:lnTo>
                  <a:lnTo>
                    <a:pt x="122934" y="44736"/>
                  </a:lnTo>
                  <a:lnTo>
                    <a:pt x="121420" y="47118"/>
                  </a:lnTo>
                  <a:lnTo>
                    <a:pt x="119435" y="49587"/>
                  </a:lnTo>
                  <a:lnTo>
                    <a:pt x="119051" y="50600"/>
                  </a:lnTo>
                  <a:lnTo>
                    <a:pt x="119494" y="51965"/>
                  </a:lnTo>
                  <a:lnTo>
                    <a:pt x="117591" y="53535"/>
                  </a:lnTo>
                  <a:lnTo>
                    <a:pt x="116492" y="54288"/>
                  </a:lnTo>
                  <a:lnTo>
                    <a:pt x="115583" y="54648"/>
                  </a:lnTo>
                  <a:lnTo>
                    <a:pt x="115015" y="55630"/>
                  </a:lnTo>
                  <a:lnTo>
                    <a:pt x="114080" y="58021"/>
                  </a:lnTo>
                  <a:lnTo>
                    <a:pt x="114324" y="59093"/>
                  </a:lnTo>
                  <a:lnTo>
                    <a:pt x="114352" y="60076"/>
                  </a:lnTo>
                  <a:lnTo>
                    <a:pt x="112743" y="60652"/>
                  </a:lnTo>
                  <a:lnTo>
                    <a:pt x="112270" y="61729"/>
                  </a:lnTo>
                  <a:lnTo>
                    <a:pt x="111862" y="63069"/>
                  </a:lnTo>
                  <a:lnTo>
                    <a:pt x="111193" y="63676"/>
                  </a:lnTo>
                  <a:lnTo>
                    <a:pt x="109383" y="64789"/>
                  </a:lnTo>
                  <a:lnTo>
                    <a:pt x="104898" y="64305"/>
                  </a:lnTo>
                  <a:lnTo>
                    <a:pt x="103201" y="64678"/>
                  </a:lnTo>
                  <a:lnTo>
                    <a:pt x="102696" y="65474"/>
                  </a:lnTo>
                  <a:lnTo>
                    <a:pt x="102592" y="66112"/>
                  </a:lnTo>
                  <a:lnTo>
                    <a:pt x="102033" y="66710"/>
                  </a:lnTo>
                  <a:lnTo>
                    <a:pt x="101007" y="67461"/>
                  </a:lnTo>
                  <a:lnTo>
                    <a:pt x="99960" y="67797"/>
                  </a:lnTo>
                  <a:lnTo>
                    <a:pt x="97626" y="66872"/>
                  </a:lnTo>
                  <a:lnTo>
                    <a:pt x="92603" y="67811"/>
                  </a:lnTo>
                  <a:lnTo>
                    <a:pt x="91737" y="68486"/>
                  </a:lnTo>
                  <a:lnTo>
                    <a:pt x="91037" y="68004"/>
                  </a:lnTo>
                  <a:lnTo>
                    <a:pt x="89960" y="67565"/>
                  </a:lnTo>
                  <a:lnTo>
                    <a:pt x="84933" y="67023"/>
                  </a:lnTo>
                  <a:lnTo>
                    <a:pt x="82950" y="67454"/>
                  </a:lnTo>
                  <a:lnTo>
                    <a:pt x="80299" y="67288"/>
                  </a:lnTo>
                  <a:lnTo>
                    <a:pt x="77843" y="66810"/>
                  </a:lnTo>
                  <a:lnTo>
                    <a:pt x="76014" y="67198"/>
                  </a:lnTo>
                  <a:lnTo>
                    <a:pt x="74395" y="69073"/>
                  </a:lnTo>
                  <a:lnTo>
                    <a:pt x="73594" y="69706"/>
                  </a:lnTo>
                  <a:lnTo>
                    <a:pt x="72965" y="70111"/>
                  </a:lnTo>
                  <a:lnTo>
                    <a:pt x="71581" y="70699"/>
                  </a:lnTo>
                  <a:lnTo>
                    <a:pt x="70428" y="71407"/>
                  </a:lnTo>
                  <a:lnTo>
                    <a:pt x="68886" y="71916"/>
                  </a:lnTo>
                  <a:lnTo>
                    <a:pt x="67513" y="71845"/>
                  </a:lnTo>
                  <a:lnTo>
                    <a:pt x="66208" y="71040"/>
                  </a:lnTo>
                  <a:lnTo>
                    <a:pt x="65742" y="71223"/>
                  </a:lnTo>
                  <a:lnTo>
                    <a:pt x="65332" y="71965"/>
                  </a:lnTo>
                  <a:lnTo>
                    <a:pt x="64626" y="72599"/>
                  </a:lnTo>
                  <a:lnTo>
                    <a:pt x="62682" y="73380"/>
                  </a:lnTo>
                  <a:lnTo>
                    <a:pt x="62186" y="73371"/>
                  </a:lnTo>
                  <a:lnTo>
                    <a:pt x="62073" y="73371"/>
                  </a:lnTo>
                  <a:lnTo>
                    <a:pt x="60586" y="73947"/>
                  </a:lnTo>
                  <a:lnTo>
                    <a:pt x="58126" y="74264"/>
                  </a:lnTo>
                  <a:lnTo>
                    <a:pt x="56893" y="74040"/>
                  </a:lnTo>
                  <a:lnTo>
                    <a:pt x="54651" y="76637"/>
                  </a:lnTo>
                  <a:lnTo>
                    <a:pt x="53965" y="77110"/>
                  </a:lnTo>
                  <a:lnTo>
                    <a:pt x="51836" y="77904"/>
                  </a:lnTo>
                  <a:lnTo>
                    <a:pt x="50089" y="78298"/>
                  </a:lnTo>
                  <a:lnTo>
                    <a:pt x="48592" y="77983"/>
                  </a:lnTo>
                  <a:lnTo>
                    <a:pt x="48003" y="77955"/>
                  </a:lnTo>
                  <a:lnTo>
                    <a:pt x="41367" y="77823"/>
                  </a:lnTo>
                  <a:lnTo>
                    <a:pt x="37901" y="77267"/>
                  </a:lnTo>
                  <a:lnTo>
                    <a:pt x="35675" y="76253"/>
                  </a:lnTo>
                  <a:lnTo>
                    <a:pt x="34198" y="75119"/>
                  </a:lnTo>
                  <a:lnTo>
                    <a:pt x="33477" y="73867"/>
                  </a:lnTo>
                  <a:lnTo>
                    <a:pt x="31756" y="73107"/>
                  </a:lnTo>
                  <a:lnTo>
                    <a:pt x="29039" y="72837"/>
                  </a:lnTo>
                  <a:lnTo>
                    <a:pt x="26923" y="71593"/>
                  </a:lnTo>
                  <a:lnTo>
                    <a:pt x="25409" y="69370"/>
                  </a:lnTo>
                  <a:lnTo>
                    <a:pt x="23362" y="67608"/>
                  </a:lnTo>
                  <a:lnTo>
                    <a:pt x="20777" y="66309"/>
                  </a:lnTo>
                  <a:lnTo>
                    <a:pt x="18726" y="64472"/>
                  </a:lnTo>
                  <a:lnTo>
                    <a:pt x="17212" y="62100"/>
                  </a:lnTo>
                  <a:lnTo>
                    <a:pt x="14483" y="59962"/>
                  </a:lnTo>
                  <a:lnTo>
                    <a:pt x="10544" y="58059"/>
                  </a:lnTo>
                  <a:lnTo>
                    <a:pt x="9356" y="57645"/>
                  </a:lnTo>
                  <a:lnTo>
                    <a:pt x="9123" y="57030"/>
                  </a:lnTo>
                  <a:lnTo>
                    <a:pt x="7195" y="54664"/>
                  </a:lnTo>
                  <a:lnTo>
                    <a:pt x="6372" y="53790"/>
                  </a:lnTo>
                  <a:lnTo>
                    <a:pt x="6445" y="52618"/>
                  </a:lnTo>
                  <a:lnTo>
                    <a:pt x="6061" y="51951"/>
                  </a:lnTo>
                  <a:lnTo>
                    <a:pt x="5359" y="51483"/>
                  </a:lnTo>
                  <a:lnTo>
                    <a:pt x="4984" y="49788"/>
                  </a:lnTo>
                  <a:lnTo>
                    <a:pt x="4763" y="48522"/>
                  </a:lnTo>
                  <a:lnTo>
                    <a:pt x="4213" y="47706"/>
                  </a:lnTo>
                  <a:lnTo>
                    <a:pt x="0" y="47538"/>
                  </a:lnTo>
                  <a:lnTo>
                    <a:pt x="3526" y="44509"/>
                  </a:lnTo>
                  <a:lnTo>
                    <a:pt x="5279" y="43664"/>
                  </a:lnTo>
                  <a:lnTo>
                    <a:pt x="7316" y="43810"/>
                  </a:lnTo>
                  <a:lnTo>
                    <a:pt x="7968" y="43536"/>
                  </a:lnTo>
                  <a:lnTo>
                    <a:pt x="8141" y="43098"/>
                  </a:lnTo>
                  <a:lnTo>
                    <a:pt x="8488" y="42110"/>
                  </a:lnTo>
                  <a:lnTo>
                    <a:pt x="8661" y="41177"/>
                  </a:lnTo>
                  <a:lnTo>
                    <a:pt x="8836" y="40300"/>
                  </a:lnTo>
                  <a:lnTo>
                    <a:pt x="8618" y="39804"/>
                  </a:lnTo>
                  <a:lnTo>
                    <a:pt x="7635" y="39650"/>
                  </a:lnTo>
                  <a:lnTo>
                    <a:pt x="7160" y="37482"/>
                  </a:lnTo>
                  <a:lnTo>
                    <a:pt x="7666" y="36662"/>
                  </a:lnTo>
                  <a:lnTo>
                    <a:pt x="8171" y="36091"/>
                  </a:lnTo>
                  <a:lnTo>
                    <a:pt x="7547" y="33450"/>
                  </a:lnTo>
                  <a:lnTo>
                    <a:pt x="7735" y="32551"/>
                  </a:lnTo>
                  <a:lnTo>
                    <a:pt x="9324" y="32410"/>
                  </a:lnTo>
                  <a:lnTo>
                    <a:pt x="10643" y="31846"/>
                  </a:lnTo>
                  <a:lnTo>
                    <a:pt x="11719" y="31204"/>
                  </a:lnTo>
                  <a:lnTo>
                    <a:pt x="12019" y="30389"/>
                  </a:lnTo>
                  <a:lnTo>
                    <a:pt x="12902" y="28722"/>
                  </a:lnTo>
                  <a:lnTo>
                    <a:pt x="12088" y="26676"/>
                  </a:lnTo>
                  <a:lnTo>
                    <a:pt x="7497" y="25343"/>
                  </a:lnTo>
                  <a:lnTo>
                    <a:pt x="7257" y="24833"/>
                  </a:lnTo>
                  <a:lnTo>
                    <a:pt x="8326" y="24253"/>
                  </a:lnTo>
                  <a:lnTo>
                    <a:pt x="9464" y="23427"/>
                  </a:lnTo>
                  <a:lnTo>
                    <a:pt x="10125" y="22783"/>
                  </a:lnTo>
                  <a:lnTo>
                    <a:pt x="11008" y="22693"/>
                  </a:lnTo>
                  <a:lnTo>
                    <a:pt x="12259" y="23017"/>
                  </a:lnTo>
                  <a:lnTo>
                    <a:pt x="14472" y="24501"/>
                  </a:lnTo>
                  <a:lnTo>
                    <a:pt x="15320" y="24715"/>
                  </a:lnTo>
                  <a:lnTo>
                    <a:pt x="16141" y="24284"/>
                  </a:lnTo>
                  <a:lnTo>
                    <a:pt x="17018" y="24192"/>
                  </a:lnTo>
                  <a:lnTo>
                    <a:pt x="19466" y="24246"/>
                  </a:lnTo>
                  <a:lnTo>
                    <a:pt x="21527" y="23902"/>
                  </a:lnTo>
                  <a:lnTo>
                    <a:pt x="21062" y="22321"/>
                  </a:lnTo>
                  <a:lnTo>
                    <a:pt x="21069" y="21173"/>
                  </a:lnTo>
                  <a:lnTo>
                    <a:pt x="20719" y="20256"/>
                  </a:lnTo>
                  <a:lnTo>
                    <a:pt x="20937" y="19246"/>
                  </a:lnTo>
                  <a:lnTo>
                    <a:pt x="21773" y="18459"/>
                  </a:lnTo>
                  <a:lnTo>
                    <a:pt x="22023" y="16690"/>
                  </a:lnTo>
                  <a:lnTo>
                    <a:pt x="23312" y="15496"/>
                  </a:lnTo>
                  <a:lnTo>
                    <a:pt x="23915" y="15324"/>
                  </a:lnTo>
                  <a:lnTo>
                    <a:pt x="26185" y="15542"/>
                  </a:lnTo>
                  <a:lnTo>
                    <a:pt x="26722" y="15852"/>
                  </a:lnTo>
                  <a:lnTo>
                    <a:pt x="27070" y="15920"/>
                  </a:lnTo>
                  <a:lnTo>
                    <a:pt x="30682" y="18834"/>
                  </a:lnTo>
                  <a:lnTo>
                    <a:pt x="34101" y="21022"/>
                  </a:lnTo>
                  <a:lnTo>
                    <a:pt x="36901" y="22141"/>
                  </a:lnTo>
                  <a:lnTo>
                    <a:pt x="41015" y="22233"/>
                  </a:lnTo>
                  <a:lnTo>
                    <a:pt x="45386" y="22330"/>
                  </a:lnTo>
                  <a:lnTo>
                    <a:pt x="52697" y="21949"/>
                  </a:lnTo>
                  <a:lnTo>
                    <a:pt x="58180" y="21663"/>
                  </a:lnTo>
                  <a:lnTo>
                    <a:pt x="58543" y="21118"/>
                  </a:lnTo>
                  <a:lnTo>
                    <a:pt x="59370" y="19812"/>
                  </a:lnTo>
                  <a:lnTo>
                    <a:pt x="58713" y="18691"/>
                  </a:lnTo>
                  <a:lnTo>
                    <a:pt x="58752" y="17372"/>
                  </a:lnTo>
                  <a:lnTo>
                    <a:pt x="59676" y="15656"/>
                  </a:lnTo>
                  <a:lnTo>
                    <a:pt x="62380" y="14230"/>
                  </a:lnTo>
                  <a:lnTo>
                    <a:pt x="70141" y="13602"/>
                  </a:lnTo>
                  <a:lnTo>
                    <a:pt x="74604" y="12539"/>
                  </a:lnTo>
                  <a:lnTo>
                    <a:pt x="75278" y="11086"/>
                  </a:lnTo>
                  <a:lnTo>
                    <a:pt x="76755" y="9652"/>
                  </a:lnTo>
                  <a:lnTo>
                    <a:pt x="78107" y="9362"/>
                  </a:lnTo>
                  <a:lnTo>
                    <a:pt x="79960" y="10020"/>
                  </a:lnTo>
                  <a:lnTo>
                    <a:pt x="82190" y="11286"/>
                  </a:lnTo>
                  <a:lnTo>
                    <a:pt x="84149" y="11955"/>
                  </a:lnTo>
                  <a:lnTo>
                    <a:pt x="85293" y="11524"/>
                  </a:lnTo>
                  <a:lnTo>
                    <a:pt x="89234" y="9392"/>
                  </a:lnTo>
                  <a:lnTo>
                    <a:pt x="93771" y="7311"/>
                  </a:lnTo>
                  <a:lnTo>
                    <a:pt x="96893" y="1656"/>
                  </a:lnTo>
                  <a:lnTo>
                    <a:pt x="97226" y="754"/>
                  </a:lnTo>
                  <a:lnTo>
                    <a:pt x="100612" y="106"/>
                  </a:lnTo>
                  <a:lnTo>
                    <a:pt x="105553" y="222"/>
                  </a:lnTo>
                  <a:lnTo>
                    <a:pt x="108085" y="959"/>
                  </a:lnTo>
                  <a:lnTo>
                    <a:pt x="109990" y="1349"/>
                  </a:lnTo>
                  <a:lnTo>
                    <a:pt x="112845" y="1216"/>
                  </a:lnTo>
                  <a:lnTo>
                    <a:pt x="116958" y="0"/>
                  </a:lnTo>
                  <a:lnTo>
                    <a:pt x="118483" y="34"/>
                  </a:lnTo>
                  <a:lnTo>
                    <a:pt x="119662" y="897"/>
                  </a:lnTo>
                  <a:lnTo>
                    <a:pt x="120956" y="1639"/>
                  </a:lnTo>
                  <a:lnTo>
                    <a:pt x="121828" y="2548"/>
                  </a:lnTo>
                  <a:lnTo>
                    <a:pt x="122489" y="3828"/>
                  </a:lnTo>
                  <a:lnTo>
                    <a:pt x="122845" y="4311"/>
                  </a:lnTo>
                  <a:lnTo>
                    <a:pt x="123419" y="4966"/>
                  </a:lnTo>
                  <a:lnTo>
                    <a:pt x="124456" y="5867"/>
                  </a:lnTo>
                  <a:lnTo>
                    <a:pt x="125462" y="6107"/>
                  </a:lnTo>
                  <a:lnTo>
                    <a:pt x="133076" y="4541"/>
                  </a:lnTo>
                  <a:close/>
                </a:path>
              </a:pathLst>
            </a:custGeom>
            <a:solidFill>
              <a:srgbClr val="00B050"/>
            </a:solidFill>
            <a:ln w="3175" cap="rnd" cmpd="sng" algn="ctr">
              <a:solidFill>
                <a:srgbClr val="494949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ee4p_IE_1_37764">
              <a:extLst>
                <a:ext uri="{FF2B5EF4-FFF2-40B4-BE49-F238E27FC236}">
                  <a16:creationId xmlns:a16="http://schemas.microsoft.com/office/drawing/2014/main" id="{65F4730D-9830-4F8B-B56A-FA0365CEC372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6257522" y="7764447"/>
              <a:ext cx="908091" cy="1103328"/>
            </a:xfrm>
            <a:custGeom>
              <a:avLst/>
              <a:gdLst>
                <a:gd name="connsiteX0" fmla="*/ 4626 w 96471"/>
                <a:gd name="connsiteY0" fmla="*/ 41297 h 117212"/>
                <a:gd name="connsiteX1" fmla="*/ 5539 w 96471"/>
                <a:gd name="connsiteY1" fmla="*/ 41650 h 117212"/>
                <a:gd name="connsiteX2" fmla="*/ 8709 w 96471"/>
                <a:gd name="connsiteY2" fmla="*/ 41699 h 117212"/>
                <a:gd name="connsiteX3" fmla="*/ 9599 w 96471"/>
                <a:gd name="connsiteY3" fmla="*/ 42196 h 117212"/>
                <a:gd name="connsiteX4" fmla="*/ 9774 w 96471"/>
                <a:gd name="connsiteY4" fmla="*/ 44442 h 117212"/>
                <a:gd name="connsiteX5" fmla="*/ 9681 w 96471"/>
                <a:gd name="connsiteY5" fmla="*/ 45307 h 117212"/>
                <a:gd name="connsiteX6" fmla="*/ 8043 w 96471"/>
                <a:gd name="connsiteY6" fmla="*/ 44217 h 117212"/>
                <a:gd name="connsiteX7" fmla="*/ 7247 w 96471"/>
                <a:gd name="connsiteY7" fmla="*/ 43030 h 117212"/>
                <a:gd name="connsiteX8" fmla="*/ 2753 w 96471"/>
                <a:gd name="connsiteY8" fmla="*/ 42485 h 117212"/>
                <a:gd name="connsiteX9" fmla="*/ 68137 w 96471"/>
                <a:gd name="connsiteY9" fmla="*/ 0 h 117212"/>
                <a:gd name="connsiteX10" fmla="*/ 69511 w 96471"/>
                <a:gd name="connsiteY10" fmla="*/ 395 h 117212"/>
                <a:gd name="connsiteX11" fmla="*/ 71531 w 96471"/>
                <a:gd name="connsiteY11" fmla="*/ 1873 h 117212"/>
                <a:gd name="connsiteX12" fmla="*/ 73633 w 96471"/>
                <a:gd name="connsiteY12" fmla="*/ 3031 h 117212"/>
                <a:gd name="connsiteX13" fmla="*/ 75813 w 96471"/>
                <a:gd name="connsiteY13" fmla="*/ 3949 h 117212"/>
                <a:gd name="connsiteX14" fmla="*/ 73718 w 96471"/>
                <a:gd name="connsiteY14" fmla="*/ 5785 h 117212"/>
                <a:gd name="connsiteX15" fmla="*/ 71143 w 96471"/>
                <a:gd name="connsiteY15" fmla="*/ 7058 h 117212"/>
                <a:gd name="connsiteX16" fmla="*/ 70130 w 96471"/>
                <a:gd name="connsiteY16" fmla="*/ 8444 h 117212"/>
                <a:gd name="connsiteX17" fmla="*/ 66631 w 96471"/>
                <a:gd name="connsiteY17" fmla="*/ 10422 h 117212"/>
                <a:gd name="connsiteX18" fmla="*/ 66089 w 96471"/>
                <a:gd name="connsiteY18" fmla="*/ 11171 h 117212"/>
                <a:gd name="connsiteX19" fmla="*/ 65103 w 96471"/>
                <a:gd name="connsiteY19" fmla="*/ 14188 h 117212"/>
                <a:gd name="connsiteX20" fmla="*/ 64987 w 96471"/>
                <a:gd name="connsiteY20" fmla="*/ 15048 h 117212"/>
                <a:gd name="connsiteX21" fmla="*/ 63861 w 96471"/>
                <a:gd name="connsiteY21" fmla="*/ 16633 h 117212"/>
                <a:gd name="connsiteX22" fmla="*/ 62795 w 96471"/>
                <a:gd name="connsiteY22" fmla="*/ 18395 h 117212"/>
                <a:gd name="connsiteX23" fmla="*/ 61555 w 96471"/>
                <a:gd name="connsiteY23" fmla="*/ 19077 h 117212"/>
                <a:gd name="connsiteX24" fmla="*/ 59708 w 96471"/>
                <a:gd name="connsiteY24" fmla="*/ 19618 h 117212"/>
                <a:gd name="connsiteX25" fmla="*/ 58658 w 96471"/>
                <a:gd name="connsiteY25" fmla="*/ 20156 h 117212"/>
                <a:gd name="connsiteX26" fmla="*/ 57336 w 96471"/>
                <a:gd name="connsiteY26" fmla="*/ 19886 h 117212"/>
                <a:gd name="connsiteX27" fmla="*/ 55662 w 96471"/>
                <a:gd name="connsiteY27" fmla="*/ 19929 h 117212"/>
                <a:gd name="connsiteX28" fmla="*/ 54830 w 96471"/>
                <a:gd name="connsiteY28" fmla="*/ 20527 h 117212"/>
                <a:gd name="connsiteX29" fmla="*/ 54871 w 96471"/>
                <a:gd name="connsiteY29" fmla="*/ 20986 h 117212"/>
                <a:gd name="connsiteX30" fmla="*/ 55371 w 96471"/>
                <a:gd name="connsiteY30" fmla="*/ 21515 h 117212"/>
                <a:gd name="connsiteX31" fmla="*/ 56837 w 96471"/>
                <a:gd name="connsiteY31" fmla="*/ 22322 h 117212"/>
                <a:gd name="connsiteX32" fmla="*/ 58463 w 96471"/>
                <a:gd name="connsiteY32" fmla="*/ 23052 h 117212"/>
                <a:gd name="connsiteX33" fmla="*/ 58284 w 96471"/>
                <a:gd name="connsiteY33" fmla="*/ 23691 h 117212"/>
                <a:gd name="connsiteX34" fmla="*/ 57413 w 96471"/>
                <a:gd name="connsiteY34" fmla="*/ 24415 h 117212"/>
                <a:gd name="connsiteX35" fmla="*/ 51873 w 96471"/>
                <a:gd name="connsiteY35" fmla="*/ 26211 h 117212"/>
                <a:gd name="connsiteX36" fmla="*/ 50223 w 96471"/>
                <a:gd name="connsiteY36" fmla="*/ 27295 h 117212"/>
                <a:gd name="connsiteX37" fmla="*/ 49651 w 96471"/>
                <a:gd name="connsiteY37" fmla="*/ 28010 h 117212"/>
                <a:gd name="connsiteX38" fmla="*/ 50238 w 96471"/>
                <a:gd name="connsiteY38" fmla="*/ 29208 h 117212"/>
                <a:gd name="connsiteX39" fmla="*/ 54656 w 96471"/>
                <a:gd name="connsiteY39" fmla="*/ 32794 h 117212"/>
                <a:gd name="connsiteX40" fmla="*/ 55408 w 96471"/>
                <a:gd name="connsiteY40" fmla="*/ 33184 h 117212"/>
                <a:gd name="connsiteX41" fmla="*/ 56061 w 96471"/>
                <a:gd name="connsiteY41" fmla="*/ 35268 h 117212"/>
                <a:gd name="connsiteX42" fmla="*/ 59956 w 96471"/>
                <a:gd name="connsiteY42" fmla="*/ 36139 h 117212"/>
                <a:gd name="connsiteX43" fmla="*/ 61553 w 96471"/>
                <a:gd name="connsiteY43" fmla="*/ 37440 h 117212"/>
                <a:gd name="connsiteX44" fmla="*/ 62927 w 96471"/>
                <a:gd name="connsiteY44" fmla="*/ 37752 h 117212"/>
                <a:gd name="connsiteX45" fmla="*/ 65912 w 96471"/>
                <a:gd name="connsiteY45" fmla="*/ 37639 h 117212"/>
                <a:gd name="connsiteX46" fmla="*/ 67112 w 96471"/>
                <a:gd name="connsiteY46" fmla="*/ 38128 h 117212"/>
                <a:gd name="connsiteX47" fmla="*/ 67790 w 96471"/>
                <a:gd name="connsiteY47" fmla="*/ 37757 h 117212"/>
                <a:gd name="connsiteX48" fmla="*/ 68183 w 96471"/>
                <a:gd name="connsiteY48" fmla="*/ 37071 h 117212"/>
                <a:gd name="connsiteX49" fmla="*/ 70696 w 96471"/>
                <a:gd name="connsiteY49" fmla="*/ 35304 h 117212"/>
                <a:gd name="connsiteX50" fmla="*/ 71527 w 96471"/>
                <a:gd name="connsiteY50" fmla="*/ 34532 h 117212"/>
                <a:gd name="connsiteX51" fmla="*/ 71028 w 96471"/>
                <a:gd name="connsiteY51" fmla="*/ 33454 h 117212"/>
                <a:gd name="connsiteX52" fmla="*/ 70485 w 96471"/>
                <a:gd name="connsiteY52" fmla="*/ 32635 h 117212"/>
                <a:gd name="connsiteX53" fmla="*/ 72013 w 96471"/>
                <a:gd name="connsiteY53" fmla="*/ 31003 h 117212"/>
                <a:gd name="connsiteX54" fmla="*/ 73866 w 96471"/>
                <a:gd name="connsiteY54" fmla="*/ 29391 h 117212"/>
                <a:gd name="connsiteX55" fmla="*/ 74795 w 96471"/>
                <a:gd name="connsiteY55" fmla="*/ 29439 h 117212"/>
                <a:gd name="connsiteX56" fmla="*/ 76377 w 96471"/>
                <a:gd name="connsiteY56" fmla="*/ 30426 h 117212"/>
                <a:gd name="connsiteX57" fmla="*/ 77680 w 96471"/>
                <a:gd name="connsiteY57" fmla="*/ 31804 h 117212"/>
                <a:gd name="connsiteX58" fmla="*/ 77857 w 96471"/>
                <a:gd name="connsiteY58" fmla="*/ 32871 h 117212"/>
                <a:gd name="connsiteX59" fmla="*/ 78097 w 96471"/>
                <a:gd name="connsiteY59" fmla="*/ 33645 h 117212"/>
                <a:gd name="connsiteX60" fmla="*/ 79330 w 96471"/>
                <a:gd name="connsiteY60" fmla="*/ 35297 h 117212"/>
                <a:gd name="connsiteX61" fmla="*/ 80126 w 96471"/>
                <a:gd name="connsiteY61" fmla="*/ 35867 h 117212"/>
                <a:gd name="connsiteX62" fmla="*/ 82273 w 96471"/>
                <a:gd name="connsiteY62" fmla="*/ 36198 h 117212"/>
                <a:gd name="connsiteX63" fmla="*/ 82773 w 96471"/>
                <a:gd name="connsiteY63" fmla="*/ 36846 h 117212"/>
                <a:gd name="connsiteX64" fmla="*/ 82390 w 96471"/>
                <a:gd name="connsiteY64" fmla="*/ 39235 h 117212"/>
                <a:gd name="connsiteX65" fmla="*/ 82709 w 96471"/>
                <a:gd name="connsiteY65" fmla="*/ 40029 h 117212"/>
                <a:gd name="connsiteX66" fmla="*/ 84957 w 96471"/>
                <a:gd name="connsiteY66" fmla="*/ 40070 h 117212"/>
                <a:gd name="connsiteX67" fmla="*/ 87342 w 96471"/>
                <a:gd name="connsiteY67" fmla="*/ 39877 h 117212"/>
                <a:gd name="connsiteX68" fmla="*/ 88175 w 96471"/>
                <a:gd name="connsiteY68" fmla="*/ 39968 h 117212"/>
                <a:gd name="connsiteX69" fmla="*/ 89036 w 96471"/>
                <a:gd name="connsiteY69" fmla="*/ 39468 h 117212"/>
                <a:gd name="connsiteX70" fmla="*/ 90363 w 96471"/>
                <a:gd name="connsiteY70" fmla="*/ 38929 h 117212"/>
                <a:gd name="connsiteX71" fmla="*/ 92257 w 96471"/>
                <a:gd name="connsiteY71" fmla="*/ 39115 h 117212"/>
                <a:gd name="connsiteX72" fmla="*/ 93191 w 96471"/>
                <a:gd name="connsiteY72" fmla="*/ 40184 h 117212"/>
                <a:gd name="connsiteX73" fmla="*/ 93607 w 96471"/>
                <a:gd name="connsiteY73" fmla="*/ 41285 h 117212"/>
                <a:gd name="connsiteX74" fmla="*/ 91977 w 96471"/>
                <a:gd name="connsiteY74" fmla="*/ 41699 h 117212"/>
                <a:gd name="connsiteX75" fmla="*/ 90275 w 96471"/>
                <a:gd name="connsiteY75" fmla="*/ 41473 h 117212"/>
                <a:gd name="connsiteX76" fmla="*/ 89445 w 96471"/>
                <a:gd name="connsiteY76" fmla="*/ 42196 h 117212"/>
                <a:gd name="connsiteX77" fmla="*/ 89391 w 96471"/>
                <a:gd name="connsiteY77" fmla="*/ 43588 h 117212"/>
                <a:gd name="connsiteX78" fmla="*/ 89966 w 96471"/>
                <a:gd name="connsiteY78" fmla="*/ 45379 h 117212"/>
                <a:gd name="connsiteX79" fmla="*/ 91104 w 96471"/>
                <a:gd name="connsiteY79" fmla="*/ 46649 h 117212"/>
                <a:gd name="connsiteX80" fmla="*/ 92014 w 96471"/>
                <a:gd name="connsiteY80" fmla="*/ 49509 h 117212"/>
                <a:gd name="connsiteX81" fmla="*/ 92768 w 96471"/>
                <a:gd name="connsiteY81" fmla="*/ 52676 h 117212"/>
                <a:gd name="connsiteX82" fmla="*/ 93941 w 96471"/>
                <a:gd name="connsiteY82" fmla="*/ 54588 h 117212"/>
                <a:gd name="connsiteX83" fmla="*/ 94182 w 96471"/>
                <a:gd name="connsiteY83" fmla="*/ 56958 h 117212"/>
                <a:gd name="connsiteX84" fmla="*/ 94009 w 96471"/>
                <a:gd name="connsiteY84" fmla="*/ 58122 h 117212"/>
                <a:gd name="connsiteX85" fmla="*/ 94223 w 96471"/>
                <a:gd name="connsiteY85" fmla="*/ 60212 h 117212"/>
                <a:gd name="connsiteX86" fmla="*/ 93724 w 96471"/>
                <a:gd name="connsiteY86" fmla="*/ 60948 h 117212"/>
                <a:gd name="connsiteX87" fmla="*/ 94098 w 96471"/>
                <a:gd name="connsiteY87" fmla="*/ 62908 h 117212"/>
                <a:gd name="connsiteX88" fmla="*/ 95479 w 96471"/>
                <a:gd name="connsiteY88" fmla="*/ 66960 h 117212"/>
                <a:gd name="connsiteX89" fmla="*/ 96082 w 96471"/>
                <a:gd name="connsiteY89" fmla="*/ 69214 h 117212"/>
                <a:gd name="connsiteX90" fmla="*/ 96471 w 96471"/>
                <a:gd name="connsiteY90" fmla="*/ 74127 h 117212"/>
                <a:gd name="connsiteX91" fmla="*/ 95497 w 96471"/>
                <a:gd name="connsiteY91" fmla="*/ 75966 h 117212"/>
                <a:gd name="connsiteX92" fmla="*/ 94188 w 96471"/>
                <a:gd name="connsiteY92" fmla="*/ 77709 h 117212"/>
                <a:gd name="connsiteX93" fmla="*/ 93333 w 96471"/>
                <a:gd name="connsiteY93" fmla="*/ 79774 h 117212"/>
                <a:gd name="connsiteX94" fmla="*/ 92672 w 96471"/>
                <a:gd name="connsiteY94" fmla="*/ 82001 h 117212"/>
                <a:gd name="connsiteX95" fmla="*/ 92274 w 96471"/>
                <a:gd name="connsiteY95" fmla="*/ 85587 h 117212"/>
                <a:gd name="connsiteX96" fmla="*/ 89440 w 96471"/>
                <a:gd name="connsiteY96" fmla="*/ 89784 h 117212"/>
                <a:gd name="connsiteX97" fmla="*/ 88234 w 96471"/>
                <a:gd name="connsiteY97" fmla="*/ 90826 h 117212"/>
                <a:gd name="connsiteX98" fmla="*/ 86835 w 96471"/>
                <a:gd name="connsiteY98" fmla="*/ 91467 h 117212"/>
                <a:gd name="connsiteX99" fmla="*/ 89891 w 96471"/>
                <a:gd name="connsiteY99" fmla="*/ 94395 h 117212"/>
                <a:gd name="connsiteX100" fmla="*/ 87394 w 96471"/>
                <a:gd name="connsiteY100" fmla="*/ 95700 h 117212"/>
                <a:gd name="connsiteX101" fmla="*/ 84671 w 96471"/>
                <a:gd name="connsiteY101" fmla="*/ 96111 h 117212"/>
                <a:gd name="connsiteX102" fmla="*/ 81658 w 96471"/>
                <a:gd name="connsiteY102" fmla="*/ 95379 h 117212"/>
                <a:gd name="connsiteX103" fmla="*/ 79781 w 96471"/>
                <a:gd name="connsiteY103" fmla="*/ 95468 h 117212"/>
                <a:gd name="connsiteX104" fmla="*/ 78067 w 96471"/>
                <a:gd name="connsiteY104" fmla="*/ 96415 h 117212"/>
                <a:gd name="connsiteX105" fmla="*/ 77392 w 96471"/>
                <a:gd name="connsiteY105" fmla="*/ 96988 h 117212"/>
                <a:gd name="connsiteX106" fmla="*/ 76853 w 96471"/>
                <a:gd name="connsiteY106" fmla="*/ 96711 h 117212"/>
                <a:gd name="connsiteX107" fmla="*/ 75722 w 96471"/>
                <a:gd name="connsiteY107" fmla="*/ 94311 h 117212"/>
                <a:gd name="connsiteX108" fmla="*/ 74893 w 96471"/>
                <a:gd name="connsiteY108" fmla="*/ 96790 h 117212"/>
                <a:gd name="connsiteX109" fmla="*/ 73157 w 96471"/>
                <a:gd name="connsiteY109" fmla="*/ 97578 h 117212"/>
                <a:gd name="connsiteX110" fmla="*/ 70184 w 96471"/>
                <a:gd name="connsiteY110" fmla="*/ 97410 h 117212"/>
                <a:gd name="connsiteX111" fmla="*/ 65217 w 96471"/>
                <a:gd name="connsiteY111" fmla="*/ 98070 h 117212"/>
                <a:gd name="connsiteX112" fmla="*/ 63306 w 96471"/>
                <a:gd name="connsiteY112" fmla="*/ 98775 h 117212"/>
                <a:gd name="connsiteX113" fmla="*/ 62512 w 96471"/>
                <a:gd name="connsiteY113" fmla="*/ 99878 h 117212"/>
                <a:gd name="connsiteX114" fmla="*/ 61922 w 96471"/>
                <a:gd name="connsiteY114" fmla="*/ 101152 h 117212"/>
                <a:gd name="connsiteX115" fmla="*/ 61147 w 96471"/>
                <a:gd name="connsiteY115" fmla="*/ 101904 h 117212"/>
                <a:gd name="connsiteX116" fmla="*/ 60271 w 96471"/>
                <a:gd name="connsiteY116" fmla="*/ 102300 h 117212"/>
                <a:gd name="connsiteX117" fmla="*/ 56436 w 96471"/>
                <a:gd name="connsiteY117" fmla="*/ 103238 h 117212"/>
                <a:gd name="connsiteX118" fmla="*/ 55680 w 96471"/>
                <a:gd name="connsiteY118" fmla="*/ 103613 h 117212"/>
                <a:gd name="connsiteX119" fmla="*/ 53904 w 96471"/>
                <a:gd name="connsiteY119" fmla="*/ 105667 h 117212"/>
                <a:gd name="connsiteX120" fmla="*/ 51575 w 96471"/>
                <a:gd name="connsiteY120" fmla="*/ 106853 h 117212"/>
                <a:gd name="connsiteX121" fmla="*/ 49646 w 96471"/>
                <a:gd name="connsiteY121" fmla="*/ 107208 h 117212"/>
                <a:gd name="connsiteX122" fmla="*/ 47934 w 96471"/>
                <a:gd name="connsiteY122" fmla="*/ 106014 h 117212"/>
                <a:gd name="connsiteX123" fmla="*/ 47230 w 96471"/>
                <a:gd name="connsiteY123" fmla="*/ 105296 h 117212"/>
                <a:gd name="connsiteX124" fmla="*/ 46435 w 96471"/>
                <a:gd name="connsiteY124" fmla="*/ 104931 h 117212"/>
                <a:gd name="connsiteX125" fmla="*/ 43805 w 96471"/>
                <a:gd name="connsiteY125" fmla="*/ 104987 h 117212"/>
                <a:gd name="connsiteX126" fmla="*/ 44636 w 96471"/>
                <a:gd name="connsiteY126" fmla="*/ 105357 h 117212"/>
                <a:gd name="connsiteX127" fmla="*/ 45172 w 96471"/>
                <a:gd name="connsiteY127" fmla="*/ 106200 h 117212"/>
                <a:gd name="connsiteX128" fmla="*/ 45432 w 96471"/>
                <a:gd name="connsiteY128" fmla="*/ 107815 h 117212"/>
                <a:gd name="connsiteX129" fmla="*/ 45133 w 96471"/>
                <a:gd name="connsiteY129" fmla="*/ 109397 h 117212"/>
                <a:gd name="connsiteX130" fmla="*/ 43836 w 96471"/>
                <a:gd name="connsiteY130" fmla="*/ 110200 h 117212"/>
                <a:gd name="connsiteX131" fmla="*/ 42287 w 96471"/>
                <a:gd name="connsiteY131" fmla="*/ 110348 h 117212"/>
                <a:gd name="connsiteX132" fmla="*/ 39845 w 96471"/>
                <a:gd name="connsiteY132" fmla="*/ 111987 h 117212"/>
                <a:gd name="connsiteX133" fmla="*/ 36612 w 96471"/>
                <a:gd name="connsiteY133" fmla="*/ 112435 h 117212"/>
                <a:gd name="connsiteX134" fmla="*/ 34866 w 96471"/>
                <a:gd name="connsiteY134" fmla="*/ 113943 h 117212"/>
                <a:gd name="connsiteX135" fmla="*/ 24185 w 96471"/>
                <a:gd name="connsiteY135" fmla="*/ 116492 h 117212"/>
                <a:gd name="connsiteX136" fmla="*/ 23579 w 96471"/>
                <a:gd name="connsiteY136" fmla="*/ 116522 h 117212"/>
                <a:gd name="connsiteX137" fmla="*/ 22105 w 96471"/>
                <a:gd name="connsiteY137" fmla="*/ 115873 h 117212"/>
                <a:gd name="connsiteX138" fmla="*/ 20506 w 96471"/>
                <a:gd name="connsiteY138" fmla="*/ 115586 h 117212"/>
                <a:gd name="connsiteX139" fmla="*/ 18914 w 96471"/>
                <a:gd name="connsiteY139" fmla="*/ 115789 h 117212"/>
                <a:gd name="connsiteX140" fmla="*/ 14438 w 96471"/>
                <a:gd name="connsiteY140" fmla="*/ 117212 h 117212"/>
                <a:gd name="connsiteX141" fmla="*/ 12270 w 96471"/>
                <a:gd name="connsiteY141" fmla="*/ 116929 h 117212"/>
                <a:gd name="connsiteX142" fmla="*/ 15033 w 96471"/>
                <a:gd name="connsiteY142" fmla="*/ 113390 h 117212"/>
                <a:gd name="connsiteX143" fmla="*/ 18748 w 96471"/>
                <a:gd name="connsiteY143" fmla="*/ 111602 h 117212"/>
                <a:gd name="connsiteX144" fmla="*/ 19134 w 96471"/>
                <a:gd name="connsiteY144" fmla="*/ 111112 h 117212"/>
                <a:gd name="connsiteX145" fmla="*/ 17920 w 96471"/>
                <a:gd name="connsiteY145" fmla="*/ 110872 h 117212"/>
                <a:gd name="connsiteX146" fmla="*/ 10862 w 96471"/>
                <a:gd name="connsiteY146" fmla="*/ 112114 h 117212"/>
                <a:gd name="connsiteX147" fmla="*/ 8410 w 96471"/>
                <a:gd name="connsiteY147" fmla="*/ 113172 h 117212"/>
                <a:gd name="connsiteX148" fmla="*/ 5959 w 96471"/>
                <a:gd name="connsiteY148" fmla="*/ 113479 h 117212"/>
                <a:gd name="connsiteX149" fmla="*/ 7094 w 96471"/>
                <a:gd name="connsiteY149" fmla="*/ 111864 h 117212"/>
                <a:gd name="connsiteX150" fmla="*/ 10256 w 96471"/>
                <a:gd name="connsiteY150" fmla="*/ 109650 h 117212"/>
                <a:gd name="connsiteX151" fmla="*/ 11952 w 96471"/>
                <a:gd name="connsiteY151" fmla="*/ 108607 h 117212"/>
                <a:gd name="connsiteX152" fmla="*/ 12987 w 96471"/>
                <a:gd name="connsiteY152" fmla="*/ 108193 h 117212"/>
                <a:gd name="connsiteX153" fmla="*/ 14168 w 96471"/>
                <a:gd name="connsiteY153" fmla="*/ 106891 h 117212"/>
                <a:gd name="connsiteX154" fmla="*/ 17500 w 96471"/>
                <a:gd name="connsiteY154" fmla="*/ 105411 h 117212"/>
                <a:gd name="connsiteX155" fmla="*/ 6767 w 96471"/>
                <a:gd name="connsiteY155" fmla="*/ 108463 h 117212"/>
                <a:gd name="connsiteX156" fmla="*/ 3947 w 96471"/>
                <a:gd name="connsiteY156" fmla="*/ 108091 h 117212"/>
                <a:gd name="connsiteX157" fmla="*/ 3283 w 96471"/>
                <a:gd name="connsiteY157" fmla="*/ 107240 h 117212"/>
                <a:gd name="connsiteX158" fmla="*/ 1087 w 96471"/>
                <a:gd name="connsiteY158" fmla="*/ 107639 h 117212"/>
                <a:gd name="connsiteX159" fmla="*/ 255 w 96471"/>
                <a:gd name="connsiteY159" fmla="*/ 105579 h 117212"/>
                <a:gd name="connsiteX160" fmla="*/ 3508 w 96471"/>
                <a:gd name="connsiteY160" fmla="*/ 102454 h 117212"/>
                <a:gd name="connsiteX161" fmla="*/ 5404 w 96471"/>
                <a:gd name="connsiteY161" fmla="*/ 101109 h 117212"/>
                <a:gd name="connsiteX162" fmla="*/ 7655 w 96471"/>
                <a:gd name="connsiteY162" fmla="*/ 100382 h 117212"/>
                <a:gd name="connsiteX163" fmla="*/ 9822 w 96471"/>
                <a:gd name="connsiteY163" fmla="*/ 99339 h 117212"/>
                <a:gd name="connsiteX164" fmla="*/ 10626 w 96471"/>
                <a:gd name="connsiteY164" fmla="*/ 98063 h 117212"/>
                <a:gd name="connsiteX165" fmla="*/ 9606 w 96471"/>
                <a:gd name="connsiteY165" fmla="*/ 97656 h 117212"/>
                <a:gd name="connsiteX166" fmla="*/ 3112 w 96471"/>
                <a:gd name="connsiteY166" fmla="*/ 97980 h 117212"/>
                <a:gd name="connsiteX167" fmla="*/ 0 w 96471"/>
                <a:gd name="connsiteY167" fmla="*/ 97708 h 117212"/>
                <a:gd name="connsiteX168" fmla="*/ 168 w 96471"/>
                <a:gd name="connsiteY168" fmla="*/ 96696 h 117212"/>
                <a:gd name="connsiteX169" fmla="*/ 742 w 96471"/>
                <a:gd name="connsiteY169" fmla="*/ 95574 h 117212"/>
                <a:gd name="connsiteX170" fmla="*/ 3965 w 96471"/>
                <a:gd name="connsiteY170" fmla="*/ 93654 h 117212"/>
                <a:gd name="connsiteX171" fmla="*/ 5708 w 96471"/>
                <a:gd name="connsiteY171" fmla="*/ 93345 h 117212"/>
                <a:gd name="connsiteX172" fmla="*/ 7263 w 96471"/>
                <a:gd name="connsiteY172" fmla="*/ 93528 h 117212"/>
                <a:gd name="connsiteX173" fmla="*/ 8781 w 96471"/>
                <a:gd name="connsiteY173" fmla="*/ 94020 h 117212"/>
                <a:gd name="connsiteX174" fmla="*/ 10015 w 96471"/>
                <a:gd name="connsiteY174" fmla="*/ 94663 h 117212"/>
                <a:gd name="connsiteX175" fmla="*/ 13668 w 96471"/>
                <a:gd name="connsiteY175" fmla="*/ 94294 h 117212"/>
                <a:gd name="connsiteX176" fmla="*/ 12143 w 96471"/>
                <a:gd name="connsiteY176" fmla="*/ 93067 h 117212"/>
                <a:gd name="connsiteX177" fmla="*/ 11874 w 96471"/>
                <a:gd name="connsiteY177" fmla="*/ 90572 h 117212"/>
                <a:gd name="connsiteX178" fmla="*/ 10706 w 96471"/>
                <a:gd name="connsiteY178" fmla="*/ 89733 h 117212"/>
                <a:gd name="connsiteX179" fmla="*/ 12201 w 96471"/>
                <a:gd name="connsiteY179" fmla="*/ 88575 h 117212"/>
                <a:gd name="connsiteX180" fmla="*/ 13911 w 96471"/>
                <a:gd name="connsiteY180" fmla="*/ 87871 h 117212"/>
                <a:gd name="connsiteX181" fmla="*/ 16761 w 96471"/>
                <a:gd name="connsiteY181" fmla="*/ 85473 h 117212"/>
                <a:gd name="connsiteX182" fmla="*/ 17776 w 96471"/>
                <a:gd name="connsiteY182" fmla="*/ 85108 h 117212"/>
                <a:gd name="connsiteX183" fmla="*/ 23416 w 96471"/>
                <a:gd name="connsiteY183" fmla="*/ 84525 h 117212"/>
                <a:gd name="connsiteX184" fmla="*/ 29499 w 96471"/>
                <a:gd name="connsiteY184" fmla="*/ 83263 h 117212"/>
                <a:gd name="connsiteX185" fmla="*/ 35529 w 96471"/>
                <a:gd name="connsiteY185" fmla="*/ 81519 h 117212"/>
                <a:gd name="connsiteX186" fmla="*/ 32437 w 96471"/>
                <a:gd name="connsiteY186" fmla="*/ 80544 h 117212"/>
                <a:gd name="connsiteX187" fmla="*/ 30956 w 96471"/>
                <a:gd name="connsiteY187" fmla="*/ 79257 h 117212"/>
                <a:gd name="connsiteX188" fmla="*/ 28576 w 96471"/>
                <a:gd name="connsiteY188" fmla="*/ 81858 h 117212"/>
                <a:gd name="connsiteX189" fmla="*/ 26863 w 96471"/>
                <a:gd name="connsiteY189" fmla="*/ 82852 h 117212"/>
                <a:gd name="connsiteX190" fmla="*/ 22024 w 96471"/>
                <a:gd name="connsiteY190" fmla="*/ 83383 h 117212"/>
                <a:gd name="connsiteX191" fmla="*/ 20492 w 96471"/>
                <a:gd name="connsiteY191" fmla="*/ 83091 h 117212"/>
                <a:gd name="connsiteX192" fmla="*/ 18335 w 96471"/>
                <a:gd name="connsiteY192" fmla="*/ 82284 h 117212"/>
                <a:gd name="connsiteX193" fmla="*/ 17665 w 96471"/>
                <a:gd name="connsiteY193" fmla="*/ 82592 h 117212"/>
                <a:gd name="connsiteX194" fmla="*/ 17042 w 96471"/>
                <a:gd name="connsiteY194" fmla="*/ 83215 h 117212"/>
                <a:gd name="connsiteX195" fmla="*/ 13839 w 96471"/>
                <a:gd name="connsiteY195" fmla="*/ 84489 h 117212"/>
                <a:gd name="connsiteX196" fmla="*/ 10473 w 96471"/>
                <a:gd name="connsiteY196" fmla="*/ 84794 h 117212"/>
                <a:gd name="connsiteX197" fmla="*/ 14387 w 96471"/>
                <a:gd name="connsiteY197" fmla="*/ 82456 h 117212"/>
                <a:gd name="connsiteX198" fmla="*/ 19353 w 96471"/>
                <a:gd name="connsiteY198" fmla="*/ 78489 h 117212"/>
                <a:gd name="connsiteX199" fmla="*/ 20461 w 96471"/>
                <a:gd name="connsiteY199" fmla="*/ 77234 h 117212"/>
                <a:gd name="connsiteX200" fmla="*/ 22037 w 96471"/>
                <a:gd name="connsiteY200" fmla="*/ 75050 h 117212"/>
                <a:gd name="connsiteX201" fmla="*/ 21549 w 96471"/>
                <a:gd name="connsiteY201" fmla="*/ 74078 h 117212"/>
                <a:gd name="connsiteX202" fmla="*/ 20526 w 96471"/>
                <a:gd name="connsiteY202" fmla="*/ 73524 h 117212"/>
                <a:gd name="connsiteX203" fmla="*/ 24125 w 96471"/>
                <a:gd name="connsiteY203" fmla="*/ 69022 h 117212"/>
                <a:gd name="connsiteX204" fmla="*/ 25392 w 96471"/>
                <a:gd name="connsiteY204" fmla="*/ 68204 h 117212"/>
                <a:gd name="connsiteX205" fmla="*/ 27699 w 96471"/>
                <a:gd name="connsiteY205" fmla="*/ 68072 h 117212"/>
                <a:gd name="connsiteX206" fmla="*/ 29389 w 96471"/>
                <a:gd name="connsiteY206" fmla="*/ 67357 h 117212"/>
                <a:gd name="connsiteX207" fmla="*/ 30134 w 96471"/>
                <a:gd name="connsiteY207" fmla="*/ 67354 h 117212"/>
                <a:gd name="connsiteX208" fmla="*/ 30804 w 96471"/>
                <a:gd name="connsiteY208" fmla="*/ 67088 h 117212"/>
                <a:gd name="connsiteX209" fmla="*/ 32286 w 96471"/>
                <a:gd name="connsiteY209" fmla="*/ 65736 h 117212"/>
                <a:gd name="connsiteX210" fmla="*/ 29999 w 96471"/>
                <a:gd name="connsiteY210" fmla="*/ 64876 h 117212"/>
                <a:gd name="connsiteX211" fmla="*/ 27638 w 96471"/>
                <a:gd name="connsiteY211" fmla="*/ 64433 h 117212"/>
                <a:gd name="connsiteX212" fmla="*/ 20332 w 96471"/>
                <a:gd name="connsiteY212" fmla="*/ 64902 h 117212"/>
                <a:gd name="connsiteX213" fmla="*/ 19371 w 96471"/>
                <a:gd name="connsiteY213" fmla="*/ 64801 h 117212"/>
                <a:gd name="connsiteX214" fmla="*/ 18465 w 96471"/>
                <a:gd name="connsiteY214" fmla="*/ 64386 h 117212"/>
                <a:gd name="connsiteX215" fmla="*/ 17877 w 96471"/>
                <a:gd name="connsiteY215" fmla="*/ 63787 h 117212"/>
                <a:gd name="connsiteX216" fmla="*/ 17435 w 96471"/>
                <a:gd name="connsiteY216" fmla="*/ 62252 h 117212"/>
                <a:gd name="connsiteX217" fmla="*/ 16899 w 96471"/>
                <a:gd name="connsiteY217" fmla="*/ 61909 h 117212"/>
                <a:gd name="connsiteX218" fmla="*/ 15250 w 96471"/>
                <a:gd name="connsiteY218" fmla="*/ 61909 h 117212"/>
                <a:gd name="connsiteX219" fmla="*/ 13625 w 96471"/>
                <a:gd name="connsiteY219" fmla="*/ 62378 h 117212"/>
                <a:gd name="connsiteX220" fmla="*/ 12490 w 96471"/>
                <a:gd name="connsiteY220" fmla="*/ 62333 h 117212"/>
                <a:gd name="connsiteX221" fmla="*/ 11376 w 96471"/>
                <a:gd name="connsiteY221" fmla="*/ 61660 h 117212"/>
                <a:gd name="connsiteX222" fmla="*/ 13153 w 96471"/>
                <a:gd name="connsiteY222" fmla="*/ 60088 h 117212"/>
                <a:gd name="connsiteX223" fmla="*/ 10862 w 96471"/>
                <a:gd name="connsiteY223" fmla="*/ 59718 h 117212"/>
                <a:gd name="connsiteX224" fmla="*/ 8542 w 96471"/>
                <a:gd name="connsiteY224" fmla="*/ 60027 h 117212"/>
                <a:gd name="connsiteX225" fmla="*/ 6611 w 96471"/>
                <a:gd name="connsiteY225" fmla="*/ 59551 h 117212"/>
                <a:gd name="connsiteX226" fmla="*/ 6551 w 96471"/>
                <a:gd name="connsiteY226" fmla="*/ 58564 h 117212"/>
                <a:gd name="connsiteX227" fmla="*/ 7426 w 96471"/>
                <a:gd name="connsiteY227" fmla="*/ 57579 h 117212"/>
                <a:gd name="connsiteX228" fmla="*/ 6279 w 96471"/>
                <a:gd name="connsiteY228" fmla="*/ 56644 h 117212"/>
                <a:gd name="connsiteX229" fmla="*/ 6042 w 96471"/>
                <a:gd name="connsiteY229" fmla="*/ 55462 h 117212"/>
                <a:gd name="connsiteX230" fmla="*/ 7264 w 96471"/>
                <a:gd name="connsiteY230" fmla="*/ 54881 h 117212"/>
                <a:gd name="connsiteX231" fmla="*/ 8599 w 96471"/>
                <a:gd name="connsiteY231" fmla="*/ 55074 h 117212"/>
                <a:gd name="connsiteX232" fmla="*/ 11320 w 96471"/>
                <a:gd name="connsiteY232" fmla="*/ 54199 h 117212"/>
                <a:gd name="connsiteX233" fmla="*/ 14806 w 96471"/>
                <a:gd name="connsiteY233" fmla="*/ 53774 h 117212"/>
                <a:gd name="connsiteX234" fmla="*/ 11816 w 96471"/>
                <a:gd name="connsiteY234" fmla="*/ 52911 h 117212"/>
                <a:gd name="connsiteX235" fmla="*/ 10625 w 96471"/>
                <a:gd name="connsiteY235" fmla="*/ 52171 h 117212"/>
                <a:gd name="connsiteX236" fmla="*/ 10568 w 96471"/>
                <a:gd name="connsiteY236" fmla="*/ 51038 h 117212"/>
                <a:gd name="connsiteX237" fmla="*/ 10805 w 96471"/>
                <a:gd name="connsiteY237" fmla="*/ 50068 h 117212"/>
                <a:gd name="connsiteX238" fmla="*/ 14266 w 96471"/>
                <a:gd name="connsiteY238" fmla="*/ 48427 h 117212"/>
                <a:gd name="connsiteX239" fmla="*/ 17955 w 96471"/>
                <a:gd name="connsiteY239" fmla="*/ 47703 h 117212"/>
                <a:gd name="connsiteX240" fmla="*/ 17683 w 96471"/>
                <a:gd name="connsiteY240" fmla="*/ 46621 h 117212"/>
                <a:gd name="connsiteX241" fmla="*/ 17941 w 96471"/>
                <a:gd name="connsiteY241" fmla="*/ 45450 h 117212"/>
                <a:gd name="connsiteX242" fmla="*/ 14212 w 96471"/>
                <a:gd name="connsiteY242" fmla="*/ 45112 h 117212"/>
                <a:gd name="connsiteX243" fmla="*/ 10529 w 96471"/>
                <a:gd name="connsiteY243" fmla="*/ 45938 h 117212"/>
                <a:gd name="connsiteX244" fmla="*/ 10923 w 96471"/>
                <a:gd name="connsiteY244" fmla="*/ 43700 h 117212"/>
                <a:gd name="connsiteX245" fmla="*/ 11805 w 96471"/>
                <a:gd name="connsiteY245" fmla="*/ 41678 h 117212"/>
                <a:gd name="connsiteX246" fmla="*/ 11979 w 96471"/>
                <a:gd name="connsiteY246" fmla="*/ 40343 h 117212"/>
                <a:gd name="connsiteX247" fmla="*/ 11803 w 96471"/>
                <a:gd name="connsiteY247" fmla="*/ 38914 h 117212"/>
                <a:gd name="connsiteX248" fmla="*/ 10078 w 96471"/>
                <a:gd name="connsiteY248" fmla="*/ 39525 h 117212"/>
                <a:gd name="connsiteX249" fmla="*/ 9876 w 96471"/>
                <a:gd name="connsiteY249" fmla="*/ 37509 h 117212"/>
                <a:gd name="connsiteX250" fmla="*/ 9135 w 96471"/>
                <a:gd name="connsiteY250" fmla="*/ 36125 h 117212"/>
                <a:gd name="connsiteX251" fmla="*/ 6580 w 96471"/>
                <a:gd name="connsiteY251" fmla="*/ 37078 h 117212"/>
                <a:gd name="connsiteX252" fmla="*/ 6646 w 96471"/>
                <a:gd name="connsiteY252" fmla="*/ 35252 h 117212"/>
                <a:gd name="connsiteX253" fmla="*/ 7382 w 96471"/>
                <a:gd name="connsiteY253" fmla="*/ 33975 h 117212"/>
                <a:gd name="connsiteX254" fmla="*/ 8718 w 96471"/>
                <a:gd name="connsiteY254" fmla="*/ 33420 h 117212"/>
                <a:gd name="connsiteX255" fmla="*/ 10045 w 96471"/>
                <a:gd name="connsiteY255" fmla="*/ 33661 h 117212"/>
                <a:gd name="connsiteX256" fmla="*/ 12508 w 96471"/>
                <a:gd name="connsiteY256" fmla="*/ 33637 h 117212"/>
                <a:gd name="connsiteX257" fmla="*/ 14883 w 96471"/>
                <a:gd name="connsiteY257" fmla="*/ 32677 h 117212"/>
                <a:gd name="connsiteX258" fmla="*/ 18307 w 96471"/>
                <a:gd name="connsiteY258" fmla="*/ 32430 h 117212"/>
                <a:gd name="connsiteX259" fmla="*/ 23764 w 96471"/>
                <a:gd name="connsiteY259" fmla="*/ 32732 h 117212"/>
                <a:gd name="connsiteX260" fmla="*/ 27515 w 96471"/>
                <a:gd name="connsiteY260" fmla="*/ 35441 h 117212"/>
                <a:gd name="connsiteX261" fmla="*/ 28483 w 96471"/>
                <a:gd name="connsiteY261" fmla="*/ 34957 h 117212"/>
                <a:gd name="connsiteX262" fmla="*/ 29983 w 96471"/>
                <a:gd name="connsiteY262" fmla="*/ 33245 h 117212"/>
                <a:gd name="connsiteX263" fmla="*/ 30687 w 96471"/>
                <a:gd name="connsiteY263" fmla="*/ 33056 h 117212"/>
                <a:gd name="connsiteX264" fmla="*/ 36340 w 96471"/>
                <a:gd name="connsiteY264" fmla="*/ 33802 h 117212"/>
                <a:gd name="connsiteX265" fmla="*/ 39851 w 96471"/>
                <a:gd name="connsiteY265" fmla="*/ 34787 h 117212"/>
                <a:gd name="connsiteX266" fmla="*/ 40790 w 96471"/>
                <a:gd name="connsiteY266" fmla="*/ 34480 h 117212"/>
                <a:gd name="connsiteX267" fmla="*/ 40283 w 96471"/>
                <a:gd name="connsiteY267" fmla="*/ 32580 h 117212"/>
                <a:gd name="connsiteX268" fmla="*/ 39074 w 96471"/>
                <a:gd name="connsiteY268" fmla="*/ 31262 h 117212"/>
                <a:gd name="connsiteX269" fmla="*/ 40593 w 96471"/>
                <a:gd name="connsiteY269" fmla="*/ 29534 h 117212"/>
                <a:gd name="connsiteX270" fmla="*/ 42438 w 96471"/>
                <a:gd name="connsiteY270" fmla="*/ 28363 h 117212"/>
                <a:gd name="connsiteX271" fmla="*/ 43671 w 96471"/>
                <a:gd name="connsiteY271" fmla="*/ 27779 h 117212"/>
                <a:gd name="connsiteX272" fmla="*/ 46518 w 96471"/>
                <a:gd name="connsiteY272" fmla="*/ 27053 h 117212"/>
                <a:gd name="connsiteX273" fmla="*/ 47759 w 96471"/>
                <a:gd name="connsiteY273" fmla="*/ 26369 h 117212"/>
                <a:gd name="connsiteX274" fmla="*/ 48586 w 96471"/>
                <a:gd name="connsiteY274" fmla="*/ 24143 h 117212"/>
                <a:gd name="connsiteX275" fmla="*/ 49902 w 96471"/>
                <a:gd name="connsiteY275" fmla="*/ 22287 h 117212"/>
                <a:gd name="connsiteX276" fmla="*/ 42758 w 96471"/>
                <a:gd name="connsiteY276" fmla="*/ 23252 h 117212"/>
                <a:gd name="connsiteX277" fmla="*/ 35961 w 96471"/>
                <a:gd name="connsiteY277" fmla="*/ 21052 h 117212"/>
                <a:gd name="connsiteX278" fmla="*/ 37039 w 96471"/>
                <a:gd name="connsiteY278" fmla="*/ 19495 h 117212"/>
                <a:gd name="connsiteX279" fmla="*/ 38474 w 96471"/>
                <a:gd name="connsiteY279" fmla="*/ 18612 h 117212"/>
                <a:gd name="connsiteX280" fmla="*/ 40950 w 96471"/>
                <a:gd name="connsiteY280" fmla="*/ 17935 h 117212"/>
                <a:gd name="connsiteX281" fmla="*/ 41185 w 96471"/>
                <a:gd name="connsiteY281" fmla="*/ 17122 h 117212"/>
                <a:gd name="connsiteX282" fmla="*/ 42438 w 96471"/>
                <a:gd name="connsiteY282" fmla="*/ 16446 h 117212"/>
                <a:gd name="connsiteX283" fmla="*/ 44510 w 96471"/>
                <a:gd name="connsiteY283" fmla="*/ 14669 h 117212"/>
                <a:gd name="connsiteX284" fmla="*/ 43749 w 96471"/>
                <a:gd name="connsiteY284" fmla="*/ 12346 h 117212"/>
                <a:gd name="connsiteX285" fmla="*/ 44157 w 96471"/>
                <a:gd name="connsiteY285" fmla="*/ 10646 h 117212"/>
                <a:gd name="connsiteX286" fmla="*/ 45649 w 96471"/>
                <a:gd name="connsiteY286" fmla="*/ 9537 h 117212"/>
                <a:gd name="connsiteX287" fmla="*/ 46116 w 96471"/>
                <a:gd name="connsiteY287" fmla="*/ 7945 h 117212"/>
                <a:gd name="connsiteX288" fmla="*/ 46781 w 96471"/>
                <a:gd name="connsiteY288" fmla="*/ 6772 h 117212"/>
                <a:gd name="connsiteX289" fmla="*/ 49808 w 96471"/>
                <a:gd name="connsiteY289" fmla="*/ 6352 h 117212"/>
                <a:gd name="connsiteX290" fmla="*/ 52718 w 96471"/>
                <a:gd name="connsiteY290" fmla="*/ 5261 h 117212"/>
                <a:gd name="connsiteX291" fmla="*/ 53769 w 96471"/>
                <a:gd name="connsiteY291" fmla="*/ 5367 h 117212"/>
                <a:gd name="connsiteX292" fmla="*/ 57205 w 96471"/>
                <a:gd name="connsiteY292" fmla="*/ 5115 h 117212"/>
                <a:gd name="connsiteX293" fmla="*/ 58369 w 96471"/>
                <a:gd name="connsiteY293" fmla="*/ 5555 h 117212"/>
                <a:gd name="connsiteX294" fmla="*/ 58104 w 96471"/>
                <a:gd name="connsiteY294" fmla="*/ 3626 h 117212"/>
                <a:gd name="connsiteX295" fmla="*/ 60214 w 96471"/>
                <a:gd name="connsiteY295" fmla="*/ 3375 h 117212"/>
                <a:gd name="connsiteX296" fmla="*/ 61039 w 96471"/>
                <a:gd name="connsiteY296" fmla="*/ 3760 h 117212"/>
                <a:gd name="connsiteX297" fmla="*/ 61402 w 96471"/>
                <a:gd name="connsiteY297" fmla="*/ 5127 h 117212"/>
                <a:gd name="connsiteX298" fmla="*/ 62361 w 96471"/>
                <a:gd name="connsiteY298" fmla="*/ 5999 h 117212"/>
                <a:gd name="connsiteX299" fmla="*/ 62657 w 96471"/>
                <a:gd name="connsiteY299" fmla="*/ 7513 h 117212"/>
                <a:gd name="connsiteX300" fmla="*/ 62014 w 96471"/>
                <a:gd name="connsiteY300" fmla="*/ 8682 h 117212"/>
                <a:gd name="connsiteX301" fmla="*/ 60940 w 96471"/>
                <a:gd name="connsiteY301" fmla="*/ 9582 h 117212"/>
                <a:gd name="connsiteX302" fmla="*/ 61922 w 96471"/>
                <a:gd name="connsiteY302" fmla="*/ 10503 h 117212"/>
                <a:gd name="connsiteX303" fmla="*/ 60399 w 96471"/>
                <a:gd name="connsiteY303" fmla="*/ 12166 h 117212"/>
                <a:gd name="connsiteX304" fmla="*/ 62043 w 96471"/>
                <a:gd name="connsiteY304" fmla="*/ 11458 h 117212"/>
                <a:gd name="connsiteX305" fmla="*/ 64386 w 96471"/>
                <a:gd name="connsiteY305" fmla="*/ 9829 h 117212"/>
                <a:gd name="connsiteX306" fmla="*/ 64265 w 96471"/>
                <a:gd name="connsiteY306" fmla="*/ 8496 h 117212"/>
                <a:gd name="connsiteX307" fmla="*/ 63866 w 96471"/>
                <a:gd name="connsiteY307" fmla="*/ 6820 h 117212"/>
                <a:gd name="connsiteX308" fmla="*/ 63214 w 96471"/>
                <a:gd name="connsiteY308" fmla="*/ 5307 h 117212"/>
                <a:gd name="connsiteX309" fmla="*/ 63514 w 96471"/>
                <a:gd name="connsiteY309" fmla="*/ 3639 h 117212"/>
                <a:gd name="connsiteX310" fmla="*/ 64831 w 96471"/>
                <a:gd name="connsiteY310" fmla="*/ 2595 h 117212"/>
                <a:gd name="connsiteX311" fmla="*/ 68293 w 96471"/>
                <a:gd name="connsiteY311" fmla="*/ 2070 h 117212"/>
                <a:gd name="connsiteX312" fmla="*/ 66873 w 96471"/>
                <a:gd name="connsiteY312" fmla="*/ 174 h 117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</a:cxnLst>
              <a:rect l="l" t="t" r="r" b="b"/>
              <a:pathLst>
                <a:path w="96471" h="117212">
                  <a:moveTo>
                    <a:pt x="4626" y="41297"/>
                  </a:moveTo>
                  <a:lnTo>
                    <a:pt x="5539" y="41650"/>
                  </a:lnTo>
                  <a:lnTo>
                    <a:pt x="8709" y="41699"/>
                  </a:lnTo>
                  <a:lnTo>
                    <a:pt x="9599" y="42196"/>
                  </a:lnTo>
                  <a:lnTo>
                    <a:pt x="9774" y="44442"/>
                  </a:lnTo>
                  <a:lnTo>
                    <a:pt x="9681" y="45307"/>
                  </a:lnTo>
                  <a:lnTo>
                    <a:pt x="8043" y="44217"/>
                  </a:lnTo>
                  <a:lnTo>
                    <a:pt x="7247" y="43030"/>
                  </a:lnTo>
                  <a:lnTo>
                    <a:pt x="2753" y="42485"/>
                  </a:lnTo>
                  <a:close/>
                  <a:moveTo>
                    <a:pt x="68137" y="0"/>
                  </a:moveTo>
                  <a:lnTo>
                    <a:pt x="69511" y="395"/>
                  </a:lnTo>
                  <a:lnTo>
                    <a:pt x="71531" y="1873"/>
                  </a:lnTo>
                  <a:lnTo>
                    <a:pt x="73633" y="3031"/>
                  </a:lnTo>
                  <a:lnTo>
                    <a:pt x="75813" y="3949"/>
                  </a:lnTo>
                  <a:lnTo>
                    <a:pt x="73718" y="5785"/>
                  </a:lnTo>
                  <a:lnTo>
                    <a:pt x="71143" y="7058"/>
                  </a:lnTo>
                  <a:lnTo>
                    <a:pt x="70130" y="8444"/>
                  </a:lnTo>
                  <a:lnTo>
                    <a:pt x="66631" y="10422"/>
                  </a:lnTo>
                  <a:lnTo>
                    <a:pt x="66089" y="11171"/>
                  </a:lnTo>
                  <a:lnTo>
                    <a:pt x="65103" y="14188"/>
                  </a:lnTo>
                  <a:lnTo>
                    <a:pt x="64987" y="15048"/>
                  </a:lnTo>
                  <a:lnTo>
                    <a:pt x="63861" y="16633"/>
                  </a:lnTo>
                  <a:lnTo>
                    <a:pt x="62795" y="18395"/>
                  </a:lnTo>
                  <a:lnTo>
                    <a:pt x="61555" y="19077"/>
                  </a:lnTo>
                  <a:lnTo>
                    <a:pt x="59708" y="19618"/>
                  </a:lnTo>
                  <a:lnTo>
                    <a:pt x="58658" y="20156"/>
                  </a:lnTo>
                  <a:lnTo>
                    <a:pt x="57336" y="19886"/>
                  </a:lnTo>
                  <a:lnTo>
                    <a:pt x="55662" y="19929"/>
                  </a:lnTo>
                  <a:lnTo>
                    <a:pt x="54830" y="20527"/>
                  </a:lnTo>
                  <a:lnTo>
                    <a:pt x="54871" y="20986"/>
                  </a:lnTo>
                  <a:lnTo>
                    <a:pt x="55371" y="21515"/>
                  </a:lnTo>
                  <a:lnTo>
                    <a:pt x="56837" y="22322"/>
                  </a:lnTo>
                  <a:lnTo>
                    <a:pt x="58463" y="23052"/>
                  </a:lnTo>
                  <a:lnTo>
                    <a:pt x="58284" y="23691"/>
                  </a:lnTo>
                  <a:lnTo>
                    <a:pt x="57413" y="24415"/>
                  </a:lnTo>
                  <a:lnTo>
                    <a:pt x="51873" y="26211"/>
                  </a:lnTo>
                  <a:lnTo>
                    <a:pt x="50223" y="27295"/>
                  </a:lnTo>
                  <a:lnTo>
                    <a:pt x="49651" y="28010"/>
                  </a:lnTo>
                  <a:lnTo>
                    <a:pt x="50238" y="29208"/>
                  </a:lnTo>
                  <a:lnTo>
                    <a:pt x="54656" y="32794"/>
                  </a:lnTo>
                  <a:lnTo>
                    <a:pt x="55408" y="33184"/>
                  </a:lnTo>
                  <a:lnTo>
                    <a:pt x="56061" y="35268"/>
                  </a:lnTo>
                  <a:lnTo>
                    <a:pt x="59956" y="36139"/>
                  </a:lnTo>
                  <a:lnTo>
                    <a:pt x="61553" y="37440"/>
                  </a:lnTo>
                  <a:lnTo>
                    <a:pt x="62927" y="37752"/>
                  </a:lnTo>
                  <a:lnTo>
                    <a:pt x="65912" y="37639"/>
                  </a:lnTo>
                  <a:lnTo>
                    <a:pt x="67112" y="38128"/>
                  </a:lnTo>
                  <a:lnTo>
                    <a:pt x="67790" y="37757"/>
                  </a:lnTo>
                  <a:lnTo>
                    <a:pt x="68183" y="37071"/>
                  </a:lnTo>
                  <a:lnTo>
                    <a:pt x="70696" y="35304"/>
                  </a:lnTo>
                  <a:lnTo>
                    <a:pt x="71527" y="34532"/>
                  </a:lnTo>
                  <a:lnTo>
                    <a:pt x="71028" y="33454"/>
                  </a:lnTo>
                  <a:lnTo>
                    <a:pt x="70485" y="32635"/>
                  </a:lnTo>
                  <a:lnTo>
                    <a:pt x="72013" y="31003"/>
                  </a:lnTo>
                  <a:lnTo>
                    <a:pt x="73866" y="29391"/>
                  </a:lnTo>
                  <a:lnTo>
                    <a:pt x="74795" y="29439"/>
                  </a:lnTo>
                  <a:lnTo>
                    <a:pt x="76377" y="30426"/>
                  </a:lnTo>
                  <a:lnTo>
                    <a:pt x="77680" y="31804"/>
                  </a:lnTo>
                  <a:lnTo>
                    <a:pt x="77857" y="32871"/>
                  </a:lnTo>
                  <a:lnTo>
                    <a:pt x="78097" y="33645"/>
                  </a:lnTo>
                  <a:lnTo>
                    <a:pt x="79330" y="35297"/>
                  </a:lnTo>
                  <a:lnTo>
                    <a:pt x="80126" y="35867"/>
                  </a:lnTo>
                  <a:lnTo>
                    <a:pt x="82273" y="36198"/>
                  </a:lnTo>
                  <a:lnTo>
                    <a:pt x="82773" y="36846"/>
                  </a:lnTo>
                  <a:lnTo>
                    <a:pt x="82390" y="39235"/>
                  </a:lnTo>
                  <a:lnTo>
                    <a:pt x="82709" y="40029"/>
                  </a:lnTo>
                  <a:lnTo>
                    <a:pt x="84957" y="40070"/>
                  </a:lnTo>
                  <a:lnTo>
                    <a:pt x="87342" y="39877"/>
                  </a:lnTo>
                  <a:lnTo>
                    <a:pt x="88175" y="39968"/>
                  </a:lnTo>
                  <a:lnTo>
                    <a:pt x="89036" y="39468"/>
                  </a:lnTo>
                  <a:lnTo>
                    <a:pt x="90363" y="38929"/>
                  </a:lnTo>
                  <a:lnTo>
                    <a:pt x="92257" y="39115"/>
                  </a:lnTo>
                  <a:lnTo>
                    <a:pt x="93191" y="40184"/>
                  </a:lnTo>
                  <a:lnTo>
                    <a:pt x="93607" y="41285"/>
                  </a:lnTo>
                  <a:lnTo>
                    <a:pt x="91977" y="41699"/>
                  </a:lnTo>
                  <a:lnTo>
                    <a:pt x="90275" y="41473"/>
                  </a:lnTo>
                  <a:lnTo>
                    <a:pt x="89445" y="42196"/>
                  </a:lnTo>
                  <a:lnTo>
                    <a:pt x="89391" y="43588"/>
                  </a:lnTo>
                  <a:lnTo>
                    <a:pt x="89966" y="45379"/>
                  </a:lnTo>
                  <a:lnTo>
                    <a:pt x="91104" y="46649"/>
                  </a:lnTo>
                  <a:lnTo>
                    <a:pt x="92014" y="49509"/>
                  </a:lnTo>
                  <a:lnTo>
                    <a:pt x="92768" y="52676"/>
                  </a:lnTo>
                  <a:lnTo>
                    <a:pt x="93941" y="54588"/>
                  </a:lnTo>
                  <a:lnTo>
                    <a:pt x="94182" y="56958"/>
                  </a:lnTo>
                  <a:lnTo>
                    <a:pt x="94009" y="58122"/>
                  </a:lnTo>
                  <a:lnTo>
                    <a:pt x="94223" y="60212"/>
                  </a:lnTo>
                  <a:lnTo>
                    <a:pt x="93724" y="60948"/>
                  </a:lnTo>
                  <a:lnTo>
                    <a:pt x="94098" y="62908"/>
                  </a:lnTo>
                  <a:lnTo>
                    <a:pt x="95479" y="66960"/>
                  </a:lnTo>
                  <a:lnTo>
                    <a:pt x="96082" y="69214"/>
                  </a:lnTo>
                  <a:lnTo>
                    <a:pt x="96471" y="74127"/>
                  </a:lnTo>
                  <a:lnTo>
                    <a:pt x="95497" y="75966"/>
                  </a:lnTo>
                  <a:lnTo>
                    <a:pt x="94188" y="77709"/>
                  </a:lnTo>
                  <a:lnTo>
                    <a:pt x="93333" y="79774"/>
                  </a:lnTo>
                  <a:lnTo>
                    <a:pt x="92672" y="82001"/>
                  </a:lnTo>
                  <a:lnTo>
                    <a:pt x="92274" y="85587"/>
                  </a:lnTo>
                  <a:lnTo>
                    <a:pt x="89440" y="89784"/>
                  </a:lnTo>
                  <a:lnTo>
                    <a:pt x="88234" y="90826"/>
                  </a:lnTo>
                  <a:lnTo>
                    <a:pt x="86835" y="91467"/>
                  </a:lnTo>
                  <a:lnTo>
                    <a:pt x="89891" y="94395"/>
                  </a:lnTo>
                  <a:lnTo>
                    <a:pt x="87394" y="95700"/>
                  </a:lnTo>
                  <a:lnTo>
                    <a:pt x="84671" y="96111"/>
                  </a:lnTo>
                  <a:lnTo>
                    <a:pt x="81658" y="95379"/>
                  </a:lnTo>
                  <a:lnTo>
                    <a:pt x="79781" y="95468"/>
                  </a:lnTo>
                  <a:lnTo>
                    <a:pt x="78067" y="96415"/>
                  </a:lnTo>
                  <a:lnTo>
                    <a:pt x="77392" y="96988"/>
                  </a:lnTo>
                  <a:lnTo>
                    <a:pt x="76853" y="96711"/>
                  </a:lnTo>
                  <a:lnTo>
                    <a:pt x="75722" y="94311"/>
                  </a:lnTo>
                  <a:lnTo>
                    <a:pt x="74893" y="96790"/>
                  </a:lnTo>
                  <a:lnTo>
                    <a:pt x="73157" y="97578"/>
                  </a:lnTo>
                  <a:lnTo>
                    <a:pt x="70184" y="97410"/>
                  </a:lnTo>
                  <a:lnTo>
                    <a:pt x="65217" y="98070"/>
                  </a:lnTo>
                  <a:lnTo>
                    <a:pt x="63306" y="98775"/>
                  </a:lnTo>
                  <a:lnTo>
                    <a:pt x="62512" y="99878"/>
                  </a:lnTo>
                  <a:lnTo>
                    <a:pt x="61922" y="101152"/>
                  </a:lnTo>
                  <a:lnTo>
                    <a:pt x="61147" y="101904"/>
                  </a:lnTo>
                  <a:lnTo>
                    <a:pt x="60271" y="102300"/>
                  </a:lnTo>
                  <a:lnTo>
                    <a:pt x="56436" y="103238"/>
                  </a:lnTo>
                  <a:lnTo>
                    <a:pt x="55680" y="103613"/>
                  </a:lnTo>
                  <a:lnTo>
                    <a:pt x="53904" y="105667"/>
                  </a:lnTo>
                  <a:lnTo>
                    <a:pt x="51575" y="106853"/>
                  </a:lnTo>
                  <a:lnTo>
                    <a:pt x="49646" y="107208"/>
                  </a:lnTo>
                  <a:lnTo>
                    <a:pt x="47934" y="106014"/>
                  </a:lnTo>
                  <a:lnTo>
                    <a:pt x="47230" y="105296"/>
                  </a:lnTo>
                  <a:lnTo>
                    <a:pt x="46435" y="104931"/>
                  </a:lnTo>
                  <a:lnTo>
                    <a:pt x="43805" y="104987"/>
                  </a:lnTo>
                  <a:lnTo>
                    <a:pt x="44636" y="105357"/>
                  </a:lnTo>
                  <a:lnTo>
                    <a:pt x="45172" y="106200"/>
                  </a:lnTo>
                  <a:lnTo>
                    <a:pt x="45432" y="107815"/>
                  </a:lnTo>
                  <a:lnTo>
                    <a:pt x="45133" y="109397"/>
                  </a:lnTo>
                  <a:lnTo>
                    <a:pt x="43836" y="110200"/>
                  </a:lnTo>
                  <a:lnTo>
                    <a:pt x="42287" y="110348"/>
                  </a:lnTo>
                  <a:lnTo>
                    <a:pt x="39845" y="111987"/>
                  </a:lnTo>
                  <a:lnTo>
                    <a:pt x="36612" y="112435"/>
                  </a:lnTo>
                  <a:lnTo>
                    <a:pt x="34866" y="113943"/>
                  </a:lnTo>
                  <a:lnTo>
                    <a:pt x="24185" y="116492"/>
                  </a:lnTo>
                  <a:lnTo>
                    <a:pt x="23579" y="116522"/>
                  </a:lnTo>
                  <a:lnTo>
                    <a:pt x="22105" y="115873"/>
                  </a:lnTo>
                  <a:lnTo>
                    <a:pt x="20506" y="115586"/>
                  </a:lnTo>
                  <a:lnTo>
                    <a:pt x="18914" y="115789"/>
                  </a:lnTo>
                  <a:lnTo>
                    <a:pt x="14438" y="117212"/>
                  </a:lnTo>
                  <a:lnTo>
                    <a:pt x="12270" y="116929"/>
                  </a:lnTo>
                  <a:lnTo>
                    <a:pt x="15033" y="113390"/>
                  </a:lnTo>
                  <a:lnTo>
                    <a:pt x="18748" y="111602"/>
                  </a:lnTo>
                  <a:lnTo>
                    <a:pt x="19134" y="111112"/>
                  </a:lnTo>
                  <a:lnTo>
                    <a:pt x="17920" y="110872"/>
                  </a:lnTo>
                  <a:lnTo>
                    <a:pt x="10862" y="112114"/>
                  </a:lnTo>
                  <a:lnTo>
                    <a:pt x="8410" y="113172"/>
                  </a:lnTo>
                  <a:lnTo>
                    <a:pt x="5959" y="113479"/>
                  </a:lnTo>
                  <a:lnTo>
                    <a:pt x="7094" y="111864"/>
                  </a:lnTo>
                  <a:lnTo>
                    <a:pt x="10256" y="109650"/>
                  </a:lnTo>
                  <a:lnTo>
                    <a:pt x="11952" y="108607"/>
                  </a:lnTo>
                  <a:lnTo>
                    <a:pt x="12987" y="108193"/>
                  </a:lnTo>
                  <a:lnTo>
                    <a:pt x="14168" y="106891"/>
                  </a:lnTo>
                  <a:lnTo>
                    <a:pt x="17500" y="105411"/>
                  </a:lnTo>
                  <a:lnTo>
                    <a:pt x="6767" y="108463"/>
                  </a:lnTo>
                  <a:lnTo>
                    <a:pt x="3947" y="108091"/>
                  </a:lnTo>
                  <a:lnTo>
                    <a:pt x="3283" y="107240"/>
                  </a:lnTo>
                  <a:lnTo>
                    <a:pt x="1087" y="107639"/>
                  </a:lnTo>
                  <a:lnTo>
                    <a:pt x="255" y="105579"/>
                  </a:lnTo>
                  <a:lnTo>
                    <a:pt x="3508" y="102454"/>
                  </a:lnTo>
                  <a:lnTo>
                    <a:pt x="5404" y="101109"/>
                  </a:lnTo>
                  <a:lnTo>
                    <a:pt x="7655" y="100382"/>
                  </a:lnTo>
                  <a:lnTo>
                    <a:pt x="9822" y="99339"/>
                  </a:lnTo>
                  <a:lnTo>
                    <a:pt x="10626" y="98063"/>
                  </a:lnTo>
                  <a:lnTo>
                    <a:pt x="9606" y="97656"/>
                  </a:lnTo>
                  <a:lnTo>
                    <a:pt x="3112" y="97980"/>
                  </a:lnTo>
                  <a:lnTo>
                    <a:pt x="0" y="97708"/>
                  </a:lnTo>
                  <a:lnTo>
                    <a:pt x="168" y="96696"/>
                  </a:lnTo>
                  <a:lnTo>
                    <a:pt x="742" y="95574"/>
                  </a:lnTo>
                  <a:lnTo>
                    <a:pt x="3965" y="93654"/>
                  </a:lnTo>
                  <a:lnTo>
                    <a:pt x="5708" y="93345"/>
                  </a:lnTo>
                  <a:lnTo>
                    <a:pt x="7263" y="93528"/>
                  </a:lnTo>
                  <a:lnTo>
                    <a:pt x="8781" y="94020"/>
                  </a:lnTo>
                  <a:lnTo>
                    <a:pt x="10015" y="94663"/>
                  </a:lnTo>
                  <a:lnTo>
                    <a:pt x="13668" y="94294"/>
                  </a:lnTo>
                  <a:lnTo>
                    <a:pt x="12143" y="93067"/>
                  </a:lnTo>
                  <a:lnTo>
                    <a:pt x="11874" y="90572"/>
                  </a:lnTo>
                  <a:lnTo>
                    <a:pt x="10706" y="89733"/>
                  </a:lnTo>
                  <a:lnTo>
                    <a:pt x="12201" y="88575"/>
                  </a:lnTo>
                  <a:lnTo>
                    <a:pt x="13911" y="87871"/>
                  </a:lnTo>
                  <a:lnTo>
                    <a:pt x="16761" y="85473"/>
                  </a:lnTo>
                  <a:lnTo>
                    <a:pt x="17776" y="85108"/>
                  </a:lnTo>
                  <a:lnTo>
                    <a:pt x="23416" y="84525"/>
                  </a:lnTo>
                  <a:lnTo>
                    <a:pt x="29499" y="83263"/>
                  </a:lnTo>
                  <a:lnTo>
                    <a:pt x="35529" y="81519"/>
                  </a:lnTo>
                  <a:lnTo>
                    <a:pt x="32437" y="80544"/>
                  </a:lnTo>
                  <a:lnTo>
                    <a:pt x="30956" y="79257"/>
                  </a:lnTo>
                  <a:lnTo>
                    <a:pt x="28576" y="81858"/>
                  </a:lnTo>
                  <a:lnTo>
                    <a:pt x="26863" y="82852"/>
                  </a:lnTo>
                  <a:lnTo>
                    <a:pt x="22024" y="83383"/>
                  </a:lnTo>
                  <a:lnTo>
                    <a:pt x="20492" y="83091"/>
                  </a:lnTo>
                  <a:lnTo>
                    <a:pt x="18335" y="82284"/>
                  </a:lnTo>
                  <a:lnTo>
                    <a:pt x="17665" y="82592"/>
                  </a:lnTo>
                  <a:lnTo>
                    <a:pt x="17042" y="83215"/>
                  </a:lnTo>
                  <a:lnTo>
                    <a:pt x="13839" y="84489"/>
                  </a:lnTo>
                  <a:lnTo>
                    <a:pt x="10473" y="84794"/>
                  </a:lnTo>
                  <a:lnTo>
                    <a:pt x="14387" y="82456"/>
                  </a:lnTo>
                  <a:lnTo>
                    <a:pt x="19353" y="78489"/>
                  </a:lnTo>
                  <a:lnTo>
                    <a:pt x="20461" y="77234"/>
                  </a:lnTo>
                  <a:lnTo>
                    <a:pt x="22037" y="75050"/>
                  </a:lnTo>
                  <a:lnTo>
                    <a:pt x="21549" y="74078"/>
                  </a:lnTo>
                  <a:lnTo>
                    <a:pt x="20526" y="73524"/>
                  </a:lnTo>
                  <a:lnTo>
                    <a:pt x="24125" y="69022"/>
                  </a:lnTo>
                  <a:lnTo>
                    <a:pt x="25392" y="68204"/>
                  </a:lnTo>
                  <a:lnTo>
                    <a:pt x="27699" y="68072"/>
                  </a:lnTo>
                  <a:lnTo>
                    <a:pt x="29389" y="67357"/>
                  </a:lnTo>
                  <a:lnTo>
                    <a:pt x="30134" y="67354"/>
                  </a:lnTo>
                  <a:lnTo>
                    <a:pt x="30804" y="67088"/>
                  </a:lnTo>
                  <a:lnTo>
                    <a:pt x="32286" y="65736"/>
                  </a:lnTo>
                  <a:lnTo>
                    <a:pt x="29999" y="64876"/>
                  </a:lnTo>
                  <a:lnTo>
                    <a:pt x="27638" y="64433"/>
                  </a:lnTo>
                  <a:lnTo>
                    <a:pt x="20332" y="64902"/>
                  </a:lnTo>
                  <a:lnTo>
                    <a:pt x="19371" y="64801"/>
                  </a:lnTo>
                  <a:lnTo>
                    <a:pt x="18465" y="64386"/>
                  </a:lnTo>
                  <a:lnTo>
                    <a:pt x="17877" y="63787"/>
                  </a:lnTo>
                  <a:lnTo>
                    <a:pt x="17435" y="62252"/>
                  </a:lnTo>
                  <a:lnTo>
                    <a:pt x="16899" y="61909"/>
                  </a:lnTo>
                  <a:lnTo>
                    <a:pt x="15250" y="61909"/>
                  </a:lnTo>
                  <a:lnTo>
                    <a:pt x="13625" y="62378"/>
                  </a:lnTo>
                  <a:lnTo>
                    <a:pt x="12490" y="62333"/>
                  </a:lnTo>
                  <a:lnTo>
                    <a:pt x="11376" y="61660"/>
                  </a:lnTo>
                  <a:lnTo>
                    <a:pt x="13153" y="60088"/>
                  </a:lnTo>
                  <a:lnTo>
                    <a:pt x="10862" y="59718"/>
                  </a:lnTo>
                  <a:lnTo>
                    <a:pt x="8542" y="60027"/>
                  </a:lnTo>
                  <a:lnTo>
                    <a:pt x="6611" y="59551"/>
                  </a:lnTo>
                  <a:lnTo>
                    <a:pt x="6551" y="58564"/>
                  </a:lnTo>
                  <a:lnTo>
                    <a:pt x="7426" y="57579"/>
                  </a:lnTo>
                  <a:lnTo>
                    <a:pt x="6279" y="56644"/>
                  </a:lnTo>
                  <a:lnTo>
                    <a:pt x="6042" y="55462"/>
                  </a:lnTo>
                  <a:lnTo>
                    <a:pt x="7264" y="54881"/>
                  </a:lnTo>
                  <a:lnTo>
                    <a:pt x="8599" y="55074"/>
                  </a:lnTo>
                  <a:lnTo>
                    <a:pt x="11320" y="54199"/>
                  </a:lnTo>
                  <a:lnTo>
                    <a:pt x="14806" y="53774"/>
                  </a:lnTo>
                  <a:lnTo>
                    <a:pt x="11816" y="52911"/>
                  </a:lnTo>
                  <a:lnTo>
                    <a:pt x="10625" y="52171"/>
                  </a:lnTo>
                  <a:lnTo>
                    <a:pt x="10568" y="51038"/>
                  </a:lnTo>
                  <a:lnTo>
                    <a:pt x="10805" y="50068"/>
                  </a:lnTo>
                  <a:lnTo>
                    <a:pt x="14266" y="48427"/>
                  </a:lnTo>
                  <a:lnTo>
                    <a:pt x="17955" y="47703"/>
                  </a:lnTo>
                  <a:lnTo>
                    <a:pt x="17683" y="46621"/>
                  </a:lnTo>
                  <a:lnTo>
                    <a:pt x="17941" y="45450"/>
                  </a:lnTo>
                  <a:lnTo>
                    <a:pt x="14212" y="45112"/>
                  </a:lnTo>
                  <a:lnTo>
                    <a:pt x="10529" y="45938"/>
                  </a:lnTo>
                  <a:lnTo>
                    <a:pt x="10923" y="43700"/>
                  </a:lnTo>
                  <a:lnTo>
                    <a:pt x="11805" y="41678"/>
                  </a:lnTo>
                  <a:lnTo>
                    <a:pt x="11979" y="40343"/>
                  </a:lnTo>
                  <a:lnTo>
                    <a:pt x="11803" y="38914"/>
                  </a:lnTo>
                  <a:lnTo>
                    <a:pt x="10078" y="39525"/>
                  </a:lnTo>
                  <a:lnTo>
                    <a:pt x="9876" y="37509"/>
                  </a:lnTo>
                  <a:lnTo>
                    <a:pt x="9135" y="36125"/>
                  </a:lnTo>
                  <a:lnTo>
                    <a:pt x="6580" y="37078"/>
                  </a:lnTo>
                  <a:lnTo>
                    <a:pt x="6646" y="35252"/>
                  </a:lnTo>
                  <a:lnTo>
                    <a:pt x="7382" y="33975"/>
                  </a:lnTo>
                  <a:lnTo>
                    <a:pt x="8718" y="33420"/>
                  </a:lnTo>
                  <a:lnTo>
                    <a:pt x="10045" y="33661"/>
                  </a:lnTo>
                  <a:lnTo>
                    <a:pt x="12508" y="33637"/>
                  </a:lnTo>
                  <a:lnTo>
                    <a:pt x="14883" y="32677"/>
                  </a:lnTo>
                  <a:lnTo>
                    <a:pt x="18307" y="32430"/>
                  </a:lnTo>
                  <a:lnTo>
                    <a:pt x="23764" y="32732"/>
                  </a:lnTo>
                  <a:lnTo>
                    <a:pt x="27515" y="35441"/>
                  </a:lnTo>
                  <a:lnTo>
                    <a:pt x="28483" y="34957"/>
                  </a:lnTo>
                  <a:lnTo>
                    <a:pt x="29983" y="33245"/>
                  </a:lnTo>
                  <a:lnTo>
                    <a:pt x="30687" y="33056"/>
                  </a:lnTo>
                  <a:lnTo>
                    <a:pt x="36340" y="33802"/>
                  </a:lnTo>
                  <a:lnTo>
                    <a:pt x="39851" y="34787"/>
                  </a:lnTo>
                  <a:lnTo>
                    <a:pt x="40790" y="34480"/>
                  </a:lnTo>
                  <a:lnTo>
                    <a:pt x="40283" y="32580"/>
                  </a:lnTo>
                  <a:lnTo>
                    <a:pt x="39074" y="31262"/>
                  </a:lnTo>
                  <a:lnTo>
                    <a:pt x="40593" y="29534"/>
                  </a:lnTo>
                  <a:lnTo>
                    <a:pt x="42438" y="28363"/>
                  </a:lnTo>
                  <a:lnTo>
                    <a:pt x="43671" y="27779"/>
                  </a:lnTo>
                  <a:lnTo>
                    <a:pt x="46518" y="27053"/>
                  </a:lnTo>
                  <a:lnTo>
                    <a:pt x="47759" y="26369"/>
                  </a:lnTo>
                  <a:lnTo>
                    <a:pt x="48586" y="24143"/>
                  </a:lnTo>
                  <a:lnTo>
                    <a:pt x="49902" y="22287"/>
                  </a:lnTo>
                  <a:lnTo>
                    <a:pt x="42758" y="23252"/>
                  </a:lnTo>
                  <a:lnTo>
                    <a:pt x="35961" y="21052"/>
                  </a:lnTo>
                  <a:lnTo>
                    <a:pt x="37039" y="19495"/>
                  </a:lnTo>
                  <a:lnTo>
                    <a:pt x="38474" y="18612"/>
                  </a:lnTo>
                  <a:lnTo>
                    <a:pt x="40950" y="17935"/>
                  </a:lnTo>
                  <a:lnTo>
                    <a:pt x="41185" y="17122"/>
                  </a:lnTo>
                  <a:lnTo>
                    <a:pt x="42438" y="16446"/>
                  </a:lnTo>
                  <a:lnTo>
                    <a:pt x="44510" y="14669"/>
                  </a:lnTo>
                  <a:lnTo>
                    <a:pt x="43749" y="12346"/>
                  </a:lnTo>
                  <a:lnTo>
                    <a:pt x="44157" y="10646"/>
                  </a:lnTo>
                  <a:lnTo>
                    <a:pt x="45649" y="9537"/>
                  </a:lnTo>
                  <a:lnTo>
                    <a:pt x="46116" y="7945"/>
                  </a:lnTo>
                  <a:lnTo>
                    <a:pt x="46781" y="6772"/>
                  </a:lnTo>
                  <a:lnTo>
                    <a:pt x="49808" y="6352"/>
                  </a:lnTo>
                  <a:lnTo>
                    <a:pt x="52718" y="5261"/>
                  </a:lnTo>
                  <a:lnTo>
                    <a:pt x="53769" y="5367"/>
                  </a:lnTo>
                  <a:lnTo>
                    <a:pt x="57205" y="5115"/>
                  </a:lnTo>
                  <a:lnTo>
                    <a:pt x="58369" y="5555"/>
                  </a:lnTo>
                  <a:lnTo>
                    <a:pt x="58104" y="3626"/>
                  </a:lnTo>
                  <a:lnTo>
                    <a:pt x="60214" y="3375"/>
                  </a:lnTo>
                  <a:lnTo>
                    <a:pt x="61039" y="3760"/>
                  </a:lnTo>
                  <a:lnTo>
                    <a:pt x="61402" y="5127"/>
                  </a:lnTo>
                  <a:lnTo>
                    <a:pt x="62361" y="5999"/>
                  </a:lnTo>
                  <a:lnTo>
                    <a:pt x="62657" y="7513"/>
                  </a:lnTo>
                  <a:lnTo>
                    <a:pt x="62014" y="8682"/>
                  </a:lnTo>
                  <a:lnTo>
                    <a:pt x="60940" y="9582"/>
                  </a:lnTo>
                  <a:lnTo>
                    <a:pt x="61922" y="10503"/>
                  </a:lnTo>
                  <a:lnTo>
                    <a:pt x="60399" y="12166"/>
                  </a:lnTo>
                  <a:lnTo>
                    <a:pt x="62043" y="11458"/>
                  </a:lnTo>
                  <a:lnTo>
                    <a:pt x="64386" y="9829"/>
                  </a:lnTo>
                  <a:lnTo>
                    <a:pt x="64265" y="8496"/>
                  </a:lnTo>
                  <a:lnTo>
                    <a:pt x="63866" y="6820"/>
                  </a:lnTo>
                  <a:lnTo>
                    <a:pt x="63214" y="5307"/>
                  </a:lnTo>
                  <a:lnTo>
                    <a:pt x="63514" y="3639"/>
                  </a:lnTo>
                  <a:lnTo>
                    <a:pt x="64831" y="2595"/>
                  </a:lnTo>
                  <a:lnTo>
                    <a:pt x="68293" y="2070"/>
                  </a:lnTo>
                  <a:lnTo>
                    <a:pt x="66873" y="174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ee4p_IS_1_37764">
              <a:extLst>
                <a:ext uri="{FF2B5EF4-FFF2-40B4-BE49-F238E27FC236}">
                  <a16:creationId xmlns:a16="http://schemas.microsoft.com/office/drawing/2014/main" id="{99B77342-60CA-426C-81DC-DDCEC5FED1DD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3325715" y="4227952"/>
              <a:ext cx="2272851" cy="1054333"/>
            </a:xfrm>
            <a:custGeom>
              <a:avLst/>
              <a:gdLst/>
              <a:ahLst/>
              <a:cxnLst/>
              <a:rect l="0" t="0" r="0" b="0"/>
              <a:pathLst>
                <a:path w="241456" h="112007">
                  <a:moveTo>
                    <a:pt x="197518" y="10959"/>
                  </a:moveTo>
                  <a:lnTo>
                    <a:pt x="200053" y="11095"/>
                  </a:lnTo>
                  <a:lnTo>
                    <a:pt x="204200" y="9834"/>
                  </a:lnTo>
                  <a:lnTo>
                    <a:pt x="205936" y="9005"/>
                  </a:lnTo>
                  <a:lnTo>
                    <a:pt x="210191" y="6134"/>
                  </a:lnTo>
                  <a:lnTo>
                    <a:pt x="212709" y="5334"/>
                  </a:lnTo>
                  <a:lnTo>
                    <a:pt x="216589" y="5530"/>
                  </a:lnTo>
                  <a:lnTo>
                    <a:pt x="218464" y="5330"/>
                  </a:lnTo>
                  <a:lnTo>
                    <a:pt x="218507" y="5609"/>
                  </a:lnTo>
                  <a:lnTo>
                    <a:pt x="216124" y="6776"/>
                  </a:lnTo>
                  <a:lnTo>
                    <a:pt x="214210" y="7175"/>
                  </a:lnTo>
                  <a:lnTo>
                    <a:pt x="211468" y="8910"/>
                  </a:lnTo>
                  <a:lnTo>
                    <a:pt x="208864" y="12818"/>
                  </a:lnTo>
                  <a:lnTo>
                    <a:pt x="206932" y="14734"/>
                  </a:lnTo>
                  <a:lnTo>
                    <a:pt x="206953" y="15584"/>
                  </a:lnTo>
                  <a:lnTo>
                    <a:pt x="209300" y="17092"/>
                  </a:lnTo>
                  <a:lnTo>
                    <a:pt x="211870" y="17948"/>
                  </a:lnTo>
                  <a:lnTo>
                    <a:pt x="214234" y="17172"/>
                  </a:lnTo>
                  <a:lnTo>
                    <a:pt x="215267" y="17474"/>
                  </a:lnTo>
                  <a:lnTo>
                    <a:pt x="216201" y="18595"/>
                  </a:lnTo>
                  <a:lnTo>
                    <a:pt x="216728" y="19704"/>
                  </a:lnTo>
                  <a:lnTo>
                    <a:pt x="216846" y="20802"/>
                  </a:lnTo>
                  <a:lnTo>
                    <a:pt x="216421" y="23099"/>
                  </a:lnTo>
                  <a:lnTo>
                    <a:pt x="214999" y="25404"/>
                  </a:lnTo>
                  <a:lnTo>
                    <a:pt x="213081" y="27331"/>
                  </a:lnTo>
                  <a:lnTo>
                    <a:pt x="213351" y="27937"/>
                  </a:lnTo>
                  <a:lnTo>
                    <a:pt x="214889" y="28250"/>
                  </a:lnTo>
                  <a:lnTo>
                    <a:pt x="222215" y="27002"/>
                  </a:lnTo>
                  <a:lnTo>
                    <a:pt x="222975" y="27094"/>
                  </a:lnTo>
                  <a:lnTo>
                    <a:pt x="223396" y="27715"/>
                  </a:lnTo>
                  <a:lnTo>
                    <a:pt x="223478" y="28867"/>
                  </a:lnTo>
                  <a:lnTo>
                    <a:pt x="223881" y="29908"/>
                  </a:lnTo>
                  <a:lnTo>
                    <a:pt x="224604" y="30841"/>
                  </a:lnTo>
                  <a:lnTo>
                    <a:pt x="224379" y="31794"/>
                  </a:lnTo>
                  <a:lnTo>
                    <a:pt x="221172" y="34805"/>
                  </a:lnTo>
                  <a:lnTo>
                    <a:pt x="224955" y="32910"/>
                  </a:lnTo>
                  <a:lnTo>
                    <a:pt x="227948" y="32374"/>
                  </a:lnTo>
                  <a:lnTo>
                    <a:pt x="233067" y="33327"/>
                  </a:lnTo>
                  <a:lnTo>
                    <a:pt x="235162" y="34420"/>
                  </a:lnTo>
                  <a:lnTo>
                    <a:pt x="236388" y="36341"/>
                  </a:lnTo>
                  <a:lnTo>
                    <a:pt x="238160" y="35705"/>
                  </a:lnTo>
                  <a:lnTo>
                    <a:pt x="238930" y="35742"/>
                  </a:lnTo>
                  <a:lnTo>
                    <a:pt x="240089" y="36836"/>
                  </a:lnTo>
                  <a:lnTo>
                    <a:pt x="240130" y="38003"/>
                  </a:lnTo>
                  <a:lnTo>
                    <a:pt x="239280" y="39663"/>
                  </a:lnTo>
                  <a:lnTo>
                    <a:pt x="238986" y="41195"/>
                  </a:lnTo>
                  <a:lnTo>
                    <a:pt x="238096" y="41824"/>
                  </a:lnTo>
                  <a:lnTo>
                    <a:pt x="236432" y="42279"/>
                  </a:lnTo>
                  <a:lnTo>
                    <a:pt x="235956" y="42793"/>
                  </a:lnTo>
                  <a:lnTo>
                    <a:pt x="236689" y="43959"/>
                  </a:lnTo>
                  <a:lnTo>
                    <a:pt x="237768" y="45098"/>
                  </a:lnTo>
                  <a:lnTo>
                    <a:pt x="239302" y="45151"/>
                  </a:lnTo>
                  <a:lnTo>
                    <a:pt x="239575" y="45675"/>
                  </a:lnTo>
                  <a:lnTo>
                    <a:pt x="239610" y="46308"/>
                  </a:lnTo>
                  <a:lnTo>
                    <a:pt x="239402" y="47047"/>
                  </a:lnTo>
                  <a:lnTo>
                    <a:pt x="238901" y="47556"/>
                  </a:lnTo>
                  <a:lnTo>
                    <a:pt x="238109" y="47834"/>
                  </a:lnTo>
                  <a:lnTo>
                    <a:pt x="237060" y="48649"/>
                  </a:lnTo>
                  <a:lnTo>
                    <a:pt x="240909" y="50433"/>
                  </a:lnTo>
                  <a:lnTo>
                    <a:pt x="241400" y="51094"/>
                  </a:lnTo>
                  <a:lnTo>
                    <a:pt x="241455" y="52066"/>
                  </a:lnTo>
                  <a:lnTo>
                    <a:pt x="241155" y="53128"/>
                  </a:lnTo>
                  <a:lnTo>
                    <a:pt x="240499" y="54285"/>
                  </a:lnTo>
                  <a:lnTo>
                    <a:pt x="239338" y="54971"/>
                  </a:lnTo>
                  <a:lnTo>
                    <a:pt x="236565" y="55083"/>
                  </a:lnTo>
                  <a:lnTo>
                    <a:pt x="234868" y="55832"/>
                  </a:lnTo>
                  <a:lnTo>
                    <a:pt x="235446" y="57084"/>
                  </a:lnTo>
                  <a:lnTo>
                    <a:pt x="235402" y="58662"/>
                  </a:lnTo>
                  <a:lnTo>
                    <a:pt x="234891" y="60521"/>
                  </a:lnTo>
                  <a:lnTo>
                    <a:pt x="232708" y="63332"/>
                  </a:lnTo>
                  <a:lnTo>
                    <a:pt x="230657" y="64825"/>
                  </a:lnTo>
                  <a:lnTo>
                    <a:pt x="228651" y="65793"/>
                  </a:lnTo>
                  <a:lnTo>
                    <a:pt x="225073" y="65452"/>
                  </a:lnTo>
                  <a:lnTo>
                    <a:pt x="223124" y="64706"/>
                  </a:lnTo>
                  <a:lnTo>
                    <a:pt x="223341" y="67128"/>
                  </a:lnTo>
                  <a:lnTo>
                    <a:pt x="221349" y="68618"/>
                  </a:lnTo>
                  <a:lnTo>
                    <a:pt x="221726" y="69862"/>
                  </a:lnTo>
                  <a:lnTo>
                    <a:pt x="222419" y="70494"/>
                  </a:lnTo>
                  <a:lnTo>
                    <a:pt x="222074" y="72090"/>
                  </a:lnTo>
                  <a:lnTo>
                    <a:pt x="221128" y="73668"/>
                  </a:lnTo>
                  <a:lnTo>
                    <a:pt x="219542" y="75378"/>
                  </a:lnTo>
                  <a:lnTo>
                    <a:pt x="217748" y="76444"/>
                  </a:lnTo>
                  <a:lnTo>
                    <a:pt x="214181" y="77728"/>
                  </a:lnTo>
                  <a:lnTo>
                    <a:pt x="211133" y="79863"/>
                  </a:lnTo>
                  <a:lnTo>
                    <a:pt x="209050" y="80707"/>
                  </a:lnTo>
                  <a:lnTo>
                    <a:pt x="203870" y="80671"/>
                  </a:lnTo>
                  <a:lnTo>
                    <a:pt x="198582" y="82044"/>
                  </a:lnTo>
                  <a:lnTo>
                    <a:pt x="191110" y="84933"/>
                  </a:lnTo>
                  <a:lnTo>
                    <a:pt x="186079" y="87247"/>
                  </a:lnTo>
                  <a:lnTo>
                    <a:pt x="182196" y="89863"/>
                  </a:lnTo>
                  <a:lnTo>
                    <a:pt x="177065" y="94126"/>
                  </a:lnTo>
                  <a:lnTo>
                    <a:pt x="173256" y="95918"/>
                  </a:lnTo>
                  <a:lnTo>
                    <a:pt x="171059" y="96401"/>
                  </a:lnTo>
                  <a:lnTo>
                    <a:pt x="166783" y="96782"/>
                  </a:lnTo>
                  <a:lnTo>
                    <a:pt x="163200" y="97937"/>
                  </a:lnTo>
                  <a:lnTo>
                    <a:pt x="151296" y="100099"/>
                  </a:lnTo>
                  <a:lnTo>
                    <a:pt x="147266" y="101279"/>
                  </a:lnTo>
                  <a:lnTo>
                    <a:pt x="146745" y="102354"/>
                  </a:lnTo>
                  <a:lnTo>
                    <a:pt x="145074" y="103968"/>
                  </a:lnTo>
                  <a:lnTo>
                    <a:pt x="144969" y="104551"/>
                  </a:lnTo>
                  <a:lnTo>
                    <a:pt x="145703" y="105002"/>
                  </a:lnTo>
                  <a:lnTo>
                    <a:pt x="145838" y="105587"/>
                  </a:lnTo>
                  <a:lnTo>
                    <a:pt x="144365" y="107494"/>
                  </a:lnTo>
                  <a:lnTo>
                    <a:pt x="141422" y="108873"/>
                  </a:lnTo>
                  <a:lnTo>
                    <a:pt x="140031" y="108850"/>
                  </a:lnTo>
                  <a:lnTo>
                    <a:pt x="138347" y="107664"/>
                  </a:lnTo>
                  <a:lnTo>
                    <a:pt x="137614" y="107706"/>
                  </a:lnTo>
                  <a:lnTo>
                    <a:pt x="137326" y="107887"/>
                  </a:lnTo>
                  <a:lnTo>
                    <a:pt x="137309" y="108259"/>
                  </a:lnTo>
                  <a:lnTo>
                    <a:pt x="138276" y="109682"/>
                  </a:lnTo>
                  <a:lnTo>
                    <a:pt x="136495" y="110345"/>
                  </a:lnTo>
                  <a:lnTo>
                    <a:pt x="128738" y="112006"/>
                  </a:lnTo>
                  <a:lnTo>
                    <a:pt x="115546" y="110773"/>
                  </a:lnTo>
                  <a:lnTo>
                    <a:pt x="110320" y="109496"/>
                  </a:lnTo>
                  <a:lnTo>
                    <a:pt x="103870" y="107465"/>
                  </a:lnTo>
                  <a:lnTo>
                    <a:pt x="100029" y="106923"/>
                  </a:lnTo>
                  <a:lnTo>
                    <a:pt x="94585" y="106791"/>
                  </a:lnTo>
                  <a:lnTo>
                    <a:pt x="90112" y="103942"/>
                  </a:lnTo>
                  <a:lnTo>
                    <a:pt x="88042" y="102179"/>
                  </a:lnTo>
                  <a:lnTo>
                    <a:pt x="87876" y="101447"/>
                  </a:lnTo>
                  <a:lnTo>
                    <a:pt x="88109" y="100612"/>
                  </a:lnTo>
                  <a:lnTo>
                    <a:pt x="88575" y="100043"/>
                  </a:lnTo>
                  <a:lnTo>
                    <a:pt x="89271" y="99734"/>
                  </a:lnTo>
                  <a:lnTo>
                    <a:pt x="90747" y="99703"/>
                  </a:lnTo>
                  <a:lnTo>
                    <a:pt x="90939" y="99454"/>
                  </a:lnTo>
                  <a:lnTo>
                    <a:pt x="89813" y="98040"/>
                  </a:lnTo>
                  <a:lnTo>
                    <a:pt x="88736" y="98498"/>
                  </a:lnTo>
                  <a:lnTo>
                    <a:pt x="85855" y="100494"/>
                  </a:lnTo>
                  <a:lnTo>
                    <a:pt x="84573" y="100422"/>
                  </a:lnTo>
                  <a:lnTo>
                    <a:pt x="82890" y="99425"/>
                  </a:lnTo>
                  <a:lnTo>
                    <a:pt x="82826" y="98455"/>
                  </a:lnTo>
                  <a:lnTo>
                    <a:pt x="79535" y="98084"/>
                  </a:lnTo>
                  <a:lnTo>
                    <a:pt x="76676" y="96872"/>
                  </a:lnTo>
                  <a:lnTo>
                    <a:pt x="73835" y="95127"/>
                  </a:lnTo>
                  <a:lnTo>
                    <a:pt x="73411" y="94461"/>
                  </a:lnTo>
                  <a:lnTo>
                    <a:pt x="74775" y="93489"/>
                  </a:lnTo>
                  <a:lnTo>
                    <a:pt x="74512" y="93298"/>
                  </a:lnTo>
                  <a:lnTo>
                    <a:pt x="73485" y="93133"/>
                  </a:lnTo>
                  <a:lnTo>
                    <a:pt x="71410" y="93453"/>
                  </a:lnTo>
                  <a:lnTo>
                    <a:pt x="68284" y="95660"/>
                  </a:lnTo>
                  <a:lnTo>
                    <a:pt x="66934" y="96167"/>
                  </a:lnTo>
                  <a:lnTo>
                    <a:pt x="46504" y="96683"/>
                  </a:lnTo>
                  <a:lnTo>
                    <a:pt x="41323" y="96911"/>
                  </a:lnTo>
                  <a:lnTo>
                    <a:pt x="40321" y="97246"/>
                  </a:lnTo>
                  <a:lnTo>
                    <a:pt x="39418" y="95811"/>
                  </a:lnTo>
                  <a:lnTo>
                    <a:pt x="38614" y="92606"/>
                  </a:lnTo>
                  <a:lnTo>
                    <a:pt x="38314" y="90492"/>
                  </a:lnTo>
                  <a:lnTo>
                    <a:pt x="38520" y="89468"/>
                  </a:lnTo>
                  <a:lnTo>
                    <a:pt x="39238" y="88238"/>
                  </a:lnTo>
                  <a:lnTo>
                    <a:pt x="40349" y="88447"/>
                  </a:lnTo>
                  <a:lnTo>
                    <a:pt x="41407" y="89425"/>
                  </a:lnTo>
                  <a:lnTo>
                    <a:pt x="42364" y="90811"/>
                  </a:lnTo>
                  <a:lnTo>
                    <a:pt x="43464" y="91478"/>
                  </a:lnTo>
                  <a:lnTo>
                    <a:pt x="50595" y="89792"/>
                  </a:lnTo>
                  <a:lnTo>
                    <a:pt x="53490" y="88657"/>
                  </a:lnTo>
                  <a:lnTo>
                    <a:pt x="54721" y="87579"/>
                  </a:lnTo>
                  <a:lnTo>
                    <a:pt x="56170" y="85743"/>
                  </a:lnTo>
                  <a:lnTo>
                    <a:pt x="57707" y="84803"/>
                  </a:lnTo>
                  <a:lnTo>
                    <a:pt x="58441" y="83914"/>
                  </a:lnTo>
                  <a:lnTo>
                    <a:pt x="59882" y="81098"/>
                  </a:lnTo>
                  <a:lnTo>
                    <a:pt x="60877" y="79789"/>
                  </a:lnTo>
                  <a:lnTo>
                    <a:pt x="62069" y="78822"/>
                  </a:lnTo>
                  <a:lnTo>
                    <a:pt x="63455" y="78198"/>
                  </a:lnTo>
                  <a:lnTo>
                    <a:pt x="66609" y="77752"/>
                  </a:lnTo>
                  <a:lnTo>
                    <a:pt x="64534" y="77088"/>
                  </a:lnTo>
                  <a:lnTo>
                    <a:pt x="62555" y="77088"/>
                  </a:lnTo>
                  <a:lnTo>
                    <a:pt x="55821" y="80068"/>
                  </a:lnTo>
                  <a:lnTo>
                    <a:pt x="53563" y="80068"/>
                  </a:lnTo>
                  <a:lnTo>
                    <a:pt x="53658" y="79604"/>
                  </a:lnTo>
                  <a:lnTo>
                    <a:pt x="54610" y="78763"/>
                  </a:lnTo>
                  <a:lnTo>
                    <a:pt x="56926" y="77310"/>
                  </a:lnTo>
                  <a:lnTo>
                    <a:pt x="55335" y="77200"/>
                  </a:lnTo>
                  <a:lnTo>
                    <a:pt x="54728" y="76543"/>
                  </a:lnTo>
                  <a:lnTo>
                    <a:pt x="54658" y="75156"/>
                  </a:lnTo>
                  <a:lnTo>
                    <a:pt x="55841" y="72921"/>
                  </a:lnTo>
                  <a:lnTo>
                    <a:pt x="61323" y="69970"/>
                  </a:lnTo>
                  <a:lnTo>
                    <a:pt x="63219" y="69535"/>
                  </a:lnTo>
                  <a:lnTo>
                    <a:pt x="63795" y="68951"/>
                  </a:lnTo>
                  <a:lnTo>
                    <a:pt x="63076" y="68474"/>
                  </a:lnTo>
                  <a:lnTo>
                    <a:pt x="61930" y="68190"/>
                  </a:lnTo>
                  <a:lnTo>
                    <a:pt x="56414" y="71227"/>
                  </a:lnTo>
                  <a:lnTo>
                    <a:pt x="52399" y="72277"/>
                  </a:lnTo>
                  <a:lnTo>
                    <a:pt x="51205" y="72072"/>
                  </a:lnTo>
                  <a:lnTo>
                    <a:pt x="49128" y="70894"/>
                  </a:lnTo>
                  <a:lnTo>
                    <a:pt x="48459" y="70370"/>
                  </a:lnTo>
                  <a:lnTo>
                    <a:pt x="47563" y="69021"/>
                  </a:lnTo>
                  <a:lnTo>
                    <a:pt x="47664" y="68207"/>
                  </a:lnTo>
                  <a:lnTo>
                    <a:pt x="49577" y="65823"/>
                  </a:lnTo>
                  <a:lnTo>
                    <a:pt x="49269" y="65361"/>
                  </a:lnTo>
                  <a:lnTo>
                    <a:pt x="47953" y="65125"/>
                  </a:lnTo>
                  <a:lnTo>
                    <a:pt x="44415" y="62927"/>
                  </a:lnTo>
                  <a:lnTo>
                    <a:pt x="38815" y="63147"/>
                  </a:lnTo>
                  <a:lnTo>
                    <a:pt x="24958" y="61874"/>
                  </a:lnTo>
                  <a:lnTo>
                    <a:pt x="22095" y="62414"/>
                  </a:lnTo>
                  <a:lnTo>
                    <a:pt x="17374" y="64301"/>
                  </a:lnTo>
                  <a:lnTo>
                    <a:pt x="14521" y="64923"/>
                  </a:lnTo>
                  <a:lnTo>
                    <a:pt x="13203" y="64512"/>
                  </a:lnTo>
                  <a:lnTo>
                    <a:pt x="12005" y="63515"/>
                  </a:lnTo>
                  <a:lnTo>
                    <a:pt x="10917" y="62170"/>
                  </a:lnTo>
                  <a:lnTo>
                    <a:pt x="9940" y="60475"/>
                  </a:lnTo>
                  <a:lnTo>
                    <a:pt x="10363" y="59292"/>
                  </a:lnTo>
                  <a:lnTo>
                    <a:pt x="12190" y="58618"/>
                  </a:lnTo>
                  <a:lnTo>
                    <a:pt x="13530" y="58298"/>
                  </a:lnTo>
                  <a:lnTo>
                    <a:pt x="17302" y="58708"/>
                  </a:lnTo>
                  <a:lnTo>
                    <a:pt x="21899" y="57520"/>
                  </a:lnTo>
                  <a:lnTo>
                    <a:pt x="24832" y="57271"/>
                  </a:lnTo>
                  <a:lnTo>
                    <a:pt x="25674" y="57084"/>
                  </a:lnTo>
                  <a:lnTo>
                    <a:pt x="27401" y="55818"/>
                  </a:lnTo>
                  <a:lnTo>
                    <a:pt x="28252" y="55499"/>
                  </a:lnTo>
                  <a:lnTo>
                    <a:pt x="29581" y="55943"/>
                  </a:lnTo>
                  <a:lnTo>
                    <a:pt x="30224" y="56802"/>
                  </a:lnTo>
                  <a:lnTo>
                    <a:pt x="34852" y="55467"/>
                  </a:lnTo>
                  <a:lnTo>
                    <a:pt x="36441" y="54797"/>
                  </a:lnTo>
                  <a:lnTo>
                    <a:pt x="36620" y="54387"/>
                  </a:lnTo>
                  <a:lnTo>
                    <a:pt x="37316" y="53906"/>
                  </a:lnTo>
                  <a:lnTo>
                    <a:pt x="39618" y="54629"/>
                  </a:lnTo>
                  <a:lnTo>
                    <a:pt x="41482" y="54652"/>
                  </a:lnTo>
                  <a:lnTo>
                    <a:pt x="43809" y="54155"/>
                  </a:lnTo>
                  <a:lnTo>
                    <a:pt x="47922" y="53936"/>
                  </a:lnTo>
                  <a:lnTo>
                    <a:pt x="57127" y="53823"/>
                  </a:lnTo>
                  <a:lnTo>
                    <a:pt x="58506" y="52733"/>
                  </a:lnTo>
                  <a:lnTo>
                    <a:pt x="59155" y="51769"/>
                  </a:lnTo>
                  <a:lnTo>
                    <a:pt x="59967" y="49327"/>
                  </a:lnTo>
                  <a:lnTo>
                    <a:pt x="59608" y="48823"/>
                  </a:lnTo>
                  <a:lnTo>
                    <a:pt x="53858" y="51073"/>
                  </a:lnTo>
                  <a:lnTo>
                    <a:pt x="52546" y="51038"/>
                  </a:lnTo>
                  <a:lnTo>
                    <a:pt x="45891" y="49846"/>
                  </a:lnTo>
                  <a:lnTo>
                    <a:pt x="43486" y="48496"/>
                  </a:lnTo>
                  <a:lnTo>
                    <a:pt x="44274" y="47412"/>
                  </a:lnTo>
                  <a:lnTo>
                    <a:pt x="47800" y="45075"/>
                  </a:lnTo>
                  <a:lnTo>
                    <a:pt x="51441" y="43199"/>
                  </a:lnTo>
                  <a:lnTo>
                    <a:pt x="56799" y="41169"/>
                  </a:lnTo>
                  <a:lnTo>
                    <a:pt x="58054" y="40379"/>
                  </a:lnTo>
                  <a:lnTo>
                    <a:pt x="58184" y="39444"/>
                  </a:lnTo>
                  <a:lnTo>
                    <a:pt x="54615" y="37775"/>
                  </a:lnTo>
                  <a:lnTo>
                    <a:pt x="47855" y="38236"/>
                  </a:lnTo>
                  <a:lnTo>
                    <a:pt x="46125" y="36254"/>
                  </a:lnTo>
                  <a:lnTo>
                    <a:pt x="40511" y="35080"/>
                  </a:lnTo>
                  <a:lnTo>
                    <a:pt x="36773" y="35818"/>
                  </a:lnTo>
                  <a:lnTo>
                    <a:pt x="34787" y="34619"/>
                  </a:lnTo>
                  <a:lnTo>
                    <a:pt x="29931" y="36277"/>
                  </a:lnTo>
                  <a:lnTo>
                    <a:pt x="19263" y="38675"/>
                  </a:lnTo>
                  <a:lnTo>
                    <a:pt x="15018" y="40335"/>
                  </a:lnTo>
                  <a:lnTo>
                    <a:pt x="12732" y="40884"/>
                  </a:lnTo>
                  <a:lnTo>
                    <a:pt x="10098" y="39529"/>
                  </a:lnTo>
                  <a:lnTo>
                    <a:pt x="5566" y="38001"/>
                  </a:lnTo>
                  <a:lnTo>
                    <a:pt x="462" y="37525"/>
                  </a:lnTo>
                  <a:lnTo>
                    <a:pt x="0" y="36624"/>
                  </a:lnTo>
                  <a:lnTo>
                    <a:pt x="2977" y="33865"/>
                  </a:lnTo>
                  <a:lnTo>
                    <a:pt x="5014" y="33366"/>
                  </a:lnTo>
                  <a:lnTo>
                    <a:pt x="7067" y="33619"/>
                  </a:lnTo>
                  <a:lnTo>
                    <a:pt x="10983" y="35544"/>
                  </a:lnTo>
                  <a:lnTo>
                    <a:pt x="13686" y="36146"/>
                  </a:lnTo>
                  <a:lnTo>
                    <a:pt x="10297" y="33321"/>
                  </a:lnTo>
                  <a:lnTo>
                    <a:pt x="10385" y="32234"/>
                  </a:lnTo>
                  <a:lnTo>
                    <a:pt x="10130" y="30606"/>
                  </a:lnTo>
                  <a:lnTo>
                    <a:pt x="9080" y="29906"/>
                  </a:lnTo>
                  <a:lnTo>
                    <a:pt x="8044" y="28102"/>
                  </a:lnTo>
                  <a:lnTo>
                    <a:pt x="8470" y="27493"/>
                  </a:lnTo>
                  <a:lnTo>
                    <a:pt x="9801" y="27279"/>
                  </a:lnTo>
                  <a:lnTo>
                    <a:pt x="12529" y="27889"/>
                  </a:lnTo>
                  <a:lnTo>
                    <a:pt x="19011" y="31018"/>
                  </a:lnTo>
                  <a:lnTo>
                    <a:pt x="22194" y="30464"/>
                  </a:lnTo>
                  <a:lnTo>
                    <a:pt x="23941" y="29311"/>
                  </a:lnTo>
                  <a:lnTo>
                    <a:pt x="26321" y="28456"/>
                  </a:lnTo>
                  <a:lnTo>
                    <a:pt x="25645" y="28010"/>
                  </a:lnTo>
                  <a:lnTo>
                    <a:pt x="20042" y="27957"/>
                  </a:lnTo>
                  <a:lnTo>
                    <a:pt x="17047" y="27320"/>
                  </a:lnTo>
                  <a:lnTo>
                    <a:pt x="15532" y="26404"/>
                  </a:lnTo>
                  <a:lnTo>
                    <a:pt x="14220" y="24841"/>
                  </a:lnTo>
                  <a:lnTo>
                    <a:pt x="14682" y="24123"/>
                  </a:lnTo>
                  <a:lnTo>
                    <a:pt x="16239" y="23551"/>
                  </a:lnTo>
                  <a:lnTo>
                    <a:pt x="21023" y="23717"/>
                  </a:lnTo>
                  <a:lnTo>
                    <a:pt x="17871" y="21005"/>
                  </a:lnTo>
                  <a:lnTo>
                    <a:pt x="15680" y="19445"/>
                  </a:lnTo>
                  <a:lnTo>
                    <a:pt x="15442" y="18691"/>
                  </a:lnTo>
                  <a:lnTo>
                    <a:pt x="15592" y="17744"/>
                  </a:lnTo>
                  <a:lnTo>
                    <a:pt x="15889" y="17110"/>
                  </a:lnTo>
                  <a:lnTo>
                    <a:pt x="16330" y="16793"/>
                  </a:lnTo>
                  <a:lnTo>
                    <a:pt x="21821" y="18380"/>
                  </a:lnTo>
                  <a:lnTo>
                    <a:pt x="23023" y="18448"/>
                  </a:lnTo>
                  <a:lnTo>
                    <a:pt x="21913" y="17422"/>
                  </a:lnTo>
                  <a:lnTo>
                    <a:pt x="19506" y="15915"/>
                  </a:lnTo>
                  <a:lnTo>
                    <a:pt x="19396" y="15349"/>
                  </a:lnTo>
                  <a:lnTo>
                    <a:pt x="20410" y="14883"/>
                  </a:lnTo>
                  <a:lnTo>
                    <a:pt x="20911" y="14023"/>
                  </a:lnTo>
                  <a:lnTo>
                    <a:pt x="20957" y="13312"/>
                  </a:lnTo>
                  <a:lnTo>
                    <a:pt x="22624" y="12703"/>
                  </a:lnTo>
                  <a:lnTo>
                    <a:pt x="24304" y="12676"/>
                  </a:lnTo>
                  <a:lnTo>
                    <a:pt x="25997" y="13231"/>
                  </a:lnTo>
                  <a:lnTo>
                    <a:pt x="31247" y="16178"/>
                  </a:lnTo>
                  <a:lnTo>
                    <a:pt x="32000" y="17004"/>
                  </a:lnTo>
                  <a:lnTo>
                    <a:pt x="32248" y="18093"/>
                  </a:lnTo>
                  <a:lnTo>
                    <a:pt x="31991" y="19441"/>
                  </a:lnTo>
                  <a:lnTo>
                    <a:pt x="32210" y="19987"/>
                  </a:lnTo>
                  <a:lnTo>
                    <a:pt x="34262" y="19523"/>
                  </a:lnTo>
                  <a:lnTo>
                    <a:pt x="35898" y="20091"/>
                  </a:lnTo>
                  <a:lnTo>
                    <a:pt x="36714" y="19938"/>
                  </a:lnTo>
                  <a:lnTo>
                    <a:pt x="38748" y="17907"/>
                  </a:lnTo>
                  <a:lnTo>
                    <a:pt x="40152" y="18386"/>
                  </a:lnTo>
                  <a:lnTo>
                    <a:pt x="40998" y="19336"/>
                  </a:lnTo>
                  <a:lnTo>
                    <a:pt x="41261" y="20195"/>
                  </a:lnTo>
                  <a:lnTo>
                    <a:pt x="41386" y="21374"/>
                  </a:lnTo>
                  <a:lnTo>
                    <a:pt x="41028" y="23829"/>
                  </a:lnTo>
                  <a:lnTo>
                    <a:pt x="41121" y="24175"/>
                  </a:lnTo>
                  <a:lnTo>
                    <a:pt x="42546" y="22790"/>
                  </a:lnTo>
                  <a:lnTo>
                    <a:pt x="44976" y="22685"/>
                  </a:lnTo>
                  <a:lnTo>
                    <a:pt x="45289" y="21988"/>
                  </a:lnTo>
                  <a:lnTo>
                    <a:pt x="45362" y="19404"/>
                  </a:lnTo>
                  <a:lnTo>
                    <a:pt x="45165" y="17224"/>
                  </a:lnTo>
                  <a:lnTo>
                    <a:pt x="44896" y="16772"/>
                  </a:lnTo>
                  <a:lnTo>
                    <a:pt x="36911" y="13746"/>
                  </a:lnTo>
                  <a:lnTo>
                    <a:pt x="35522" y="13031"/>
                  </a:lnTo>
                  <a:lnTo>
                    <a:pt x="33782" y="11538"/>
                  </a:lnTo>
                  <a:lnTo>
                    <a:pt x="34134" y="10787"/>
                  </a:lnTo>
                  <a:lnTo>
                    <a:pt x="35690" y="10116"/>
                  </a:lnTo>
                  <a:lnTo>
                    <a:pt x="38036" y="9849"/>
                  </a:lnTo>
                  <a:lnTo>
                    <a:pt x="43479" y="9884"/>
                  </a:lnTo>
                  <a:lnTo>
                    <a:pt x="44031" y="9570"/>
                  </a:lnTo>
                  <a:lnTo>
                    <a:pt x="42976" y="8783"/>
                  </a:lnTo>
                  <a:lnTo>
                    <a:pt x="40456" y="8274"/>
                  </a:lnTo>
                  <a:lnTo>
                    <a:pt x="39867" y="7820"/>
                  </a:lnTo>
                  <a:lnTo>
                    <a:pt x="39568" y="6945"/>
                  </a:lnTo>
                  <a:lnTo>
                    <a:pt x="36581" y="7423"/>
                  </a:lnTo>
                  <a:lnTo>
                    <a:pt x="33249" y="7442"/>
                  </a:lnTo>
                  <a:lnTo>
                    <a:pt x="30045" y="6907"/>
                  </a:lnTo>
                  <a:lnTo>
                    <a:pt x="29979" y="6226"/>
                  </a:lnTo>
                  <a:lnTo>
                    <a:pt x="31244" y="5226"/>
                  </a:lnTo>
                  <a:lnTo>
                    <a:pt x="33861" y="3565"/>
                  </a:lnTo>
                  <a:lnTo>
                    <a:pt x="35080" y="3153"/>
                  </a:lnTo>
                  <a:lnTo>
                    <a:pt x="38739" y="3443"/>
                  </a:lnTo>
                  <a:lnTo>
                    <a:pt x="42375" y="2977"/>
                  </a:lnTo>
                  <a:lnTo>
                    <a:pt x="45320" y="3540"/>
                  </a:lnTo>
                  <a:lnTo>
                    <a:pt x="47656" y="5185"/>
                  </a:lnTo>
                  <a:lnTo>
                    <a:pt x="50979" y="8069"/>
                  </a:lnTo>
                  <a:lnTo>
                    <a:pt x="55473" y="9913"/>
                  </a:lnTo>
                  <a:lnTo>
                    <a:pt x="55884" y="10491"/>
                  </a:lnTo>
                  <a:lnTo>
                    <a:pt x="58275" y="11999"/>
                  </a:lnTo>
                  <a:lnTo>
                    <a:pt x="63028" y="16051"/>
                  </a:lnTo>
                  <a:lnTo>
                    <a:pt x="67857" y="18398"/>
                  </a:lnTo>
                  <a:lnTo>
                    <a:pt x="68081" y="18995"/>
                  </a:lnTo>
                  <a:lnTo>
                    <a:pt x="67287" y="19697"/>
                  </a:lnTo>
                  <a:lnTo>
                    <a:pt x="65430" y="20520"/>
                  </a:lnTo>
                  <a:lnTo>
                    <a:pt x="65855" y="20976"/>
                  </a:lnTo>
                  <a:lnTo>
                    <a:pt x="68280" y="21572"/>
                  </a:lnTo>
                  <a:lnTo>
                    <a:pt x="70027" y="23159"/>
                  </a:lnTo>
                  <a:lnTo>
                    <a:pt x="70145" y="23847"/>
                  </a:lnTo>
                  <a:lnTo>
                    <a:pt x="68565" y="28751"/>
                  </a:lnTo>
                  <a:lnTo>
                    <a:pt x="67726" y="29791"/>
                  </a:lnTo>
                  <a:lnTo>
                    <a:pt x="66758" y="30340"/>
                  </a:lnTo>
                  <a:lnTo>
                    <a:pt x="62295" y="29418"/>
                  </a:lnTo>
                  <a:lnTo>
                    <a:pt x="63359" y="30975"/>
                  </a:lnTo>
                  <a:lnTo>
                    <a:pt x="66545" y="32633"/>
                  </a:lnTo>
                  <a:lnTo>
                    <a:pt x="67266" y="33559"/>
                  </a:lnTo>
                  <a:lnTo>
                    <a:pt x="66791" y="34466"/>
                  </a:lnTo>
                  <a:lnTo>
                    <a:pt x="67139" y="34676"/>
                  </a:lnTo>
                  <a:lnTo>
                    <a:pt x="68305" y="34185"/>
                  </a:lnTo>
                  <a:lnTo>
                    <a:pt x="68789" y="34700"/>
                  </a:lnTo>
                  <a:lnTo>
                    <a:pt x="68588" y="36218"/>
                  </a:lnTo>
                  <a:lnTo>
                    <a:pt x="68091" y="37477"/>
                  </a:lnTo>
                  <a:lnTo>
                    <a:pt x="67298" y="38476"/>
                  </a:lnTo>
                  <a:lnTo>
                    <a:pt x="67526" y="38908"/>
                  </a:lnTo>
                  <a:lnTo>
                    <a:pt x="68773" y="38775"/>
                  </a:lnTo>
                  <a:lnTo>
                    <a:pt x="69943" y="39034"/>
                  </a:lnTo>
                  <a:lnTo>
                    <a:pt x="71769" y="40412"/>
                  </a:lnTo>
                  <a:lnTo>
                    <a:pt x="73251" y="44619"/>
                  </a:lnTo>
                  <a:lnTo>
                    <a:pt x="73987" y="45978"/>
                  </a:lnTo>
                  <a:lnTo>
                    <a:pt x="74517" y="44772"/>
                  </a:lnTo>
                  <a:lnTo>
                    <a:pt x="75183" y="41702"/>
                  </a:lnTo>
                  <a:lnTo>
                    <a:pt x="75809" y="40132"/>
                  </a:lnTo>
                  <a:lnTo>
                    <a:pt x="76394" y="40063"/>
                  </a:lnTo>
                  <a:lnTo>
                    <a:pt x="76899" y="39546"/>
                  </a:lnTo>
                  <a:lnTo>
                    <a:pt x="77322" y="38581"/>
                  </a:lnTo>
                  <a:lnTo>
                    <a:pt x="78187" y="35174"/>
                  </a:lnTo>
                  <a:lnTo>
                    <a:pt x="81181" y="32587"/>
                  </a:lnTo>
                  <a:lnTo>
                    <a:pt x="82610" y="31794"/>
                  </a:lnTo>
                  <a:lnTo>
                    <a:pt x="83954" y="31618"/>
                  </a:lnTo>
                  <a:lnTo>
                    <a:pt x="84607" y="31941"/>
                  </a:lnTo>
                  <a:lnTo>
                    <a:pt x="86846" y="34654"/>
                  </a:lnTo>
                  <a:lnTo>
                    <a:pt x="88209" y="35110"/>
                  </a:lnTo>
                  <a:lnTo>
                    <a:pt x="88909" y="34961"/>
                  </a:lnTo>
                  <a:lnTo>
                    <a:pt x="89867" y="33121"/>
                  </a:lnTo>
                  <a:lnTo>
                    <a:pt x="91081" y="29583"/>
                  </a:lnTo>
                  <a:lnTo>
                    <a:pt x="91358" y="25625"/>
                  </a:lnTo>
                  <a:lnTo>
                    <a:pt x="90698" y="21246"/>
                  </a:lnTo>
                  <a:lnTo>
                    <a:pt x="91082" y="18118"/>
                  </a:lnTo>
                  <a:lnTo>
                    <a:pt x="92507" y="16246"/>
                  </a:lnTo>
                  <a:lnTo>
                    <a:pt x="94378" y="15670"/>
                  </a:lnTo>
                  <a:lnTo>
                    <a:pt x="96696" y="16389"/>
                  </a:lnTo>
                  <a:lnTo>
                    <a:pt x="98390" y="17531"/>
                  </a:lnTo>
                  <a:lnTo>
                    <a:pt x="101736" y="21888"/>
                  </a:lnTo>
                  <a:lnTo>
                    <a:pt x="104437" y="24164"/>
                  </a:lnTo>
                  <a:lnTo>
                    <a:pt x="106754" y="26607"/>
                  </a:lnTo>
                  <a:lnTo>
                    <a:pt x="107954" y="27398"/>
                  </a:lnTo>
                  <a:lnTo>
                    <a:pt x="110251" y="27799"/>
                  </a:lnTo>
                  <a:lnTo>
                    <a:pt x="110867" y="27642"/>
                  </a:lnTo>
                  <a:lnTo>
                    <a:pt x="111277" y="27078"/>
                  </a:lnTo>
                  <a:lnTo>
                    <a:pt x="111485" y="26109"/>
                  </a:lnTo>
                  <a:lnTo>
                    <a:pt x="110990" y="19886"/>
                  </a:lnTo>
                  <a:lnTo>
                    <a:pt x="111636" y="17944"/>
                  </a:lnTo>
                  <a:lnTo>
                    <a:pt x="112611" y="16564"/>
                  </a:lnTo>
                  <a:lnTo>
                    <a:pt x="116760" y="15750"/>
                  </a:lnTo>
                  <a:lnTo>
                    <a:pt x="119018" y="14884"/>
                  </a:lnTo>
                  <a:lnTo>
                    <a:pt x="121217" y="13461"/>
                  </a:lnTo>
                  <a:lnTo>
                    <a:pt x="123040" y="12698"/>
                  </a:lnTo>
                  <a:lnTo>
                    <a:pt x="124487" y="12595"/>
                  </a:lnTo>
                  <a:lnTo>
                    <a:pt x="125998" y="13151"/>
                  </a:lnTo>
                  <a:lnTo>
                    <a:pt x="127576" y="14363"/>
                  </a:lnTo>
                  <a:lnTo>
                    <a:pt x="130036" y="16724"/>
                  </a:lnTo>
                  <a:lnTo>
                    <a:pt x="133131" y="20630"/>
                  </a:lnTo>
                  <a:lnTo>
                    <a:pt x="137067" y="23546"/>
                  </a:lnTo>
                  <a:lnTo>
                    <a:pt x="139130" y="28165"/>
                  </a:lnTo>
                  <a:lnTo>
                    <a:pt x="139571" y="28945"/>
                  </a:lnTo>
                  <a:lnTo>
                    <a:pt x="140052" y="29036"/>
                  </a:lnTo>
                  <a:lnTo>
                    <a:pt x="140573" y="28437"/>
                  </a:lnTo>
                  <a:lnTo>
                    <a:pt x="140906" y="27585"/>
                  </a:lnTo>
                  <a:lnTo>
                    <a:pt x="141001" y="25532"/>
                  </a:lnTo>
                  <a:lnTo>
                    <a:pt x="139899" y="22804"/>
                  </a:lnTo>
                  <a:lnTo>
                    <a:pt x="136218" y="15924"/>
                  </a:lnTo>
                  <a:lnTo>
                    <a:pt x="136155" y="14618"/>
                  </a:lnTo>
                  <a:lnTo>
                    <a:pt x="136620" y="13568"/>
                  </a:lnTo>
                  <a:lnTo>
                    <a:pt x="139214" y="13454"/>
                  </a:lnTo>
                  <a:lnTo>
                    <a:pt x="145248" y="14086"/>
                  </a:lnTo>
                  <a:lnTo>
                    <a:pt x="147175" y="15156"/>
                  </a:lnTo>
                  <a:lnTo>
                    <a:pt x="151277" y="19365"/>
                  </a:lnTo>
                  <a:lnTo>
                    <a:pt x="152429" y="20380"/>
                  </a:lnTo>
                  <a:lnTo>
                    <a:pt x="153132" y="20636"/>
                  </a:lnTo>
                  <a:lnTo>
                    <a:pt x="153384" y="20127"/>
                  </a:lnTo>
                  <a:lnTo>
                    <a:pt x="154976" y="19347"/>
                  </a:lnTo>
                  <a:lnTo>
                    <a:pt x="156077" y="18400"/>
                  </a:lnTo>
                  <a:lnTo>
                    <a:pt x="157912" y="16081"/>
                  </a:lnTo>
                  <a:lnTo>
                    <a:pt x="161920" y="11902"/>
                  </a:lnTo>
                  <a:lnTo>
                    <a:pt x="162752" y="11778"/>
                  </a:lnTo>
                  <a:lnTo>
                    <a:pt x="163922" y="12108"/>
                  </a:lnTo>
                  <a:lnTo>
                    <a:pt x="165977" y="13203"/>
                  </a:lnTo>
                  <a:lnTo>
                    <a:pt x="166952" y="14080"/>
                  </a:lnTo>
                  <a:lnTo>
                    <a:pt x="168885" y="14748"/>
                  </a:lnTo>
                  <a:lnTo>
                    <a:pt x="170866" y="14514"/>
                  </a:lnTo>
                  <a:lnTo>
                    <a:pt x="173601" y="13049"/>
                  </a:lnTo>
                  <a:lnTo>
                    <a:pt x="176691" y="12155"/>
                  </a:lnTo>
                  <a:lnTo>
                    <a:pt x="177750" y="10076"/>
                  </a:lnTo>
                  <a:lnTo>
                    <a:pt x="177950" y="9127"/>
                  </a:lnTo>
                  <a:lnTo>
                    <a:pt x="175460" y="2928"/>
                  </a:lnTo>
                  <a:lnTo>
                    <a:pt x="176506" y="1658"/>
                  </a:lnTo>
                  <a:lnTo>
                    <a:pt x="181902" y="117"/>
                  </a:lnTo>
                  <a:lnTo>
                    <a:pt x="186622" y="0"/>
                  </a:lnTo>
                  <a:lnTo>
                    <a:pt x="187738" y="422"/>
                  </a:lnTo>
                  <a:lnTo>
                    <a:pt x="190712" y="3439"/>
                  </a:lnTo>
                  <a:lnTo>
                    <a:pt x="192727" y="4956"/>
                  </a:lnTo>
                  <a:lnTo>
                    <a:pt x="193744" y="6176"/>
                  </a:lnTo>
                  <a:lnTo>
                    <a:pt x="193987" y="8856"/>
                  </a:lnTo>
                  <a:lnTo>
                    <a:pt x="195213" y="9847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ee4p_IT_1_37764">
              <a:extLst>
                <a:ext uri="{FF2B5EF4-FFF2-40B4-BE49-F238E27FC236}">
                  <a16:creationId xmlns:a16="http://schemas.microsoft.com/office/drawing/2014/main" id="{ABF26C99-EBBF-43AA-A9D1-B524244284A1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10122970" y="11138245"/>
              <a:ext cx="1551468" cy="1512272"/>
            </a:xfrm>
            <a:custGeom>
              <a:avLst/>
              <a:gdLst>
                <a:gd name="connsiteX0" fmla="*/ 83300 w 164820"/>
                <a:gd name="connsiteY0" fmla="*/ 156716 h 160656"/>
                <a:gd name="connsiteX1" fmla="*/ 84985 w 164820"/>
                <a:gd name="connsiteY1" fmla="*/ 157277 h 160656"/>
                <a:gd name="connsiteX2" fmla="*/ 85512 w 164820"/>
                <a:gd name="connsiteY2" fmla="*/ 158410 h 160656"/>
                <a:gd name="connsiteX3" fmla="*/ 85583 w 164820"/>
                <a:gd name="connsiteY3" fmla="*/ 158900 h 160656"/>
                <a:gd name="connsiteX4" fmla="*/ 84523 w 164820"/>
                <a:gd name="connsiteY4" fmla="*/ 159180 h 160656"/>
                <a:gd name="connsiteX5" fmla="*/ 83137 w 164820"/>
                <a:gd name="connsiteY5" fmla="*/ 158308 h 160656"/>
                <a:gd name="connsiteX6" fmla="*/ 83044 w 164820"/>
                <a:gd name="connsiteY6" fmla="*/ 157083 h 160656"/>
                <a:gd name="connsiteX7" fmla="*/ 163353 w 164820"/>
                <a:gd name="connsiteY7" fmla="*/ 119599 h 160656"/>
                <a:gd name="connsiteX8" fmla="*/ 164820 w 164820"/>
                <a:gd name="connsiteY8" fmla="*/ 120327 h 160656"/>
                <a:gd name="connsiteX9" fmla="*/ 163535 w 164820"/>
                <a:gd name="connsiteY9" fmla="*/ 121541 h 160656"/>
                <a:gd name="connsiteX10" fmla="*/ 162038 w 164820"/>
                <a:gd name="connsiteY10" fmla="*/ 124459 h 160656"/>
                <a:gd name="connsiteX11" fmla="*/ 161304 w 164820"/>
                <a:gd name="connsiteY11" fmla="*/ 125580 h 160656"/>
                <a:gd name="connsiteX12" fmla="*/ 155970 w 164820"/>
                <a:gd name="connsiteY12" fmla="*/ 132706 h 160656"/>
                <a:gd name="connsiteX13" fmla="*/ 155359 w 164820"/>
                <a:gd name="connsiteY13" fmla="*/ 134350 h 160656"/>
                <a:gd name="connsiteX14" fmla="*/ 154984 w 164820"/>
                <a:gd name="connsiteY14" fmla="*/ 136135 h 160656"/>
                <a:gd name="connsiteX15" fmla="*/ 154431 w 164820"/>
                <a:gd name="connsiteY15" fmla="*/ 137699 h 160656"/>
                <a:gd name="connsiteX16" fmla="*/ 153683 w 164820"/>
                <a:gd name="connsiteY16" fmla="*/ 139172 h 160656"/>
                <a:gd name="connsiteX17" fmla="*/ 152986 w 164820"/>
                <a:gd name="connsiteY17" fmla="*/ 141044 h 160656"/>
                <a:gd name="connsiteX18" fmla="*/ 153122 w 164820"/>
                <a:gd name="connsiteY18" fmla="*/ 143164 h 160656"/>
                <a:gd name="connsiteX19" fmla="*/ 153373 w 164820"/>
                <a:gd name="connsiteY19" fmla="*/ 144204 h 160656"/>
                <a:gd name="connsiteX20" fmla="*/ 154014 w 164820"/>
                <a:gd name="connsiteY20" fmla="*/ 144885 h 160656"/>
                <a:gd name="connsiteX21" fmla="*/ 155068 w 164820"/>
                <a:gd name="connsiteY21" fmla="*/ 145526 h 160656"/>
                <a:gd name="connsiteX22" fmla="*/ 155877 w 164820"/>
                <a:gd name="connsiteY22" fmla="*/ 146508 h 160656"/>
                <a:gd name="connsiteX23" fmla="*/ 154636 w 164820"/>
                <a:gd name="connsiteY23" fmla="*/ 147403 h 160656"/>
                <a:gd name="connsiteX24" fmla="*/ 156005 w 164820"/>
                <a:gd name="connsiteY24" fmla="*/ 149197 h 160656"/>
                <a:gd name="connsiteX25" fmla="*/ 157169 w 164820"/>
                <a:gd name="connsiteY25" fmla="*/ 150262 h 160656"/>
                <a:gd name="connsiteX26" fmla="*/ 157324 w 164820"/>
                <a:gd name="connsiteY26" fmla="*/ 151324 h 160656"/>
                <a:gd name="connsiteX27" fmla="*/ 157298 w 164820"/>
                <a:gd name="connsiteY27" fmla="*/ 152389 h 160656"/>
                <a:gd name="connsiteX28" fmla="*/ 154880 w 164820"/>
                <a:gd name="connsiteY28" fmla="*/ 154385 h 160656"/>
                <a:gd name="connsiteX29" fmla="*/ 153934 w 164820"/>
                <a:gd name="connsiteY29" fmla="*/ 155483 h 160656"/>
                <a:gd name="connsiteX30" fmla="*/ 153347 w 164820"/>
                <a:gd name="connsiteY30" fmla="*/ 156812 h 160656"/>
                <a:gd name="connsiteX31" fmla="*/ 153092 w 164820"/>
                <a:gd name="connsiteY31" fmla="*/ 158184 h 160656"/>
                <a:gd name="connsiteX32" fmla="*/ 153357 w 164820"/>
                <a:gd name="connsiteY32" fmla="*/ 159422 h 160656"/>
                <a:gd name="connsiteX33" fmla="*/ 153275 w 164820"/>
                <a:gd name="connsiteY33" fmla="*/ 160656 h 160656"/>
                <a:gd name="connsiteX34" fmla="*/ 150840 w 164820"/>
                <a:gd name="connsiteY34" fmla="*/ 160502 h 160656"/>
                <a:gd name="connsiteX35" fmla="*/ 148346 w 164820"/>
                <a:gd name="connsiteY35" fmla="*/ 159750 h 160656"/>
                <a:gd name="connsiteX36" fmla="*/ 145832 w 164820"/>
                <a:gd name="connsiteY36" fmla="*/ 160083 h 160656"/>
                <a:gd name="connsiteX37" fmla="*/ 142258 w 164820"/>
                <a:gd name="connsiteY37" fmla="*/ 158657 h 160656"/>
                <a:gd name="connsiteX38" fmla="*/ 140956 w 164820"/>
                <a:gd name="connsiteY38" fmla="*/ 158399 h 160656"/>
                <a:gd name="connsiteX39" fmla="*/ 139771 w 164820"/>
                <a:gd name="connsiteY39" fmla="*/ 157843 h 160656"/>
                <a:gd name="connsiteX40" fmla="*/ 136795 w 164820"/>
                <a:gd name="connsiteY40" fmla="*/ 153418 h 160656"/>
                <a:gd name="connsiteX41" fmla="*/ 134402 w 164820"/>
                <a:gd name="connsiteY41" fmla="*/ 151546 h 160656"/>
                <a:gd name="connsiteX42" fmla="*/ 131835 w 164820"/>
                <a:gd name="connsiteY42" fmla="*/ 150090 h 160656"/>
                <a:gd name="connsiteX43" fmla="*/ 129211 w 164820"/>
                <a:gd name="connsiteY43" fmla="*/ 150001 h 160656"/>
                <a:gd name="connsiteX44" fmla="*/ 126583 w 164820"/>
                <a:gd name="connsiteY44" fmla="*/ 150167 h 160656"/>
                <a:gd name="connsiteX45" fmla="*/ 124264 w 164820"/>
                <a:gd name="connsiteY45" fmla="*/ 149269 h 160656"/>
                <a:gd name="connsiteX46" fmla="*/ 119544 w 164820"/>
                <a:gd name="connsiteY46" fmla="*/ 146257 h 160656"/>
                <a:gd name="connsiteX47" fmla="*/ 114542 w 164820"/>
                <a:gd name="connsiteY47" fmla="*/ 143846 h 160656"/>
                <a:gd name="connsiteX48" fmla="*/ 112420 w 164820"/>
                <a:gd name="connsiteY48" fmla="*/ 142274 h 160656"/>
                <a:gd name="connsiteX49" fmla="*/ 111450 w 164820"/>
                <a:gd name="connsiteY49" fmla="*/ 141217 h 160656"/>
                <a:gd name="connsiteX50" fmla="*/ 110319 w 164820"/>
                <a:gd name="connsiteY50" fmla="*/ 140515 h 160656"/>
                <a:gd name="connsiteX51" fmla="*/ 107453 w 164820"/>
                <a:gd name="connsiteY51" fmla="*/ 139819 h 160656"/>
                <a:gd name="connsiteX52" fmla="*/ 104884 w 164820"/>
                <a:gd name="connsiteY52" fmla="*/ 138186 h 160656"/>
                <a:gd name="connsiteX53" fmla="*/ 103713 w 164820"/>
                <a:gd name="connsiteY53" fmla="*/ 138066 h 160656"/>
                <a:gd name="connsiteX54" fmla="*/ 101195 w 164820"/>
                <a:gd name="connsiteY54" fmla="*/ 138265 h 160656"/>
                <a:gd name="connsiteX55" fmla="*/ 99906 w 164820"/>
                <a:gd name="connsiteY55" fmla="*/ 138152 h 160656"/>
                <a:gd name="connsiteX56" fmla="*/ 98606 w 164820"/>
                <a:gd name="connsiteY56" fmla="*/ 137577 h 160656"/>
                <a:gd name="connsiteX57" fmla="*/ 96097 w 164820"/>
                <a:gd name="connsiteY57" fmla="*/ 135655 h 160656"/>
                <a:gd name="connsiteX58" fmla="*/ 94497 w 164820"/>
                <a:gd name="connsiteY58" fmla="*/ 132988 h 160656"/>
                <a:gd name="connsiteX59" fmla="*/ 94080 w 164820"/>
                <a:gd name="connsiteY59" fmla="*/ 131811 h 160656"/>
                <a:gd name="connsiteX60" fmla="*/ 95214 w 164820"/>
                <a:gd name="connsiteY60" fmla="*/ 128764 h 160656"/>
                <a:gd name="connsiteX61" fmla="*/ 96559 w 164820"/>
                <a:gd name="connsiteY61" fmla="*/ 125837 h 160656"/>
                <a:gd name="connsiteX62" fmla="*/ 97753 w 164820"/>
                <a:gd name="connsiteY62" fmla="*/ 125015 h 160656"/>
                <a:gd name="connsiteX63" fmla="*/ 99140 w 164820"/>
                <a:gd name="connsiteY63" fmla="*/ 124426 h 160656"/>
                <a:gd name="connsiteX64" fmla="*/ 99980 w 164820"/>
                <a:gd name="connsiteY64" fmla="*/ 123559 h 160656"/>
                <a:gd name="connsiteX65" fmla="*/ 100688 w 164820"/>
                <a:gd name="connsiteY65" fmla="*/ 122497 h 160656"/>
                <a:gd name="connsiteX66" fmla="*/ 103260 w 164820"/>
                <a:gd name="connsiteY66" fmla="*/ 125560 h 160656"/>
                <a:gd name="connsiteX67" fmla="*/ 104411 w 164820"/>
                <a:gd name="connsiteY67" fmla="*/ 126300 h 160656"/>
                <a:gd name="connsiteX68" fmla="*/ 105577 w 164820"/>
                <a:gd name="connsiteY68" fmla="*/ 126135 h 160656"/>
                <a:gd name="connsiteX69" fmla="*/ 107645 w 164820"/>
                <a:gd name="connsiteY69" fmla="*/ 125038 h 160656"/>
                <a:gd name="connsiteX70" fmla="*/ 107818 w 164820"/>
                <a:gd name="connsiteY70" fmla="*/ 123836 h 160656"/>
                <a:gd name="connsiteX71" fmla="*/ 110098 w 164820"/>
                <a:gd name="connsiteY71" fmla="*/ 122311 h 160656"/>
                <a:gd name="connsiteX72" fmla="*/ 112999 w 164820"/>
                <a:gd name="connsiteY72" fmla="*/ 122282 h 160656"/>
                <a:gd name="connsiteX73" fmla="*/ 114337 w 164820"/>
                <a:gd name="connsiteY73" fmla="*/ 122562 h 160656"/>
                <a:gd name="connsiteX74" fmla="*/ 115041 w 164820"/>
                <a:gd name="connsiteY74" fmla="*/ 123941 h 160656"/>
                <a:gd name="connsiteX75" fmla="*/ 116147 w 164820"/>
                <a:gd name="connsiteY75" fmla="*/ 124366 h 160656"/>
                <a:gd name="connsiteX76" fmla="*/ 117425 w 164820"/>
                <a:gd name="connsiteY76" fmla="*/ 124549 h 160656"/>
                <a:gd name="connsiteX77" fmla="*/ 121632 w 164820"/>
                <a:gd name="connsiteY77" fmla="*/ 127175 h 160656"/>
                <a:gd name="connsiteX78" fmla="*/ 122811 w 164820"/>
                <a:gd name="connsiteY78" fmla="*/ 127603 h 160656"/>
                <a:gd name="connsiteX79" fmla="*/ 124005 w 164820"/>
                <a:gd name="connsiteY79" fmla="*/ 127676 h 160656"/>
                <a:gd name="connsiteX80" fmla="*/ 127272 w 164820"/>
                <a:gd name="connsiteY80" fmla="*/ 126574 h 160656"/>
                <a:gd name="connsiteX81" fmla="*/ 129779 w 164820"/>
                <a:gd name="connsiteY81" fmla="*/ 126155 h 160656"/>
                <a:gd name="connsiteX82" fmla="*/ 135035 w 164820"/>
                <a:gd name="connsiteY82" fmla="*/ 126762 h 160656"/>
                <a:gd name="connsiteX83" fmla="*/ 137877 w 164820"/>
                <a:gd name="connsiteY83" fmla="*/ 126102 h 160656"/>
                <a:gd name="connsiteX84" fmla="*/ 139861 w 164820"/>
                <a:gd name="connsiteY84" fmla="*/ 126027 h 160656"/>
                <a:gd name="connsiteX85" fmla="*/ 142753 w 164820"/>
                <a:gd name="connsiteY85" fmla="*/ 125012 h 160656"/>
                <a:gd name="connsiteX86" fmla="*/ 144975 w 164820"/>
                <a:gd name="connsiteY86" fmla="*/ 123326 h 160656"/>
                <a:gd name="connsiteX87" fmla="*/ 146134 w 164820"/>
                <a:gd name="connsiteY87" fmla="*/ 122910 h 160656"/>
                <a:gd name="connsiteX88" fmla="*/ 147378 w 164820"/>
                <a:gd name="connsiteY88" fmla="*/ 122790 h 160656"/>
                <a:gd name="connsiteX89" fmla="*/ 150386 w 164820"/>
                <a:gd name="connsiteY89" fmla="*/ 122895 h 160656"/>
                <a:gd name="connsiteX90" fmla="*/ 153411 w 164820"/>
                <a:gd name="connsiteY90" fmla="*/ 123276 h 160656"/>
                <a:gd name="connsiteX91" fmla="*/ 154679 w 164820"/>
                <a:gd name="connsiteY91" fmla="*/ 122882 h 160656"/>
                <a:gd name="connsiteX92" fmla="*/ 155739 w 164820"/>
                <a:gd name="connsiteY92" fmla="*/ 121779 h 160656"/>
                <a:gd name="connsiteX93" fmla="*/ 156968 w 164820"/>
                <a:gd name="connsiteY93" fmla="*/ 121282 h 160656"/>
                <a:gd name="connsiteX94" fmla="*/ 158320 w 164820"/>
                <a:gd name="connsiteY94" fmla="*/ 121617 h 160656"/>
                <a:gd name="connsiteX95" fmla="*/ 161813 w 164820"/>
                <a:gd name="connsiteY95" fmla="*/ 119728 h 160656"/>
                <a:gd name="connsiteX96" fmla="*/ 4111 w 164820"/>
                <a:gd name="connsiteY96" fmla="*/ 98453 h 160656"/>
                <a:gd name="connsiteX97" fmla="*/ 5744 w 164820"/>
                <a:gd name="connsiteY97" fmla="*/ 99107 h 160656"/>
                <a:gd name="connsiteX98" fmla="*/ 6590 w 164820"/>
                <a:gd name="connsiteY98" fmla="*/ 99705 h 160656"/>
                <a:gd name="connsiteX99" fmla="*/ 5321 w 164820"/>
                <a:gd name="connsiteY99" fmla="*/ 102261 h 160656"/>
                <a:gd name="connsiteX100" fmla="*/ 3982 w 164820"/>
                <a:gd name="connsiteY100" fmla="*/ 100451 h 160656"/>
                <a:gd name="connsiteX101" fmla="*/ 3930 w 164820"/>
                <a:gd name="connsiteY101" fmla="*/ 98896 h 160656"/>
                <a:gd name="connsiteX102" fmla="*/ 125825 w 164820"/>
                <a:gd name="connsiteY102" fmla="*/ 55558 h 160656"/>
                <a:gd name="connsiteX103" fmla="*/ 127836 w 164820"/>
                <a:gd name="connsiteY103" fmla="*/ 56147 h 160656"/>
                <a:gd name="connsiteX104" fmla="*/ 127808 w 164820"/>
                <a:gd name="connsiteY104" fmla="*/ 56704 h 160656"/>
                <a:gd name="connsiteX105" fmla="*/ 127309 w 164820"/>
                <a:gd name="connsiteY105" fmla="*/ 57033 h 160656"/>
                <a:gd name="connsiteX106" fmla="*/ 126322 w 164820"/>
                <a:gd name="connsiteY106" fmla="*/ 57260 h 160656"/>
                <a:gd name="connsiteX107" fmla="*/ 125747 w 164820"/>
                <a:gd name="connsiteY107" fmla="*/ 56951 h 160656"/>
                <a:gd name="connsiteX108" fmla="*/ 125434 w 164820"/>
                <a:gd name="connsiteY108" fmla="*/ 56549 h 160656"/>
                <a:gd name="connsiteX109" fmla="*/ 3081 w 164820"/>
                <a:gd name="connsiteY109" fmla="*/ 46092 h 160656"/>
                <a:gd name="connsiteX110" fmla="*/ 3602 w 164820"/>
                <a:gd name="connsiteY110" fmla="*/ 46625 h 160656"/>
                <a:gd name="connsiteX111" fmla="*/ 3053 w 164820"/>
                <a:gd name="connsiteY111" fmla="*/ 47648 h 160656"/>
                <a:gd name="connsiteX112" fmla="*/ 2326 w 164820"/>
                <a:gd name="connsiteY112" fmla="*/ 48251 h 160656"/>
                <a:gd name="connsiteX113" fmla="*/ 1589 w 164820"/>
                <a:gd name="connsiteY113" fmla="*/ 49454 h 160656"/>
                <a:gd name="connsiteX114" fmla="*/ 549 w 164820"/>
                <a:gd name="connsiteY114" fmla="*/ 49366 h 160656"/>
                <a:gd name="connsiteX115" fmla="*/ 955 w 164820"/>
                <a:gd name="connsiteY115" fmla="*/ 48476 h 160656"/>
                <a:gd name="connsiteX116" fmla="*/ 1913 w 164820"/>
                <a:gd name="connsiteY116" fmla="*/ 46691 h 160656"/>
                <a:gd name="connsiteX117" fmla="*/ 23164 w 164820"/>
                <a:gd name="connsiteY117" fmla="*/ 42529 h 160656"/>
                <a:gd name="connsiteX118" fmla="*/ 24371 w 164820"/>
                <a:gd name="connsiteY118" fmla="*/ 43990 h 160656"/>
                <a:gd name="connsiteX119" fmla="*/ 25869 w 164820"/>
                <a:gd name="connsiteY119" fmla="*/ 44142 h 160656"/>
                <a:gd name="connsiteX120" fmla="*/ 28178 w 164820"/>
                <a:gd name="connsiteY120" fmla="*/ 45347 h 160656"/>
                <a:gd name="connsiteX121" fmla="*/ 29174 w 164820"/>
                <a:gd name="connsiteY121" fmla="*/ 46500 h 160656"/>
                <a:gd name="connsiteX122" fmla="*/ 30026 w 164820"/>
                <a:gd name="connsiteY122" fmla="*/ 47888 h 160656"/>
                <a:gd name="connsiteX123" fmla="*/ 30842 w 164820"/>
                <a:gd name="connsiteY123" fmla="*/ 48496 h 160656"/>
                <a:gd name="connsiteX124" fmla="*/ 31719 w 164820"/>
                <a:gd name="connsiteY124" fmla="*/ 48845 h 160656"/>
                <a:gd name="connsiteX125" fmla="*/ 31849 w 164820"/>
                <a:gd name="connsiteY125" fmla="*/ 49171 h 160656"/>
                <a:gd name="connsiteX126" fmla="*/ 31154 w 164820"/>
                <a:gd name="connsiteY126" fmla="*/ 49497 h 160656"/>
                <a:gd name="connsiteX127" fmla="*/ 30357 w 164820"/>
                <a:gd name="connsiteY127" fmla="*/ 51084 h 160656"/>
                <a:gd name="connsiteX128" fmla="*/ 30806 w 164820"/>
                <a:gd name="connsiteY128" fmla="*/ 51541 h 160656"/>
                <a:gd name="connsiteX129" fmla="*/ 32088 w 164820"/>
                <a:gd name="connsiteY129" fmla="*/ 52401 h 160656"/>
                <a:gd name="connsiteX130" fmla="*/ 33194 w 164820"/>
                <a:gd name="connsiteY130" fmla="*/ 54080 h 160656"/>
                <a:gd name="connsiteX131" fmla="*/ 35677 w 164820"/>
                <a:gd name="connsiteY131" fmla="*/ 60951 h 160656"/>
                <a:gd name="connsiteX132" fmla="*/ 35919 w 164820"/>
                <a:gd name="connsiteY132" fmla="*/ 62435 h 160656"/>
                <a:gd name="connsiteX133" fmla="*/ 35423 w 164820"/>
                <a:gd name="connsiteY133" fmla="*/ 63955 h 160656"/>
                <a:gd name="connsiteX134" fmla="*/ 34790 w 164820"/>
                <a:gd name="connsiteY134" fmla="*/ 65033 h 160656"/>
                <a:gd name="connsiteX135" fmla="*/ 32330 w 164820"/>
                <a:gd name="connsiteY135" fmla="*/ 68482 h 160656"/>
                <a:gd name="connsiteX136" fmla="*/ 32695 w 164820"/>
                <a:gd name="connsiteY136" fmla="*/ 71334 h 160656"/>
                <a:gd name="connsiteX137" fmla="*/ 33609 w 164820"/>
                <a:gd name="connsiteY137" fmla="*/ 73095 h 160656"/>
                <a:gd name="connsiteX138" fmla="*/ 33740 w 164820"/>
                <a:gd name="connsiteY138" fmla="*/ 75044 h 160656"/>
                <a:gd name="connsiteX139" fmla="*/ 33283 w 164820"/>
                <a:gd name="connsiteY139" fmla="*/ 77460 h 160656"/>
                <a:gd name="connsiteX140" fmla="*/ 31756 w 164820"/>
                <a:gd name="connsiteY140" fmla="*/ 92276 h 160656"/>
                <a:gd name="connsiteX141" fmla="*/ 31018 w 164820"/>
                <a:gd name="connsiteY141" fmla="*/ 94889 h 160656"/>
                <a:gd name="connsiteX142" fmla="*/ 30551 w 164820"/>
                <a:gd name="connsiteY142" fmla="*/ 97156 h 160656"/>
                <a:gd name="connsiteX143" fmla="*/ 28867 w 164820"/>
                <a:gd name="connsiteY143" fmla="*/ 97841 h 160656"/>
                <a:gd name="connsiteX144" fmla="*/ 26694 w 164820"/>
                <a:gd name="connsiteY144" fmla="*/ 97117 h 160656"/>
                <a:gd name="connsiteX145" fmla="*/ 23954 w 164820"/>
                <a:gd name="connsiteY145" fmla="*/ 95841 h 160656"/>
                <a:gd name="connsiteX146" fmla="*/ 22689 w 164820"/>
                <a:gd name="connsiteY146" fmla="*/ 95918 h 160656"/>
                <a:gd name="connsiteX147" fmla="*/ 21415 w 164820"/>
                <a:gd name="connsiteY147" fmla="*/ 96354 h 160656"/>
                <a:gd name="connsiteX148" fmla="*/ 20363 w 164820"/>
                <a:gd name="connsiteY148" fmla="*/ 95984 h 160656"/>
                <a:gd name="connsiteX149" fmla="*/ 19359 w 164820"/>
                <a:gd name="connsiteY149" fmla="*/ 95262 h 160656"/>
                <a:gd name="connsiteX150" fmla="*/ 18614 w 164820"/>
                <a:gd name="connsiteY150" fmla="*/ 100332 h 160656"/>
                <a:gd name="connsiteX151" fmla="*/ 17375 w 164820"/>
                <a:gd name="connsiteY151" fmla="*/ 102389 h 160656"/>
                <a:gd name="connsiteX152" fmla="*/ 15489 w 164820"/>
                <a:gd name="connsiteY152" fmla="*/ 103702 h 160656"/>
                <a:gd name="connsiteX153" fmla="*/ 13716 w 164820"/>
                <a:gd name="connsiteY153" fmla="*/ 103785 h 160656"/>
                <a:gd name="connsiteX154" fmla="*/ 11890 w 164820"/>
                <a:gd name="connsiteY154" fmla="*/ 103345 h 160656"/>
                <a:gd name="connsiteX155" fmla="*/ 10341 w 164820"/>
                <a:gd name="connsiteY155" fmla="*/ 103349 h 160656"/>
                <a:gd name="connsiteX156" fmla="*/ 9167 w 164820"/>
                <a:gd name="connsiteY156" fmla="*/ 102373 h 160656"/>
                <a:gd name="connsiteX157" fmla="*/ 8236 w 164820"/>
                <a:gd name="connsiteY157" fmla="*/ 100667 h 160656"/>
                <a:gd name="connsiteX158" fmla="*/ 6752 w 164820"/>
                <a:gd name="connsiteY158" fmla="*/ 98593 h 160656"/>
                <a:gd name="connsiteX159" fmla="*/ 5247 w 164820"/>
                <a:gd name="connsiteY159" fmla="*/ 96128 h 160656"/>
                <a:gd name="connsiteX160" fmla="*/ 5083 w 164820"/>
                <a:gd name="connsiteY160" fmla="*/ 93898 h 160656"/>
                <a:gd name="connsiteX161" fmla="*/ 4826 w 164820"/>
                <a:gd name="connsiteY161" fmla="*/ 88975 h 160656"/>
                <a:gd name="connsiteX162" fmla="*/ 5258 w 164820"/>
                <a:gd name="connsiteY162" fmla="*/ 87899 h 160656"/>
                <a:gd name="connsiteX163" fmla="*/ 5887 w 164820"/>
                <a:gd name="connsiteY163" fmla="*/ 86867 h 160656"/>
                <a:gd name="connsiteX164" fmla="*/ 6195 w 164820"/>
                <a:gd name="connsiteY164" fmla="*/ 84661 h 160656"/>
                <a:gd name="connsiteX165" fmla="*/ 5977 w 164820"/>
                <a:gd name="connsiteY165" fmla="*/ 82737 h 160656"/>
                <a:gd name="connsiteX166" fmla="*/ 6418 w 164820"/>
                <a:gd name="connsiteY166" fmla="*/ 82050 h 160656"/>
                <a:gd name="connsiteX167" fmla="*/ 7295 w 164820"/>
                <a:gd name="connsiteY167" fmla="*/ 82737 h 160656"/>
                <a:gd name="connsiteX168" fmla="*/ 7953 w 164820"/>
                <a:gd name="connsiteY168" fmla="*/ 82479 h 160656"/>
                <a:gd name="connsiteX169" fmla="*/ 7912 w 164820"/>
                <a:gd name="connsiteY169" fmla="*/ 81488 h 160656"/>
                <a:gd name="connsiteX170" fmla="*/ 8113 w 164820"/>
                <a:gd name="connsiteY170" fmla="*/ 79678 h 160656"/>
                <a:gd name="connsiteX171" fmla="*/ 6966 w 164820"/>
                <a:gd name="connsiteY171" fmla="*/ 78161 h 160656"/>
                <a:gd name="connsiteX172" fmla="*/ 5018 w 164820"/>
                <a:gd name="connsiteY172" fmla="*/ 77646 h 160656"/>
                <a:gd name="connsiteX173" fmla="*/ 4830 w 164820"/>
                <a:gd name="connsiteY173" fmla="*/ 76058 h 160656"/>
                <a:gd name="connsiteX174" fmla="*/ 5036 w 164820"/>
                <a:gd name="connsiteY174" fmla="*/ 74507 h 160656"/>
                <a:gd name="connsiteX175" fmla="*/ 6064 w 164820"/>
                <a:gd name="connsiteY175" fmla="*/ 73465 h 160656"/>
                <a:gd name="connsiteX176" fmla="*/ 6411 w 164820"/>
                <a:gd name="connsiteY176" fmla="*/ 72079 h 160656"/>
                <a:gd name="connsiteX177" fmla="*/ 6422 w 164820"/>
                <a:gd name="connsiteY177" fmla="*/ 67848 h 160656"/>
                <a:gd name="connsiteX178" fmla="*/ 5049 w 164820"/>
                <a:gd name="connsiteY178" fmla="*/ 66288 h 160656"/>
                <a:gd name="connsiteX179" fmla="*/ 4522 w 164820"/>
                <a:gd name="connsiteY179" fmla="*/ 63924 h 160656"/>
                <a:gd name="connsiteX180" fmla="*/ 3812 w 164820"/>
                <a:gd name="connsiteY180" fmla="*/ 62409 h 160656"/>
                <a:gd name="connsiteX181" fmla="*/ 2535 w 164820"/>
                <a:gd name="connsiteY181" fmla="*/ 60887 h 160656"/>
                <a:gd name="connsiteX182" fmla="*/ 1093 w 164820"/>
                <a:gd name="connsiteY182" fmla="*/ 59647 h 160656"/>
                <a:gd name="connsiteX183" fmla="*/ 201 w 164820"/>
                <a:gd name="connsiteY183" fmla="*/ 58450 h 160656"/>
                <a:gd name="connsiteX184" fmla="*/ 0 w 164820"/>
                <a:gd name="connsiteY184" fmla="*/ 55316 h 160656"/>
                <a:gd name="connsiteX185" fmla="*/ 507 w 164820"/>
                <a:gd name="connsiteY185" fmla="*/ 52699 h 160656"/>
                <a:gd name="connsiteX186" fmla="*/ 959 w 164820"/>
                <a:gd name="connsiteY186" fmla="*/ 51578 h 160656"/>
                <a:gd name="connsiteX187" fmla="*/ 1423 w 164820"/>
                <a:gd name="connsiteY187" fmla="*/ 51744 h 160656"/>
                <a:gd name="connsiteX188" fmla="*/ 2859 w 164820"/>
                <a:gd name="connsiteY188" fmla="*/ 53045 h 160656"/>
                <a:gd name="connsiteX189" fmla="*/ 4034 w 164820"/>
                <a:gd name="connsiteY189" fmla="*/ 53339 h 160656"/>
                <a:gd name="connsiteX190" fmla="*/ 6359 w 164820"/>
                <a:gd name="connsiteY190" fmla="*/ 53654 h 160656"/>
                <a:gd name="connsiteX191" fmla="*/ 8646 w 164820"/>
                <a:gd name="connsiteY191" fmla="*/ 53238 h 160656"/>
                <a:gd name="connsiteX192" fmla="*/ 11456 w 164820"/>
                <a:gd name="connsiteY192" fmla="*/ 52053 h 160656"/>
                <a:gd name="connsiteX193" fmla="*/ 14159 w 164820"/>
                <a:gd name="connsiteY193" fmla="*/ 50617 h 160656"/>
                <a:gd name="connsiteX194" fmla="*/ 18072 w 164820"/>
                <a:gd name="connsiteY194" fmla="*/ 46395 h 160656"/>
                <a:gd name="connsiteX195" fmla="*/ 20484 w 164820"/>
                <a:gd name="connsiteY195" fmla="*/ 45537 h 160656"/>
                <a:gd name="connsiteX196" fmla="*/ 21719 w 164820"/>
                <a:gd name="connsiteY196" fmla="*/ 44425 h 160656"/>
                <a:gd name="connsiteX197" fmla="*/ 22140 w 164820"/>
                <a:gd name="connsiteY197" fmla="*/ 42922 h 160656"/>
                <a:gd name="connsiteX198" fmla="*/ 48962 w 164820"/>
                <a:gd name="connsiteY198" fmla="*/ 0 h 160656"/>
                <a:gd name="connsiteX199" fmla="*/ 49696 w 164820"/>
                <a:gd name="connsiteY199" fmla="*/ 1042 h 160656"/>
                <a:gd name="connsiteX200" fmla="*/ 49782 w 164820"/>
                <a:gd name="connsiteY200" fmla="*/ 1647 h 160656"/>
                <a:gd name="connsiteX201" fmla="*/ 49290 w 164820"/>
                <a:gd name="connsiteY201" fmla="*/ 2331 h 160656"/>
                <a:gd name="connsiteX202" fmla="*/ 49497 w 164820"/>
                <a:gd name="connsiteY202" fmla="*/ 3877 h 160656"/>
                <a:gd name="connsiteX203" fmla="*/ 47647 w 164820"/>
                <a:gd name="connsiteY203" fmla="*/ 2595 h 160656"/>
                <a:gd name="connsiteX204" fmla="*/ 44846 w 164820"/>
                <a:gd name="connsiteY204" fmla="*/ 3242 h 160656"/>
                <a:gd name="connsiteX205" fmla="*/ 43127 w 164820"/>
                <a:gd name="connsiteY205" fmla="*/ 3105 h 160656"/>
                <a:gd name="connsiteX206" fmla="*/ 42652 w 164820"/>
                <a:gd name="connsiteY206" fmla="*/ 1955 h 160656"/>
                <a:gd name="connsiteX207" fmla="*/ 43045 w 164820"/>
                <a:gd name="connsiteY207" fmla="*/ 1280 h 160656"/>
                <a:gd name="connsiteX208" fmla="*/ 45714 w 164820"/>
                <a:gd name="connsiteY208" fmla="*/ 1133 h 160656"/>
                <a:gd name="connsiteX209" fmla="*/ 46543 w 164820"/>
                <a:gd name="connsiteY209" fmla="*/ 804 h 160656"/>
                <a:gd name="connsiteX210" fmla="*/ 48163 w 164820"/>
                <a:gd name="connsiteY210" fmla="*/ 959 h 160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</a:cxnLst>
              <a:rect l="l" t="t" r="r" b="b"/>
              <a:pathLst>
                <a:path w="164820" h="160656">
                  <a:moveTo>
                    <a:pt x="83300" y="156716"/>
                  </a:moveTo>
                  <a:lnTo>
                    <a:pt x="84985" y="157277"/>
                  </a:lnTo>
                  <a:lnTo>
                    <a:pt x="85512" y="158410"/>
                  </a:lnTo>
                  <a:lnTo>
                    <a:pt x="85583" y="158900"/>
                  </a:lnTo>
                  <a:lnTo>
                    <a:pt x="84523" y="159180"/>
                  </a:lnTo>
                  <a:lnTo>
                    <a:pt x="83137" y="158308"/>
                  </a:lnTo>
                  <a:lnTo>
                    <a:pt x="83044" y="157083"/>
                  </a:lnTo>
                  <a:close/>
                  <a:moveTo>
                    <a:pt x="163353" y="119599"/>
                  </a:moveTo>
                  <a:lnTo>
                    <a:pt x="164820" y="120327"/>
                  </a:lnTo>
                  <a:lnTo>
                    <a:pt x="163535" y="121541"/>
                  </a:lnTo>
                  <a:lnTo>
                    <a:pt x="162038" y="124459"/>
                  </a:lnTo>
                  <a:lnTo>
                    <a:pt x="161304" y="125580"/>
                  </a:lnTo>
                  <a:lnTo>
                    <a:pt x="155970" y="132706"/>
                  </a:lnTo>
                  <a:lnTo>
                    <a:pt x="155359" y="134350"/>
                  </a:lnTo>
                  <a:lnTo>
                    <a:pt x="154984" y="136135"/>
                  </a:lnTo>
                  <a:lnTo>
                    <a:pt x="154431" y="137699"/>
                  </a:lnTo>
                  <a:lnTo>
                    <a:pt x="153683" y="139172"/>
                  </a:lnTo>
                  <a:lnTo>
                    <a:pt x="152986" y="141044"/>
                  </a:lnTo>
                  <a:lnTo>
                    <a:pt x="153122" y="143164"/>
                  </a:lnTo>
                  <a:lnTo>
                    <a:pt x="153373" y="144204"/>
                  </a:lnTo>
                  <a:lnTo>
                    <a:pt x="154014" y="144885"/>
                  </a:lnTo>
                  <a:lnTo>
                    <a:pt x="155068" y="145526"/>
                  </a:lnTo>
                  <a:lnTo>
                    <a:pt x="155877" y="146508"/>
                  </a:lnTo>
                  <a:lnTo>
                    <a:pt x="154636" y="147403"/>
                  </a:lnTo>
                  <a:lnTo>
                    <a:pt x="156005" y="149197"/>
                  </a:lnTo>
                  <a:lnTo>
                    <a:pt x="157169" y="150262"/>
                  </a:lnTo>
                  <a:lnTo>
                    <a:pt x="157324" y="151324"/>
                  </a:lnTo>
                  <a:lnTo>
                    <a:pt x="157298" y="152389"/>
                  </a:lnTo>
                  <a:lnTo>
                    <a:pt x="154880" y="154385"/>
                  </a:lnTo>
                  <a:lnTo>
                    <a:pt x="153934" y="155483"/>
                  </a:lnTo>
                  <a:lnTo>
                    <a:pt x="153347" y="156812"/>
                  </a:lnTo>
                  <a:lnTo>
                    <a:pt x="153092" y="158184"/>
                  </a:lnTo>
                  <a:lnTo>
                    <a:pt x="153357" y="159422"/>
                  </a:lnTo>
                  <a:lnTo>
                    <a:pt x="153275" y="160656"/>
                  </a:lnTo>
                  <a:lnTo>
                    <a:pt x="150840" y="160502"/>
                  </a:lnTo>
                  <a:lnTo>
                    <a:pt x="148346" y="159750"/>
                  </a:lnTo>
                  <a:lnTo>
                    <a:pt x="145832" y="160083"/>
                  </a:lnTo>
                  <a:lnTo>
                    <a:pt x="142258" y="158657"/>
                  </a:lnTo>
                  <a:lnTo>
                    <a:pt x="140956" y="158399"/>
                  </a:lnTo>
                  <a:lnTo>
                    <a:pt x="139771" y="157843"/>
                  </a:lnTo>
                  <a:lnTo>
                    <a:pt x="136795" y="153418"/>
                  </a:lnTo>
                  <a:lnTo>
                    <a:pt x="134402" y="151546"/>
                  </a:lnTo>
                  <a:lnTo>
                    <a:pt x="131835" y="150090"/>
                  </a:lnTo>
                  <a:lnTo>
                    <a:pt x="129211" y="150001"/>
                  </a:lnTo>
                  <a:lnTo>
                    <a:pt x="126583" y="150167"/>
                  </a:lnTo>
                  <a:lnTo>
                    <a:pt x="124264" y="149269"/>
                  </a:lnTo>
                  <a:lnTo>
                    <a:pt x="119544" y="146257"/>
                  </a:lnTo>
                  <a:lnTo>
                    <a:pt x="114542" y="143846"/>
                  </a:lnTo>
                  <a:lnTo>
                    <a:pt x="112420" y="142274"/>
                  </a:lnTo>
                  <a:lnTo>
                    <a:pt x="111450" y="141217"/>
                  </a:lnTo>
                  <a:lnTo>
                    <a:pt x="110319" y="140515"/>
                  </a:lnTo>
                  <a:lnTo>
                    <a:pt x="107453" y="139819"/>
                  </a:lnTo>
                  <a:lnTo>
                    <a:pt x="104884" y="138186"/>
                  </a:lnTo>
                  <a:lnTo>
                    <a:pt x="103713" y="138066"/>
                  </a:lnTo>
                  <a:lnTo>
                    <a:pt x="101195" y="138265"/>
                  </a:lnTo>
                  <a:lnTo>
                    <a:pt x="99906" y="138152"/>
                  </a:lnTo>
                  <a:lnTo>
                    <a:pt x="98606" y="137577"/>
                  </a:lnTo>
                  <a:lnTo>
                    <a:pt x="96097" y="135655"/>
                  </a:lnTo>
                  <a:lnTo>
                    <a:pt x="94497" y="132988"/>
                  </a:lnTo>
                  <a:lnTo>
                    <a:pt x="94080" y="131811"/>
                  </a:lnTo>
                  <a:lnTo>
                    <a:pt x="95214" y="128764"/>
                  </a:lnTo>
                  <a:lnTo>
                    <a:pt x="96559" y="125837"/>
                  </a:lnTo>
                  <a:lnTo>
                    <a:pt x="97753" y="125015"/>
                  </a:lnTo>
                  <a:lnTo>
                    <a:pt x="99140" y="124426"/>
                  </a:lnTo>
                  <a:lnTo>
                    <a:pt x="99980" y="123559"/>
                  </a:lnTo>
                  <a:lnTo>
                    <a:pt x="100688" y="122497"/>
                  </a:lnTo>
                  <a:lnTo>
                    <a:pt x="103260" y="125560"/>
                  </a:lnTo>
                  <a:lnTo>
                    <a:pt x="104411" y="126300"/>
                  </a:lnTo>
                  <a:lnTo>
                    <a:pt x="105577" y="126135"/>
                  </a:lnTo>
                  <a:lnTo>
                    <a:pt x="107645" y="125038"/>
                  </a:lnTo>
                  <a:lnTo>
                    <a:pt x="107818" y="123836"/>
                  </a:lnTo>
                  <a:lnTo>
                    <a:pt x="110098" y="122311"/>
                  </a:lnTo>
                  <a:lnTo>
                    <a:pt x="112999" y="122282"/>
                  </a:lnTo>
                  <a:lnTo>
                    <a:pt x="114337" y="122562"/>
                  </a:lnTo>
                  <a:lnTo>
                    <a:pt x="115041" y="123941"/>
                  </a:lnTo>
                  <a:lnTo>
                    <a:pt x="116147" y="124366"/>
                  </a:lnTo>
                  <a:lnTo>
                    <a:pt x="117425" y="124549"/>
                  </a:lnTo>
                  <a:lnTo>
                    <a:pt x="121632" y="127175"/>
                  </a:lnTo>
                  <a:lnTo>
                    <a:pt x="122811" y="127603"/>
                  </a:lnTo>
                  <a:lnTo>
                    <a:pt x="124005" y="127676"/>
                  </a:lnTo>
                  <a:lnTo>
                    <a:pt x="127272" y="126574"/>
                  </a:lnTo>
                  <a:lnTo>
                    <a:pt x="129779" y="126155"/>
                  </a:lnTo>
                  <a:lnTo>
                    <a:pt x="135035" y="126762"/>
                  </a:lnTo>
                  <a:lnTo>
                    <a:pt x="137877" y="126102"/>
                  </a:lnTo>
                  <a:lnTo>
                    <a:pt x="139861" y="126027"/>
                  </a:lnTo>
                  <a:lnTo>
                    <a:pt x="142753" y="125012"/>
                  </a:lnTo>
                  <a:lnTo>
                    <a:pt x="144975" y="123326"/>
                  </a:lnTo>
                  <a:lnTo>
                    <a:pt x="146134" y="122910"/>
                  </a:lnTo>
                  <a:lnTo>
                    <a:pt x="147378" y="122790"/>
                  </a:lnTo>
                  <a:lnTo>
                    <a:pt x="150386" y="122895"/>
                  </a:lnTo>
                  <a:lnTo>
                    <a:pt x="153411" y="123276"/>
                  </a:lnTo>
                  <a:lnTo>
                    <a:pt x="154679" y="122882"/>
                  </a:lnTo>
                  <a:lnTo>
                    <a:pt x="155739" y="121779"/>
                  </a:lnTo>
                  <a:lnTo>
                    <a:pt x="156968" y="121282"/>
                  </a:lnTo>
                  <a:lnTo>
                    <a:pt x="158320" y="121617"/>
                  </a:lnTo>
                  <a:lnTo>
                    <a:pt x="161813" y="119728"/>
                  </a:lnTo>
                  <a:close/>
                  <a:moveTo>
                    <a:pt x="4111" y="98453"/>
                  </a:moveTo>
                  <a:lnTo>
                    <a:pt x="5744" y="99107"/>
                  </a:lnTo>
                  <a:lnTo>
                    <a:pt x="6590" y="99705"/>
                  </a:lnTo>
                  <a:lnTo>
                    <a:pt x="5321" y="102261"/>
                  </a:lnTo>
                  <a:lnTo>
                    <a:pt x="3982" y="100451"/>
                  </a:lnTo>
                  <a:lnTo>
                    <a:pt x="3930" y="98896"/>
                  </a:lnTo>
                  <a:close/>
                  <a:moveTo>
                    <a:pt x="125825" y="55558"/>
                  </a:moveTo>
                  <a:lnTo>
                    <a:pt x="127836" y="56147"/>
                  </a:lnTo>
                  <a:lnTo>
                    <a:pt x="127808" y="56704"/>
                  </a:lnTo>
                  <a:lnTo>
                    <a:pt x="127309" y="57033"/>
                  </a:lnTo>
                  <a:lnTo>
                    <a:pt x="126322" y="57260"/>
                  </a:lnTo>
                  <a:lnTo>
                    <a:pt x="125747" y="56951"/>
                  </a:lnTo>
                  <a:lnTo>
                    <a:pt x="125434" y="56549"/>
                  </a:lnTo>
                  <a:close/>
                  <a:moveTo>
                    <a:pt x="3081" y="46092"/>
                  </a:moveTo>
                  <a:lnTo>
                    <a:pt x="3602" y="46625"/>
                  </a:lnTo>
                  <a:lnTo>
                    <a:pt x="3053" y="47648"/>
                  </a:lnTo>
                  <a:lnTo>
                    <a:pt x="2326" y="48251"/>
                  </a:lnTo>
                  <a:lnTo>
                    <a:pt x="1589" y="49454"/>
                  </a:lnTo>
                  <a:lnTo>
                    <a:pt x="549" y="49366"/>
                  </a:lnTo>
                  <a:lnTo>
                    <a:pt x="955" y="48476"/>
                  </a:lnTo>
                  <a:lnTo>
                    <a:pt x="1913" y="46691"/>
                  </a:lnTo>
                  <a:close/>
                  <a:moveTo>
                    <a:pt x="23164" y="42529"/>
                  </a:moveTo>
                  <a:lnTo>
                    <a:pt x="24371" y="43990"/>
                  </a:lnTo>
                  <a:lnTo>
                    <a:pt x="25869" y="44142"/>
                  </a:lnTo>
                  <a:lnTo>
                    <a:pt x="28178" y="45347"/>
                  </a:lnTo>
                  <a:lnTo>
                    <a:pt x="29174" y="46500"/>
                  </a:lnTo>
                  <a:lnTo>
                    <a:pt x="30026" y="47888"/>
                  </a:lnTo>
                  <a:lnTo>
                    <a:pt x="30842" y="48496"/>
                  </a:lnTo>
                  <a:lnTo>
                    <a:pt x="31719" y="48845"/>
                  </a:lnTo>
                  <a:lnTo>
                    <a:pt x="31849" y="49171"/>
                  </a:lnTo>
                  <a:lnTo>
                    <a:pt x="31154" y="49497"/>
                  </a:lnTo>
                  <a:lnTo>
                    <a:pt x="30357" y="51084"/>
                  </a:lnTo>
                  <a:lnTo>
                    <a:pt x="30806" y="51541"/>
                  </a:lnTo>
                  <a:lnTo>
                    <a:pt x="32088" y="52401"/>
                  </a:lnTo>
                  <a:lnTo>
                    <a:pt x="33194" y="54080"/>
                  </a:lnTo>
                  <a:lnTo>
                    <a:pt x="35677" y="60951"/>
                  </a:lnTo>
                  <a:lnTo>
                    <a:pt x="35919" y="62435"/>
                  </a:lnTo>
                  <a:lnTo>
                    <a:pt x="35423" y="63955"/>
                  </a:lnTo>
                  <a:lnTo>
                    <a:pt x="34790" y="65033"/>
                  </a:lnTo>
                  <a:lnTo>
                    <a:pt x="32330" y="68482"/>
                  </a:lnTo>
                  <a:lnTo>
                    <a:pt x="32695" y="71334"/>
                  </a:lnTo>
                  <a:lnTo>
                    <a:pt x="33609" y="73095"/>
                  </a:lnTo>
                  <a:lnTo>
                    <a:pt x="33740" y="75044"/>
                  </a:lnTo>
                  <a:lnTo>
                    <a:pt x="33283" y="77460"/>
                  </a:lnTo>
                  <a:lnTo>
                    <a:pt x="31756" y="92276"/>
                  </a:lnTo>
                  <a:lnTo>
                    <a:pt x="31018" y="94889"/>
                  </a:lnTo>
                  <a:lnTo>
                    <a:pt x="30551" y="97156"/>
                  </a:lnTo>
                  <a:lnTo>
                    <a:pt x="28867" y="97841"/>
                  </a:lnTo>
                  <a:lnTo>
                    <a:pt x="26694" y="97117"/>
                  </a:lnTo>
                  <a:lnTo>
                    <a:pt x="23954" y="95841"/>
                  </a:lnTo>
                  <a:lnTo>
                    <a:pt x="22689" y="95918"/>
                  </a:lnTo>
                  <a:lnTo>
                    <a:pt x="21415" y="96354"/>
                  </a:lnTo>
                  <a:lnTo>
                    <a:pt x="20363" y="95984"/>
                  </a:lnTo>
                  <a:lnTo>
                    <a:pt x="19359" y="95262"/>
                  </a:lnTo>
                  <a:lnTo>
                    <a:pt x="18614" y="100332"/>
                  </a:lnTo>
                  <a:lnTo>
                    <a:pt x="17375" y="102389"/>
                  </a:lnTo>
                  <a:lnTo>
                    <a:pt x="15489" y="103702"/>
                  </a:lnTo>
                  <a:lnTo>
                    <a:pt x="13716" y="103785"/>
                  </a:lnTo>
                  <a:lnTo>
                    <a:pt x="11890" y="103345"/>
                  </a:lnTo>
                  <a:lnTo>
                    <a:pt x="10341" y="103349"/>
                  </a:lnTo>
                  <a:lnTo>
                    <a:pt x="9167" y="102373"/>
                  </a:lnTo>
                  <a:lnTo>
                    <a:pt x="8236" y="100667"/>
                  </a:lnTo>
                  <a:lnTo>
                    <a:pt x="6752" y="98593"/>
                  </a:lnTo>
                  <a:lnTo>
                    <a:pt x="5247" y="96128"/>
                  </a:lnTo>
                  <a:lnTo>
                    <a:pt x="5083" y="93898"/>
                  </a:lnTo>
                  <a:lnTo>
                    <a:pt x="4826" y="88975"/>
                  </a:lnTo>
                  <a:lnTo>
                    <a:pt x="5258" y="87899"/>
                  </a:lnTo>
                  <a:lnTo>
                    <a:pt x="5887" y="86867"/>
                  </a:lnTo>
                  <a:lnTo>
                    <a:pt x="6195" y="84661"/>
                  </a:lnTo>
                  <a:lnTo>
                    <a:pt x="5977" y="82737"/>
                  </a:lnTo>
                  <a:lnTo>
                    <a:pt x="6418" y="82050"/>
                  </a:lnTo>
                  <a:lnTo>
                    <a:pt x="7295" y="82737"/>
                  </a:lnTo>
                  <a:lnTo>
                    <a:pt x="7953" y="82479"/>
                  </a:lnTo>
                  <a:lnTo>
                    <a:pt x="7912" y="81488"/>
                  </a:lnTo>
                  <a:lnTo>
                    <a:pt x="8113" y="79678"/>
                  </a:lnTo>
                  <a:lnTo>
                    <a:pt x="6966" y="78161"/>
                  </a:lnTo>
                  <a:lnTo>
                    <a:pt x="5018" y="77646"/>
                  </a:lnTo>
                  <a:lnTo>
                    <a:pt x="4830" y="76058"/>
                  </a:lnTo>
                  <a:lnTo>
                    <a:pt x="5036" y="74507"/>
                  </a:lnTo>
                  <a:lnTo>
                    <a:pt x="6064" y="73465"/>
                  </a:lnTo>
                  <a:lnTo>
                    <a:pt x="6411" y="72079"/>
                  </a:lnTo>
                  <a:lnTo>
                    <a:pt x="6422" y="67848"/>
                  </a:lnTo>
                  <a:lnTo>
                    <a:pt x="5049" y="66288"/>
                  </a:lnTo>
                  <a:lnTo>
                    <a:pt x="4522" y="63924"/>
                  </a:lnTo>
                  <a:lnTo>
                    <a:pt x="3812" y="62409"/>
                  </a:lnTo>
                  <a:lnTo>
                    <a:pt x="2535" y="60887"/>
                  </a:lnTo>
                  <a:lnTo>
                    <a:pt x="1093" y="59647"/>
                  </a:lnTo>
                  <a:lnTo>
                    <a:pt x="201" y="58450"/>
                  </a:lnTo>
                  <a:lnTo>
                    <a:pt x="0" y="55316"/>
                  </a:lnTo>
                  <a:lnTo>
                    <a:pt x="507" y="52699"/>
                  </a:lnTo>
                  <a:lnTo>
                    <a:pt x="959" y="51578"/>
                  </a:lnTo>
                  <a:lnTo>
                    <a:pt x="1423" y="51744"/>
                  </a:lnTo>
                  <a:lnTo>
                    <a:pt x="2859" y="53045"/>
                  </a:lnTo>
                  <a:lnTo>
                    <a:pt x="4034" y="53339"/>
                  </a:lnTo>
                  <a:lnTo>
                    <a:pt x="6359" y="53654"/>
                  </a:lnTo>
                  <a:lnTo>
                    <a:pt x="8646" y="53238"/>
                  </a:lnTo>
                  <a:lnTo>
                    <a:pt x="11456" y="52053"/>
                  </a:lnTo>
                  <a:lnTo>
                    <a:pt x="14159" y="50617"/>
                  </a:lnTo>
                  <a:lnTo>
                    <a:pt x="18072" y="46395"/>
                  </a:lnTo>
                  <a:lnTo>
                    <a:pt x="20484" y="45537"/>
                  </a:lnTo>
                  <a:lnTo>
                    <a:pt x="21719" y="44425"/>
                  </a:lnTo>
                  <a:lnTo>
                    <a:pt x="22140" y="42922"/>
                  </a:lnTo>
                  <a:close/>
                  <a:moveTo>
                    <a:pt x="48962" y="0"/>
                  </a:moveTo>
                  <a:lnTo>
                    <a:pt x="49696" y="1042"/>
                  </a:lnTo>
                  <a:lnTo>
                    <a:pt x="49782" y="1647"/>
                  </a:lnTo>
                  <a:lnTo>
                    <a:pt x="49290" y="2331"/>
                  </a:lnTo>
                  <a:lnTo>
                    <a:pt x="49497" y="3877"/>
                  </a:lnTo>
                  <a:lnTo>
                    <a:pt x="47647" y="2595"/>
                  </a:lnTo>
                  <a:lnTo>
                    <a:pt x="44846" y="3242"/>
                  </a:lnTo>
                  <a:lnTo>
                    <a:pt x="43127" y="3105"/>
                  </a:lnTo>
                  <a:lnTo>
                    <a:pt x="42652" y="1955"/>
                  </a:lnTo>
                  <a:lnTo>
                    <a:pt x="43045" y="1280"/>
                  </a:lnTo>
                  <a:lnTo>
                    <a:pt x="45714" y="1133"/>
                  </a:lnTo>
                  <a:lnTo>
                    <a:pt x="46543" y="804"/>
                  </a:lnTo>
                  <a:lnTo>
                    <a:pt x="48163" y="959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ee4p_SM_1_37764">
              <a:extLst>
                <a:ext uri="{FF2B5EF4-FFF2-40B4-BE49-F238E27FC236}">
                  <a16:creationId xmlns:a16="http://schemas.microsoft.com/office/drawing/2014/main" id="{07C7AA43-A3F0-46BD-87BF-A73BCA085825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11000506" y="10851627"/>
              <a:ext cx="24522" cy="24351"/>
            </a:xfrm>
            <a:custGeom>
              <a:avLst/>
              <a:gdLst/>
              <a:ahLst/>
              <a:cxnLst/>
              <a:rect l="0" t="0" r="0" b="0"/>
              <a:pathLst>
                <a:path w="2605" h="2587">
                  <a:moveTo>
                    <a:pt x="0" y="1492"/>
                  </a:moveTo>
                  <a:lnTo>
                    <a:pt x="652" y="2586"/>
                  </a:lnTo>
                  <a:lnTo>
                    <a:pt x="1954" y="2389"/>
                  </a:lnTo>
                  <a:lnTo>
                    <a:pt x="2604" y="994"/>
                  </a:lnTo>
                  <a:lnTo>
                    <a:pt x="2362" y="0"/>
                  </a:lnTo>
                  <a:lnTo>
                    <a:pt x="978" y="198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ee4p_XK_1_37764">
              <a:extLst>
                <a:ext uri="{FF2B5EF4-FFF2-40B4-BE49-F238E27FC236}">
                  <a16:creationId xmlns:a16="http://schemas.microsoft.com/office/drawing/2014/main" id="{DC6B8BAF-B518-4B08-9CB4-2AD9ED38B8B5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12589184" y="11036547"/>
              <a:ext cx="358734" cy="353539"/>
            </a:xfrm>
            <a:custGeom>
              <a:avLst/>
              <a:gdLst/>
              <a:ahLst/>
              <a:cxnLst/>
              <a:rect l="0" t="0" r="0" b="0"/>
              <a:pathLst>
                <a:path w="38110" h="37558">
                  <a:moveTo>
                    <a:pt x="33898" y="27100"/>
                  </a:moveTo>
                  <a:lnTo>
                    <a:pt x="33862" y="27096"/>
                  </a:lnTo>
                  <a:lnTo>
                    <a:pt x="30074" y="27836"/>
                  </a:lnTo>
                  <a:lnTo>
                    <a:pt x="28796" y="28705"/>
                  </a:lnTo>
                  <a:lnTo>
                    <a:pt x="28040" y="30223"/>
                  </a:lnTo>
                  <a:lnTo>
                    <a:pt x="27798" y="31012"/>
                  </a:lnTo>
                  <a:lnTo>
                    <a:pt x="27129" y="31035"/>
                  </a:lnTo>
                  <a:lnTo>
                    <a:pt x="26017" y="30253"/>
                  </a:lnTo>
                  <a:lnTo>
                    <a:pt x="24611" y="29029"/>
                  </a:lnTo>
                  <a:lnTo>
                    <a:pt x="22782" y="29127"/>
                  </a:lnTo>
                  <a:lnTo>
                    <a:pt x="16554" y="31792"/>
                  </a:lnTo>
                  <a:lnTo>
                    <a:pt x="15941" y="33191"/>
                  </a:lnTo>
                  <a:lnTo>
                    <a:pt x="15803" y="36218"/>
                  </a:lnTo>
                  <a:lnTo>
                    <a:pt x="15379" y="37034"/>
                  </a:lnTo>
                  <a:lnTo>
                    <a:pt x="14714" y="37557"/>
                  </a:lnTo>
                  <a:lnTo>
                    <a:pt x="12140" y="37228"/>
                  </a:lnTo>
                  <a:lnTo>
                    <a:pt x="11868" y="37030"/>
                  </a:lnTo>
                  <a:lnTo>
                    <a:pt x="12205" y="35870"/>
                  </a:lnTo>
                  <a:lnTo>
                    <a:pt x="12071" y="33331"/>
                  </a:lnTo>
                  <a:lnTo>
                    <a:pt x="10909" y="29122"/>
                  </a:lnTo>
                  <a:lnTo>
                    <a:pt x="10082" y="27742"/>
                  </a:lnTo>
                  <a:lnTo>
                    <a:pt x="8377" y="26370"/>
                  </a:lnTo>
                  <a:lnTo>
                    <a:pt x="7048" y="25469"/>
                  </a:lnTo>
                  <a:lnTo>
                    <a:pt x="4667" y="24665"/>
                  </a:lnTo>
                  <a:lnTo>
                    <a:pt x="3455" y="22350"/>
                  </a:lnTo>
                  <a:lnTo>
                    <a:pt x="1637" y="19716"/>
                  </a:lnTo>
                  <a:lnTo>
                    <a:pt x="762" y="19112"/>
                  </a:lnTo>
                  <a:lnTo>
                    <a:pt x="903" y="18851"/>
                  </a:lnTo>
                  <a:lnTo>
                    <a:pt x="1322" y="16863"/>
                  </a:lnTo>
                  <a:lnTo>
                    <a:pt x="802" y="15412"/>
                  </a:lnTo>
                  <a:lnTo>
                    <a:pt x="0" y="14178"/>
                  </a:lnTo>
                  <a:lnTo>
                    <a:pt x="549" y="13429"/>
                  </a:lnTo>
                  <a:lnTo>
                    <a:pt x="2222" y="13436"/>
                  </a:lnTo>
                  <a:lnTo>
                    <a:pt x="3606" y="13574"/>
                  </a:lnTo>
                  <a:lnTo>
                    <a:pt x="4105" y="12392"/>
                  </a:lnTo>
                  <a:lnTo>
                    <a:pt x="6962" y="11613"/>
                  </a:lnTo>
                  <a:lnTo>
                    <a:pt x="9715" y="10811"/>
                  </a:lnTo>
                  <a:lnTo>
                    <a:pt x="10113" y="10245"/>
                  </a:lnTo>
                  <a:lnTo>
                    <a:pt x="9484" y="9027"/>
                  </a:lnTo>
                  <a:lnTo>
                    <a:pt x="9854" y="8264"/>
                  </a:lnTo>
                  <a:lnTo>
                    <a:pt x="13147" y="6090"/>
                  </a:lnTo>
                  <a:lnTo>
                    <a:pt x="13689" y="5104"/>
                  </a:lnTo>
                  <a:lnTo>
                    <a:pt x="13890" y="4328"/>
                  </a:lnTo>
                  <a:lnTo>
                    <a:pt x="13447" y="3510"/>
                  </a:lnTo>
                  <a:lnTo>
                    <a:pt x="12829" y="2220"/>
                  </a:lnTo>
                  <a:lnTo>
                    <a:pt x="13127" y="1678"/>
                  </a:lnTo>
                  <a:lnTo>
                    <a:pt x="14839" y="933"/>
                  </a:lnTo>
                  <a:lnTo>
                    <a:pt x="16228" y="67"/>
                  </a:lnTo>
                  <a:lnTo>
                    <a:pt x="17051" y="0"/>
                  </a:lnTo>
                  <a:lnTo>
                    <a:pt x="17565" y="622"/>
                  </a:lnTo>
                  <a:lnTo>
                    <a:pt x="17565" y="1266"/>
                  </a:lnTo>
                  <a:lnTo>
                    <a:pt x="18020" y="2354"/>
                  </a:lnTo>
                  <a:lnTo>
                    <a:pt x="19044" y="2939"/>
                  </a:lnTo>
                  <a:lnTo>
                    <a:pt x="20746" y="3895"/>
                  </a:lnTo>
                  <a:lnTo>
                    <a:pt x="22722" y="4547"/>
                  </a:lnTo>
                  <a:lnTo>
                    <a:pt x="24270" y="5853"/>
                  </a:lnTo>
                  <a:lnTo>
                    <a:pt x="26384" y="8179"/>
                  </a:lnTo>
                  <a:lnTo>
                    <a:pt x="26703" y="9330"/>
                  </a:lnTo>
                  <a:lnTo>
                    <a:pt x="28606" y="10361"/>
                  </a:lnTo>
                  <a:lnTo>
                    <a:pt x="30372" y="11517"/>
                  </a:lnTo>
                  <a:lnTo>
                    <a:pt x="30098" y="13660"/>
                  </a:lnTo>
                  <a:lnTo>
                    <a:pt x="36110" y="15529"/>
                  </a:lnTo>
                  <a:lnTo>
                    <a:pt x="37466" y="15515"/>
                  </a:lnTo>
                  <a:lnTo>
                    <a:pt x="38109" y="15840"/>
                  </a:lnTo>
                  <a:lnTo>
                    <a:pt x="38092" y="16329"/>
                  </a:lnTo>
                  <a:lnTo>
                    <a:pt x="37617" y="17826"/>
                  </a:lnTo>
                  <a:lnTo>
                    <a:pt x="35149" y="22420"/>
                  </a:lnTo>
                  <a:lnTo>
                    <a:pt x="34946" y="23374"/>
                  </a:lnTo>
                  <a:lnTo>
                    <a:pt x="33179" y="24371"/>
                  </a:lnTo>
                  <a:lnTo>
                    <a:pt x="32935" y="24946"/>
                  </a:lnTo>
                  <a:lnTo>
                    <a:pt x="33436" y="26214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ee4p_LI_1_37764">
              <a:extLst>
                <a:ext uri="{FF2B5EF4-FFF2-40B4-BE49-F238E27FC236}">
                  <a16:creationId xmlns:a16="http://schemas.microsoft.com/office/drawing/2014/main" id="{E6AF830B-9CC3-4AD2-9345-72294C270D9A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10393265" y="10001868"/>
              <a:ext cx="27288" cy="56169"/>
            </a:xfrm>
            <a:custGeom>
              <a:avLst/>
              <a:gdLst/>
              <a:ahLst/>
              <a:cxnLst/>
              <a:rect l="0" t="0" r="0" b="0"/>
              <a:pathLst>
                <a:path w="2899" h="5967">
                  <a:moveTo>
                    <a:pt x="2229" y="5966"/>
                  </a:moveTo>
                  <a:lnTo>
                    <a:pt x="506" y="5816"/>
                  </a:lnTo>
                  <a:lnTo>
                    <a:pt x="182" y="5829"/>
                  </a:lnTo>
                  <a:lnTo>
                    <a:pt x="0" y="4844"/>
                  </a:lnTo>
                  <a:lnTo>
                    <a:pt x="106" y="2744"/>
                  </a:lnTo>
                  <a:lnTo>
                    <a:pt x="1063" y="0"/>
                  </a:lnTo>
                  <a:lnTo>
                    <a:pt x="1268" y="451"/>
                  </a:lnTo>
                  <a:lnTo>
                    <a:pt x="1387" y="1025"/>
                  </a:lnTo>
                  <a:lnTo>
                    <a:pt x="1583" y="1636"/>
                  </a:lnTo>
                  <a:lnTo>
                    <a:pt x="1687" y="2385"/>
                  </a:lnTo>
                  <a:lnTo>
                    <a:pt x="2043" y="3157"/>
                  </a:lnTo>
                  <a:lnTo>
                    <a:pt x="2691" y="3879"/>
                  </a:lnTo>
                  <a:lnTo>
                    <a:pt x="2898" y="4576"/>
                  </a:lnTo>
                  <a:lnTo>
                    <a:pt x="2570" y="5450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ee4p_LT_1_37764">
              <a:extLst>
                <a:ext uri="{FF2B5EF4-FFF2-40B4-BE49-F238E27FC236}">
                  <a16:creationId xmlns:a16="http://schemas.microsoft.com/office/drawing/2014/main" id="{CA6D330B-1F2C-41FC-9931-7712D61BBBA1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12770331" y="7458268"/>
              <a:ext cx="1223028" cy="730269"/>
            </a:xfrm>
            <a:custGeom>
              <a:avLst/>
              <a:gdLst>
                <a:gd name="connsiteX0" fmla="*/ 4755 w 129928"/>
                <a:gd name="connsiteY0" fmla="*/ 24770 h 77580"/>
                <a:gd name="connsiteX1" fmla="*/ 4774 w 129928"/>
                <a:gd name="connsiteY1" fmla="*/ 26268 h 77580"/>
                <a:gd name="connsiteX2" fmla="*/ 4513 w 129928"/>
                <a:gd name="connsiteY2" fmla="*/ 28758 h 77580"/>
                <a:gd name="connsiteX3" fmla="*/ 2917 w 129928"/>
                <a:gd name="connsiteY3" fmla="*/ 33001 h 77580"/>
                <a:gd name="connsiteX4" fmla="*/ 1283 w 129928"/>
                <a:gd name="connsiteY4" fmla="*/ 35210 h 77580"/>
                <a:gd name="connsiteX5" fmla="*/ 0 w 129928"/>
                <a:gd name="connsiteY5" fmla="*/ 34971 h 77580"/>
                <a:gd name="connsiteX6" fmla="*/ 2526 w 129928"/>
                <a:gd name="connsiteY6" fmla="*/ 31410 h 77580"/>
                <a:gd name="connsiteX7" fmla="*/ 3489 w 129928"/>
                <a:gd name="connsiteY7" fmla="*/ 29096 h 77580"/>
                <a:gd name="connsiteX8" fmla="*/ 4159 w 129928"/>
                <a:gd name="connsiteY8" fmla="*/ 25805 h 77580"/>
                <a:gd name="connsiteX9" fmla="*/ 87148 w 129928"/>
                <a:gd name="connsiteY9" fmla="*/ 0 h 77580"/>
                <a:gd name="connsiteX10" fmla="*/ 88519 w 129928"/>
                <a:gd name="connsiteY10" fmla="*/ 407 h 77580"/>
                <a:gd name="connsiteX11" fmla="*/ 89422 w 129928"/>
                <a:gd name="connsiteY11" fmla="*/ 2681 h 77580"/>
                <a:gd name="connsiteX12" fmla="*/ 92210 w 129928"/>
                <a:gd name="connsiteY12" fmla="*/ 6597 h 77580"/>
                <a:gd name="connsiteX13" fmla="*/ 95240 w 129928"/>
                <a:gd name="connsiteY13" fmla="*/ 7284 h 77580"/>
                <a:gd name="connsiteX14" fmla="*/ 103616 w 129928"/>
                <a:gd name="connsiteY14" fmla="*/ 8790 h 77580"/>
                <a:gd name="connsiteX15" fmla="*/ 105328 w 129928"/>
                <a:gd name="connsiteY15" fmla="*/ 9581 h 77580"/>
                <a:gd name="connsiteX16" fmla="*/ 110042 w 129928"/>
                <a:gd name="connsiteY16" fmla="*/ 13027 h 77580"/>
                <a:gd name="connsiteX17" fmla="*/ 112869 w 129928"/>
                <a:gd name="connsiteY17" fmla="*/ 14715 h 77580"/>
                <a:gd name="connsiteX18" fmla="*/ 114667 w 129928"/>
                <a:gd name="connsiteY18" fmla="*/ 16062 h 77580"/>
                <a:gd name="connsiteX19" fmla="*/ 117410 w 129928"/>
                <a:gd name="connsiteY19" fmla="*/ 18698 h 77580"/>
                <a:gd name="connsiteX20" fmla="*/ 118995 w 129928"/>
                <a:gd name="connsiteY20" fmla="*/ 20614 h 77580"/>
                <a:gd name="connsiteX21" fmla="*/ 121645 w 129928"/>
                <a:gd name="connsiteY21" fmla="*/ 22062 h 77580"/>
                <a:gd name="connsiteX22" fmla="*/ 124780 w 129928"/>
                <a:gd name="connsiteY22" fmla="*/ 23036 h 77580"/>
                <a:gd name="connsiteX23" fmla="*/ 125900 w 129928"/>
                <a:gd name="connsiteY23" fmla="*/ 23187 h 77580"/>
                <a:gd name="connsiteX24" fmla="*/ 125840 w 129928"/>
                <a:gd name="connsiteY24" fmla="*/ 24579 h 77580"/>
                <a:gd name="connsiteX25" fmla="*/ 125305 w 129928"/>
                <a:gd name="connsiteY25" fmla="*/ 26939 h 77580"/>
                <a:gd name="connsiteX26" fmla="*/ 124257 w 129928"/>
                <a:gd name="connsiteY26" fmla="*/ 29982 h 77580"/>
                <a:gd name="connsiteX27" fmla="*/ 123158 w 129928"/>
                <a:gd name="connsiteY27" fmla="*/ 32338 h 77580"/>
                <a:gd name="connsiteX28" fmla="*/ 122895 w 129928"/>
                <a:gd name="connsiteY28" fmla="*/ 33248 h 77580"/>
                <a:gd name="connsiteX29" fmla="*/ 123728 w 129928"/>
                <a:gd name="connsiteY29" fmla="*/ 34003 h 77580"/>
                <a:gd name="connsiteX30" fmla="*/ 127840 w 129928"/>
                <a:gd name="connsiteY30" fmla="*/ 34360 h 77580"/>
                <a:gd name="connsiteX31" fmla="*/ 129584 w 129928"/>
                <a:gd name="connsiteY31" fmla="*/ 34765 h 77580"/>
                <a:gd name="connsiteX32" fmla="*/ 129928 w 129928"/>
                <a:gd name="connsiteY32" fmla="*/ 35390 h 77580"/>
                <a:gd name="connsiteX33" fmla="*/ 129015 w 129928"/>
                <a:gd name="connsiteY33" fmla="*/ 36202 h 77580"/>
                <a:gd name="connsiteX34" fmla="*/ 127702 w 129928"/>
                <a:gd name="connsiteY34" fmla="*/ 36876 h 77580"/>
                <a:gd name="connsiteX35" fmla="*/ 127114 w 129928"/>
                <a:gd name="connsiteY35" fmla="*/ 37514 h 77580"/>
                <a:gd name="connsiteX36" fmla="*/ 126069 w 129928"/>
                <a:gd name="connsiteY36" fmla="*/ 39795 h 77580"/>
                <a:gd name="connsiteX37" fmla="*/ 119228 w 129928"/>
                <a:gd name="connsiteY37" fmla="*/ 39505 h 77580"/>
                <a:gd name="connsiteX38" fmla="*/ 118321 w 129928"/>
                <a:gd name="connsiteY38" fmla="*/ 39969 h 77580"/>
                <a:gd name="connsiteX39" fmla="*/ 117889 w 129928"/>
                <a:gd name="connsiteY39" fmla="*/ 41028 h 77580"/>
                <a:gd name="connsiteX40" fmla="*/ 117548 w 129928"/>
                <a:gd name="connsiteY40" fmla="*/ 42251 h 77580"/>
                <a:gd name="connsiteX41" fmla="*/ 116650 w 129928"/>
                <a:gd name="connsiteY41" fmla="*/ 43699 h 77580"/>
                <a:gd name="connsiteX42" fmla="*/ 114832 w 129928"/>
                <a:gd name="connsiteY42" fmla="*/ 44959 h 77580"/>
                <a:gd name="connsiteX43" fmla="*/ 111990 w 129928"/>
                <a:gd name="connsiteY43" fmla="*/ 45424 h 77580"/>
                <a:gd name="connsiteX44" fmla="*/ 109664 w 129928"/>
                <a:gd name="connsiteY44" fmla="*/ 46280 h 77580"/>
                <a:gd name="connsiteX45" fmla="*/ 107930 w 129928"/>
                <a:gd name="connsiteY45" fmla="*/ 48920 h 77580"/>
                <a:gd name="connsiteX46" fmla="*/ 106639 w 129928"/>
                <a:gd name="connsiteY46" fmla="*/ 52456 h 77580"/>
                <a:gd name="connsiteX47" fmla="*/ 106671 w 129928"/>
                <a:gd name="connsiteY47" fmla="*/ 54961 h 77580"/>
                <a:gd name="connsiteX48" fmla="*/ 106842 w 129928"/>
                <a:gd name="connsiteY48" fmla="*/ 56357 h 77580"/>
                <a:gd name="connsiteX49" fmla="*/ 106691 w 129928"/>
                <a:gd name="connsiteY49" fmla="*/ 57155 h 77580"/>
                <a:gd name="connsiteX50" fmla="*/ 105814 w 129928"/>
                <a:gd name="connsiteY50" fmla="*/ 58025 h 77580"/>
                <a:gd name="connsiteX51" fmla="*/ 104380 w 129928"/>
                <a:gd name="connsiteY51" fmla="*/ 60327 h 77580"/>
                <a:gd name="connsiteX52" fmla="*/ 103214 w 129928"/>
                <a:gd name="connsiteY52" fmla="*/ 62869 h 77580"/>
                <a:gd name="connsiteX53" fmla="*/ 102767 w 129928"/>
                <a:gd name="connsiteY53" fmla="*/ 64247 h 77580"/>
                <a:gd name="connsiteX54" fmla="*/ 102992 w 129928"/>
                <a:gd name="connsiteY54" fmla="*/ 64892 h 77580"/>
                <a:gd name="connsiteX55" fmla="*/ 104305 w 129928"/>
                <a:gd name="connsiteY55" fmla="*/ 64909 h 77580"/>
                <a:gd name="connsiteX56" fmla="*/ 106199 w 129928"/>
                <a:gd name="connsiteY56" fmla="*/ 65431 h 77580"/>
                <a:gd name="connsiteX57" fmla="*/ 107207 w 129928"/>
                <a:gd name="connsiteY57" fmla="*/ 66445 h 77580"/>
                <a:gd name="connsiteX58" fmla="*/ 107580 w 129928"/>
                <a:gd name="connsiteY58" fmla="*/ 67616 h 77580"/>
                <a:gd name="connsiteX59" fmla="*/ 107585 w 129928"/>
                <a:gd name="connsiteY59" fmla="*/ 68875 h 77580"/>
                <a:gd name="connsiteX60" fmla="*/ 107231 w 129928"/>
                <a:gd name="connsiteY60" fmla="*/ 69568 h 77580"/>
                <a:gd name="connsiteX61" fmla="*/ 105713 w 129928"/>
                <a:gd name="connsiteY61" fmla="*/ 70070 h 77580"/>
                <a:gd name="connsiteX62" fmla="*/ 103335 w 129928"/>
                <a:gd name="connsiteY62" fmla="*/ 70088 h 77580"/>
                <a:gd name="connsiteX63" fmla="*/ 101949 w 129928"/>
                <a:gd name="connsiteY63" fmla="*/ 69488 h 77580"/>
                <a:gd name="connsiteX64" fmla="*/ 101662 w 129928"/>
                <a:gd name="connsiteY64" fmla="*/ 69013 h 77580"/>
                <a:gd name="connsiteX65" fmla="*/ 102324 w 129928"/>
                <a:gd name="connsiteY65" fmla="*/ 67800 h 77580"/>
                <a:gd name="connsiteX66" fmla="*/ 101845 w 129928"/>
                <a:gd name="connsiteY66" fmla="*/ 66285 h 77580"/>
                <a:gd name="connsiteX67" fmla="*/ 100861 w 129928"/>
                <a:gd name="connsiteY67" fmla="*/ 65437 h 77580"/>
                <a:gd name="connsiteX68" fmla="*/ 98859 w 129928"/>
                <a:gd name="connsiteY68" fmla="*/ 66702 h 77580"/>
                <a:gd name="connsiteX69" fmla="*/ 96937 w 129928"/>
                <a:gd name="connsiteY69" fmla="*/ 66701 h 77580"/>
                <a:gd name="connsiteX70" fmla="*/ 94633 w 129928"/>
                <a:gd name="connsiteY70" fmla="*/ 67827 h 77580"/>
                <a:gd name="connsiteX71" fmla="*/ 93128 w 129928"/>
                <a:gd name="connsiteY71" fmla="*/ 69631 h 77580"/>
                <a:gd name="connsiteX72" fmla="*/ 91683 w 129928"/>
                <a:gd name="connsiteY72" fmla="*/ 70296 h 77580"/>
                <a:gd name="connsiteX73" fmla="*/ 87779 w 129928"/>
                <a:gd name="connsiteY73" fmla="*/ 69928 h 77580"/>
                <a:gd name="connsiteX74" fmla="*/ 86809 w 129928"/>
                <a:gd name="connsiteY74" fmla="*/ 70723 h 77580"/>
                <a:gd name="connsiteX75" fmla="*/ 86004 w 129928"/>
                <a:gd name="connsiteY75" fmla="*/ 74388 h 77580"/>
                <a:gd name="connsiteX76" fmla="*/ 85537 w 129928"/>
                <a:gd name="connsiteY76" fmla="*/ 75104 h 77580"/>
                <a:gd name="connsiteX77" fmla="*/ 82277 w 129928"/>
                <a:gd name="connsiteY77" fmla="*/ 74947 h 77580"/>
                <a:gd name="connsiteX78" fmla="*/ 79133 w 129928"/>
                <a:gd name="connsiteY78" fmla="*/ 76402 h 77580"/>
                <a:gd name="connsiteX79" fmla="*/ 75583 w 129928"/>
                <a:gd name="connsiteY79" fmla="*/ 77580 h 77580"/>
                <a:gd name="connsiteX80" fmla="*/ 73784 w 129928"/>
                <a:gd name="connsiteY80" fmla="*/ 76761 h 77580"/>
                <a:gd name="connsiteX81" fmla="*/ 72782 w 129928"/>
                <a:gd name="connsiteY81" fmla="*/ 75838 h 77580"/>
                <a:gd name="connsiteX82" fmla="*/ 70849 w 129928"/>
                <a:gd name="connsiteY82" fmla="*/ 76002 h 77580"/>
                <a:gd name="connsiteX83" fmla="*/ 68740 w 129928"/>
                <a:gd name="connsiteY83" fmla="*/ 76408 h 77580"/>
                <a:gd name="connsiteX84" fmla="*/ 67323 w 129928"/>
                <a:gd name="connsiteY84" fmla="*/ 76186 h 77580"/>
                <a:gd name="connsiteX85" fmla="*/ 65734 w 129928"/>
                <a:gd name="connsiteY85" fmla="*/ 76285 h 77580"/>
                <a:gd name="connsiteX86" fmla="*/ 62663 w 129928"/>
                <a:gd name="connsiteY86" fmla="*/ 76995 h 77580"/>
                <a:gd name="connsiteX87" fmla="*/ 58802 w 129928"/>
                <a:gd name="connsiteY87" fmla="*/ 76766 h 77580"/>
                <a:gd name="connsiteX88" fmla="*/ 57157 w 129928"/>
                <a:gd name="connsiteY88" fmla="*/ 76160 h 77580"/>
                <a:gd name="connsiteX89" fmla="*/ 57001 w 129928"/>
                <a:gd name="connsiteY89" fmla="*/ 75580 h 77580"/>
                <a:gd name="connsiteX90" fmla="*/ 57120 w 129928"/>
                <a:gd name="connsiteY90" fmla="*/ 74154 h 77580"/>
                <a:gd name="connsiteX91" fmla="*/ 57083 w 129928"/>
                <a:gd name="connsiteY91" fmla="*/ 71937 h 77580"/>
                <a:gd name="connsiteX92" fmla="*/ 56470 w 129928"/>
                <a:gd name="connsiteY92" fmla="*/ 69979 h 77580"/>
                <a:gd name="connsiteX93" fmla="*/ 54623 w 129928"/>
                <a:gd name="connsiteY93" fmla="*/ 68246 h 77580"/>
                <a:gd name="connsiteX94" fmla="*/ 52682 w 129928"/>
                <a:gd name="connsiteY94" fmla="*/ 67034 h 77580"/>
                <a:gd name="connsiteX95" fmla="*/ 50205 w 129928"/>
                <a:gd name="connsiteY95" fmla="*/ 65782 h 77580"/>
                <a:gd name="connsiteX96" fmla="*/ 48374 w 129928"/>
                <a:gd name="connsiteY96" fmla="*/ 65233 h 77580"/>
                <a:gd name="connsiteX97" fmla="*/ 47372 w 129928"/>
                <a:gd name="connsiteY97" fmla="*/ 65089 h 77580"/>
                <a:gd name="connsiteX98" fmla="*/ 47146 w 129928"/>
                <a:gd name="connsiteY98" fmla="*/ 64368 h 77580"/>
                <a:gd name="connsiteX99" fmla="*/ 46783 w 129928"/>
                <a:gd name="connsiteY99" fmla="*/ 63745 h 77580"/>
                <a:gd name="connsiteX100" fmla="*/ 45926 w 129928"/>
                <a:gd name="connsiteY100" fmla="*/ 63196 h 77580"/>
                <a:gd name="connsiteX101" fmla="*/ 44095 w 129928"/>
                <a:gd name="connsiteY101" fmla="*/ 62459 h 77580"/>
                <a:gd name="connsiteX102" fmla="*/ 42542 w 129928"/>
                <a:gd name="connsiteY102" fmla="*/ 62298 h 77580"/>
                <a:gd name="connsiteX103" fmla="*/ 41270 w 129928"/>
                <a:gd name="connsiteY103" fmla="*/ 63487 h 77580"/>
                <a:gd name="connsiteX104" fmla="*/ 40344 w 129928"/>
                <a:gd name="connsiteY104" fmla="*/ 61998 h 77580"/>
                <a:gd name="connsiteX105" fmla="*/ 39361 w 129928"/>
                <a:gd name="connsiteY105" fmla="*/ 59331 h 77580"/>
                <a:gd name="connsiteX106" fmla="*/ 39463 w 129928"/>
                <a:gd name="connsiteY106" fmla="*/ 57196 h 77580"/>
                <a:gd name="connsiteX107" fmla="*/ 40020 w 129928"/>
                <a:gd name="connsiteY107" fmla="*/ 55065 h 77580"/>
                <a:gd name="connsiteX108" fmla="*/ 42708 w 129928"/>
                <a:gd name="connsiteY108" fmla="*/ 48760 h 77580"/>
                <a:gd name="connsiteX109" fmla="*/ 42563 w 129928"/>
                <a:gd name="connsiteY109" fmla="*/ 47753 h 77580"/>
                <a:gd name="connsiteX110" fmla="*/ 40613 w 129928"/>
                <a:gd name="connsiteY110" fmla="*/ 45986 h 77580"/>
                <a:gd name="connsiteX111" fmla="*/ 38202 w 129928"/>
                <a:gd name="connsiteY111" fmla="*/ 44701 h 77580"/>
                <a:gd name="connsiteX112" fmla="*/ 36871 w 129928"/>
                <a:gd name="connsiteY112" fmla="*/ 41982 h 77580"/>
                <a:gd name="connsiteX113" fmla="*/ 31987 w 129928"/>
                <a:gd name="connsiteY113" fmla="*/ 41824 h 77580"/>
                <a:gd name="connsiteX114" fmla="*/ 27376 w 129928"/>
                <a:gd name="connsiteY114" fmla="*/ 41974 h 77580"/>
                <a:gd name="connsiteX115" fmla="*/ 25928 w 129928"/>
                <a:gd name="connsiteY115" fmla="*/ 41842 h 77580"/>
                <a:gd name="connsiteX116" fmla="*/ 21540 w 129928"/>
                <a:gd name="connsiteY116" fmla="*/ 40702 h 77580"/>
                <a:gd name="connsiteX117" fmla="*/ 17311 w 129928"/>
                <a:gd name="connsiteY117" fmla="*/ 38866 h 77580"/>
                <a:gd name="connsiteX118" fmla="*/ 14481 w 129928"/>
                <a:gd name="connsiteY118" fmla="*/ 37788 h 77580"/>
                <a:gd name="connsiteX119" fmla="*/ 12101 w 129928"/>
                <a:gd name="connsiteY119" fmla="*/ 36582 h 77580"/>
                <a:gd name="connsiteX120" fmla="*/ 10823 w 129928"/>
                <a:gd name="connsiteY120" fmla="*/ 35315 h 77580"/>
                <a:gd name="connsiteX121" fmla="*/ 8795 w 129928"/>
                <a:gd name="connsiteY121" fmla="*/ 35656 h 77580"/>
                <a:gd name="connsiteX122" fmla="*/ 7428 w 129928"/>
                <a:gd name="connsiteY122" fmla="*/ 35667 h 77580"/>
                <a:gd name="connsiteX123" fmla="*/ 7441 w 129928"/>
                <a:gd name="connsiteY123" fmla="*/ 35449 h 77580"/>
                <a:gd name="connsiteX124" fmla="*/ 6662 w 129928"/>
                <a:gd name="connsiteY124" fmla="*/ 33207 h 77580"/>
                <a:gd name="connsiteX125" fmla="*/ 7476 w 129928"/>
                <a:gd name="connsiteY125" fmla="*/ 29769 h 77580"/>
                <a:gd name="connsiteX126" fmla="*/ 5999 w 129928"/>
                <a:gd name="connsiteY126" fmla="*/ 24732 h 77580"/>
                <a:gd name="connsiteX127" fmla="*/ 3584 w 129928"/>
                <a:gd name="connsiteY127" fmla="*/ 18657 h 77580"/>
                <a:gd name="connsiteX128" fmla="*/ 3405 w 129928"/>
                <a:gd name="connsiteY128" fmla="*/ 12135 h 77580"/>
                <a:gd name="connsiteX129" fmla="*/ 3234 w 129928"/>
                <a:gd name="connsiteY129" fmla="*/ 10666 h 77580"/>
                <a:gd name="connsiteX130" fmla="*/ 9173 w 129928"/>
                <a:gd name="connsiteY130" fmla="*/ 6980 h 77580"/>
                <a:gd name="connsiteX131" fmla="*/ 16666 w 129928"/>
                <a:gd name="connsiteY131" fmla="*/ 3027 h 77580"/>
                <a:gd name="connsiteX132" fmla="*/ 18370 w 129928"/>
                <a:gd name="connsiteY132" fmla="*/ 2669 h 77580"/>
                <a:gd name="connsiteX133" fmla="*/ 25275 w 129928"/>
                <a:gd name="connsiteY133" fmla="*/ 326 h 77580"/>
                <a:gd name="connsiteX134" fmla="*/ 26197 w 129928"/>
                <a:gd name="connsiteY134" fmla="*/ 140 h 77580"/>
                <a:gd name="connsiteX135" fmla="*/ 32419 w 129928"/>
                <a:gd name="connsiteY135" fmla="*/ 574 h 77580"/>
                <a:gd name="connsiteX136" fmla="*/ 37306 w 129928"/>
                <a:gd name="connsiteY136" fmla="*/ 1131 h 77580"/>
                <a:gd name="connsiteX137" fmla="*/ 41425 w 129928"/>
                <a:gd name="connsiteY137" fmla="*/ 1062 h 77580"/>
                <a:gd name="connsiteX138" fmla="*/ 43688 w 129928"/>
                <a:gd name="connsiteY138" fmla="*/ 462 h 77580"/>
                <a:gd name="connsiteX139" fmla="*/ 45738 w 129928"/>
                <a:gd name="connsiteY139" fmla="*/ 964 h 77580"/>
                <a:gd name="connsiteX140" fmla="*/ 47390 w 129928"/>
                <a:gd name="connsiteY140" fmla="*/ 2729 h 77580"/>
                <a:gd name="connsiteX141" fmla="*/ 49089 w 129928"/>
                <a:gd name="connsiteY141" fmla="*/ 2522 h 77580"/>
                <a:gd name="connsiteX142" fmla="*/ 50771 w 129928"/>
                <a:gd name="connsiteY142" fmla="*/ 1380 h 77580"/>
                <a:gd name="connsiteX143" fmla="*/ 59987 w 129928"/>
                <a:gd name="connsiteY143" fmla="*/ 2423 h 77580"/>
                <a:gd name="connsiteX144" fmla="*/ 62067 w 129928"/>
                <a:gd name="connsiteY144" fmla="*/ 2398 h 77580"/>
                <a:gd name="connsiteX145" fmla="*/ 64410 w 129928"/>
                <a:gd name="connsiteY145" fmla="*/ 2567 h 77580"/>
                <a:gd name="connsiteX146" fmla="*/ 68733 w 129928"/>
                <a:gd name="connsiteY146" fmla="*/ 3630 h 77580"/>
                <a:gd name="connsiteX147" fmla="*/ 71220 w 129928"/>
                <a:gd name="connsiteY147" fmla="*/ 4600 h 77580"/>
                <a:gd name="connsiteX148" fmla="*/ 76686 w 129928"/>
                <a:gd name="connsiteY148" fmla="*/ 4014 h 77580"/>
                <a:gd name="connsiteX149" fmla="*/ 79025 w 129928"/>
                <a:gd name="connsiteY149" fmla="*/ 3980 h 77580"/>
                <a:gd name="connsiteX150" fmla="*/ 80249 w 129928"/>
                <a:gd name="connsiteY150" fmla="*/ 3598 h 77580"/>
                <a:gd name="connsiteX151" fmla="*/ 84019 w 129928"/>
                <a:gd name="connsiteY151" fmla="*/ 937 h 77580"/>
                <a:gd name="connsiteX152" fmla="*/ 85650 w 129928"/>
                <a:gd name="connsiteY152" fmla="*/ 479 h 77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</a:cxnLst>
              <a:rect l="l" t="t" r="r" b="b"/>
              <a:pathLst>
                <a:path w="129928" h="77580">
                  <a:moveTo>
                    <a:pt x="4755" y="24770"/>
                  </a:moveTo>
                  <a:lnTo>
                    <a:pt x="4774" y="26268"/>
                  </a:lnTo>
                  <a:lnTo>
                    <a:pt x="4513" y="28758"/>
                  </a:lnTo>
                  <a:lnTo>
                    <a:pt x="2917" y="33001"/>
                  </a:lnTo>
                  <a:lnTo>
                    <a:pt x="1283" y="35210"/>
                  </a:lnTo>
                  <a:lnTo>
                    <a:pt x="0" y="34971"/>
                  </a:lnTo>
                  <a:lnTo>
                    <a:pt x="2526" y="31410"/>
                  </a:lnTo>
                  <a:lnTo>
                    <a:pt x="3489" y="29096"/>
                  </a:lnTo>
                  <a:lnTo>
                    <a:pt x="4159" y="25805"/>
                  </a:lnTo>
                  <a:close/>
                  <a:moveTo>
                    <a:pt x="87148" y="0"/>
                  </a:moveTo>
                  <a:lnTo>
                    <a:pt x="88519" y="407"/>
                  </a:lnTo>
                  <a:lnTo>
                    <a:pt x="89422" y="2681"/>
                  </a:lnTo>
                  <a:lnTo>
                    <a:pt x="92210" y="6597"/>
                  </a:lnTo>
                  <a:lnTo>
                    <a:pt x="95240" y="7284"/>
                  </a:lnTo>
                  <a:lnTo>
                    <a:pt x="103616" y="8790"/>
                  </a:lnTo>
                  <a:lnTo>
                    <a:pt x="105328" y="9581"/>
                  </a:lnTo>
                  <a:lnTo>
                    <a:pt x="110042" y="13027"/>
                  </a:lnTo>
                  <a:lnTo>
                    <a:pt x="112869" y="14715"/>
                  </a:lnTo>
                  <a:lnTo>
                    <a:pt x="114667" y="16062"/>
                  </a:lnTo>
                  <a:lnTo>
                    <a:pt x="117410" y="18698"/>
                  </a:lnTo>
                  <a:lnTo>
                    <a:pt x="118995" y="20614"/>
                  </a:lnTo>
                  <a:lnTo>
                    <a:pt x="121645" y="22062"/>
                  </a:lnTo>
                  <a:lnTo>
                    <a:pt x="124780" y="23036"/>
                  </a:lnTo>
                  <a:lnTo>
                    <a:pt x="125900" y="23187"/>
                  </a:lnTo>
                  <a:lnTo>
                    <a:pt x="125840" y="24579"/>
                  </a:lnTo>
                  <a:lnTo>
                    <a:pt x="125305" y="26939"/>
                  </a:lnTo>
                  <a:lnTo>
                    <a:pt x="124257" y="29982"/>
                  </a:lnTo>
                  <a:lnTo>
                    <a:pt x="123158" y="32338"/>
                  </a:lnTo>
                  <a:lnTo>
                    <a:pt x="122895" y="33248"/>
                  </a:lnTo>
                  <a:lnTo>
                    <a:pt x="123728" y="34003"/>
                  </a:lnTo>
                  <a:lnTo>
                    <a:pt x="127840" y="34360"/>
                  </a:lnTo>
                  <a:lnTo>
                    <a:pt x="129584" y="34765"/>
                  </a:lnTo>
                  <a:lnTo>
                    <a:pt x="129928" y="35390"/>
                  </a:lnTo>
                  <a:lnTo>
                    <a:pt x="129015" y="36202"/>
                  </a:lnTo>
                  <a:lnTo>
                    <a:pt x="127702" y="36876"/>
                  </a:lnTo>
                  <a:lnTo>
                    <a:pt x="127114" y="37514"/>
                  </a:lnTo>
                  <a:lnTo>
                    <a:pt x="126069" y="39795"/>
                  </a:lnTo>
                  <a:lnTo>
                    <a:pt x="119228" y="39505"/>
                  </a:lnTo>
                  <a:lnTo>
                    <a:pt x="118321" y="39969"/>
                  </a:lnTo>
                  <a:lnTo>
                    <a:pt x="117889" y="41028"/>
                  </a:lnTo>
                  <a:lnTo>
                    <a:pt x="117548" y="42251"/>
                  </a:lnTo>
                  <a:lnTo>
                    <a:pt x="116650" y="43699"/>
                  </a:lnTo>
                  <a:lnTo>
                    <a:pt x="114832" y="44959"/>
                  </a:lnTo>
                  <a:lnTo>
                    <a:pt x="111990" y="45424"/>
                  </a:lnTo>
                  <a:lnTo>
                    <a:pt x="109664" y="46280"/>
                  </a:lnTo>
                  <a:lnTo>
                    <a:pt x="107930" y="48920"/>
                  </a:lnTo>
                  <a:lnTo>
                    <a:pt x="106639" y="52456"/>
                  </a:lnTo>
                  <a:lnTo>
                    <a:pt x="106671" y="54961"/>
                  </a:lnTo>
                  <a:lnTo>
                    <a:pt x="106842" y="56357"/>
                  </a:lnTo>
                  <a:lnTo>
                    <a:pt x="106691" y="57155"/>
                  </a:lnTo>
                  <a:lnTo>
                    <a:pt x="105814" y="58025"/>
                  </a:lnTo>
                  <a:lnTo>
                    <a:pt x="104380" y="60327"/>
                  </a:lnTo>
                  <a:lnTo>
                    <a:pt x="103214" y="62869"/>
                  </a:lnTo>
                  <a:lnTo>
                    <a:pt x="102767" y="64247"/>
                  </a:lnTo>
                  <a:lnTo>
                    <a:pt x="102992" y="64892"/>
                  </a:lnTo>
                  <a:lnTo>
                    <a:pt x="104305" y="64909"/>
                  </a:lnTo>
                  <a:lnTo>
                    <a:pt x="106199" y="65431"/>
                  </a:lnTo>
                  <a:lnTo>
                    <a:pt x="107207" y="66445"/>
                  </a:lnTo>
                  <a:lnTo>
                    <a:pt x="107580" y="67616"/>
                  </a:lnTo>
                  <a:lnTo>
                    <a:pt x="107585" y="68875"/>
                  </a:lnTo>
                  <a:lnTo>
                    <a:pt x="107231" y="69568"/>
                  </a:lnTo>
                  <a:lnTo>
                    <a:pt x="105713" y="70070"/>
                  </a:lnTo>
                  <a:lnTo>
                    <a:pt x="103335" y="70088"/>
                  </a:lnTo>
                  <a:lnTo>
                    <a:pt x="101949" y="69488"/>
                  </a:lnTo>
                  <a:lnTo>
                    <a:pt x="101662" y="69013"/>
                  </a:lnTo>
                  <a:lnTo>
                    <a:pt x="102324" y="67800"/>
                  </a:lnTo>
                  <a:lnTo>
                    <a:pt x="101845" y="66285"/>
                  </a:lnTo>
                  <a:lnTo>
                    <a:pt x="100861" y="65437"/>
                  </a:lnTo>
                  <a:lnTo>
                    <a:pt x="98859" y="66702"/>
                  </a:lnTo>
                  <a:lnTo>
                    <a:pt x="96937" y="66701"/>
                  </a:lnTo>
                  <a:lnTo>
                    <a:pt x="94633" y="67827"/>
                  </a:lnTo>
                  <a:lnTo>
                    <a:pt x="93128" y="69631"/>
                  </a:lnTo>
                  <a:lnTo>
                    <a:pt x="91683" y="70296"/>
                  </a:lnTo>
                  <a:lnTo>
                    <a:pt x="87779" y="69928"/>
                  </a:lnTo>
                  <a:lnTo>
                    <a:pt x="86809" y="70723"/>
                  </a:lnTo>
                  <a:lnTo>
                    <a:pt x="86004" y="74388"/>
                  </a:lnTo>
                  <a:lnTo>
                    <a:pt x="85537" y="75104"/>
                  </a:lnTo>
                  <a:lnTo>
                    <a:pt x="82277" y="74947"/>
                  </a:lnTo>
                  <a:lnTo>
                    <a:pt x="79133" y="76402"/>
                  </a:lnTo>
                  <a:lnTo>
                    <a:pt x="75583" y="77580"/>
                  </a:lnTo>
                  <a:lnTo>
                    <a:pt x="73784" y="76761"/>
                  </a:lnTo>
                  <a:lnTo>
                    <a:pt x="72782" y="75838"/>
                  </a:lnTo>
                  <a:lnTo>
                    <a:pt x="70849" y="76002"/>
                  </a:lnTo>
                  <a:lnTo>
                    <a:pt x="68740" y="76408"/>
                  </a:lnTo>
                  <a:lnTo>
                    <a:pt x="67323" y="76186"/>
                  </a:lnTo>
                  <a:lnTo>
                    <a:pt x="65734" y="76285"/>
                  </a:lnTo>
                  <a:lnTo>
                    <a:pt x="62663" y="76995"/>
                  </a:lnTo>
                  <a:lnTo>
                    <a:pt x="58802" y="76766"/>
                  </a:lnTo>
                  <a:lnTo>
                    <a:pt x="57157" y="76160"/>
                  </a:lnTo>
                  <a:lnTo>
                    <a:pt x="57001" y="75580"/>
                  </a:lnTo>
                  <a:lnTo>
                    <a:pt x="57120" y="74154"/>
                  </a:lnTo>
                  <a:lnTo>
                    <a:pt x="57083" y="71937"/>
                  </a:lnTo>
                  <a:lnTo>
                    <a:pt x="56470" y="69979"/>
                  </a:lnTo>
                  <a:lnTo>
                    <a:pt x="54623" y="68246"/>
                  </a:lnTo>
                  <a:lnTo>
                    <a:pt x="52682" y="67034"/>
                  </a:lnTo>
                  <a:lnTo>
                    <a:pt x="50205" y="65782"/>
                  </a:lnTo>
                  <a:lnTo>
                    <a:pt x="48374" y="65233"/>
                  </a:lnTo>
                  <a:lnTo>
                    <a:pt x="47372" y="65089"/>
                  </a:lnTo>
                  <a:lnTo>
                    <a:pt x="47146" y="64368"/>
                  </a:lnTo>
                  <a:lnTo>
                    <a:pt x="46783" y="63745"/>
                  </a:lnTo>
                  <a:lnTo>
                    <a:pt x="45926" y="63196"/>
                  </a:lnTo>
                  <a:lnTo>
                    <a:pt x="44095" y="62459"/>
                  </a:lnTo>
                  <a:lnTo>
                    <a:pt x="42542" y="62298"/>
                  </a:lnTo>
                  <a:lnTo>
                    <a:pt x="41270" y="63487"/>
                  </a:lnTo>
                  <a:lnTo>
                    <a:pt x="40344" y="61998"/>
                  </a:lnTo>
                  <a:lnTo>
                    <a:pt x="39361" y="59331"/>
                  </a:lnTo>
                  <a:lnTo>
                    <a:pt x="39463" y="57196"/>
                  </a:lnTo>
                  <a:lnTo>
                    <a:pt x="40020" y="55065"/>
                  </a:lnTo>
                  <a:lnTo>
                    <a:pt x="42708" y="48760"/>
                  </a:lnTo>
                  <a:lnTo>
                    <a:pt x="42563" y="47753"/>
                  </a:lnTo>
                  <a:lnTo>
                    <a:pt x="40613" y="45986"/>
                  </a:lnTo>
                  <a:lnTo>
                    <a:pt x="38202" y="44701"/>
                  </a:lnTo>
                  <a:lnTo>
                    <a:pt x="36871" y="41982"/>
                  </a:lnTo>
                  <a:lnTo>
                    <a:pt x="31987" y="41824"/>
                  </a:lnTo>
                  <a:lnTo>
                    <a:pt x="27376" y="41974"/>
                  </a:lnTo>
                  <a:lnTo>
                    <a:pt x="25928" y="41842"/>
                  </a:lnTo>
                  <a:lnTo>
                    <a:pt x="21540" y="40702"/>
                  </a:lnTo>
                  <a:lnTo>
                    <a:pt x="17311" y="38866"/>
                  </a:lnTo>
                  <a:lnTo>
                    <a:pt x="14481" y="37788"/>
                  </a:lnTo>
                  <a:lnTo>
                    <a:pt x="12101" y="36582"/>
                  </a:lnTo>
                  <a:lnTo>
                    <a:pt x="10823" y="35315"/>
                  </a:lnTo>
                  <a:lnTo>
                    <a:pt x="8795" y="35656"/>
                  </a:lnTo>
                  <a:lnTo>
                    <a:pt x="7428" y="35667"/>
                  </a:lnTo>
                  <a:lnTo>
                    <a:pt x="7441" y="35449"/>
                  </a:lnTo>
                  <a:lnTo>
                    <a:pt x="6662" y="33207"/>
                  </a:lnTo>
                  <a:lnTo>
                    <a:pt x="7476" y="29769"/>
                  </a:lnTo>
                  <a:lnTo>
                    <a:pt x="5999" y="24732"/>
                  </a:lnTo>
                  <a:lnTo>
                    <a:pt x="3584" y="18657"/>
                  </a:lnTo>
                  <a:lnTo>
                    <a:pt x="3405" y="12135"/>
                  </a:lnTo>
                  <a:lnTo>
                    <a:pt x="3234" y="10666"/>
                  </a:lnTo>
                  <a:lnTo>
                    <a:pt x="9173" y="6980"/>
                  </a:lnTo>
                  <a:lnTo>
                    <a:pt x="16666" y="3027"/>
                  </a:lnTo>
                  <a:lnTo>
                    <a:pt x="18370" y="2669"/>
                  </a:lnTo>
                  <a:lnTo>
                    <a:pt x="25275" y="326"/>
                  </a:lnTo>
                  <a:lnTo>
                    <a:pt x="26197" y="140"/>
                  </a:lnTo>
                  <a:lnTo>
                    <a:pt x="32419" y="574"/>
                  </a:lnTo>
                  <a:lnTo>
                    <a:pt x="37306" y="1131"/>
                  </a:lnTo>
                  <a:lnTo>
                    <a:pt x="41425" y="1062"/>
                  </a:lnTo>
                  <a:lnTo>
                    <a:pt x="43688" y="462"/>
                  </a:lnTo>
                  <a:lnTo>
                    <a:pt x="45738" y="964"/>
                  </a:lnTo>
                  <a:lnTo>
                    <a:pt x="47390" y="2729"/>
                  </a:lnTo>
                  <a:lnTo>
                    <a:pt x="49089" y="2522"/>
                  </a:lnTo>
                  <a:lnTo>
                    <a:pt x="50771" y="1380"/>
                  </a:lnTo>
                  <a:lnTo>
                    <a:pt x="59987" y="2423"/>
                  </a:lnTo>
                  <a:lnTo>
                    <a:pt x="62067" y="2398"/>
                  </a:lnTo>
                  <a:lnTo>
                    <a:pt x="64410" y="2567"/>
                  </a:lnTo>
                  <a:lnTo>
                    <a:pt x="68733" y="3630"/>
                  </a:lnTo>
                  <a:lnTo>
                    <a:pt x="71220" y="4600"/>
                  </a:lnTo>
                  <a:lnTo>
                    <a:pt x="76686" y="4014"/>
                  </a:lnTo>
                  <a:lnTo>
                    <a:pt x="79025" y="3980"/>
                  </a:lnTo>
                  <a:lnTo>
                    <a:pt x="80249" y="3598"/>
                  </a:lnTo>
                  <a:lnTo>
                    <a:pt x="84019" y="937"/>
                  </a:lnTo>
                  <a:lnTo>
                    <a:pt x="85650" y="479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ee4p_LU_1_37764">
              <a:extLst>
                <a:ext uri="{FF2B5EF4-FFF2-40B4-BE49-F238E27FC236}">
                  <a16:creationId xmlns:a16="http://schemas.microsoft.com/office/drawing/2014/main" id="{317C22A3-A6CB-467F-81C8-44086A029255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9611799" y="9226265"/>
              <a:ext cx="160023" cy="195669"/>
            </a:xfrm>
            <a:custGeom>
              <a:avLst/>
              <a:gdLst/>
              <a:ahLst/>
              <a:cxnLst/>
              <a:rect l="0" t="0" r="0" b="0"/>
              <a:pathLst>
                <a:path w="17000" h="20787">
                  <a:moveTo>
                    <a:pt x="8657" y="1335"/>
                  </a:moveTo>
                  <a:lnTo>
                    <a:pt x="8476" y="2109"/>
                  </a:lnTo>
                  <a:lnTo>
                    <a:pt x="8508" y="3838"/>
                  </a:lnTo>
                  <a:lnTo>
                    <a:pt x="9136" y="5572"/>
                  </a:lnTo>
                  <a:lnTo>
                    <a:pt x="10611" y="7279"/>
                  </a:lnTo>
                  <a:lnTo>
                    <a:pt x="11743" y="8517"/>
                  </a:lnTo>
                  <a:lnTo>
                    <a:pt x="13259" y="9505"/>
                  </a:lnTo>
                  <a:lnTo>
                    <a:pt x="15830" y="10443"/>
                  </a:lnTo>
                  <a:lnTo>
                    <a:pt x="16856" y="10640"/>
                  </a:lnTo>
                  <a:lnTo>
                    <a:pt x="16999" y="11909"/>
                  </a:lnTo>
                  <a:lnTo>
                    <a:pt x="16800" y="13250"/>
                  </a:lnTo>
                  <a:lnTo>
                    <a:pt x="15912" y="13991"/>
                  </a:lnTo>
                  <a:lnTo>
                    <a:pt x="15074" y="15057"/>
                  </a:lnTo>
                  <a:lnTo>
                    <a:pt x="14446" y="16361"/>
                  </a:lnTo>
                  <a:lnTo>
                    <a:pt x="13785" y="18857"/>
                  </a:lnTo>
                  <a:lnTo>
                    <a:pt x="13695" y="20577"/>
                  </a:lnTo>
                  <a:lnTo>
                    <a:pt x="12213" y="19865"/>
                  </a:lnTo>
                  <a:lnTo>
                    <a:pt x="11436" y="19383"/>
                  </a:lnTo>
                  <a:lnTo>
                    <a:pt x="10084" y="19252"/>
                  </a:lnTo>
                  <a:lnTo>
                    <a:pt x="8732" y="19645"/>
                  </a:lnTo>
                  <a:lnTo>
                    <a:pt x="7720" y="20522"/>
                  </a:lnTo>
                  <a:lnTo>
                    <a:pt x="6333" y="20786"/>
                  </a:lnTo>
                  <a:lnTo>
                    <a:pt x="5185" y="20522"/>
                  </a:lnTo>
                  <a:lnTo>
                    <a:pt x="4509" y="19865"/>
                  </a:lnTo>
                  <a:lnTo>
                    <a:pt x="3900" y="19515"/>
                  </a:lnTo>
                  <a:lnTo>
                    <a:pt x="2177" y="19075"/>
                  </a:lnTo>
                  <a:lnTo>
                    <a:pt x="1431" y="18122"/>
                  </a:lnTo>
                  <a:lnTo>
                    <a:pt x="2000" y="17676"/>
                  </a:lnTo>
                  <a:lnTo>
                    <a:pt x="2489" y="16972"/>
                  </a:lnTo>
                  <a:lnTo>
                    <a:pt x="2908" y="15980"/>
                  </a:lnTo>
                  <a:lnTo>
                    <a:pt x="3436" y="15063"/>
                  </a:lnTo>
                  <a:lnTo>
                    <a:pt x="1740" y="12549"/>
                  </a:lnTo>
                  <a:lnTo>
                    <a:pt x="1393" y="11780"/>
                  </a:lnTo>
                  <a:lnTo>
                    <a:pt x="0" y="10358"/>
                  </a:lnTo>
                  <a:lnTo>
                    <a:pt x="17" y="9636"/>
                  </a:lnTo>
                  <a:lnTo>
                    <a:pt x="350" y="8949"/>
                  </a:lnTo>
                  <a:lnTo>
                    <a:pt x="226" y="8417"/>
                  </a:lnTo>
                  <a:lnTo>
                    <a:pt x="421" y="7149"/>
                  </a:lnTo>
                  <a:lnTo>
                    <a:pt x="1395" y="5949"/>
                  </a:lnTo>
                  <a:lnTo>
                    <a:pt x="2043" y="4464"/>
                  </a:lnTo>
                  <a:lnTo>
                    <a:pt x="3137" y="2439"/>
                  </a:lnTo>
                  <a:lnTo>
                    <a:pt x="5556" y="0"/>
                  </a:lnTo>
                  <a:lnTo>
                    <a:pt x="7292" y="372"/>
                  </a:lnTo>
                  <a:lnTo>
                    <a:pt x="8050" y="364"/>
                  </a:lnTo>
                  <a:lnTo>
                    <a:pt x="8514" y="1255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ee4p_LV_1_37764">
              <a:extLst>
                <a:ext uri="{FF2B5EF4-FFF2-40B4-BE49-F238E27FC236}">
                  <a16:creationId xmlns:a16="http://schemas.microsoft.com/office/drawing/2014/main" id="{AC8D37DF-184A-4271-93EB-9757DAED404C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12794304" y="6965039"/>
              <a:ext cx="1495959" cy="711499"/>
            </a:xfrm>
            <a:custGeom>
              <a:avLst/>
              <a:gdLst/>
              <a:ahLst/>
              <a:cxnLst/>
              <a:rect l="0" t="0" r="0" b="0"/>
              <a:pathLst>
                <a:path w="158923" h="75586">
                  <a:moveTo>
                    <a:pt x="140124" y="17113"/>
                  </a:moveTo>
                  <a:lnTo>
                    <a:pt x="142728" y="17243"/>
                  </a:lnTo>
                  <a:lnTo>
                    <a:pt x="143644" y="17749"/>
                  </a:lnTo>
                  <a:lnTo>
                    <a:pt x="144253" y="20242"/>
                  </a:lnTo>
                  <a:lnTo>
                    <a:pt x="147218" y="22202"/>
                  </a:lnTo>
                  <a:lnTo>
                    <a:pt x="149963" y="23827"/>
                  </a:lnTo>
                  <a:lnTo>
                    <a:pt x="150664" y="24577"/>
                  </a:lnTo>
                  <a:lnTo>
                    <a:pt x="150878" y="26024"/>
                  </a:lnTo>
                  <a:lnTo>
                    <a:pt x="150701" y="27712"/>
                  </a:lnTo>
                  <a:lnTo>
                    <a:pt x="150353" y="28586"/>
                  </a:lnTo>
                  <a:lnTo>
                    <a:pt x="149209" y="29593"/>
                  </a:lnTo>
                  <a:lnTo>
                    <a:pt x="148205" y="32139"/>
                  </a:lnTo>
                  <a:lnTo>
                    <a:pt x="148067" y="34560"/>
                  </a:lnTo>
                  <a:lnTo>
                    <a:pt x="146482" y="38739"/>
                  </a:lnTo>
                  <a:lnTo>
                    <a:pt x="146840" y="38816"/>
                  </a:lnTo>
                  <a:lnTo>
                    <a:pt x="150166" y="38063"/>
                  </a:lnTo>
                  <a:lnTo>
                    <a:pt x="151107" y="38495"/>
                  </a:lnTo>
                  <a:lnTo>
                    <a:pt x="151835" y="39417"/>
                  </a:lnTo>
                  <a:lnTo>
                    <a:pt x="152068" y="42035"/>
                  </a:lnTo>
                  <a:lnTo>
                    <a:pt x="153158" y="43211"/>
                  </a:lnTo>
                  <a:lnTo>
                    <a:pt x="154268" y="45048"/>
                  </a:lnTo>
                  <a:lnTo>
                    <a:pt x="154620" y="46477"/>
                  </a:lnTo>
                  <a:lnTo>
                    <a:pt x="156734" y="48178"/>
                  </a:lnTo>
                  <a:lnTo>
                    <a:pt x="156905" y="49277"/>
                  </a:lnTo>
                  <a:lnTo>
                    <a:pt x="158196" y="53160"/>
                  </a:lnTo>
                  <a:lnTo>
                    <a:pt x="158693" y="55393"/>
                  </a:lnTo>
                  <a:lnTo>
                    <a:pt x="158922" y="57119"/>
                  </a:lnTo>
                  <a:lnTo>
                    <a:pt x="158287" y="59309"/>
                  </a:lnTo>
                  <a:lnTo>
                    <a:pt x="157726" y="60790"/>
                  </a:lnTo>
                  <a:lnTo>
                    <a:pt x="157061" y="60700"/>
                  </a:lnTo>
                  <a:lnTo>
                    <a:pt x="155162" y="61090"/>
                  </a:lnTo>
                  <a:lnTo>
                    <a:pt x="152161" y="62874"/>
                  </a:lnTo>
                  <a:lnTo>
                    <a:pt x="147693" y="67069"/>
                  </a:lnTo>
                  <a:lnTo>
                    <a:pt x="146544" y="67998"/>
                  </a:lnTo>
                  <a:lnTo>
                    <a:pt x="145376" y="71187"/>
                  </a:lnTo>
                  <a:lnTo>
                    <a:pt x="145095" y="71510"/>
                  </a:lnTo>
                  <a:lnTo>
                    <a:pt x="142496" y="71363"/>
                  </a:lnTo>
                  <a:lnTo>
                    <a:pt x="141787" y="71287"/>
                  </a:lnTo>
                  <a:lnTo>
                    <a:pt x="139179" y="71351"/>
                  </a:lnTo>
                  <a:lnTo>
                    <a:pt x="133504" y="70522"/>
                  </a:lnTo>
                  <a:lnTo>
                    <a:pt x="131303" y="71070"/>
                  </a:lnTo>
                  <a:lnTo>
                    <a:pt x="128416" y="74291"/>
                  </a:lnTo>
                  <a:lnTo>
                    <a:pt x="127298" y="74764"/>
                  </a:lnTo>
                  <a:lnTo>
                    <a:pt x="123944" y="75210"/>
                  </a:lnTo>
                  <a:lnTo>
                    <a:pt x="123354" y="75585"/>
                  </a:lnTo>
                  <a:lnTo>
                    <a:pt x="122234" y="75434"/>
                  </a:lnTo>
                  <a:lnTo>
                    <a:pt x="119099" y="74460"/>
                  </a:lnTo>
                  <a:lnTo>
                    <a:pt x="116449" y="73012"/>
                  </a:lnTo>
                  <a:lnTo>
                    <a:pt x="114864" y="71096"/>
                  </a:lnTo>
                  <a:lnTo>
                    <a:pt x="112121" y="68460"/>
                  </a:lnTo>
                  <a:lnTo>
                    <a:pt x="110323" y="67113"/>
                  </a:lnTo>
                  <a:lnTo>
                    <a:pt x="107496" y="65425"/>
                  </a:lnTo>
                  <a:lnTo>
                    <a:pt x="102782" y="61979"/>
                  </a:lnTo>
                  <a:lnTo>
                    <a:pt x="101070" y="61188"/>
                  </a:lnTo>
                  <a:lnTo>
                    <a:pt x="92694" y="59682"/>
                  </a:lnTo>
                  <a:lnTo>
                    <a:pt x="89664" y="58995"/>
                  </a:lnTo>
                  <a:lnTo>
                    <a:pt x="86876" y="55079"/>
                  </a:lnTo>
                  <a:lnTo>
                    <a:pt x="85973" y="52805"/>
                  </a:lnTo>
                  <a:lnTo>
                    <a:pt x="84602" y="52398"/>
                  </a:lnTo>
                  <a:lnTo>
                    <a:pt x="83104" y="52877"/>
                  </a:lnTo>
                  <a:lnTo>
                    <a:pt x="81473" y="53335"/>
                  </a:lnTo>
                  <a:lnTo>
                    <a:pt x="77703" y="55996"/>
                  </a:lnTo>
                  <a:lnTo>
                    <a:pt x="76479" y="56378"/>
                  </a:lnTo>
                  <a:lnTo>
                    <a:pt x="74140" y="56412"/>
                  </a:lnTo>
                  <a:lnTo>
                    <a:pt x="68674" y="56998"/>
                  </a:lnTo>
                  <a:lnTo>
                    <a:pt x="66187" y="56028"/>
                  </a:lnTo>
                  <a:lnTo>
                    <a:pt x="61864" y="54965"/>
                  </a:lnTo>
                  <a:lnTo>
                    <a:pt x="59521" y="54796"/>
                  </a:lnTo>
                  <a:lnTo>
                    <a:pt x="57441" y="54821"/>
                  </a:lnTo>
                  <a:lnTo>
                    <a:pt x="48225" y="53778"/>
                  </a:lnTo>
                  <a:lnTo>
                    <a:pt x="46543" y="54920"/>
                  </a:lnTo>
                  <a:lnTo>
                    <a:pt x="44844" y="55127"/>
                  </a:lnTo>
                  <a:lnTo>
                    <a:pt x="43192" y="53362"/>
                  </a:lnTo>
                  <a:lnTo>
                    <a:pt x="41142" y="52860"/>
                  </a:lnTo>
                  <a:lnTo>
                    <a:pt x="38879" y="53460"/>
                  </a:lnTo>
                  <a:lnTo>
                    <a:pt x="34760" y="53529"/>
                  </a:lnTo>
                  <a:lnTo>
                    <a:pt x="29873" y="52972"/>
                  </a:lnTo>
                  <a:lnTo>
                    <a:pt x="23651" y="52538"/>
                  </a:lnTo>
                  <a:lnTo>
                    <a:pt x="22729" y="52724"/>
                  </a:lnTo>
                  <a:lnTo>
                    <a:pt x="15824" y="55067"/>
                  </a:lnTo>
                  <a:lnTo>
                    <a:pt x="14120" y="55425"/>
                  </a:lnTo>
                  <a:lnTo>
                    <a:pt x="6627" y="59378"/>
                  </a:lnTo>
                  <a:lnTo>
                    <a:pt x="688" y="63064"/>
                  </a:lnTo>
                  <a:lnTo>
                    <a:pt x="0" y="57165"/>
                  </a:lnTo>
                  <a:lnTo>
                    <a:pt x="365" y="45323"/>
                  </a:lnTo>
                  <a:lnTo>
                    <a:pt x="1246" y="39431"/>
                  </a:lnTo>
                  <a:lnTo>
                    <a:pt x="5361" y="35991"/>
                  </a:lnTo>
                  <a:lnTo>
                    <a:pt x="7426" y="33308"/>
                  </a:lnTo>
                  <a:lnTo>
                    <a:pt x="8627" y="29723"/>
                  </a:lnTo>
                  <a:lnTo>
                    <a:pt x="8989" y="26401"/>
                  </a:lnTo>
                  <a:lnTo>
                    <a:pt x="9823" y="23652"/>
                  </a:lnTo>
                  <a:lnTo>
                    <a:pt x="15783" y="15747"/>
                  </a:lnTo>
                  <a:lnTo>
                    <a:pt x="20507" y="14891"/>
                  </a:lnTo>
                  <a:lnTo>
                    <a:pt x="26899" y="12692"/>
                  </a:lnTo>
                  <a:lnTo>
                    <a:pt x="34044" y="10858"/>
                  </a:lnTo>
                  <a:lnTo>
                    <a:pt x="35425" y="13191"/>
                  </a:lnTo>
                  <a:lnTo>
                    <a:pt x="36124" y="14970"/>
                  </a:lnTo>
                  <a:lnTo>
                    <a:pt x="44729" y="21440"/>
                  </a:lnTo>
                  <a:lnTo>
                    <a:pt x="46919" y="23609"/>
                  </a:lnTo>
                  <a:lnTo>
                    <a:pt x="50247" y="31029"/>
                  </a:lnTo>
                  <a:lnTo>
                    <a:pt x="58217" y="34782"/>
                  </a:lnTo>
                  <a:lnTo>
                    <a:pt x="64483" y="33598"/>
                  </a:lnTo>
                  <a:lnTo>
                    <a:pt x="67206" y="31776"/>
                  </a:lnTo>
                  <a:lnTo>
                    <a:pt x="72225" y="28414"/>
                  </a:lnTo>
                  <a:lnTo>
                    <a:pt x="74466" y="25950"/>
                  </a:lnTo>
                  <a:lnTo>
                    <a:pt x="74922" y="23572"/>
                  </a:lnTo>
                  <a:lnTo>
                    <a:pt x="74032" y="13378"/>
                  </a:lnTo>
                  <a:lnTo>
                    <a:pt x="72674" y="8945"/>
                  </a:lnTo>
                  <a:lnTo>
                    <a:pt x="73138" y="6179"/>
                  </a:lnTo>
                  <a:lnTo>
                    <a:pt x="74021" y="6322"/>
                  </a:lnTo>
                  <a:lnTo>
                    <a:pt x="76153" y="4987"/>
                  </a:lnTo>
                  <a:lnTo>
                    <a:pt x="83160" y="2507"/>
                  </a:lnTo>
                  <a:lnTo>
                    <a:pt x="84559" y="2396"/>
                  </a:lnTo>
                  <a:lnTo>
                    <a:pt x="86157" y="1887"/>
                  </a:lnTo>
                  <a:lnTo>
                    <a:pt x="90573" y="0"/>
                  </a:lnTo>
                  <a:lnTo>
                    <a:pt x="91992" y="1004"/>
                  </a:lnTo>
                  <a:lnTo>
                    <a:pt x="93175" y="2144"/>
                  </a:lnTo>
                  <a:lnTo>
                    <a:pt x="93829" y="2158"/>
                  </a:lnTo>
                  <a:lnTo>
                    <a:pt x="94147" y="1734"/>
                  </a:lnTo>
                  <a:lnTo>
                    <a:pt x="94058" y="1001"/>
                  </a:lnTo>
                  <a:lnTo>
                    <a:pt x="94367" y="479"/>
                  </a:lnTo>
                  <a:lnTo>
                    <a:pt x="95637" y="769"/>
                  </a:lnTo>
                  <a:lnTo>
                    <a:pt x="100750" y="3869"/>
                  </a:lnTo>
                  <a:lnTo>
                    <a:pt x="102715" y="4593"/>
                  </a:lnTo>
                  <a:lnTo>
                    <a:pt x="104058" y="4796"/>
                  </a:lnTo>
                  <a:lnTo>
                    <a:pt x="105669" y="6245"/>
                  </a:lnTo>
                  <a:lnTo>
                    <a:pt x="110033" y="7217"/>
                  </a:lnTo>
                  <a:lnTo>
                    <a:pt x="110567" y="7966"/>
                  </a:lnTo>
                  <a:lnTo>
                    <a:pt x="110901" y="8900"/>
                  </a:lnTo>
                  <a:lnTo>
                    <a:pt x="114985" y="12822"/>
                  </a:lnTo>
                  <a:lnTo>
                    <a:pt x="116820" y="14788"/>
                  </a:lnTo>
                  <a:lnTo>
                    <a:pt x="120448" y="16592"/>
                  </a:lnTo>
                  <a:lnTo>
                    <a:pt x="122007" y="17021"/>
                  </a:lnTo>
                  <a:lnTo>
                    <a:pt x="128356" y="15182"/>
                  </a:lnTo>
                  <a:lnTo>
                    <a:pt x="130127" y="14542"/>
                  </a:lnTo>
                  <a:lnTo>
                    <a:pt x="131590" y="14532"/>
                  </a:lnTo>
                  <a:lnTo>
                    <a:pt x="133081" y="15500"/>
                  </a:lnTo>
                  <a:lnTo>
                    <a:pt x="136479" y="16788"/>
                  </a:lnTo>
                  <a:lnTo>
                    <a:pt x="139563" y="17196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ee4p_MC_1_37764">
              <a:extLst>
                <a:ext uri="{FF2B5EF4-FFF2-40B4-BE49-F238E27FC236}">
                  <a16:creationId xmlns:a16="http://schemas.microsoft.com/office/drawing/2014/main" id="{44914B7A-106C-4621-AE53-1A5B6646023C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9955802" y="10907305"/>
              <a:ext cx="12699" cy="9959"/>
            </a:xfrm>
            <a:custGeom>
              <a:avLst/>
              <a:gdLst/>
              <a:ahLst/>
              <a:cxnLst/>
              <a:rect l="0" t="0" r="0" b="0"/>
              <a:pathLst>
                <a:path w="1349" h="1058">
                  <a:moveTo>
                    <a:pt x="1348" y="552"/>
                  </a:moveTo>
                  <a:lnTo>
                    <a:pt x="0" y="1057"/>
                  </a:lnTo>
                  <a:lnTo>
                    <a:pt x="52" y="477"/>
                  </a:lnTo>
                  <a:lnTo>
                    <a:pt x="383" y="150"/>
                  </a:lnTo>
                  <a:lnTo>
                    <a:pt x="812" y="0"/>
                  </a:lnTo>
                  <a:lnTo>
                    <a:pt x="1309" y="254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ee4p_MD_1_37764">
              <a:extLst>
                <a:ext uri="{FF2B5EF4-FFF2-40B4-BE49-F238E27FC236}">
                  <a16:creationId xmlns:a16="http://schemas.microsoft.com/office/drawing/2014/main" id="{F7DFBB87-BDD3-4491-A446-8C87410FF6B5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13960740" y="9681736"/>
              <a:ext cx="731031" cy="795134"/>
            </a:xfrm>
            <a:custGeom>
              <a:avLst/>
              <a:gdLst/>
              <a:ahLst/>
              <a:cxnLst/>
              <a:rect l="0" t="0" r="0" b="0"/>
              <a:pathLst>
                <a:path w="77661" h="84471">
                  <a:moveTo>
                    <a:pt x="35237" y="84470"/>
                  </a:moveTo>
                  <a:lnTo>
                    <a:pt x="34131" y="82731"/>
                  </a:lnTo>
                  <a:lnTo>
                    <a:pt x="33013" y="81209"/>
                  </a:lnTo>
                  <a:lnTo>
                    <a:pt x="32190" y="80389"/>
                  </a:lnTo>
                  <a:lnTo>
                    <a:pt x="32536" y="80010"/>
                  </a:lnTo>
                  <a:lnTo>
                    <a:pt x="33432" y="79583"/>
                  </a:lnTo>
                  <a:lnTo>
                    <a:pt x="34071" y="79065"/>
                  </a:lnTo>
                  <a:lnTo>
                    <a:pt x="33993" y="77249"/>
                  </a:lnTo>
                  <a:lnTo>
                    <a:pt x="33522" y="75161"/>
                  </a:lnTo>
                  <a:lnTo>
                    <a:pt x="33093" y="74151"/>
                  </a:lnTo>
                  <a:lnTo>
                    <a:pt x="33050" y="72565"/>
                  </a:lnTo>
                  <a:lnTo>
                    <a:pt x="32743" y="70094"/>
                  </a:lnTo>
                  <a:lnTo>
                    <a:pt x="33172" y="65505"/>
                  </a:lnTo>
                  <a:lnTo>
                    <a:pt x="34952" y="59722"/>
                  </a:lnTo>
                  <a:lnTo>
                    <a:pt x="35941" y="56846"/>
                  </a:lnTo>
                  <a:lnTo>
                    <a:pt x="35461" y="55270"/>
                  </a:lnTo>
                  <a:lnTo>
                    <a:pt x="35833" y="51581"/>
                  </a:lnTo>
                  <a:lnTo>
                    <a:pt x="35064" y="49757"/>
                  </a:lnTo>
                  <a:lnTo>
                    <a:pt x="33855" y="47372"/>
                  </a:lnTo>
                  <a:lnTo>
                    <a:pt x="32125" y="42179"/>
                  </a:lnTo>
                  <a:lnTo>
                    <a:pt x="29968" y="40370"/>
                  </a:lnTo>
                  <a:lnTo>
                    <a:pt x="27305" y="38379"/>
                  </a:lnTo>
                  <a:lnTo>
                    <a:pt x="26167" y="36875"/>
                  </a:lnTo>
                  <a:lnTo>
                    <a:pt x="25407" y="35217"/>
                  </a:lnTo>
                  <a:lnTo>
                    <a:pt x="23820" y="33570"/>
                  </a:lnTo>
                  <a:lnTo>
                    <a:pt x="22004" y="32055"/>
                  </a:lnTo>
                  <a:lnTo>
                    <a:pt x="19832" y="28268"/>
                  </a:lnTo>
                  <a:lnTo>
                    <a:pt x="18705" y="26555"/>
                  </a:lnTo>
                  <a:lnTo>
                    <a:pt x="18359" y="26093"/>
                  </a:lnTo>
                  <a:lnTo>
                    <a:pt x="15876" y="23660"/>
                  </a:lnTo>
                  <a:lnTo>
                    <a:pt x="14572" y="21460"/>
                  </a:lnTo>
                  <a:lnTo>
                    <a:pt x="13913" y="19652"/>
                  </a:lnTo>
                  <a:lnTo>
                    <a:pt x="13531" y="17976"/>
                  </a:lnTo>
                  <a:lnTo>
                    <a:pt x="11788" y="14664"/>
                  </a:lnTo>
                  <a:lnTo>
                    <a:pt x="10203" y="12170"/>
                  </a:lnTo>
                  <a:lnTo>
                    <a:pt x="8696" y="10395"/>
                  </a:lnTo>
                  <a:lnTo>
                    <a:pt x="8001" y="9137"/>
                  </a:lnTo>
                  <a:lnTo>
                    <a:pt x="6237" y="7551"/>
                  </a:lnTo>
                  <a:lnTo>
                    <a:pt x="3723" y="6287"/>
                  </a:lnTo>
                  <a:lnTo>
                    <a:pt x="2097" y="6070"/>
                  </a:lnTo>
                  <a:lnTo>
                    <a:pt x="0" y="6172"/>
                  </a:lnTo>
                  <a:lnTo>
                    <a:pt x="475" y="5202"/>
                  </a:lnTo>
                  <a:lnTo>
                    <a:pt x="5044" y="2568"/>
                  </a:lnTo>
                  <a:lnTo>
                    <a:pt x="6228" y="2999"/>
                  </a:lnTo>
                  <a:lnTo>
                    <a:pt x="8614" y="3103"/>
                  </a:lnTo>
                  <a:lnTo>
                    <a:pt x="13479" y="3013"/>
                  </a:lnTo>
                  <a:lnTo>
                    <a:pt x="15876" y="1277"/>
                  </a:lnTo>
                  <a:lnTo>
                    <a:pt x="17355" y="1761"/>
                  </a:lnTo>
                  <a:lnTo>
                    <a:pt x="18562" y="983"/>
                  </a:lnTo>
                  <a:lnTo>
                    <a:pt x="20571" y="0"/>
                  </a:lnTo>
                  <a:lnTo>
                    <a:pt x="20858" y="208"/>
                  </a:lnTo>
                  <a:lnTo>
                    <a:pt x="21112" y="364"/>
                  </a:lnTo>
                  <a:lnTo>
                    <a:pt x="24224" y="800"/>
                  </a:lnTo>
                  <a:lnTo>
                    <a:pt x="26559" y="1743"/>
                  </a:lnTo>
                  <a:lnTo>
                    <a:pt x="28120" y="3189"/>
                  </a:lnTo>
                  <a:lnTo>
                    <a:pt x="29728" y="4087"/>
                  </a:lnTo>
                  <a:lnTo>
                    <a:pt x="31389" y="4434"/>
                  </a:lnTo>
                  <a:lnTo>
                    <a:pt x="32309" y="5155"/>
                  </a:lnTo>
                  <a:lnTo>
                    <a:pt x="32495" y="6253"/>
                  </a:lnTo>
                  <a:lnTo>
                    <a:pt x="34049" y="6791"/>
                  </a:lnTo>
                  <a:lnTo>
                    <a:pt x="36973" y="6775"/>
                  </a:lnTo>
                  <a:lnTo>
                    <a:pt x="38215" y="7497"/>
                  </a:lnTo>
                  <a:lnTo>
                    <a:pt x="37768" y="8956"/>
                  </a:lnTo>
                  <a:lnTo>
                    <a:pt x="38068" y="9437"/>
                  </a:lnTo>
                  <a:lnTo>
                    <a:pt x="39107" y="8937"/>
                  </a:lnTo>
                  <a:lnTo>
                    <a:pt x="39893" y="9368"/>
                  </a:lnTo>
                  <a:lnTo>
                    <a:pt x="40312" y="10447"/>
                  </a:lnTo>
                  <a:lnTo>
                    <a:pt x="40778" y="10960"/>
                  </a:lnTo>
                  <a:lnTo>
                    <a:pt x="42268" y="9271"/>
                  </a:lnTo>
                  <a:lnTo>
                    <a:pt x="43842" y="9438"/>
                  </a:lnTo>
                  <a:lnTo>
                    <a:pt x="47649" y="10139"/>
                  </a:lnTo>
                  <a:lnTo>
                    <a:pt x="49683" y="13638"/>
                  </a:lnTo>
                  <a:lnTo>
                    <a:pt x="50951" y="14894"/>
                  </a:lnTo>
                  <a:lnTo>
                    <a:pt x="52060" y="15405"/>
                  </a:lnTo>
                  <a:lnTo>
                    <a:pt x="53467" y="14860"/>
                  </a:lnTo>
                  <a:lnTo>
                    <a:pt x="54706" y="14208"/>
                  </a:lnTo>
                  <a:lnTo>
                    <a:pt x="55423" y="14515"/>
                  </a:lnTo>
                  <a:lnTo>
                    <a:pt x="56958" y="16830"/>
                  </a:lnTo>
                  <a:lnTo>
                    <a:pt x="57319" y="19856"/>
                  </a:lnTo>
                  <a:lnTo>
                    <a:pt x="57310" y="21079"/>
                  </a:lnTo>
                  <a:lnTo>
                    <a:pt x="56764" y="23130"/>
                  </a:lnTo>
                  <a:lnTo>
                    <a:pt x="55987" y="25314"/>
                  </a:lnTo>
                  <a:lnTo>
                    <a:pt x="55369" y="26732"/>
                  </a:lnTo>
                  <a:lnTo>
                    <a:pt x="55632" y="27873"/>
                  </a:lnTo>
                  <a:lnTo>
                    <a:pt x="56183" y="28828"/>
                  </a:lnTo>
                  <a:lnTo>
                    <a:pt x="57086" y="29142"/>
                  </a:lnTo>
                  <a:lnTo>
                    <a:pt x="60031" y="31069"/>
                  </a:lnTo>
                  <a:lnTo>
                    <a:pt x="61128" y="32405"/>
                  </a:lnTo>
                  <a:lnTo>
                    <a:pt x="62726" y="33396"/>
                  </a:lnTo>
                  <a:lnTo>
                    <a:pt x="63942" y="33450"/>
                  </a:lnTo>
                  <a:lnTo>
                    <a:pt x="64572" y="34002"/>
                  </a:lnTo>
                  <a:lnTo>
                    <a:pt x="64797" y="34679"/>
                  </a:lnTo>
                  <a:lnTo>
                    <a:pt x="64631" y="36393"/>
                  </a:lnTo>
                  <a:lnTo>
                    <a:pt x="63948" y="38001"/>
                  </a:lnTo>
                  <a:lnTo>
                    <a:pt x="64039" y="39032"/>
                  </a:lnTo>
                  <a:lnTo>
                    <a:pt x="65110" y="40250"/>
                  </a:lnTo>
                  <a:lnTo>
                    <a:pt x="65224" y="41668"/>
                  </a:lnTo>
                  <a:lnTo>
                    <a:pt x="65298" y="42580"/>
                  </a:lnTo>
                  <a:lnTo>
                    <a:pt x="65868" y="43283"/>
                  </a:lnTo>
                  <a:lnTo>
                    <a:pt x="68565" y="44842"/>
                  </a:lnTo>
                  <a:lnTo>
                    <a:pt x="72061" y="46347"/>
                  </a:lnTo>
                  <a:lnTo>
                    <a:pt x="72951" y="47642"/>
                  </a:lnTo>
                  <a:lnTo>
                    <a:pt x="73491" y="49274"/>
                  </a:lnTo>
                  <a:lnTo>
                    <a:pt x="73320" y="52021"/>
                  </a:lnTo>
                  <a:lnTo>
                    <a:pt x="73089" y="54415"/>
                  </a:lnTo>
                  <a:lnTo>
                    <a:pt x="77660" y="57628"/>
                  </a:lnTo>
                  <a:lnTo>
                    <a:pt x="77140" y="58225"/>
                  </a:lnTo>
                  <a:lnTo>
                    <a:pt x="76436" y="58883"/>
                  </a:lnTo>
                  <a:lnTo>
                    <a:pt x="72065" y="59372"/>
                  </a:lnTo>
                  <a:lnTo>
                    <a:pt x="71178" y="59640"/>
                  </a:lnTo>
                  <a:lnTo>
                    <a:pt x="69278" y="57220"/>
                  </a:lnTo>
                  <a:lnTo>
                    <a:pt x="68280" y="56917"/>
                  </a:lnTo>
                  <a:lnTo>
                    <a:pt x="67345" y="57804"/>
                  </a:lnTo>
                  <a:lnTo>
                    <a:pt x="66248" y="58301"/>
                  </a:lnTo>
                  <a:lnTo>
                    <a:pt x="64924" y="58053"/>
                  </a:lnTo>
                  <a:lnTo>
                    <a:pt x="63507" y="57307"/>
                  </a:lnTo>
                  <a:lnTo>
                    <a:pt x="62795" y="56777"/>
                  </a:lnTo>
                  <a:lnTo>
                    <a:pt x="62221" y="56716"/>
                  </a:lnTo>
                  <a:lnTo>
                    <a:pt x="61337" y="57245"/>
                  </a:lnTo>
                  <a:lnTo>
                    <a:pt x="60158" y="57018"/>
                  </a:lnTo>
                  <a:lnTo>
                    <a:pt x="59392" y="56421"/>
                  </a:lnTo>
                  <a:lnTo>
                    <a:pt x="58280" y="58473"/>
                  </a:lnTo>
                  <a:lnTo>
                    <a:pt x="57600" y="58907"/>
                  </a:lnTo>
                  <a:lnTo>
                    <a:pt x="57174" y="58841"/>
                  </a:lnTo>
                  <a:lnTo>
                    <a:pt x="57090" y="55356"/>
                  </a:lnTo>
                  <a:lnTo>
                    <a:pt x="56768" y="54828"/>
                  </a:lnTo>
                  <a:lnTo>
                    <a:pt x="55885" y="54747"/>
                  </a:lnTo>
                  <a:lnTo>
                    <a:pt x="53754" y="55576"/>
                  </a:lnTo>
                  <a:lnTo>
                    <a:pt x="51730" y="56645"/>
                  </a:lnTo>
                  <a:lnTo>
                    <a:pt x="51046" y="57599"/>
                  </a:lnTo>
                  <a:lnTo>
                    <a:pt x="51115" y="59315"/>
                  </a:lnTo>
                  <a:lnTo>
                    <a:pt x="51406" y="61361"/>
                  </a:lnTo>
                  <a:lnTo>
                    <a:pt x="52788" y="64460"/>
                  </a:lnTo>
                  <a:lnTo>
                    <a:pt x="52028" y="65810"/>
                  </a:lnTo>
                  <a:lnTo>
                    <a:pt x="51495" y="67958"/>
                  </a:lnTo>
                  <a:lnTo>
                    <a:pt x="49323" y="69927"/>
                  </a:lnTo>
                  <a:lnTo>
                    <a:pt x="46874" y="71072"/>
                  </a:lnTo>
                  <a:lnTo>
                    <a:pt x="46664" y="73421"/>
                  </a:lnTo>
                  <a:lnTo>
                    <a:pt x="45300" y="75024"/>
                  </a:lnTo>
                  <a:lnTo>
                    <a:pt x="42972" y="76624"/>
                  </a:lnTo>
                  <a:lnTo>
                    <a:pt x="41408" y="78551"/>
                  </a:lnTo>
                  <a:lnTo>
                    <a:pt x="41804" y="79870"/>
                  </a:lnTo>
                  <a:lnTo>
                    <a:pt x="41899" y="81119"/>
                  </a:lnTo>
                  <a:lnTo>
                    <a:pt x="41633" y="81967"/>
                  </a:lnTo>
                  <a:lnTo>
                    <a:pt x="41573" y="82622"/>
                  </a:lnTo>
                  <a:lnTo>
                    <a:pt x="40962" y="82912"/>
                  </a:lnTo>
                  <a:lnTo>
                    <a:pt x="37401" y="83148"/>
                  </a:lnTo>
                  <a:lnTo>
                    <a:pt x="36394" y="83552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ee4p_MK_1_37764">
              <a:extLst>
                <a:ext uri="{FF2B5EF4-FFF2-40B4-BE49-F238E27FC236}">
                  <a16:creationId xmlns:a16="http://schemas.microsoft.com/office/drawing/2014/main" id="{32AB8D73-6025-4792-A0E1-BB80012833F7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12676433" y="11263911"/>
              <a:ext cx="532237" cy="375555"/>
            </a:xfrm>
            <a:custGeom>
              <a:avLst/>
              <a:gdLst/>
              <a:ahLst/>
              <a:cxnLst/>
              <a:rect l="0" t="0" r="0" b="0"/>
              <a:pathLst>
                <a:path w="56542" h="39897">
                  <a:moveTo>
                    <a:pt x="41911" y="1177"/>
                  </a:moveTo>
                  <a:lnTo>
                    <a:pt x="45321" y="5138"/>
                  </a:lnTo>
                  <a:lnTo>
                    <a:pt x="47188" y="6740"/>
                  </a:lnTo>
                  <a:lnTo>
                    <a:pt x="49391" y="7954"/>
                  </a:lnTo>
                  <a:lnTo>
                    <a:pt x="51907" y="8842"/>
                  </a:lnTo>
                  <a:lnTo>
                    <a:pt x="52807" y="9694"/>
                  </a:lnTo>
                  <a:lnTo>
                    <a:pt x="54407" y="13896"/>
                  </a:lnTo>
                  <a:lnTo>
                    <a:pt x="55176" y="15489"/>
                  </a:lnTo>
                  <a:lnTo>
                    <a:pt x="56238" y="15963"/>
                  </a:lnTo>
                  <a:lnTo>
                    <a:pt x="56495" y="16423"/>
                  </a:lnTo>
                  <a:lnTo>
                    <a:pt x="56541" y="17029"/>
                  </a:lnTo>
                  <a:lnTo>
                    <a:pt x="55342" y="19975"/>
                  </a:lnTo>
                  <a:lnTo>
                    <a:pt x="54861" y="26568"/>
                  </a:lnTo>
                  <a:lnTo>
                    <a:pt x="54559" y="27091"/>
                  </a:lnTo>
                  <a:lnTo>
                    <a:pt x="53304" y="27062"/>
                  </a:lnTo>
                  <a:lnTo>
                    <a:pt x="51637" y="27204"/>
                  </a:lnTo>
                  <a:lnTo>
                    <a:pt x="51000" y="27712"/>
                  </a:lnTo>
                  <a:lnTo>
                    <a:pt x="50331" y="31250"/>
                  </a:lnTo>
                  <a:lnTo>
                    <a:pt x="47650" y="32260"/>
                  </a:lnTo>
                  <a:lnTo>
                    <a:pt x="45217" y="32831"/>
                  </a:lnTo>
                  <a:lnTo>
                    <a:pt x="43165" y="32703"/>
                  </a:lnTo>
                  <a:lnTo>
                    <a:pt x="39559" y="31865"/>
                  </a:lnTo>
                  <a:lnTo>
                    <a:pt x="38382" y="31774"/>
                  </a:lnTo>
                  <a:lnTo>
                    <a:pt x="37374" y="32252"/>
                  </a:lnTo>
                  <a:lnTo>
                    <a:pt x="34157" y="32503"/>
                  </a:lnTo>
                  <a:lnTo>
                    <a:pt x="32744" y="33123"/>
                  </a:lnTo>
                  <a:lnTo>
                    <a:pt x="29428" y="37254"/>
                  </a:lnTo>
                  <a:lnTo>
                    <a:pt x="26068" y="38676"/>
                  </a:lnTo>
                  <a:lnTo>
                    <a:pt x="24923" y="39396"/>
                  </a:lnTo>
                  <a:lnTo>
                    <a:pt x="22356" y="38485"/>
                  </a:lnTo>
                  <a:lnTo>
                    <a:pt x="21127" y="38391"/>
                  </a:lnTo>
                  <a:lnTo>
                    <a:pt x="19350" y="39443"/>
                  </a:lnTo>
                  <a:lnTo>
                    <a:pt x="15454" y="39549"/>
                  </a:lnTo>
                  <a:lnTo>
                    <a:pt x="14403" y="39732"/>
                  </a:lnTo>
                  <a:lnTo>
                    <a:pt x="11401" y="39896"/>
                  </a:lnTo>
                  <a:lnTo>
                    <a:pt x="11276" y="39328"/>
                  </a:lnTo>
                  <a:lnTo>
                    <a:pt x="10721" y="38498"/>
                  </a:lnTo>
                  <a:lnTo>
                    <a:pt x="9321" y="38109"/>
                  </a:lnTo>
                  <a:lnTo>
                    <a:pt x="6460" y="38441"/>
                  </a:lnTo>
                  <a:lnTo>
                    <a:pt x="5763" y="37834"/>
                  </a:lnTo>
                  <a:lnTo>
                    <a:pt x="4586" y="34328"/>
                  </a:lnTo>
                  <a:lnTo>
                    <a:pt x="3666" y="33765"/>
                  </a:lnTo>
                  <a:lnTo>
                    <a:pt x="2636" y="32586"/>
                  </a:lnTo>
                  <a:lnTo>
                    <a:pt x="891" y="28770"/>
                  </a:lnTo>
                  <a:lnTo>
                    <a:pt x="848" y="27096"/>
                  </a:lnTo>
                  <a:lnTo>
                    <a:pt x="967" y="25636"/>
                  </a:lnTo>
                  <a:lnTo>
                    <a:pt x="0" y="22205"/>
                  </a:lnTo>
                  <a:lnTo>
                    <a:pt x="596" y="21337"/>
                  </a:lnTo>
                  <a:lnTo>
                    <a:pt x="1494" y="20791"/>
                  </a:lnTo>
                  <a:lnTo>
                    <a:pt x="1503" y="19408"/>
                  </a:lnTo>
                  <a:lnTo>
                    <a:pt x="1250" y="17306"/>
                  </a:lnTo>
                  <a:lnTo>
                    <a:pt x="2310" y="13176"/>
                  </a:lnTo>
                  <a:lnTo>
                    <a:pt x="2599" y="12876"/>
                  </a:lnTo>
                  <a:lnTo>
                    <a:pt x="2871" y="13074"/>
                  </a:lnTo>
                  <a:lnTo>
                    <a:pt x="5445" y="13403"/>
                  </a:lnTo>
                  <a:lnTo>
                    <a:pt x="6110" y="12880"/>
                  </a:lnTo>
                  <a:lnTo>
                    <a:pt x="6534" y="12064"/>
                  </a:lnTo>
                  <a:lnTo>
                    <a:pt x="6672" y="9037"/>
                  </a:lnTo>
                  <a:lnTo>
                    <a:pt x="7285" y="7638"/>
                  </a:lnTo>
                  <a:lnTo>
                    <a:pt x="13513" y="4973"/>
                  </a:lnTo>
                  <a:lnTo>
                    <a:pt x="15342" y="4875"/>
                  </a:lnTo>
                  <a:lnTo>
                    <a:pt x="16748" y="6099"/>
                  </a:lnTo>
                  <a:lnTo>
                    <a:pt x="17860" y="6881"/>
                  </a:lnTo>
                  <a:lnTo>
                    <a:pt x="18529" y="6858"/>
                  </a:lnTo>
                  <a:lnTo>
                    <a:pt x="18771" y="6069"/>
                  </a:lnTo>
                  <a:lnTo>
                    <a:pt x="19527" y="4551"/>
                  </a:lnTo>
                  <a:lnTo>
                    <a:pt x="20805" y="3682"/>
                  </a:lnTo>
                  <a:lnTo>
                    <a:pt x="24593" y="2942"/>
                  </a:lnTo>
                  <a:lnTo>
                    <a:pt x="24629" y="2946"/>
                  </a:lnTo>
                  <a:lnTo>
                    <a:pt x="25862" y="3089"/>
                  </a:lnTo>
                  <a:lnTo>
                    <a:pt x="28538" y="2408"/>
                  </a:lnTo>
                  <a:lnTo>
                    <a:pt x="30205" y="1466"/>
                  </a:lnTo>
                  <a:lnTo>
                    <a:pt x="31053" y="1325"/>
                  </a:lnTo>
                  <a:lnTo>
                    <a:pt x="32183" y="961"/>
                  </a:lnTo>
                  <a:lnTo>
                    <a:pt x="33807" y="1015"/>
                  </a:lnTo>
                  <a:lnTo>
                    <a:pt x="35454" y="1425"/>
                  </a:lnTo>
                  <a:lnTo>
                    <a:pt x="37547" y="883"/>
                  </a:lnTo>
                  <a:lnTo>
                    <a:pt x="39605" y="0"/>
                  </a:lnTo>
                  <a:lnTo>
                    <a:pt x="40430" y="221"/>
                  </a:lnTo>
                  <a:lnTo>
                    <a:pt x="41321" y="970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ee4p_MT_1_37764">
              <a:extLst>
                <a:ext uri="{FF2B5EF4-FFF2-40B4-BE49-F238E27FC236}">
                  <a16:creationId xmlns:a16="http://schemas.microsoft.com/office/drawing/2014/main" id="{94AA913C-DB7E-40FD-85E9-04FCEE52FDAC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11407302" y="12819465"/>
              <a:ext cx="44750" cy="37558"/>
            </a:xfrm>
            <a:custGeom>
              <a:avLst/>
              <a:gdLst/>
              <a:ahLst/>
              <a:cxnLst/>
              <a:rect l="0" t="0" r="0" b="0"/>
              <a:pathLst>
                <a:path w="4754" h="3990">
                  <a:moveTo>
                    <a:pt x="4753" y="3169"/>
                  </a:moveTo>
                  <a:lnTo>
                    <a:pt x="4012" y="3989"/>
                  </a:lnTo>
                  <a:lnTo>
                    <a:pt x="1883" y="3952"/>
                  </a:lnTo>
                  <a:lnTo>
                    <a:pt x="24" y="2677"/>
                  </a:lnTo>
                  <a:lnTo>
                    <a:pt x="0" y="0"/>
                  </a:lnTo>
                  <a:lnTo>
                    <a:pt x="2146" y="530"/>
                  </a:lnTo>
                  <a:lnTo>
                    <a:pt x="4107" y="2324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ee4p_MT_2_37764">
              <a:extLst>
                <a:ext uri="{FF2B5EF4-FFF2-40B4-BE49-F238E27FC236}">
                  <a16:creationId xmlns:a16="http://schemas.microsoft.com/office/drawing/2014/main" id="{999975A9-184A-4802-B386-DD869E4D7D5C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11371730" y="12796338"/>
              <a:ext cx="29256" cy="15128"/>
            </a:xfrm>
            <a:custGeom>
              <a:avLst/>
              <a:gdLst/>
              <a:ahLst/>
              <a:cxnLst/>
              <a:rect l="0" t="0" r="0" b="0"/>
              <a:pathLst>
                <a:path w="3108" h="1607">
                  <a:moveTo>
                    <a:pt x="2943" y="1216"/>
                  </a:moveTo>
                  <a:lnTo>
                    <a:pt x="1619" y="1606"/>
                  </a:lnTo>
                  <a:lnTo>
                    <a:pt x="307" y="847"/>
                  </a:lnTo>
                  <a:lnTo>
                    <a:pt x="0" y="388"/>
                  </a:lnTo>
                  <a:lnTo>
                    <a:pt x="1833" y="0"/>
                  </a:lnTo>
                  <a:lnTo>
                    <a:pt x="2727" y="340"/>
                  </a:lnTo>
                  <a:lnTo>
                    <a:pt x="3107" y="998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ee4p_ME_1_37764">
              <a:extLst>
                <a:ext uri="{FF2B5EF4-FFF2-40B4-BE49-F238E27FC236}">
                  <a16:creationId xmlns:a16="http://schemas.microsoft.com/office/drawing/2014/main" id="{0A0D5050-E1EA-4F23-87E4-15F5327B4806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12257579" y="10965328"/>
              <a:ext cx="397845" cy="420944"/>
            </a:xfrm>
            <a:custGeom>
              <a:avLst/>
              <a:gdLst/>
              <a:ahLst/>
              <a:cxnLst/>
              <a:rect l="0" t="0" r="0" b="0"/>
              <a:pathLst>
                <a:path w="42265" h="44719">
                  <a:moveTo>
                    <a:pt x="16761" y="243"/>
                  </a:moveTo>
                  <a:lnTo>
                    <a:pt x="16701" y="573"/>
                  </a:lnTo>
                  <a:lnTo>
                    <a:pt x="16809" y="1544"/>
                  </a:lnTo>
                  <a:lnTo>
                    <a:pt x="17301" y="2488"/>
                  </a:lnTo>
                  <a:lnTo>
                    <a:pt x="19059" y="3456"/>
                  </a:lnTo>
                  <a:lnTo>
                    <a:pt x="21633" y="5370"/>
                  </a:lnTo>
                  <a:lnTo>
                    <a:pt x="24661" y="8878"/>
                  </a:lnTo>
                  <a:lnTo>
                    <a:pt x="26051" y="9920"/>
                  </a:lnTo>
                  <a:lnTo>
                    <a:pt x="27301" y="10174"/>
                  </a:lnTo>
                  <a:lnTo>
                    <a:pt x="29737" y="11629"/>
                  </a:lnTo>
                  <a:lnTo>
                    <a:pt x="31436" y="11984"/>
                  </a:lnTo>
                  <a:lnTo>
                    <a:pt x="33339" y="12383"/>
                  </a:lnTo>
                  <a:lnTo>
                    <a:pt x="38288" y="15416"/>
                  </a:lnTo>
                  <a:lnTo>
                    <a:pt x="40512" y="16301"/>
                  </a:lnTo>
                  <a:lnTo>
                    <a:pt x="42093" y="17441"/>
                  </a:lnTo>
                  <a:lnTo>
                    <a:pt x="42264" y="18514"/>
                  </a:lnTo>
                  <a:lnTo>
                    <a:pt x="42190" y="19179"/>
                  </a:lnTo>
                  <a:lnTo>
                    <a:pt x="39333" y="19958"/>
                  </a:lnTo>
                  <a:lnTo>
                    <a:pt x="38834" y="21140"/>
                  </a:lnTo>
                  <a:lnTo>
                    <a:pt x="37450" y="21002"/>
                  </a:lnTo>
                  <a:lnTo>
                    <a:pt x="35777" y="20995"/>
                  </a:lnTo>
                  <a:lnTo>
                    <a:pt x="35228" y="21744"/>
                  </a:lnTo>
                  <a:lnTo>
                    <a:pt x="36030" y="22978"/>
                  </a:lnTo>
                  <a:lnTo>
                    <a:pt x="36550" y="24429"/>
                  </a:lnTo>
                  <a:lnTo>
                    <a:pt x="36131" y="26417"/>
                  </a:lnTo>
                  <a:lnTo>
                    <a:pt x="35990" y="26678"/>
                  </a:lnTo>
                  <a:lnTo>
                    <a:pt x="35587" y="26608"/>
                  </a:lnTo>
                  <a:lnTo>
                    <a:pt x="33229" y="27761"/>
                  </a:lnTo>
                  <a:lnTo>
                    <a:pt x="31475" y="28304"/>
                  </a:lnTo>
                  <a:lnTo>
                    <a:pt x="29895" y="28575"/>
                  </a:lnTo>
                  <a:lnTo>
                    <a:pt x="29147" y="28021"/>
                  </a:lnTo>
                  <a:lnTo>
                    <a:pt x="28778" y="27269"/>
                  </a:lnTo>
                  <a:lnTo>
                    <a:pt x="28843" y="25086"/>
                  </a:lnTo>
                  <a:lnTo>
                    <a:pt x="28558" y="24349"/>
                  </a:lnTo>
                  <a:lnTo>
                    <a:pt x="28018" y="23991"/>
                  </a:lnTo>
                  <a:lnTo>
                    <a:pt x="26936" y="24508"/>
                  </a:lnTo>
                  <a:lnTo>
                    <a:pt x="25675" y="26194"/>
                  </a:lnTo>
                  <a:lnTo>
                    <a:pt x="24505" y="28154"/>
                  </a:lnTo>
                  <a:lnTo>
                    <a:pt x="22749" y="30196"/>
                  </a:lnTo>
                  <a:lnTo>
                    <a:pt x="21300" y="32153"/>
                  </a:lnTo>
                  <a:lnTo>
                    <a:pt x="19739" y="34619"/>
                  </a:lnTo>
                  <a:lnTo>
                    <a:pt x="18670" y="36660"/>
                  </a:lnTo>
                  <a:lnTo>
                    <a:pt x="19780" y="37810"/>
                  </a:lnTo>
                  <a:lnTo>
                    <a:pt x="20456" y="39409"/>
                  </a:lnTo>
                  <a:lnTo>
                    <a:pt x="20251" y="40606"/>
                  </a:lnTo>
                  <a:lnTo>
                    <a:pt x="20450" y="41304"/>
                  </a:lnTo>
                  <a:lnTo>
                    <a:pt x="20104" y="43398"/>
                  </a:lnTo>
                  <a:lnTo>
                    <a:pt x="20035" y="44718"/>
                  </a:lnTo>
                  <a:lnTo>
                    <a:pt x="16586" y="42608"/>
                  </a:lnTo>
                  <a:lnTo>
                    <a:pt x="15168" y="39638"/>
                  </a:lnTo>
                  <a:lnTo>
                    <a:pt x="10125" y="34614"/>
                  </a:lnTo>
                  <a:lnTo>
                    <a:pt x="4347" y="31190"/>
                  </a:lnTo>
                  <a:lnTo>
                    <a:pt x="4040" y="30648"/>
                  </a:lnTo>
                  <a:lnTo>
                    <a:pt x="4358" y="29989"/>
                  </a:lnTo>
                  <a:lnTo>
                    <a:pt x="4634" y="29467"/>
                  </a:lnTo>
                  <a:lnTo>
                    <a:pt x="3434" y="29427"/>
                  </a:lnTo>
                  <a:lnTo>
                    <a:pt x="2591" y="29845"/>
                  </a:lnTo>
                  <a:lnTo>
                    <a:pt x="1794" y="29728"/>
                  </a:lnTo>
                  <a:lnTo>
                    <a:pt x="892" y="28443"/>
                  </a:lnTo>
                  <a:lnTo>
                    <a:pt x="39" y="27327"/>
                  </a:lnTo>
                  <a:lnTo>
                    <a:pt x="0" y="26346"/>
                  </a:lnTo>
                  <a:lnTo>
                    <a:pt x="389" y="26218"/>
                  </a:lnTo>
                  <a:lnTo>
                    <a:pt x="967" y="25826"/>
                  </a:lnTo>
                  <a:lnTo>
                    <a:pt x="2181" y="24734"/>
                  </a:lnTo>
                  <a:lnTo>
                    <a:pt x="2423" y="24160"/>
                  </a:lnTo>
                  <a:lnTo>
                    <a:pt x="2365" y="23290"/>
                  </a:lnTo>
                  <a:lnTo>
                    <a:pt x="657" y="20535"/>
                  </a:lnTo>
                  <a:lnTo>
                    <a:pt x="415" y="18747"/>
                  </a:lnTo>
                  <a:lnTo>
                    <a:pt x="166" y="15417"/>
                  </a:lnTo>
                  <a:lnTo>
                    <a:pt x="527" y="14628"/>
                  </a:lnTo>
                  <a:lnTo>
                    <a:pt x="1153" y="14246"/>
                  </a:lnTo>
                  <a:lnTo>
                    <a:pt x="4142" y="13830"/>
                  </a:lnTo>
                  <a:lnTo>
                    <a:pt x="4103" y="11231"/>
                  </a:lnTo>
                  <a:lnTo>
                    <a:pt x="4282" y="10451"/>
                  </a:lnTo>
                  <a:lnTo>
                    <a:pt x="4876" y="9369"/>
                  </a:lnTo>
                  <a:lnTo>
                    <a:pt x="5261" y="8380"/>
                  </a:lnTo>
                  <a:lnTo>
                    <a:pt x="6919" y="6963"/>
                  </a:lnTo>
                  <a:lnTo>
                    <a:pt x="9171" y="5275"/>
                  </a:lnTo>
                  <a:lnTo>
                    <a:pt x="10156" y="5225"/>
                  </a:lnTo>
                  <a:lnTo>
                    <a:pt x="11019" y="5460"/>
                  </a:lnTo>
                  <a:lnTo>
                    <a:pt x="11993" y="6913"/>
                  </a:lnTo>
                  <a:lnTo>
                    <a:pt x="13053" y="6724"/>
                  </a:lnTo>
                  <a:lnTo>
                    <a:pt x="13276" y="4980"/>
                  </a:lnTo>
                  <a:lnTo>
                    <a:pt x="11885" y="2691"/>
                  </a:lnTo>
                  <a:lnTo>
                    <a:pt x="11143" y="1228"/>
                  </a:lnTo>
                  <a:lnTo>
                    <a:pt x="11374" y="422"/>
                  </a:lnTo>
                  <a:lnTo>
                    <a:pt x="11894" y="0"/>
                  </a:lnTo>
                  <a:lnTo>
                    <a:pt x="13090" y="264"/>
                  </a:lnTo>
                  <a:lnTo>
                    <a:pt x="14235" y="663"/>
                  </a:lnTo>
                  <a:lnTo>
                    <a:pt x="14958" y="393"/>
                  </a:lnTo>
                  <a:lnTo>
                    <a:pt x="16098" y="185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ee4p_NL_1_37764">
              <a:extLst>
                <a:ext uri="{FF2B5EF4-FFF2-40B4-BE49-F238E27FC236}">
                  <a16:creationId xmlns:a16="http://schemas.microsoft.com/office/drawing/2014/main" id="{DF193C4B-C2FB-40E8-9EAA-5FD1F4CCAF45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9117478" y="8264650"/>
              <a:ext cx="800764" cy="802259"/>
            </a:xfrm>
            <a:custGeom>
              <a:avLst/>
              <a:gdLst>
                <a:gd name="connsiteX0" fmla="*/ 5293 w 85069"/>
                <a:gd name="connsiteY0" fmla="*/ 66254 h 85228"/>
                <a:gd name="connsiteX1" fmla="*/ 8102 w 85069"/>
                <a:gd name="connsiteY1" fmla="*/ 67143 h 85228"/>
                <a:gd name="connsiteX2" fmla="*/ 11792 w 85069"/>
                <a:gd name="connsiteY2" fmla="*/ 67572 h 85228"/>
                <a:gd name="connsiteX3" fmla="*/ 14614 w 85069"/>
                <a:gd name="connsiteY3" fmla="*/ 66356 h 85228"/>
                <a:gd name="connsiteX4" fmla="*/ 16836 w 85069"/>
                <a:gd name="connsiteY4" fmla="*/ 67392 h 85228"/>
                <a:gd name="connsiteX5" fmla="*/ 19372 w 85069"/>
                <a:gd name="connsiteY5" fmla="*/ 66634 h 85228"/>
                <a:gd name="connsiteX6" fmla="*/ 19046 w 85069"/>
                <a:gd name="connsiteY6" fmla="*/ 67741 h 85228"/>
                <a:gd name="connsiteX7" fmla="*/ 18186 w 85069"/>
                <a:gd name="connsiteY7" fmla="*/ 68963 h 85228"/>
                <a:gd name="connsiteX8" fmla="*/ 15256 w 85069"/>
                <a:gd name="connsiteY8" fmla="*/ 70722 h 85228"/>
                <a:gd name="connsiteX9" fmla="*/ 12205 w 85069"/>
                <a:gd name="connsiteY9" fmla="*/ 71876 h 85228"/>
                <a:gd name="connsiteX10" fmla="*/ 10628 w 85069"/>
                <a:gd name="connsiteY10" fmla="*/ 71732 h 85228"/>
                <a:gd name="connsiteX11" fmla="*/ 9548 w 85069"/>
                <a:gd name="connsiteY11" fmla="*/ 71128 h 85228"/>
                <a:gd name="connsiteX12" fmla="*/ 8968 w 85069"/>
                <a:gd name="connsiteY12" fmla="*/ 70494 h 85228"/>
                <a:gd name="connsiteX13" fmla="*/ 7335 w 85069"/>
                <a:gd name="connsiteY13" fmla="*/ 69883 h 85228"/>
                <a:gd name="connsiteX14" fmla="*/ 5089 w 85069"/>
                <a:gd name="connsiteY14" fmla="*/ 69576 h 85228"/>
                <a:gd name="connsiteX15" fmla="*/ 3692 w 85069"/>
                <a:gd name="connsiteY15" fmla="*/ 70237 h 85228"/>
                <a:gd name="connsiteX16" fmla="*/ 2695 w 85069"/>
                <a:gd name="connsiteY16" fmla="*/ 70863 h 85228"/>
                <a:gd name="connsiteX17" fmla="*/ 1822 w 85069"/>
                <a:gd name="connsiteY17" fmla="*/ 70760 h 85228"/>
                <a:gd name="connsiteX18" fmla="*/ 1166 w 85069"/>
                <a:gd name="connsiteY18" fmla="*/ 70237 h 85228"/>
                <a:gd name="connsiteX19" fmla="*/ 663 w 85069"/>
                <a:gd name="connsiteY19" fmla="*/ 69431 h 85228"/>
                <a:gd name="connsiteX20" fmla="*/ 0 w 85069"/>
                <a:gd name="connsiteY20" fmla="*/ 66892 h 85228"/>
                <a:gd name="connsiteX21" fmla="*/ 1673 w 85069"/>
                <a:gd name="connsiteY21" fmla="*/ 66428 h 85228"/>
                <a:gd name="connsiteX22" fmla="*/ 9706 w 85069"/>
                <a:gd name="connsiteY22" fmla="*/ 56047 h 85228"/>
                <a:gd name="connsiteX23" fmla="*/ 13246 w 85069"/>
                <a:gd name="connsiteY23" fmla="*/ 56253 h 85228"/>
                <a:gd name="connsiteX24" fmla="*/ 15405 w 85069"/>
                <a:gd name="connsiteY24" fmla="*/ 57860 h 85228"/>
                <a:gd name="connsiteX25" fmla="*/ 15865 w 85069"/>
                <a:gd name="connsiteY25" fmla="*/ 58373 h 85228"/>
                <a:gd name="connsiteX26" fmla="*/ 16031 w 85069"/>
                <a:gd name="connsiteY26" fmla="*/ 58924 h 85228"/>
                <a:gd name="connsiteX27" fmla="*/ 13287 w 85069"/>
                <a:gd name="connsiteY27" fmla="*/ 59563 h 85228"/>
                <a:gd name="connsiteX28" fmla="*/ 10369 w 85069"/>
                <a:gd name="connsiteY28" fmla="*/ 57592 h 85228"/>
                <a:gd name="connsiteX29" fmla="*/ 8441 w 85069"/>
                <a:gd name="connsiteY29" fmla="*/ 58057 h 85228"/>
                <a:gd name="connsiteX30" fmla="*/ 7715 w 85069"/>
                <a:gd name="connsiteY30" fmla="*/ 57123 h 85228"/>
                <a:gd name="connsiteX31" fmla="*/ 7704 w 85069"/>
                <a:gd name="connsiteY31" fmla="*/ 56540 h 85228"/>
                <a:gd name="connsiteX32" fmla="*/ 33971 w 85069"/>
                <a:gd name="connsiteY32" fmla="*/ 13310 h 85228"/>
                <a:gd name="connsiteX33" fmla="*/ 33965 w 85069"/>
                <a:gd name="connsiteY33" fmla="*/ 16687 h 85228"/>
                <a:gd name="connsiteX34" fmla="*/ 31775 w 85069"/>
                <a:gd name="connsiteY34" fmla="*/ 18811 h 85228"/>
                <a:gd name="connsiteX35" fmla="*/ 30441 w 85069"/>
                <a:gd name="connsiteY35" fmla="*/ 18218 h 85228"/>
                <a:gd name="connsiteX36" fmla="*/ 30052 w 85069"/>
                <a:gd name="connsiteY36" fmla="*/ 17726 h 85228"/>
                <a:gd name="connsiteX37" fmla="*/ 30730 w 85069"/>
                <a:gd name="connsiteY37" fmla="*/ 16070 h 85228"/>
                <a:gd name="connsiteX38" fmla="*/ 37081 w 85069"/>
                <a:gd name="connsiteY38" fmla="*/ 9498 h 85228"/>
                <a:gd name="connsiteX39" fmla="*/ 38884 w 85069"/>
                <a:gd name="connsiteY39" fmla="*/ 9564 h 85228"/>
                <a:gd name="connsiteX40" fmla="*/ 34796 w 85069"/>
                <a:gd name="connsiteY40" fmla="*/ 11771 h 85228"/>
                <a:gd name="connsiteX41" fmla="*/ 34446 w 85069"/>
                <a:gd name="connsiteY41" fmla="*/ 11420 h 85228"/>
                <a:gd name="connsiteX42" fmla="*/ 76643 w 85069"/>
                <a:gd name="connsiteY42" fmla="*/ 5558 h 85228"/>
                <a:gd name="connsiteX43" fmla="*/ 78770 w 85069"/>
                <a:gd name="connsiteY43" fmla="*/ 7538 h 85228"/>
                <a:gd name="connsiteX44" fmla="*/ 80003 w 85069"/>
                <a:gd name="connsiteY44" fmla="*/ 8984 h 85228"/>
                <a:gd name="connsiteX45" fmla="*/ 81989 w 85069"/>
                <a:gd name="connsiteY45" fmla="*/ 9787 h 85228"/>
                <a:gd name="connsiteX46" fmla="*/ 85069 w 85069"/>
                <a:gd name="connsiteY46" fmla="*/ 10338 h 85228"/>
                <a:gd name="connsiteX47" fmla="*/ 84885 w 85069"/>
                <a:gd name="connsiteY47" fmla="*/ 13193 h 85228"/>
                <a:gd name="connsiteX48" fmla="*/ 84907 w 85069"/>
                <a:gd name="connsiteY48" fmla="*/ 18820 h 85228"/>
                <a:gd name="connsiteX49" fmla="*/ 84676 w 85069"/>
                <a:gd name="connsiteY49" fmla="*/ 19817 h 85228"/>
                <a:gd name="connsiteX50" fmla="*/ 83296 w 85069"/>
                <a:gd name="connsiteY50" fmla="*/ 22186 h 85228"/>
                <a:gd name="connsiteX51" fmla="*/ 81832 w 85069"/>
                <a:gd name="connsiteY51" fmla="*/ 26435 h 85228"/>
                <a:gd name="connsiteX52" fmla="*/ 81437 w 85069"/>
                <a:gd name="connsiteY52" fmla="*/ 29222 h 85228"/>
                <a:gd name="connsiteX53" fmla="*/ 80998 w 85069"/>
                <a:gd name="connsiteY53" fmla="*/ 29753 h 85228"/>
                <a:gd name="connsiteX54" fmla="*/ 75144 w 85069"/>
                <a:gd name="connsiteY54" fmla="*/ 29737 h 85228"/>
                <a:gd name="connsiteX55" fmla="*/ 74311 w 85069"/>
                <a:gd name="connsiteY55" fmla="*/ 30220 h 85228"/>
                <a:gd name="connsiteX56" fmla="*/ 74192 w 85069"/>
                <a:gd name="connsiteY56" fmla="*/ 30822 h 85228"/>
                <a:gd name="connsiteX57" fmla="*/ 74488 w 85069"/>
                <a:gd name="connsiteY57" fmla="*/ 31539 h 85228"/>
                <a:gd name="connsiteX58" fmla="*/ 74347 w 85069"/>
                <a:gd name="connsiteY58" fmla="*/ 32252 h 85228"/>
                <a:gd name="connsiteX59" fmla="*/ 73888 w 85069"/>
                <a:gd name="connsiteY59" fmla="*/ 32832 h 85228"/>
                <a:gd name="connsiteX60" fmla="*/ 74138 w 85069"/>
                <a:gd name="connsiteY60" fmla="*/ 33753 h 85228"/>
                <a:gd name="connsiteX61" fmla="*/ 75153 w 85069"/>
                <a:gd name="connsiteY61" fmla="*/ 34800 h 85228"/>
                <a:gd name="connsiteX62" fmla="*/ 77003 w 85069"/>
                <a:gd name="connsiteY62" fmla="*/ 35447 h 85228"/>
                <a:gd name="connsiteX63" fmla="*/ 78984 w 85069"/>
                <a:gd name="connsiteY63" fmla="*/ 35506 h 85228"/>
                <a:gd name="connsiteX64" fmla="*/ 80003 w 85069"/>
                <a:gd name="connsiteY64" fmla="*/ 35393 h 85228"/>
                <a:gd name="connsiteX65" fmla="*/ 80748 w 85069"/>
                <a:gd name="connsiteY65" fmla="*/ 36139 h 85228"/>
                <a:gd name="connsiteX66" fmla="*/ 81484 w 85069"/>
                <a:gd name="connsiteY66" fmla="*/ 37291 h 85228"/>
                <a:gd name="connsiteX67" fmla="*/ 81428 w 85069"/>
                <a:gd name="connsiteY67" fmla="*/ 38738 h 85228"/>
                <a:gd name="connsiteX68" fmla="*/ 81141 w 85069"/>
                <a:gd name="connsiteY68" fmla="*/ 40682 h 85228"/>
                <a:gd name="connsiteX69" fmla="*/ 80203 w 85069"/>
                <a:gd name="connsiteY69" fmla="*/ 42476 h 85228"/>
                <a:gd name="connsiteX70" fmla="*/ 77502 w 85069"/>
                <a:gd name="connsiteY70" fmla="*/ 44542 h 85228"/>
                <a:gd name="connsiteX71" fmla="*/ 76293 w 85069"/>
                <a:gd name="connsiteY71" fmla="*/ 45270 h 85228"/>
                <a:gd name="connsiteX72" fmla="*/ 75157 w 85069"/>
                <a:gd name="connsiteY72" fmla="*/ 45641 h 85228"/>
                <a:gd name="connsiteX73" fmla="*/ 74615 w 85069"/>
                <a:gd name="connsiteY73" fmla="*/ 46187 h 85228"/>
                <a:gd name="connsiteX74" fmla="*/ 74360 w 85069"/>
                <a:gd name="connsiteY74" fmla="*/ 46878 h 85228"/>
                <a:gd name="connsiteX75" fmla="*/ 74419 w 85069"/>
                <a:gd name="connsiteY75" fmla="*/ 47491 h 85228"/>
                <a:gd name="connsiteX76" fmla="*/ 76338 w 85069"/>
                <a:gd name="connsiteY76" fmla="*/ 49147 h 85228"/>
                <a:gd name="connsiteX77" fmla="*/ 76293 w 85069"/>
                <a:gd name="connsiteY77" fmla="*/ 49525 h 85228"/>
                <a:gd name="connsiteX78" fmla="*/ 75736 w 85069"/>
                <a:gd name="connsiteY78" fmla="*/ 50385 h 85228"/>
                <a:gd name="connsiteX79" fmla="*/ 74997 w 85069"/>
                <a:gd name="connsiteY79" fmla="*/ 51194 h 85228"/>
                <a:gd name="connsiteX80" fmla="*/ 70039 w 85069"/>
                <a:gd name="connsiteY80" fmla="*/ 52876 h 85228"/>
                <a:gd name="connsiteX81" fmla="*/ 67992 w 85069"/>
                <a:gd name="connsiteY81" fmla="*/ 52744 h 85228"/>
                <a:gd name="connsiteX82" fmla="*/ 66824 w 85069"/>
                <a:gd name="connsiteY82" fmla="*/ 53581 h 85228"/>
                <a:gd name="connsiteX83" fmla="*/ 66459 w 85069"/>
                <a:gd name="connsiteY83" fmla="*/ 53740 h 85228"/>
                <a:gd name="connsiteX84" fmla="*/ 65164 w 85069"/>
                <a:gd name="connsiteY84" fmla="*/ 52971 h 85228"/>
                <a:gd name="connsiteX85" fmla="*/ 62276 w 85069"/>
                <a:gd name="connsiteY85" fmla="*/ 52084 h 85228"/>
                <a:gd name="connsiteX86" fmla="*/ 61186 w 85069"/>
                <a:gd name="connsiteY86" fmla="*/ 52390 h 85228"/>
                <a:gd name="connsiteX87" fmla="*/ 60581 w 85069"/>
                <a:gd name="connsiteY87" fmla="*/ 52876 h 85228"/>
                <a:gd name="connsiteX88" fmla="*/ 58763 w 85069"/>
                <a:gd name="connsiteY88" fmla="*/ 53465 h 85228"/>
                <a:gd name="connsiteX89" fmla="*/ 57461 w 85069"/>
                <a:gd name="connsiteY89" fmla="*/ 54388 h 85228"/>
                <a:gd name="connsiteX90" fmla="*/ 57457 w 85069"/>
                <a:gd name="connsiteY90" fmla="*/ 55576 h 85228"/>
                <a:gd name="connsiteX91" fmla="*/ 59761 w 85069"/>
                <a:gd name="connsiteY91" fmla="*/ 58645 h 85228"/>
                <a:gd name="connsiteX92" fmla="*/ 60571 w 85069"/>
                <a:gd name="connsiteY92" fmla="*/ 59247 h 85228"/>
                <a:gd name="connsiteX93" fmla="*/ 60609 w 85069"/>
                <a:gd name="connsiteY93" fmla="*/ 60391 h 85228"/>
                <a:gd name="connsiteX94" fmla="*/ 61726 w 85069"/>
                <a:gd name="connsiteY94" fmla="*/ 61827 h 85228"/>
                <a:gd name="connsiteX95" fmla="*/ 62868 w 85069"/>
                <a:gd name="connsiteY95" fmla="*/ 63626 h 85228"/>
                <a:gd name="connsiteX96" fmla="*/ 62991 w 85069"/>
                <a:gd name="connsiteY96" fmla="*/ 64769 h 85228"/>
                <a:gd name="connsiteX97" fmla="*/ 62860 w 85069"/>
                <a:gd name="connsiteY97" fmla="*/ 65926 h 85228"/>
                <a:gd name="connsiteX98" fmla="*/ 62270 w 85069"/>
                <a:gd name="connsiteY98" fmla="*/ 67562 h 85228"/>
                <a:gd name="connsiteX99" fmla="*/ 60273 w 85069"/>
                <a:gd name="connsiteY99" fmla="*/ 71394 h 85228"/>
                <a:gd name="connsiteX100" fmla="*/ 60249 w 85069"/>
                <a:gd name="connsiteY100" fmla="*/ 72129 h 85228"/>
                <a:gd name="connsiteX101" fmla="*/ 60417 w 85069"/>
                <a:gd name="connsiteY101" fmla="*/ 72687 h 85228"/>
                <a:gd name="connsiteX102" fmla="*/ 61102 w 85069"/>
                <a:gd name="connsiteY102" fmla="*/ 72841 h 85228"/>
                <a:gd name="connsiteX103" fmla="*/ 61622 w 85069"/>
                <a:gd name="connsiteY103" fmla="*/ 73130 h 85228"/>
                <a:gd name="connsiteX104" fmla="*/ 61469 w 85069"/>
                <a:gd name="connsiteY104" fmla="*/ 73640 h 85228"/>
                <a:gd name="connsiteX105" fmla="*/ 57733 w 85069"/>
                <a:gd name="connsiteY105" fmla="*/ 76293 h 85228"/>
                <a:gd name="connsiteX106" fmla="*/ 57251 w 85069"/>
                <a:gd name="connsiteY106" fmla="*/ 76757 h 85228"/>
                <a:gd name="connsiteX107" fmla="*/ 55684 w 85069"/>
                <a:gd name="connsiteY107" fmla="*/ 76626 h 85228"/>
                <a:gd name="connsiteX108" fmla="*/ 55444 w 85069"/>
                <a:gd name="connsiteY108" fmla="*/ 77069 h 85228"/>
                <a:gd name="connsiteX109" fmla="*/ 55658 w 85069"/>
                <a:gd name="connsiteY109" fmla="*/ 77784 h 85228"/>
                <a:gd name="connsiteX110" fmla="*/ 56267 w 85069"/>
                <a:gd name="connsiteY110" fmla="*/ 78410 h 85228"/>
                <a:gd name="connsiteX111" fmla="*/ 57601 w 85069"/>
                <a:gd name="connsiteY111" fmla="*/ 78740 h 85228"/>
                <a:gd name="connsiteX112" fmla="*/ 58746 w 85069"/>
                <a:gd name="connsiteY112" fmla="*/ 79411 h 85228"/>
                <a:gd name="connsiteX113" fmla="*/ 59666 w 85069"/>
                <a:gd name="connsiteY113" fmla="*/ 80726 h 85228"/>
                <a:gd name="connsiteX114" fmla="*/ 58461 w 85069"/>
                <a:gd name="connsiteY114" fmla="*/ 85228 h 85228"/>
                <a:gd name="connsiteX115" fmla="*/ 54114 w 85069"/>
                <a:gd name="connsiteY115" fmla="*/ 85109 h 85228"/>
                <a:gd name="connsiteX116" fmla="*/ 53002 w 85069"/>
                <a:gd name="connsiteY116" fmla="*/ 84963 h 85228"/>
                <a:gd name="connsiteX117" fmla="*/ 51821 w 85069"/>
                <a:gd name="connsiteY117" fmla="*/ 84523 h 85228"/>
                <a:gd name="connsiteX118" fmla="*/ 51818 w 85069"/>
                <a:gd name="connsiteY118" fmla="*/ 84520 h 85228"/>
                <a:gd name="connsiteX119" fmla="*/ 51278 w 85069"/>
                <a:gd name="connsiteY119" fmla="*/ 83611 h 85228"/>
                <a:gd name="connsiteX120" fmla="*/ 50622 w 85069"/>
                <a:gd name="connsiteY120" fmla="*/ 82514 h 85228"/>
                <a:gd name="connsiteX121" fmla="*/ 50801 w 85069"/>
                <a:gd name="connsiteY121" fmla="*/ 81842 h 85228"/>
                <a:gd name="connsiteX122" fmla="*/ 52771 w 85069"/>
                <a:gd name="connsiteY122" fmla="*/ 79931 h 85228"/>
                <a:gd name="connsiteX123" fmla="*/ 53067 w 85069"/>
                <a:gd name="connsiteY123" fmla="*/ 79403 h 85228"/>
                <a:gd name="connsiteX124" fmla="*/ 52864 w 85069"/>
                <a:gd name="connsiteY124" fmla="*/ 79120 h 85228"/>
                <a:gd name="connsiteX125" fmla="*/ 53062 w 85069"/>
                <a:gd name="connsiteY125" fmla="*/ 78278 h 85228"/>
                <a:gd name="connsiteX126" fmla="*/ 54576 w 85069"/>
                <a:gd name="connsiteY126" fmla="*/ 75424 h 85228"/>
                <a:gd name="connsiteX127" fmla="*/ 54772 w 85069"/>
                <a:gd name="connsiteY127" fmla="*/ 74277 h 85228"/>
                <a:gd name="connsiteX128" fmla="*/ 54095 w 85069"/>
                <a:gd name="connsiteY128" fmla="*/ 73474 h 85228"/>
                <a:gd name="connsiteX129" fmla="*/ 53118 w 85069"/>
                <a:gd name="connsiteY129" fmla="*/ 72994 h 85228"/>
                <a:gd name="connsiteX130" fmla="*/ 49944 w 85069"/>
                <a:gd name="connsiteY130" fmla="*/ 72146 h 85228"/>
                <a:gd name="connsiteX131" fmla="*/ 48433 w 85069"/>
                <a:gd name="connsiteY131" fmla="*/ 70949 h 85228"/>
                <a:gd name="connsiteX132" fmla="*/ 47733 w 85069"/>
                <a:gd name="connsiteY132" fmla="*/ 69903 h 85228"/>
                <a:gd name="connsiteX133" fmla="*/ 47027 w 85069"/>
                <a:gd name="connsiteY133" fmla="*/ 69609 h 85228"/>
                <a:gd name="connsiteX134" fmla="*/ 45986 w 85069"/>
                <a:gd name="connsiteY134" fmla="*/ 69962 h 85228"/>
                <a:gd name="connsiteX135" fmla="*/ 43356 w 85069"/>
                <a:gd name="connsiteY135" fmla="*/ 70351 h 85228"/>
                <a:gd name="connsiteX136" fmla="*/ 41218 w 85069"/>
                <a:gd name="connsiteY136" fmla="*/ 69787 h 85228"/>
                <a:gd name="connsiteX137" fmla="*/ 38692 w 85069"/>
                <a:gd name="connsiteY137" fmla="*/ 67807 h 85228"/>
                <a:gd name="connsiteX138" fmla="*/ 38106 w 85069"/>
                <a:gd name="connsiteY138" fmla="*/ 66036 h 85228"/>
                <a:gd name="connsiteX139" fmla="*/ 37798 w 85069"/>
                <a:gd name="connsiteY139" fmla="*/ 64677 h 85228"/>
                <a:gd name="connsiteX140" fmla="*/ 37167 w 85069"/>
                <a:gd name="connsiteY140" fmla="*/ 64208 h 85228"/>
                <a:gd name="connsiteX141" fmla="*/ 36319 w 85069"/>
                <a:gd name="connsiteY141" fmla="*/ 64905 h 85228"/>
                <a:gd name="connsiteX142" fmla="*/ 35243 w 85069"/>
                <a:gd name="connsiteY142" fmla="*/ 66009 h 85228"/>
                <a:gd name="connsiteX143" fmla="*/ 33123 w 85069"/>
                <a:gd name="connsiteY143" fmla="*/ 66141 h 85228"/>
                <a:gd name="connsiteX144" fmla="*/ 32518 w 85069"/>
                <a:gd name="connsiteY144" fmla="*/ 65883 h 85228"/>
                <a:gd name="connsiteX145" fmla="*/ 32414 w 85069"/>
                <a:gd name="connsiteY145" fmla="*/ 65274 h 85228"/>
                <a:gd name="connsiteX146" fmla="*/ 32293 w 85069"/>
                <a:gd name="connsiteY146" fmla="*/ 64689 h 85228"/>
                <a:gd name="connsiteX147" fmla="*/ 31710 w 85069"/>
                <a:gd name="connsiteY147" fmla="*/ 63964 h 85228"/>
                <a:gd name="connsiteX148" fmla="*/ 31080 w 85069"/>
                <a:gd name="connsiteY148" fmla="*/ 63561 h 85228"/>
                <a:gd name="connsiteX149" fmla="*/ 28389 w 85069"/>
                <a:gd name="connsiteY149" fmla="*/ 65599 h 85228"/>
                <a:gd name="connsiteX150" fmla="*/ 27389 w 85069"/>
                <a:gd name="connsiteY150" fmla="*/ 65594 h 85228"/>
                <a:gd name="connsiteX151" fmla="*/ 26126 w 85069"/>
                <a:gd name="connsiteY151" fmla="*/ 64811 h 85228"/>
                <a:gd name="connsiteX152" fmla="*/ 25502 w 85069"/>
                <a:gd name="connsiteY152" fmla="*/ 64043 h 85228"/>
                <a:gd name="connsiteX153" fmla="*/ 24120 w 85069"/>
                <a:gd name="connsiteY153" fmla="*/ 64481 h 85228"/>
                <a:gd name="connsiteX154" fmla="*/ 22878 w 85069"/>
                <a:gd name="connsiteY154" fmla="*/ 65427 h 85228"/>
                <a:gd name="connsiteX155" fmla="*/ 23304 w 85069"/>
                <a:gd name="connsiteY155" fmla="*/ 67203 h 85228"/>
                <a:gd name="connsiteX156" fmla="*/ 22634 w 85069"/>
                <a:gd name="connsiteY156" fmla="*/ 67528 h 85228"/>
                <a:gd name="connsiteX157" fmla="*/ 21104 w 85069"/>
                <a:gd name="connsiteY157" fmla="*/ 67366 h 85228"/>
                <a:gd name="connsiteX158" fmla="*/ 19372 w 85069"/>
                <a:gd name="connsiteY158" fmla="*/ 66634 h 85228"/>
                <a:gd name="connsiteX159" fmla="*/ 17441 w 85069"/>
                <a:gd name="connsiteY159" fmla="*/ 66193 h 85228"/>
                <a:gd name="connsiteX160" fmla="*/ 14515 w 85069"/>
                <a:gd name="connsiteY160" fmla="*/ 64968 h 85228"/>
                <a:gd name="connsiteX161" fmla="*/ 10432 w 85069"/>
                <a:gd name="connsiteY161" fmla="*/ 65962 h 85228"/>
                <a:gd name="connsiteX162" fmla="*/ 7594 w 85069"/>
                <a:gd name="connsiteY162" fmla="*/ 64772 h 85228"/>
                <a:gd name="connsiteX163" fmla="*/ 5236 w 85069"/>
                <a:gd name="connsiteY163" fmla="*/ 64654 h 85228"/>
                <a:gd name="connsiteX164" fmla="*/ 3768 w 85069"/>
                <a:gd name="connsiteY164" fmla="*/ 63706 h 85228"/>
                <a:gd name="connsiteX165" fmla="*/ 2185 w 85069"/>
                <a:gd name="connsiteY165" fmla="*/ 62102 h 85228"/>
                <a:gd name="connsiteX166" fmla="*/ 3306 w 85069"/>
                <a:gd name="connsiteY166" fmla="*/ 61046 h 85228"/>
                <a:gd name="connsiteX167" fmla="*/ 4390 w 85069"/>
                <a:gd name="connsiteY167" fmla="*/ 60680 h 85228"/>
                <a:gd name="connsiteX168" fmla="*/ 8709 w 85069"/>
                <a:gd name="connsiteY168" fmla="*/ 60476 h 85228"/>
                <a:gd name="connsiteX169" fmla="*/ 11850 w 85069"/>
                <a:gd name="connsiteY169" fmla="*/ 61118 h 85228"/>
                <a:gd name="connsiteX170" fmla="*/ 17495 w 85069"/>
                <a:gd name="connsiteY170" fmla="*/ 64600 h 85228"/>
                <a:gd name="connsiteX171" fmla="*/ 18920 w 85069"/>
                <a:gd name="connsiteY171" fmla="*/ 64573 h 85228"/>
                <a:gd name="connsiteX172" fmla="*/ 20432 w 85069"/>
                <a:gd name="connsiteY172" fmla="*/ 64134 h 85228"/>
                <a:gd name="connsiteX173" fmla="*/ 19663 w 85069"/>
                <a:gd name="connsiteY173" fmla="*/ 63185 h 85228"/>
                <a:gd name="connsiteX174" fmla="*/ 18251 w 85069"/>
                <a:gd name="connsiteY174" fmla="*/ 62733 h 85228"/>
                <a:gd name="connsiteX175" fmla="*/ 16150 w 85069"/>
                <a:gd name="connsiteY175" fmla="*/ 61797 h 85228"/>
                <a:gd name="connsiteX176" fmla="*/ 14476 w 85069"/>
                <a:gd name="connsiteY176" fmla="*/ 60482 h 85228"/>
                <a:gd name="connsiteX177" fmla="*/ 18408 w 85069"/>
                <a:gd name="connsiteY177" fmla="*/ 60056 h 85228"/>
                <a:gd name="connsiteX178" fmla="*/ 17864 w 85069"/>
                <a:gd name="connsiteY178" fmla="*/ 59375 h 85228"/>
                <a:gd name="connsiteX179" fmla="*/ 17346 w 85069"/>
                <a:gd name="connsiteY179" fmla="*/ 58213 h 85228"/>
                <a:gd name="connsiteX180" fmla="*/ 13196 w 85069"/>
                <a:gd name="connsiteY180" fmla="*/ 54156 h 85228"/>
                <a:gd name="connsiteX181" fmla="*/ 13904 w 85069"/>
                <a:gd name="connsiteY181" fmla="*/ 53057 h 85228"/>
                <a:gd name="connsiteX182" fmla="*/ 14947 w 85069"/>
                <a:gd name="connsiteY182" fmla="*/ 50697 h 85228"/>
                <a:gd name="connsiteX183" fmla="*/ 16247 w 85069"/>
                <a:gd name="connsiteY183" fmla="*/ 48735 h 85228"/>
                <a:gd name="connsiteX184" fmla="*/ 17283 w 85069"/>
                <a:gd name="connsiteY184" fmla="*/ 48209 h 85228"/>
                <a:gd name="connsiteX185" fmla="*/ 18987 w 85069"/>
                <a:gd name="connsiteY185" fmla="*/ 46816 h 85228"/>
                <a:gd name="connsiteX186" fmla="*/ 22691 w 85069"/>
                <a:gd name="connsiteY186" fmla="*/ 42733 h 85228"/>
                <a:gd name="connsiteX187" fmla="*/ 25046 w 85069"/>
                <a:gd name="connsiteY187" fmla="*/ 39401 h 85228"/>
                <a:gd name="connsiteX188" fmla="*/ 26800 w 85069"/>
                <a:gd name="connsiteY188" fmla="*/ 35438 h 85228"/>
                <a:gd name="connsiteX189" fmla="*/ 29369 w 85069"/>
                <a:gd name="connsiteY189" fmla="*/ 24495 h 85228"/>
                <a:gd name="connsiteX190" fmla="*/ 30130 w 85069"/>
                <a:gd name="connsiteY190" fmla="*/ 22631 h 85228"/>
                <a:gd name="connsiteX191" fmla="*/ 31369 w 85069"/>
                <a:gd name="connsiteY191" fmla="*/ 20562 h 85228"/>
                <a:gd name="connsiteX192" fmla="*/ 32924 w 85069"/>
                <a:gd name="connsiteY192" fmla="*/ 20952 h 85228"/>
                <a:gd name="connsiteX193" fmla="*/ 34006 w 85069"/>
                <a:gd name="connsiteY193" fmla="*/ 21548 h 85228"/>
                <a:gd name="connsiteX194" fmla="*/ 37837 w 85069"/>
                <a:gd name="connsiteY194" fmla="*/ 19984 h 85228"/>
                <a:gd name="connsiteX195" fmla="*/ 44408 w 85069"/>
                <a:gd name="connsiteY195" fmla="*/ 15914 h 85228"/>
                <a:gd name="connsiteX196" fmla="*/ 46344 w 85069"/>
                <a:gd name="connsiteY196" fmla="*/ 12387 h 85228"/>
                <a:gd name="connsiteX197" fmla="*/ 48247 w 85069"/>
                <a:gd name="connsiteY197" fmla="*/ 10746 h 85228"/>
                <a:gd name="connsiteX198" fmla="*/ 55798 w 85069"/>
                <a:gd name="connsiteY198" fmla="*/ 7544 h 85228"/>
                <a:gd name="connsiteX199" fmla="*/ 59970 w 85069"/>
                <a:gd name="connsiteY199" fmla="*/ 6584 h 85228"/>
                <a:gd name="connsiteX200" fmla="*/ 66405 w 85069"/>
                <a:gd name="connsiteY200" fmla="*/ 6337 h 85228"/>
                <a:gd name="connsiteX201" fmla="*/ 71056 w 85069"/>
                <a:gd name="connsiteY201" fmla="*/ 5765 h 85228"/>
                <a:gd name="connsiteX202" fmla="*/ 48808 w 85069"/>
                <a:gd name="connsiteY202" fmla="*/ 5486 h 85228"/>
                <a:gd name="connsiteX203" fmla="*/ 49365 w 85069"/>
                <a:gd name="connsiteY203" fmla="*/ 5650 h 85228"/>
                <a:gd name="connsiteX204" fmla="*/ 43686 w 85069"/>
                <a:gd name="connsiteY204" fmla="*/ 7226 h 85228"/>
                <a:gd name="connsiteX205" fmla="*/ 41626 w 85069"/>
                <a:gd name="connsiteY205" fmla="*/ 7466 h 85228"/>
                <a:gd name="connsiteX206" fmla="*/ 40689 w 85069"/>
                <a:gd name="connsiteY206" fmla="*/ 7044 h 85228"/>
                <a:gd name="connsiteX207" fmla="*/ 45662 w 85069"/>
                <a:gd name="connsiteY207" fmla="*/ 5850 h 85228"/>
                <a:gd name="connsiteX208" fmla="*/ 55859 w 85069"/>
                <a:gd name="connsiteY208" fmla="*/ 4536 h 85228"/>
                <a:gd name="connsiteX209" fmla="*/ 57008 w 85069"/>
                <a:gd name="connsiteY209" fmla="*/ 4840 h 85228"/>
                <a:gd name="connsiteX210" fmla="*/ 57031 w 85069"/>
                <a:gd name="connsiteY210" fmla="*/ 5026 h 85228"/>
                <a:gd name="connsiteX211" fmla="*/ 52669 w 85069"/>
                <a:gd name="connsiteY211" fmla="*/ 5514 h 85228"/>
                <a:gd name="connsiteX212" fmla="*/ 51194 w 85069"/>
                <a:gd name="connsiteY212" fmla="*/ 5145 h 85228"/>
                <a:gd name="connsiteX213" fmla="*/ 50951 w 85069"/>
                <a:gd name="connsiteY213" fmla="*/ 4795 h 85228"/>
                <a:gd name="connsiteX214" fmla="*/ 52140 w 85069"/>
                <a:gd name="connsiteY214" fmla="*/ 4587 h 85228"/>
                <a:gd name="connsiteX215" fmla="*/ 65028 w 85069"/>
                <a:gd name="connsiteY215" fmla="*/ 3334 h 85228"/>
                <a:gd name="connsiteX216" fmla="*/ 65967 w 85069"/>
                <a:gd name="connsiteY216" fmla="*/ 3462 h 85228"/>
                <a:gd name="connsiteX217" fmla="*/ 62868 w 85069"/>
                <a:gd name="connsiteY217" fmla="*/ 4484 h 85228"/>
                <a:gd name="connsiteX218" fmla="*/ 62117 w 85069"/>
                <a:gd name="connsiteY218" fmla="*/ 4270 h 85228"/>
                <a:gd name="connsiteX219" fmla="*/ 62302 w 85069"/>
                <a:gd name="connsiteY219" fmla="*/ 3974 h 85228"/>
                <a:gd name="connsiteX220" fmla="*/ 75280 w 85069"/>
                <a:gd name="connsiteY220" fmla="*/ 0 h 85228"/>
                <a:gd name="connsiteX221" fmla="*/ 76304 w 85069"/>
                <a:gd name="connsiteY221" fmla="*/ 0 h 85228"/>
                <a:gd name="connsiteX222" fmla="*/ 74842 w 85069"/>
                <a:gd name="connsiteY222" fmla="*/ 1297 h 85228"/>
                <a:gd name="connsiteX223" fmla="*/ 72793 w 85069"/>
                <a:gd name="connsiteY223" fmla="*/ 1397 h 85228"/>
                <a:gd name="connsiteX224" fmla="*/ 73378 w 85069"/>
                <a:gd name="connsiteY224" fmla="*/ 599 h 85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</a:cxnLst>
              <a:rect l="l" t="t" r="r" b="b"/>
              <a:pathLst>
                <a:path w="85069" h="85228">
                  <a:moveTo>
                    <a:pt x="5293" y="66254"/>
                  </a:moveTo>
                  <a:lnTo>
                    <a:pt x="8102" y="67143"/>
                  </a:lnTo>
                  <a:lnTo>
                    <a:pt x="11792" y="67572"/>
                  </a:lnTo>
                  <a:lnTo>
                    <a:pt x="14614" y="66356"/>
                  </a:lnTo>
                  <a:lnTo>
                    <a:pt x="16836" y="67392"/>
                  </a:lnTo>
                  <a:lnTo>
                    <a:pt x="19372" y="66634"/>
                  </a:lnTo>
                  <a:lnTo>
                    <a:pt x="19046" y="67741"/>
                  </a:lnTo>
                  <a:lnTo>
                    <a:pt x="18186" y="68963"/>
                  </a:lnTo>
                  <a:lnTo>
                    <a:pt x="15256" y="70722"/>
                  </a:lnTo>
                  <a:lnTo>
                    <a:pt x="12205" y="71876"/>
                  </a:lnTo>
                  <a:lnTo>
                    <a:pt x="10628" y="71732"/>
                  </a:lnTo>
                  <a:lnTo>
                    <a:pt x="9548" y="71128"/>
                  </a:lnTo>
                  <a:lnTo>
                    <a:pt x="8968" y="70494"/>
                  </a:lnTo>
                  <a:lnTo>
                    <a:pt x="7335" y="69883"/>
                  </a:lnTo>
                  <a:lnTo>
                    <a:pt x="5089" y="69576"/>
                  </a:lnTo>
                  <a:lnTo>
                    <a:pt x="3692" y="70237"/>
                  </a:lnTo>
                  <a:lnTo>
                    <a:pt x="2695" y="70863"/>
                  </a:lnTo>
                  <a:lnTo>
                    <a:pt x="1822" y="70760"/>
                  </a:lnTo>
                  <a:lnTo>
                    <a:pt x="1166" y="70237"/>
                  </a:lnTo>
                  <a:lnTo>
                    <a:pt x="663" y="69431"/>
                  </a:lnTo>
                  <a:lnTo>
                    <a:pt x="0" y="66892"/>
                  </a:lnTo>
                  <a:lnTo>
                    <a:pt x="1673" y="66428"/>
                  </a:lnTo>
                  <a:close/>
                  <a:moveTo>
                    <a:pt x="9706" y="56047"/>
                  </a:moveTo>
                  <a:lnTo>
                    <a:pt x="13246" y="56253"/>
                  </a:lnTo>
                  <a:lnTo>
                    <a:pt x="15405" y="57860"/>
                  </a:lnTo>
                  <a:lnTo>
                    <a:pt x="15865" y="58373"/>
                  </a:lnTo>
                  <a:lnTo>
                    <a:pt x="16031" y="58924"/>
                  </a:lnTo>
                  <a:lnTo>
                    <a:pt x="13287" y="59563"/>
                  </a:lnTo>
                  <a:lnTo>
                    <a:pt x="10369" y="57592"/>
                  </a:lnTo>
                  <a:lnTo>
                    <a:pt x="8441" y="58057"/>
                  </a:lnTo>
                  <a:lnTo>
                    <a:pt x="7715" y="57123"/>
                  </a:lnTo>
                  <a:lnTo>
                    <a:pt x="7704" y="56540"/>
                  </a:lnTo>
                  <a:close/>
                  <a:moveTo>
                    <a:pt x="33971" y="13310"/>
                  </a:moveTo>
                  <a:lnTo>
                    <a:pt x="33965" y="16687"/>
                  </a:lnTo>
                  <a:lnTo>
                    <a:pt x="31775" y="18811"/>
                  </a:lnTo>
                  <a:lnTo>
                    <a:pt x="30441" y="18218"/>
                  </a:lnTo>
                  <a:lnTo>
                    <a:pt x="30052" y="17726"/>
                  </a:lnTo>
                  <a:lnTo>
                    <a:pt x="30730" y="16070"/>
                  </a:lnTo>
                  <a:close/>
                  <a:moveTo>
                    <a:pt x="37081" y="9498"/>
                  </a:moveTo>
                  <a:lnTo>
                    <a:pt x="38884" y="9564"/>
                  </a:lnTo>
                  <a:lnTo>
                    <a:pt x="34796" y="11771"/>
                  </a:lnTo>
                  <a:lnTo>
                    <a:pt x="34446" y="11420"/>
                  </a:lnTo>
                  <a:close/>
                  <a:moveTo>
                    <a:pt x="76643" y="5558"/>
                  </a:moveTo>
                  <a:lnTo>
                    <a:pt x="78770" y="7538"/>
                  </a:lnTo>
                  <a:lnTo>
                    <a:pt x="80003" y="8984"/>
                  </a:lnTo>
                  <a:lnTo>
                    <a:pt x="81989" y="9787"/>
                  </a:lnTo>
                  <a:lnTo>
                    <a:pt x="85069" y="10338"/>
                  </a:lnTo>
                  <a:lnTo>
                    <a:pt x="84885" y="13193"/>
                  </a:lnTo>
                  <a:lnTo>
                    <a:pt x="84907" y="18820"/>
                  </a:lnTo>
                  <a:lnTo>
                    <a:pt x="84676" y="19817"/>
                  </a:lnTo>
                  <a:lnTo>
                    <a:pt x="83296" y="22186"/>
                  </a:lnTo>
                  <a:lnTo>
                    <a:pt x="81832" y="26435"/>
                  </a:lnTo>
                  <a:lnTo>
                    <a:pt x="81437" y="29222"/>
                  </a:lnTo>
                  <a:lnTo>
                    <a:pt x="80998" y="29753"/>
                  </a:lnTo>
                  <a:lnTo>
                    <a:pt x="75144" y="29737"/>
                  </a:lnTo>
                  <a:lnTo>
                    <a:pt x="74311" y="30220"/>
                  </a:lnTo>
                  <a:lnTo>
                    <a:pt x="74192" y="30822"/>
                  </a:lnTo>
                  <a:lnTo>
                    <a:pt x="74488" y="31539"/>
                  </a:lnTo>
                  <a:lnTo>
                    <a:pt x="74347" y="32252"/>
                  </a:lnTo>
                  <a:lnTo>
                    <a:pt x="73888" y="32832"/>
                  </a:lnTo>
                  <a:lnTo>
                    <a:pt x="74138" y="33753"/>
                  </a:lnTo>
                  <a:lnTo>
                    <a:pt x="75153" y="34800"/>
                  </a:lnTo>
                  <a:lnTo>
                    <a:pt x="77003" y="35447"/>
                  </a:lnTo>
                  <a:lnTo>
                    <a:pt x="78984" y="35506"/>
                  </a:lnTo>
                  <a:lnTo>
                    <a:pt x="80003" y="35393"/>
                  </a:lnTo>
                  <a:lnTo>
                    <a:pt x="80748" y="36139"/>
                  </a:lnTo>
                  <a:lnTo>
                    <a:pt x="81484" y="37291"/>
                  </a:lnTo>
                  <a:lnTo>
                    <a:pt x="81428" y="38738"/>
                  </a:lnTo>
                  <a:lnTo>
                    <a:pt x="81141" y="40682"/>
                  </a:lnTo>
                  <a:lnTo>
                    <a:pt x="80203" y="42476"/>
                  </a:lnTo>
                  <a:lnTo>
                    <a:pt x="77502" y="44542"/>
                  </a:lnTo>
                  <a:lnTo>
                    <a:pt x="76293" y="45270"/>
                  </a:lnTo>
                  <a:lnTo>
                    <a:pt x="75157" y="45641"/>
                  </a:lnTo>
                  <a:lnTo>
                    <a:pt x="74615" y="46187"/>
                  </a:lnTo>
                  <a:lnTo>
                    <a:pt x="74360" y="46878"/>
                  </a:lnTo>
                  <a:lnTo>
                    <a:pt x="74419" y="47491"/>
                  </a:lnTo>
                  <a:lnTo>
                    <a:pt x="76338" y="49147"/>
                  </a:lnTo>
                  <a:lnTo>
                    <a:pt x="76293" y="49525"/>
                  </a:lnTo>
                  <a:lnTo>
                    <a:pt x="75736" y="50385"/>
                  </a:lnTo>
                  <a:lnTo>
                    <a:pt x="74997" y="51194"/>
                  </a:lnTo>
                  <a:lnTo>
                    <a:pt x="70039" y="52876"/>
                  </a:lnTo>
                  <a:lnTo>
                    <a:pt x="67992" y="52744"/>
                  </a:lnTo>
                  <a:lnTo>
                    <a:pt x="66824" y="53581"/>
                  </a:lnTo>
                  <a:lnTo>
                    <a:pt x="66459" y="53740"/>
                  </a:lnTo>
                  <a:lnTo>
                    <a:pt x="65164" y="52971"/>
                  </a:lnTo>
                  <a:lnTo>
                    <a:pt x="62276" y="52084"/>
                  </a:lnTo>
                  <a:lnTo>
                    <a:pt x="61186" y="52390"/>
                  </a:lnTo>
                  <a:lnTo>
                    <a:pt x="60581" y="52876"/>
                  </a:lnTo>
                  <a:lnTo>
                    <a:pt x="58763" y="53465"/>
                  </a:lnTo>
                  <a:lnTo>
                    <a:pt x="57461" y="54388"/>
                  </a:lnTo>
                  <a:lnTo>
                    <a:pt x="57457" y="55576"/>
                  </a:lnTo>
                  <a:lnTo>
                    <a:pt x="59761" y="58645"/>
                  </a:lnTo>
                  <a:lnTo>
                    <a:pt x="60571" y="59247"/>
                  </a:lnTo>
                  <a:lnTo>
                    <a:pt x="60609" y="60391"/>
                  </a:lnTo>
                  <a:lnTo>
                    <a:pt x="61726" y="61827"/>
                  </a:lnTo>
                  <a:lnTo>
                    <a:pt x="62868" y="63626"/>
                  </a:lnTo>
                  <a:lnTo>
                    <a:pt x="62991" y="64769"/>
                  </a:lnTo>
                  <a:lnTo>
                    <a:pt x="62860" y="65926"/>
                  </a:lnTo>
                  <a:lnTo>
                    <a:pt x="62270" y="67562"/>
                  </a:lnTo>
                  <a:lnTo>
                    <a:pt x="60273" y="71394"/>
                  </a:lnTo>
                  <a:lnTo>
                    <a:pt x="60249" y="72129"/>
                  </a:lnTo>
                  <a:lnTo>
                    <a:pt x="60417" y="72687"/>
                  </a:lnTo>
                  <a:lnTo>
                    <a:pt x="61102" y="72841"/>
                  </a:lnTo>
                  <a:lnTo>
                    <a:pt x="61622" y="73130"/>
                  </a:lnTo>
                  <a:lnTo>
                    <a:pt x="61469" y="73640"/>
                  </a:lnTo>
                  <a:lnTo>
                    <a:pt x="57733" y="76293"/>
                  </a:lnTo>
                  <a:lnTo>
                    <a:pt x="57251" y="76757"/>
                  </a:lnTo>
                  <a:lnTo>
                    <a:pt x="55684" y="76626"/>
                  </a:lnTo>
                  <a:lnTo>
                    <a:pt x="55444" y="77069"/>
                  </a:lnTo>
                  <a:lnTo>
                    <a:pt x="55658" y="77784"/>
                  </a:lnTo>
                  <a:lnTo>
                    <a:pt x="56267" y="78410"/>
                  </a:lnTo>
                  <a:lnTo>
                    <a:pt x="57601" y="78740"/>
                  </a:lnTo>
                  <a:lnTo>
                    <a:pt x="58746" y="79411"/>
                  </a:lnTo>
                  <a:lnTo>
                    <a:pt x="59666" y="80726"/>
                  </a:lnTo>
                  <a:lnTo>
                    <a:pt x="58461" y="85228"/>
                  </a:lnTo>
                  <a:lnTo>
                    <a:pt x="54114" y="85109"/>
                  </a:lnTo>
                  <a:lnTo>
                    <a:pt x="53002" y="84963"/>
                  </a:lnTo>
                  <a:lnTo>
                    <a:pt x="51821" y="84523"/>
                  </a:lnTo>
                  <a:lnTo>
                    <a:pt x="51818" y="84520"/>
                  </a:lnTo>
                  <a:lnTo>
                    <a:pt x="51278" y="83611"/>
                  </a:lnTo>
                  <a:lnTo>
                    <a:pt x="50622" y="82514"/>
                  </a:lnTo>
                  <a:lnTo>
                    <a:pt x="50801" y="81842"/>
                  </a:lnTo>
                  <a:lnTo>
                    <a:pt x="52771" y="79931"/>
                  </a:lnTo>
                  <a:lnTo>
                    <a:pt x="53067" y="79403"/>
                  </a:lnTo>
                  <a:lnTo>
                    <a:pt x="52864" y="79120"/>
                  </a:lnTo>
                  <a:lnTo>
                    <a:pt x="53062" y="78278"/>
                  </a:lnTo>
                  <a:lnTo>
                    <a:pt x="54576" y="75424"/>
                  </a:lnTo>
                  <a:lnTo>
                    <a:pt x="54772" y="74277"/>
                  </a:lnTo>
                  <a:lnTo>
                    <a:pt x="54095" y="73474"/>
                  </a:lnTo>
                  <a:lnTo>
                    <a:pt x="53118" y="72994"/>
                  </a:lnTo>
                  <a:lnTo>
                    <a:pt x="49944" y="72146"/>
                  </a:lnTo>
                  <a:lnTo>
                    <a:pt x="48433" y="70949"/>
                  </a:lnTo>
                  <a:lnTo>
                    <a:pt x="47733" y="69903"/>
                  </a:lnTo>
                  <a:lnTo>
                    <a:pt x="47027" y="69609"/>
                  </a:lnTo>
                  <a:lnTo>
                    <a:pt x="45986" y="69962"/>
                  </a:lnTo>
                  <a:lnTo>
                    <a:pt x="43356" y="70351"/>
                  </a:lnTo>
                  <a:lnTo>
                    <a:pt x="41218" y="69787"/>
                  </a:lnTo>
                  <a:lnTo>
                    <a:pt x="38692" y="67807"/>
                  </a:lnTo>
                  <a:lnTo>
                    <a:pt x="38106" y="66036"/>
                  </a:lnTo>
                  <a:lnTo>
                    <a:pt x="37798" y="64677"/>
                  </a:lnTo>
                  <a:lnTo>
                    <a:pt x="37167" y="64208"/>
                  </a:lnTo>
                  <a:lnTo>
                    <a:pt x="36319" y="64905"/>
                  </a:lnTo>
                  <a:lnTo>
                    <a:pt x="35243" y="66009"/>
                  </a:lnTo>
                  <a:lnTo>
                    <a:pt x="33123" y="66141"/>
                  </a:lnTo>
                  <a:lnTo>
                    <a:pt x="32518" y="65883"/>
                  </a:lnTo>
                  <a:lnTo>
                    <a:pt x="32414" y="65274"/>
                  </a:lnTo>
                  <a:lnTo>
                    <a:pt x="32293" y="64689"/>
                  </a:lnTo>
                  <a:lnTo>
                    <a:pt x="31710" y="63964"/>
                  </a:lnTo>
                  <a:lnTo>
                    <a:pt x="31080" y="63561"/>
                  </a:lnTo>
                  <a:lnTo>
                    <a:pt x="28389" y="65599"/>
                  </a:lnTo>
                  <a:lnTo>
                    <a:pt x="27389" y="65594"/>
                  </a:lnTo>
                  <a:lnTo>
                    <a:pt x="26126" y="64811"/>
                  </a:lnTo>
                  <a:lnTo>
                    <a:pt x="25502" y="64043"/>
                  </a:lnTo>
                  <a:lnTo>
                    <a:pt x="24120" y="64481"/>
                  </a:lnTo>
                  <a:lnTo>
                    <a:pt x="22878" y="65427"/>
                  </a:lnTo>
                  <a:lnTo>
                    <a:pt x="23304" y="67203"/>
                  </a:lnTo>
                  <a:lnTo>
                    <a:pt x="22634" y="67528"/>
                  </a:lnTo>
                  <a:lnTo>
                    <a:pt x="21104" y="67366"/>
                  </a:lnTo>
                  <a:lnTo>
                    <a:pt x="19372" y="66634"/>
                  </a:lnTo>
                  <a:lnTo>
                    <a:pt x="17441" y="66193"/>
                  </a:lnTo>
                  <a:lnTo>
                    <a:pt x="14515" y="64968"/>
                  </a:lnTo>
                  <a:lnTo>
                    <a:pt x="10432" y="65962"/>
                  </a:lnTo>
                  <a:lnTo>
                    <a:pt x="7594" y="64772"/>
                  </a:lnTo>
                  <a:lnTo>
                    <a:pt x="5236" y="64654"/>
                  </a:lnTo>
                  <a:lnTo>
                    <a:pt x="3768" y="63706"/>
                  </a:lnTo>
                  <a:lnTo>
                    <a:pt x="2185" y="62102"/>
                  </a:lnTo>
                  <a:lnTo>
                    <a:pt x="3306" y="61046"/>
                  </a:lnTo>
                  <a:lnTo>
                    <a:pt x="4390" y="60680"/>
                  </a:lnTo>
                  <a:lnTo>
                    <a:pt x="8709" y="60476"/>
                  </a:lnTo>
                  <a:lnTo>
                    <a:pt x="11850" y="61118"/>
                  </a:lnTo>
                  <a:lnTo>
                    <a:pt x="17495" y="64600"/>
                  </a:lnTo>
                  <a:lnTo>
                    <a:pt x="18920" y="64573"/>
                  </a:lnTo>
                  <a:lnTo>
                    <a:pt x="20432" y="64134"/>
                  </a:lnTo>
                  <a:lnTo>
                    <a:pt x="19663" y="63185"/>
                  </a:lnTo>
                  <a:lnTo>
                    <a:pt x="18251" y="62733"/>
                  </a:lnTo>
                  <a:lnTo>
                    <a:pt x="16150" y="61797"/>
                  </a:lnTo>
                  <a:lnTo>
                    <a:pt x="14476" y="60482"/>
                  </a:lnTo>
                  <a:lnTo>
                    <a:pt x="18408" y="60056"/>
                  </a:lnTo>
                  <a:lnTo>
                    <a:pt x="17864" y="59375"/>
                  </a:lnTo>
                  <a:lnTo>
                    <a:pt x="17346" y="58213"/>
                  </a:lnTo>
                  <a:lnTo>
                    <a:pt x="13196" y="54156"/>
                  </a:lnTo>
                  <a:lnTo>
                    <a:pt x="13904" y="53057"/>
                  </a:lnTo>
                  <a:lnTo>
                    <a:pt x="14947" y="50697"/>
                  </a:lnTo>
                  <a:lnTo>
                    <a:pt x="16247" y="48735"/>
                  </a:lnTo>
                  <a:lnTo>
                    <a:pt x="17283" y="48209"/>
                  </a:lnTo>
                  <a:lnTo>
                    <a:pt x="18987" y="46816"/>
                  </a:lnTo>
                  <a:lnTo>
                    <a:pt x="22691" y="42733"/>
                  </a:lnTo>
                  <a:lnTo>
                    <a:pt x="25046" y="39401"/>
                  </a:lnTo>
                  <a:lnTo>
                    <a:pt x="26800" y="35438"/>
                  </a:lnTo>
                  <a:lnTo>
                    <a:pt x="29369" y="24495"/>
                  </a:lnTo>
                  <a:lnTo>
                    <a:pt x="30130" y="22631"/>
                  </a:lnTo>
                  <a:lnTo>
                    <a:pt x="31369" y="20562"/>
                  </a:lnTo>
                  <a:lnTo>
                    <a:pt x="32924" y="20952"/>
                  </a:lnTo>
                  <a:lnTo>
                    <a:pt x="34006" y="21548"/>
                  </a:lnTo>
                  <a:lnTo>
                    <a:pt x="37837" y="19984"/>
                  </a:lnTo>
                  <a:lnTo>
                    <a:pt x="44408" y="15914"/>
                  </a:lnTo>
                  <a:lnTo>
                    <a:pt x="46344" y="12387"/>
                  </a:lnTo>
                  <a:lnTo>
                    <a:pt x="48247" y="10746"/>
                  </a:lnTo>
                  <a:lnTo>
                    <a:pt x="55798" y="7544"/>
                  </a:lnTo>
                  <a:lnTo>
                    <a:pt x="59970" y="6584"/>
                  </a:lnTo>
                  <a:lnTo>
                    <a:pt x="66405" y="6337"/>
                  </a:lnTo>
                  <a:lnTo>
                    <a:pt x="71056" y="5765"/>
                  </a:lnTo>
                  <a:close/>
                  <a:moveTo>
                    <a:pt x="48808" y="5486"/>
                  </a:moveTo>
                  <a:lnTo>
                    <a:pt x="49365" y="5650"/>
                  </a:lnTo>
                  <a:lnTo>
                    <a:pt x="43686" y="7226"/>
                  </a:lnTo>
                  <a:lnTo>
                    <a:pt x="41626" y="7466"/>
                  </a:lnTo>
                  <a:lnTo>
                    <a:pt x="40689" y="7044"/>
                  </a:lnTo>
                  <a:lnTo>
                    <a:pt x="45662" y="5850"/>
                  </a:lnTo>
                  <a:close/>
                  <a:moveTo>
                    <a:pt x="55859" y="4536"/>
                  </a:moveTo>
                  <a:lnTo>
                    <a:pt x="57008" y="4840"/>
                  </a:lnTo>
                  <a:lnTo>
                    <a:pt x="57031" y="5026"/>
                  </a:lnTo>
                  <a:lnTo>
                    <a:pt x="52669" y="5514"/>
                  </a:lnTo>
                  <a:lnTo>
                    <a:pt x="51194" y="5145"/>
                  </a:lnTo>
                  <a:lnTo>
                    <a:pt x="50951" y="4795"/>
                  </a:lnTo>
                  <a:lnTo>
                    <a:pt x="52140" y="4587"/>
                  </a:lnTo>
                  <a:close/>
                  <a:moveTo>
                    <a:pt x="65028" y="3334"/>
                  </a:moveTo>
                  <a:lnTo>
                    <a:pt x="65967" y="3462"/>
                  </a:lnTo>
                  <a:lnTo>
                    <a:pt x="62868" y="4484"/>
                  </a:lnTo>
                  <a:lnTo>
                    <a:pt x="62117" y="4270"/>
                  </a:lnTo>
                  <a:lnTo>
                    <a:pt x="62302" y="3974"/>
                  </a:lnTo>
                  <a:close/>
                  <a:moveTo>
                    <a:pt x="75280" y="0"/>
                  </a:moveTo>
                  <a:lnTo>
                    <a:pt x="76304" y="0"/>
                  </a:lnTo>
                  <a:lnTo>
                    <a:pt x="74842" y="1297"/>
                  </a:lnTo>
                  <a:lnTo>
                    <a:pt x="72793" y="1397"/>
                  </a:lnTo>
                  <a:lnTo>
                    <a:pt x="73378" y="599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ee4p_NO_1_37764">
              <a:extLst>
                <a:ext uri="{FF2B5EF4-FFF2-40B4-BE49-F238E27FC236}">
                  <a16:creationId xmlns:a16="http://schemas.microsoft.com/office/drawing/2014/main" id="{E8487804-B8B2-4B54-9AEF-7E17622FA515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9419055" y="2548560"/>
              <a:ext cx="5445372" cy="4429309"/>
            </a:xfrm>
            <a:custGeom>
              <a:avLst/>
              <a:gdLst>
                <a:gd name="connsiteX0" fmla="*/ 4236 w 578488"/>
                <a:gd name="connsiteY0" fmla="*/ 391131 h 470547"/>
                <a:gd name="connsiteX1" fmla="*/ 5553 w 578488"/>
                <a:gd name="connsiteY1" fmla="*/ 393229 h 470547"/>
                <a:gd name="connsiteX2" fmla="*/ 6342 w 578488"/>
                <a:gd name="connsiteY2" fmla="*/ 395934 h 470547"/>
                <a:gd name="connsiteX3" fmla="*/ 6413 w 578488"/>
                <a:gd name="connsiteY3" fmla="*/ 399875 h 470547"/>
                <a:gd name="connsiteX4" fmla="*/ 4376 w 578488"/>
                <a:gd name="connsiteY4" fmla="*/ 399577 h 470547"/>
                <a:gd name="connsiteX5" fmla="*/ 3461 w 578488"/>
                <a:gd name="connsiteY5" fmla="*/ 398066 h 470547"/>
                <a:gd name="connsiteX6" fmla="*/ 3196 w 578488"/>
                <a:gd name="connsiteY6" fmla="*/ 397101 h 470547"/>
                <a:gd name="connsiteX7" fmla="*/ 3355 w 578488"/>
                <a:gd name="connsiteY7" fmla="*/ 394818 h 470547"/>
                <a:gd name="connsiteX8" fmla="*/ 2897 w 578488"/>
                <a:gd name="connsiteY8" fmla="*/ 392461 h 470547"/>
                <a:gd name="connsiteX9" fmla="*/ 3498 w 578488"/>
                <a:gd name="connsiteY9" fmla="*/ 391290 h 470547"/>
                <a:gd name="connsiteX10" fmla="*/ 2573 w 578488"/>
                <a:gd name="connsiteY10" fmla="*/ 366113 h 470547"/>
                <a:gd name="connsiteX11" fmla="*/ 3852 w 578488"/>
                <a:gd name="connsiteY11" fmla="*/ 367834 h 470547"/>
                <a:gd name="connsiteX12" fmla="*/ 3530 w 578488"/>
                <a:gd name="connsiteY12" fmla="*/ 369975 h 470547"/>
                <a:gd name="connsiteX13" fmla="*/ 1572 w 578488"/>
                <a:gd name="connsiteY13" fmla="*/ 370400 h 470547"/>
                <a:gd name="connsiteX14" fmla="*/ 0 w 578488"/>
                <a:gd name="connsiteY14" fmla="*/ 370038 h 470547"/>
                <a:gd name="connsiteX15" fmla="*/ 561 w 578488"/>
                <a:gd name="connsiteY15" fmla="*/ 366825 h 470547"/>
                <a:gd name="connsiteX16" fmla="*/ 1384 w 578488"/>
                <a:gd name="connsiteY16" fmla="*/ 366299 h 470547"/>
                <a:gd name="connsiteX17" fmla="*/ 72406 w 578488"/>
                <a:gd name="connsiteY17" fmla="*/ 288176 h 470547"/>
                <a:gd name="connsiteX18" fmla="*/ 73790 w 578488"/>
                <a:gd name="connsiteY18" fmla="*/ 289555 h 470547"/>
                <a:gd name="connsiteX19" fmla="*/ 73896 w 578488"/>
                <a:gd name="connsiteY19" fmla="*/ 291823 h 470547"/>
                <a:gd name="connsiteX20" fmla="*/ 73052 w 578488"/>
                <a:gd name="connsiteY20" fmla="*/ 292828 h 470547"/>
                <a:gd name="connsiteX21" fmla="*/ 70884 w 578488"/>
                <a:gd name="connsiteY21" fmla="*/ 292852 h 470547"/>
                <a:gd name="connsiteX22" fmla="*/ 68309 w 578488"/>
                <a:gd name="connsiteY22" fmla="*/ 292314 h 470547"/>
                <a:gd name="connsiteX23" fmla="*/ 66697 w 578488"/>
                <a:gd name="connsiteY23" fmla="*/ 291172 h 470547"/>
                <a:gd name="connsiteX24" fmla="*/ 66446 w 578488"/>
                <a:gd name="connsiteY24" fmla="*/ 290164 h 470547"/>
                <a:gd name="connsiteX25" fmla="*/ 69417 w 578488"/>
                <a:gd name="connsiteY25" fmla="*/ 288910 h 470547"/>
                <a:gd name="connsiteX26" fmla="*/ 87688 w 578488"/>
                <a:gd name="connsiteY26" fmla="*/ 276468 h 470547"/>
                <a:gd name="connsiteX27" fmla="*/ 88672 w 578488"/>
                <a:gd name="connsiteY27" fmla="*/ 277636 h 470547"/>
                <a:gd name="connsiteX28" fmla="*/ 88798 w 578488"/>
                <a:gd name="connsiteY28" fmla="*/ 279233 h 470547"/>
                <a:gd name="connsiteX29" fmla="*/ 88172 w 578488"/>
                <a:gd name="connsiteY29" fmla="*/ 280023 h 470547"/>
                <a:gd name="connsiteX30" fmla="*/ 81190 w 578488"/>
                <a:gd name="connsiteY30" fmla="*/ 281299 h 470547"/>
                <a:gd name="connsiteX31" fmla="*/ 78655 w 578488"/>
                <a:gd name="connsiteY31" fmla="*/ 281381 h 470547"/>
                <a:gd name="connsiteX32" fmla="*/ 77129 w 578488"/>
                <a:gd name="connsiteY32" fmla="*/ 280596 h 470547"/>
                <a:gd name="connsiteX33" fmla="*/ 80758 w 578488"/>
                <a:gd name="connsiteY33" fmla="*/ 279027 h 470547"/>
                <a:gd name="connsiteX34" fmla="*/ 86455 w 578488"/>
                <a:gd name="connsiteY34" fmla="*/ 277535 h 470547"/>
                <a:gd name="connsiteX35" fmla="*/ 86997 w 578488"/>
                <a:gd name="connsiteY35" fmla="*/ 276585 h 470547"/>
                <a:gd name="connsiteX36" fmla="*/ 137580 w 578488"/>
                <a:gd name="connsiteY36" fmla="*/ 234750 h 470547"/>
                <a:gd name="connsiteX37" fmla="*/ 140049 w 578488"/>
                <a:gd name="connsiteY37" fmla="*/ 234842 h 470547"/>
                <a:gd name="connsiteX38" fmla="*/ 142560 w 578488"/>
                <a:gd name="connsiteY38" fmla="*/ 237291 h 470547"/>
                <a:gd name="connsiteX39" fmla="*/ 142234 w 578488"/>
                <a:gd name="connsiteY39" fmla="*/ 238798 h 470547"/>
                <a:gd name="connsiteX40" fmla="*/ 141074 w 578488"/>
                <a:gd name="connsiteY40" fmla="*/ 239795 h 470547"/>
                <a:gd name="connsiteX41" fmla="*/ 138498 w 578488"/>
                <a:gd name="connsiteY41" fmla="*/ 238994 h 470547"/>
                <a:gd name="connsiteX42" fmla="*/ 133413 w 578488"/>
                <a:gd name="connsiteY42" fmla="*/ 239613 h 470547"/>
                <a:gd name="connsiteX43" fmla="*/ 131364 w 578488"/>
                <a:gd name="connsiteY43" fmla="*/ 238638 h 470547"/>
                <a:gd name="connsiteX44" fmla="*/ 132992 w 578488"/>
                <a:gd name="connsiteY44" fmla="*/ 236741 h 470547"/>
                <a:gd name="connsiteX45" fmla="*/ 156473 w 578488"/>
                <a:gd name="connsiteY45" fmla="*/ 208471 h 470547"/>
                <a:gd name="connsiteX46" fmla="*/ 158617 w 578488"/>
                <a:gd name="connsiteY46" fmla="*/ 208629 h 470547"/>
                <a:gd name="connsiteX47" fmla="*/ 159300 w 578488"/>
                <a:gd name="connsiteY47" fmla="*/ 209433 h 470547"/>
                <a:gd name="connsiteX48" fmla="*/ 158520 w 578488"/>
                <a:gd name="connsiteY48" fmla="*/ 211357 h 470547"/>
                <a:gd name="connsiteX49" fmla="*/ 157058 w 578488"/>
                <a:gd name="connsiteY49" fmla="*/ 212476 h 470547"/>
                <a:gd name="connsiteX50" fmla="*/ 154327 w 578488"/>
                <a:gd name="connsiteY50" fmla="*/ 212155 h 470547"/>
                <a:gd name="connsiteX51" fmla="*/ 154035 w 578488"/>
                <a:gd name="connsiteY51" fmla="*/ 211196 h 470547"/>
                <a:gd name="connsiteX52" fmla="*/ 154815 w 578488"/>
                <a:gd name="connsiteY52" fmla="*/ 209272 h 470547"/>
                <a:gd name="connsiteX53" fmla="*/ 175748 w 578488"/>
                <a:gd name="connsiteY53" fmla="*/ 197328 h 470547"/>
                <a:gd name="connsiteX54" fmla="*/ 176449 w 578488"/>
                <a:gd name="connsiteY54" fmla="*/ 198048 h 470547"/>
                <a:gd name="connsiteX55" fmla="*/ 175119 w 578488"/>
                <a:gd name="connsiteY55" fmla="*/ 199065 h 470547"/>
                <a:gd name="connsiteX56" fmla="*/ 170496 w 578488"/>
                <a:gd name="connsiteY56" fmla="*/ 201327 h 470547"/>
                <a:gd name="connsiteX57" fmla="*/ 168725 w 578488"/>
                <a:gd name="connsiteY57" fmla="*/ 201432 h 470547"/>
                <a:gd name="connsiteX58" fmla="*/ 168740 w 578488"/>
                <a:gd name="connsiteY58" fmla="*/ 199939 h 470547"/>
                <a:gd name="connsiteX59" fmla="*/ 169755 w 578488"/>
                <a:gd name="connsiteY59" fmla="*/ 198582 h 470547"/>
                <a:gd name="connsiteX60" fmla="*/ 171364 w 578488"/>
                <a:gd name="connsiteY60" fmla="*/ 197674 h 470547"/>
                <a:gd name="connsiteX61" fmla="*/ 173433 w 578488"/>
                <a:gd name="connsiteY61" fmla="*/ 197432 h 470547"/>
                <a:gd name="connsiteX62" fmla="*/ 170891 w 578488"/>
                <a:gd name="connsiteY62" fmla="*/ 190029 h 470547"/>
                <a:gd name="connsiteX63" fmla="*/ 172956 w 578488"/>
                <a:gd name="connsiteY63" fmla="*/ 191226 h 470547"/>
                <a:gd name="connsiteX64" fmla="*/ 172996 w 578488"/>
                <a:gd name="connsiteY64" fmla="*/ 193260 h 470547"/>
                <a:gd name="connsiteX65" fmla="*/ 171973 w 578488"/>
                <a:gd name="connsiteY65" fmla="*/ 195112 h 470547"/>
                <a:gd name="connsiteX66" fmla="*/ 168514 w 578488"/>
                <a:gd name="connsiteY66" fmla="*/ 196161 h 470547"/>
                <a:gd name="connsiteX67" fmla="*/ 166467 w 578488"/>
                <a:gd name="connsiteY67" fmla="*/ 196404 h 470547"/>
                <a:gd name="connsiteX68" fmla="*/ 166808 w 578488"/>
                <a:gd name="connsiteY68" fmla="*/ 194788 h 470547"/>
                <a:gd name="connsiteX69" fmla="*/ 168464 w 578488"/>
                <a:gd name="connsiteY69" fmla="*/ 193253 h 470547"/>
                <a:gd name="connsiteX70" fmla="*/ 169099 w 578488"/>
                <a:gd name="connsiteY70" fmla="*/ 192202 h 470547"/>
                <a:gd name="connsiteX71" fmla="*/ 169429 w 578488"/>
                <a:gd name="connsiteY71" fmla="*/ 190966 h 470547"/>
                <a:gd name="connsiteX72" fmla="*/ 182845 w 578488"/>
                <a:gd name="connsiteY72" fmla="*/ 120497 h 470547"/>
                <a:gd name="connsiteX73" fmla="*/ 184057 w 578488"/>
                <a:gd name="connsiteY73" fmla="*/ 121330 h 470547"/>
                <a:gd name="connsiteX74" fmla="*/ 183502 w 578488"/>
                <a:gd name="connsiteY74" fmla="*/ 123106 h 470547"/>
                <a:gd name="connsiteX75" fmla="*/ 183513 w 578488"/>
                <a:gd name="connsiteY75" fmla="*/ 124862 h 470547"/>
                <a:gd name="connsiteX76" fmla="*/ 182990 w 578488"/>
                <a:gd name="connsiteY76" fmla="*/ 125692 h 470547"/>
                <a:gd name="connsiteX77" fmla="*/ 180716 w 578488"/>
                <a:gd name="connsiteY77" fmla="*/ 127984 h 470547"/>
                <a:gd name="connsiteX78" fmla="*/ 177449 w 578488"/>
                <a:gd name="connsiteY78" fmla="*/ 129987 h 470547"/>
                <a:gd name="connsiteX79" fmla="*/ 178641 w 578488"/>
                <a:gd name="connsiteY79" fmla="*/ 126329 h 470547"/>
                <a:gd name="connsiteX80" fmla="*/ 180405 w 578488"/>
                <a:gd name="connsiteY80" fmla="*/ 122620 h 470547"/>
                <a:gd name="connsiteX81" fmla="*/ 198678 w 578488"/>
                <a:gd name="connsiteY81" fmla="*/ 112691 h 470547"/>
                <a:gd name="connsiteX82" fmla="*/ 200641 w 578488"/>
                <a:gd name="connsiteY82" fmla="*/ 113103 h 470547"/>
                <a:gd name="connsiteX83" fmla="*/ 201956 w 578488"/>
                <a:gd name="connsiteY83" fmla="*/ 113756 h 470547"/>
                <a:gd name="connsiteX84" fmla="*/ 205392 w 578488"/>
                <a:gd name="connsiteY84" fmla="*/ 113566 h 470547"/>
                <a:gd name="connsiteX85" fmla="*/ 206080 w 578488"/>
                <a:gd name="connsiteY85" fmla="*/ 113810 h 470547"/>
                <a:gd name="connsiteX86" fmla="*/ 205592 w 578488"/>
                <a:gd name="connsiteY86" fmla="*/ 114887 h 470547"/>
                <a:gd name="connsiteX87" fmla="*/ 204100 w 578488"/>
                <a:gd name="connsiteY87" fmla="*/ 116071 h 470547"/>
                <a:gd name="connsiteX88" fmla="*/ 200969 w 578488"/>
                <a:gd name="connsiteY88" fmla="*/ 116797 h 470547"/>
                <a:gd name="connsiteX89" fmla="*/ 199561 w 578488"/>
                <a:gd name="connsiteY89" fmla="*/ 118603 h 470547"/>
                <a:gd name="connsiteX90" fmla="*/ 198553 w 578488"/>
                <a:gd name="connsiteY90" fmla="*/ 119216 h 470547"/>
                <a:gd name="connsiteX91" fmla="*/ 195849 w 578488"/>
                <a:gd name="connsiteY91" fmla="*/ 119224 h 470547"/>
                <a:gd name="connsiteX92" fmla="*/ 194254 w 578488"/>
                <a:gd name="connsiteY92" fmla="*/ 119640 h 470547"/>
                <a:gd name="connsiteX93" fmla="*/ 192291 w 578488"/>
                <a:gd name="connsiteY93" fmla="*/ 121245 h 470547"/>
                <a:gd name="connsiteX94" fmla="*/ 190721 w 578488"/>
                <a:gd name="connsiteY94" fmla="*/ 120062 h 470547"/>
                <a:gd name="connsiteX95" fmla="*/ 190283 w 578488"/>
                <a:gd name="connsiteY95" fmla="*/ 120902 h 470547"/>
                <a:gd name="connsiteX96" fmla="*/ 189997 w 578488"/>
                <a:gd name="connsiteY96" fmla="*/ 122401 h 470547"/>
                <a:gd name="connsiteX97" fmla="*/ 189125 w 578488"/>
                <a:gd name="connsiteY97" fmla="*/ 122841 h 470547"/>
                <a:gd name="connsiteX98" fmla="*/ 186413 w 578488"/>
                <a:gd name="connsiteY98" fmla="*/ 123384 h 470547"/>
                <a:gd name="connsiteX99" fmla="*/ 185752 w 578488"/>
                <a:gd name="connsiteY99" fmla="*/ 119891 h 470547"/>
                <a:gd name="connsiteX100" fmla="*/ 187000 w 578488"/>
                <a:gd name="connsiteY100" fmla="*/ 118622 h 470547"/>
                <a:gd name="connsiteX101" fmla="*/ 187978 w 578488"/>
                <a:gd name="connsiteY101" fmla="*/ 117104 h 470547"/>
                <a:gd name="connsiteX102" fmla="*/ 189477 w 578488"/>
                <a:gd name="connsiteY102" fmla="*/ 116872 h 470547"/>
                <a:gd name="connsiteX103" fmla="*/ 190820 w 578488"/>
                <a:gd name="connsiteY103" fmla="*/ 116998 h 470547"/>
                <a:gd name="connsiteX104" fmla="*/ 193237 w 578488"/>
                <a:gd name="connsiteY104" fmla="*/ 113726 h 470547"/>
                <a:gd name="connsiteX105" fmla="*/ 196547 w 578488"/>
                <a:gd name="connsiteY105" fmla="*/ 112796 h 470547"/>
                <a:gd name="connsiteX106" fmla="*/ 227817 w 578488"/>
                <a:gd name="connsiteY106" fmla="*/ 84536 h 470547"/>
                <a:gd name="connsiteX107" fmla="*/ 228398 w 578488"/>
                <a:gd name="connsiteY107" fmla="*/ 84693 h 470547"/>
                <a:gd name="connsiteX108" fmla="*/ 229447 w 578488"/>
                <a:gd name="connsiteY108" fmla="*/ 85561 h 470547"/>
                <a:gd name="connsiteX109" fmla="*/ 230145 w 578488"/>
                <a:gd name="connsiteY109" fmla="*/ 87049 h 470547"/>
                <a:gd name="connsiteX110" fmla="*/ 233021 w 578488"/>
                <a:gd name="connsiteY110" fmla="*/ 90942 h 470547"/>
                <a:gd name="connsiteX111" fmla="*/ 234334 w 578488"/>
                <a:gd name="connsiteY111" fmla="*/ 93213 h 470547"/>
                <a:gd name="connsiteX112" fmla="*/ 233269 w 578488"/>
                <a:gd name="connsiteY112" fmla="*/ 97497 h 470547"/>
                <a:gd name="connsiteX113" fmla="*/ 230475 w 578488"/>
                <a:gd name="connsiteY113" fmla="*/ 99655 h 470547"/>
                <a:gd name="connsiteX114" fmla="*/ 226163 w 578488"/>
                <a:gd name="connsiteY114" fmla="*/ 100039 h 470547"/>
                <a:gd name="connsiteX115" fmla="*/ 223138 w 578488"/>
                <a:gd name="connsiteY115" fmla="*/ 99860 h 470547"/>
                <a:gd name="connsiteX116" fmla="*/ 221231 w 578488"/>
                <a:gd name="connsiteY116" fmla="*/ 98822 h 470547"/>
                <a:gd name="connsiteX117" fmla="*/ 220993 w 578488"/>
                <a:gd name="connsiteY117" fmla="*/ 97657 h 470547"/>
                <a:gd name="connsiteX118" fmla="*/ 219892 w 578488"/>
                <a:gd name="connsiteY118" fmla="*/ 97313 h 470547"/>
                <a:gd name="connsiteX119" fmla="*/ 216987 w 578488"/>
                <a:gd name="connsiteY119" fmla="*/ 98809 h 470547"/>
                <a:gd name="connsiteX120" fmla="*/ 214969 w 578488"/>
                <a:gd name="connsiteY120" fmla="*/ 99011 h 470547"/>
                <a:gd name="connsiteX121" fmla="*/ 212401 w 578488"/>
                <a:gd name="connsiteY121" fmla="*/ 97851 h 470547"/>
                <a:gd name="connsiteX122" fmla="*/ 211710 w 578488"/>
                <a:gd name="connsiteY122" fmla="*/ 95995 h 470547"/>
                <a:gd name="connsiteX123" fmla="*/ 214435 w 578488"/>
                <a:gd name="connsiteY123" fmla="*/ 93665 h 470547"/>
                <a:gd name="connsiteX124" fmla="*/ 215696 w 578488"/>
                <a:gd name="connsiteY124" fmla="*/ 91852 h 470547"/>
                <a:gd name="connsiteX125" fmla="*/ 218720 w 578488"/>
                <a:gd name="connsiteY125" fmla="*/ 92012 h 470547"/>
                <a:gd name="connsiteX126" fmla="*/ 219475 w 578488"/>
                <a:gd name="connsiteY126" fmla="*/ 92576 h 470547"/>
                <a:gd name="connsiteX127" fmla="*/ 221183 w 578488"/>
                <a:gd name="connsiteY127" fmla="*/ 92928 h 470547"/>
                <a:gd name="connsiteX128" fmla="*/ 222222 w 578488"/>
                <a:gd name="connsiteY128" fmla="*/ 90744 h 470547"/>
                <a:gd name="connsiteX129" fmla="*/ 221982 w 578488"/>
                <a:gd name="connsiteY129" fmla="*/ 89232 h 470547"/>
                <a:gd name="connsiteX130" fmla="*/ 222742 w 578488"/>
                <a:gd name="connsiteY130" fmla="*/ 88181 h 470547"/>
                <a:gd name="connsiteX131" fmla="*/ 226394 w 578488"/>
                <a:gd name="connsiteY131" fmla="*/ 88938 h 470547"/>
                <a:gd name="connsiteX132" fmla="*/ 226400 w 578488"/>
                <a:gd name="connsiteY132" fmla="*/ 84826 h 470547"/>
                <a:gd name="connsiteX133" fmla="*/ 246910 w 578488"/>
                <a:gd name="connsiteY133" fmla="*/ 73108 h 470547"/>
                <a:gd name="connsiteX134" fmla="*/ 248739 w 578488"/>
                <a:gd name="connsiteY134" fmla="*/ 73108 h 470547"/>
                <a:gd name="connsiteX135" fmla="*/ 250540 w 578488"/>
                <a:gd name="connsiteY135" fmla="*/ 74204 h 470547"/>
                <a:gd name="connsiteX136" fmla="*/ 250216 w 578488"/>
                <a:gd name="connsiteY136" fmla="*/ 76443 h 470547"/>
                <a:gd name="connsiteX137" fmla="*/ 247515 w 578488"/>
                <a:gd name="connsiteY137" fmla="*/ 80477 h 470547"/>
                <a:gd name="connsiteX138" fmla="*/ 243513 w 578488"/>
                <a:gd name="connsiteY138" fmla="*/ 83908 h 470547"/>
                <a:gd name="connsiteX139" fmla="*/ 244001 w 578488"/>
                <a:gd name="connsiteY139" fmla="*/ 86367 h 470547"/>
                <a:gd name="connsiteX140" fmla="*/ 245595 w 578488"/>
                <a:gd name="connsiteY140" fmla="*/ 88389 h 470547"/>
                <a:gd name="connsiteX141" fmla="*/ 245986 w 578488"/>
                <a:gd name="connsiteY141" fmla="*/ 91839 h 470547"/>
                <a:gd name="connsiteX142" fmla="*/ 246083 w 578488"/>
                <a:gd name="connsiteY142" fmla="*/ 95156 h 470547"/>
                <a:gd name="connsiteX143" fmla="*/ 243049 w 578488"/>
                <a:gd name="connsiteY143" fmla="*/ 99627 h 470547"/>
                <a:gd name="connsiteX144" fmla="*/ 242378 w 578488"/>
                <a:gd name="connsiteY144" fmla="*/ 101772 h 470547"/>
                <a:gd name="connsiteX145" fmla="*/ 242643 w 578488"/>
                <a:gd name="connsiteY145" fmla="*/ 102042 h 470547"/>
                <a:gd name="connsiteX146" fmla="*/ 245656 w 578488"/>
                <a:gd name="connsiteY146" fmla="*/ 98341 h 470547"/>
                <a:gd name="connsiteX147" fmla="*/ 248994 w 578488"/>
                <a:gd name="connsiteY147" fmla="*/ 97185 h 470547"/>
                <a:gd name="connsiteX148" fmla="*/ 249201 w 578488"/>
                <a:gd name="connsiteY148" fmla="*/ 95895 h 470547"/>
                <a:gd name="connsiteX149" fmla="*/ 250495 w 578488"/>
                <a:gd name="connsiteY149" fmla="*/ 94646 h 470547"/>
                <a:gd name="connsiteX150" fmla="*/ 250348 w 578488"/>
                <a:gd name="connsiteY150" fmla="*/ 92605 h 470547"/>
                <a:gd name="connsiteX151" fmla="*/ 251006 w 578488"/>
                <a:gd name="connsiteY151" fmla="*/ 90944 h 470547"/>
                <a:gd name="connsiteX152" fmla="*/ 252708 w 578488"/>
                <a:gd name="connsiteY152" fmla="*/ 90504 h 470547"/>
                <a:gd name="connsiteX153" fmla="*/ 253771 w 578488"/>
                <a:gd name="connsiteY153" fmla="*/ 89942 h 470547"/>
                <a:gd name="connsiteX154" fmla="*/ 254950 w 578488"/>
                <a:gd name="connsiteY154" fmla="*/ 89632 h 470547"/>
                <a:gd name="connsiteX155" fmla="*/ 257079 w 578488"/>
                <a:gd name="connsiteY155" fmla="*/ 90976 h 470547"/>
                <a:gd name="connsiteX156" fmla="*/ 258284 w 578488"/>
                <a:gd name="connsiteY156" fmla="*/ 92467 h 470547"/>
                <a:gd name="connsiteX157" fmla="*/ 259780 w 578488"/>
                <a:gd name="connsiteY157" fmla="*/ 95797 h 470547"/>
                <a:gd name="connsiteX158" fmla="*/ 259158 w 578488"/>
                <a:gd name="connsiteY158" fmla="*/ 99013 h 470547"/>
                <a:gd name="connsiteX159" fmla="*/ 255150 w 578488"/>
                <a:gd name="connsiteY159" fmla="*/ 101517 h 470547"/>
                <a:gd name="connsiteX160" fmla="*/ 251965 w 578488"/>
                <a:gd name="connsiteY160" fmla="*/ 102646 h 470547"/>
                <a:gd name="connsiteX161" fmla="*/ 248748 w 578488"/>
                <a:gd name="connsiteY161" fmla="*/ 105516 h 470547"/>
                <a:gd name="connsiteX162" fmla="*/ 247131 w 578488"/>
                <a:gd name="connsiteY162" fmla="*/ 107859 h 470547"/>
                <a:gd name="connsiteX163" fmla="*/ 245742 w 578488"/>
                <a:gd name="connsiteY163" fmla="*/ 108366 h 470547"/>
                <a:gd name="connsiteX164" fmla="*/ 244863 w 578488"/>
                <a:gd name="connsiteY164" fmla="*/ 108175 h 470547"/>
                <a:gd name="connsiteX165" fmla="*/ 244082 w 578488"/>
                <a:gd name="connsiteY165" fmla="*/ 107609 h 470547"/>
                <a:gd name="connsiteX166" fmla="*/ 242451 w 578488"/>
                <a:gd name="connsiteY166" fmla="*/ 107607 h 470547"/>
                <a:gd name="connsiteX167" fmla="*/ 240657 w 578488"/>
                <a:gd name="connsiteY167" fmla="*/ 109638 h 470547"/>
                <a:gd name="connsiteX168" fmla="*/ 235239 w 578488"/>
                <a:gd name="connsiteY168" fmla="*/ 111288 h 470547"/>
                <a:gd name="connsiteX169" fmla="*/ 233114 w 578488"/>
                <a:gd name="connsiteY169" fmla="*/ 110812 h 470547"/>
                <a:gd name="connsiteX170" fmla="*/ 233017 w 578488"/>
                <a:gd name="connsiteY170" fmla="*/ 108788 h 470547"/>
                <a:gd name="connsiteX171" fmla="*/ 231749 w 578488"/>
                <a:gd name="connsiteY171" fmla="*/ 108956 h 470547"/>
                <a:gd name="connsiteX172" fmla="*/ 229719 w 578488"/>
                <a:gd name="connsiteY172" fmla="*/ 111382 h 470547"/>
                <a:gd name="connsiteX173" fmla="*/ 227733 w 578488"/>
                <a:gd name="connsiteY173" fmla="*/ 112191 h 470547"/>
                <a:gd name="connsiteX174" fmla="*/ 226398 w 578488"/>
                <a:gd name="connsiteY174" fmla="*/ 112440 h 470547"/>
                <a:gd name="connsiteX175" fmla="*/ 223947 w 578488"/>
                <a:gd name="connsiteY175" fmla="*/ 111527 h 470547"/>
                <a:gd name="connsiteX176" fmla="*/ 217359 w 578488"/>
                <a:gd name="connsiteY176" fmla="*/ 115654 h 470547"/>
                <a:gd name="connsiteX177" fmla="*/ 211181 w 578488"/>
                <a:gd name="connsiteY177" fmla="*/ 116425 h 470547"/>
                <a:gd name="connsiteX178" fmla="*/ 209147 w 578488"/>
                <a:gd name="connsiteY178" fmla="*/ 115948 h 470547"/>
                <a:gd name="connsiteX179" fmla="*/ 209140 w 578488"/>
                <a:gd name="connsiteY179" fmla="*/ 113424 h 470547"/>
                <a:gd name="connsiteX180" fmla="*/ 213133 w 578488"/>
                <a:gd name="connsiteY180" fmla="*/ 110191 h 470547"/>
                <a:gd name="connsiteX181" fmla="*/ 216407 w 578488"/>
                <a:gd name="connsiteY181" fmla="*/ 107941 h 470547"/>
                <a:gd name="connsiteX182" fmla="*/ 227672 w 578488"/>
                <a:gd name="connsiteY182" fmla="*/ 106369 h 470547"/>
                <a:gd name="connsiteX183" fmla="*/ 234688 w 578488"/>
                <a:gd name="connsiteY183" fmla="*/ 99674 h 470547"/>
                <a:gd name="connsiteX184" fmla="*/ 236383 w 578488"/>
                <a:gd name="connsiteY184" fmla="*/ 92374 h 470547"/>
                <a:gd name="connsiteX185" fmla="*/ 238042 w 578488"/>
                <a:gd name="connsiteY185" fmla="*/ 89732 h 470547"/>
                <a:gd name="connsiteX186" fmla="*/ 237262 w 578488"/>
                <a:gd name="connsiteY186" fmla="*/ 88238 h 470547"/>
                <a:gd name="connsiteX187" fmla="*/ 235375 w 578488"/>
                <a:gd name="connsiteY187" fmla="*/ 87975 h 470547"/>
                <a:gd name="connsiteX188" fmla="*/ 235260 w 578488"/>
                <a:gd name="connsiteY188" fmla="*/ 85677 h 470547"/>
                <a:gd name="connsiteX189" fmla="*/ 236245 w 578488"/>
                <a:gd name="connsiteY189" fmla="*/ 83162 h 470547"/>
                <a:gd name="connsiteX190" fmla="*/ 239927 w 578488"/>
                <a:gd name="connsiteY190" fmla="*/ 79703 h 470547"/>
                <a:gd name="connsiteX191" fmla="*/ 241972 w 578488"/>
                <a:gd name="connsiteY191" fmla="*/ 78229 h 470547"/>
                <a:gd name="connsiteX192" fmla="*/ 245304 w 578488"/>
                <a:gd name="connsiteY192" fmla="*/ 74050 h 470547"/>
                <a:gd name="connsiteX193" fmla="*/ 280912 w 578488"/>
                <a:gd name="connsiteY193" fmla="*/ 61606 h 470547"/>
                <a:gd name="connsiteX194" fmla="*/ 283570 w 578488"/>
                <a:gd name="connsiteY194" fmla="*/ 63847 h 470547"/>
                <a:gd name="connsiteX195" fmla="*/ 284766 w 578488"/>
                <a:gd name="connsiteY195" fmla="*/ 63162 h 470547"/>
                <a:gd name="connsiteX196" fmla="*/ 287118 w 578488"/>
                <a:gd name="connsiteY196" fmla="*/ 62907 h 470547"/>
                <a:gd name="connsiteX197" fmla="*/ 288867 w 578488"/>
                <a:gd name="connsiteY197" fmla="*/ 63693 h 470547"/>
                <a:gd name="connsiteX198" fmla="*/ 290297 w 578488"/>
                <a:gd name="connsiteY198" fmla="*/ 65116 h 470547"/>
                <a:gd name="connsiteX199" fmla="*/ 291992 w 578488"/>
                <a:gd name="connsiteY199" fmla="*/ 65181 h 470547"/>
                <a:gd name="connsiteX200" fmla="*/ 293056 w 578488"/>
                <a:gd name="connsiteY200" fmla="*/ 67038 h 470547"/>
                <a:gd name="connsiteX201" fmla="*/ 293598 w 578488"/>
                <a:gd name="connsiteY201" fmla="*/ 69452 h 470547"/>
                <a:gd name="connsiteX202" fmla="*/ 292367 w 578488"/>
                <a:gd name="connsiteY202" fmla="*/ 71253 h 470547"/>
                <a:gd name="connsiteX203" fmla="*/ 290621 w 578488"/>
                <a:gd name="connsiteY203" fmla="*/ 72068 h 470547"/>
                <a:gd name="connsiteX204" fmla="*/ 290148 w 578488"/>
                <a:gd name="connsiteY204" fmla="*/ 74189 h 470547"/>
                <a:gd name="connsiteX205" fmla="*/ 290811 w 578488"/>
                <a:gd name="connsiteY205" fmla="*/ 77154 h 470547"/>
                <a:gd name="connsiteX206" fmla="*/ 286893 w 578488"/>
                <a:gd name="connsiteY206" fmla="*/ 78170 h 470547"/>
                <a:gd name="connsiteX207" fmla="*/ 282352 w 578488"/>
                <a:gd name="connsiteY207" fmla="*/ 78622 h 470547"/>
                <a:gd name="connsiteX208" fmla="*/ 280577 w 578488"/>
                <a:gd name="connsiteY208" fmla="*/ 77205 h 470547"/>
                <a:gd name="connsiteX209" fmla="*/ 276945 w 578488"/>
                <a:gd name="connsiteY209" fmla="*/ 79802 h 470547"/>
                <a:gd name="connsiteX210" fmla="*/ 273348 w 578488"/>
                <a:gd name="connsiteY210" fmla="*/ 83842 h 470547"/>
                <a:gd name="connsiteX211" fmla="*/ 271614 w 578488"/>
                <a:gd name="connsiteY211" fmla="*/ 84317 h 470547"/>
                <a:gd name="connsiteX212" fmla="*/ 271493 w 578488"/>
                <a:gd name="connsiteY212" fmla="*/ 83039 h 470547"/>
                <a:gd name="connsiteX213" fmla="*/ 268908 w 578488"/>
                <a:gd name="connsiteY213" fmla="*/ 82156 h 470547"/>
                <a:gd name="connsiteX214" fmla="*/ 265598 w 578488"/>
                <a:gd name="connsiteY214" fmla="*/ 82105 h 470547"/>
                <a:gd name="connsiteX215" fmla="*/ 265708 w 578488"/>
                <a:gd name="connsiteY215" fmla="*/ 81158 h 470547"/>
                <a:gd name="connsiteX216" fmla="*/ 266308 w 578488"/>
                <a:gd name="connsiteY216" fmla="*/ 80489 h 470547"/>
                <a:gd name="connsiteX217" fmla="*/ 269165 w 578488"/>
                <a:gd name="connsiteY217" fmla="*/ 79496 h 470547"/>
                <a:gd name="connsiteX218" fmla="*/ 269735 w 578488"/>
                <a:gd name="connsiteY218" fmla="*/ 77447 h 470547"/>
                <a:gd name="connsiteX219" fmla="*/ 269216 w 578488"/>
                <a:gd name="connsiteY219" fmla="*/ 73784 h 470547"/>
                <a:gd name="connsiteX220" fmla="*/ 269720 w 578488"/>
                <a:gd name="connsiteY220" fmla="*/ 72004 h 470547"/>
                <a:gd name="connsiteX221" fmla="*/ 269828 w 578488"/>
                <a:gd name="connsiteY221" fmla="*/ 70773 h 470547"/>
                <a:gd name="connsiteX222" fmla="*/ 271624 w 578488"/>
                <a:gd name="connsiteY222" fmla="*/ 69332 h 470547"/>
                <a:gd name="connsiteX223" fmla="*/ 277768 w 578488"/>
                <a:gd name="connsiteY223" fmla="*/ 70009 h 470547"/>
                <a:gd name="connsiteX224" fmla="*/ 278513 w 578488"/>
                <a:gd name="connsiteY224" fmla="*/ 68633 h 470547"/>
                <a:gd name="connsiteX225" fmla="*/ 278047 w 578488"/>
                <a:gd name="connsiteY225" fmla="*/ 67767 h 470547"/>
                <a:gd name="connsiteX226" fmla="*/ 274872 w 578488"/>
                <a:gd name="connsiteY226" fmla="*/ 66249 h 470547"/>
                <a:gd name="connsiteX227" fmla="*/ 275360 w 578488"/>
                <a:gd name="connsiteY227" fmla="*/ 65227 h 470547"/>
                <a:gd name="connsiteX228" fmla="*/ 277651 w 578488"/>
                <a:gd name="connsiteY228" fmla="*/ 64313 h 470547"/>
                <a:gd name="connsiteX229" fmla="*/ 279819 w 578488"/>
                <a:gd name="connsiteY229" fmla="*/ 64195 h 470547"/>
                <a:gd name="connsiteX230" fmla="*/ 280471 w 578488"/>
                <a:gd name="connsiteY230" fmla="*/ 62647 h 470547"/>
                <a:gd name="connsiteX231" fmla="*/ 280584 w 578488"/>
                <a:gd name="connsiteY231" fmla="*/ 61973 h 470547"/>
                <a:gd name="connsiteX232" fmla="*/ 553617 w 578488"/>
                <a:gd name="connsiteY232" fmla="*/ 49437 h 470547"/>
                <a:gd name="connsiteX233" fmla="*/ 555344 w 578488"/>
                <a:gd name="connsiteY233" fmla="*/ 49560 h 470547"/>
                <a:gd name="connsiteX234" fmla="*/ 557091 w 578488"/>
                <a:gd name="connsiteY234" fmla="*/ 50712 h 470547"/>
                <a:gd name="connsiteX235" fmla="*/ 558466 w 578488"/>
                <a:gd name="connsiteY235" fmla="*/ 52086 h 470547"/>
                <a:gd name="connsiteX236" fmla="*/ 556277 w 578488"/>
                <a:gd name="connsiteY236" fmla="*/ 53725 h 470547"/>
                <a:gd name="connsiteX237" fmla="*/ 552077 w 578488"/>
                <a:gd name="connsiteY237" fmla="*/ 54876 h 470547"/>
                <a:gd name="connsiteX238" fmla="*/ 551591 w 578488"/>
                <a:gd name="connsiteY238" fmla="*/ 53929 h 470547"/>
                <a:gd name="connsiteX239" fmla="*/ 552513 w 578488"/>
                <a:gd name="connsiteY239" fmla="*/ 52454 h 470547"/>
                <a:gd name="connsiteX240" fmla="*/ 350606 w 578488"/>
                <a:gd name="connsiteY240" fmla="*/ 36555 h 470547"/>
                <a:gd name="connsiteX241" fmla="*/ 353506 w 578488"/>
                <a:gd name="connsiteY241" fmla="*/ 37006 h 470547"/>
                <a:gd name="connsiteX242" fmla="*/ 354245 w 578488"/>
                <a:gd name="connsiteY242" fmla="*/ 37564 h 470547"/>
                <a:gd name="connsiteX243" fmla="*/ 353355 w 578488"/>
                <a:gd name="connsiteY243" fmla="*/ 42154 h 470547"/>
                <a:gd name="connsiteX244" fmla="*/ 352163 w 578488"/>
                <a:gd name="connsiteY244" fmla="*/ 43074 h 470547"/>
                <a:gd name="connsiteX245" fmla="*/ 350334 w 578488"/>
                <a:gd name="connsiteY245" fmla="*/ 43450 h 470547"/>
                <a:gd name="connsiteX246" fmla="*/ 349349 w 578488"/>
                <a:gd name="connsiteY246" fmla="*/ 42879 h 470547"/>
                <a:gd name="connsiteX247" fmla="*/ 347948 w 578488"/>
                <a:gd name="connsiteY247" fmla="*/ 42504 h 470547"/>
                <a:gd name="connsiteX248" fmla="*/ 346391 w 578488"/>
                <a:gd name="connsiteY248" fmla="*/ 42676 h 470547"/>
                <a:gd name="connsiteX249" fmla="*/ 345082 w 578488"/>
                <a:gd name="connsiteY249" fmla="*/ 40989 h 470547"/>
                <a:gd name="connsiteX250" fmla="*/ 345229 w 578488"/>
                <a:gd name="connsiteY250" fmla="*/ 39572 h 470547"/>
                <a:gd name="connsiteX251" fmla="*/ 347021 w 578488"/>
                <a:gd name="connsiteY251" fmla="*/ 37649 h 470547"/>
                <a:gd name="connsiteX252" fmla="*/ 318716 w 578488"/>
                <a:gd name="connsiteY252" fmla="*/ 35896 h 470547"/>
                <a:gd name="connsiteX253" fmla="*/ 319528 w 578488"/>
                <a:gd name="connsiteY253" fmla="*/ 38632 h 470547"/>
                <a:gd name="connsiteX254" fmla="*/ 319653 w 578488"/>
                <a:gd name="connsiteY254" fmla="*/ 43078 h 470547"/>
                <a:gd name="connsiteX255" fmla="*/ 321614 w 578488"/>
                <a:gd name="connsiteY255" fmla="*/ 45233 h 470547"/>
                <a:gd name="connsiteX256" fmla="*/ 323350 w 578488"/>
                <a:gd name="connsiteY256" fmla="*/ 45026 h 470547"/>
                <a:gd name="connsiteX257" fmla="*/ 323873 w 578488"/>
                <a:gd name="connsiteY257" fmla="*/ 44213 h 470547"/>
                <a:gd name="connsiteX258" fmla="*/ 325058 w 578488"/>
                <a:gd name="connsiteY258" fmla="*/ 43811 h 470547"/>
                <a:gd name="connsiteX259" fmla="*/ 327453 w 578488"/>
                <a:gd name="connsiteY259" fmla="*/ 44949 h 470547"/>
                <a:gd name="connsiteX260" fmla="*/ 327110 w 578488"/>
                <a:gd name="connsiteY260" fmla="*/ 46885 h 470547"/>
                <a:gd name="connsiteX261" fmla="*/ 323795 w 578488"/>
                <a:gd name="connsiteY261" fmla="*/ 49325 h 470547"/>
                <a:gd name="connsiteX262" fmla="*/ 321416 w 578488"/>
                <a:gd name="connsiteY262" fmla="*/ 52800 h 470547"/>
                <a:gd name="connsiteX263" fmla="*/ 318371 w 578488"/>
                <a:gd name="connsiteY263" fmla="*/ 53606 h 470547"/>
                <a:gd name="connsiteX264" fmla="*/ 316907 w 578488"/>
                <a:gd name="connsiteY264" fmla="*/ 53187 h 470547"/>
                <a:gd name="connsiteX265" fmla="*/ 314186 w 578488"/>
                <a:gd name="connsiteY265" fmla="*/ 55190 h 470547"/>
                <a:gd name="connsiteX266" fmla="*/ 312005 w 578488"/>
                <a:gd name="connsiteY266" fmla="*/ 57269 h 470547"/>
                <a:gd name="connsiteX267" fmla="*/ 309744 w 578488"/>
                <a:gd name="connsiteY267" fmla="*/ 59895 h 470547"/>
                <a:gd name="connsiteX268" fmla="*/ 309606 w 578488"/>
                <a:gd name="connsiteY268" fmla="*/ 61247 h 470547"/>
                <a:gd name="connsiteX269" fmla="*/ 309254 w 578488"/>
                <a:gd name="connsiteY269" fmla="*/ 62281 h 470547"/>
                <a:gd name="connsiteX270" fmla="*/ 300973 w 578488"/>
                <a:gd name="connsiteY270" fmla="*/ 63307 h 470547"/>
                <a:gd name="connsiteX271" fmla="*/ 297962 w 578488"/>
                <a:gd name="connsiteY271" fmla="*/ 63986 h 470547"/>
                <a:gd name="connsiteX272" fmla="*/ 294773 w 578488"/>
                <a:gd name="connsiteY272" fmla="*/ 63110 h 470547"/>
                <a:gd name="connsiteX273" fmla="*/ 293262 w 578488"/>
                <a:gd name="connsiteY273" fmla="*/ 61376 h 470547"/>
                <a:gd name="connsiteX274" fmla="*/ 293747 w 578488"/>
                <a:gd name="connsiteY274" fmla="*/ 60433 h 470547"/>
                <a:gd name="connsiteX275" fmla="*/ 296930 w 578488"/>
                <a:gd name="connsiteY275" fmla="*/ 60056 h 470547"/>
                <a:gd name="connsiteX276" fmla="*/ 297032 w 578488"/>
                <a:gd name="connsiteY276" fmla="*/ 58445 h 470547"/>
                <a:gd name="connsiteX277" fmla="*/ 297837 w 578488"/>
                <a:gd name="connsiteY277" fmla="*/ 57461 h 470547"/>
                <a:gd name="connsiteX278" fmla="*/ 298867 w 578488"/>
                <a:gd name="connsiteY278" fmla="*/ 56924 h 470547"/>
                <a:gd name="connsiteX279" fmla="*/ 299625 w 578488"/>
                <a:gd name="connsiteY279" fmla="*/ 54863 h 470547"/>
                <a:gd name="connsiteX280" fmla="*/ 300884 w 578488"/>
                <a:gd name="connsiteY280" fmla="*/ 54325 h 470547"/>
                <a:gd name="connsiteX281" fmla="*/ 303231 w 578488"/>
                <a:gd name="connsiteY281" fmla="*/ 54832 h 470547"/>
                <a:gd name="connsiteX282" fmla="*/ 304814 w 578488"/>
                <a:gd name="connsiteY282" fmla="*/ 53338 h 470547"/>
                <a:gd name="connsiteX283" fmla="*/ 305706 w 578488"/>
                <a:gd name="connsiteY283" fmla="*/ 53085 h 470547"/>
                <a:gd name="connsiteX284" fmla="*/ 306805 w 578488"/>
                <a:gd name="connsiteY284" fmla="*/ 54321 h 470547"/>
                <a:gd name="connsiteX285" fmla="*/ 307334 w 578488"/>
                <a:gd name="connsiteY285" fmla="*/ 52619 h 470547"/>
                <a:gd name="connsiteX286" fmla="*/ 306805 w 578488"/>
                <a:gd name="connsiteY286" fmla="*/ 51064 h 470547"/>
                <a:gd name="connsiteX287" fmla="*/ 307082 w 578488"/>
                <a:gd name="connsiteY287" fmla="*/ 50015 h 470547"/>
                <a:gd name="connsiteX288" fmla="*/ 310117 w 578488"/>
                <a:gd name="connsiteY288" fmla="*/ 47283 h 470547"/>
                <a:gd name="connsiteX289" fmla="*/ 311431 w 578488"/>
                <a:gd name="connsiteY289" fmla="*/ 45289 h 470547"/>
                <a:gd name="connsiteX290" fmla="*/ 313320 w 578488"/>
                <a:gd name="connsiteY290" fmla="*/ 44004 h 470547"/>
                <a:gd name="connsiteX291" fmla="*/ 315140 w 578488"/>
                <a:gd name="connsiteY291" fmla="*/ 44209 h 470547"/>
                <a:gd name="connsiteX292" fmla="*/ 315669 w 578488"/>
                <a:gd name="connsiteY292" fmla="*/ 42315 h 470547"/>
                <a:gd name="connsiteX293" fmla="*/ 315140 w 578488"/>
                <a:gd name="connsiteY293" fmla="*/ 40373 h 470547"/>
                <a:gd name="connsiteX294" fmla="*/ 315341 w 578488"/>
                <a:gd name="connsiteY294" fmla="*/ 39107 h 470547"/>
                <a:gd name="connsiteX295" fmla="*/ 316948 w 578488"/>
                <a:gd name="connsiteY295" fmla="*/ 36027 h 470547"/>
                <a:gd name="connsiteX296" fmla="*/ 329133 w 578488"/>
                <a:gd name="connsiteY296" fmla="*/ 34857 h 470547"/>
                <a:gd name="connsiteX297" fmla="*/ 330984 w 578488"/>
                <a:gd name="connsiteY297" fmla="*/ 37118 h 470547"/>
                <a:gd name="connsiteX298" fmla="*/ 332109 w 578488"/>
                <a:gd name="connsiteY298" fmla="*/ 37583 h 470547"/>
                <a:gd name="connsiteX299" fmla="*/ 333221 w 578488"/>
                <a:gd name="connsiteY299" fmla="*/ 37294 h 470547"/>
                <a:gd name="connsiteX300" fmla="*/ 334145 w 578488"/>
                <a:gd name="connsiteY300" fmla="*/ 37705 h 470547"/>
                <a:gd name="connsiteX301" fmla="*/ 335996 w 578488"/>
                <a:gd name="connsiteY301" fmla="*/ 39794 h 470547"/>
                <a:gd name="connsiteX302" fmla="*/ 337989 w 578488"/>
                <a:gd name="connsiteY302" fmla="*/ 40615 h 470547"/>
                <a:gd name="connsiteX303" fmla="*/ 338082 w 578488"/>
                <a:gd name="connsiteY303" fmla="*/ 41666 h 470547"/>
                <a:gd name="connsiteX304" fmla="*/ 336257 w 578488"/>
                <a:gd name="connsiteY304" fmla="*/ 42690 h 470547"/>
                <a:gd name="connsiteX305" fmla="*/ 333854 w 578488"/>
                <a:gd name="connsiteY305" fmla="*/ 42997 h 470547"/>
                <a:gd name="connsiteX306" fmla="*/ 331280 w 578488"/>
                <a:gd name="connsiteY306" fmla="*/ 42641 h 470547"/>
                <a:gd name="connsiteX307" fmla="*/ 330524 w 578488"/>
                <a:gd name="connsiteY307" fmla="*/ 41332 h 470547"/>
                <a:gd name="connsiteX308" fmla="*/ 329731 w 578488"/>
                <a:gd name="connsiteY308" fmla="*/ 39157 h 470547"/>
                <a:gd name="connsiteX309" fmla="*/ 327578 w 578488"/>
                <a:gd name="connsiteY309" fmla="*/ 37023 h 470547"/>
                <a:gd name="connsiteX310" fmla="*/ 327259 w 578488"/>
                <a:gd name="connsiteY310" fmla="*/ 35152 h 470547"/>
                <a:gd name="connsiteX311" fmla="*/ 414550 w 578488"/>
                <a:gd name="connsiteY311" fmla="*/ 21147 h 470547"/>
                <a:gd name="connsiteX312" fmla="*/ 415263 w 578488"/>
                <a:gd name="connsiteY312" fmla="*/ 22086 h 470547"/>
                <a:gd name="connsiteX313" fmla="*/ 416068 w 578488"/>
                <a:gd name="connsiteY313" fmla="*/ 23860 h 470547"/>
                <a:gd name="connsiteX314" fmla="*/ 416480 w 578488"/>
                <a:gd name="connsiteY314" fmla="*/ 25730 h 470547"/>
                <a:gd name="connsiteX315" fmla="*/ 416636 w 578488"/>
                <a:gd name="connsiteY315" fmla="*/ 27271 h 470547"/>
                <a:gd name="connsiteX316" fmla="*/ 414573 w 578488"/>
                <a:gd name="connsiteY316" fmla="*/ 29498 h 470547"/>
                <a:gd name="connsiteX317" fmla="*/ 409821 w 578488"/>
                <a:gd name="connsiteY317" fmla="*/ 32415 h 470547"/>
                <a:gd name="connsiteX318" fmla="*/ 410093 w 578488"/>
                <a:gd name="connsiteY318" fmla="*/ 33198 h 470547"/>
                <a:gd name="connsiteX319" fmla="*/ 408448 w 578488"/>
                <a:gd name="connsiteY319" fmla="*/ 33946 h 470547"/>
                <a:gd name="connsiteX320" fmla="*/ 405981 w 578488"/>
                <a:gd name="connsiteY320" fmla="*/ 34498 h 470547"/>
                <a:gd name="connsiteX321" fmla="*/ 404679 w 578488"/>
                <a:gd name="connsiteY321" fmla="*/ 33962 h 470547"/>
                <a:gd name="connsiteX322" fmla="*/ 404859 w 578488"/>
                <a:gd name="connsiteY322" fmla="*/ 31463 h 470547"/>
                <a:gd name="connsiteX323" fmla="*/ 404466 w 578488"/>
                <a:gd name="connsiteY323" fmla="*/ 30714 h 470547"/>
                <a:gd name="connsiteX324" fmla="*/ 402593 w 578488"/>
                <a:gd name="connsiteY324" fmla="*/ 31705 h 470547"/>
                <a:gd name="connsiteX325" fmla="*/ 400646 w 578488"/>
                <a:gd name="connsiteY325" fmla="*/ 30434 h 470547"/>
                <a:gd name="connsiteX326" fmla="*/ 400643 w 578488"/>
                <a:gd name="connsiteY326" fmla="*/ 29155 h 470547"/>
                <a:gd name="connsiteX327" fmla="*/ 401157 w 578488"/>
                <a:gd name="connsiteY327" fmla="*/ 28044 h 470547"/>
                <a:gd name="connsiteX328" fmla="*/ 402958 w 578488"/>
                <a:gd name="connsiteY328" fmla="*/ 26354 h 470547"/>
                <a:gd name="connsiteX329" fmla="*/ 405964 w 578488"/>
                <a:gd name="connsiteY329" fmla="*/ 25189 h 470547"/>
                <a:gd name="connsiteX330" fmla="*/ 407946 w 578488"/>
                <a:gd name="connsiteY330" fmla="*/ 25626 h 470547"/>
                <a:gd name="connsiteX331" fmla="*/ 419674 w 578488"/>
                <a:gd name="connsiteY331" fmla="*/ 15922 h 470547"/>
                <a:gd name="connsiteX332" fmla="*/ 420959 w 578488"/>
                <a:gd name="connsiteY332" fmla="*/ 16643 h 470547"/>
                <a:gd name="connsiteX333" fmla="*/ 421302 w 578488"/>
                <a:gd name="connsiteY333" fmla="*/ 17247 h 470547"/>
                <a:gd name="connsiteX334" fmla="*/ 423611 w 578488"/>
                <a:gd name="connsiteY334" fmla="*/ 17839 h 470547"/>
                <a:gd name="connsiteX335" fmla="*/ 426305 w 578488"/>
                <a:gd name="connsiteY335" fmla="*/ 19805 h 470547"/>
                <a:gd name="connsiteX336" fmla="*/ 424962 w 578488"/>
                <a:gd name="connsiteY336" fmla="*/ 23137 h 470547"/>
                <a:gd name="connsiteX337" fmla="*/ 420751 w 578488"/>
                <a:gd name="connsiteY337" fmla="*/ 24733 h 470547"/>
                <a:gd name="connsiteX338" fmla="*/ 418307 w 578488"/>
                <a:gd name="connsiteY338" fmla="*/ 23358 h 470547"/>
                <a:gd name="connsiteX339" fmla="*/ 417279 w 578488"/>
                <a:gd name="connsiteY339" fmla="*/ 21949 h 470547"/>
                <a:gd name="connsiteX340" fmla="*/ 417128 w 578488"/>
                <a:gd name="connsiteY340" fmla="*/ 18816 h 470547"/>
                <a:gd name="connsiteX341" fmla="*/ 417700 w 578488"/>
                <a:gd name="connsiteY341" fmla="*/ 16908 h 470547"/>
                <a:gd name="connsiteX342" fmla="*/ 411209 w 578488"/>
                <a:gd name="connsiteY342" fmla="*/ 12093 h 470547"/>
                <a:gd name="connsiteX343" fmla="*/ 412202 w 578488"/>
                <a:gd name="connsiteY343" fmla="*/ 13172 h 470547"/>
                <a:gd name="connsiteX344" fmla="*/ 411769 w 578488"/>
                <a:gd name="connsiteY344" fmla="*/ 14432 h 470547"/>
                <a:gd name="connsiteX345" fmla="*/ 411021 w 578488"/>
                <a:gd name="connsiteY345" fmla="*/ 15659 h 470547"/>
                <a:gd name="connsiteX346" fmla="*/ 409209 w 578488"/>
                <a:gd name="connsiteY346" fmla="*/ 16953 h 470547"/>
                <a:gd name="connsiteX347" fmla="*/ 403969 w 578488"/>
                <a:gd name="connsiteY347" fmla="*/ 22068 h 470547"/>
                <a:gd name="connsiteX348" fmla="*/ 400889 w 578488"/>
                <a:gd name="connsiteY348" fmla="*/ 22891 h 470547"/>
                <a:gd name="connsiteX349" fmla="*/ 399914 w 578488"/>
                <a:gd name="connsiteY349" fmla="*/ 23692 h 470547"/>
                <a:gd name="connsiteX350" fmla="*/ 398683 w 578488"/>
                <a:gd name="connsiteY350" fmla="*/ 24170 h 470547"/>
                <a:gd name="connsiteX351" fmla="*/ 394856 w 578488"/>
                <a:gd name="connsiteY351" fmla="*/ 23471 h 470547"/>
                <a:gd name="connsiteX352" fmla="*/ 393736 w 578488"/>
                <a:gd name="connsiteY352" fmla="*/ 24506 h 470547"/>
                <a:gd name="connsiteX353" fmla="*/ 392678 w 578488"/>
                <a:gd name="connsiteY353" fmla="*/ 25197 h 470547"/>
                <a:gd name="connsiteX354" fmla="*/ 389907 w 578488"/>
                <a:gd name="connsiteY354" fmla="*/ 25465 h 470547"/>
                <a:gd name="connsiteX355" fmla="*/ 388281 w 578488"/>
                <a:gd name="connsiteY355" fmla="*/ 25240 h 470547"/>
                <a:gd name="connsiteX356" fmla="*/ 384081 w 578488"/>
                <a:gd name="connsiteY356" fmla="*/ 23348 h 470547"/>
                <a:gd name="connsiteX357" fmla="*/ 381582 w 578488"/>
                <a:gd name="connsiteY357" fmla="*/ 21298 h 470547"/>
                <a:gd name="connsiteX358" fmla="*/ 380229 w 578488"/>
                <a:gd name="connsiteY358" fmla="*/ 19542 h 470547"/>
                <a:gd name="connsiteX359" fmla="*/ 384109 w 578488"/>
                <a:gd name="connsiteY359" fmla="*/ 19576 h 470547"/>
                <a:gd name="connsiteX360" fmla="*/ 385493 w 578488"/>
                <a:gd name="connsiteY360" fmla="*/ 19151 h 470547"/>
                <a:gd name="connsiteX361" fmla="*/ 388095 w 578488"/>
                <a:gd name="connsiteY361" fmla="*/ 19521 h 470547"/>
                <a:gd name="connsiteX362" fmla="*/ 389658 w 578488"/>
                <a:gd name="connsiteY362" fmla="*/ 17719 h 470547"/>
                <a:gd name="connsiteX363" fmla="*/ 392969 w 578488"/>
                <a:gd name="connsiteY363" fmla="*/ 17937 h 470547"/>
                <a:gd name="connsiteX364" fmla="*/ 399324 w 578488"/>
                <a:gd name="connsiteY364" fmla="*/ 16682 h 470547"/>
                <a:gd name="connsiteX365" fmla="*/ 401656 w 578488"/>
                <a:gd name="connsiteY365" fmla="*/ 17382 h 470547"/>
                <a:gd name="connsiteX366" fmla="*/ 406988 w 578488"/>
                <a:gd name="connsiteY366" fmla="*/ 13184 h 470547"/>
                <a:gd name="connsiteX367" fmla="*/ 408657 w 578488"/>
                <a:gd name="connsiteY367" fmla="*/ 13294 h 470547"/>
                <a:gd name="connsiteX368" fmla="*/ 504113 w 578488"/>
                <a:gd name="connsiteY368" fmla="*/ 2056 h 470547"/>
                <a:gd name="connsiteX369" fmla="*/ 507129 w 578488"/>
                <a:gd name="connsiteY369" fmla="*/ 2479 h 470547"/>
                <a:gd name="connsiteX370" fmla="*/ 508932 w 578488"/>
                <a:gd name="connsiteY370" fmla="*/ 3348 h 470547"/>
                <a:gd name="connsiteX371" fmla="*/ 516155 w 578488"/>
                <a:gd name="connsiteY371" fmla="*/ 4009 h 470547"/>
                <a:gd name="connsiteX372" fmla="*/ 521696 w 578488"/>
                <a:gd name="connsiteY372" fmla="*/ 6744 h 470547"/>
                <a:gd name="connsiteX373" fmla="*/ 521485 w 578488"/>
                <a:gd name="connsiteY373" fmla="*/ 11012 h 470547"/>
                <a:gd name="connsiteX374" fmla="*/ 520250 w 578488"/>
                <a:gd name="connsiteY374" fmla="*/ 12793 h 470547"/>
                <a:gd name="connsiteX375" fmla="*/ 519034 w 578488"/>
                <a:gd name="connsiteY375" fmla="*/ 13889 h 470547"/>
                <a:gd name="connsiteX376" fmla="*/ 511938 w 578488"/>
                <a:gd name="connsiteY376" fmla="*/ 17118 h 470547"/>
                <a:gd name="connsiteX377" fmla="*/ 510768 w 578488"/>
                <a:gd name="connsiteY377" fmla="*/ 18708 h 470547"/>
                <a:gd name="connsiteX378" fmla="*/ 512996 w 578488"/>
                <a:gd name="connsiteY378" fmla="*/ 19257 h 470547"/>
                <a:gd name="connsiteX379" fmla="*/ 517790 w 578488"/>
                <a:gd name="connsiteY379" fmla="*/ 17649 h 470547"/>
                <a:gd name="connsiteX380" fmla="*/ 519032 w 578488"/>
                <a:gd name="connsiteY380" fmla="*/ 19108 h 470547"/>
                <a:gd name="connsiteX381" fmla="*/ 517505 w 578488"/>
                <a:gd name="connsiteY381" fmla="*/ 22756 h 470547"/>
                <a:gd name="connsiteX382" fmla="*/ 517246 w 578488"/>
                <a:gd name="connsiteY382" fmla="*/ 28220 h 470547"/>
                <a:gd name="connsiteX383" fmla="*/ 516693 w 578488"/>
                <a:gd name="connsiteY383" fmla="*/ 31401 h 470547"/>
                <a:gd name="connsiteX384" fmla="*/ 516693 w 578488"/>
                <a:gd name="connsiteY384" fmla="*/ 34298 h 470547"/>
                <a:gd name="connsiteX385" fmla="*/ 517289 w 578488"/>
                <a:gd name="connsiteY385" fmla="*/ 35851 h 470547"/>
                <a:gd name="connsiteX386" fmla="*/ 519215 w 578488"/>
                <a:gd name="connsiteY386" fmla="*/ 29687 h 470547"/>
                <a:gd name="connsiteX387" fmla="*/ 519874 w 578488"/>
                <a:gd name="connsiteY387" fmla="*/ 28105 h 470547"/>
                <a:gd name="connsiteX388" fmla="*/ 522692 w 578488"/>
                <a:gd name="connsiteY388" fmla="*/ 25777 h 470547"/>
                <a:gd name="connsiteX389" fmla="*/ 523741 w 578488"/>
                <a:gd name="connsiteY389" fmla="*/ 21079 h 470547"/>
                <a:gd name="connsiteX390" fmla="*/ 526497 w 578488"/>
                <a:gd name="connsiteY390" fmla="*/ 15427 h 470547"/>
                <a:gd name="connsiteX391" fmla="*/ 529602 w 578488"/>
                <a:gd name="connsiteY391" fmla="*/ 12136 h 470547"/>
                <a:gd name="connsiteX392" fmla="*/ 531409 w 578488"/>
                <a:gd name="connsiteY392" fmla="*/ 11232 h 470547"/>
                <a:gd name="connsiteX393" fmla="*/ 537397 w 578488"/>
                <a:gd name="connsiteY393" fmla="*/ 11362 h 470547"/>
                <a:gd name="connsiteX394" fmla="*/ 539967 w 578488"/>
                <a:gd name="connsiteY394" fmla="*/ 12602 h 470547"/>
                <a:gd name="connsiteX395" fmla="*/ 542234 w 578488"/>
                <a:gd name="connsiteY395" fmla="*/ 15355 h 470547"/>
                <a:gd name="connsiteX396" fmla="*/ 543927 w 578488"/>
                <a:gd name="connsiteY396" fmla="*/ 16453 h 470547"/>
                <a:gd name="connsiteX397" fmla="*/ 549265 w 578488"/>
                <a:gd name="connsiteY397" fmla="*/ 17621 h 470547"/>
                <a:gd name="connsiteX398" fmla="*/ 551098 w 578488"/>
                <a:gd name="connsiteY398" fmla="*/ 19084 h 470547"/>
                <a:gd name="connsiteX399" fmla="*/ 551442 w 578488"/>
                <a:gd name="connsiteY399" fmla="*/ 19955 h 470547"/>
                <a:gd name="connsiteX400" fmla="*/ 552746 w 578488"/>
                <a:gd name="connsiteY400" fmla="*/ 20128 h 470547"/>
                <a:gd name="connsiteX401" fmla="*/ 556348 w 578488"/>
                <a:gd name="connsiteY401" fmla="*/ 18048 h 470547"/>
                <a:gd name="connsiteX402" fmla="*/ 558687 w 578488"/>
                <a:gd name="connsiteY402" fmla="*/ 17703 h 470547"/>
                <a:gd name="connsiteX403" fmla="*/ 562502 w 578488"/>
                <a:gd name="connsiteY403" fmla="*/ 20944 h 470547"/>
                <a:gd name="connsiteX404" fmla="*/ 561736 w 578488"/>
                <a:gd name="connsiteY404" fmla="*/ 23340 h 470547"/>
                <a:gd name="connsiteX405" fmla="*/ 561960 w 578488"/>
                <a:gd name="connsiteY405" fmla="*/ 24100 h 470547"/>
                <a:gd name="connsiteX406" fmla="*/ 566579 w 578488"/>
                <a:gd name="connsiteY406" fmla="*/ 23946 h 470547"/>
                <a:gd name="connsiteX407" fmla="*/ 570423 w 578488"/>
                <a:gd name="connsiteY407" fmla="*/ 24885 h 470547"/>
                <a:gd name="connsiteX408" fmla="*/ 577730 w 578488"/>
                <a:gd name="connsiteY408" fmla="*/ 29778 h 470547"/>
                <a:gd name="connsiteX409" fmla="*/ 578488 w 578488"/>
                <a:gd name="connsiteY409" fmla="*/ 32061 h 470547"/>
                <a:gd name="connsiteX410" fmla="*/ 578123 w 578488"/>
                <a:gd name="connsiteY410" fmla="*/ 34824 h 470547"/>
                <a:gd name="connsiteX411" fmla="*/ 567616 w 578488"/>
                <a:gd name="connsiteY411" fmla="*/ 37866 h 470547"/>
                <a:gd name="connsiteX412" fmla="*/ 563062 w 578488"/>
                <a:gd name="connsiteY412" fmla="*/ 40768 h 470547"/>
                <a:gd name="connsiteX413" fmla="*/ 555608 w 578488"/>
                <a:gd name="connsiteY413" fmla="*/ 41887 h 470547"/>
                <a:gd name="connsiteX414" fmla="*/ 530295 w 578488"/>
                <a:gd name="connsiteY414" fmla="*/ 39947 h 470547"/>
                <a:gd name="connsiteX415" fmla="*/ 530807 w 578488"/>
                <a:gd name="connsiteY415" fmla="*/ 42044 h 470547"/>
                <a:gd name="connsiteX416" fmla="*/ 548432 w 578488"/>
                <a:gd name="connsiteY416" fmla="*/ 46625 h 470547"/>
                <a:gd name="connsiteX417" fmla="*/ 549438 w 578488"/>
                <a:gd name="connsiteY417" fmla="*/ 47931 h 470547"/>
                <a:gd name="connsiteX418" fmla="*/ 548874 w 578488"/>
                <a:gd name="connsiteY418" fmla="*/ 50679 h 470547"/>
                <a:gd name="connsiteX419" fmla="*/ 548866 w 578488"/>
                <a:gd name="connsiteY419" fmla="*/ 52881 h 470547"/>
                <a:gd name="connsiteX420" fmla="*/ 549196 w 578488"/>
                <a:gd name="connsiteY420" fmla="*/ 54381 h 470547"/>
                <a:gd name="connsiteX421" fmla="*/ 550494 w 578488"/>
                <a:gd name="connsiteY421" fmla="*/ 55779 h 470547"/>
                <a:gd name="connsiteX422" fmla="*/ 552649 w 578488"/>
                <a:gd name="connsiteY422" fmla="*/ 56436 h 470547"/>
                <a:gd name="connsiteX423" fmla="*/ 557033 w 578488"/>
                <a:gd name="connsiteY423" fmla="*/ 56090 h 470547"/>
                <a:gd name="connsiteX424" fmla="*/ 559198 w 578488"/>
                <a:gd name="connsiteY424" fmla="*/ 56841 h 470547"/>
                <a:gd name="connsiteX425" fmla="*/ 560678 w 578488"/>
                <a:gd name="connsiteY425" fmla="*/ 55726 h 470547"/>
                <a:gd name="connsiteX426" fmla="*/ 561228 w 578488"/>
                <a:gd name="connsiteY426" fmla="*/ 51977 h 470547"/>
                <a:gd name="connsiteX427" fmla="*/ 562500 w 578488"/>
                <a:gd name="connsiteY427" fmla="*/ 51147 h 470547"/>
                <a:gd name="connsiteX428" fmla="*/ 564960 w 578488"/>
                <a:gd name="connsiteY428" fmla="*/ 52236 h 470547"/>
                <a:gd name="connsiteX429" fmla="*/ 566031 w 578488"/>
                <a:gd name="connsiteY429" fmla="*/ 56242 h 470547"/>
                <a:gd name="connsiteX430" fmla="*/ 566717 w 578488"/>
                <a:gd name="connsiteY430" fmla="*/ 56657 h 470547"/>
                <a:gd name="connsiteX431" fmla="*/ 567957 w 578488"/>
                <a:gd name="connsiteY431" fmla="*/ 53800 h 470547"/>
                <a:gd name="connsiteX432" fmla="*/ 570393 w 578488"/>
                <a:gd name="connsiteY432" fmla="*/ 54006 h 470547"/>
                <a:gd name="connsiteX433" fmla="*/ 573044 w 578488"/>
                <a:gd name="connsiteY433" fmla="*/ 53768 h 470547"/>
                <a:gd name="connsiteX434" fmla="*/ 576478 w 578488"/>
                <a:gd name="connsiteY434" fmla="*/ 54250 h 470547"/>
                <a:gd name="connsiteX435" fmla="*/ 577681 w 578488"/>
                <a:gd name="connsiteY435" fmla="*/ 59427 h 470547"/>
                <a:gd name="connsiteX436" fmla="*/ 577644 w 578488"/>
                <a:gd name="connsiteY436" fmla="*/ 61230 h 470547"/>
                <a:gd name="connsiteX437" fmla="*/ 577074 w 578488"/>
                <a:gd name="connsiteY437" fmla="*/ 62978 h 470547"/>
                <a:gd name="connsiteX438" fmla="*/ 576279 w 578488"/>
                <a:gd name="connsiteY438" fmla="*/ 63871 h 470547"/>
                <a:gd name="connsiteX439" fmla="*/ 574690 w 578488"/>
                <a:gd name="connsiteY439" fmla="*/ 64260 h 470547"/>
                <a:gd name="connsiteX440" fmla="*/ 570855 w 578488"/>
                <a:gd name="connsiteY440" fmla="*/ 64101 h 470547"/>
                <a:gd name="connsiteX441" fmla="*/ 565642 w 578488"/>
                <a:gd name="connsiteY441" fmla="*/ 62058 h 470547"/>
                <a:gd name="connsiteX442" fmla="*/ 562278 w 578488"/>
                <a:gd name="connsiteY442" fmla="*/ 60133 h 470547"/>
                <a:gd name="connsiteX443" fmla="*/ 561230 w 578488"/>
                <a:gd name="connsiteY443" fmla="*/ 60052 h 470547"/>
                <a:gd name="connsiteX444" fmla="*/ 560779 w 578488"/>
                <a:gd name="connsiteY444" fmla="*/ 60286 h 470547"/>
                <a:gd name="connsiteX445" fmla="*/ 561591 w 578488"/>
                <a:gd name="connsiteY445" fmla="*/ 62220 h 470547"/>
                <a:gd name="connsiteX446" fmla="*/ 561375 w 578488"/>
                <a:gd name="connsiteY446" fmla="*/ 63701 h 470547"/>
                <a:gd name="connsiteX447" fmla="*/ 560868 w 578488"/>
                <a:gd name="connsiteY447" fmla="*/ 65313 h 470547"/>
                <a:gd name="connsiteX448" fmla="*/ 560162 w 578488"/>
                <a:gd name="connsiteY448" fmla="*/ 66774 h 470547"/>
                <a:gd name="connsiteX449" fmla="*/ 559177 w 578488"/>
                <a:gd name="connsiteY449" fmla="*/ 68002 h 470547"/>
                <a:gd name="connsiteX450" fmla="*/ 557115 w 578488"/>
                <a:gd name="connsiteY450" fmla="*/ 69580 h 470547"/>
                <a:gd name="connsiteX451" fmla="*/ 553547 w 578488"/>
                <a:gd name="connsiteY451" fmla="*/ 70830 h 470547"/>
                <a:gd name="connsiteX452" fmla="*/ 543720 w 578488"/>
                <a:gd name="connsiteY452" fmla="*/ 73260 h 470547"/>
                <a:gd name="connsiteX453" fmla="*/ 542940 w 578488"/>
                <a:gd name="connsiteY453" fmla="*/ 74333 h 470547"/>
                <a:gd name="connsiteX454" fmla="*/ 539777 w 578488"/>
                <a:gd name="connsiteY454" fmla="*/ 81084 h 470547"/>
                <a:gd name="connsiteX455" fmla="*/ 538913 w 578488"/>
                <a:gd name="connsiteY455" fmla="*/ 82073 h 470547"/>
                <a:gd name="connsiteX456" fmla="*/ 537756 w 578488"/>
                <a:gd name="connsiteY456" fmla="*/ 82910 h 470547"/>
                <a:gd name="connsiteX457" fmla="*/ 534379 w 578488"/>
                <a:gd name="connsiteY457" fmla="*/ 83995 h 470547"/>
                <a:gd name="connsiteX458" fmla="*/ 532744 w 578488"/>
                <a:gd name="connsiteY458" fmla="*/ 82497 h 470547"/>
                <a:gd name="connsiteX459" fmla="*/ 531433 w 578488"/>
                <a:gd name="connsiteY459" fmla="*/ 80230 h 470547"/>
                <a:gd name="connsiteX460" fmla="*/ 531735 w 578488"/>
                <a:gd name="connsiteY460" fmla="*/ 77980 h 470547"/>
                <a:gd name="connsiteX461" fmla="*/ 535685 w 578488"/>
                <a:gd name="connsiteY461" fmla="*/ 73656 h 470547"/>
                <a:gd name="connsiteX462" fmla="*/ 539375 w 578488"/>
                <a:gd name="connsiteY462" fmla="*/ 70586 h 470547"/>
                <a:gd name="connsiteX463" fmla="*/ 540416 w 578488"/>
                <a:gd name="connsiteY463" fmla="*/ 69522 h 470547"/>
                <a:gd name="connsiteX464" fmla="*/ 542506 w 578488"/>
                <a:gd name="connsiteY464" fmla="*/ 66432 h 470547"/>
                <a:gd name="connsiteX465" fmla="*/ 538265 w 578488"/>
                <a:gd name="connsiteY465" fmla="*/ 58655 h 470547"/>
                <a:gd name="connsiteX466" fmla="*/ 530720 w 578488"/>
                <a:gd name="connsiteY466" fmla="*/ 56294 h 470547"/>
                <a:gd name="connsiteX467" fmla="*/ 522126 w 578488"/>
                <a:gd name="connsiteY467" fmla="*/ 52702 h 470547"/>
                <a:gd name="connsiteX468" fmla="*/ 518973 w 578488"/>
                <a:gd name="connsiteY468" fmla="*/ 50783 h 470547"/>
                <a:gd name="connsiteX469" fmla="*/ 514067 w 578488"/>
                <a:gd name="connsiteY469" fmla="*/ 46826 h 470547"/>
                <a:gd name="connsiteX470" fmla="*/ 510589 w 578488"/>
                <a:gd name="connsiteY470" fmla="*/ 43266 h 470547"/>
                <a:gd name="connsiteX471" fmla="*/ 507447 w 578488"/>
                <a:gd name="connsiteY471" fmla="*/ 43140 h 470547"/>
                <a:gd name="connsiteX472" fmla="*/ 503994 w 578488"/>
                <a:gd name="connsiteY472" fmla="*/ 44035 h 470547"/>
                <a:gd name="connsiteX473" fmla="*/ 498606 w 578488"/>
                <a:gd name="connsiteY473" fmla="*/ 47285 h 470547"/>
                <a:gd name="connsiteX474" fmla="*/ 495458 w 578488"/>
                <a:gd name="connsiteY474" fmla="*/ 48918 h 470547"/>
                <a:gd name="connsiteX475" fmla="*/ 493730 w 578488"/>
                <a:gd name="connsiteY475" fmla="*/ 49400 h 470547"/>
                <a:gd name="connsiteX476" fmla="*/ 493313 w 578488"/>
                <a:gd name="connsiteY476" fmla="*/ 49471 h 470547"/>
                <a:gd name="connsiteX477" fmla="*/ 489457 w 578488"/>
                <a:gd name="connsiteY477" fmla="*/ 48546 h 470547"/>
                <a:gd name="connsiteX478" fmla="*/ 485166 w 578488"/>
                <a:gd name="connsiteY478" fmla="*/ 48351 h 470547"/>
                <a:gd name="connsiteX479" fmla="*/ 481717 w 578488"/>
                <a:gd name="connsiteY479" fmla="*/ 48617 h 470547"/>
                <a:gd name="connsiteX480" fmla="*/ 480415 w 578488"/>
                <a:gd name="connsiteY480" fmla="*/ 49063 h 470547"/>
                <a:gd name="connsiteX481" fmla="*/ 475613 w 578488"/>
                <a:gd name="connsiteY481" fmla="*/ 54309 h 470547"/>
                <a:gd name="connsiteX482" fmla="*/ 472251 w 578488"/>
                <a:gd name="connsiteY482" fmla="*/ 56954 h 470547"/>
                <a:gd name="connsiteX483" fmla="*/ 470400 w 578488"/>
                <a:gd name="connsiteY483" fmla="*/ 57864 h 470547"/>
                <a:gd name="connsiteX484" fmla="*/ 469053 w 578488"/>
                <a:gd name="connsiteY484" fmla="*/ 59393 h 470547"/>
                <a:gd name="connsiteX485" fmla="*/ 467947 w 578488"/>
                <a:gd name="connsiteY485" fmla="*/ 61904 h 470547"/>
                <a:gd name="connsiteX486" fmla="*/ 465486 w 578488"/>
                <a:gd name="connsiteY486" fmla="*/ 70594 h 470547"/>
                <a:gd name="connsiteX487" fmla="*/ 463650 w 578488"/>
                <a:gd name="connsiteY487" fmla="*/ 73863 h 470547"/>
                <a:gd name="connsiteX488" fmla="*/ 463240 w 578488"/>
                <a:gd name="connsiteY488" fmla="*/ 75858 h 470547"/>
                <a:gd name="connsiteX489" fmla="*/ 463672 w 578488"/>
                <a:gd name="connsiteY489" fmla="*/ 81895 h 470547"/>
                <a:gd name="connsiteX490" fmla="*/ 463233 w 578488"/>
                <a:gd name="connsiteY490" fmla="*/ 85229 h 470547"/>
                <a:gd name="connsiteX491" fmla="*/ 460985 w 578488"/>
                <a:gd name="connsiteY491" fmla="*/ 87977 h 470547"/>
                <a:gd name="connsiteX492" fmla="*/ 459407 w 578488"/>
                <a:gd name="connsiteY492" fmla="*/ 89213 h 470547"/>
                <a:gd name="connsiteX493" fmla="*/ 457319 w 578488"/>
                <a:gd name="connsiteY493" fmla="*/ 89467 h 470547"/>
                <a:gd name="connsiteX494" fmla="*/ 454583 w 578488"/>
                <a:gd name="connsiteY494" fmla="*/ 90168 h 470547"/>
                <a:gd name="connsiteX495" fmla="*/ 452194 w 578488"/>
                <a:gd name="connsiteY495" fmla="*/ 91756 h 470547"/>
                <a:gd name="connsiteX496" fmla="*/ 450508 w 578488"/>
                <a:gd name="connsiteY496" fmla="*/ 93919 h 470547"/>
                <a:gd name="connsiteX497" fmla="*/ 448607 w 578488"/>
                <a:gd name="connsiteY497" fmla="*/ 98760 h 470547"/>
                <a:gd name="connsiteX498" fmla="*/ 445390 w 578488"/>
                <a:gd name="connsiteY498" fmla="*/ 100541 h 470547"/>
                <a:gd name="connsiteX499" fmla="*/ 442317 w 578488"/>
                <a:gd name="connsiteY499" fmla="*/ 100033 h 470547"/>
                <a:gd name="connsiteX500" fmla="*/ 440123 w 578488"/>
                <a:gd name="connsiteY500" fmla="*/ 98251 h 470547"/>
                <a:gd name="connsiteX501" fmla="*/ 435420 w 578488"/>
                <a:gd name="connsiteY501" fmla="*/ 96871 h 470547"/>
                <a:gd name="connsiteX502" fmla="*/ 431915 w 578488"/>
                <a:gd name="connsiteY502" fmla="*/ 95991 h 470547"/>
                <a:gd name="connsiteX503" fmla="*/ 427981 w 578488"/>
                <a:gd name="connsiteY503" fmla="*/ 94089 h 470547"/>
                <a:gd name="connsiteX504" fmla="*/ 424516 w 578488"/>
                <a:gd name="connsiteY504" fmla="*/ 92640 h 470547"/>
                <a:gd name="connsiteX505" fmla="*/ 421345 w 578488"/>
                <a:gd name="connsiteY505" fmla="*/ 92352 h 470547"/>
                <a:gd name="connsiteX506" fmla="*/ 419545 w 578488"/>
                <a:gd name="connsiteY506" fmla="*/ 94184 h 470547"/>
                <a:gd name="connsiteX507" fmla="*/ 418095 w 578488"/>
                <a:gd name="connsiteY507" fmla="*/ 95901 h 470547"/>
                <a:gd name="connsiteX508" fmla="*/ 412688 w 578488"/>
                <a:gd name="connsiteY508" fmla="*/ 97296 h 470547"/>
                <a:gd name="connsiteX509" fmla="*/ 409627 w 578488"/>
                <a:gd name="connsiteY509" fmla="*/ 98399 h 470547"/>
                <a:gd name="connsiteX510" fmla="*/ 405653 w 578488"/>
                <a:gd name="connsiteY510" fmla="*/ 98645 h 470547"/>
                <a:gd name="connsiteX511" fmla="*/ 404047 w 578488"/>
                <a:gd name="connsiteY511" fmla="*/ 97422 h 470547"/>
                <a:gd name="connsiteX512" fmla="*/ 398283 w 578488"/>
                <a:gd name="connsiteY512" fmla="*/ 96615 h 470547"/>
                <a:gd name="connsiteX513" fmla="*/ 391421 w 578488"/>
                <a:gd name="connsiteY513" fmla="*/ 95656 h 470547"/>
                <a:gd name="connsiteX514" fmla="*/ 389436 w 578488"/>
                <a:gd name="connsiteY514" fmla="*/ 95670 h 470547"/>
                <a:gd name="connsiteX515" fmla="*/ 388817 w 578488"/>
                <a:gd name="connsiteY515" fmla="*/ 93482 h 470547"/>
                <a:gd name="connsiteX516" fmla="*/ 386992 w 578488"/>
                <a:gd name="connsiteY516" fmla="*/ 90423 h 470547"/>
                <a:gd name="connsiteX517" fmla="*/ 382112 w 578488"/>
                <a:gd name="connsiteY517" fmla="*/ 85126 h 470547"/>
                <a:gd name="connsiteX518" fmla="*/ 380116 w 578488"/>
                <a:gd name="connsiteY518" fmla="*/ 83253 h 470547"/>
                <a:gd name="connsiteX519" fmla="*/ 376363 w 578488"/>
                <a:gd name="connsiteY519" fmla="*/ 78851 h 470547"/>
                <a:gd name="connsiteX520" fmla="*/ 371986 w 578488"/>
                <a:gd name="connsiteY520" fmla="*/ 74329 h 470547"/>
                <a:gd name="connsiteX521" fmla="*/ 371366 w 578488"/>
                <a:gd name="connsiteY521" fmla="*/ 74217 h 470547"/>
                <a:gd name="connsiteX522" fmla="*/ 368436 w 578488"/>
                <a:gd name="connsiteY522" fmla="*/ 74065 h 470547"/>
                <a:gd name="connsiteX523" fmla="*/ 364137 w 578488"/>
                <a:gd name="connsiteY523" fmla="*/ 74214 h 470547"/>
                <a:gd name="connsiteX524" fmla="*/ 361416 w 578488"/>
                <a:gd name="connsiteY524" fmla="*/ 75242 h 470547"/>
                <a:gd name="connsiteX525" fmla="*/ 359699 w 578488"/>
                <a:gd name="connsiteY525" fmla="*/ 76533 h 470547"/>
                <a:gd name="connsiteX526" fmla="*/ 359401 w 578488"/>
                <a:gd name="connsiteY526" fmla="*/ 77604 h 470547"/>
                <a:gd name="connsiteX527" fmla="*/ 361064 w 578488"/>
                <a:gd name="connsiteY527" fmla="*/ 81713 h 470547"/>
                <a:gd name="connsiteX528" fmla="*/ 360548 w 578488"/>
                <a:gd name="connsiteY528" fmla="*/ 82736 h 470547"/>
                <a:gd name="connsiteX529" fmla="*/ 359691 w 578488"/>
                <a:gd name="connsiteY529" fmla="*/ 83228 h 470547"/>
                <a:gd name="connsiteX530" fmla="*/ 355789 w 578488"/>
                <a:gd name="connsiteY530" fmla="*/ 82077 h 470547"/>
                <a:gd name="connsiteX531" fmla="*/ 351070 w 578488"/>
                <a:gd name="connsiteY531" fmla="*/ 82153 h 470547"/>
                <a:gd name="connsiteX532" fmla="*/ 349882 w 578488"/>
                <a:gd name="connsiteY532" fmla="*/ 83418 h 470547"/>
                <a:gd name="connsiteX533" fmla="*/ 347004 w 578488"/>
                <a:gd name="connsiteY533" fmla="*/ 83556 h 470547"/>
                <a:gd name="connsiteX534" fmla="*/ 338706 w 578488"/>
                <a:gd name="connsiteY534" fmla="*/ 84037 h 470547"/>
                <a:gd name="connsiteX535" fmla="*/ 342368 w 578488"/>
                <a:gd name="connsiteY535" fmla="*/ 87389 h 470547"/>
                <a:gd name="connsiteX536" fmla="*/ 343579 w 578488"/>
                <a:gd name="connsiteY536" fmla="*/ 88730 h 470547"/>
                <a:gd name="connsiteX537" fmla="*/ 343821 w 578488"/>
                <a:gd name="connsiteY537" fmla="*/ 90698 h 470547"/>
                <a:gd name="connsiteX538" fmla="*/ 343189 w 578488"/>
                <a:gd name="connsiteY538" fmla="*/ 94352 h 470547"/>
                <a:gd name="connsiteX539" fmla="*/ 341433 w 578488"/>
                <a:gd name="connsiteY539" fmla="*/ 97469 h 470547"/>
                <a:gd name="connsiteX540" fmla="*/ 339386 w 578488"/>
                <a:gd name="connsiteY540" fmla="*/ 100001 h 470547"/>
                <a:gd name="connsiteX541" fmla="*/ 335436 w 578488"/>
                <a:gd name="connsiteY541" fmla="*/ 102509 h 470547"/>
                <a:gd name="connsiteX542" fmla="*/ 341433 w 578488"/>
                <a:gd name="connsiteY542" fmla="*/ 104984 h 470547"/>
                <a:gd name="connsiteX543" fmla="*/ 337363 w 578488"/>
                <a:gd name="connsiteY543" fmla="*/ 108323 h 470547"/>
                <a:gd name="connsiteX544" fmla="*/ 335458 w 578488"/>
                <a:gd name="connsiteY544" fmla="*/ 109623 h 470547"/>
                <a:gd name="connsiteX545" fmla="*/ 333251 w 578488"/>
                <a:gd name="connsiteY545" fmla="*/ 109399 h 470547"/>
                <a:gd name="connsiteX546" fmla="*/ 329297 w 578488"/>
                <a:gd name="connsiteY546" fmla="*/ 108244 h 470547"/>
                <a:gd name="connsiteX547" fmla="*/ 319740 w 578488"/>
                <a:gd name="connsiteY547" fmla="*/ 105452 h 470547"/>
                <a:gd name="connsiteX548" fmla="*/ 315177 w 578488"/>
                <a:gd name="connsiteY548" fmla="*/ 104401 h 470547"/>
                <a:gd name="connsiteX549" fmla="*/ 311100 w 578488"/>
                <a:gd name="connsiteY549" fmla="*/ 104079 h 470547"/>
                <a:gd name="connsiteX550" fmla="*/ 308923 w 578488"/>
                <a:gd name="connsiteY550" fmla="*/ 104120 h 470547"/>
                <a:gd name="connsiteX551" fmla="*/ 300273 w 578488"/>
                <a:gd name="connsiteY551" fmla="*/ 101727 h 470547"/>
                <a:gd name="connsiteX552" fmla="*/ 298602 w 578488"/>
                <a:gd name="connsiteY552" fmla="*/ 101995 h 470547"/>
                <a:gd name="connsiteX553" fmla="*/ 295496 w 578488"/>
                <a:gd name="connsiteY553" fmla="*/ 103032 h 470547"/>
                <a:gd name="connsiteX554" fmla="*/ 295153 w 578488"/>
                <a:gd name="connsiteY554" fmla="*/ 105358 h 470547"/>
                <a:gd name="connsiteX555" fmla="*/ 295349 w 578488"/>
                <a:gd name="connsiteY555" fmla="*/ 111135 h 470547"/>
                <a:gd name="connsiteX556" fmla="*/ 295807 w 578488"/>
                <a:gd name="connsiteY556" fmla="*/ 115572 h 470547"/>
                <a:gd name="connsiteX557" fmla="*/ 294665 w 578488"/>
                <a:gd name="connsiteY557" fmla="*/ 118133 h 470547"/>
                <a:gd name="connsiteX558" fmla="*/ 293520 w 578488"/>
                <a:gd name="connsiteY558" fmla="*/ 119869 h 470547"/>
                <a:gd name="connsiteX559" fmla="*/ 290059 w 578488"/>
                <a:gd name="connsiteY559" fmla="*/ 124542 h 470547"/>
                <a:gd name="connsiteX560" fmla="*/ 282277 w 578488"/>
                <a:gd name="connsiteY560" fmla="*/ 121367 h 470547"/>
                <a:gd name="connsiteX561" fmla="*/ 276967 w 578488"/>
                <a:gd name="connsiteY561" fmla="*/ 119261 h 470547"/>
                <a:gd name="connsiteX562" fmla="*/ 273559 w 578488"/>
                <a:gd name="connsiteY562" fmla="*/ 122064 h 470547"/>
                <a:gd name="connsiteX563" fmla="*/ 265004 w 578488"/>
                <a:gd name="connsiteY563" fmla="*/ 127192 h 470547"/>
                <a:gd name="connsiteX564" fmla="*/ 260624 w 578488"/>
                <a:gd name="connsiteY564" fmla="*/ 137276 h 470547"/>
                <a:gd name="connsiteX565" fmla="*/ 260372 w 578488"/>
                <a:gd name="connsiteY565" fmla="*/ 137605 h 470547"/>
                <a:gd name="connsiteX566" fmla="*/ 257785 w 578488"/>
                <a:gd name="connsiteY566" fmla="*/ 140161 h 470547"/>
                <a:gd name="connsiteX567" fmla="*/ 254468 w 578488"/>
                <a:gd name="connsiteY567" fmla="*/ 141334 h 470547"/>
                <a:gd name="connsiteX568" fmla="*/ 251957 w 578488"/>
                <a:gd name="connsiteY568" fmla="*/ 141914 h 470547"/>
                <a:gd name="connsiteX569" fmla="*/ 250495 w 578488"/>
                <a:gd name="connsiteY569" fmla="*/ 144897 h 470547"/>
                <a:gd name="connsiteX570" fmla="*/ 253902 w 578488"/>
                <a:gd name="connsiteY570" fmla="*/ 149167 h 470547"/>
                <a:gd name="connsiteX571" fmla="*/ 255651 w 578488"/>
                <a:gd name="connsiteY571" fmla="*/ 151417 h 470547"/>
                <a:gd name="connsiteX572" fmla="*/ 257280 w 578488"/>
                <a:gd name="connsiteY572" fmla="*/ 155042 h 470547"/>
                <a:gd name="connsiteX573" fmla="*/ 256979 w 578488"/>
                <a:gd name="connsiteY573" fmla="*/ 157347 h 470547"/>
                <a:gd name="connsiteX574" fmla="*/ 256599 w 578488"/>
                <a:gd name="connsiteY574" fmla="*/ 158780 h 470547"/>
                <a:gd name="connsiteX575" fmla="*/ 252933 w 578488"/>
                <a:gd name="connsiteY575" fmla="*/ 161708 h 470547"/>
                <a:gd name="connsiteX576" fmla="*/ 245116 w 578488"/>
                <a:gd name="connsiteY576" fmla="*/ 169424 h 470547"/>
                <a:gd name="connsiteX577" fmla="*/ 237882 w 578488"/>
                <a:gd name="connsiteY577" fmla="*/ 177449 h 470547"/>
                <a:gd name="connsiteX578" fmla="*/ 234917 w 578488"/>
                <a:gd name="connsiteY578" fmla="*/ 179747 h 470547"/>
                <a:gd name="connsiteX579" fmla="*/ 236262 w 578488"/>
                <a:gd name="connsiteY579" fmla="*/ 186523 h 470547"/>
                <a:gd name="connsiteX580" fmla="*/ 233855 w 578488"/>
                <a:gd name="connsiteY580" fmla="*/ 188504 h 470547"/>
                <a:gd name="connsiteX581" fmla="*/ 228955 w 578488"/>
                <a:gd name="connsiteY581" fmla="*/ 190744 h 470547"/>
                <a:gd name="connsiteX582" fmla="*/ 226450 w 578488"/>
                <a:gd name="connsiteY582" fmla="*/ 191608 h 470547"/>
                <a:gd name="connsiteX583" fmla="*/ 223751 w 578488"/>
                <a:gd name="connsiteY583" fmla="*/ 192114 h 470547"/>
                <a:gd name="connsiteX584" fmla="*/ 215465 w 578488"/>
                <a:gd name="connsiteY584" fmla="*/ 193008 h 470547"/>
                <a:gd name="connsiteX585" fmla="*/ 216940 w 578488"/>
                <a:gd name="connsiteY585" fmla="*/ 200220 h 470547"/>
                <a:gd name="connsiteX586" fmla="*/ 217497 w 578488"/>
                <a:gd name="connsiteY586" fmla="*/ 203404 h 470547"/>
                <a:gd name="connsiteX587" fmla="*/ 217484 w 578488"/>
                <a:gd name="connsiteY587" fmla="*/ 205291 h 470547"/>
                <a:gd name="connsiteX588" fmla="*/ 216627 w 578488"/>
                <a:gd name="connsiteY588" fmla="*/ 207126 h 470547"/>
                <a:gd name="connsiteX589" fmla="*/ 215603 w 578488"/>
                <a:gd name="connsiteY589" fmla="*/ 210635 h 470547"/>
                <a:gd name="connsiteX590" fmla="*/ 214059 w 578488"/>
                <a:gd name="connsiteY590" fmla="*/ 223129 h 470547"/>
                <a:gd name="connsiteX591" fmla="*/ 212878 w 578488"/>
                <a:gd name="connsiteY591" fmla="*/ 224469 h 470547"/>
                <a:gd name="connsiteX592" fmla="*/ 211246 w 578488"/>
                <a:gd name="connsiteY592" fmla="*/ 227840 h 470547"/>
                <a:gd name="connsiteX593" fmla="*/ 205999 w 578488"/>
                <a:gd name="connsiteY593" fmla="*/ 235919 h 470547"/>
                <a:gd name="connsiteX594" fmla="*/ 201790 w 578488"/>
                <a:gd name="connsiteY594" fmla="*/ 241272 h 470547"/>
                <a:gd name="connsiteX595" fmla="*/ 195720 w 578488"/>
                <a:gd name="connsiteY595" fmla="*/ 248960 h 470547"/>
                <a:gd name="connsiteX596" fmla="*/ 200656 w 578488"/>
                <a:gd name="connsiteY596" fmla="*/ 251381 h 470547"/>
                <a:gd name="connsiteX597" fmla="*/ 205169 w 578488"/>
                <a:gd name="connsiteY597" fmla="*/ 253145 h 470547"/>
                <a:gd name="connsiteX598" fmla="*/ 206104 w 578488"/>
                <a:gd name="connsiteY598" fmla="*/ 255857 h 470547"/>
                <a:gd name="connsiteX599" fmla="*/ 206726 w 578488"/>
                <a:gd name="connsiteY599" fmla="*/ 260380 h 470547"/>
                <a:gd name="connsiteX600" fmla="*/ 206575 w 578488"/>
                <a:gd name="connsiteY600" fmla="*/ 263453 h 470547"/>
                <a:gd name="connsiteX601" fmla="*/ 204852 w 578488"/>
                <a:gd name="connsiteY601" fmla="*/ 266213 h 470547"/>
                <a:gd name="connsiteX602" fmla="*/ 203513 w 578488"/>
                <a:gd name="connsiteY602" fmla="*/ 268148 h 470547"/>
                <a:gd name="connsiteX603" fmla="*/ 202580 w 578488"/>
                <a:gd name="connsiteY603" fmla="*/ 269091 h 470547"/>
                <a:gd name="connsiteX604" fmla="*/ 196171 w 578488"/>
                <a:gd name="connsiteY604" fmla="*/ 268152 h 470547"/>
                <a:gd name="connsiteX605" fmla="*/ 187966 w 578488"/>
                <a:gd name="connsiteY605" fmla="*/ 266945 h 470547"/>
                <a:gd name="connsiteX606" fmla="*/ 185841 w 578488"/>
                <a:gd name="connsiteY606" fmla="*/ 266934 h 470547"/>
                <a:gd name="connsiteX607" fmla="*/ 181066 w 578488"/>
                <a:gd name="connsiteY607" fmla="*/ 267803 h 470547"/>
                <a:gd name="connsiteX608" fmla="*/ 176758 w 578488"/>
                <a:gd name="connsiteY608" fmla="*/ 269586 h 470547"/>
                <a:gd name="connsiteX609" fmla="*/ 174487 w 578488"/>
                <a:gd name="connsiteY609" fmla="*/ 271088 h 470547"/>
                <a:gd name="connsiteX610" fmla="*/ 173878 w 578488"/>
                <a:gd name="connsiteY610" fmla="*/ 271685 h 470547"/>
                <a:gd name="connsiteX611" fmla="*/ 171008 w 578488"/>
                <a:gd name="connsiteY611" fmla="*/ 275099 h 470547"/>
                <a:gd name="connsiteX612" fmla="*/ 165905 w 578488"/>
                <a:gd name="connsiteY612" fmla="*/ 281156 h 470547"/>
                <a:gd name="connsiteX613" fmla="*/ 163102 w 578488"/>
                <a:gd name="connsiteY613" fmla="*/ 283795 h 470547"/>
                <a:gd name="connsiteX614" fmla="*/ 163919 w 578488"/>
                <a:gd name="connsiteY614" fmla="*/ 287426 h 470547"/>
                <a:gd name="connsiteX615" fmla="*/ 159226 w 578488"/>
                <a:gd name="connsiteY615" fmla="*/ 294429 h 470547"/>
                <a:gd name="connsiteX616" fmla="*/ 162295 w 578488"/>
                <a:gd name="connsiteY616" fmla="*/ 301478 h 470547"/>
                <a:gd name="connsiteX617" fmla="*/ 162426 w 578488"/>
                <a:gd name="connsiteY617" fmla="*/ 301709 h 470547"/>
                <a:gd name="connsiteX618" fmla="*/ 164052 w 578488"/>
                <a:gd name="connsiteY618" fmla="*/ 304551 h 470547"/>
                <a:gd name="connsiteX619" fmla="*/ 162347 w 578488"/>
                <a:gd name="connsiteY619" fmla="*/ 306381 h 470547"/>
                <a:gd name="connsiteX620" fmla="*/ 161630 w 578488"/>
                <a:gd name="connsiteY620" fmla="*/ 307364 h 470547"/>
                <a:gd name="connsiteX621" fmla="*/ 161873 w 578488"/>
                <a:gd name="connsiteY621" fmla="*/ 310603 h 470547"/>
                <a:gd name="connsiteX622" fmla="*/ 162321 w 578488"/>
                <a:gd name="connsiteY622" fmla="*/ 314217 h 470547"/>
                <a:gd name="connsiteX623" fmla="*/ 161923 w 578488"/>
                <a:gd name="connsiteY623" fmla="*/ 316334 h 470547"/>
                <a:gd name="connsiteX624" fmla="*/ 161761 w 578488"/>
                <a:gd name="connsiteY624" fmla="*/ 318682 h 470547"/>
                <a:gd name="connsiteX625" fmla="*/ 165940 w 578488"/>
                <a:gd name="connsiteY625" fmla="*/ 329208 h 470547"/>
                <a:gd name="connsiteX626" fmla="*/ 165892 w 578488"/>
                <a:gd name="connsiteY626" fmla="*/ 331669 h 470547"/>
                <a:gd name="connsiteX627" fmla="*/ 165685 w 578488"/>
                <a:gd name="connsiteY627" fmla="*/ 333254 h 470547"/>
                <a:gd name="connsiteX628" fmla="*/ 164396 w 578488"/>
                <a:gd name="connsiteY628" fmla="*/ 339764 h 470547"/>
                <a:gd name="connsiteX629" fmla="*/ 162664 w 578488"/>
                <a:gd name="connsiteY629" fmla="*/ 348480 h 470547"/>
                <a:gd name="connsiteX630" fmla="*/ 165687 w 578488"/>
                <a:gd name="connsiteY630" fmla="*/ 350764 h 470547"/>
                <a:gd name="connsiteX631" fmla="*/ 169993 w 578488"/>
                <a:gd name="connsiteY631" fmla="*/ 353492 h 470547"/>
                <a:gd name="connsiteX632" fmla="*/ 172409 w 578488"/>
                <a:gd name="connsiteY632" fmla="*/ 354565 h 470547"/>
                <a:gd name="connsiteX633" fmla="*/ 175979 w 578488"/>
                <a:gd name="connsiteY633" fmla="*/ 357800 h 470547"/>
                <a:gd name="connsiteX634" fmla="*/ 178704 w 578488"/>
                <a:gd name="connsiteY634" fmla="*/ 360956 h 470547"/>
                <a:gd name="connsiteX635" fmla="*/ 178326 w 578488"/>
                <a:gd name="connsiteY635" fmla="*/ 363049 h 470547"/>
                <a:gd name="connsiteX636" fmla="*/ 177542 w 578488"/>
                <a:gd name="connsiteY636" fmla="*/ 365356 h 470547"/>
                <a:gd name="connsiteX637" fmla="*/ 176395 w 578488"/>
                <a:gd name="connsiteY637" fmla="*/ 366968 h 470547"/>
                <a:gd name="connsiteX638" fmla="*/ 175322 w 578488"/>
                <a:gd name="connsiteY638" fmla="*/ 369179 h 470547"/>
                <a:gd name="connsiteX639" fmla="*/ 174841 w 578488"/>
                <a:gd name="connsiteY639" fmla="*/ 370806 h 470547"/>
                <a:gd name="connsiteX640" fmla="*/ 174331 w 578488"/>
                <a:gd name="connsiteY640" fmla="*/ 371244 h 470547"/>
                <a:gd name="connsiteX641" fmla="*/ 169568 w 578488"/>
                <a:gd name="connsiteY641" fmla="*/ 371422 h 470547"/>
                <a:gd name="connsiteX642" fmla="*/ 167049 w 578488"/>
                <a:gd name="connsiteY642" fmla="*/ 372037 h 470547"/>
                <a:gd name="connsiteX643" fmla="*/ 165732 w 578488"/>
                <a:gd name="connsiteY643" fmla="*/ 372726 h 470547"/>
                <a:gd name="connsiteX644" fmla="*/ 166186 w 578488"/>
                <a:gd name="connsiteY644" fmla="*/ 376434 h 470547"/>
                <a:gd name="connsiteX645" fmla="*/ 169075 w 578488"/>
                <a:gd name="connsiteY645" fmla="*/ 383209 h 470547"/>
                <a:gd name="connsiteX646" fmla="*/ 171474 w 578488"/>
                <a:gd name="connsiteY646" fmla="*/ 388013 h 470547"/>
                <a:gd name="connsiteX647" fmla="*/ 172245 w 578488"/>
                <a:gd name="connsiteY647" fmla="*/ 391175 h 470547"/>
                <a:gd name="connsiteX648" fmla="*/ 171453 w 578488"/>
                <a:gd name="connsiteY648" fmla="*/ 394375 h 470547"/>
                <a:gd name="connsiteX649" fmla="*/ 170634 w 578488"/>
                <a:gd name="connsiteY649" fmla="*/ 396012 h 470547"/>
                <a:gd name="connsiteX650" fmla="*/ 170608 w 578488"/>
                <a:gd name="connsiteY650" fmla="*/ 398214 h 470547"/>
                <a:gd name="connsiteX651" fmla="*/ 169978 w 578488"/>
                <a:gd name="connsiteY651" fmla="*/ 402590 h 470547"/>
                <a:gd name="connsiteX652" fmla="*/ 168118 w 578488"/>
                <a:gd name="connsiteY652" fmla="*/ 404799 h 470547"/>
                <a:gd name="connsiteX653" fmla="*/ 165685 w 578488"/>
                <a:gd name="connsiteY653" fmla="*/ 407204 h 470547"/>
                <a:gd name="connsiteX654" fmla="*/ 162971 w 578488"/>
                <a:gd name="connsiteY654" fmla="*/ 408999 h 470547"/>
                <a:gd name="connsiteX655" fmla="*/ 160818 w 578488"/>
                <a:gd name="connsiteY655" fmla="*/ 409503 h 470547"/>
                <a:gd name="connsiteX656" fmla="*/ 158969 w 578488"/>
                <a:gd name="connsiteY656" fmla="*/ 409711 h 470547"/>
                <a:gd name="connsiteX657" fmla="*/ 157728 w 578488"/>
                <a:gd name="connsiteY657" fmla="*/ 410622 h 470547"/>
                <a:gd name="connsiteX658" fmla="*/ 156602 w 578488"/>
                <a:gd name="connsiteY658" fmla="*/ 413299 h 470547"/>
                <a:gd name="connsiteX659" fmla="*/ 155564 w 578488"/>
                <a:gd name="connsiteY659" fmla="*/ 416106 h 470547"/>
                <a:gd name="connsiteX660" fmla="*/ 152169 w 578488"/>
                <a:gd name="connsiteY660" fmla="*/ 419553 h 470547"/>
                <a:gd name="connsiteX661" fmla="*/ 152260 w 578488"/>
                <a:gd name="connsiteY661" fmla="*/ 420752 h 470547"/>
                <a:gd name="connsiteX662" fmla="*/ 153553 w 578488"/>
                <a:gd name="connsiteY662" fmla="*/ 424829 h 470547"/>
                <a:gd name="connsiteX663" fmla="*/ 154765 w 578488"/>
                <a:gd name="connsiteY663" fmla="*/ 429460 h 470547"/>
                <a:gd name="connsiteX664" fmla="*/ 153741 w 578488"/>
                <a:gd name="connsiteY664" fmla="*/ 433781 h 470547"/>
                <a:gd name="connsiteX665" fmla="*/ 152865 w 578488"/>
                <a:gd name="connsiteY665" fmla="*/ 438308 h 470547"/>
                <a:gd name="connsiteX666" fmla="*/ 151329 w 578488"/>
                <a:gd name="connsiteY666" fmla="*/ 441320 h 470547"/>
                <a:gd name="connsiteX667" fmla="*/ 149135 w 578488"/>
                <a:gd name="connsiteY667" fmla="*/ 442395 h 470547"/>
                <a:gd name="connsiteX668" fmla="*/ 147524 w 578488"/>
                <a:gd name="connsiteY668" fmla="*/ 441858 h 470547"/>
                <a:gd name="connsiteX669" fmla="*/ 145702 w 578488"/>
                <a:gd name="connsiteY669" fmla="*/ 437727 h 470547"/>
                <a:gd name="connsiteX670" fmla="*/ 145661 w 578488"/>
                <a:gd name="connsiteY670" fmla="*/ 436776 h 470547"/>
                <a:gd name="connsiteX671" fmla="*/ 145207 w 578488"/>
                <a:gd name="connsiteY671" fmla="*/ 435511 h 470547"/>
                <a:gd name="connsiteX672" fmla="*/ 140038 w 578488"/>
                <a:gd name="connsiteY672" fmla="*/ 434250 h 470547"/>
                <a:gd name="connsiteX673" fmla="*/ 139124 w 578488"/>
                <a:gd name="connsiteY673" fmla="*/ 434296 h 470547"/>
                <a:gd name="connsiteX674" fmla="*/ 137092 w 578488"/>
                <a:gd name="connsiteY674" fmla="*/ 433557 h 470547"/>
                <a:gd name="connsiteX675" fmla="*/ 135901 w 578488"/>
                <a:gd name="connsiteY675" fmla="*/ 433348 h 470547"/>
                <a:gd name="connsiteX676" fmla="*/ 133456 w 578488"/>
                <a:gd name="connsiteY676" fmla="*/ 432921 h 470547"/>
                <a:gd name="connsiteX677" fmla="*/ 131424 w 578488"/>
                <a:gd name="connsiteY677" fmla="*/ 429261 h 470547"/>
                <a:gd name="connsiteX678" fmla="*/ 129265 w 578488"/>
                <a:gd name="connsiteY678" fmla="*/ 426212 h 470547"/>
                <a:gd name="connsiteX679" fmla="*/ 128958 w 578488"/>
                <a:gd name="connsiteY679" fmla="*/ 424936 h 470547"/>
                <a:gd name="connsiteX680" fmla="*/ 129032 w 578488"/>
                <a:gd name="connsiteY680" fmla="*/ 419218 h 470547"/>
                <a:gd name="connsiteX681" fmla="*/ 128371 w 578488"/>
                <a:gd name="connsiteY681" fmla="*/ 416670 h 470547"/>
                <a:gd name="connsiteX682" fmla="*/ 128168 w 578488"/>
                <a:gd name="connsiteY682" fmla="*/ 413889 h 470547"/>
                <a:gd name="connsiteX683" fmla="*/ 126809 w 578488"/>
                <a:gd name="connsiteY683" fmla="*/ 416151 h 470547"/>
                <a:gd name="connsiteX684" fmla="*/ 127598 w 578488"/>
                <a:gd name="connsiteY684" fmla="*/ 419723 h 470547"/>
                <a:gd name="connsiteX685" fmla="*/ 125922 w 578488"/>
                <a:gd name="connsiteY685" fmla="*/ 421220 h 470547"/>
                <a:gd name="connsiteX686" fmla="*/ 123808 w 578488"/>
                <a:gd name="connsiteY686" fmla="*/ 421947 h 470547"/>
                <a:gd name="connsiteX687" fmla="*/ 124007 w 578488"/>
                <a:gd name="connsiteY687" fmla="*/ 424035 h 470547"/>
                <a:gd name="connsiteX688" fmla="*/ 124875 w 578488"/>
                <a:gd name="connsiteY688" fmla="*/ 424430 h 470547"/>
                <a:gd name="connsiteX689" fmla="*/ 125056 w 578488"/>
                <a:gd name="connsiteY689" fmla="*/ 426595 h 470547"/>
                <a:gd name="connsiteX690" fmla="*/ 124542 w 578488"/>
                <a:gd name="connsiteY690" fmla="*/ 429796 h 470547"/>
                <a:gd name="connsiteX691" fmla="*/ 120381 w 578488"/>
                <a:gd name="connsiteY691" fmla="*/ 436895 h 470547"/>
                <a:gd name="connsiteX692" fmla="*/ 119541 w 578488"/>
                <a:gd name="connsiteY692" fmla="*/ 437657 h 470547"/>
                <a:gd name="connsiteX693" fmla="*/ 118971 w 578488"/>
                <a:gd name="connsiteY693" fmla="*/ 438614 h 470547"/>
                <a:gd name="connsiteX694" fmla="*/ 116842 w 578488"/>
                <a:gd name="connsiteY694" fmla="*/ 437978 h 470547"/>
                <a:gd name="connsiteX695" fmla="*/ 114110 w 578488"/>
                <a:gd name="connsiteY695" fmla="*/ 439950 h 470547"/>
                <a:gd name="connsiteX696" fmla="*/ 111523 w 578488"/>
                <a:gd name="connsiteY696" fmla="*/ 440266 h 470547"/>
                <a:gd name="connsiteX697" fmla="*/ 110586 w 578488"/>
                <a:gd name="connsiteY697" fmla="*/ 438035 h 470547"/>
                <a:gd name="connsiteX698" fmla="*/ 106936 w 578488"/>
                <a:gd name="connsiteY698" fmla="*/ 435079 h 470547"/>
                <a:gd name="connsiteX699" fmla="*/ 105213 w 578488"/>
                <a:gd name="connsiteY699" fmla="*/ 435245 h 470547"/>
                <a:gd name="connsiteX700" fmla="*/ 106760 w 578488"/>
                <a:gd name="connsiteY700" fmla="*/ 436704 h 470547"/>
                <a:gd name="connsiteX701" fmla="*/ 108284 w 578488"/>
                <a:gd name="connsiteY701" fmla="*/ 438599 h 470547"/>
                <a:gd name="connsiteX702" fmla="*/ 107418 w 578488"/>
                <a:gd name="connsiteY702" fmla="*/ 439853 h 470547"/>
                <a:gd name="connsiteX703" fmla="*/ 106567 w 578488"/>
                <a:gd name="connsiteY703" fmla="*/ 440671 h 470547"/>
                <a:gd name="connsiteX704" fmla="*/ 105077 w 578488"/>
                <a:gd name="connsiteY704" fmla="*/ 441095 h 470547"/>
                <a:gd name="connsiteX705" fmla="*/ 99746 w 578488"/>
                <a:gd name="connsiteY705" fmla="*/ 443570 h 470547"/>
                <a:gd name="connsiteX706" fmla="*/ 101644 w 578488"/>
                <a:gd name="connsiteY706" fmla="*/ 445231 h 470547"/>
                <a:gd name="connsiteX707" fmla="*/ 100033 w 578488"/>
                <a:gd name="connsiteY707" fmla="*/ 447116 h 470547"/>
                <a:gd name="connsiteX708" fmla="*/ 98170 w 578488"/>
                <a:gd name="connsiteY708" fmla="*/ 447393 h 470547"/>
                <a:gd name="connsiteX709" fmla="*/ 97176 w 578488"/>
                <a:gd name="connsiteY709" fmla="*/ 448273 h 470547"/>
                <a:gd name="connsiteX710" fmla="*/ 96831 w 578488"/>
                <a:gd name="connsiteY710" fmla="*/ 449467 h 470547"/>
                <a:gd name="connsiteX711" fmla="*/ 91309 w 578488"/>
                <a:gd name="connsiteY711" fmla="*/ 452866 h 470547"/>
                <a:gd name="connsiteX712" fmla="*/ 82309 w 578488"/>
                <a:gd name="connsiteY712" fmla="*/ 461559 h 470547"/>
                <a:gd name="connsiteX713" fmla="*/ 77684 w 578488"/>
                <a:gd name="connsiteY713" fmla="*/ 464009 h 470547"/>
                <a:gd name="connsiteX714" fmla="*/ 74453 w 578488"/>
                <a:gd name="connsiteY714" fmla="*/ 466554 h 470547"/>
                <a:gd name="connsiteX715" fmla="*/ 71607 w 578488"/>
                <a:gd name="connsiteY715" fmla="*/ 466491 h 470547"/>
                <a:gd name="connsiteX716" fmla="*/ 68029 w 578488"/>
                <a:gd name="connsiteY716" fmla="*/ 468652 h 470547"/>
                <a:gd name="connsiteX717" fmla="*/ 58970 w 578488"/>
                <a:gd name="connsiteY717" fmla="*/ 470547 h 470547"/>
                <a:gd name="connsiteX718" fmla="*/ 52961 w 578488"/>
                <a:gd name="connsiteY718" fmla="*/ 469690 h 470547"/>
                <a:gd name="connsiteX719" fmla="*/ 48776 w 578488"/>
                <a:gd name="connsiteY719" fmla="*/ 470442 h 470547"/>
                <a:gd name="connsiteX720" fmla="*/ 46532 w 578488"/>
                <a:gd name="connsiteY720" fmla="*/ 468957 h 470547"/>
                <a:gd name="connsiteX721" fmla="*/ 46241 w 578488"/>
                <a:gd name="connsiteY721" fmla="*/ 467936 h 470547"/>
                <a:gd name="connsiteX722" fmla="*/ 46353 w 578488"/>
                <a:gd name="connsiteY722" fmla="*/ 467343 h 470547"/>
                <a:gd name="connsiteX723" fmla="*/ 46729 w 578488"/>
                <a:gd name="connsiteY723" fmla="*/ 466632 h 470547"/>
                <a:gd name="connsiteX724" fmla="*/ 45949 w 578488"/>
                <a:gd name="connsiteY724" fmla="*/ 466380 h 470547"/>
                <a:gd name="connsiteX725" fmla="*/ 44308 w 578488"/>
                <a:gd name="connsiteY725" fmla="*/ 466257 h 470547"/>
                <a:gd name="connsiteX726" fmla="*/ 43606 w 578488"/>
                <a:gd name="connsiteY726" fmla="*/ 466974 h 470547"/>
                <a:gd name="connsiteX727" fmla="*/ 43511 w 578488"/>
                <a:gd name="connsiteY727" fmla="*/ 468602 h 470547"/>
                <a:gd name="connsiteX728" fmla="*/ 42730 w 578488"/>
                <a:gd name="connsiteY728" fmla="*/ 469027 h 470547"/>
                <a:gd name="connsiteX729" fmla="*/ 39613 w 578488"/>
                <a:gd name="connsiteY729" fmla="*/ 468096 h 470547"/>
                <a:gd name="connsiteX730" fmla="*/ 38830 w 578488"/>
                <a:gd name="connsiteY730" fmla="*/ 467257 h 470547"/>
                <a:gd name="connsiteX731" fmla="*/ 39950 w 578488"/>
                <a:gd name="connsiteY731" fmla="*/ 465556 h 470547"/>
                <a:gd name="connsiteX732" fmla="*/ 41868 w 578488"/>
                <a:gd name="connsiteY732" fmla="*/ 464023 h 470547"/>
                <a:gd name="connsiteX733" fmla="*/ 41520 w 578488"/>
                <a:gd name="connsiteY733" fmla="*/ 463709 h 470547"/>
                <a:gd name="connsiteX734" fmla="*/ 41147 w 578488"/>
                <a:gd name="connsiteY734" fmla="*/ 462777 h 470547"/>
                <a:gd name="connsiteX735" fmla="*/ 40211 w 578488"/>
                <a:gd name="connsiteY735" fmla="*/ 462659 h 470547"/>
                <a:gd name="connsiteX736" fmla="*/ 37424 w 578488"/>
                <a:gd name="connsiteY736" fmla="*/ 462884 h 470547"/>
                <a:gd name="connsiteX737" fmla="*/ 35159 w 578488"/>
                <a:gd name="connsiteY737" fmla="*/ 462609 h 470547"/>
                <a:gd name="connsiteX738" fmla="*/ 27765 w 578488"/>
                <a:gd name="connsiteY738" fmla="*/ 459156 h 470547"/>
                <a:gd name="connsiteX739" fmla="*/ 26038 w 578488"/>
                <a:gd name="connsiteY739" fmla="*/ 457312 h 470547"/>
                <a:gd name="connsiteX740" fmla="*/ 20073 w 578488"/>
                <a:gd name="connsiteY740" fmla="*/ 454363 h 470547"/>
                <a:gd name="connsiteX741" fmla="*/ 17400 w 578488"/>
                <a:gd name="connsiteY741" fmla="*/ 451234 h 470547"/>
                <a:gd name="connsiteX742" fmla="*/ 15882 w 578488"/>
                <a:gd name="connsiteY742" fmla="*/ 447798 h 470547"/>
                <a:gd name="connsiteX743" fmla="*/ 15996 w 578488"/>
                <a:gd name="connsiteY743" fmla="*/ 444680 h 470547"/>
                <a:gd name="connsiteX744" fmla="*/ 16728 w 578488"/>
                <a:gd name="connsiteY744" fmla="*/ 439723 h 470547"/>
                <a:gd name="connsiteX745" fmla="*/ 17981 w 578488"/>
                <a:gd name="connsiteY745" fmla="*/ 438496 h 470547"/>
                <a:gd name="connsiteX746" fmla="*/ 23334 w 578488"/>
                <a:gd name="connsiteY746" fmla="*/ 440234 h 470547"/>
                <a:gd name="connsiteX747" fmla="*/ 28745 w 578488"/>
                <a:gd name="connsiteY747" fmla="*/ 443134 h 470547"/>
                <a:gd name="connsiteX748" fmla="*/ 29592 w 578488"/>
                <a:gd name="connsiteY748" fmla="*/ 442991 h 470547"/>
                <a:gd name="connsiteX749" fmla="*/ 31291 w 578488"/>
                <a:gd name="connsiteY749" fmla="*/ 440715 h 470547"/>
                <a:gd name="connsiteX750" fmla="*/ 34589 w 578488"/>
                <a:gd name="connsiteY750" fmla="*/ 438885 h 470547"/>
                <a:gd name="connsiteX751" fmla="*/ 33656 w 578488"/>
                <a:gd name="connsiteY751" fmla="*/ 438380 h 470547"/>
                <a:gd name="connsiteX752" fmla="*/ 28754 w 578488"/>
                <a:gd name="connsiteY752" fmla="*/ 440479 h 470547"/>
                <a:gd name="connsiteX753" fmla="*/ 26931 w 578488"/>
                <a:gd name="connsiteY753" fmla="*/ 439316 h 470547"/>
                <a:gd name="connsiteX754" fmla="*/ 24105 w 578488"/>
                <a:gd name="connsiteY754" fmla="*/ 436946 h 470547"/>
                <a:gd name="connsiteX755" fmla="*/ 24105 w 578488"/>
                <a:gd name="connsiteY755" fmla="*/ 435725 h 470547"/>
                <a:gd name="connsiteX756" fmla="*/ 25422 w 578488"/>
                <a:gd name="connsiteY756" fmla="*/ 434503 h 470547"/>
                <a:gd name="connsiteX757" fmla="*/ 25860 w 578488"/>
                <a:gd name="connsiteY757" fmla="*/ 432849 h 470547"/>
                <a:gd name="connsiteX758" fmla="*/ 25169 w 578488"/>
                <a:gd name="connsiteY758" fmla="*/ 431287 h 470547"/>
                <a:gd name="connsiteX759" fmla="*/ 25491 w 578488"/>
                <a:gd name="connsiteY759" fmla="*/ 429160 h 470547"/>
                <a:gd name="connsiteX760" fmla="*/ 27677 w 578488"/>
                <a:gd name="connsiteY760" fmla="*/ 426901 h 470547"/>
                <a:gd name="connsiteX761" fmla="*/ 30954 w 578488"/>
                <a:gd name="connsiteY761" fmla="*/ 424611 h 470547"/>
                <a:gd name="connsiteX762" fmla="*/ 33315 w 578488"/>
                <a:gd name="connsiteY762" fmla="*/ 422399 h 470547"/>
                <a:gd name="connsiteX763" fmla="*/ 35740 w 578488"/>
                <a:gd name="connsiteY763" fmla="*/ 421036 h 470547"/>
                <a:gd name="connsiteX764" fmla="*/ 35487 w 578488"/>
                <a:gd name="connsiteY764" fmla="*/ 420581 h 470547"/>
                <a:gd name="connsiteX765" fmla="*/ 32714 w 578488"/>
                <a:gd name="connsiteY765" fmla="*/ 421449 h 470547"/>
                <a:gd name="connsiteX766" fmla="*/ 30062 w 578488"/>
                <a:gd name="connsiteY766" fmla="*/ 422921 h 470547"/>
                <a:gd name="connsiteX767" fmla="*/ 26940 w 578488"/>
                <a:gd name="connsiteY767" fmla="*/ 425385 h 470547"/>
                <a:gd name="connsiteX768" fmla="*/ 23133 w 578488"/>
                <a:gd name="connsiteY768" fmla="*/ 427381 h 470547"/>
                <a:gd name="connsiteX769" fmla="*/ 20319 w 578488"/>
                <a:gd name="connsiteY769" fmla="*/ 428155 h 470547"/>
                <a:gd name="connsiteX770" fmla="*/ 18978 w 578488"/>
                <a:gd name="connsiteY770" fmla="*/ 428795 h 470547"/>
                <a:gd name="connsiteX771" fmla="*/ 16916 w 578488"/>
                <a:gd name="connsiteY771" fmla="*/ 429417 h 470547"/>
                <a:gd name="connsiteX772" fmla="*/ 14783 w 578488"/>
                <a:gd name="connsiteY772" fmla="*/ 432273 h 470547"/>
                <a:gd name="connsiteX773" fmla="*/ 12455 w 578488"/>
                <a:gd name="connsiteY773" fmla="*/ 433495 h 470547"/>
                <a:gd name="connsiteX774" fmla="*/ 8274 w 578488"/>
                <a:gd name="connsiteY774" fmla="*/ 433619 h 470547"/>
                <a:gd name="connsiteX775" fmla="*/ 7355 w 578488"/>
                <a:gd name="connsiteY775" fmla="*/ 431533 h 470547"/>
                <a:gd name="connsiteX776" fmla="*/ 8535 w 578488"/>
                <a:gd name="connsiteY776" fmla="*/ 424101 h 470547"/>
                <a:gd name="connsiteX777" fmla="*/ 9799 w 578488"/>
                <a:gd name="connsiteY777" fmla="*/ 420472 h 470547"/>
                <a:gd name="connsiteX778" fmla="*/ 11185 w 578488"/>
                <a:gd name="connsiteY778" fmla="*/ 417901 h 470547"/>
                <a:gd name="connsiteX779" fmla="*/ 13366 w 578488"/>
                <a:gd name="connsiteY779" fmla="*/ 417468 h 470547"/>
                <a:gd name="connsiteX780" fmla="*/ 14891 w 578488"/>
                <a:gd name="connsiteY780" fmla="*/ 415582 h 470547"/>
                <a:gd name="connsiteX781" fmla="*/ 16156 w 578488"/>
                <a:gd name="connsiteY781" fmla="*/ 415582 h 470547"/>
                <a:gd name="connsiteX782" fmla="*/ 17257 w 578488"/>
                <a:gd name="connsiteY782" fmla="*/ 416453 h 470547"/>
                <a:gd name="connsiteX783" fmla="*/ 21518 w 578488"/>
                <a:gd name="connsiteY783" fmla="*/ 417297 h 470547"/>
                <a:gd name="connsiteX784" fmla="*/ 23621 w 578488"/>
                <a:gd name="connsiteY784" fmla="*/ 414895 h 470547"/>
                <a:gd name="connsiteX785" fmla="*/ 26357 w 578488"/>
                <a:gd name="connsiteY785" fmla="*/ 414543 h 470547"/>
                <a:gd name="connsiteX786" fmla="*/ 31345 w 578488"/>
                <a:gd name="connsiteY786" fmla="*/ 412116 h 470547"/>
                <a:gd name="connsiteX787" fmla="*/ 31241 w 578488"/>
                <a:gd name="connsiteY787" fmla="*/ 411674 h 470547"/>
                <a:gd name="connsiteX788" fmla="*/ 27866 w 578488"/>
                <a:gd name="connsiteY788" fmla="*/ 412208 h 470547"/>
                <a:gd name="connsiteX789" fmla="*/ 25819 w 578488"/>
                <a:gd name="connsiteY789" fmla="*/ 412287 h 470547"/>
                <a:gd name="connsiteX790" fmla="*/ 22885 w 578488"/>
                <a:gd name="connsiteY790" fmla="*/ 412896 h 470547"/>
                <a:gd name="connsiteX791" fmla="*/ 21326 w 578488"/>
                <a:gd name="connsiteY791" fmla="*/ 412461 h 470547"/>
                <a:gd name="connsiteX792" fmla="*/ 20596 w 578488"/>
                <a:gd name="connsiteY792" fmla="*/ 410642 h 470547"/>
                <a:gd name="connsiteX793" fmla="*/ 21770 w 578488"/>
                <a:gd name="connsiteY793" fmla="*/ 409002 h 470547"/>
                <a:gd name="connsiteX794" fmla="*/ 26478 w 578488"/>
                <a:gd name="connsiteY794" fmla="*/ 405081 h 470547"/>
                <a:gd name="connsiteX795" fmla="*/ 28102 w 578488"/>
                <a:gd name="connsiteY795" fmla="*/ 403361 h 470547"/>
                <a:gd name="connsiteX796" fmla="*/ 29028 w 578488"/>
                <a:gd name="connsiteY796" fmla="*/ 401753 h 470547"/>
                <a:gd name="connsiteX797" fmla="*/ 28881 w 578488"/>
                <a:gd name="connsiteY797" fmla="*/ 400658 h 470547"/>
                <a:gd name="connsiteX798" fmla="*/ 29663 w 578488"/>
                <a:gd name="connsiteY798" fmla="*/ 398392 h 470547"/>
                <a:gd name="connsiteX799" fmla="*/ 34267 w 578488"/>
                <a:gd name="connsiteY799" fmla="*/ 394426 h 470547"/>
                <a:gd name="connsiteX800" fmla="*/ 38011 w 578488"/>
                <a:gd name="connsiteY800" fmla="*/ 392611 h 470547"/>
                <a:gd name="connsiteX801" fmla="*/ 39240 w 578488"/>
                <a:gd name="connsiteY801" fmla="*/ 394173 h 470547"/>
                <a:gd name="connsiteX802" fmla="*/ 38195 w 578488"/>
                <a:gd name="connsiteY802" fmla="*/ 399051 h 470547"/>
                <a:gd name="connsiteX803" fmla="*/ 38205 w 578488"/>
                <a:gd name="connsiteY803" fmla="*/ 401062 h 470547"/>
                <a:gd name="connsiteX804" fmla="*/ 41170 w 578488"/>
                <a:gd name="connsiteY804" fmla="*/ 393952 h 470547"/>
                <a:gd name="connsiteX805" fmla="*/ 42475 w 578488"/>
                <a:gd name="connsiteY805" fmla="*/ 392258 h 470547"/>
                <a:gd name="connsiteX806" fmla="*/ 43960 w 578488"/>
                <a:gd name="connsiteY806" fmla="*/ 391063 h 470547"/>
                <a:gd name="connsiteX807" fmla="*/ 47556 w 578488"/>
                <a:gd name="connsiteY807" fmla="*/ 390260 h 470547"/>
                <a:gd name="connsiteX808" fmla="*/ 48573 w 578488"/>
                <a:gd name="connsiteY808" fmla="*/ 389136 h 470547"/>
                <a:gd name="connsiteX809" fmla="*/ 44386 w 578488"/>
                <a:gd name="connsiteY809" fmla="*/ 389508 h 470547"/>
                <a:gd name="connsiteX810" fmla="*/ 34228 w 578488"/>
                <a:gd name="connsiteY810" fmla="*/ 392228 h 470547"/>
                <a:gd name="connsiteX811" fmla="*/ 29946 w 578488"/>
                <a:gd name="connsiteY811" fmla="*/ 394649 h 470547"/>
                <a:gd name="connsiteX812" fmla="*/ 28806 w 578488"/>
                <a:gd name="connsiteY812" fmla="*/ 396513 h 470547"/>
                <a:gd name="connsiteX813" fmla="*/ 25834 w 578488"/>
                <a:gd name="connsiteY813" fmla="*/ 399318 h 470547"/>
                <a:gd name="connsiteX814" fmla="*/ 24441 w 578488"/>
                <a:gd name="connsiteY814" fmla="*/ 401138 h 470547"/>
                <a:gd name="connsiteX815" fmla="*/ 23826 w 578488"/>
                <a:gd name="connsiteY815" fmla="*/ 403807 h 470547"/>
                <a:gd name="connsiteX816" fmla="*/ 22152 w 578488"/>
                <a:gd name="connsiteY816" fmla="*/ 405256 h 470547"/>
                <a:gd name="connsiteX817" fmla="*/ 19896 w 578488"/>
                <a:gd name="connsiteY817" fmla="*/ 405791 h 470547"/>
                <a:gd name="connsiteX818" fmla="*/ 16761 w 578488"/>
                <a:gd name="connsiteY818" fmla="*/ 409168 h 470547"/>
                <a:gd name="connsiteX819" fmla="*/ 15379 w 578488"/>
                <a:gd name="connsiteY819" fmla="*/ 411878 h 470547"/>
                <a:gd name="connsiteX820" fmla="*/ 12259 w 578488"/>
                <a:gd name="connsiteY820" fmla="*/ 414035 h 470547"/>
                <a:gd name="connsiteX821" fmla="*/ 10278 w 578488"/>
                <a:gd name="connsiteY821" fmla="*/ 415692 h 470547"/>
                <a:gd name="connsiteX822" fmla="*/ 9628 w 578488"/>
                <a:gd name="connsiteY822" fmla="*/ 416283 h 470547"/>
                <a:gd name="connsiteX823" fmla="*/ 8557 w 578488"/>
                <a:gd name="connsiteY823" fmla="*/ 417911 h 470547"/>
                <a:gd name="connsiteX824" fmla="*/ 7667 w 578488"/>
                <a:gd name="connsiteY824" fmla="*/ 418025 h 470547"/>
                <a:gd name="connsiteX825" fmla="*/ 6892 w 578488"/>
                <a:gd name="connsiteY825" fmla="*/ 417071 h 470547"/>
                <a:gd name="connsiteX826" fmla="*/ 6763 w 578488"/>
                <a:gd name="connsiteY826" fmla="*/ 414970 h 470547"/>
                <a:gd name="connsiteX827" fmla="*/ 7080 w 578488"/>
                <a:gd name="connsiteY827" fmla="*/ 411611 h 470547"/>
                <a:gd name="connsiteX828" fmla="*/ 8581 w 578488"/>
                <a:gd name="connsiteY828" fmla="*/ 409191 h 470547"/>
                <a:gd name="connsiteX829" fmla="*/ 9298 w 578488"/>
                <a:gd name="connsiteY829" fmla="*/ 406824 h 470547"/>
                <a:gd name="connsiteX830" fmla="*/ 8300 w 578488"/>
                <a:gd name="connsiteY830" fmla="*/ 404611 h 470547"/>
                <a:gd name="connsiteX831" fmla="*/ 8991 w 578488"/>
                <a:gd name="connsiteY831" fmla="*/ 403214 h 470547"/>
                <a:gd name="connsiteX832" fmla="*/ 10313 w 578488"/>
                <a:gd name="connsiteY832" fmla="*/ 403262 h 470547"/>
                <a:gd name="connsiteX833" fmla="*/ 12768 w 578488"/>
                <a:gd name="connsiteY833" fmla="*/ 403899 h 470547"/>
                <a:gd name="connsiteX834" fmla="*/ 15379 w 578488"/>
                <a:gd name="connsiteY834" fmla="*/ 403797 h 470547"/>
                <a:gd name="connsiteX835" fmla="*/ 19669 w 578488"/>
                <a:gd name="connsiteY835" fmla="*/ 402047 h 470547"/>
                <a:gd name="connsiteX836" fmla="*/ 18985 w 578488"/>
                <a:gd name="connsiteY836" fmla="*/ 401024 h 470547"/>
                <a:gd name="connsiteX837" fmla="*/ 17132 w 578488"/>
                <a:gd name="connsiteY837" fmla="*/ 400878 h 470547"/>
                <a:gd name="connsiteX838" fmla="*/ 13673 w 578488"/>
                <a:gd name="connsiteY838" fmla="*/ 401024 h 470547"/>
                <a:gd name="connsiteX839" fmla="*/ 10764 w 578488"/>
                <a:gd name="connsiteY839" fmla="*/ 399313 h 470547"/>
                <a:gd name="connsiteX840" fmla="*/ 8503 w 578488"/>
                <a:gd name="connsiteY840" fmla="*/ 395906 h 470547"/>
                <a:gd name="connsiteX841" fmla="*/ 7475 w 578488"/>
                <a:gd name="connsiteY841" fmla="*/ 391346 h 470547"/>
                <a:gd name="connsiteX842" fmla="*/ 8162 w 578488"/>
                <a:gd name="connsiteY842" fmla="*/ 390040 h 470547"/>
                <a:gd name="connsiteX843" fmla="*/ 16528 w 578488"/>
                <a:gd name="connsiteY843" fmla="*/ 385382 h 470547"/>
                <a:gd name="connsiteX844" fmla="*/ 18780 w 578488"/>
                <a:gd name="connsiteY844" fmla="*/ 383264 h 470547"/>
                <a:gd name="connsiteX845" fmla="*/ 17475 w 578488"/>
                <a:gd name="connsiteY845" fmla="*/ 383054 h 470547"/>
                <a:gd name="connsiteX846" fmla="*/ 14336 w 578488"/>
                <a:gd name="connsiteY846" fmla="*/ 385623 h 470547"/>
                <a:gd name="connsiteX847" fmla="*/ 9840 w 578488"/>
                <a:gd name="connsiteY847" fmla="*/ 387216 h 470547"/>
                <a:gd name="connsiteX848" fmla="*/ 7005 w 578488"/>
                <a:gd name="connsiteY848" fmla="*/ 385001 h 470547"/>
                <a:gd name="connsiteX849" fmla="*/ 5530 w 578488"/>
                <a:gd name="connsiteY849" fmla="*/ 382612 h 470547"/>
                <a:gd name="connsiteX850" fmla="*/ 4681 w 578488"/>
                <a:gd name="connsiteY850" fmla="*/ 377560 h 470547"/>
                <a:gd name="connsiteX851" fmla="*/ 4988 w 578488"/>
                <a:gd name="connsiteY851" fmla="*/ 374959 h 470547"/>
                <a:gd name="connsiteX852" fmla="*/ 4633 w 578488"/>
                <a:gd name="connsiteY852" fmla="*/ 371534 h 470547"/>
                <a:gd name="connsiteX853" fmla="*/ 6553 w 578488"/>
                <a:gd name="connsiteY853" fmla="*/ 370420 h 470547"/>
                <a:gd name="connsiteX854" fmla="*/ 8700 w 578488"/>
                <a:gd name="connsiteY854" fmla="*/ 371012 h 470547"/>
                <a:gd name="connsiteX855" fmla="*/ 10816 w 578488"/>
                <a:gd name="connsiteY855" fmla="*/ 371232 h 470547"/>
                <a:gd name="connsiteX856" fmla="*/ 15616 w 578488"/>
                <a:gd name="connsiteY856" fmla="*/ 370932 h 470547"/>
                <a:gd name="connsiteX857" fmla="*/ 26201 w 578488"/>
                <a:gd name="connsiteY857" fmla="*/ 368874 h 470547"/>
                <a:gd name="connsiteX858" fmla="*/ 33025 w 578488"/>
                <a:gd name="connsiteY858" fmla="*/ 370097 h 470547"/>
                <a:gd name="connsiteX859" fmla="*/ 35798 w 578488"/>
                <a:gd name="connsiteY859" fmla="*/ 369985 h 470547"/>
                <a:gd name="connsiteX860" fmla="*/ 40041 w 578488"/>
                <a:gd name="connsiteY860" fmla="*/ 368212 h 470547"/>
                <a:gd name="connsiteX861" fmla="*/ 43755 w 578488"/>
                <a:gd name="connsiteY861" fmla="*/ 368029 h 470547"/>
                <a:gd name="connsiteX862" fmla="*/ 46532 w 578488"/>
                <a:gd name="connsiteY862" fmla="*/ 369384 h 470547"/>
                <a:gd name="connsiteX863" fmla="*/ 48050 w 578488"/>
                <a:gd name="connsiteY863" fmla="*/ 370937 h 470547"/>
                <a:gd name="connsiteX864" fmla="*/ 48238 w 578488"/>
                <a:gd name="connsiteY864" fmla="*/ 373013 h 470547"/>
                <a:gd name="connsiteX865" fmla="*/ 49523 w 578488"/>
                <a:gd name="connsiteY865" fmla="*/ 374396 h 470547"/>
                <a:gd name="connsiteX866" fmla="*/ 50391 w 578488"/>
                <a:gd name="connsiteY866" fmla="*/ 373947 h 470547"/>
                <a:gd name="connsiteX867" fmla="*/ 49700 w 578488"/>
                <a:gd name="connsiteY867" fmla="*/ 372303 h 470547"/>
                <a:gd name="connsiteX868" fmla="*/ 49555 w 578488"/>
                <a:gd name="connsiteY868" fmla="*/ 369753 h 470547"/>
                <a:gd name="connsiteX869" fmla="*/ 60719 w 578488"/>
                <a:gd name="connsiteY869" fmla="*/ 366861 h 470547"/>
                <a:gd name="connsiteX870" fmla="*/ 62035 w 578488"/>
                <a:gd name="connsiteY870" fmla="*/ 365736 h 470547"/>
                <a:gd name="connsiteX871" fmla="*/ 57599 w 578488"/>
                <a:gd name="connsiteY871" fmla="*/ 365345 h 470547"/>
                <a:gd name="connsiteX872" fmla="*/ 56331 w 578488"/>
                <a:gd name="connsiteY872" fmla="*/ 362701 h 470547"/>
                <a:gd name="connsiteX873" fmla="*/ 58674 w 578488"/>
                <a:gd name="connsiteY873" fmla="*/ 358695 h 470547"/>
                <a:gd name="connsiteX874" fmla="*/ 58454 w 578488"/>
                <a:gd name="connsiteY874" fmla="*/ 358175 h 470547"/>
                <a:gd name="connsiteX875" fmla="*/ 55990 w 578488"/>
                <a:gd name="connsiteY875" fmla="*/ 360290 h 470547"/>
                <a:gd name="connsiteX876" fmla="*/ 54777 w 578488"/>
                <a:gd name="connsiteY876" fmla="*/ 363263 h 470547"/>
                <a:gd name="connsiteX877" fmla="*/ 55258 w 578488"/>
                <a:gd name="connsiteY877" fmla="*/ 365633 h 470547"/>
                <a:gd name="connsiteX878" fmla="*/ 54770 w 578488"/>
                <a:gd name="connsiteY878" fmla="*/ 366733 h 470547"/>
                <a:gd name="connsiteX879" fmla="*/ 52505 w 578488"/>
                <a:gd name="connsiteY879" fmla="*/ 367237 h 470547"/>
                <a:gd name="connsiteX880" fmla="*/ 47398 w 578488"/>
                <a:gd name="connsiteY880" fmla="*/ 367420 h 470547"/>
                <a:gd name="connsiteX881" fmla="*/ 44120 w 578488"/>
                <a:gd name="connsiteY881" fmla="*/ 366415 h 470547"/>
                <a:gd name="connsiteX882" fmla="*/ 41084 w 578488"/>
                <a:gd name="connsiteY882" fmla="*/ 365869 h 470547"/>
                <a:gd name="connsiteX883" fmla="*/ 40050 w 578488"/>
                <a:gd name="connsiteY883" fmla="*/ 365111 h 470547"/>
                <a:gd name="connsiteX884" fmla="*/ 40395 w 578488"/>
                <a:gd name="connsiteY884" fmla="*/ 363419 h 470547"/>
                <a:gd name="connsiteX885" fmla="*/ 39821 w 578488"/>
                <a:gd name="connsiteY885" fmla="*/ 363070 h 470547"/>
                <a:gd name="connsiteX886" fmla="*/ 38564 w 578488"/>
                <a:gd name="connsiteY886" fmla="*/ 364591 h 470547"/>
                <a:gd name="connsiteX887" fmla="*/ 37448 w 578488"/>
                <a:gd name="connsiteY887" fmla="*/ 367620 h 470547"/>
                <a:gd name="connsiteX888" fmla="*/ 35035 w 578488"/>
                <a:gd name="connsiteY888" fmla="*/ 368317 h 470547"/>
                <a:gd name="connsiteX889" fmla="*/ 28380 w 578488"/>
                <a:gd name="connsiteY889" fmla="*/ 367193 h 470547"/>
                <a:gd name="connsiteX890" fmla="*/ 18745 w 578488"/>
                <a:gd name="connsiteY890" fmla="*/ 367855 h 470547"/>
                <a:gd name="connsiteX891" fmla="*/ 14422 w 578488"/>
                <a:gd name="connsiteY891" fmla="*/ 369378 h 470547"/>
                <a:gd name="connsiteX892" fmla="*/ 11621 w 578488"/>
                <a:gd name="connsiteY892" fmla="*/ 369179 h 470547"/>
                <a:gd name="connsiteX893" fmla="*/ 6804 w 578488"/>
                <a:gd name="connsiteY893" fmla="*/ 366511 h 470547"/>
                <a:gd name="connsiteX894" fmla="*/ 4923 w 578488"/>
                <a:gd name="connsiteY894" fmla="*/ 364387 h 470547"/>
                <a:gd name="connsiteX895" fmla="*/ 4221 w 578488"/>
                <a:gd name="connsiteY895" fmla="*/ 360099 h 470547"/>
                <a:gd name="connsiteX896" fmla="*/ 4504 w 578488"/>
                <a:gd name="connsiteY896" fmla="*/ 358210 h 470547"/>
                <a:gd name="connsiteX897" fmla="*/ 8257 w 578488"/>
                <a:gd name="connsiteY897" fmla="*/ 357414 h 470547"/>
                <a:gd name="connsiteX898" fmla="*/ 10155 w 578488"/>
                <a:gd name="connsiteY898" fmla="*/ 357470 h 470547"/>
                <a:gd name="connsiteX899" fmla="*/ 11932 w 578488"/>
                <a:gd name="connsiteY899" fmla="*/ 356454 h 470547"/>
                <a:gd name="connsiteX900" fmla="*/ 10360 w 578488"/>
                <a:gd name="connsiteY900" fmla="*/ 355794 h 470547"/>
                <a:gd name="connsiteX901" fmla="*/ 8149 w 578488"/>
                <a:gd name="connsiteY901" fmla="*/ 354496 h 470547"/>
                <a:gd name="connsiteX902" fmla="*/ 6642 w 578488"/>
                <a:gd name="connsiteY902" fmla="*/ 351893 h 470547"/>
                <a:gd name="connsiteX903" fmla="*/ 4370 w 578488"/>
                <a:gd name="connsiteY903" fmla="*/ 351044 h 470547"/>
                <a:gd name="connsiteX904" fmla="*/ 2848 w 578488"/>
                <a:gd name="connsiteY904" fmla="*/ 348822 h 470547"/>
                <a:gd name="connsiteX905" fmla="*/ 2461 w 578488"/>
                <a:gd name="connsiteY905" fmla="*/ 345461 h 470547"/>
                <a:gd name="connsiteX906" fmla="*/ 2897 w 578488"/>
                <a:gd name="connsiteY906" fmla="*/ 343122 h 470547"/>
                <a:gd name="connsiteX907" fmla="*/ 4113 w 578488"/>
                <a:gd name="connsiteY907" fmla="*/ 342369 h 470547"/>
                <a:gd name="connsiteX908" fmla="*/ 7031 w 578488"/>
                <a:gd name="connsiteY908" fmla="*/ 342881 h 470547"/>
                <a:gd name="connsiteX909" fmla="*/ 14733 w 578488"/>
                <a:gd name="connsiteY909" fmla="*/ 342488 h 470547"/>
                <a:gd name="connsiteX910" fmla="*/ 21984 w 578488"/>
                <a:gd name="connsiteY910" fmla="*/ 344865 h 470547"/>
                <a:gd name="connsiteX911" fmla="*/ 26905 w 578488"/>
                <a:gd name="connsiteY911" fmla="*/ 346212 h 470547"/>
                <a:gd name="connsiteX912" fmla="*/ 36875 w 578488"/>
                <a:gd name="connsiteY912" fmla="*/ 345535 h 470547"/>
                <a:gd name="connsiteX913" fmla="*/ 42714 w 578488"/>
                <a:gd name="connsiteY913" fmla="*/ 343413 h 470547"/>
                <a:gd name="connsiteX914" fmla="*/ 41643 w 578488"/>
                <a:gd name="connsiteY914" fmla="*/ 342826 h 470547"/>
                <a:gd name="connsiteX915" fmla="*/ 35310 w 578488"/>
                <a:gd name="connsiteY915" fmla="*/ 344053 h 470547"/>
                <a:gd name="connsiteX916" fmla="*/ 29456 w 578488"/>
                <a:gd name="connsiteY916" fmla="*/ 344003 h 470547"/>
                <a:gd name="connsiteX917" fmla="*/ 19136 w 578488"/>
                <a:gd name="connsiteY917" fmla="*/ 341603 h 470547"/>
                <a:gd name="connsiteX918" fmla="*/ 14904 w 578488"/>
                <a:gd name="connsiteY918" fmla="*/ 340829 h 470547"/>
                <a:gd name="connsiteX919" fmla="*/ 10345 w 578488"/>
                <a:gd name="connsiteY919" fmla="*/ 341171 h 470547"/>
                <a:gd name="connsiteX920" fmla="*/ 7972 w 578488"/>
                <a:gd name="connsiteY920" fmla="*/ 340442 h 470547"/>
                <a:gd name="connsiteX921" fmla="*/ 6577 w 578488"/>
                <a:gd name="connsiteY921" fmla="*/ 338065 h 470547"/>
                <a:gd name="connsiteX922" fmla="*/ 7609 w 578488"/>
                <a:gd name="connsiteY922" fmla="*/ 333512 h 470547"/>
                <a:gd name="connsiteX923" fmla="*/ 9771 w 578488"/>
                <a:gd name="connsiteY923" fmla="*/ 332528 h 470547"/>
                <a:gd name="connsiteX924" fmla="*/ 10941 w 578488"/>
                <a:gd name="connsiteY924" fmla="*/ 333717 h 470547"/>
                <a:gd name="connsiteX925" fmla="*/ 12353 w 578488"/>
                <a:gd name="connsiteY925" fmla="*/ 333792 h 470547"/>
                <a:gd name="connsiteX926" fmla="*/ 13783 w 578488"/>
                <a:gd name="connsiteY926" fmla="*/ 331887 h 470547"/>
                <a:gd name="connsiteX927" fmla="*/ 15152 w 578488"/>
                <a:gd name="connsiteY927" fmla="*/ 330801 h 470547"/>
                <a:gd name="connsiteX928" fmla="*/ 16236 w 578488"/>
                <a:gd name="connsiteY928" fmla="*/ 328341 h 470547"/>
                <a:gd name="connsiteX929" fmla="*/ 20324 w 578488"/>
                <a:gd name="connsiteY929" fmla="*/ 326007 h 470547"/>
                <a:gd name="connsiteX930" fmla="*/ 22051 w 578488"/>
                <a:gd name="connsiteY930" fmla="*/ 325809 h 470547"/>
                <a:gd name="connsiteX931" fmla="*/ 24528 w 578488"/>
                <a:gd name="connsiteY931" fmla="*/ 324733 h 470547"/>
                <a:gd name="connsiteX932" fmla="*/ 26109 w 578488"/>
                <a:gd name="connsiteY932" fmla="*/ 325038 h 470547"/>
                <a:gd name="connsiteX933" fmla="*/ 27122 w 578488"/>
                <a:gd name="connsiteY933" fmla="*/ 326118 h 470547"/>
                <a:gd name="connsiteX934" fmla="*/ 28402 w 578488"/>
                <a:gd name="connsiteY934" fmla="*/ 327012 h 470547"/>
                <a:gd name="connsiteX935" fmla="*/ 31177 w 578488"/>
                <a:gd name="connsiteY935" fmla="*/ 326903 h 470547"/>
                <a:gd name="connsiteX936" fmla="*/ 39382 w 578488"/>
                <a:gd name="connsiteY936" fmla="*/ 325033 h 470547"/>
                <a:gd name="connsiteX937" fmla="*/ 40266 w 578488"/>
                <a:gd name="connsiteY937" fmla="*/ 324483 h 470547"/>
                <a:gd name="connsiteX938" fmla="*/ 41866 w 578488"/>
                <a:gd name="connsiteY938" fmla="*/ 322944 h 470547"/>
                <a:gd name="connsiteX939" fmla="*/ 36664 w 578488"/>
                <a:gd name="connsiteY939" fmla="*/ 323630 h 470547"/>
                <a:gd name="connsiteX940" fmla="*/ 32343 w 578488"/>
                <a:gd name="connsiteY940" fmla="*/ 324723 h 470547"/>
                <a:gd name="connsiteX941" fmla="*/ 29566 w 578488"/>
                <a:gd name="connsiteY941" fmla="*/ 325026 h 470547"/>
                <a:gd name="connsiteX942" fmla="*/ 29175 w 578488"/>
                <a:gd name="connsiteY942" fmla="*/ 323662 h 470547"/>
                <a:gd name="connsiteX943" fmla="*/ 30199 w 578488"/>
                <a:gd name="connsiteY943" fmla="*/ 322450 h 470547"/>
                <a:gd name="connsiteX944" fmla="*/ 31807 w 578488"/>
                <a:gd name="connsiteY944" fmla="*/ 321160 h 470547"/>
                <a:gd name="connsiteX945" fmla="*/ 32589 w 578488"/>
                <a:gd name="connsiteY945" fmla="*/ 318959 h 470547"/>
                <a:gd name="connsiteX946" fmla="*/ 34359 w 578488"/>
                <a:gd name="connsiteY946" fmla="*/ 318019 h 470547"/>
                <a:gd name="connsiteX947" fmla="*/ 36273 w 578488"/>
                <a:gd name="connsiteY947" fmla="*/ 318069 h 470547"/>
                <a:gd name="connsiteX948" fmla="*/ 40229 w 578488"/>
                <a:gd name="connsiteY948" fmla="*/ 317669 h 470547"/>
                <a:gd name="connsiteX949" fmla="*/ 43021 w 578488"/>
                <a:gd name="connsiteY949" fmla="*/ 317096 h 470547"/>
                <a:gd name="connsiteX950" fmla="*/ 47808 w 578488"/>
                <a:gd name="connsiteY950" fmla="*/ 317480 h 470547"/>
                <a:gd name="connsiteX951" fmla="*/ 54943 w 578488"/>
                <a:gd name="connsiteY951" fmla="*/ 318323 h 470547"/>
                <a:gd name="connsiteX952" fmla="*/ 59542 w 578488"/>
                <a:gd name="connsiteY952" fmla="*/ 320372 h 470547"/>
                <a:gd name="connsiteX953" fmla="*/ 61274 w 578488"/>
                <a:gd name="connsiteY953" fmla="*/ 320187 h 470547"/>
                <a:gd name="connsiteX954" fmla="*/ 63110 w 578488"/>
                <a:gd name="connsiteY954" fmla="*/ 319642 h 470547"/>
                <a:gd name="connsiteX955" fmla="*/ 63941 w 578488"/>
                <a:gd name="connsiteY955" fmla="*/ 318899 h 470547"/>
                <a:gd name="connsiteX956" fmla="*/ 60331 w 578488"/>
                <a:gd name="connsiteY956" fmla="*/ 318048 h 470547"/>
                <a:gd name="connsiteX957" fmla="*/ 60125 w 578488"/>
                <a:gd name="connsiteY957" fmla="*/ 316834 h 470547"/>
                <a:gd name="connsiteX958" fmla="*/ 60573 w 578488"/>
                <a:gd name="connsiteY958" fmla="*/ 315918 h 470547"/>
                <a:gd name="connsiteX959" fmla="*/ 66461 w 578488"/>
                <a:gd name="connsiteY959" fmla="*/ 314229 h 470547"/>
                <a:gd name="connsiteX960" fmla="*/ 72892 w 578488"/>
                <a:gd name="connsiteY960" fmla="*/ 313855 h 470547"/>
                <a:gd name="connsiteX961" fmla="*/ 71786 w 578488"/>
                <a:gd name="connsiteY961" fmla="*/ 312494 h 470547"/>
                <a:gd name="connsiteX962" fmla="*/ 57698 w 578488"/>
                <a:gd name="connsiteY962" fmla="*/ 314548 h 470547"/>
                <a:gd name="connsiteX963" fmla="*/ 54021 w 578488"/>
                <a:gd name="connsiteY963" fmla="*/ 313146 h 470547"/>
                <a:gd name="connsiteX964" fmla="*/ 51119 w 578488"/>
                <a:gd name="connsiteY964" fmla="*/ 313158 h 470547"/>
                <a:gd name="connsiteX965" fmla="*/ 49218 w 578488"/>
                <a:gd name="connsiteY965" fmla="*/ 313959 h 470547"/>
                <a:gd name="connsiteX966" fmla="*/ 43803 w 578488"/>
                <a:gd name="connsiteY966" fmla="*/ 314929 h 470547"/>
                <a:gd name="connsiteX967" fmla="*/ 42807 w 578488"/>
                <a:gd name="connsiteY967" fmla="*/ 314239 h 470547"/>
                <a:gd name="connsiteX968" fmla="*/ 43837 w 578488"/>
                <a:gd name="connsiteY968" fmla="*/ 311857 h 470547"/>
                <a:gd name="connsiteX969" fmla="*/ 47081 w 578488"/>
                <a:gd name="connsiteY969" fmla="*/ 307944 h 470547"/>
                <a:gd name="connsiteX970" fmla="*/ 47351 w 578488"/>
                <a:gd name="connsiteY970" fmla="*/ 306984 h 470547"/>
                <a:gd name="connsiteX971" fmla="*/ 48856 w 578488"/>
                <a:gd name="connsiteY971" fmla="*/ 306041 h 470547"/>
                <a:gd name="connsiteX972" fmla="*/ 57271 w 578488"/>
                <a:gd name="connsiteY972" fmla="*/ 303765 h 470547"/>
                <a:gd name="connsiteX973" fmla="*/ 61313 w 578488"/>
                <a:gd name="connsiteY973" fmla="*/ 301118 h 470547"/>
                <a:gd name="connsiteX974" fmla="*/ 63136 w 578488"/>
                <a:gd name="connsiteY974" fmla="*/ 300782 h 470547"/>
                <a:gd name="connsiteX975" fmla="*/ 64943 w 578488"/>
                <a:gd name="connsiteY975" fmla="*/ 300967 h 470547"/>
                <a:gd name="connsiteX976" fmla="*/ 67692 w 578488"/>
                <a:gd name="connsiteY976" fmla="*/ 300657 h 470547"/>
                <a:gd name="connsiteX977" fmla="*/ 73004 w 578488"/>
                <a:gd name="connsiteY977" fmla="*/ 301415 h 470547"/>
                <a:gd name="connsiteX978" fmla="*/ 75448 w 578488"/>
                <a:gd name="connsiteY978" fmla="*/ 304729 h 470547"/>
                <a:gd name="connsiteX979" fmla="*/ 77647 w 578488"/>
                <a:gd name="connsiteY979" fmla="*/ 305769 h 470547"/>
                <a:gd name="connsiteX980" fmla="*/ 84559 w 578488"/>
                <a:gd name="connsiteY980" fmla="*/ 309900 h 470547"/>
                <a:gd name="connsiteX981" fmla="*/ 84250 w 578488"/>
                <a:gd name="connsiteY981" fmla="*/ 308712 h 470547"/>
                <a:gd name="connsiteX982" fmla="*/ 78267 w 578488"/>
                <a:gd name="connsiteY982" fmla="*/ 303109 h 470547"/>
                <a:gd name="connsiteX983" fmla="*/ 75980 w 578488"/>
                <a:gd name="connsiteY983" fmla="*/ 301720 h 470547"/>
                <a:gd name="connsiteX984" fmla="*/ 74274 w 578488"/>
                <a:gd name="connsiteY984" fmla="*/ 298962 h 470547"/>
                <a:gd name="connsiteX985" fmla="*/ 74859 w 578488"/>
                <a:gd name="connsiteY985" fmla="*/ 296352 h 470547"/>
                <a:gd name="connsiteX986" fmla="*/ 76783 w 578488"/>
                <a:gd name="connsiteY986" fmla="*/ 294608 h 470547"/>
                <a:gd name="connsiteX987" fmla="*/ 83609 w 578488"/>
                <a:gd name="connsiteY987" fmla="*/ 293673 h 470547"/>
                <a:gd name="connsiteX988" fmla="*/ 84833 w 578488"/>
                <a:gd name="connsiteY988" fmla="*/ 292663 h 470547"/>
                <a:gd name="connsiteX989" fmla="*/ 84954 w 578488"/>
                <a:gd name="connsiteY989" fmla="*/ 290926 h 470547"/>
                <a:gd name="connsiteX990" fmla="*/ 83909 w 578488"/>
                <a:gd name="connsiteY990" fmla="*/ 289737 h 470547"/>
                <a:gd name="connsiteX991" fmla="*/ 81398 w 578488"/>
                <a:gd name="connsiteY991" fmla="*/ 289806 h 470547"/>
                <a:gd name="connsiteX992" fmla="*/ 79327 w 578488"/>
                <a:gd name="connsiteY992" fmla="*/ 289069 h 470547"/>
                <a:gd name="connsiteX993" fmla="*/ 78757 w 578488"/>
                <a:gd name="connsiteY993" fmla="*/ 287194 h 470547"/>
                <a:gd name="connsiteX994" fmla="*/ 79584 w 578488"/>
                <a:gd name="connsiteY994" fmla="*/ 285926 h 470547"/>
                <a:gd name="connsiteX995" fmla="*/ 83520 w 578488"/>
                <a:gd name="connsiteY995" fmla="*/ 283612 h 470547"/>
                <a:gd name="connsiteX996" fmla="*/ 85675 w 578488"/>
                <a:gd name="connsiteY996" fmla="*/ 282860 h 470547"/>
                <a:gd name="connsiteX997" fmla="*/ 89407 w 578488"/>
                <a:gd name="connsiteY997" fmla="*/ 282044 h 470547"/>
                <a:gd name="connsiteX998" fmla="*/ 95896 w 578488"/>
                <a:gd name="connsiteY998" fmla="*/ 283876 h 470547"/>
                <a:gd name="connsiteX999" fmla="*/ 96388 w 578488"/>
                <a:gd name="connsiteY999" fmla="*/ 284835 h 470547"/>
                <a:gd name="connsiteX1000" fmla="*/ 94570 w 578488"/>
                <a:gd name="connsiteY1000" fmla="*/ 287141 h 470547"/>
                <a:gd name="connsiteX1001" fmla="*/ 94753 w 578488"/>
                <a:gd name="connsiteY1001" fmla="*/ 288434 h 470547"/>
                <a:gd name="connsiteX1002" fmla="*/ 96343 w 578488"/>
                <a:gd name="connsiteY1002" fmla="*/ 288577 h 470547"/>
                <a:gd name="connsiteX1003" fmla="*/ 100048 w 578488"/>
                <a:gd name="connsiteY1003" fmla="*/ 284691 h 470547"/>
                <a:gd name="connsiteX1004" fmla="*/ 104406 w 578488"/>
                <a:gd name="connsiteY1004" fmla="*/ 284154 h 470547"/>
                <a:gd name="connsiteX1005" fmla="*/ 106209 w 578488"/>
                <a:gd name="connsiteY1005" fmla="*/ 283318 h 470547"/>
                <a:gd name="connsiteX1006" fmla="*/ 108301 w 578488"/>
                <a:gd name="connsiteY1006" fmla="*/ 282792 h 470547"/>
                <a:gd name="connsiteX1007" fmla="*/ 111294 w 578488"/>
                <a:gd name="connsiteY1007" fmla="*/ 286309 h 470547"/>
                <a:gd name="connsiteX1008" fmla="*/ 112605 w 578488"/>
                <a:gd name="connsiteY1008" fmla="*/ 287433 h 470547"/>
                <a:gd name="connsiteX1009" fmla="*/ 113590 w 578488"/>
                <a:gd name="connsiteY1009" fmla="*/ 287894 h 470547"/>
                <a:gd name="connsiteX1010" fmla="*/ 114544 w 578488"/>
                <a:gd name="connsiteY1010" fmla="*/ 290815 h 470547"/>
                <a:gd name="connsiteX1011" fmla="*/ 115468 w 578488"/>
                <a:gd name="connsiteY1011" fmla="*/ 290971 h 470547"/>
                <a:gd name="connsiteX1012" fmla="*/ 116785 w 578488"/>
                <a:gd name="connsiteY1012" fmla="*/ 289507 h 470547"/>
                <a:gd name="connsiteX1013" fmla="*/ 119174 w 578488"/>
                <a:gd name="connsiteY1013" fmla="*/ 288736 h 470547"/>
                <a:gd name="connsiteX1014" fmla="*/ 122523 w 578488"/>
                <a:gd name="connsiteY1014" fmla="*/ 288227 h 470547"/>
                <a:gd name="connsiteX1015" fmla="*/ 128070 w 578488"/>
                <a:gd name="connsiteY1015" fmla="*/ 289000 h 470547"/>
                <a:gd name="connsiteX1016" fmla="*/ 130582 w 578488"/>
                <a:gd name="connsiteY1016" fmla="*/ 288429 h 470547"/>
                <a:gd name="connsiteX1017" fmla="*/ 131813 w 578488"/>
                <a:gd name="connsiteY1017" fmla="*/ 288509 h 470547"/>
                <a:gd name="connsiteX1018" fmla="*/ 130632 w 578488"/>
                <a:gd name="connsiteY1018" fmla="*/ 285883 h 470547"/>
                <a:gd name="connsiteX1019" fmla="*/ 129899 w 578488"/>
                <a:gd name="connsiteY1019" fmla="*/ 285124 h 470547"/>
                <a:gd name="connsiteX1020" fmla="*/ 131042 w 578488"/>
                <a:gd name="connsiteY1020" fmla="*/ 282777 h 470547"/>
                <a:gd name="connsiteX1021" fmla="*/ 132234 w 578488"/>
                <a:gd name="connsiteY1021" fmla="*/ 281859 h 470547"/>
                <a:gd name="connsiteX1022" fmla="*/ 136067 w 578488"/>
                <a:gd name="connsiteY1022" fmla="*/ 280209 h 470547"/>
                <a:gd name="connsiteX1023" fmla="*/ 139722 w 578488"/>
                <a:gd name="connsiteY1023" fmla="*/ 279472 h 470547"/>
                <a:gd name="connsiteX1024" fmla="*/ 142109 w 578488"/>
                <a:gd name="connsiteY1024" fmla="*/ 277904 h 470547"/>
                <a:gd name="connsiteX1025" fmla="*/ 145313 w 578488"/>
                <a:gd name="connsiteY1025" fmla="*/ 276462 h 470547"/>
                <a:gd name="connsiteX1026" fmla="*/ 144810 w 578488"/>
                <a:gd name="connsiteY1026" fmla="*/ 275306 h 470547"/>
                <a:gd name="connsiteX1027" fmla="*/ 143918 w 578488"/>
                <a:gd name="connsiteY1027" fmla="*/ 273967 h 470547"/>
                <a:gd name="connsiteX1028" fmla="*/ 141845 w 578488"/>
                <a:gd name="connsiteY1028" fmla="*/ 273882 h 470547"/>
                <a:gd name="connsiteX1029" fmla="*/ 140999 w 578488"/>
                <a:gd name="connsiteY1029" fmla="*/ 273151 h 470547"/>
                <a:gd name="connsiteX1030" fmla="*/ 143631 w 578488"/>
                <a:gd name="connsiteY1030" fmla="*/ 271414 h 470547"/>
                <a:gd name="connsiteX1031" fmla="*/ 147235 w 578488"/>
                <a:gd name="connsiteY1031" fmla="*/ 269481 h 470547"/>
                <a:gd name="connsiteX1032" fmla="*/ 146607 w 578488"/>
                <a:gd name="connsiteY1032" fmla="*/ 268721 h 470547"/>
                <a:gd name="connsiteX1033" fmla="*/ 143897 w 578488"/>
                <a:gd name="connsiteY1033" fmla="*/ 267861 h 470547"/>
                <a:gd name="connsiteX1034" fmla="*/ 141839 w 578488"/>
                <a:gd name="connsiteY1034" fmla="*/ 268509 h 470547"/>
                <a:gd name="connsiteX1035" fmla="*/ 138779 w 578488"/>
                <a:gd name="connsiteY1035" fmla="*/ 270005 h 470547"/>
                <a:gd name="connsiteX1036" fmla="*/ 135220 w 578488"/>
                <a:gd name="connsiteY1036" fmla="*/ 272369 h 470547"/>
                <a:gd name="connsiteX1037" fmla="*/ 136380 w 578488"/>
                <a:gd name="connsiteY1037" fmla="*/ 273057 h 470547"/>
                <a:gd name="connsiteX1038" fmla="*/ 138161 w 578488"/>
                <a:gd name="connsiteY1038" fmla="*/ 275041 h 470547"/>
                <a:gd name="connsiteX1039" fmla="*/ 135676 w 578488"/>
                <a:gd name="connsiteY1039" fmla="*/ 277679 h 470547"/>
                <a:gd name="connsiteX1040" fmla="*/ 122504 w 578488"/>
                <a:gd name="connsiteY1040" fmla="*/ 284668 h 470547"/>
                <a:gd name="connsiteX1041" fmla="*/ 116222 w 578488"/>
                <a:gd name="connsiteY1041" fmla="*/ 286710 h 470547"/>
                <a:gd name="connsiteX1042" fmla="*/ 113324 w 578488"/>
                <a:gd name="connsiteY1042" fmla="*/ 286392 h 470547"/>
                <a:gd name="connsiteX1043" fmla="*/ 112633 w 578488"/>
                <a:gd name="connsiteY1043" fmla="*/ 284486 h 470547"/>
                <a:gd name="connsiteX1044" fmla="*/ 111296 w 578488"/>
                <a:gd name="connsiteY1044" fmla="*/ 283074 h 470547"/>
                <a:gd name="connsiteX1045" fmla="*/ 109863 w 578488"/>
                <a:gd name="connsiteY1045" fmla="*/ 280162 h 470547"/>
                <a:gd name="connsiteX1046" fmla="*/ 107425 w 578488"/>
                <a:gd name="connsiteY1046" fmla="*/ 280240 h 470547"/>
                <a:gd name="connsiteX1047" fmla="*/ 106040 w 578488"/>
                <a:gd name="connsiteY1047" fmla="*/ 280884 h 470547"/>
                <a:gd name="connsiteX1048" fmla="*/ 105436 w 578488"/>
                <a:gd name="connsiteY1048" fmla="*/ 279929 h 470547"/>
                <a:gd name="connsiteX1049" fmla="*/ 106485 w 578488"/>
                <a:gd name="connsiteY1049" fmla="*/ 276814 h 470547"/>
                <a:gd name="connsiteX1050" fmla="*/ 108548 w 578488"/>
                <a:gd name="connsiteY1050" fmla="*/ 274348 h 470547"/>
                <a:gd name="connsiteX1051" fmla="*/ 112007 w 578488"/>
                <a:gd name="connsiteY1051" fmla="*/ 272484 h 470547"/>
                <a:gd name="connsiteX1052" fmla="*/ 113665 w 578488"/>
                <a:gd name="connsiteY1052" fmla="*/ 270230 h 470547"/>
                <a:gd name="connsiteX1053" fmla="*/ 115224 w 578488"/>
                <a:gd name="connsiteY1053" fmla="*/ 266650 h 470547"/>
                <a:gd name="connsiteX1054" fmla="*/ 120228 w 578488"/>
                <a:gd name="connsiteY1054" fmla="*/ 263237 h 470547"/>
                <a:gd name="connsiteX1055" fmla="*/ 127511 w 578488"/>
                <a:gd name="connsiteY1055" fmla="*/ 254770 h 470547"/>
                <a:gd name="connsiteX1056" fmla="*/ 133445 w 578488"/>
                <a:gd name="connsiteY1056" fmla="*/ 252061 h 470547"/>
                <a:gd name="connsiteX1057" fmla="*/ 135620 w 578488"/>
                <a:gd name="connsiteY1057" fmla="*/ 249095 h 470547"/>
                <a:gd name="connsiteX1058" fmla="*/ 139116 w 578488"/>
                <a:gd name="connsiteY1058" fmla="*/ 247783 h 470547"/>
                <a:gd name="connsiteX1059" fmla="*/ 142100 w 578488"/>
                <a:gd name="connsiteY1059" fmla="*/ 245465 h 470547"/>
                <a:gd name="connsiteX1060" fmla="*/ 144443 w 578488"/>
                <a:gd name="connsiteY1060" fmla="*/ 245235 h 470547"/>
                <a:gd name="connsiteX1061" fmla="*/ 148699 w 578488"/>
                <a:gd name="connsiteY1061" fmla="*/ 243146 h 470547"/>
                <a:gd name="connsiteX1062" fmla="*/ 151111 w 578488"/>
                <a:gd name="connsiteY1062" fmla="*/ 240658 h 470547"/>
                <a:gd name="connsiteX1063" fmla="*/ 149537 w 578488"/>
                <a:gd name="connsiteY1063" fmla="*/ 240503 h 470547"/>
                <a:gd name="connsiteX1064" fmla="*/ 145795 w 578488"/>
                <a:gd name="connsiteY1064" fmla="*/ 242123 h 470547"/>
                <a:gd name="connsiteX1065" fmla="*/ 143678 w 578488"/>
                <a:gd name="connsiteY1065" fmla="*/ 242774 h 470547"/>
                <a:gd name="connsiteX1066" fmla="*/ 143828 w 578488"/>
                <a:gd name="connsiteY1066" fmla="*/ 240104 h 470547"/>
                <a:gd name="connsiteX1067" fmla="*/ 144853 w 578488"/>
                <a:gd name="connsiteY1067" fmla="*/ 237363 h 470547"/>
                <a:gd name="connsiteX1068" fmla="*/ 147937 w 578488"/>
                <a:gd name="connsiteY1068" fmla="*/ 234854 h 470547"/>
                <a:gd name="connsiteX1069" fmla="*/ 162759 w 578488"/>
                <a:gd name="connsiteY1069" fmla="*/ 227548 h 470547"/>
                <a:gd name="connsiteX1070" fmla="*/ 164238 w 578488"/>
                <a:gd name="connsiteY1070" fmla="*/ 228758 h 470547"/>
                <a:gd name="connsiteX1071" fmla="*/ 166006 w 578488"/>
                <a:gd name="connsiteY1071" fmla="*/ 230895 h 470547"/>
                <a:gd name="connsiteX1072" fmla="*/ 170470 w 578488"/>
                <a:gd name="connsiteY1072" fmla="*/ 230412 h 470547"/>
                <a:gd name="connsiteX1073" fmla="*/ 175556 w 578488"/>
                <a:gd name="connsiteY1073" fmla="*/ 226271 h 470547"/>
                <a:gd name="connsiteX1074" fmla="*/ 179473 w 578488"/>
                <a:gd name="connsiteY1074" fmla="*/ 221764 h 470547"/>
                <a:gd name="connsiteX1075" fmla="*/ 177356 w 578488"/>
                <a:gd name="connsiteY1075" fmla="*/ 222551 h 470547"/>
                <a:gd name="connsiteX1076" fmla="*/ 175046 w 578488"/>
                <a:gd name="connsiteY1076" fmla="*/ 224397 h 470547"/>
                <a:gd name="connsiteX1077" fmla="*/ 170543 w 578488"/>
                <a:gd name="connsiteY1077" fmla="*/ 226959 h 470547"/>
                <a:gd name="connsiteX1078" fmla="*/ 168462 w 578488"/>
                <a:gd name="connsiteY1078" fmla="*/ 227364 h 470547"/>
                <a:gd name="connsiteX1079" fmla="*/ 167274 w 578488"/>
                <a:gd name="connsiteY1079" fmla="*/ 227031 h 470547"/>
                <a:gd name="connsiteX1080" fmla="*/ 166613 w 578488"/>
                <a:gd name="connsiteY1080" fmla="*/ 225322 h 470547"/>
                <a:gd name="connsiteX1081" fmla="*/ 165052 w 578488"/>
                <a:gd name="connsiteY1081" fmla="*/ 224767 h 470547"/>
                <a:gd name="connsiteX1082" fmla="*/ 163642 w 578488"/>
                <a:gd name="connsiteY1082" fmla="*/ 225151 h 470547"/>
                <a:gd name="connsiteX1083" fmla="*/ 162189 w 578488"/>
                <a:gd name="connsiteY1083" fmla="*/ 223935 h 470547"/>
                <a:gd name="connsiteX1084" fmla="*/ 161930 w 578488"/>
                <a:gd name="connsiteY1084" fmla="*/ 220930 h 470547"/>
                <a:gd name="connsiteX1085" fmla="*/ 163789 w 578488"/>
                <a:gd name="connsiteY1085" fmla="*/ 216446 h 470547"/>
                <a:gd name="connsiteX1086" fmla="*/ 165262 w 578488"/>
                <a:gd name="connsiteY1086" fmla="*/ 213475 h 470547"/>
                <a:gd name="connsiteX1087" fmla="*/ 166853 w 578488"/>
                <a:gd name="connsiteY1087" fmla="*/ 211224 h 470547"/>
                <a:gd name="connsiteX1088" fmla="*/ 173109 w 578488"/>
                <a:gd name="connsiteY1088" fmla="*/ 204821 h 470547"/>
                <a:gd name="connsiteX1089" fmla="*/ 174461 w 578488"/>
                <a:gd name="connsiteY1089" fmla="*/ 201318 h 470547"/>
                <a:gd name="connsiteX1090" fmla="*/ 177290 w 578488"/>
                <a:gd name="connsiteY1090" fmla="*/ 199467 h 470547"/>
                <a:gd name="connsiteX1091" fmla="*/ 180964 w 578488"/>
                <a:gd name="connsiteY1091" fmla="*/ 199879 h 470547"/>
                <a:gd name="connsiteX1092" fmla="*/ 182073 w 578488"/>
                <a:gd name="connsiteY1092" fmla="*/ 199344 h 470547"/>
                <a:gd name="connsiteX1093" fmla="*/ 180811 w 578488"/>
                <a:gd name="connsiteY1093" fmla="*/ 197042 h 470547"/>
                <a:gd name="connsiteX1094" fmla="*/ 176806 w 578488"/>
                <a:gd name="connsiteY1094" fmla="*/ 195215 h 470547"/>
                <a:gd name="connsiteX1095" fmla="*/ 176560 w 578488"/>
                <a:gd name="connsiteY1095" fmla="*/ 194067 h 470547"/>
                <a:gd name="connsiteX1096" fmla="*/ 189900 w 578488"/>
                <a:gd name="connsiteY1096" fmla="*/ 191049 h 470547"/>
                <a:gd name="connsiteX1097" fmla="*/ 196253 w 578488"/>
                <a:gd name="connsiteY1097" fmla="*/ 191151 h 470547"/>
                <a:gd name="connsiteX1098" fmla="*/ 198138 w 578488"/>
                <a:gd name="connsiteY1098" fmla="*/ 189643 h 470547"/>
                <a:gd name="connsiteX1099" fmla="*/ 201591 w 578488"/>
                <a:gd name="connsiteY1099" fmla="*/ 188677 h 470547"/>
                <a:gd name="connsiteX1100" fmla="*/ 204208 w 578488"/>
                <a:gd name="connsiteY1100" fmla="*/ 186831 h 470547"/>
                <a:gd name="connsiteX1101" fmla="*/ 202859 w 578488"/>
                <a:gd name="connsiteY1101" fmla="*/ 186016 h 470547"/>
                <a:gd name="connsiteX1102" fmla="*/ 196407 w 578488"/>
                <a:gd name="connsiteY1102" fmla="*/ 187713 h 470547"/>
                <a:gd name="connsiteX1103" fmla="*/ 192373 w 578488"/>
                <a:gd name="connsiteY1103" fmla="*/ 188510 h 470547"/>
                <a:gd name="connsiteX1104" fmla="*/ 190548 w 578488"/>
                <a:gd name="connsiteY1104" fmla="*/ 188485 h 470547"/>
                <a:gd name="connsiteX1105" fmla="*/ 189125 w 578488"/>
                <a:gd name="connsiteY1105" fmla="*/ 189068 h 470547"/>
                <a:gd name="connsiteX1106" fmla="*/ 183969 w 578488"/>
                <a:gd name="connsiteY1106" fmla="*/ 189290 h 470547"/>
                <a:gd name="connsiteX1107" fmla="*/ 182848 w 578488"/>
                <a:gd name="connsiteY1107" fmla="*/ 181925 h 470547"/>
                <a:gd name="connsiteX1108" fmla="*/ 183655 w 578488"/>
                <a:gd name="connsiteY1108" fmla="*/ 177918 h 470547"/>
                <a:gd name="connsiteX1109" fmla="*/ 185577 w 578488"/>
                <a:gd name="connsiteY1109" fmla="*/ 178001 h 470547"/>
                <a:gd name="connsiteX1110" fmla="*/ 186015 w 578488"/>
                <a:gd name="connsiteY1110" fmla="*/ 174168 h 470547"/>
                <a:gd name="connsiteX1111" fmla="*/ 188235 w 578488"/>
                <a:gd name="connsiteY1111" fmla="*/ 171907 h 470547"/>
                <a:gd name="connsiteX1112" fmla="*/ 191300 w 578488"/>
                <a:gd name="connsiteY1112" fmla="*/ 171401 h 470547"/>
                <a:gd name="connsiteX1113" fmla="*/ 192844 w 578488"/>
                <a:gd name="connsiteY1113" fmla="*/ 170432 h 470547"/>
                <a:gd name="connsiteX1114" fmla="*/ 195074 w 578488"/>
                <a:gd name="connsiteY1114" fmla="*/ 168460 h 470547"/>
                <a:gd name="connsiteX1115" fmla="*/ 198765 w 578488"/>
                <a:gd name="connsiteY1115" fmla="*/ 168918 h 470547"/>
                <a:gd name="connsiteX1116" fmla="*/ 202556 w 578488"/>
                <a:gd name="connsiteY1116" fmla="*/ 168478 h 470547"/>
                <a:gd name="connsiteX1117" fmla="*/ 201617 w 578488"/>
                <a:gd name="connsiteY1117" fmla="*/ 167548 h 470547"/>
                <a:gd name="connsiteX1118" fmla="*/ 196910 w 578488"/>
                <a:gd name="connsiteY1118" fmla="*/ 166349 h 470547"/>
                <a:gd name="connsiteX1119" fmla="*/ 195748 w 578488"/>
                <a:gd name="connsiteY1119" fmla="*/ 164288 h 470547"/>
                <a:gd name="connsiteX1120" fmla="*/ 197408 w 578488"/>
                <a:gd name="connsiteY1120" fmla="*/ 163137 h 470547"/>
                <a:gd name="connsiteX1121" fmla="*/ 199216 w 578488"/>
                <a:gd name="connsiteY1121" fmla="*/ 162289 h 470547"/>
                <a:gd name="connsiteX1122" fmla="*/ 200803 w 578488"/>
                <a:gd name="connsiteY1122" fmla="*/ 162137 h 470547"/>
                <a:gd name="connsiteX1123" fmla="*/ 203947 w 578488"/>
                <a:gd name="connsiteY1123" fmla="*/ 158104 h 470547"/>
                <a:gd name="connsiteX1124" fmla="*/ 205858 w 578488"/>
                <a:gd name="connsiteY1124" fmla="*/ 156381 h 470547"/>
                <a:gd name="connsiteX1125" fmla="*/ 207998 w 578488"/>
                <a:gd name="connsiteY1125" fmla="*/ 156680 h 470547"/>
                <a:gd name="connsiteX1126" fmla="*/ 210978 w 578488"/>
                <a:gd name="connsiteY1126" fmla="*/ 154898 h 470547"/>
                <a:gd name="connsiteX1127" fmla="*/ 213904 w 578488"/>
                <a:gd name="connsiteY1127" fmla="*/ 155506 h 470547"/>
                <a:gd name="connsiteX1128" fmla="*/ 216735 w 578488"/>
                <a:gd name="connsiteY1128" fmla="*/ 154339 h 470547"/>
                <a:gd name="connsiteX1129" fmla="*/ 220602 w 578488"/>
                <a:gd name="connsiteY1129" fmla="*/ 153569 h 470547"/>
                <a:gd name="connsiteX1130" fmla="*/ 234757 w 578488"/>
                <a:gd name="connsiteY1130" fmla="*/ 153271 h 470547"/>
                <a:gd name="connsiteX1131" fmla="*/ 235178 w 578488"/>
                <a:gd name="connsiteY1131" fmla="*/ 151616 h 470547"/>
                <a:gd name="connsiteX1132" fmla="*/ 232201 w 578488"/>
                <a:gd name="connsiteY1132" fmla="*/ 151232 h 470547"/>
                <a:gd name="connsiteX1133" fmla="*/ 221682 w 578488"/>
                <a:gd name="connsiteY1133" fmla="*/ 150806 h 470547"/>
                <a:gd name="connsiteX1134" fmla="*/ 216312 w 578488"/>
                <a:gd name="connsiteY1134" fmla="*/ 150839 h 470547"/>
                <a:gd name="connsiteX1135" fmla="*/ 214051 w 578488"/>
                <a:gd name="connsiteY1135" fmla="*/ 151268 h 470547"/>
                <a:gd name="connsiteX1136" fmla="*/ 213220 w 578488"/>
                <a:gd name="connsiteY1136" fmla="*/ 150691 h 470547"/>
                <a:gd name="connsiteX1137" fmla="*/ 213366 w 578488"/>
                <a:gd name="connsiteY1137" fmla="*/ 149699 h 470547"/>
                <a:gd name="connsiteX1138" fmla="*/ 215318 w 578488"/>
                <a:gd name="connsiteY1138" fmla="*/ 148129 h 470547"/>
                <a:gd name="connsiteX1139" fmla="*/ 216245 w 578488"/>
                <a:gd name="connsiteY1139" fmla="*/ 146392 h 470547"/>
                <a:gd name="connsiteX1140" fmla="*/ 220147 w 578488"/>
                <a:gd name="connsiteY1140" fmla="*/ 142146 h 470547"/>
                <a:gd name="connsiteX1141" fmla="*/ 224722 w 578488"/>
                <a:gd name="connsiteY1141" fmla="*/ 139313 h 470547"/>
                <a:gd name="connsiteX1142" fmla="*/ 228229 w 578488"/>
                <a:gd name="connsiteY1142" fmla="*/ 140038 h 470547"/>
                <a:gd name="connsiteX1143" fmla="*/ 231959 w 578488"/>
                <a:gd name="connsiteY1143" fmla="*/ 142743 h 470547"/>
                <a:gd name="connsiteX1144" fmla="*/ 234617 w 578488"/>
                <a:gd name="connsiteY1144" fmla="*/ 143081 h 470547"/>
                <a:gd name="connsiteX1145" fmla="*/ 235854 w 578488"/>
                <a:gd name="connsiteY1145" fmla="*/ 143954 h 470547"/>
                <a:gd name="connsiteX1146" fmla="*/ 237791 w 578488"/>
                <a:gd name="connsiteY1146" fmla="*/ 147678 h 470547"/>
                <a:gd name="connsiteX1147" fmla="*/ 238709 w 578488"/>
                <a:gd name="connsiteY1147" fmla="*/ 147799 h 470547"/>
                <a:gd name="connsiteX1148" fmla="*/ 238294 w 578488"/>
                <a:gd name="connsiteY1148" fmla="*/ 144220 h 470547"/>
                <a:gd name="connsiteX1149" fmla="*/ 240855 w 578488"/>
                <a:gd name="connsiteY1149" fmla="*/ 141304 h 470547"/>
                <a:gd name="connsiteX1150" fmla="*/ 240188 w 578488"/>
                <a:gd name="connsiteY1150" fmla="*/ 140497 h 470547"/>
                <a:gd name="connsiteX1151" fmla="*/ 236340 w 578488"/>
                <a:gd name="connsiteY1151" fmla="*/ 141552 h 470547"/>
                <a:gd name="connsiteX1152" fmla="*/ 233392 w 578488"/>
                <a:gd name="connsiteY1152" fmla="*/ 140455 h 470547"/>
                <a:gd name="connsiteX1153" fmla="*/ 231065 w 578488"/>
                <a:gd name="connsiteY1153" fmla="*/ 138262 h 470547"/>
                <a:gd name="connsiteX1154" fmla="*/ 230399 w 578488"/>
                <a:gd name="connsiteY1154" fmla="*/ 136255 h 470547"/>
                <a:gd name="connsiteX1155" fmla="*/ 231846 w 578488"/>
                <a:gd name="connsiteY1155" fmla="*/ 134270 h 470547"/>
                <a:gd name="connsiteX1156" fmla="*/ 233211 w 578488"/>
                <a:gd name="connsiteY1156" fmla="*/ 133270 h 470547"/>
                <a:gd name="connsiteX1157" fmla="*/ 232285 w 578488"/>
                <a:gd name="connsiteY1157" fmla="*/ 132104 h 470547"/>
                <a:gd name="connsiteX1158" fmla="*/ 226467 w 578488"/>
                <a:gd name="connsiteY1158" fmla="*/ 135229 h 470547"/>
                <a:gd name="connsiteX1159" fmla="*/ 222352 w 578488"/>
                <a:gd name="connsiteY1159" fmla="*/ 135955 h 470547"/>
                <a:gd name="connsiteX1160" fmla="*/ 220730 w 578488"/>
                <a:gd name="connsiteY1160" fmla="*/ 135518 h 470547"/>
                <a:gd name="connsiteX1161" fmla="*/ 221609 w 578488"/>
                <a:gd name="connsiteY1161" fmla="*/ 132687 h 470547"/>
                <a:gd name="connsiteX1162" fmla="*/ 221119 w 578488"/>
                <a:gd name="connsiteY1162" fmla="*/ 130438 h 470547"/>
                <a:gd name="connsiteX1163" fmla="*/ 226636 w 578488"/>
                <a:gd name="connsiteY1163" fmla="*/ 124888 h 470547"/>
                <a:gd name="connsiteX1164" fmla="*/ 228534 w 578488"/>
                <a:gd name="connsiteY1164" fmla="*/ 124245 h 470547"/>
                <a:gd name="connsiteX1165" fmla="*/ 231632 w 578488"/>
                <a:gd name="connsiteY1165" fmla="*/ 124691 h 470547"/>
                <a:gd name="connsiteX1166" fmla="*/ 234429 w 578488"/>
                <a:gd name="connsiteY1166" fmla="*/ 126259 h 470547"/>
                <a:gd name="connsiteX1167" fmla="*/ 236768 w 578488"/>
                <a:gd name="connsiteY1167" fmla="*/ 126009 h 470547"/>
                <a:gd name="connsiteX1168" fmla="*/ 239305 w 578488"/>
                <a:gd name="connsiteY1168" fmla="*/ 125172 h 470547"/>
                <a:gd name="connsiteX1169" fmla="*/ 238959 w 578488"/>
                <a:gd name="connsiteY1169" fmla="*/ 123668 h 470547"/>
                <a:gd name="connsiteX1170" fmla="*/ 233457 w 578488"/>
                <a:gd name="connsiteY1170" fmla="*/ 123071 h 470547"/>
                <a:gd name="connsiteX1171" fmla="*/ 232041 w 578488"/>
                <a:gd name="connsiteY1171" fmla="*/ 121822 h 470547"/>
                <a:gd name="connsiteX1172" fmla="*/ 232552 w 578488"/>
                <a:gd name="connsiteY1172" fmla="*/ 120595 h 470547"/>
                <a:gd name="connsiteX1173" fmla="*/ 236329 w 578488"/>
                <a:gd name="connsiteY1173" fmla="*/ 119298 h 470547"/>
                <a:gd name="connsiteX1174" fmla="*/ 240085 w 578488"/>
                <a:gd name="connsiteY1174" fmla="*/ 116955 h 470547"/>
                <a:gd name="connsiteX1175" fmla="*/ 244388 w 578488"/>
                <a:gd name="connsiteY1175" fmla="*/ 116276 h 470547"/>
                <a:gd name="connsiteX1176" fmla="*/ 247852 w 578488"/>
                <a:gd name="connsiteY1176" fmla="*/ 114501 h 470547"/>
                <a:gd name="connsiteX1177" fmla="*/ 248519 w 578488"/>
                <a:gd name="connsiteY1177" fmla="*/ 114904 h 470547"/>
                <a:gd name="connsiteX1178" fmla="*/ 249104 w 578488"/>
                <a:gd name="connsiteY1178" fmla="*/ 115600 h 470547"/>
                <a:gd name="connsiteX1179" fmla="*/ 250348 w 578488"/>
                <a:gd name="connsiteY1179" fmla="*/ 122169 h 470547"/>
                <a:gd name="connsiteX1180" fmla="*/ 253442 w 578488"/>
                <a:gd name="connsiteY1180" fmla="*/ 127512 h 470547"/>
                <a:gd name="connsiteX1181" fmla="*/ 254582 w 578488"/>
                <a:gd name="connsiteY1181" fmla="*/ 127706 h 470547"/>
                <a:gd name="connsiteX1182" fmla="*/ 253395 w 578488"/>
                <a:gd name="connsiteY1182" fmla="*/ 123162 h 470547"/>
                <a:gd name="connsiteX1183" fmla="*/ 254503 w 578488"/>
                <a:gd name="connsiteY1183" fmla="*/ 121854 h 470547"/>
                <a:gd name="connsiteX1184" fmla="*/ 255906 w 578488"/>
                <a:gd name="connsiteY1184" fmla="*/ 120859 h 470547"/>
                <a:gd name="connsiteX1185" fmla="*/ 256344 w 578488"/>
                <a:gd name="connsiteY1185" fmla="*/ 119726 h 470547"/>
                <a:gd name="connsiteX1186" fmla="*/ 254736 w 578488"/>
                <a:gd name="connsiteY1186" fmla="*/ 119339 h 470547"/>
                <a:gd name="connsiteX1187" fmla="*/ 253421 w 578488"/>
                <a:gd name="connsiteY1187" fmla="*/ 117711 h 470547"/>
                <a:gd name="connsiteX1188" fmla="*/ 251542 w 578488"/>
                <a:gd name="connsiteY1188" fmla="*/ 112496 h 470547"/>
                <a:gd name="connsiteX1189" fmla="*/ 252183 w 578488"/>
                <a:gd name="connsiteY1189" fmla="*/ 111139 h 470547"/>
                <a:gd name="connsiteX1190" fmla="*/ 256254 w 578488"/>
                <a:gd name="connsiteY1190" fmla="*/ 108355 h 470547"/>
                <a:gd name="connsiteX1191" fmla="*/ 261361 w 578488"/>
                <a:gd name="connsiteY1191" fmla="*/ 107713 h 470547"/>
                <a:gd name="connsiteX1192" fmla="*/ 266802 w 578488"/>
                <a:gd name="connsiteY1192" fmla="*/ 109666 h 470547"/>
                <a:gd name="connsiteX1193" fmla="*/ 268713 w 578488"/>
                <a:gd name="connsiteY1193" fmla="*/ 109688 h 470547"/>
                <a:gd name="connsiteX1194" fmla="*/ 271868 w 578488"/>
                <a:gd name="connsiteY1194" fmla="*/ 109164 h 470547"/>
                <a:gd name="connsiteX1195" fmla="*/ 277221 w 578488"/>
                <a:gd name="connsiteY1195" fmla="*/ 107558 h 470547"/>
                <a:gd name="connsiteX1196" fmla="*/ 280370 w 578488"/>
                <a:gd name="connsiteY1196" fmla="*/ 106947 h 470547"/>
                <a:gd name="connsiteX1197" fmla="*/ 282013 w 578488"/>
                <a:gd name="connsiteY1197" fmla="*/ 106949 h 470547"/>
                <a:gd name="connsiteX1198" fmla="*/ 282419 w 578488"/>
                <a:gd name="connsiteY1198" fmla="*/ 106137 h 470547"/>
                <a:gd name="connsiteX1199" fmla="*/ 280897 w 578488"/>
                <a:gd name="connsiteY1199" fmla="*/ 105615 h 470547"/>
                <a:gd name="connsiteX1200" fmla="*/ 280406 w 578488"/>
                <a:gd name="connsiteY1200" fmla="*/ 105107 h 470547"/>
                <a:gd name="connsiteX1201" fmla="*/ 279212 w 578488"/>
                <a:gd name="connsiteY1201" fmla="*/ 104815 h 470547"/>
                <a:gd name="connsiteX1202" fmla="*/ 274263 w 578488"/>
                <a:gd name="connsiteY1202" fmla="*/ 105684 h 470547"/>
                <a:gd name="connsiteX1203" fmla="*/ 260609 w 578488"/>
                <a:gd name="connsiteY1203" fmla="*/ 105409 h 470547"/>
                <a:gd name="connsiteX1204" fmla="*/ 259292 w 578488"/>
                <a:gd name="connsiteY1204" fmla="*/ 104480 h 470547"/>
                <a:gd name="connsiteX1205" fmla="*/ 259050 w 578488"/>
                <a:gd name="connsiteY1205" fmla="*/ 102872 h 470547"/>
                <a:gd name="connsiteX1206" fmla="*/ 260499 w 578488"/>
                <a:gd name="connsiteY1206" fmla="*/ 100564 h 470547"/>
                <a:gd name="connsiteX1207" fmla="*/ 262091 w 578488"/>
                <a:gd name="connsiteY1207" fmla="*/ 99291 h 470547"/>
                <a:gd name="connsiteX1208" fmla="*/ 267239 w 578488"/>
                <a:gd name="connsiteY1208" fmla="*/ 96997 h 470547"/>
                <a:gd name="connsiteX1209" fmla="*/ 272689 w 578488"/>
                <a:gd name="connsiteY1209" fmla="*/ 96687 h 470547"/>
                <a:gd name="connsiteX1210" fmla="*/ 278431 w 578488"/>
                <a:gd name="connsiteY1210" fmla="*/ 92605 h 470547"/>
                <a:gd name="connsiteX1211" fmla="*/ 280625 w 578488"/>
                <a:gd name="connsiteY1211" fmla="*/ 89538 h 470547"/>
                <a:gd name="connsiteX1212" fmla="*/ 281868 w 578488"/>
                <a:gd name="connsiteY1212" fmla="*/ 84803 h 470547"/>
                <a:gd name="connsiteX1213" fmla="*/ 285369 w 578488"/>
                <a:gd name="connsiteY1213" fmla="*/ 80966 h 470547"/>
                <a:gd name="connsiteX1214" fmla="*/ 294144 w 578488"/>
                <a:gd name="connsiteY1214" fmla="*/ 78781 h 470547"/>
                <a:gd name="connsiteX1215" fmla="*/ 294499 w 578488"/>
                <a:gd name="connsiteY1215" fmla="*/ 77813 h 470547"/>
                <a:gd name="connsiteX1216" fmla="*/ 293568 w 578488"/>
                <a:gd name="connsiteY1216" fmla="*/ 75813 h 470547"/>
                <a:gd name="connsiteX1217" fmla="*/ 293641 w 578488"/>
                <a:gd name="connsiteY1217" fmla="*/ 72204 h 470547"/>
                <a:gd name="connsiteX1218" fmla="*/ 296047 w 578488"/>
                <a:gd name="connsiteY1218" fmla="*/ 67992 h 470547"/>
                <a:gd name="connsiteX1219" fmla="*/ 297645 w 578488"/>
                <a:gd name="connsiteY1219" fmla="*/ 66526 h 470547"/>
                <a:gd name="connsiteX1220" fmla="*/ 298383 w 578488"/>
                <a:gd name="connsiteY1220" fmla="*/ 66350 h 470547"/>
                <a:gd name="connsiteX1221" fmla="*/ 300275 w 578488"/>
                <a:gd name="connsiteY1221" fmla="*/ 67729 h 470547"/>
                <a:gd name="connsiteX1222" fmla="*/ 302573 w 578488"/>
                <a:gd name="connsiteY1222" fmla="*/ 70659 h 470547"/>
                <a:gd name="connsiteX1223" fmla="*/ 306175 w 578488"/>
                <a:gd name="connsiteY1223" fmla="*/ 72335 h 470547"/>
                <a:gd name="connsiteX1224" fmla="*/ 310895 w 578488"/>
                <a:gd name="connsiteY1224" fmla="*/ 72624 h 470547"/>
                <a:gd name="connsiteX1225" fmla="*/ 312154 w 578488"/>
                <a:gd name="connsiteY1225" fmla="*/ 71800 h 470547"/>
                <a:gd name="connsiteX1226" fmla="*/ 308485 w 578488"/>
                <a:gd name="connsiteY1226" fmla="*/ 70129 h 470547"/>
                <a:gd name="connsiteX1227" fmla="*/ 305708 w 578488"/>
                <a:gd name="connsiteY1227" fmla="*/ 67943 h 470547"/>
                <a:gd name="connsiteX1228" fmla="*/ 305488 w 578488"/>
                <a:gd name="connsiteY1228" fmla="*/ 65745 h 470547"/>
                <a:gd name="connsiteX1229" fmla="*/ 306805 w 578488"/>
                <a:gd name="connsiteY1229" fmla="*/ 64579 h 470547"/>
                <a:gd name="connsiteX1230" fmla="*/ 308852 w 578488"/>
                <a:gd name="connsiteY1230" fmla="*/ 64709 h 470547"/>
                <a:gd name="connsiteX1231" fmla="*/ 311422 w 578488"/>
                <a:gd name="connsiteY1231" fmla="*/ 64462 h 470547"/>
                <a:gd name="connsiteX1232" fmla="*/ 313816 w 578488"/>
                <a:gd name="connsiteY1232" fmla="*/ 62982 h 470547"/>
                <a:gd name="connsiteX1233" fmla="*/ 314164 w 578488"/>
                <a:gd name="connsiteY1233" fmla="*/ 61941 h 470547"/>
                <a:gd name="connsiteX1234" fmla="*/ 314264 w 578488"/>
                <a:gd name="connsiteY1234" fmla="*/ 60527 h 470547"/>
                <a:gd name="connsiteX1235" fmla="*/ 314862 w 578488"/>
                <a:gd name="connsiteY1235" fmla="*/ 59088 h 470547"/>
                <a:gd name="connsiteX1236" fmla="*/ 318375 w 578488"/>
                <a:gd name="connsiteY1236" fmla="*/ 55651 h 470547"/>
                <a:gd name="connsiteX1237" fmla="*/ 329204 w 578488"/>
                <a:gd name="connsiteY1237" fmla="*/ 53412 h 470547"/>
                <a:gd name="connsiteX1238" fmla="*/ 329988 w 578488"/>
                <a:gd name="connsiteY1238" fmla="*/ 54321 h 470547"/>
                <a:gd name="connsiteX1239" fmla="*/ 329403 w 578488"/>
                <a:gd name="connsiteY1239" fmla="*/ 60951 h 470547"/>
                <a:gd name="connsiteX1240" fmla="*/ 328159 w 578488"/>
                <a:gd name="connsiteY1240" fmla="*/ 65227 h 470547"/>
                <a:gd name="connsiteX1241" fmla="*/ 328198 w 578488"/>
                <a:gd name="connsiteY1241" fmla="*/ 68347 h 470547"/>
                <a:gd name="connsiteX1242" fmla="*/ 330306 w 578488"/>
                <a:gd name="connsiteY1242" fmla="*/ 65227 h 470547"/>
                <a:gd name="connsiteX1243" fmla="*/ 333132 w 578488"/>
                <a:gd name="connsiteY1243" fmla="*/ 56663 h 470547"/>
                <a:gd name="connsiteX1244" fmla="*/ 335253 w 578488"/>
                <a:gd name="connsiteY1244" fmla="*/ 52629 h 470547"/>
                <a:gd name="connsiteX1245" fmla="*/ 337650 w 578488"/>
                <a:gd name="connsiteY1245" fmla="*/ 50309 h 470547"/>
                <a:gd name="connsiteX1246" fmla="*/ 339362 w 578488"/>
                <a:gd name="connsiteY1246" fmla="*/ 49785 h 470547"/>
                <a:gd name="connsiteX1247" fmla="*/ 341057 w 578488"/>
                <a:gd name="connsiteY1247" fmla="*/ 48583 h 470547"/>
                <a:gd name="connsiteX1248" fmla="*/ 343295 w 578488"/>
                <a:gd name="connsiteY1248" fmla="*/ 47867 h 470547"/>
                <a:gd name="connsiteX1249" fmla="*/ 343979 w 578488"/>
                <a:gd name="connsiteY1249" fmla="*/ 48791 h 470547"/>
                <a:gd name="connsiteX1250" fmla="*/ 344687 w 578488"/>
                <a:gd name="connsiteY1250" fmla="*/ 50933 h 470547"/>
                <a:gd name="connsiteX1251" fmla="*/ 343482 w 578488"/>
                <a:gd name="connsiteY1251" fmla="*/ 58438 h 470547"/>
                <a:gd name="connsiteX1252" fmla="*/ 343603 w 578488"/>
                <a:gd name="connsiteY1252" fmla="*/ 60805 h 470547"/>
                <a:gd name="connsiteX1253" fmla="*/ 342253 w 578488"/>
                <a:gd name="connsiteY1253" fmla="*/ 63973 h 470547"/>
                <a:gd name="connsiteX1254" fmla="*/ 337093 w 578488"/>
                <a:gd name="connsiteY1254" fmla="*/ 71017 h 470547"/>
                <a:gd name="connsiteX1255" fmla="*/ 337330 w 578488"/>
                <a:gd name="connsiteY1255" fmla="*/ 71914 h 470547"/>
                <a:gd name="connsiteX1256" fmla="*/ 338496 w 578488"/>
                <a:gd name="connsiteY1256" fmla="*/ 71581 h 470547"/>
                <a:gd name="connsiteX1257" fmla="*/ 340496 w 578488"/>
                <a:gd name="connsiteY1257" fmla="*/ 70420 h 470547"/>
                <a:gd name="connsiteX1258" fmla="*/ 346888 w 578488"/>
                <a:gd name="connsiteY1258" fmla="*/ 63728 h 470547"/>
                <a:gd name="connsiteX1259" fmla="*/ 352476 w 578488"/>
                <a:gd name="connsiteY1259" fmla="*/ 64573 h 470547"/>
                <a:gd name="connsiteX1260" fmla="*/ 352545 w 578488"/>
                <a:gd name="connsiteY1260" fmla="*/ 64024 h 470547"/>
                <a:gd name="connsiteX1261" fmla="*/ 350753 w 578488"/>
                <a:gd name="connsiteY1261" fmla="*/ 62058 h 470547"/>
                <a:gd name="connsiteX1262" fmla="*/ 348563 w 578488"/>
                <a:gd name="connsiteY1262" fmla="*/ 60171 h 470547"/>
                <a:gd name="connsiteX1263" fmla="*/ 347905 w 578488"/>
                <a:gd name="connsiteY1263" fmla="*/ 57833 h 470547"/>
                <a:gd name="connsiteX1264" fmla="*/ 348198 w 578488"/>
                <a:gd name="connsiteY1264" fmla="*/ 51586 h 470547"/>
                <a:gd name="connsiteX1265" fmla="*/ 349881 w 578488"/>
                <a:gd name="connsiteY1265" fmla="*/ 49107 h 470547"/>
                <a:gd name="connsiteX1266" fmla="*/ 354707 w 578488"/>
                <a:gd name="connsiteY1266" fmla="*/ 49367 h 470547"/>
                <a:gd name="connsiteX1267" fmla="*/ 357598 w 578488"/>
                <a:gd name="connsiteY1267" fmla="*/ 49024 h 470547"/>
                <a:gd name="connsiteX1268" fmla="*/ 358948 w 578488"/>
                <a:gd name="connsiteY1268" fmla="*/ 50151 h 470547"/>
                <a:gd name="connsiteX1269" fmla="*/ 361843 w 578488"/>
                <a:gd name="connsiteY1269" fmla="*/ 50070 h 470547"/>
                <a:gd name="connsiteX1270" fmla="*/ 363848 w 578488"/>
                <a:gd name="connsiteY1270" fmla="*/ 45579 h 470547"/>
                <a:gd name="connsiteX1271" fmla="*/ 367810 w 578488"/>
                <a:gd name="connsiteY1271" fmla="*/ 45185 h 470547"/>
                <a:gd name="connsiteX1272" fmla="*/ 371289 w 578488"/>
                <a:gd name="connsiteY1272" fmla="*/ 48155 h 470547"/>
                <a:gd name="connsiteX1273" fmla="*/ 375476 w 578488"/>
                <a:gd name="connsiteY1273" fmla="*/ 50151 h 470547"/>
                <a:gd name="connsiteX1274" fmla="*/ 378840 w 578488"/>
                <a:gd name="connsiteY1274" fmla="*/ 53019 h 470547"/>
                <a:gd name="connsiteX1275" fmla="*/ 379790 w 578488"/>
                <a:gd name="connsiteY1275" fmla="*/ 52236 h 470547"/>
                <a:gd name="connsiteX1276" fmla="*/ 377974 w 578488"/>
                <a:gd name="connsiteY1276" fmla="*/ 45538 h 470547"/>
                <a:gd name="connsiteX1277" fmla="*/ 375987 w 578488"/>
                <a:gd name="connsiteY1277" fmla="*/ 43092 h 470547"/>
                <a:gd name="connsiteX1278" fmla="*/ 371677 w 578488"/>
                <a:gd name="connsiteY1278" fmla="*/ 41819 h 470547"/>
                <a:gd name="connsiteX1279" fmla="*/ 367091 w 578488"/>
                <a:gd name="connsiteY1279" fmla="*/ 38795 h 470547"/>
                <a:gd name="connsiteX1280" fmla="*/ 365895 w 578488"/>
                <a:gd name="connsiteY1280" fmla="*/ 37453 h 470547"/>
                <a:gd name="connsiteX1281" fmla="*/ 366104 w 578488"/>
                <a:gd name="connsiteY1281" fmla="*/ 36454 h 470547"/>
                <a:gd name="connsiteX1282" fmla="*/ 370151 w 578488"/>
                <a:gd name="connsiteY1282" fmla="*/ 35490 h 470547"/>
                <a:gd name="connsiteX1283" fmla="*/ 375491 w 578488"/>
                <a:gd name="connsiteY1283" fmla="*/ 36594 h 470547"/>
                <a:gd name="connsiteX1284" fmla="*/ 380250 w 578488"/>
                <a:gd name="connsiteY1284" fmla="*/ 34070 h 470547"/>
                <a:gd name="connsiteX1285" fmla="*/ 381552 w 578488"/>
                <a:gd name="connsiteY1285" fmla="*/ 34762 h 470547"/>
                <a:gd name="connsiteX1286" fmla="*/ 385202 w 578488"/>
                <a:gd name="connsiteY1286" fmla="*/ 33441 h 470547"/>
                <a:gd name="connsiteX1287" fmla="*/ 387469 w 578488"/>
                <a:gd name="connsiteY1287" fmla="*/ 35218 h 470547"/>
                <a:gd name="connsiteX1288" fmla="*/ 388857 w 578488"/>
                <a:gd name="connsiteY1288" fmla="*/ 34692 h 470547"/>
                <a:gd name="connsiteX1289" fmla="*/ 389663 w 578488"/>
                <a:gd name="connsiteY1289" fmla="*/ 32309 h 470547"/>
                <a:gd name="connsiteX1290" fmla="*/ 395487 w 578488"/>
                <a:gd name="connsiteY1290" fmla="*/ 30829 h 470547"/>
                <a:gd name="connsiteX1291" fmla="*/ 399181 w 578488"/>
                <a:gd name="connsiteY1291" fmla="*/ 32195 h 470547"/>
                <a:gd name="connsiteX1292" fmla="*/ 401162 w 578488"/>
                <a:gd name="connsiteY1292" fmla="*/ 33608 h 470547"/>
                <a:gd name="connsiteX1293" fmla="*/ 402082 w 578488"/>
                <a:gd name="connsiteY1293" fmla="*/ 36320 h 470547"/>
                <a:gd name="connsiteX1294" fmla="*/ 403489 w 578488"/>
                <a:gd name="connsiteY1294" fmla="*/ 41674 h 470547"/>
                <a:gd name="connsiteX1295" fmla="*/ 406374 w 578488"/>
                <a:gd name="connsiteY1295" fmla="*/ 44557 h 470547"/>
                <a:gd name="connsiteX1296" fmla="*/ 408165 w 578488"/>
                <a:gd name="connsiteY1296" fmla="*/ 45971 h 470547"/>
                <a:gd name="connsiteX1297" fmla="*/ 410287 w 578488"/>
                <a:gd name="connsiteY1297" fmla="*/ 46362 h 470547"/>
                <a:gd name="connsiteX1298" fmla="*/ 411311 w 578488"/>
                <a:gd name="connsiteY1298" fmla="*/ 44924 h 470547"/>
                <a:gd name="connsiteX1299" fmla="*/ 409322 w 578488"/>
                <a:gd name="connsiteY1299" fmla="*/ 43190 h 470547"/>
                <a:gd name="connsiteX1300" fmla="*/ 408786 w 578488"/>
                <a:gd name="connsiteY1300" fmla="*/ 41556 h 470547"/>
                <a:gd name="connsiteX1301" fmla="*/ 409739 w 578488"/>
                <a:gd name="connsiteY1301" fmla="*/ 37494 h 470547"/>
                <a:gd name="connsiteX1302" fmla="*/ 410851 w 578488"/>
                <a:gd name="connsiteY1302" fmla="*/ 35896 h 470547"/>
                <a:gd name="connsiteX1303" fmla="*/ 417083 w 578488"/>
                <a:gd name="connsiteY1303" fmla="*/ 29833 h 470547"/>
                <a:gd name="connsiteX1304" fmla="*/ 422300 w 578488"/>
                <a:gd name="connsiteY1304" fmla="*/ 26680 h 470547"/>
                <a:gd name="connsiteX1305" fmla="*/ 425424 w 578488"/>
                <a:gd name="connsiteY1305" fmla="*/ 26417 h 470547"/>
                <a:gd name="connsiteX1306" fmla="*/ 430888 w 578488"/>
                <a:gd name="connsiteY1306" fmla="*/ 19331 h 470547"/>
                <a:gd name="connsiteX1307" fmla="*/ 432436 w 578488"/>
                <a:gd name="connsiteY1307" fmla="*/ 18040 h 470547"/>
                <a:gd name="connsiteX1308" fmla="*/ 433861 w 578488"/>
                <a:gd name="connsiteY1308" fmla="*/ 17743 h 470547"/>
                <a:gd name="connsiteX1309" fmla="*/ 433496 w 578488"/>
                <a:gd name="connsiteY1309" fmla="*/ 16004 h 470547"/>
                <a:gd name="connsiteX1310" fmla="*/ 430503 w 578488"/>
                <a:gd name="connsiteY1310" fmla="*/ 14903 h 470547"/>
                <a:gd name="connsiteX1311" fmla="*/ 430400 w 578488"/>
                <a:gd name="connsiteY1311" fmla="*/ 12748 h 470547"/>
                <a:gd name="connsiteX1312" fmla="*/ 434343 w 578488"/>
                <a:gd name="connsiteY1312" fmla="*/ 10121 h 470547"/>
                <a:gd name="connsiteX1313" fmla="*/ 439124 w 578488"/>
                <a:gd name="connsiteY1313" fmla="*/ 5706 h 470547"/>
                <a:gd name="connsiteX1314" fmla="*/ 441484 w 578488"/>
                <a:gd name="connsiteY1314" fmla="*/ 5406 h 470547"/>
                <a:gd name="connsiteX1315" fmla="*/ 442963 w 578488"/>
                <a:gd name="connsiteY1315" fmla="*/ 6634 h 470547"/>
                <a:gd name="connsiteX1316" fmla="*/ 447619 w 578488"/>
                <a:gd name="connsiteY1316" fmla="*/ 8627 h 470547"/>
                <a:gd name="connsiteX1317" fmla="*/ 450471 w 578488"/>
                <a:gd name="connsiteY1317" fmla="*/ 10908 h 470547"/>
                <a:gd name="connsiteX1318" fmla="*/ 452538 w 578488"/>
                <a:gd name="connsiteY1318" fmla="*/ 12056 h 470547"/>
                <a:gd name="connsiteX1319" fmla="*/ 453881 w 578488"/>
                <a:gd name="connsiteY1319" fmla="*/ 11818 h 470547"/>
                <a:gd name="connsiteX1320" fmla="*/ 454991 w 578488"/>
                <a:gd name="connsiteY1320" fmla="*/ 10105 h 470547"/>
                <a:gd name="connsiteX1321" fmla="*/ 456325 w 578488"/>
                <a:gd name="connsiteY1321" fmla="*/ 9303 h 470547"/>
                <a:gd name="connsiteX1322" fmla="*/ 459286 w 578488"/>
                <a:gd name="connsiteY1322" fmla="*/ 9753 h 470547"/>
                <a:gd name="connsiteX1323" fmla="*/ 461052 w 578488"/>
                <a:gd name="connsiteY1323" fmla="*/ 10855 h 470547"/>
                <a:gd name="connsiteX1324" fmla="*/ 462428 w 578488"/>
                <a:gd name="connsiteY1324" fmla="*/ 11000 h 470547"/>
                <a:gd name="connsiteX1325" fmla="*/ 463672 w 578488"/>
                <a:gd name="connsiteY1325" fmla="*/ 11667 h 470547"/>
                <a:gd name="connsiteX1326" fmla="*/ 463965 w 578488"/>
                <a:gd name="connsiteY1326" fmla="*/ 13131 h 470547"/>
                <a:gd name="connsiteX1327" fmla="*/ 461404 w 578488"/>
                <a:gd name="connsiteY1327" fmla="*/ 14725 h 470547"/>
                <a:gd name="connsiteX1328" fmla="*/ 457040 w 578488"/>
                <a:gd name="connsiteY1328" fmla="*/ 18947 h 470547"/>
                <a:gd name="connsiteX1329" fmla="*/ 452734 w 578488"/>
                <a:gd name="connsiteY1329" fmla="*/ 23737 h 470547"/>
                <a:gd name="connsiteX1330" fmla="*/ 451314 w 578488"/>
                <a:gd name="connsiteY1330" fmla="*/ 26255 h 470547"/>
                <a:gd name="connsiteX1331" fmla="*/ 449923 w 578488"/>
                <a:gd name="connsiteY1331" fmla="*/ 32850 h 470547"/>
                <a:gd name="connsiteX1332" fmla="*/ 446558 w 578488"/>
                <a:gd name="connsiteY1332" fmla="*/ 37058 h 470547"/>
                <a:gd name="connsiteX1333" fmla="*/ 446304 w 578488"/>
                <a:gd name="connsiteY1333" fmla="*/ 40003 h 470547"/>
                <a:gd name="connsiteX1334" fmla="*/ 447655 w 578488"/>
                <a:gd name="connsiteY1334" fmla="*/ 41390 h 470547"/>
                <a:gd name="connsiteX1335" fmla="*/ 451369 w 578488"/>
                <a:gd name="connsiteY1335" fmla="*/ 40302 h 470547"/>
                <a:gd name="connsiteX1336" fmla="*/ 455947 w 578488"/>
                <a:gd name="connsiteY1336" fmla="*/ 36371 h 470547"/>
                <a:gd name="connsiteX1337" fmla="*/ 457090 w 578488"/>
                <a:gd name="connsiteY1337" fmla="*/ 32191 h 470547"/>
                <a:gd name="connsiteX1338" fmla="*/ 468535 w 578488"/>
                <a:gd name="connsiteY1338" fmla="*/ 20815 h 470547"/>
                <a:gd name="connsiteX1339" fmla="*/ 473903 w 578488"/>
                <a:gd name="connsiteY1339" fmla="*/ 14505 h 470547"/>
                <a:gd name="connsiteX1340" fmla="*/ 480007 w 578488"/>
                <a:gd name="connsiteY1340" fmla="*/ 9265 h 470547"/>
                <a:gd name="connsiteX1341" fmla="*/ 483421 w 578488"/>
                <a:gd name="connsiteY1341" fmla="*/ 8179 h 470547"/>
                <a:gd name="connsiteX1342" fmla="*/ 485028 w 578488"/>
                <a:gd name="connsiteY1342" fmla="*/ 11651 h 470547"/>
                <a:gd name="connsiteX1343" fmla="*/ 483734 w 578488"/>
                <a:gd name="connsiteY1343" fmla="*/ 16179 h 470547"/>
                <a:gd name="connsiteX1344" fmla="*/ 481141 w 578488"/>
                <a:gd name="connsiteY1344" fmla="*/ 19061 h 470547"/>
                <a:gd name="connsiteX1345" fmla="*/ 483052 w 578488"/>
                <a:gd name="connsiteY1345" fmla="*/ 20380 h 470547"/>
                <a:gd name="connsiteX1346" fmla="*/ 482687 w 578488"/>
                <a:gd name="connsiteY1346" fmla="*/ 23797 h 470547"/>
                <a:gd name="connsiteX1347" fmla="*/ 482091 w 578488"/>
                <a:gd name="connsiteY1347" fmla="*/ 25693 h 470547"/>
                <a:gd name="connsiteX1348" fmla="*/ 481711 w 578488"/>
                <a:gd name="connsiteY1348" fmla="*/ 27676 h 470547"/>
                <a:gd name="connsiteX1349" fmla="*/ 481735 w 578488"/>
                <a:gd name="connsiteY1349" fmla="*/ 29424 h 470547"/>
                <a:gd name="connsiteX1350" fmla="*/ 483527 w 578488"/>
                <a:gd name="connsiteY1350" fmla="*/ 28958 h 470547"/>
                <a:gd name="connsiteX1351" fmla="*/ 490675 w 578488"/>
                <a:gd name="connsiteY1351" fmla="*/ 25377 h 470547"/>
                <a:gd name="connsiteX1352" fmla="*/ 492486 w 578488"/>
                <a:gd name="connsiteY1352" fmla="*/ 21493 h 470547"/>
                <a:gd name="connsiteX1353" fmla="*/ 494166 w 578488"/>
                <a:gd name="connsiteY1353" fmla="*/ 18577 h 470547"/>
                <a:gd name="connsiteX1354" fmla="*/ 494972 w 578488"/>
                <a:gd name="connsiteY1354" fmla="*/ 16055 h 470547"/>
                <a:gd name="connsiteX1355" fmla="*/ 497751 w 578488"/>
                <a:gd name="connsiteY1355" fmla="*/ 13663 h 470547"/>
                <a:gd name="connsiteX1356" fmla="*/ 502994 w 578488"/>
                <a:gd name="connsiteY1356" fmla="*/ 13645 h 470547"/>
                <a:gd name="connsiteX1357" fmla="*/ 503197 w 578488"/>
                <a:gd name="connsiteY1357" fmla="*/ 12704 h 470547"/>
                <a:gd name="connsiteX1358" fmla="*/ 496859 w 578488"/>
                <a:gd name="connsiteY1358" fmla="*/ 9377 h 470547"/>
                <a:gd name="connsiteX1359" fmla="*/ 496112 w 578488"/>
                <a:gd name="connsiteY1359" fmla="*/ 7877 h 470547"/>
                <a:gd name="connsiteX1360" fmla="*/ 498243 w 578488"/>
                <a:gd name="connsiteY1360" fmla="*/ 5879 h 470547"/>
                <a:gd name="connsiteX1361" fmla="*/ 459651 w 578488"/>
                <a:gd name="connsiteY1361" fmla="*/ 0 h 470547"/>
                <a:gd name="connsiteX1362" fmla="*/ 465559 w 578488"/>
                <a:gd name="connsiteY1362" fmla="*/ 1548 h 470547"/>
                <a:gd name="connsiteX1363" fmla="*/ 467582 w 578488"/>
                <a:gd name="connsiteY1363" fmla="*/ 1516 h 470547"/>
                <a:gd name="connsiteX1364" fmla="*/ 470515 w 578488"/>
                <a:gd name="connsiteY1364" fmla="*/ 4407 h 470547"/>
                <a:gd name="connsiteX1365" fmla="*/ 472046 w 578488"/>
                <a:gd name="connsiteY1365" fmla="*/ 4151 h 470547"/>
                <a:gd name="connsiteX1366" fmla="*/ 471756 w 578488"/>
                <a:gd name="connsiteY1366" fmla="*/ 5916 h 470547"/>
                <a:gd name="connsiteX1367" fmla="*/ 468792 w 578488"/>
                <a:gd name="connsiteY1367" fmla="*/ 6752 h 470547"/>
                <a:gd name="connsiteX1368" fmla="*/ 464183 w 578488"/>
                <a:gd name="connsiteY1368" fmla="*/ 7260 h 470547"/>
                <a:gd name="connsiteX1369" fmla="*/ 463495 w 578488"/>
                <a:gd name="connsiteY1369" fmla="*/ 7611 h 470547"/>
                <a:gd name="connsiteX1370" fmla="*/ 459556 w 578488"/>
                <a:gd name="connsiteY1370" fmla="*/ 7329 h 470547"/>
                <a:gd name="connsiteX1371" fmla="*/ 457345 w 578488"/>
                <a:gd name="connsiteY1371" fmla="*/ 4956 h 470547"/>
                <a:gd name="connsiteX1372" fmla="*/ 453650 w 578488"/>
                <a:gd name="connsiteY1372" fmla="*/ 4368 h 470547"/>
                <a:gd name="connsiteX1373" fmla="*/ 453656 w 578488"/>
                <a:gd name="connsiteY1373" fmla="*/ 3606 h 470547"/>
                <a:gd name="connsiteX1374" fmla="*/ 456049 w 578488"/>
                <a:gd name="connsiteY1374" fmla="*/ 1809 h 470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</a:cxnLst>
              <a:rect l="l" t="t" r="r" b="b"/>
              <a:pathLst>
                <a:path w="578488" h="470547">
                  <a:moveTo>
                    <a:pt x="4236" y="391131"/>
                  </a:moveTo>
                  <a:lnTo>
                    <a:pt x="5553" y="393229"/>
                  </a:lnTo>
                  <a:lnTo>
                    <a:pt x="6342" y="395934"/>
                  </a:lnTo>
                  <a:lnTo>
                    <a:pt x="6413" y="399875"/>
                  </a:lnTo>
                  <a:lnTo>
                    <a:pt x="4376" y="399577"/>
                  </a:lnTo>
                  <a:lnTo>
                    <a:pt x="3461" y="398066"/>
                  </a:lnTo>
                  <a:lnTo>
                    <a:pt x="3196" y="397101"/>
                  </a:lnTo>
                  <a:lnTo>
                    <a:pt x="3355" y="394818"/>
                  </a:lnTo>
                  <a:lnTo>
                    <a:pt x="2897" y="392461"/>
                  </a:lnTo>
                  <a:lnTo>
                    <a:pt x="3498" y="391290"/>
                  </a:lnTo>
                  <a:close/>
                  <a:moveTo>
                    <a:pt x="2573" y="366113"/>
                  </a:moveTo>
                  <a:lnTo>
                    <a:pt x="3852" y="367834"/>
                  </a:lnTo>
                  <a:lnTo>
                    <a:pt x="3530" y="369975"/>
                  </a:lnTo>
                  <a:lnTo>
                    <a:pt x="1572" y="370400"/>
                  </a:lnTo>
                  <a:lnTo>
                    <a:pt x="0" y="370038"/>
                  </a:lnTo>
                  <a:lnTo>
                    <a:pt x="561" y="366825"/>
                  </a:lnTo>
                  <a:lnTo>
                    <a:pt x="1384" y="366299"/>
                  </a:lnTo>
                  <a:close/>
                  <a:moveTo>
                    <a:pt x="72406" y="288176"/>
                  </a:moveTo>
                  <a:lnTo>
                    <a:pt x="73790" y="289555"/>
                  </a:lnTo>
                  <a:lnTo>
                    <a:pt x="73896" y="291823"/>
                  </a:lnTo>
                  <a:lnTo>
                    <a:pt x="73052" y="292828"/>
                  </a:lnTo>
                  <a:lnTo>
                    <a:pt x="70884" y="292852"/>
                  </a:lnTo>
                  <a:lnTo>
                    <a:pt x="68309" y="292314"/>
                  </a:lnTo>
                  <a:lnTo>
                    <a:pt x="66697" y="291172"/>
                  </a:lnTo>
                  <a:lnTo>
                    <a:pt x="66446" y="290164"/>
                  </a:lnTo>
                  <a:lnTo>
                    <a:pt x="69417" y="288910"/>
                  </a:lnTo>
                  <a:close/>
                  <a:moveTo>
                    <a:pt x="87688" y="276468"/>
                  </a:moveTo>
                  <a:lnTo>
                    <a:pt x="88672" y="277636"/>
                  </a:lnTo>
                  <a:lnTo>
                    <a:pt x="88798" y="279233"/>
                  </a:lnTo>
                  <a:lnTo>
                    <a:pt x="88172" y="280023"/>
                  </a:lnTo>
                  <a:lnTo>
                    <a:pt x="81190" y="281299"/>
                  </a:lnTo>
                  <a:lnTo>
                    <a:pt x="78655" y="281381"/>
                  </a:lnTo>
                  <a:lnTo>
                    <a:pt x="77129" y="280596"/>
                  </a:lnTo>
                  <a:lnTo>
                    <a:pt x="80758" y="279027"/>
                  </a:lnTo>
                  <a:lnTo>
                    <a:pt x="86455" y="277535"/>
                  </a:lnTo>
                  <a:lnTo>
                    <a:pt x="86997" y="276585"/>
                  </a:lnTo>
                  <a:close/>
                  <a:moveTo>
                    <a:pt x="137580" y="234750"/>
                  </a:moveTo>
                  <a:lnTo>
                    <a:pt x="140049" y="234842"/>
                  </a:lnTo>
                  <a:lnTo>
                    <a:pt x="142560" y="237291"/>
                  </a:lnTo>
                  <a:lnTo>
                    <a:pt x="142234" y="238798"/>
                  </a:lnTo>
                  <a:lnTo>
                    <a:pt x="141074" y="239795"/>
                  </a:lnTo>
                  <a:lnTo>
                    <a:pt x="138498" y="238994"/>
                  </a:lnTo>
                  <a:lnTo>
                    <a:pt x="133413" y="239613"/>
                  </a:lnTo>
                  <a:lnTo>
                    <a:pt x="131364" y="238638"/>
                  </a:lnTo>
                  <a:lnTo>
                    <a:pt x="132992" y="236741"/>
                  </a:lnTo>
                  <a:close/>
                  <a:moveTo>
                    <a:pt x="156473" y="208471"/>
                  </a:moveTo>
                  <a:lnTo>
                    <a:pt x="158617" y="208629"/>
                  </a:lnTo>
                  <a:lnTo>
                    <a:pt x="159300" y="209433"/>
                  </a:lnTo>
                  <a:lnTo>
                    <a:pt x="158520" y="211357"/>
                  </a:lnTo>
                  <a:lnTo>
                    <a:pt x="157058" y="212476"/>
                  </a:lnTo>
                  <a:lnTo>
                    <a:pt x="154327" y="212155"/>
                  </a:lnTo>
                  <a:lnTo>
                    <a:pt x="154035" y="211196"/>
                  </a:lnTo>
                  <a:lnTo>
                    <a:pt x="154815" y="209272"/>
                  </a:lnTo>
                  <a:close/>
                  <a:moveTo>
                    <a:pt x="175748" y="197328"/>
                  </a:moveTo>
                  <a:lnTo>
                    <a:pt x="176449" y="198048"/>
                  </a:lnTo>
                  <a:lnTo>
                    <a:pt x="175119" y="199065"/>
                  </a:lnTo>
                  <a:lnTo>
                    <a:pt x="170496" y="201327"/>
                  </a:lnTo>
                  <a:lnTo>
                    <a:pt x="168725" y="201432"/>
                  </a:lnTo>
                  <a:lnTo>
                    <a:pt x="168740" y="199939"/>
                  </a:lnTo>
                  <a:lnTo>
                    <a:pt x="169755" y="198582"/>
                  </a:lnTo>
                  <a:lnTo>
                    <a:pt x="171364" y="197674"/>
                  </a:lnTo>
                  <a:lnTo>
                    <a:pt x="173433" y="197432"/>
                  </a:lnTo>
                  <a:close/>
                  <a:moveTo>
                    <a:pt x="170891" y="190029"/>
                  </a:moveTo>
                  <a:lnTo>
                    <a:pt x="172956" y="191226"/>
                  </a:lnTo>
                  <a:lnTo>
                    <a:pt x="172996" y="193260"/>
                  </a:lnTo>
                  <a:lnTo>
                    <a:pt x="171973" y="195112"/>
                  </a:lnTo>
                  <a:lnTo>
                    <a:pt x="168514" y="196161"/>
                  </a:lnTo>
                  <a:lnTo>
                    <a:pt x="166467" y="196404"/>
                  </a:lnTo>
                  <a:lnTo>
                    <a:pt x="166808" y="194788"/>
                  </a:lnTo>
                  <a:lnTo>
                    <a:pt x="168464" y="193253"/>
                  </a:lnTo>
                  <a:lnTo>
                    <a:pt x="169099" y="192202"/>
                  </a:lnTo>
                  <a:lnTo>
                    <a:pt x="169429" y="190966"/>
                  </a:lnTo>
                  <a:close/>
                  <a:moveTo>
                    <a:pt x="182845" y="120497"/>
                  </a:moveTo>
                  <a:lnTo>
                    <a:pt x="184057" y="121330"/>
                  </a:lnTo>
                  <a:lnTo>
                    <a:pt x="183502" y="123106"/>
                  </a:lnTo>
                  <a:lnTo>
                    <a:pt x="183513" y="124862"/>
                  </a:lnTo>
                  <a:lnTo>
                    <a:pt x="182990" y="125692"/>
                  </a:lnTo>
                  <a:lnTo>
                    <a:pt x="180716" y="127984"/>
                  </a:lnTo>
                  <a:lnTo>
                    <a:pt x="177449" y="129987"/>
                  </a:lnTo>
                  <a:lnTo>
                    <a:pt x="178641" y="126329"/>
                  </a:lnTo>
                  <a:lnTo>
                    <a:pt x="180405" y="122620"/>
                  </a:lnTo>
                  <a:close/>
                  <a:moveTo>
                    <a:pt x="198678" y="112691"/>
                  </a:moveTo>
                  <a:lnTo>
                    <a:pt x="200641" y="113103"/>
                  </a:lnTo>
                  <a:lnTo>
                    <a:pt x="201956" y="113756"/>
                  </a:lnTo>
                  <a:lnTo>
                    <a:pt x="205392" y="113566"/>
                  </a:lnTo>
                  <a:lnTo>
                    <a:pt x="206080" y="113810"/>
                  </a:lnTo>
                  <a:lnTo>
                    <a:pt x="205592" y="114887"/>
                  </a:lnTo>
                  <a:lnTo>
                    <a:pt x="204100" y="116071"/>
                  </a:lnTo>
                  <a:lnTo>
                    <a:pt x="200969" y="116797"/>
                  </a:lnTo>
                  <a:lnTo>
                    <a:pt x="199561" y="118603"/>
                  </a:lnTo>
                  <a:lnTo>
                    <a:pt x="198553" y="119216"/>
                  </a:lnTo>
                  <a:lnTo>
                    <a:pt x="195849" y="119224"/>
                  </a:lnTo>
                  <a:lnTo>
                    <a:pt x="194254" y="119640"/>
                  </a:lnTo>
                  <a:lnTo>
                    <a:pt x="192291" y="121245"/>
                  </a:lnTo>
                  <a:lnTo>
                    <a:pt x="190721" y="120062"/>
                  </a:lnTo>
                  <a:lnTo>
                    <a:pt x="190283" y="120902"/>
                  </a:lnTo>
                  <a:lnTo>
                    <a:pt x="189997" y="122401"/>
                  </a:lnTo>
                  <a:lnTo>
                    <a:pt x="189125" y="122841"/>
                  </a:lnTo>
                  <a:lnTo>
                    <a:pt x="186413" y="123384"/>
                  </a:lnTo>
                  <a:lnTo>
                    <a:pt x="185752" y="119891"/>
                  </a:lnTo>
                  <a:lnTo>
                    <a:pt x="187000" y="118622"/>
                  </a:lnTo>
                  <a:lnTo>
                    <a:pt x="187978" y="117104"/>
                  </a:lnTo>
                  <a:lnTo>
                    <a:pt x="189477" y="116872"/>
                  </a:lnTo>
                  <a:lnTo>
                    <a:pt x="190820" y="116998"/>
                  </a:lnTo>
                  <a:lnTo>
                    <a:pt x="193237" y="113726"/>
                  </a:lnTo>
                  <a:lnTo>
                    <a:pt x="196547" y="112796"/>
                  </a:lnTo>
                  <a:close/>
                  <a:moveTo>
                    <a:pt x="227817" y="84536"/>
                  </a:moveTo>
                  <a:lnTo>
                    <a:pt x="228398" y="84693"/>
                  </a:lnTo>
                  <a:lnTo>
                    <a:pt x="229447" y="85561"/>
                  </a:lnTo>
                  <a:lnTo>
                    <a:pt x="230145" y="87049"/>
                  </a:lnTo>
                  <a:lnTo>
                    <a:pt x="233021" y="90942"/>
                  </a:lnTo>
                  <a:lnTo>
                    <a:pt x="234334" y="93213"/>
                  </a:lnTo>
                  <a:lnTo>
                    <a:pt x="233269" y="97497"/>
                  </a:lnTo>
                  <a:lnTo>
                    <a:pt x="230475" y="99655"/>
                  </a:lnTo>
                  <a:lnTo>
                    <a:pt x="226163" y="100039"/>
                  </a:lnTo>
                  <a:lnTo>
                    <a:pt x="223138" y="99860"/>
                  </a:lnTo>
                  <a:lnTo>
                    <a:pt x="221231" y="98822"/>
                  </a:lnTo>
                  <a:lnTo>
                    <a:pt x="220993" y="97657"/>
                  </a:lnTo>
                  <a:lnTo>
                    <a:pt x="219892" y="97313"/>
                  </a:lnTo>
                  <a:lnTo>
                    <a:pt x="216987" y="98809"/>
                  </a:lnTo>
                  <a:lnTo>
                    <a:pt x="214969" y="99011"/>
                  </a:lnTo>
                  <a:lnTo>
                    <a:pt x="212401" y="97851"/>
                  </a:lnTo>
                  <a:lnTo>
                    <a:pt x="211710" y="95995"/>
                  </a:lnTo>
                  <a:lnTo>
                    <a:pt x="214435" y="93665"/>
                  </a:lnTo>
                  <a:lnTo>
                    <a:pt x="215696" y="91852"/>
                  </a:lnTo>
                  <a:lnTo>
                    <a:pt x="218720" y="92012"/>
                  </a:lnTo>
                  <a:lnTo>
                    <a:pt x="219475" y="92576"/>
                  </a:lnTo>
                  <a:lnTo>
                    <a:pt x="221183" y="92928"/>
                  </a:lnTo>
                  <a:lnTo>
                    <a:pt x="222222" y="90744"/>
                  </a:lnTo>
                  <a:lnTo>
                    <a:pt x="221982" y="89232"/>
                  </a:lnTo>
                  <a:lnTo>
                    <a:pt x="222742" y="88181"/>
                  </a:lnTo>
                  <a:lnTo>
                    <a:pt x="226394" y="88938"/>
                  </a:lnTo>
                  <a:lnTo>
                    <a:pt x="226400" y="84826"/>
                  </a:lnTo>
                  <a:close/>
                  <a:moveTo>
                    <a:pt x="246910" y="73108"/>
                  </a:moveTo>
                  <a:lnTo>
                    <a:pt x="248739" y="73108"/>
                  </a:lnTo>
                  <a:lnTo>
                    <a:pt x="250540" y="74204"/>
                  </a:lnTo>
                  <a:lnTo>
                    <a:pt x="250216" y="76443"/>
                  </a:lnTo>
                  <a:lnTo>
                    <a:pt x="247515" y="80477"/>
                  </a:lnTo>
                  <a:lnTo>
                    <a:pt x="243513" y="83908"/>
                  </a:lnTo>
                  <a:lnTo>
                    <a:pt x="244001" y="86367"/>
                  </a:lnTo>
                  <a:lnTo>
                    <a:pt x="245595" y="88389"/>
                  </a:lnTo>
                  <a:lnTo>
                    <a:pt x="245986" y="91839"/>
                  </a:lnTo>
                  <a:lnTo>
                    <a:pt x="246083" y="95156"/>
                  </a:lnTo>
                  <a:lnTo>
                    <a:pt x="243049" y="99627"/>
                  </a:lnTo>
                  <a:lnTo>
                    <a:pt x="242378" y="101772"/>
                  </a:lnTo>
                  <a:lnTo>
                    <a:pt x="242643" y="102042"/>
                  </a:lnTo>
                  <a:lnTo>
                    <a:pt x="245656" y="98341"/>
                  </a:lnTo>
                  <a:lnTo>
                    <a:pt x="248994" y="97185"/>
                  </a:lnTo>
                  <a:lnTo>
                    <a:pt x="249201" y="95895"/>
                  </a:lnTo>
                  <a:lnTo>
                    <a:pt x="250495" y="94646"/>
                  </a:lnTo>
                  <a:lnTo>
                    <a:pt x="250348" y="92605"/>
                  </a:lnTo>
                  <a:lnTo>
                    <a:pt x="251006" y="90944"/>
                  </a:lnTo>
                  <a:lnTo>
                    <a:pt x="252708" y="90504"/>
                  </a:lnTo>
                  <a:lnTo>
                    <a:pt x="253771" y="89942"/>
                  </a:lnTo>
                  <a:lnTo>
                    <a:pt x="254950" y="89632"/>
                  </a:lnTo>
                  <a:lnTo>
                    <a:pt x="257079" y="90976"/>
                  </a:lnTo>
                  <a:lnTo>
                    <a:pt x="258284" y="92467"/>
                  </a:lnTo>
                  <a:lnTo>
                    <a:pt x="259780" y="95797"/>
                  </a:lnTo>
                  <a:lnTo>
                    <a:pt x="259158" y="99013"/>
                  </a:lnTo>
                  <a:lnTo>
                    <a:pt x="255150" y="101517"/>
                  </a:lnTo>
                  <a:lnTo>
                    <a:pt x="251965" y="102646"/>
                  </a:lnTo>
                  <a:lnTo>
                    <a:pt x="248748" y="105516"/>
                  </a:lnTo>
                  <a:lnTo>
                    <a:pt x="247131" y="107859"/>
                  </a:lnTo>
                  <a:lnTo>
                    <a:pt x="245742" y="108366"/>
                  </a:lnTo>
                  <a:lnTo>
                    <a:pt x="244863" y="108175"/>
                  </a:lnTo>
                  <a:lnTo>
                    <a:pt x="244082" y="107609"/>
                  </a:lnTo>
                  <a:lnTo>
                    <a:pt x="242451" y="107607"/>
                  </a:lnTo>
                  <a:lnTo>
                    <a:pt x="240657" y="109638"/>
                  </a:lnTo>
                  <a:lnTo>
                    <a:pt x="235239" y="111288"/>
                  </a:lnTo>
                  <a:lnTo>
                    <a:pt x="233114" y="110812"/>
                  </a:lnTo>
                  <a:lnTo>
                    <a:pt x="233017" y="108788"/>
                  </a:lnTo>
                  <a:lnTo>
                    <a:pt x="231749" y="108956"/>
                  </a:lnTo>
                  <a:lnTo>
                    <a:pt x="229719" y="111382"/>
                  </a:lnTo>
                  <a:lnTo>
                    <a:pt x="227733" y="112191"/>
                  </a:lnTo>
                  <a:lnTo>
                    <a:pt x="226398" y="112440"/>
                  </a:lnTo>
                  <a:lnTo>
                    <a:pt x="223947" y="111527"/>
                  </a:lnTo>
                  <a:lnTo>
                    <a:pt x="217359" y="115654"/>
                  </a:lnTo>
                  <a:lnTo>
                    <a:pt x="211181" y="116425"/>
                  </a:lnTo>
                  <a:lnTo>
                    <a:pt x="209147" y="115948"/>
                  </a:lnTo>
                  <a:lnTo>
                    <a:pt x="209140" y="113424"/>
                  </a:lnTo>
                  <a:lnTo>
                    <a:pt x="213133" y="110191"/>
                  </a:lnTo>
                  <a:lnTo>
                    <a:pt x="216407" y="107941"/>
                  </a:lnTo>
                  <a:lnTo>
                    <a:pt x="227672" y="106369"/>
                  </a:lnTo>
                  <a:lnTo>
                    <a:pt x="234688" y="99674"/>
                  </a:lnTo>
                  <a:lnTo>
                    <a:pt x="236383" y="92374"/>
                  </a:lnTo>
                  <a:lnTo>
                    <a:pt x="238042" y="89732"/>
                  </a:lnTo>
                  <a:lnTo>
                    <a:pt x="237262" y="88238"/>
                  </a:lnTo>
                  <a:lnTo>
                    <a:pt x="235375" y="87975"/>
                  </a:lnTo>
                  <a:lnTo>
                    <a:pt x="235260" y="85677"/>
                  </a:lnTo>
                  <a:lnTo>
                    <a:pt x="236245" y="83162"/>
                  </a:lnTo>
                  <a:lnTo>
                    <a:pt x="239927" y="79703"/>
                  </a:lnTo>
                  <a:lnTo>
                    <a:pt x="241972" y="78229"/>
                  </a:lnTo>
                  <a:lnTo>
                    <a:pt x="245304" y="74050"/>
                  </a:lnTo>
                  <a:close/>
                  <a:moveTo>
                    <a:pt x="280912" y="61606"/>
                  </a:moveTo>
                  <a:lnTo>
                    <a:pt x="283570" y="63847"/>
                  </a:lnTo>
                  <a:lnTo>
                    <a:pt x="284766" y="63162"/>
                  </a:lnTo>
                  <a:lnTo>
                    <a:pt x="287118" y="62907"/>
                  </a:lnTo>
                  <a:lnTo>
                    <a:pt x="288867" y="63693"/>
                  </a:lnTo>
                  <a:lnTo>
                    <a:pt x="290297" y="65116"/>
                  </a:lnTo>
                  <a:lnTo>
                    <a:pt x="291992" y="65181"/>
                  </a:lnTo>
                  <a:lnTo>
                    <a:pt x="293056" y="67038"/>
                  </a:lnTo>
                  <a:lnTo>
                    <a:pt x="293598" y="69452"/>
                  </a:lnTo>
                  <a:lnTo>
                    <a:pt x="292367" y="71253"/>
                  </a:lnTo>
                  <a:lnTo>
                    <a:pt x="290621" y="72068"/>
                  </a:lnTo>
                  <a:lnTo>
                    <a:pt x="290148" y="74189"/>
                  </a:lnTo>
                  <a:lnTo>
                    <a:pt x="290811" y="77154"/>
                  </a:lnTo>
                  <a:lnTo>
                    <a:pt x="286893" y="78170"/>
                  </a:lnTo>
                  <a:lnTo>
                    <a:pt x="282352" y="78622"/>
                  </a:lnTo>
                  <a:lnTo>
                    <a:pt x="280577" y="77205"/>
                  </a:lnTo>
                  <a:lnTo>
                    <a:pt x="276945" y="79802"/>
                  </a:lnTo>
                  <a:lnTo>
                    <a:pt x="273348" y="83842"/>
                  </a:lnTo>
                  <a:lnTo>
                    <a:pt x="271614" y="84317"/>
                  </a:lnTo>
                  <a:lnTo>
                    <a:pt x="271493" y="83039"/>
                  </a:lnTo>
                  <a:lnTo>
                    <a:pt x="268908" y="82156"/>
                  </a:lnTo>
                  <a:lnTo>
                    <a:pt x="265598" y="82105"/>
                  </a:lnTo>
                  <a:lnTo>
                    <a:pt x="265708" y="81158"/>
                  </a:lnTo>
                  <a:lnTo>
                    <a:pt x="266308" y="80489"/>
                  </a:lnTo>
                  <a:lnTo>
                    <a:pt x="269165" y="79496"/>
                  </a:lnTo>
                  <a:lnTo>
                    <a:pt x="269735" y="77447"/>
                  </a:lnTo>
                  <a:lnTo>
                    <a:pt x="269216" y="73784"/>
                  </a:lnTo>
                  <a:lnTo>
                    <a:pt x="269720" y="72004"/>
                  </a:lnTo>
                  <a:lnTo>
                    <a:pt x="269828" y="70773"/>
                  </a:lnTo>
                  <a:lnTo>
                    <a:pt x="271624" y="69332"/>
                  </a:lnTo>
                  <a:lnTo>
                    <a:pt x="277768" y="70009"/>
                  </a:lnTo>
                  <a:lnTo>
                    <a:pt x="278513" y="68633"/>
                  </a:lnTo>
                  <a:lnTo>
                    <a:pt x="278047" y="67767"/>
                  </a:lnTo>
                  <a:lnTo>
                    <a:pt x="274872" y="66249"/>
                  </a:lnTo>
                  <a:lnTo>
                    <a:pt x="275360" y="65227"/>
                  </a:lnTo>
                  <a:lnTo>
                    <a:pt x="277651" y="64313"/>
                  </a:lnTo>
                  <a:lnTo>
                    <a:pt x="279819" y="64195"/>
                  </a:lnTo>
                  <a:lnTo>
                    <a:pt x="280471" y="62647"/>
                  </a:lnTo>
                  <a:lnTo>
                    <a:pt x="280584" y="61973"/>
                  </a:lnTo>
                  <a:close/>
                  <a:moveTo>
                    <a:pt x="553617" y="49437"/>
                  </a:moveTo>
                  <a:lnTo>
                    <a:pt x="555344" y="49560"/>
                  </a:lnTo>
                  <a:lnTo>
                    <a:pt x="557091" y="50712"/>
                  </a:lnTo>
                  <a:lnTo>
                    <a:pt x="558466" y="52086"/>
                  </a:lnTo>
                  <a:lnTo>
                    <a:pt x="556277" y="53725"/>
                  </a:lnTo>
                  <a:lnTo>
                    <a:pt x="552077" y="54876"/>
                  </a:lnTo>
                  <a:lnTo>
                    <a:pt x="551591" y="53929"/>
                  </a:lnTo>
                  <a:lnTo>
                    <a:pt x="552513" y="52454"/>
                  </a:lnTo>
                  <a:close/>
                  <a:moveTo>
                    <a:pt x="350606" y="36555"/>
                  </a:moveTo>
                  <a:lnTo>
                    <a:pt x="353506" y="37006"/>
                  </a:lnTo>
                  <a:lnTo>
                    <a:pt x="354245" y="37564"/>
                  </a:lnTo>
                  <a:lnTo>
                    <a:pt x="353355" y="42154"/>
                  </a:lnTo>
                  <a:lnTo>
                    <a:pt x="352163" y="43074"/>
                  </a:lnTo>
                  <a:lnTo>
                    <a:pt x="350334" y="43450"/>
                  </a:lnTo>
                  <a:lnTo>
                    <a:pt x="349349" y="42879"/>
                  </a:lnTo>
                  <a:lnTo>
                    <a:pt x="347948" y="42504"/>
                  </a:lnTo>
                  <a:lnTo>
                    <a:pt x="346391" y="42676"/>
                  </a:lnTo>
                  <a:lnTo>
                    <a:pt x="345082" y="40989"/>
                  </a:lnTo>
                  <a:lnTo>
                    <a:pt x="345229" y="39572"/>
                  </a:lnTo>
                  <a:lnTo>
                    <a:pt x="347021" y="37649"/>
                  </a:lnTo>
                  <a:close/>
                  <a:moveTo>
                    <a:pt x="318716" y="35896"/>
                  </a:moveTo>
                  <a:lnTo>
                    <a:pt x="319528" y="38632"/>
                  </a:lnTo>
                  <a:lnTo>
                    <a:pt x="319653" y="43078"/>
                  </a:lnTo>
                  <a:lnTo>
                    <a:pt x="321614" y="45233"/>
                  </a:lnTo>
                  <a:lnTo>
                    <a:pt x="323350" y="45026"/>
                  </a:lnTo>
                  <a:lnTo>
                    <a:pt x="323873" y="44213"/>
                  </a:lnTo>
                  <a:lnTo>
                    <a:pt x="325058" y="43811"/>
                  </a:lnTo>
                  <a:lnTo>
                    <a:pt x="327453" y="44949"/>
                  </a:lnTo>
                  <a:lnTo>
                    <a:pt x="327110" y="46885"/>
                  </a:lnTo>
                  <a:lnTo>
                    <a:pt x="323795" y="49325"/>
                  </a:lnTo>
                  <a:lnTo>
                    <a:pt x="321416" y="52800"/>
                  </a:lnTo>
                  <a:lnTo>
                    <a:pt x="318371" y="53606"/>
                  </a:lnTo>
                  <a:lnTo>
                    <a:pt x="316907" y="53187"/>
                  </a:lnTo>
                  <a:lnTo>
                    <a:pt x="314186" y="55190"/>
                  </a:lnTo>
                  <a:lnTo>
                    <a:pt x="312005" y="57269"/>
                  </a:lnTo>
                  <a:lnTo>
                    <a:pt x="309744" y="59895"/>
                  </a:lnTo>
                  <a:lnTo>
                    <a:pt x="309606" y="61247"/>
                  </a:lnTo>
                  <a:lnTo>
                    <a:pt x="309254" y="62281"/>
                  </a:lnTo>
                  <a:lnTo>
                    <a:pt x="300973" y="63307"/>
                  </a:lnTo>
                  <a:lnTo>
                    <a:pt x="297962" y="63986"/>
                  </a:lnTo>
                  <a:lnTo>
                    <a:pt x="294773" y="63110"/>
                  </a:lnTo>
                  <a:lnTo>
                    <a:pt x="293262" y="61376"/>
                  </a:lnTo>
                  <a:lnTo>
                    <a:pt x="293747" y="60433"/>
                  </a:lnTo>
                  <a:lnTo>
                    <a:pt x="296930" y="60056"/>
                  </a:lnTo>
                  <a:lnTo>
                    <a:pt x="297032" y="58445"/>
                  </a:lnTo>
                  <a:lnTo>
                    <a:pt x="297837" y="57461"/>
                  </a:lnTo>
                  <a:lnTo>
                    <a:pt x="298867" y="56924"/>
                  </a:lnTo>
                  <a:lnTo>
                    <a:pt x="299625" y="54863"/>
                  </a:lnTo>
                  <a:lnTo>
                    <a:pt x="300884" y="54325"/>
                  </a:lnTo>
                  <a:lnTo>
                    <a:pt x="303231" y="54832"/>
                  </a:lnTo>
                  <a:lnTo>
                    <a:pt x="304814" y="53338"/>
                  </a:lnTo>
                  <a:lnTo>
                    <a:pt x="305706" y="53085"/>
                  </a:lnTo>
                  <a:lnTo>
                    <a:pt x="306805" y="54321"/>
                  </a:lnTo>
                  <a:lnTo>
                    <a:pt x="307334" y="52619"/>
                  </a:lnTo>
                  <a:lnTo>
                    <a:pt x="306805" y="51064"/>
                  </a:lnTo>
                  <a:lnTo>
                    <a:pt x="307082" y="50015"/>
                  </a:lnTo>
                  <a:lnTo>
                    <a:pt x="310117" y="47283"/>
                  </a:lnTo>
                  <a:lnTo>
                    <a:pt x="311431" y="45289"/>
                  </a:lnTo>
                  <a:lnTo>
                    <a:pt x="313320" y="44004"/>
                  </a:lnTo>
                  <a:lnTo>
                    <a:pt x="315140" y="44209"/>
                  </a:lnTo>
                  <a:lnTo>
                    <a:pt x="315669" y="42315"/>
                  </a:lnTo>
                  <a:lnTo>
                    <a:pt x="315140" y="40373"/>
                  </a:lnTo>
                  <a:lnTo>
                    <a:pt x="315341" y="39107"/>
                  </a:lnTo>
                  <a:lnTo>
                    <a:pt x="316948" y="36027"/>
                  </a:lnTo>
                  <a:close/>
                  <a:moveTo>
                    <a:pt x="329133" y="34857"/>
                  </a:moveTo>
                  <a:lnTo>
                    <a:pt x="330984" y="37118"/>
                  </a:lnTo>
                  <a:lnTo>
                    <a:pt x="332109" y="37583"/>
                  </a:lnTo>
                  <a:lnTo>
                    <a:pt x="333221" y="37294"/>
                  </a:lnTo>
                  <a:lnTo>
                    <a:pt x="334145" y="37705"/>
                  </a:lnTo>
                  <a:lnTo>
                    <a:pt x="335996" y="39794"/>
                  </a:lnTo>
                  <a:lnTo>
                    <a:pt x="337989" y="40615"/>
                  </a:lnTo>
                  <a:lnTo>
                    <a:pt x="338082" y="41666"/>
                  </a:lnTo>
                  <a:lnTo>
                    <a:pt x="336257" y="42690"/>
                  </a:lnTo>
                  <a:lnTo>
                    <a:pt x="333854" y="42997"/>
                  </a:lnTo>
                  <a:lnTo>
                    <a:pt x="331280" y="42641"/>
                  </a:lnTo>
                  <a:lnTo>
                    <a:pt x="330524" y="41332"/>
                  </a:lnTo>
                  <a:lnTo>
                    <a:pt x="329731" y="39157"/>
                  </a:lnTo>
                  <a:lnTo>
                    <a:pt x="327578" y="37023"/>
                  </a:lnTo>
                  <a:lnTo>
                    <a:pt x="327259" y="35152"/>
                  </a:lnTo>
                  <a:close/>
                  <a:moveTo>
                    <a:pt x="414550" y="21147"/>
                  </a:moveTo>
                  <a:lnTo>
                    <a:pt x="415263" y="22086"/>
                  </a:lnTo>
                  <a:lnTo>
                    <a:pt x="416068" y="23860"/>
                  </a:lnTo>
                  <a:lnTo>
                    <a:pt x="416480" y="25730"/>
                  </a:lnTo>
                  <a:lnTo>
                    <a:pt x="416636" y="27271"/>
                  </a:lnTo>
                  <a:lnTo>
                    <a:pt x="414573" y="29498"/>
                  </a:lnTo>
                  <a:lnTo>
                    <a:pt x="409821" y="32415"/>
                  </a:lnTo>
                  <a:lnTo>
                    <a:pt x="410093" y="33198"/>
                  </a:lnTo>
                  <a:lnTo>
                    <a:pt x="408448" y="33946"/>
                  </a:lnTo>
                  <a:lnTo>
                    <a:pt x="405981" y="34498"/>
                  </a:lnTo>
                  <a:lnTo>
                    <a:pt x="404679" y="33962"/>
                  </a:lnTo>
                  <a:lnTo>
                    <a:pt x="404859" y="31463"/>
                  </a:lnTo>
                  <a:lnTo>
                    <a:pt x="404466" y="30714"/>
                  </a:lnTo>
                  <a:lnTo>
                    <a:pt x="402593" y="31705"/>
                  </a:lnTo>
                  <a:lnTo>
                    <a:pt x="400646" y="30434"/>
                  </a:lnTo>
                  <a:lnTo>
                    <a:pt x="400643" y="29155"/>
                  </a:lnTo>
                  <a:lnTo>
                    <a:pt x="401157" y="28044"/>
                  </a:lnTo>
                  <a:lnTo>
                    <a:pt x="402958" y="26354"/>
                  </a:lnTo>
                  <a:lnTo>
                    <a:pt x="405964" y="25189"/>
                  </a:lnTo>
                  <a:lnTo>
                    <a:pt x="407946" y="25626"/>
                  </a:lnTo>
                  <a:close/>
                  <a:moveTo>
                    <a:pt x="419674" y="15922"/>
                  </a:moveTo>
                  <a:lnTo>
                    <a:pt x="420959" y="16643"/>
                  </a:lnTo>
                  <a:lnTo>
                    <a:pt x="421302" y="17247"/>
                  </a:lnTo>
                  <a:lnTo>
                    <a:pt x="423611" y="17839"/>
                  </a:lnTo>
                  <a:lnTo>
                    <a:pt x="426305" y="19805"/>
                  </a:lnTo>
                  <a:lnTo>
                    <a:pt x="424962" y="23137"/>
                  </a:lnTo>
                  <a:lnTo>
                    <a:pt x="420751" y="24733"/>
                  </a:lnTo>
                  <a:lnTo>
                    <a:pt x="418307" y="23358"/>
                  </a:lnTo>
                  <a:lnTo>
                    <a:pt x="417279" y="21949"/>
                  </a:lnTo>
                  <a:lnTo>
                    <a:pt x="417128" y="18816"/>
                  </a:lnTo>
                  <a:lnTo>
                    <a:pt x="417700" y="16908"/>
                  </a:lnTo>
                  <a:close/>
                  <a:moveTo>
                    <a:pt x="411209" y="12093"/>
                  </a:moveTo>
                  <a:lnTo>
                    <a:pt x="412202" y="13172"/>
                  </a:lnTo>
                  <a:lnTo>
                    <a:pt x="411769" y="14432"/>
                  </a:lnTo>
                  <a:lnTo>
                    <a:pt x="411021" y="15659"/>
                  </a:lnTo>
                  <a:lnTo>
                    <a:pt x="409209" y="16953"/>
                  </a:lnTo>
                  <a:lnTo>
                    <a:pt x="403969" y="22068"/>
                  </a:lnTo>
                  <a:lnTo>
                    <a:pt x="400889" y="22891"/>
                  </a:lnTo>
                  <a:lnTo>
                    <a:pt x="399914" y="23692"/>
                  </a:lnTo>
                  <a:lnTo>
                    <a:pt x="398683" y="24170"/>
                  </a:lnTo>
                  <a:lnTo>
                    <a:pt x="394856" y="23471"/>
                  </a:lnTo>
                  <a:lnTo>
                    <a:pt x="393736" y="24506"/>
                  </a:lnTo>
                  <a:lnTo>
                    <a:pt x="392678" y="25197"/>
                  </a:lnTo>
                  <a:lnTo>
                    <a:pt x="389907" y="25465"/>
                  </a:lnTo>
                  <a:lnTo>
                    <a:pt x="388281" y="25240"/>
                  </a:lnTo>
                  <a:lnTo>
                    <a:pt x="384081" y="23348"/>
                  </a:lnTo>
                  <a:lnTo>
                    <a:pt x="381582" y="21298"/>
                  </a:lnTo>
                  <a:lnTo>
                    <a:pt x="380229" y="19542"/>
                  </a:lnTo>
                  <a:lnTo>
                    <a:pt x="384109" y="19576"/>
                  </a:lnTo>
                  <a:lnTo>
                    <a:pt x="385493" y="19151"/>
                  </a:lnTo>
                  <a:lnTo>
                    <a:pt x="388095" y="19521"/>
                  </a:lnTo>
                  <a:lnTo>
                    <a:pt x="389658" y="17719"/>
                  </a:lnTo>
                  <a:lnTo>
                    <a:pt x="392969" y="17937"/>
                  </a:lnTo>
                  <a:lnTo>
                    <a:pt x="399324" y="16682"/>
                  </a:lnTo>
                  <a:lnTo>
                    <a:pt x="401656" y="17382"/>
                  </a:lnTo>
                  <a:lnTo>
                    <a:pt x="406988" y="13184"/>
                  </a:lnTo>
                  <a:lnTo>
                    <a:pt x="408657" y="13294"/>
                  </a:lnTo>
                  <a:close/>
                  <a:moveTo>
                    <a:pt x="504113" y="2056"/>
                  </a:moveTo>
                  <a:lnTo>
                    <a:pt x="507129" y="2479"/>
                  </a:lnTo>
                  <a:lnTo>
                    <a:pt x="508932" y="3348"/>
                  </a:lnTo>
                  <a:lnTo>
                    <a:pt x="516155" y="4009"/>
                  </a:lnTo>
                  <a:lnTo>
                    <a:pt x="521696" y="6744"/>
                  </a:lnTo>
                  <a:lnTo>
                    <a:pt x="521485" y="11012"/>
                  </a:lnTo>
                  <a:lnTo>
                    <a:pt x="520250" y="12793"/>
                  </a:lnTo>
                  <a:lnTo>
                    <a:pt x="519034" y="13889"/>
                  </a:lnTo>
                  <a:lnTo>
                    <a:pt x="511938" y="17118"/>
                  </a:lnTo>
                  <a:lnTo>
                    <a:pt x="510768" y="18708"/>
                  </a:lnTo>
                  <a:lnTo>
                    <a:pt x="512996" y="19257"/>
                  </a:lnTo>
                  <a:lnTo>
                    <a:pt x="517790" y="17649"/>
                  </a:lnTo>
                  <a:lnTo>
                    <a:pt x="519032" y="19108"/>
                  </a:lnTo>
                  <a:lnTo>
                    <a:pt x="517505" y="22756"/>
                  </a:lnTo>
                  <a:lnTo>
                    <a:pt x="517246" y="28220"/>
                  </a:lnTo>
                  <a:lnTo>
                    <a:pt x="516693" y="31401"/>
                  </a:lnTo>
                  <a:lnTo>
                    <a:pt x="516693" y="34298"/>
                  </a:lnTo>
                  <a:lnTo>
                    <a:pt x="517289" y="35851"/>
                  </a:lnTo>
                  <a:lnTo>
                    <a:pt x="519215" y="29687"/>
                  </a:lnTo>
                  <a:lnTo>
                    <a:pt x="519874" y="28105"/>
                  </a:lnTo>
                  <a:lnTo>
                    <a:pt x="522692" y="25777"/>
                  </a:lnTo>
                  <a:lnTo>
                    <a:pt x="523741" y="21079"/>
                  </a:lnTo>
                  <a:lnTo>
                    <a:pt x="526497" y="15427"/>
                  </a:lnTo>
                  <a:lnTo>
                    <a:pt x="529602" y="12136"/>
                  </a:lnTo>
                  <a:lnTo>
                    <a:pt x="531409" y="11232"/>
                  </a:lnTo>
                  <a:lnTo>
                    <a:pt x="537397" y="11362"/>
                  </a:lnTo>
                  <a:lnTo>
                    <a:pt x="539967" y="12602"/>
                  </a:lnTo>
                  <a:lnTo>
                    <a:pt x="542234" y="15355"/>
                  </a:lnTo>
                  <a:lnTo>
                    <a:pt x="543927" y="16453"/>
                  </a:lnTo>
                  <a:lnTo>
                    <a:pt x="549265" y="17621"/>
                  </a:lnTo>
                  <a:lnTo>
                    <a:pt x="551098" y="19084"/>
                  </a:lnTo>
                  <a:lnTo>
                    <a:pt x="551442" y="19955"/>
                  </a:lnTo>
                  <a:lnTo>
                    <a:pt x="552746" y="20128"/>
                  </a:lnTo>
                  <a:lnTo>
                    <a:pt x="556348" y="18048"/>
                  </a:lnTo>
                  <a:lnTo>
                    <a:pt x="558687" y="17703"/>
                  </a:lnTo>
                  <a:lnTo>
                    <a:pt x="562502" y="20944"/>
                  </a:lnTo>
                  <a:lnTo>
                    <a:pt x="561736" y="23340"/>
                  </a:lnTo>
                  <a:lnTo>
                    <a:pt x="561960" y="24100"/>
                  </a:lnTo>
                  <a:lnTo>
                    <a:pt x="566579" y="23946"/>
                  </a:lnTo>
                  <a:lnTo>
                    <a:pt x="570423" y="24885"/>
                  </a:lnTo>
                  <a:lnTo>
                    <a:pt x="577730" y="29778"/>
                  </a:lnTo>
                  <a:lnTo>
                    <a:pt x="578488" y="32061"/>
                  </a:lnTo>
                  <a:lnTo>
                    <a:pt x="578123" y="34824"/>
                  </a:lnTo>
                  <a:lnTo>
                    <a:pt x="567616" y="37866"/>
                  </a:lnTo>
                  <a:lnTo>
                    <a:pt x="563062" y="40768"/>
                  </a:lnTo>
                  <a:lnTo>
                    <a:pt x="555608" y="41887"/>
                  </a:lnTo>
                  <a:lnTo>
                    <a:pt x="530295" y="39947"/>
                  </a:lnTo>
                  <a:lnTo>
                    <a:pt x="530807" y="42044"/>
                  </a:lnTo>
                  <a:lnTo>
                    <a:pt x="548432" y="46625"/>
                  </a:lnTo>
                  <a:lnTo>
                    <a:pt x="549438" y="47931"/>
                  </a:lnTo>
                  <a:lnTo>
                    <a:pt x="548874" y="50679"/>
                  </a:lnTo>
                  <a:lnTo>
                    <a:pt x="548866" y="52881"/>
                  </a:lnTo>
                  <a:lnTo>
                    <a:pt x="549196" y="54381"/>
                  </a:lnTo>
                  <a:lnTo>
                    <a:pt x="550494" y="55779"/>
                  </a:lnTo>
                  <a:lnTo>
                    <a:pt x="552649" y="56436"/>
                  </a:lnTo>
                  <a:lnTo>
                    <a:pt x="557033" y="56090"/>
                  </a:lnTo>
                  <a:lnTo>
                    <a:pt x="559198" y="56841"/>
                  </a:lnTo>
                  <a:lnTo>
                    <a:pt x="560678" y="55726"/>
                  </a:lnTo>
                  <a:lnTo>
                    <a:pt x="561228" y="51977"/>
                  </a:lnTo>
                  <a:lnTo>
                    <a:pt x="562500" y="51147"/>
                  </a:lnTo>
                  <a:lnTo>
                    <a:pt x="564960" y="52236"/>
                  </a:lnTo>
                  <a:lnTo>
                    <a:pt x="566031" y="56242"/>
                  </a:lnTo>
                  <a:lnTo>
                    <a:pt x="566717" y="56657"/>
                  </a:lnTo>
                  <a:lnTo>
                    <a:pt x="567957" y="53800"/>
                  </a:lnTo>
                  <a:lnTo>
                    <a:pt x="570393" y="54006"/>
                  </a:lnTo>
                  <a:lnTo>
                    <a:pt x="573044" y="53768"/>
                  </a:lnTo>
                  <a:lnTo>
                    <a:pt x="576478" y="54250"/>
                  </a:lnTo>
                  <a:lnTo>
                    <a:pt x="577681" y="59427"/>
                  </a:lnTo>
                  <a:lnTo>
                    <a:pt x="577644" y="61230"/>
                  </a:lnTo>
                  <a:lnTo>
                    <a:pt x="577074" y="62978"/>
                  </a:lnTo>
                  <a:lnTo>
                    <a:pt x="576279" y="63871"/>
                  </a:lnTo>
                  <a:lnTo>
                    <a:pt x="574690" y="64260"/>
                  </a:lnTo>
                  <a:lnTo>
                    <a:pt x="570855" y="64101"/>
                  </a:lnTo>
                  <a:lnTo>
                    <a:pt x="565642" y="62058"/>
                  </a:lnTo>
                  <a:lnTo>
                    <a:pt x="562278" y="60133"/>
                  </a:lnTo>
                  <a:lnTo>
                    <a:pt x="561230" y="60052"/>
                  </a:lnTo>
                  <a:lnTo>
                    <a:pt x="560779" y="60286"/>
                  </a:lnTo>
                  <a:lnTo>
                    <a:pt x="561591" y="62220"/>
                  </a:lnTo>
                  <a:lnTo>
                    <a:pt x="561375" y="63701"/>
                  </a:lnTo>
                  <a:lnTo>
                    <a:pt x="560868" y="65313"/>
                  </a:lnTo>
                  <a:lnTo>
                    <a:pt x="560162" y="66774"/>
                  </a:lnTo>
                  <a:lnTo>
                    <a:pt x="559177" y="68002"/>
                  </a:lnTo>
                  <a:lnTo>
                    <a:pt x="557115" y="69580"/>
                  </a:lnTo>
                  <a:lnTo>
                    <a:pt x="553547" y="70830"/>
                  </a:lnTo>
                  <a:lnTo>
                    <a:pt x="543720" y="73260"/>
                  </a:lnTo>
                  <a:lnTo>
                    <a:pt x="542940" y="74333"/>
                  </a:lnTo>
                  <a:lnTo>
                    <a:pt x="539777" y="81084"/>
                  </a:lnTo>
                  <a:lnTo>
                    <a:pt x="538913" y="82073"/>
                  </a:lnTo>
                  <a:lnTo>
                    <a:pt x="537756" y="82910"/>
                  </a:lnTo>
                  <a:lnTo>
                    <a:pt x="534379" y="83995"/>
                  </a:lnTo>
                  <a:lnTo>
                    <a:pt x="532744" y="82497"/>
                  </a:lnTo>
                  <a:lnTo>
                    <a:pt x="531433" y="80230"/>
                  </a:lnTo>
                  <a:lnTo>
                    <a:pt x="531735" y="77980"/>
                  </a:lnTo>
                  <a:lnTo>
                    <a:pt x="535685" y="73656"/>
                  </a:lnTo>
                  <a:lnTo>
                    <a:pt x="539375" y="70586"/>
                  </a:lnTo>
                  <a:lnTo>
                    <a:pt x="540416" y="69522"/>
                  </a:lnTo>
                  <a:lnTo>
                    <a:pt x="542506" y="66432"/>
                  </a:lnTo>
                  <a:lnTo>
                    <a:pt x="538265" y="58655"/>
                  </a:lnTo>
                  <a:lnTo>
                    <a:pt x="530720" y="56294"/>
                  </a:lnTo>
                  <a:lnTo>
                    <a:pt x="522126" y="52702"/>
                  </a:lnTo>
                  <a:lnTo>
                    <a:pt x="518973" y="50783"/>
                  </a:lnTo>
                  <a:lnTo>
                    <a:pt x="514067" y="46826"/>
                  </a:lnTo>
                  <a:lnTo>
                    <a:pt x="510589" y="43266"/>
                  </a:lnTo>
                  <a:lnTo>
                    <a:pt x="507447" y="43140"/>
                  </a:lnTo>
                  <a:lnTo>
                    <a:pt x="503994" y="44035"/>
                  </a:lnTo>
                  <a:lnTo>
                    <a:pt x="498606" y="47285"/>
                  </a:lnTo>
                  <a:lnTo>
                    <a:pt x="495458" y="48918"/>
                  </a:lnTo>
                  <a:lnTo>
                    <a:pt x="493730" y="49400"/>
                  </a:lnTo>
                  <a:lnTo>
                    <a:pt x="493313" y="49471"/>
                  </a:lnTo>
                  <a:lnTo>
                    <a:pt x="489457" y="48546"/>
                  </a:lnTo>
                  <a:lnTo>
                    <a:pt x="485166" y="48351"/>
                  </a:lnTo>
                  <a:lnTo>
                    <a:pt x="481717" y="48617"/>
                  </a:lnTo>
                  <a:lnTo>
                    <a:pt x="480415" y="49063"/>
                  </a:lnTo>
                  <a:lnTo>
                    <a:pt x="475613" y="54309"/>
                  </a:lnTo>
                  <a:lnTo>
                    <a:pt x="472251" y="56954"/>
                  </a:lnTo>
                  <a:lnTo>
                    <a:pt x="470400" y="57864"/>
                  </a:lnTo>
                  <a:lnTo>
                    <a:pt x="469053" y="59393"/>
                  </a:lnTo>
                  <a:lnTo>
                    <a:pt x="467947" y="61904"/>
                  </a:lnTo>
                  <a:lnTo>
                    <a:pt x="465486" y="70594"/>
                  </a:lnTo>
                  <a:lnTo>
                    <a:pt x="463650" y="73863"/>
                  </a:lnTo>
                  <a:lnTo>
                    <a:pt x="463240" y="75858"/>
                  </a:lnTo>
                  <a:lnTo>
                    <a:pt x="463672" y="81895"/>
                  </a:lnTo>
                  <a:lnTo>
                    <a:pt x="463233" y="85229"/>
                  </a:lnTo>
                  <a:lnTo>
                    <a:pt x="460985" y="87977"/>
                  </a:lnTo>
                  <a:lnTo>
                    <a:pt x="459407" y="89213"/>
                  </a:lnTo>
                  <a:lnTo>
                    <a:pt x="457319" y="89467"/>
                  </a:lnTo>
                  <a:lnTo>
                    <a:pt x="454583" y="90168"/>
                  </a:lnTo>
                  <a:lnTo>
                    <a:pt x="452194" y="91756"/>
                  </a:lnTo>
                  <a:lnTo>
                    <a:pt x="450508" y="93919"/>
                  </a:lnTo>
                  <a:lnTo>
                    <a:pt x="448607" y="98760"/>
                  </a:lnTo>
                  <a:lnTo>
                    <a:pt x="445390" y="100541"/>
                  </a:lnTo>
                  <a:lnTo>
                    <a:pt x="442317" y="100033"/>
                  </a:lnTo>
                  <a:lnTo>
                    <a:pt x="440123" y="98251"/>
                  </a:lnTo>
                  <a:lnTo>
                    <a:pt x="435420" y="96871"/>
                  </a:lnTo>
                  <a:lnTo>
                    <a:pt x="431915" y="95991"/>
                  </a:lnTo>
                  <a:lnTo>
                    <a:pt x="427981" y="94089"/>
                  </a:lnTo>
                  <a:lnTo>
                    <a:pt x="424516" y="92640"/>
                  </a:lnTo>
                  <a:lnTo>
                    <a:pt x="421345" y="92352"/>
                  </a:lnTo>
                  <a:lnTo>
                    <a:pt x="419545" y="94184"/>
                  </a:lnTo>
                  <a:lnTo>
                    <a:pt x="418095" y="95901"/>
                  </a:lnTo>
                  <a:lnTo>
                    <a:pt x="412688" y="97296"/>
                  </a:lnTo>
                  <a:lnTo>
                    <a:pt x="409627" y="98399"/>
                  </a:lnTo>
                  <a:lnTo>
                    <a:pt x="405653" y="98645"/>
                  </a:lnTo>
                  <a:lnTo>
                    <a:pt x="404047" y="97422"/>
                  </a:lnTo>
                  <a:lnTo>
                    <a:pt x="398283" y="96615"/>
                  </a:lnTo>
                  <a:lnTo>
                    <a:pt x="391421" y="95656"/>
                  </a:lnTo>
                  <a:lnTo>
                    <a:pt x="389436" y="95670"/>
                  </a:lnTo>
                  <a:lnTo>
                    <a:pt x="388817" y="93482"/>
                  </a:lnTo>
                  <a:lnTo>
                    <a:pt x="386992" y="90423"/>
                  </a:lnTo>
                  <a:lnTo>
                    <a:pt x="382112" y="85126"/>
                  </a:lnTo>
                  <a:lnTo>
                    <a:pt x="380116" y="83253"/>
                  </a:lnTo>
                  <a:lnTo>
                    <a:pt x="376363" y="78851"/>
                  </a:lnTo>
                  <a:lnTo>
                    <a:pt x="371986" y="74329"/>
                  </a:lnTo>
                  <a:lnTo>
                    <a:pt x="371366" y="74217"/>
                  </a:lnTo>
                  <a:lnTo>
                    <a:pt x="368436" y="74065"/>
                  </a:lnTo>
                  <a:lnTo>
                    <a:pt x="364137" y="74214"/>
                  </a:lnTo>
                  <a:lnTo>
                    <a:pt x="361416" y="75242"/>
                  </a:lnTo>
                  <a:lnTo>
                    <a:pt x="359699" y="76533"/>
                  </a:lnTo>
                  <a:lnTo>
                    <a:pt x="359401" y="77604"/>
                  </a:lnTo>
                  <a:lnTo>
                    <a:pt x="361064" y="81713"/>
                  </a:lnTo>
                  <a:lnTo>
                    <a:pt x="360548" y="82736"/>
                  </a:lnTo>
                  <a:lnTo>
                    <a:pt x="359691" y="83228"/>
                  </a:lnTo>
                  <a:lnTo>
                    <a:pt x="355789" y="82077"/>
                  </a:lnTo>
                  <a:lnTo>
                    <a:pt x="351070" y="82153"/>
                  </a:lnTo>
                  <a:lnTo>
                    <a:pt x="349882" y="83418"/>
                  </a:lnTo>
                  <a:lnTo>
                    <a:pt x="347004" y="83556"/>
                  </a:lnTo>
                  <a:lnTo>
                    <a:pt x="338706" y="84037"/>
                  </a:lnTo>
                  <a:lnTo>
                    <a:pt x="342368" y="87389"/>
                  </a:lnTo>
                  <a:lnTo>
                    <a:pt x="343579" y="88730"/>
                  </a:lnTo>
                  <a:lnTo>
                    <a:pt x="343821" y="90698"/>
                  </a:lnTo>
                  <a:lnTo>
                    <a:pt x="343189" y="94352"/>
                  </a:lnTo>
                  <a:lnTo>
                    <a:pt x="341433" y="97469"/>
                  </a:lnTo>
                  <a:lnTo>
                    <a:pt x="339386" y="100001"/>
                  </a:lnTo>
                  <a:lnTo>
                    <a:pt x="335436" y="102509"/>
                  </a:lnTo>
                  <a:lnTo>
                    <a:pt x="341433" y="104984"/>
                  </a:lnTo>
                  <a:lnTo>
                    <a:pt x="337363" y="108323"/>
                  </a:lnTo>
                  <a:lnTo>
                    <a:pt x="335458" y="109623"/>
                  </a:lnTo>
                  <a:lnTo>
                    <a:pt x="333251" y="109399"/>
                  </a:lnTo>
                  <a:lnTo>
                    <a:pt x="329297" y="108244"/>
                  </a:lnTo>
                  <a:lnTo>
                    <a:pt x="319740" y="105452"/>
                  </a:lnTo>
                  <a:lnTo>
                    <a:pt x="315177" y="104401"/>
                  </a:lnTo>
                  <a:lnTo>
                    <a:pt x="311100" y="104079"/>
                  </a:lnTo>
                  <a:lnTo>
                    <a:pt x="308923" y="104120"/>
                  </a:lnTo>
                  <a:lnTo>
                    <a:pt x="300273" y="101727"/>
                  </a:lnTo>
                  <a:lnTo>
                    <a:pt x="298602" y="101995"/>
                  </a:lnTo>
                  <a:lnTo>
                    <a:pt x="295496" y="103032"/>
                  </a:lnTo>
                  <a:lnTo>
                    <a:pt x="295153" y="105358"/>
                  </a:lnTo>
                  <a:lnTo>
                    <a:pt x="295349" y="111135"/>
                  </a:lnTo>
                  <a:lnTo>
                    <a:pt x="295807" y="115572"/>
                  </a:lnTo>
                  <a:lnTo>
                    <a:pt x="294665" y="118133"/>
                  </a:lnTo>
                  <a:lnTo>
                    <a:pt x="293520" y="119869"/>
                  </a:lnTo>
                  <a:lnTo>
                    <a:pt x="290059" y="124542"/>
                  </a:lnTo>
                  <a:lnTo>
                    <a:pt x="282277" y="121367"/>
                  </a:lnTo>
                  <a:lnTo>
                    <a:pt x="276967" y="119261"/>
                  </a:lnTo>
                  <a:lnTo>
                    <a:pt x="273559" y="122064"/>
                  </a:lnTo>
                  <a:lnTo>
                    <a:pt x="265004" y="127192"/>
                  </a:lnTo>
                  <a:lnTo>
                    <a:pt x="260624" y="137276"/>
                  </a:lnTo>
                  <a:lnTo>
                    <a:pt x="260372" y="137605"/>
                  </a:lnTo>
                  <a:lnTo>
                    <a:pt x="257785" y="140161"/>
                  </a:lnTo>
                  <a:lnTo>
                    <a:pt x="254468" y="141334"/>
                  </a:lnTo>
                  <a:lnTo>
                    <a:pt x="251957" y="141914"/>
                  </a:lnTo>
                  <a:lnTo>
                    <a:pt x="250495" y="144897"/>
                  </a:lnTo>
                  <a:lnTo>
                    <a:pt x="253902" y="149167"/>
                  </a:lnTo>
                  <a:lnTo>
                    <a:pt x="255651" y="151417"/>
                  </a:lnTo>
                  <a:lnTo>
                    <a:pt x="257280" y="155042"/>
                  </a:lnTo>
                  <a:lnTo>
                    <a:pt x="256979" y="157347"/>
                  </a:lnTo>
                  <a:lnTo>
                    <a:pt x="256599" y="158780"/>
                  </a:lnTo>
                  <a:lnTo>
                    <a:pt x="252933" y="161708"/>
                  </a:lnTo>
                  <a:lnTo>
                    <a:pt x="245116" y="169424"/>
                  </a:lnTo>
                  <a:lnTo>
                    <a:pt x="237882" y="177449"/>
                  </a:lnTo>
                  <a:lnTo>
                    <a:pt x="234917" y="179747"/>
                  </a:lnTo>
                  <a:lnTo>
                    <a:pt x="236262" y="186523"/>
                  </a:lnTo>
                  <a:lnTo>
                    <a:pt x="233855" y="188504"/>
                  </a:lnTo>
                  <a:lnTo>
                    <a:pt x="228955" y="190744"/>
                  </a:lnTo>
                  <a:lnTo>
                    <a:pt x="226450" y="191608"/>
                  </a:lnTo>
                  <a:lnTo>
                    <a:pt x="223751" y="192114"/>
                  </a:lnTo>
                  <a:lnTo>
                    <a:pt x="215465" y="193008"/>
                  </a:lnTo>
                  <a:lnTo>
                    <a:pt x="216940" y="200220"/>
                  </a:lnTo>
                  <a:lnTo>
                    <a:pt x="217497" y="203404"/>
                  </a:lnTo>
                  <a:lnTo>
                    <a:pt x="217484" y="205291"/>
                  </a:lnTo>
                  <a:lnTo>
                    <a:pt x="216627" y="207126"/>
                  </a:lnTo>
                  <a:lnTo>
                    <a:pt x="215603" y="210635"/>
                  </a:lnTo>
                  <a:lnTo>
                    <a:pt x="214059" y="223129"/>
                  </a:lnTo>
                  <a:lnTo>
                    <a:pt x="212878" y="224469"/>
                  </a:lnTo>
                  <a:lnTo>
                    <a:pt x="211246" y="227840"/>
                  </a:lnTo>
                  <a:lnTo>
                    <a:pt x="205999" y="235919"/>
                  </a:lnTo>
                  <a:lnTo>
                    <a:pt x="201790" y="241272"/>
                  </a:lnTo>
                  <a:lnTo>
                    <a:pt x="195720" y="248960"/>
                  </a:lnTo>
                  <a:lnTo>
                    <a:pt x="200656" y="251381"/>
                  </a:lnTo>
                  <a:lnTo>
                    <a:pt x="205169" y="253145"/>
                  </a:lnTo>
                  <a:lnTo>
                    <a:pt x="206104" y="255857"/>
                  </a:lnTo>
                  <a:lnTo>
                    <a:pt x="206726" y="260380"/>
                  </a:lnTo>
                  <a:lnTo>
                    <a:pt x="206575" y="263453"/>
                  </a:lnTo>
                  <a:lnTo>
                    <a:pt x="204852" y="266213"/>
                  </a:lnTo>
                  <a:lnTo>
                    <a:pt x="203513" y="268148"/>
                  </a:lnTo>
                  <a:lnTo>
                    <a:pt x="202580" y="269091"/>
                  </a:lnTo>
                  <a:lnTo>
                    <a:pt x="196171" y="268152"/>
                  </a:lnTo>
                  <a:lnTo>
                    <a:pt x="187966" y="266945"/>
                  </a:lnTo>
                  <a:lnTo>
                    <a:pt x="185841" y="266934"/>
                  </a:lnTo>
                  <a:lnTo>
                    <a:pt x="181066" y="267803"/>
                  </a:lnTo>
                  <a:lnTo>
                    <a:pt x="176758" y="269586"/>
                  </a:lnTo>
                  <a:lnTo>
                    <a:pt x="174487" y="271088"/>
                  </a:lnTo>
                  <a:lnTo>
                    <a:pt x="173878" y="271685"/>
                  </a:lnTo>
                  <a:lnTo>
                    <a:pt x="171008" y="275099"/>
                  </a:lnTo>
                  <a:lnTo>
                    <a:pt x="165905" y="281156"/>
                  </a:lnTo>
                  <a:lnTo>
                    <a:pt x="163102" y="283795"/>
                  </a:lnTo>
                  <a:lnTo>
                    <a:pt x="163919" y="287426"/>
                  </a:lnTo>
                  <a:lnTo>
                    <a:pt x="159226" y="294429"/>
                  </a:lnTo>
                  <a:lnTo>
                    <a:pt x="162295" y="301478"/>
                  </a:lnTo>
                  <a:lnTo>
                    <a:pt x="162426" y="301709"/>
                  </a:lnTo>
                  <a:lnTo>
                    <a:pt x="164052" y="304551"/>
                  </a:lnTo>
                  <a:lnTo>
                    <a:pt x="162347" y="306381"/>
                  </a:lnTo>
                  <a:lnTo>
                    <a:pt x="161630" y="307364"/>
                  </a:lnTo>
                  <a:lnTo>
                    <a:pt x="161873" y="310603"/>
                  </a:lnTo>
                  <a:lnTo>
                    <a:pt x="162321" y="314217"/>
                  </a:lnTo>
                  <a:lnTo>
                    <a:pt x="161923" y="316334"/>
                  </a:lnTo>
                  <a:lnTo>
                    <a:pt x="161761" y="318682"/>
                  </a:lnTo>
                  <a:lnTo>
                    <a:pt x="165940" y="329208"/>
                  </a:lnTo>
                  <a:lnTo>
                    <a:pt x="165892" y="331669"/>
                  </a:lnTo>
                  <a:lnTo>
                    <a:pt x="165685" y="333254"/>
                  </a:lnTo>
                  <a:lnTo>
                    <a:pt x="164396" y="339764"/>
                  </a:lnTo>
                  <a:lnTo>
                    <a:pt x="162664" y="348480"/>
                  </a:lnTo>
                  <a:lnTo>
                    <a:pt x="165687" y="350764"/>
                  </a:lnTo>
                  <a:lnTo>
                    <a:pt x="169993" y="353492"/>
                  </a:lnTo>
                  <a:lnTo>
                    <a:pt x="172409" y="354565"/>
                  </a:lnTo>
                  <a:lnTo>
                    <a:pt x="175979" y="357800"/>
                  </a:lnTo>
                  <a:lnTo>
                    <a:pt x="178704" y="360956"/>
                  </a:lnTo>
                  <a:lnTo>
                    <a:pt x="178326" y="363049"/>
                  </a:lnTo>
                  <a:lnTo>
                    <a:pt x="177542" y="365356"/>
                  </a:lnTo>
                  <a:lnTo>
                    <a:pt x="176395" y="366968"/>
                  </a:lnTo>
                  <a:lnTo>
                    <a:pt x="175322" y="369179"/>
                  </a:lnTo>
                  <a:lnTo>
                    <a:pt x="174841" y="370806"/>
                  </a:lnTo>
                  <a:lnTo>
                    <a:pt x="174331" y="371244"/>
                  </a:lnTo>
                  <a:lnTo>
                    <a:pt x="169568" y="371422"/>
                  </a:lnTo>
                  <a:lnTo>
                    <a:pt x="167049" y="372037"/>
                  </a:lnTo>
                  <a:lnTo>
                    <a:pt x="165732" y="372726"/>
                  </a:lnTo>
                  <a:lnTo>
                    <a:pt x="166186" y="376434"/>
                  </a:lnTo>
                  <a:lnTo>
                    <a:pt x="169075" y="383209"/>
                  </a:lnTo>
                  <a:lnTo>
                    <a:pt x="171474" y="388013"/>
                  </a:lnTo>
                  <a:lnTo>
                    <a:pt x="172245" y="391175"/>
                  </a:lnTo>
                  <a:lnTo>
                    <a:pt x="171453" y="394375"/>
                  </a:lnTo>
                  <a:lnTo>
                    <a:pt x="170634" y="396012"/>
                  </a:lnTo>
                  <a:lnTo>
                    <a:pt x="170608" y="398214"/>
                  </a:lnTo>
                  <a:lnTo>
                    <a:pt x="169978" y="402590"/>
                  </a:lnTo>
                  <a:lnTo>
                    <a:pt x="168118" y="404799"/>
                  </a:lnTo>
                  <a:lnTo>
                    <a:pt x="165685" y="407204"/>
                  </a:lnTo>
                  <a:lnTo>
                    <a:pt x="162971" y="408999"/>
                  </a:lnTo>
                  <a:lnTo>
                    <a:pt x="160818" y="409503"/>
                  </a:lnTo>
                  <a:lnTo>
                    <a:pt x="158969" y="409711"/>
                  </a:lnTo>
                  <a:lnTo>
                    <a:pt x="157728" y="410622"/>
                  </a:lnTo>
                  <a:lnTo>
                    <a:pt x="156602" y="413299"/>
                  </a:lnTo>
                  <a:lnTo>
                    <a:pt x="155564" y="416106"/>
                  </a:lnTo>
                  <a:lnTo>
                    <a:pt x="152169" y="419553"/>
                  </a:lnTo>
                  <a:lnTo>
                    <a:pt x="152260" y="420752"/>
                  </a:lnTo>
                  <a:lnTo>
                    <a:pt x="153553" y="424829"/>
                  </a:lnTo>
                  <a:lnTo>
                    <a:pt x="154765" y="429460"/>
                  </a:lnTo>
                  <a:lnTo>
                    <a:pt x="153741" y="433781"/>
                  </a:lnTo>
                  <a:lnTo>
                    <a:pt x="152865" y="438308"/>
                  </a:lnTo>
                  <a:lnTo>
                    <a:pt x="151329" y="441320"/>
                  </a:lnTo>
                  <a:lnTo>
                    <a:pt x="149135" y="442395"/>
                  </a:lnTo>
                  <a:lnTo>
                    <a:pt x="147524" y="441858"/>
                  </a:lnTo>
                  <a:lnTo>
                    <a:pt x="145702" y="437727"/>
                  </a:lnTo>
                  <a:lnTo>
                    <a:pt x="145661" y="436776"/>
                  </a:lnTo>
                  <a:lnTo>
                    <a:pt x="145207" y="435511"/>
                  </a:lnTo>
                  <a:lnTo>
                    <a:pt x="140038" y="434250"/>
                  </a:lnTo>
                  <a:lnTo>
                    <a:pt x="139124" y="434296"/>
                  </a:lnTo>
                  <a:lnTo>
                    <a:pt x="137092" y="433557"/>
                  </a:lnTo>
                  <a:lnTo>
                    <a:pt x="135901" y="433348"/>
                  </a:lnTo>
                  <a:lnTo>
                    <a:pt x="133456" y="432921"/>
                  </a:lnTo>
                  <a:lnTo>
                    <a:pt x="131424" y="429261"/>
                  </a:lnTo>
                  <a:lnTo>
                    <a:pt x="129265" y="426212"/>
                  </a:lnTo>
                  <a:lnTo>
                    <a:pt x="128958" y="424936"/>
                  </a:lnTo>
                  <a:lnTo>
                    <a:pt x="129032" y="419218"/>
                  </a:lnTo>
                  <a:lnTo>
                    <a:pt x="128371" y="416670"/>
                  </a:lnTo>
                  <a:lnTo>
                    <a:pt x="128168" y="413889"/>
                  </a:lnTo>
                  <a:lnTo>
                    <a:pt x="126809" y="416151"/>
                  </a:lnTo>
                  <a:lnTo>
                    <a:pt x="127598" y="419723"/>
                  </a:lnTo>
                  <a:lnTo>
                    <a:pt x="125922" y="421220"/>
                  </a:lnTo>
                  <a:lnTo>
                    <a:pt x="123808" y="421947"/>
                  </a:lnTo>
                  <a:lnTo>
                    <a:pt x="124007" y="424035"/>
                  </a:lnTo>
                  <a:lnTo>
                    <a:pt x="124875" y="424430"/>
                  </a:lnTo>
                  <a:lnTo>
                    <a:pt x="125056" y="426595"/>
                  </a:lnTo>
                  <a:lnTo>
                    <a:pt x="124542" y="429796"/>
                  </a:lnTo>
                  <a:lnTo>
                    <a:pt x="120381" y="436895"/>
                  </a:lnTo>
                  <a:lnTo>
                    <a:pt x="119541" y="437657"/>
                  </a:lnTo>
                  <a:lnTo>
                    <a:pt x="118971" y="438614"/>
                  </a:lnTo>
                  <a:lnTo>
                    <a:pt x="116842" y="437978"/>
                  </a:lnTo>
                  <a:lnTo>
                    <a:pt x="114110" y="439950"/>
                  </a:lnTo>
                  <a:lnTo>
                    <a:pt x="111523" y="440266"/>
                  </a:lnTo>
                  <a:lnTo>
                    <a:pt x="110586" y="438035"/>
                  </a:lnTo>
                  <a:lnTo>
                    <a:pt x="106936" y="435079"/>
                  </a:lnTo>
                  <a:lnTo>
                    <a:pt x="105213" y="435245"/>
                  </a:lnTo>
                  <a:lnTo>
                    <a:pt x="106760" y="436704"/>
                  </a:lnTo>
                  <a:lnTo>
                    <a:pt x="108284" y="438599"/>
                  </a:lnTo>
                  <a:lnTo>
                    <a:pt x="107418" y="439853"/>
                  </a:lnTo>
                  <a:lnTo>
                    <a:pt x="106567" y="440671"/>
                  </a:lnTo>
                  <a:lnTo>
                    <a:pt x="105077" y="441095"/>
                  </a:lnTo>
                  <a:lnTo>
                    <a:pt x="99746" y="443570"/>
                  </a:lnTo>
                  <a:lnTo>
                    <a:pt x="101644" y="445231"/>
                  </a:lnTo>
                  <a:lnTo>
                    <a:pt x="100033" y="447116"/>
                  </a:lnTo>
                  <a:lnTo>
                    <a:pt x="98170" y="447393"/>
                  </a:lnTo>
                  <a:lnTo>
                    <a:pt x="97176" y="448273"/>
                  </a:lnTo>
                  <a:lnTo>
                    <a:pt x="96831" y="449467"/>
                  </a:lnTo>
                  <a:lnTo>
                    <a:pt x="91309" y="452866"/>
                  </a:lnTo>
                  <a:lnTo>
                    <a:pt x="82309" y="461559"/>
                  </a:lnTo>
                  <a:lnTo>
                    <a:pt x="77684" y="464009"/>
                  </a:lnTo>
                  <a:lnTo>
                    <a:pt x="74453" y="466554"/>
                  </a:lnTo>
                  <a:lnTo>
                    <a:pt x="71607" y="466491"/>
                  </a:lnTo>
                  <a:lnTo>
                    <a:pt x="68029" y="468652"/>
                  </a:lnTo>
                  <a:lnTo>
                    <a:pt x="58970" y="470547"/>
                  </a:lnTo>
                  <a:lnTo>
                    <a:pt x="52961" y="469690"/>
                  </a:lnTo>
                  <a:lnTo>
                    <a:pt x="48776" y="470442"/>
                  </a:lnTo>
                  <a:lnTo>
                    <a:pt x="46532" y="468957"/>
                  </a:lnTo>
                  <a:lnTo>
                    <a:pt x="46241" y="467936"/>
                  </a:lnTo>
                  <a:lnTo>
                    <a:pt x="46353" y="467343"/>
                  </a:lnTo>
                  <a:lnTo>
                    <a:pt x="46729" y="466632"/>
                  </a:lnTo>
                  <a:lnTo>
                    <a:pt x="45949" y="466380"/>
                  </a:lnTo>
                  <a:lnTo>
                    <a:pt x="44308" y="466257"/>
                  </a:lnTo>
                  <a:lnTo>
                    <a:pt x="43606" y="466974"/>
                  </a:lnTo>
                  <a:lnTo>
                    <a:pt x="43511" y="468602"/>
                  </a:lnTo>
                  <a:lnTo>
                    <a:pt x="42730" y="469027"/>
                  </a:lnTo>
                  <a:lnTo>
                    <a:pt x="39613" y="468096"/>
                  </a:lnTo>
                  <a:lnTo>
                    <a:pt x="38830" y="467257"/>
                  </a:lnTo>
                  <a:lnTo>
                    <a:pt x="39950" y="465556"/>
                  </a:lnTo>
                  <a:lnTo>
                    <a:pt x="41868" y="464023"/>
                  </a:lnTo>
                  <a:lnTo>
                    <a:pt x="41520" y="463709"/>
                  </a:lnTo>
                  <a:lnTo>
                    <a:pt x="41147" y="462777"/>
                  </a:lnTo>
                  <a:lnTo>
                    <a:pt x="40211" y="462659"/>
                  </a:lnTo>
                  <a:lnTo>
                    <a:pt x="37424" y="462884"/>
                  </a:lnTo>
                  <a:lnTo>
                    <a:pt x="35159" y="462609"/>
                  </a:lnTo>
                  <a:lnTo>
                    <a:pt x="27765" y="459156"/>
                  </a:lnTo>
                  <a:lnTo>
                    <a:pt x="26038" y="457312"/>
                  </a:lnTo>
                  <a:lnTo>
                    <a:pt x="20073" y="454363"/>
                  </a:lnTo>
                  <a:lnTo>
                    <a:pt x="17400" y="451234"/>
                  </a:lnTo>
                  <a:lnTo>
                    <a:pt x="15882" y="447798"/>
                  </a:lnTo>
                  <a:lnTo>
                    <a:pt x="15996" y="444680"/>
                  </a:lnTo>
                  <a:lnTo>
                    <a:pt x="16728" y="439723"/>
                  </a:lnTo>
                  <a:lnTo>
                    <a:pt x="17981" y="438496"/>
                  </a:lnTo>
                  <a:lnTo>
                    <a:pt x="23334" y="440234"/>
                  </a:lnTo>
                  <a:lnTo>
                    <a:pt x="28745" y="443134"/>
                  </a:lnTo>
                  <a:lnTo>
                    <a:pt x="29592" y="442991"/>
                  </a:lnTo>
                  <a:lnTo>
                    <a:pt x="31291" y="440715"/>
                  </a:lnTo>
                  <a:lnTo>
                    <a:pt x="34589" y="438885"/>
                  </a:lnTo>
                  <a:lnTo>
                    <a:pt x="33656" y="438380"/>
                  </a:lnTo>
                  <a:lnTo>
                    <a:pt x="28754" y="440479"/>
                  </a:lnTo>
                  <a:lnTo>
                    <a:pt x="26931" y="439316"/>
                  </a:lnTo>
                  <a:lnTo>
                    <a:pt x="24105" y="436946"/>
                  </a:lnTo>
                  <a:lnTo>
                    <a:pt x="24105" y="435725"/>
                  </a:lnTo>
                  <a:lnTo>
                    <a:pt x="25422" y="434503"/>
                  </a:lnTo>
                  <a:lnTo>
                    <a:pt x="25860" y="432849"/>
                  </a:lnTo>
                  <a:lnTo>
                    <a:pt x="25169" y="431287"/>
                  </a:lnTo>
                  <a:lnTo>
                    <a:pt x="25491" y="429160"/>
                  </a:lnTo>
                  <a:lnTo>
                    <a:pt x="27677" y="426901"/>
                  </a:lnTo>
                  <a:lnTo>
                    <a:pt x="30954" y="424611"/>
                  </a:lnTo>
                  <a:lnTo>
                    <a:pt x="33315" y="422399"/>
                  </a:lnTo>
                  <a:lnTo>
                    <a:pt x="35740" y="421036"/>
                  </a:lnTo>
                  <a:lnTo>
                    <a:pt x="35487" y="420581"/>
                  </a:lnTo>
                  <a:lnTo>
                    <a:pt x="32714" y="421449"/>
                  </a:lnTo>
                  <a:lnTo>
                    <a:pt x="30062" y="422921"/>
                  </a:lnTo>
                  <a:lnTo>
                    <a:pt x="26940" y="425385"/>
                  </a:lnTo>
                  <a:lnTo>
                    <a:pt x="23133" y="427381"/>
                  </a:lnTo>
                  <a:lnTo>
                    <a:pt x="20319" y="428155"/>
                  </a:lnTo>
                  <a:lnTo>
                    <a:pt x="18978" y="428795"/>
                  </a:lnTo>
                  <a:lnTo>
                    <a:pt x="16916" y="429417"/>
                  </a:lnTo>
                  <a:lnTo>
                    <a:pt x="14783" y="432273"/>
                  </a:lnTo>
                  <a:lnTo>
                    <a:pt x="12455" y="433495"/>
                  </a:lnTo>
                  <a:lnTo>
                    <a:pt x="8274" y="433619"/>
                  </a:lnTo>
                  <a:lnTo>
                    <a:pt x="7355" y="431533"/>
                  </a:lnTo>
                  <a:lnTo>
                    <a:pt x="8535" y="424101"/>
                  </a:lnTo>
                  <a:lnTo>
                    <a:pt x="9799" y="420472"/>
                  </a:lnTo>
                  <a:lnTo>
                    <a:pt x="11185" y="417901"/>
                  </a:lnTo>
                  <a:lnTo>
                    <a:pt x="13366" y="417468"/>
                  </a:lnTo>
                  <a:lnTo>
                    <a:pt x="14891" y="415582"/>
                  </a:lnTo>
                  <a:lnTo>
                    <a:pt x="16156" y="415582"/>
                  </a:lnTo>
                  <a:lnTo>
                    <a:pt x="17257" y="416453"/>
                  </a:lnTo>
                  <a:lnTo>
                    <a:pt x="21518" y="417297"/>
                  </a:lnTo>
                  <a:lnTo>
                    <a:pt x="23621" y="414895"/>
                  </a:lnTo>
                  <a:lnTo>
                    <a:pt x="26357" y="414543"/>
                  </a:lnTo>
                  <a:lnTo>
                    <a:pt x="31345" y="412116"/>
                  </a:lnTo>
                  <a:lnTo>
                    <a:pt x="31241" y="411674"/>
                  </a:lnTo>
                  <a:lnTo>
                    <a:pt x="27866" y="412208"/>
                  </a:lnTo>
                  <a:lnTo>
                    <a:pt x="25819" y="412287"/>
                  </a:lnTo>
                  <a:lnTo>
                    <a:pt x="22885" y="412896"/>
                  </a:lnTo>
                  <a:lnTo>
                    <a:pt x="21326" y="412461"/>
                  </a:lnTo>
                  <a:lnTo>
                    <a:pt x="20596" y="410642"/>
                  </a:lnTo>
                  <a:lnTo>
                    <a:pt x="21770" y="409002"/>
                  </a:lnTo>
                  <a:lnTo>
                    <a:pt x="26478" y="405081"/>
                  </a:lnTo>
                  <a:lnTo>
                    <a:pt x="28102" y="403361"/>
                  </a:lnTo>
                  <a:lnTo>
                    <a:pt x="29028" y="401753"/>
                  </a:lnTo>
                  <a:lnTo>
                    <a:pt x="28881" y="400658"/>
                  </a:lnTo>
                  <a:lnTo>
                    <a:pt x="29663" y="398392"/>
                  </a:lnTo>
                  <a:lnTo>
                    <a:pt x="34267" y="394426"/>
                  </a:lnTo>
                  <a:lnTo>
                    <a:pt x="38011" y="392611"/>
                  </a:lnTo>
                  <a:lnTo>
                    <a:pt x="39240" y="394173"/>
                  </a:lnTo>
                  <a:lnTo>
                    <a:pt x="38195" y="399051"/>
                  </a:lnTo>
                  <a:lnTo>
                    <a:pt x="38205" y="401062"/>
                  </a:lnTo>
                  <a:lnTo>
                    <a:pt x="41170" y="393952"/>
                  </a:lnTo>
                  <a:lnTo>
                    <a:pt x="42475" y="392258"/>
                  </a:lnTo>
                  <a:lnTo>
                    <a:pt x="43960" y="391063"/>
                  </a:lnTo>
                  <a:lnTo>
                    <a:pt x="47556" y="390260"/>
                  </a:lnTo>
                  <a:lnTo>
                    <a:pt x="48573" y="389136"/>
                  </a:lnTo>
                  <a:lnTo>
                    <a:pt x="44386" y="389508"/>
                  </a:lnTo>
                  <a:lnTo>
                    <a:pt x="34228" y="392228"/>
                  </a:lnTo>
                  <a:lnTo>
                    <a:pt x="29946" y="394649"/>
                  </a:lnTo>
                  <a:lnTo>
                    <a:pt x="28806" y="396513"/>
                  </a:lnTo>
                  <a:lnTo>
                    <a:pt x="25834" y="399318"/>
                  </a:lnTo>
                  <a:lnTo>
                    <a:pt x="24441" y="401138"/>
                  </a:lnTo>
                  <a:lnTo>
                    <a:pt x="23826" y="403807"/>
                  </a:lnTo>
                  <a:lnTo>
                    <a:pt x="22152" y="405256"/>
                  </a:lnTo>
                  <a:lnTo>
                    <a:pt x="19896" y="405791"/>
                  </a:lnTo>
                  <a:lnTo>
                    <a:pt x="16761" y="409168"/>
                  </a:lnTo>
                  <a:lnTo>
                    <a:pt x="15379" y="411878"/>
                  </a:lnTo>
                  <a:lnTo>
                    <a:pt x="12259" y="414035"/>
                  </a:lnTo>
                  <a:lnTo>
                    <a:pt x="10278" y="415692"/>
                  </a:lnTo>
                  <a:lnTo>
                    <a:pt x="9628" y="416283"/>
                  </a:lnTo>
                  <a:lnTo>
                    <a:pt x="8557" y="417911"/>
                  </a:lnTo>
                  <a:lnTo>
                    <a:pt x="7667" y="418025"/>
                  </a:lnTo>
                  <a:lnTo>
                    <a:pt x="6892" y="417071"/>
                  </a:lnTo>
                  <a:lnTo>
                    <a:pt x="6763" y="414970"/>
                  </a:lnTo>
                  <a:lnTo>
                    <a:pt x="7080" y="411611"/>
                  </a:lnTo>
                  <a:lnTo>
                    <a:pt x="8581" y="409191"/>
                  </a:lnTo>
                  <a:lnTo>
                    <a:pt x="9298" y="406824"/>
                  </a:lnTo>
                  <a:lnTo>
                    <a:pt x="8300" y="404611"/>
                  </a:lnTo>
                  <a:lnTo>
                    <a:pt x="8991" y="403214"/>
                  </a:lnTo>
                  <a:lnTo>
                    <a:pt x="10313" y="403262"/>
                  </a:lnTo>
                  <a:lnTo>
                    <a:pt x="12768" y="403899"/>
                  </a:lnTo>
                  <a:lnTo>
                    <a:pt x="15379" y="403797"/>
                  </a:lnTo>
                  <a:lnTo>
                    <a:pt x="19669" y="402047"/>
                  </a:lnTo>
                  <a:lnTo>
                    <a:pt x="18985" y="401024"/>
                  </a:lnTo>
                  <a:lnTo>
                    <a:pt x="17132" y="400878"/>
                  </a:lnTo>
                  <a:lnTo>
                    <a:pt x="13673" y="401024"/>
                  </a:lnTo>
                  <a:lnTo>
                    <a:pt x="10764" y="399313"/>
                  </a:lnTo>
                  <a:lnTo>
                    <a:pt x="8503" y="395906"/>
                  </a:lnTo>
                  <a:lnTo>
                    <a:pt x="7475" y="391346"/>
                  </a:lnTo>
                  <a:lnTo>
                    <a:pt x="8162" y="390040"/>
                  </a:lnTo>
                  <a:lnTo>
                    <a:pt x="16528" y="385382"/>
                  </a:lnTo>
                  <a:lnTo>
                    <a:pt x="18780" y="383264"/>
                  </a:lnTo>
                  <a:lnTo>
                    <a:pt x="17475" y="383054"/>
                  </a:lnTo>
                  <a:lnTo>
                    <a:pt x="14336" y="385623"/>
                  </a:lnTo>
                  <a:lnTo>
                    <a:pt x="9840" y="387216"/>
                  </a:lnTo>
                  <a:lnTo>
                    <a:pt x="7005" y="385001"/>
                  </a:lnTo>
                  <a:lnTo>
                    <a:pt x="5530" y="382612"/>
                  </a:lnTo>
                  <a:lnTo>
                    <a:pt x="4681" y="377560"/>
                  </a:lnTo>
                  <a:lnTo>
                    <a:pt x="4988" y="374959"/>
                  </a:lnTo>
                  <a:lnTo>
                    <a:pt x="4633" y="371534"/>
                  </a:lnTo>
                  <a:lnTo>
                    <a:pt x="6553" y="370420"/>
                  </a:lnTo>
                  <a:lnTo>
                    <a:pt x="8700" y="371012"/>
                  </a:lnTo>
                  <a:lnTo>
                    <a:pt x="10816" y="371232"/>
                  </a:lnTo>
                  <a:lnTo>
                    <a:pt x="15616" y="370932"/>
                  </a:lnTo>
                  <a:lnTo>
                    <a:pt x="26201" y="368874"/>
                  </a:lnTo>
                  <a:lnTo>
                    <a:pt x="33025" y="370097"/>
                  </a:lnTo>
                  <a:lnTo>
                    <a:pt x="35798" y="369985"/>
                  </a:lnTo>
                  <a:lnTo>
                    <a:pt x="40041" y="368212"/>
                  </a:lnTo>
                  <a:lnTo>
                    <a:pt x="43755" y="368029"/>
                  </a:lnTo>
                  <a:lnTo>
                    <a:pt x="46532" y="369384"/>
                  </a:lnTo>
                  <a:lnTo>
                    <a:pt x="48050" y="370937"/>
                  </a:lnTo>
                  <a:lnTo>
                    <a:pt x="48238" y="373013"/>
                  </a:lnTo>
                  <a:lnTo>
                    <a:pt x="49523" y="374396"/>
                  </a:lnTo>
                  <a:lnTo>
                    <a:pt x="50391" y="373947"/>
                  </a:lnTo>
                  <a:lnTo>
                    <a:pt x="49700" y="372303"/>
                  </a:lnTo>
                  <a:lnTo>
                    <a:pt x="49555" y="369753"/>
                  </a:lnTo>
                  <a:lnTo>
                    <a:pt x="60719" y="366861"/>
                  </a:lnTo>
                  <a:lnTo>
                    <a:pt x="62035" y="365736"/>
                  </a:lnTo>
                  <a:lnTo>
                    <a:pt x="57599" y="365345"/>
                  </a:lnTo>
                  <a:lnTo>
                    <a:pt x="56331" y="362701"/>
                  </a:lnTo>
                  <a:lnTo>
                    <a:pt x="58674" y="358695"/>
                  </a:lnTo>
                  <a:lnTo>
                    <a:pt x="58454" y="358175"/>
                  </a:lnTo>
                  <a:lnTo>
                    <a:pt x="55990" y="360290"/>
                  </a:lnTo>
                  <a:lnTo>
                    <a:pt x="54777" y="363263"/>
                  </a:lnTo>
                  <a:lnTo>
                    <a:pt x="55258" y="365633"/>
                  </a:lnTo>
                  <a:lnTo>
                    <a:pt x="54770" y="366733"/>
                  </a:lnTo>
                  <a:lnTo>
                    <a:pt x="52505" y="367237"/>
                  </a:lnTo>
                  <a:lnTo>
                    <a:pt x="47398" y="367420"/>
                  </a:lnTo>
                  <a:lnTo>
                    <a:pt x="44120" y="366415"/>
                  </a:lnTo>
                  <a:lnTo>
                    <a:pt x="41084" y="365869"/>
                  </a:lnTo>
                  <a:lnTo>
                    <a:pt x="40050" y="365111"/>
                  </a:lnTo>
                  <a:lnTo>
                    <a:pt x="40395" y="363419"/>
                  </a:lnTo>
                  <a:lnTo>
                    <a:pt x="39821" y="363070"/>
                  </a:lnTo>
                  <a:lnTo>
                    <a:pt x="38564" y="364591"/>
                  </a:lnTo>
                  <a:lnTo>
                    <a:pt x="37448" y="367620"/>
                  </a:lnTo>
                  <a:lnTo>
                    <a:pt x="35035" y="368317"/>
                  </a:lnTo>
                  <a:lnTo>
                    <a:pt x="28380" y="367193"/>
                  </a:lnTo>
                  <a:lnTo>
                    <a:pt x="18745" y="367855"/>
                  </a:lnTo>
                  <a:lnTo>
                    <a:pt x="14422" y="369378"/>
                  </a:lnTo>
                  <a:lnTo>
                    <a:pt x="11621" y="369179"/>
                  </a:lnTo>
                  <a:lnTo>
                    <a:pt x="6804" y="366511"/>
                  </a:lnTo>
                  <a:lnTo>
                    <a:pt x="4923" y="364387"/>
                  </a:lnTo>
                  <a:lnTo>
                    <a:pt x="4221" y="360099"/>
                  </a:lnTo>
                  <a:lnTo>
                    <a:pt x="4504" y="358210"/>
                  </a:lnTo>
                  <a:lnTo>
                    <a:pt x="8257" y="357414"/>
                  </a:lnTo>
                  <a:lnTo>
                    <a:pt x="10155" y="357470"/>
                  </a:lnTo>
                  <a:lnTo>
                    <a:pt x="11932" y="356454"/>
                  </a:lnTo>
                  <a:lnTo>
                    <a:pt x="10360" y="355794"/>
                  </a:lnTo>
                  <a:lnTo>
                    <a:pt x="8149" y="354496"/>
                  </a:lnTo>
                  <a:lnTo>
                    <a:pt x="6642" y="351893"/>
                  </a:lnTo>
                  <a:lnTo>
                    <a:pt x="4370" y="351044"/>
                  </a:lnTo>
                  <a:lnTo>
                    <a:pt x="2848" y="348822"/>
                  </a:lnTo>
                  <a:lnTo>
                    <a:pt x="2461" y="345461"/>
                  </a:lnTo>
                  <a:lnTo>
                    <a:pt x="2897" y="343122"/>
                  </a:lnTo>
                  <a:lnTo>
                    <a:pt x="4113" y="342369"/>
                  </a:lnTo>
                  <a:lnTo>
                    <a:pt x="7031" y="342881"/>
                  </a:lnTo>
                  <a:lnTo>
                    <a:pt x="14733" y="342488"/>
                  </a:lnTo>
                  <a:lnTo>
                    <a:pt x="21984" y="344865"/>
                  </a:lnTo>
                  <a:lnTo>
                    <a:pt x="26905" y="346212"/>
                  </a:lnTo>
                  <a:lnTo>
                    <a:pt x="36875" y="345535"/>
                  </a:lnTo>
                  <a:lnTo>
                    <a:pt x="42714" y="343413"/>
                  </a:lnTo>
                  <a:lnTo>
                    <a:pt x="41643" y="342826"/>
                  </a:lnTo>
                  <a:lnTo>
                    <a:pt x="35310" y="344053"/>
                  </a:lnTo>
                  <a:lnTo>
                    <a:pt x="29456" y="344003"/>
                  </a:lnTo>
                  <a:lnTo>
                    <a:pt x="19136" y="341603"/>
                  </a:lnTo>
                  <a:lnTo>
                    <a:pt x="14904" y="340829"/>
                  </a:lnTo>
                  <a:lnTo>
                    <a:pt x="10345" y="341171"/>
                  </a:lnTo>
                  <a:lnTo>
                    <a:pt x="7972" y="340442"/>
                  </a:lnTo>
                  <a:lnTo>
                    <a:pt x="6577" y="338065"/>
                  </a:lnTo>
                  <a:lnTo>
                    <a:pt x="7609" y="333512"/>
                  </a:lnTo>
                  <a:lnTo>
                    <a:pt x="9771" y="332528"/>
                  </a:lnTo>
                  <a:lnTo>
                    <a:pt x="10941" y="333717"/>
                  </a:lnTo>
                  <a:lnTo>
                    <a:pt x="12353" y="333792"/>
                  </a:lnTo>
                  <a:lnTo>
                    <a:pt x="13783" y="331887"/>
                  </a:lnTo>
                  <a:lnTo>
                    <a:pt x="15152" y="330801"/>
                  </a:lnTo>
                  <a:lnTo>
                    <a:pt x="16236" y="328341"/>
                  </a:lnTo>
                  <a:lnTo>
                    <a:pt x="20324" y="326007"/>
                  </a:lnTo>
                  <a:lnTo>
                    <a:pt x="22051" y="325809"/>
                  </a:lnTo>
                  <a:lnTo>
                    <a:pt x="24528" y="324733"/>
                  </a:lnTo>
                  <a:lnTo>
                    <a:pt x="26109" y="325038"/>
                  </a:lnTo>
                  <a:lnTo>
                    <a:pt x="27122" y="326118"/>
                  </a:lnTo>
                  <a:lnTo>
                    <a:pt x="28402" y="327012"/>
                  </a:lnTo>
                  <a:lnTo>
                    <a:pt x="31177" y="326903"/>
                  </a:lnTo>
                  <a:lnTo>
                    <a:pt x="39382" y="325033"/>
                  </a:lnTo>
                  <a:lnTo>
                    <a:pt x="40266" y="324483"/>
                  </a:lnTo>
                  <a:lnTo>
                    <a:pt x="41866" y="322944"/>
                  </a:lnTo>
                  <a:lnTo>
                    <a:pt x="36664" y="323630"/>
                  </a:lnTo>
                  <a:lnTo>
                    <a:pt x="32343" y="324723"/>
                  </a:lnTo>
                  <a:lnTo>
                    <a:pt x="29566" y="325026"/>
                  </a:lnTo>
                  <a:lnTo>
                    <a:pt x="29175" y="323662"/>
                  </a:lnTo>
                  <a:lnTo>
                    <a:pt x="30199" y="322450"/>
                  </a:lnTo>
                  <a:lnTo>
                    <a:pt x="31807" y="321160"/>
                  </a:lnTo>
                  <a:lnTo>
                    <a:pt x="32589" y="318959"/>
                  </a:lnTo>
                  <a:lnTo>
                    <a:pt x="34359" y="318019"/>
                  </a:lnTo>
                  <a:lnTo>
                    <a:pt x="36273" y="318069"/>
                  </a:lnTo>
                  <a:lnTo>
                    <a:pt x="40229" y="317669"/>
                  </a:lnTo>
                  <a:lnTo>
                    <a:pt x="43021" y="317096"/>
                  </a:lnTo>
                  <a:lnTo>
                    <a:pt x="47808" y="317480"/>
                  </a:lnTo>
                  <a:lnTo>
                    <a:pt x="54943" y="318323"/>
                  </a:lnTo>
                  <a:lnTo>
                    <a:pt x="59542" y="320372"/>
                  </a:lnTo>
                  <a:lnTo>
                    <a:pt x="61274" y="320187"/>
                  </a:lnTo>
                  <a:lnTo>
                    <a:pt x="63110" y="319642"/>
                  </a:lnTo>
                  <a:lnTo>
                    <a:pt x="63941" y="318899"/>
                  </a:lnTo>
                  <a:lnTo>
                    <a:pt x="60331" y="318048"/>
                  </a:lnTo>
                  <a:lnTo>
                    <a:pt x="60125" y="316834"/>
                  </a:lnTo>
                  <a:lnTo>
                    <a:pt x="60573" y="315918"/>
                  </a:lnTo>
                  <a:lnTo>
                    <a:pt x="66461" y="314229"/>
                  </a:lnTo>
                  <a:lnTo>
                    <a:pt x="72892" y="313855"/>
                  </a:lnTo>
                  <a:lnTo>
                    <a:pt x="71786" y="312494"/>
                  </a:lnTo>
                  <a:lnTo>
                    <a:pt x="57698" y="314548"/>
                  </a:lnTo>
                  <a:lnTo>
                    <a:pt x="54021" y="313146"/>
                  </a:lnTo>
                  <a:lnTo>
                    <a:pt x="51119" y="313158"/>
                  </a:lnTo>
                  <a:lnTo>
                    <a:pt x="49218" y="313959"/>
                  </a:lnTo>
                  <a:lnTo>
                    <a:pt x="43803" y="314929"/>
                  </a:lnTo>
                  <a:lnTo>
                    <a:pt x="42807" y="314239"/>
                  </a:lnTo>
                  <a:lnTo>
                    <a:pt x="43837" y="311857"/>
                  </a:lnTo>
                  <a:lnTo>
                    <a:pt x="47081" y="307944"/>
                  </a:lnTo>
                  <a:lnTo>
                    <a:pt x="47351" y="306984"/>
                  </a:lnTo>
                  <a:lnTo>
                    <a:pt x="48856" y="306041"/>
                  </a:lnTo>
                  <a:lnTo>
                    <a:pt x="57271" y="303765"/>
                  </a:lnTo>
                  <a:lnTo>
                    <a:pt x="61313" y="301118"/>
                  </a:lnTo>
                  <a:lnTo>
                    <a:pt x="63136" y="300782"/>
                  </a:lnTo>
                  <a:lnTo>
                    <a:pt x="64943" y="300967"/>
                  </a:lnTo>
                  <a:lnTo>
                    <a:pt x="67692" y="300657"/>
                  </a:lnTo>
                  <a:lnTo>
                    <a:pt x="73004" y="301415"/>
                  </a:lnTo>
                  <a:lnTo>
                    <a:pt x="75448" y="304729"/>
                  </a:lnTo>
                  <a:lnTo>
                    <a:pt x="77647" y="305769"/>
                  </a:lnTo>
                  <a:lnTo>
                    <a:pt x="84559" y="309900"/>
                  </a:lnTo>
                  <a:lnTo>
                    <a:pt x="84250" y="308712"/>
                  </a:lnTo>
                  <a:lnTo>
                    <a:pt x="78267" y="303109"/>
                  </a:lnTo>
                  <a:lnTo>
                    <a:pt x="75980" y="301720"/>
                  </a:lnTo>
                  <a:lnTo>
                    <a:pt x="74274" y="298962"/>
                  </a:lnTo>
                  <a:lnTo>
                    <a:pt x="74859" y="296352"/>
                  </a:lnTo>
                  <a:lnTo>
                    <a:pt x="76783" y="294608"/>
                  </a:lnTo>
                  <a:lnTo>
                    <a:pt x="83609" y="293673"/>
                  </a:lnTo>
                  <a:lnTo>
                    <a:pt x="84833" y="292663"/>
                  </a:lnTo>
                  <a:lnTo>
                    <a:pt x="84954" y="290926"/>
                  </a:lnTo>
                  <a:lnTo>
                    <a:pt x="83909" y="289737"/>
                  </a:lnTo>
                  <a:lnTo>
                    <a:pt x="81398" y="289806"/>
                  </a:lnTo>
                  <a:lnTo>
                    <a:pt x="79327" y="289069"/>
                  </a:lnTo>
                  <a:lnTo>
                    <a:pt x="78757" y="287194"/>
                  </a:lnTo>
                  <a:lnTo>
                    <a:pt x="79584" y="285926"/>
                  </a:lnTo>
                  <a:lnTo>
                    <a:pt x="83520" y="283612"/>
                  </a:lnTo>
                  <a:lnTo>
                    <a:pt x="85675" y="282860"/>
                  </a:lnTo>
                  <a:lnTo>
                    <a:pt x="89407" y="282044"/>
                  </a:lnTo>
                  <a:lnTo>
                    <a:pt x="95896" y="283876"/>
                  </a:lnTo>
                  <a:lnTo>
                    <a:pt x="96388" y="284835"/>
                  </a:lnTo>
                  <a:lnTo>
                    <a:pt x="94570" y="287141"/>
                  </a:lnTo>
                  <a:lnTo>
                    <a:pt x="94753" y="288434"/>
                  </a:lnTo>
                  <a:lnTo>
                    <a:pt x="96343" y="288577"/>
                  </a:lnTo>
                  <a:lnTo>
                    <a:pt x="100048" y="284691"/>
                  </a:lnTo>
                  <a:lnTo>
                    <a:pt x="104406" y="284154"/>
                  </a:lnTo>
                  <a:lnTo>
                    <a:pt x="106209" y="283318"/>
                  </a:lnTo>
                  <a:lnTo>
                    <a:pt x="108301" y="282792"/>
                  </a:lnTo>
                  <a:lnTo>
                    <a:pt x="111294" y="286309"/>
                  </a:lnTo>
                  <a:lnTo>
                    <a:pt x="112605" y="287433"/>
                  </a:lnTo>
                  <a:lnTo>
                    <a:pt x="113590" y="287894"/>
                  </a:lnTo>
                  <a:lnTo>
                    <a:pt x="114544" y="290815"/>
                  </a:lnTo>
                  <a:lnTo>
                    <a:pt x="115468" y="290971"/>
                  </a:lnTo>
                  <a:lnTo>
                    <a:pt x="116785" y="289507"/>
                  </a:lnTo>
                  <a:lnTo>
                    <a:pt x="119174" y="288736"/>
                  </a:lnTo>
                  <a:lnTo>
                    <a:pt x="122523" y="288227"/>
                  </a:lnTo>
                  <a:lnTo>
                    <a:pt x="128070" y="289000"/>
                  </a:lnTo>
                  <a:lnTo>
                    <a:pt x="130582" y="288429"/>
                  </a:lnTo>
                  <a:lnTo>
                    <a:pt x="131813" y="288509"/>
                  </a:lnTo>
                  <a:lnTo>
                    <a:pt x="130632" y="285883"/>
                  </a:lnTo>
                  <a:lnTo>
                    <a:pt x="129899" y="285124"/>
                  </a:lnTo>
                  <a:lnTo>
                    <a:pt x="131042" y="282777"/>
                  </a:lnTo>
                  <a:lnTo>
                    <a:pt x="132234" y="281859"/>
                  </a:lnTo>
                  <a:lnTo>
                    <a:pt x="136067" y="280209"/>
                  </a:lnTo>
                  <a:lnTo>
                    <a:pt x="139722" y="279472"/>
                  </a:lnTo>
                  <a:lnTo>
                    <a:pt x="142109" y="277904"/>
                  </a:lnTo>
                  <a:lnTo>
                    <a:pt x="145313" y="276462"/>
                  </a:lnTo>
                  <a:lnTo>
                    <a:pt x="144810" y="275306"/>
                  </a:lnTo>
                  <a:lnTo>
                    <a:pt x="143918" y="273967"/>
                  </a:lnTo>
                  <a:lnTo>
                    <a:pt x="141845" y="273882"/>
                  </a:lnTo>
                  <a:lnTo>
                    <a:pt x="140999" y="273151"/>
                  </a:lnTo>
                  <a:lnTo>
                    <a:pt x="143631" y="271414"/>
                  </a:lnTo>
                  <a:lnTo>
                    <a:pt x="147235" y="269481"/>
                  </a:lnTo>
                  <a:lnTo>
                    <a:pt x="146607" y="268721"/>
                  </a:lnTo>
                  <a:lnTo>
                    <a:pt x="143897" y="267861"/>
                  </a:lnTo>
                  <a:lnTo>
                    <a:pt x="141839" y="268509"/>
                  </a:lnTo>
                  <a:lnTo>
                    <a:pt x="138779" y="270005"/>
                  </a:lnTo>
                  <a:lnTo>
                    <a:pt x="135220" y="272369"/>
                  </a:lnTo>
                  <a:lnTo>
                    <a:pt x="136380" y="273057"/>
                  </a:lnTo>
                  <a:lnTo>
                    <a:pt x="138161" y="275041"/>
                  </a:lnTo>
                  <a:lnTo>
                    <a:pt x="135676" y="277679"/>
                  </a:lnTo>
                  <a:lnTo>
                    <a:pt x="122504" y="284668"/>
                  </a:lnTo>
                  <a:lnTo>
                    <a:pt x="116222" y="286710"/>
                  </a:lnTo>
                  <a:lnTo>
                    <a:pt x="113324" y="286392"/>
                  </a:lnTo>
                  <a:lnTo>
                    <a:pt x="112633" y="284486"/>
                  </a:lnTo>
                  <a:lnTo>
                    <a:pt x="111296" y="283074"/>
                  </a:lnTo>
                  <a:lnTo>
                    <a:pt x="109863" y="280162"/>
                  </a:lnTo>
                  <a:lnTo>
                    <a:pt x="107425" y="280240"/>
                  </a:lnTo>
                  <a:lnTo>
                    <a:pt x="106040" y="280884"/>
                  </a:lnTo>
                  <a:lnTo>
                    <a:pt x="105436" y="279929"/>
                  </a:lnTo>
                  <a:lnTo>
                    <a:pt x="106485" y="276814"/>
                  </a:lnTo>
                  <a:lnTo>
                    <a:pt x="108548" y="274348"/>
                  </a:lnTo>
                  <a:lnTo>
                    <a:pt x="112007" y="272484"/>
                  </a:lnTo>
                  <a:lnTo>
                    <a:pt x="113665" y="270230"/>
                  </a:lnTo>
                  <a:lnTo>
                    <a:pt x="115224" y="266650"/>
                  </a:lnTo>
                  <a:lnTo>
                    <a:pt x="120228" y="263237"/>
                  </a:lnTo>
                  <a:lnTo>
                    <a:pt x="127511" y="254770"/>
                  </a:lnTo>
                  <a:lnTo>
                    <a:pt x="133445" y="252061"/>
                  </a:lnTo>
                  <a:lnTo>
                    <a:pt x="135620" y="249095"/>
                  </a:lnTo>
                  <a:lnTo>
                    <a:pt x="139116" y="247783"/>
                  </a:lnTo>
                  <a:lnTo>
                    <a:pt x="142100" y="245465"/>
                  </a:lnTo>
                  <a:lnTo>
                    <a:pt x="144443" y="245235"/>
                  </a:lnTo>
                  <a:lnTo>
                    <a:pt x="148699" y="243146"/>
                  </a:lnTo>
                  <a:lnTo>
                    <a:pt x="151111" y="240658"/>
                  </a:lnTo>
                  <a:lnTo>
                    <a:pt x="149537" y="240503"/>
                  </a:lnTo>
                  <a:lnTo>
                    <a:pt x="145795" y="242123"/>
                  </a:lnTo>
                  <a:lnTo>
                    <a:pt x="143678" y="242774"/>
                  </a:lnTo>
                  <a:lnTo>
                    <a:pt x="143828" y="240104"/>
                  </a:lnTo>
                  <a:lnTo>
                    <a:pt x="144853" y="237363"/>
                  </a:lnTo>
                  <a:lnTo>
                    <a:pt x="147937" y="234854"/>
                  </a:lnTo>
                  <a:lnTo>
                    <a:pt x="162759" y="227548"/>
                  </a:lnTo>
                  <a:lnTo>
                    <a:pt x="164238" y="228758"/>
                  </a:lnTo>
                  <a:lnTo>
                    <a:pt x="166006" y="230895"/>
                  </a:lnTo>
                  <a:lnTo>
                    <a:pt x="170470" y="230412"/>
                  </a:lnTo>
                  <a:lnTo>
                    <a:pt x="175556" y="226271"/>
                  </a:lnTo>
                  <a:lnTo>
                    <a:pt x="179473" y="221764"/>
                  </a:lnTo>
                  <a:lnTo>
                    <a:pt x="177356" y="222551"/>
                  </a:lnTo>
                  <a:lnTo>
                    <a:pt x="175046" y="224397"/>
                  </a:lnTo>
                  <a:lnTo>
                    <a:pt x="170543" y="226959"/>
                  </a:lnTo>
                  <a:lnTo>
                    <a:pt x="168462" y="227364"/>
                  </a:lnTo>
                  <a:lnTo>
                    <a:pt x="167274" y="227031"/>
                  </a:lnTo>
                  <a:lnTo>
                    <a:pt x="166613" y="225322"/>
                  </a:lnTo>
                  <a:lnTo>
                    <a:pt x="165052" y="224767"/>
                  </a:lnTo>
                  <a:lnTo>
                    <a:pt x="163642" y="225151"/>
                  </a:lnTo>
                  <a:lnTo>
                    <a:pt x="162189" y="223935"/>
                  </a:lnTo>
                  <a:lnTo>
                    <a:pt x="161930" y="220930"/>
                  </a:lnTo>
                  <a:lnTo>
                    <a:pt x="163789" y="216446"/>
                  </a:lnTo>
                  <a:lnTo>
                    <a:pt x="165262" y="213475"/>
                  </a:lnTo>
                  <a:lnTo>
                    <a:pt x="166853" y="211224"/>
                  </a:lnTo>
                  <a:lnTo>
                    <a:pt x="173109" y="204821"/>
                  </a:lnTo>
                  <a:lnTo>
                    <a:pt x="174461" y="201318"/>
                  </a:lnTo>
                  <a:lnTo>
                    <a:pt x="177290" y="199467"/>
                  </a:lnTo>
                  <a:lnTo>
                    <a:pt x="180964" y="199879"/>
                  </a:lnTo>
                  <a:lnTo>
                    <a:pt x="182073" y="199344"/>
                  </a:lnTo>
                  <a:lnTo>
                    <a:pt x="180811" y="197042"/>
                  </a:lnTo>
                  <a:lnTo>
                    <a:pt x="176806" y="195215"/>
                  </a:lnTo>
                  <a:lnTo>
                    <a:pt x="176560" y="194067"/>
                  </a:lnTo>
                  <a:lnTo>
                    <a:pt x="189900" y="191049"/>
                  </a:lnTo>
                  <a:lnTo>
                    <a:pt x="196253" y="191151"/>
                  </a:lnTo>
                  <a:lnTo>
                    <a:pt x="198138" y="189643"/>
                  </a:lnTo>
                  <a:lnTo>
                    <a:pt x="201591" y="188677"/>
                  </a:lnTo>
                  <a:lnTo>
                    <a:pt x="204208" y="186831"/>
                  </a:lnTo>
                  <a:lnTo>
                    <a:pt x="202859" y="186016"/>
                  </a:lnTo>
                  <a:lnTo>
                    <a:pt x="196407" y="187713"/>
                  </a:lnTo>
                  <a:lnTo>
                    <a:pt x="192373" y="188510"/>
                  </a:lnTo>
                  <a:lnTo>
                    <a:pt x="190548" y="188485"/>
                  </a:lnTo>
                  <a:lnTo>
                    <a:pt x="189125" y="189068"/>
                  </a:lnTo>
                  <a:lnTo>
                    <a:pt x="183969" y="189290"/>
                  </a:lnTo>
                  <a:lnTo>
                    <a:pt x="182848" y="181925"/>
                  </a:lnTo>
                  <a:lnTo>
                    <a:pt x="183655" y="177918"/>
                  </a:lnTo>
                  <a:lnTo>
                    <a:pt x="185577" y="178001"/>
                  </a:lnTo>
                  <a:lnTo>
                    <a:pt x="186015" y="174168"/>
                  </a:lnTo>
                  <a:lnTo>
                    <a:pt x="188235" y="171907"/>
                  </a:lnTo>
                  <a:lnTo>
                    <a:pt x="191300" y="171401"/>
                  </a:lnTo>
                  <a:lnTo>
                    <a:pt x="192844" y="170432"/>
                  </a:lnTo>
                  <a:lnTo>
                    <a:pt x="195074" y="168460"/>
                  </a:lnTo>
                  <a:lnTo>
                    <a:pt x="198765" y="168918"/>
                  </a:lnTo>
                  <a:lnTo>
                    <a:pt x="202556" y="168478"/>
                  </a:lnTo>
                  <a:lnTo>
                    <a:pt x="201617" y="167548"/>
                  </a:lnTo>
                  <a:lnTo>
                    <a:pt x="196910" y="166349"/>
                  </a:lnTo>
                  <a:lnTo>
                    <a:pt x="195748" y="164288"/>
                  </a:lnTo>
                  <a:lnTo>
                    <a:pt x="197408" y="163137"/>
                  </a:lnTo>
                  <a:lnTo>
                    <a:pt x="199216" y="162289"/>
                  </a:lnTo>
                  <a:lnTo>
                    <a:pt x="200803" y="162137"/>
                  </a:lnTo>
                  <a:lnTo>
                    <a:pt x="203947" y="158104"/>
                  </a:lnTo>
                  <a:lnTo>
                    <a:pt x="205858" y="156381"/>
                  </a:lnTo>
                  <a:lnTo>
                    <a:pt x="207998" y="156680"/>
                  </a:lnTo>
                  <a:lnTo>
                    <a:pt x="210978" y="154898"/>
                  </a:lnTo>
                  <a:lnTo>
                    <a:pt x="213904" y="155506"/>
                  </a:lnTo>
                  <a:lnTo>
                    <a:pt x="216735" y="154339"/>
                  </a:lnTo>
                  <a:lnTo>
                    <a:pt x="220602" y="153569"/>
                  </a:lnTo>
                  <a:lnTo>
                    <a:pt x="234757" y="153271"/>
                  </a:lnTo>
                  <a:lnTo>
                    <a:pt x="235178" y="151616"/>
                  </a:lnTo>
                  <a:lnTo>
                    <a:pt x="232201" y="151232"/>
                  </a:lnTo>
                  <a:lnTo>
                    <a:pt x="221682" y="150806"/>
                  </a:lnTo>
                  <a:lnTo>
                    <a:pt x="216312" y="150839"/>
                  </a:lnTo>
                  <a:lnTo>
                    <a:pt x="214051" y="151268"/>
                  </a:lnTo>
                  <a:lnTo>
                    <a:pt x="213220" y="150691"/>
                  </a:lnTo>
                  <a:lnTo>
                    <a:pt x="213366" y="149699"/>
                  </a:lnTo>
                  <a:lnTo>
                    <a:pt x="215318" y="148129"/>
                  </a:lnTo>
                  <a:lnTo>
                    <a:pt x="216245" y="146392"/>
                  </a:lnTo>
                  <a:lnTo>
                    <a:pt x="220147" y="142146"/>
                  </a:lnTo>
                  <a:lnTo>
                    <a:pt x="224722" y="139313"/>
                  </a:lnTo>
                  <a:lnTo>
                    <a:pt x="228229" y="140038"/>
                  </a:lnTo>
                  <a:lnTo>
                    <a:pt x="231959" y="142743"/>
                  </a:lnTo>
                  <a:lnTo>
                    <a:pt x="234617" y="143081"/>
                  </a:lnTo>
                  <a:lnTo>
                    <a:pt x="235854" y="143954"/>
                  </a:lnTo>
                  <a:lnTo>
                    <a:pt x="237791" y="147678"/>
                  </a:lnTo>
                  <a:lnTo>
                    <a:pt x="238709" y="147799"/>
                  </a:lnTo>
                  <a:lnTo>
                    <a:pt x="238294" y="144220"/>
                  </a:lnTo>
                  <a:lnTo>
                    <a:pt x="240855" y="141304"/>
                  </a:lnTo>
                  <a:lnTo>
                    <a:pt x="240188" y="140497"/>
                  </a:lnTo>
                  <a:lnTo>
                    <a:pt x="236340" y="141552"/>
                  </a:lnTo>
                  <a:lnTo>
                    <a:pt x="233392" y="140455"/>
                  </a:lnTo>
                  <a:lnTo>
                    <a:pt x="231065" y="138262"/>
                  </a:lnTo>
                  <a:lnTo>
                    <a:pt x="230399" y="136255"/>
                  </a:lnTo>
                  <a:lnTo>
                    <a:pt x="231846" y="134270"/>
                  </a:lnTo>
                  <a:lnTo>
                    <a:pt x="233211" y="133270"/>
                  </a:lnTo>
                  <a:lnTo>
                    <a:pt x="232285" y="132104"/>
                  </a:lnTo>
                  <a:lnTo>
                    <a:pt x="226467" y="135229"/>
                  </a:lnTo>
                  <a:lnTo>
                    <a:pt x="222352" y="135955"/>
                  </a:lnTo>
                  <a:lnTo>
                    <a:pt x="220730" y="135518"/>
                  </a:lnTo>
                  <a:lnTo>
                    <a:pt x="221609" y="132687"/>
                  </a:lnTo>
                  <a:lnTo>
                    <a:pt x="221119" y="130438"/>
                  </a:lnTo>
                  <a:lnTo>
                    <a:pt x="226636" y="124888"/>
                  </a:lnTo>
                  <a:lnTo>
                    <a:pt x="228534" y="124245"/>
                  </a:lnTo>
                  <a:lnTo>
                    <a:pt x="231632" y="124691"/>
                  </a:lnTo>
                  <a:lnTo>
                    <a:pt x="234429" y="126259"/>
                  </a:lnTo>
                  <a:lnTo>
                    <a:pt x="236768" y="126009"/>
                  </a:lnTo>
                  <a:lnTo>
                    <a:pt x="239305" y="125172"/>
                  </a:lnTo>
                  <a:lnTo>
                    <a:pt x="238959" y="123668"/>
                  </a:lnTo>
                  <a:lnTo>
                    <a:pt x="233457" y="123071"/>
                  </a:lnTo>
                  <a:lnTo>
                    <a:pt x="232041" y="121822"/>
                  </a:lnTo>
                  <a:lnTo>
                    <a:pt x="232552" y="120595"/>
                  </a:lnTo>
                  <a:lnTo>
                    <a:pt x="236329" y="119298"/>
                  </a:lnTo>
                  <a:lnTo>
                    <a:pt x="240085" y="116955"/>
                  </a:lnTo>
                  <a:lnTo>
                    <a:pt x="244388" y="116276"/>
                  </a:lnTo>
                  <a:lnTo>
                    <a:pt x="247852" y="114501"/>
                  </a:lnTo>
                  <a:lnTo>
                    <a:pt x="248519" y="114904"/>
                  </a:lnTo>
                  <a:lnTo>
                    <a:pt x="249104" y="115600"/>
                  </a:lnTo>
                  <a:lnTo>
                    <a:pt x="250348" y="122169"/>
                  </a:lnTo>
                  <a:lnTo>
                    <a:pt x="253442" y="127512"/>
                  </a:lnTo>
                  <a:lnTo>
                    <a:pt x="254582" y="127706"/>
                  </a:lnTo>
                  <a:lnTo>
                    <a:pt x="253395" y="123162"/>
                  </a:lnTo>
                  <a:lnTo>
                    <a:pt x="254503" y="121854"/>
                  </a:lnTo>
                  <a:lnTo>
                    <a:pt x="255906" y="120859"/>
                  </a:lnTo>
                  <a:lnTo>
                    <a:pt x="256344" y="119726"/>
                  </a:lnTo>
                  <a:lnTo>
                    <a:pt x="254736" y="119339"/>
                  </a:lnTo>
                  <a:lnTo>
                    <a:pt x="253421" y="117711"/>
                  </a:lnTo>
                  <a:lnTo>
                    <a:pt x="251542" y="112496"/>
                  </a:lnTo>
                  <a:lnTo>
                    <a:pt x="252183" y="111139"/>
                  </a:lnTo>
                  <a:lnTo>
                    <a:pt x="256254" y="108355"/>
                  </a:lnTo>
                  <a:lnTo>
                    <a:pt x="261361" y="107713"/>
                  </a:lnTo>
                  <a:lnTo>
                    <a:pt x="266802" y="109666"/>
                  </a:lnTo>
                  <a:lnTo>
                    <a:pt x="268713" y="109688"/>
                  </a:lnTo>
                  <a:lnTo>
                    <a:pt x="271868" y="109164"/>
                  </a:lnTo>
                  <a:lnTo>
                    <a:pt x="277221" y="107558"/>
                  </a:lnTo>
                  <a:lnTo>
                    <a:pt x="280370" y="106947"/>
                  </a:lnTo>
                  <a:lnTo>
                    <a:pt x="282013" y="106949"/>
                  </a:lnTo>
                  <a:lnTo>
                    <a:pt x="282419" y="106137"/>
                  </a:lnTo>
                  <a:lnTo>
                    <a:pt x="280897" y="105615"/>
                  </a:lnTo>
                  <a:lnTo>
                    <a:pt x="280406" y="105107"/>
                  </a:lnTo>
                  <a:lnTo>
                    <a:pt x="279212" y="104815"/>
                  </a:lnTo>
                  <a:lnTo>
                    <a:pt x="274263" y="105684"/>
                  </a:lnTo>
                  <a:lnTo>
                    <a:pt x="260609" y="105409"/>
                  </a:lnTo>
                  <a:lnTo>
                    <a:pt x="259292" y="104480"/>
                  </a:lnTo>
                  <a:lnTo>
                    <a:pt x="259050" y="102872"/>
                  </a:lnTo>
                  <a:lnTo>
                    <a:pt x="260499" y="100564"/>
                  </a:lnTo>
                  <a:lnTo>
                    <a:pt x="262091" y="99291"/>
                  </a:lnTo>
                  <a:lnTo>
                    <a:pt x="267239" y="96997"/>
                  </a:lnTo>
                  <a:lnTo>
                    <a:pt x="272689" y="96687"/>
                  </a:lnTo>
                  <a:lnTo>
                    <a:pt x="278431" y="92605"/>
                  </a:lnTo>
                  <a:lnTo>
                    <a:pt x="280625" y="89538"/>
                  </a:lnTo>
                  <a:lnTo>
                    <a:pt x="281868" y="84803"/>
                  </a:lnTo>
                  <a:lnTo>
                    <a:pt x="285369" y="80966"/>
                  </a:lnTo>
                  <a:lnTo>
                    <a:pt x="294144" y="78781"/>
                  </a:lnTo>
                  <a:lnTo>
                    <a:pt x="294499" y="77813"/>
                  </a:lnTo>
                  <a:lnTo>
                    <a:pt x="293568" y="75813"/>
                  </a:lnTo>
                  <a:lnTo>
                    <a:pt x="293641" y="72204"/>
                  </a:lnTo>
                  <a:lnTo>
                    <a:pt x="296047" y="67992"/>
                  </a:lnTo>
                  <a:lnTo>
                    <a:pt x="297645" y="66526"/>
                  </a:lnTo>
                  <a:lnTo>
                    <a:pt x="298383" y="66350"/>
                  </a:lnTo>
                  <a:lnTo>
                    <a:pt x="300275" y="67729"/>
                  </a:lnTo>
                  <a:lnTo>
                    <a:pt x="302573" y="70659"/>
                  </a:lnTo>
                  <a:lnTo>
                    <a:pt x="306175" y="72335"/>
                  </a:lnTo>
                  <a:lnTo>
                    <a:pt x="310895" y="72624"/>
                  </a:lnTo>
                  <a:lnTo>
                    <a:pt x="312154" y="71800"/>
                  </a:lnTo>
                  <a:lnTo>
                    <a:pt x="308485" y="70129"/>
                  </a:lnTo>
                  <a:lnTo>
                    <a:pt x="305708" y="67943"/>
                  </a:lnTo>
                  <a:lnTo>
                    <a:pt x="305488" y="65745"/>
                  </a:lnTo>
                  <a:lnTo>
                    <a:pt x="306805" y="64579"/>
                  </a:lnTo>
                  <a:lnTo>
                    <a:pt x="308852" y="64709"/>
                  </a:lnTo>
                  <a:lnTo>
                    <a:pt x="311422" y="64462"/>
                  </a:lnTo>
                  <a:lnTo>
                    <a:pt x="313816" y="62982"/>
                  </a:lnTo>
                  <a:lnTo>
                    <a:pt x="314164" y="61941"/>
                  </a:lnTo>
                  <a:lnTo>
                    <a:pt x="314264" y="60527"/>
                  </a:lnTo>
                  <a:lnTo>
                    <a:pt x="314862" y="59088"/>
                  </a:lnTo>
                  <a:lnTo>
                    <a:pt x="318375" y="55651"/>
                  </a:lnTo>
                  <a:lnTo>
                    <a:pt x="329204" y="53412"/>
                  </a:lnTo>
                  <a:lnTo>
                    <a:pt x="329988" y="54321"/>
                  </a:lnTo>
                  <a:lnTo>
                    <a:pt x="329403" y="60951"/>
                  </a:lnTo>
                  <a:lnTo>
                    <a:pt x="328159" y="65227"/>
                  </a:lnTo>
                  <a:lnTo>
                    <a:pt x="328198" y="68347"/>
                  </a:lnTo>
                  <a:lnTo>
                    <a:pt x="330306" y="65227"/>
                  </a:lnTo>
                  <a:lnTo>
                    <a:pt x="333132" y="56663"/>
                  </a:lnTo>
                  <a:lnTo>
                    <a:pt x="335253" y="52629"/>
                  </a:lnTo>
                  <a:lnTo>
                    <a:pt x="337650" y="50309"/>
                  </a:lnTo>
                  <a:lnTo>
                    <a:pt x="339362" y="49785"/>
                  </a:lnTo>
                  <a:lnTo>
                    <a:pt x="341057" y="48583"/>
                  </a:lnTo>
                  <a:lnTo>
                    <a:pt x="343295" y="47867"/>
                  </a:lnTo>
                  <a:lnTo>
                    <a:pt x="343979" y="48791"/>
                  </a:lnTo>
                  <a:lnTo>
                    <a:pt x="344687" y="50933"/>
                  </a:lnTo>
                  <a:lnTo>
                    <a:pt x="343482" y="58438"/>
                  </a:lnTo>
                  <a:lnTo>
                    <a:pt x="343603" y="60805"/>
                  </a:lnTo>
                  <a:lnTo>
                    <a:pt x="342253" y="63973"/>
                  </a:lnTo>
                  <a:lnTo>
                    <a:pt x="337093" y="71017"/>
                  </a:lnTo>
                  <a:lnTo>
                    <a:pt x="337330" y="71914"/>
                  </a:lnTo>
                  <a:lnTo>
                    <a:pt x="338496" y="71581"/>
                  </a:lnTo>
                  <a:lnTo>
                    <a:pt x="340496" y="70420"/>
                  </a:lnTo>
                  <a:lnTo>
                    <a:pt x="346888" y="63728"/>
                  </a:lnTo>
                  <a:lnTo>
                    <a:pt x="352476" y="64573"/>
                  </a:lnTo>
                  <a:lnTo>
                    <a:pt x="352545" y="64024"/>
                  </a:lnTo>
                  <a:lnTo>
                    <a:pt x="350753" y="62058"/>
                  </a:lnTo>
                  <a:lnTo>
                    <a:pt x="348563" y="60171"/>
                  </a:lnTo>
                  <a:lnTo>
                    <a:pt x="347905" y="57833"/>
                  </a:lnTo>
                  <a:lnTo>
                    <a:pt x="348198" y="51586"/>
                  </a:lnTo>
                  <a:lnTo>
                    <a:pt x="349881" y="49107"/>
                  </a:lnTo>
                  <a:lnTo>
                    <a:pt x="354707" y="49367"/>
                  </a:lnTo>
                  <a:lnTo>
                    <a:pt x="357598" y="49024"/>
                  </a:lnTo>
                  <a:lnTo>
                    <a:pt x="358948" y="50151"/>
                  </a:lnTo>
                  <a:lnTo>
                    <a:pt x="361843" y="50070"/>
                  </a:lnTo>
                  <a:lnTo>
                    <a:pt x="363848" y="45579"/>
                  </a:lnTo>
                  <a:lnTo>
                    <a:pt x="367810" y="45185"/>
                  </a:lnTo>
                  <a:lnTo>
                    <a:pt x="371289" y="48155"/>
                  </a:lnTo>
                  <a:lnTo>
                    <a:pt x="375476" y="50151"/>
                  </a:lnTo>
                  <a:lnTo>
                    <a:pt x="378840" y="53019"/>
                  </a:lnTo>
                  <a:lnTo>
                    <a:pt x="379790" y="52236"/>
                  </a:lnTo>
                  <a:lnTo>
                    <a:pt x="377974" y="45538"/>
                  </a:lnTo>
                  <a:lnTo>
                    <a:pt x="375987" y="43092"/>
                  </a:lnTo>
                  <a:lnTo>
                    <a:pt x="371677" y="41819"/>
                  </a:lnTo>
                  <a:lnTo>
                    <a:pt x="367091" y="38795"/>
                  </a:lnTo>
                  <a:lnTo>
                    <a:pt x="365895" y="37453"/>
                  </a:lnTo>
                  <a:lnTo>
                    <a:pt x="366104" y="36454"/>
                  </a:lnTo>
                  <a:lnTo>
                    <a:pt x="370151" y="35490"/>
                  </a:lnTo>
                  <a:lnTo>
                    <a:pt x="375491" y="36594"/>
                  </a:lnTo>
                  <a:lnTo>
                    <a:pt x="380250" y="34070"/>
                  </a:lnTo>
                  <a:lnTo>
                    <a:pt x="381552" y="34762"/>
                  </a:lnTo>
                  <a:lnTo>
                    <a:pt x="385202" y="33441"/>
                  </a:lnTo>
                  <a:lnTo>
                    <a:pt x="387469" y="35218"/>
                  </a:lnTo>
                  <a:lnTo>
                    <a:pt x="388857" y="34692"/>
                  </a:lnTo>
                  <a:lnTo>
                    <a:pt x="389663" y="32309"/>
                  </a:lnTo>
                  <a:lnTo>
                    <a:pt x="395487" y="30829"/>
                  </a:lnTo>
                  <a:lnTo>
                    <a:pt x="399181" y="32195"/>
                  </a:lnTo>
                  <a:lnTo>
                    <a:pt x="401162" y="33608"/>
                  </a:lnTo>
                  <a:lnTo>
                    <a:pt x="402082" y="36320"/>
                  </a:lnTo>
                  <a:lnTo>
                    <a:pt x="403489" y="41674"/>
                  </a:lnTo>
                  <a:lnTo>
                    <a:pt x="406374" y="44557"/>
                  </a:lnTo>
                  <a:lnTo>
                    <a:pt x="408165" y="45971"/>
                  </a:lnTo>
                  <a:lnTo>
                    <a:pt x="410287" y="46362"/>
                  </a:lnTo>
                  <a:lnTo>
                    <a:pt x="411311" y="44924"/>
                  </a:lnTo>
                  <a:lnTo>
                    <a:pt x="409322" y="43190"/>
                  </a:lnTo>
                  <a:lnTo>
                    <a:pt x="408786" y="41556"/>
                  </a:lnTo>
                  <a:lnTo>
                    <a:pt x="409739" y="37494"/>
                  </a:lnTo>
                  <a:lnTo>
                    <a:pt x="410851" y="35896"/>
                  </a:lnTo>
                  <a:lnTo>
                    <a:pt x="417083" y="29833"/>
                  </a:lnTo>
                  <a:lnTo>
                    <a:pt x="422300" y="26680"/>
                  </a:lnTo>
                  <a:lnTo>
                    <a:pt x="425424" y="26417"/>
                  </a:lnTo>
                  <a:lnTo>
                    <a:pt x="430888" y="19331"/>
                  </a:lnTo>
                  <a:lnTo>
                    <a:pt x="432436" y="18040"/>
                  </a:lnTo>
                  <a:lnTo>
                    <a:pt x="433861" y="17743"/>
                  </a:lnTo>
                  <a:lnTo>
                    <a:pt x="433496" y="16004"/>
                  </a:lnTo>
                  <a:lnTo>
                    <a:pt x="430503" y="14903"/>
                  </a:lnTo>
                  <a:lnTo>
                    <a:pt x="430400" y="12748"/>
                  </a:lnTo>
                  <a:lnTo>
                    <a:pt x="434343" y="10121"/>
                  </a:lnTo>
                  <a:lnTo>
                    <a:pt x="439124" y="5706"/>
                  </a:lnTo>
                  <a:lnTo>
                    <a:pt x="441484" y="5406"/>
                  </a:lnTo>
                  <a:lnTo>
                    <a:pt x="442963" y="6634"/>
                  </a:lnTo>
                  <a:lnTo>
                    <a:pt x="447619" y="8627"/>
                  </a:lnTo>
                  <a:lnTo>
                    <a:pt x="450471" y="10908"/>
                  </a:lnTo>
                  <a:lnTo>
                    <a:pt x="452538" y="12056"/>
                  </a:lnTo>
                  <a:lnTo>
                    <a:pt x="453881" y="11818"/>
                  </a:lnTo>
                  <a:lnTo>
                    <a:pt x="454991" y="10105"/>
                  </a:lnTo>
                  <a:lnTo>
                    <a:pt x="456325" y="9303"/>
                  </a:lnTo>
                  <a:lnTo>
                    <a:pt x="459286" y="9753"/>
                  </a:lnTo>
                  <a:lnTo>
                    <a:pt x="461052" y="10855"/>
                  </a:lnTo>
                  <a:lnTo>
                    <a:pt x="462428" y="11000"/>
                  </a:lnTo>
                  <a:lnTo>
                    <a:pt x="463672" y="11667"/>
                  </a:lnTo>
                  <a:lnTo>
                    <a:pt x="463965" y="13131"/>
                  </a:lnTo>
                  <a:lnTo>
                    <a:pt x="461404" y="14725"/>
                  </a:lnTo>
                  <a:lnTo>
                    <a:pt x="457040" y="18947"/>
                  </a:lnTo>
                  <a:lnTo>
                    <a:pt x="452734" y="23737"/>
                  </a:lnTo>
                  <a:lnTo>
                    <a:pt x="451314" y="26255"/>
                  </a:lnTo>
                  <a:lnTo>
                    <a:pt x="449923" y="32850"/>
                  </a:lnTo>
                  <a:lnTo>
                    <a:pt x="446558" y="37058"/>
                  </a:lnTo>
                  <a:lnTo>
                    <a:pt x="446304" y="40003"/>
                  </a:lnTo>
                  <a:lnTo>
                    <a:pt x="447655" y="41390"/>
                  </a:lnTo>
                  <a:lnTo>
                    <a:pt x="451369" y="40302"/>
                  </a:lnTo>
                  <a:lnTo>
                    <a:pt x="455947" y="36371"/>
                  </a:lnTo>
                  <a:lnTo>
                    <a:pt x="457090" y="32191"/>
                  </a:lnTo>
                  <a:lnTo>
                    <a:pt x="468535" y="20815"/>
                  </a:lnTo>
                  <a:lnTo>
                    <a:pt x="473903" y="14505"/>
                  </a:lnTo>
                  <a:lnTo>
                    <a:pt x="480007" y="9265"/>
                  </a:lnTo>
                  <a:lnTo>
                    <a:pt x="483421" y="8179"/>
                  </a:lnTo>
                  <a:lnTo>
                    <a:pt x="485028" y="11651"/>
                  </a:lnTo>
                  <a:lnTo>
                    <a:pt x="483734" y="16179"/>
                  </a:lnTo>
                  <a:lnTo>
                    <a:pt x="481141" y="19061"/>
                  </a:lnTo>
                  <a:lnTo>
                    <a:pt x="483052" y="20380"/>
                  </a:lnTo>
                  <a:lnTo>
                    <a:pt x="482687" y="23797"/>
                  </a:lnTo>
                  <a:lnTo>
                    <a:pt x="482091" y="25693"/>
                  </a:lnTo>
                  <a:lnTo>
                    <a:pt x="481711" y="27676"/>
                  </a:lnTo>
                  <a:lnTo>
                    <a:pt x="481735" y="29424"/>
                  </a:lnTo>
                  <a:lnTo>
                    <a:pt x="483527" y="28958"/>
                  </a:lnTo>
                  <a:lnTo>
                    <a:pt x="490675" y="25377"/>
                  </a:lnTo>
                  <a:lnTo>
                    <a:pt x="492486" y="21493"/>
                  </a:lnTo>
                  <a:lnTo>
                    <a:pt x="494166" y="18577"/>
                  </a:lnTo>
                  <a:lnTo>
                    <a:pt x="494972" y="16055"/>
                  </a:lnTo>
                  <a:lnTo>
                    <a:pt x="497751" y="13663"/>
                  </a:lnTo>
                  <a:lnTo>
                    <a:pt x="502994" y="13645"/>
                  </a:lnTo>
                  <a:lnTo>
                    <a:pt x="503197" y="12704"/>
                  </a:lnTo>
                  <a:lnTo>
                    <a:pt x="496859" y="9377"/>
                  </a:lnTo>
                  <a:lnTo>
                    <a:pt x="496112" y="7877"/>
                  </a:lnTo>
                  <a:lnTo>
                    <a:pt x="498243" y="5879"/>
                  </a:lnTo>
                  <a:close/>
                  <a:moveTo>
                    <a:pt x="459651" y="0"/>
                  </a:moveTo>
                  <a:lnTo>
                    <a:pt x="465559" y="1548"/>
                  </a:lnTo>
                  <a:lnTo>
                    <a:pt x="467582" y="1516"/>
                  </a:lnTo>
                  <a:lnTo>
                    <a:pt x="470515" y="4407"/>
                  </a:lnTo>
                  <a:lnTo>
                    <a:pt x="472046" y="4151"/>
                  </a:lnTo>
                  <a:lnTo>
                    <a:pt x="471756" y="5916"/>
                  </a:lnTo>
                  <a:lnTo>
                    <a:pt x="468792" y="6752"/>
                  </a:lnTo>
                  <a:lnTo>
                    <a:pt x="464183" y="7260"/>
                  </a:lnTo>
                  <a:lnTo>
                    <a:pt x="463495" y="7611"/>
                  </a:lnTo>
                  <a:lnTo>
                    <a:pt x="459556" y="7329"/>
                  </a:lnTo>
                  <a:lnTo>
                    <a:pt x="457345" y="4956"/>
                  </a:lnTo>
                  <a:lnTo>
                    <a:pt x="453650" y="4368"/>
                  </a:lnTo>
                  <a:lnTo>
                    <a:pt x="453656" y="3606"/>
                  </a:lnTo>
                  <a:lnTo>
                    <a:pt x="456049" y="1809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ee4p_PL_1_37764">
              <a:extLst>
                <a:ext uri="{FF2B5EF4-FFF2-40B4-BE49-F238E27FC236}">
                  <a16:creationId xmlns:a16="http://schemas.microsoft.com/office/drawing/2014/main" id="{5EE0CA98-DDA8-4EA5-ABEF-3B47C4911DB6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11360952" y="7917335"/>
              <a:ext cx="2076693" cy="1618970"/>
            </a:xfrm>
            <a:custGeom>
              <a:avLst/>
              <a:gdLst/>
              <a:ahLst/>
              <a:cxnLst/>
              <a:rect l="0" t="0" r="0" b="0"/>
              <a:pathLst>
                <a:path w="220617" h="171991">
                  <a:moveTo>
                    <a:pt x="121082" y="11596"/>
                  </a:moveTo>
                  <a:lnTo>
                    <a:pt x="121963" y="11965"/>
                  </a:lnTo>
                  <a:lnTo>
                    <a:pt x="128156" y="12364"/>
                  </a:lnTo>
                  <a:lnTo>
                    <a:pt x="134433" y="12768"/>
                  </a:lnTo>
                  <a:lnTo>
                    <a:pt x="144528" y="13198"/>
                  </a:lnTo>
                  <a:lnTo>
                    <a:pt x="155049" y="13651"/>
                  </a:lnTo>
                  <a:lnTo>
                    <a:pt x="165965" y="14118"/>
                  </a:lnTo>
                  <a:lnTo>
                    <a:pt x="177778" y="14624"/>
                  </a:lnTo>
                  <a:lnTo>
                    <a:pt x="190236" y="14922"/>
                  </a:lnTo>
                  <a:lnTo>
                    <a:pt x="190996" y="14718"/>
                  </a:lnTo>
                  <a:lnTo>
                    <a:pt x="192268" y="13529"/>
                  </a:lnTo>
                  <a:lnTo>
                    <a:pt x="193821" y="13690"/>
                  </a:lnTo>
                  <a:lnTo>
                    <a:pt x="195652" y="14427"/>
                  </a:lnTo>
                  <a:lnTo>
                    <a:pt x="196509" y="14976"/>
                  </a:lnTo>
                  <a:lnTo>
                    <a:pt x="196872" y="15599"/>
                  </a:lnTo>
                  <a:lnTo>
                    <a:pt x="197098" y="16320"/>
                  </a:lnTo>
                  <a:lnTo>
                    <a:pt x="198100" y="16464"/>
                  </a:lnTo>
                  <a:lnTo>
                    <a:pt x="199931" y="17013"/>
                  </a:lnTo>
                  <a:lnTo>
                    <a:pt x="202408" y="18265"/>
                  </a:lnTo>
                  <a:lnTo>
                    <a:pt x="204349" y="19477"/>
                  </a:lnTo>
                  <a:lnTo>
                    <a:pt x="206196" y="21210"/>
                  </a:lnTo>
                  <a:lnTo>
                    <a:pt x="206809" y="23168"/>
                  </a:lnTo>
                  <a:lnTo>
                    <a:pt x="206846" y="25385"/>
                  </a:lnTo>
                  <a:lnTo>
                    <a:pt x="206727" y="26811"/>
                  </a:lnTo>
                  <a:lnTo>
                    <a:pt x="206883" y="27391"/>
                  </a:lnTo>
                  <a:lnTo>
                    <a:pt x="209409" y="37691"/>
                  </a:lnTo>
                  <a:lnTo>
                    <a:pt x="213618" y="47576"/>
                  </a:lnTo>
                  <a:lnTo>
                    <a:pt x="215164" y="52344"/>
                  </a:lnTo>
                  <a:lnTo>
                    <a:pt x="215781" y="54879"/>
                  </a:lnTo>
                  <a:lnTo>
                    <a:pt x="216274" y="58550"/>
                  </a:lnTo>
                  <a:lnTo>
                    <a:pt x="216427" y="61124"/>
                  </a:lnTo>
                  <a:lnTo>
                    <a:pt x="216408" y="62573"/>
                  </a:lnTo>
                  <a:lnTo>
                    <a:pt x="216094" y="64562"/>
                  </a:lnTo>
                  <a:lnTo>
                    <a:pt x="214844" y="65737"/>
                  </a:lnTo>
                  <a:lnTo>
                    <a:pt x="206770" y="69093"/>
                  </a:lnTo>
                  <a:lnTo>
                    <a:pt x="205252" y="70145"/>
                  </a:lnTo>
                  <a:lnTo>
                    <a:pt x="202872" y="72758"/>
                  </a:lnTo>
                  <a:lnTo>
                    <a:pt x="200679" y="75446"/>
                  </a:lnTo>
                  <a:lnTo>
                    <a:pt x="200173" y="76364"/>
                  </a:lnTo>
                  <a:lnTo>
                    <a:pt x="200037" y="76968"/>
                  </a:lnTo>
                  <a:lnTo>
                    <a:pt x="200521" y="77849"/>
                  </a:lnTo>
                  <a:lnTo>
                    <a:pt x="203399" y="79287"/>
                  </a:lnTo>
                  <a:lnTo>
                    <a:pt x="206302" y="80441"/>
                  </a:lnTo>
                  <a:lnTo>
                    <a:pt x="207247" y="81304"/>
                  </a:lnTo>
                  <a:lnTo>
                    <a:pt x="209388" y="82409"/>
                  </a:lnTo>
                  <a:lnTo>
                    <a:pt x="210169" y="83400"/>
                  </a:lnTo>
                  <a:lnTo>
                    <a:pt x="210592" y="84264"/>
                  </a:lnTo>
                  <a:lnTo>
                    <a:pt x="210562" y="86257"/>
                  </a:lnTo>
                  <a:lnTo>
                    <a:pt x="209597" y="89011"/>
                  </a:lnTo>
                  <a:lnTo>
                    <a:pt x="210001" y="91090"/>
                  </a:lnTo>
                  <a:lnTo>
                    <a:pt x="209020" y="92474"/>
                  </a:lnTo>
                  <a:lnTo>
                    <a:pt x="208213" y="94011"/>
                  </a:lnTo>
                  <a:lnTo>
                    <a:pt x="208098" y="96701"/>
                  </a:lnTo>
                  <a:lnTo>
                    <a:pt x="209550" y="99671"/>
                  </a:lnTo>
                  <a:lnTo>
                    <a:pt x="210735" y="101697"/>
                  </a:lnTo>
                  <a:lnTo>
                    <a:pt x="211195" y="103284"/>
                  </a:lnTo>
                  <a:lnTo>
                    <a:pt x="210707" y="104529"/>
                  </a:lnTo>
                  <a:lnTo>
                    <a:pt x="210858" y="105774"/>
                  </a:lnTo>
                  <a:lnTo>
                    <a:pt x="211914" y="107090"/>
                  </a:lnTo>
                  <a:lnTo>
                    <a:pt x="215259" y="111158"/>
                  </a:lnTo>
                  <a:lnTo>
                    <a:pt x="216909" y="115066"/>
                  </a:lnTo>
                  <a:lnTo>
                    <a:pt x="217963" y="116587"/>
                  </a:lnTo>
                  <a:lnTo>
                    <a:pt x="220396" y="118562"/>
                  </a:lnTo>
                  <a:lnTo>
                    <a:pt x="220616" y="119372"/>
                  </a:lnTo>
                  <a:lnTo>
                    <a:pt x="219640" y="120114"/>
                  </a:lnTo>
                  <a:lnTo>
                    <a:pt x="218852" y="120212"/>
                  </a:lnTo>
                  <a:lnTo>
                    <a:pt x="218213" y="120409"/>
                  </a:lnTo>
                  <a:lnTo>
                    <a:pt x="217801" y="121102"/>
                  </a:lnTo>
                  <a:lnTo>
                    <a:pt x="218440" y="121843"/>
                  </a:lnTo>
                  <a:lnTo>
                    <a:pt x="219301" y="122931"/>
                  </a:lnTo>
                  <a:lnTo>
                    <a:pt x="220372" y="126008"/>
                  </a:lnTo>
                  <a:lnTo>
                    <a:pt x="220266" y="128524"/>
                  </a:lnTo>
                  <a:lnTo>
                    <a:pt x="219442" y="129164"/>
                  </a:lnTo>
                  <a:lnTo>
                    <a:pt x="218388" y="130656"/>
                  </a:lnTo>
                  <a:lnTo>
                    <a:pt x="217673" y="132019"/>
                  </a:lnTo>
                  <a:lnTo>
                    <a:pt x="211903" y="132968"/>
                  </a:lnTo>
                  <a:lnTo>
                    <a:pt x="210517" y="134426"/>
                  </a:lnTo>
                  <a:lnTo>
                    <a:pt x="207358" y="137241"/>
                  </a:lnTo>
                  <a:lnTo>
                    <a:pt x="205201" y="138859"/>
                  </a:lnTo>
                  <a:lnTo>
                    <a:pt x="202013" y="141780"/>
                  </a:lnTo>
                  <a:lnTo>
                    <a:pt x="196969" y="146796"/>
                  </a:lnTo>
                  <a:lnTo>
                    <a:pt x="195110" y="148891"/>
                  </a:lnTo>
                  <a:lnTo>
                    <a:pt x="193749" y="150622"/>
                  </a:lnTo>
                  <a:lnTo>
                    <a:pt x="189668" y="155225"/>
                  </a:lnTo>
                  <a:lnTo>
                    <a:pt x="188413" y="157155"/>
                  </a:lnTo>
                  <a:lnTo>
                    <a:pt x="188662" y="158743"/>
                  </a:lnTo>
                  <a:lnTo>
                    <a:pt x="189972" y="162467"/>
                  </a:lnTo>
                  <a:lnTo>
                    <a:pt x="190249" y="164146"/>
                  </a:lnTo>
                  <a:lnTo>
                    <a:pt x="190018" y="165698"/>
                  </a:lnTo>
                  <a:lnTo>
                    <a:pt x="189584" y="167078"/>
                  </a:lnTo>
                  <a:lnTo>
                    <a:pt x="189657" y="167693"/>
                  </a:lnTo>
                  <a:lnTo>
                    <a:pt x="190862" y="168693"/>
                  </a:lnTo>
                  <a:lnTo>
                    <a:pt x="192784" y="170263"/>
                  </a:lnTo>
                  <a:lnTo>
                    <a:pt x="192894" y="170792"/>
                  </a:lnTo>
                  <a:lnTo>
                    <a:pt x="192622" y="171472"/>
                  </a:lnTo>
                  <a:lnTo>
                    <a:pt x="191959" y="171990"/>
                  </a:lnTo>
                  <a:lnTo>
                    <a:pt x="189560" y="171443"/>
                  </a:lnTo>
                  <a:lnTo>
                    <a:pt x="186878" y="170379"/>
                  </a:lnTo>
                  <a:lnTo>
                    <a:pt x="185965" y="170507"/>
                  </a:lnTo>
                  <a:lnTo>
                    <a:pt x="184513" y="170262"/>
                  </a:lnTo>
                  <a:lnTo>
                    <a:pt x="178532" y="168207"/>
                  </a:lnTo>
                  <a:lnTo>
                    <a:pt x="174498" y="166597"/>
                  </a:lnTo>
                  <a:lnTo>
                    <a:pt x="174101" y="165551"/>
                  </a:lnTo>
                  <a:lnTo>
                    <a:pt x="173339" y="164034"/>
                  </a:lnTo>
                  <a:lnTo>
                    <a:pt x="171624" y="162763"/>
                  </a:lnTo>
                  <a:lnTo>
                    <a:pt x="167688" y="161661"/>
                  </a:lnTo>
                  <a:lnTo>
                    <a:pt x="166085" y="160800"/>
                  </a:lnTo>
                  <a:lnTo>
                    <a:pt x="159691" y="160319"/>
                  </a:lnTo>
                  <a:lnTo>
                    <a:pt x="156917" y="160299"/>
                  </a:lnTo>
                  <a:lnTo>
                    <a:pt x="154952" y="160655"/>
                  </a:lnTo>
                  <a:lnTo>
                    <a:pt x="153697" y="160619"/>
                  </a:lnTo>
                  <a:lnTo>
                    <a:pt x="151967" y="162867"/>
                  </a:lnTo>
                  <a:lnTo>
                    <a:pt x="150775" y="163518"/>
                  </a:lnTo>
                  <a:lnTo>
                    <a:pt x="149033" y="163587"/>
                  </a:lnTo>
                  <a:lnTo>
                    <a:pt x="147508" y="163187"/>
                  </a:lnTo>
                  <a:lnTo>
                    <a:pt x="145949" y="162005"/>
                  </a:lnTo>
                  <a:lnTo>
                    <a:pt x="143453" y="161381"/>
                  </a:lnTo>
                  <a:lnTo>
                    <a:pt x="141650" y="161682"/>
                  </a:lnTo>
                  <a:lnTo>
                    <a:pt x="140322" y="161424"/>
                  </a:lnTo>
                  <a:lnTo>
                    <a:pt x="139175" y="161363"/>
                  </a:lnTo>
                  <a:lnTo>
                    <a:pt x="138778" y="161599"/>
                  </a:lnTo>
                  <a:lnTo>
                    <a:pt x="137856" y="161566"/>
                  </a:lnTo>
                  <a:lnTo>
                    <a:pt x="136519" y="162131"/>
                  </a:lnTo>
                  <a:lnTo>
                    <a:pt x="135059" y="162930"/>
                  </a:lnTo>
                  <a:lnTo>
                    <a:pt x="133448" y="163538"/>
                  </a:lnTo>
                  <a:lnTo>
                    <a:pt x="132209" y="164845"/>
                  </a:lnTo>
                  <a:lnTo>
                    <a:pt x="131103" y="167404"/>
                  </a:lnTo>
                  <a:lnTo>
                    <a:pt x="127974" y="166258"/>
                  </a:lnTo>
                  <a:lnTo>
                    <a:pt x="126931" y="166755"/>
                  </a:lnTo>
                  <a:lnTo>
                    <a:pt x="125457" y="167089"/>
                  </a:lnTo>
                  <a:lnTo>
                    <a:pt x="124448" y="166744"/>
                  </a:lnTo>
                  <a:lnTo>
                    <a:pt x="124686" y="165862"/>
                  </a:lnTo>
                  <a:lnTo>
                    <a:pt x="125141" y="164868"/>
                  </a:lnTo>
                  <a:lnTo>
                    <a:pt x="125120" y="163477"/>
                  </a:lnTo>
                  <a:lnTo>
                    <a:pt x="124830" y="161941"/>
                  </a:lnTo>
                  <a:lnTo>
                    <a:pt x="123861" y="161441"/>
                  </a:lnTo>
                  <a:lnTo>
                    <a:pt x="122403" y="161257"/>
                  </a:lnTo>
                  <a:lnTo>
                    <a:pt x="121654" y="160953"/>
                  </a:lnTo>
                  <a:lnTo>
                    <a:pt x="121574" y="160445"/>
                  </a:lnTo>
                  <a:lnTo>
                    <a:pt x="120831" y="159792"/>
                  </a:lnTo>
                  <a:lnTo>
                    <a:pt x="119542" y="158138"/>
                  </a:lnTo>
                  <a:lnTo>
                    <a:pt x="118324" y="156082"/>
                  </a:lnTo>
                  <a:lnTo>
                    <a:pt x="117482" y="155469"/>
                  </a:lnTo>
                  <a:lnTo>
                    <a:pt x="116258" y="156448"/>
                  </a:lnTo>
                  <a:lnTo>
                    <a:pt x="114403" y="157561"/>
                  </a:lnTo>
                  <a:lnTo>
                    <a:pt x="113250" y="157947"/>
                  </a:lnTo>
                  <a:lnTo>
                    <a:pt x="111021" y="161143"/>
                  </a:lnTo>
                  <a:lnTo>
                    <a:pt x="107017" y="161251"/>
                  </a:lnTo>
                  <a:lnTo>
                    <a:pt x="106771" y="159759"/>
                  </a:lnTo>
                  <a:lnTo>
                    <a:pt x="106350" y="158324"/>
                  </a:lnTo>
                  <a:lnTo>
                    <a:pt x="104007" y="157965"/>
                  </a:lnTo>
                  <a:lnTo>
                    <a:pt x="103942" y="157123"/>
                  </a:lnTo>
                  <a:lnTo>
                    <a:pt x="103448" y="155009"/>
                  </a:lnTo>
                  <a:lnTo>
                    <a:pt x="98754" y="150865"/>
                  </a:lnTo>
                  <a:lnTo>
                    <a:pt x="98183" y="149134"/>
                  </a:lnTo>
                  <a:lnTo>
                    <a:pt x="98367" y="148466"/>
                  </a:lnTo>
                  <a:lnTo>
                    <a:pt x="98041" y="147364"/>
                  </a:lnTo>
                  <a:lnTo>
                    <a:pt x="97020" y="146700"/>
                  </a:lnTo>
                  <a:lnTo>
                    <a:pt x="93310" y="145909"/>
                  </a:lnTo>
                  <a:lnTo>
                    <a:pt x="92355" y="146364"/>
                  </a:lnTo>
                  <a:lnTo>
                    <a:pt x="91494" y="145896"/>
                  </a:lnTo>
                  <a:lnTo>
                    <a:pt x="90144" y="144902"/>
                  </a:lnTo>
                  <a:lnTo>
                    <a:pt x="87799" y="144093"/>
                  </a:lnTo>
                  <a:lnTo>
                    <a:pt x="87544" y="143674"/>
                  </a:lnTo>
                  <a:lnTo>
                    <a:pt x="86700" y="142962"/>
                  </a:lnTo>
                  <a:lnTo>
                    <a:pt x="86231" y="142866"/>
                  </a:lnTo>
                  <a:lnTo>
                    <a:pt x="85929" y="143299"/>
                  </a:lnTo>
                  <a:lnTo>
                    <a:pt x="85247" y="143911"/>
                  </a:lnTo>
                  <a:lnTo>
                    <a:pt x="82837" y="144685"/>
                  </a:lnTo>
                  <a:lnTo>
                    <a:pt x="81874" y="144366"/>
                  </a:lnTo>
                  <a:lnTo>
                    <a:pt x="80999" y="143694"/>
                  </a:lnTo>
                  <a:lnTo>
                    <a:pt x="80001" y="142245"/>
                  </a:lnTo>
                  <a:lnTo>
                    <a:pt x="78552" y="140973"/>
                  </a:lnTo>
                  <a:lnTo>
                    <a:pt x="77358" y="140522"/>
                  </a:lnTo>
                  <a:lnTo>
                    <a:pt x="76678" y="139854"/>
                  </a:lnTo>
                  <a:lnTo>
                    <a:pt x="76525" y="139335"/>
                  </a:lnTo>
                  <a:lnTo>
                    <a:pt x="79176" y="138291"/>
                  </a:lnTo>
                  <a:lnTo>
                    <a:pt x="79755" y="137214"/>
                  </a:lnTo>
                  <a:lnTo>
                    <a:pt x="79416" y="135249"/>
                  </a:lnTo>
                  <a:lnTo>
                    <a:pt x="79021" y="135001"/>
                  </a:lnTo>
                  <a:lnTo>
                    <a:pt x="77970" y="135666"/>
                  </a:lnTo>
                  <a:lnTo>
                    <a:pt x="75756" y="136250"/>
                  </a:lnTo>
                  <a:lnTo>
                    <a:pt x="73716" y="136519"/>
                  </a:lnTo>
                  <a:lnTo>
                    <a:pt x="72675" y="136519"/>
                  </a:lnTo>
                  <a:lnTo>
                    <a:pt x="66853" y="132940"/>
                  </a:lnTo>
                  <a:lnTo>
                    <a:pt x="63067" y="131844"/>
                  </a:lnTo>
                  <a:lnTo>
                    <a:pt x="60841" y="131526"/>
                  </a:lnTo>
                  <a:lnTo>
                    <a:pt x="60599" y="131890"/>
                  </a:lnTo>
                  <a:lnTo>
                    <a:pt x="61608" y="133899"/>
                  </a:lnTo>
                  <a:lnTo>
                    <a:pt x="63346" y="136376"/>
                  </a:lnTo>
                  <a:lnTo>
                    <a:pt x="63264" y="137036"/>
                  </a:lnTo>
                  <a:lnTo>
                    <a:pt x="61178" y="138048"/>
                  </a:lnTo>
                  <a:lnTo>
                    <a:pt x="59995" y="138489"/>
                  </a:lnTo>
                  <a:lnTo>
                    <a:pt x="58597" y="139347"/>
                  </a:lnTo>
                  <a:lnTo>
                    <a:pt x="57418" y="140532"/>
                  </a:lnTo>
                  <a:lnTo>
                    <a:pt x="56397" y="141069"/>
                  </a:lnTo>
                  <a:lnTo>
                    <a:pt x="55514" y="140934"/>
                  </a:lnTo>
                  <a:lnTo>
                    <a:pt x="54574" y="140362"/>
                  </a:lnTo>
                  <a:lnTo>
                    <a:pt x="52163" y="136704"/>
                  </a:lnTo>
                  <a:lnTo>
                    <a:pt x="49131" y="133899"/>
                  </a:lnTo>
                  <a:lnTo>
                    <a:pt x="48770" y="133271"/>
                  </a:lnTo>
                  <a:lnTo>
                    <a:pt x="47822" y="133126"/>
                  </a:lnTo>
                  <a:lnTo>
                    <a:pt x="46483" y="132482"/>
                  </a:lnTo>
                  <a:lnTo>
                    <a:pt x="46032" y="131623"/>
                  </a:lnTo>
                  <a:lnTo>
                    <a:pt x="46704" y="130724"/>
                  </a:lnTo>
                  <a:lnTo>
                    <a:pt x="47628" y="129902"/>
                  </a:lnTo>
                  <a:lnTo>
                    <a:pt x="49267" y="129395"/>
                  </a:lnTo>
                  <a:lnTo>
                    <a:pt x="49764" y="128918"/>
                  </a:lnTo>
                  <a:lnTo>
                    <a:pt x="50055" y="128199"/>
                  </a:lnTo>
                  <a:lnTo>
                    <a:pt x="50662" y="127270"/>
                  </a:lnTo>
                  <a:lnTo>
                    <a:pt x="50502" y="126935"/>
                  </a:lnTo>
                  <a:lnTo>
                    <a:pt x="49340" y="125882"/>
                  </a:lnTo>
                  <a:lnTo>
                    <a:pt x="47621" y="124886"/>
                  </a:lnTo>
                  <a:lnTo>
                    <a:pt x="42849" y="125634"/>
                  </a:lnTo>
                  <a:lnTo>
                    <a:pt x="41540" y="126166"/>
                  </a:lnTo>
                  <a:lnTo>
                    <a:pt x="40802" y="125473"/>
                  </a:lnTo>
                  <a:lnTo>
                    <a:pt x="40243" y="124460"/>
                  </a:lnTo>
                  <a:lnTo>
                    <a:pt x="39035" y="124267"/>
                  </a:lnTo>
                  <a:lnTo>
                    <a:pt x="37384" y="123342"/>
                  </a:lnTo>
                  <a:lnTo>
                    <a:pt x="35423" y="122439"/>
                  </a:lnTo>
                  <a:lnTo>
                    <a:pt x="33508" y="122172"/>
                  </a:lnTo>
                  <a:lnTo>
                    <a:pt x="29528" y="120862"/>
                  </a:lnTo>
                  <a:lnTo>
                    <a:pt x="27995" y="120791"/>
                  </a:lnTo>
                  <a:lnTo>
                    <a:pt x="27105" y="120340"/>
                  </a:lnTo>
                  <a:lnTo>
                    <a:pt x="26181" y="119349"/>
                  </a:lnTo>
                  <a:lnTo>
                    <a:pt x="25395" y="118263"/>
                  </a:lnTo>
                  <a:lnTo>
                    <a:pt x="24987" y="116058"/>
                  </a:lnTo>
                  <a:lnTo>
                    <a:pt x="22054" y="115056"/>
                  </a:lnTo>
                  <a:lnTo>
                    <a:pt x="19131" y="114428"/>
                  </a:lnTo>
                  <a:lnTo>
                    <a:pt x="18925" y="114748"/>
                  </a:lnTo>
                  <a:lnTo>
                    <a:pt x="19046" y="116972"/>
                  </a:lnTo>
                  <a:lnTo>
                    <a:pt x="18891" y="118159"/>
                  </a:lnTo>
                  <a:lnTo>
                    <a:pt x="16965" y="118893"/>
                  </a:lnTo>
                  <a:lnTo>
                    <a:pt x="15054" y="118963"/>
                  </a:lnTo>
                  <a:lnTo>
                    <a:pt x="15161" y="118594"/>
                  </a:lnTo>
                  <a:lnTo>
                    <a:pt x="17444" y="114592"/>
                  </a:lnTo>
                  <a:lnTo>
                    <a:pt x="18470" y="112068"/>
                  </a:lnTo>
                  <a:lnTo>
                    <a:pt x="19636" y="107454"/>
                  </a:lnTo>
                  <a:lnTo>
                    <a:pt x="18232" y="103806"/>
                  </a:lnTo>
                  <a:lnTo>
                    <a:pt x="17843" y="102097"/>
                  </a:lnTo>
                  <a:lnTo>
                    <a:pt x="17189" y="101276"/>
                  </a:lnTo>
                  <a:lnTo>
                    <a:pt x="13181" y="99496"/>
                  </a:lnTo>
                  <a:lnTo>
                    <a:pt x="12877" y="98878"/>
                  </a:lnTo>
                  <a:lnTo>
                    <a:pt x="13490" y="96459"/>
                  </a:lnTo>
                  <a:lnTo>
                    <a:pt x="13186" y="95441"/>
                  </a:lnTo>
                  <a:lnTo>
                    <a:pt x="12222" y="94366"/>
                  </a:lnTo>
                  <a:lnTo>
                    <a:pt x="10953" y="92226"/>
                  </a:lnTo>
                  <a:lnTo>
                    <a:pt x="10460" y="90410"/>
                  </a:lnTo>
                  <a:lnTo>
                    <a:pt x="12080" y="88271"/>
                  </a:lnTo>
                  <a:lnTo>
                    <a:pt x="12479" y="86700"/>
                  </a:lnTo>
                  <a:lnTo>
                    <a:pt x="13184" y="84546"/>
                  </a:lnTo>
                  <a:lnTo>
                    <a:pt x="13699" y="83364"/>
                  </a:lnTo>
                  <a:lnTo>
                    <a:pt x="13797" y="83038"/>
                  </a:lnTo>
                  <a:lnTo>
                    <a:pt x="12736" y="82198"/>
                  </a:lnTo>
                  <a:lnTo>
                    <a:pt x="12467" y="81018"/>
                  </a:lnTo>
                  <a:lnTo>
                    <a:pt x="12754" y="79316"/>
                  </a:lnTo>
                  <a:lnTo>
                    <a:pt x="12190" y="78055"/>
                  </a:lnTo>
                  <a:lnTo>
                    <a:pt x="10769" y="77235"/>
                  </a:lnTo>
                  <a:lnTo>
                    <a:pt x="9847" y="76151"/>
                  </a:lnTo>
                  <a:lnTo>
                    <a:pt x="9420" y="74800"/>
                  </a:lnTo>
                  <a:lnTo>
                    <a:pt x="9754" y="72677"/>
                  </a:lnTo>
                  <a:lnTo>
                    <a:pt x="10853" y="69779"/>
                  </a:lnTo>
                  <a:lnTo>
                    <a:pt x="8523" y="66291"/>
                  </a:lnTo>
                  <a:lnTo>
                    <a:pt x="2767" y="62206"/>
                  </a:lnTo>
                  <a:lnTo>
                    <a:pt x="0" y="59347"/>
                  </a:lnTo>
                  <a:lnTo>
                    <a:pt x="227" y="57713"/>
                  </a:lnTo>
                  <a:lnTo>
                    <a:pt x="1439" y="56233"/>
                  </a:lnTo>
                  <a:lnTo>
                    <a:pt x="3639" y="54902"/>
                  </a:lnTo>
                  <a:lnTo>
                    <a:pt x="5306" y="52540"/>
                  </a:lnTo>
                  <a:lnTo>
                    <a:pt x="6243" y="49736"/>
                  </a:lnTo>
                  <a:lnTo>
                    <a:pt x="6274" y="49204"/>
                  </a:lnTo>
                  <a:lnTo>
                    <a:pt x="6323" y="47199"/>
                  </a:lnTo>
                  <a:lnTo>
                    <a:pt x="3762" y="38982"/>
                  </a:lnTo>
                  <a:lnTo>
                    <a:pt x="3345" y="36921"/>
                  </a:lnTo>
                  <a:lnTo>
                    <a:pt x="3041" y="34433"/>
                  </a:lnTo>
                  <a:lnTo>
                    <a:pt x="2881" y="33753"/>
                  </a:lnTo>
                  <a:lnTo>
                    <a:pt x="7938" y="35498"/>
                  </a:lnTo>
                  <a:lnTo>
                    <a:pt x="10059" y="36480"/>
                  </a:lnTo>
                  <a:lnTo>
                    <a:pt x="9795" y="35377"/>
                  </a:lnTo>
                  <a:lnTo>
                    <a:pt x="9366" y="34427"/>
                  </a:lnTo>
                  <a:lnTo>
                    <a:pt x="9649" y="33031"/>
                  </a:lnTo>
                  <a:lnTo>
                    <a:pt x="9504" y="30923"/>
                  </a:lnTo>
                  <a:lnTo>
                    <a:pt x="4915" y="29847"/>
                  </a:lnTo>
                  <a:lnTo>
                    <a:pt x="1881" y="29483"/>
                  </a:lnTo>
                  <a:lnTo>
                    <a:pt x="1540" y="28020"/>
                  </a:lnTo>
                  <a:lnTo>
                    <a:pt x="1832" y="27072"/>
                  </a:lnTo>
                  <a:lnTo>
                    <a:pt x="2670" y="27630"/>
                  </a:lnTo>
                  <a:lnTo>
                    <a:pt x="5651" y="27849"/>
                  </a:lnTo>
                  <a:lnTo>
                    <a:pt x="12983" y="25011"/>
                  </a:lnTo>
                  <a:lnTo>
                    <a:pt x="25645" y="21319"/>
                  </a:lnTo>
                  <a:lnTo>
                    <a:pt x="39170" y="17850"/>
                  </a:lnTo>
                  <a:lnTo>
                    <a:pt x="42327" y="17472"/>
                  </a:lnTo>
                  <a:lnTo>
                    <a:pt x="45501" y="16741"/>
                  </a:lnTo>
                  <a:lnTo>
                    <a:pt x="46673" y="15441"/>
                  </a:lnTo>
                  <a:lnTo>
                    <a:pt x="47844" y="14571"/>
                  </a:lnTo>
                  <a:lnTo>
                    <a:pt x="49686" y="12276"/>
                  </a:lnTo>
                  <a:lnTo>
                    <a:pt x="53758" y="8706"/>
                  </a:lnTo>
                  <a:lnTo>
                    <a:pt x="60960" y="7404"/>
                  </a:lnTo>
                  <a:lnTo>
                    <a:pt x="63648" y="5708"/>
                  </a:lnTo>
                  <a:lnTo>
                    <a:pt x="69284" y="3330"/>
                  </a:lnTo>
                  <a:lnTo>
                    <a:pt x="82132" y="659"/>
                  </a:lnTo>
                  <a:lnTo>
                    <a:pt x="87499" y="72"/>
                  </a:lnTo>
                  <a:lnTo>
                    <a:pt x="92757" y="0"/>
                  </a:lnTo>
                  <a:lnTo>
                    <a:pt x="97439" y="2108"/>
                  </a:lnTo>
                  <a:lnTo>
                    <a:pt x="102394" y="4707"/>
                  </a:lnTo>
                  <a:lnTo>
                    <a:pt x="103286" y="6274"/>
                  </a:lnTo>
                  <a:lnTo>
                    <a:pt x="100604" y="5297"/>
                  </a:lnTo>
                  <a:lnTo>
                    <a:pt x="96696" y="2963"/>
                  </a:lnTo>
                  <a:lnTo>
                    <a:pt x="95251" y="2864"/>
                  </a:lnTo>
                  <a:lnTo>
                    <a:pt x="98587" y="9956"/>
                  </a:lnTo>
                  <a:lnTo>
                    <a:pt x="100412" y="12458"/>
                  </a:lnTo>
                  <a:lnTo>
                    <a:pt x="104100" y="14328"/>
                  </a:lnTo>
                  <a:lnTo>
                    <a:pt x="107192" y="14958"/>
                  </a:lnTo>
                  <a:lnTo>
                    <a:pt x="116720" y="13825"/>
                  </a:lnTo>
                  <a:lnTo>
                    <a:pt x="120103" y="12345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ee4p_PT_1_37764">
              <a:extLst>
                <a:ext uri="{FF2B5EF4-FFF2-40B4-BE49-F238E27FC236}">
                  <a16:creationId xmlns:a16="http://schemas.microsoft.com/office/drawing/2014/main" id="{92677570-F372-4418-8814-CB05903D0434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6447027" y="11319204"/>
              <a:ext cx="680060" cy="1255397"/>
            </a:xfrm>
            <a:custGeom>
              <a:avLst/>
              <a:gdLst/>
              <a:ahLst/>
              <a:cxnLst/>
              <a:rect l="0" t="0" r="0" b="0"/>
              <a:pathLst>
                <a:path w="72246" h="133367">
                  <a:moveTo>
                    <a:pt x="28883" y="8426"/>
                  </a:moveTo>
                  <a:lnTo>
                    <a:pt x="29348" y="8638"/>
                  </a:lnTo>
                  <a:lnTo>
                    <a:pt x="30632" y="8579"/>
                  </a:lnTo>
                  <a:lnTo>
                    <a:pt x="32920" y="7579"/>
                  </a:lnTo>
                  <a:lnTo>
                    <a:pt x="34470" y="6738"/>
                  </a:lnTo>
                  <a:lnTo>
                    <a:pt x="35011" y="7084"/>
                  </a:lnTo>
                  <a:lnTo>
                    <a:pt x="39507" y="6609"/>
                  </a:lnTo>
                  <a:lnTo>
                    <a:pt x="40577" y="6994"/>
                  </a:lnTo>
                  <a:lnTo>
                    <a:pt x="41286" y="7419"/>
                  </a:lnTo>
                  <a:lnTo>
                    <a:pt x="43497" y="8001"/>
                  </a:lnTo>
                  <a:lnTo>
                    <a:pt x="45907" y="8062"/>
                  </a:lnTo>
                  <a:lnTo>
                    <a:pt x="48894" y="7248"/>
                  </a:lnTo>
                  <a:lnTo>
                    <a:pt x="50197" y="6430"/>
                  </a:lnTo>
                  <a:lnTo>
                    <a:pt x="50447" y="5524"/>
                  </a:lnTo>
                  <a:lnTo>
                    <a:pt x="50513" y="4839"/>
                  </a:lnTo>
                  <a:lnTo>
                    <a:pt x="50898" y="4402"/>
                  </a:lnTo>
                  <a:lnTo>
                    <a:pt x="51579" y="4151"/>
                  </a:lnTo>
                  <a:lnTo>
                    <a:pt x="52640" y="4600"/>
                  </a:lnTo>
                  <a:lnTo>
                    <a:pt x="54158" y="4961"/>
                  </a:lnTo>
                  <a:lnTo>
                    <a:pt x="57806" y="5103"/>
                  </a:lnTo>
                  <a:lnTo>
                    <a:pt x="58521" y="4602"/>
                  </a:lnTo>
                  <a:lnTo>
                    <a:pt x="59757" y="4752"/>
                  </a:lnTo>
                  <a:lnTo>
                    <a:pt x="61386" y="5387"/>
                  </a:lnTo>
                  <a:lnTo>
                    <a:pt x="63273" y="5180"/>
                  </a:lnTo>
                  <a:lnTo>
                    <a:pt x="64222" y="5957"/>
                  </a:lnTo>
                  <a:lnTo>
                    <a:pt x="64616" y="6990"/>
                  </a:lnTo>
                  <a:lnTo>
                    <a:pt x="64725" y="9232"/>
                  </a:lnTo>
                  <a:lnTo>
                    <a:pt x="64584" y="11496"/>
                  </a:lnTo>
                  <a:lnTo>
                    <a:pt x="64955" y="12331"/>
                  </a:lnTo>
                  <a:lnTo>
                    <a:pt x="66227" y="12546"/>
                  </a:lnTo>
                  <a:lnTo>
                    <a:pt x="68283" y="12520"/>
                  </a:lnTo>
                  <a:lnTo>
                    <a:pt x="70133" y="13134"/>
                  </a:lnTo>
                  <a:lnTo>
                    <a:pt x="71569" y="14202"/>
                  </a:lnTo>
                  <a:lnTo>
                    <a:pt x="72043" y="15296"/>
                  </a:lnTo>
                  <a:lnTo>
                    <a:pt x="72245" y="16047"/>
                  </a:lnTo>
                  <a:lnTo>
                    <a:pt x="71542" y="16473"/>
                  </a:lnTo>
                  <a:lnTo>
                    <a:pt x="70546" y="18082"/>
                  </a:lnTo>
                  <a:lnTo>
                    <a:pt x="68030" y="20184"/>
                  </a:lnTo>
                  <a:lnTo>
                    <a:pt x="64431" y="22076"/>
                  </a:lnTo>
                  <a:lnTo>
                    <a:pt x="61684" y="24428"/>
                  </a:lnTo>
                  <a:lnTo>
                    <a:pt x="59790" y="27241"/>
                  </a:lnTo>
                  <a:lnTo>
                    <a:pt x="57423" y="28434"/>
                  </a:lnTo>
                  <a:lnTo>
                    <a:pt x="56700" y="29076"/>
                  </a:lnTo>
                  <a:lnTo>
                    <a:pt x="56414" y="29836"/>
                  </a:lnTo>
                  <a:lnTo>
                    <a:pt x="57978" y="33276"/>
                  </a:lnTo>
                  <a:lnTo>
                    <a:pt x="58461" y="35924"/>
                  </a:lnTo>
                  <a:lnTo>
                    <a:pt x="58849" y="39163"/>
                  </a:lnTo>
                  <a:lnTo>
                    <a:pt x="58595" y="40080"/>
                  </a:lnTo>
                  <a:lnTo>
                    <a:pt x="58466" y="43641"/>
                  </a:lnTo>
                  <a:lnTo>
                    <a:pt x="58104" y="44686"/>
                  </a:lnTo>
                  <a:lnTo>
                    <a:pt x="58194" y="45530"/>
                  </a:lnTo>
                  <a:lnTo>
                    <a:pt x="58773" y="46439"/>
                  </a:lnTo>
                  <a:lnTo>
                    <a:pt x="59030" y="47306"/>
                  </a:lnTo>
                  <a:lnTo>
                    <a:pt x="57952" y="48414"/>
                  </a:lnTo>
                  <a:lnTo>
                    <a:pt x="55972" y="49698"/>
                  </a:lnTo>
                  <a:lnTo>
                    <a:pt x="54507" y="50828"/>
                  </a:lnTo>
                  <a:lnTo>
                    <a:pt x="54111" y="51884"/>
                  </a:lnTo>
                  <a:lnTo>
                    <a:pt x="54217" y="52545"/>
                  </a:lnTo>
                  <a:lnTo>
                    <a:pt x="56681" y="54784"/>
                  </a:lnTo>
                  <a:lnTo>
                    <a:pt x="57130" y="55697"/>
                  </a:lnTo>
                  <a:lnTo>
                    <a:pt x="56796" y="57905"/>
                  </a:lnTo>
                  <a:lnTo>
                    <a:pt x="55376" y="61518"/>
                  </a:lnTo>
                  <a:lnTo>
                    <a:pt x="54020" y="63715"/>
                  </a:lnTo>
                  <a:lnTo>
                    <a:pt x="53784" y="63933"/>
                  </a:lnTo>
                  <a:lnTo>
                    <a:pt x="52230" y="64554"/>
                  </a:lnTo>
                  <a:lnTo>
                    <a:pt x="44791" y="64581"/>
                  </a:lnTo>
                  <a:lnTo>
                    <a:pt x="42987" y="65077"/>
                  </a:lnTo>
                  <a:lnTo>
                    <a:pt x="43241" y="65515"/>
                  </a:lnTo>
                  <a:lnTo>
                    <a:pt x="44990" y="68335"/>
                  </a:lnTo>
                  <a:lnTo>
                    <a:pt x="46812" y="69837"/>
                  </a:lnTo>
                  <a:lnTo>
                    <a:pt x="47415" y="70179"/>
                  </a:lnTo>
                  <a:lnTo>
                    <a:pt x="48071" y="73474"/>
                  </a:lnTo>
                  <a:lnTo>
                    <a:pt x="51020" y="78731"/>
                  </a:lnTo>
                  <a:lnTo>
                    <a:pt x="53882" y="79458"/>
                  </a:lnTo>
                  <a:lnTo>
                    <a:pt x="54877" y="80768"/>
                  </a:lnTo>
                  <a:lnTo>
                    <a:pt x="54694" y="82609"/>
                  </a:lnTo>
                  <a:lnTo>
                    <a:pt x="53814" y="84630"/>
                  </a:lnTo>
                  <a:lnTo>
                    <a:pt x="52057" y="86698"/>
                  </a:lnTo>
                  <a:lnTo>
                    <a:pt x="49969" y="88155"/>
                  </a:lnTo>
                  <a:lnTo>
                    <a:pt x="48607" y="89598"/>
                  </a:lnTo>
                  <a:lnTo>
                    <a:pt x="48500" y="91279"/>
                  </a:lnTo>
                  <a:lnTo>
                    <a:pt x="48067" y="93405"/>
                  </a:lnTo>
                  <a:lnTo>
                    <a:pt x="47407" y="95088"/>
                  </a:lnTo>
                  <a:lnTo>
                    <a:pt x="47247" y="96222"/>
                  </a:lnTo>
                  <a:lnTo>
                    <a:pt x="52479" y="103327"/>
                  </a:lnTo>
                  <a:lnTo>
                    <a:pt x="55389" y="102982"/>
                  </a:lnTo>
                  <a:lnTo>
                    <a:pt x="55770" y="103150"/>
                  </a:lnTo>
                  <a:lnTo>
                    <a:pt x="55250" y="104842"/>
                  </a:lnTo>
                  <a:lnTo>
                    <a:pt x="54327" y="106824"/>
                  </a:lnTo>
                  <a:lnTo>
                    <a:pt x="53229" y="107201"/>
                  </a:lnTo>
                  <a:lnTo>
                    <a:pt x="50732" y="107808"/>
                  </a:lnTo>
                  <a:lnTo>
                    <a:pt x="48370" y="110369"/>
                  </a:lnTo>
                  <a:lnTo>
                    <a:pt x="46454" y="113443"/>
                  </a:lnTo>
                  <a:lnTo>
                    <a:pt x="45016" y="114929"/>
                  </a:lnTo>
                  <a:lnTo>
                    <a:pt x="43698" y="118580"/>
                  </a:lnTo>
                  <a:lnTo>
                    <a:pt x="43864" y="120161"/>
                  </a:lnTo>
                  <a:lnTo>
                    <a:pt x="44502" y="122600"/>
                  </a:lnTo>
                  <a:lnTo>
                    <a:pt x="45851" y="128938"/>
                  </a:lnTo>
                  <a:lnTo>
                    <a:pt x="43918" y="129221"/>
                  </a:lnTo>
                  <a:lnTo>
                    <a:pt x="36388" y="133359"/>
                  </a:lnTo>
                  <a:lnTo>
                    <a:pt x="34053" y="133366"/>
                  </a:lnTo>
                  <a:lnTo>
                    <a:pt x="29696" y="131544"/>
                  </a:lnTo>
                  <a:lnTo>
                    <a:pt x="22011" y="130959"/>
                  </a:lnTo>
                  <a:lnTo>
                    <a:pt x="19505" y="130417"/>
                  </a:lnTo>
                  <a:lnTo>
                    <a:pt x="16377" y="131606"/>
                  </a:lnTo>
                  <a:lnTo>
                    <a:pt x="13959" y="131579"/>
                  </a:lnTo>
                  <a:lnTo>
                    <a:pt x="12037" y="133097"/>
                  </a:lnTo>
                  <a:lnTo>
                    <a:pt x="10656" y="132683"/>
                  </a:lnTo>
                  <a:lnTo>
                    <a:pt x="12239" y="129278"/>
                  </a:lnTo>
                  <a:lnTo>
                    <a:pt x="14717" y="122529"/>
                  </a:lnTo>
                  <a:lnTo>
                    <a:pt x="14620" y="118403"/>
                  </a:lnTo>
                  <a:lnTo>
                    <a:pt x="15211" y="114813"/>
                  </a:lnTo>
                  <a:lnTo>
                    <a:pt x="14529" y="111254"/>
                  </a:lnTo>
                  <a:lnTo>
                    <a:pt x="13285" y="109030"/>
                  </a:lnTo>
                  <a:lnTo>
                    <a:pt x="14981" y="103254"/>
                  </a:lnTo>
                  <a:lnTo>
                    <a:pt x="14788" y="100277"/>
                  </a:lnTo>
                  <a:lnTo>
                    <a:pt x="13237" y="96498"/>
                  </a:lnTo>
                  <a:lnTo>
                    <a:pt x="17942" y="97074"/>
                  </a:lnTo>
                  <a:lnTo>
                    <a:pt x="16490" y="95579"/>
                  </a:lnTo>
                  <a:lnTo>
                    <a:pt x="15055" y="94659"/>
                  </a:lnTo>
                  <a:lnTo>
                    <a:pt x="13668" y="94870"/>
                  </a:lnTo>
                  <a:lnTo>
                    <a:pt x="12492" y="94814"/>
                  </a:lnTo>
                  <a:lnTo>
                    <a:pt x="8485" y="96279"/>
                  </a:lnTo>
                  <a:lnTo>
                    <a:pt x="6479" y="96717"/>
                  </a:lnTo>
                  <a:lnTo>
                    <a:pt x="5892" y="96462"/>
                  </a:lnTo>
                  <a:lnTo>
                    <a:pt x="6111" y="94123"/>
                  </a:lnTo>
                  <a:lnTo>
                    <a:pt x="5071" y="91089"/>
                  </a:lnTo>
                  <a:lnTo>
                    <a:pt x="6676" y="90288"/>
                  </a:lnTo>
                  <a:lnTo>
                    <a:pt x="8545" y="90059"/>
                  </a:lnTo>
                  <a:lnTo>
                    <a:pt x="10133" y="88764"/>
                  </a:lnTo>
                  <a:lnTo>
                    <a:pt x="11115" y="87318"/>
                  </a:lnTo>
                  <a:lnTo>
                    <a:pt x="10597" y="84734"/>
                  </a:lnTo>
                  <a:lnTo>
                    <a:pt x="11977" y="82277"/>
                  </a:lnTo>
                  <a:lnTo>
                    <a:pt x="15216" y="80206"/>
                  </a:lnTo>
                  <a:lnTo>
                    <a:pt x="13538" y="80522"/>
                  </a:lnTo>
                  <a:lnTo>
                    <a:pt x="11618" y="81812"/>
                  </a:lnTo>
                  <a:lnTo>
                    <a:pt x="8595" y="86499"/>
                  </a:lnTo>
                  <a:lnTo>
                    <a:pt x="7605" y="88870"/>
                  </a:lnTo>
                  <a:lnTo>
                    <a:pt x="5029" y="89643"/>
                  </a:lnTo>
                  <a:lnTo>
                    <a:pt x="2720" y="90027"/>
                  </a:lnTo>
                  <a:lnTo>
                    <a:pt x="1538" y="89779"/>
                  </a:lnTo>
                  <a:lnTo>
                    <a:pt x="124" y="89178"/>
                  </a:lnTo>
                  <a:lnTo>
                    <a:pt x="0" y="87425"/>
                  </a:lnTo>
                  <a:lnTo>
                    <a:pt x="110" y="86027"/>
                  </a:lnTo>
                  <a:lnTo>
                    <a:pt x="1068" y="83250"/>
                  </a:lnTo>
                  <a:lnTo>
                    <a:pt x="1446" y="79328"/>
                  </a:lnTo>
                  <a:lnTo>
                    <a:pt x="2806" y="75806"/>
                  </a:lnTo>
                  <a:lnTo>
                    <a:pt x="2709" y="74870"/>
                  </a:lnTo>
                  <a:lnTo>
                    <a:pt x="2321" y="73470"/>
                  </a:lnTo>
                  <a:lnTo>
                    <a:pt x="3540" y="72100"/>
                  </a:lnTo>
                  <a:lnTo>
                    <a:pt x="5049" y="71195"/>
                  </a:lnTo>
                  <a:lnTo>
                    <a:pt x="7329" y="68169"/>
                  </a:lnTo>
                  <a:lnTo>
                    <a:pt x="10518" y="60941"/>
                  </a:lnTo>
                  <a:lnTo>
                    <a:pt x="14194" y="53248"/>
                  </a:lnTo>
                  <a:lnTo>
                    <a:pt x="13896" y="52305"/>
                  </a:lnTo>
                  <a:lnTo>
                    <a:pt x="13115" y="51583"/>
                  </a:lnTo>
                  <a:lnTo>
                    <a:pt x="13424" y="49503"/>
                  </a:lnTo>
                  <a:lnTo>
                    <a:pt x="15640" y="40432"/>
                  </a:lnTo>
                  <a:lnTo>
                    <a:pt x="16543" y="39245"/>
                  </a:lnTo>
                  <a:lnTo>
                    <a:pt x="17582" y="36579"/>
                  </a:lnTo>
                  <a:lnTo>
                    <a:pt x="17817" y="32272"/>
                  </a:lnTo>
                  <a:lnTo>
                    <a:pt x="18224" y="29301"/>
                  </a:lnTo>
                  <a:lnTo>
                    <a:pt x="18130" y="27806"/>
                  </a:lnTo>
                  <a:lnTo>
                    <a:pt x="17803" y="26010"/>
                  </a:lnTo>
                  <a:lnTo>
                    <a:pt x="16393" y="22578"/>
                  </a:lnTo>
                  <a:lnTo>
                    <a:pt x="14905" y="15307"/>
                  </a:lnTo>
                  <a:lnTo>
                    <a:pt x="14791" y="12875"/>
                  </a:lnTo>
                  <a:lnTo>
                    <a:pt x="16016" y="11646"/>
                  </a:lnTo>
                  <a:lnTo>
                    <a:pt x="14005" y="11466"/>
                  </a:lnTo>
                  <a:lnTo>
                    <a:pt x="13094" y="9893"/>
                  </a:lnTo>
                  <a:lnTo>
                    <a:pt x="13301" y="8105"/>
                  </a:lnTo>
                  <a:lnTo>
                    <a:pt x="15536" y="5214"/>
                  </a:lnTo>
                  <a:lnTo>
                    <a:pt x="17618" y="3425"/>
                  </a:lnTo>
                  <a:lnTo>
                    <a:pt x="19682" y="2250"/>
                  </a:lnTo>
                  <a:lnTo>
                    <a:pt x="20822" y="1809"/>
                  </a:lnTo>
                  <a:lnTo>
                    <a:pt x="25588" y="593"/>
                  </a:lnTo>
                  <a:lnTo>
                    <a:pt x="26837" y="0"/>
                  </a:lnTo>
                  <a:lnTo>
                    <a:pt x="28009" y="99"/>
                  </a:lnTo>
                  <a:lnTo>
                    <a:pt x="28205" y="679"/>
                  </a:lnTo>
                  <a:lnTo>
                    <a:pt x="28882" y="1808"/>
                  </a:lnTo>
                  <a:lnTo>
                    <a:pt x="29640" y="2590"/>
                  </a:lnTo>
                  <a:lnTo>
                    <a:pt x="29846" y="3168"/>
                  </a:lnTo>
                  <a:lnTo>
                    <a:pt x="28003" y="5585"/>
                  </a:lnTo>
                  <a:lnTo>
                    <a:pt x="27750" y="6414"/>
                  </a:lnTo>
                  <a:lnTo>
                    <a:pt x="28712" y="7975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ee4p_RO_1_37764">
              <a:extLst>
                <a:ext uri="{FF2B5EF4-FFF2-40B4-BE49-F238E27FC236}">
                  <a16:creationId xmlns:a16="http://schemas.microsoft.com/office/drawing/2014/main" id="{6DAFB4D9-CA5C-4FCB-A243-272DEA9F77A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12633379" y="9738874"/>
              <a:ext cx="1969890" cy="1193864"/>
            </a:xfrm>
            <a:custGeom>
              <a:avLst/>
              <a:gdLst/>
              <a:ahLst/>
              <a:cxnLst/>
              <a:rect l="0" t="0" r="0" b="0"/>
              <a:pathLst>
                <a:path w="209271" h="126830">
                  <a:moveTo>
                    <a:pt x="176249" y="78400"/>
                  </a:moveTo>
                  <a:lnTo>
                    <a:pt x="178575" y="81236"/>
                  </a:lnTo>
                  <a:lnTo>
                    <a:pt x="181529" y="82742"/>
                  </a:lnTo>
                  <a:lnTo>
                    <a:pt x="188372" y="84333"/>
                  </a:lnTo>
                  <a:lnTo>
                    <a:pt x="188980" y="84146"/>
                  </a:lnTo>
                  <a:lnTo>
                    <a:pt x="189050" y="83846"/>
                  </a:lnTo>
                  <a:lnTo>
                    <a:pt x="188573" y="83435"/>
                  </a:lnTo>
                  <a:lnTo>
                    <a:pt x="188501" y="82905"/>
                  </a:lnTo>
                  <a:lnTo>
                    <a:pt x="188836" y="82257"/>
                  </a:lnTo>
                  <a:lnTo>
                    <a:pt x="189777" y="82224"/>
                  </a:lnTo>
                  <a:lnTo>
                    <a:pt x="191326" y="82804"/>
                  </a:lnTo>
                  <a:lnTo>
                    <a:pt x="194269" y="81964"/>
                  </a:lnTo>
                  <a:lnTo>
                    <a:pt x="198605" y="79704"/>
                  </a:lnTo>
                  <a:lnTo>
                    <a:pt x="202589" y="79245"/>
                  </a:lnTo>
                  <a:lnTo>
                    <a:pt x="206215" y="80586"/>
                  </a:lnTo>
                  <a:lnTo>
                    <a:pt x="208078" y="82146"/>
                  </a:lnTo>
                  <a:lnTo>
                    <a:pt x="209270" y="83626"/>
                  </a:lnTo>
                  <a:lnTo>
                    <a:pt x="208899" y="85454"/>
                  </a:lnTo>
                  <a:lnTo>
                    <a:pt x="208668" y="86591"/>
                  </a:lnTo>
                  <a:lnTo>
                    <a:pt x="207711" y="91297"/>
                  </a:lnTo>
                  <a:lnTo>
                    <a:pt x="207050" y="93049"/>
                  </a:lnTo>
                  <a:lnTo>
                    <a:pt x="205990" y="95016"/>
                  </a:lnTo>
                  <a:lnTo>
                    <a:pt x="194729" y="97358"/>
                  </a:lnTo>
                  <a:lnTo>
                    <a:pt x="195454" y="96233"/>
                  </a:lnTo>
                  <a:lnTo>
                    <a:pt x="195191" y="94260"/>
                  </a:lnTo>
                  <a:lnTo>
                    <a:pt x="194718" y="92770"/>
                  </a:lnTo>
                  <a:lnTo>
                    <a:pt x="195770" y="91422"/>
                  </a:lnTo>
                  <a:lnTo>
                    <a:pt x="193234" y="90933"/>
                  </a:lnTo>
                  <a:lnTo>
                    <a:pt x="192127" y="91674"/>
                  </a:lnTo>
                  <a:lnTo>
                    <a:pt x="191263" y="92962"/>
                  </a:lnTo>
                  <a:lnTo>
                    <a:pt x="192030" y="95928"/>
                  </a:lnTo>
                  <a:lnTo>
                    <a:pt x="190797" y="97566"/>
                  </a:lnTo>
                  <a:lnTo>
                    <a:pt x="190324" y="98483"/>
                  </a:lnTo>
                  <a:lnTo>
                    <a:pt x="190268" y="100647"/>
                  </a:lnTo>
                  <a:lnTo>
                    <a:pt x="189540" y="101583"/>
                  </a:lnTo>
                  <a:lnTo>
                    <a:pt x="189395" y="102602"/>
                  </a:lnTo>
                  <a:lnTo>
                    <a:pt x="191190" y="102338"/>
                  </a:lnTo>
                  <a:lnTo>
                    <a:pt x="190384" y="104205"/>
                  </a:lnTo>
                  <a:lnTo>
                    <a:pt x="187011" y="107790"/>
                  </a:lnTo>
                  <a:lnTo>
                    <a:pt x="185821" y="109923"/>
                  </a:lnTo>
                  <a:lnTo>
                    <a:pt x="186113" y="118372"/>
                  </a:lnTo>
                  <a:lnTo>
                    <a:pt x="184612" y="123412"/>
                  </a:lnTo>
                  <a:lnTo>
                    <a:pt x="184494" y="124901"/>
                  </a:lnTo>
                  <a:lnTo>
                    <a:pt x="180913" y="124949"/>
                  </a:lnTo>
                  <a:lnTo>
                    <a:pt x="179847" y="124833"/>
                  </a:lnTo>
                  <a:lnTo>
                    <a:pt x="176458" y="124075"/>
                  </a:lnTo>
                  <a:lnTo>
                    <a:pt x="172655" y="122736"/>
                  </a:lnTo>
                  <a:lnTo>
                    <a:pt x="170421" y="120137"/>
                  </a:lnTo>
                  <a:lnTo>
                    <a:pt x="168991" y="118277"/>
                  </a:lnTo>
                  <a:lnTo>
                    <a:pt x="165769" y="119118"/>
                  </a:lnTo>
                  <a:lnTo>
                    <a:pt x="165154" y="118893"/>
                  </a:lnTo>
                  <a:lnTo>
                    <a:pt x="164273" y="117995"/>
                  </a:lnTo>
                  <a:lnTo>
                    <a:pt x="161844" y="117392"/>
                  </a:lnTo>
                  <a:lnTo>
                    <a:pt x="158844" y="117380"/>
                  </a:lnTo>
                  <a:lnTo>
                    <a:pt x="152107" y="113978"/>
                  </a:lnTo>
                  <a:lnTo>
                    <a:pt x="151360" y="113402"/>
                  </a:lnTo>
                  <a:lnTo>
                    <a:pt x="146071" y="113977"/>
                  </a:lnTo>
                  <a:lnTo>
                    <a:pt x="138144" y="115662"/>
                  </a:lnTo>
                  <a:lnTo>
                    <a:pt x="132098" y="117738"/>
                  </a:lnTo>
                  <a:lnTo>
                    <a:pt x="125853" y="121436"/>
                  </a:lnTo>
                  <a:lnTo>
                    <a:pt x="123320" y="124237"/>
                  </a:lnTo>
                  <a:lnTo>
                    <a:pt x="120385" y="125724"/>
                  </a:lnTo>
                  <a:lnTo>
                    <a:pt x="116205" y="126829"/>
                  </a:lnTo>
                  <a:lnTo>
                    <a:pt x="108744" y="126410"/>
                  </a:lnTo>
                  <a:lnTo>
                    <a:pt x="100973" y="125005"/>
                  </a:lnTo>
                  <a:lnTo>
                    <a:pt x="92622" y="123493"/>
                  </a:lnTo>
                  <a:lnTo>
                    <a:pt x="88116" y="124328"/>
                  </a:lnTo>
                  <a:lnTo>
                    <a:pt x="82013" y="123702"/>
                  </a:lnTo>
                  <a:lnTo>
                    <a:pt x="72810" y="121895"/>
                  </a:lnTo>
                  <a:lnTo>
                    <a:pt x="65956" y="121346"/>
                  </a:lnTo>
                  <a:lnTo>
                    <a:pt x="59199" y="122411"/>
                  </a:lnTo>
                  <a:lnTo>
                    <a:pt x="58064" y="121598"/>
                  </a:lnTo>
                  <a:lnTo>
                    <a:pt x="57815" y="120666"/>
                  </a:lnTo>
                  <a:lnTo>
                    <a:pt x="58076" y="119345"/>
                  </a:lnTo>
                  <a:lnTo>
                    <a:pt x="59029" y="118281"/>
                  </a:lnTo>
                  <a:lnTo>
                    <a:pt x="60666" y="117476"/>
                  </a:lnTo>
                  <a:lnTo>
                    <a:pt x="61529" y="116657"/>
                  </a:lnTo>
                  <a:lnTo>
                    <a:pt x="61620" y="115824"/>
                  </a:lnTo>
                  <a:lnTo>
                    <a:pt x="59783" y="114489"/>
                  </a:lnTo>
                  <a:lnTo>
                    <a:pt x="56019" y="112648"/>
                  </a:lnTo>
                  <a:lnTo>
                    <a:pt x="54468" y="111493"/>
                  </a:lnTo>
                  <a:lnTo>
                    <a:pt x="54088" y="111208"/>
                  </a:lnTo>
                  <a:lnTo>
                    <a:pt x="53987" y="110172"/>
                  </a:lnTo>
                  <a:lnTo>
                    <a:pt x="53205" y="109359"/>
                  </a:lnTo>
                  <a:lnTo>
                    <a:pt x="51743" y="108764"/>
                  </a:lnTo>
                  <a:lnTo>
                    <a:pt x="50611" y="107688"/>
                  </a:lnTo>
                  <a:lnTo>
                    <a:pt x="49813" y="106127"/>
                  </a:lnTo>
                  <a:lnTo>
                    <a:pt x="49985" y="104654"/>
                  </a:lnTo>
                  <a:lnTo>
                    <a:pt x="51128" y="103274"/>
                  </a:lnTo>
                  <a:lnTo>
                    <a:pt x="52590" y="102675"/>
                  </a:lnTo>
                  <a:lnTo>
                    <a:pt x="54373" y="102861"/>
                  </a:lnTo>
                  <a:lnTo>
                    <a:pt x="55116" y="102469"/>
                  </a:lnTo>
                  <a:lnTo>
                    <a:pt x="54818" y="101501"/>
                  </a:lnTo>
                  <a:lnTo>
                    <a:pt x="53075" y="100263"/>
                  </a:lnTo>
                  <a:lnTo>
                    <a:pt x="49882" y="98757"/>
                  </a:lnTo>
                  <a:lnTo>
                    <a:pt x="46632" y="99578"/>
                  </a:lnTo>
                  <a:lnTo>
                    <a:pt x="43322" y="102721"/>
                  </a:lnTo>
                  <a:lnTo>
                    <a:pt x="40935" y="103231"/>
                  </a:lnTo>
                  <a:lnTo>
                    <a:pt x="39473" y="101110"/>
                  </a:lnTo>
                  <a:lnTo>
                    <a:pt x="36871" y="99850"/>
                  </a:lnTo>
                  <a:lnTo>
                    <a:pt x="33133" y="99454"/>
                  </a:lnTo>
                  <a:lnTo>
                    <a:pt x="30832" y="98643"/>
                  </a:lnTo>
                  <a:lnTo>
                    <a:pt x="29968" y="97417"/>
                  </a:lnTo>
                  <a:lnTo>
                    <a:pt x="28333" y="96471"/>
                  </a:lnTo>
                  <a:lnTo>
                    <a:pt x="24727" y="95473"/>
                  </a:lnTo>
                  <a:lnTo>
                    <a:pt x="24679" y="94514"/>
                  </a:lnTo>
                  <a:lnTo>
                    <a:pt x="25264" y="94289"/>
                  </a:lnTo>
                  <a:lnTo>
                    <a:pt x="26543" y="94198"/>
                  </a:lnTo>
                  <a:lnTo>
                    <a:pt x="28262" y="93996"/>
                  </a:lnTo>
                  <a:lnTo>
                    <a:pt x="28536" y="93453"/>
                  </a:lnTo>
                  <a:lnTo>
                    <a:pt x="28555" y="92957"/>
                  </a:lnTo>
                  <a:lnTo>
                    <a:pt x="27202" y="92325"/>
                  </a:lnTo>
                  <a:lnTo>
                    <a:pt x="25830" y="91895"/>
                  </a:lnTo>
                  <a:lnTo>
                    <a:pt x="25118" y="91466"/>
                  </a:lnTo>
                  <a:lnTo>
                    <a:pt x="24660" y="90992"/>
                  </a:lnTo>
                  <a:lnTo>
                    <a:pt x="24569" y="90494"/>
                  </a:lnTo>
                  <a:lnTo>
                    <a:pt x="24971" y="90156"/>
                  </a:lnTo>
                  <a:lnTo>
                    <a:pt x="25520" y="90133"/>
                  </a:lnTo>
                  <a:lnTo>
                    <a:pt x="26068" y="89839"/>
                  </a:lnTo>
                  <a:lnTo>
                    <a:pt x="26373" y="88685"/>
                  </a:lnTo>
                  <a:lnTo>
                    <a:pt x="27111" y="87736"/>
                  </a:lnTo>
                  <a:lnTo>
                    <a:pt x="27640" y="87396"/>
                  </a:lnTo>
                  <a:lnTo>
                    <a:pt x="27605" y="86694"/>
                  </a:lnTo>
                  <a:lnTo>
                    <a:pt x="27057" y="86038"/>
                  </a:lnTo>
                  <a:lnTo>
                    <a:pt x="26306" y="85472"/>
                  </a:lnTo>
                  <a:lnTo>
                    <a:pt x="25206" y="85129"/>
                  </a:lnTo>
                  <a:lnTo>
                    <a:pt x="21773" y="84137"/>
                  </a:lnTo>
                  <a:lnTo>
                    <a:pt x="20035" y="82754"/>
                  </a:lnTo>
                  <a:lnTo>
                    <a:pt x="18974" y="82704"/>
                  </a:lnTo>
                  <a:lnTo>
                    <a:pt x="17292" y="81937"/>
                  </a:lnTo>
                  <a:lnTo>
                    <a:pt x="15478" y="80736"/>
                  </a:lnTo>
                  <a:lnTo>
                    <a:pt x="13909" y="79029"/>
                  </a:lnTo>
                  <a:lnTo>
                    <a:pt x="12211" y="77921"/>
                  </a:lnTo>
                  <a:lnTo>
                    <a:pt x="11773" y="77467"/>
                  </a:lnTo>
                  <a:lnTo>
                    <a:pt x="11734" y="77036"/>
                  </a:lnTo>
                  <a:lnTo>
                    <a:pt x="12045" y="76559"/>
                  </a:lnTo>
                  <a:lnTo>
                    <a:pt x="12034" y="76037"/>
                  </a:lnTo>
                  <a:lnTo>
                    <a:pt x="11587" y="74360"/>
                  </a:lnTo>
                  <a:lnTo>
                    <a:pt x="11885" y="72585"/>
                  </a:lnTo>
                  <a:lnTo>
                    <a:pt x="11807" y="70919"/>
                  </a:lnTo>
                  <a:lnTo>
                    <a:pt x="11790" y="70168"/>
                  </a:lnTo>
                  <a:lnTo>
                    <a:pt x="11462" y="69939"/>
                  </a:lnTo>
                  <a:lnTo>
                    <a:pt x="11168" y="70190"/>
                  </a:lnTo>
                  <a:lnTo>
                    <a:pt x="10747" y="70509"/>
                  </a:lnTo>
                  <a:lnTo>
                    <a:pt x="10337" y="70568"/>
                  </a:lnTo>
                  <a:lnTo>
                    <a:pt x="9086" y="69353"/>
                  </a:lnTo>
                  <a:lnTo>
                    <a:pt x="7504" y="66869"/>
                  </a:lnTo>
                  <a:lnTo>
                    <a:pt x="6430" y="66041"/>
                  </a:lnTo>
                  <a:lnTo>
                    <a:pt x="4338" y="64902"/>
                  </a:lnTo>
                  <a:lnTo>
                    <a:pt x="2583" y="63944"/>
                  </a:lnTo>
                  <a:lnTo>
                    <a:pt x="1317" y="61867"/>
                  </a:lnTo>
                  <a:lnTo>
                    <a:pt x="0" y="60267"/>
                  </a:lnTo>
                  <a:lnTo>
                    <a:pt x="866" y="59592"/>
                  </a:lnTo>
                  <a:lnTo>
                    <a:pt x="5889" y="58653"/>
                  </a:lnTo>
                  <a:lnTo>
                    <a:pt x="8223" y="59578"/>
                  </a:lnTo>
                  <a:lnTo>
                    <a:pt x="9270" y="59242"/>
                  </a:lnTo>
                  <a:lnTo>
                    <a:pt x="10296" y="58491"/>
                  </a:lnTo>
                  <a:lnTo>
                    <a:pt x="10855" y="57893"/>
                  </a:lnTo>
                  <a:lnTo>
                    <a:pt x="10959" y="57255"/>
                  </a:lnTo>
                  <a:lnTo>
                    <a:pt x="11464" y="56459"/>
                  </a:lnTo>
                  <a:lnTo>
                    <a:pt x="13161" y="56086"/>
                  </a:lnTo>
                  <a:lnTo>
                    <a:pt x="17646" y="56570"/>
                  </a:lnTo>
                  <a:lnTo>
                    <a:pt x="19456" y="55457"/>
                  </a:lnTo>
                  <a:lnTo>
                    <a:pt x="20125" y="54850"/>
                  </a:lnTo>
                  <a:lnTo>
                    <a:pt x="20533" y="53510"/>
                  </a:lnTo>
                  <a:lnTo>
                    <a:pt x="21006" y="52433"/>
                  </a:lnTo>
                  <a:lnTo>
                    <a:pt x="22615" y="51857"/>
                  </a:lnTo>
                  <a:lnTo>
                    <a:pt x="22587" y="50874"/>
                  </a:lnTo>
                  <a:lnTo>
                    <a:pt x="22343" y="49802"/>
                  </a:lnTo>
                  <a:lnTo>
                    <a:pt x="23278" y="47411"/>
                  </a:lnTo>
                  <a:lnTo>
                    <a:pt x="23846" y="46429"/>
                  </a:lnTo>
                  <a:lnTo>
                    <a:pt x="24755" y="46069"/>
                  </a:lnTo>
                  <a:lnTo>
                    <a:pt x="25854" y="45316"/>
                  </a:lnTo>
                  <a:lnTo>
                    <a:pt x="27757" y="43746"/>
                  </a:lnTo>
                  <a:lnTo>
                    <a:pt x="27314" y="42381"/>
                  </a:lnTo>
                  <a:lnTo>
                    <a:pt x="27698" y="41368"/>
                  </a:lnTo>
                  <a:lnTo>
                    <a:pt x="29683" y="38899"/>
                  </a:lnTo>
                  <a:lnTo>
                    <a:pt x="31197" y="36517"/>
                  </a:lnTo>
                  <a:lnTo>
                    <a:pt x="31171" y="35324"/>
                  </a:lnTo>
                  <a:lnTo>
                    <a:pt x="31391" y="34281"/>
                  </a:lnTo>
                  <a:lnTo>
                    <a:pt x="32725" y="33138"/>
                  </a:lnTo>
                  <a:lnTo>
                    <a:pt x="34133" y="31648"/>
                  </a:lnTo>
                  <a:lnTo>
                    <a:pt x="35988" y="26992"/>
                  </a:lnTo>
                  <a:lnTo>
                    <a:pt x="36649" y="26208"/>
                  </a:lnTo>
                  <a:lnTo>
                    <a:pt x="37867" y="25320"/>
                  </a:lnTo>
                  <a:lnTo>
                    <a:pt x="38774" y="24439"/>
                  </a:lnTo>
                  <a:lnTo>
                    <a:pt x="38871" y="21373"/>
                  </a:lnTo>
                  <a:lnTo>
                    <a:pt x="39717" y="20486"/>
                  </a:lnTo>
                  <a:lnTo>
                    <a:pt x="41352" y="19492"/>
                  </a:lnTo>
                  <a:lnTo>
                    <a:pt x="42970" y="17890"/>
                  </a:lnTo>
                  <a:lnTo>
                    <a:pt x="44287" y="15997"/>
                  </a:lnTo>
                  <a:lnTo>
                    <a:pt x="45304" y="15113"/>
                  </a:lnTo>
                  <a:lnTo>
                    <a:pt x="46649" y="14877"/>
                  </a:lnTo>
                  <a:lnTo>
                    <a:pt x="48109" y="14133"/>
                  </a:lnTo>
                  <a:lnTo>
                    <a:pt x="49744" y="13854"/>
                  </a:lnTo>
                  <a:lnTo>
                    <a:pt x="51324" y="14220"/>
                  </a:lnTo>
                  <a:lnTo>
                    <a:pt x="52330" y="14030"/>
                  </a:lnTo>
                  <a:lnTo>
                    <a:pt x="53842" y="13109"/>
                  </a:lnTo>
                  <a:lnTo>
                    <a:pt x="57712" y="9629"/>
                  </a:lnTo>
                  <a:lnTo>
                    <a:pt x="58262" y="8933"/>
                  </a:lnTo>
                  <a:lnTo>
                    <a:pt x="59063" y="8454"/>
                  </a:lnTo>
                  <a:lnTo>
                    <a:pt x="62201" y="7261"/>
                  </a:lnTo>
                  <a:lnTo>
                    <a:pt x="62998" y="6059"/>
                  </a:lnTo>
                  <a:lnTo>
                    <a:pt x="64073" y="4978"/>
                  </a:lnTo>
                  <a:lnTo>
                    <a:pt x="65470" y="5059"/>
                  </a:lnTo>
                  <a:lnTo>
                    <a:pt x="70016" y="7728"/>
                  </a:lnTo>
                  <a:lnTo>
                    <a:pt x="74892" y="7563"/>
                  </a:lnTo>
                  <a:lnTo>
                    <a:pt x="75784" y="7662"/>
                  </a:lnTo>
                  <a:lnTo>
                    <a:pt x="76071" y="7717"/>
                  </a:lnTo>
                  <a:lnTo>
                    <a:pt x="76667" y="7936"/>
                  </a:lnTo>
                  <a:lnTo>
                    <a:pt x="83143" y="9256"/>
                  </a:lnTo>
                  <a:lnTo>
                    <a:pt x="84149" y="9109"/>
                  </a:lnTo>
                  <a:lnTo>
                    <a:pt x="84423" y="9003"/>
                  </a:lnTo>
                  <a:lnTo>
                    <a:pt x="87032" y="10095"/>
                  </a:lnTo>
                  <a:lnTo>
                    <a:pt x="89336" y="9950"/>
                  </a:lnTo>
                  <a:lnTo>
                    <a:pt x="91526" y="9193"/>
                  </a:lnTo>
                  <a:lnTo>
                    <a:pt x="93806" y="8937"/>
                  </a:lnTo>
                  <a:lnTo>
                    <a:pt x="95902" y="9390"/>
                  </a:lnTo>
                  <a:lnTo>
                    <a:pt x="97496" y="10927"/>
                  </a:lnTo>
                  <a:lnTo>
                    <a:pt x="101629" y="14184"/>
                  </a:lnTo>
                  <a:lnTo>
                    <a:pt x="102856" y="15396"/>
                  </a:lnTo>
                  <a:lnTo>
                    <a:pt x="104752" y="15217"/>
                  </a:lnTo>
                  <a:lnTo>
                    <a:pt x="106846" y="14610"/>
                  </a:lnTo>
                  <a:lnTo>
                    <a:pt x="108964" y="12432"/>
                  </a:lnTo>
                  <a:lnTo>
                    <a:pt x="115480" y="9961"/>
                  </a:lnTo>
                  <a:lnTo>
                    <a:pt x="120455" y="9350"/>
                  </a:lnTo>
                  <a:lnTo>
                    <a:pt x="125307" y="8360"/>
                  </a:lnTo>
                  <a:lnTo>
                    <a:pt x="130924" y="7656"/>
                  </a:lnTo>
                  <a:lnTo>
                    <a:pt x="132549" y="5629"/>
                  </a:lnTo>
                  <a:lnTo>
                    <a:pt x="133450" y="4248"/>
                  </a:lnTo>
                  <a:lnTo>
                    <a:pt x="134085" y="1690"/>
                  </a:lnTo>
                  <a:lnTo>
                    <a:pt x="137108" y="948"/>
                  </a:lnTo>
                  <a:lnTo>
                    <a:pt x="139984" y="425"/>
                  </a:lnTo>
                  <a:lnTo>
                    <a:pt x="141012" y="102"/>
                  </a:lnTo>
                  <a:lnTo>
                    <a:pt x="143109" y="0"/>
                  </a:lnTo>
                  <a:lnTo>
                    <a:pt x="144735" y="217"/>
                  </a:lnTo>
                  <a:lnTo>
                    <a:pt x="147249" y="1481"/>
                  </a:lnTo>
                  <a:lnTo>
                    <a:pt x="149013" y="3067"/>
                  </a:lnTo>
                  <a:lnTo>
                    <a:pt x="149708" y="4325"/>
                  </a:lnTo>
                  <a:lnTo>
                    <a:pt x="151215" y="6100"/>
                  </a:lnTo>
                  <a:lnTo>
                    <a:pt x="152800" y="8594"/>
                  </a:lnTo>
                  <a:lnTo>
                    <a:pt x="154543" y="11906"/>
                  </a:lnTo>
                  <a:lnTo>
                    <a:pt x="154925" y="13582"/>
                  </a:lnTo>
                  <a:lnTo>
                    <a:pt x="155584" y="15390"/>
                  </a:lnTo>
                  <a:lnTo>
                    <a:pt x="156888" y="17590"/>
                  </a:lnTo>
                  <a:lnTo>
                    <a:pt x="159371" y="20023"/>
                  </a:lnTo>
                  <a:lnTo>
                    <a:pt x="159717" y="20485"/>
                  </a:lnTo>
                  <a:lnTo>
                    <a:pt x="160844" y="22198"/>
                  </a:lnTo>
                  <a:lnTo>
                    <a:pt x="163016" y="25985"/>
                  </a:lnTo>
                  <a:lnTo>
                    <a:pt x="164832" y="27500"/>
                  </a:lnTo>
                  <a:lnTo>
                    <a:pt x="166419" y="29147"/>
                  </a:lnTo>
                  <a:lnTo>
                    <a:pt x="167179" y="30805"/>
                  </a:lnTo>
                  <a:lnTo>
                    <a:pt x="168317" y="32309"/>
                  </a:lnTo>
                  <a:lnTo>
                    <a:pt x="170980" y="34300"/>
                  </a:lnTo>
                  <a:lnTo>
                    <a:pt x="173137" y="36109"/>
                  </a:lnTo>
                  <a:lnTo>
                    <a:pt x="174867" y="41302"/>
                  </a:lnTo>
                  <a:lnTo>
                    <a:pt x="176076" y="43687"/>
                  </a:lnTo>
                  <a:lnTo>
                    <a:pt x="176845" y="45511"/>
                  </a:lnTo>
                  <a:lnTo>
                    <a:pt x="176473" y="49200"/>
                  </a:lnTo>
                  <a:lnTo>
                    <a:pt x="176953" y="50776"/>
                  </a:lnTo>
                  <a:lnTo>
                    <a:pt x="175964" y="53652"/>
                  </a:lnTo>
                  <a:lnTo>
                    <a:pt x="174184" y="59435"/>
                  </a:lnTo>
                  <a:lnTo>
                    <a:pt x="173755" y="64024"/>
                  </a:lnTo>
                  <a:lnTo>
                    <a:pt x="174062" y="66495"/>
                  </a:lnTo>
                  <a:lnTo>
                    <a:pt x="174105" y="68081"/>
                  </a:lnTo>
                  <a:lnTo>
                    <a:pt x="174534" y="69091"/>
                  </a:lnTo>
                  <a:lnTo>
                    <a:pt x="175005" y="71179"/>
                  </a:lnTo>
                  <a:lnTo>
                    <a:pt x="175083" y="72995"/>
                  </a:lnTo>
                  <a:lnTo>
                    <a:pt x="174444" y="73513"/>
                  </a:lnTo>
                  <a:lnTo>
                    <a:pt x="173548" y="73940"/>
                  </a:lnTo>
                  <a:lnTo>
                    <a:pt x="173202" y="74319"/>
                  </a:lnTo>
                  <a:lnTo>
                    <a:pt x="174025" y="75139"/>
                  </a:lnTo>
                  <a:lnTo>
                    <a:pt x="175143" y="76661"/>
                  </a:lnTo>
                  <a:close/>
                </a:path>
              </a:pathLst>
            </a:custGeom>
            <a:solidFill>
              <a:srgbClr val="92D050"/>
            </a:solidFill>
            <a:ln w="3175" cap="rnd" cmpd="sng" algn="ctr">
              <a:solidFill>
                <a:srgbClr val="494949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ee4p_IT_2_37764">
              <a:extLst>
                <a:ext uri="{FF2B5EF4-FFF2-40B4-BE49-F238E27FC236}">
                  <a16:creationId xmlns:a16="http://schemas.microsoft.com/office/drawing/2014/main" id="{C0B38AB4-7492-4A68-9401-B8C31EEACBB1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9799685" y="10051512"/>
              <a:ext cx="2468193" cy="2298729"/>
            </a:xfrm>
            <a:custGeom>
              <a:avLst/>
              <a:gdLst/>
              <a:ahLst/>
              <a:cxnLst/>
              <a:rect l="l" t="t" r="r" b="b"/>
              <a:pathLst>
                <a:path w="262208" h="244205">
                  <a:moveTo>
                    <a:pt x="129930" y="85000"/>
                  </a:moveTo>
                  <a:lnTo>
                    <a:pt x="128546" y="85198"/>
                  </a:lnTo>
                  <a:lnTo>
                    <a:pt x="127568" y="86492"/>
                  </a:lnTo>
                  <a:lnTo>
                    <a:pt x="128220" y="87586"/>
                  </a:lnTo>
                  <a:lnTo>
                    <a:pt x="129522" y="87389"/>
                  </a:lnTo>
                  <a:lnTo>
                    <a:pt x="130172" y="85994"/>
                  </a:lnTo>
                  <a:close/>
                  <a:moveTo>
                    <a:pt x="122539" y="0"/>
                  </a:moveTo>
                  <a:lnTo>
                    <a:pt x="123152" y="199"/>
                  </a:lnTo>
                  <a:lnTo>
                    <a:pt x="123243" y="593"/>
                  </a:lnTo>
                  <a:lnTo>
                    <a:pt x="122452" y="1507"/>
                  </a:lnTo>
                  <a:lnTo>
                    <a:pt x="121684" y="2719"/>
                  </a:lnTo>
                  <a:lnTo>
                    <a:pt x="122200" y="4100"/>
                  </a:lnTo>
                  <a:lnTo>
                    <a:pt x="124718" y="6870"/>
                  </a:lnTo>
                  <a:lnTo>
                    <a:pt x="126091" y="8988"/>
                  </a:lnTo>
                  <a:lnTo>
                    <a:pt x="127378" y="10579"/>
                  </a:lnTo>
                  <a:lnTo>
                    <a:pt x="129388" y="11417"/>
                  </a:lnTo>
                  <a:lnTo>
                    <a:pt x="132029" y="11929"/>
                  </a:lnTo>
                  <a:lnTo>
                    <a:pt x="134266" y="12114"/>
                  </a:lnTo>
                  <a:lnTo>
                    <a:pt x="136605" y="12714"/>
                  </a:lnTo>
                  <a:lnTo>
                    <a:pt x="144636" y="14193"/>
                  </a:lnTo>
                  <a:lnTo>
                    <a:pt x="148678" y="14602"/>
                  </a:lnTo>
                  <a:lnTo>
                    <a:pt x="151740" y="14668"/>
                  </a:lnTo>
                  <a:lnTo>
                    <a:pt x="156383" y="15648"/>
                  </a:lnTo>
                  <a:lnTo>
                    <a:pt x="155934" y="17241"/>
                  </a:lnTo>
                  <a:lnTo>
                    <a:pt x="154992" y="17639"/>
                  </a:lnTo>
                  <a:lnTo>
                    <a:pt x="153360" y="18567"/>
                  </a:lnTo>
                  <a:lnTo>
                    <a:pt x="151486" y="19839"/>
                  </a:lnTo>
                  <a:lnTo>
                    <a:pt x="149738" y="21271"/>
                  </a:lnTo>
                  <a:lnTo>
                    <a:pt x="149268" y="22820"/>
                  </a:lnTo>
                  <a:lnTo>
                    <a:pt x="149741" y="23835"/>
                  </a:lnTo>
                  <a:lnTo>
                    <a:pt x="150214" y="24185"/>
                  </a:lnTo>
                  <a:lnTo>
                    <a:pt x="150851" y="23874"/>
                  </a:lnTo>
                  <a:lnTo>
                    <a:pt x="151779" y="24066"/>
                  </a:lnTo>
                  <a:lnTo>
                    <a:pt x="152949" y="24620"/>
                  </a:lnTo>
                  <a:lnTo>
                    <a:pt x="154891" y="25161"/>
                  </a:lnTo>
                  <a:lnTo>
                    <a:pt x="154945" y="25694"/>
                  </a:lnTo>
                  <a:lnTo>
                    <a:pt x="154539" y="26376"/>
                  </a:lnTo>
                  <a:lnTo>
                    <a:pt x="153023" y="27592"/>
                  </a:lnTo>
                  <a:lnTo>
                    <a:pt x="151660" y="28962"/>
                  </a:lnTo>
                  <a:lnTo>
                    <a:pt x="151524" y="29800"/>
                  </a:lnTo>
                  <a:lnTo>
                    <a:pt x="151688" y="30410"/>
                  </a:lnTo>
                  <a:lnTo>
                    <a:pt x="152163" y="30778"/>
                  </a:lnTo>
                  <a:lnTo>
                    <a:pt x="154185" y="30613"/>
                  </a:lnTo>
                  <a:lnTo>
                    <a:pt x="154480" y="31113"/>
                  </a:lnTo>
                  <a:lnTo>
                    <a:pt x="153500" y="34631"/>
                  </a:lnTo>
                  <a:lnTo>
                    <a:pt x="153804" y="35231"/>
                  </a:lnTo>
                  <a:lnTo>
                    <a:pt x="155575" y="35792"/>
                  </a:lnTo>
                  <a:lnTo>
                    <a:pt x="156862" y="36638"/>
                  </a:lnTo>
                  <a:lnTo>
                    <a:pt x="159283" y="38865"/>
                  </a:lnTo>
                  <a:lnTo>
                    <a:pt x="160246" y="40669"/>
                  </a:lnTo>
                  <a:lnTo>
                    <a:pt x="159583" y="41273"/>
                  </a:lnTo>
                  <a:lnTo>
                    <a:pt x="158063" y="41573"/>
                  </a:lnTo>
                  <a:lnTo>
                    <a:pt x="156821" y="41418"/>
                  </a:lnTo>
                  <a:lnTo>
                    <a:pt x="158225" y="40328"/>
                  </a:lnTo>
                  <a:lnTo>
                    <a:pt x="154798" y="36372"/>
                  </a:lnTo>
                  <a:lnTo>
                    <a:pt x="153247" y="36379"/>
                  </a:lnTo>
                  <a:lnTo>
                    <a:pt x="151189" y="38052"/>
                  </a:lnTo>
                  <a:lnTo>
                    <a:pt x="145467" y="36360"/>
                  </a:lnTo>
                  <a:lnTo>
                    <a:pt x="144370" y="37043"/>
                  </a:lnTo>
                  <a:lnTo>
                    <a:pt x="143560" y="38384"/>
                  </a:lnTo>
                  <a:lnTo>
                    <a:pt x="141574" y="40046"/>
                  </a:lnTo>
                  <a:lnTo>
                    <a:pt x="138760" y="40781"/>
                  </a:lnTo>
                  <a:lnTo>
                    <a:pt x="135625" y="42609"/>
                  </a:lnTo>
                  <a:lnTo>
                    <a:pt x="132319" y="43903"/>
                  </a:lnTo>
                  <a:lnTo>
                    <a:pt x="129794" y="44879"/>
                  </a:lnTo>
                  <a:lnTo>
                    <a:pt x="128347" y="44707"/>
                  </a:lnTo>
                  <a:lnTo>
                    <a:pt x="130647" y="42592"/>
                  </a:lnTo>
                  <a:lnTo>
                    <a:pt x="129667" y="42554"/>
                  </a:lnTo>
                  <a:lnTo>
                    <a:pt x="126616" y="44046"/>
                  </a:lnTo>
                  <a:lnTo>
                    <a:pt x="124858" y="45308"/>
                  </a:lnTo>
                  <a:lnTo>
                    <a:pt x="124295" y="47427"/>
                  </a:lnTo>
                  <a:lnTo>
                    <a:pt x="123783" y="50918"/>
                  </a:lnTo>
                  <a:lnTo>
                    <a:pt x="125124" y="51844"/>
                  </a:lnTo>
                  <a:lnTo>
                    <a:pt x="127471" y="56439"/>
                  </a:lnTo>
                  <a:lnTo>
                    <a:pt x="130367" y="58402"/>
                  </a:lnTo>
                  <a:lnTo>
                    <a:pt x="129803" y="60275"/>
                  </a:lnTo>
                  <a:lnTo>
                    <a:pt x="129043" y="61754"/>
                  </a:lnTo>
                  <a:lnTo>
                    <a:pt x="127294" y="63033"/>
                  </a:lnTo>
                  <a:lnTo>
                    <a:pt x="125847" y="62084"/>
                  </a:lnTo>
                  <a:lnTo>
                    <a:pt x="124960" y="62108"/>
                  </a:lnTo>
                  <a:lnTo>
                    <a:pt x="124284" y="65101"/>
                  </a:lnTo>
                  <a:lnTo>
                    <a:pt x="125536" y="73077"/>
                  </a:lnTo>
                  <a:lnTo>
                    <a:pt x="127555" y="78657"/>
                  </a:lnTo>
                  <a:lnTo>
                    <a:pt x="129557" y="81088"/>
                  </a:lnTo>
                  <a:lnTo>
                    <a:pt x="134074" y="84865"/>
                  </a:lnTo>
                  <a:lnTo>
                    <a:pt x="138849" y="86854"/>
                  </a:lnTo>
                  <a:lnTo>
                    <a:pt x="147434" y="93204"/>
                  </a:lnTo>
                  <a:lnTo>
                    <a:pt x="152142" y="95210"/>
                  </a:lnTo>
                  <a:lnTo>
                    <a:pt x="153379" y="96299"/>
                  </a:lnTo>
                  <a:lnTo>
                    <a:pt x="156234" y="101182"/>
                  </a:lnTo>
                  <a:lnTo>
                    <a:pt x="158698" y="106813"/>
                  </a:lnTo>
                  <a:lnTo>
                    <a:pt x="161356" y="115626"/>
                  </a:lnTo>
                  <a:lnTo>
                    <a:pt x="163248" y="119958"/>
                  </a:lnTo>
                  <a:lnTo>
                    <a:pt x="167057" y="124847"/>
                  </a:lnTo>
                  <a:lnTo>
                    <a:pt x="174973" y="131831"/>
                  </a:lnTo>
                  <a:lnTo>
                    <a:pt x="182168" y="136928"/>
                  </a:lnTo>
                  <a:lnTo>
                    <a:pt x="188860" y="140074"/>
                  </a:lnTo>
                  <a:lnTo>
                    <a:pt x="194084" y="140626"/>
                  </a:lnTo>
                  <a:lnTo>
                    <a:pt x="206446" y="139930"/>
                  </a:lnTo>
                  <a:lnTo>
                    <a:pt x="208601" y="140231"/>
                  </a:lnTo>
                  <a:lnTo>
                    <a:pt x="210882" y="141078"/>
                  </a:lnTo>
                  <a:lnTo>
                    <a:pt x="211423" y="143257"/>
                  </a:lnTo>
                  <a:lnTo>
                    <a:pt x="210586" y="144727"/>
                  </a:lnTo>
                  <a:lnTo>
                    <a:pt x="207986" y="146256"/>
                  </a:lnTo>
                  <a:lnTo>
                    <a:pt x="205334" y="148371"/>
                  </a:lnTo>
                  <a:lnTo>
                    <a:pt x="205040" y="151248"/>
                  </a:lnTo>
                  <a:lnTo>
                    <a:pt x="207519" y="153273"/>
                  </a:lnTo>
                  <a:lnTo>
                    <a:pt x="219443" y="158639"/>
                  </a:lnTo>
                  <a:lnTo>
                    <a:pt x="231640" y="163114"/>
                  </a:lnTo>
                  <a:lnTo>
                    <a:pt x="235438" y="165396"/>
                  </a:lnTo>
                  <a:lnTo>
                    <a:pt x="239839" y="168940"/>
                  </a:lnTo>
                  <a:lnTo>
                    <a:pt x="250469" y="173806"/>
                  </a:lnTo>
                  <a:lnTo>
                    <a:pt x="252264" y="176172"/>
                  </a:lnTo>
                  <a:lnTo>
                    <a:pt x="258723" y="181254"/>
                  </a:lnTo>
                  <a:lnTo>
                    <a:pt x="261651" y="185170"/>
                  </a:lnTo>
                  <a:lnTo>
                    <a:pt x="262208" y="188204"/>
                  </a:lnTo>
                  <a:lnTo>
                    <a:pt x="260809" y="191281"/>
                  </a:lnTo>
                  <a:lnTo>
                    <a:pt x="260165" y="193451"/>
                  </a:lnTo>
                  <a:lnTo>
                    <a:pt x="259066" y="195592"/>
                  </a:lnTo>
                  <a:lnTo>
                    <a:pt x="256315" y="194781"/>
                  </a:lnTo>
                  <a:lnTo>
                    <a:pt x="253188" y="192582"/>
                  </a:lnTo>
                  <a:lnTo>
                    <a:pt x="248481" y="183625"/>
                  </a:lnTo>
                  <a:lnTo>
                    <a:pt x="239882" y="182716"/>
                  </a:lnTo>
                  <a:lnTo>
                    <a:pt x="238105" y="182054"/>
                  </a:lnTo>
                  <a:lnTo>
                    <a:pt x="235051" y="180515"/>
                  </a:lnTo>
                  <a:lnTo>
                    <a:pt x="234868" y="179499"/>
                  </a:lnTo>
                  <a:lnTo>
                    <a:pt x="234114" y="178229"/>
                  </a:lnTo>
                  <a:lnTo>
                    <a:pt x="233333" y="177800"/>
                  </a:lnTo>
                  <a:lnTo>
                    <a:pt x="230044" y="177520"/>
                  </a:lnTo>
                  <a:lnTo>
                    <a:pt x="227766" y="178972"/>
                  </a:lnTo>
                  <a:lnTo>
                    <a:pt x="225086" y="182414"/>
                  </a:lnTo>
                  <a:lnTo>
                    <a:pt x="222048" y="187359"/>
                  </a:lnTo>
                  <a:lnTo>
                    <a:pt x="218960" y="194596"/>
                  </a:lnTo>
                  <a:lnTo>
                    <a:pt x="218781" y="197514"/>
                  </a:lnTo>
                  <a:lnTo>
                    <a:pt x="220459" y="200339"/>
                  </a:lnTo>
                  <a:lnTo>
                    <a:pt x="225468" y="201914"/>
                  </a:lnTo>
                  <a:lnTo>
                    <a:pt x="229335" y="204425"/>
                  </a:lnTo>
                  <a:lnTo>
                    <a:pt x="231886" y="207045"/>
                  </a:lnTo>
                  <a:lnTo>
                    <a:pt x="232071" y="213368"/>
                  </a:lnTo>
                  <a:lnTo>
                    <a:pt x="233214" y="216950"/>
                  </a:lnTo>
                  <a:lnTo>
                    <a:pt x="231532" y="218985"/>
                  </a:lnTo>
                  <a:lnTo>
                    <a:pt x="228280" y="218457"/>
                  </a:lnTo>
                  <a:lnTo>
                    <a:pt x="223946" y="219751"/>
                  </a:lnTo>
                  <a:lnTo>
                    <a:pt x="220877" y="222063"/>
                  </a:lnTo>
                  <a:lnTo>
                    <a:pt x="219601" y="224265"/>
                  </a:lnTo>
                  <a:lnTo>
                    <a:pt x="219938" y="229965"/>
                  </a:lnTo>
                  <a:lnTo>
                    <a:pt x="219305" y="232139"/>
                  </a:lnTo>
                  <a:lnTo>
                    <a:pt x="213486" y="236239"/>
                  </a:lnTo>
                  <a:lnTo>
                    <a:pt x="210428" y="240429"/>
                  </a:lnTo>
                  <a:lnTo>
                    <a:pt x="209668" y="242166"/>
                  </a:lnTo>
                  <a:lnTo>
                    <a:pt x="208498" y="244135"/>
                  </a:lnTo>
                  <a:lnTo>
                    <a:pt x="201149" y="244205"/>
                  </a:lnTo>
                  <a:lnTo>
                    <a:pt x="199409" y="241767"/>
                  </a:lnTo>
                  <a:lnTo>
                    <a:pt x="199348" y="238144"/>
                  </a:lnTo>
                  <a:lnTo>
                    <a:pt x="200611" y="235912"/>
                  </a:lnTo>
                  <a:lnTo>
                    <a:pt x="203313" y="234867"/>
                  </a:lnTo>
                  <a:lnTo>
                    <a:pt x="205135" y="230224"/>
                  </a:lnTo>
                  <a:lnTo>
                    <a:pt x="204563" y="226865"/>
                  </a:lnTo>
                  <a:lnTo>
                    <a:pt x="205626" y="225375"/>
                  </a:lnTo>
                  <a:lnTo>
                    <a:pt x="206630" y="224321"/>
                  </a:lnTo>
                  <a:lnTo>
                    <a:pt x="208690" y="223707"/>
                  </a:lnTo>
                  <a:lnTo>
                    <a:pt x="211592" y="223118"/>
                  </a:lnTo>
                  <a:lnTo>
                    <a:pt x="211883" y="218423"/>
                  </a:lnTo>
                  <a:lnTo>
                    <a:pt x="209616" y="216285"/>
                  </a:lnTo>
                  <a:lnTo>
                    <a:pt x="208821" y="213293"/>
                  </a:lnTo>
                  <a:lnTo>
                    <a:pt x="207763" y="207746"/>
                  </a:lnTo>
                  <a:lnTo>
                    <a:pt x="204021" y="200661"/>
                  </a:lnTo>
                  <a:lnTo>
                    <a:pt x="202015" y="194325"/>
                  </a:lnTo>
                  <a:lnTo>
                    <a:pt x="200447" y="191195"/>
                  </a:lnTo>
                  <a:lnTo>
                    <a:pt x="198068" y="189561"/>
                  </a:lnTo>
                  <a:lnTo>
                    <a:pt x="193773" y="189579"/>
                  </a:lnTo>
                  <a:lnTo>
                    <a:pt x="191641" y="189113"/>
                  </a:lnTo>
                  <a:lnTo>
                    <a:pt x="184043" y="184700"/>
                  </a:lnTo>
                  <a:lnTo>
                    <a:pt x="183513" y="184028"/>
                  </a:lnTo>
                  <a:lnTo>
                    <a:pt x="183561" y="182856"/>
                  </a:lnTo>
                  <a:lnTo>
                    <a:pt x="184822" y="181080"/>
                  </a:lnTo>
                  <a:lnTo>
                    <a:pt x="183971" y="178676"/>
                  </a:lnTo>
                  <a:lnTo>
                    <a:pt x="183071" y="176405"/>
                  </a:lnTo>
                  <a:lnTo>
                    <a:pt x="181581" y="174467"/>
                  </a:lnTo>
                  <a:lnTo>
                    <a:pt x="179948" y="173459"/>
                  </a:lnTo>
                  <a:lnTo>
                    <a:pt x="176532" y="174079"/>
                  </a:lnTo>
                  <a:lnTo>
                    <a:pt x="175331" y="174561"/>
                  </a:lnTo>
                  <a:lnTo>
                    <a:pt x="173174" y="174395"/>
                  </a:lnTo>
                  <a:lnTo>
                    <a:pt x="171479" y="175257"/>
                  </a:lnTo>
                  <a:lnTo>
                    <a:pt x="170533" y="175284"/>
                  </a:lnTo>
                  <a:lnTo>
                    <a:pt x="173200" y="171877"/>
                  </a:lnTo>
                  <a:lnTo>
                    <a:pt x="172483" y="171074"/>
                  </a:lnTo>
                  <a:lnTo>
                    <a:pt x="169847" y="169674"/>
                  </a:lnTo>
                  <a:lnTo>
                    <a:pt x="166271" y="169462"/>
                  </a:lnTo>
                  <a:lnTo>
                    <a:pt x="165280" y="169293"/>
                  </a:lnTo>
                  <a:lnTo>
                    <a:pt x="164694" y="170165"/>
                  </a:lnTo>
                  <a:lnTo>
                    <a:pt x="163997" y="169684"/>
                  </a:lnTo>
                  <a:lnTo>
                    <a:pt x="164070" y="168159"/>
                  </a:lnTo>
                  <a:lnTo>
                    <a:pt x="159916" y="161328"/>
                  </a:lnTo>
                  <a:lnTo>
                    <a:pt x="157121" y="158544"/>
                  </a:lnTo>
                  <a:lnTo>
                    <a:pt x="155714" y="158047"/>
                  </a:lnTo>
                  <a:lnTo>
                    <a:pt x="153172" y="158635"/>
                  </a:lnTo>
                  <a:lnTo>
                    <a:pt x="148907" y="157414"/>
                  </a:lnTo>
                  <a:lnTo>
                    <a:pt x="146363" y="157141"/>
                  </a:lnTo>
                  <a:lnTo>
                    <a:pt x="144960" y="157435"/>
                  </a:lnTo>
                  <a:lnTo>
                    <a:pt x="142865" y="158328"/>
                  </a:lnTo>
                  <a:lnTo>
                    <a:pt x="141811" y="157738"/>
                  </a:lnTo>
                  <a:lnTo>
                    <a:pt x="141440" y="156822"/>
                  </a:lnTo>
                  <a:lnTo>
                    <a:pt x="137570" y="153977"/>
                  </a:lnTo>
                  <a:lnTo>
                    <a:pt x="132742" y="152368"/>
                  </a:lnTo>
                  <a:lnTo>
                    <a:pt x="123340" y="143293"/>
                  </a:lnTo>
                  <a:lnTo>
                    <a:pt x="120457" y="139892"/>
                  </a:lnTo>
                  <a:lnTo>
                    <a:pt x="114525" y="136145"/>
                  </a:lnTo>
                  <a:lnTo>
                    <a:pt x="110772" y="130679"/>
                  </a:lnTo>
                  <a:lnTo>
                    <a:pt x="107702" y="128672"/>
                  </a:lnTo>
                  <a:lnTo>
                    <a:pt x="103232" y="127064"/>
                  </a:lnTo>
                  <a:lnTo>
                    <a:pt x="102202" y="127265"/>
                  </a:lnTo>
                  <a:lnTo>
                    <a:pt x="100857" y="127868"/>
                  </a:lnTo>
                  <a:lnTo>
                    <a:pt x="99803" y="127954"/>
                  </a:lnTo>
                  <a:lnTo>
                    <a:pt x="98963" y="127242"/>
                  </a:lnTo>
                  <a:lnTo>
                    <a:pt x="99815" y="126509"/>
                  </a:lnTo>
                  <a:lnTo>
                    <a:pt x="100766" y="126176"/>
                  </a:lnTo>
                  <a:lnTo>
                    <a:pt x="100390" y="124081"/>
                  </a:lnTo>
                  <a:lnTo>
                    <a:pt x="95305" y="118644"/>
                  </a:lnTo>
                  <a:lnTo>
                    <a:pt x="92327" y="116890"/>
                  </a:lnTo>
                  <a:lnTo>
                    <a:pt x="91487" y="115810"/>
                  </a:lnTo>
                  <a:lnTo>
                    <a:pt x="90867" y="114331"/>
                  </a:lnTo>
                  <a:lnTo>
                    <a:pt x="90232" y="113357"/>
                  </a:lnTo>
                  <a:lnTo>
                    <a:pt x="88822" y="112798"/>
                  </a:lnTo>
                  <a:lnTo>
                    <a:pt x="87619" y="112894"/>
                  </a:lnTo>
                  <a:lnTo>
                    <a:pt x="85952" y="112521"/>
                  </a:lnTo>
                  <a:lnTo>
                    <a:pt x="86006" y="109905"/>
                  </a:lnTo>
                  <a:lnTo>
                    <a:pt x="86339" y="107893"/>
                  </a:lnTo>
                  <a:lnTo>
                    <a:pt x="86084" y="106184"/>
                  </a:lnTo>
                  <a:lnTo>
                    <a:pt x="84464" y="101686"/>
                  </a:lnTo>
                  <a:lnTo>
                    <a:pt x="81655" y="97867"/>
                  </a:lnTo>
                  <a:lnTo>
                    <a:pt x="80003" y="88722"/>
                  </a:lnTo>
                  <a:lnTo>
                    <a:pt x="78727" y="86142"/>
                  </a:lnTo>
                  <a:lnTo>
                    <a:pt x="75622" y="84182"/>
                  </a:lnTo>
                  <a:lnTo>
                    <a:pt x="68617" y="81983"/>
                  </a:lnTo>
                  <a:lnTo>
                    <a:pt x="58854" y="76070"/>
                  </a:lnTo>
                  <a:lnTo>
                    <a:pt x="56790" y="75968"/>
                  </a:lnTo>
                  <a:lnTo>
                    <a:pt x="50917" y="73666"/>
                  </a:lnTo>
                  <a:lnTo>
                    <a:pt x="47278" y="73271"/>
                  </a:lnTo>
                  <a:lnTo>
                    <a:pt x="42549" y="75339"/>
                  </a:lnTo>
                  <a:lnTo>
                    <a:pt x="36809" y="81026"/>
                  </a:lnTo>
                  <a:lnTo>
                    <a:pt x="32149" y="86915"/>
                  </a:lnTo>
                  <a:lnTo>
                    <a:pt x="30454" y="88055"/>
                  </a:lnTo>
                  <a:lnTo>
                    <a:pt x="24446" y="90059"/>
                  </a:lnTo>
                  <a:lnTo>
                    <a:pt x="19137" y="91016"/>
                  </a:lnTo>
                  <a:lnTo>
                    <a:pt x="19078" y="89509"/>
                  </a:lnTo>
                  <a:lnTo>
                    <a:pt x="18891" y="88376"/>
                  </a:lnTo>
                  <a:lnTo>
                    <a:pt x="19789" y="87127"/>
                  </a:lnTo>
                  <a:lnTo>
                    <a:pt x="21270" y="85657"/>
                  </a:lnTo>
                  <a:lnTo>
                    <a:pt x="22637" y="83812"/>
                  </a:lnTo>
                  <a:lnTo>
                    <a:pt x="23205" y="82471"/>
                  </a:lnTo>
                  <a:lnTo>
                    <a:pt x="22937" y="81581"/>
                  </a:lnTo>
                  <a:lnTo>
                    <a:pt x="22322" y="80258"/>
                  </a:lnTo>
                  <a:lnTo>
                    <a:pt x="21486" y="80162"/>
                  </a:lnTo>
                  <a:lnTo>
                    <a:pt x="16433" y="81273"/>
                  </a:lnTo>
                  <a:lnTo>
                    <a:pt x="15276" y="80986"/>
                  </a:lnTo>
                  <a:lnTo>
                    <a:pt x="11536" y="79259"/>
                  </a:lnTo>
                  <a:lnTo>
                    <a:pt x="7508" y="77134"/>
                  </a:lnTo>
                  <a:lnTo>
                    <a:pt x="6025" y="75622"/>
                  </a:lnTo>
                  <a:lnTo>
                    <a:pt x="5463" y="74093"/>
                  </a:lnTo>
                  <a:lnTo>
                    <a:pt x="5884" y="73111"/>
                  </a:lnTo>
                  <a:lnTo>
                    <a:pt x="5548" y="72157"/>
                  </a:lnTo>
                  <a:lnTo>
                    <a:pt x="4760" y="70868"/>
                  </a:lnTo>
                  <a:lnTo>
                    <a:pt x="5472" y="69403"/>
                  </a:lnTo>
                  <a:lnTo>
                    <a:pt x="6727" y="67576"/>
                  </a:lnTo>
                  <a:lnTo>
                    <a:pt x="7355" y="66337"/>
                  </a:lnTo>
                  <a:lnTo>
                    <a:pt x="8407" y="66015"/>
                  </a:lnTo>
                  <a:lnTo>
                    <a:pt x="8910" y="65259"/>
                  </a:lnTo>
                  <a:lnTo>
                    <a:pt x="8070" y="62243"/>
                  </a:lnTo>
                  <a:lnTo>
                    <a:pt x="7632" y="61760"/>
                  </a:lnTo>
                  <a:lnTo>
                    <a:pt x="6902" y="61385"/>
                  </a:lnTo>
                  <a:lnTo>
                    <a:pt x="5785" y="61343"/>
                  </a:lnTo>
                  <a:lnTo>
                    <a:pt x="3833" y="60719"/>
                  </a:lnTo>
                  <a:lnTo>
                    <a:pt x="2442" y="59675"/>
                  </a:lnTo>
                  <a:lnTo>
                    <a:pt x="2144" y="58265"/>
                  </a:lnTo>
                  <a:lnTo>
                    <a:pt x="1408" y="56909"/>
                  </a:lnTo>
                  <a:lnTo>
                    <a:pt x="156" y="55663"/>
                  </a:lnTo>
                  <a:lnTo>
                    <a:pt x="0" y="54301"/>
                  </a:lnTo>
                  <a:lnTo>
                    <a:pt x="1428" y="53580"/>
                  </a:lnTo>
                  <a:lnTo>
                    <a:pt x="3375" y="53552"/>
                  </a:lnTo>
                  <a:lnTo>
                    <a:pt x="4745" y="53817"/>
                  </a:lnTo>
                  <a:lnTo>
                    <a:pt x="7817" y="51629"/>
                  </a:lnTo>
                  <a:lnTo>
                    <a:pt x="8949" y="51436"/>
                  </a:lnTo>
                  <a:lnTo>
                    <a:pt x="9964" y="50961"/>
                  </a:lnTo>
                  <a:lnTo>
                    <a:pt x="10814" y="47971"/>
                  </a:lnTo>
                  <a:lnTo>
                    <a:pt x="11469" y="47073"/>
                  </a:lnTo>
                  <a:lnTo>
                    <a:pt x="11624" y="46546"/>
                  </a:lnTo>
                  <a:lnTo>
                    <a:pt x="11019" y="45922"/>
                  </a:lnTo>
                  <a:lnTo>
                    <a:pt x="8534" y="43813"/>
                  </a:lnTo>
                  <a:lnTo>
                    <a:pt x="7401" y="41612"/>
                  </a:lnTo>
                  <a:lnTo>
                    <a:pt x="5610" y="39142"/>
                  </a:lnTo>
                  <a:lnTo>
                    <a:pt x="3948" y="38050"/>
                  </a:lnTo>
                  <a:lnTo>
                    <a:pt x="3609" y="37201"/>
                  </a:lnTo>
                  <a:lnTo>
                    <a:pt x="3570" y="36121"/>
                  </a:lnTo>
                  <a:lnTo>
                    <a:pt x="3909" y="35171"/>
                  </a:lnTo>
                  <a:lnTo>
                    <a:pt x="6923" y="33687"/>
                  </a:lnTo>
                  <a:lnTo>
                    <a:pt x="8698" y="32103"/>
                  </a:lnTo>
                  <a:lnTo>
                    <a:pt x="9465" y="32710"/>
                  </a:lnTo>
                  <a:lnTo>
                    <a:pt x="11084" y="33354"/>
                  </a:lnTo>
                  <a:lnTo>
                    <a:pt x="15483" y="32473"/>
                  </a:lnTo>
                  <a:lnTo>
                    <a:pt x="18217" y="31588"/>
                  </a:lnTo>
                  <a:lnTo>
                    <a:pt x="20141" y="30657"/>
                  </a:lnTo>
                  <a:lnTo>
                    <a:pt x="21335" y="30822"/>
                  </a:lnTo>
                  <a:lnTo>
                    <a:pt x="25654" y="32212"/>
                  </a:lnTo>
                  <a:lnTo>
                    <a:pt x="27079" y="31505"/>
                  </a:lnTo>
                  <a:lnTo>
                    <a:pt x="30193" y="29615"/>
                  </a:lnTo>
                  <a:lnTo>
                    <a:pt x="30659" y="28621"/>
                  </a:lnTo>
                  <a:lnTo>
                    <a:pt x="33112" y="25606"/>
                  </a:lnTo>
                  <a:lnTo>
                    <a:pt x="33158" y="24869"/>
                  </a:lnTo>
                  <a:lnTo>
                    <a:pt x="32147" y="22975"/>
                  </a:lnTo>
                  <a:lnTo>
                    <a:pt x="32460" y="22559"/>
                  </a:lnTo>
                  <a:lnTo>
                    <a:pt x="35473" y="20615"/>
                  </a:lnTo>
                  <a:lnTo>
                    <a:pt x="36945" y="18890"/>
                  </a:lnTo>
                  <a:lnTo>
                    <a:pt x="38541" y="17734"/>
                  </a:lnTo>
                  <a:lnTo>
                    <a:pt x="39687" y="17708"/>
                  </a:lnTo>
                  <a:lnTo>
                    <a:pt x="40003" y="18101"/>
                  </a:lnTo>
                  <a:lnTo>
                    <a:pt x="40139" y="18908"/>
                  </a:lnTo>
                  <a:lnTo>
                    <a:pt x="40040" y="22232"/>
                  </a:lnTo>
                  <a:lnTo>
                    <a:pt x="40480" y="23255"/>
                  </a:lnTo>
                  <a:lnTo>
                    <a:pt x="42847" y="25637"/>
                  </a:lnTo>
                  <a:lnTo>
                    <a:pt x="44533" y="26993"/>
                  </a:lnTo>
                  <a:lnTo>
                    <a:pt x="48444" y="27923"/>
                  </a:lnTo>
                  <a:lnTo>
                    <a:pt x="48625" y="28368"/>
                  </a:lnTo>
                  <a:lnTo>
                    <a:pt x="47548" y="30160"/>
                  </a:lnTo>
                  <a:lnTo>
                    <a:pt x="49917" y="32299"/>
                  </a:lnTo>
                  <a:lnTo>
                    <a:pt x="50340" y="33864"/>
                  </a:lnTo>
                  <a:lnTo>
                    <a:pt x="51432" y="34744"/>
                  </a:lnTo>
                  <a:lnTo>
                    <a:pt x="52981" y="34312"/>
                  </a:lnTo>
                  <a:lnTo>
                    <a:pt x="53488" y="33488"/>
                  </a:lnTo>
                  <a:lnTo>
                    <a:pt x="52879" y="32039"/>
                  </a:lnTo>
                  <a:lnTo>
                    <a:pt x="52432" y="30521"/>
                  </a:lnTo>
                  <a:lnTo>
                    <a:pt x="52523" y="29643"/>
                  </a:lnTo>
                  <a:lnTo>
                    <a:pt x="52951" y="28633"/>
                  </a:lnTo>
                  <a:lnTo>
                    <a:pt x="54026" y="27224"/>
                  </a:lnTo>
                  <a:lnTo>
                    <a:pt x="56954" y="23993"/>
                  </a:lnTo>
                  <a:lnTo>
                    <a:pt x="58008" y="22123"/>
                  </a:lnTo>
                  <a:lnTo>
                    <a:pt x="58200" y="19228"/>
                  </a:lnTo>
                  <a:lnTo>
                    <a:pt x="58209" y="16899"/>
                  </a:lnTo>
                  <a:lnTo>
                    <a:pt x="59187" y="16334"/>
                  </a:lnTo>
                  <a:lnTo>
                    <a:pt x="61286" y="16747"/>
                  </a:lnTo>
                  <a:lnTo>
                    <a:pt x="61912" y="16701"/>
                  </a:lnTo>
                  <a:lnTo>
                    <a:pt x="62199" y="18131"/>
                  </a:lnTo>
                  <a:lnTo>
                    <a:pt x="63093" y="20405"/>
                  </a:lnTo>
                  <a:lnTo>
                    <a:pt x="64147" y="21585"/>
                  </a:lnTo>
                  <a:lnTo>
                    <a:pt x="65272" y="21865"/>
                  </a:lnTo>
                  <a:lnTo>
                    <a:pt x="66596" y="21871"/>
                  </a:lnTo>
                  <a:lnTo>
                    <a:pt x="69876" y="20481"/>
                  </a:lnTo>
                  <a:lnTo>
                    <a:pt x="72014" y="19879"/>
                  </a:lnTo>
                  <a:lnTo>
                    <a:pt x="73225" y="20044"/>
                  </a:lnTo>
                  <a:lnTo>
                    <a:pt x="73942" y="20990"/>
                  </a:lnTo>
                  <a:lnTo>
                    <a:pt x="75475" y="23471"/>
                  </a:lnTo>
                  <a:lnTo>
                    <a:pt x="76349" y="23751"/>
                  </a:lnTo>
                  <a:lnTo>
                    <a:pt x="77406" y="23467"/>
                  </a:lnTo>
                  <a:lnTo>
                    <a:pt x="77779" y="23044"/>
                  </a:lnTo>
                  <a:lnTo>
                    <a:pt x="77440" y="22090"/>
                  </a:lnTo>
                  <a:lnTo>
                    <a:pt x="76993" y="20015"/>
                  </a:lnTo>
                  <a:lnTo>
                    <a:pt x="76380" y="18410"/>
                  </a:lnTo>
                  <a:lnTo>
                    <a:pt x="75577" y="17657"/>
                  </a:lnTo>
                  <a:lnTo>
                    <a:pt x="75415" y="16677"/>
                  </a:lnTo>
                  <a:lnTo>
                    <a:pt x="75922" y="14912"/>
                  </a:lnTo>
                  <a:lnTo>
                    <a:pt x="76492" y="13436"/>
                  </a:lnTo>
                  <a:lnTo>
                    <a:pt x="77609" y="13034"/>
                  </a:lnTo>
                  <a:lnTo>
                    <a:pt x="78891" y="12847"/>
                  </a:lnTo>
                  <a:lnTo>
                    <a:pt x="80588" y="14410"/>
                  </a:lnTo>
                  <a:lnTo>
                    <a:pt x="82597" y="14904"/>
                  </a:lnTo>
                  <a:lnTo>
                    <a:pt x="84091" y="14821"/>
                  </a:lnTo>
                  <a:lnTo>
                    <a:pt x="84352" y="13909"/>
                  </a:lnTo>
                  <a:lnTo>
                    <a:pt x="84259" y="12909"/>
                  </a:lnTo>
                  <a:lnTo>
                    <a:pt x="83368" y="11625"/>
                  </a:lnTo>
                  <a:lnTo>
                    <a:pt x="83547" y="9683"/>
                  </a:lnTo>
                  <a:lnTo>
                    <a:pt x="84581" y="6060"/>
                  </a:lnTo>
                  <a:lnTo>
                    <a:pt x="85169" y="6334"/>
                  </a:lnTo>
                  <a:lnTo>
                    <a:pt x="87388" y="6373"/>
                  </a:lnTo>
                  <a:lnTo>
                    <a:pt x="89809" y="6577"/>
                  </a:lnTo>
                  <a:lnTo>
                    <a:pt x="91368" y="8056"/>
                  </a:lnTo>
                  <a:lnTo>
                    <a:pt x="92897" y="8559"/>
                  </a:lnTo>
                  <a:lnTo>
                    <a:pt x="95074" y="8719"/>
                  </a:lnTo>
                  <a:lnTo>
                    <a:pt x="96531" y="8510"/>
                  </a:lnTo>
                  <a:lnTo>
                    <a:pt x="97235" y="7954"/>
                  </a:lnTo>
                  <a:lnTo>
                    <a:pt x="98084" y="6222"/>
                  </a:lnTo>
                  <a:lnTo>
                    <a:pt x="99641" y="4074"/>
                  </a:lnTo>
                  <a:lnTo>
                    <a:pt x="102085" y="2972"/>
                  </a:lnTo>
                  <a:lnTo>
                    <a:pt x="106259" y="2766"/>
                  </a:lnTo>
                  <a:lnTo>
                    <a:pt x="108345" y="2366"/>
                  </a:lnTo>
                  <a:lnTo>
                    <a:pt x="110511" y="2389"/>
                  </a:lnTo>
                  <a:lnTo>
                    <a:pt x="112146" y="2721"/>
                  </a:lnTo>
                  <a:lnTo>
                    <a:pt x="113832" y="2682"/>
                  </a:lnTo>
                  <a:lnTo>
                    <a:pt x="118119" y="1185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ee4p_RS_1_37764">
              <a:extLst>
                <a:ext uri="{FF2B5EF4-FFF2-40B4-BE49-F238E27FC236}">
                  <a16:creationId xmlns:a16="http://schemas.microsoft.com/office/drawing/2014/main" id="{F09C408F-5635-465E-9E57-80414EC6063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12341402" y="10290397"/>
              <a:ext cx="861271" cy="1002599"/>
            </a:xfrm>
            <a:custGeom>
              <a:avLst/>
              <a:gdLst/>
              <a:ahLst/>
              <a:cxnLst/>
              <a:rect l="0" t="0" r="0" b="0"/>
              <a:pathLst>
                <a:path w="91497" h="106511">
                  <a:moveTo>
                    <a:pt x="19580" y="478"/>
                  </a:moveTo>
                  <a:lnTo>
                    <a:pt x="22231" y="644"/>
                  </a:lnTo>
                  <a:lnTo>
                    <a:pt x="24214" y="213"/>
                  </a:lnTo>
                  <a:lnTo>
                    <a:pt x="29241" y="755"/>
                  </a:lnTo>
                  <a:lnTo>
                    <a:pt x="30318" y="1194"/>
                  </a:lnTo>
                  <a:lnTo>
                    <a:pt x="31018" y="1676"/>
                  </a:lnTo>
                  <a:lnTo>
                    <a:pt x="32335" y="3276"/>
                  </a:lnTo>
                  <a:lnTo>
                    <a:pt x="33601" y="5353"/>
                  </a:lnTo>
                  <a:lnTo>
                    <a:pt x="35356" y="6311"/>
                  </a:lnTo>
                  <a:lnTo>
                    <a:pt x="37448" y="7450"/>
                  </a:lnTo>
                  <a:lnTo>
                    <a:pt x="38522" y="8278"/>
                  </a:lnTo>
                  <a:lnTo>
                    <a:pt x="40104" y="10762"/>
                  </a:lnTo>
                  <a:lnTo>
                    <a:pt x="41355" y="11977"/>
                  </a:lnTo>
                  <a:lnTo>
                    <a:pt x="41765" y="11918"/>
                  </a:lnTo>
                  <a:lnTo>
                    <a:pt x="42186" y="11599"/>
                  </a:lnTo>
                  <a:lnTo>
                    <a:pt x="42480" y="11348"/>
                  </a:lnTo>
                  <a:lnTo>
                    <a:pt x="42808" y="11577"/>
                  </a:lnTo>
                  <a:lnTo>
                    <a:pt x="42825" y="12328"/>
                  </a:lnTo>
                  <a:lnTo>
                    <a:pt x="42903" y="13994"/>
                  </a:lnTo>
                  <a:lnTo>
                    <a:pt x="42605" y="15769"/>
                  </a:lnTo>
                  <a:lnTo>
                    <a:pt x="43052" y="17446"/>
                  </a:lnTo>
                  <a:lnTo>
                    <a:pt x="43063" y="17968"/>
                  </a:lnTo>
                  <a:lnTo>
                    <a:pt x="42752" y="18445"/>
                  </a:lnTo>
                  <a:lnTo>
                    <a:pt x="42791" y="18876"/>
                  </a:lnTo>
                  <a:lnTo>
                    <a:pt x="43229" y="19330"/>
                  </a:lnTo>
                  <a:lnTo>
                    <a:pt x="44927" y="20438"/>
                  </a:lnTo>
                  <a:lnTo>
                    <a:pt x="46496" y="22145"/>
                  </a:lnTo>
                  <a:lnTo>
                    <a:pt x="48310" y="23346"/>
                  </a:lnTo>
                  <a:lnTo>
                    <a:pt x="49992" y="24113"/>
                  </a:lnTo>
                  <a:lnTo>
                    <a:pt x="51053" y="24163"/>
                  </a:lnTo>
                  <a:lnTo>
                    <a:pt x="52791" y="25546"/>
                  </a:lnTo>
                  <a:lnTo>
                    <a:pt x="56224" y="26538"/>
                  </a:lnTo>
                  <a:lnTo>
                    <a:pt x="57324" y="26881"/>
                  </a:lnTo>
                  <a:lnTo>
                    <a:pt x="58075" y="27447"/>
                  </a:lnTo>
                  <a:lnTo>
                    <a:pt x="58623" y="28103"/>
                  </a:lnTo>
                  <a:lnTo>
                    <a:pt x="58658" y="28805"/>
                  </a:lnTo>
                  <a:lnTo>
                    <a:pt x="58129" y="29145"/>
                  </a:lnTo>
                  <a:lnTo>
                    <a:pt x="57391" y="30094"/>
                  </a:lnTo>
                  <a:lnTo>
                    <a:pt x="57086" y="31248"/>
                  </a:lnTo>
                  <a:lnTo>
                    <a:pt x="56538" y="31542"/>
                  </a:lnTo>
                  <a:lnTo>
                    <a:pt x="55989" y="31565"/>
                  </a:lnTo>
                  <a:lnTo>
                    <a:pt x="55587" y="31903"/>
                  </a:lnTo>
                  <a:lnTo>
                    <a:pt x="55678" y="32401"/>
                  </a:lnTo>
                  <a:lnTo>
                    <a:pt x="56136" y="32875"/>
                  </a:lnTo>
                  <a:lnTo>
                    <a:pt x="56848" y="33304"/>
                  </a:lnTo>
                  <a:lnTo>
                    <a:pt x="58220" y="33734"/>
                  </a:lnTo>
                  <a:lnTo>
                    <a:pt x="59573" y="34366"/>
                  </a:lnTo>
                  <a:lnTo>
                    <a:pt x="59554" y="34862"/>
                  </a:lnTo>
                  <a:lnTo>
                    <a:pt x="59280" y="35405"/>
                  </a:lnTo>
                  <a:lnTo>
                    <a:pt x="57561" y="35607"/>
                  </a:lnTo>
                  <a:lnTo>
                    <a:pt x="56282" y="35698"/>
                  </a:lnTo>
                  <a:lnTo>
                    <a:pt x="55697" y="35923"/>
                  </a:lnTo>
                  <a:lnTo>
                    <a:pt x="55745" y="36882"/>
                  </a:lnTo>
                  <a:lnTo>
                    <a:pt x="59351" y="37880"/>
                  </a:lnTo>
                  <a:lnTo>
                    <a:pt x="60986" y="38826"/>
                  </a:lnTo>
                  <a:lnTo>
                    <a:pt x="61850" y="40052"/>
                  </a:lnTo>
                  <a:lnTo>
                    <a:pt x="64151" y="40863"/>
                  </a:lnTo>
                  <a:lnTo>
                    <a:pt x="67889" y="41259"/>
                  </a:lnTo>
                  <a:lnTo>
                    <a:pt x="70491" y="42519"/>
                  </a:lnTo>
                  <a:lnTo>
                    <a:pt x="71953" y="44640"/>
                  </a:lnTo>
                  <a:lnTo>
                    <a:pt x="74340" y="44130"/>
                  </a:lnTo>
                  <a:lnTo>
                    <a:pt x="77650" y="40987"/>
                  </a:lnTo>
                  <a:lnTo>
                    <a:pt x="80900" y="40166"/>
                  </a:lnTo>
                  <a:lnTo>
                    <a:pt x="84093" y="41672"/>
                  </a:lnTo>
                  <a:lnTo>
                    <a:pt x="85836" y="42910"/>
                  </a:lnTo>
                  <a:lnTo>
                    <a:pt x="86134" y="43878"/>
                  </a:lnTo>
                  <a:lnTo>
                    <a:pt x="85391" y="44270"/>
                  </a:lnTo>
                  <a:lnTo>
                    <a:pt x="83608" y="44084"/>
                  </a:lnTo>
                  <a:lnTo>
                    <a:pt x="82146" y="44683"/>
                  </a:lnTo>
                  <a:lnTo>
                    <a:pt x="81003" y="46063"/>
                  </a:lnTo>
                  <a:lnTo>
                    <a:pt x="80831" y="47536"/>
                  </a:lnTo>
                  <a:lnTo>
                    <a:pt x="81629" y="49097"/>
                  </a:lnTo>
                  <a:lnTo>
                    <a:pt x="82761" y="50173"/>
                  </a:lnTo>
                  <a:lnTo>
                    <a:pt x="84223" y="50768"/>
                  </a:lnTo>
                  <a:lnTo>
                    <a:pt x="85005" y="51581"/>
                  </a:lnTo>
                  <a:lnTo>
                    <a:pt x="85106" y="52617"/>
                  </a:lnTo>
                  <a:lnTo>
                    <a:pt x="85486" y="52902"/>
                  </a:lnTo>
                  <a:lnTo>
                    <a:pt x="84655" y="53379"/>
                  </a:lnTo>
                  <a:lnTo>
                    <a:pt x="83750" y="54087"/>
                  </a:lnTo>
                  <a:lnTo>
                    <a:pt x="83238" y="55320"/>
                  </a:lnTo>
                  <a:lnTo>
                    <a:pt x="83106" y="57306"/>
                  </a:lnTo>
                  <a:lnTo>
                    <a:pt x="80267" y="58857"/>
                  </a:lnTo>
                  <a:lnTo>
                    <a:pt x="79200" y="59143"/>
                  </a:lnTo>
                  <a:lnTo>
                    <a:pt x="78719" y="60169"/>
                  </a:lnTo>
                  <a:lnTo>
                    <a:pt x="77976" y="63073"/>
                  </a:lnTo>
                  <a:lnTo>
                    <a:pt x="78069" y="65256"/>
                  </a:lnTo>
                  <a:lnTo>
                    <a:pt x="78451" y="66367"/>
                  </a:lnTo>
                  <a:lnTo>
                    <a:pt x="78626" y="67271"/>
                  </a:lnTo>
                  <a:lnTo>
                    <a:pt x="79543" y="68382"/>
                  </a:lnTo>
                  <a:lnTo>
                    <a:pt x="80379" y="70087"/>
                  </a:lnTo>
                  <a:lnTo>
                    <a:pt x="80932" y="72334"/>
                  </a:lnTo>
                  <a:lnTo>
                    <a:pt x="82158" y="74067"/>
                  </a:lnTo>
                  <a:lnTo>
                    <a:pt x="85307" y="75773"/>
                  </a:lnTo>
                  <a:lnTo>
                    <a:pt x="86868" y="76766"/>
                  </a:lnTo>
                  <a:lnTo>
                    <a:pt x="88021" y="78202"/>
                  </a:lnTo>
                  <a:lnTo>
                    <a:pt x="88902" y="79502"/>
                  </a:lnTo>
                  <a:lnTo>
                    <a:pt x="91496" y="81230"/>
                  </a:lnTo>
                  <a:lnTo>
                    <a:pt x="91299" y="82464"/>
                  </a:lnTo>
                  <a:lnTo>
                    <a:pt x="90732" y="83670"/>
                  </a:lnTo>
                  <a:lnTo>
                    <a:pt x="90133" y="84236"/>
                  </a:lnTo>
                  <a:lnTo>
                    <a:pt x="88842" y="85783"/>
                  </a:lnTo>
                  <a:lnTo>
                    <a:pt x="87583" y="86655"/>
                  </a:lnTo>
                  <a:lnTo>
                    <a:pt x="85510" y="89382"/>
                  </a:lnTo>
                  <a:lnTo>
                    <a:pt x="82236" y="89528"/>
                  </a:lnTo>
                  <a:lnTo>
                    <a:pt x="81455" y="89746"/>
                  </a:lnTo>
                  <a:lnTo>
                    <a:pt x="80217" y="90491"/>
                  </a:lnTo>
                  <a:lnTo>
                    <a:pt x="79608" y="91851"/>
                  </a:lnTo>
                  <a:lnTo>
                    <a:pt x="80191" y="92944"/>
                  </a:lnTo>
                  <a:lnTo>
                    <a:pt x="80140" y="94048"/>
                  </a:lnTo>
                  <a:lnTo>
                    <a:pt x="79542" y="96195"/>
                  </a:lnTo>
                  <a:lnTo>
                    <a:pt x="80334" y="98485"/>
                  </a:lnTo>
                  <a:lnTo>
                    <a:pt x="81487" y="99536"/>
                  </a:lnTo>
                  <a:lnTo>
                    <a:pt x="81669" y="100142"/>
                  </a:lnTo>
                  <a:lnTo>
                    <a:pt x="81472" y="101215"/>
                  </a:lnTo>
                  <a:lnTo>
                    <a:pt x="79751" y="103395"/>
                  </a:lnTo>
                  <a:lnTo>
                    <a:pt x="79228" y="104202"/>
                  </a:lnTo>
                  <a:lnTo>
                    <a:pt x="77503" y="104598"/>
                  </a:lnTo>
                  <a:lnTo>
                    <a:pt x="76913" y="104391"/>
                  </a:lnTo>
                  <a:lnTo>
                    <a:pt x="76022" y="103642"/>
                  </a:lnTo>
                  <a:lnTo>
                    <a:pt x="75197" y="103421"/>
                  </a:lnTo>
                  <a:lnTo>
                    <a:pt x="73139" y="104304"/>
                  </a:lnTo>
                  <a:lnTo>
                    <a:pt x="71046" y="104846"/>
                  </a:lnTo>
                  <a:lnTo>
                    <a:pt x="69399" y="104436"/>
                  </a:lnTo>
                  <a:lnTo>
                    <a:pt x="67775" y="104382"/>
                  </a:lnTo>
                  <a:lnTo>
                    <a:pt x="66645" y="104746"/>
                  </a:lnTo>
                  <a:lnTo>
                    <a:pt x="65797" y="104887"/>
                  </a:lnTo>
                  <a:lnTo>
                    <a:pt x="64130" y="105829"/>
                  </a:lnTo>
                  <a:lnTo>
                    <a:pt x="61454" y="106510"/>
                  </a:lnTo>
                  <a:lnTo>
                    <a:pt x="60221" y="106367"/>
                  </a:lnTo>
                  <a:lnTo>
                    <a:pt x="59759" y="105481"/>
                  </a:lnTo>
                  <a:lnTo>
                    <a:pt x="59258" y="104213"/>
                  </a:lnTo>
                  <a:lnTo>
                    <a:pt x="59502" y="103638"/>
                  </a:lnTo>
                  <a:lnTo>
                    <a:pt x="61269" y="102641"/>
                  </a:lnTo>
                  <a:lnTo>
                    <a:pt x="61472" y="101687"/>
                  </a:lnTo>
                  <a:lnTo>
                    <a:pt x="63940" y="97093"/>
                  </a:lnTo>
                  <a:lnTo>
                    <a:pt x="64415" y="95596"/>
                  </a:lnTo>
                  <a:lnTo>
                    <a:pt x="64432" y="95107"/>
                  </a:lnTo>
                  <a:lnTo>
                    <a:pt x="63789" y="94782"/>
                  </a:lnTo>
                  <a:lnTo>
                    <a:pt x="62433" y="94796"/>
                  </a:lnTo>
                  <a:lnTo>
                    <a:pt x="56421" y="92927"/>
                  </a:lnTo>
                  <a:lnTo>
                    <a:pt x="56695" y="90784"/>
                  </a:lnTo>
                  <a:lnTo>
                    <a:pt x="54929" y="89628"/>
                  </a:lnTo>
                  <a:lnTo>
                    <a:pt x="53026" y="88597"/>
                  </a:lnTo>
                  <a:lnTo>
                    <a:pt x="52707" y="87446"/>
                  </a:lnTo>
                  <a:lnTo>
                    <a:pt x="50593" y="85120"/>
                  </a:lnTo>
                  <a:lnTo>
                    <a:pt x="49045" y="83814"/>
                  </a:lnTo>
                  <a:lnTo>
                    <a:pt x="47069" y="83162"/>
                  </a:lnTo>
                  <a:lnTo>
                    <a:pt x="45367" y="82206"/>
                  </a:lnTo>
                  <a:lnTo>
                    <a:pt x="44343" y="81621"/>
                  </a:lnTo>
                  <a:lnTo>
                    <a:pt x="43888" y="80533"/>
                  </a:lnTo>
                  <a:lnTo>
                    <a:pt x="43888" y="79889"/>
                  </a:lnTo>
                  <a:lnTo>
                    <a:pt x="43374" y="79267"/>
                  </a:lnTo>
                  <a:lnTo>
                    <a:pt x="42551" y="79334"/>
                  </a:lnTo>
                  <a:lnTo>
                    <a:pt x="41162" y="80200"/>
                  </a:lnTo>
                  <a:lnTo>
                    <a:pt x="39450" y="80945"/>
                  </a:lnTo>
                  <a:lnTo>
                    <a:pt x="39152" y="81487"/>
                  </a:lnTo>
                  <a:lnTo>
                    <a:pt x="39770" y="82777"/>
                  </a:lnTo>
                  <a:lnTo>
                    <a:pt x="40213" y="83595"/>
                  </a:lnTo>
                  <a:lnTo>
                    <a:pt x="40012" y="84371"/>
                  </a:lnTo>
                  <a:lnTo>
                    <a:pt x="39470" y="85357"/>
                  </a:lnTo>
                  <a:lnTo>
                    <a:pt x="36177" y="87531"/>
                  </a:lnTo>
                  <a:lnTo>
                    <a:pt x="35807" y="88294"/>
                  </a:lnTo>
                  <a:lnTo>
                    <a:pt x="36436" y="89512"/>
                  </a:lnTo>
                  <a:lnTo>
                    <a:pt x="36038" y="90078"/>
                  </a:lnTo>
                  <a:lnTo>
                    <a:pt x="33285" y="90880"/>
                  </a:lnTo>
                  <a:lnTo>
                    <a:pt x="33359" y="90215"/>
                  </a:lnTo>
                  <a:lnTo>
                    <a:pt x="33188" y="89142"/>
                  </a:lnTo>
                  <a:lnTo>
                    <a:pt x="31607" y="88002"/>
                  </a:lnTo>
                  <a:lnTo>
                    <a:pt x="29383" y="87117"/>
                  </a:lnTo>
                  <a:lnTo>
                    <a:pt x="24434" y="84084"/>
                  </a:lnTo>
                  <a:lnTo>
                    <a:pt x="22531" y="83685"/>
                  </a:lnTo>
                  <a:lnTo>
                    <a:pt x="20832" y="83330"/>
                  </a:lnTo>
                  <a:lnTo>
                    <a:pt x="18396" y="81875"/>
                  </a:lnTo>
                  <a:lnTo>
                    <a:pt x="17146" y="81621"/>
                  </a:lnTo>
                  <a:lnTo>
                    <a:pt x="15756" y="80579"/>
                  </a:lnTo>
                  <a:lnTo>
                    <a:pt x="12728" y="77071"/>
                  </a:lnTo>
                  <a:lnTo>
                    <a:pt x="10154" y="75157"/>
                  </a:lnTo>
                  <a:lnTo>
                    <a:pt x="8396" y="74189"/>
                  </a:lnTo>
                  <a:lnTo>
                    <a:pt x="7904" y="73245"/>
                  </a:lnTo>
                  <a:lnTo>
                    <a:pt x="7796" y="72274"/>
                  </a:lnTo>
                  <a:lnTo>
                    <a:pt x="7856" y="71944"/>
                  </a:lnTo>
                  <a:lnTo>
                    <a:pt x="9187" y="70568"/>
                  </a:lnTo>
                  <a:lnTo>
                    <a:pt x="10210" y="70368"/>
                  </a:lnTo>
                  <a:lnTo>
                    <a:pt x="11527" y="70323"/>
                  </a:lnTo>
                  <a:lnTo>
                    <a:pt x="12395" y="71021"/>
                  </a:lnTo>
                  <a:lnTo>
                    <a:pt x="13537" y="71169"/>
                  </a:lnTo>
                  <a:lnTo>
                    <a:pt x="14173" y="70277"/>
                  </a:lnTo>
                  <a:lnTo>
                    <a:pt x="14507" y="68991"/>
                  </a:lnTo>
                  <a:lnTo>
                    <a:pt x="14354" y="67354"/>
                  </a:lnTo>
                  <a:lnTo>
                    <a:pt x="11609" y="63541"/>
                  </a:lnTo>
                  <a:lnTo>
                    <a:pt x="9247" y="60878"/>
                  </a:lnTo>
                  <a:lnTo>
                    <a:pt x="8977" y="60290"/>
                  </a:lnTo>
                  <a:lnTo>
                    <a:pt x="9487" y="59792"/>
                  </a:lnTo>
                  <a:lnTo>
                    <a:pt x="10309" y="59524"/>
                  </a:lnTo>
                  <a:lnTo>
                    <a:pt x="11193" y="59747"/>
                  </a:lnTo>
                  <a:lnTo>
                    <a:pt x="13497" y="59939"/>
                  </a:lnTo>
                  <a:lnTo>
                    <a:pt x="15710" y="59693"/>
                  </a:lnTo>
                  <a:lnTo>
                    <a:pt x="16466" y="59044"/>
                  </a:lnTo>
                  <a:lnTo>
                    <a:pt x="16468" y="58168"/>
                  </a:lnTo>
                  <a:lnTo>
                    <a:pt x="15658" y="57355"/>
                  </a:lnTo>
                  <a:lnTo>
                    <a:pt x="13071" y="55160"/>
                  </a:lnTo>
                  <a:lnTo>
                    <a:pt x="11052" y="53226"/>
                  </a:lnTo>
                  <a:lnTo>
                    <a:pt x="8679" y="51742"/>
                  </a:lnTo>
                  <a:lnTo>
                    <a:pt x="6917" y="51145"/>
                  </a:lnTo>
                  <a:lnTo>
                    <a:pt x="6396" y="50392"/>
                  </a:lnTo>
                  <a:lnTo>
                    <a:pt x="6179" y="49586"/>
                  </a:lnTo>
                  <a:lnTo>
                    <a:pt x="6375" y="48103"/>
                  </a:lnTo>
                  <a:lnTo>
                    <a:pt x="6487" y="46221"/>
                  </a:lnTo>
                  <a:lnTo>
                    <a:pt x="6906" y="45037"/>
                  </a:lnTo>
                  <a:lnTo>
                    <a:pt x="8493" y="42799"/>
                  </a:lnTo>
                  <a:lnTo>
                    <a:pt x="10014" y="40424"/>
                  </a:lnTo>
                  <a:lnTo>
                    <a:pt x="10955" y="38137"/>
                  </a:lnTo>
                  <a:lnTo>
                    <a:pt x="11450" y="36012"/>
                  </a:lnTo>
                  <a:lnTo>
                    <a:pt x="11268" y="35402"/>
                  </a:lnTo>
                  <a:lnTo>
                    <a:pt x="10473" y="34950"/>
                  </a:lnTo>
                  <a:lnTo>
                    <a:pt x="8795" y="34491"/>
                  </a:lnTo>
                  <a:lnTo>
                    <a:pt x="6468" y="34891"/>
                  </a:lnTo>
                  <a:lnTo>
                    <a:pt x="4490" y="35663"/>
                  </a:lnTo>
                  <a:lnTo>
                    <a:pt x="3717" y="35722"/>
                  </a:lnTo>
                  <a:lnTo>
                    <a:pt x="3460" y="34771"/>
                  </a:lnTo>
                  <a:lnTo>
                    <a:pt x="3771" y="34352"/>
                  </a:lnTo>
                  <a:lnTo>
                    <a:pt x="4390" y="34402"/>
                  </a:lnTo>
                  <a:lnTo>
                    <a:pt x="4898" y="34581"/>
                  </a:lnTo>
                  <a:lnTo>
                    <a:pt x="5444" y="34150"/>
                  </a:lnTo>
                  <a:lnTo>
                    <a:pt x="5770" y="32866"/>
                  </a:lnTo>
                  <a:lnTo>
                    <a:pt x="4950" y="28396"/>
                  </a:lnTo>
                  <a:lnTo>
                    <a:pt x="6427" y="27999"/>
                  </a:lnTo>
                  <a:lnTo>
                    <a:pt x="6451" y="27348"/>
                  </a:lnTo>
                  <a:lnTo>
                    <a:pt x="6587" y="26780"/>
                  </a:lnTo>
                  <a:lnTo>
                    <a:pt x="8113" y="27559"/>
                  </a:lnTo>
                  <a:lnTo>
                    <a:pt x="10260" y="27573"/>
                  </a:lnTo>
                  <a:lnTo>
                    <a:pt x="12141" y="27416"/>
                  </a:lnTo>
                  <a:lnTo>
                    <a:pt x="12425" y="26976"/>
                  </a:lnTo>
                  <a:lnTo>
                    <a:pt x="12404" y="26335"/>
                  </a:lnTo>
                  <a:lnTo>
                    <a:pt x="12013" y="25839"/>
                  </a:lnTo>
                  <a:lnTo>
                    <a:pt x="11348" y="25433"/>
                  </a:lnTo>
                  <a:lnTo>
                    <a:pt x="10862" y="24812"/>
                  </a:lnTo>
                  <a:lnTo>
                    <a:pt x="9592" y="24541"/>
                  </a:lnTo>
                  <a:lnTo>
                    <a:pt x="5617" y="22925"/>
                  </a:lnTo>
                  <a:lnTo>
                    <a:pt x="3663" y="21207"/>
                  </a:lnTo>
                  <a:lnTo>
                    <a:pt x="3728" y="19387"/>
                  </a:lnTo>
                  <a:lnTo>
                    <a:pt x="4295" y="18388"/>
                  </a:lnTo>
                  <a:lnTo>
                    <a:pt x="4980" y="18036"/>
                  </a:lnTo>
                  <a:lnTo>
                    <a:pt x="4777" y="17699"/>
                  </a:lnTo>
                  <a:lnTo>
                    <a:pt x="2535" y="16854"/>
                  </a:lnTo>
                  <a:lnTo>
                    <a:pt x="1743" y="15677"/>
                  </a:lnTo>
                  <a:lnTo>
                    <a:pt x="2393" y="14164"/>
                  </a:lnTo>
                  <a:lnTo>
                    <a:pt x="1227" y="11100"/>
                  </a:lnTo>
                  <a:lnTo>
                    <a:pt x="0" y="9209"/>
                  </a:lnTo>
                  <a:lnTo>
                    <a:pt x="1205" y="8387"/>
                  </a:lnTo>
                  <a:lnTo>
                    <a:pt x="1372" y="7226"/>
                  </a:lnTo>
                  <a:lnTo>
                    <a:pt x="1467" y="6561"/>
                  </a:lnTo>
                  <a:lnTo>
                    <a:pt x="1963" y="6570"/>
                  </a:lnTo>
                  <a:lnTo>
                    <a:pt x="3907" y="5789"/>
                  </a:lnTo>
                  <a:lnTo>
                    <a:pt x="4613" y="5155"/>
                  </a:lnTo>
                  <a:lnTo>
                    <a:pt x="5023" y="4413"/>
                  </a:lnTo>
                  <a:lnTo>
                    <a:pt x="5489" y="4230"/>
                  </a:lnTo>
                  <a:lnTo>
                    <a:pt x="6794" y="5035"/>
                  </a:lnTo>
                  <a:lnTo>
                    <a:pt x="8167" y="5106"/>
                  </a:lnTo>
                  <a:lnTo>
                    <a:pt x="9709" y="4597"/>
                  </a:lnTo>
                  <a:lnTo>
                    <a:pt x="10862" y="3889"/>
                  </a:lnTo>
                  <a:lnTo>
                    <a:pt x="12246" y="3301"/>
                  </a:lnTo>
                  <a:lnTo>
                    <a:pt x="12875" y="2896"/>
                  </a:lnTo>
                  <a:lnTo>
                    <a:pt x="13676" y="2263"/>
                  </a:lnTo>
                  <a:lnTo>
                    <a:pt x="15295" y="388"/>
                  </a:lnTo>
                  <a:lnTo>
                    <a:pt x="17124" y="0"/>
                  </a:lnTo>
                  <a:close/>
                </a:path>
              </a:pathLst>
            </a:custGeom>
            <a:solidFill>
              <a:srgbClr val="92D050"/>
            </a:solidFill>
            <a:ln w="3175" cap="rnd" cmpd="sng" algn="ctr">
              <a:solidFill>
                <a:srgbClr val="494949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ee4p_SK_1_37764">
              <a:extLst>
                <a:ext uri="{FF2B5EF4-FFF2-40B4-BE49-F238E27FC236}">
                  <a16:creationId xmlns:a16="http://schemas.microsoft.com/office/drawing/2014/main" id="{4C9C7FE0-EDB8-43B0-8447-F025C7FE7F6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11930041" y="9380781"/>
              <a:ext cx="1181431" cy="490930"/>
            </a:xfrm>
            <a:custGeom>
              <a:avLst/>
              <a:gdLst/>
              <a:ahLst/>
              <a:cxnLst/>
              <a:rect l="0" t="0" r="0" b="0"/>
              <a:pathLst>
                <a:path w="125509" h="52154">
                  <a:moveTo>
                    <a:pt x="125508" y="15038"/>
                  </a:moveTo>
                  <a:lnTo>
                    <a:pt x="125186" y="16218"/>
                  </a:lnTo>
                  <a:lnTo>
                    <a:pt x="124281" y="17591"/>
                  </a:lnTo>
                  <a:lnTo>
                    <a:pt x="123150" y="19009"/>
                  </a:lnTo>
                  <a:lnTo>
                    <a:pt x="122208" y="20721"/>
                  </a:lnTo>
                  <a:lnTo>
                    <a:pt x="120951" y="24378"/>
                  </a:lnTo>
                  <a:lnTo>
                    <a:pt x="120124" y="26062"/>
                  </a:lnTo>
                  <a:lnTo>
                    <a:pt x="116756" y="29396"/>
                  </a:lnTo>
                  <a:lnTo>
                    <a:pt x="116512" y="34025"/>
                  </a:lnTo>
                  <a:lnTo>
                    <a:pt x="116058" y="34364"/>
                  </a:lnTo>
                  <a:lnTo>
                    <a:pt x="108444" y="35930"/>
                  </a:lnTo>
                  <a:lnTo>
                    <a:pt x="107438" y="35690"/>
                  </a:lnTo>
                  <a:lnTo>
                    <a:pt x="106401" y="34789"/>
                  </a:lnTo>
                  <a:lnTo>
                    <a:pt x="105827" y="34134"/>
                  </a:lnTo>
                  <a:lnTo>
                    <a:pt x="105471" y="33651"/>
                  </a:lnTo>
                  <a:lnTo>
                    <a:pt x="104810" y="32371"/>
                  </a:lnTo>
                  <a:lnTo>
                    <a:pt x="103938" y="31462"/>
                  </a:lnTo>
                  <a:lnTo>
                    <a:pt x="102644" y="30720"/>
                  </a:lnTo>
                  <a:lnTo>
                    <a:pt x="101465" y="29857"/>
                  </a:lnTo>
                  <a:lnTo>
                    <a:pt x="99940" y="29823"/>
                  </a:lnTo>
                  <a:lnTo>
                    <a:pt x="95827" y="31039"/>
                  </a:lnTo>
                  <a:lnTo>
                    <a:pt x="92972" y="31172"/>
                  </a:lnTo>
                  <a:lnTo>
                    <a:pt x="91067" y="30782"/>
                  </a:lnTo>
                  <a:lnTo>
                    <a:pt x="88535" y="30045"/>
                  </a:lnTo>
                  <a:lnTo>
                    <a:pt x="83594" y="29929"/>
                  </a:lnTo>
                  <a:lnTo>
                    <a:pt x="80208" y="30577"/>
                  </a:lnTo>
                  <a:lnTo>
                    <a:pt x="79875" y="31479"/>
                  </a:lnTo>
                  <a:lnTo>
                    <a:pt x="76753" y="37134"/>
                  </a:lnTo>
                  <a:lnTo>
                    <a:pt x="72216" y="39215"/>
                  </a:lnTo>
                  <a:lnTo>
                    <a:pt x="68275" y="41347"/>
                  </a:lnTo>
                  <a:lnTo>
                    <a:pt x="67131" y="41778"/>
                  </a:lnTo>
                  <a:lnTo>
                    <a:pt x="65172" y="41109"/>
                  </a:lnTo>
                  <a:lnTo>
                    <a:pt x="62942" y="39843"/>
                  </a:lnTo>
                  <a:lnTo>
                    <a:pt x="61089" y="39185"/>
                  </a:lnTo>
                  <a:lnTo>
                    <a:pt x="59737" y="39475"/>
                  </a:lnTo>
                  <a:lnTo>
                    <a:pt x="58260" y="40909"/>
                  </a:lnTo>
                  <a:lnTo>
                    <a:pt x="57586" y="42362"/>
                  </a:lnTo>
                  <a:lnTo>
                    <a:pt x="53123" y="43425"/>
                  </a:lnTo>
                  <a:lnTo>
                    <a:pt x="45362" y="44053"/>
                  </a:lnTo>
                  <a:lnTo>
                    <a:pt x="42658" y="45479"/>
                  </a:lnTo>
                  <a:lnTo>
                    <a:pt x="41734" y="47195"/>
                  </a:lnTo>
                  <a:lnTo>
                    <a:pt x="41695" y="48514"/>
                  </a:lnTo>
                  <a:lnTo>
                    <a:pt x="42352" y="49635"/>
                  </a:lnTo>
                  <a:lnTo>
                    <a:pt x="41525" y="50941"/>
                  </a:lnTo>
                  <a:lnTo>
                    <a:pt x="41162" y="51486"/>
                  </a:lnTo>
                  <a:lnTo>
                    <a:pt x="35679" y="51772"/>
                  </a:lnTo>
                  <a:lnTo>
                    <a:pt x="28368" y="52153"/>
                  </a:lnTo>
                  <a:lnTo>
                    <a:pt x="23997" y="52056"/>
                  </a:lnTo>
                  <a:lnTo>
                    <a:pt x="19883" y="51964"/>
                  </a:lnTo>
                  <a:lnTo>
                    <a:pt x="17083" y="50845"/>
                  </a:lnTo>
                  <a:lnTo>
                    <a:pt x="13664" y="48657"/>
                  </a:lnTo>
                  <a:lnTo>
                    <a:pt x="10052" y="45743"/>
                  </a:lnTo>
                  <a:lnTo>
                    <a:pt x="9704" y="45675"/>
                  </a:lnTo>
                  <a:lnTo>
                    <a:pt x="9167" y="45365"/>
                  </a:lnTo>
                  <a:lnTo>
                    <a:pt x="6897" y="45147"/>
                  </a:lnTo>
                  <a:lnTo>
                    <a:pt x="6294" y="45319"/>
                  </a:lnTo>
                  <a:lnTo>
                    <a:pt x="4936" y="44371"/>
                  </a:lnTo>
                  <a:lnTo>
                    <a:pt x="4537" y="43137"/>
                  </a:lnTo>
                  <a:lnTo>
                    <a:pt x="2431" y="39892"/>
                  </a:lnTo>
                  <a:lnTo>
                    <a:pt x="60" y="34547"/>
                  </a:lnTo>
                  <a:lnTo>
                    <a:pt x="0" y="33002"/>
                  </a:lnTo>
                  <a:lnTo>
                    <a:pt x="924" y="31241"/>
                  </a:lnTo>
                  <a:lnTo>
                    <a:pt x="1783" y="29895"/>
                  </a:lnTo>
                  <a:lnTo>
                    <a:pt x="1904" y="28826"/>
                  </a:lnTo>
                  <a:lnTo>
                    <a:pt x="2000" y="28535"/>
                  </a:lnTo>
                  <a:lnTo>
                    <a:pt x="2710" y="26316"/>
                  </a:lnTo>
                  <a:lnTo>
                    <a:pt x="4435" y="23362"/>
                  </a:lnTo>
                  <a:lnTo>
                    <a:pt x="6035" y="21645"/>
                  </a:lnTo>
                  <a:lnTo>
                    <a:pt x="7203" y="21078"/>
                  </a:lnTo>
                  <a:lnTo>
                    <a:pt x="9600" y="21595"/>
                  </a:lnTo>
                  <a:lnTo>
                    <a:pt x="13708" y="22023"/>
                  </a:lnTo>
                  <a:lnTo>
                    <a:pt x="16865" y="21622"/>
                  </a:lnTo>
                  <a:lnTo>
                    <a:pt x="19808" y="20304"/>
                  </a:lnTo>
                  <a:lnTo>
                    <a:pt x="21408" y="19150"/>
                  </a:lnTo>
                  <a:lnTo>
                    <a:pt x="22775" y="17937"/>
                  </a:lnTo>
                  <a:lnTo>
                    <a:pt x="23230" y="17150"/>
                  </a:lnTo>
                  <a:lnTo>
                    <a:pt x="23837" y="16772"/>
                  </a:lnTo>
                  <a:lnTo>
                    <a:pt x="26273" y="16071"/>
                  </a:lnTo>
                  <a:lnTo>
                    <a:pt x="27048" y="15254"/>
                  </a:lnTo>
                  <a:lnTo>
                    <a:pt x="27368" y="13706"/>
                  </a:lnTo>
                  <a:lnTo>
                    <a:pt x="27579" y="11978"/>
                  </a:lnTo>
                  <a:lnTo>
                    <a:pt x="28081" y="10698"/>
                  </a:lnTo>
                  <a:lnTo>
                    <a:pt x="28707" y="9759"/>
                  </a:lnTo>
                  <a:lnTo>
                    <a:pt x="33215" y="7501"/>
                  </a:lnTo>
                  <a:lnTo>
                    <a:pt x="33619" y="6708"/>
                  </a:lnTo>
                  <a:lnTo>
                    <a:pt x="34343" y="5934"/>
                  </a:lnTo>
                  <a:lnTo>
                    <a:pt x="35675" y="5069"/>
                  </a:lnTo>
                  <a:lnTo>
                    <a:pt x="36968" y="3819"/>
                  </a:lnTo>
                  <a:lnTo>
                    <a:pt x="38338" y="3051"/>
                  </a:lnTo>
                  <a:lnTo>
                    <a:pt x="40100" y="3137"/>
                  </a:lnTo>
                  <a:lnTo>
                    <a:pt x="41725" y="2978"/>
                  </a:lnTo>
                  <a:lnTo>
                    <a:pt x="42993" y="2541"/>
                  </a:lnTo>
                  <a:lnTo>
                    <a:pt x="43550" y="2496"/>
                  </a:lnTo>
                  <a:lnTo>
                    <a:pt x="45893" y="2855"/>
                  </a:lnTo>
                  <a:lnTo>
                    <a:pt x="46314" y="4290"/>
                  </a:lnTo>
                  <a:lnTo>
                    <a:pt x="46560" y="5782"/>
                  </a:lnTo>
                  <a:lnTo>
                    <a:pt x="50564" y="5674"/>
                  </a:lnTo>
                  <a:lnTo>
                    <a:pt x="52793" y="2478"/>
                  </a:lnTo>
                  <a:lnTo>
                    <a:pt x="53946" y="2092"/>
                  </a:lnTo>
                  <a:lnTo>
                    <a:pt x="55801" y="979"/>
                  </a:lnTo>
                  <a:lnTo>
                    <a:pt x="57025" y="0"/>
                  </a:lnTo>
                  <a:lnTo>
                    <a:pt x="57867" y="613"/>
                  </a:lnTo>
                  <a:lnTo>
                    <a:pt x="59085" y="2669"/>
                  </a:lnTo>
                  <a:lnTo>
                    <a:pt x="60374" y="4323"/>
                  </a:lnTo>
                  <a:lnTo>
                    <a:pt x="61117" y="4976"/>
                  </a:lnTo>
                  <a:lnTo>
                    <a:pt x="61197" y="5484"/>
                  </a:lnTo>
                  <a:lnTo>
                    <a:pt x="61946" y="5788"/>
                  </a:lnTo>
                  <a:lnTo>
                    <a:pt x="63404" y="5972"/>
                  </a:lnTo>
                  <a:lnTo>
                    <a:pt x="64373" y="6472"/>
                  </a:lnTo>
                  <a:lnTo>
                    <a:pt x="64663" y="8008"/>
                  </a:lnTo>
                  <a:lnTo>
                    <a:pt x="64684" y="9399"/>
                  </a:lnTo>
                  <a:lnTo>
                    <a:pt x="64229" y="10393"/>
                  </a:lnTo>
                  <a:lnTo>
                    <a:pt x="63991" y="11275"/>
                  </a:lnTo>
                  <a:lnTo>
                    <a:pt x="65000" y="11620"/>
                  </a:lnTo>
                  <a:lnTo>
                    <a:pt x="66474" y="11286"/>
                  </a:lnTo>
                  <a:lnTo>
                    <a:pt x="67517" y="10789"/>
                  </a:lnTo>
                  <a:lnTo>
                    <a:pt x="70646" y="11935"/>
                  </a:lnTo>
                  <a:lnTo>
                    <a:pt x="71752" y="9376"/>
                  </a:lnTo>
                  <a:lnTo>
                    <a:pt x="72991" y="8069"/>
                  </a:lnTo>
                  <a:lnTo>
                    <a:pt x="74602" y="7461"/>
                  </a:lnTo>
                  <a:lnTo>
                    <a:pt x="76062" y="6662"/>
                  </a:lnTo>
                  <a:lnTo>
                    <a:pt x="77399" y="6097"/>
                  </a:lnTo>
                  <a:lnTo>
                    <a:pt x="78321" y="6130"/>
                  </a:lnTo>
                  <a:lnTo>
                    <a:pt x="78718" y="5894"/>
                  </a:lnTo>
                  <a:lnTo>
                    <a:pt x="79865" y="5955"/>
                  </a:lnTo>
                  <a:lnTo>
                    <a:pt x="81193" y="6213"/>
                  </a:lnTo>
                  <a:lnTo>
                    <a:pt x="82996" y="5912"/>
                  </a:lnTo>
                  <a:lnTo>
                    <a:pt x="85492" y="6536"/>
                  </a:lnTo>
                  <a:lnTo>
                    <a:pt x="87051" y="7718"/>
                  </a:lnTo>
                  <a:lnTo>
                    <a:pt x="88576" y="8118"/>
                  </a:lnTo>
                  <a:lnTo>
                    <a:pt x="90318" y="8049"/>
                  </a:lnTo>
                  <a:lnTo>
                    <a:pt x="91510" y="7398"/>
                  </a:lnTo>
                  <a:lnTo>
                    <a:pt x="93240" y="5150"/>
                  </a:lnTo>
                  <a:lnTo>
                    <a:pt x="94495" y="5186"/>
                  </a:lnTo>
                  <a:lnTo>
                    <a:pt x="96460" y="4830"/>
                  </a:lnTo>
                  <a:lnTo>
                    <a:pt x="99234" y="4850"/>
                  </a:lnTo>
                  <a:lnTo>
                    <a:pt x="105628" y="5331"/>
                  </a:lnTo>
                  <a:lnTo>
                    <a:pt x="107231" y="6192"/>
                  </a:lnTo>
                  <a:lnTo>
                    <a:pt x="111167" y="7294"/>
                  </a:lnTo>
                  <a:lnTo>
                    <a:pt x="112882" y="8565"/>
                  </a:lnTo>
                  <a:lnTo>
                    <a:pt x="113644" y="10082"/>
                  </a:lnTo>
                  <a:lnTo>
                    <a:pt x="114041" y="11128"/>
                  </a:lnTo>
                  <a:lnTo>
                    <a:pt x="118075" y="12738"/>
                  </a:lnTo>
                  <a:lnTo>
                    <a:pt x="124056" y="14793"/>
                  </a:lnTo>
                  <a:close/>
                </a:path>
              </a:pathLst>
            </a:custGeom>
            <a:solidFill>
              <a:srgbClr val="92D050"/>
            </a:solidFill>
            <a:ln w="3175" cap="rnd" cmpd="sng" algn="ctr">
              <a:solidFill>
                <a:srgbClr val="494949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ee4p_SI_1_37764">
              <a:extLst>
                <a:ext uri="{FF2B5EF4-FFF2-40B4-BE49-F238E27FC236}">
                  <a16:creationId xmlns:a16="http://schemas.microsoft.com/office/drawing/2014/main" id="{9FD5B9F1-21EA-4C7F-884C-BAB82B38153D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11204771" y="10108989"/>
              <a:ext cx="653157" cy="373587"/>
            </a:xfrm>
            <a:custGeom>
              <a:avLst/>
              <a:gdLst/>
              <a:ahLst/>
              <a:cxnLst/>
              <a:rect l="0" t="0" r="0" b="0"/>
              <a:pathLst>
                <a:path w="69388" h="39688">
                  <a:moveTo>
                    <a:pt x="69387" y="10107"/>
                  </a:moveTo>
                  <a:lnTo>
                    <a:pt x="67429" y="9427"/>
                  </a:lnTo>
                  <a:lnTo>
                    <a:pt x="65075" y="9143"/>
                  </a:lnTo>
                  <a:lnTo>
                    <a:pt x="64632" y="9511"/>
                  </a:lnTo>
                  <a:lnTo>
                    <a:pt x="63686" y="9885"/>
                  </a:lnTo>
                  <a:lnTo>
                    <a:pt x="63207" y="10553"/>
                  </a:lnTo>
                  <a:lnTo>
                    <a:pt x="63574" y="13181"/>
                  </a:lnTo>
                  <a:lnTo>
                    <a:pt x="63002" y="13632"/>
                  </a:lnTo>
                  <a:lnTo>
                    <a:pt x="60326" y="13372"/>
                  </a:lnTo>
                  <a:lnTo>
                    <a:pt x="59443" y="13674"/>
                  </a:lnTo>
                  <a:lnTo>
                    <a:pt x="57988" y="15502"/>
                  </a:lnTo>
                  <a:lnTo>
                    <a:pt x="56498" y="16270"/>
                  </a:lnTo>
                  <a:lnTo>
                    <a:pt x="54602" y="16818"/>
                  </a:lnTo>
                  <a:lnTo>
                    <a:pt x="53203" y="17479"/>
                  </a:lnTo>
                  <a:lnTo>
                    <a:pt x="51432" y="18053"/>
                  </a:lnTo>
                  <a:lnTo>
                    <a:pt x="49922" y="18399"/>
                  </a:lnTo>
                  <a:lnTo>
                    <a:pt x="49327" y="19197"/>
                  </a:lnTo>
                  <a:lnTo>
                    <a:pt x="48964" y="20080"/>
                  </a:lnTo>
                  <a:lnTo>
                    <a:pt x="49059" y="20930"/>
                  </a:lnTo>
                  <a:lnTo>
                    <a:pt x="50592" y="22609"/>
                  </a:lnTo>
                  <a:lnTo>
                    <a:pt x="50799" y="24399"/>
                  </a:lnTo>
                  <a:lnTo>
                    <a:pt x="50633" y="26586"/>
                  </a:lnTo>
                  <a:lnTo>
                    <a:pt x="50281" y="27752"/>
                  </a:lnTo>
                  <a:lnTo>
                    <a:pt x="49676" y="28527"/>
                  </a:lnTo>
                  <a:lnTo>
                    <a:pt x="45902" y="29532"/>
                  </a:lnTo>
                  <a:lnTo>
                    <a:pt x="41987" y="31322"/>
                  </a:lnTo>
                  <a:lnTo>
                    <a:pt x="41896" y="31732"/>
                  </a:lnTo>
                  <a:lnTo>
                    <a:pt x="43682" y="33323"/>
                  </a:lnTo>
                  <a:lnTo>
                    <a:pt x="43753" y="33720"/>
                  </a:lnTo>
                  <a:lnTo>
                    <a:pt x="42276" y="34624"/>
                  </a:lnTo>
                  <a:lnTo>
                    <a:pt x="42131" y="35530"/>
                  </a:lnTo>
                  <a:lnTo>
                    <a:pt x="42300" y="36578"/>
                  </a:lnTo>
                  <a:lnTo>
                    <a:pt x="43084" y="37657"/>
                  </a:lnTo>
                  <a:lnTo>
                    <a:pt x="43367" y="38625"/>
                  </a:lnTo>
                  <a:lnTo>
                    <a:pt x="41214" y="39329"/>
                  </a:lnTo>
                  <a:lnTo>
                    <a:pt x="38303" y="39072"/>
                  </a:lnTo>
                  <a:lnTo>
                    <a:pt x="34857" y="37723"/>
                  </a:lnTo>
                  <a:lnTo>
                    <a:pt x="33649" y="37921"/>
                  </a:lnTo>
                  <a:lnTo>
                    <a:pt x="32479" y="38617"/>
                  </a:lnTo>
                  <a:lnTo>
                    <a:pt x="31285" y="38318"/>
                  </a:lnTo>
                  <a:lnTo>
                    <a:pt x="29970" y="37487"/>
                  </a:lnTo>
                  <a:lnTo>
                    <a:pt x="28111" y="35756"/>
                  </a:lnTo>
                  <a:lnTo>
                    <a:pt x="27206" y="34693"/>
                  </a:lnTo>
                  <a:lnTo>
                    <a:pt x="26834" y="33561"/>
                  </a:lnTo>
                  <a:lnTo>
                    <a:pt x="26327" y="33397"/>
                  </a:lnTo>
                  <a:lnTo>
                    <a:pt x="25556" y="33726"/>
                  </a:lnTo>
                  <a:lnTo>
                    <a:pt x="24919" y="35103"/>
                  </a:lnTo>
                  <a:lnTo>
                    <a:pt x="23198" y="37562"/>
                  </a:lnTo>
                  <a:lnTo>
                    <a:pt x="21928" y="38230"/>
                  </a:lnTo>
                  <a:lnTo>
                    <a:pt x="20006" y="38088"/>
                  </a:lnTo>
                  <a:lnTo>
                    <a:pt x="17314" y="38128"/>
                  </a:lnTo>
                  <a:lnTo>
                    <a:pt x="15640" y="38329"/>
                  </a:lnTo>
                  <a:lnTo>
                    <a:pt x="13589" y="37461"/>
                  </a:lnTo>
                  <a:lnTo>
                    <a:pt x="13092" y="37628"/>
                  </a:lnTo>
                  <a:lnTo>
                    <a:pt x="13088" y="38198"/>
                  </a:lnTo>
                  <a:lnTo>
                    <a:pt x="12325" y="39098"/>
                  </a:lnTo>
                  <a:lnTo>
                    <a:pt x="11067" y="39687"/>
                  </a:lnTo>
                  <a:lnTo>
                    <a:pt x="5241" y="38359"/>
                  </a:lnTo>
                  <a:lnTo>
                    <a:pt x="4416" y="37256"/>
                  </a:lnTo>
                  <a:lnTo>
                    <a:pt x="5729" y="36732"/>
                  </a:lnTo>
                  <a:lnTo>
                    <a:pt x="7553" y="35312"/>
                  </a:lnTo>
                  <a:lnTo>
                    <a:pt x="8795" y="35467"/>
                  </a:lnTo>
                  <a:lnTo>
                    <a:pt x="10315" y="35167"/>
                  </a:lnTo>
                  <a:lnTo>
                    <a:pt x="10978" y="34563"/>
                  </a:lnTo>
                  <a:lnTo>
                    <a:pt x="10015" y="32759"/>
                  </a:lnTo>
                  <a:lnTo>
                    <a:pt x="7594" y="30532"/>
                  </a:lnTo>
                  <a:lnTo>
                    <a:pt x="6307" y="29686"/>
                  </a:lnTo>
                  <a:lnTo>
                    <a:pt x="4536" y="29125"/>
                  </a:lnTo>
                  <a:lnTo>
                    <a:pt x="4232" y="28525"/>
                  </a:lnTo>
                  <a:lnTo>
                    <a:pt x="5212" y="25007"/>
                  </a:lnTo>
                  <a:lnTo>
                    <a:pt x="4917" y="24507"/>
                  </a:lnTo>
                  <a:lnTo>
                    <a:pt x="2895" y="24672"/>
                  </a:lnTo>
                  <a:lnTo>
                    <a:pt x="2420" y="24304"/>
                  </a:lnTo>
                  <a:lnTo>
                    <a:pt x="2256" y="23694"/>
                  </a:lnTo>
                  <a:lnTo>
                    <a:pt x="2392" y="22856"/>
                  </a:lnTo>
                  <a:lnTo>
                    <a:pt x="3755" y="21486"/>
                  </a:lnTo>
                  <a:lnTo>
                    <a:pt x="5271" y="20270"/>
                  </a:lnTo>
                  <a:lnTo>
                    <a:pt x="5677" y="19588"/>
                  </a:lnTo>
                  <a:lnTo>
                    <a:pt x="5623" y="19055"/>
                  </a:lnTo>
                  <a:lnTo>
                    <a:pt x="3681" y="18514"/>
                  </a:lnTo>
                  <a:lnTo>
                    <a:pt x="2511" y="17960"/>
                  </a:lnTo>
                  <a:lnTo>
                    <a:pt x="1583" y="17768"/>
                  </a:lnTo>
                  <a:lnTo>
                    <a:pt x="946" y="18079"/>
                  </a:lnTo>
                  <a:lnTo>
                    <a:pt x="473" y="17729"/>
                  </a:lnTo>
                  <a:lnTo>
                    <a:pt x="0" y="16714"/>
                  </a:lnTo>
                  <a:lnTo>
                    <a:pt x="470" y="15165"/>
                  </a:lnTo>
                  <a:lnTo>
                    <a:pt x="2218" y="13733"/>
                  </a:lnTo>
                  <a:lnTo>
                    <a:pt x="4092" y="12461"/>
                  </a:lnTo>
                  <a:lnTo>
                    <a:pt x="5724" y="11533"/>
                  </a:lnTo>
                  <a:lnTo>
                    <a:pt x="6666" y="11135"/>
                  </a:lnTo>
                  <a:lnTo>
                    <a:pt x="7115" y="9542"/>
                  </a:lnTo>
                  <a:lnTo>
                    <a:pt x="8087" y="9708"/>
                  </a:lnTo>
                  <a:lnTo>
                    <a:pt x="10019" y="9793"/>
                  </a:lnTo>
                  <a:lnTo>
                    <a:pt x="12174" y="10155"/>
                  </a:lnTo>
                  <a:lnTo>
                    <a:pt x="14183" y="10599"/>
                  </a:lnTo>
                  <a:lnTo>
                    <a:pt x="15949" y="11162"/>
                  </a:lnTo>
                  <a:lnTo>
                    <a:pt x="19659" y="11750"/>
                  </a:lnTo>
                  <a:lnTo>
                    <a:pt x="23034" y="12105"/>
                  </a:lnTo>
                  <a:lnTo>
                    <a:pt x="24051" y="12432"/>
                  </a:lnTo>
                  <a:lnTo>
                    <a:pt x="24882" y="12407"/>
                  </a:lnTo>
                  <a:lnTo>
                    <a:pt x="25906" y="12887"/>
                  </a:lnTo>
                  <a:lnTo>
                    <a:pt x="26511" y="12520"/>
                  </a:lnTo>
                  <a:lnTo>
                    <a:pt x="26949" y="11878"/>
                  </a:lnTo>
                  <a:lnTo>
                    <a:pt x="28789" y="11120"/>
                  </a:lnTo>
                  <a:lnTo>
                    <a:pt x="30482" y="10129"/>
                  </a:lnTo>
                  <a:lnTo>
                    <a:pt x="31672" y="8867"/>
                  </a:lnTo>
                  <a:lnTo>
                    <a:pt x="32337" y="7870"/>
                  </a:lnTo>
                  <a:lnTo>
                    <a:pt x="33501" y="7163"/>
                  </a:lnTo>
                  <a:lnTo>
                    <a:pt x="34742" y="6959"/>
                  </a:lnTo>
                  <a:lnTo>
                    <a:pt x="35876" y="6605"/>
                  </a:lnTo>
                  <a:lnTo>
                    <a:pt x="40659" y="6133"/>
                  </a:lnTo>
                  <a:lnTo>
                    <a:pt x="45573" y="6503"/>
                  </a:lnTo>
                  <a:lnTo>
                    <a:pt x="47919" y="5808"/>
                  </a:lnTo>
                  <a:lnTo>
                    <a:pt x="49849" y="4590"/>
                  </a:lnTo>
                  <a:lnTo>
                    <a:pt x="52671" y="4248"/>
                  </a:lnTo>
                  <a:lnTo>
                    <a:pt x="52818" y="4233"/>
                  </a:lnTo>
                  <a:lnTo>
                    <a:pt x="57036" y="5169"/>
                  </a:lnTo>
                  <a:lnTo>
                    <a:pt x="57360" y="4624"/>
                  </a:lnTo>
                  <a:lnTo>
                    <a:pt x="57541" y="4384"/>
                  </a:lnTo>
                  <a:lnTo>
                    <a:pt x="57461" y="1725"/>
                  </a:lnTo>
                  <a:lnTo>
                    <a:pt x="58796" y="514"/>
                  </a:lnTo>
                  <a:lnTo>
                    <a:pt x="60031" y="0"/>
                  </a:lnTo>
                  <a:lnTo>
                    <a:pt x="64244" y="168"/>
                  </a:lnTo>
                  <a:lnTo>
                    <a:pt x="64794" y="984"/>
                  </a:lnTo>
                  <a:lnTo>
                    <a:pt x="65015" y="2250"/>
                  </a:lnTo>
                  <a:lnTo>
                    <a:pt x="65390" y="3945"/>
                  </a:lnTo>
                  <a:lnTo>
                    <a:pt x="66092" y="4413"/>
                  </a:lnTo>
                  <a:lnTo>
                    <a:pt x="66476" y="5080"/>
                  </a:lnTo>
                  <a:lnTo>
                    <a:pt x="66403" y="6252"/>
                  </a:lnTo>
                  <a:lnTo>
                    <a:pt x="67226" y="7126"/>
                  </a:lnTo>
                  <a:lnTo>
                    <a:pt x="69154" y="9492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ee4p_SE_1_37764">
              <a:extLst>
                <a:ext uri="{FF2B5EF4-FFF2-40B4-BE49-F238E27FC236}">
                  <a16:creationId xmlns:a16="http://schemas.microsoft.com/office/drawing/2014/main" id="{CFB690B0-848E-4F6A-A927-1B5B45EEA74D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10740392" y="3333792"/>
              <a:ext cx="2707596" cy="4436313"/>
            </a:xfrm>
            <a:custGeom>
              <a:avLst/>
              <a:gdLst>
                <a:gd name="connsiteX0" fmla="*/ 129980 w 287641"/>
                <a:gd name="connsiteY0" fmla="*/ 408700 h 471291"/>
                <a:gd name="connsiteX1" fmla="*/ 131392 w 287641"/>
                <a:gd name="connsiteY1" fmla="*/ 409106 h 471291"/>
                <a:gd name="connsiteX2" fmla="*/ 132021 w 287641"/>
                <a:gd name="connsiteY2" fmla="*/ 409502 h 471291"/>
                <a:gd name="connsiteX3" fmla="*/ 130533 w 287641"/>
                <a:gd name="connsiteY3" fmla="*/ 410751 h 471291"/>
                <a:gd name="connsiteX4" fmla="*/ 130706 w 287641"/>
                <a:gd name="connsiteY4" fmla="*/ 412376 h 471291"/>
                <a:gd name="connsiteX5" fmla="*/ 130602 w 287641"/>
                <a:gd name="connsiteY5" fmla="*/ 413049 h 471291"/>
                <a:gd name="connsiteX6" fmla="*/ 126847 w 287641"/>
                <a:gd name="connsiteY6" fmla="*/ 420100 h 471291"/>
                <a:gd name="connsiteX7" fmla="*/ 125843 w 287641"/>
                <a:gd name="connsiteY7" fmla="*/ 424667 h 471291"/>
                <a:gd name="connsiteX8" fmla="*/ 124511 w 287641"/>
                <a:gd name="connsiteY8" fmla="*/ 425780 h 471291"/>
                <a:gd name="connsiteX9" fmla="*/ 118993 w 287641"/>
                <a:gd name="connsiteY9" fmla="*/ 441942 h 471291"/>
                <a:gd name="connsiteX10" fmla="*/ 117858 w 287641"/>
                <a:gd name="connsiteY10" fmla="*/ 443517 h 471291"/>
                <a:gd name="connsiteX11" fmla="*/ 116851 w 287641"/>
                <a:gd name="connsiteY11" fmla="*/ 443406 h 471291"/>
                <a:gd name="connsiteX12" fmla="*/ 116180 w 287641"/>
                <a:gd name="connsiteY12" fmla="*/ 441305 h 471291"/>
                <a:gd name="connsiteX13" fmla="*/ 116022 w 287641"/>
                <a:gd name="connsiteY13" fmla="*/ 435892 h 471291"/>
                <a:gd name="connsiteX14" fmla="*/ 116424 w 287641"/>
                <a:gd name="connsiteY14" fmla="*/ 433213 h 471291"/>
                <a:gd name="connsiteX15" fmla="*/ 121246 w 287641"/>
                <a:gd name="connsiteY15" fmla="*/ 423521 h 471291"/>
                <a:gd name="connsiteX16" fmla="*/ 123398 w 287641"/>
                <a:gd name="connsiteY16" fmla="*/ 422728 h 471291"/>
                <a:gd name="connsiteX17" fmla="*/ 126426 w 287641"/>
                <a:gd name="connsiteY17" fmla="*/ 416765 h 471291"/>
                <a:gd name="connsiteX18" fmla="*/ 127242 w 287641"/>
                <a:gd name="connsiteY18" fmla="*/ 414108 h 471291"/>
                <a:gd name="connsiteX19" fmla="*/ 128555 w 287641"/>
                <a:gd name="connsiteY19" fmla="*/ 411712 h 471291"/>
                <a:gd name="connsiteX20" fmla="*/ 129330 w 287641"/>
                <a:gd name="connsiteY20" fmla="*/ 409567 h 471291"/>
                <a:gd name="connsiteX21" fmla="*/ 171445 w 287641"/>
                <a:gd name="connsiteY21" fmla="*/ 390509 h 471291"/>
                <a:gd name="connsiteX22" fmla="*/ 172680 w 287641"/>
                <a:gd name="connsiteY22" fmla="*/ 391004 h 471291"/>
                <a:gd name="connsiteX23" fmla="*/ 175334 w 287641"/>
                <a:gd name="connsiteY23" fmla="*/ 393055 h 471291"/>
                <a:gd name="connsiteX24" fmla="*/ 173505 w 287641"/>
                <a:gd name="connsiteY24" fmla="*/ 393817 h 471291"/>
                <a:gd name="connsiteX25" fmla="*/ 172429 w 287641"/>
                <a:gd name="connsiteY25" fmla="*/ 396070 h 471291"/>
                <a:gd name="connsiteX26" fmla="*/ 170948 w 287641"/>
                <a:gd name="connsiteY26" fmla="*/ 396450 h 471291"/>
                <a:gd name="connsiteX27" fmla="*/ 169527 w 287641"/>
                <a:gd name="connsiteY27" fmla="*/ 397201 h 471291"/>
                <a:gd name="connsiteX28" fmla="*/ 169020 w 287641"/>
                <a:gd name="connsiteY28" fmla="*/ 404312 h 471291"/>
                <a:gd name="connsiteX29" fmla="*/ 171607 w 287641"/>
                <a:gd name="connsiteY29" fmla="*/ 407008 h 471291"/>
                <a:gd name="connsiteX30" fmla="*/ 170186 w 287641"/>
                <a:gd name="connsiteY30" fmla="*/ 407385 h 471291"/>
                <a:gd name="connsiteX31" fmla="*/ 168886 w 287641"/>
                <a:gd name="connsiteY31" fmla="*/ 408192 h 471291"/>
                <a:gd name="connsiteX32" fmla="*/ 167957 w 287641"/>
                <a:gd name="connsiteY32" fmla="*/ 409384 h 471291"/>
                <a:gd name="connsiteX33" fmla="*/ 167007 w 287641"/>
                <a:gd name="connsiteY33" fmla="*/ 411948 h 471291"/>
                <a:gd name="connsiteX34" fmla="*/ 163438 w 287641"/>
                <a:gd name="connsiteY34" fmla="*/ 413400 h 471291"/>
                <a:gd name="connsiteX35" fmla="*/ 162086 w 287641"/>
                <a:gd name="connsiteY35" fmla="*/ 414474 h 471291"/>
                <a:gd name="connsiteX36" fmla="*/ 160093 w 287641"/>
                <a:gd name="connsiteY36" fmla="*/ 416861 h 471291"/>
                <a:gd name="connsiteX37" fmla="*/ 159054 w 287641"/>
                <a:gd name="connsiteY37" fmla="*/ 420321 h 471291"/>
                <a:gd name="connsiteX38" fmla="*/ 157035 w 287641"/>
                <a:gd name="connsiteY38" fmla="*/ 421795 h 471291"/>
                <a:gd name="connsiteX39" fmla="*/ 154768 w 287641"/>
                <a:gd name="connsiteY39" fmla="*/ 422144 h 471291"/>
                <a:gd name="connsiteX40" fmla="*/ 156098 w 287641"/>
                <a:gd name="connsiteY40" fmla="*/ 419312 h 471291"/>
                <a:gd name="connsiteX41" fmla="*/ 157841 w 287641"/>
                <a:gd name="connsiteY41" fmla="*/ 417002 h 471291"/>
                <a:gd name="connsiteX42" fmla="*/ 156165 w 287641"/>
                <a:gd name="connsiteY42" fmla="*/ 415416 h 471291"/>
                <a:gd name="connsiteX43" fmla="*/ 155156 w 287641"/>
                <a:gd name="connsiteY43" fmla="*/ 412931 h 471291"/>
                <a:gd name="connsiteX44" fmla="*/ 153855 w 287641"/>
                <a:gd name="connsiteY44" fmla="*/ 411024 h 471291"/>
                <a:gd name="connsiteX45" fmla="*/ 154891 w 287641"/>
                <a:gd name="connsiteY45" fmla="*/ 408891 h 471291"/>
                <a:gd name="connsiteX46" fmla="*/ 154381 w 287641"/>
                <a:gd name="connsiteY46" fmla="*/ 405391 h 471291"/>
                <a:gd name="connsiteX47" fmla="*/ 154550 w 287641"/>
                <a:gd name="connsiteY47" fmla="*/ 401970 h 471291"/>
                <a:gd name="connsiteX48" fmla="*/ 156061 w 287641"/>
                <a:gd name="connsiteY48" fmla="*/ 400241 h 471291"/>
                <a:gd name="connsiteX49" fmla="*/ 157793 w 287641"/>
                <a:gd name="connsiteY49" fmla="*/ 398831 h 471291"/>
                <a:gd name="connsiteX50" fmla="*/ 160490 w 287641"/>
                <a:gd name="connsiteY50" fmla="*/ 395583 h 471291"/>
                <a:gd name="connsiteX51" fmla="*/ 163414 w 287641"/>
                <a:gd name="connsiteY51" fmla="*/ 393226 h 471291"/>
                <a:gd name="connsiteX52" fmla="*/ 167493 w 287641"/>
                <a:gd name="connsiteY52" fmla="*/ 392166 h 471291"/>
                <a:gd name="connsiteX53" fmla="*/ 169335 w 287641"/>
                <a:gd name="connsiteY53" fmla="*/ 393143 h 471291"/>
                <a:gd name="connsiteX54" fmla="*/ 170130 w 287641"/>
                <a:gd name="connsiteY54" fmla="*/ 390998 h 471291"/>
                <a:gd name="connsiteX55" fmla="*/ 176625 w 287641"/>
                <a:gd name="connsiteY55" fmla="*/ 388398 h 471291"/>
                <a:gd name="connsiteX56" fmla="*/ 179860 w 287641"/>
                <a:gd name="connsiteY56" fmla="*/ 388520 h 471291"/>
                <a:gd name="connsiteX57" fmla="*/ 180972 w 287641"/>
                <a:gd name="connsiteY57" fmla="*/ 388990 h 471291"/>
                <a:gd name="connsiteX58" fmla="*/ 177100 w 287641"/>
                <a:gd name="connsiteY58" fmla="*/ 390280 h 471291"/>
                <a:gd name="connsiteX59" fmla="*/ 176703 w 287641"/>
                <a:gd name="connsiteY59" fmla="*/ 392277 h 471291"/>
                <a:gd name="connsiteX60" fmla="*/ 175556 w 287641"/>
                <a:gd name="connsiteY60" fmla="*/ 392125 h 471291"/>
                <a:gd name="connsiteX61" fmla="*/ 174511 w 287641"/>
                <a:gd name="connsiteY61" fmla="*/ 390651 h 471291"/>
                <a:gd name="connsiteX62" fmla="*/ 161812 w 287641"/>
                <a:gd name="connsiteY62" fmla="*/ 351984 h 471291"/>
                <a:gd name="connsiteX63" fmla="*/ 162267 w 287641"/>
                <a:gd name="connsiteY63" fmla="*/ 352091 h 471291"/>
                <a:gd name="connsiteX64" fmla="*/ 160734 w 287641"/>
                <a:gd name="connsiteY64" fmla="*/ 354550 h 471291"/>
                <a:gd name="connsiteX65" fmla="*/ 159754 w 287641"/>
                <a:gd name="connsiteY65" fmla="*/ 354860 h 471291"/>
                <a:gd name="connsiteX66" fmla="*/ 159268 w 287641"/>
                <a:gd name="connsiteY66" fmla="*/ 354762 h 471291"/>
                <a:gd name="connsiteX67" fmla="*/ 159873 w 287641"/>
                <a:gd name="connsiteY67" fmla="*/ 353249 h 471291"/>
                <a:gd name="connsiteX68" fmla="*/ 160322 w 287641"/>
                <a:gd name="connsiteY68" fmla="*/ 352596 h 471291"/>
                <a:gd name="connsiteX69" fmla="*/ 165261 w 287641"/>
                <a:gd name="connsiteY69" fmla="*/ 337596 h 471291"/>
                <a:gd name="connsiteX70" fmla="*/ 166975 w 287641"/>
                <a:gd name="connsiteY70" fmla="*/ 338028 h 471291"/>
                <a:gd name="connsiteX71" fmla="*/ 166964 w 287641"/>
                <a:gd name="connsiteY71" fmla="*/ 338356 h 471291"/>
                <a:gd name="connsiteX72" fmla="*/ 165325 w 287641"/>
                <a:gd name="connsiteY72" fmla="*/ 339420 h 471291"/>
                <a:gd name="connsiteX73" fmla="*/ 164697 w 287641"/>
                <a:gd name="connsiteY73" fmla="*/ 340135 h 471291"/>
                <a:gd name="connsiteX74" fmla="*/ 164142 w 287641"/>
                <a:gd name="connsiteY74" fmla="*/ 341220 h 471291"/>
                <a:gd name="connsiteX75" fmla="*/ 163585 w 287641"/>
                <a:gd name="connsiteY75" fmla="*/ 339890 h 471291"/>
                <a:gd name="connsiteX76" fmla="*/ 163807 w 287641"/>
                <a:gd name="connsiteY76" fmla="*/ 339630 h 471291"/>
                <a:gd name="connsiteX77" fmla="*/ 164187 w 287641"/>
                <a:gd name="connsiteY77" fmla="*/ 338316 h 471291"/>
                <a:gd name="connsiteX78" fmla="*/ 209512 w 287641"/>
                <a:gd name="connsiteY78" fmla="*/ 0 h 471291"/>
                <a:gd name="connsiteX79" fmla="*/ 215548 w 287641"/>
                <a:gd name="connsiteY79" fmla="*/ 2210 h 471291"/>
                <a:gd name="connsiteX80" fmla="*/ 215812 w 287641"/>
                <a:gd name="connsiteY80" fmla="*/ 2688 h 471291"/>
                <a:gd name="connsiteX81" fmla="*/ 215855 w 287641"/>
                <a:gd name="connsiteY81" fmla="*/ 3839 h 471291"/>
                <a:gd name="connsiteX82" fmla="*/ 216066 w 287641"/>
                <a:gd name="connsiteY82" fmla="*/ 5031 h 471291"/>
                <a:gd name="connsiteX83" fmla="*/ 221923 w 287641"/>
                <a:gd name="connsiteY83" fmla="*/ 8050 h 471291"/>
                <a:gd name="connsiteX84" fmla="*/ 223611 w 287641"/>
                <a:gd name="connsiteY84" fmla="*/ 9646 h 471291"/>
                <a:gd name="connsiteX85" fmla="*/ 227207 w 287641"/>
                <a:gd name="connsiteY85" fmla="*/ 12069 h 471291"/>
                <a:gd name="connsiteX86" fmla="*/ 228159 w 287641"/>
                <a:gd name="connsiteY86" fmla="*/ 13376 h 471291"/>
                <a:gd name="connsiteX87" fmla="*/ 231489 w 287641"/>
                <a:gd name="connsiteY87" fmla="*/ 14904 h 471291"/>
                <a:gd name="connsiteX88" fmla="*/ 233877 w 287641"/>
                <a:gd name="connsiteY88" fmla="*/ 16536 h 471291"/>
                <a:gd name="connsiteX89" fmla="*/ 236667 w 287641"/>
                <a:gd name="connsiteY89" fmla="*/ 17859 h 471291"/>
                <a:gd name="connsiteX90" fmla="*/ 239923 w 287641"/>
                <a:gd name="connsiteY90" fmla="*/ 19914 h 471291"/>
                <a:gd name="connsiteX91" fmla="*/ 244294 w 287641"/>
                <a:gd name="connsiteY91" fmla="*/ 21549 h 471291"/>
                <a:gd name="connsiteX92" fmla="*/ 247986 w 287641"/>
                <a:gd name="connsiteY92" fmla="*/ 22082 h 471291"/>
                <a:gd name="connsiteX93" fmla="*/ 257280 w 287641"/>
                <a:gd name="connsiteY93" fmla="*/ 24881 h 471291"/>
                <a:gd name="connsiteX94" fmla="*/ 258865 w 287641"/>
                <a:gd name="connsiteY94" fmla="*/ 25787 h 471291"/>
                <a:gd name="connsiteX95" fmla="*/ 261547 w 287641"/>
                <a:gd name="connsiteY95" fmla="*/ 27732 h 471291"/>
                <a:gd name="connsiteX96" fmla="*/ 264255 w 287641"/>
                <a:gd name="connsiteY96" fmla="*/ 29982 h 471291"/>
                <a:gd name="connsiteX97" fmla="*/ 266127 w 287641"/>
                <a:gd name="connsiteY97" fmla="*/ 34594 h 471291"/>
                <a:gd name="connsiteX98" fmla="*/ 269136 w 287641"/>
                <a:gd name="connsiteY98" fmla="*/ 34834 h 471291"/>
                <a:gd name="connsiteX99" fmla="*/ 269952 w 287641"/>
                <a:gd name="connsiteY99" fmla="*/ 36419 h 471291"/>
                <a:gd name="connsiteX100" fmla="*/ 272578 w 287641"/>
                <a:gd name="connsiteY100" fmla="*/ 39132 h 471291"/>
                <a:gd name="connsiteX101" fmla="*/ 276218 w 287641"/>
                <a:gd name="connsiteY101" fmla="*/ 41522 h 471291"/>
                <a:gd name="connsiteX102" fmla="*/ 276087 w 287641"/>
                <a:gd name="connsiteY102" fmla="*/ 42326 h 471291"/>
                <a:gd name="connsiteX103" fmla="*/ 273189 w 287641"/>
                <a:gd name="connsiteY103" fmla="*/ 44525 h 471291"/>
                <a:gd name="connsiteX104" fmla="*/ 272878 w 287641"/>
                <a:gd name="connsiteY104" fmla="*/ 47502 h 471291"/>
                <a:gd name="connsiteX105" fmla="*/ 273152 w 287641"/>
                <a:gd name="connsiteY105" fmla="*/ 51297 h 471291"/>
                <a:gd name="connsiteX106" fmla="*/ 274061 w 287641"/>
                <a:gd name="connsiteY106" fmla="*/ 54386 h 471291"/>
                <a:gd name="connsiteX107" fmla="*/ 273966 w 287641"/>
                <a:gd name="connsiteY107" fmla="*/ 55288 h 471291"/>
                <a:gd name="connsiteX108" fmla="*/ 273247 w 287641"/>
                <a:gd name="connsiteY108" fmla="*/ 56351 h 471291"/>
                <a:gd name="connsiteX109" fmla="*/ 272383 w 287641"/>
                <a:gd name="connsiteY109" fmla="*/ 58019 h 471291"/>
                <a:gd name="connsiteX110" fmla="*/ 272075 w 287641"/>
                <a:gd name="connsiteY110" fmla="*/ 59473 h 471291"/>
                <a:gd name="connsiteX111" fmla="*/ 272150 w 287641"/>
                <a:gd name="connsiteY111" fmla="*/ 60186 h 471291"/>
                <a:gd name="connsiteX112" fmla="*/ 272442 w 287641"/>
                <a:gd name="connsiteY112" fmla="*/ 60573 h 471291"/>
                <a:gd name="connsiteX113" fmla="*/ 273968 w 287641"/>
                <a:gd name="connsiteY113" fmla="*/ 60602 h 471291"/>
                <a:gd name="connsiteX114" fmla="*/ 276704 w 287641"/>
                <a:gd name="connsiteY114" fmla="*/ 60945 h 471291"/>
                <a:gd name="connsiteX115" fmla="*/ 278313 w 287641"/>
                <a:gd name="connsiteY115" fmla="*/ 61590 h 471291"/>
                <a:gd name="connsiteX116" fmla="*/ 279226 w 287641"/>
                <a:gd name="connsiteY116" fmla="*/ 65128 h 471291"/>
                <a:gd name="connsiteX117" fmla="*/ 278918 w 287641"/>
                <a:gd name="connsiteY117" fmla="*/ 65807 h 471291"/>
                <a:gd name="connsiteX118" fmla="*/ 276611 w 287641"/>
                <a:gd name="connsiteY118" fmla="*/ 67406 h 471291"/>
                <a:gd name="connsiteX119" fmla="*/ 275935 w 287641"/>
                <a:gd name="connsiteY119" fmla="*/ 68675 h 471291"/>
                <a:gd name="connsiteX120" fmla="*/ 275869 w 287641"/>
                <a:gd name="connsiteY120" fmla="*/ 70538 h 471291"/>
                <a:gd name="connsiteX121" fmla="*/ 276277 w 287641"/>
                <a:gd name="connsiteY121" fmla="*/ 72584 h 471291"/>
                <a:gd name="connsiteX122" fmla="*/ 277069 w 287641"/>
                <a:gd name="connsiteY122" fmla="*/ 74871 h 471291"/>
                <a:gd name="connsiteX123" fmla="*/ 278874 w 287641"/>
                <a:gd name="connsiteY123" fmla="*/ 77315 h 471291"/>
                <a:gd name="connsiteX124" fmla="*/ 281314 w 287641"/>
                <a:gd name="connsiteY124" fmla="*/ 79867 h 471291"/>
                <a:gd name="connsiteX125" fmla="*/ 282917 w 287641"/>
                <a:gd name="connsiteY125" fmla="*/ 81958 h 471291"/>
                <a:gd name="connsiteX126" fmla="*/ 283675 w 287641"/>
                <a:gd name="connsiteY126" fmla="*/ 83430 h 471291"/>
                <a:gd name="connsiteX127" fmla="*/ 283951 w 287641"/>
                <a:gd name="connsiteY127" fmla="*/ 84458 h 471291"/>
                <a:gd name="connsiteX128" fmla="*/ 282852 w 287641"/>
                <a:gd name="connsiteY128" fmla="*/ 85750 h 471291"/>
                <a:gd name="connsiteX129" fmla="*/ 281863 w 287641"/>
                <a:gd name="connsiteY129" fmla="*/ 88303 h 471291"/>
                <a:gd name="connsiteX130" fmla="*/ 281679 w 287641"/>
                <a:gd name="connsiteY130" fmla="*/ 91223 h 471291"/>
                <a:gd name="connsiteX131" fmla="*/ 281230 w 287641"/>
                <a:gd name="connsiteY131" fmla="*/ 93125 h 471291"/>
                <a:gd name="connsiteX132" fmla="*/ 279081 w 287641"/>
                <a:gd name="connsiteY132" fmla="*/ 95739 h 471291"/>
                <a:gd name="connsiteX133" fmla="*/ 277596 w 287641"/>
                <a:gd name="connsiteY133" fmla="*/ 96665 h 471291"/>
                <a:gd name="connsiteX134" fmla="*/ 277173 w 287641"/>
                <a:gd name="connsiteY134" fmla="*/ 98043 h 471291"/>
                <a:gd name="connsiteX135" fmla="*/ 276991 w 287641"/>
                <a:gd name="connsiteY135" fmla="*/ 100353 h 471291"/>
                <a:gd name="connsiteX136" fmla="*/ 277427 w 287641"/>
                <a:gd name="connsiteY136" fmla="*/ 103166 h 471291"/>
                <a:gd name="connsiteX137" fmla="*/ 277577 w 287641"/>
                <a:gd name="connsiteY137" fmla="*/ 105065 h 471291"/>
                <a:gd name="connsiteX138" fmla="*/ 278034 w 287641"/>
                <a:gd name="connsiteY138" fmla="*/ 106431 h 471291"/>
                <a:gd name="connsiteX139" fmla="*/ 278708 w 287641"/>
                <a:gd name="connsiteY139" fmla="*/ 107322 h 471291"/>
                <a:gd name="connsiteX140" fmla="*/ 282155 w 287641"/>
                <a:gd name="connsiteY140" fmla="*/ 108897 h 471291"/>
                <a:gd name="connsiteX141" fmla="*/ 284085 w 287641"/>
                <a:gd name="connsiteY141" fmla="*/ 112118 h 471291"/>
                <a:gd name="connsiteX142" fmla="*/ 285288 w 287641"/>
                <a:gd name="connsiteY142" fmla="*/ 114698 h 471291"/>
                <a:gd name="connsiteX143" fmla="*/ 287641 w 287641"/>
                <a:gd name="connsiteY143" fmla="*/ 121435 h 471291"/>
                <a:gd name="connsiteX144" fmla="*/ 281783 w 287641"/>
                <a:gd name="connsiteY144" fmla="*/ 122275 h 471291"/>
                <a:gd name="connsiteX145" fmla="*/ 277380 w 287641"/>
                <a:gd name="connsiteY145" fmla="*/ 120588 h 471291"/>
                <a:gd name="connsiteX146" fmla="*/ 275184 w 287641"/>
                <a:gd name="connsiteY146" fmla="*/ 121433 h 471291"/>
                <a:gd name="connsiteX147" fmla="*/ 271342 w 287641"/>
                <a:gd name="connsiteY147" fmla="*/ 121469 h 471291"/>
                <a:gd name="connsiteX148" fmla="*/ 266980 w 287641"/>
                <a:gd name="connsiteY148" fmla="*/ 122133 h 471291"/>
                <a:gd name="connsiteX149" fmla="*/ 265510 w 287641"/>
                <a:gd name="connsiteY149" fmla="*/ 123452 h 471291"/>
                <a:gd name="connsiteX150" fmla="*/ 264354 w 287641"/>
                <a:gd name="connsiteY150" fmla="*/ 123982 h 471291"/>
                <a:gd name="connsiteX151" fmla="*/ 260308 w 287641"/>
                <a:gd name="connsiteY151" fmla="*/ 122120 h 471291"/>
                <a:gd name="connsiteX152" fmla="*/ 256488 w 287641"/>
                <a:gd name="connsiteY152" fmla="*/ 119040 h 471291"/>
                <a:gd name="connsiteX153" fmla="*/ 253696 w 287641"/>
                <a:gd name="connsiteY153" fmla="*/ 121389 h 471291"/>
                <a:gd name="connsiteX154" fmla="*/ 251889 w 287641"/>
                <a:gd name="connsiteY154" fmla="*/ 121834 h 471291"/>
                <a:gd name="connsiteX155" fmla="*/ 250265 w 287641"/>
                <a:gd name="connsiteY155" fmla="*/ 119708 h 471291"/>
                <a:gd name="connsiteX156" fmla="*/ 248846 w 287641"/>
                <a:gd name="connsiteY156" fmla="*/ 119363 h 471291"/>
                <a:gd name="connsiteX157" fmla="*/ 248079 w 287641"/>
                <a:gd name="connsiteY157" fmla="*/ 120072 h 471291"/>
                <a:gd name="connsiteX158" fmla="*/ 247408 w 287641"/>
                <a:gd name="connsiteY158" fmla="*/ 121949 h 471291"/>
                <a:gd name="connsiteX159" fmla="*/ 246339 w 287641"/>
                <a:gd name="connsiteY159" fmla="*/ 123425 h 471291"/>
                <a:gd name="connsiteX160" fmla="*/ 246060 w 287641"/>
                <a:gd name="connsiteY160" fmla="*/ 124359 h 471291"/>
                <a:gd name="connsiteX161" fmla="*/ 245875 w 287641"/>
                <a:gd name="connsiteY161" fmla="*/ 128120 h 471291"/>
                <a:gd name="connsiteX162" fmla="*/ 245596 w 287641"/>
                <a:gd name="connsiteY162" fmla="*/ 128991 h 471291"/>
                <a:gd name="connsiteX163" fmla="*/ 241886 w 287641"/>
                <a:gd name="connsiteY163" fmla="*/ 128505 h 471291"/>
                <a:gd name="connsiteX164" fmla="*/ 242109 w 287641"/>
                <a:gd name="connsiteY164" fmla="*/ 129491 h 471291"/>
                <a:gd name="connsiteX165" fmla="*/ 242916 w 287641"/>
                <a:gd name="connsiteY165" fmla="*/ 129987 h 471291"/>
                <a:gd name="connsiteX166" fmla="*/ 243242 w 287641"/>
                <a:gd name="connsiteY166" fmla="*/ 130612 h 471291"/>
                <a:gd name="connsiteX167" fmla="*/ 241897 w 287641"/>
                <a:gd name="connsiteY167" fmla="*/ 131433 h 471291"/>
                <a:gd name="connsiteX168" fmla="*/ 238213 w 287641"/>
                <a:gd name="connsiteY168" fmla="*/ 131356 h 471291"/>
                <a:gd name="connsiteX169" fmla="*/ 237837 w 287641"/>
                <a:gd name="connsiteY169" fmla="*/ 132227 h 471291"/>
                <a:gd name="connsiteX170" fmla="*/ 238874 w 287641"/>
                <a:gd name="connsiteY170" fmla="*/ 133603 h 471291"/>
                <a:gd name="connsiteX171" fmla="*/ 238066 w 287641"/>
                <a:gd name="connsiteY171" fmla="*/ 134807 h 471291"/>
                <a:gd name="connsiteX172" fmla="*/ 237317 w 287641"/>
                <a:gd name="connsiteY172" fmla="*/ 135281 h 471291"/>
                <a:gd name="connsiteX173" fmla="*/ 232918 w 287641"/>
                <a:gd name="connsiteY173" fmla="*/ 136028 h 471291"/>
                <a:gd name="connsiteX174" fmla="*/ 230372 w 287641"/>
                <a:gd name="connsiteY174" fmla="*/ 135857 h 471291"/>
                <a:gd name="connsiteX175" fmla="*/ 229645 w 287641"/>
                <a:gd name="connsiteY175" fmla="*/ 136636 h 471291"/>
                <a:gd name="connsiteX176" fmla="*/ 229441 w 287641"/>
                <a:gd name="connsiteY176" fmla="*/ 137647 h 471291"/>
                <a:gd name="connsiteX177" fmla="*/ 229923 w 287641"/>
                <a:gd name="connsiteY177" fmla="*/ 138639 h 471291"/>
                <a:gd name="connsiteX178" fmla="*/ 231046 w 287641"/>
                <a:gd name="connsiteY178" fmla="*/ 139167 h 471291"/>
                <a:gd name="connsiteX179" fmla="*/ 231415 w 287641"/>
                <a:gd name="connsiteY179" fmla="*/ 139796 h 471291"/>
                <a:gd name="connsiteX180" fmla="*/ 231338 w 287641"/>
                <a:gd name="connsiteY180" fmla="*/ 141158 h 471291"/>
                <a:gd name="connsiteX181" fmla="*/ 230403 w 287641"/>
                <a:gd name="connsiteY181" fmla="*/ 141405 h 471291"/>
                <a:gd name="connsiteX182" fmla="*/ 227749 w 287641"/>
                <a:gd name="connsiteY182" fmla="*/ 139012 h 471291"/>
                <a:gd name="connsiteX183" fmla="*/ 226941 w 287641"/>
                <a:gd name="connsiteY183" fmla="*/ 139135 h 471291"/>
                <a:gd name="connsiteX184" fmla="*/ 227548 w 287641"/>
                <a:gd name="connsiteY184" fmla="*/ 140380 h 471291"/>
                <a:gd name="connsiteX185" fmla="*/ 229064 w 287641"/>
                <a:gd name="connsiteY185" fmla="*/ 141736 h 471291"/>
                <a:gd name="connsiteX186" fmla="*/ 229940 w 287641"/>
                <a:gd name="connsiteY186" fmla="*/ 143120 h 471291"/>
                <a:gd name="connsiteX187" fmla="*/ 230707 w 287641"/>
                <a:gd name="connsiteY187" fmla="*/ 144785 h 471291"/>
                <a:gd name="connsiteX188" fmla="*/ 230558 w 287641"/>
                <a:gd name="connsiteY188" fmla="*/ 146046 h 471291"/>
                <a:gd name="connsiteX189" fmla="*/ 227263 w 287641"/>
                <a:gd name="connsiteY189" fmla="*/ 150112 h 471291"/>
                <a:gd name="connsiteX190" fmla="*/ 224363 w 287641"/>
                <a:gd name="connsiteY190" fmla="*/ 152677 h 471291"/>
                <a:gd name="connsiteX191" fmla="*/ 222199 w 287641"/>
                <a:gd name="connsiteY191" fmla="*/ 154984 h 471291"/>
                <a:gd name="connsiteX192" fmla="*/ 220923 w 287641"/>
                <a:gd name="connsiteY192" fmla="*/ 157427 h 471291"/>
                <a:gd name="connsiteX193" fmla="*/ 222400 w 287641"/>
                <a:gd name="connsiteY193" fmla="*/ 158658 h 471291"/>
                <a:gd name="connsiteX194" fmla="*/ 224043 w 287641"/>
                <a:gd name="connsiteY194" fmla="*/ 160431 h 471291"/>
                <a:gd name="connsiteX195" fmla="*/ 225198 w 287641"/>
                <a:gd name="connsiteY195" fmla="*/ 163837 h 471291"/>
                <a:gd name="connsiteX196" fmla="*/ 226576 w 287641"/>
                <a:gd name="connsiteY196" fmla="*/ 166868 h 471291"/>
                <a:gd name="connsiteX197" fmla="*/ 229357 w 287641"/>
                <a:gd name="connsiteY197" fmla="*/ 169760 h 471291"/>
                <a:gd name="connsiteX198" fmla="*/ 228798 w 287641"/>
                <a:gd name="connsiteY198" fmla="*/ 171430 h 471291"/>
                <a:gd name="connsiteX199" fmla="*/ 228150 w 287641"/>
                <a:gd name="connsiteY199" fmla="*/ 172728 h 471291"/>
                <a:gd name="connsiteX200" fmla="*/ 223523 w 287641"/>
                <a:gd name="connsiteY200" fmla="*/ 175583 h 471291"/>
                <a:gd name="connsiteX201" fmla="*/ 218276 w 287641"/>
                <a:gd name="connsiteY201" fmla="*/ 179878 h 471291"/>
                <a:gd name="connsiteX202" fmla="*/ 212620 w 287641"/>
                <a:gd name="connsiteY202" fmla="*/ 190827 h 471291"/>
                <a:gd name="connsiteX203" fmla="*/ 210739 w 287641"/>
                <a:gd name="connsiteY203" fmla="*/ 192290 h 471291"/>
                <a:gd name="connsiteX204" fmla="*/ 205788 w 287641"/>
                <a:gd name="connsiteY204" fmla="*/ 194137 h 471291"/>
                <a:gd name="connsiteX205" fmla="*/ 203967 w 287641"/>
                <a:gd name="connsiteY205" fmla="*/ 195923 h 471291"/>
                <a:gd name="connsiteX206" fmla="*/ 200281 w 287641"/>
                <a:gd name="connsiteY206" fmla="*/ 198045 h 471291"/>
                <a:gd name="connsiteX207" fmla="*/ 193846 w 287641"/>
                <a:gd name="connsiteY207" fmla="*/ 199865 h 471291"/>
                <a:gd name="connsiteX208" fmla="*/ 190927 w 287641"/>
                <a:gd name="connsiteY208" fmla="*/ 202400 h 471291"/>
                <a:gd name="connsiteX209" fmla="*/ 189609 w 287641"/>
                <a:gd name="connsiteY209" fmla="*/ 205019 h 471291"/>
                <a:gd name="connsiteX210" fmla="*/ 188143 w 287641"/>
                <a:gd name="connsiteY210" fmla="*/ 205205 h 471291"/>
                <a:gd name="connsiteX211" fmla="*/ 186690 w 287641"/>
                <a:gd name="connsiteY211" fmla="*/ 204182 h 471291"/>
                <a:gd name="connsiteX212" fmla="*/ 184751 w 287641"/>
                <a:gd name="connsiteY212" fmla="*/ 203420 h 471291"/>
                <a:gd name="connsiteX213" fmla="*/ 184498 w 287641"/>
                <a:gd name="connsiteY213" fmla="*/ 205128 h 471291"/>
                <a:gd name="connsiteX214" fmla="*/ 184580 w 287641"/>
                <a:gd name="connsiteY214" fmla="*/ 206381 h 471291"/>
                <a:gd name="connsiteX215" fmla="*/ 181477 w 287641"/>
                <a:gd name="connsiteY215" fmla="*/ 204524 h 471291"/>
                <a:gd name="connsiteX216" fmla="*/ 180013 w 287641"/>
                <a:gd name="connsiteY216" fmla="*/ 206227 h 471291"/>
                <a:gd name="connsiteX217" fmla="*/ 178869 w 287641"/>
                <a:gd name="connsiteY217" fmla="*/ 209070 h 471291"/>
                <a:gd name="connsiteX218" fmla="*/ 174403 w 287641"/>
                <a:gd name="connsiteY218" fmla="*/ 212891 h 471291"/>
                <a:gd name="connsiteX219" fmla="*/ 169590 w 287641"/>
                <a:gd name="connsiteY219" fmla="*/ 212204 h 471291"/>
                <a:gd name="connsiteX220" fmla="*/ 169050 w 287641"/>
                <a:gd name="connsiteY220" fmla="*/ 212878 h 471291"/>
                <a:gd name="connsiteX221" fmla="*/ 170331 w 287641"/>
                <a:gd name="connsiteY221" fmla="*/ 213366 h 471291"/>
                <a:gd name="connsiteX222" fmla="*/ 170525 w 287641"/>
                <a:gd name="connsiteY222" fmla="*/ 213976 h 471291"/>
                <a:gd name="connsiteX223" fmla="*/ 169651 w 287641"/>
                <a:gd name="connsiteY223" fmla="*/ 214301 h 471291"/>
                <a:gd name="connsiteX224" fmla="*/ 168327 w 287641"/>
                <a:gd name="connsiteY224" fmla="*/ 214267 h 471291"/>
                <a:gd name="connsiteX225" fmla="*/ 166284 w 287641"/>
                <a:gd name="connsiteY225" fmla="*/ 215021 h 471291"/>
                <a:gd name="connsiteX226" fmla="*/ 164941 w 287641"/>
                <a:gd name="connsiteY226" fmla="*/ 214962 h 471291"/>
                <a:gd name="connsiteX227" fmla="*/ 164304 w 287641"/>
                <a:gd name="connsiteY227" fmla="*/ 216765 h 471291"/>
                <a:gd name="connsiteX228" fmla="*/ 163265 w 287641"/>
                <a:gd name="connsiteY228" fmla="*/ 218950 h 471291"/>
                <a:gd name="connsiteX229" fmla="*/ 160546 w 287641"/>
                <a:gd name="connsiteY229" fmla="*/ 219854 h 471291"/>
                <a:gd name="connsiteX230" fmla="*/ 159143 w 287641"/>
                <a:gd name="connsiteY230" fmla="*/ 220040 h 471291"/>
                <a:gd name="connsiteX231" fmla="*/ 158450 w 287641"/>
                <a:gd name="connsiteY231" fmla="*/ 221281 h 471291"/>
                <a:gd name="connsiteX232" fmla="*/ 162632 w 287641"/>
                <a:gd name="connsiteY232" fmla="*/ 221541 h 471291"/>
                <a:gd name="connsiteX233" fmla="*/ 162298 w 287641"/>
                <a:gd name="connsiteY233" fmla="*/ 222591 h 471291"/>
                <a:gd name="connsiteX234" fmla="*/ 162203 w 287641"/>
                <a:gd name="connsiteY234" fmla="*/ 223640 h 471291"/>
                <a:gd name="connsiteX235" fmla="*/ 161771 w 287641"/>
                <a:gd name="connsiteY235" fmla="*/ 224765 h 471291"/>
                <a:gd name="connsiteX236" fmla="*/ 157016 w 287641"/>
                <a:gd name="connsiteY236" fmla="*/ 226384 h 471291"/>
                <a:gd name="connsiteX237" fmla="*/ 156284 w 287641"/>
                <a:gd name="connsiteY237" fmla="*/ 227659 h 471291"/>
                <a:gd name="connsiteX238" fmla="*/ 155291 w 287641"/>
                <a:gd name="connsiteY238" fmla="*/ 228449 h 471291"/>
                <a:gd name="connsiteX239" fmla="*/ 153176 w 287641"/>
                <a:gd name="connsiteY239" fmla="*/ 228404 h 471291"/>
                <a:gd name="connsiteX240" fmla="*/ 153254 w 287641"/>
                <a:gd name="connsiteY240" fmla="*/ 227668 h 471291"/>
                <a:gd name="connsiteX241" fmla="*/ 153600 w 287641"/>
                <a:gd name="connsiteY241" fmla="*/ 226835 h 471291"/>
                <a:gd name="connsiteX242" fmla="*/ 150449 w 287641"/>
                <a:gd name="connsiteY242" fmla="*/ 226910 h 471291"/>
                <a:gd name="connsiteX243" fmla="*/ 149467 w 287641"/>
                <a:gd name="connsiteY243" fmla="*/ 225080 h 471291"/>
                <a:gd name="connsiteX244" fmla="*/ 148869 w 287641"/>
                <a:gd name="connsiteY244" fmla="*/ 225549 h 471291"/>
                <a:gd name="connsiteX245" fmla="*/ 149223 w 287641"/>
                <a:gd name="connsiteY245" fmla="*/ 227026 h 471291"/>
                <a:gd name="connsiteX246" fmla="*/ 150048 w 287641"/>
                <a:gd name="connsiteY246" fmla="*/ 228561 h 471291"/>
                <a:gd name="connsiteX247" fmla="*/ 150965 w 287641"/>
                <a:gd name="connsiteY247" fmla="*/ 230809 h 471291"/>
                <a:gd name="connsiteX248" fmla="*/ 150220 w 287641"/>
                <a:gd name="connsiteY248" fmla="*/ 232230 h 471291"/>
                <a:gd name="connsiteX249" fmla="*/ 149387 w 287641"/>
                <a:gd name="connsiteY249" fmla="*/ 232934 h 471291"/>
                <a:gd name="connsiteX250" fmla="*/ 149994 w 287641"/>
                <a:gd name="connsiteY250" fmla="*/ 233584 h 471291"/>
                <a:gd name="connsiteX251" fmla="*/ 151676 w 287641"/>
                <a:gd name="connsiteY251" fmla="*/ 234079 h 471291"/>
                <a:gd name="connsiteX252" fmla="*/ 152356 w 287641"/>
                <a:gd name="connsiteY252" fmla="*/ 234966 h 471291"/>
                <a:gd name="connsiteX253" fmla="*/ 150361 w 287641"/>
                <a:gd name="connsiteY253" fmla="*/ 235726 h 471291"/>
                <a:gd name="connsiteX254" fmla="*/ 147871 w 287641"/>
                <a:gd name="connsiteY254" fmla="*/ 238333 h 471291"/>
                <a:gd name="connsiteX255" fmla="*/ 145290 w 287641"/>
                <a:gd name="connsiteY255" fmla="*/ 238397 h 471291"/>
                <a:gd name="connsiteX256" fmla="*/ 143712 w 287641"/>
                <a:gd name="connsiteY256" fmla="*/ 240117 h 471291"/>
                <a:gd name="connsiteX257" fmla="*/ 142036 w 287641"/>
                <a:gd name="connsiteY257" fmla="*/ 240111 h 471291"/>
                <a:gd name="connsiteX258" fmla="*/ 140674 w 287641"/>
                <a:gd name="connsiteY258" fmla="*/ 239028 h 471291"/>
                <a:gd name="connsiteX259" fmla="*/ 138490 w 287641"/>
                <a:gd name="connsiteY259" fmla="*/ 238138 h 471291"/>
                <a:gd name="connsiteX260" fmla="*/ 137787 w 287641"/>
                <a:gd name="connsiteY260" fmla="*/ 239707 h 471291"/>
                <a:gd name="connsiteX261" fmla="*/ 137674 w 287641"/>
                <a:gd name="connsiteY261" fmla="*/ 240954 h 471291"/>
                <a:gd name="connsiteX262" fmla="*/ 138905 w 287641"/>
                <a:gd name="connsiteY262" fmla="*/ 244105 h 471291"/>
                <a:gd name="connsiteX263" fmla="*/ 141255 w 287641"/>
                <a:gd name="connsiteY263" fmla="*/ 246541 h 471291"/>
                <a:gd name="connsiteX264" fmla="*/ 143431 w 287641"/>
                <a:gd name="connsiteY264" fmla="*/ 247592 h 471291"/>
                <a:gd name="connsiteX265" fmla="*/ 141865 w 287641"/>
                <a:gd name="connsiteY265" fmla="*/ 248301 h 471291"/>
                <a:gd name="connsiteX266" fmla="*/ 140700 w 287641"/>
                <a:gd name="connsiteY266" fmla="*/ 249875 h 471291"/>
                <a:gd name="connsiteX267" fmla="*/ 139294 w 287641"/>
                <a:gd name="connsiteY267" fmla="*/ 254783 h 471291"/>
                <a:gd name="connsiteX268" fmla="*/ 138529 w 287641"/>
                <a:gd name="connsiteY268" fmla="*/ 256712 h 471291"/>
                <a:gd name="connsiteX269" fmla="*/ 137700 w 287641"/>
                <a:gd name="connsiteY269" fmla="*/ 260113 h 471291"/>
                <a:gd name="connsiteX270" fmla="*/ 138225 w 287641"/>
                <a:gd name="connsiteY270" fmla="*/ 262978 h 471291"/>
                <a:gd name="connsiteX271" fmla="*/ 138646 w 287641"/>
                <a:gd name="connsiteY271" fmla="*/ 264385 h 471291"/>
                <a:gd name="connsiteX272" fmla="*/ 139711 w 287641"/>
                <a:gd name="connsiteY272" fmla="*/ 266294 h 471291"/>
                <a:gd name="connsiteX273" fmla="*/ 136817 w 287641"/>
                <a:gd name="connsiteY273" fmla="*/ 266048 h 471291"/>
                <a:gd name="connsiteX274" fmla="*/ 133761 w 287641"/>
                <a:gd name="connsiteY274" fmla="*/ 264933 h 471291"/>
                <a:gd name="connsiteX275" fmla="*/ 134187 w 287641"/>
                <a:gd name="connsiteY275" fmla="*/ 267248 h 471291"/>
                <a:gd name="connsiteX276" fmla="*/ 132310 w 287641"/>
                <a:gd name="connsiteY276" fmla="*/ 269981 h 471291"/>
                <a:gd name="connsiteX277" fmla="*/ 132660 w 287641"/>
                <a:gd name="connsiteY277" fmla="*/ 272389 h 471291"/>
                <a:gd name="connsiteX278" fmla="*/ 133051 w 287641"/>
                <a:gd name="connsiteY278" fmla="*/ 273956 h 471291"/>
                <a:gd name="connsiteX279" fmla="*/ 132470 w 287641"/>
                <a:gd name="connsiteY279" fmla="*/ 276546 h 471291"/>
                <a:gd name="connsiteX280" fmla="*/ 133353 w 287641"/>
                <a:gd name="connsiteY280" fmla="*/ 277359 h 471291"/>
                <a:gd name="connsiteX281" fmla="*/ 133833 w 287641"/>
                <a:gd name="connsiteY281" fmla="*/ 278899 h 471291"/>
                <a:gd name="connsiteX282" fmla="*/ 133042 w 287641"/>
                <a:gd name="connsiteY282" fmla="*/ 280036 h 471291"/>
                <a:gd name="connsiteX283" fmla="*/ 133394 w 287641"/>
                <a:gd name="connsiteY283" fmla="*/ 281014 h 471291"/>
                <a:gd name="connsiteX284" fmla="*/ 133526 w 287641"/>
                <a:gd name="connsiteY284" fmla="*/ 284473 h 471291"/>
                <a:gd name="connsiteX285" fmla="*/ 134126 w 287641"/>
                <a:gd name="connsiteY285" fmla="*/ 289873 h 471291"/>
                <a:gd name="connsiteX286" fmla="*/ 133906 w 287641"/>
                <a:gd name="connsiteY286" fmla="*/ 291014 h 471291"/>
                <a:gd name="connsiteX287" fmla="*/ 135586 w 287641"/>
                <a:gd name="connsiteY287" fmla="*/ 295695 h 471291"/>
                <a:gd name="connsiteX288" fmla="*/ 135195 w 287641"/>
                <a:gd name="connsiteY288" fmla="*/ 297333 h 471291"/>
                <a:gd name="connsiteX289" fmla="*/ 134969 w 287641"/>
                <a:gd name="connsiteY289" fmla="*/ 299419 h 471291"/>
                <a:gd name="connsiteX290" fmla="*/ 137376 w 287641"/>
                <a:gd name="connsiteY290" fmla="*/ 301421 h 471291"/>
                <a:gd name="connsiteX291" fmla="*/ 139525 w 287641"/>
                <a:gd name="connsiteY291" fmla="*/ 301389 h 471291"/>
                <a:gd name="connsiteX292" fmla="*/ 141702 w 287641"/>
                <a:gd name="connsiteY292" fmla="*/ 301358 h 471291"/>
                <a:gd name="connsiteX293" fmla="*/ 142533 w 287641"/>
                <a:gd name="connsiteY293" fmla="*/ 301860 h 471291"/>
                <a:gd name="connsiteX294" fmla="*/ 143367 w 287641"/>
                <a:gd name="connsiteY294" fmla="*/ 303275 h 471291"/>
                <a:gd name="connsiteX295" fmla="*/ 144038 w 287641"/>
                <a:gd name="connsiteY295" fmla="*/ 304945 h 471291"/>
                <a:gd name="connsiteX296" fmla="*/ 145830 w 287641"/>
                <a:gd name="connsiteY296" fmla="*/ 304807 h 471291"/>
                <a:gd name="connsiteX297" fmla="*/ 148691 w 287641"/>
                <a:gd name="connsiteY297" fmla="*/ 303448 h 471291"/>
                <a:gd name="connsiteX298" fmla="*/ 150553 w 287641"/>
                <a:gd name="connsiteY298" fmla="*/ 303124 h 471291"/>
                <a:gd name="connsiteX299" fmla="*/ 151782 w 287641"/>
                <a:gd name="connsiteY299" fmla="*/ 305736 h 471291"/>
                <a:gd name="connsiteX300" fmla="*/ 155124 w 287641"/>
                <a:gd name="connsiteY300" fmla="*/ 309182 h 471291"/>
                <a:gd name="connsiteX301" fmla="*/ 157070 w 287641"/>
                <a:gd name="connsiteY301" fmla="*/ 310724 h 471291"/>
                <a:gd name="connsiteX302" fmla="*/ 160376 w 287641"/>
                <a:gd name="connsiteY302" fmla="*/ 311535 h 471291"/>
                <a:gd name="connsiteX303" fmla="*/ 163859 w 287641"/>
                <a:gd name="connsiteY303" fmla="*/ 314308 h 471291"/>
                <a:gd name="connsiteX304" fmla="*/ 163371 w 287641"/>
                <a:gd name="connsiteY304" fmla="*/ 317646 h 471291"/>
                <a:gd name="connsiteX305" fmla="*/ 164824 w 287641"/>
                <a:gd name="connsiteY305" fmla="*/ 318760 h 471291"/>
                <a:gd name="connsiteX306" fmla="*/ 168934 w 287641"/>
                <a:gd name="connsiteY306" fmla="*/ 320076 h 471291"/>
                <a:gd name="connsiteX307" fmla="*/ 170387 w 287641"/>
                <a:gd name="connsiteY307" fmla="*/ 321849 h 471291"/>
                <a:gd name="connsiteX308" fmla="*/ 171084 w 287641"/>
                <a:gd name="connsiteY308" fmla="*/ 323359 h 471291"/>
                <a:gd name="connsiteX309" fmla="*/ 172166 w 287641"/>
                <a:gd name="connsiteY309" fmla="*/ 324611 h 471291"/>
                <a:gd name="connsiteX310" fmla="*/ 173431 w 287641"/>
                <a:gd name="connsiteY310" fmla="*/ 328388 h 471291"/>
                <a:gd name="connsiteX311" fmla="*/ 172991 w 287641"/>
                <a:gd name="connsiteY311" fmla="*/ 330712 h 471291"/>
                <a:gd name="connsiteX312" fmla="*/ 171335 w 287641"/>
                <a:gd name="connsiteY312" fmla="*/ 331510 h 471291"/>
                <a:gd name="connsiteX313" fmla="*/ 167424 w 287641"/>
                <a:gd name="connsiteY313" fmla="*/ 333997 h 471291"/>
                <a:gd name="connsiteX314" fmla="*/ 165681 w 287641"/>
                <a:gd name="connsiteY314" fmla="*/ 335851 h 471291"/>
                <a:gd name="connsiteX315" fmla="*/ 164314 w 287641"/>
                <a:gd name="connsiteY315" fmla="*/ 337006 h 471291"/>
                <a:gd name="connsiteX316" fmla="*/ 160430 w 287641"/>
                <a:gd name="connsiteY316" fmla="*/ 339479 h 471291"/>
                <a:gd name="connsiteX317" fmla="*/ 159007 w 287641"/>
                <a:gd name="connsiteY317" fmla="*/ 339923 h 471291"/>
                <a:gd name="connsiteX318" fmla="*/ 157644 w 287641"/>
                <a:gd name="connsiteY318" fmla="*/ 341207 h 471291"/>
                <a:gd name="connsiteX319" fmla="*/ 156327 w 287641"/>
                <a:gd name="connsiteY319" fmla="*/ 341769 h 471291"/>
                <a:gd name="connsiteX320" fmla="*/ 155148 w 287641"/>
                <a:gd name="connsiteY320" fmla="*/ 341446 h 471291"/>
                <a:gd name="connsiteX321" fmla="*/ 150740 w 287641"/>
                <a:gd name="connsiteY321" fmla="*/ 343770 h 471291"/>
                <a:gd name="connsiteX322" fmla="*/ 151084 w 287641"/>
                <a:gd name="connsiteY322" fmla="*/ 344762 h 471291"/>
                <a:gd name="connsiteX323" fmla="*/ 154464 w 287641"/>
                <a:gd name="connsiteY323" fmla="*/ 345182 h 471291"/>
                <a:gd name="connsiteX324" fmla="*/ 156187 w 287641"/>
                <a:gd name="connsiteY324" fmla="*/ 344684 h 471291"/>
                <a:gd name="connsiteX325" fmla="*/ 157513 w 287641"/>
                <a:gd name="connsiteY325" fmla="*/ 343516 h 471291"/>
                <a:gd name="connsiteX326" fmla="*/ 158961 w 287641"/>
                <a:gd name="connsiteY326" fmla="*/ 343248 h 471291"/>
                <a:gd name="connsiteX327" fmla="*/ 160283 w 287641"/>
                <a:gd name="connsiteY327" fmla="*/ 343468 h 471291"/>
                <a:gd name="connsiteX328" fmla="*/ 161684 w 287641"/>
                <a:gd name="connsiteY328" fmla="*/ 342548 h 471291"/>
                <a:gd name="connsiteX329" fmla="*/ 162784 w 287641"/>
                <a:gd name="connsiteY329" fmla="*/ 342180 h 471291"/>
                <a:gd name="connsiteX330" fmla="*/ 163920 w 287641"/>
                <a:gd name="connsiteY330" fmla="*/ 342621 h 471291"/>
                <a:gd name="connsiteX331" fmla="*/ 165187 w 287641"/>
                <a:gd name="connsiteY331" fmla="*/ 344828 h 471291"/>
                <a:gd name="connsiteX332" fmla="*/ 162557 w 287641"/>
                <a:gd name="connsiteY332" fmla="*/ 345976 h 471291"/>
                <a:gd name="connsiteX333" fmla="*/ 160691 w 287641"/>
                <a:gd name="connsiteY333" fmla="*/ 346028 h 471291"/>
                <a:gd name="connsiteX334" fmla="*/ 159780 w 287641"/>
                <a:gd name="connsiteY334" fmla="*/ 349640 h 471291"/>
                <a:gd name="connsiteX335" fmla="*/ 158650 w 287641"/>
                <a:gd name="connsiteY335" fmla="*/ 351190 h 471291"/>
                <a:gd name="connsiteX336" fmla="*/ 157841 w 287641"/>
                <a:gd name="connsiteY336" fmla="*/ 351935 h 471291"/>
                <a:gd name="connsiteX337" fmla="*/ 153701 w 287641"/>
                <a:gd name="connsiteY337" fmla="*/ 353469 h 471291"/>
                <a:gd name="connsiteX338" fmla="*/ 150970 w 287641"/>
                <a:gd name="connsiteY338" fmla="*/ 355412 h 471291"/>
                <a:gd name="connsiteX339" fmla="*/ 147750 w 287641"/>
                <a:gd name="connsiteY339" fmla="*/ 356975 h 471291"/>
                <a:gd name="connsiteX340" fmla="*/ 146344 w 287641"/>
                <a:gd name="connsiteY340" fmla="*/ 356635 h 471291"/>
                <a:gd name="connsiteX341" fmla="*/ 144226 w 287641"/>
                <a:gd name="connsiteY341" fmla="*/ 358223 h 471291"/>
                <a:gd name="connsiteX342" fmla="*/ 139518 w 287641"/>
                <a:gd name="connsiteY342" fmla="*/ 360101 h 471291"/>
                <a:gd name="connsiteX343" fmla="*/ 137106 w 287641"/>
                <a:gd name="connsiteY343" fmla="*/ 362629 h 471291"/>
                <a:gd name="connsiteX344" fmla="*/ 131693 w 287641"/>
                <a:gd name="connsiteY344" fmla="*/ 364888 h 471291"/>
                <a:gd name="connsiteX345" fmla="*/ 128935 w 287641"/>
                <a:gd name="connsiteY345" fmla="*/ 366724 h 471291"/>
                <a:gd name="connsiteX346" fmla="*/ 121444 w 287641"/>
                <a:gd name="connsiteY346" fmla="*/ 366820 h 471291"/>
                <a:gd name="connsiteX347" fmla="*/ 114290 w 287641"/>
                <a:gd name="connsiteY347" fmla="*/ 366417 h 471291"/>
                <a:gd name="connsiteX348" fmla="*/ 112044 w 287641"/>
                <a:gd name="connsiteY348" fmla="*/ 367290 h 471291"/>
                <a:gd name="connsiteX349" fmla="*/ 114340 w 287641"/>
                <a:gd name="connsiteY349" fmla="*/ 367560 h 471291"/>
                <a:gd name="connsiteX350" fmla="*/ 115948 w 287641"/>
                <a:gd name="connsiteY350" fmla="*/ 368416 h 471291"/>
                <a:gd name="connsiteX351" fmla="*/ 117877 w 287641"/>
                <a:gd name="connsiteY351" fmla="*/ 368059 h 471291"/>
                <a:gd name="connsiteX352" fmla="*/ 122410 w 287641"/>
                <a:gd name="connsiteY352" fmla="*/ 368487 h 471291"/>
                <a:gd name="connsiteX353" fmla="*/ 124742 w 287641"/>
                <a:gd name="connsiteY353" fmla="*/ 368953 h 471291"/>
                <a:gd name="connsiteX354" fmla="*/ 127735 w 287641"/>
                <a:gd name="connsiteY354" fmla="*/ 371949 h 471291"/>
                <a:gd name="connsiteX355" fmla="*/ 125534 w 287641"/>
                <a:gd name="connsiteY355" fmla="*/ 373013 h 471291"/>
                <a:gd name="connsiteX356" fmla="*/ 121723 w 287641"/>
                <a:gd name="connsiteY356" fmla="*/ 373829 h 471291"/>
                <a:gd name="connsiteX357" fmla="*/ 123152 w 287641"/>
                <a:gd name="connsiteY357" fmla="*/ 378067 h 471291"/>
                <a:gd name="connsiteX358" fmla="*/ 124331 w 287641"/>
                <a:gd name="connsiteY358" fmla="*/ 380919 h 471291"/>
                <a:gd name="connsiteX359" fmla="*/ 122788 w 287641"/>
                <a:gd name="connsiteY359" fmla="*/ 382639 h 471291"/>
                <a:gd name="connsiteX360" fmla="*/ 122673 w 287641"/>
                <a:gd name="connsiteY360" fmla="*/ 390443 h 471291"/>
                <a:gd name="connsiteX361" fmla="*/ 120507 w 287641"/>
                <a:gd name="connsiteY361" fmla="*/ 390592 h 471291"/>
                <a:gd name="connsiteX362" fmla="*/ 119587 w 287641"/>
                <a:gd name="connsiteY362" fmla="*/ 393812 h 471291"/>
                <a:gd name="connsiteX363" fmla="*/ 120269 w 287641"/>
                <a:gd name="connsiteY363" fmla="*/ 395452 h 471291"/>
                <a:gd name="connsiteX364" fmla="*/ 120216 w 287641"/>
                <a:gd name="connsiteY364" fmla="*/ 399257 h 471291"/>
                <a:gd name="connsiteX365" fmla="*/ 120667 w 287641"/>
                <a:gd name="connsiteY365" fmla="*/ 401599 h 471291"/>
                <a:gd name="connsiteX366" fmla="*/ 121729 w 287641"/>
                <a:gd name="connsiteY366" fmla="*/ 403752 h 471291"/>
                <a:gd name="connsiteX367" fmla="*/ 121256 w 287641"/>
                <a:gd name="connsiteY367" fmla="*/ 405996 h 471291"/>
                <a:gd name="connsiteX368" fmla="*/ 117832 w 287641"/>
                <a:gd name="connsiteY368" fmla="*/ 411238 h 471291"/>
                <a:gd name="connsiteX369" fmla="*/ 117910 w 287641"/>
                <a:gd name="connsiteY369" fmla="*/ 413693 h 471291"/>
                <a:gd name="connsiteX370" fmla="*/ 118525 w 287641"/>
                <a:gd name="connsiteY370" fmla="*/ 415150 h 471291"/>
                <a:gd name="connsiteX371" fmla="*/ 118980 w 287641"/>
                <a:gd name="connsiteY371" fmla="*/ 417477 h 471291"/>
                <a:gd name="connsiteX372" fmla="*/ 117424 w 287641"/>
                <a:gd name="connsiteY372" fmla="*/ 421945 h 471291"/>
                <a:gd name="connsiteX373" fmla="*/ 116324 w 287641"/>
                <a:gd name="connsiteY373" fmla="*/ 425671 h 471291"/>
                <a:gd name="connsiteX374" fmla="*/ 115018 w 287641"/>
                <a:gd name="connsiteY374" fmla="*/ 428802 h 471291"/>
                <a:gd name="connsiteX375" fmla="*/ 112094 w 287641"/>
                <a:gd name="connsiteY375" fmla="*/ 432553 h 471291"/>
                <a:gd name="connsiteX376" fmla="*/ 110639 w 287641"/>
                <a:gd name="connsiteY376" fmla="*/ 435353 h 471291"/>
                <a:gd name="connsiteX377" fmla="*/ 107233 w 287641"/>
                <a:gd name="connsiteY377" fmla="*/ 444067 h 471291"/>
                <a:gd name="connsiteX378" fmla="*/ 105545 w 287641"/>
                <a:gd name="connsiteY378" fmla="*/ 445792 h 471291"/>
                <a:gd name="connsiteX379" fmla="*/ 103474 w 287641"/>
                <a:gd name="connsiteY379" fmla="*/ 447117 h 471291"/>
                <a:gd name="connsiteX380" fmla="*/ 101166 w 287641"/>
                <a:gd name="connsiteY380" fmla="*/ 445891 h 471291"/>
                <a:gd name="connsiteX381" fmla="*/ 99049 w 287641"/>
                <a:gd name="connsiteY381" fmla="*/ 445223 h 471291"/>
                <a:gd name="connsiteX382" fmla="*/ 96464 w 287641"/>
                <a:gd name="connsiteY382" fmla="*/ 445304 h 471291"/>
                <a:gd name="connsiteX383" fmla="*/ 92416 w 287641"/>
                <a:gd name="connsiteY383" fmla="*/ 446309 h 471291"/>
                <a:gd name="connsiteX384" fmla="*/ 86326 w 287641"/>
                <a:gd name="connsiteY384" fmla="*/ 445641 h 471291"/>
                <a:gd name="connsiteX385" fmla="*/ 80375 w 287641"/>
                <a:gd name="connsiteY385" fmla="*/ 445963 h 471291"/>
                <a:gd name="connsiteX386" fmla="*/ 78870 w 287641"/>
                <a:gd name="connsiteY386" fmla="*/ 446831 h 471291"/>
                <a:gd name="connsiteX387" fmla="*/ 79772 w 287641"/>
                <a:gd name="connsiteY387" fmla="*/ 449981 h 471291"/>
                <a:gd name="connsiteX388" fmla="*/ 77579 w 287641"/>
                <a:gd name="connsiteY388" fmla="*/ 450394 h 471291"/>
                <a:gd name="connsiteX389" fmla="*/ 75434 w 287641"/>
                <a:gd name="connsiteY389" fmla="*/ 449498 h 471291"/>
                <a:gd name="connsiteX390" fmla="*/ 73547 w 287641"/>
                <a:gd name="connsiteY390" fmla="*/ 450567 h 471291"/>
                <a:gd name="connsiteX391" fmla="*/ 71970 w 287641"/>
                <a:gd name="connsiteY391" fmla="*/ 451739 h 471291"/>
                <a:gd name="connsiteX392" fmla="*/ 68874 w 287641"/>
                <a:gd name="connsiteY392" fmla="*/ 454516 h 471291"/>
                <a:gd name="connsiteX393" fmla="*/ 67837 w 287641"/>
                <a:gd name="connsiteY393" fmla="*/ 456225 h 471291"/>
                <a:gd name="connsiteX394" fmla="*/ 67570 w 287641"/>
                <a:gd name="connsiteY394" fmla="*/ 459439 h 471291"/>
                <a:gd name="connsiteX395" fmla="*/ 69196 w 287641"/>
                <a:gd name="connsiteY395" fmla="*/ 462318 h 471291"/>
                <a:gd name="connsiteX396" fmla="*/ 70638 w 287641"/>
                <a:gd name="connsiteY396" fmla="*/ 465684 h 471291"/>
                <a:gd name="connsiteX397" fmla="*/ 66924 w 287641"/>
                <a:gd name="connsiteY397" fmla="*/ 469739 h 471291"/>
                <a:gd name="connsiteX398" fmla="*/ 64851 w 287641"/>
                <a:gd name="connsiteY398" fmla="*/ 469876 h 471291"/>
                <a:gd name="connsiteX399" fmla="*/ 58800 w 287641"/>
                <a:gd name="connsiteY399" fmla="*/ 468752 h 471291"/>
                <a:gd name="connsiteX400" fmla="*/ 48077 w 287641"/>
                <a:gd name="connsiteY400" fmla="*/ 471291 h 471291"/>
                <a:gd name="connsiteX401" fmla="*/ 38446 w 287641"/>
                <a:gd name="connsiteY401" fmla="*/ 469283 h 471291"/>
                <a:gd name="connsiteX402" fmla="*/ 39657 w 287641"/>
                <a:gd name="connsiteY402" fmla="*/ 467112 h 471291"/>
                <a:gd name="connsiteX403" fmla="*/ 39617 w 287641"/>
                <a:gd name="connsiteY403" fmla="*/ 465514 h 471291"/>
                <a:gd name="connsiteX404" fmla="*/ 40161 w 287641"/>
                <a:gd name="connsiteY404" fmla="*/ 463055 h 471291"/>
                <a:gd name="connsiteX405" fmla="*/ 40484 w 287641"/>
                <a:gd name="connsiteY405" fmla="*/ 460536 h 471291"/>
                <a:gd name="connsiteX406" fmla="*/ 40394 w 287641"/>
                <a:gd name="connsiteY406" fmla="*/ 458849 h 471291"/>
                <a:gd name="connsiteX407" fmla="*/ 39688 w 287641"/>
                <a:gd name="connsiteY407" fmla="*/ 457050 h 471291"/>
                <a:gd name="connsiteX408" fmla="*/ 37313 w 287641"/>
                <a:gd name="connsiteY408" fmla="*/ 454694 h 471291"/>
                <a:gd name="connsiteX409" fmla="*/ 31961 w 287641"/>
                <a:gd name="connsiteY409" fmla="*/ 446722 h 471291"/>
                <a:gd name="connsiteX410" fmla="*/ 30378 w 287641"/>
                <a:gd name="connsiteY410" fmla="*/ 443349 h 471291"/>
                <a:gd name="connsiteX411" fmla="*/ 29277 w 287641"/>
                <a:gd name="connsiteY411" fmla="*/ 441942 h 471291"/>
                <a:gd name="connsiteX412" fmla="*/ 30070 w 287641"/>
                <a:gd name="connsiteY412" fmla="*/ 441866 h 471291"/>
                <a:gd name="connsiteX413" fmla="*/ 34477 w 287641"/>
                <a:gd name="connsiteY413" fmla="*/ 443679 h 471291"/>
                <a:gd name="connsiteX414" fmla="*/ 35505 w 287641"/>
                <a:gd name="connsiteY414" fmla="*/ 443456 h 471291"/>
                <a:gd name="connsiteX415" fmla="*/ 36585 w 287641"/>
                <a:gd name="connsiteY415" fmla="*/ 442775 h 471291"/>
                <a:gd name="connsiteX416" fmla="*/ 35270 w 287641"/>
                <a:gd name="connsiteY416" fmla="*/ 440179 h 471291"/>
                <a:gd name="connsiteX417" fmla="*/ 34140 w 287641"/>
                <a:gd name="connsiteY417" fmla="*/ 439003 h 471291"/>
                <a:gd name="connsiteX418" fmla="*/ 33374 w 287641"/>
                <a:gd name="connsiteY418" fmla="*/ 437243 h 471291"/>
                <a:gd name="connsiteX419" fmla="*/ 35954 w 287641"/>
                <a:gd name="connsiteY419" fmla="*/ 436767 h 471291"/>
                <a:gd name="connsiteX420" fmla="*/ 37818 w 287641"/>
                <a:gd name="connsiteY420" fmla="*/ 436872 h 471291"/>
                <a:gd name="connsiteX421" fmla="*/ 39191 w 287641"/>
                <a:gd name="connsiteY421" fmla="*/ 434890 h 471291"/>
                <a:gd name="connsiteX422" fmla="*/ 38399 w 287641"/>
                <a:gd name="connsiteY422" fmla="*/ 431681 h 471291"/>
                <a:gd name="connsiteX423" fmla="*/ 36397 w 287641"/>
                <a:gd name="connsiteY423" fmla="*/ 430693 h 471291"/>
                <a:gd name="connsiteX424" fmla="*/ 34725 w 287641"/>
                <a:gd name="connsiteY424" fmla="*/ 430263 h 471291"/>
                <a:gd name="connsiteX425" fmla="*/ 31521 w 287641"/>
                <a:gd name="connsiteY425" fmla="*/ 425210 h 471291"/>
                <a:gd name="connsiteX426" fmla="*/ 28178 w 287641"/>
                <a:gd name="connsiteY426" fmla="*/ 422589 h 471291"/>
                <a:gd name="connsiteX427" fmla="*/ 22216 w 287641"/>
                <a:gd name="connsiteY427" fmla="*/ 412449 h 471291"/>
                <a:gd name="connsiteX428" fmla="*/ 20035 w 287641"/>
                <a:gd name="connsiteY428" fmla="*/ 405461 h 471291"/>
                <a:gd name="connsiteX429" fmla="*/ 18008 w 287641"/>
                <a:gd name="connsiteY429" fmla="*/ 406126 h 471291"/>
                <a:gd name="connsiteX430" fmla="*/ 17023 w 287641"/>
                <a:gd name="connsiteY430" fmla="*/ 403076 h 471291"/>
                <a:gd name="connsiteX431" fmla="*/ 16317 w 287641"/>
                <a:gd name="connsiteY431" fmla="*/ 400184 h 471291"/>
                <a:gd name="connsiteX432" fmla="*/ 16176 w 287641"/>
                <a:gd name="connsiteY432" fmla="*/ 398055 h 471291"/>
                <a:gd name="connsiteX433" fmla="*/ 12998 w 287641"/>
                <a:gd name="connsiteY433" fmla="*/ 396834 h 471291"/>
                <a:gd name="connsiteX434" fmla="*/ 12868 w 287641"/>
                <a:gd name="connsiteY434" fmla="*/ 395340 h 471291"/>
                <a:gd name="connsiteX435" fmla="*/ 12296 w 287641"/>
                <a:gd name="connsiteY435" fmla="*/ 388660 h 471291"/>
                <a:gd name="connsiteX436" fmla="*/ 8886 w 287641"/>
                <a:gd name="connsiteY436" fmla="*/ 387761 h 471291"/>
                <a:gd name="connsiteX437" fmla="*/ 6681 w 287641"/>
                <a:gd name="connsiteY437" fmla="*/ 384002 h 471291"/>
                <a:gd name="connsiteX438" fmla="*/ 6288 w 287641"/>
                <a:gd name="connsiteY438" fmla="*/ 376872 h 471291"/>
                <a:gd name="connsiteX439" fmla="*/ 4043 w 287641"/>
                <a:gd name="connsiteY439" fmla="*/ 375571 h 471291"/>
                <a:gd name="connsiteX440" fmla="*/ 2235 w 287641"/>
                <a:gd name="connsiteY440" fmla="*/ 375932 h 471291"/>
                <a:gd name="connsiteX441" fmla="*/ 2320 w 287641"/>
                <a:gd name="connsiteY441" fmla="*/ 374160 h 471291"/>
                <a:gd name="connsiteX442" fmla="*/ 2751 w 287641"/>
                <a:gd name="connsiteY442" fmla="*/ 372496 h 471291"/>
                <a:gd name="connsiteX443" fmla="*/ 1696 w 287641"/>
                <a:gd name="connsiteY443" fmla="*/ 365889 h 471291"/>
                <a:gd name="connsiteX444" fmla="*/ 1343 w 287641"/>
                <a:gd name="connsiteY444" fmla="*/ 359841 h 471291"/>
                <a:gd name="connsiteX445" fmla="*/ 486 w 287641"/>
                <a:gd name="connsiteY445" fmla="*/ 358012 h 471291"/>
                <a:gd name="connsiteX446" fmla="*/ 0 w 287641"/>
                <a:gd name="connsiteY446" fmla="*/ 355868 h 471291"/>
                <a:gd name="connsiteX447" fmla="*/ 436 w 287641"/>
                <a:gd name="connsiteY447" fmla="*/ 354014 h 471291"/>
                <a:gd name="connsiteX448" fmla="*/ 1076 w 287641"/>
                <a:gd name="connsiteY448" fmla="*/ 352949 h 471291"/>
                <a:gd name="connsiteX449" fmla="*/ 3276 w 287641"/>
                <a:gd name="connsiteY449" fmla="*/ 352669 h 471291"/>
                <a:gd name="connsiteX450" fmla="*/ 5332 w 287641"/>
                <a:gd name="connsiteY450" fmla="*/ 354309 h 471291"/>
                <a:gd name="connsiteX451" fmla="*/ 7154 w 287641"/>
                <a:gd name="connsiteY451" fmla="*/ 358440 h 471291"/>
                <a:gd name="connsiteX452" fmla="*/ 8765 w 287641"/>
                <a:gd name="connsiteY452" fmla="*/ 358977 h 471291"/>
                <a:gd name="connsiteX453" fmla="*/ 10959 w 287641"/>
                <a:gd name="connsiteY453" fmla="*/ 357902 h 471291"/>
                <a:gd name="connsiteX454" fmla="*/ 12495 w 287641"/>
                <a:gd name="connsiteY454" fmla="*/ 354890 h 471291"/>
                <a:gd name="connsiteX455" fmla="*/ 13371 w 287641"/>
                <a:gd name="connsiteY455" fmla="*/ 350363 h 471291"/>
                <a:gd name="connsiteX456" fmla="*/ 14395 w 287641"/>
                <a:gd name="connsiteY456" fmla="*/ 346042 h 471291"/>
                <a:gd name="connsiteX457" fmla="*/ 13183 w 287641"/>
                <a:gd name="connsiteY457" fmla="*/ 341411 h 471291"/>
                <a:gd name="connsiteX458" fmla="*/ 11890 w 287641"/>
                <a:gd name="connsiteY458" fmla="*/ 337334 h 471291"/>
                <a:gd name="connsiteX459" fmla="*/ 11799 w 287641"/>
                <a:gd name="connsiteY459" fmla="*/ 336135 h 471291"/>
                <a:gd name="connsiteX460" fmla="*/ 15194 w 287641"/>
                <a:gd name="connsiteY460" fmla="*/ 332688 h 471291"/>
                <a:gd name="connsiteX461" fmla="*/ 16232 w 287641"/>
                <a:gd name="connsiteY461" fmla="*/ 329881 h 471291"/>
                <a:gd name="connsiteX462" fmla="*/ 17358 w 287641"/>
                <a:gd name="connsiteY462" fmla="*/ 327204 h 471291"/>
                <a:gd name="connsiteX463" fmla="*/ 18599 w 287641"/>
                <a:gd name="connsiteY463" fmla="*/ 326293 h 471291"/>
                <a:gd name="connsiteX464" fmla="*/ 20448 w 287641"/>
                <a:gd name="connsiteY464" fmla="*/ 326085 h 471291"/>
                <a:gd name="connsiteX465" fmla="*/ 22601 w 287641"/>
                <a:gd name="connsiteY465" fmla="*/ 325581 h 471291"/>
                <a:gd name="connsiteX466" fmla="*/ 25315 w 287641"/>
                <a:gd name="connsiteY466" fmla="*/ 323786 h 471291"/>
                <a:gd name="connsiteX467" fmla="*/ 27748 w 287641"/>
                <a:gd name="connsiteY467" fmla="*/ 321381 h 471291"/>
                <a:gd name="connsiteX468" fmla="*/ 29608 w 287641"/>
                <a:gd name="connsiteY468" fmla="*/ 319172 h 471291"/>
                <a:gd name="connsiteX469" fmla="*/ 30238 w 287641"/>
                <a:gd name="connsiteY469" fmla="*/ 314796 h 471291"/>
                <a:gd name="connsiteX470" fmla="*/ 30264 w 287641"/>
                <a:gd name="connsiteY470" fmla="*/ 312594 h 471291"/>
                <a:gd name="connsiteX471" fmla="*/ 31083 w 287641"/>
                <a:gd name="connsiteY471" fmla="*/ 310957 h 471291"/>
                <a:gd name="connsiteX472" fmla="*/ 31875 w 287641"/>
                <a:gd name="connsiteY472" fmla="*/ 307757 h 471291"/>
                <a:gd name="connsiteX473" fmla="*/ 31104 w 287641"/>
                <a:gd name="connsiteY473" fmla="*/ 304595 h 471291"/>
                <a:gd name="connsiteX474" fmla="*/ 28705 w 287641"/>
                <a:gd name="connsiteY474" fmla="*/ 299791 h 471291"/>
                <a:gd name="connsiteX475" fmla="*/ 25816 w 287641"/>
                <a:gd name="connsiteY475" fmla="*/ 293016 h 471291"/>
                <a:gd name="connsiteX476" fmla="*/ 25362 w 287641"/>
                <a:gd name="connsiteY476" fmla="*/ 289308 h 471291"/>
                <a:gd name="connsiteX477" fmla="*/ 26679 w 287641"/>
                <a:gd name="connsiteY477" fmla="*/ 288619 h 471291"/>
                <a:gd name="connsiteX478" fmla="*/ 29198 w 287641"/>
                <a:gd name="connsiteY478" fmla="*/ 288004 h 471291"/>
                <a:gd name="connsiteX479" fmla="*/ 33961 w 287641"/>
                <a:gd name="connsiteY479" fmla="*/ 287826 h 471291"/>
                <a:gd name="connsiteX480" fmla="*/ 34471 w 287641"/>
                <a:gd name="connsiteY480" fmla="*/ 287388 h 471291"/>
                <a:gd name="connsiteX481" fmla="*/ 34952 w 287641"/>
                <a:gd name="connsiteY481" fmla="*/ 285761 h 471291"/>
                <a:gd name="connsiteX482" fmla="*/ 36025 w 287641"/>
                <a:gd name="connsiteY482" fmla="*/ 283550 h 471291"/>
                <a:gd name="connsiteX483" fmla="*/ 37172 w 287641"/>
                <a:gd name="connsiteY483" fmla="*/ 281938 h 471291"/>
                <a:gd name="connsiteX484" fmla="*/ 37956 w 287641"/>
                <a:gd name="connsiteY484" fmla="*/ 279631 h 471291"/>
                <a:gd name="connsiteX485" fmla="*/ 38334 w 287641"/>
                <a:gd name="connsiteY485" fmla="*/ 277538 h 471291"/>
                <a:gd name="connsiteX486" fmla="*/ 35609 w 287641"/>
                <a:gd name="connsiteY486" fmla="*/ 274382 h 471291"/>
                <a:gd name="connsiteX487" fmla="*/ 32039 w 287641"/>
                <a:gd name="connsiteY487" fmla="*/ 271147 h 471291"/>
                <a:gd name="connsiteX488" fmla="*/ 29623 w 287641"/>
                <a:gd name="connsiteY488" fmla="*/ 270074 h 471291"/>
                <a:gd name="connsiteX489" fmla="*/ 25317 w 287641"/>
                <a:gd name="connsiteY489" fmla="*/ 267346 h 471291"/>
                <a:gd name="connsiteX490" fmla="*/ 22294 w 287641"/>
                <a:gd name="connsiteY490" fmla="*/ 265062 h 471291"/>
                <a:gd name="connsiteX491" fmla="*/ 24026 w 287641"/>
                <a:gd name="connsiteY491" fmla="*/ 256346 h 471291"/>
                <a:gd name="connsiteX492" fmla="*/ 25315 w 287641"/>
                <a:gd name="connsiteY492" fmla="*/ 249836 h 471291"/>
                <a:gd name="connsiteX493" fmla="*/ 25522 w 287641"/>
                <a:gd name="connsiteY493" fmla="*/ 248251 h 471291"/>
                <a:gd name="connsiteX494" fmla="*/ 25570 w 287641"/>
                <a:gd name="connsiteY494" fmla="*/ 245790 h 471291"/>
                <a:gd name="connsiteX495" fmla="*/ 21391 w 287641"/>
                <a:gd name="connsiteY495" fmla="*/ 235264 h 471291"/>
                <a:gd name="connsiteX496" fmla="*/ 21553 w 287641"/>
                <a:gd name="connsiteY496" fmla="*/ 232916 h 471291"/>
                <a:gd name="connsiteX497" fmla="*/ 21951 w 287641"/>
                <a:gd name="connsiteY497" fmla="*/ 230799 h 471291"/>
                <a:gd name="connsiteX498" fmla="*/ 21503 w 287641"/>
                <a:gd name="connsiteY498" fmla="*/ 227185 h 471291"/>
                <a:gd name="connsiteX499" fmla="*/ 21260 w 287641"/>
                <a:gd name="connsiteY499" fmla="*/ 223946 h 471291"/>
                <a:gd name="connsiteX500" fmla="*/ 21977 w 287641"/>
                <a:gd name="connsiteY500" fmla="*/ 222963 h 471291"/>
                <a:gd name="connsiteX501" fmla="*/ 23682 w 287641"/>
                <a:gd name="connsiteY501" fmla="*/ 221133 h 471291"/>
                <a:gd name="connsiteX502" fmla="*/ 22056 w 287641"/>
                <a:gd name="connsiteY502" fmla="*/ 218291 h 471291"/>
                <a:gd name="connsiteX503" fmla="*/ 21925 w 287641"/>
                <a:gd name="connsiteY503" fmla="*/ 218060 h 471291"/>
                <a:gd name="connsiteX504" fmla="*/ 18856 w 287641"/>
                <a:gd name="connsiteY504" fmla="*/ 211011 h 471291"/>
                <a:gd name="connsiteX505" fmla="*/ 23549 w 287641"/>
                <a:gd name="connsiteY505" fmla="*/ 204008 h 471291"/>
                <a:gd name="connsiteX506" fmla="*/ 22732 w 287641"/>
                <a:gd name="connsiteY506" fmla="*/ 200377 h 471291"/>
                <a:gd name="connsiteX507" fmla="*/ 25535 w 287641"/>
                <a:gd name="connsiteY507" fmla="*/ 197738 h 471291"/>
                <a:gd name="connsiteX508" fmla="*/ 30638 w 287641"/>
                <a:gd name="connsiteY508" fmla="*/ 191681 h 471291"/>
                <a:gd name="connsiteX509" fmla="*/ 33508 w 287641"/>
                <a:gd name="connsiteY509" fmla="*/ 188267 h 471291"/>
                <a:gd name="connsiteX510" fmla="*/ 34117 w 287641"/>
                <a:gd name="connsiteY510" fmla="*/ 187670 h 471291"/>
                <a:gd name="connsiteX511" fmla="*/ 36388 w 287641"/>
                <a:gd name="connsiteY511" fmla="*/ 186168 h 471291"/>
                <a:gd name="connsiteX512" fmla="*/ 40696 w 287641"/>
                <a:gd name="connsiteY512" fmla="*/ 184385 h 471291"/>
                <a:gd name="connsiteX513" fmla="*/ 45471 w 287641"/>
                <a:gd name="connsiteY513" fmla="*/ 183516 h 471291"/>
                <a:gd name="connsiteX514" fmla="*/ 47596 w 287641"/>
                <a:gd name="connsiteY514" fmla="*/ 183527 h 471291"/>
                <a:gd name="connsiteX515" fmla="*/ 55801 w 287641"/>
                <a:gd name="connsiteY515" fmla="*/ 184734 h 471291"/>
                <a:gd name="connsiteX516" fmla="*/ 62210 w 287641"/>
                <a:gd name="connsiteY516" fmla="*/ 185673 h 471291"/>
                <a:gd name="connsiteX517" fmla="*/ 63143 w 287641"/>
                <a:gd name="connsiteY517" fmla="*/ 184730 h 471291"/>
                <a:gd name="connsiteX518" fmla="*/ 64482 w 287641"/>
                <a:gd name="connsiteY518" fmla="*/ 182795 h 471291"/>
                <a:gd name="connsiteX519" fmla="*/ 66205 w 287641"/>
                <a:gd name="connsiteY519" fmla="*/ 180035 h 471291"/>
                <a:gd name="connsiteX520" fmla="*/ 66356 w 287641"/>
                <a:gd name="connsiteY520" fmla="*/ 176962 h 471291"/>
                <a:gd name="connsiteX521" fmla="*/ 65734 w 287641"/>
                <a:gd name="connsiteY521" fmla="*/ 172439 h 471291"/>
                <a:gd name="connsiteX522" fmla="*/ 64799 w 287641"/>
                <a:gd name="connsiteY522" fmla="*/ 169727 h 471291"/>
                <a:gd name="connsiteX523" fmla="*/ 60286 w 287641"/>
                <a:gd name="connsiteY523" fmla="*/ 167963 h 471291"/>
                <a:gd name="connsiteX524" fmla="*/ 55350 w 287641"/>
                <a:gd name="connsiteY524" fmla="*/ 165542 h 471291"/>
                <a:gd name="connsiteX525" fmla="*/ 61420 w 287641"/>
                <a:gd name="connsiteY525" fmla="*/ 157854 h 471291"/>
                <a:gd name="connsiteX526" fmla="*/ 65629 w 287641"/>
                <a:gd name="connsiteY526" fmla="*/ 152501 h 471291"/>
                <a:gd name="connsiteX527" fmla="*/ 70876 w 287641"/>
                <a:gd name="connsiteY527" fmla="*/ 144422 h 471291"/>
                <a:gd name="connsiteX528" fmla="*/ 72508 w 287641"/>
                <a:gd name="connsiteY528" fmla="*/ 141051 h 471291"/>
                <a:gd name="connsiteX529" fmla="*/ 73689 w 287641"/>
                <a:gd name="connsiteY529" fmla="*/ 139711 h 471291"/>
                <a:gd name="connsiteX530" fmla="*/ 75233 w 287641"/>
                <a:gd name="connsiteY530" fmla="*/ 127217 h 471291"/>
                <a:gd name="connsiteX531" fmla="*/ 76257 w 287641"/>
                <a:gd name="connsiteY531" fmla="*/ 123708 h 471291"/>
                <a:gd name="connsiteX532" fmla="*/ 77114 w 287641"/>
                <a:gd name="connsiteY532" fmla="*/ 121873 h 471291"/>
                <a:gd name="connsiteX533" fmla="*/ 77127 w 287641"/>
                <a:gd name="connsiteY533" fmla="*/ 119986 h 471291"/>
                <a:gd name="connsiteX534" fmla="*/ 76570 w 287641"/>
                <a:gd name="connsiteY534" fmla="*/ 116802 h 471291"/>
                <a:gd name="connsiteX535" fmla="*/ 75095 w 287641"/>
                <a:gd name="connsiteY535" fmla="*/ 109590 h 471291"/>
                <a:gd name="connsiteX536" fmla="*/ 83381 w 287641"/>
                <a:gd name="connsiteY536" fmla="*/ 108696 h 471291"/>
                <a:gd name="connsiteX537" fmla="*/ 86080 w 287641"/>
                <a:gd name="connsiteY537" fmla="*/ 108190 h 471291"/>
                <a:gd name="connsiteX538" fmla="*/ 88585 w 287641"/>
                <a:gd name="connsiteY538" fmla="*/ 107326 h 471291"/>
                <a:gd name="connsiteX539" fmla="*/ 93485 w 287641"/>
                <a:gd name="connsiteY539" fmla="*/ 105086 h 471291"/>
                <a:gd name="connsiteX540" fmla="*/ 95892 w 287641"/>
                <a:gd name="connsiteY540" fmla="*/ 103105 h 471291"/>
                <a:gd name="connsiteX541" fmla="*/ 94547 w 287641"/>
                <a:gd name="connsiteY541" fmla="*/ 96329 h 471291"/>
                <a:gd name="connsiteX542" fmla="*/ 97512 w 287641"/>
                <a:gd name="connsiteY542" fmla="*/ 94031 h 471291"/>
                <a:gd name="connsiteX543" fmla="*/ 104746 w 287641"/>
                <a:gd name="connsiteY543" fmla="*/ 86006 h 471291"/>
                <a:gd name="connsiteX544" fmla="*/ 112563 w 287641"/>
                <a:gd name="connsiteY544" fmla="*/ 78290 h 471291"/>
                <a:gd name="connsiteX545" fmla="*/ 116229 w 287641"/>
                <a:gd name="connsiteY545" fmla="*/ 75362 h 471291"/>
                <a:gd name="connsiteX546" fmla="*/ 116609 w 287641"/>
                <a:gd name="connsiteY546" fmla="*/ 73929 h 471291"/>
                <a:gd name="connsiteX547" fmla="*/ 116910 w 287641"/>
                <a:gd name="connsiteY547" fmla="*/ 71624 h 471291"/>
                <a:gd name="connsiteX548" fmla="*/ 115281 w 287641"/>
                <a:gd name="connsiteY548" fmla="*/ 67999 h 471291"/>
                <a:gd name="connsiteX549" fmla="*/ 113532 w 287641"/>
                <a:gd name="connsiteY549" fmla="*/ 65749 h 471291"/>
                <a:gd name="connsiteX550" fmla="*/ 110125 w 287641"/>
                <a:gd name="connsiteY550" fmla="*/ 61479 h 471291"/>
                <a:gd name="connsiteX551" fmla="*/ 111587 w 287641"/>
                <a:gd name="connsiteY551" fmla="*/ 58496 h 471291"/>
                <a:gd name="connsiteX552" fmla="*/ 114098 w 287641"/>
                <a:gd name="connsiteY552" fmla="*/ 57916 h 471291"/>
                <a:gd name="connsiteX553" fmla="*/ 117415 w 287641"/>
                <a:gd name="connsiteY553" fmla="*/ 56743 h 471291"/>
                <a:gd name="connsiteX554" fmla="*/ 120002 w 287641"/>
                <a:gd name="connsiteY554" fmla="*/ 54187 h 471291"/>
                <a:gd name="connsiteX555" fmla="*/ 120254 w 287641"/>
                <a:gd name="connsiteY555" fmla="*/ 53858 h 471291"/>
                <a:gd name="connsiteX556" fmla="*/ 124634 w 287641"/>
                <a:gd name="connsiteY556" fmla="*/ 43774 h 471291"/>
                <a:gd name="connsiteX557" fmla="*/ 133189 w 287641"/>
                <a:gd name="connsiteY557" fmla="*/ 38646 h 471291"/>
                <a:gd name="connsiteX558" fmla="*/ 136597 w 287641"/>
                <a:gd name="connsiteY558" fmla="*/ 35843 h 471291"/>
                <a:gd name="connsiteX559" fmla="*/ 141907 w 287641"/>
                <a:gd name="connsiteY559" fmla="*/ 37949 h 471291"/>
                <a:gd name="connsiteX560" fmla="*/ 149689 w 287641"/>
                <a:gd name="connsiteY560" fmla="*/ 41124 h 471291"/>
                <a:gd name="connsiteX561" fmla="*/ 153150 w 287641"/>
                <a:gd name="connsiteY561" fmla="*/ 36451 h 471291"/>
                <a:gd name="connsiteX562" fmla="*/ 154295 w 287641"/>
                <a:gd name="connsiteY562" fmla="*/ 34715 h 471291"/>
                <a:gd name="connsiteX563" fmla="*/ 155437 w 287641"/>
                <a:gd name="connsiteY563" fmla="*/ 32154 h 471291"/>
                <a:gd name="connsiteX564" fmla="*/ 154979 w 287641"/>
                <a:gd name="connsiteY564" fmla="*/ 27717 h 471291"/>
                <a:gd name="connsiteX565" fmla="*/ 154783 w 287641"/>
                <a:gd name="connsiteY565" fmla="*/ 21940 h 471291"/>
                <a:gd name="connsiteX566" fmla="*/ 155126 w 287641"/>
                <a:gd name="connsiteY566" fmla="*/ 19614 h 471291"/>
                <a:gd name="connsiteX567" fmla="*/ 158232 w 287641"/>
                <a:gd name="connsiteY567" fmla="*/ 18577 h 471291"/>
                <a:gd name="connsiteX568" fmla="*/ 159903 w 287641"/>
                <a:gd name="connsiteY568" fmla="*/ 18309 h 471291"/>
                <a:gd name="connsiteX569" fmla="*/ 168553 w 287641"/>
                <a:gd name="connsiteY569" fmla="*/ 20702 h 471291"/>
                <a:gd name="connsiteX570" fmla="*/ 170730 w 287641"/>
                <a:gd name="connsiteY570" fmla="*/ 20661 h 471291"/>
                <a:gd name="connsiteX571" fmla="*/ 174807 w 287641"/>
                <a:gd name="connsiteY571" fmla="*/ 20983 h 471291"/>
                <a:gd name="connsiteX572" fmla="*/ 179370 w 287641"/>
                <a:gd name="connsiteY572" fmla="*/ 22034 h 471291"/>
                <a:gd name="connsiteX573" fmla="*/ 188927 w 287641"/>
                <a:gd name="connsiteY573" fmla="*/ 24826 h 471291"/>
                <a:gd name="connsiteX574" fmla="*/ 192881 w 287641"/>
                <a:gd name="connsiteY574" fmla="*/ 25981 h 471291"/>
                <a:gd name="connsiteX575" fmla="*/ 195088 w 287641"/>
                <a:gd name="connsiteY575" fmla="*/ 26205 h 471291"/>
                <a:gd name="connsiteX576" fmla="*/ 196993 w 287641"/>
                <a:gd name="connsiteY576" fmla="*/ 24905 h 471291"/>
                <a:gd name="connsiteX577" fmla="*/ 201063 w 287641"/>
                <a:gd name="connsiteY577" fmla="*/ 21566 h 471291"/>
                <a:gd name="connsiteX578" fmla="*/ 195066 w 287641"/>
                <a:gd name="connsiteY578" fmla="*/ 19091 h 471291"/>
                <a:gd name="connsiteX579" fmla="*/ 199016 w 287641"/>
                <a:gd name="connsiteY579" fmla="*/ 16583 h 471291"/>
                <a:gd name="connsiteX580" fmla="*/ 201063 w 287641"/>
                <a:gd name="connsiteY580" fmla="*/ 14051 h 471291"/>
                <a:gd name="connsiteX581" fmla="*/ 202819 w 287641"/>
                <a:gd name="connsiteY581" fmla="*/ 10934 h 471291"/>
                <a:gd name="connsiteX582" fmla="*/ 203451 w 287641"/>
                <a:gd name="connsiteY582" fmla="*/ 7280 h 471291"/>
                <a:gd name="connsiteX583" fmla="*/ 203209 w 287641"/>
                <a:gd name="connsiteY583" fmla="*/ 5312 h 471291"/>
                <a:gd name="connsiteX584" fmla="*/ 201998 w 287641"/>
                <a:gd name="connsiteY584" fmla="*/ 3971 h 471291"/>
                <a:gd name="connsiteX585" fmla="*/ 198336 w 287641"/>
                <a:gd name="connsiteY585" fmla="*/ 619 h 471291"/>
                <a:gd name="connsiteX586" fmla="*/ 206634 w 287641"/>
                <a:gd name="connsiteY586" fmla="*/ 138 h 47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</a:cxnLst>
              <a:rect l="l" t="t" r="r" b="b"/>
              <a:pathLst>
                <a:path w="287641" h="471291">
                  <a:moveTo>
                    <a:pt x="129980" y="408700"/>
                  </a:moveTo>
                  <a:lnTo>
                    <a:pt x="131392" y="409106"/>
                  </a:lnTo>
                  <a:lnTo>
                    <a:pt x="132021" y="409502"/>
                  </a:lnTo>
                  <a:lnTo>
                    <a:pt x="130533" y="410751"/>
                  </a:lnTo>
                  <a:lnTo>
                    <a:pt x="130706" y="412376"/>
                  </a:lnTo>
                  <a:lnTo>
                    <a:pt x="130602" y="413049"/>
                  </a:lnTo>
                  <a:lnTo>
                    <a:pt x="126847" y="420100"/>
                  </a:lnTo>
                  <a:lnTo>
                    <a:pt x="125843" y="424667"/>
                  </a:lnTo>
                  <a:lnTo>
                    <a:pt x="124511" y="425780"/>
                  </a:lnTo>
                  <a:lnTo>
                    <a:pt x="118993" y="441942"/>
                  </a:lnTo>
                  <a:lnTo>
                    <a:pt x="117858" y="443517"/>
                  </a:lnTo>
                  <a:lnTo>
                    <a:pt x="116851" y="443406"/>
                  </a:lnTo>
                  <a:lnTo>
                    <a:pt x="116180" y="441305"/>
                  </a:lnTo>
                  <a:lnTo>
                    <a:pt x="116022" y="435892"/>
                  </a:lnTo>
                  <a:lnTo>
                    <a:pt x="116424" y="433213"/>
                  </a:lnTo>
                  <a:lnTo>
                    <a:pt x="121246" y="423521"/>
                  </a:lnTo>
                  <a:lnTo>
                    <a:pt x="123398" y="422728"/>
                  </a:lnTo>
                  <a:lnTo>
                    <a:pt x="126426" y="416765"/>
                  </a:lnTo>
                  <a:lnTo>
                    <a:pt x="127242" y="414108"/>
                  </a:lnTo>
                  <a:lnTo>
                    <a:pt x="128555" y="411712"/>
                  </a:lnTo>
                  <a:lnTo>
                    <a:pt x="129330" y="409567"/>
                  </a:lnTo>
                  <a:close/>
                  <a:moveTo>
                    <a:pt x="171445" y="390509"/>
                  </a:moveTo>
                  <a:lnTo>
                    <a:pt x="172680" y="391004"/>
                  </a:lnTo>
                  <a:lnTo>
                    <a:pt x="175334" y="393055"/>
                  </a:lnTo>
                  <a:lnTo>
                    <a:pt x="173505" y="393817"/>
                  </a:lnTo>
                  <a:lnTo>
                    <a:pt x="172429" y="396070"/>
                  </a:lnTo>
                  <a:lnTo>
                    <a:pt x="170948" y="396450"/>
                  </a:lnTo>
                  <a:lnTo>
                    <a:pt x="169527" y="397201"/>
                  </a:lnTo>
                  <a:lnTo>
                    <a:pt x="169020" y="404312"/>
                  </a:lnTo>
                  <a:lnTo>
                    <a:pt x="171607" y="407008"/>
                  </a:lnTo>
                  <a:lnTo>
                    <a:pt x="170186" y="407385"/>
                  </a:lnTo>
                  <a:lnTo>
                    <a:pt x="168886" y="408192"/>
                  </a:lnTo>
                  <a:lnTo>
                    <a:pt x="167957" y="409384"/>
                  </a:lnTo>
                  <a:lnTo>
                    <a:pt x="167007" y="411948"/>
                  </a:lnTo>
                  <a:lnTo>
                    <a:pt x="163438" y="413400"/>
                  </a:lnTo>
                  <a:lnTo>
                    <a:pt x="162086" y="414474"/>
                  </a:lnTo>
                  <a:lnTo>
                    <a:pt x="160093" y="416861"/>
                  </a:lnTo>
                  <a:lnTo>
                    <a:pt x="159054" y="420321"/>
                  </a:lnTo>
                  <a:lnTo>
                    <a:pt x="157035" y="421795"/>
                  </a:lnTo>
                  <a:lnTo>
                    <a:pt x="154768" y="422144"/>
                  </a:lnTo>
                  <a:lnTo>
                    <a:pt x="156098" y="419312"/>
                  </a:lnTo>
                  <a:lnTo>
                    <a:pt x="157841" y="417002"/>
                  </a:lnTo>
                  <a:lnTo>
                    <a:pt x="156165" y="415416"/>
                  </a:lnTo>
                  <a:lnTo>
                    <a:pt x="155156" y="412931"/>
                  </a:lnTo>
                  <a:lnTo>
                    <a:pt x="153855" y="411024"/>
                  </a:lnTo>
                  <a:lnTo>
                    <a:pt x="154891" y="408891"/>
                  </a:lnTo>
                  <a:lnTo>
                    <a:pt x="154381" y="405391"/>
                  </a:lnTo>
                  <a:lnTo>
                    <a:pt x="154550" y="401970"/>
                  </a:lnTo>
                  <a:lnTo>
                    <a:pt x="156061" y="400241"/>
                  </a:lnTo>
                  <a:lnTo>
                    <a:pt x="157793" y="398831"/>
                  </a:lnTo>
                  <a:lnTo>
                    <a:pt x="160490" y="395583"/>
                  </a:lnTo>
                  <a:lnTo>
                    <a:pt x="163414" y="393226"/>
                  </a:lnTo>
                  <a:lnTo>
                    <a:pt x="167493" y="392166"/>
                  </a:lnTo>
                  <a:lnTo>
                    <a:pt x="169335" y="393143"/>
                  </a:lnTo>
                  <a:lnTo>
                    <a:pt x="170130" y="390998"/>
                  </a:lnTo>
                  <a:close/>
                  <a:moveTo>
                    <a:pt x="176625" y="388398"/>
                  </a:moveTo>
                  <a:lnTo>
                    <a:pt x="179860" y="388520"/>
                  </a:lnTo>
                  <a:lnTo>
                    <a:pt x="180972" y="388990"/>
                  </a:lnTo>
                  <a:lnTo>
                    <a:pt x="177100" y="390280"/>
                  </a:lnTo>
                  <a:lnTo>
                    <a:pt x="176703" y="392277"/>
                  </a:lnTo>
                  <a:lnTo>
                    <a:pt x="175556" y="392125"/>
                  </a:lnTo>
                  <a:lnTo>
                    <a:pt x="174511" y="390651"/>
                  </a:lnTo>
                  <a:close/>
                  <a:moveTo>
                    <a:pt x="161812" y="351984"/>
                  </a:moveTo>
                  <a:lnTo>
                    <a:pt x="162267" y="352091"/>
                  </a:lnTo>
                  <a:lnTo>
                    <a:pt x="160734" y="354550"/>
                  </a:lnTo>
                  <a:lnTo>
                    <a:pt x="159754" y="354860"/>
                  </a:lnTo>
                  <a:lnTo>
                    <a:pt x="159268" y="354762"/>
                  </a:lnTo>
                  <a:lnTo>
                    <a:pt x="159873" y="353249"/>
                  </a:lnTo>
                  <a:lnTo>
                    <a:pt x="160322" y="352596"/>
                  </a:lnTo>
                  <a:close/>
                  <a:moveTo>
                    <a:pt x="165261" y="337596"/>
                  </a:moveTo>
                  <a:lnTo>
                    <a:pt x="166975" y="338028"/>
                  </a:lnTo>
                  <a:lnTo>
                    <a:pt x="166964" y="338356"/>
                  </a:lnTo>
                  <a:lnTo>
                    <a:pt x="165325" y="339420"/>
                  </a:lnTo>
                  <a:lnTo>
                    <a:pt x="164697" y="340135"/>
                  </a:lnTo>
                  <a:lnTo>
                    <a:pt x="164142" y="341220"/>
                  </a:lnTo>
                  <a:lnTo>
                    <a:pt x="163585" y="339890"/>
                  </a:lnTo>
                  <a:lnTo>
                    <a:pt x="163807" y="339630"/>
                  </a:lnTo>
                  <a:lnTo>
                    <a:pt x="164187" y="338316"/>
                  </a:lnTo>
                  <a:close/>
                  <a:moveTo>
                    <a:pt x="209512" y="0"/>
                  </a:moveTo>
                  <a:lnTo>
                    <a:pt x="215548" y="2210"/>
                  </a:lnTo>
                  <a:lnTo>
                    <a:pt x="215812" y="2688"/>
                  </a:lnTo>
                  <a:lnTo>
                    <a:pt x="215855" y="3839"/>
                  </a:lnTo>
                  <a:lnTo>
                    <a:pt x="216066" y="5031"/>
                  </a:lnTo>
                  <a:lnTo>
                    <a:pt x="221923" y="8050"/>
                  </a:lnTo>
                  <a:lnTo>
                    <a:pt x="223611" y="9646"/>
                  </a:lnTo>
                  <a:lnTo>
                    <a:pt x="227207" y="12069"/>
                  </a:lnTo>
                  <a:lnTo>
                    <a:pt x="228159" y="13376"/>
                  </a:lnTo>
                  <a:lnTo>
                    <a:pt x="231489" y="14904"/>
                  </a:lnTo>
                  <a:lnTo>
                    <a:pt x="233877" y="16536"/>
                  </a:lnTo>
                  <a:lnTo>
                    <a:pt x="236667" y="17859"/>
                  </a:lnTo>
                  <a:lnTo>
                    <a:pt x="239923" y="19914"/>
                  </a:lnTo>
                  <a:lnTo>
                    <a:pt x="244294" y="21549"/>
                  </a:lnTo>
                  <a:lnTo>
                    <a:pt x="247986" y="22082"/>
                  </a:lnTo>
                  <a:lnTo>
                    <a:pt x="257280" y="24881"/>
                  </a:lnTo>
                  <a:lnTo>
                    <a:pt x="258865" y="25787"/>
                  </a:lnTo>
                  <a:lnTo>
                    <a:pt x="261547" y="27732"/>
                  </a:lnTo>
                  <a:lnTo>
                    <a:pt x="264255" y="29982"/>
                  </a:lnTo>
                  <a:lnTo>
                    <a:pt x="266127" y="34594"/>
                  </a:lnTo>
                  <a:lnTo>
                    <a:pt x="269136" y="34834"/>
                  </a:lnTo>
                  <a:lnTo>
                    <a:pt x="269952" y="36419"/>
                  </a:lnTo>
                  <a:lnTo>
                    <a:pt x="272578" y="39132"/>
                  </a:lnTo>
                  <a:lnTo>
                    <a:pt x="276218" y="41522"/>
                  </a:lnTo>
                  <a:lnTo>
                    <a:pt x="276087" y="42326"/>
                  </a:lnTo>
                  <a:lnTo>
                    <a:pt x="273189" y="44525"/>
                  </a:lnTo>
                  <a:lnTo>
                    <a:pt x="272878" y="47502"/>
                  </a:lnTo>
                  <a:lnTo>
                    <a:pt x="273152" y="51297"/>
                  </a:lnTo>
                  <a:lnTo>
                    <a:pt x="274061" y="54386"/>
                  </a:lnTo>
                  <a:lnTo>
                    <a:pt x="273966" y="55288"/>
                  </a:lnTo>
                  <a:lnTo>
                    <a:pt x="273247" y="56351"/>
                  </a:lnTo>
                  <a:lnTo>
                    <a:pt x="272383" y="58019"/>
                  </a:lnTo>
                  <a:lnTo>
                    <a:pt x="272075" y="59473"/>
                  </a:lnTo>
                  <a:lnTo>
                    <a:pt x="272150" y="60186"/>
                  </a:lnTo>
                  <a:lnTo>
                    <a:pt x="272442" y="60573"/>
                  </a:lnTo>
                  <a:lnTo>
                    <a:pt x="273968" y="60602"/>
                  </a:lnTo>
                  <a:lnTo>
                    <a:pt x="276704" y="60945"/>
                  </a:lnTo>
                  <a:lnTo>
                    <a:pt x="278313" y="61590"/>
                  </a:lnTo>
                  <a:lnTo>
                    <a:pt x="279226" y="65128"/>
                  </a:lnTo>
                  <a:lnTo>
                    <a:pt x="278918" y="65807"/>
                  </a:lnTo>
                  <a:lnTo>
                    <a:pt x="276611" y="67406"/>
                  </a:lnTo>
                  <a:lnTo>
                    <a:pt x="275935" y="68675"/>
                  </a:lnTo>
                  <a:lnTo>
                    <a:pt x="275869" y="70538"/>
                  </a:lnTo>
                  <a:lnTo>
                    <a:pt x="276277" y="72584"/>
                  </a:lnTo>
                  <a:lnTo>
                    <a:pt x="277069" y="74871"/>
                  </a:lnTo>
                  <a:lnTo>
                    <a:pt x="278874" y="77315"/>
                  </a:lnTo>
                  <a:lnTo>
                    <a:pt x="281314" y="79867"/>
                  </a:lnTo>
                  <a:lnTo>
                    <a:pt x="282917" y="81958"/>
                  </a:lnTo>
                  <a:lnTo>
                    <a:pt x="283675" y="83430"/>
                  </a:lnTo>
                  <a:lnTo>
                    <a:pt x="283951" y="84458"/>
                  </a:lnTo>
                  <a:lnTo>
                    <a:pt x="282852" y="85750"/>
                  </a:lnTo>
                  <a:lnTo>
                    <a:pt x="281863" y="88303"/>
                  </a:lnTo>
                  <a:lnTo>
                    <a:pt x="281679" y="91223"/>
                  </a:lnTo>
                  <a:lnTo>
                    <a:pt x="281230" y="93125"/>
                  </a:lnTo>
                  <a:lnTo>
                    <a:pt x="279081" y="95739"/>
                  </a:lnTo>
                  <a:lnTo>
                    <a:pt x="277596" y="96665"/>
                  </a:lnTo>
                  <a:lnTo>
                    <a:pt x="277173" y="98043"/>
                  </a:lnTo>
                  <a:lnTo>
                    <a:pt x="276991" y="100353"/>
                  </a:lnTo>
                  <a:lnTo>
                    <a:pt x="277427" y="103166"/>
                  </a:lnTo>
                  <a:lnTo>
                    <a:pt x="277577" y="105065"/>
                  </a:lnTo>
                  <a:lnTo>
                    <a:pt x="278034" y="106431"/>
                  </a:lnTo>
                  <a:lnTo>
                    <a:pt x="278708" y="107322"/>
                  </a:lnTo>
                  <a:lnTo>
                    <a:pt x="282155" y="108897"/>
                  </a:lnTo>
                  <a:lnTo>
                    <a:pt x="284085" y="112118"/>
                  </a:lnTo>
                  <a:lnTo>
                    <a:pt x="285288" y="114698"/>
                  </a:lnTo>
                  <a:lnTo>
                    <a:pt x="287641" y="121435"/>
                  </a:lnTo>
                  <a:lnTo>
                    <a:pt x="281783" y="122275"/>
                  </a:lnTo>
                  <a:lnTo>
                    <a:pt x="277380" y="120588"/>
                  </a:lnTo>
                  <a:lnTo>
                    <a:pt x="275184" y="121433"/>
                  </a:lnTo>
                  <a:lnTo>
                    <a:pt x="271342" y="121469"/>
                  </a:lnTo>
                  <a:lnTo>
                    <a:pt x="266980" y="122133"/>
                  </a:lnTo>
                  <a:lnTo>
                    <a:pt x="265510" y="123452"/>
                  </a:lnTo>
                  <a:lnTo>
                    <a:pt x="264354" y="123982"/>
                  </a:lnTo>
                  <a:lnTo>
                    <a:pt x="260308" y="122120"/>
                  </a:lnTo>
                  <a:lnTo>
                    <a:pt x="256488" y="119040"/>
                  </a:lnTo>
                  <a:lnTo>
                    <a:pt x="253696" y="121389"/>
                  </a:lnTo>
                  <a:lnTo>
                    <a:pt x="251889" y="121834"/>
                  </a:lnTo>
                  <a:lnTo>
                    <a:pt x="250265" y="119708"/>
                  </a:lnTo>
                  <a:lnTo>
                    <a:pt x="248846" y="119363"/>
                  </a:lnTo>
                  <a:lnTo>
                    <a:pt x="248079" y="120072"/>
                  </a:lnTo>
                  <a:lnTo>
                    <a:pt x="247408" y="121949"/>
                  </a:lnTo>
                  <a:lnTo>
                    <a:pt x="246339" y="123425"/>
                  </a:lnTo>
                  <a:lnTo>
                    <a:pt x="246060" y="124359"/>
                  </a:lnTo>
                  <a:lnTo>
                    <a:pt x="245875" y="128120"/>
                  </a:lnTo>
                  <a:lnTo>
                    <a:pt x="245596" y="128991"/>
                  </a:lnTo>
                  <a:lnTo>
                    <a:pt x="241886" y="128505"/>
                  </a:lnTo>
                  <a:lnTo>
                    <a:pt x="242109" y="129491"/>
                  </a:lnTo>
                  <a:lnTo>
                    <a:pt x="242916" y="129987"/>
                  </a:lnTo>
                  <a:lnTo>
                    <a:pt x="243242" y="130612"/>
                  </a:lnTo>
                  <a:lnTo>
                    <a:pt x="241897" y="131433"/>
                  </a:lnTo>
                  <a:lnTo>
                    <a:pt x="238213" y="131356"/>
                  </a:lnTo>
                  <a:lnTo>
                    <a:pt x="237837" y="132227"/>
                  </a:lnTo>
                  <a:lnTo>
                    <a:pt x="238874" y="133603"/>
                  </a:lnTo>
                  <a:lnTo>
                    <a:pt x="238066" y="134807"/>
                  </a:lnTo>
                  <a:lnTo>
                    <a:pt x="237317" y="135281"/>
                  </a:lnTo>
                  <a:lnTo>
                    <a:pt x="232918" y="136028"/>
                  </a:lnTo>
                  <a:lnTo>
                    <a:pt x="230372" y="135857"/>
                  </a:lnTo>
                  <a:lnTo>
                    <a:pt x="229645" y="136636"/>
                  </a:lnTo>
                  <a:lnTo>
                    <a:pt x="229441" y="137647"/>
                  </a:lnTo>
                  <a:lnTo>
                    <a:pt x="229923" y="138639"/>
                  </a:lnTo>
                  <a:lnTo>
                    <a:pt x="231046" y="139167"/>
                  </a:lnTo>
                  <a:lnTo>
                    <a:pt x="231415" y="139796"/>
                  </a:lnTo>
                  <a:lnTo>
                    <a:pt x="231338" y="141158"/>
                  </a:lnTo>
                  <a:lnTo>
                    <a:pt x="230403" y="141405"/>
                  </a:lnTo>
                  <a:lnTo>
                    <a:pt x="227749" y="139012"/>
                  </a:lnTo>
                  <a:lnTo>
                    <a:pt x="226941" y="139135"/>
                  </a:lnTo>
                  <a:lnTo>
                    <a:pt x="227548" y="140380"/>
                  </a:lnTo>
                  <a:lnTo>
                    <a:pt x="229064" y="141736"/>
                  </a:lnTo>
                  <a:lnTo>
                    <a:pt x="229940" y="143120"/>
                  </a:lnTo>
                  <a:lnTo>
                    <a:pt x="230707" y="144785"/>
                  </a:lnTo>
                  <a:lnTo>
                    <a:pt x="230558" y="146046"/>
                  </a:lnTo>
                  <a:lnTo>
                    <a:pt x="227263" y="150112"/>
                  </a:lnTo>
                  <a:lnTo>
                    <a:pt x="224363" y="152677"/>
                  </a:lnTo>
                  <a:lnTo>
                    <a:pt x="222199" y="154984"/>
                  </a:lnTo>
                  <a:lnTo>
                    <a:pt x="220923" y="157427"/>
                  </a:lnTo>
                  <a:lnTo>
                    <a:pt x="222400" y="158658"/>
                  </a:lnTo>
                  <a:lnTo>
                    <a:pt x="224043" y="160431"/>
                  </a:lnTo>
                  <a:lnTo>
                    <a:pt x="225198" y="163837"/>
                  </a:lnTo>
                  <a:lnTo>
                    <a:pt x="226576" y="166868"/>
                  </a:lnTo>
                  <a:lnTo>
                    <a:pt x="229357" y="169760"/>
                  </a:lnTo>
                  <a:lnTo>
                    <a:pt x="228798" y="171430"/>
                  </a:lnTo>
                  <a:lnTo>
                    <a:pt x="228150" y="172728"/>
                  </a:lnTo>
                  <a:lnTo>
                    <a:pt x="223523" y="175583"/>
                  </a:lnTo>
                  <a:lnTo>
                    <a:pt x="218276" y="179878"/>
                  </a:lnTo>
                  <a:lnTo>
                    <a:pt x="212620" y="190827"/>
                  </a:lnTo>
                  <a:lnTo>
                    <a:pt x="210739" y="192290"/>
                  </a:lnTo>
                  <a:lnTo>
                    <a:pt x="205788" y="194137"/>
                  </a:lnTo>
                  <a:lnTo>
                    <a:pt x="203967" y="195923"/>
                  </a:lnTo>
                  <a:lnTo>
                    <a:pt x="200281" y="198045"/>
                  </a:lnTo>
                  <a:lnTo>
                    <a:pt x="193846" y="199865"/>
                  </a:lnTo>
                  <a:lnTo>
                    <a:pt x="190927" y="202400"/>
                  </a:lnTo>
                  <a:lnTo>
                    <a:pt x="189609" y="205019"/>
                  </a:lnTo>
                  <a:lnTo>
                    <a:pt x="188143" y="205205"/>
                  </a:lnTo>
                  <a:lnTo>
                    <a:pt x="186690" y="204182"/>
                  </a:lnTo>
                  <a:lnTo>
                    <a:pt x="184751" y="203420"/>
                  </a:lnTo>
                  <a:lnTo>
                    <a:pt x="184498" y="205128"/>
                  </a:lnTo>
                  <a:lnTo>
                    <a:pt x="184580" y="206381"/>
                  </a:lnTo>
                  <a:lnTo>
                    <a:pt x="181477" y="204524"/>
                  </a:lnTo>
                  <a:lnTo>
                    <a:pt x="180013" y="206227"/>
                  </a:lnTo>
                  <a:lnTo>
                    <a:pt x="178869" y="209070"/>
                  </a:lnTo>
                  <a:lnTo>
                    <a:pt x="174403" y="212891"/>
                  </a:lnTo>
                  <a:lnTo>
                    <a:pt x="169590" y="212204"/>
                  </a:lnTo>
                  <a:lnTo>
                    <a:pt x="169050" y="212878"/>
                  </a:lnTo>
                  <a:lnTo>
                    <a:pt x="170331" y="213366"/>
                  </a:lnTo>
                  <a:lnTo>
                    <a:pt x="170525" y="213976"/>
                  </a:lnTo>
                  <a:lnTo>
                    <a:pt x="169651" y="214301"/>
                  </a:lnTo>
                  <a:lnTo>
                    <a:pt x="168327" y="214267"/>
                  </a:lnTo>
                  <a:lnTo>
                    <a:pt x="166284" y="215021"/>
                  </a:lnTo>
                  <a:lnTo>
                    <a:pt x="164941" y="214962"/>
                  </a:lnTo>
                  <a:lnTo>
                    <a:pt x="164304" y="216765"/>
                  </a:lnTo>
                  <a:lnTo>
                    <a:pt x="163265" y="218950"/>
                  </a:lnTo>
                  <a:lnTo>
                    <a:pt x="160546" y="219854"/>
                  </a:lnTo>
                  <a:lnTo>
                    <a:pt x="159143" y="220040"/>
                  </a:lnTo>
                  <a:lnTo>
                    <a:pt x="158450" y="221281"/>
                  </a:lnTo>
                  <a:lnTo>
                    <a:pt x="162632" y="221541"/>
                  </a:lnTo>
                  <a:lnTo>
                    <a:pt x="162298" y="222591"/>
                  </a:lnTo>
                  <a:lnTo>
                    <a:pt x="162203" y="223640"/>
                  </a:lnTo>
                  <a:lnTo>
                    <a:pt x="161771" y="224765"/>
                  </a:lnTo>
                  <a:lnTo>
                    <a:pt x="157016" y="226384"/>
                  </a:lnTo>
                  <a:lnTo>
                    <a:pt x="156284" y="227659"/>
                  </a:lnTo>
                  <a:lnTo>
                    <a:pt x="155291" y="228449"/>
                  </a:lnTo>
                  <a:lnTo>
                    <a:pt x="153176" y="228404"/>
                  </a:lnTo>
                  <a:lnTo>
                    <a:pt x="153254" y="227668"/>
                  </a:lnTo>
                  <a:lnTo>
                    <a:pt x="153600" y="226835"/>
                  </a:lnTo>
                  <a:lnTo>
                    <a:pt x="150449" y="226910"/>
                  </a:lnTo>
                  <a:lnTo>
                    <a:pt x="149467" y="225080"/>
                  </a:lnTo>
                  <a:lnTo>
                    <a:pt x="148869" y="225549"/>
                  </a:lnTo>
                  <a:lnTo>
                    <a:pt x="149223" y="227026"/>
                  </a:lnTo>
                  <a:lnTo>
                    <a:pt x="150048" y="228561"/>
                  </a:lnTo>
                  <a:lnTo>
                    <a:pt x="150965" y="230809"/>
                  </a:lnTo>
                  <a:lnTo>
                    <a:pt x="150220" y="232230"/>
                  </a:lnTo>
                  <a:lnTo>
                    <a:pt x="149387" y="232934"/>
                  </a:lnTo>
                  <a:lnTo>
                    <a:pt x="149994" y="233584"/>
                  </a:lnTo>
                  <a:lnTo>
                    <a:pt x="151676" y="234079"/>
                  </a:lnTo>
                  <a:lnTo>
                    <a:pt x="152356" y="234966"/>
                  </a:lnTo>
                  <a:lnTo>
                    <a:pt x="150361" y="235726"/>
                  </a:lnTo>
                  <a:lnTo>
                    <a:pt x="147871" y="238333"/>
                  </a:lnTo>
                  <a:lnTo>
                    <a:pt x="145290" y="238397"/>
                  </a:lnTo>
                  <a:lnTo>
                    <a:pt x="143712" y="240117"/>
                  </a:lnTo>
                  <a:lnTo>
                    <a:pt x="142036" y="240111"/>
                  </a:lnTo>
                  <a:lnTo>
                    <a:pt x="140674" y="239028"/>
                  </a:lnTo>
                  <a:lnTo>
                    <a:pt x="138490" y="238138"/>
                  </a:lnTo>
                  <a:lnTo>
                    <a:pt x="137787" y="239707"/>
                  </a:lnTo>
                  <a:lnTo>
                    <a:pt x="137674" y="240954"/>
                  </a:lnTo>
                  <a:lnTo>
                    <a:pt x="138905" y="244105"/>
                  </a:lnTo>
                  <a:lnTo>
                    <a:pt x="141255" y="246541"/>
                  </a:lnTo>
                  <a:lnTo>
                    <a:pt x="143431" y="247592"/>
                  </a:lnTo>
                  <a:lnTo>
                    <a:pt x="141865" y="248301"/>
                  </a:lnTo>
                  <a:lnTo>
                    <a:pt x="140700" y="249875"/>
                  </a:lnTo>
                  <a:lnTo>
                    <a:pt x="139294" y="254783"/>
                  </a:lnTo>
                  <a:lnTo>
                    <a:pt x="138529" y="256712"/>
                  </a:lnTo>
                  <a:lnTo>
                    <a:pt x="137700" y="260113"/>
                  </a:lnTo>
                  <a:lnTo>
                    <a:pt x="138225" y="262978"/>
                  </a:lnTo>
                  <a:lnTo>
                    <a:pt x="138646" y="264385"/>
                  </a:lnTo>
                  <a:lnTo>
                    <a:pt x="139711" y="266294"/>
                  </a:lnTo>
                  <a:lnTo>
                    <a:pt x="136817" y="266048"/>
                  </a:lnTo>
                  <a:lnTo>
                    <a:pt x="133761" y="264933"/>
                  </a:lnTo>
                  <a:lnTo>
                    <a:pt x="134187" y="267248"/>
                  </a:lnTo>
                  <a:lnTo>
                    <a:pt x="132310" y="269981"/>
                  </a:lnTo>
                  <a:lnTo>
                    <a:pt x="132660" y="272389"/>
                  </a:lnTo>
                  <a:lnTo>
                    <a:pt x="133051" y="273956"/>
                  </a:lnTo>
                  <a:lnTo>
                    <a:pt x="132470" y="276546"/>
                  </a:lnTo>
                  <a:lnTo>
                    <a:pt x="133353" y="277359"/>
                  </a:lnTo>
                  <a:lnTo>
                    <a:pt x="133833" y="278899"/>
                  </a:lnTo>
                  <a:lnTo>
                    <a:pt x="133042" y="280036"/>
                  </a:lnTo>
                  <a:lnTo>
                    <a:pt x="133394" y="281014"/>
                  </a:lnTo>
                  <a:lnTo>
                    <a:pt x="133526" y="284473"/>
                  </a:lnTo>
                  <a:lnTo>
                    <a:pt x="134126" y="289873"/>
                  </a:lnTo>
                  <a:lnTo>
                    <a:pt x="133906" y="291014"/>
                  </a:lnTo>
                  <a:lnTo>
                    <a:pt x="135586" y="295695"/>
                  </a:lnTo>
                  <a:lnTo>
                    <a:pt x="135195" y="297333"/>
                  </a:lnTo>
                  <a:lnTo>
                    <a:pt x="134969" y="299419"/>
                  </a:lnTo>
                  <a:lnTo>
                    <a:pt x="137376" y="301421"/>
                  </a:lnTo>
                  <a:lnTo>
                    <a:pt x="139525" y="301389"/>
                  </a:lnTo>
                  <a:lnTo>
                    <a:pt x="141702" y="301358"/>
                  </a:lnTo>
                  <a:lnTo>
                    <a:pt x="142533" y="301860"/>
                  </a:lnTo>
                  <a:lnTo>
                    <a:pt x="143367" y="303275"/>
                  </a:lnTo>
                  <a:lnTo>
                    <a:pt x="144038" y="304945"/>
                  </a:lnTo>
                  <a:lnTo>
                    <a:pt x="145830" y="304807"/>
                  </a:lnTo>
                  <a:lnTo>
                    <a:pt x="148691" y="303448"/>
                  </a:lnTo>
                  <a:lnTo>
                    <a:pt x="150553" y="303124"/>
                  </a:lnTo>
                  <a:lnTo>
                    <a:pt x="151782" y="305736"/>
                  </a:lnTo>
                  <a:lnTo>
                    <a:pt x="155124" y="309182"/>
                  </a:lnTo>
                  <a:lnTo>
                    <a:pt x="157070" y="310724"/>
                  </a:lnTo>
                  <a:lnTo>
                    <a:pt x="160376" y="311535"/>
                  </a:lnTo>
                  <a:lnTo>
                    <a:pt x="163859" y="314308"/>
                  </a:lnTo>
                  <a:lnTo>
                    <a:pt x="163371" y="317646"/>
                  </a:lnTo>
                  <a:lnTo>
                    <a:pt x="164824" y="318760"/>
                  </a:lnTo>
                  <a:lnTo>
                    <a:pt x="168934" y="320076"/>
                  </a:lnTo>
                  <a:lnTo>
                    <a:pt x="170387" y="321849"/>
                  </a:lnTo>
                  <a:lnTo>
                    <a:pt x="171084" y="323359"/>
                  </a:lnTo>
                  <a:lnTo>
                    <a:pt x="172166" y="324611"/>
                  </a:lnTo>
                  <a:lnTo>
                    <a:pt x="173431" y="328388"/>
                  </a:lnTo>
                  <a:lnTo>
                    <a:pt x="172991" y="330712"/>
                  </a:lnTo>
                  <a:lnTo>
                    <a:pt x="171335" y="331510"/>
                  </a:lnTo>
                  <a:lnTo>
                    <a:pt x="167424" y="333997"/>
                  </a:lnTo>
                  <a:lnTo>
                    <a:pt x="165681" y="335851"/>
                  </a:lnTo>
                  <a:lnTo>
                    <a:pt x="164314" y="337006"/>
                  </a:lnTo>
                  <a:lnTo>
                    <a:pt x="160430" y="339479"/>
                  </a:lnTo>
                  <a:lnTo>
                    <a:pt x="159007" y="339923"/>
                  </a:lnTo>
                  <a:lnTo>
                    <a:pt x="157644" y="341207"/>
                  </a:lnTo>
                  <a:lnTo>
                    <a:pt x="156327" y="341769"/>
                  </a:lnTo>
                  <a:lnTo>
                    <a:pt x="155148" y="341446"/>
                  </a:lnTo>
                  <a:lnTo>
                    <a:pt x="150740" y="343770"/>
                  </a:lnTo>
                  <a:lnTo>
                    <a:pt x="151084" y="344762"/>
                  </a:lnTo>
                  <a:lnTo>
                    <a:pt x="154464" y="345182"/>
                  </a:lnTo>
                  <a:lnTo>
                    <a:pt x="156187" y="344684"/>
                  </a:lnTo>
                  <a:lnTo>
                    <a:pt x="157513" y="343516"/>
                  </a:lnTo>
                  <a:lnTo>
                    <a:pt x="158961" y="343248"/>
                  </a:lnTo>
                  <a:lnTo>
                    <a:pt x="160283" y="343468"/>
                  </a:lnTo>
                  <a:lnTo>
                    <a:pt x="161684" y="342548"/>
                  </a:lnTo>
                  <a:lnTo>
                    <a:pt x="162784" y="342180"/>
                  </a:lnTo>
                  <a:lnTo>
                    <a:pt x="163920" y="342621"/>
                  </a:lnTo>
                  <a:lnTo>
                    <a:pt x="165187" y="344828"/>
                  </a:lnTo>
                  <a:lnTo>
                    <a:pt x="162557" y="345976"/>
                  </a:lnTo>
                  <a:lnTo>
                    <a:pt x="160691" y="346028"/>
                  </a:lnTo>
                  <a:lnTo>
                    <a:pt x="159780" y="349640"/>
                  </a:lnTo>
                  <a:lnTo>
                    <a:pt x="158650" y="351190"/>
                  </a:lnTo>
                  <a:lnTo>
                    <a:pt x="157841" y="351935"/>
                  </a:lnTo>
                  <a:lnTo>
                    <a:pt x="153701" y="353469"/>
                  </a:lnTo>
                  <a:lnTo>
                    <a:pt x="150970" y="355412"/>
                  </a:lnTo>
                  <a:lnTo>
                    <a:pt x="147750" y="356975"/>
                  </a:lnTo>
                  <a:lnTo>
                    <a:pt x="146344" y="356635"/>
                  </a:lnTo>
                  <a:lnTo>
                    <a:pt x="144226" y="358223"/>
                  </a:lnTo>
                  <a:lnTo>
                    <a:pt x="139518" y="360101"/>
                  </a:lnTo>
                  <a:lnTo>
                    <a:pt x="137106" y="362629"/>
                  </a:lnTo>
                  <a:lnTo>
                    <a:pt x="131693" y="364888"/>
                  </a:lnTo>
                  <a:lnTo>
                    <a:pt x="128935" y="366724"/>
                  </a:lnTo>
                  <a:lnTo>
                    <a:pt x="121444" y="366820"/>
                  </a:lnTo>
                  <a:lnTo>
                    <a:pt x="114290" y="366417"/>
                  </a:lnTo>
                  <a:lnTo>
                    <a:pt x="112044" y="367290"/>
                  </a:lnTo>
                  <a:lnTo>
                    <a:pt x="114340" y="367560"/>
                  </a:lnTo>
                  <a:lnTo>
                    <a:pt x="115948" y="368416"/>
                  </a:lnTo>
                  <a:lnTo>
                    <a:pt x="117877" y="368059"/>
                  </a:lnTo>
                  <a:lnTo>
                    <a:pt x="122410" y="368487"/>
                  </a:lnTo>
                  <a:lnTo>
                    <a:pt x="124742" y="368953"/>
                  </a:lnTo>
                  <a:lnTo>
                    <a:pt x="127735" y="371949"/>
                  </a:lnTo>
                  <a:lnTo>
                    <a:pt x="125534" y="373013"/>
                  </a:lnTo>
                  <a:lnTo>
                    <a:pt x="121723" y="373829"/>
                  </a:lnTo>
                  <a:lnTo>
                    <a:pt x="123152" y="378067"/>
                  </a:lnTo>
                  <a:lnTo>
                    <a:pt x="124331" y="380919"/>
                  </a:lnTo>
                  <a:lnTo>
                    <a:pt x="122788" y="382639"/>
                  </a:lnTo>
                  <a:lnTo>
                    <a:pt x="122673" y="390443"/>
                  </a:lnTo>
                  <a:lnTo>
                    <a:pt x="120507" y="390592"/>
                  </a:lnTo>
                  <a:lnTo>
                    <a:pt x="119587" y="393812"/>
                  </a:lnTo>
                  <a:lnTo>
                    <a:pt x="120269" y="395452"/>
                  </a:lnTo>
                  <a:lnTo>
                    <a:pt x="120216" y="399257"/>
                  </a:lnTo>
                  <a:lnTo>
                    <a:pt x="120667" y="401599"/>
                  </a:lnTo>
                  <a:lnTo>
                    <a:pt x="121729" y="403752"/>
                  </a:lnTo>
                  <a:lnTo>
                    <a:pt x="121256" y="405996"/>
                  </a:lnTo>
                  <a:lnTo>
                    <a:pt x="117832" y="411238"/>
                  </a:lnTo>
                  <a:lnTo>
                    <a:pt x="117910" y="413693"/>
                  </a:lnTo>
                  <a:lnTo>
                    <a:pt x="118525" y="415150"/>
                  </a:lnTo>
                  <a:lnTo>
                    <a:pt x="118980" y="417477"/>
                  </a:lnTo>
                  <a:lnTo>
                    <a:pt x="117424" y="421945"/>
                  </a:lnTo>
                  <a:lnTo>
                    <a:pt x="116324" y="425671"/>
                  </a:lnTo>
                  <a:lnTo>
                    <a:pt x="115018" y="428802"/>
                  </a:lnTo>
                  <a:lnTo>
                    <a:pt x="112094" y="432553"/>
                  </a:lnTo>
                  <a:lnTo>
                    <a:pt x="110639" y="435353"/>
                  </a:lnTo>
                  <a:lnTo>
                    <a:pt x="107233" y="444067"/>
                  </a:lnTo>
                  <a:lnTo>
                    <a:pt x="105545" y="445792"/>
                  </a:lnTo>
                  <a:lnTo>
                    <a:pt x="103474" y="447117"/>
                  </a:lnTo>
                  <a:lnTo>
                    <a:pt x="101166" y="445891"/>
                  </a:lnTo>
                  <a:lnTo>
                    <a:pt x="99049" y="445223"/>
                  </a:lnTo>
                  <a:lnTo>
                    <a:pt x="96464" y="445304"/>
                  </a:lnTo>
                  <a:lnTo>
                    <a:pt x="92416" y="446309"/>
                  </a:lnTo>
                  <a:lnTo>
                    <a:pt x="86326" y="445641"/>
                  </a:lnTo>
                  <a:lnTo>
                    <a:pt x="80375" y="445963"/>
                  </a:lnTo>
                  <a:lnTo>
                    <a:pt x="78870" y="446831"/>
                  </a:lnTo>
                  <a:lnTo>
                    <a:pt x="79772" y="449981"/>
                  </a:lnTo>
                  <a:lnTo>
                    <a:pt x="77579" y="450394"/>
                  </a:lnTo>
                  <a:lnTo>
                    <a:pt x="75434" y="449498"/>
                  </a:lnTo>
                  <a:lnTo>
                    <a:pt x="73547" y="450567"/>
                  </a:lnTo>
                  <a:lnTo>
                    <a:pt x="71970" y="451739"/>
                  </a:lnTo>
                  <a:lnTo>
                    <a:pt x="68874" y="454516"/>
                  </a:lnTo>
                  <a:lnTo>
                    <a:pt x="67837" y="456225"/>
                  </a:lnTo>
                  <a:lnTo>
                    <a:pt x="67570" y="459439"/>
                  </a:lnTo>
                  <a:lnTo>
                    <a:pt x="69196" y="462318"/>
                  </a:lnTo>
                  <a:lnTo>
                    <a:pt x="70638" y="465684"/>
                  </a:lnTo>
                  <a:lnTo>
                    <a:pt x="66924" y="469739"/>
                  </a:lnTo>
                  <a:lnTo>
                    <a:pt x="64851" y="469876"/>
                  </a:lnTo>
                  <a:lnTo>
                    <a:pt x="58800" y="468752"/>
                  </a:lnTo>
                  <a:lnTo>
                    <a:pt x="48077" y="471291"/>
                  </a:lnTo>
                  <a:lnTo>
                    <a:pt x="38446" y="469283"/>
                  </a:lnTo>
                  <a:lnTo>
                    <a:pt x="39657" y="467112"/>
                  </a:lnTo>
                  <a:lnTo>
                    <a:pt x="39617" y="465514"/>
                  </a:lnTo>
                  <a:lnTo>
                    <a:pt x="40161" y="463055"/>
                  </a:lnTo>
                  <a:lnTo>
                    <a:pt x="40484" y="460536"/>
                  </a:lnTo>
                  <a:lnTo>
                    <a:pt x="40394" y="458849"/>
                  </a:lnTo>
                  <a:lnTo>
                    <a:pt x="39688" y="457050"/>
                  </a:lnTo>
                  <a:lnTo>
                    <a:pt x="37313" y="454694"/>
                  </a:lnTo>
                  <a:lnTo>
                    <a:pt x="31961" y="446722"/>
                  </a:lnTo>
                  <a:lnTo>
                    <a:pt x="30378" y="443349"/>
                  </a:lnTo>
                  <a:lnTo>
                    <a:pt x="29277" y="441942"/>
                  </a:lnTo>
                  <a:lnTo>
                    <a:pt x="30070" y="441866"/>
                  </a:lnTo>
                  <a:lnTo>
                    <a:pt x="34477" y="443679"/>
                  </a:lnTo>
                  <a:lnTo>
                    <a:pt x="35505" y="443456"/>
                  </a:lnTo>
                  <a:lnTo>
                    <a:pt x="36585" y="442775"/>
                  </a:lnTo>
                  <a:lnTo>
                    <a:pt x="35270" y="440179"/>
                  </a:lnTo>
                  <a:lnTo>
                    <a:pt x="34140" y="439003"/>
                  </a:lnTo>
                  <a:lnTo>
                    <a:pt x="33374" y="437243"/>
                  </a:lnTo>
                  <a:lnTo>
                    <a:pt x="35954" y="436767"/>
                  </a:lnTo>
                  <a:lnTo>
                    <a:pt x="37818" y="436872"/>
                  </a:lnTo>
                  <a:lnTo>
                    <a:pt x="39191" y="434890"/>
                  </a:lnTo>
                  <a:lnTo>
                    <a:pt x="38399" y="431681"/>
                  </a:lnTo>
                  <a:lnTo>
                    <a:pt x="36397" y="430693"/>
                  </a:lnTo>
                  <a:lnTo>
                    <a:pt x="34725" y="430263"/>
                  </a:lnTo>
                  <a:lnTo>
                    <a:pt x="31521" y="425210"/>
                  </a:lnTo>
                  <a:lnTo>
                    <a:pt x="28178" y="422589"/>
                  </a:lnTo>
                  <a:lnTo>
                    <a:pt x="22216" y="412449"/>
                  </a:lnTo>
                  <a:lnTo>
                    <a:pt x="20035" y="405461"/>
                  </a:lnTo>
                  <a:lnTo>
                    <a:pt x="18008" y="406126"/>
                  </a:lnTo>
                  <a:lnTo>
                    <a:pt x="17023" y="403076"/>
                  </a:lnTo>
                  <a:lnTo>
                    <a:pt x="16317" y="400184"/>
                  </a:lnTo>
                  <a:lnTo>
                    <a:pt x="16176" y="398055"/>
                  </a:lnTo>
                  <a:lnTo>
                    <a:pt x="12998" y="396834"/>
                  </a:lnTo>
                  <a:lnTo>
                    <a:pt x="12868" y="395340"/>
                  </a:lnTo>
                  <a:lnTo>
                    <a:pt x="12296" y="388660"/>
                  </a:lnTo>
                  <a:lnTo>
                    <a:pt x="8886" y="387761"/>
                  </a:lnTo>
                  <a:lnTo>
                    <a:pt x="6681" y="384002"/>
                  </a:lnTo>
                  <a:lnTo>
                    <a:pt x="6288" y="376872"/>
                  </a:lnTo>
                  <a:lnTo>
                    <a:pt x="4043" y="375571"/>
                  </a:lnTo>
                  <a:lnTo>
                    <a:pt x="2235" y="375932"/>
                  </a:lnTo>
                  <a:lnTo>
                    <a:pt x="2320" y="374160"/>
                  </a:lnTo>
                  <a:lnTo>
                    <a:pt x="2751" y="372496"/>
                  </a:lnTo>
                  <a:lnTo>
                    <a:pt x="1696" y="365889"/>
                  </a:lnTo>
                  <a:lnTo>
                    <a:pt x="1343" y="359841"/>
                  </a:lnTo>
                  <a:lnTo>
                    <a:pt x="486" y="358012"/>
                  </a:lnTo>
                  <a:lnTo>
                    <a:pt x="0" y="355868"/>
                  </a:lnTo>
                  <a:lnTo>
                    <a:pt x="436" y="354014"/>
                  </a:lnTo>
                  <a:lnTo>
                    <a:pt x="1076" y="352949"/>
                  </a:lnTo>
                  <a:lnTo>
                    <a:pt x="3276" y="352669"/>
                  </a:lnTo>
                  <a:lnTo>
                    <a:pt x="5332" y="354309"/>
                  </a:lnTo>
                  <a:lnTo>
                    <a:pt x="7154" y="358440"/>
                  </a:lnTo>
                  <a:lnTo>
                    <a:pt x="8765" y="358977"/>
                  </a:lnTo>
                  <a:lnTo>
                    <a:pt x="10959" y="357902"/>
                  </a:lnTo>
                  <a:lnTo>
                    <a:pt x="12495" y="354890"/>
                  </a:lnTo>
                  <a:lnTo>
                    <a:pt x="13371" y="350363"/>
                  </a:lnTo>
                  <a:lnTo>
                    <a:pt x="14395" y="346042"/>
                  </a:lnTo>
                  <a:lnTo>
                    <a:pt x="13183" y="341411"/>
                  </a:lnTo>
                  <a:lnTo>
                    <a:pt x="11890" y="337334"/>
                  </a:lnTo>
                  <a:lnTo>
                    <a:pt x="11799" y="336135"/>
                  </a:lnTo>
                  <a:lnTo>
                    <a:pt x="15194" y="332688"/>
                  </a:lnTo>
                  <a:lnTo>
                    <a:pt x="16232" y="329881"/>
                  </a:lnTo>
                  <a:lnTo>
                    <a:pt x="17358" y="327204"/>
                  </a:lnTo>
                  <a:lnTo>
                    <a:pt x="18599" y="326293"/>
                  </a:lnTo>
                  <a:lnTo>
                    <a:pt x="20448" y="326085"/>
                  </a:lnTo>
                  <a:lnTo>
                    <a:pt x="22601" y="325581"/>
                  </a:lnTo>
                  <a:lnTo>
                    <a:pt x="25315" y="323786"/>
                  </a:lnTo>
                  <a:lnTo>
                    <a:pt x="27748" y="321381"/>
                  </a:lnTo>
                  <a:lnTo>
                    <a:pt x="29608" y="319172"/>
                  </a:lnTo>
                  <a:lnTo>
                    <a:pt x="30238" y="314796"/>
                  </a:lnTo>
                  <a:lnTo>
                    <a:pt x="30264" y="312594"/>
                  </a:lnTo>
                  <a:lnTo>
                    <a:pt x="31083" y="310957"/>
                  </a:lnTo>
                  <a:lnTo>
                    <a:pt x="31875" y="307757"/>
                  </a:lnTo>
                  <a:lnTo>
                    <a:pt x="31104" y="304595"/>
                  </a:lnTo>
                  <a:lnTo>
                    <a:pt x="28705" y="299791"/>
                  </a:lnTo>
                  <a:lnTo>
                    <a:pt x="25816" y="293016"/>
                  </a:lnTo>
                  <a:lnTo>
                    <a:pt x="25362" y="289308"/>
                  </a:lnTo>
                  <a:lnTo>
                    <a:pt x="26679" y="288619"/>
                  </a:lnTo>
                  <a:lnTo>
                    <a:pt x="29198" y="288004"/>
                  </a:lnTo>
                  <a:lnTo>
                    <a:pt x="33961" y="287826"/>
                  </a:lnTo>
                  <a:lnTo>
                    <a:pt x="34471" y="287388"/>
                  </a:lnTo>
                  <a:lnTo>
                    <a:pt x="34952" y="285761"/>
                  </a:lnTo>
                  <a:lnTo>
                    <a:pt x="36025" y="283550"/>
                  </a:lnTo>
                  <a:lnTo>
                    <a:pt x="37172" y="281938"/>
                  </a:lnTo>
                  <a:lnTo>
                    <a:pt x="37956" y="279631"/>
                  </a:lnTo>
                  <a:lnTo>
                    <a:pt x="38334" y="277538"/>
                  </a:lnTo>
                  <a:lnTo>
                    <a:pt x="35609" y="274382"/>
                  </a:lnTo>
                  <a:lnTo>
                    <a:pt x="32039" y="271147"/>
                  </a:lnTo>
                  <a:lnTo>
                    <a:pt x="29623" y="270074"/>
                  </a:lnTo>
                  <a:lnTo>
                    <a:pt x="25317" y="267346"/>
                  </a:lnTo>
                  <a:lnTo>
                    <a:pt x="22294" y="265062"/>
                  </a:lnTo>
                  <a:lnTo>
                    <a:pt x="24026" y="256346"/>
                  </a:lnTo>
                  <a:lnTo>
                    <a:pt x="25315" y="249836"/>
                  </a:lnTo>
                  <a:lnTo>
                    <a:pt x="25522" y="248251"/>
                  </a:lnTo>
                  <a:lnTo>
                    <a:pt x="25570" y="245790"/>
                  </a:lnTo>
                  <a:lnTo>
                    <a:pt x="21391" y="235264"/>
                  </a:lnTo>
                  <a:lnTo>
                    <a:pt x="21553" y="232916"/>
                  </a:lnTo>
                  <a:lnTo>
                    <a:pt x="21951" y="230799"/>
                  </a:lnTo>
                  <a:lnTo>
                    <a:pt x="21503" y="227185"/>
                  </a:lnTo>
                  <a:lnTo>
                    <a:pt x="21260" y="223946"/>
                  </a:lnTo>
                  <a:lnTo>
                    <a:pt x="21977" y="222963"/>
                  </a:lnTo>
                  <a:lnTo>
                    <a:pt x="23682" y="221133"/>
                  </a:lnTo>
                  <a:lnTo>
                    <a:pt x="22056" y="218291"/>
                  </a:lnTo>
                  <a:lnTo>
                    <a:pt x="21925" y="218060"/>
                  </a:lnTo>
                  <a:lnTo>
                    <a:pt x="18856" y="211011"/>
                  </a:lnTo>
                  <a:lnTo>
                    <a:pt x="23549" y="204008"/>
                  </a:lnTo>
                  <a:lnTo>
                    <a:pt x="22732" y="200377"/>
                  </a:lnTo>
                  <a:lnTo>
                    <a:pt x="25535" y="197738"/>
                  </a:lnTo>
                  <a:lnTo>
                    <a:pt x="30638" y="191681"/>
                  </a:lnTo>
                  <a:lnTo>
                    <a:pt x="33508" y="188267"/>
                  </a:lnTo>
                  <a:lnTo>
                    <a:pt x="34117" y="187670"/>
                  </a:lnTo>
                  <a:lnTo>
                    <a:pt x="36388" y="186168"/>
                  </a:lnTo>
                  <a:lnTo>
                    <a:pt x="40696" y="184385"/>
                  </a:lnTo>
                  <a:lnTo>
                    <a:pt x="45471" y="183516"/>
                  </a:lnTo>
                  <a:lnTo>
                    <a:pt x="47596" y="183527"/>
                  </a:lnTo>
                  <a:lnTo>
                    <a:pt x="55801" y="184734"/>
                  </a:lnTo>
                  <a:lnTo>
                    <a:pt x="62210" y="185673"/>
                  </a:lnTo>
                  <a:lnTo>
                    <a:pt x="63143" y="184730"/>
                  </a:lnTo>
                  <a:lnTo>
                    <a:pt x="64482" y="182795"/>
                  </a:lnTo>
                  <a:lnTo>
                    <a:pt x="66205" y="180035"/>
                  </a:lnTo>
                  <a:lnTo>
                    <a:pt x="66356" y="176962"/>
                  </a:lnTo>
                  <a:lnTo>
                    <a:pt x="65734" y="172439"/>
                  </a:lnTo>
                  <a:lnTo>
                    <a:pt x="64799" y="169727"/>
                  </a:lnTo>
                  <a:lnTo>
                    <a:pt x="60286" y="167963"/>
                  </a:lnTo>
                  <a:lnTo>
                    <a:pt x="55350" y="165542"/>
                  </a:lnTo>
                  <a:lnTo>
                    <a:pt x="61420" y="157854"/>
                  </a:lnTo>
                  <a:lnTo>
                    <a:pt x="65629" y="152501"/>
                  </a:lnTo>
                  <a:lnTo>
                    <a:pt x="70876" y="144422"/>
                  </a:lnTo>
                  <a:lnTo>
                    <a:pt x="72508" y="141051"/>
                  </a:lnTo>
                  <a:lnTo>
                    <a:pt x="73689" y="139711"/>
                  </a:lnTo>
                  <a:lnTo>
                    <a:pt x="75233" y="127217"/>
                  </a:lnTo>
                  <a:lnTo>
                    <a:pt x="76257" y="123708"/>
                  </a:lnTo>
                  <a:lnTo>
                    <a:pt x="77114" y="121873"/>
                  </a:lnTo>
                  <a:lnTo>
                    <a:pt x="77127" y="119986"/>
                  </a:lnTo>
                  <a:lnTo>
                    <a:pt x="76570" y="116802"/>
                  </a:lnTo>
                  <a:lnTo>
                    <a:pt x="75095" y="109590"/>
                  </a:lnTo>
                  <a:lnTo>
                    <a:pt x="83381" y="108696"/>
                  </a:lnTo>
                  <a:lnTo>
                    <a:pt x="86080" y="108190"/>
                  </a:lnTo>
                  <a:lnTo>
                    <a:pt x="88585" y="107326"/>
                  </a:lnTo>
                  <a:lnTo>
                    <a:pt x="93485" y="105086"/>
                  </a:lnTo>
                  <a:lnTo>
                    <a:pt x="95892" y="103105"/>
                  </a:lnTo>
                  <a:lnTo>
                    <a:pt x="94547" y="96329"/>
                  </a:lnTo>
                  <a:lnTo>
                    <a:pt x="97512" y="94031"/>
                  </a:lnTo>
                  <a:lnTo>
                    <a:pt x="104746" y="86006"/>
                  </a:lnTo>
                  <a:lnTo>
                    <a:pt x="112563" y="78290"/>
                  </a:lnTo>
                  <a:lnTo>
                    <a:pt x="116229" y="75362"/>
                  </a:lnTo>
                  <a:lnTo>
                    <a:pt x="116609" y="73929"/>
                  </a:lnTo>
                  <a:lnTo>
                    <a:pt x="116910" y="71624"/>
                  </a:lnTo>
                  <a:lnTo>
                    <a:pt x="115281" y="67999"/>
                  </a:lnTo>
                  <a:lnTo>
                    <a:pt x="113532" y="65749"/>
                  </a:lnTo>
                  <a:lnTo>
                    <a:pt x="110125" y="61479"/>
                  </a:lnTo>
                  <a:lnTo>
                    <a:pt x="111587" y="58496"/>
                  </a:lnTo>
                  <a:lnTo>
                    <a:pt x="114098" y="57916"/>
                  </a:lnTo>
                  <a:lnTo>
                    <a:pt x="117415" y="56743"/>
                  </a:lnTo>
                  <a:lnTo>
                    <a:pt x="120002" y="54187"/>
                  </a:lnTo>
                  <a:lnTo>
                    <a:pt x="120254" y="53858"/>
                  </a:lnTo>
                  <a:lnTo>
                    <a:pt x="124634" y="43774"/>
                  </a:lnTo>
                  <a:lnTo>
                    <a:pt x="133189" y="38646"/>
                  </a:lnTo>
                  <a:lnTo>
                    <a:pt x="136597" y="35843"/>
                  </a:lnTo>
                  <a:lnTo>
                    <a:pt x="141907" y="37949"/>
                  </a:lnTo>
                  <a:lnTo>
                    <a:pt x="149689" y="41124"/>
                  </a:lnTo>
                  <a:lnTo>
                    <a:pt x="153150" y="36451"/>
                  </a:lnTo>
                  <a:lnTo>
                    <a:pt x="154295" y="34715"/>
                  </a:lnTo>
                  <a:lnTo>
                    <a:pt x="155437" y="32154"/>
                  </a:lnTo>
                  <a:lnTo>
                    <a:pt x="154979" y="27717"/>
                  </a:lnTo>
                  <a:lnTo>
                    <a:pt x="154783" y="21940"/>
                  </a:lnTo>
                  <a:lnTo>
                    <a:pt x="155126" y="19614"/>
                  </a:lnTo>
                  <a:lnTo>
                    <a:pt x="158232" y="18577"/>
                  </a:lnTo>
                  <a:lnTo>
                    <a:pt x="159903" y="18309"/>
                  </a:lnTo>
                  <a:lnTo>
                    <a:pt x="168553" y="20702"/>
                  </a:lnTo>
                  <a:lnTo>
                    <a:pt x="170730" y="20661"/>
                  </a:lnTo>
                  <a:lnTo>
                    <a:pt x="174807" y="20983"/>
                  </a:lnTo>
                  <a:lnTo>
                    <a:pt x="179370" y="22034"/>
                  </a:lnTo>
                  <a:lnTo>
                    <a:pt x="188927" y="24826"/>
                  </a:lnTo>
                  <a:lnTo>
                    <a:pt x="192881" y="25981"/>
                  </a:lnTo>
                  <a:lnTo>
                    <a:pt x="195088" y="26205"/>
                  </a:lnTo>
                  <a:lnTo>
                    <a:pt x="196993" y="24905"/>
                  </a:lnTo>
                  <a:lnTo>
                    <a:pt x="201063" y="21566"/>
                  </a:lnTo>
                  <a:lnTo>
                    <a:pt x="195066" y="19091"/>
                  </a:lnTo>
                  <a:lnTo>
                    <a:pt x="199016" y="16583"/>
                  </a:lnTo>
                  <a:lnTo>
                    <a:pt x="201063" y="14051"/>
                  </a:lnTo>
                  <a:lnTo>
                    <a:pt x="202819" y="10934"/>
                  </a:lnTo>
                  <a:lnTo>
                    <a:pt x="203451" y="7280"/>
                  </a:lnTo>
                  <a:lnTo>
                    <a:pt x="203209" y="5312"/>
                  </a:lnTo>
                  <a:lnTo>
                    <a:pt x="201998" y="3971"/>
                  </a:lnTo>
                  <a:lnTo>
                    <a:pt x="198336" y="619"/>
                  </a:lnTo>
                  <a:lnTo>
                    <a:pt x="206634" y="138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ee4p_UA_1_37764">
              <a:extLst>
                <a:ext uri="{FF2B5EF4-FFF2-40B4-BE49-F238E27FC236}">
                  <a16:creationId xmlns:a16="http://schemas.microsoft.com/office/drawing/2014/main" id="{56D43408-B318-428A-B8D3-52BEAA1A8B7B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13026781" y="8623148"/>
              <a:ext cx="3745853" cy="2126957"/>
            </a:xfrm>
            <a:custGeom>
              <a:avLst/>
              <a:gdLst>
                <a:gd name="connsiteX0" fmla="*/ 207344 w 397940"/>
                <a:gd name="connsiteY0" fmla="*/ 171473 h 225957"/>
                <a:gd name="connsiteX1" fmla="*/ 209026 w 397940"/>
                <a:gd name="connsiteY1" fmla="*/ 173412 h 225957"/>
                <a:gd name="connsiteX2" fmla="*/ 210212 w 397940"/>
                <a:gd name="connsiteY2" fmla="*/ 174260 h 225957"/>
                <a:gd name="connsiteX3" fmla="*/ 218475 w 397940"/>
                <a:gd name="connsiteY3" fmla="*/ 176160 h 225957"/>
                <a:gd name="connsiteX4" fmla="*/ 221524 w 397940"/>
                <a:gd name="connsiteY4" fmla="*/ 177522 h 225957"/>
                <a:gd name="connsiteX5" fmla="*/ 218413 w 397940"/>
                <a:gd name="connsiteY5" fmla="*/ 177159 h 225957"/>
                <a:gd name="connsiteX6" fmla="*/ 211576 w 397940"/>
                <a:gd name="connsiteY6" fmla="*/ 175879 h 225957"/>
                <a:gd name="connsiteX7" fmla="*/ 208562 w 397940"/>
                <a:gd name="connsiteY7" fmla="*/ 174670 h 225957"/>
                <a:gd name="connsiteX8" fmla="*/ 207784 w 397940"/>
                <a:gd name="connsiteY8" fmla="*/ 173318 h 225957"/>
                <a:gd name="connsiteX9" fmla="*/ 246666 w 397940"/>
                <a:gd name="connsiteY9" fmla="*/ 0 h 225957"/>
                <a:gd name="connsiteX10" fmla="*/ 250309 w 397940"/>
                <a:gd name="connsiteY10" fmla="*/ 587 h 225957"/>
                <a:gd name="connsiteX11" fmla="*/ 253881 w 397940"/>
                <a:gd name="connsiteY11" fmla="*/ 622 h 225957"/>
                <a:gd name="connsiteX12" fmla="*/ 256576 w 397940"/>
                <a:gd name="connsiteY12" fmla="*/ 261 h 225957"/>
                <a:gd name="connsiteX13" fmla="*/ 258424 w 397940"/>
                <a:gd name="connsiteY13" fmla="*/ 1126 h 225957"/>
                <a:gd name="connsiteX14" fmla="*/ 260707 w 397940"/>
                <a:gd name="connsiteY14" fmla="*/ 3030 h 225957"/>
                <a:gd name="connsiteX15" fmla="*/ 262769 w 397940"/>
                <a:gd name="connsiteY15" fmla="*/ 5862 h 225957"/>
                <a:gd name="connsiteX16" fmla="*/ 264930 w 397940"/>
                <a:gd name="connsiteY16" fmla="*/ 11080 h 225957"/>
                <a:gd name="connsiteX17" fmla="*/ 271227 w 397940"/>
                <a:gd name="connsiteY17" fmla="*/ 16962 h 225957"/>
                <a:gd name="connsiteX18" fmla="*/ 271335 w 397940"/>
                <a:gd name="connsiteY18" fmla="*/ 18109 h 225957"/>
                <a:gd name="connsiteX19" fmla="*/ 270817 w 397940"/>
                <a:gd name="connsiteY19" fmla="*/ 18846 h 225957"/>
                <a:gd name="connsiteX20" fmla="*/ 267718 w 397940"/>
                <a:gd name="connsiteY20" fmla="*/ 19561 h 225957"/>
                <a:gd name="connsiteX21" fmla="*/ 265107 w 397940"/>
                <a:gd name="connsiteY21" fmla="*/ 19946 h 225957"/>
                <a:gd name="connsiteX22" fmla="*/ 264982 w 397940"/>
                <a:gd name="connsiteY22" fmla="*/ 20953 h 225957"/>
                <a:gd name="connsiteX23" fmla="*/ 265675 w 397940"/>
                <a:gd name="connsiteY23" fmla="*/ 22042 h 225957"/>
                <a:gd name="connsiteX24" fmla="*/ 266872 w 397940"/>
                <a:gd name="connsiteY24" fmla="*/ 23635 h 225957"/>
                <a:gd name="connsiteX25" fmla="*/ 267057 w 397940"/>
                <a:gd name="connsiteY25" fmla="*/ 25685 h 225957"/>
                <a:gd name="connsiteX26" fmla="*/ 266997 w 397940"/>
                <a:gd name="connsiteY26" fmla="*/ 27569 h 225957"/>
                <a:gd name="connsiteX27" fmla="*/ 267513 w 397940"/>
                <a:gd name="connsiteY27" fmla="*/ 29233 h 225957"/>
                <a:gd name="connsiteX28" fmla="*/ 268511 w 397940"/>
                <a:gd name="connsiteY28" fmla="*/ 29909 h 225957"/>
                <a:gd name="connsiteX29" fmla="*/ 268636 w 397940"/>
                <a:gd name="connsiteY29" fmla="*/ 30745 h 225957"/>
                <a:gd name="connsiteX30" fmla="*/ 267481 w 397940"/>
                <a:gd name="connsiteY30" fmla="*/ 31766 h 225957"/>
                <a:gd name="connsiteX31" fmla="*/ 267159 w 397940"/>
                <a:gd name="connsiteY31" fmla="*/ 32396 h 225957"/>
                <a:gd name="connsiteX32" fmla="*/ 267608 w 397940"/>
                <a:gd name="connsiteY32" fmla="*/ 32735 h 225957"/>
                <a:gd name="connsiteX33" fmla="*/ 273287 w 397940"/>
                <a:gd name="connsiteY33" fmla="*/ 32932 h 225957"/>
                <a:gd name="connsiteX34" fmla="*/ 276068 w 397940"/>
                <a:gd name="connsiteY34" fmla="*/ 33926 h 225957"/>
                <a:gd name="connsiteX35" fmla="*/ 278180 w 397940"/>
                <a:gd name="connsiteY35" fmla="*/ 34831 h 225957"/>
                <a:gd name="connsiteX36" fmla="*/ 279243 w 397940"/>
                <a:gd name="connsiteY36" fmla="*/ 34915 h 225957"/>
                <a:gd name="connsiteX37" fmla="*/ 281635 w 397940"/>
                <a:gd name="connsiteY37" fmla="*/ 34333 h 225957"/>
                <a:gd name="connsiteX38" fmla="*/ 284326 w 397940"/>
                <a:gd name="connsiteY38" fmla="*/ 33966 h 225957"/>
                <a:gd name="connsiteX39" fmla="*/ 285958 w 397940"/>
                <a:gd name="connsiteY39" fmla="*/ 33917 h 225957"/>
                <a:gd name="connsiteX40" fmla="*/ 286589 w 397940"/>
                <a:gd name="connsiteY40" fmla="*/ 34584 h 225957"/>
                <a:gd name="connsiteX41" fmla="*/ 287092 w 397940"/>
                <a:gd name="connsiteY41" fmla="*/ 36334 h 225957"/>
                <a:gd name="connsiteX42" fmla="*/ 288038 w 397940"/>
                <a:gd name="connsiteY42" fmla="*/ 38084 h 225957"/>
                <a:gd name="connsiteX43" fmla="*/ 288921 w 397940"/>
                <a:gd name="connsiteY43" fmla="*/ 38584 h 225957"/>
                <a:gd name="connsiteX44" fmla="*/ 290493 w 397940"/>
                <a:gd name="connsiteY44" fmla="*/ 38500 h 225957"/>
                <a:gd name="connsiteX45" fmla="*/ 291439 w 397940"/>
                <a:gd name="connsiteY45" fmla="*/ 38584 h 225957"/>
                <a:gd name="connsiteX46" fmla="*/ 291944 w 397940"/>
                <a:gd name="connsiteY46" fmla="*/ 39249 h 225957"/>
                <a:gd name="connsiteX47" fmla="*/ 291376 w 397940"/>
                <a:gd name="connsiteY47" fmla="*/ 40249 h 225957"/>
                <a:gd name="connsiteX48" fmla="*/ 291502 w 397940"/>
                <a:gd name="connsiteY48" fmla="*/ 41329 h 225957"/>
                <a:gd name="connsiteX49" fmla="*/ 292195 w 397940"/>
                <a:gd name="connsiteY49" fmla="*/ 42660 h 225957"/>
                <a:gd name="connsiteX50" fmla="*/ 293015 w 397940"/>
                <a:gd name="connsiteY50" fmla="*/ 45733 h 225957"/>
                <a:gd name="connsiteX51" fmla="*/ 293771 w 397940"/>
                <a:gd name="connsiteY51" fmla="*/ 46646 h 225957"/>
                <a:gd name="connsiteX52" fmla="*/ 294274 w 397940"/>
                <a:gd name="connsiteY52" fmla="*/ 47808 h 225957"/>
                <a:gd name="connsiteX53" fmla="*/ 294274 w 397940"/>
                <a:gd name="connsiteY53" fmla="*/ 49135 h 225957"/>
                <a:gd name="connsiteX54" fmla="*/ 293644 w 397940"/>
                <a:gd name="connsiteY54" fmla="*/ 50295 h 225957"/>
                <a:gd name="connsiteX55" fmla="*/ 293203 w 397940"/>
                <a:gd name="connsiteY55" fmla="*/ 51205 h 225957"/>
                <a:gd name="connsiteX56" fmla="*/ 293644 w 397940"/>
                <a:gd name="connsiteY56" fmla="*/ 53275 h 225957"/>
                <a:gd name="connsiteX57" fmla="*/ 295343 w 397940"/>
                <a:gd name="connsiteY57" fmla="*/ 55592 h 225957"/>
                <a:gd name="connsiteX58" fmla="*/ 296604 w 397940"/>
                <a:gd name="connsiteY58" fmla="*/ 56170 h 225957"/>
                <a:gd name="connsiteX59" fmla="*/ 297613 w 397940"/>
                <a:gd name="connsiteY59" fmla="*/ 58236 h 225957"/>
                <a:gd name="connsiteX60" fmla="*/ 299439 w 397940"/>
                <a:gd name="connsiteY60" fmla="*/ 58896 h 225957"/>
                <a:gd name="connsiteX61" fmla="*/ 302147 w 397940"/>
                <a:gd name="connsiteY61" fmla="*/ 57163 h 225957"/>
                <a:gd name="connsiteX62" fmla="*/ 304227 w 397940"/>
                <a:gd name="connsiteY62" fmla="*/ 56254 h 225957"/>
                <a:gd name="connsiteX63" fmla="*/ 306827 w 397940"/>
                <a:gd name="connsiteY63" fmla="*/ 56759 h 225957"/>
                <a:gd name="connsiteX64" fmla="*/ 309228 w 397940"/>
                <a:gd name="connsiteY64" fmla="*/ 57082 h 225957"/>
                <a:gd name="connsiteX65" fmla="*/ 310843 w 397940"/>
                <a:gd name="connsiteY65" fmla="*/ 58263 h 225957"/>
                <a:gd name="connsiteX66" fmla="*/ 312035 w 397940"/>
                <a:gd name="connsiteY66" fmla="*/ 59887 h 225957"/>
                <a:gd name="connsiteX67" fmla="*/ 313422 w 397940"/>
                <a:gd name="connsiteY67" fmla="*/ 60794 h 225957"/>
                <a:gd name="connsiteX68" fmla="*/ 314810 w 397940"/>
                <a:gd name="connsiteY68" fmla="*/ 60320 h 225957"/>
                <a:gd name="connsiteX69" fmla="*/ 317706 w 397940"/>
                <a:gd name="connsiteY69" fmla="*/ 60794 h 225957"/>
                <a:gd name="connsiteX70" fmla="*/ 319029 w 397940"/>
                <a:gd name="connsiteY70" fmla="*/ 62114 h 225957"/>
                <a:gd name="connsiteX71" fmla="*/ 320351 w 397940"/>
                <a:gd name="connsiteY71" fmla="*/ 62856 h 225957"/>
                <a:gd name="connsiteX72" fmla="*/ 322052 w 397940"/>
                <a:gd name="connsiteY72" fmla="*/ 61785 h 225957"/>
                <a:gd name="connsiteX73" fmla="*/ 323439 w 397940"/>
                <a:gd name="connsiteY73" fmla="*/ 60465 h 225957"/>
                <a:gd name="connsiteX74" fmla="*/ 328511 w 397940"/>
                <a:gd name="connsiteY74" fmla="*/ 59082 h 225957"/>
                <a:gd name="connsiteX75" fmla="*/ 331668 w 397940"/>
                <a:gd name="connsiteY75" fmla="*/ 58736 h 225957"/>
                <a:gd name="connsiteX76" fmla="*/ 332549 w 397940"/>
                <a:gd name="connsiteY76" fmla="*/ 58464 h 225957"/>
                <a:gd name="connsiteX77" fmla="*/ 334402 w 397940"/>
                <a:gd name="connsiteY77" fmla="*/ 57476 h 225957"/>
                <a:gd name="connsiteX78" fmla="*/ 336354 w 397940"/>
                <a:gd name="connsiteY78" fmla="*/ 56819 h 225957"/>
                <a:gd name="connsiteX79" fmla="*/ 338116 w 397940"/>
                <a:gd name="connsiteY79" fmla="*/ 56997 h 225957"/>
                <a:gd name="connsiteX80" fmla="*/ 339852 w 397940"/>
                <a:gd name="connsiteY80" fmla="*/ 59049 h 225957"/>
                <a:gd name="connsiteX81" fmla="*/ 341643 w 397940"/>
                <a:gd name="connsiteY81" fmla="*/ 60465 h 225957"/>
                <a:gd name="connsiteX82" fmla="*/ 342146 w 397940"/>
                <a:gd name="connsiteY82" fmla="*/ 62691 h 225957"/>
                <a:gd name="connsiteX83" fmla="*/ 344337 w 397940"/>
                <a:gd name="connsiteY83" fmla="*/ 65753 h 225957"/>
                <a:gd name="connsiteX84" fmla="*/ 349779 w 397940"/>
                <a:gd name="connsiteY84" fmla="*/ 69936 h 225957"/>
                <a:gd name="connsiteX85" fmla="*/ 351915 w 397940"/>
                <a:gd name="connsiteY85" fmla="*/ 71211 h 225957"/>
                <a:gd name="connsiteX86" fmla="*/ 353366 w 397940"/>
                <a:gd name="connsiteY86" fmla="*/ 70986 h 225957"/>
                <a:gd name="connsiteX87" fmla="*/ 354124 w 397940"/>
                <a:gd name="connsiteY87" fmla="*/ 70652 h 225957"/>
                <a:gd name="connsiteX88" fmla="*/ 354476 w 397940"/>
                <a:gd name="connsiteY88" fmla="*/ 70215 h 225957"/>
                <a:gd name="connsiteX89" fmla="*/ 354804 w 397940"/>
                <a:gd name="connsiteY89" fmla="*/ 68170 h 225957"/>
                <a:gd name="connsiteX90" fmla="*/ 355493 w 397940"/>
                <a:gd name="connsiteY90" fmla="*/ 67417 h 225957"/>
                <a:gd name="connsiteX91" fmla="*/ 356596 w 397940"/>
                <a:gd name="connsiteY91" fmla="*/ 67392 h 225957"/>
                <a:gd name="connsiteX92" fmla="*/ 360855 w 397940"/>
                <a:gd name="connsiteY92" fmla="*/ 69940 h 225957"/>
                <a:gd name="connsiteX93" fmla="*/ 363083 w 397940"/>
                <a:gd name="connsiteY93" fmla="*/ 70214 h 225957"/>
                <a:gd name="connsiteX94" fmla="*/ 365201 w 397940"/>
                <a:gd name="connsiteY94" fmla="*/ 70263 h 225957"/>
                <a:gd name="connsiteX95" fmla="*/ 368052 w 397940"/>
                <a:gd name="connsiteY95" fmla="*/ 72240 h 225957"/>
                <a:gd name="connsiteX96" fmla="*/ 371185 w 397940"/>
                <a:gd name="connsiteY96" fmla="*/ 73958 h 225957"/>
                <a:gd name="connsiteX97" fmla="*/ 373603 w 397940"/>
                <a:gd name="connsiteY97" fmla="*/ 74139 h 225957"/>
                <a:gd name="connsiteX98" fmla="*/ 375532 w 397940"/>
                <a:gd name="connsiteY98" fmla="*/ 73467 h 225957"/>
                <a:gd name="connsiteX99" fmla="*/ 376856 w 397940"/>
                <a:gd name="connsiteY99" fmla="*/ 73058 h 225957"/>
                <a:gd name="connsiteX100" fmla="*/ 377674 w 397940"/>
                <a:gd name="connsiteY100" fmla="*/ 73713 h 225957"/>
                <a:gd name="connsiteX101" fmla="*/ 378430 w 397940"/>
                <a:gd name="connsiteY101" fmla="*/ 75190 h 225957"/>
                <a:gd name="connsiteX102" fmla="*/ 379689 w 397940"/>
                <a:gd name="connsiteY102" fmla="*/ 76338 h 225957"/>
                <a:gd name="connsiteX103" fmla="*/ 381138 w 397940"/>
                <a:gd name="connsiteY103" fmla="*/ 76666 h 225957"/>
                <a:gd name="connsiteX104" fmla="*/ 383223 w 397940"/>
                <a:gd name="connsiteY104" fmla="*/ 76741 h 225957"/>
                <a:gd name="connsiteX105" fmla="*/ 386845 w 397940"/>
                <a:gd name="connsiteY105" fmla="*/ 78966 h 225957"/>
                <a:gd name="connsiteX106" fmla="*/ 390250 w 397940"/>
                <a:gd name="connsiteY106" fmla="*/ 81226 h 225957"/>
                <a:gd name="connsiteX107" fmla="*/ 392379 w 397940"/>
                <a:gd name="connsiteY107" fmla="*/ 81351 h 225957"/>
                <a:gd name="connsiteX108" fmla="*/ 394185 w 397940"/>
                <a:gd name="connsiteY108" fmla="*/ 80688 h 225957"/>
                <a:gd name="connsiteX109" fmla="*/ 395780 w 397940"/>
                <a:gd name="connsiteY109" fmla="*/ 80517 h 225957"/>
                <a:gd name="connsiteX110" fmla="*/ 396886 w 397940"/>
                <a:gd name="connsiteY110" fmla="*/ 81087 h 225957"/>
                <a:gd name="connsiteX111" fmla="*/ 397201 w 397940"/>
                <a:gd name="connsiteY111" fmla="*/ 82069 h 225957"/>
                <a:gd name="connsiteX112" fmla="*/ 396381 w 397940"/>
                <a:gd name="connsiteY112" fmla="*/ 83378 h 225957"/>
                <a:gd name="connsiteX113" fmla="*/ 396381 w 397940"/>
                <a:gd name="connsiteY113" fmla="*/ 85258 h 225957"/>
                <a:gd name="connsiteX114" fmla="*/ 397892 w 397940"/>
                <a:gd name="connsiteY114" fmla="*/ 87055 h 225957"/>
                <a:gd name="connsiteX115" fmla="*/ 397940 w 397940"/>
                <a:gd name="connsiteY115" fmla="*/ 88820 h 225957"/>
                <a:gd name="connsiteX116" fmla="*/ 397508 w 397940"/>
                <a:gd name="connsiteY116" fmla="*/ 90413 h 225957"/>
                <a:gd name="connsiteX117" fmla="*/ 396651 w 397940"/>
                <a:gd name="connsiteY117" fmla="*/ 91880 h 225957"/>
                <a:gd name="connsiteX118" fmla="*/ 394580 w 397940"/>
                <a:gd name="connsiteY118" fmla="*/ 93894 h 225957"/>
                <a:gd name="connsiteX119" fmla="*/ 392664 w 397940"/>
                <a:gd name="connsiteY119" fmla="*/ 95773 h 225957"/>
                <a:gd name="connsiteX120" fmla="*/ 389784 w 397940"/>
                <a:gd name="connsiteY120" fmla="*/ 96558 h 225957"/>
                <a:gd name="connsiteX121" fmla="*/ 388171 w 397940"/>
                <a:gd name="connsiteY121" fmla="*/ 97376 h 225957"/>
                <a:gd name="connsiteX122" fmla="*/ 388594 w 397940"/>
                <a:gd name="connsiteY122" fmla="*/ 98755 h 225957"/>
                <a:gd name="connsiteX123" fmla="*/ 389648 w 397940"/>
                <a:gd name="connsiteY123" fmla="*/ 100041 h 225957"/>
                <a:gd name="connsiteX124" fmla="*/ 392090 w 397940"/>
                <a:gd name="connsiteY124" fmla="*/ 101081 h 225957"/>
                <a:gd name="connsiteX125" fmla="*/ 394863 w 397940"/>
                <a:gd name="connsiteY125" fmla="*/ 101838 h 225957"/>
                <a:gd name="connsiteX126" fmla="*/ 395182 w 397940"/>
                <a:gd name="connsiteY126" fmla="*/ 102673 h 225957"/>
                <a:gd name="connsiteX127" fmla="*/ 394759 w 397940"/>
                <a:gd name="connsiteY127" fmla="*/ 103092 h 225957"/>
                <a:gd name="connsiteX128" fmla="*/ 392982 w 397940"/>
                <a:gd name="connsiteY128" fmla="*/ 103480 h 225957"/>
                <a:gd name="connsiteX129" fmla="*/ 390522 w 397940"/>
                <a:gd name="connsiteY129" fmla="*/ 103082 h 225957"/>
                <a:gd name="connsiteX130" fmla="*/ 389704 w 397940"/>
                <a:gd name="connsiteY130" fmla="*/ 103812 h 225957"/>
                <a:gd name="connsiteX131" fmla="*/ 388570 w 397940"/>
                <a:gd name="connsiteY131" fmla="*/ 105028 h 225957"/>
                <a:gd name="connsiteX132" fmla="*/ 387815 w 397940"/>
                <a:gd name="connsiteY132" fmla="*/ 107215 h 225957"/>
                <a:gd name="connsiteX133" fmla="*/ 387246 w 397940"/>
                <a:gd name="connsiteY133" fmla="*/ 109239 h 225957"/>
                <a:gd name="connsiteX134" fmla="*/ 389916 w 397940"/>
                <a:gd name="connsiteY134" fmla="*/ 109788 h 225957"/>
                <a:gd name="connsiteX135" fmla="*/ 391468 w 397940"/>
                <a:gd name="connsiteY135" fmla="*/ 110614 h 225957"/>
                <a:gd name="connsiteX136" fmla="*/ 391952 w 397940"/>
                <a:gd name="connsiteY136" fmla="*/ 112276 h 225957"/>
                <a:gd name="connsiteX137" fmla="*/ 392507 w 397940"/>
                <a:gd name="connsiteY137" fmla="*/ 114123 h 225957"/>
                <a:gd name="connsiteX138" fmla="*/ 392667 w 397940"/>
                <a:gd name="connsiteY138" fmla="*/ 115785 h 225957"/>
                <a:gd name="connsiteX139" fmla="*/ 391783 w 397940"/>
                <a:gd name="connsiteY139" fmla="*/ 116592 h 225957"/>
                <a:gd name="connsiteX140" fmla="*/ 391730 w 397940"/>
                <a:gd name="connsiteY140" fmla="*/ 117418 h 225957"/>
                <a:gd name="connsiteX141" fmla="*/ 392146 w 397940"/>
                <a:gd name="connsiteY141" fmla="*/ 117824 h 225957"/>
                <a:gd name="connsiteX142" fmla="*/ 393293 w 397940"/>
                <a:gd name="connsiteY142" fmla="*/ 118008 h 225957"/>
                <a:gd name="connsiteX143" fmla="*/ 394172 w 397940"/>
                <a:gd name="connsiteY143" fmla="*/ 118377 h 225957"/>
                <a:gd name="connsiteX144" fmla="*/ 394241 w 397940"/>
                <a:gd name="connsiteY144" fmla="*/ 119253 h 225957"/>
                <a:gd name="connsiteX145" fmla="*/ 392561 w 397940"/>
                <a:gd name="connsiteY145" fmla="*/ 121220 h 225957"/>
                <a:gd name="connsiteX146" fmla="*/ 390989 w 397940"/>
                <a:gd name="connsiteY146" fmla="*/ 124979 h 225957"/>
                <a:gd name="connsiteX147" fmla="*/ 390144 w 397940"/>
                <a:gd name="connsiteY147" fmla="*/ 126978 h 225957"/>
                <a:gd name="connsiteX148" fmla="*/ 390209 w 397940"/>
                <a:gd name="connsiteY148" fmla="*/ 129146 h 225957"/>
                <a:gd name="connsiteX149" fmla="*/ 389263 w 397940"/>
                <a:gd name="connsiteY149" fmla="*/ 130350 h 225957"/>
                <a:gd name="connsiteX150" fmla="*/ 387551 w 397940"/>
                <a:gd name="connsiteY150" fmla="*/ 130452 h 225957"/>
                <a:gd name="connsiteX151" fmla="*/ 381636 w 397940"/>
                <a:gd name="connsiteY151" fmla="*/ 130662 h 225957"/>
                <a:gd name="connsiteX152" fmla="*/ 376495 w 397940"/>
                <a:gd name="connsiteY152" fmla="*/ 130559 h 225957"/>
                <a:gd name="connsiteX153" fmla="*/ 374269 w 397940"/>
                <a:gd name="connsiteY153" fmla="*/ 130247 h 225957"/>
                <a:gd name="connsiteX154" fmla="*/ 370785 w 397940"/>
                <a:gd name="connsiteY154" fmla="*/ 130060 h 225957"/>
                <a:gd name="connsiteX155" fmla="*/ 369060 w 397940"/>
                <a:gd name="connsiteY155" fmla="*/ 130570 h 225957"/>
                <a:gd name="connsiteX156" fmla="*/ 366776 w 397940"/>
                <a:gd name="connsiteY156" fmla="*/ 134029 h 225957"/>
                <a:gd name="connsiteX157" fmla="*/ 365044 w 397940"/>
                <a:gd name="connsiteY157" fmla="*/ 135384 h 225957"/>
                <a:gd name="connsiteX158" fmla="*/ 362176 w 397940"/>
                <a:gd name="connsiteY158" fmla="*/ 136607 h 225957"/>
                <a:gd name="connsiteX159" fmla="*/ 359034 w 397940"/>
                <a:gd name="connsiteY159" fmla="*/ 136957 h 225957"/>
                <a:gd name="connsiteX160" fmla="*/ 357233 w 397940"/>
                <a:gd name="connsiteY160" fmla="*/ 138383 h 225957"/>
                <a:gd name="connsiteX161" fmla="*/ 356601 w 397940"/>
                <a:gd name="connsiteY161" fmla="*/ 140618 h 225957"/>
                <a:gd name="connsiteX162" fmla="*/ 356551 w 397940"/>
                <a:gd name="connsiteY162" fmla="*/ 142598 h 225957"/>
                <a:gd name="connsiteX163" fmla="*/ 356257 w 397940"/>
                <a:gd name="connsiteY163" fmla="*/ 143586 h 225957"/>
                <a:gd name="connsiteX164" fmla="*/ 355575 w 397940"/>
                <a:gd name="connsiteY164" fmla="*/ 144452 h 225957"/>
                <a:gd name="connsiteX165" fmla="*/ 355331 w 397940"/>
                <a:gd name="connsiteY165" fmla="*/ 145068 h 225957"/>
                <a:gd name="connsiteX166" fmla="*/ 355477 w 397940"/>
                <a:gd name="connsiteY166" fmla="*/ 145747 h 225957"/>
                <a:gd name="connsiteX167" fmla="*/ 356208 w 397940"/>
                <a:gd name="connsiteY167" fmla="*/ 145994 h 225957"/>
                <a:gd name="connsiteX168" fmla="*/ 357086 w 397940"/>
                <a:gd name="connsiteY168" fmla="*/ 146303 h 225957"/>
                <a:gd name="connsiteX169" fmla="*/ 357086 w 397940"/>
                <a:gd name="connsiteY169" fmla="*/ 146797 h 225957"/>
                <a:gd name="connsiteX170" fmla="*/ 356745 w 397940"/>
                <a:gd name="connsiteY170" fmla="*/ 147414 h 225957"/>
                <a:gd name="connsiteX171" fmla="*/ 355769 w 397940"/>
                <a:gd name="connsiteY171" fmla="*/ 148092 h 225957"/>
                <a:gd name="connsiteX172" fmla="*/ 355331 w 397940"/>
                <a:gd name="connsiteY172" fmla="*/ 149141 h 225957"/>
                <a:gd name="connsiteX173" fmla="*/ 355430 w 397940"/>
                <a:gd name="connsiteY173" fmla="*/ 150249 h 225957"/>
                <a:gd name="connsiteX174" fmla="*/ 355618 w 397940"/>
                <a:gd name="connsiteY174" fmla="*/ 151483 h 225957"/>
                <a:gd name="connsiteX175" fmla="*/ 354821 w 397940"/>
                <a:gd name="connsiteY175" fmla="*/ 151796 h 225957"/>
                <a:gd name="connsiteX176" fmla="*/ 347091 w 397940"/>
                <a:gd name="connsiteY176" fmla="*/ 151360 h 225957"/>
                <a:gd name="connsiteX177" fmla="*/ 340781 w 397940"/>
                <a:gd name="connsiteY177" fmla="*/ 151954 h 225957"/>
                <a:gd name="connsiteX178" fmla="*/ 336281 w 397940"/>
                <a:gd name="connsiteY178" fmla="*/ 156355 h 225957"/>
                <a:gd name="connsiteX179" fmla="*/ 333599 w 397940"/>
                <a:gd name="connsiteY179" fmla="*/ 156343 h 225957"/>
                <a:gd name="connsiteX180" fmla="*/ 329818 w 397940"/>
                <a:gd name="connsiteY180" fmla="*/ 157489 h 225957"/>
                <a:gd name="connsiteX181" fmla="*/ 327263 w 397940"/>
                <a:gd name="connsiteY181" fmla="*/ 158912 h 225957"/>
                <a:gd name="connsiteX182" fmla="*/ 324229 w 397940"/>
                <a:gd name="connsiteY182" fmla="*/ 161995 h 225957"/>
                <a:gd name="connsiteX183" fmla="*/ 321882 w 397940"/>
                <a:gd name="connsiteY183" fmla="*/ 160611 h 225957"/>
                <a:gd name="connsiteX184" fmla="*/ 319010 w 397940"/>
                <a:gd name="connsiteY184" fmla="*/ 160651 h 225957"/>
                <a:gd name="connsiteX185" fmla="*/ 316207 w 397940"/>
                <a:gd name="connsiteY185" fmla="*/ 161490 h 225957"/>
                <a:gd name="connsiteX186" fmla="*/ 312834 w 397940"/>
                <a:gd name="connsiteY186" fmla="*/ 163547 h 225957"/>
                <a:gd name="connsiteX187" fmla="*/ 310958 w 397940"/>
                <a:gd name="connsiteY187" fmla="*/ 163911 h 225957"/>
                <a:gd name="connsiteX188" fmla="*/ 307205 w 397940"/>
                <a:gd name="connsiteY188" fmla="*/ 163319 h 225957"/>
                <a:gd name="connsiteX189" fmla="*/ 302832 w 397940"/>
                <a:gd name="connsiteY189" fmla="*/ 164500 h 225957"/>
                <a:gd name="connsiteX190" fmla="*/ 293391 w 397940"/>
                <a:gd name="connsiteY190" fmla="*/ 171244 h 225957"/>
                <a:gd name="connsiteX191" fmla="*/ 290217 w 397940"/>
                <a:gd name="connsiteY191" fmla="*/ 176160 h 225957"/>
                <a:gd name="connsiteX192" fmla="*/ 289061 w 397940"/>
                <a:gd name="connsiteY192" fmla="*/ 177121 h 225957"/>
                <a:gd name="connsiteX193" fmla="*/ 287468 w 397940"/>
                <a:gd name="connsiteY193" fmla="*/ 178319 h 225957"/>
                <a:gd name="connsiteX194" fmla="*/ 285764 w 397940"/>
                <a:gd name="connsiteY194" fmla="*/ 178924 h 225957"/>
                <a:gd name="connsiteX195" fmla="*/ 284864 w 397940"/>
                <a:gd name="connsiteY195" fmla="*/ 178868 h 225957"/>
                <a:gd name="connsiteX196" fmla="*/ 289357 w 397940"/>
                <a:gd name="connsiteY196" fmla="*/ 175378 h 225957"/>
                <a:gd name="connsiteX197" fmla="*/ 290737 w 397940"/>
                <a:gd name="connsiteY197" fmla="*/ 174068 h 225957"/>
                <a:gd name="connsiteX198" fmla="*/ 290975 w 397940"/>
                <a:gd name="connsiteY198" fmla="*/ 173101 h 225957"/>
                <a:gd name="connsiteX199" fmla="*/ 290998 w 397940"/>
                <a:gd name="connsiteY199" fmla="*/ 171541 h 225957"/>
                <a:gd name="connsiteX200" fmla="*/ 289636 w 397940"/>
                <a:gd name="connsiteY200" fmla="*/ 169601 h 225957"/>
                <a:gd name="connsiteX201" fmla="*/ 285958 w 397940"/>
                <a:gd name="connsiteY201" fmla="*/ 174407 h 225957"/>
                <a:gd name="connsiteX202" fmla="*/ 283868 w 397940"/>
                <a:gd name="connsiteY202" fmla="*/ 175104 h 225957"/>
                <a:gd name="connsiteX203" fmla="*/ 281216 w 397940"/>
                <a:gd name="connsiteY203" fmla="*/ 176548 h 225957"/>
                <a:gd name="connsiteX204" fmla="*/ 281087 w 397940"/>
                <a:gd name="connsiteY204" fmla="*/ 179764 h 225957"/>
                <a:gd name="connsiteX205" fmla="*/ 281387 w 397940"/>
                <a:gd name="connsiteY205" fmla="*/ 182146 h 225957"/>
                <a:gd name="connsiteX206" fmla="*/ 282477 w 397940"/>
                <a:gd name="connsiteY206" fmla="*/ 185142 h 225957"/>
                <a:gd name="connsiteX207" fmla="*/ 285047 w 397940"/>
                <a:gd name="connsiteY207" fmla="*/ 190042 h 225957"/>
                <a:gd name="connsiteX208" fmla="*/ 290295 w 397940"/>
                <a:gd name="connsiteY208" fmla="*/ 197027 h 225957"/>
                <a:gd name="connsiteX209" fmla="*/ 292810 w 397940"/>
                <a:gd name="connsiteY209" fmla="*/ 199588 h 225957"/>
                <a:gd name="connsiteX210" fmla="*/ 294659 w 397940"/>
                <a:gd name="connsiteY210" fmla="*/ 200611 h 225957"/>
                <a:gd name="connsiteX211" fmla="*/ 296881 w 397940"/>
                <a:gd name="connsiteY211" fmla="*/ 200759 h 225957"/>
                <a:gd name="connsiteX212" fmla="*/ 301147 w 397940"/>
                <a:gd name="connsiteY212" fmla="*/ 198607 h 225957"/>
                <a:gd name="connsiteX213" fmla="*/ 302972 w 397940"/>
                <a:gd name="connsiteY213" fmla="*/ 198271 h 225957"/>
                <a:gd name="connsiteX214" fmla="*/ 306939 w 397940"/>
                <a:gd name="connsiteY214" fmla="*/ 199092 h 225957"/>
                <a:gd name="connsiteX215" fmla="*/ 308360 w 397940"/>
                <a:gd name="connsiteY215" fmla="*/ 197653 h 225957"/>
                <a:gd name="connsiteX216" fmla="*/ 310424 w 397940"/>
                <a:gd name="connsiteY216" fmla="*/ 196858 h 225957"/>
                <a:gd name="connsiteX217" fmla="*/ 313074 w 397940"/>
                <a:gd name="connsiteY217" fmla="*/ 196757 h 225957"/>
                <a:gd name="connsiteX218" fmla="*/ 316097 w 397940"/>
                <a:gd name="connsiteY218" fmla="*/ 197402 h 225957"/>
                <a:gd name="connsiteX219" fmla="*/ 319368 w 397940"/>
                <a:gd name="connsiteY219" fmla="*/ 198492 h 225957"/>
                <a:gd name="connsiteX220" fmla="*/ 318025 w 397940"/>
                <a:gd name="connsiteY220" fmla="*/ 200955 h 225957"/>
                <a:gd name="connsiteX221" fmla="*/ 316622 w 397940"/>
                <a:gd name="connsiteY221" fmla="*/ 202913 h 225957"/>
                <a:gd name="connsiteX222" fmla="*/ 316127 w 397940"/>
                <a:gd name="connsiteY222" fmla="*/ 205078 h 225957"/>
                <a:gd name="connsiteX223" fmla="*/ 315352 w 397940"/>
                <a:gd name="connsiteY223" fmla="*/ 207482 h 225957"/>
                <a:gd name="connsiteX224" fmla="*/ 311737 w 397940"/>
                <a:gd name="connsiteY224" fmla="*/ 208560 h 225957"/>
                <a:gd name="connsiteX225" fmla="*/ 307865 w 397940"/>
                <a:gd name="connsiteY225" fmla="*/ 208428 h 225957"/>
                <a:gd name="connsiteX226" fmla="*/ 303782 w 397940"/>
                <a:gd name="connsiteY226" fmla="*/ 209125 h 225957"/>
                <a:gd name="connsiteX227" fmla="*/ 302311 w 397940"/>
                <a:gd name="connsiteY227" fmla="*/ 208187 h 225957"/>
                <a:gd name="connsiteX228" fmla="*/ 301335 w 397940"/>
                <a:gd name="connsiteY228" fmla="*/ 207333 h 225957"/>
                <a:gd name="connsiteX229" fmla="*/ 299524 w 397940"/>
                <a:gd name="connsiteY229" fmla="*/ 206481 h 225957"/>
                <a:gd name="connsiteX230" fmla="*/ 297135 w 397940"/>
                <a:gd name="connsiteY230" fmla="*/ 206006 h 225957"/>
                <a:gd name="connsiteX231" fmla="*/ 294991 w 397940"/>
                <a:gd name="connsiteY231" fmla="*/ 206577 h 225957"/>
                <a:gd name="connsiteX232" fmla="*/ 292454 w 397940"/>
                <a:gd name="connsiteY232" fmla="*/ 209860 h 225957"/>
                <a:gd name="connsiteX233" fmla="*/ 287965 w 397940"/>
                <a:gd name="connsiteY233" fmla="*/ 212102 h 225957"/>
                <a:gd name="connsiteX234" fmla="*/ 286481 w 397940"/>
                <a:gd name="connsiteY234" fmla="*/ 214659 h 225957"/>
                <a:gd name="connsiteX235" fmla="*/ 282061 w 397940"/>
                <a:gd name="connsiteY235" fmla="*/ 214088 h 225957"/>
                <a:gd name="connsiteX236" fmla="*/ 278282 w 397940"/>
                <a:gd name="connsiteY236" fmla="*/ 214536 h 225957"/>
                <a:gd name="connsiteX237" fmla="*/ 272821 w 397940"/>
                <a:gd name="connsiteY237" fmla="*/ 216866 h 225957"/>
                <a:gd name="connsiteX238" fmla="*/ 268660 w 397940"/>
                <a:gd name="connsiteY238" fmla="*/ 221856 h 225957"/>
                <a:gd name="connsiteX239" fmla="*/ 264075 w 397940"/>
                <a:gd name="connsiteY239" fmla="*/ 224972 h 225957"/>
                <a:gd name="connsiteX240" fmla="*/ 260439 w 397940"/>
                <a:gd name="connsiteY240" fmla="*/ 225957 h 225957"/>
                <a:gd name="connsiteX241" fmla="*/ 257027 w 397940"/>
                <a:gd name="connsiteY241" fmla="*/ 225649 h 225957"/>
                <a:gd name="connsiteX242" fmla="*/ 254820 w 397940"/>
                <a:gd name="connsiteY242" fmla="*/ 224717 h 225957"/>
                <a:gd name="connsiteX243" fmla="*/ 250283 w 397940"/>
                <a:gd name="connsiteY243" fmla="*/ 221442 h 225957"/>
                <a:gd name="connsiteX244" fmla="*/ 250549 w 397940"/>
                <a:gd name="connsiteY244" fmla="*/ 220267 h 225957"/>
                <a:gd name="connsiteX245" fmla="*/ 251182 w 397940"/>
                <a:gd name="connsiteY245" fmla="*/ 219674 h 225957"/>
                <a:gd name="connsiteX246" fmla="*/ 252039 w 397940"/>
                <a:gd name="connsiteY246" fmla="*/ 217988 h 225957"/>
                <a:gd name="connsiteX247" fmla="*/ 253855 w 397940"/>
                <a:gd name="connsiteY247" fmla="*/ 211788 h 225957"/>
                <a:gd name="connsiteX248" fmla="*/ 253611 w 397940"/>
                <a:gd name="connsiteY248" fmla="*/ 209776 h 225957"/>
                <a:gd name="connsiteX249" fmla="*/ 252594 w 397940"/>
                <a:gd name="connsiteY249" fmla="*/ 206600 h 225957"/>
                <a:gd name="connsiteX250" fmla="*/ 248996 w 397940"/>
                <a:gd name="connsiteY250" fmla="*/ 204131 h 225957"/>
                <a:gd name="connsiteX251" fmla="*/ 246100 w 397940"/>
                <a:gd name="connsiteY251" fmla="*/ 204599 h 225957"/>
                <a:gd name="connsiteX252" fmla="*/ 244451 w 397940"/>
                <a:gd name="connsiteY252" fmla="*/ 203941 h 225957"/>
                <a:gd name="connsiteX253" fmla="*/ 238519 w 397940"/>
                <a:gd name="connsiteY253" fmla="*/ 199738 h 225957"/>
                <a:gd name="connsiteX254" fmla="*/ 235291 w 397940"/>
                <a:gd name="connsiteY254" fmla="*/ 199440 h 225957"/>
                <a:gd name="connsiteX255" fmla="*/ 231723 w 397940"/>
                <a:gd name="connsiteY255" fmla="*/ 200288 h 225957"/>
                <a:gd name="connsiteX256" fmla="*/ 230408 w 397940"/>
                <a:gd name="connsiteY256" fmla="*/ 199676 h 225957"/>
                <a:gd name="connsiteX257" fmla="*/ 229439 w 397940"/>
                <a:gd name="connsiteY257" fmla="*/ 198210 h 225957"/>
                <a:gd name="connsiteX258" fmla="*/ 236515 w 397940"/>
                <a:gd name="connsiteY258" fmla="*/ 193012 h 225957"/>
                <a:gd name="connsiteX259" fmla="*/ 243464 w 397940"/>
                <a:gd name="connsiteY259" fmla="*/ 188714 h 225957"/>
                <a:gd name="connsiteX260" fmla="*/ 246511 w 397940"/>
                <a:gd name="connsiteY260" fmla="*/ 188272 h 225957"/>
                <a:gd name="connsiteX261" fmla="*/ 250627 w 397940"/>
                <a:gd name="connsiteY261" fmla="*/ 186269 h 225957"/>
                <a:gd name="connsiteX262" fmla="*/ 255019 w 397940"/>
                <a:gd name="connsiteY262" fmla="*/ 183259 h 225957"/>
                <a:gd name="connsiteX263" fmla="*/ 254397 w 397940"/>
                <a:gd name="connsiteY263" fmla="*/ 180890 h 225957"/>
                <a:gd name="connsiteX264" fmla="*/ 253455 w 397940"/>
                <a:gd name="connsiteY264" fmla="*/ 179138 h 225957"/>
                <a:gd name="connsiteX265" fmla="*/ 251348 w 397940"/>
                <a:gd name="connsiteY265" fmla="*/ 179619 h 225957"/>
                <a:gd name="connsiteX266" fmla="*/ 249823 w 397940"/>
                <a:gd name="connsiteY266" fmla="*/ 180206 h 225957"/>
                <a:gd name="connsiteX267" fmla="*/ 246144 w 397940"/>
                <a:gd name="connsiteY267" fmla="*/ 178325 h 225957"/>
                <a:gd name="connsiteX268" fmla="*/ 244790 w 397940"/>
                <a:gd name="connsiteY268" fmla="*/ 176940 h 225957"/>
                <a:gd name="connsiteX269" fmla="*/ 239031 w 397940"/>
                <a:gd name="connsiteY269" fmla="*/ 178377 h 225957"/>
                <a:gd name="connsiteX270" fmla="*/ 235826 w 397940"/>
                <a:gd name="connsiteY270" fmla="*/ 178164 h 225957"/>
                <a:gd name="connsiteX271" fmla="*/ 228748 w 397940"/>
                <a:gd name="connsiteY271" fmla="*/ 179485 h 225957"/>
                <a:gd name="connsiteX272" fmla="*/ 225500 w 397940"/>
                <a:gd name="connsiteY272" fmla="*/ 178195 h 225957"/>
                <a:gd name="connsiteX273" fmla="*/ 218996 w 397940"/>
                <a:gd name="connsiteY273" fmla="*/ 174580 h 225957"/>
                <a:gd name="connsiteX274" fmla="*/ 216551 w 397940"/>
                <a:gd name="connsiteY274" fmla="*/ 173853 h 225957"/>
                <a:gd name="connsiteX275" fmla="*/ 214474 w 397940"/>
                <a:gd name="connsiteY275" fmla="*/ 174007 h 225957"/>
                <a:gd name="connsiteX276" fmla="*/ 213340 w 397940"/>
                <a:gd name="connsiteY276" fmla="*/ 172817 h 225957"/>
                <a:gd name="connsiteX277" fmla="*/ 214731 w 397940"/>
                <a:gd name="connsiteY277" fmla="*/ 172221 h 225957"/>
                <a:gd name="connsiteX278" fmla="*/ 216346 w 397940"/>
                <a:gd name="connsiteY278" fmla="*/ 172151 h 225957"/>
                <a:gd name="connsiteX279" fmla="*/ 218022 w 397940"/>
                <a:gd name="connsiteY279" fmla="*/ 171715 h 225957"/>
                <a:gd name="connsiteX280" fmla="*/ 218495 w 397940"/>
                <a:gd name="connsiteY280" fmla="*/ 171084 h 225957"/>
                <a:gd name="connsiteX281" fmla="*/ 218394 w 397940"/>
                <a:gd name="connsiteY281" fmla="*/ 169897 h 225957"/>
                <a:gd name="connsiteX282" fmla="*/ 215016 w 397940"/>
                <a:gd name="connsiteY282" fmla="*/ 168996 h 225957"/>
                <a:gd name="connsiteX283" fmla="*/ 211874 w 397940"/>
                <a:gd name="connsiteY283" fmla="*/ 168737 h 225957"/>
                <a:gd name="connsiteX284" fmla="*/ 209883 w 397940"/>
                <a:gd name="connsiteY284" fmla="*/ 167669 h 225957"/>
                <a:gd name="connsiteX285" fmla="*/ 208363 w 397940"/>
                <a:gd name="connsiteY285" fmla="*/ 166446 h 225957"/>
                <a:gd name="connsiteX286" fmla="*/ 211926 w 397940"/>
                <a:gd name="connsiteY286" fmla="*/ 166427 h 225957"/>
                <a:gd name="connsiteX287" fmla="*/ 215506 w 397940"/>
                <a:gd name="connsiteY287" fmla="*/ 167352 h 225957"/>
                <a:gd name="connsiteX288" fmla="*/ 221112 w 397940"/>
                <a:gd name="connsiteY288" fmla="*/ 167693 h 225957"/>
                <a:gd name="connsiteX289" fmla="*/ 226195 w 397940"/>
                <a:gd name="connsiteY289" fmla="*/ 168649 h 225957"/>
                <a:gd name="connsiteX290" fmla="*/ 227469 w 397940"/>
                <a:gd name="connsiteY290" fmla="*/ 167460 h 225957"/>
                <a:gd name="connsiteX291" fmla="*/ 230423 w 397940"/>
                <a:gd name="connsiteY291" fmla="*/ 165399 h 225957"/>
                <a:gd name="connsiteX292" fmla="*/ 230987 w 397940"/>
                <a:gd name="connsiteY292" fmla="*/ 164742 h 225957"/>
                <a:gd name="connsiteX293" fmla="*/ 226035 w 397940"/>
                <a:gd name="connsiteY293" fmla="*/ 166153 h 225957"/>
                <a:gd name="connsiteX294" fmla="*/ 221019 w 397940"/>
                <a:gd name="connsiteY294" fmla="*/ 165253 h 225957"/>
                <a:gd name="connsiteX295" fmla="*/ 219186 w 397940"/>
                <a:gd name="connsiteY295" fmla="*/ 163995 h 225957"/>
                <a:gd name="connsiteX296" fmla="*/ 217637 w 397940"/>
                <a:gd name="connsiteY296" fmla="*/ 162151 h 225957"/>
                <a:gd name="connsiteX297" fmla="*/ 216987 w 397940"/>
                <a:gd name="connsiteY297" fmla="*/ 160047 h 225957"/>
                <a:gd name="connsiteX298" fmla="*/ 217411 w 397940"/>
                <a:gd name="connsiteY298" fmla="*/ 158085 h 225957"/>
                <a:gd name="connsiteX299" fmla="*/ 216869 w 397940"/>
                <a:gd name="connsiteY299" fmla="*/ 154539 h 225957"/>
                <a:gd name="connsiteX300" fmla="*/ 215215 w 397940"/>
                <a:gd name="connsiteY300" fmla="*/ 151380 h 225957"/>
                <a:gd name="connsiteX301" fmla="*/ 214628 w 397940"/>
                <a:gd name="connsiteY301" fmla="*/ 149645 h 225957"/>
                <a:gd name="connsiteX302" fmla="*/ 212880 w 397940"/>
                <a:gd name="connsiteY302" fmla="*/ 148089 h 225957"/>
                <a:gd name="connsiteX303" fmla="*/ 214599 w 397940"/>
                <a:gd name="connsiteY303" fmla="*/ 151607 h 225957"/>
                <a:gd name="connsiteX304" fmla="*/ 215241 w 397940"/>
                <a:gd name="connsiteY304" fmla="*/ 153945 h 225957"/>
                <a:gd name="connsiteX305" fmla="*/ 216275 w 397940"/>
                <a:gd name="connsiteY305" fmla="*/ 156097 h 225957"/>
                <a:gd name="connsiteX306" fmla="*/ 216031 w 397940"/>
                <a:gd name="connsiteY306" fmla="*/ 161794 h 225957"/>
                <a:gd name="connsiteX307" fmla="*/ 215394 w 397940"/>
                <a:gd name="connsiteY307" fmla="*/ 163793 h 225957"/>
                <a:gd name="connsiteX308" fmla="*/ 213332 w 397940"/>
                <a:gd name="connsiteY308" fmla="*/ 164297 h 225957"/>
                <a:gd name="connsiteX309" fmla="*/ 210622 w 397940"/>
                <a:gd name="connsiteY309" fmla="*/ 163997 h 225957"/>
                <a:gd name="connsiteX310" fmla="*/ 207860 w 397940"/>
                <a:gd name="connsiteY310" fmla="*/ 163376 h 225957"/>
                <a:gd name="connsiteX311" fmla="*/ 208551 w 397940"/>
                <a:gd name="connsiteY311" fmla="*/ 160245 h 225957"/>
                <a:gd name="connsiteX312" fmla="*/ 207080 w 397940"/>
                <a:gd name="connsiteY312" fmla="*/ 161328 h 225957"/>
                <a:gd name="connsiteX313" fmla="*/ 205003 w 397940"/>
                <a:gd name="connsiteY313" fmla="*/ 164375 h 225957"/>
                <a:gd name="connsiteX314" fmla="*/ 203176 w 397940"/>
                <a:gd name="connsiteY314" fmla="*/ 164829 h 225957"/>
                <a:gd name="connsiteX315" fmla="*/ 199119 w 397940"/>
                <a:gd name="connsiteY315" fmla="*/ 164496 h 225957"/>
                <a:gd name="connsiteX316" fmla="*/ 191589 w 397940"/>
                <a:gd name="connsiteY316" fmla="*/ 166510 h 225957"/>
                <a:gd name="connsiteX317" fmla="*/ 191071 w 397940"/>
                <a:gd name="connsiteY317" fmla="*/ 168702 h 225957"/>
                <a:gd name="connsiteX318" fmla="*/ 189939 w 397940"/>
                <a:gd name="connsiteY318" fmla="*/ 171665 h 225957"/>
                <a:gd name="connsiteX319" fmla="*/ 188847 w 397940"/>
                <a:gd name="connsiteY319" fmla="*/ 173389 h 225957"/>
                <a:gd name="connsiteX320" fmla="*/ 188503 w 397940"/>
                <a:gd name="connsiteY320" fmla="*/ 174428 h 225957"/>
                <a:gd name="connsiteX321" fmla="*/ 185292 w 397940"/>
                <a:gd name="connsiteY321" fmla="*/ 178886 h 225957"/>
                <a:gd name="connsiteX322" fmla="*/ 184882 w 397940"/>
                <a:gd name="connsiteY322" fmla="*/ 179307 h 225957"/>
                <a:gd name="connsiteX323" fmla="*/ 178825 w 397940"/>
                <a:gd name="connsiteY323" fmla="*/ 185475 h 225957"/>
                <a:gd name="connsiteX324" fmla="*/ 178054 w 397940"/>
                <a:gd name="connsiteY324" fmla="*/ 185938 h 225957"/>
                <a:gd name="connsiteX325" fmla="*/ 174128 w 397940"/>
                <a:gd name="connsiteY325" fmla="*/ 187371 h 225957"/>
                <a:gd name="connsiteX326" fmla="*/ 171807 w 397940"/>
                <a:gd name="connsiteY326" fmla="*/ 188626 h 225957"/>
                <a:gd name="connsiteX327" fmla="*/ 170028 w 397940"/>
                <a:gd name="connsiteY327" fmla="*/ 189186 h 225957"/>
                <a:gd name="connsiteX328" fmla="*/ 167017 w 397940"/>
                <a:gd name="connsiteY328" fmla="*/ 188563 h 225957"/>
                <a:gd name="connsiteX329" fmla="*/ 165765 w 397940"/>
                <a:gd name="connsiteY329" fmla="*/ 189451 h 225957"/>
                <a:gd name="connsiteX330" fmla="*/ 165173 w 397940"/>
                <a:gd name="connsiteY330" fmla="*/ 190550 h 225957"/>
                <a:gd name="connsiteX331" fmla="*/ 165162 w 397940"/>
                <a:gd name="connsiteY331" fmla="*/ 192821 h 225957"/>
                <a:gd name="connsiteX332" fmla="*/ 166691 w 397940"/>
                <a:gd name="connsiteY332" fmla="*/ 194452 h 225957"/>
                <a:gd name="connsiteX333" fmla="*/ 167944 w 397940"/>
                <a:gd name="connsiteY333" fmla="*/ 199870 h 225957"/>
                <a:gd name="connsiteX334" fmla="*/ 167477 w 397940"/>
                <a:gd name="connsiteY334" fmla="*/ 202156 h 225957"/>
                <a:gd name="connsiteX335" fmla="*/ 166285 w 397940"/>
                <a:gd name="connsiteY335" fmla="*/ 200676 h 225957"/>
                <a:gd name="connsiteX336" fmla="*/ 164422 w 397940"/>
                <a:gd name="connsiteY336" fmla="*/ 199116 h 225957"/>
                <a:gd name="connsiteX337" fmla="*/ 160796 w 397940"/>
                <a:gd name="connsiteY337" fmla="*/ 197775 h 225957"/>
                <a:gd name="connsiteX338" fmla="*/ 156812 w 397940"/>
                <a:gd name="connsiteY338" fmla="*/ 198234 h 225957"/>
                <a:gd name="connsiteX339" fmla="*/ 152476 w 397940"/>
                <a:gd name="connsiteY339" fmla="*/ 200494 h 225957"/>
                <a:gd name="connsiteX340" fmla="*/ 149533 w 397940"/>
                <a:gd name="connsiteY340" fmla="*/ 201334 h 225957"/>
                <a:gd name="connsiteX341" fmla="*/ 147984 w 397940"/>
                <a:gd name="connsiteY341" fmla="*/ 200754 h 225957"/>
                <a:gd name="connsiteX342" fmla="*/ 147043 w 397940"/>
                <a:gd name="connsiteY342" fmla="*/ 200787 h 225957"/>
                <a:gd name="connsiteX343" fmla="*/ 146708 w 397940"/>
                <a:gd name="connsiteY343" fmla="*/ 201435 h 225957"/>
                <a:gd name="connsiteX344" fmla="*/ 146780 w 397940"/>
                <a:gd name="connsiteY344" fmla="*/ 201965 h 225957"/>
                <a:gd name="connsiteX345" fmla="*/ 147257 w 397940"/>
                <a:gd name="connsiteY345" fmla="*/ 202376 h 225957"/>
                <a:gd name="connsiteX346" fmla="*/ 147187 w 397940"/>
                <a:gd name="connsiteY346" fmla="*/ 202676 h 225957"/>
                <a:gd name="connsiteX347" fmla="*/ 146579 w 397940"/>
                <a:gd name="connsiteY347" fmla="*/ 202863 h 225957"/>
                <a:gd name="connsiteX348" fmla="*/ 139736 w 397940"/>
                <a:gd name="connsiteY348" fmla="*/ 201272 h 225957"/>
                <a:gd name="connsiteX349" fmla="*/ 136782 w 397940"/>
                <a:gd name="connsiteY349" fmla="*/ 199766 h 225957"/>
                <a:gd name="connsiteX350" fmla="*/ 134456 w 397940"/>
                <a:gd name="connsiteY350" fmla="*/ 196930 h 225957"/>
                <a:gd name="connsiteX351" fmla="*/ 135613 w 397940"/>
                <a:gd name="connsiteY351" fmla="*/ 196012 h 225957"/>
                <a:gd name="connsiteX352" fmla="*/ 136620 w 397940"/>
                <a:gd name="connsiteY352" fmla="*/ 195608 h 225957"/>
                <a:gd name="connsiteX353" fmla="*/ 140181 w 397940"/>
                <a:gd name="connsiteY353" fmla="*/ 195372 h 225957"/>
                <a:gd name="connsiteX354" fmla="*/ 140792 w 397940"/>
                <a:gd name="connsiteY354" fmla="*/ 195082 h 225957"/>
                <a:gd name="connsiteX355" fmla="*/ 140852 w 397940"/>
                <a:gd name="connsiteY355" fmla="*/ 194427 h 225957"/>
                <a:gd name="connsiteX356" fmla="*/ 141118 w 397940"/>
                <a:gd name="connsiteY356" fmla="*/ 193579 h 225957"/>
                <a:gd name="connsiteX357" fmla="*/ 141023 w 397940"/>
                <a:gd name="connsiteY357" fmla="*/ 192330 h 225957"/>
                <a:gd name="connsiteX358" fmla="*/ 140627 w 397940"/>
                <a:gd name="connsiteY358" fmla="*/ 191011 h 225957"/>
                <a:gd name="connsiteX359" fmla="*/ 142191 w 397940"/>
                <a:gd name="connsiteY359" fmla="*/ 189084 h 225957"/>
                <a:gd name="connsiteX360" fmla="*/ 144519 w 397940"/>
                <a:gd name="connsiteY360" fmla="*/ 187484 h 225957"/>
                <a:gd name="connsiteX361" fmla="*/ 145883 w 397940"/>
                <a:gd name="connsiteY361" fmla="*/ 185881 h 225957"/>
                <a:gd name="connsiteX362" fmla="*/ 146093 w 397940"/>
                <a:gd name="connsiteY362" fmla="*/ 183532 h 225957"/>
                <a:gd name="connsiteX363" fmla="*/ 148542 w 397940"/>
                <a:gd name="connsiteY363" fmla="*/ 182387 h 225957"/>
                <a:gd name="connsiteX364" fmla="*/ 150714 w 397940"/>
                <a:gd name="connsiteY364" fmla="*/ 180418 h 225957"/>
                <a:gd name="connsiteX365" fmla="*/ 151247 w 397940"/>
                <a:gd name="connsiteY365" fmla="*/ 178270 h 225957"/>
                <a:gd name="connsiteX366" fmla="*/ 152007 w 397940"/>
                <a:gd name="connsiteY366" fmla="*/ 176920 h 225957"/>
                <a:gd name="connsiteX367" fmla="*/ 150625 w 397940"/>
                <a:gd name="connsiteY367" fmla="*/ 173821 h 225957"/>
                <a:gd name="connsiteX368" fmla="*/ 150334 w 397940"/>
                <a:gd name="connsiteY368" fmla="*/ 171775 h 225957"/>
                <a:gd name="connsiteX369" fmla="*/ 150265 w 397940"/>
                <a:gd name="connsiteY369" fmla="*/ 170059 h 225957"/>
                <a:gd name="connsiteX370" fmla="*/ 150949 w 397940"/>
                <a:gd name="connsiteY370" fmla="*/ 169105 h 225957"/>
                <a:gd name="connsiteX371" fmla="*/ 152973 w 397940"/>
                <a:gd name="connsiteY371" fmla="*/ 168036 h 225957"/>
                <a:gd name="connsiteX372" fmla="*/ 155104 w 397940"/>
                <a:gd name="connsiteY372" fmla="*/ 167207 h 225957"/>
                <a:gd name="connsiteX373" fmla="*/ 155987 w 397940"/>
                <a:gd name="connsiteY373" fmla="*/ 167288 h 225957"/>
                <a:gd name="connsiteX374" fmla="*/ 156309 w 397940"/>
                <a:gd name="connsiteY374" fmla="*/ 167816 h 225957"/>
                <a:gd name="connsiteX375" fmla="*/ 156393 w 397940"/>
                <a:gd name="connsiteY375" fmla="*/ 171301 h 225957"/>
                <a:gd name="connsiteX376" fmla="*/ 156819 w 397940"/>
                <a:gd name="connsiteY376" fmla="*/ 171367 h 225957"/>
                <a:gd name="connsiteX377" fmla="*/ 157499 w 397940"/>
                <a:gd name="connsiteY377" fmla="*/ 170933 h 225957"/>
                <a:gd name="connsiteX378" fmla="*/ 158611 w 397940"/>
                <a:gd name="connsiteY378" fmla="*/ 168881 h 225957"/>
                <a:gd name="connsiteX379" fmla="*/ 159377 w 397940"/>
                <a:gd name="connsiteY379" fmla="*/ 169478 h 225957"/>
                <a:gd name="connsiteX380" fmla="*/ 160556 w 397940"/>
                <a:gd name="connsiteY380" fmla="*/ 169705 h 225957"/>
                <a:gd name="connsiteX381" fmla="*/ 161440 w 397940"/>
                <a:gd name="connsiteY381" fmla="*/ 169176 h 225957"/>
                <a:gd name="connsiteX382" fmla="*/ 162014 w 397940"/>
                <a:gd name="connsiteY382" fmla="*/ 169237 h 225957"/>
                <a:gd name="connsiteX383" fmla="*/ 162726 w 397940"/>
                <a:gd name="connsiteY383" fmla="*/ 169767 h 225957"/>
                <a:gd name="connsiteX384" fmla="*/ 164143 w 397940"/>
                <a:gd name="connsiteY384" fmla="*/ 170513 h 225957"/>
                <a:gd name="connsiteX385" fmla="*/ 165467 w 397940"/>
                <a:gd name="connsiteY385" fmla="*/ 170761 h 225957"/>
                <a:gd name="connsiteX386" fmla="*/ 166564 w 397940"/>
                <a:gd name="connsiteY386" fmla="*/ 170264 h 225957"/>
                <a:gd name="connsiteX387" fmla="*/ 167499 w 397940"/>
                <a:gd name="connsiteY387" fmla="*/ 169377 h 225957"/>
                <a:gd name="connsiteX388" fmla="*/ 168497 w 397940"/>
                <a:gd name="connsiteY388" fmla="*/ 169680 h 225957"/>
                <a:gd name="connsiteX389" fmla="*/ 170397 w 397940"/>
                <a:gd name="connsiteY389" fmla="*/ 172100 h 225957"/>
                <a:gd name="connsiteX390" fmla="*/ 171284 w 397940"/>
                <a:gd name="connsiteY390" fmla="*/ 171832 h 225957"/>
                <a:gd name="connsiteX391" fmla="*/ 175655 w 397940"/>
                <a:gd name="connsiteY391" fmla="*/ 171343 h 225957"/>
                <a:gd name="connsiteX392" fmla="*/ 176359 w 397940"/>
                <a:gd name="connsiteY392" fmla="*/ 170685 h 225957"/>
                <a:gd name="connsiteX393" fmla="*/ 176879 w 397940"/>
                <a:gd name="connsiteY393" fmla="*/ 170088 h 225957"/>
                <a:gd name="connsiteX394" fmla="*/ 172308 w 397940"/>
                <a:gd name="connsiteY394" fmla="*/ 166875 h 225957"/>
                <a:gd name="connsiteX395" fmla="*/ 172539 w 397940"/>
                <a:gd name="connsiteY395" fmla="*/ 164481 h 225957"/>
                <a:gd name="connsiteX396" fmla="*/ 172710 w 397940"/>
                <a:gd name="connsiteY396" fmla="*/ 161734 h 225957"/>
                <a:gd name="connsiteX397" fmla="*/ 172170 w 397940"/>
                <a:gd name="connsiteY397" fmla="*/ 160102 h 225957"/>
                <a:gd name="connsiteX398" fmla="*/ 171280 w 397940"/>
                <a:gd name="connsiteY398" fmla="*/ 158807 h 225957"/>
                <a:gd name="connsiteX399" fmla="*/ 167784 w 397940"/>
                <a:gd name="connsiteY399" fmla="*/ 157302 h 225957"/>
                <a:gd name="connsiteX400" fmla="*/ 165087 w 397940"/>
                <a:gd name="connsiteY400" fmla="*/ 155743 h 225957"/>
                <a:gd name="connsiteX401" fmla="*/ 164517 w 397940"/>
                <a:gd name="connsiteY401" fmla="*/ 155040 h 225957"/>
                <a:gd name="connsiteX402" fmla="*/ 164443 w 397940"/>
                <a:gd name="connsiteY402" fmla="*/ 154128 h 225957"/>
                <a:gd name="connsiteX403" fmla="*/ 164329 w 397940"/>
                <a:gd name="connsiteY403" fmla="*/ 152710 h 225957"/>
                <a:gd name="connsiteX404" fmla="*/ 163258 w 397940"/>
                <a:gd name="connsiteY404" fmla="*/ 151492 h 225957"/>
                <a:gd name="connsiteX405" fmla="*/ 163167 w 397940"/>
                <a:gd name="connsiteY405" fmla="*/ 150461 h 225957"/>
                <a:gd name="connsiteX406" fmla="*/ 163850 w 397940"/>
                <a:gd name="connsiteY406" fmla="*/ 148853 h 225957"/>
                <a:gd name="connsiteX407" fmla="*/ 164016 w 397940"/>
                <a:gd name="connsiteY407" fmla="*/ 147139 h 225957"/>
                <a:gd name="connsiteX408" fmla="*/ 163791 w 397940"/>
                <a:gd name="connsiteY408" fmla="*/ 146462 h 225957"/>
                <a:gd name="connsiteX409" fmla="*/ 163161 w 397940"/>
                <a:gd name="connsiteY409" fmla="*/ 145910 h 225957"/>
                <a:gd name="connsiteX410" fmla="*/ 161945 w 397940"/>
                <a:gd name="connsiteY410" fmla="*/ 145856 h 225957"/>
                <a:gd name="connsiteX411" fmla="*/ 160347 w 397940"/>
                <a:gd name="connsiteY411" fmla="*/ 144865 h 225957"/>
                <a:gd name="connsiteX412" fmla="*/ 159250 w 397940"/>
                <a:gd name="connsiteY412" fmla="*/ 143529 h 225957"/>
                <a:gd name="connsiteX413" fmla="*/ 156305 w 397940"/>
                <a:gd name="connsiteY413" fmla="*/ 141602 h 225957"/>
                <a:gd name="connsiteX414" fmla="*/ 155402 w 397940"/>
                <a:gd name="connsiteY414" fmla="*/ 141288 h 225957"/>
                <a:gd name="connsiteX415" fmla="*/ 154851 w 397940"/>
                <a:gd name="connsiteY415" fmla="*/ 140333 h 225957"/>
                <a:gd name="connsiteX416" fmla="*/ 154588 w 397940"/>
                <a:gd name="connsiteY416" fmla="*/ 139192 h 225957"/>
                <a:gd name="connsiteX417" fmla="*/ 155206 w 397940"/>
                <a:gd name="connsiteY417" fmla="*/ 137774 h 225957"/>
                <a:gd name="connsiteX418" fmla="*/ 155983 w 397940"/>
                <a:gd name="connsiteY418" fmla="*/ 135590 h 225957"/>
                <a:gd name="connsiteX419" fmla="*/ 156529 w 397940"/>
                <a:gd name="connsiteY419" fmla="*/ 133539 h 225957"/>
                <a:gd name="connsiteX420" fmla="*/ 156538 w 397940"/>
                <a:gd name="connsiteY420" fmla="*/ 132316 h 225957"/>
                <a:gd name="connsiteX421" fmla="*/ 156177 w 397940"/>
                <a:gd name="connsiteY421" fmla="*/ 129290 h 225957"/>
                <a:gd name="connsiteX422" fmla="*/ 154642 w 397940"/>
                <a:gd name="connsiteY422" fmla="*/ 126975 h 225957"/>
                <a:gd name="connsiteX423" fmla="*/ 153925 w 397940"/>
                <a:gd name="connsiteY423" fmla="*/ 126668 h 225957"/>
                <a:gd name="connsiteX424" fmla="*/ 152686 w 397940"/>
                <a:gd name="connsiteY424" fmla="*/ 127320 h 225957"/>
                <a:gd name="connsiteX425" fmla="*/ 151279 w 397940"/>
                <a:gd name="connsiteY425" fmla="*/ 127865 h 225957"/>
                <a:gd name="connsiteX426" fmla="*/ 150170 w 397940"/>
                <a:gd name="connsiteY426" fmla="*/ 127354 h 225957"/>
                <a:gd name="connsiteX427" fmla="*/ 148902 w 397940"/>
                <a:gd name="connsiteY427" fmla="*/ 126098 h 225957"/>
                <a:gd name="connsiteX428" fmla="*/ 146868 w 397940"/>
                <a:gd name="connsiteY428" fmla="*/ 122599 h 225957"/>
                <a:gd name="connsiteX429" fmla="*/ 143061 w 397940"/>
                <a:gd name="connsiteY429" fmla="*/ 121898 h 225957"/>
                <a:gd name="connsiteX430" fmla="*/ 141487 w 397940"/>
                <a:gd name="connsiteY430" fmla="*/ 121731 h 225957"/>
                <a:gd name="connsiteX431" fmla="*/ 139997 w 397940"/>
                <a:gd name="connsiteY431" fmla="*/ 123420 h 225957"/>
                <a:gd name="connsiteX432" fmla="*/ 139531 w 397940"/>
                <a:gd name="connsiteY432" fmla="*/ 122907 h 225957"/>
                <a:gd name="connsiteX433" fmla="*/ 139112 w 397940"/>
                <a:gd name="connsiteY433" fmla="*/ 121828 h 225957"/>
                <a:gd name="connsiteX434" fmla="*/ 138326 w 397940"/>
                <a:gd name="connsiteY434" fmla="*/ 121397 h 225957"/>
                <a:gd name="connsiteX435" fmla="*/ 137287 w 397940"/>
                <a:gd name="connsiteY435" fmla="*/ 121897 h 225957"/>
                <a:gd name="connsiteX436" fmla="*/ 136987 w 397940"/>
                <a:gd name="connsiteY436" fmla="*/ 121416 h 225957"/>
                <a:gd name="connsiteX437" fmla="*/ 137434 w 397940"/>
                <a:gd name="connsiteY437" fmla="*/ 119957 h 225957"/>
                <a:gd name="connsiteX438" fmla="*/ 136192 w 397940"/>
                <a:gd name="connsiteY438" fmla="*/ 119235 h 225957"/>
                <a:gd name="connsiteX439" fmla="*/ 133268 w 397940"/>
                <a:gd name="connsiteY439" fmla="*/ 119251 h 225957"/>
                <a:gd name="connsiteX440" fmla="*/ 131714 w 397940"/>
                <a:gd name="connsiteY440" fmla="*/ 118713 h 225957"/>
                <a:gd name="connsiteX441" fmla="*/ 131528 w 397940"/>
                <a:gd name="connsiteY441" fmla="*/ 117615 h 225957"/>
                <a:gd name="connsiteX442" fmla="*/ 130608 w 397940"/>
                <a:gd name="connsiteY442" fmla="*/ 116894 h 225957"/>
                <a:gd name="connsiteX443" fmla="*/ 128947 w 397940"/>
                <a:gd name="connsiteY443" fmla="*/ 116547 h 225957"/>
                <a:gd name="connsiteX444" fmla="*/ 127339 w 397940"/>
                <a:gd name="connsiteY444" fmla="*/ 115649 h 225957"/>
                <a:gd name="connsiteX445" fmla="*/ 125778 w 397940"/>
                <a:gd name="connsiteY445" fmla="*/ 114203 h 225957"/>
                <a:gd name="connsiteX446" fmla="*/ 123443 w 397940"/>
                <a:gd name="connsiteY446" fmla="*/ 113260 h 225957"/>
                <a:gd name="connsiteX447" fmla="*/ 120331 w 397940"/>
                <a:gd name="connsiteY447" fmla="*/ 112824 h 225957"/>
                <a:gd name="connsiteX448" fmla="*/ 120077 w 397940"/>
                <a:gd name="connsiteY448" fmla="*/ 112668 h 225957"/>
                <a:gd name="connsiteX449" fmla="*/ 119790 w 397940"/>
                <a:gd name="connsiteY449" fmla="*/ 112460 h 225957"/>
                <a:gd name="connsiteX450" fmla="*/ 117781 w 397940"/>
                <a:gd name="connsiteY450" fmla="*/ 113443 h 225957"/>
                <a:gd name="connsiteX451" fmla="*/ 116574 w 397940"/>
                <a:gd name="connsiteY451" fmla="*/ 114221 h 225957"/>
                <a:gd name="connsiteX452" fmla="*/ 115095 w 397940"/>
                <a:gd name="connsiteY452" fmla="*/ 113737 h 225957"/>
                <a:gd name="connsiteX453" fmla="*/ 112698 w 397940"/>
                <a:gd name="connsiteY453" fmla="*/ 115473 h 225957"/>
                <a:gd name="connsiteX454" fmla="*/ 107833 w 397940"/>
                <a:gd name="connsiteY454" fmla="*/ 115563 h 225957"/>
                <a:gd name="connsiteX455" fmla="*/ 105447 w 397940"/>
                <a:gd name="connsiteY455" fmla="*/ 115459 h 225957"/>
                <a:gd name="connsiteX456" fmla="*/ 104263 w 397940"/>
                <a:gd name="connsiteY456" fmla="*/ 115028 h 225957"/>
                <a:gd name="connsiteX457" fmla="*/ 99694 w 397940"/>
                <a:gd name="connsiteY457" fmla="*/ 117662 h 225957"/>
                <a:gd name="connsiteX458" fmla="*/ 99219 w 397940"/>
                <a:gd name="connsiteY458" fmla="*/ 118632 h 225957"/>
                <a:gd name="connsiteX459" fmla="*/ 98191 w 397940"/>
                <a:gd name="connsiteY459" fmla="*/ 118955 h 225957"/>
                <a:gd name="connsiteX460" fmla="*/ 95315 w 397940"/>
                <a:gd name="connsiteY460" fmla="*/ 119478 h 225957"/>
                <a:gd name="connsiteX461" fmla="*/ 92292 w 397940"/>
                <a:gd name="connsiteY461" fmla="*/ 120220 h 225957"/>
                <a:gd name="connsiteX462" fmla="*/ 91657 w 397940"/>
                <a:gd name="connsiteY462" fmla="*/ 122778 h 225957"/>
                <a:gd name="connsiteX463" fmla="*/ 90756 w 397940"/>
                <a:gd name="connsiteY463" fmla="*/ 124159 h 225957"/>
                <a:gd name="connsiteX464" fmla="*/ 89131 w 397940"/>
                <a:gd name="connsiteY464" fmla="*/ 126186 h 225957"/>
                <a:gd name="connsiteX465" fmla="*/ 83514 w 397940"/>
                <a:gd name="connsiteY465" fmla="*/ 126890 h 225957"/>
                <a:gd name="connsiteX466" fmla="*/ 78662 w 397940"/>
                <a:gd name="connsiteY466" fmla="*/ 127880 h 225957"/>
                <a:gd name="connsiteX467" fmla="*/ 73687 w 397940"/>
                <a:gd name="connsiteY467" fmla="*/ 128491 h 225957"/>
                <a:gd name="connsiteX468" fmla="*/ 67171 w 397940"/>
                <a:gd name="connsiteY468" fmla="*/ 130962 h 225957"/>
                <a:gd name="connsiteX469" fmla="*/ 65053 w 397940"/>
                <a:gd name="connsiteY469" fmla="*/ 133140 h 225957"/>
                <a:gd name="connsiteX470" fmla="*/ 62959 w 397940"/>
                <a:gd name="connsiteY470" fmla="*/ 133747 h 225957"/>
                <a:gd name="connsiteX471" fmla="*/ 61063 w 397940"/>
                <a:gd name="connsiteY471" fmla="*/ 133926 h 225957"/>
                <a:gd name="connsiteX472" fmla="*/ 59836 w 397940"/>
                <a:gd name="connsiteY472" fmla="*/ 132714 h 225957"/>
                <a:gd name="connsiteX473" fmla="*/ 55703 w 397940"/>
                <a:gd name="connsiteY473" fmla="*/ 129457 h 225957"/>
                <a:gd name="connsiteX474" fmla="*/ 54109 w 397940"/>
                <a:gd name="connsiteY474" fmla="*/ 127920 h 225957"/>
                <a:gd name="connsiteX475" fmla="*/ 52013 w 397940"/>
                <a:gd name="connsiteY475" fmla="*/ 127467 h 225957"/>
                <a:gd name="connsiteX476" fmla="*/ 49733 w 397940"/>
                <a:gd name="connsiteY476" fmla="*/ 127723 h 225957"/>
                <a:gd name="connsiteX477" fmla="*/ 47543 w 397940"/>
                <a:gd name="connsiteY477" fmla="*/ 128480 h 225957"/>
                <a:gd name="connsiteX478" fmla="*/ 45239 w 397940"/>
                <a:gd name="connsiteY478" fmla="*/ 128625 h 225957"/>
                <a:gd name="connsiteX479" fmla="*/ 42630 w 397940"/>
                <a:gd name="connsiteY479" fmla="*/ 127533 h 225957"/>
                <a:gd name="connsiteX480" fmla="*/ 42356 w 397940"/>
                <a:gd name="connsiteY480" fmla="*/ 127639 h 225957"/>
                <a:gd name="connsiteX481" fmla="*/ 41350 w 397940"/>
                <a:gd name="connsiteY481" fmla="*/ 127786 h 225957"/>
                <a:gd name="connsiteX482" fmla="*/ 34874 w 397940"/>
                <a:gd name="connsiteY482" fmla="*/ 126466 h 225957"/>
                <a:gd name="connsiteX483" fmla="*/ 34278 w 397940"/>
                <a:gd name="connsiteY483" fmla="*/ 126247 h 225957"/>
                <a:gd name="connsiteX484" fmla="*/ 33991 w 397940"/>
                <a:gd name="connsiteY484" fmla="*/ 126192 h 225957"/>
                <a:gd name="connsiteX485" fmla="*/ 33099 w 397940"/>
                <a:gd name="connsiteY485" fmla="*/ 126093 h 225957"/>
                <a:gd name="connsiteX486" fmla="*/ 28223 w 397940"/>
                <a:gd name="connsiteY486" fmla="*/ 126258 h 225957"/>
                <a:gd name="connsiteX487" fmla="*/ 23677 w 397940"/>
                <a:gd name="connsiteY487" fmla="*/ 123589 h 225957"/>
                <a:gd name="connsiteX488" fmla="*/ 22280 w 397940"/>
                <a:gd name="connsiteY488" fmla="*/ 123508 h 225957"/>
                <a:gd name="connsiteX489" fmla="*/ 21205 w 397940"/>
                <a:gd name="connsiteY489" fmla="*/ 124589 h 225957"/>
                <a:gd name="connsiteX490" fmla="*/ 20408 w 397940"/>
                <a:gd name="connsiteY490" fmla="*/ 125791 h 225957"/>
                <a:gd name="connsiteX491" fmla="*/ 17270 w 397940"/>
                <a:gd name="connsiteY491" fmla="*/ 126984 h 225957"/>
                <a:gd name="connsiteX492" fmla="*/ 16469 w 397940"/>
                <a:gd name="connsiteY492" fmla="*/ 127463 h 225957"/>
                <a:gd name="connsiteX493" fmla="*/ 16014 w 397940"/>
                <a:gd name="connsiteY493" fmla="*/ 127095 h 225957"/>
                <a:gd name="connsiteX494" fmla="*/ 15802 w 397940"/>
                <a:gd name="connsiteY494" fmla="*/ 126058 h 225957"/>
                <a:gd name="connsiteX495" fmla="*/ 16040 w 397940"/>
                <a:gd name="connsiteY495" fmla="*/ 125141 h 225957"/>
                <a:gd name="connsiteX496" fmla="*/ 15575 w 397940"/>
                <a:gd name="connsiteY496" fmla="*/ 124273 h 225957"/>
                <a:gd name="connsiteX497" fmla="*/ 14381 w 397940"/>
                <a:gd name="connsiteY497" fmla="*/ 123287 h 225957"/>
                <a:gd name="connsiteX498" fmla="*/ 14092 w 397940"/>
                <a:gd name="connsiteY498" fmla="*/ 122880 h 225957"/>
                <a:gd name="connsiteX499" fmla="*/ 12598 w 397940"/>
                <a:gd name="connsiteY499" fmla="*/ 122954 h 225957"/>
                <a:gd name="connsiteX500" fmla="*/ 12190 w 397940"/>
                <a:gd name="connsiteY500" fmla="*/ 123050 h 225957"/>
                <a:gd name="connsiteX501" fmla="*/ 12040 w 397940"/>
                <a:gd name="connsiteY501" fmla="*/ 123028 h 225957"/>
                <a:gd name="connsiteX502" fmla="*/ 9963 w 397940"/>
                <a:gd name="connsiteY502" fmla="*/ 122191 h 225957"/>
                <a:gd name="connsiteX503" fmla="*/ 8585 w 397940"/>
                <a:gd name="connsiteY503" fmla="*/ 120174 h 225957"/>
                <a:gd name="connsiteX504" fmla="*/ 6456 w 397940"/>
                <a:gd name="connsiteY504" fmla="*/ 119101 h 225957"/>
                <a:gd name="connsiteX505" fmla="*/ 4828 w 397940"/>
                <a:gd name="connsiteY505" fmla="*/ 118740 h 225957"/>
                <a:gd name="connsiteX506" fmla="*/ 4087 w 397940"/>
                <a:gd name="connsiteY506" fmla="*/ 117875 h 225957"/>
                <a:gd name="connsiteX507" fmla="*/ 3610 w 397940"/>
                <a:gd name="connsiteY507" fmla="*/ 116724 h 225957"/>
                <a:gd name="connsiteX508" fmla="*/ 3102 w 397940"/>
                <a:gd name="connsiteY508" fmla="*/ 115854 h 225957"/>
                <a:gd name="connsiteX509" fmla="*/ 3042 w 397940"/>
                <a:gd name="connsiteY509" fmla="*/ 115772 h 225957"/>
                <a:gd name="connsiteX510" fmla="*/ 2695 w 397940"/>
                <a:gd name="connsiteY510" fmla="*/ 114455 h 225957"/>
                <a:gd name="connsiteX511" fmla="*/ 2196 w 397940"/>
                <a:gd name="connsiteY511" fmla="*/ 114319 h 225957"/>
                <a:gd name="connsiteX512" fmla="*/ 2107 w 397940"/>
                <a:gd name="connsiteY512" fmla="*/ 114284 h 225957"/>
                <a:gd name="connsiteX513" fmla="*/ 0 w 397940"/>
                <a:gd name="connsiteY513" fmla="*/ 114513 h 225957"/>
                <a:gd name="connsiteX514" fmla="*/ 244 w 397940"/>
                <a:gd name="connsiteY514" fmla="*/ 109884 h 225957"/>
                <a:gd name="connsiteX515" fmla="*/ 3612 w 397940"/>
                <a:gd name="connsiteY515" fmla="*/ 106550 h 225957"/>
                <a:gd name="connsiteX516" fmla="*/ 4439 w 397940"/>
                <a:gd name="connsiteY516" fmla="*/ 104866 h 225957"/>
                <a:gd name="connsiteX517" fmla="*/ 5696 w 397940"/>
                <a:gd name="connsiteY517" fmla="*/ 101209 h 225957"/>
                <a:gd name="connsiteX518" fmla="*/ 6638 w 397940"/>
                <a:gd name="connsiteY518" fmla="*/ 99497 h 225957"/>
                <a:gd name="connsiteX519" fmla="*/ 7769 w 397940"/>
                <a:gd name="connsiteY519" fmla="*/ 98079 h 225957"/>
                <a:gd name="connsiteX520" fmla="*/ 8674 w 397940"/>
                <a:gd name="connsiteY520" fmla="*/ 96706 h 225957"/>
                <a:gd name="connsiteX521" fmla="*/ 8996 w 397940"/>
                <a:gd name="connsiteY521" fmla="*/ 95526 h 225957"/>
                <a:gd name="connsiteX522" fmla="*/ 9909 w 397940"/>
                <a:gd name="connsiteY522" fmla="*/ 95398 h 225957"/>
                <a:gd name="connsiteX523" fmla="*/ 12591 w 397940"/>
                <a:gd name="connsiteY523" fmla="*/ 96462 h 225957"/>
                <a:gd name="connsiteX524" fmla="*/ 14990 w 397940"/>
                <a:gd name="connsiteY524" fmla="*/ 97009 h 225957"/>
                <a:gd name="connsiteX525" fmla="*/ 15653 w 397940"/>
                <a:gd name="connsiteY525" fmla="*/ 96491 h 225957"/>
                <a:gd name="connsiteX526" fmla="*/ 15925 w 397940"/>
                <a:gd name="connsiteY526" fmla="*/ 95811 h 225957"/>
                <a:gd name="connsiteX527" fmla="*/ 15815 w 397940"/>
                <a:gd name="connsiteY527" fmla="*/ 95282 h 225957"/>
                <a:gd name="connsiteX528" fmla="*/ 13893 w 397940"/>
                <a:gd name="connsiteY528" fmla="*/ 93712 h 225957"/>
                <a:gd name="connsiteX529" fmla="*/ 12688 w 397940"/>
                <a:gd name="connsiteY529" fmla="*/ 92712 h 225957"/>
                <a:gd name="connsiteX530" fmla="*/ 12615 w 397940"/>
                <a:gd name="connsiteY530" fmla="*/ 92097 h 225957"/>
                <a:gd name="connsiteX531" fmla="*/ 13049 w 397940"/>
                <a:gd name="connsiteY531" fmla="*/ 90717 h 225957"/>
                <a:gd name="connsiteX532" fmla="*/ 13280 w 397940"/>
                <a:gd name="connsiteY532" fmla="*/ 89165 h 225957"/>
                <a:gd name="connsiteX533" fmla="*/ 13003 w 397940"/>
                <a:gd name="connsiteY533" fmla="*/ 87486 h 225957"/>
                <a:gd name="connsiteX534" fmla="*/ 11693 w 397940"/>
                <a:gd name="connsiteY534" fmla="*/ 83762 h 225957"/>
                <a:gd name="connsiteX535" fmla="*/ 11444 w 397940"/>
                <a:gd name="connsiteY535" fmla="*/ 82174 h 225957"/>
                <a:gd name="connsiteX536" fmla="*/ 12699 w 397940"/>
                <a:gd name="connsiteY536" fmla="*/ 80244 h 225957"/>
                <a:gd name="connsiteX537" fmla="*/ 16780 w 397940"/>
                <a:gd name="connsiteY537" fmla="*/ 75641 h 225957"/>
                <a:gd name="connsiteX538" fmla="*/ 18141 w 397940"/>
                <a:gd name="connsiteY538" fmla="*/ 73910 h 225957"/>
                <a:gd name="connsiteX539" fmla="*/ 20000 w 397940"/>
                <a:gd name="connsiteY539" fmla="*/ 71815 h 225957"/>
                <a:gd name="connsiteX540" fmla="*/ 25044 w 397940"/>
                <a:gd name="connsiteY540" fmla="*/ 66799 h 225957"/>
                <a:gd name="connsiteX541" fmla="*/ 28232 w 397940"/>
                <a:gd name="connsiteY541" fmla="*/ 63878 h 225957"/>
                <a:gd name="connsiteX542" fmla="*/ 30389 w 397940"/>
                <a:gd name="connsiteY542" fmla="*/ 62260 h 225957"/>
                <a:gd name="connsiteX543" fmla="*/ 33548 w 397940"/>
                <a:gd name="connsiteY543" fmla="*/ 59445 h 225957"/>
                <a:gd name="connsiteX544" fmla="*/ 34934 w 397940"/>
                <a:gd name="connsiteY544" fmla="*/ 57987 h 225957"/>
                <a:gd name="connsiteX545" fmla="*/ 40704 w 397940"/>
                <a:gd name="connsiteY545" fmla="*/ 57038 h 225957"/>
                <a:gd name="connsiteX546" fmla="*/ 41419 w 397940"/>
                <a:gd name="connsiteY546" fmla="*/ 55675 h 225957"/>
                <a:gd name="connsiteX547" fmla="*/ 42473 w 397940"/>
                <a:gd name="connsiteY547" fmla="*/ 54183 h 225957"/>
                <a:gd name="connsiteX548" fmla="*/ 43297 w 397940"/>
                <a:gd name="connsiteY548" fmla="*/ 53543 h 225957"/>
                <a:gd name="connsiteX549" fmla="*/ 43403 w 397940"/>
                <a:gd name="connsiteY549" fmla="*/ 51027 h 225957"/>
                <a:gd name="connsiteX550" fmla="*/ 42332 w 397940"/>
                <a:gd name="connsiteY550" fmla="*/ 47950 h 225957"/>
                <a:gd name="connsiteX551" fmla="*/ 41471 w 397940"/>
                <a:gd name="connsiteY551" fmla="*/ 46862 h 225957"/>
                <a:gd name="connsiteX552" fmla="*/ 40832 w 397940"/>
                <a:gd name="connsiteY552" fmla="*/ 46121 h 225957"/>
                <a:gd name="connsiteX553" fmla="*/ 41244 w 397940"/>
                <a:gd name="connsiteY553" fmla="*/ 45428 h 225957"/>
                <a:gd name="connsiteX554" fmla="*/ 41883 w 397940"/>
                <a:gd name="connsiteY554" fmla="*/ 45231 h 225957"/>
                <a:gd name="connsiteX555" fmla="*/ 42671 w 397940"/>
                <a:gd name="connsiteY555" fmla="*/ 45133 h 225957"/>
                <a:gd name="connsiteX556" fmla="*/ 43647 w 397940"/>
                <a:gd name="connsiteY556" fmla="*/ 44391 h 225957"/>
                <a:gd name="connsiteX557" fmla="*/ 43427 w 397940"/>
                <a:gd name="connsiteY557" fmla="*/ 43581 h 225957"/>
                <a:gd name="connsiteX558" fmla="*/ 40994 w 397940"/>
                <a:gd name="connsiteY558" fmla="*/ 41606 h 225957"/>
                <a:gd name="connsiteX559" fmla="*/ 39940 w 397940"/>
                <a:gd name="connsiteY559" fmla="*/ 40085 h 225957"/>
                <a:gd name="connsiteX560" fmla="*/ 38290 w 397940"/>
                <a:gd name="connsiteY560" fmla="*/ 36177 h 225957"/>
                <a:gd name="connsiteX561" fmla="*/ 34945 w 397940"/>
                <a:gd name="connsiteY561" fmla="*/ 32109 h 225957"/>
                <a:gd name="connsiteX562" fmla="*/ 33889 w 397940"/>
                <a:gd name="connsiteY562" fmla="*/ 30793 h 225957"/>
                <a:gd name="connsiteX563" fmla="*/ 33738 w 397940"/>
                <a:gd name="connsiteY563" fmla="*/ 29548 h 225957"/>
                <a:gd name="connsiteX564" fmla="*/ 34226 w 397940"/>
                <a:gd name="connsiteY564" fmla="*/ 28303 h 225957"/>
                <a:gd name="connsiteX565" fmla="*/ 33766 w 397940"/>
                <a:gd name="connsiteY565" fmla="*/ 26716 h 225957"/>
                <a:gd name="connsiteX566" fmla="*/ 32581 w 397940"/>
                <a:gd name="connsiteY566" fmla="*/ 24690 h 225957"/>
                <a:gd name="connsiteX567" fmla="*/ 32768 w 397940"/>
                <a:gd name="connsiteY567" fmla="*/ 24471 h 225957"/>
                <a:gd name="connsiteX568" fmla="*/ 32654 w 397940"/>
                <a:gd name="connsiteY568" fmla="*/ 21968 h 225957"/>
                <a:gd name="connsiteX569" fmla="*/ 33496 w 397940"/>
                <a:gd name="connsiteY569" fmla="*/ 21427 h 225957"/>
                <a:gd name="connsiteX570" fmla="*/ 34826 w 397940"/>
                <a:gd name="connsiteY570" fmla="*/ 21061 h 225957"/>
                <a:gd name="connsiteX571" fmla="*/ 36703 w 397940"/>
                <a:gd name="connsiteY571" fmla="*/ 21184 h 225957"/>
                <a:gd name="connsiteX572" fmla="*/ 38307 w 397940"/>
                <a:gd name="connsiteY572" fmla="*/ 21571 h 225957"/>
                <a:gd name="connsiteX573" fmla="*/ 40229 w 397940"/>
                <a:gd name="connsiteY573" fmla="*/ 22716 h 225957"/>
                <a:gd name="connsiteX574" fmla="*/ 40829 w 397940"/>
                <a:gd name="connsiteY574" fmla="*/ 22532 h 225957"/>
                <a:gd name="connsiteX575" fmla="*/ 44114 w 397940"/>
                <a:gd name="connsiteY575" fmla="*/ 20373 h 225957"/>
                <a:gd name="connsiteX576" fmla="*/ 47502 w 397940"/>
                <a:gd name="connsiteY576" fmla="*/ 17130 h 225957"/>
                <a:gd name="connsiteX577" fmla="*/ 48467 w 397940"/>
                <a:gd name="connsiteY577" fmla="*/ 15251 h 225957"/>
                <a:gd name="connsiteX578" fmla="*/ 49311 w 397940"/>
                <a:gd name="connsiteY578" fmla="*/ 14392 h 225957"/>
                <a:gd name="connsiteX579" fmla="*/ 52259 w 397940"/>
                <a:gd name="connsiteY579" fmla="*/ 13933 h 225957"/>
                <a:gd name="connsiteX580" fmla="*/ 54826 w 397940"/>
                <a:gd name="connsiteY580" fmla="*/ 13743 h 225957"/>
                <a:gd name="connsiteX581" fmla="*/ 56459 w 397940"/>
                <a:gd name="connsiteY581" fmla="*/ 13779 h 225957"/>
                <a:gd name="connsiteX582" fmla="*/ 60467 w 397940"/>
                <a:gd name="connsiteY582" fmla="*/ 13459 h 225957"/>
                <a:gd name="connsiteX583" fmla="*/ 62842 w 397940"/>
                <a:gd name="connsiteY583" fmla="*/ 13104 h 225957"/>
                <a:gd name="connsiteX584" fmla="*/ 64896 w 397940"/>
                <a:gd name="connsiteY584" fmla="*/ 12531 h 225957"/>
                <a:gd name="connsiteX585" fmla="*/ 69329 w 397940"/>
                <a:gd name="connsiteY585" fmla="*/ 12318 h 225957"/>
                <a:gd name="connsiteX586" fmla="*/ 76252 w 397940"/>
                <a:gd name="connsiteY586" fmla="*/ 12702 h 225957"/>
                <a:gd name="connsiteX587" fmla="*/ 80795 w 397940"/>
                <a:gd name="connsiteY587" fmla="*/ 12729 h 225957"/>
                <a:gd name="connsiteX588" fmla="*/ 83881 w 397940"/>
                <a:gd name="connsiteY588" fmla="*/ 13034 h 225957"/>
                <a:gd name="connsiteX589" fmla="*/ 91439 w 397940"/>
                <a:gd name="connsiteY589" fmla="*/ 14761 h 225957"/>
                <a:gd name="connsiteX590" fmla="*/ 94252 w 397940"/>
                <a:gd name="connsiteY590" fmla="*/ 15074 h 225957"/>
                <a:gd name="connsiteX591" fmla="*/ 95559 w 397940"/>
                <a:gd name="connsiteY591" fmla="*/ 15988 h 225957"/>
                <a:gd name="connsiteX592" fmla="*/ 98068 w 397940"/>
                <a:gd name="connsiteY592" fmla="*/ 16328 h 225957"/>
                <a:gd name="connsiteX593" fmla="*/ 102635 w 397940"/>
                <a:gd name="connsiteY593" fmla="*/ 17248 h 225957"/>
                <a:gd name="connsiteX594" fmla="*/ 106602 w 397940"/>
                <a:gd name="connsiteY594" fmla="*/ 17741 h 225957"/>
                <a:gd name="connsiteX595" fmla="*/ 109284 w 397940"/>
                <a:gd name="connsiteY595" fmla="*/ 17539 h 225957"/>
                <a:gd name="connsiteX596" fmla="*/ 110785 w 397940"/>
                <a:gd name="connsiteY596" fmla="*/ 17798 h 225957"/>
                <a:gd name="connsiteX597" fmla="*/ 113618 w 397940"/>
                <a:gd name="connsiteY597" fmla="*/ 21877 h 225957"/>
                <a:gd name="connsiteX598" fmla="*/ 114196 w 397940"/>
                <a:gd name="connsiteY598" fmla="*/ 22353 h 225957"/>
                <a:gd name="connsiteX599" fmla="*/ 115332 w 397940"/>
                <a:gd name="connsiteY599" fmla="*/ 22449 h 225957"/>
                <a:gd name="connsiteX600" fmla="*/ 117647 w 397940"/>
                <a:gd name="connsiteY600" fmla="*/ 22097 h 225957"/>
                <a:gd name="connsiteX601" fmla="*/ 120943 w 397940"/>
                <a:gd name="connsiteY601" fmla="*/ 22229 h 225957"/>
                <a:gd name="connsiteX602" fmla="*/ 122897 w 397940"/>
                <a:gd name="connsiteY602" fmla="*/ 23088 h 225957"/>
                <a:gd name="connsiteX603" fmla="*/ 122610 w 397940"/>
                <a:gd name="connsiteY603" fmla="*/ 25513 h 225957"/>
                <a:gd name="connsiteX604" fmla="*/ 123123 w 397940"/>
                <a:gd name="connsiteY604" fmla="*/ 25864 h 225957"/>
                <a:gd name="connsiteX605" fmla="*/ 124037 w 397940"/>
                <a:gd name="connsiteY605" fmla="*/ 25729 h 225957"/>
                <a:gd name="connsiteX606" fmla="*/ 125088 w 397940"/>
                <a:gd name="connsiteY606" fmla="*/ 24360 h 225957"/>
                <a:gd name="connsiteX607" fmla="*/ 125972 w 397940"/>
                <a:gd name="connsiteY607" fmla="*/ 22940 h 225957"/>
                <a:gd name="connsiteX608" fmla="*/ 126630 w 397940"/>
                <a:gd name="connsiteY608" fmla="*/ 22501 h 225957"/>
                <a:gd name="connsiteX609" fmla="*/ 129995 w 397940"/>
                <a:gd name="connsiteY609" fmla="*/ 23460 h 225957"/>
                <a:gd name="connsiteX610" fmla="*/ 131532 w 397940"/>
                <a:gd name="connsiteY610" fmla="*/ 23305 h 225957"/>
                <a:gd name="connsiteX611" fmla="*/ 132951 w 397940"/>
                <a:gd name="connsiteY611" fmla="*/ 22228 h 225957"/>
                <a:gd name="connsiteX612" fmla="*/ 133821 w 397940"/>
                <a:gd name="connsiteY612" fmla="*/ 22045 h 225957"/>
                <a:gd name="connsiteX613" fmla="*/ 136205 w 397940"/>
                <a:gd name="connsiteY613" fmla="*/ 22811 h 225957"/>
                <a:gd name="connsiteX614" fmla="*/ 139146 w 397940"/>
                <a:gd name="connsiteY614" fmla="*/ 23347 h 225957"/>
                <a:gd name="connsiteX615" fmla="*/ 141522 w 397940"/>
                <a:gd name="connsiteY615" fmla="*/ 23381 h 225957"/>
                <a:gd name="connsiteX616" fmla="*/ 143003 w 397940"/>
                <a:gd name="connsiteY616" fmla="*/ 23964 h 225957"/>
                <a:gd name="connsiteX617" fmla="*/ 144080 w 397940"/>
                <a:gd name="connsiteY617" fmla="*/ 26494 h 225957"/>
                <a:gd name="connsiteX618" fmla="*/ 145020 w 397940"/>
                <a:gd name="connsiteY618" fmla="*/ 27013 h 225957"/>
                <a:gd name="connsiteX619" fmla="*/ 145927 w 397940"/>
                <a:gd name="connsiteY619" fmla="*/ 27174 h 225957"/>
                <a:gd name="connsiteX620" fmla="*/ 147298 w 397940"/>
                <a:gd name="connsiteY620" fmla="*/ 24913 h 225957"/>
                <a:gd name="connsiteX621" fmla="*/ 148542 w 397940"/>
                <a:gd name="connsiteY621" fmla="*/ 24036 h 225957"/>
                <a:gd name="connsiteX622" fmla="*/ 150267 w 397940"/>
                <a:gd name="connsiteY622" fmla="*/ 23390 h 225957"/>
                <a:gd name="connsiteX623" fmla="*/ 151377 w 397940"/>
                <a:gd name="connsiteY623" fmla="*/ 23107 h 225957"/>
                <a:gd name="connsiteX624" fmla="*/ 152158 w 397940"/>
                <a:gd name="connsiteY624" fmla="*/ 22308 h 225957"/>
                <a:gd name="connsiteX625" fmla="*/ 153212 w 397940"/>
                <a:gd name="connsiteY625" fmla="*/ 21528 h 225957"/>
                <a:gd name="connsiteX626" fmla="*/ 154126 w 397940"/>
                <a:gd name="connsiteY626" fmla="*/ 21466 h 225957"/>
                <a:gd name="connsiteX627" fmla="*/ 154868 w 397940"/>
                <a:gd name="connsiteY627" fmla="*/ 21768 h 225957"/>
                <a:gd name="connsiteX628" fmla="*/ 155721 w 397940"/>
                <a:gd name="connsiteY628" fmla="*/ 22847 h 225957"/>
                <a:gd name="connsiteX629" fmla="*/ 156965 w 397940"/>
                <a:gd name="connsiteY629" fmla="*/ 25305 h 225957"/>
                <a:gd name="connsiteX630" fmla="*/ 158477 w 397940"/>
                <a:gd name="connsiteY630" fmla="*/ 27771 h 225957"/>
                <a:gd name="connsiteX631" fmla="*/ 159531 w 397940"/>
                <a:gd name="connsiteY631" fmla="*/ 28666 h 225957"/>
                <a:gd name="connsiteX632" fmla="*/ 162254 w 397940"/>
                <a:gd name="connsiteY632" fmla="*/ 27909 h 225957"/>
                <a:gd name="connsiteX633" fmla="*/ 164100 w 397940"/>
                <a:gd name="connsiteY633" fmla="*/ 27139 h 225957"/>
                <a:gd name="connsiteX634" fmla="*/ 167482 w 397940"/>
                <a:gd name="connsiteY634" fmla="*/ 26993 h 225957"/>
                <a:gd name="connsiteX635" fmla="*/ 171964 w 397940"/>
                <a:gd name="connsiteY635" fmla="*/ 26451 h 225957"/>
                <a:gd name="connsiteX636" fmla="*/ 175392 w 397940"/>
                <a:gd name="connsiteY636" fmla="*/ 25745 h 225957"/>
                <a:gd name="connsiteX637" fmla="*/ 177536 w 397940"/>
                <a:gd name="connsiteY637" fmla="*/ 25867 h 225957"/>
                <a:gd name="connsiteX638" fmla="*/ 178836 w 397940"/>
                <a:gd name="connsiteY638" fmla="*/ 26650 h 225957"/>
                <a:gd name="connsiteX639" fmla="*/ 180814 w 397940"/>
                <a:gd name="connsiteY639" fmla="*/ 28166 h 225957"/>
                <a:gd name="connsiteX640" fmla="*/ 181354 w 397940"/>
                <a:gd name="connsiteY640" fmla="*/ 30339 h 225957"/>
                <a:gd name="connsiteX641" fmla="*/ 183921 w 397940"/>
                <a:gd name="connsiteY641" fmla="*/ 31841 h 225957"/>
                <a:gd name="connsiteX642" fmla="*/ 186022 w 397940"/>
                <a:gd name="connsiteY642" fmla="*/ 32112 h 225957"/>
                <a:gd name="connsiteX643" fmla="*/ 186739 w 397940"/>
                <a:gd name="connsiteY643" fmla="*/ 30549 h 225957"/>
                <a:gd name="connsiteX644" fmla="*/ 187968 w 397940"/>
                <a:gd name="connsiteY644" fmla="*/ 29462 h 225957"/>
                <a:gd name="connsiteX645" fmla="*/ 187508 w 397940"/>
                <a:gd name="connsiteY645" fmla="*/ 27968 h 225957"/>
                <a:gd name="connsiteX646" fmla="*/ 187301 w 397940"/>
                <a:gd name="connsiteY646" fmla="*/ 26062 h 225957"/>
                <a:gd name="connsiteX647" fmla="*/ 186380 w 397940"/>
                <a:gd name="connsiteY647" fmla="*/ 24291 h 225957"/>
                <a:gd name="connsiteX648" fmla="*/ 185767 w 397940"/>
                <a:gd name="connsiteY648" fmla="*/ 22384 h 225957"/>
                <a:gd name="connsiteX649" fmla="*/ 186892 w 397940"/>
                <a:gd name="connsiteY649" fmla="*/ 19657 h 225957"/>
                <a:gd name="connsiteX650" fmla="*/ 188121 w 397940"/>
                <a:gd name="connsiteY650" fmla="*/ 17267 h 225957"/>
                <a:gd name="connsiteX651" fmla="*/ 188736 w 397940"/>
                <a:gd name="connsiteY651" fmla="*/ 15968 h 225957"/>
                <a:gd name="connsiteX652" fmla="*/ 190682 w 397940"/>
                <a:gd name="connsiteY652" fmla="*/ 13576 h 225957"/>
                <a:gd name="connsiteX653" fmla="*/ 192682 w 397940"/>
                <a:gd name="connsiteY653" fmla="*/ 11865 h 225957"/>
                <a:gd name="connsiteX654" fmla="*/ 195666 w 397940"/>
                <a:gd name="connsiteY654" fmla="*/ 9111 h 225957"/>
                <a:gd name="connsiteX655" fmla="*/ 197847 w 397940"/>
                <a:gd name="connsiteY655" fmla="*/ 8201 h 225957"/>
                <a:gd name="connsiteX656" fmla="*/ 199818 w 397940"/>
                <a:gd name="connsiteY656" fmla="*/ 8616 h 225957"/>
                <a:gd name="connsiteX657" fmla="*/ 200913 w 397940"/>
                <a:gd name="connsiteY657" fmla="*/ 8992 h 225957"/>
                <a:gd name="connsiteX658" fmla="*/ 203744 w 397940"/>
                <a:gd name="connsiteY658" fmla="*/ 7360 h 225957"/>
                <a:gd name="connsiteX659" fmla="*/ 208780 w 397940"/>
                <a:gd name="connsiteY659" fmla="*/ 7279 h 225957"/>
                <a:gd name="connsiteX660" fmla="*/ 212973 w 397940"/>
                <a:gd name="connsiteY660" fmla="*/ 7487 h 225957"/>
                <a:gd name="connsiteX661" fmla="*/ 213394 w 397940"/>
                <a:gd name="connsiteY661" fmla="*/ 7536 h 225957"/>
                <a:gd name="connsiteX662" fmla="*/ 215455 w 397940"/>
                <a:gd name="connsiteY662" fmla="*/ 8380 h 225957"/>
                <a:gd name="connsiteX663" fmla="*/ 217627 w 397940"/>
                <a:gd name="connsiteY663" fmla="*/ 9098 h 225957"/>
                <a:gd name="connsiteX664" fmla="*/ 219125 w 397940"/>
                <a:gd name="connsiteY664" fmla="*/ 9146 h 225957"/>
                <a:gd name="connsiteX665" fmla="*/ 220909 w 397940"/>
                <a:gd name="connsiteY665" fmla="*/ 8981 h 225957"/>
                <a:gd name="connsiteX666" fmla="*/ 223000 w 397940"/>
                <a:gd name="connsiteY666" fmla="*/ 8024 h 225957"/>
                <a:gd name="connsiteX667" fmla="*/ 224459 w 397940"/>
                <a:gd name="connsiteY667" fmla="*/ 7104 h 225957"/>
                <a:gd name="connsiteX668" fmla="*/ 226232 w 397940"/>
                <a:gd name="connsiteY668" fmla="*/ 2418 h 225957"/>
                <a:gd name="connsiteX669" fmla="*/ 226858 w 397940"/>
                <a:gd name="connsiteY669" fmla="*/ 1744 h 225957"/>
                <a:gd name="connsiteX670" fmla="*/ 227834 w 397940"/>
                <a:gd name="connsiteY670" fmla="*/ 1376 h 225957"/>
                <a:gd name="connsiteX671" fmla="*/ 229437 w 397940"/>
                <a:gd name="connsiteY671" fmla="*/ 1337 h 225957"/>
                <a:gd name="connsiteX672" fmla="*/ 232477 w 397940"/>
                <a:gd name="connsiteY672" fmla="*/ 2211 h 225957"/>
                <a:gd name="connsiteX673" fmla="*/ 236038 w 397940"/>
                <a:gd name="connsiteY673" fmla="*/ 2996 h 225957"/>
                <a:gd name="connsiteX674" fmla="*/ 238100 w 397940"/>
                <a:gd name="connsiteY674" fmla="*/ 2886 h 225957"/>
                <a:gd name="connsiteX675" fmla="*/ 243600 w 397940"/>
                <a:gd name="connsiteY675" fmla="*/ 390 h 225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</a:cxnLst>
              <a:rect l="l" t="t" r="r" b="b"/>
              <a:pathLst>
                <a:path w="397940" h="225957">
                  <a:moveTo>
                    <a:pt x="207344" y="171473"/>
                  </a:moveTo>
                  <a:lnTo>
                    <a:pt x="209026" y="173412"/>
                  </a:lnTo>
                  <a:lnTo>
                    <a:pt x="210212" y="174260"/>
                  </a:lnTo>
                  <a:lnTo>
                    <a:pt x="218475" y="176160"/>
                  </a:lnTo>
                  <a:lnTo>
                    <a:pt x="221524" y="177522"/>
                  </a:lnTo>
                  <a:lnTo>
                    <a:pt x="218413" y="177159"/>
                  </a:lnTo>
                  <a:lnTo>
                    <a:pt x="211576" y="175879"/>
                  </a:lnTo>
                  <a:lnTo>
                    <a:pt x="208562" y="174670"/>
                  </a:lnTo>
                  <a:lnTo>
                    <a:pt x="207784" y="173318"/>
                  </a:lnTo>
                  <a:close/>
                  <a:moveTo>
                    <a:pt x="246666" y="0"/>
                  </a:moveTo>
                  <a:lnTo>
                    <a:pt x="250309" y="587"/>
                  </a:lnTo>
                  <a:lnTo>
                    <a:pt x="253881" y="622"/>
                  </a:lnTo>
                  <a:lnTo>
                    <a:pt x="256576" y="261"/>
                  </a:lnTo>
                  <a:lnTo>
                    <a:pt x="258424" y="1126"/>
                  </a:lnTo>
                  <a:lnTo>
                    <a:pt x="260707" y="3030"/>
                  </a:lnTo>
                  <a:lnTo>
                    <a:pt x="262769" y="5862"/>
                  </a:lnTo>
                  <a:lnTo>
                    <a:pt x="264930" y="11080"/>
                  </a:lnTo>
                  <a:lnTo>
                    <a:pt x="271227" y="16962"/>
                  </a:lnTo>
                  <a:lnTo>
                    <a:pt x="271335" y="18109"/>
                  </a:lnTo>
                  <a:lnTo>
                    <a:pt x="270817" y="18846"/>
                  </a:lnTo>
                  <a:lnTo>
                    <a:pt x="267718" y="19561"/>
                  </a:lnTo>
                  <a:lnTo>
                    <a:pt x="265107" y="19946"/>
                  </a:lnTo>
                  <a:lnTo>
                    <a:pt x="264982" y="20953"/>
                  </a:lnTo>
                  <a:lnTo>
                    <a:pt x="265675" y="22042"/>
                  </a:lnTo>
                  <a:lnTo>
                    <a:pt x="266872" y="23635"/>
                  </a:lnTo>
                  <a:lnTo>
                    <a:pt x="267057" y="25685"/>
                  </a:lnTo>
                  <a:lnTo>
                    <a:pt x="266997" y="27569"/>
                  </a:lnTo>
                  <a:lnTo>
                    <a:pt x="267513" y="29233"/>
                  </a:lnTo>
                  <a:lnTo>
                    <a:pt x="268511" y="29909"/>
                  </a:lnTo>
                  <a:lnTo>
                    <a:pt x="268636" y="30745"/>
                  </a:lnTo>
                  <a:lnTo>
                    <a:pt x="267481" y="31766"/>
                  </a:lnTo>
                  <a:lnTo>
                    <a:pt x="267159" y="32396"/>
                  </a:lnTo>
                  <a:lnTo>
                    <a:pt x="267608" y="32735"/>
                  </a:lnTo>
                  <a:lnTo>
                    <a:pt x="273287" y="32932"/>
                  </a:lnTo>
                  <a:lnTo>
                    <a:pt x="276068" y="33926"/>
                  </a:lnTo>
                  <a:lnTo>
                    <a:pt x="278180" y="34831"/>
                  </a:lnTo>
                  <a:lnTo>
                    <a:pt x="279243" y="34915"/>
                  </a:lnTo>
                  <a:lnTo>
                    <a:pt x="281635" y="34333"/>
                  </a:lnTo>
                  <a:lnTo>
                    <a:pt x="284326" y="33966"/>
                  </a:lnTo>
                  <a:lnTo>
                    <a:pt x="285958" y="33917"/>
                  </a:lnTo>
                  <a:lnTo>
                    <a:pt x="286589" y="34584"/>
                  </a:lnTo>
                  <a:lnTo>
                    <a:pt x="287092" y="36334"/>
                  </a:lnTo>
                  <a:lnTo>
                    <a:pt x="288038" y="38084"/>
                  </a:lnTo>
                  <a:lnTo>
                    <a:pt x="288921" y="38584"/>
                  </a:lnTo>
                  <a:lnTo>
                    <a:pt x="290493" y="38500"/>
                  </a:lnTo>
                  <a:lnTo>
                    <a:pt x="291439" y="38584"/>
                  </a:lnTo>
                  <a:lnTo>
                    <a:pt x="291944" y="39249"/>
                  </a:lnTo>
                  <a:lnTo>
                    <a:pt x="291376" y="40249"/>
                  </a:lnTo>
                  <a:lnTo>
                    <a:pt x="291502" y="41329"/>
                  </a:lnTo>
                  <a:lnTo>
                    <a:pt x="292195" y="42660"/>
                  </a:lnTo>
                  <a:lnTo>
                    <a:pt x="293015" y="45733"/>
                  </a:lnTo>
                  <a:lnTo>
                    <a:pt x="293771" y="46646"/>
                  </a:lnTo>
                  <a:lnTo>
                    <a:pt x="294274" y="47808"/>
                  </a:lnTo>
                  <a:lnTo>
                    <a:pt x="294274" y="49135"/>
                  </a:lnTo>
                  <a:lnTo>
                    <a:pt x="293644" y="50295"/>
                  </a:lnTo>
                  <a:lnTo>
                    <a:pt x="293203" y="51205"/>
                  </a:lnTo>
                  <a:lnTo>
                    <a:pt x="293644" y="53275"/>
                  </a:lnTo>
                  <a:lnTo>
                    <a:pt x="295343" y="55592"/>
                  </a:lnTo>
                  <a:lnTo>
                    <a:pt x="296604" y="56170"/>
                  </a:lnTo>
                  <a:lnTo>
                    <a:pt x="297613" y="58236"/>
                  </a:lnTo>
                  <a:lnTo>
                    <a:pt x="299439" y="58896"/>
                  </a:lnTo>
                  <a:lnTo>
                    <a:pt x="302147" y="57163"/>
                  </a:lnTo>
                  <a:lnTo>
                    <a:pt x="304227" y="56254"/>
                  </a:lnTo>
                  <a:lnTo>
                    <a:pt x="306827" y="56759"/>
                  </a:lnTo>
                  <a:lnTo>
                    <a:pt x="309228" y="57082"/>
                  </a:lnTo>
                  <a:lnTo>
                    <a:pt x="310843" y="58263"/>
                  </a:lnTo>
                  <a:lnTo>
                    <a:pt x="312035" y="59887"/>
                  </a:lnTo>
                  <a:lnTo>
                    <a:pt x="313422" y="60794"/>
                  </a:lnTo>
                  <a:lnTo>
                    <a:pt x="314810" y="60320"/>
                  </a:lnTo>
                  <a:lnTo>
                    <a:pt x="317706" y="60794"/>
                  </a:lnTo>
                  <a:lnTo>
                    <a:pt x="319029" y="62114"/>
                  </a:lnTo>
                  <a:lnTo>
                    <a:pt x="320351" y="62856"/>
                  </a:lnTo>
                  <a:lnTo>
                    <a:pt x="322052" y="61785"/>
                  </a:lnTo>
                  <a:lnTo>
                    <a:pt x="323439" y="60465"/>
                  </a:lnTo>
                  <a:lnTo>
                    <a:pt x="328511" y="59082"/>
                  </a:lnTo>
                  <a:lnTo>
                    <a:pt x="331668" y="58736"/>
                  </a:lnTo>
                  <a:lnTo>
                    <a:pt x="332549" y="58464"/>
                  </a:lnTo>
                  <a:lnTo>
                    <a:pt x="334402" y="57476"/>
                  </a:lnTo>
                  <a:lnTo>
                    <a:pt x="336354" y="56819"/>
                  </a:lnTo>
                  <a:lnTo>
                    <a:pt x="338116" y="56997"/>
                  </a:lnTo>
                  <a:lnTo>
                    <a:pt x="339852" y="59049"/>
                  </a:lnTo>
                  <a:lnTo>
                    <a:pt x="341643" y="60465"/>
                  </a:lnTo>
                  <a:lnTo>
                    <a:pt x="342146" y="62691"/>
                  </a:lnTo>
                  <a:lnTo>
                    <a:pt x="344337" y="65753"/>
                  </a:lnTo>
                  <a:lnTo>
                    <a:pt x="349779" y="69936"/>
                  </a:lnTo>
                  <a:lnTo>
                    <a:pt x="351915" y="71211"/>
                  </a:lnTo>
                  <a:lnTo>
                    <a:pt x="353366" y="70986"/>
                  </a:lnTo>
                  <a:lnTo>
                    <a:pt x="354124" y="70652"/>
                  </a:lnTo>
                  <a:lnTo>
                    <a:pt x="354476" y="70215"/>
                  </a:lnTo>
                  <a:lnTo>
                    <a:pt x="354804" y="68170"/>
                  </a:lnTo>
                  <a:lnTo>
                    <a:pt x="355493" y="67417"/>
                  </a:lnTo>
                  <a:lnTo>
                    <a:pt x="356596" y="67392"/>
                  </a:lnTo>
                  <a:lnTo>
                    <a:pt x="360855" y="69940"/>
                  </a:lnTo>
                  <a:lnTo>
                    <a:pt x="363083" y="70214"/>
                  </a:lnTo>
                  <a:lnTo>
                    <a:pt x="365201" y="70263"/>
                  </a:lnTo>
                  <a:lnTo>
                    <a:pt x="368052" y="72240"/>
                  </a:lnTo>
                  <a:lnTo>
                    <a:pt x="371185" y="73958"/>
                  </a:lnTo>
                  <a:lnTo>
                    <a:pt x="373603" y="74139"/>
                  </a:lnTo>
                  <a:lnTo>
                    <a:pt x="375532" y="73467"/>
                  </a:lnTo>
                  <a:lnTo>
                    <a:pt x="376856" y="73058"/>
                  </a:lnTo>
                  <a:lnTo>
                    <a:pt x="377674" y="73713"/>
                  </a:lnTo>
                  <a:lnTo>
                    <a:pt x="378430" y="75190"/>
                  </a:lnTo>
                  <a:lnTo>
                    <a:pt x="379689" y="76338"/>
                  </a:lnTo>
                  <a:lnTo>
                    <a:pt x="381138" y="76666"/>
                  </a:lnTo>
                  <a:lnTo>
                    <a:pt x="383223" y="76741"/>
                  </a:lnTo>
                  <a:lnTo>
                    <a:pt x="386845" y="78966"/>
                  </a:lnTo>
                  <a:lnTo>
                    <a:pt x="390250" y="81226"/>
                  </a:lnTo>
                  <a:lnTo>
                    <a:pt x="392379" y="81351"/>
                  </a:lnTo>
                  <a:lnTo>
                    <a:pt x="394185" y="80688"/>
                  </a:lnTo>
                  <a:lnTo>
                    <a:pt x="395780" y="80517"/>
                  </a:lnTo>
                  <a:lnTo>
                    <a:pt x="396886" y="81087"/>
                  </a:lnTo>
                  <a:lnTo>
                    <a:pt x="397201" y="82069"/>
                  </a:lnTo>
                  <a:lnTo>
                    <a:pt x="396381" y="83378"/>
                  </a:lnTo>
                  <a:lnTo>
                    <a:pt x="396381" y="85258"/>
                  </a:lnTo>
                  <a:lnTo>
                    <a:pt x="397892" y="87055"/>
                  </a:lnTo>
                  <a:lnTo>
                    <a:pt x="397940" y="88820"/>
                  </a:lnTo>
                  <a:lnTo>
                    <a:pt x="397508" y="90413"/>
                  </a:lnTo>
                  <a:lnTo>
                    <a:pt x="396651" y="91880"/>
                  </a:lnTo>
                  <a:lnTo>
                    <a:pt x="394580" y="93894"/>
                  </a:lnTo>
                  <a:lnTo>
                    <a:pt x="392664" y="95773"/>
                  </a:lnTo>
                  <a:lnTo>
                    <a:pt x="389784" y="96558"/>
                  </a:lnTo>
                  <a:lnTo>
                    <a:pt x="388171" y="97376"/>
                  </a:lnTo>
                  <a:lnTo>
                    <a:pt x="388594" y="98755"/>
                  </a:lnTo>
                  <a:lnTo>
                    <a:pt x="389648" y="100041"/>
                  </a:lnTo>
                  <a:lnTo>
                    <a:pt x="392090" y="101081"/>
                  </a:lnTo>
                  <a:lnTo>
                    <a:pt x="394863" y="101838"/>
                  </a:lnTo>
                  <a:lnTo>
                    <a:pt x="395182" y="102673"/>
                  </a:lnTo>
                  <a:lnTo>
                    <a:pt x="394759" y="103092"/>
                  </a:lnTo>
                  <a:lnTo>
                    <a:pt x="392982" y="103480"/>
                  </a:lnTo>
                  <a:lnTo>
                    <a:pt x="390522" y="103082"/>
                  </a:lnTo>
                  <a:lnTo>
                    <a:pt x="389704" y="103812"/>
                  </a:lnTo>
                  <a:lnTo>
                    <a:pt x="388570" y="105028"/>
                  </a:lnTo>
                  <a:lnTo>
                    <a:pt x="387815" y="107215"/>
                  </a:lnTo>
                  <a:lnTo>
                    <a:pt x="387246" y="109239"/>
                  </a:lnTo>
                  <a:lnTo>
                    <a:pt x="389916" y="109788"/>
                  </a:lnTo>
                  <a:lnTo>
                    <a:pt x="391468" y="110614"/>
                  </a:lnTo>
                  <a:lnTo>
                    <a:pt x="391952" y="112276"/>
                  </a:lnTo>
                  <a:lnTo>
                    <a:pt x="392507" y="114123"/>
                  </a:lnTo>
                  <a:lnTo>
                    <a:pt x="392667" y="115785"/>
                  </a:lnTo>
                  <a:lnTo>
                    <a:pt x="391783" y="116592"/>
                  </a:lnTo>
                  <a:lnTo>
                    <a:pt x="391730" y="117418"/>
                  </a:lnTo>
                  <a:lnTo>
                    <a:pt x="392146" y="117824"/>
                  </a:lnTo>
                  <a:lnTo>
                    <a:pt x="393293" y="118008"/>
                  </a:lnTo>
                  <a:lnTo>
                    <a:pt x="394172" y="118377"/>
                  </a:lnTo>
                  <a:lnTo>
                    <a:pt x="394241" y="119253"/>
                  </a:lnTo>
                  <a:lnTo>
                    <a:pt x="392561" y="121220"/>
                  </a:lnTo>
                  <a:lnTo>
                    <a:pt x="390989" y="124979"/>
                  </a:lnTo>
                  <a:lnTo>
                    <a:pt x="390144" y="126978"/>
                  </a:lnTo>
                  <a:lnTo>
                    <a:pt x="390209" y="129146"/>
                  </a:lnTo>
                  <a:lnTo>
                    <a:pt x="389263" y="130350"/>
                  </a:lnTo>
                  <a:lnTo>
                    <a:pt x="387551" y="130452"/>
                  </a:lnTo>
                  <a:lnTo>
                    <a:pt x="381636" y="130662"/>
                  </a:lnTo>
                  <a:lnTo>
                    <a:pt x="376495" y="130559"/>
                  </a:lnTo>
                  <a:lnTo>
                    <a:pt x="374269" y="130247"/>
                  </a:lnTo>
                  <a:lnTo>
                    <a:pt x="370785" y="130060"/>
                  </a:lnTo>
                  <a:lnTo>
                    <a:pt x="369060" y="130570"/>
                  </a:lnTo>
                  <a:lnTo>
                    <a:pt x="366776" y="134029"/>
                  </a:lnTo>
                  <a:lnTo>
                    <a:pt x="365044" y="135384"/>
                  </a:lnTo>
                  <a:lnTo>
                    <a:pt x="362176" y="136607"/>
                  </a:lnTo>
                  <a:lnTo>
                    <a:pt x="359034" y="136957"/>
                  </a:lnTo>
                  <a:lnTo>
                    <a:pt x="357233" y="138383"/>
                  </a:lnTo>
                  <a:lnTo>
                    <a:pt x="356601" y="140618"/>
                  </a:lnTo>
                  <a:lnTo>
                    <a:pt x="356551" y="142598"/>
                  </a:lnTo>
                  <a:lnTo>
                    <a:pt x="356257" y="143586"/>
                  </a:lnTo>
                  <a:lnTo>
                    <a:pt x="355575" y="144452"/>
                  </a:lnTo>
                  <a:lnTo>
                    <a:pt x="355331" y="145068"/>
                  </a:lnTo>
                  <a:lnTo>
                    <a:pt x="355477" y="145747"/>
                  </a:lnTo>
                  <a:lnTo>
                    <a:pt x="356208" y="145994"/>
                  </a:lnTo>
                  <a:lnTo>
                    <a:pt x="357086" y="146303"/>
                  </a:lnTo>
                  <a:lnTo>
                    <a:pt x="357086" y="146797"/>
                  </a:lnTo>
                  <a:lnTo>
                    <a:pt x="356745" y="147414"/>
                  </a:lnTo>
                  <a:lnTo>
                    <a:pt x="355769" y="148092"/>
                  </a:lnTo>
                  <a:lnTo>
                    <a:pt x="355331" y="149141"/>
                  </a:lnTo>
                  <a:lnTo>
                    <a:pt x="355430" y="150249"/>
                  </a:lnTo>
                  <a:lnTo>
                    <a:pt x="355618" y="151483"/>
                  </a:lnTo>
                  <a:lnTo>
                    <a:pt x="354821" y="151796"/>
                  </a:lnTo>
                  <a:lnTo>
                    <a:pt x="347091" y="151360"/>
                  </a:lnTo>
                  <a:lnTo>
                    <a:pt x="340781" y="151954"/>
                  </a:lnTo>
                  <a:lnTo>
                    <a:pt x="336281" y="156355"/>
                  </a:lnTo>
                  <a:lnTo>
                    <a:pt x="333599" y="156343"/>
                  </a:lnTo>
                  <a:lnTo>
                    <a:pt x="329818" y="157489"/>
                  </a:lnTo>
                  <a:lnTo>
                    <a:pt x="327263" y="158912"/>
                  </a:lnTo>
                  <a:lnTo>
                    <a:pt x="324229" y="161995"/>
                  </a:lnTo>
                  <a:lnTo>
                    <a:pt x="321882" y="160611"/>
                  </a:lnTo>
                  <a:lnTo>
                    <a:pt x="319010" y="160651"/>
                  </a:lnTo>
                  <a:lnTo>
                    <a:pt x="316207" y="161490"/>
                  </a:lnTo>
                  <a:lnTo>
                    <a:pt x="312834" y="163547"/>
                  </a:lnTo>
                  <a:lnTo>
                    <a:pt x="310958" y="163911"/>
                  </a:lnTo>
                  <a:lnTo>
                    <a:pt x="307205" y="163319"/>
                  </a:lnTo>
                  <a:lnTo>
                    <a:pt x="302832" y="164500"/>
                  </a:lnTo>
                  <a:lnTo>
                    <a:pt x="293391" y="171244"/>
                  </a:lnTo>
                  <a:lnTo>
                    <a:pt x="290217" y="176160"/>
                  </a:lnTo>
                  <a:lnTo>
                    <a:pt x="289061" y="177121"/>
                  </a:lnTo>
                  <a:lnTo>
                    <a:pt x="287468" y="178319"/>
                  </a:lnTo>
                  <a:lnTo>
                    <a:pt x="285764" y="178924"/>
                  </a:lnTo>
                  <a:lnTo>
                    <a:pt x="284864" y="178868"/>
                  </a:lnTo>
                  <a:lnTo>
                    <a:pt x="289357" y="175378"/>
                  </a:lnTo>
                  <a:lnTo>
                    <a:pt x="290737" y="174068"/>
                  </a:lnTo>
                  <a:lnTo>
                    <a:pt x="290975" y="173101"/>
                  </a:lnTo>
                  <a:lnTo>
                    <a:pt x="290998" y="171541"/>
                  </a:lnTo>
                  <a:lnTo>
                    <a:pt x="289636" y="169601"/>
                  </a:lnTo>
                  <a:lnTo>
                    <a:pt x="285958" y="174407"/>
                  </a:lnTo>
                  <a:lnTo>
                    <a:pt x="283868" y="175104"/>
                  </a:lnTo>
                  <a:lnTo>
                    <a:pt x="281216" y="176548"/>
                  </a:lnTo>
                  <a:lnTo>
                    <a:pt x="281087" y="179764"/>
                  </a:lnTo>
                  <a:lnTo>
                    <a:pt x="281387" y="182146"/>
                  </a:lnTo>
                  <a:lnTo>
                    <a:pt x="282477" y="185142"/>
                  </a:lnTo>
                  <a:lnTo>
                    <a:pt x="285047" y="190042"/>
                  </a:lnTo>
                  <a:lnTo>
                    <a:pt x="290295" y="197027"/>
                  </a:lnTo>
                  <a:lnTo>
                    <a:pt x="292810" y="199588"/>
                  </a:lnTo>
                  <a:lnTo>
                    <a:pt x="294659" y="200611"/>
                  </a:lnTo>
                  <a:lnTo>
                    <a:pt x="296881" y="200759"/>
                  </a:lnTo>
                  <a:lnTo>
                    <a:pt x="301147" y="198607"/>
                  </a:lnTo>
                  <a:lnTo>
                    <a:pt x="302972" y="198271"/>
                  </a:lnTo>
                  <a:lnTo>
                    <a:pt x="306939" y="199092"/>
                  </a:lnTo>
                  <a:lnTo>
                    <a:pt x="308360" y="197653"/>
                  </a:lnTo>
                  <a:lnTo>
                    <a:pt x="310424" y="196858"/>
                  </a:lnTo>
                  <a:lnTo>
                    <a:pt x="313074" y="196757"/>
                  </a:lnTo>
                  <a:lnTo>
                    <a:pt x="316097" y="197402"/>
                  </a:lnTo>
                  <a:lnTo>
                    <a:pt x="319368" y="198492"/>
                  </a:lnTo>
                  <a:lnTo>
                    <a:pt x="318025" y="200955"/>
                  </a:lnTo>
                  <a:lnTo>
                    <a:pt x="316622" y="202913"/>
                  </a:lnTo>
                  <a:lnTo>
                    <a:pt x="316127" y="205078"/>
                  </a:lnTo>
                  <a:lnTo>
                    <a:pt x="315352" y="207482"/>
                  </a:lnTo>
                  <a:lnTo>
                    <a:pt x="311737" y="208560"/>
                  </a:lnTo>
                  <a:lnTo>
                    <a:pt x="307865" y="208428"/>
                  </a:lnTo>
                  <a:lnTo>
                    <a:pt x="303782" y="209125"/>
                  </a:lnTo>
                  <a:lnTo>
                    <a:pt x="302311" y="208187"/>
                  </a:lnTo>
                  <a:lnTo>
                    <a:pt x="301335" y="207333"/>
                  </a:lnTo>
                  <a:lnTo>
                    <a:pt x="299524" y="206481"/>
                  </a:lnTo>
                  <a:lnTo>
                    <a:pt x="297135" y="206006"/>
                  </a:lnTo>
                  <a:lnTo>
                    <a:pt x="294991" y="206577"/>
                  </a:lnTo>
                  <a:lnTo>
                    <a:pt x="292454" y="209860"/>
                  </a:lnTo>
                  <a:lnTo>
                    <a:pt x="287965" y="212102"/>
                  </a:lnTo>
                  <a:lnTo>
                    <a:pt x="286481" y="214659"/>
                  </a:lnTo>
                  <a:lnTo>
                    <a:pt x="282061" y="214088"/>
                  </a:lnTo>
                  <a:lnTo>
                    <a:pt x="278282" y="214536"/>
                  </a:lnTo>
                  <a:lnTo>
                    <a:pt x="272821" y="216866"/>
                  </a:lnTo>
                  <a:lnTo>
                    <a:pt x="268660" y="221856"/>
                  </a:lnTo>
                  <a:lnTo>
                    <a:pt x="264075" y="224972"/>
                  </a:lnTo>
                  <a:lnTo>
                    <a:pt x="260439" y="225957"/>
                  </a:lnTo>
                  <a:lnTo>
                    <a:pt x="257027" y="225649"/>
                  </a:lnTo>
                  <a:lnTo>
                    <a:pt x="254820" y="224717"/>
                  </a:lnTo>
                  <a:lnTo>
                    <a:pt x="250283" y="221442"/>
                  </a:lnTo>
                  <a:lnTo>
                    <a:pt x="250549" y="220267"/>
                  </a:lnTo>
                  <a:lnTo>
                    <a:pt x="251182" y="219674"/>
                  </a:lnTo>
                  <a:lnTo>
                    <a:pt x="252039" y="217988"/>
                  </a:lnTo>
                  <a:lnTo>
                    <a:pt x="253855" y="211788"/>
                  </a:lnTo>
                  <a:lnTo>
                    <a:pt x="253611" y="209776"/>
                  </a:lnTo>
                  <a:lnTo>
                    <a:pt x="252594" y="206600"/>
                  </a:lnTo>
                  <a:lnTo>
                    <a:pt x="248996" y="204131"/>
                  </a:lnTo>
                  <a:lnTo>
                    <a:pt x="246100" y="204599"/>
                  </a:lnTo>
                  <a:lnTo>
                    <a:pt x="244451" y="203941"/>
                  </a:lnTo>
                  <a:lnTo>
                    <a:pt x="238519" y="199738"/>
                  </a:lnTo>
                  <a:lnTo>
                    <a:pt x="235291" y="199440"/>
                  </a:lnTo>
                  <a:lnTo>
                    <a:pt x="231723" y="200288"/>
                  </a:lnTo>
                  <a:lnTo>
                    <a:pt x="230408" y="199676"/>
                  </a:lnTo>
                  <a:lnTo>
                    <a:pt x="229439" y="198210"/>
                  </a:lnTo>
                  <a:lnTo>
                    <a:pt x="236515" y="193012"/>
                  </a:lnTo>
                  <a:lnTo>
                    <a:pt x="243464" y="188714"/>
                  </a:lnTo>
                  <a:lnTo>
                    <a:pt x="246511" y="188272"/>
                  </a:lnTo>
                  <a:lnTo>
                    <a:pt x="250627" y="186269"/>
                  </a:lnTo>
                  <a:lnTo>
                    <a:pt x="255019" y="183259"/>
                  </a:lnTo>
                  <a:lnTo>
                    <a:pt x="254397" y="180890"/>
                  </a:lnTo>
                  <a:lnTo>
                    <a:pt x="253455" y="179138"/>
                  </a:lnTo>
                  <a:lnTo>
                    <a:pt x="251348" y="179619"/>
                  </a:lnTo>
                  <a:lnTo>
                    <a:pt x="249823" y="180206"/>
                  </a:lnTo>
                  <a:lnTo>
                    <a:pt x="246144" y="178325"/>
                  </a:lnTo>
                  <a:lnTo>
                    <a:pt x="244790" y="176940"/>
                  </a:lnTo>
                  <a:lnTo>
                    <a:pt x="239031" y="178377"/>
                  </a:lnTo>
                  <a:lnTo>
                    <a:pt x="235826" y="178164"/>
                  </a:lnTo>
                  <a:lnTo>
                    <a:pt x="228748" y="179485"/>
                  </a:lnTo>
                  <a:lnTo>
                    <a:pt x="225500" y="178195"/>
                  </a:lnTo>
                  <a:lnTo>
                    <a:pt x="218996" y="174580"/>
                  </a:lnTo>
                  <a:lnTo>
                    <a:pt x="216551" y="173853"/>
                  </a:lnTo>
                  <a:lnTo>
                    <a:pt x="214474" y="174007"/>
                  </a:lnTo>
                  <a:lnTo>
                    <a:pt x="213340" y="172817"/>
                  </a:lnTo>
                  <a:lnTo>
                    <a:pt x="214731" y="172221"/>
                  </a:lnTo>
                  <a:lnTo>
                    <a:pt x="216346" y="172151"/>
                  </a:lnTo>
                  <a:lnTo>
                    <a:pt x="218022" y="171715"/>
                  </a:lnTo>
                  <a:lnTo>
                    <a:pt x="218495" y="171084"/>
                  </a:lnTo>
                  <a:lnTo>
                    <a:pt x="218394" y="169897"/>
                  </a:lnTo>
                  <a:lnTo>
                    <a:pt x="215016" y="168996"/>
                  </a:lnTo>
                  <a:lnTo>
                    <a:pt x="211874" y="168737"/>
                  </a:lnTo>
                  <a:lnTo>
                    <a:pt x="209883" y="167669"/>
                  </a:lnTo>
                  <a:lnTo>
                    <a:pt x="208363" y="166446"/>
                  </a:lnTo>
                  <a:lnTo>
                    <a:pt x="211926" y="166427"/>
                  </a:lnTo>
                  <a:lnTo>
                    <a:pt x="215506" y="167352"/>
                  </a:lnTo>
                  <a:lnTo>
                    <a:pt x="221112" y="167693"/>
                  </a:lnTo>
                  <a:lnTo>
                    <a:pt x="226195" y="168649"/>
                  </a:lnTo>
                  <a:lnTo>
                    <a:pt x="227469" y="167460"/>
                  </a:lnTo>
                  <a:lnTo>
                    <a:pt x="230423" y="165399"/>
                  </a:lnTo>
                  <a:lnTo>
                    <a:pt x="230987" y="164742"/>
                  </a:lnTo>
                  <a:lnTo>
                    <a:pt x="226035" y="166153"/>
                  </a:lnTo>
                  <a:lnTo>
                    <a:pt x="221019" y="165253"/>
                  </a:lnTo>
                  <a:lnTo>
                    <a:pt x="219186" y="163995"/>
                  </a:lnTo>
                  <a:lnTo>
                    <a:pt x="217637" y="162151"/>
                  </a:lnTo>
                  <a:lnTo>
                    <a:pt x="216987" y="160047"/>
                  </a:lnTo>
                  <a:lnTo>
                    <a:pt x="217411" y="158085"/>
                  </a:lnTo>
                  <a:lnTo>
                    <a:pt x="216869" y="154539"/>
                  </a:lnTo>
                  <a:lnTo>
                    <a:pt x="215215" y="151380"/>
                  </a:lnTo>
                  <a:lnTo>
                    <a:pt x="214628" y="149645"/>
                  </a:lnTo>
                  <a:lnTo>
                    <a:pt x="212880" y="148089"/>
                  </a:lnTo>
                  <a:lnTo>
                    <a:pt x="214599" y="151607"/>
                  </a:lnTo>
                  <a:lnTo>
                    <a:pt x="215241" y="153945"/>
                  </a:lnTo>
                  <a:lnTo>
                    <a:pt x="216275" y="156097"/>
                  </a:lnTo>
                  <a:lnTo>
                    <a:pt x="216031" y="161794"/>
                  </a:lnTo>
                  <a:lnTo>
                    <a:pt x="215394" y="163793"/>
                  </a:lnTo>
                  <a:lnTo>
                    <a:pt x="213332" y="164297"/>
                  </a:lnTo>
                  <a:lnTo>
                    <a:pt x="210622" y="163997"/>
                  </a:lnTo>
                  <a:lnTo>
                    <a:pt x="207860" y="163376"/>
                  </a:lnTo>
                  <a:lnTo>
                    <a:pt x="208551" y="160245"/>
                  </a:lnTo>
                  <a:lnTo>
                    <a:pt x="207080" y="161328"/>
                  </a:lnTo>
                  <a:lnTo>
                    <a:pt x="205003" y="164375"/>
                  </a:lnTo>
                  <a:lnTo>
                    <a:pt x="203176" y="164829"/>
                  </a:lnTo>
                  <a:lnTo>
                    <a:pt x="199119" y="164496"/>
                  </a:lnTo>
                  <a:lnTo>
                    <a:pt x="191589" y="166510"/>
                  </a:lnTo>
                  <a:lnTo>
                    <a:pt x="191071" y="168702"/>
                  </a:lnTo>
                  <a:lnTo>
                    <a:pt x="189939" y="171665"/>
                  </a:lnTo>
                  <a:lnTo>
                    <a:pt x="188847" y="173389"/>
                  </a:lnTo>
                  <a:lnTo>
                    <a:pt x="188503" y="174428"/>
                  </a:lnTo>
                  <a:lnTo>
                    <a:pt x="185292" y="178886"/>
                  </a:lnTo>
                  <a:lnTo>
                    <a:pt x="184882" y="179307"/>
                  </a:lnTo>
                  <a:lnTo>
                    <a:pt x="178825" y="185475"/>
                  </a:lnTo>
                  <a:lnTo>
                    <a:pt x="178054" y="185938"/>
                  </a:lnTo>
                  <a:lnTo>
                    <a:pt x="174128" y="187371"/>
                  </a:lnTo>
                  <a:lnTo>
                    <a:pt x="171807" y="188626"/>
                  </a:lnTo>
                  <a:lnTo>
                    <a:pt x="170028" y="189186"/>
                  </a:lnTo>
                  <a:lnTo>
                    <a:pt x="167017" y="188563"/>
                  </a:lnTo>
                  <a:lnTo>
                    <a:pt x="165765" y="189451"/>
                  </a:lnTo>
                  <a:lnTo>
                    <a:pt x="165173" y="190550"/>
                  </a:lnTo>
                  <a:lnTo>
                    <a:pt x="165162" y="192821"/>
                  </a:lnTo>
                  <a:lnTo>
                    <a:pt x="166691" y="194452"/>
                  </a:lnTo>
                  <a:lnTo>
                    <a:pt x="167944" y="199870"/>
                  </a:lnTo>
                  <a:lnTo>
                    <a:pt x="167477" y="202156"/>
                  </a:lnTo>
                  <a:lnTo>
                    <a:pt x="166285" y="200676"/>
                  </a:lnTo>
                  <a:lnTo>
                    <a:pt x="164422" y="199116"/>
                  </a:lnTo>
                  <a:lnTo>
                    <a:pt x="160796" y="197775"/>
                  </a:lnTo>
                  <a:lnTo>
                    <a:pt x="156812" y="198234"/>
                  </a:lnTo>
                  <a:lnTo>
                    <a:pt x="152476" y="200494"/>
                  </a:lnTo>
                  <a:lnTo>
                    <a:pt x="149533" y="201334"/>
                  </a:lnTo>
                  <a:lnTo>
                    <a:pt x="147984" y="200754"/>
                  </a:lnTo>
                  <a:lnTo>
                    <a:pt x="147043" y="200787"/>
                  </a:lnTo>
                  <a:lnTo>
                    <a:pt x="146708" y="201435"/>
                  </a:lnTo>
                  <a:lnTo>
                    <a:pt x="146780" y="201965"/>
                  </a:lnTo>
                  <a:lnTo>
                    <a:pt x="147257" y="202376"/>
                  </a:lnTo>
                  <a:lnTo>
                    <a:pt x="147187" y="202676"/>
                  </a:lnTo>
                  <a:lnTo>
                    <a:pt x="146579" y="202863"/>
                  </a:lnTo>
                  <a:lnTo>
                    <a:pt x="139736" y="201272"/>
                  </a:lnTo>
                  <a:lnTo>
                    <a:pt x="136782" y="199766"/>
                  </a:lnTo>
                  <a:lnTo>
                    <a:pt x="134456" y="196930"/>
                  </a:lnTo>
                  <a:lnTo>
                    <a:pt x="135613" y="196012"/>
                  </a:lnTo>
                  <a:lnTo>
                    <a:pt x="136620" y="195608"/>
                  </a:lnTo>
                  <a:lnTo>
                    <a:pt x="140181" y="195372"/>
                  </a:lnTo>
                  <a:lnTo>
                    <a:pt x="140792" y="195082"/>
                  </a:lnTo>
                  <a:lnTo>
                    <a:pt x="140852" y="194427"/>
                  </a:lnTo>
                  <a:lnTo>
                    <a:pt x="141118" y="193579"/>
                  </a:lnTo>
                  <a:lnTo>
                    <a:pt x="141023" y="192330"/>
                  </a:lnTo>
                  <a:lnTo>
                    <a:pt x="140627" y="191011"/>
                  </a:lnTo>
                  <a:lnTo>
                    <a:pt x="142191" y="189084"/>
                  </a:lnTo>
                  <a:lnTo>
                    <a:pt x="144519" y="187484"/>
                  </a:lnTo>
                  <a:lnTo>
                    <a:pt x="145883" y="185881"/>
                  </a:lnTo>
                  <a:lnTo>
                    <a:pt x="146093" y="183532"/>
                  </a:lnTo>
                  <a:lnTo>
                    <a:pt x="148542" y="182387"/>
                  </a:lnTo>
                  <a:lnTo>
                    <a:pt x="150714" y="180418"/>
                  </a:lnTo>
                  <a:lnTo>
                    <a:pt x="151247" y="178270"/>
                  </a:lnTo>
                  <a:lnTo>
                    <a:pt x="152007" y="176920"/>
                  </a:lnTo>
                  <a:lnTo>
                    <a:pt x="150625" y="173821"/>
                  </a:lnTo>
                  <a:lnTo>
                    <a:pt x="150334" y="171775"/>
                  </a:lnTo>
                  <a:lnTo>
                    <a:pt x="150265" y="170059"/>
                  </a:lnTo>
                  <a:lnTo>
                    <a:pt x="150949" y="169105"/>
                  </a:lnTo>
                  <a:lnTo>
                    <a:pt x="152973" y="168036"/>
                  </a:lnTo>
                  <a:lnTo>
                    <a:pt x="155104" y="167207"/>
                  </a:lnTo>
                  <a:lnTo>
                    <a:pt x="155987" y="167288"/>
                  </a:lnTo>
                  <a:lnTo>
                    <a:pt x="156309" y="167816"/>
                  </a:lnTo>
                  <a:lnTo>
                    <a:pt x="156393" y="171301"/>
                  </a:lnTo>
                  <a:lnTo>
                    <a:pt x="156819" y="171367"/>
                  </a:lnTo>
                  <a:lnTo>
                    <a:pt x="157499" y="170933"/>
                  </a:lnTo>
                  <a:lnTo>
                    <a:pt x="158611" y="168881"/>
                  </a:lnTo>
                  <a:lnTo>
                    <a:pt x="159377" y="169478"/>
                  </a:lnTo>
                  <a:lnTo>
                    <a:pt x="160556" y="169705"/>
                  </a:lnTo>
                  <a:lnTo>
                    <a:pt x="161440" y="169176"/>
                  </a:lnTo>
                  <a:lnTo>
                    <a:pt x="162014" y="169237"/>
                  </a:lnTo>
                  <a:lnTo>
                    <a:pt x="162726" y="169767"/>
                  </a:lnTo>
                  <a:lnTo>
                    <a:pt x="164143" y="170513"/>
                  </a:lnTo>
                  <a:lnTo>
                    <a:pt x="165467" y="170761"/>
                  </a:lnTo>
                  <a:lnTo>
                    <a:pt x="166564" y="170264"/>
                  </a:lnTo>
                  <a:lnTo>
                    <a:pt x="167499" y="169377"/>
                  </a:lnTo>
                  <a:lnTo>
                    <a:pt x="168497" y="169680"/>
                  </a:lnTo>
                  <a:lnTo>
                    <a:pt x="170397" y="172100"/>
                  </a:lnTo>
                  <a:lnTo>
                    <a:pt x="171284" y="171832"/>
                  </a:lnTo>
                  <a:lnTo>
                    <a:pt x="175655" y="171343"/>
                  </a:lnTo>
                  <a:lnTo>
                    <a:pt x="176359" y="170685"/>
                  </a:lnTo>
                  <a:lnTo>
                    <a:pt x="176879" y="170088"/>
                  </a:lnTo>
                  <a:lnTo>
                    <a:pt x="172308" y="166875"/>
                  </a:lnTo>
                  <a:lnTo>
                    <a:pt x="172539" y="164481"/>
                  </a:lnTo>
                  <a:lnTo>
                    <a:pt x="172710" y="161734"/>
                  </a:lnTo>
                  <a:lnTo>
                    <a:pt x="172170" y="160102"/>
                  </a:lnTo>
                  <a:lnTo>
                    <a:pt x="171280" y="158807"/>
                  </a:lnTo>
                  <a:lnTo>
                    <a:pt x="167784" y="157302"/>
                  </a:lnTo>
                  <a:lnTo>
                    <a:pt x="165087" y="155743"/>
                  </a:lnTo>
                  <a:lnTo>
                    <a:pt x="164517" y="155040"/>
                  </a:lnTo>
                  <a:lnTo>
                    <a:pt x="164443" y="154128"/>
                  </a:lnTo>
                  <a:lnTo>
                    <a:pt x="164329" y="152710"/>
                  </a:lnTo>
                  <a:lnTo>
                    <a:pt x="163258" y="151492"/>
                  </a:lnTo>
                  <a:lnTo>
                    <a:pt x="163167" y="150461"/>
                  </a:lnTo>
                  <a:lnTo>
                    <a:pt x="163850" y="148853"/>
                  </a:lnTo>
                  <a:lnTo>
                    <a:pt x="164016" y="147139"/>
                  </a:lnTo>
                  <a:lnTo>
                    <a:pt x="163791" y="146462"/>
                  </a:lnTo>
                  <a:lnTo>
                    <a:pt x="163161" y="145910"/>
                  </a:lnTo>
                  <a:lnTo>
                    <a:pt x="161945" y="145856"/>
                  </a:lnTo>
                  <a:lnTo>
                    <a:pt x="160347" y="144865"/>
                  </a:lnTo>
                  <a:lnTo>
                    <a:pt x="159250" y="143529"/>
                  </a:lnTo>
                  <a:lnTo>
                    <a:pt x="156305" y="141602"/>
                  </a:lnTo>
                  <a:lnTo>
                    <a:pt x="155402" y="141288"/>
                  </a:lnTo>
                  <a:lnTo>
                    <a:pt x="154851" y="140333"/>
                  </a:lnTo>
                  <a:lnTo>
                    <a:pt x="154588" y="139192"/>
                  </a:lnTo>
                  <a:lnTo>
                    <a:pt x="155206" y="137774"/>
                  </a:lnTo>
                  <a:lnTo>
                    <a:pt x="155983" y="135590"/>
                  </a:lnTo>
                  <a:lnTo>
                    <a:pt x="156529" y="133539"/>
                  </a:lnTo>
                  <a:lnTo>
                    <a:pt x="156538" y="132316"/>
                  </a:lnTo>
                  <a:lnTo>
                    <a:pt x="156177" y="129290"/>
                  </a:lnTo>
                  <a:lnTo>
                    <a:pt x="154642" y="126975"/>
                  </a:lnTo>
                  <a:lnTo>
                    <a:pt x="153925" y="126668"/>
                  </a:lnTo>
                  <a:lnTo>
                    <a:pt x="152686" y="127320"/>
                  </a:lnTo>
                  <a:lnTo>
                    <a:pt x="151279" y="127865"/>
                  </a:lnTo>
                  <a:lnTo>
                    <a:pt x="150170" y="127354"/>
                  </a:lnTo>
                  <a:lnTo>
                    <a:pt x="148902" y="126098"/>
                  </a:lnTo>
                  <a:lnTo>
                    <a:pt x="146868" y="122599"/>
                  </a:lnTo>
                  <a:lnTo>
                    <a:pt x="143061" y="121898"/>
                  </a:lnTo>
                  <a:lnTo>
                    <a:pt x="141487" y="121731"/>
                  </a:lnTo>
                  <a:lnTo>
                    <a:pt x="139997" y="123420"/>
                  </a:lnTo>
                  <a:lnTo>
                    <a:pt x="139531" y="122907"/>
                  </a:lnTo>
                  <a:lnTo>
                    <a:pt x="139112" y="121828"/>
                  </a:lnTo>
                  <a:lnTo>
                    <a:pt x="138326" y="121397"/>
                  </a:lnTo>
                  <a:lnTo>
                    <a:pt x="137287" y="121897"/>
                  </a:lnTo>
                  <a:lnTo>
                    <a:pt x="136987" y="121416"/>
                  </a:lnTo>
                  <a:lnTo>
                    <a:pt x="137434" y="119957"/>
                  </a:lnTo>
                  <a:lnTo>
                    <a:pt x="136192" y="119235"/>
                  </a:lnTo>
                  <a:lnTo>
                    <a:pt x="133268" y="119251"/>
                  </a:lnTo>
                  <a:lnTo>
                    <a:pt x="131714" y="118713"/>
                  </a:lnTo>
                  <a:lnTo>
                    <a:pt x="131528" y="117615"/>
                  </a:lnTo>
                  <a:lnTo>
                    <a:pt x="130608" y="116894"/>
                  </a:lnTo>
                  <a:lnTo>
                    <a:pt x="128947" y="116547"/>
                  </a:lnTo>
                  <a:lnTo>
                    <a:pt x="127339" y="115649"/>
                  </a:lnTo>
                  <a:lnTo>
                    <a:pt x="125778" y="114203"/>
                  </a:lnTo>
                  <a:lnTo>
                    <a:pt x="123443" y="113260"/>
                  </a:lnTo>
                  <a:lnTo>
                    <a:pt x="120331" y="112824"/>
                  </a:lnTo>
                  <a:lnTo>
                    <a:pt x="120077" y="112668"/>
                  </a:lnTo>
                  <a:lnTo>
                    <a:pt x="119790" y="112460"/>
                  </a:lnTo>
                  <a:lnTo>
                    <a:pt x="117781" y="113443"/>
                  </a:lnTo>
                  <a:lnTo>
                    <a:pt x="116574" y="114221"/>
                  </a:lnTo>
                  <a:lnTo>
                    <a:pt x="115095" y="113737"/>
                  </a:lnTo>
                  <a:lnTo>
                    <a:pt x="112698" y="115473"/>
                  </a:lnTo>
                  <a:lnTo>
                    <a:pt x="107833" y="115563"/>
                  </a:lnTo>
                  <a:lnTo>
                    <a:pt x="105447" y="115459"/>
                  </a:lnTo>
                  <a:lnTo>
                    <a:pt x="104263" y="115028"/>
                  </a:lnTo>
                  <a:lnTo>
                    <a:pt x="99694" y="117662"/>
                  </a:lnTo>
                  <a:lnTo>
                    <a:pt x="99219" y="118632"/>
                  </a:lnTo>
                  <a:lnTo>
                    <a:pt x="98191" y="118955"/>
                  </a:lnTo>
                  <a:lnTo>
                    <a:pt x="95315" y="119478"/>
                  </a:lnTo>
                  <a:lnTo>
                    <a:pt x="92292" y="120220"/>
                  </a:lnTo>
                  <a:lnTo>
                    <a:pt x="91657" y="122778"/>
                  </a:lnTo>
                  <a:lnTo>
                    <a:pt x="90756" y="124159"/>
                  </a:lnTo>
                  <a:lnTo>
                    <a:pt x="89131" y="126186"/>
                  </a:lnTo>
                  <a:lnTo>
                    <a:pt x="83514" y="126890"/>
                  </a:lnTo>
                  <a:lnTo>
                    <a:pt x="78662" y="127880"/>
                  </a:lnTo>
                  <a:lnTo>
                    <a:pt x="73687" y="128491"/>
                  </a:lnTo>
                  <a:lnTo>
                    <a:pt x="67171" y="130962"/>
                  </a:lnTo>
                  <a:lnTo>
                    <a:pt x="65053" y="133140"/>
                  </a:lnTo>
                  <a:lnTo>
                    <a:pt x="62959" y="133747"/>
                  </a:lnTo>
                  <a:lnTo>
                    <a:pt x="61063" y="133926"/>
                  </a:lnTo>
                  <a:lnTo>
                    <a:pt x="59836" y="132714"/>
                  </a:lnTo>
                  <a:lnTo>
                    <a:pt x="55703" y="129457"/>
                  </a:lnTo>
                  <a:lnTo>
                    <a:pt x="54109" y="127920"/>
                  </a:lnTo>
                  <a:lnTo>
                    <a:pt x="52013" y="127467"/>
                  </a:lnTo>
                  <a:lnTo>
                    <a:pt x="49733" y="127723"/>
                  </a:lnTo>
                  <a:lnTo>
                    <a:pt x="47543" y="128480"/>
                  </a:lnTo>
                  <a:lnTo>
                    <a:pt x="45239" y="128625"/>
                  </a:lnTo>
                  <a:lnTo>
                    <a:pt x="42630" y="127533"/>
                  </a:lnTo>
                  <a:lnTo>
                    <a:pt x="42356" y="127639"/>
                  </a:lnTo>
                  <a:lnTo>
                    <a:pt x="41350" y="127786"/>
                  </a:lnTo>
                  <a:lnTo>
                    <a:pt x="34874" y="126466"/>
                  </a:lnTo>
                  <a:lnTo>
                    <a:pt x="34278" y="126247"/>
                  </a:lnTo>
                  <a:lnTo>
                    <a:pt x="33991" y="126192"/>
                  </a:lnTo>
                  <a:lnTo>
                    <a:pt x="33099" y="126093"/>
                  </a:lnTo>
                  <a:lnTo>
                    <a:pt x="28223" y="126258"/>
                  </a:lnTo>
                  <a:lnTo>
                    <a:pt x="23677" y="123589"/>
                  </a:lnTo>
                  <a:lnTo>
                    <a:pt x="22280" y="123508"/>
                  </a:lnTo>
                  <a:lnTo>
                    <a:pt x="21205" y="124589"/>
                  </a:lnTo>
                  <a:lnTo>
                    <a:pt x="20408" y="125791"/>
                  </a:lnTo>
                  <a:lnTo>
                    <a:pt x="17270" y="126984"/>
                  </a:lnTo>
                  <a:lnTo>
                    <a:pt x="16469" y="127463"/>
                  </a:lnTo>
                  <a:lnTo>
                    <a:pt x="16014" y="127095"/>
                  </a:lnTo>
                  <a:lnTo>
                    <a:pt x="15802" y="126058"/>
                  </a:lnTo>
                  <a:lnTo>
                    <a:pt x="16040" y="125141"/>
                  </a:lnTo>
                  <a:lnTo>
                    <a:pt x="15575" y="124273"/>
                  </a:lnTo>
                  <a:lnTo>
                    <a:pt x="14381" y="123287"/>
                  </a:lnTo>
                  <a:lnTo>
                    <a:pt x="14092" y="122880"/>
                  </a:lnTo>
                  <a:lnTo>
                    <a:pt x="12598" y="122954"/>
                  </a:lnTo>
                  <a:lnTo>
                    <a:pt x="12190" y="123050"/>
                  </a:lnTo>
                  <a:lnTo>
                    <a:pt x="12040" y="123028"/>
                  </a:lnTo>
                  <a:lnTo>
                    <a:pt x="9963" y="122191"/>
                  </a:lnTo>
                  <a:lnTo>
                    <a:pt x="8585" y="120174"/>
                  </a:lnTo>
                  <a:lnTo>
                    <a:pt x="6456" y="119101"/>
                  </a:lnTo>
                  <a:lnTo>
                    <a:pt x="4828" y="118740"/>
                  </a:lnTo>
                  <a:lnTo>
                    <a:pt x="4087" y="117875"/>
                  </a:lnTo>
                  <a:lnTo>
                    <a:pt x="3610" y="116724"/>
                  </a:lnTo>
                  <a:lnTo>
                    <a:pt x="3102" y="115854"/>
                  </a:lnTo>
                  <a:lnTo>
                    <a:pt x="3042" y="115772"/>
                  </a:lnTo>
                  <a:lnTo>
                    <a:pt x="2695" y="114455"/>
                  </a:lnTo>
                  <a:lnTo>
                    <a:pt x="2196" y="114319"/>
                  </a:lnTo>
                  <a:lnTo>
                    <a:pt x="2107" y="114284"/>
                  </a:lnTo>
                  <a:lnTo>
                    <a:pt x="0" y="114513"/>
                  </a:lnTo>
                  <a:lnTo>
                    <a:pt x="244" y="109884"/>
                  </a:lnTo>
                  <a:lnTo>
                    <a:pt x="3612" y="106550"/>
                  </a:lnTo>
                  <a:lnTo>
                    <a:pt x="4439" y="104866"/>
                  </a:lnTo>
                  <a:lnTo>
                    <a:pt x="5696" y="101209"/>
                  </a:lnTo>
                  <a:lnTo>
                    <a:pt x="6638" y="99497"/>
                  </a:lnTo>
                  <a:lnTo>
                    <a:pt x="7769" y="98079"/>
                  </a:lnTo>
                  <a:lnTo>
                    <a:pt x="8674" y="96706"/>
                  </a:lnTo>
                  <a:lnTo>
                    <a:pt x="8996" y="95526"/>
                  </a:lnTo>
                  <a:lnTo>
                    <a:pt x="9909" y="95398"/>
                  </a:lnTo>
                  <a:lnTo>
                    <a:pt x="12591" y="96462"/>
                  </a:lnTo>
                  <a:lnTo>
                    <a:pt x="14990" y="97009"/>
                  </a:lnTo>
                  <a:lnTo>
                    <a:pt x="15653" y="96491"/>
                  </a:lnTo>
                  <a:lnTo>
                    <a:pt x="15925" y="95811"/>
                  </a:lnTo>
                  <a:lnTo>
                    <a:pt x="15815" y="95282"/>
                  </a:lnTo>
                  <a:lnTo>
                    <a:pt x="13893" y="93712"/>
                  </a:lnTo>
                  <a:lnTo>
                    <a:pt x="12688" y="92712"/>
                  </a:lnTo>
                  <a:lnTo>
                    <a:pt x="12615" y="92097"/>
                  </a:lnTo>
                  <a:lnTo>
                    <a:pt x="13049" y="90717"/>
                  </a:lnTo>
                  <a:lnTo>
                    <a:pt x="13280" y="89165"/>
                  </a:lnTo>
                  <a:lnTo>
                    <a:pt x="13003" y="87486"/>
                  </a:lnTo>
                  <a:lnTo>
                    <a:pt x="11693" y="83762"/>
                  </a:lnTo>
                  <a:lnTo>
                    <a:pt x="11444" y="82174"/>
                  </a:lnTo>
                  <a:lnTo>
                    <a:pt x="12699" y="80244"/>
                  </a:lnTo>
                  <a:lnTo>
                    <a:pt x="16780" y="75641"/>
                  </a:lnTo>
                  <a:lnTo>
                    <a:pt x="18141" y="73910"/>
                  </a:lnTo>
                  <a:lnTo>
                    <a:pt x="20000" y="71815"/>
                  </a:lnTo>
                  <a:lnTo>
                    <a:pt x="25044" y="66799"/>
                  </a:lnTo>
                  <a:lnTo>
                    <a:pt x="28232" y="63878"/>
                  </a:lnTo>
                  <a:lnTo>
                    <a:pt x="30389" y="62260"/>
                  </a:lnTo>
                  <a:lnTo>
                    <a:pt x="33548" y="59445"/>
                  </a:lnTo>
                  <a:lnTo>
                    <a:pt x="34934" y="57987"/>
                  </a:lnTo>
                  <a:lnTo>
                    <a:pt x="40704" y="57038"/>
                  </a:lnTo>
                  <a:lnTo>
                    <a:pt x="41419" y="55675"/>
                  </a:lnTo>
                  <a:lnTo>
                    <a:pt x="42473" y="54183"/>
                  </a:lnTo>
                  <a:lnTo>
                    <a:pt x="43297" y="53543"/>
                  </a:lnTo>
                  <a:lnTo>
                    <a:pt x="43403" y="51027"/>
                  </a:lnTo>
                  <a:lnTo>
                    <a:pt x="42332" y="47950"/>
                  </a:lnTo>
                  <a:lnTo>
                    <a:pt x="41471" y="46862"/>
                  </a:lnTo>
                  <a:lnTo>
                    <a:pt x="40832" y="46121"/>
                  </a:lnTo>
                  <a:lnTo>
                    <a:pt x="41244" y="45428"/>
                  </a:lnTo>
                  <a:lnTo>
                    <a:pt x="41883" y="45231"/>
                  </a:lnTo>
                  <a:lnTo>
                    <a:pt x="42671" y="45133"/>
                  </a:lnTo>
                  <a:lnTo>
                    <a:pt x="43647" y="44391"/>
                  </a:lnTo>
                  <a:lnTo>
                    <a:pt x="43427" y="43581"/>
                  </a:lnTo>
                  <a:lnTo>
                    <a:pt x="40994" y="41606"/>
                  </a:lnTo>
                  <a:lnTo>
                    <a:pt x="39940" y="40085"/>
                  </a:lnTo>
                  <a:lnTo>
                    <a:pt x="38290" y="36177"/>
                  </a:lnTo>
                  <a:lnTo>
                    <a:pt x="34945" y="32109"/>
                  </a:lnTo>
                  <a:lnTo>
                    <a:pt x="33889" y="30793"/>
                  </a:lnTo>
                  <a:lnTo>
                    <a:pt x="33738" y="29548"/>
                  </a:lnTo>
                  <a:lnTo>
                    <a:pt x="34226" y="28303"/>
                  </a:lnTo>
                  <a:lnTo>
                    <a:pt x="33766" y="26716"/>
                  </a:lnTo>
                  <a:lnTo>
                    <a:pt x="32581" y="24690"/>
                  </a:lnTo>
                  <a:lnTo>
                    <a:pt x="32768" y="24471"/>
                  </a:lnTo>
                  <a:lnTo>
                    <a:pt x="32654" y="21968"/>
                  </a:lnTo>
                  <a:lnTo>
                    <a:pt x="33496" y="21427"/>
                  </a:lnTo>
                  <a:lnTo>
                    <a:pt x="34826" y="21061"/>
                  </a:lnTo>
                  <a:lnTo>
                    <a:pt x="36703" y="21184"/>
                  </a:lnTo>
                  <a:lnTo>
                    <a:pt x="38307" y="21571"/>
                  </a:lnTo>
                  <a:lnTo>
                    <a:pt x="40229" y="22716"/>
                  </a:lnTo>
                  <a:lnTo>
                    <a:pt x="40829" y="22532"/>
                  </a:lnTo>
                  <a:lnTo>
                    <a:pt x="44114" y="20373"/>
                  </a:lnTo>
                  <a:lnTo>
                    <a:pt x="47502" y="17130"/>
                  </a:lnTo>
                  <a:lnTo>
                    <a:pt x="48467" y="15251"/>
                  </a:lnTo>
                  <a:lnTo>
                    <a:pt x="49311" y="14392"/>
                  </a:lnTo>
                  <a:lnTo>
                    <a:pt x="52259" y="13933"/>
                  </a:lnTo>
                  <a:lnTo>
                    <a:pt x="54826" y="13743"/>
                  </a:lnTo>
                  <a:lnTo>
                    <a:pt x="56459" y="13779"/>
                  </a:lnTo>
                  <a:lnTo>
                    <a:pt x="60467" y="13459"/>
                  </a:lnTo>
                  <a:lnTo>
                    <a:pt x="62842" y="13104"/>
                  </a:lnTo>
                  <a:lnTo>
                    <a:pt x="64896" y="12531"/>
                  </a:lnTo>
                  <a:lnTo>
                    <a:pt x="69329" y="12318"/>
                  </a:lnTo>
                  <a:lnTo>
                    <a:pt x="76252" y="12702"/>
                  </a:lnTo>
                  <a:lnTo>
                    <a:pt x="80795" y="12729"/>
                  </a:lnTo>
                  <a:lnTo>
                    <a:pt x="83881" y="13034"/>
                  </a:lnTo>
                  <a:lnTo>
                    <a:pt x="91439" y="14761"/>
                  </a:lnTo>
                  <a:lnTo>
                    <a:pt x="94252" y="15074"/>
                  </a:lnTo>
                  <a:lnTo>
                    <a:pt x="95559" y="15988"/>
                  </a:lnTo>
                  <a:lnTo>
                    <a:pt x="98068" y="16328"/>
                  </a:lnTo>
                  <a:lnTo>
                    <a:pt x="102635" y="17248"/>
                  </a:lnTo>
                  <a:lnTo>
                    <a:pt x="106602" y="17741"/>
                  </a:lnTo>
                  <a:lnTo>
                    <a:pt x="109284" y="17539"/>
                  </a:lnTo>
                  <a:lnTo>
                    <a:pt x="110785" y="17798"/>
                  </a:lnTo>
                  <a:lnTo>
                    <a:pt x="113618" y="21877"/>
                  </a:lnTo>
                  <a:lnTo>
                    <a:pt x="114196" y="22353"/>
                  </a:lnTo>
                  <a:lnTo>
                    <a:pt x="115332" y="22449"/>
                  </a:lnTo>
                  <a:lnTo>
                    <a:pt x="117647" y="22097"/>
                  </a:lnTo>
                  <a:lnTo>
                    <a:pt x="120943" y="22229"/>
                  </a:lnTo>
                  <a:lnTo>
                    <a:pt x="122897" y="23088"/>
                  </a:lnTo>
                  <a:lnTo>
                    <a:pt x="122610" y="25513"/>
                  </a:lnTo>
                  <a:lnTo>
                    <a:pt x="123123" y="25864"/>
                  </a:lnTo>
                  <a:lnTo>
                    <a:pt x="124037" y="25729"/>
                  </a:lnTo>
                  <a:lnTo>
                    <a:pt x="125088" y="24360"/>
                  </a:lnTo>
                  <a:lnTo>
                    <a:pt x="125972" y="22940"/>
                  </a:lnTo>
                  <a:lnTo>
                    <a:pt x="126630" y="22501"/>
                  </a:lnTo>
                  <a:lnTo>
                    <a:pt x="129995" y="23460"/>
                  </a:lnTo>
                  <a:lnTo>
                    <a:pt x="131532" y="23305"/>
                  </a:lnTo>
                  <a:lnTo>
                    <a:pt x="132951" y="22228"/>
                  </a:lnTo>
                  <a:lnTo>
                    <a:pt x="133821" y="22045"/>
                  </a:lnTo>
                  <a:lnTo>
                    <a:pt x="136205" y="22811"/>
                  </a:lnTo>
                  <a:lnTo>
                    <a:pt x="139146" y="23347"/>
                  </a:lnTo>
                  <a:lnTo>
                    <a:pt x="141522" y="23381"/>
                  </a:lnTo>
                  <a:lnTo>
                    <a:pt x="143003" y="23964"/>
                  </a:lnTo>
                  <a:lnTo>
                    <a:pt x="144080" y="26494"/>
                  </a:lnTo>
                  <a:lnTo>
                    <a:pt x="145020" y="27013"/>
                  </a:lnTo>
                  <a:lnTo>
                    <a:pt x="145927" y="27174"/>
                  </a:lnTo>
                  <a:lnTo>
                    <a:pt x="147298" y="24913"/>
                  </a:lnTo>
                  <a:lnTo>
                    <a:pt x="148542" y="24036"/>
                  </a:lnTo>
                  <a:lnTo>
                    <a:pt x="150267" y="23390"/>
                  </a:lnTo>
                  <a:lnTo>
                    <a:pt x="151377" y="23107"/>
                  </a:lnTo>
                  <a:lnTo>
                    <a:pt x="152158" y="22308"/>
                  </a:lnTo>
                  <a:lnTo>
                    <a:pt x="153212" y="21528"/>
                  </a:lnTo>
                  <a:lnTo>
                    <a:pt x="154126" y="21466"/>
                  </a:lnTo>
                  <a:lnTo>
                    <a:pt x="154868" y="21768"/>
                  </a:lnTo>
                  <a:lnTo>
                    <a:pt x="155721" y="22847"/>
                  </a:lnTo>
                  <a:lnTo>
                    <a:pt x="156965" y="25305"/>
                  </a:lnTo>
                  <a:lnTo>
                    <a:pt x="158477" y="27771"/>
                  </a:lnTo>
                  <a:lnTo>
                    <a:pt x="159531" y="28666"/>
                  </a:lnTo>
                  <a:lnTo>
                    <a:pt x="162254" y="27909"/>
                  </a:lnTo>
                  <a:lnTo>
                    <a:pt x="164100" y="27139"/>
                  </a:lnTo>
                  <a:lnTo>
                    <a:pt x="167482" y="26993"/>
                  </a:lnTo>
                  <a:lnTo>
                    <a:pt x="171964" y="26451"/>
                  </a:lnTo>
                  <a:lnTo>
                    <a:pt x="175392" y="25745"/>
                  </a:lnTo>
                  <a:lnTo>
                    <a:pt x="177536" y="25867"/>
                  </a:lnTo>
                  <a:lnTo>
                    <a:pt x="178836" y="26650"/>
                  </a:lnTo>
                  <a:lnTo>
                    <a:pt x="180814" y="28166"/>
                  </a:lnTo>
                  <a:lnTo>
                    <a:pt x="181354" y="30339"/>
                  </a:lnTo>
                  <a:lnTo>
                    <a:pt x="183921" y="31841"/>
                  </a:lnTo>
                  <a:lnTo>
                    <a:pt x="186022" y="32112"/>
                  </a:lnTo>
                  <a:lnTo>
                    <a:pt x="186739" y="30549"/>
                  </a:lnTo>
                  <a:lnTo>
                    <a:pt x="187968" y="29462"/>
                  </a:lnTo>
                  <a:lnTo>
                    <a:pt x="187508" y="27968"/>
                  </a:lnTo>
                  <a:lnTo>
                    <a:pt x="187301" y="26062"/>
                  </a:lnTo>
                  <a:lnTo>
                    <a:pt x="186380" y="24291"/>
                  </a:lnTo>
                  <a:lnTo>
                    <a:pt x="185767" y="22384"/>
                  </a:lnTo>
                  <a:lnTo>
                    <a:pt x="186892" y="19657"/>
                  </a:lnTo>
                  <a:lnTo>
                    <a:pt x="188121" y="17267"/>
                  </a:lnTo>
                  <a:lnTo>
                    <a:pt x="188736" y="15968"/>
                  </a:lnTo>
                  <a:lnTo>
                    <a:pt x="190682" y="13576"/>
                  </a:lnTo>
                  <a:lnTo>
                    <a:pt x="192682" y="11865"/>
                  </a:lnTo>
                  <a:lnTo>
                    <a:pt x="195666" y="9111"/>
                  </a:lnTo>
                  <a:lnTo>
                    <a:pt x="197847" y="8201"/>
                  </a:lnTo>
                  <a:lnTo>
                    <a:pt x="199818" y="8616"/>
                  </a:lnTo>
                  <a:lnTo>
                    <a:pt x="200913" y="8992"/>
                  </a:lnTo>
                  <a:lnTo>
                    <a:pt x="203744" y="7360"/>
                  </a:lnTo>
                  <a:lnTo>
                    <a:pt x="208780" y="7279"/>
                  </a:lnTo>
                  <a:lnTo>
                    <a:pt x="212973" y="7487"/>
                  </a:lnTo>
                  <a:lnTo>
                    <a:pt x="213394" y="7536"/>
                  </a:lnTo>
                  <a:lnTo>
                    <a:pt x="215455" y="8380"/>
                  </a:lnTo>
                  <a:lnTo>
                    <a:pt x="217627" y="9098"/>
                  </a:lnTo>
                  <a:lnTo>
                    <a:pt x="219125" y="9146"/>
                  </a:lnTo>
                  <a:lnTo>
                    <a:pt x="220909" y="8981"/>
                  </a:lnTo>
                  <a:lnTo>
                    <a:pt x="223000" y="8024"/>
                  </a:lnTo>
                  <a:lnTo>
                    <a:pt x="224459" y="7104"/>
                  </a:lnTo>
                  <a:lnTo>
                    <a:pt x="226232" y="2418"/>
                  </a:lnTo>
                  <a:lnTo>
                    <a:pt x="226858" y="1744"/>
                  </a:lnTo>
                  <a:lnTo>
                    <a:pt x="227834" y="1376"/>
                  </a:lnTo>
                  <a:lnTo>
                    <a:pt x="229437" y="1337"/>
                  </a:lnTo>
                  <a:lnTo>
                    <a:pt x="232477" y="2211"/>
                  </a:lnTo>
                  <a:lnTo>
                    <a:pt x="236038" y="2996"/>
                  </a:lnTo>
                  <a:lnTo>
                    <a:pt x="238100" y="2886"/>
                  </a:lnTo>
                  <a:lnTo>
                    <a:pt x="243600" y="390"/>
                  </a:lnTo>
                  <a:close/>
                </a:path>
              </a:pathLst>
            </a:custGeom>
            <a:solidFill>
              <a:srgbClr val="92D050"/>
            </a:solidFill>
            <a:ln w="3175" cap="rnd" cmpd="sng" algn="ctr">
              <a:solidFill>
                <a:srgbClr val="494949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ee4p_VA_1_37764">
              <a:extLst>
                <a:ext uri="{FF2B5EF4-FFF2-40B4-BE49-F238E27FC236}">
                  <a16:creationId xmlns:a16="http://schemas.microsoft.com/office/drawing/2014/main" id="{C7AA50BA-C20E-48E7-A96E-E99E8594313B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11006888" y="11376990"/>
              <a:ext cx="2429" cy="2175"/>
            </a:xfrm>
            <a:custGeom>
              <a:avLst/>
              <a:gdLst/>
              <a:ahLst/>
              <a:cxnLst/>
              <a:rect l="0" t="0" r="0" b="0"/>
              <a:pathLst>
                <a:path w="258" h="231">
                  <a:moveTo>
                    <a:pt x="257" y="208"/>
                  </a:moveTo>
                  <a:lnTo>
                    <a:pt x="67" y="230"/>
                  </a:lnTo>
                  <a:lnTo>
                    <a:pt x="0" y="145"/>
                  </a:lnTo>
                  <a:lnTo>
                    <a:pt x="67" y="20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DDDDDD"/>
            </a:solidFill>
            <a:ln w="3175" cap="rnd" cmpd="sng" algn="ctr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61" name="ee4pMapWizardDataSheet_37764">
              <a:extLst>
                <a:ext uri="{FF2B5EF4-FFF2-40B4-BE49-F238E27FC236}">
                  <a16:creationId xmlns:a16="http://schemas.microsoft.com/office/drawing/2014/main" id="{4720EB04-84A3-4F27-8D70-03CE5E8706A2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157581615"/>
                </p:ext>
              </p:extLst>
            </p:nvPr>
          </p:nvGraphicFramePr>
          <p:xfrm>
            <a:off x="10320469" y="7850412"/>
            <a:ext cx="0" cy="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726" name="Worksheet" showAsIcon="1" r:id="rId57" imgW="914400" imgH="806400" progId="Excel.Sheet.12">
                    <p:embed/>
                  </p:oleObj>
                </mc:Choice>
                <mc:Fallback>
                  <p:oleObj name="Worksheet" showAsIcon="1" r:id="rId57" imgW="914400" imgH="806400" progId="Excel.Sheet.12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58"/>
                        <a:stretch>
                          <a:fillRect/>
                        </a:stretch>
                      </p:blipFill>
                      <p:spPr>
                        <a:xfrm>
                          <a:off x="10320469" y="7850412"/>
                          <a:ext cx="0" cy="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69" name="Textfeld 68">
            <a:extLst>
              <a:ext uri="{FF2B5EF4-FFF2-40B4-BE49-F238E27FC236}">
                <a16:creationId xmlns:a16="http://schemas.microsoft.com/office/drawing/2014/main" id="{D1C86CBD-ECBA-42D7-B159-0678EB86831C}"/>
              </a:ext>
            </a:extLst>
          </p:cNvPr>
          <p:cNvSpPr txBox="1"/>
          <p:nvPr/>
        </p:nvSpPr>
        <p:spPr>
          <a:xfrm>
            <a:off x="15570200" y="2969726"/>
            <a:ext cx="7711913" cy="95102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/>
              <a:t>Roadmap </a:t>
            </a:r>
            <a:r>
              <a:rPr lang="de-DE" b="1" dirty="0" err="1"/>
              <a:t>for</a:t>
            </a:r>
            <a:r>
              <a:rPr lang="de-DE" b="1" dirty="0"/>
              <a:t> international </a:t>
            </a:r>
            <a:r>
              <a:rPr lang="de-DE" b="1" dirty="0" err="1"/>
              <a:t>expansion</a:t>
            </a:r>
            <a:endParaRPr lang="de-DE" b="1" dirty="0"/>
          </a:p>
          <a:p>
            <a:pPr marL="571500" indent="-571500" algn="ctr">
              <a:buFont typeface="Wingdings" panose="05000000000000000000" pitchFamily="2" charset="2"/>
              <a:buChar char="§"/>
            </a:pPr>
            <a:endParaRPr lang="de-DE" b="1" dirty="0"/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dirty="0"/>
              <a:t>Contact </a:t>
            </a:r>
            <a:r>
              <a:rPr lang="de-DE" dirty="0" err="1"/>
              <a:t>u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extensive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heritance</a:t>
            </a:r>
            <a:r>
              <a:rPr lang="de-DE" dirty="0"/>
              <a:t> </a:t>
            </a:r>
            <a:r>
              <a:rPr lang="de-DE" dirty="0" err="1"/>
              <a:t>situation</a:t>
            </a:r>
            <a:r>
              <a:rPr lang="de-DE" dirty="0"/>
              <a:t> in </a:t>
            </a:r>
            <a:r>
              <a:rPr lang="de-DE" dirty="0" err="1"/>
              <a:t>other</a:t>
            </a:r>
            <a:r>
              <a:rPr lang="de-DE" dirty="0"/>
              <a:t> countries</a:t>
            </a:r>
          </a:p>
          <a:p>
            <a:pPr marL="571500" indent="-571500">
              <a:buFont typeface="Wingdings" panose="05000000000000000000" pitchFamily="2" charset="2"/>
              <a:buChar char="§"/>
            </a:pPr>
            <a:endParaRPr lang="de-DE" dirty="0"/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dirty="0"/>
              <a:t>Start in </a:t>
            </a:r>
            <a:r>
              <a:rPr lang="de-DE" dirty="0" err="1"/>
              <a:t>headquarter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lovakia</a:t>
            </a:r>
            <a:r>
              <a:rPr lang="de-DE" dirty="0"/>
              <a:t>, </a:t>
            </a:r>
            <a:r>
              <a:rPr lang="de-DE" dirty="0" err="1"/>
              <a:t>Serbia</a:t>
            </a:r>
            <a:r>
              <a:rPr lang="de-DE" dirty="0"/>
              <a:t>, Montenegro, Ukraine, Russia and Romania</a:t>
            </a:r>
          </a:p>
          <a:p>
            <a:pPr marL="571500" indent="-571500">
              <a:buFont typeface="Wingdings" panose="05000000000000000000" pitchFamily="2" charset="2"/>
              <a:buChar char="§"/>
            </a:pPr>
            <a:endParaRPr lang="de-DE" dirty="0"/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dirty="0"/>
              <a:t>Start </a:t>
            </a:r>
            <a:r>
              <a:rPr lang="de-DE" dirty="0" err="1"/>
              <a:t>educating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a </a:t>
            </a:r>
            <a:r>
              <a:rPr lang="de-DE" dirty="0" err="1"/>
              <a:t>few</a:t>
            </a:r>
            <a:r>
              <a:rPr lang="de-DE" dirty="0"/>
              <a:t> </a:t>
            </a:r>
            <a:r>
              <a:rPr lang="de-DE" dirty="0" err="1"/>
              <a:t>experts</a:t>
            </a:r>
            <a:r>
              <a:rPr lang="de-DE" dirty="0"/>
              <a:t> in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office</a:t>
            </a:r>
            <a:endParaRPr lang="de-DE" dirty="0"/>
          </a:p>
          <a:p>
            <a:pPr marL="571500" indent="-571500">
              <a:buFont typeface="Wingdings" panose="05000000000000000000" pitchFamily="2" charset="2"/>
              <a:buChar char="§"/>
            </a:pPr>
            <a:endParaRPr lang="de-DE" dirty="0"/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dirty="0"/>
              <a:t>Roll ou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faster</a:t>
            </a:r>
            <a:r>
              <a:rPr lang="de-DE" dirty="0"/>
              <a:t>,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succes</a:t>
            </a:r>
            <a:endParaRPr lang="de-DE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de-DE" b="1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1035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935FBF5-F7E6-4F40-B484-C2DAAAA98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ow</a:t>
            </a:r>
            <a:r>
              <a:rPr lang="de-DE" dirty="0"/>
              <a:t> will </a:t>
            </a:r>
            <a:r>
              <a:rPr lang="de-DE" dirty="0" err="1"/>
              <a:t>OTP‘s</a:t>
            </a:r>
            <a:r>
              <a:rPr lang="de-DE" dirty="0"/>
              <a:t> </a:t>
            </a:r>
            <a:r>
              <a:rPr lang="de-DE" dirty="0" err="1"/>
              <a:t>competitors</a:t>
            </a:r>
            <a:r>
              <a:rPr lang="de-DE" dirty="0"/>
              <a:t> </a:t>
            </a:r>
            <a:r>
              <a:rPr lang="de-DE" dirty="0" err="1"/>
              <a:t>react</a:t>
            </a:r>
            <a:r>
              <a:rPr lang="de-DE" dirty="0"/>
              <a:t>?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6751992-658D-4269-8F71-38FDC7C91FD3}"/>
              </a:ext>
            </a:extLst>
          </p:cNvPr>
          <p:cNvGrpSpPr/>
          <p:nvPr/>
        </p:nvGrpSpPr>
        <p:grpSpPr>
          <a:xfrm>
            <a:off x="1029839" y="2322035"/>
            <a:ext cx="22317973" cy="10385886"/>
            <a:chOff x="1029839" y="2319975"/>
            <a:chExt cx="22317973" cy="10834511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F5E112CA-B7C9-4A14-B03B-E7A56B2C2C38}"/>
                </a:ext>
              </a:extLst>
            </p:cNvPr>
            <p:cNvSpPr/>
            <p:nvPr/>
          </p:nvSpPr>
          <p:spPr>
            <a:xfrm>
              <a:off x="1029839" y="2319975"/>
              <a:ext cx="7085071" cy="10834511"/>
            </a:xfrm>
            <a:custGeom>
              <a:avLst/>
              <a:gdLst>
                <a:gd name="connsiteX0" fmla="*/ 0 w 7085071"/>
                <a:gd name="connsiteY0" fmla="*/ 708507 h 10834511"/>
                <a:gd name="connsiteX1" fmla="*/ 708507 w 7085071"/>
                <a:gd name="connsiteY1" fmla="*/ 0 h 10834511"/>
                <a:gd name="connsiteX2" fmla="*/ 6376564 w 7085071"/>
                <a:gd name="connsiteY2" fmla="*/ 0 h 10834511"/>
                <a:gd name="connsiteX3" fmla="*/ 7085071 w 7085071"/>
                <a:gd name="connsiteY3" fmla="*/ 708507 h 10834511"/>
                <a:gd name="connsiteX4" fmla="*/ 7085071 w 7085071"/>
                <a:gd name="connsiteY4" fmla="*/ 10126004 h 10834511"/>
                <a:gd name="connsiteX5" fmla="*/ 6376564 w 7085071"/>
                <a:gd name="connsiteY5" fmla="*/ 10834511 h 10834511"/>
                <a:gd name="connsiteX6" fmla="*/ 708507 w 7085071"/>
                <a:gd name="connsiteY6" fmla="*/ 10834511 h 10834511"/>
                <a:gd name="connsiteX7" fmla="*/ 0 w 7085071"/>
                <a:gd name="connsiteY7" fmla="*/ 10126004 h 10834511"/>
                <a:gd name="connsiteX8" fmla="*/ 0 w 7085071"/>
                <a:gd name="connsiteY8" fmla="*/ 708507 h 10834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85071" h="10834511">
                  <a:moveTo>
                    <a:pt x="0" y="708507"/>
                  </a:moveTo>
                  <a:cubicBezTo>
                    <a:pt x="0" y="317209"/>
                    <a:pt x="317209" y="0"/>
                    <a:pt x="708507" y="0"/>
                  </a:cubicBezTo>
                  <a:lnTo>
                    <a:pt x="6376564" y="0"/>
                  </a:lnTo>
                  <a:cubicBezTo>
                    <a:pt x="6767862" y="0"/>
                    <a:pt x="7085071" y="317209"/>
                    <a:pt x="7085071" y="708507"/>
                  </a:cubicBezTo>
                  <a:lnTo>
                    <a:pt x="7085071" y="10126004"/>
                  </a:lnTo>
                  <a:cubicBezTo>
                    <a:pt x="7085071" y="10517302"/>
                    <a:pt x="6767862" y="10834511"/>
                    <a:pt x="6376564" y="10834511"/>
                  </a:cubicBezTo>
                  <a:lnTo>
                    <a:pt x="708507" y="10834511"/>
                  </a:lnTo>
                  <a:cubicBezTo>
                    <a:pt x="317209" y="10834511"/>
                    <a:pt x="0" y="10517302"/>
                    <a:pt x="0" y="10126004"/>
                  </a:cubicBezTo>
                  <a:lnTo>
                    <a:pt x="0" y="708507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86690" tIns="186690" rIns="186690" bIns="7770848" numCol="1" spcCol="1270" anchor="ctr" anchorCtr="0">
              <a:noAutofit/>
            </a:bodyPr>
            <a:lstStyle/>
            <a:p>
              <a:pPr marL="0" lvl="0" indent="0" algn="ctr" defTabSz="2178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4800" b="1" kern="1200" dirty="0" err="1">
                  <a:solidFill>
                    <a:schemeClr val="bg1"/>
                  </a:solidFill>
                </a:rPr>
                <a:t>Our</a:t>
              </a:r>
              <a:r>
                <a:rPr lang="de-DE" sz="4800" b="1" kern="1200" dirty="0">
                  <a:solidFill>
                    <a:schemeClr val="bg1"/>
                  </a:solidFill>
                </a:rPr>
                <a:t> </a:t>
              </a:r>
              <a:r>
                <a:rPr lang="de-DE" sz="4800" b="1" kern="1200" dirty="0" err="1">
                  <a:solidFill>
                    <a:schemeClr val="bg1"/>
                  </a:solidFill>
                </a:rPr>
                <a:t>actions</a:t>
              </a:r>
              <a:r>
                <a:rPr lang="de-DE" sz="4800" b="1" kern="1200" dirty="0">
                  <a:solidFill>
                    <a:schemeClr val="bg1"/>
                  </a:solidFill>
                </a:rPr>
                <a:t>:</a:t>
              </a:r>
              <a:endParaRPr lang="en-US" sz="4800" b="1" kern="1200" dirty="0">
                <a:solidFill>
                  <a:schemeClr val="bg1"/>
                </a:solidFill>
              </a:endParaRPr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5DFA6F66-DD31-42CF-B4E0-F1C62E29DB8E}"/>
                </a:ext>
              </a:extLst>
            </p:cNvPr>
            <p:cNvSpPr/>
            <p:nvPr/>
          </p:nvSpPr>
          <p:spPr>
            <a:xfrm>
              <a:off x="1738346" y="5570592"/>
              <a:ext cx="5668056" cy="1578357"/>
            </a:xfrm>
            <a:custGeom>
              <a:avLst/>
              <a:gdLst>
                <a:gd name="connsiteX0" fmla="*/ 0 w 5668056"/>
                <a:gd name="connsiteY0" fmla="*/ 157836 h 1578357"/>
                <a:gd name="connsiteX1" fmla="*/ 157836 w 5668056"/>
                <a:gd name="connsiteY1" fmla="*/ 0 h 1578357"/>
                <a:gd name="connsiteX2" fmla="*/ 5510220 w 5668056"/>
                <a:gd name="connsiteY2" fmla="*/ 0 h 1578357"/>
                <a:gd name="connsiteX3" fmla="*/ 5668056 w 5668056"/>
                <a:gd name="connsiteY3" fmla="*/ 157836 h 1578357"/>
                <a:gd name="connsiteX4" fmla="*/ 5668056 w 5668056"/>
                <a:gd name="connsiteY4" fmla="*/ 1420521 h 1578357"/>
                <a:gd name="connsiteX5" fmla="*/ 5510220 w 5668056"/>
                <a:gd name="connsiteY5" fmla="*/ 1578357 h 1578357"/>
                <a:gd name="connsiteX6" fmla="*/ 157836 w 5668056"/>
                <a:gd name="connsiteY6" fmla="*/ 1578357 h 1578357"/>
                <a:gd name="connsiteX7" fmla="*/ 0 w 5668056"/>
                <a:gd name="connsiteY7" fmla="*/ 1420521 h 1578357"/>
                <a:gd name="connsiteX8" fmla="*/ 0 w 5668056"/>
                <a:gd name="connsiteY8" fmla="*/ 157836 h 157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8056" h="1578357">
                  <a:moveTo>
                    <a:pt x="0" y="157836"/>
                  </a:moveTo>
                  <a:cubicBezTo>
                    <a:pt x="0" y="70666"/>
                    <a:pt x="70666" y="0"/>
                    <a:pt x="157836" y="0"/>
                  </a:cubicBezTo>
                  <a:lnTo>
                    <a:pt x="5510220" y="0"/>
                  </a:lnTo>
                  <a:cubicBezTo>
                    <a:pt x="5597390" y="0"/>
                    <a:pt x="5668056" y="70666"/>
                    <a:pt x="5668056" y="157836"/>
                  </a:cubicBezTo>
                  <a:lnTo>
                    <a:pt x="5668056" y="1420521"/>
                  </a:lnTo>
                  <a:cubicBezTo>
                    <a:pt x="5668056" y="1507691"/>
                    <a:pt x="5597390" y="1578357"/>
                    <a:pt x="5510220" y="1578357"/>
                  </a:cubicBezTo>
                  <a:lnTo>
                    <a:pt x="157836" y="1578357"/>
                  </a:lnTo>
                  <a:cubicBezTo>
                    <a:pt x="70666" y="1578357"/>
                    <a:pt x="0" y="1507691"/>
                    <a:pt x="0" y="1420521"/>
                  </a:cubicBezTo>
                  <a:lnTo>
                    <a:pt x="0" y="15783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508" tIns="107188" rIns="127508" bIns="107188" numCol="1" spcCol="1270" anchor="ctr" anchorCtr="0">
              <a:noAutofit/>
            </a:bodyPr>
            <a:lstStyle/>
            <a:p>
              <a:pPr marL="0" lvl="0" indent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3200" b="1" dirty="0" err="1"/>
                <a:t>Provide</a:t>
              </a:r>
              <a:r>
                <a:rPr lang="de-DE" sz="3200" b="1" dirty="0"/>
                <a:t> </a:t>
              </a:r>
              <a:r>
                <a:rPr lang="de-DE" sz="3200" b="1" dirty="0" err="1"/>
                <a:t>Inheritance</a:t>
              </a:r>
              <a:r>
                <a:rPr lang="de-DE" sz="3200" b="1" dirty="0"/>
                <a:t> </a:t>
              </a:r>
              <a:r>
                <a:rPr lang="de-DE" sz="3200" b="1" dirty="0" err="1"/>
                <a:t>consulting</a:t>
              </a:r>
              <a:r>
                <a:rPr lang="de-DE" sz="3200" b="1" dirty="0"/>
                <a:t> </a:t>
              </a:r>
              <a:r>
                <a:rPr lang="de-DE" sz="3200" b="1" dirty="0" err="1"/>
                <a:t>among</a:t>
              </a:r>
              <a:r>
                <a:rPr lang="de-DE" sz="3200" b="1" dirty="0"/>
                <a:t> </a:t>
              </a:r>
              <a:r>
                <a:rPr lang="de-DE" sz="3200" b="1" dirty="0" err="1"/>
                <a:t>the</a:t>
              </a:r>
              <a:r>
                <a:rPr lang="de-DE" sz="3200" b="1" dirty="0"/>
                <a:t> </a:t>
              </a:r>
              <a:r>
                <a:rPr lang="de-DE" sz="3200" b="1" dirty="0" err="1"/>
                <a:t>whole</a:t>
              </a:r>
              <a:r>
                <a:rPr lang="de-DE" sz="3200" b="1" dirty="0"/>
                <a:t> </a:t>
              </a:r>
              <a:r>
                <a:rPr lang="de-DE" sz="3200" b="1" dirty="0" err="1"/>
                <a:t>process</a:t>
              </a:r>
              <a:endParaRPr lang="en-US" sz="3200" b="1" kern="1200" dirty="0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85D02A8D-D8A9-4AA8-B835-006B808B1BC8}"/>
                </a:ext>
              </a:extLst>
            </p:cNvPr>
            <p:cNvSpPr/>
            <p:nvPr/>
          </p:nvSpPr>
          <p:spPr>
            <a:xfrm>
              <a:off x="1738346" y="7391774"/>
              <a:ext cx="5668056" cy="1578357"/>
            </a:xfrm>
            <a:custGeom>
              <a:avLst/>
              <a:gdLst>
                <a:gd name="connsiteX0" fmla="*/ 0 w 5668056"/>
                <a:gd name="connsiteY0" fmla="*/ 157836 h 1578357"/>
                <a:gd name="connsiteX1" fmla="*/ 157836 w 5668056"/>
                <a:gd name="connsiteY1" fmla="*/ 0 h 1578357"/>
                <a:gd name="connsiteX2" fmla="*/ 5510220 w 5668056"/>
                <a:gd name="connsiteY2" fmla="*/ 0 h 1578357"/>
                <a:gd name="connsiteX3" fmla="*/ 5668056 w 5668056"/>
                <a:gd name="connsiteY3" fmla="*/ 157836 h 1578357"/>
                <a:gd name="connsiteX4" fmla="*/ 5668056 w 5668056"/>
                <a:gd name="connsiteY4" fmla="*/ 1420521 h 1578357"/>
                <a:gd name="connsiteX5" fmla="*/ 5510220 w 5668056"/>
                <a:gd name="connsiteY5" fmla="*/ 1578357 h 1578357"/>
                <a:gd name="connsiteX6" fmla="*/ 157836 w 5668056"/>
                <a:gd name="connsiteY6" fmla="*/ 1578357 h 1578357"/>
                <a:gd name="connsiteX7" fmla="*/ 0 w 5668056"/>
                <a:gd name="connsiteY7" fmla="*/ 1420521 h 1578357"/>
                <a:gd name="connsiteX8" fmla="*/ 0 w 5668056"/>
                <a:gd name="connsiteY8" fmla="*/ 157836 h 157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8056" h="1578357">
                  <a:moveTo>
                    <a:pt x="0" y="157836"/>
                  </a:moveTo>
                  <a:cubicBezTo>
                    <a:pt x="0" y="70666"/>
                    <a:pt x="70666" y="0"/>
                    <a:pt x="157836" y="0"/>
                  </a:cubicBezTo>
                  <a:lnTo>
                    <a:pt x="5510220" y="0"/>
                  </a:lnTo>
                  <a:cubicBezTo>
                    <a:pt x="5597390" y="0"/>
                    <a:pt x="5668056" y="70666"/>
                    <a:pt x="5668056" y="157836"/>
                  </a:cubicBezTo>
                  <a:lnTo>
                    <a:pt x="5668056" y="1420521"/>
                  </a:lnTo>
                  <a:cubicBezTo>
                    <a:pt x="5668056" y="1507691"/>
                    <a:pt x="5597390" y="1578357"/>
                    <a:pt x="5510220" y="1578357"/>
                  </a:cubicBezTo>
                  <a:lnTo>
                    <a:pt x="157836" y="1578357"/>
                  </a:lnTo>
                  <a:cubicBezTo>
                    <a:pt x="70666" y="1578357"/>
                    <a:pt x="0" y="1507691"/>
                    <a:pt x="0" y="1420521"/>
                  </a:cubicBezTo>
                  <a:lnTo>
                    <a:pt x="0" y="15783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508" tIns="107188" rIns="127508" bIns="107188" numCol="1" spcCol="1270" anchor="ctr" anchorCtr="0">
              <a:noAutofit/>
            </a:bodyPr>
            <a:lstStyle/>
            <a:p>
              <a:pPr marL="0" lvl="0" indent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3200" b="1" kern="1200" dirty="0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5AF406C4-DF59-49AB-BE10-07CD627EB042}"/>
                </a:ext>
              </a:extLst>
            </p:cNvPr>
            <p:cNvSpPr/>
            <p:nvPr/>
          </p:nvSpPr>
          <p:spPr>
            <a:xfrm>
              <a:off x="1738346" y="9212956"/>
              <a:ext cx="5668056" cy="1578357"/>
            </a:xfrm>
            <a:custGeom>
              <a:avLst/>
              <a:gdLst>
                <a:gd name="connsiteX0" fmla="*/ 0 w 5668056"/>
                <a:gd name="connsiteY0" fmla="*/ 157836 h 1578357"/>
                <a:gd name="connsiteX1" fmla="*/ 157836 w 5668056"/>
                <a:gd name="connsiteY1" fmla="*/ 0 h 1578357"/>
                <a:gd name="connsiteX2" fmla="*/ 5510220 w 5668056"/>
                <a:gd name="connsiteY2" fmla="*/ 0 h 1578357"/>
                <a:gd name="connsiteX3" fmla="*/ 5668056 w 5668056"/>
                <a:gd name="connsiteY3" fmla="*/ 157836 h 1578357"/>
                <a:gd name="connsiteX4" fmla="*/ 5668056 w 5668056"/>
                <a:gd name="connsiteY4" fmla="*/ 1420521 h 1578357"/>
                <a:gd name="connsiteX5" fmla="*/ 5510220 w 5668056"/>
                <a:gd name="connsiteY5" fmla="*/ 1578357 h 1578357"/>
                <a:gd name="connsiteX6" fmla="*/ 157836 w 5668056"/>
                <a:gd name="connsiteY6" fmla="*/ 1578357 h 1578357"/>
                <a:gd name="connsiteX7" fmla="*/ 0 w 5668056"/>
                <a:gd name="connsiteY7" fmla="*/ 1420521 h 1578357"/>
                <a:gd name="connsiteX8" fmla="*/ 0 w 5668056"/>
                <a:gd name="connsiteY8" fmla="*/ 157836 h 157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8056" h="1578357">
                  <a:moveTo>
                    <a:pt x="0" y="157836"/>
                  </a:moveTo>
                  <a:cubicBezTo>
                    <a:pt x="0" y="70666"/>
                    <a:pt x="70666" y="0"/>
                    <a:pt x="157836" y="0"/>
                  </a:cubicBezTo>
                  <a:lnTo>
                    <a:pt x="5510220" y="0"/>
                  </a:lnTo>
                  <a:cubicBezTo>
                    <a:pt x="5597390" y="0"/>
                    <a:pt x="5668056" y="70666"/>
                    <a:pt x="5668056" y="157836"/>
                  </a:cubicBezTo>
                  <a:lnTo>
                    <a:pt x="5668056" y="1420521"/>
                  </a:lnTo>
                  <a:cubicBezTo>
                    <a:pt x="5668056" y="1507691"/>
                    <a:pt x="5597390" y="1578357"/>
                    <a:pt x="5510220" y="1578357"/>
                  </a:cubicBezTo>
                  <a:lnTo>
                    <a:pt x="157836" y="1578357"/>
                  </a:lnTo>
                  <a:cubicBezTo>
                    <a:pt x="70666" y="1578357"/>
                    <a:pt x="0" y="1507691"/>
                    <a:pt x="0" y="1420521"/>
                  </a:cubicBezTo>
                  <a:lnTo>
                    <a:pt x="0" y="15783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508" tIns="107188" rIns="127508" bIns="107188" numCol="1" spcCol="1270" anchor="ctr" anchorCtr="0">
              <a:noAutofit/>
            </a:bodyPr>
            <a:lstStyle/>
            <a:p>
              <a:pPr marL="0" lvl="0" indent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3200" b="1" kern="1200" dirty="0"/>
                <a:t>Implement </a:t>
              </a:r>
              <a:r>
                <a:rPr lang="de-DE" sz="3200" b="1" kern="1200" dirty="0" err="1"/>
                <a:t>gamification</a:t>
              </a:r>
              <a:r>
                <a:rPr lang="de-DE" sz="3200" b="1" kern="1200" dirty="0"/>
                <a:t> </a:t>
              </a:r>
              <a:r>
                <a:rPr lang="de-DE" sz="3200" b="1" kern="1200" dirty="0" err="1"/>
                <a:t>to</a:t>
              </a:r>
              <a:r>
                <a:rPr lang="de-DE" sz="3200" b="1" kern="1200" dirty="0"/>
                <a:t> </a:t>
              </a:r>
              <a:r>
                <a:rPr lang="de-DE" sz="3200" b="1" kern="1200" dirty="0" err="1"/>
                <a:t>SmartBank</a:t>
              </a:r>
              <a:r>
                <a:rPr lang="de-DE" sz="3200" b="1" kern="1200" dirty="0"/>
                <a:t> </a:t>
              </a:r>
              <a:r>
                <a:rPr lang="de-DE" sz="3200" b="1" kern="1200" dirty="0" err="1"/>
                <a:t>application</a:t>
              </a:r>
              <a:endParaRPr lang="en-US" sz="3200" b="1" kern="1200" dirty="0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FDC3FA4C-2420-4929-B6CF-220744B7258D}"/>
                </a:ext>
              </a:extLst>
            </p:cNvPr>
            <p:cNvSpPr/>
            <p:nvPr/>
          </p:nvSpPr>
          <p:spPr>
            <a:xfrm>
              <a:off x="1738346" y="11034138"/>
              <a:ext cx="5668056" cy="1578357"/>
            </a:xfrm>
            <a:custGeom>
              <a:avLst/>
              <a:gdLst>
                <a:gd name="connsiteX0" fmla="*/ 0 w 5668056"/>
                <a:gd name="connsiteY0" fmla="*/ 157836 h 1578357"/>
                <a:gd name="connsiteX1" fmla="*/ 157836 w 5668056"/>
                <a:gd name="connsiteY1" fmla="*/ 0 h 1578357"/>
                <a:gd name="connsiteX2" fmla="*/ 5510220 w 5668056"/>
                <a:gd name="connsiteY2" fmla="*/ 0 h 1578357"/>
                <a:gd name="connsiteX3" fmla="*/ 5668056 w 5668056"/>
                <a:gd name="connsiteY3" fmla="*/ 157836 h 1578357"/>
                <a:gd name="connsiteX4" fmla="*/ 5668056 w 5668056"/>
                <a:gd name="connsiteY4" fmla="*/ 1420521 h 1578357"/>
                <a:gd name="connsiteX5" fmla="*/ 5510220 w 5668056"/>
                <a:gd name="connsiteY5" fmla="*/ 1578357 h 1578357"/>
                <a:gd name="connsiteX6" fmla="*/ 157836 w 5668056"/>
                <a:gd name="connsiteY6" fmla="*/ 1578357 h 1578357"/>
                <a:gd name="connsiteX7" fmla="*/ 0 w 5668056"/>
                <a:gd name="connsiteY7" fmla="*/ 1420521 h 1578357"/>
                <a:gd name="connsiteX8" fmla="*/ 0 w 5668056"/>
                <a:gd name="connsiteY8" fmla="*/ 157836 h 157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8056" h="1578357">
                  <a:moveTo>
                    <a:pt x="0" y="157836"/>
                  </a:moveTo>
                  <a:cubicBezTo>
                    <a:pt x="0" y="70666"/>
                    <a:pt x="70666" y="0"/>
                    <a:pt x="157836" y="0"/>
                  </a:cubicBezTo>
                  <a:lnTo>
                    <a:pt x="5510220" y="0"/>
                  </a:lnTo>
                  <a:cubicBezTo>
                    <a:pt x="5597390" y="0"/>
                    <a:pt x="5668056" y="70666"/>
                    <a:pt x="5668056" y="157836"/>
                  </a:cubicBezTo>
                  <a:lnTo>
                    <a:pt x="5668056" y="1420521"/>
                  </a:lnTo>
                  <a:cubicBezTo>
                    <a:pt x="5668056" y="1507691"/>
                    <a:pt x="5597390" y="1578357"/>
                    <a:pt x="5510220" y="1578357"/>
                  </a:cubicBezTo>
                  <a:lnTo>
                    <a:pt x="157836" y="1578357"/>
                  </a:lnTo>
                  <a:cubicBezTo>
                    <a:pt x="70666" y="1578357"/>
                    <a:pt x="0" y="1507691"/>
                    <a:pt x="0" y="1420521"/>
                  </a:cubicBezTo>
                  <a:lnTo>
                    <a:pt x="0" y="15783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508" tIns="107188" rIns="127508" bIns="107188" numCol="1" spcCol="1270" anchor="ctr" anchorCtr="0">
              <a:noAutofit/>
            </a:bodyPr>
            <a:lstStyle/>
            <a:p>
              <a:pPr marL="0" lvl="0" indent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3200" b="1" kern="1200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855D969D-E7FD-408E-B4F7-41F8E5F7F895}"/>
                </a:ext>
              </a:extLst>
            </p:cNvPr>
            <p:cNvSpPr/>
            <p:nvPr/>
          </p:nvSpPr>
          <p:spPr>
            <a:xfrm>
              <a:off x="8646290" y="2319975"/>
              <a:ext cx="7085071" cy="10834511"/>
            </a:xfrm>
            <a:custGeom>
              <a:avLst/>
              <a:gdLst>
                <a:gd name="connsiteX0" fmla="*/ 0 w 7085071"/>
                <a:gd name="connsiteY0" fmla="*/ 708507 h 10834511"/>
                <a:gd name="connsiteX1" fmla="*/ 708507 w 7085071"/>
                <a:gd name="connsiteY1" fmla="*/ 0 h 10834511"/>
                <a:gd name="connsiteX2" fmla="*/ 6376564 w 7085071"/>
                <a:gd name="connsiteY2" fmla="*/ 0 h 10834511"/>
                <a:gd name="connsiteX3" fmla="*/ 7085071 w 7085071"/>
                <a:gd name="connsiteY3" fmla="*/ 708507 h 10834511"/>
                <a:gd name="connsiteX4" fmla="*/ 7085071 w 7085071"/>
                <a:gd name="connsiteY4" fmla="*/ 10126004 h 10834511"/>
                <a:gd name="connsiteX5" fmla="*/ 6376564 w 7085071"/>
                <a:gd name="connsiteY5" fmla="*/ 10834511 h 10834511"/>
                <a:gd name="connsiteX6" fmla="*/ 708507 w 7085071"/>
                <a:gd name="connsiteY6" fmla="*/ 10834511 h 10834511"/>
                <a:gd name="connsiteX7" fmla="*/ 0 w 7085071"/>
                <a:gd name="connsiteY7" fmla="*/ 10126004 h 10834511"/>
                <a:gd name="connsiteX8" fmla="*/ 0 w 7085071"/>
                <a:gd name="connsiteY8" fmla="*/ 708507 h 10834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85071" h="10834511">
                  <a:moveTo>
                    <a:pt x="0" y="708507"/>
                  </a:moveTo>
                  <a:cubicBezTo>
                    <a:pt x="0" y="317209"/>
                    <a:pt x="317209" y="0"/>
                    <a:pt x="708507" y="0"/>
                  </a:cubicBezTo>
                  <a:lnTo>
                    <a:pt x="6376564" y="0"/>
                  </a:lnTo>
                  <a:cubicBezTo>
                    <a:pt x="6767862" y="0"/>
                    <a:pt x="7085071" y="317209"/>
                    <a:pt x="7085071" y="708507"/>
                  </a:cubicBezTo>
                  <a:lnTo>
                    <a:pt x="7085071" y="10126004"/>
                  </a:lnTo>
                  <a:cubicBezTo>
                    <a:pt x="7085071" y="10517302"/>
                    <a:pt x="6767862" y="10834511"/>
                    <a:pt x="6376564" y="10834511"/>
                  </a:cubicBezTo>
                  <a:lnTo>
                    <a:pt x="708507" y="10834511"/>
                  </a:lnTo>
                  <a:cubicBezTo>
                    <a:pt x="317209" y="10834511"/>
                    <a:pt x="0" y="10517302"/>
                    <a:pt x="0" y="10126004"/>
                  </a:cubicBezTo>
                  <a:lnTo>
                    <a:pt x="0" y="708507"/>
                  </a:lnTo>
                  <a:close/>
                </a:path>
              </a:pathLst>
            </a:custGeom>
            <a:solidFill>
              <a:schemeClr val="accent2"/>
            </a:solidFill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86690" tIns="186690" rIns="186690" bIns="7770848" numCol="1" spcCol="1270" anchor="ctr" anchorCtr="0">
              <a:noAutofit/>
            </a:bodyPr>
            <a:lstStyle/>
            <a:p>
              <a:pPr marL="0" lvl="0" indent="0" algn="ctr" defTabSz="2178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4800" b="1" dirty="0">
                  <a:solidFill>
                    <a:schemeClr val="bg1"/>
                  </a:solidFill>
                </a:rPr>
                <a:t>Possible </a:t>
              </a:r>
              <a:r>
                <a:rPr lang="de-DE" sz="4800" b="1" dirty="0" err="1">
                  <a:solidFill>
                    <a:schemeClr val="bg1"/>
                  </a:solidFill>
                </a:rPr>
                <a:t>reactions</a:t>
              </a:r>
              <a:r>
                <a:rPr lang="de-DE" sz="4800" b="1" dirty="0">
                  <a:solidFill>
                    <a:schemeClr val="bg1"/>
                  </a:solidFill>
                </a:rPr>
                <a:t>:</a:t>
              </a:r>
              <a:endParaRPr lang="en-US" sz="48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F528DBDC-AA75-42AC-A3F2-DCDE9AC7AE66}"/>
                </a:ext>
              </a:extLst>
            </p:cNvPr>
            <p:cNvSpPr/>
            <p:nvPr/>
          </p:nvSpPr>
          <p:spPr>
            <a:xfrm>
              <a:off x="9354797" y="5570592"/>
              <a:ext cx="5668056" cy="1578357"/>
            </a:xfrm>
            <a:custGeom>
              <a:avLst/>
              <a:gdLst>
                <a:gd name="connsiteX0" fmla="*/ 0 w 5668056"/>
                <a:gd name="connsiteY0" fmla="*/ 157836 h 1578357"/>
                <a:gd name="connsiteX1" fmla="*/ 157836 w 5668056"/>
                <a:gd name="connsiteY1" fmla="*/ 0 h 1578357"/>
                <a:gd name="connsiteX2" fmla="*/ 5510220 w 5668056"/>
                <a:gd name="connsiteY2" fmla="*/ 0 h 1578357"/>
                <a:gd name="connsiteX3" fmla="*/ 5668056 w 5668056"/>
                <a:gd name="connsiteY3" fmla="*/ 157836 h 1578357"/>
                <a:gd name="connsiteX4" fmla="*/ 5668056 w 5668056"/>
                <a:gd name="connsiteY4" fmla="*/ 1420521 h 1578357"/>
                <a:gd name="connsiteX5" fmla="*/ 5510220 w 5668056"/>
                <a:gd name="connsiteY5" fmla="*/ 1578357 h 1578357"/>
                <a:gd name="connsiteX6" fmla="*/ 157836 w 5668056"/>
                <a:gd name="connsiteY6" fmla="*/ 1578357 h 1578357"/>
                <a:gd name="connsiteX7" fmla="*/ 0 w 5668056"/>
                <a:gd name="connsiteY7" fmla="*/ 1420521 h 1578357"/>
                <a:gd name="connsiteX8" fmla="*/ 0 w 5668056"/>
                <a:gd name="connsiteY8" fmla="*/ 157836 h 157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8056" h="1578357">
                  <a:moveTo>
                    <a:pt x="0" y="157836"/>
                  </a:moveTo>
                  <a:cubicBezTo>
                    <a:pt x="0" y="70666"/>
                    <a:pt x="70666" y="0"/>
                    <a:pt x="157836" y="0"/>
                  </a:cubicBezTo>
                  <a:lnTo>
                    <a:pt x="5510220" y="0"/>
                  </a:lnTo>
                  <a:cubicBezTo>
                    <a:pt x="5597390" y="0"/>
                    <a:pt x="5668056" y="70666"/>
                    <a:pt x="5668056" y="157836"/>
                  </a:cubicBezTo>
                  <a:lnTo>
                    <a:pt x="5668056" y="1420521"/>
                  </a:lnTo>
                  <a:cubicBezTo>
                    <a:pt x="5668056" y="1507691"/>
                    <a:pt x="5597390" y="1578357"/>
                    <a:pt x="5510220" y="1578357"/>
                  </a:cubicBezTo>
                  <a:lnTo>
                    <a:pt x="157836" y="1578357"/>
                  </a:lnTo>
                  <a:cubicBezTo>
                    <a:pt x="70666" y="1578357"/>
                    <a:pt x="0" y="1507691"/>
                    <a:pt x="0" y="1420521"/>
                  </a:cubicBezTo>
                  <a:lnTo>
                    <a:pt x="0" y="157836"/>
                  </a:lnTo>
                  <a:close/>
                </a:path>
              </a:pathLst>
            </a:cu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508" tIns="107188" rIns="127508" bIns="107188" numCol="1" spcCol="1270" anchor="ctr" anchorCtr="0">
              <a:noAutofit/>
            </a:bodyPr>
            <a:lstStyle/>
            <a:p>
              <a:pPr marL="0" lvl="0" indent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3200" b="1" kern="1200" dirty="0"/>
                <a:t>Imitation </a:t>
              </a:r>
              <a:r>
                <a:rPr lang="de-DE" sz="3200" b="1" kern="1200" dirty="0" err="1"/>
                <a:t>of</a:t>
              </a:r>
              <a:r>
                <a:rPr lang="de-DE" sz="3200" b="1" kern="1200" dirty="0"/>
                <a:t> </a:t>
              </a:r>
              <a:r>
                <a:rPr lang="de-DE" sz="3200" b="1" kern="1200" dirty="0" err="1"/>
                <a:t>Inheritance</a:t>
              </a:r>
              <a:r>
                <a:rPr lang="de-DE" sz="3200" b="1" kern="1200" dirty="0"/>
                <a:t> Consulting</a:t>
              </a:r>
              <a:endParaRPr lang="en-US" sz="3200" b="1" kern="1200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12E0903A-3104-437C-9DAB-5A67CEE005F4}"/>
                </a:ext>
              </a:extLst>
            </p:cNvPr>
            <p:cNvSpPr/>
            <p:nvPr/>
          </p:nvSpPr>
          <p:spPr>
            <a:xfrm>
              <a:off x="9354797" y="7391774"/>
              <a:ext cx="5668056" cy="1578357"/>
            </a:xfrm>
            <a:custGeom>
              <a:avLst/>
              <a:gdLst>
                <a:gd name="connsiteX0" fmla="*/ 0 w 5668056"/>
                <a:gd name="connsiteY0" fmla="*/ 157836 h 1578357"/>
                <a:gd name="connsiteX1" fmla="*/ 157836 w 5668056"/>
                <a:gd name="connsiteY1" fmla="*/ 0 h 1578357"/>
                <a:gd name="connsiteX2" fmla="*/ 5510220 w 5668056"/>
                <a:gd name="connsiteY2" fmla="*/ 0 h 1578357"/>
                <a:gd name="connsiteX3" fmla="*/ 5668056 w 5668056"/>
                <a:gd name="connsiteY3" fmla="*/ 157836 h 1578357"/>
                <a:gd name="connsiteX4" fmla="*/ 5668056 w 5668056"/>
                <a:gd name="connsiteY4" fmla="*/ 1420521 h 1578357"/>
                <a:gd name="connsiteX5" fmla="*/ 5510220 w 5668056"/>
                <a:gd name="connsiteY5" fmla="*/ 1578357 h 1578357"/>
                <a:gd name="connsiteX6" fmla="*/ 157836 w 5668056"/>
                <a:gd name="connsiteY6" fmla="*/ 1578357 h 1578357"/>
                <a:gd name="connsiteX7" fmla="*/ 0 w 5668056"/>
                <a:gd name="connsiteY7" fmla="*/ 1420521 h 1578357"/>
                <a:gd name="connsiteX8" fmla="*/ 0 w 5668056"/>
                <a:gd name="connsiteY8" fmla="*/ 157836 h 157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8056" h="1578357">
                  <a:moveTo>
                    <a:pt x="0" y="157836"/>
                  </a:moveTo>
                  <a:cubicBezTo>
                    <a:pt x="0" y="70666"/>
                    <a:pt x="70666" y="0"/>
                    <a:pt x="157836" y="0"/>
                  </a:cubicBezTo>
                  <a:lnTo>
                    <a:pt x="5510220" y="0"/>
                  </a:lnTo>
                  <a:cubicBezTo>
                    <a:pt x="5597390" y="0"/>
                    <a:pt x="5668056" y="70666"/>
                    <a:pt x="5668056" y="157836"/>
                  </a:cubicBezTo>
                  <a:lnTo>
                    <a:pt x="5668056" y="1420521"/>
                  </a:lnTo>
                  <a:cubicBezTo>
                    <a:pt x="5668056" y="1507691"/>
                    <a:pt x="5597390" y="1578357"/>
                    <a:pt x="5510220" y="1578357"/>
                  </a:cubicBezTo>
                  <a:lnTo>
                    <a:pt x="157836" y="1578357"/>
                  </a:lnTo>
                  <a:cubicBezTo>
                    <a:pt x="70666" y="1578357"/>
                    <a:pt x="0" y="1507691"/>
                    <a:pt x="0" y="1420521"/>
                  </a:cubicBezTo>
                  <a:lnTo>
                    <a:pt x="0" y="157836"/>
                  </a:lnTo>
                  <a:close/>
                </a:path>
              </a:pathLst>
            </a:cu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508" tIns="107188" rIns="127508" bIns="107188" numCol="1" spcCol="1270" anchor="ctr" anchorCtr="0">
              <a:noAutofit/>
            </a:bodyPr>
            <a:lstStyle/>
            <a:p>
              <a:pPr marL="0" lvl="0" indent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3200" b="1" kern="1200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31C87C92-2A0E-4386-9812-7867D28A682F}"/>
                </a:ext>
              </a:extLst>
            </p:cNvPr>
            <p:cNvSpPr/>
            <p:nvPr/>
          </p:nvSpPr>
          <p:spPr>
            <a:xfrm>
              <a:off x="9354797" y="9212956"/>
              <a:ext cx="5668056" cy="1578357"/>
            </a:xfrm>
            <a:custGeom>
              <a:avLst/>
              <a:gdLst>
                <a:gd name="connsiteX0" fmla="*/ 0 w 5668056"/>
                <a:gd name="connsiteY0" fmla="*/ 157836 h 1578357"/>
                <a:gd name="connsiteX1" fmla="*/ 157836 w 5668056"/>
                <a:gd name="connsiteY1" fmla="*/ 0 h 1578357"/>
                <a:gd name="connsiteX2" fmla="*/ 5510220 w 5668056"/>
                <a:gd name="connsiteY2" fmla="*/ 0 h 1578357"/>
                <a:gd name="connsiteX3" fmla="*/ 5668056 w 5668056"/>
                <a:gd name="connsiteY3" fmla="*/ 157836 h 1578357"/>
                <a:gd name="connsiteX4" fmla="*/ 5668056 w 5668056"/>
                <a:gd name="connsiteY4" fmla="*/ 1420521 h 1578357"/>
                <a:gd name="connsiteX5" fmla="*/ 5510220 w 5668056"/>
                <a:gd name="connsiteY5" fmla="*/ 1578357 h 1578357"/>
                <a:gd name="connsiteX6" fmla="*/ 157836 w 5668056"/>
                <a:gd name="connsiteY6" fmla="*/ 1578357 h 1578357"/>
                <a:gd name="connsiteX7" fmla="*/ 0 w 5668056"/>
                <a:gd name="connsiteY7" fmla="*/ 1420521 h 1578357"/>
                <a:gd name="connsiteX8" fmla="*/ 0 w 5668056"/>
                <a:gd name="connsiteY8" fmla="*/ 157836 h 157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8056" h="1578357">
                  <a:moveTo>
                    <a:pt x="0" y="157836"/>
                  </a:moveTo>
                  <a:cubicBezTo>
                    <a:pt x="0" y="70666"/>
                    <a:pt x="70666" y="0"/>
                    <a:pt x="157836" y="0"/>
                  </a:cubicBezTo>
                  <a:lnTo>
                    <a:pt x="5510220" y="0"/>
                  </a:lnTo>
                  <a:cubicBezTo>
                    <a:pt x="5597390" y="0"/>
                    <a:pt x="5668056" y="70666"/>
                    <a:pt x="5668056" y="157836"/>
                  </a:cubicBezTo>
                  <a:lnTo>
                    <a:pt x="5668056" y="1420521"/>
                  </a:lnTo>
                  <a:cubicBezTo>
                    <a:pt x="5668056" y="1507691"/>
                    <a:pt x="5597390" y="1578357"/>
                    <a:pt x="5510220" y="1578357"/>
                  </a:cubicBezTo>
                  <a:lnTo>
                    <a:pt x="157836" y="1578357"/>
                  </a:lnTo>
                  <a:cubicBezTo>
                    <a:pt x="70666" y="1578357"/>
                    <a:pt x="0" y="1507691"/>
                    <a:pt x="0" y="1420521"/>
                  </a:cubicBezTo>
                  <a:lnTo>
                    <a:pt x="0" y="157836"/>
                  </a:lnTo>
                  <a:close/>
                </a:path>
              </a:pathLst>
            </a:cu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508" tIns="107188" rIns="127508" bIns="107188" numCol="1" spcCol="1270" anchor="ctr" anchorCtr="0">
              <a:noAutofit/>
            </a:bodyPr>
            <a:lstStyle/>
            <a:p>
              <a:pPr marL="0" lvl="0" indent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3200" b="1" kern="1200" dirty="0"/>
                <a:t>Imitation </a:t>
              </a:r>
              <a:r>
                <a:rPr lang="de-DE" sz="3200" b="1" kern="1200" dirty="0" err="1"/>
                <a:t>of</a:t>
              </a:r>
              <a:r>
                <a:rPr lang="de-DE" sz="3200" b="1" kern="1200" dirty="0"/>
                <a:t> </a:t>
              </a:r>
              <a:r>
                <a:rPr lang="de-DE" sz="3200" b="1" kern="1200" dirty="0" err="1"/>
                <a:t>gamification</a:t>
              </a:r>
              <a:endParaRPr lang="en-US" sz="3200" b="1" kern="1200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2C55C0D-6450-4CD0-A743-DA3DCB7D6D07}"/>
                </a:ext>
              </a:extLst>
            </p:cNvPr>
            <p:cNvSpPr/>
            <p:nvPr/>
          </p:nvSpPr>
          <p:spPr>
            <a:xfrm>
              <a:off x="9354797" y="11034138"/>
              <a:ext cx="5668056" cy="1578357"/>
            </a:xfrm>
            <a:custGeom>
              <a:avLst/>
              <a:gdLst>
                <a:gd name="connsiteX0" fmla="*/ 0 w 5668056"/>
                <a:gd name="connsiteY0" fmla="*/ 157836 h 1578357"/>
                <a:gd name="connsiteX1" fmla="*/ 157836 w 5668056"/>
                <a:gd name="connsiteY1" fmla="*/ 0 h 1578357"/>
                <a:gd name="connsiteX2" fmla="*/ 5510220 w 5668056"/>
                <a:gd name="connsiteY2" fmla="*/ 0 h 1578357"/>
                <a:gd name="connsiteX3" fmla="*/ 5668056 w 5668056"/>
                <a:gd name="connsiteY3" fmla="*/ 157836 h 1578357"/>
                <a:gd name="connsiteX4" fmla="*/ 5668056 w 5668056"/>
                <a:gd name="connsiteY4" fmla="*/ 1420521 h 1578357"/>
                <a:gd name="connsiteX5" fmla="*/ 5510220 w 5668056"/>
                <a:gd name="connsiteY5" fmla="*/ 1578357 h 1578357"/>
                <a:gd name="connsiteX6" fmla="*/ 157836 w 5668056"/>
                <a:gd name="connsiteY6" fmla="*/ 1578357 h 1578357"/>
                <a:gd name="connsiteX7" fmla="*/ 0 w 5668056"/>
                <a:gd name="connsiteY7" fmla="*/ 1420521 h 1578357"/>
                <a:gd name="connsiteX8" fmla="*/ 0 w 5668056"/>
                <a:gd name="connsiteY8" fmla="*/ 157836 h 157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8056" h="1578357">
                  <a:moveTo>
                    <a:pt x="0" y="157836"/>
                  </a:moveTo>
                  <a:cubicBezTo>
                    <a:pt x="0" y="70666"/>
                    <a:pt x="70666" y="0"/>
                    <a:pt x="157836" y="0"/>
                  </a:cubicBezTo>
                  <a:lnTo>
                    <a:pt x="5510220" y="0"/>
                  </a:lnTo>
                  <a:cubicBezTo>
                    <a:pt x="5597390" y="0"/>
                    <a:pt x="5668056" y="70666"/>
                    <a:pt x="5668056" y="157836"/>
                  </a:cubicBezTo>
                  <a:lnTo>
                    <a:pt x="5668056" y="1420521"/>
                  </a:lnTo>
                  <a:cubicBezTo>
                    <a:pt x="5668056" y="1507691"/>
                    <a:pt x="5597390" y="1578357"/>
                    <a:pt x="5510220" y="1578357"/>
                  </a:cubicBezTo>
                  <a:lnTo>
                    <a:pt x="157836" y="1578357"/>
                  </a:lnTo>
                  <a:cubicBezTo>
                    <a:pt x="70666" y="1578357"/>
                    <a:pt x="0" y="1507691"/>
                    <a:pt x="0" y="1420521"/>
                  </a:cubicBezTo>
                  <a:lnTo>
                    <a:pt x="0" y="157836"/>
                  </a:lnTo>
                  <a:close/>
                </a:path>
              </a:pathLst>
            </a:cu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508" tIns="107188" rIns="127508" bIns="107188" numCol="1" spcCol="1270" anchor="ctr" anchorCtr="0">
              <a:noAutofit/>
            </a:bodyPr>
            <a:lstStyle/>
            <a:p>
              <a:pPr marL="0" lvl="0" indent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3200" b="1" kern="1200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9AD93E13-7197-4155-9DFA-F683AD1C81AA}"/>
                </a:ext>
              </a:extLst>
            </p:cNvPr>
            <p:cNvSpPr/>
            <p:nvPr/>
          </p:nvSpPr>
          <p:spPr>
            <a:xfrm>
              <a:off x="16262741" y="2319975"/>
              <a:ext cx="7085071" cy="10834511"/>
            </a:xfrm>
            <a:custGeom>
              <a:avLst/>
              <a:gdLst>
                <a:gd name="connsiteX0" fmla="*/ 0 w 7085071"/>
                <a:gd name="connsiteY0" fmla="*/ 708507 h 10834511"/>
                <a:gd name="connsiteX1" fmla="*/ 708507 w 7085071"/>
                <a:gd name="connsiteY1" fmla="*/ 0 h 10834511"/>
                <a:gd name="connsiteX2" fmla="*/ 6376564 w 7085071"/>
                <a:gd name="connsiteY2" fmla="*/ 0 h 10834511"/>
                <a:gd name="connsiteX3" fmla="*/ 7085071 w 7085071"/>
                <a:gd name="connsiteY3" fmla="*/ 708507 h 10834511"/>
                <a:gd name="connsiteX4" fmla="*/ 7085071 w 7085071"/>
                <a:gd name="connsiteY4" fmla="*/ 10126004 h 10834511"/>
                <a:gd name="connsiteX5" fmla="*/ 6376564 w 7085071"/>
                <a:gd name="connsiteY5" fmla="*/ 10834511 h 10834511"/>
                <a:gd name="connsiteX6" fmla="*/ 708507 w 7085071"/>
                <a:gd name="connsiteY6" fmla="*/ 10834511 h 10834511"/>
                <a:gd name="connsiteX7" fmla="*/ 0 w 7085071"/>
                <a:gd name="connsiteY7" fmla="*/ 10126004 h 10834511"/>
                <a:gd name="connsiteX8" fmla="*/ 0 w 7085071"/>
                <a:gd name="connsiteY8" fmla="*/ 708507 h 10834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85071" h="10834511">
                  <a:moveTo>
                    <a:pt x="0" y="708507"/>
                  </a:moveTo>
                  <a:cubicBezTo>
                    <a:pt x="0" y="317209"/>
                    <a:pt x="317209" y="0"/>
                    <a:pt x="708507" y="0"/>
                  </a:cubicBezTo>
                  <a:lnTo>
                    <a:pt x="6376564" y="0"/>
                  </a:lnTo>
                  <a:cubicBezTo>
                    <a:pt x="6767862" y="0"/>
                    <a:pt x="7085071" y="317209"/>
                    <a:pt x="7085071" y="708507"/>
                  </a:cubicBezTo>
                  <a:lnTo>
                    <a:pt x="7085071" y="10126004"/>
                  </a:lnTo>
                  <a:cubicBezTo>
                    <a:pt x="7085071" y="10517302"/>
                    <a:pt x="6767862" y="10834511"/>
                    <a:pt x="6376564" y="10834511"/>
                  </a:cubicBezTo>
                  <a:lnTo>
                    <a:pt x="708507" y="10834511"/>
                  </a:lnTo>
                  <a:cubicBezTo>
                    <a:pt x="317209" y="10834511"/>
                    <a:pt x="0" y="10517302"/>
                    <a:pt x="0" y="10126004"/>
                  </a:cubicBezTo>
                  <a:lnTo>
                    <a:pt x="0" y="708507"/>
                  </a:lnTo>
                  <a:close/>
                </a:path>
              </a:pathLst>
            </a:custGeom>
            <a:solidFill>
              <a:schemeClr val="accent4"/>
            </a:solidFill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86690" tIns="186690" rIns="186690" bIns="7770848" numCol="1" spcCol="1270" anchor="ctr" anchorCtr="0">
              <a:noAutofit/>
            </a:bodyPr>
            <a:lstStyle/>
            <a:p>
              <a:pPr algn="ctr" defTabSz="2178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4800" b="1" dirty="0" err="1">
                  <a:solidFill>
                    <a:schemeClr val="bg1"/>
                  </a:solidFill>
                </a:rPr>
                <a:t>Countermeasures</a:t>
              </a:r>
              <a:r>
                <a:rPr lang="de-DE" sz="4800" b="1" dirty="0">
                  <a:solidFill>
                    <a:schemeClr val="bg1"/>
                  </a:solidFill>
                </a:rPr>
                <a:t>/Impact:</a:t>
              </a:r>
              <a:endParaRPr lang="en-US" sz="48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897D4B8B-9F84-4F3E-9BD0-F04812DEFB16}"/>
                </a:ext>
              </a:extLst>
            </p:cNvPr>
            <p:cNvSpPr/>
            <p:nvPr/>
          </p:nvSpPr>
          <p:spPr>
            <a:xfrm>
              <a:off x="16971248" y="5570592"/>
              <a:ext cx="5668056" cy="1578357"/>
            </a:xfrm>
            <a:custGeom>
              <a:avLst/>
              <a:gdLst>
                <a:gd name="connsiteX0" fmla="*/ 0 w 5668056"/>
                <a:gd name="connsiteY0" fmla="*/ 157836 h 1578357"/>
                <a:gd name="connsiteX1" fmla="*/ 157836 w 5668056"/>
                <a:gd name="connsiteY1" fmla="*/ 0 h 1578357"/>
                <a:gd name="connsiteX2" fmla="*/ 5510220 w 5668056"/>
                <a:gd name="connsiteY2" fmla="*/ 0 h 1578357"/>
                <a:gd name="connsiteX3" fmla="*/ 5668056 w 5668056"/>
                <a:gd name="connsiteY3" fmla="*/ 157836 h 1578357"/>
                <a:gd name="connsiteX4" fmla="*/ 5668056 w 5668056"/>
                <a:gd name="connsiteY4" fmla="*/ 1420521 h 1578357"/>
                <a:gd name="connsiteX5" fmla="*/ 5510220 w 5668056"/>
                <a:gd name="connsiteY5" fmla="*/ 1578357 h 1578357"/>
                <a:gd name="connsiteX6" fmla="*/ 157836 w 5668056"/>
                <a:gd name="connsiteY6" fmla="*/ 1578357 h 1578357"/>
                <a:gd name="connsiteX7" fmla="*/ 0 w 5668056"/>
                <a:gd name="connsiteY7" fmla="*/ 1420521 h 1578357"/>
                <a:gd name="connsiteX8" fmla="*/ 0 w 5668056"/>
                <a:gd name="connsiteY8" fmla="*/ 157836 h 157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8056" h="1578357">
                  <a:moveTo>
                    <a:pt x="0" y="157836"/>
                  </a:moveTo>
                  <a:cubicBezTo>
                    <a:pt x="0" y="70666"/>
                    <a:pt x="70666" y="0"/>
                    <a:pt x="157836" y="0"/>
                  </a:cubicBezTo>
                  <a:lnTo>
                    <a:pt x="5510220" y="0"/>
                  </a:lnTo>
                  <a:cubicBezTo>
                    <a:pt x="5597390" y="0"/>
                    <a:pt x="5668056" y="70666"/>
                    <a:pt x="5668056" y="157836"/>
                  </a:cubicBezTo>
                  <a:lnTo>
                    <a:pt x="5668056" y="1420521"/>
                  </a:lnTo>
                  <a:cubicBezTo>
                    <a:pt x="5668056" y="1507691"/>
                    <a:pt x="5597390" y="1578357"/>
                    <a:pt x="5510220" y="1578357"/>
                  </a:cubicBezTo>
                  <a:lnTo>
                    <a:pt x="157836" y="1578357"/>
                  </a:lnTo>
                  <a:cubicBezTo>
                    <a:pt x="70666" y="1578357"/>
                    <a:pt x="0" y="1507691"/>
                    <a:pt x="0" y="1420521"/>
                  </a:cubicBezTo>
                  <a:lnTo>
                    <a:pt x="0" y="157836"/>
                  </a:lnTo>
                  <a:close/>
                </a:path>
              </a:pathLst>
            </a:custGeom>
            <a:solidFill>
              <a:schemeClr val="accent4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508" tIns="107188" rIns="127508" bIns="107188" numCol="1" spcCol="1270" anchor="ctr" anchorCtr="0">
              <a:noAutofit/>
            </a:bodyPr>
            <a:lstStyle/>
            <a:p>
              <a:pPr marL="0" lvl="0" indent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3200" b="1" dirty="0"/>
                <a:t>Best practice services are not easy to imitate</a:t>
              </a:r>
              <a:endParaRPr lang="en-US" sz="3200" b="1" kern="1200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2D96FCD-F7F7-47AC-AD7D-F4C22EA3E4B9}"/>
                </a:ext>
              </a:extLst>
            </p:cNvPr>
            <p:cNvSpPr/>
            <p:nvPr/>
          </p:nvSpPr>
          <p:spPr>
            <a:xfrm>
              <a:off x="16971248" y="7391774"/>
              <a:ext cx="5668056" cy="1578357"/>
            </a:xfrm>
            <a:custGeom>
              <a:avLst/>
              <a:gdLst>
                <a:gd name="connsiteX0" fmla="*/ 0 w 5668056"/>
                <a:gd name="connsiteY0" fmla="*/ 157836 h 1578357"/>
                <a:gd name="connsiteX1" fmla="*/ 157836 w 5668056"/>
                <a:gd name="connsiteY1" fmla="*/ 0 h 1578357"/>
                <a:gd name="connsiteX2" fmla="*/ 5510220 w 5668056"/>
                <a:gd name="connsiteY2" fmla="*/ 0 h 1578357"/>
                <a:gd name="connsiteX3" fmla="*/ 5668056 w 5668056"/>
                <a:gd name="connsiteY3" fmla="*/ 157836 h 1578357"/>
                <a:gd name="connsiteX4" fmla="*/ 5668056 w 5668056"/>
                <a:gd name="connsiteY4" fmla="*/ 1420521 h 1578357"/>
                <a:gd name="connsiteX5" fmla="*/ 5510220 w 5668056"/>
                <a:gd name="connsiteY5" fmla="*/ 1578357 h 1578357"/>
                <a:gd name="connsiteX6" fmla="*/ 157836 w 5668056"/>
                <a:gd name="connsiteY6" fmla="*/ 1578357 h 1578357"/>
                <a:gd name="connsiteX7" fmla="*/ 0 w 5668056"/>
                <a:gd name="connsiteY7" fmla="*/ 1420521 h 1578357"/>
                <a:gd name="connsiteX8" fmla="*/ 0 w 5668056"/>
                <a:gd name="connsiteY8" fmla="*/ 157836 h 157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8056" h="1578357">
                  <a:moveTo>
                    <a:pt x="0" y="157836"/>
                  </a:moveTo>
                  <a:cubicBezTo>
                    <a:pt x="0" y="70666"/>
                    <a:pt x="70666" y="0"/>
                    <a:pt x="157836" y="0"/>
                  </a:cubicBezTo>
                  <a:lnTo>
                    <a:pt x="5510220" y="0"/>
                  </a:lnTo>
                  <a:cubicBezTo>
                    <a:pt x="5597390" y="0"/>
                    <a:pt x="5668056" y="70666"/>
                    <a:pt x="5668056" y="157836"/>
                  </a:cubicBezTo>
                  <a:lnTo>
                    <a:pt x="5668056" y="1420521"/>
                  </a:lnTo>
                  <a:cubicBezTo>
                    <a:pt x="5668056" y="1507691"/>
                    <a:pt x="5597390" y="1578357"/>
                    <a:pt x="5510220" y="1578357"/>
                  </a:cubicBezTo>
                  <a:lnTo>
                    <a:pt x="157836" y="1578357"/>
                  </a:lnTo>
                  <a:cubicBezTo>
                    <a:pt x="70666" y="1578357"/>
                    <a:pt x="0" y="1507691"/>
                    <a:pt x="0" y="1420521"/>
                  </a:cubicBezTo>
                  <a:lnTo>
                    <a:pt x="0" y="157836"/>
                  </a:lnTo>
                  <a:close/>
                </a:path>
              </a:pathLst>
            </a:custGeom>
            <a:solidFill>
              <a:schemeClr val="accent4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508" tIns="107188" rIns="127508" bIns="107188" numCol="1" spcCol="1270" anchor="ctr" anchorCtr="0">
              <a:noAutofit/>
            </a:bodyPr>
            <a:lstStyle/>
            <a:p>
              <a:pPr marL="0" lvl="0" indent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3200" b="1" kern="1200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F76B8169-1B06-4D58-841E-6E091B505C9C}"/>
                </a:ext>
              </a:extLst>
            </p:cNvPr>
            <p:cNvSpPr/>
            <p:nvPr/>
          </p:nvSpPr>
          <p:spPr>
            <a:xfrm>
              <a:off x="16971248" y="9212956"/>
              <a:ext cx="5668056" cy="1578357"/>
            </a:xfrm>
            <a:custGeom>
              <a:avLst/>
              <a:gdLst>
                <a:gd name="connsiteX0" fmla="*/ 0 w 5668056"/>
                <a:gd name="connsiteY0" fmla="*/ 157836 h 1578357"/>
                <a:gd name="connsiteX1" fmla="*/ 157836 w 5668056"/>
                <a:gd name="connsiteY1" fmla="*/ 0 h 1578357"/>
                <a:gd name="connsiteX2" fmla="*/ 5510220 w 5668056"/>
                <a:gd name="connsiteY2" fmla="*/ 0 h 1578357"/>
                <a:gd name="connsiteX3" fmla="*/ 5668056 w 5668056"/>
                <a:gd name="connsiteY3" fmla="*/ 157836 h 1578357"/>
                <a:gd name="connsiteX4" fmla="*/ 5668056 w 5668056"/>
                <a:gd name="connsiteY4" fmla="*/ 1420521 h 1578357"/>
                <a:gd name="connsiteX5" fmla="*/ 5510220 w 5668056"/>
                <a:gd name="connsiteY5" fmla="*/ 1578357 h 1578357"/>
                <a:gd name="connsiteX6" fmla="*/ 157836 w 5668056"/>
                <a:gd name="connsiteY6" fmla="*/ 1578357 h 1578357"/>
                <a:gd name="connsiteX7" fmla="*/ 0 w 5668056"/>
                <a:gd name="connsiteY7" fmla="*/ 1420521 h 1578357"/>
                <a:gd name="connsiteX8" fmla="*/ 0 w 5668056"/>
                <a:gd name="connsiteY8" fmla="*/ 157836 h 157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8056" h="1578357">
                  <a:moveTo>
                    <a:pt x="0" y="157836"/>
                  </a:moveTo>
                  <a:cubicBezTo>
                    <a:pt x="0" y="70666"/>
                    <a:pt x="70666" y="0"/>
                    <a:pt x="157836" y="0"/>
                  </a:cubicBezTo>
                  <a:lnTo>
                    <a:pt x="5510220" y="0"/>
                  </a:lnTo>
                  <a:cubicBezTo>
                    <a:pt x="5597390" y="0"/>
                    <a:pt x="5668056" y="70666"/>
                    <a:pt x="5668056" y="157836"/>
                  </a:cubicBezTo>
                  <a:lnTo>
                    <a:pt x="5668056" y="1420521"/>
                  </a:lnTo>
                  <a:cubicBezTo>
                    <a:pt x="5668056" y="1507691"/>
                    <a:pt x="5597390" y="1578357"/>
                    <a:pt x="5510220" y="1578357"/>
                  </a:cubicBezTo>
                  <a:lnTo>
                    <a:pt x="157836" y="1578357"/>
                  </a:lnTo>
                  <a:cubicBezTo>
                    <a:pt x="70666" y="1578357"/>
                    <a:pt x="0" y="1507691"/>
                    <a:pt x="0" y="1420521"/>
                  </a:cubicBezTo>
                  <a:lnTo>
                    <a:pt x="0" y="157836"/>
                  </a:lnTo>
                  <a:close/>
                </a:path>
              </a:pathLst>
            </a:custGeom>
            <a:solidFill>
              <a:schemeClr val="accent4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508" tIns="107188" rIns="127508" bIns="107188" numCol="1" spcCol="1270" anchor="ctr" anchorCtr="0">
              <a:noAutofit/>
            </a:bodyPr>
            <a:lstStyle/>
            <a:p>
              <a:pPr marL="0" lvl="0" indent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3200" b="1" dirty="0"/>
                <a:t>Inhouse development, first mover advantage</a:t>
              </a:r>
              <a:endParaRPr lang="en-US" sz="3200" b="1" kern="1200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850F826D-2BAF-4FF9-AAEE-48C538760BD4}"/>
                </a:ext>
              </a:extLst>
            </p:cNvPr>
            <p:cNvSpPr/>
            <p:nvPr/>
          </p:nvSpPr>
          <p:spPr>
            <a:xfrm>
              <a:off x="16971248" y="11034138"/>
              <a:ext cx="5668056" cy="1578357"/>
            </a:xfrm>
            <a:custGeom>
              <a:avLst/>
              <a:gdLst>
                <a:gd name="connsiteX0" fmla="*/ 0 w 5668056"/>
                <a:gd name="connsiteY0" fmla="*/ 157836 h 1578357"/>
                <a:gd name="connsiteX1" fmla="*/ 157836 w 5668056"/>
                <a:gd name="connsiteY1" fmla="*/ 0 h 1578357"/>
                <a:gd name="connsiteX2" fmla="*/ 5510220 w 5668056"/>
                <a:gd name="connsiteY2" fmla="*/ 0 h 1578357"/>
                <a:gd name="connsiteX3" fmla="*/ 5668056 w 5668056"/>
                <a:gd name="connsiteY3" fmla="*/ 157836 h 1578357"/>
                <a:gd name="connsiteX4" fmla="*/ 5668056 w 5668056"/>
                <a:gd name="connsiteY4" fmla="*/ 1420521 h 1578357"/>
                <a:gd name="connsiteX5" fmla="*/ 5510220 w 5668056"/>
                <a:gd name="connsiteY5" fmla="*/ 1578357 h 1578357"/>
                <a:gd name="connsiteX6" fmla="*/ 157836 w 5668056"/>
                <a:gd name="connsiteY6" fmla="*/ 1578357 h 1578357"/>
                <a:gd name="connsiteX7" fmla="*/ 0 w 5668056"/>
                <a:gd name="connsiteY7" fmla="*/ 1420521 h 1578357"/>
                <a:gd name="connsiteX8" fmla="*/ 0 w 5668056"/>
                <a:gd name="connsiteY8" fmla="*/ 157836 h 157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8056" h="1578357">
                  <a:moveTo>
                    <a:pt x="0" y="157836"/>
                  </a:moveTo>
                  <a:cubicBezTo>
                    <a:pt x="0" y="70666"/>
                    <a:pt x="70666" y="0"/>
                    <a:pt x="157836" y="0"/>
                  </a:cubicBezTo>
                  <a:lnTo>
                    <a:pt x="5510220" y="0"/>
                  </a:lnTo>
                  <a:cubicBezTo>
                    <a:pt x="5597390" y="0"/>
                    <a:pt x="5668056" y="70666"/>
                    <a:pt x="5668056" y="157836"/>
                  </a:cubicBezTo>
                  <a:lnTo>
                    <a:pt x="5668056" y="1420521"/>
                  </a:lnTo>
                  <a:cubicBezTo>
                    <a:pt x="5668056" y="1507691"/>
                    <a:pt x="5597390" y="1578357"/>
                    <a:pt x="5510220" y="1578357"/>
                  </a:cubicBezTo>
                  <a:lnTo>
                    <a:pt x="157836" y="1578357"/>
                  </a:lnTo>
                  <a:cubicBezTo>
                    <a:pt x="70666" y="1578357"/>
                    <a:pt x="0" y="1507691"/>
                    <a:pt x="0" y="1420521"/>
                  </a:cubicBezTo>
                  <a:lnTo>
                    <a:pt x="0" y="157836"/>
                  </a:lnTo>
                  <a:close/>
                </a:path>
              </a:pathLst>
            </a:custGeom>
            <a:solidFill>
              <a:schemeClr val="accent4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508" tIns="107188" rIns="127508" bIns="107188" numCol="1" spcCol="1270" anchor="ctr" anchorCtr="0">
              <a:noAutofit/>
            </a:bodyPr>
            <a:lstStyle/>
            <a:p>
              <a:pPr marL="0" lvl="0" indent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3200" b="1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1021268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1">
            <a:extLst>
              <a:ext uri="{FF2B5EF4-FFF2-40B4-BE49-F238E27FC236}">
                <a16:creationId xmlns:a16="http://schemas.microsoft.com/office/drawing/2014/main" id="{1B446F67-5790-4367-B54E-C70DCA3E5D4B}"/>
              </a:ext>
            </a:extLst>
          </p:cNvPr>
          <p:cNvSpPr/>
          <p:nvPr/>
        </p:nvSpPr>
        <p:spPr>
          <a:xfrm>
            <a:off x="0" y="0"/>
            <a:ext cx="24377650" cy="13716002"/>
          </a:xfrm>
          <a:prstGeom prst="rect">
            <a:avLst/>
          </a:prstGeom>
          <a:solidFill>
            <a:srgbClr val="419F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115961" y="5199431"/>
            <a:ext cx="1980029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75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405391" y="7632000"/>
            <a:ext cx="166404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Agencie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296848" y="5192836"/>
            <a:ext cx="1980029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99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531293" y="7625405"/>
            <a:ext cx="15213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Project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3860767" y="5238143"/>
            <a:ext cx="287771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125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4356739" y="7670712"/>
            <a:ext cx="195476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Customers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20490494" y="5238143"/>
            <a:ext cx="1980029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13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0494345" y="7670712"/>
            <a:ext cx="178869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Countries</a:t>
            </a:r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5048742" y="5192836"/>
            <a:ext cx="1756385" cy="2859839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flipV="1">
            <a:off x="11417115" y="5192836"/>
            <a:ext cx="1756385" cy="2859839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V="1">
            <a:off x="17808265" y="5192836"/>
            <a:ext cx="1756385" cy="2859839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61E0B892-6969-4B92-8AF2-01120172C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  <a:ea typeface="Avenir Medium" charset="0"/>
                <a:cs typeface="Avenir Medium" charset="0"/>
              </a:rPr>
              <a:t>Key Numbers Blank</a:t>
            </a:r>
            <a:endParaRPr lang="de-DE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CFE377B-F59A-4966-8218-7A562AF306E8}"/>
              </a:ext>
            </a:extLst>
          </p:cNvPr>
          <p:cNvGrpSpPr/>
          <p:nvPr/>
        </p:nvGrpSpPr>
        <p:grpSpPr>
          <a:xfrm>
            <a:off x="7355717" y="10304667"/>
            <a:ext cx="9666217" cy="2617640"/>
            <a:chOff x="7441223" y="10323717"/>
            <a:chExt cx="9666217" cy="2617640"/>
          </a:xfrm>
        </p:grpSpPr>
        <p:sp>
          <p:nvSpPr>
            <p:cNvPr id="15" name="TextBox 5">
              <a:extLst>
                <a:ext uri="{FF2B5EF4-FFF2-40B4-BE49-F238E27FC236}">
                  <a16:creationId xmlns:a16="http://schemas.microsoft.com/office/drawing/2014/main" id="{93F1C46E-6F88-4415-B0AE-19A85FA28D7C}"/>
                </a:ext>
              </a:extLst>
            </p:cNvPr>
            <p:cNvSpPr txBox="1"/>
            <p:nvPr/>
          </p:nvSpPr>
          <p:spPr>
            <a:xfrm>
              <a:off x="7910119" y="10323717"/>
              <a:ext cx="8728425" cy="2143971"/>
            </a:xfrm>
            <a:prstGeom prst="rect">
              <a:avLst/>
            </a:prstGeom>
            <a:noFill/>
          </p:spPr>
          <p:txBody>
            <a:bodyPr wrap="none" lIns="74066" tIns="37033" rIns="74066" bIns="37033" rtlCol="0">
              <a:noAutofit/>
            </a:bodyPr>
            <a:lstStyle/>
            <a:p>
              <a:pPr algn="ctr"/>
              <a:r>
                <a:rPr lang="en-US" sz="13450" b="1" dirty="0">
                  <a:solidFill>
                    <a:schemeClr val="bg2"/>
                  </a:solidFill>
                  <a:latin typeface="Avenir Medium"/>
                  <a:ea typeface="Avenir Medium" charset="0"/>
                  <a:cs typeface="Avenir Medium" charset="0"/>
                </a:rPr>
                <a:t>THANK YOU</a:t>
              </a:r>
            </a:p>
          </p:txBody>
        </p:sp>
        <p:sp>
          <p:nvSpPr>
            <p:cNvPr id="17" name="TextBox 3">
              <a:extLst>
                <a:ext uri="{FF2B5EF4-FFF2-40B4-BE49-F238E27FC236}">
                  <a16:creationId xmlns:a16="http://schemas.microsoft.com/office/drawing/2014/main" id="{27B5F129-9688-4F6C-89BE-5AE02FEF06AB}"/>
                </a:ext>
              </a:extLst>
            </p:cNvPr>
            <p:cNvSpPr txBox="1"/>
            <p:nvPr/>
          </p:nvSpPr>
          <p:spPr>
            <a:xfrm>
              <a:off x="7441223" y="12467689"/>
              <a:ext cx="9666217" cy="473668"/>
            </a:xfrm>
            <a:prstGeom prst="rect">
              <a:avLst/>
            </a:prstGeom>
            <a:noFill/>
          </p:spPr>
          <p:txBody>
            <a:bodyPr wrap="square" lIns="74066" tIns="37033" rIns="74066" bIns="37033" rtlCol="0">
              <a:noAutofit/>
            </a:bodyPr>
            <a:lstStyle/>
            <a:p>
              <a:pPr algn="ctr"/>
              <a:r>
                <a:rPr lang="en-US" sz="2590" spc="300" dirty="0">
                  <a:solidFill>
                    <a:schemeClr val="bg2"/>
                  </a:solidFill>
                  <a:latin typeface="Avenir Medium"/>
                  <a:ea typeface="Avenir Book" charset="0"/>
                  <a:cs typeface="Avenir Book" charset="0"/>
                </a:rPr>
                <a:t>FOR YOUR ATTEN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218017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4258C89-E918-4AB2-BEEA-72EFCD7D0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erceptual</a:t>
            </a:r>
            <a:r>
              <a:rPr lang="de-DE" dirty="0"/>
              <a:t> </a:t>
            </a:r>
            <a:r>
              <a:rPr lang="de-DE" dirty="0" err="1"/>
              <a:t>Map</a:t>
            </a:r>
            <a:r>
              <a:rPr lang="de-DE" dirty="0"/>
              <a:t>: </a:t>
            </a:r>
            <a:r>
              <a:rPr lang="de-DE" dirty="0" err="1"/>
              <a:t>Creating</a:t>
            </a:r>
            <a:r>
              <a:rPr lang="de-DE" dirty="0"/>
              <a:t> a New Dimens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54C6AB1-D9D5-0148-B7C3-84D63E7486D4}"/>
              </a:ext>
            </a:extLst>
          </p:cNvPr>
          <p:cNvGrpSpPr/>
          <p:nvPr/>
        </p:nvGrpSpPr>
        <p:grpSpPr>
          <a:xfrm>
            <a:off x="4648200" y="2897188"/>
            <a:ext cx="14754922" cy="9339026"/>
            <a:chOff x="4648200" y="4023360"/>
            <a:chExt cx="12929196" cy="8212854"/>
          </a:xfrm>
        </p:grpSpPr>
        <p:cxnSp>
          <p:nvCxnSpPr>
            <p:cNvPr id="6" name="Gerade Verbindung mit Pfeil 5">
              <a:extLst>
                <a:ext uri="{FF2B5EF4-FFF2-40B4-BE49-F238E27FC236}">
                  <a16:creationId xmlns:a16="http://schemas.microsoft.com/office/drawing/2014/main" id="{33E4467E-A819-4602-BC56-07D7C137569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22745" y="4274820"/>
              <a:ext cx="0" cy="7128000"/>
            </a:xfrm>
            <a:prstGeom prst="straightConnector1">
              <a:avLst/>
            </a:prstGeom>
            <a:ln w="6286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mit Pfeil 7">
              <a:extLst>
                <a:ext uri="{FF2B5EF4-FFF2-40B4-BE49-F238E27FC236}">
                  <a16:creationId xmlns:a16="http://schemas.microsoft.com/office/drawing/2014/main" id="{F5584088-4D5E-41FF-8F8C-F5A08A863CC9}"/>
                </a:ext>
              </a:extLst>
            </p:cNvPr>
            <p:cNvCxnSpPr>
              <a:cxnSpLocks/>
            </p:cNvCxnSpPr>
            <p:nvPr/>
          </p:nvCxnSpPr>
          <p:spPr>
            <a:xfrm>
              <a:off x="6722745" y="11378565"/>
              <a:ext cx="8968740" cy="0"/>
            </a:xfrm>
            <a:prstGeom prst="straightConnector1">
              <a:avLst/>
            </a:prstGeom>
            <a:ln w="6286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5869D424-C027-4E9E-AC55-28384D5443E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22745" y="8340090"/>
              <a:ext cx="4065270" cy="3038475"/>
            </a:xfrm>
            <a:prstGeom prst="straightConnector1">
              <a:avLst/>
            </a:prstGeom>
            <a:ln w="6286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78DE9B95-D333-4918-B38F-6FA1E00D819E}"/>
                </a:ext>
              </a:extLst>
            </p:cNvPr>
            <p:cNvSpPr txBox="1"/>
            <p:nvPr/>
          </p:nvSpPr>
          <p:spPr>
            <a:xfrm>
              <a:off x="4648200" y="4023360"/>
              <a:ext cx="2556471" cy="710964"/>
            </a:xfrm>
            <a:prstGeom prst="rect">
              <a:avLst/>
            </a:prstGeom>
            <a:noFill/>
          </p:spPr>
          <p:txBody>
            <a:bodyPr wrap="square" lIns="100584" tIns="50292" rIns="100584" bIns="50292" rtlCol="0">
              <a:noAutofit/>
            </a:bodyPr>
            <a:lstStyle/>
            <a:p>
              <a:r>
                <a:rPr lang="de-DE" sz="3960" dirty="0"/>
                <a:t>Y-Achse 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4320B4B4-548F-4CAC-BA8E-BAC63EBC6D29}"/>
                </a:ext>
              </a:extLst>
            </p:cNvPr>
            <p:cNvSpPr txBox="1"/>
            <p:nvPr/>
          </p:nvSpPr>
          <p:spPr>
            <a:xfrm>
              <a:off x="15020925" y="11525250"/>
              <a:ext cx="2556471" cy="710964"/>
            </a:xfrm>
            <a:prstGeom prst="rect">
              <a:avLst/>
            </a:prstGeom>
            <a:noFill/>
          </p:spPr>
          <p:txBody>
            <a:bodyPr wrap="square" lIns="100584" tIns="50292" rIns="100584" bIns="50292" rtlCol="0">
              <a:noAutofit/>
            </a:bodyPr>
            <a:lstStyle/>
            <a:p>
              <a:r>
                <a:rPr lang="de-DE" sz="3960" dirty="0"/>
                <a:t>X-Achse </a:t>
              </a:r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A6E172B9-DA16-4BC1-9DEB-36AE2F0D93D1}"/>
                </a:ext>
              </a:extLst>
            </p:cNvPr>
            <p:cNvSpPr txBox="1"/>
            <p:nvPr/>
          </p:nvSpPr>
          <p:spPr>
            <a:xfrm>
              <a:off x="9928879" y="7629126"/>
              <a:ext cx="2556471" cy="710964"/>
            </a:xfrm>
            <a:prstGeom prst="rect">
              <a:avLst/>
            </a:prstGeom>
            <a:noFill/>
          </p:spPr>
          <p:txBody>
            <a:bodyPr wrap="square" lIns="100584" tIns="50292" rIns="100584" bIns="50292" rtlCol="0">
              <a:noAutofit/>
            </a:bodyPr>
            <a:lstStyle/>
            <a:p>
              <a:r>
                <a:rPr lang="de-DE" sz="3960" dirty="0"/>
                <a:t>Z-Achs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69093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54570-024D-744F-82A9-EE2AFF702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Key </a:t>
            </a:r>
            <a:r>
              <a:rPr lang="es-ES" dirty="0" err="1"/>
              <a:t>Issues</a:t>
            </a:r>
            <a:r>
              <a:rPr lang="es-ES" dirty="0"/>
              <a:t> to be </a:t>
            </a:r>
            <a:r>
              <a:rPr lang="es-ES" dirty="0" err="1"/>
              <a:t>Considered</a:t>
            </a:r>
            <a:endParaRPr lang="es-E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887879F-7CB0-D843-8ED8-CB6829DFB76F}"/>
              </a:ext>
            </a:extLst>
          </p:cNvPr>
          <p:cNvGrpSpPr/>
          <p:nvPr/>
        </p:nvGrpSpPr>
        <p:grpSpPr>
          <a:xfrm>
            <a:off x="1190181" y="3981789"/>
            <a:ext cx="21688868" cy="7971182"/>
            <a:chOff x="657846" y="2908363"/>
            <a:chExt cx="18738057" cy="7971182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253FE405-B100-FF4A-A342-96B237113DDC}"/>
                </a:ext>
              </a:extLst>
            </p:cNvPr>
            <p:cNvSpPr/>
            <p:nvPr/>
          </p:nvSpPr>
          <p:spPr>
            <a:xfrm>
              <a:off x="657846" y="3485872"/>
              <a:ext cx="7759970" cy="6819833"/>
            </a:xfrm>
            <a:custGeom>
              <a:avLst/>
              <a:gdLst>
                <a:gd name="connsiteX0" fmla="*/ 0 w 3702386"/>
                <a:gd name="connsiteY0" fmla="*/ 0 h 949958"/>
                <a:gd name="connsiteX1" fmla="*/ 3702386 w 3702386"/>
                <a:gd name="connsiteY1" fmla="*/ 0 h 949958"/>
                <a:gd name="connsiteX2" fmla="*/ 3702386 w 3702386"/>
                <a:gd name="connsiteY2" fmla="*/ 949958 h 949958"/>
                <a:gd name="connsiteX3" fmla="*/ 0 w 3702386"/>
                <a:gd name="connsiteY3" fmla="*/ 949958 h 949958"/>
                <a:gd name="connsiteX4" fmla="*/ 0 w 3702386"/>
                <a:gd name="connsiteY4" fmla="*/ 0 h 94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2386" h="949958">
                  <a:moveTo>
                    <a:pt x="0" y="0"/>
                  </a:moveTo>
                  <a:lnTo>
                    <a:pt x="3702386" y="0"/>
                  </a:lnTo>
                  <a:lnTo>
                    <a:pt x="3702386" y="949958"/>
                  </a:lnTo>
                  <a:lnTo>
                    <a:pt x="0" y="9499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rgbClr val="F9F9F9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03999" tIns="108000" rIns="216000" bIns="108000" numCol="1" spcCol="1270" anchor="ctr" anchorCtr="0">
              <a:noAutofit/>
            </a:bodyPr>
            <a:lstStyle/>
            <a:p>
              <a:pPr defTabSz="300118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200" b="1" dirty="0">
                  <a:latin typeface="Avenir Medium"/>
                  <a:ea typeface="Avenir Book" charset="0"/>
                  <a:cs typeface="Avenir Book" charset="0"/>
                </a:rPr>
                <a:t>Remember…</a:t>
              </a:r>
            </a:p>
            <a:p>
              <a:pPr marL="457200" indent="-457200" defTabSz="300118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3200" dirty="0">
                  <a:latin typeface="Avenir Medium"/>
                  <a:ea typeface="Avenir Book" charset="0"/>
                  <a:cs typeface="Avenir Book" charset="0"/>
                </a:rPr>
                <a:t>Maintain </a:t>
              </a:r>
              <a:r>
                <a:rPr lang="en-US" sz="3200" b="1" dirty="0">
                  <a:latin typeface="Avenir Medium"/>
                  <a:ea typeface="Avenir Book" charset="0"/>
                  <a:cs typeface="Avenir Book" charset="0"/>
                </a:rPr>
                <a:t>Price Leadership</a:t>
              </a:r>
            </a:p>
            <a:p>
              <a:pPr marL="457200" indent="-457200" defTabSz="300118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3200" dirty="0">
                  <a:latin typeface="Avenir Medium"/>
                  <a:ea typeface="Avenir Book" charset="0"/>
                  <a:cs typeface="Avenir Book" charset="0"/>
                </a:rPr>
                <a:t>Focus on </a:t>
              </a:r>
              <a:r>
                <a:rPr lang="en-US" sz="3200" b="1" dirty="0">
                  <a:latin typeface="Avenir Medium"/>
                  <a:ea typeface="Avenir Book" charset="0"/>
                  <a:cs typeface="Avenir Book" charset="0"/>
                </a:rPr>
                <a:t>Innovation</a:t>
              </a:r>
            </a:p>
            <a:p>
              <a:pPr marL="457200" indent="-457200" defTabSz="300118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3200" dirty="0">
                  <a:latin typeface="Avenir Medium"/>
                  <a:ea typeface="Avenir Book" charset="0"/>
                  <a:cs typeface="Avenir Book" charset="0"/>
                </a:rPr>
                <a:t>Implement globally </a:t>
              </a:r>
              <a:r>
                <a:rPr lang="en-US" sz="3200" b="1" dirty="0">
                  <a:latin typeface="Avenir Medium"/>
                  <a:ea typeface="Avenir Book" charset="0"/>
                  <a:cs typeface="Avenir Book" charset="0"/>
                </a:rPr>
                <a:t>Feasible Solutions</a:t>
              </a:r>
            </a:p>
            <a:p>
              <a:pPr marL="457200" indent="-457200" defTabSz="300118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3200" b="1" dirty="0">
                  <a:latin typeface="Avenir Medium"/>
                  <a:ea typeface="Avenir Book" charset="0"/>
                  <a:cs typeface="Avenir Book" charset="0"/>
                </a:rPr>
                <a:t>Expand Customer Experience </a:t>
              </a:r>
              <a:r>
                <a:rPr lang="en-US" sz="3200" dirty="0">
                  <a:latin typeface="Avenir Medium"/>
                  <a:ea typeface="Avenir Book" charset="0"/>
                  <a:cs typeface="Avenir Book" charset="0"/>
                </a:rPr>
                <a:t>in Brick &amp; Mortar Stores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E573ED2-B737-5E40-883A-1834B9BDE971}"/>
                </a:ext>
              </a:extLst>
            </p:cNvPr>
            <p:cNvGrpSpPr/>
            <p:nvPr/>
          </p:nvGrpSpPr>
          <p:grpSpPr>
            <a:xfrm>
              <a:off x="10336696" y="2908363"/>
              <a:ext cx="9059207" cy="7971182"/>
              <a:chOff x="8432345" y="3732656"/>
              <a:chExt cx="9059207" cy="7971182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27406A23-C34C-F04D-BD6F-BBBFB7BD8471}"/>
                  </a:ext>
                </a:extLst>
              </p:cNvPr>
              <p:cNvSpPr/>
              <p:nvPr/>
            </p:nvSpPr>
            <p:spPr>
              <a:xfrm>
                <a:off x="8432345" y="5506401"/>
                <a:ext cx="7712765" cy="155050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4000" dirty="0">
                    <a:latin typeface="Avenir Medium"/>
                  </a:rPr>
                  <a:t>Profitability</a:t>
                </a: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15E04A26-C43D-E649-9404-DE2938AE6805}"/>
                  </a:ext>
                </a:extLst>
              </p:cNvPr>
              <p:cNvSpPr/>
              <p:nvPr/>
            </p:nvSpPr>
            <p:spPr>
              <a:xfrm>
                <a:off x="8432345" y="7057821"/>
                <a:ext cx="7712765" cy="155050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4000" dirty="0">
                    <a:latin typeface="Avenir Medium"/>
                  </a:rPr>
                  <a:t>Innovation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6E9F15BC-664D-8244-AF31-2343A79032BC}"/>
                  </a:ext>
                </a:extLst>
              </p:cNvPr>
              <p:cNvSpPr/>
              <p:nvPr/>
            </p:nvSpPr>
            <p:spPr>
              <a:xfrm>
                <a:off x="8432345" y="8606493"/>
                <a:ext cx="7712765" cy="155050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4000" dirty="0">
                    <a:latin typeface="Avenir Medium"/>
                  </a:rPr>
                  <a:t>Feasibility</a:t>
                </a: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9BD1C18A-4662-E442-8CBB-539B35C1A3D1}"/>
                  </a:ext>
                </a:extLst>
              </p:cNvPr>
              <p:cNvSpPr/>
              <p:nvPr/>
            </p:nvSpPr>
            <p:spPr>
              <a:xfrm>
                <a:off x="8432345" y="10153334"/>
                <a:ext cx="9059207" cy="155050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4000" dirty="0">
                    <a:latin typeface="Avenir Medium"/>
                  </a:rPr>
                  <a:t>Customer Orientation</a:t>
                </a:r>
              </a:p>
            </p:txBody>
          </p:sp>
          <p:sp>
            <p:nvSpPr>
              <p:cNvPr id="13" name="Rectangle 5">
                <a:extLst>
                  <a:ext uri="{FF2B5EF4-FFF2-40B4-BE49-F238E27FC236}">
                    <a16:creationId xmlns:a16="http://schemas.microsoft.com/office/drawing/2014/main" id="{144D38DD-E813-43DD-A420-3D6E1A5B93BE}"/>
                  </a:ext>
                </a:extLst>
              </p:cNvPr>
              <p:cNvSpPr/>
              <p:nvPr/>
            </p:nvSpPr>
            <p:spPr>
              <a:xfrm>
                <a:off x="8432345" y="3732656"/>
                <a:ext cx="9059207" cy="15516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4000" b="1" dirty="0">
                    <a:latin typeface="Avenir Medium"/>
                  </a:rPr>
                  <a:t>Key Issues</a:t>
                </a:r>
              </a:p>
            </p:txBody>
          </p:sp>
          <p:sp>
            <p:nvSpPr>
              <p:cNvPr id="14" name="Rectangle 6">
                <a:extLst>
                  <a:ext uri="{FF2B5EF4-FFF2-40B4-BE49-F238E27FC236}">
                    <a16:creationId xmlns:a16="http://schemas.microsoft.com/office/drawing/2014/main" id="{6114E38A-0380-4D4D-A85B-6E25B5BA4679}"/>
                  </a:ext>
                </a:extLst>
              </p:cNvPr>
              <p:cNvSpPr/>
              <p:nvPr/>
            </p:nvSpPr>
            <p:spPr>
              <a:xfrm>
                <a:off x="8432345" y="5502738"/>
                <a:ext cx="9059207" cy="155050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4000" dirty="0">
                    <a:latin typeface="Avenir Medium"/>
                  </a:rPr>
                  <a:t>Profitability</a:t>
                </a:r>
              </a:p>
            </p:txBody>
          </p:sp>
          <p:sp>
            <p:nvSpPr>
              <p:cNvPr id="15" name="Rectangle 7">
                <a:extLst>
                  <a:ext uri="{FF2B5EF4-FFF2-40B4-BE49-F238E27FC236}">
                    <a16:creationId xmlns:a16="http://schemas.microsoft.com/office/drawing/2014/main" id="{F1AF0249-F9A2-474D-AF5D-1F3EF5244610}"/>
                  </a:ext>
                </a:extLst>
              </p:cNvPr>
              <p:cNvSpPr/>
              <p:nvPr/>
            </p:nvSpPr>
            <p:spPr>
              <a:xfrm>
                <a:off x="8432345" y="7054158"/>
                <a:ext cx="9059207" cy="155050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4000" dirty="0">
                    <a:latin typeface="Avenir Medium"/>
                  </a:rPr>
                  <a:t>Innovation</a:t>
                </a:r>
              </a:p>
            </p:txBody>
          </p:sp>
          <p:sp>
            <p:nvSpPr>
              <p:cNvPr id="16" name="Rectangle 8">
                <a:extLst>
                  <a:ext uri="{FF2B5EF4-FFF2-40B4-BE49-F238E27FC236}">
                    <a16:creationId xmlns:a16="http://schemas.microsoft.com/office/drawing/2014/main" id="{66C2E976-DFF2-45B7-8689-CD6EDF182921}"/>
                  </a:ext>
                </a:extLst>
              </p:cNvPr>
              <p:cNvSpPr/>
              <p:nvPr/>
            </p:nvSpPr>
            <p:spPr>
              <a:xfrm>
                <a:off x="8432345" y="8602830"/>
                <a:ext cx="9059207" cy="155050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4000" dirty="0">
                    <a:latin typeface="Avenir Medium"/>
                  </a:rPr>
                  <a:t>Feasibility</a:t>
                </a:r>
              </a:p>
            </p:txBody>
          </p:sp>
        </p:grpSp>
        <p:sp>
          <p:nvSpPr>
            <p:cNvPr id="11" name="Triangle 10">
              <a:extLst>
                <a:ext uri="{FF2B5EF4-FFF2-40B4-BE49-F238E27FC236}">
                  <a16:creationId xmlns:a16="http://schemas.microsoft.com/office/drawing/2014/main" id="{88D65DAF-F9D6-C942-BDBF-3C24C092568F}"/>
                </a:ext>
              </a:extLst>
            </p:cNvPr>
            <p:cNvSpPr/>
            <p:nvPr/>
          </p:nvSpPr>
          <p:spPr>
            <a:xfrm rot="5400000">
              <a:off x="5967339" y="6472275"/>
              <a:ext cx="6819833" cy="847028"/>
            </a:xfrm>
            <a:prstGeom prst="triangl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97511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quare Cluster</a:t>
            </a:r>
          </a:p>
        </p:txBody>
      </p:sp>
      <p:sp>
        <p:nvSpPr>
          <p:cNvPr id="3" name="Diamond 2"/>
          <p:cNvSpPr/>
          <p:nvPr/>
        </p:nvSpPr>
        <p:spPr>
          <a:xfrm>
            <a:off x="5628203" y="6434248"/>
            <a:ext cx="4949298" cy="4949298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" name="Diamond 3"/>
          <p:cNvSpPr/>
          <p:nvPr/>
        </p:nvSpPr>
        <p:spPr>
          <a:xfrm>
            <a:off x="2886847" y="3715194"/>
            <a:ext cx="4949298" cy="4949298"/>
          </a:xfrm>
          <a:prstGeom prst="diamond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" name="Diamond 4"/>
          <p:cNvSpPr/>
          <p:nvPr/>
        </p:nvSpPr>
        <p:spPr>
          <a:xfrm>
            <a:off x="13852271" y="3715194"/>
            <a:ext cx="4949298" cy="4949298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6" name="Diamond 5"/>
          <p:cNvSpPr/>
          <p:nvPr/>
        </p:nvSpPr>
        <p:spPr>
          <a:xfrm>
            <a:off x="16593627" y="6434248"/>
            <a:ext cx="4949298" cy="4949298"/>
          </a:xfrm>
          <a:prstGeom prst="diamon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7" name="Diamond 6"/>
          <p:cNvSpPr/>
          <p:nvPr/>
        </p:nvSpPr>
        <p:spPr>
          <a:xfrm>
            <a:off x="11110915" y="6434248"/>
            <a:ext cx="4949298" cy="4949298"/>
          </a:xfrm>
          <a:prstGeom prst="diamond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8" name="Diamond 7"/>
          <p:cNvSpPr/>
          <p:nvPr/>
        </p:nvSpPr>
        <p:spPr>
          <a:xfrm>
            <a:off x="8369559" y="3715194"/>
            <a:ext cx="4949298" cy="4949298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105070" y="6007139"/>
            <a:ext cx="3459339" cy="1436291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>
              <a:lnSpc>
                <a:spcPts val="3466"/>
              </a:lnSpc>
              <a:spcAft>
                <a:spcPts val="533"/>
              </a:spcAft>
            </a:pPr>
            <a:r>
              <a:rPr lang="en-US" sz="27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Advertising</a:t>
            </a:r>
          </a:p>
          <a:p>
            <a:pPr algn="ctr">
              <a:lnSpc>
                <a:spcPts val="3633"/>
              </a:lnSpc>
            </a:pPr>
            <a:r>
              <a:rPr lang="en-US" sz="24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Tools that allow people companies to create</a:t>
            </a:r>
            <a:endParaRPr lang="en-US" sz="2300" dirty="0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4552783" y="6007139"/>
            <a:ext cx="3459339" cy="1436291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>
              <a:lnSpc>
                <a:spcPts val="3466"/>
              </a:lnSpc>
              <a:spcAft>
                <a:spcPts val="533"/>
              </a:spcAft>
            </a:pPr>
            <a:r>
              <a:rPr lang="en-US" sz="27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Layers</a:t>
            </a:r>
          </a:p>
          <a:p>
            <a:pPr algn="ctr">
              <a:lnSpc>
                <a:spcPts val="3633"/>
              </a:lnSpc>
            </a:pPr>
            <a:r>
              <a:rPr lang="en-US" sz="24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Tools that allow people companies to create</a:t>
            </a:r>
            <a:endParaRPr lang="en-US" sz="2300" dirty="0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54016" y="8588411"/>
            <a:ext cx="3459339" cy="1436291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>
              <a:lnSpc>
                <a:spcPts val="3466"/>
              </a:lnSpc>
              <a:spcAft>
                <a:spcPts val="533"/>
              </a:spcAft>
            </a:pPr>
            <a:r>
              <a:rPr lang="en-US" sz="27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Support</a:t>
            </a:r>
          </a:p>
          <a:p>
            <a:pPr algn="ctr">
              <a:lnSpc>
                <a:spcPts val="3633"/>
              </a:lnSpc>
            </a:pPr>
            <a:r>
              <a:rPr lang="en-US" sz="24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Tools that allow people companies to create</a:t>
            </a:r>
            <a:endParaRPr lang="en-US" sz="2300" dirty="0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7314340" y="8588411"/>
            <a:ext cx="3459339" cy="1436291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>
              <a:lnSpc>
                <a:spcPts val="3466"/>
              </a:lnSpc>
              <a:spcAft>
                <a:spcPts val="533"/>
              </a:spcAft>
            </a:pPr>
            <a:r>
              <a:rPr lang="en-US" sz="27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E-mailing</a:t>
            </a:r>
          </a:p>
          <a:p>
            <a:pPr algn="ctr">
              <a:lnSpc>
                <a:spcPts val="3633"/>
              </a:lnSpc>
            </a:pPr>
            <a:r>
              <a:rPr lang="en-US" sz="24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Tools that allow people companies to create</a:t>
            </a:r>
            <a:endParaRPr lang="en-US" sz="2300" dirty="0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614991" y="6007139"/>
            <a:ext cx="3459339" cy="1436291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>
              <a:lnSpc>
                <a:spcPts val="3466"/>
              </a:lnSpc>
              <a:spcAft>
                <a:spcPts val="533"/>
              </a:spcAft>
            </a:pPr>
            <a:r>
              <a:rPr lang="en-US" sz="27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Structure</a:t>
            </a:r>
          </a:p>
          <a:p>
            <a:pPr algn="ctr">
              <a:lnSpc>
                <a:spcPts val="3633"/>
              </a:lnSpc>
            </a:pPr>
            <a:r>
              <a:rPr lang="en-US" sz="24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Tools that allow people companies to create</a:t>
            </a:r>
            <a:endParaRPr lang="en-US" sz="2300" dirty="0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4" name="Shape 2690"/>
          <p:cNvSpPr/>
          <p:nvPr/>
        </p:nvSpPr>
        <p:spPr>
          <a:xfrm>
            <a:off x="10357933" y="4645561"/>
            <a:ext cx="953612" cy="8669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880"/>
                </a:moveTo>
                <a:cubicBezTo>
                  <a:pt x="20618" y="12476"/>
                  <a:pt x="20178" y="12960"/>
                  <a:pt x="19636" y="12960"/>
                </a:cubicBezTo>
                <a:lnTo>
                  <a:pt x="19636" y="8640"/>
                </a:lnTo>
                <a:cubicBezTo>
                  <a:pt x="20178" y="8640"/>
                  <a:pt x="20618" y="9124"/>
                  <a:pt x="20618" y="9720"/>
                </a:cubicBezTo>
                <a:cubicBezTo>
                  <a:pt x="20618" y="9720"/>
                  <a:pt x="20618" y="11880"/>
                  <a:pt x="20618" y="11880"/>
                </a:cubicBezTo>
                <a:close/>
                <a:moveTo>
                  <a:pt x="18655" y="19980"/>
                </a:moveTo>
                <a:cubicBezTo>
                  <a:pt x="18655" y="20279"/>
                  <a:pt x="18434" y="20520"/>
                  <a:pt x="18164" y="20520"/>
                </a:cubicBezTo>
                <a:cubicBezTo>
                  <a:pt x="17893" y="20520"/>
                  <a:pt x="17673" y="20279"/>
                  <a:pt x="17673" y="19980"/>
                </a:cubicBezTo>
                <a:lnTo>
                  <a:pt x="17673" y="1620"/>
                </a:lnTo>
                <a:cubicBezTo>
                  <a:pt x="17673" y="1322"/>
                  <a:pt x="17893" y="1080"/>
                  <a:pt x="18164" y="1080"/>
                </a:cubicBezTo>
                <a:cubicBezTo>
                  <a:pt x="18434" y="1080"/>
                  <a:pt x="18655" y="1322"/>
                  <a:pt x="18655" y="1620"/>
                </a:cubicBezTo>
                <a:cubicBezTo>
                  <a:pt x="18655" y="1620"/>
                  <a:pt x="18655" y="19980"/>
                  <a:pt x="18655" y="19980"/>
                </a:cubicBezTo>
                <a:close/>
                <a:moveTo>
                  <a:pt x="16691" y="18404"/>
                </a:moveTo>
                <a:lnTo>
                  <a:pt x="2944" y="13512"/>
                </a:lnTo>
                <a:cubicBezTo>
                  <a:pt x="2944" y="13508"/>
                  <a:pt x="2945" y="13504"/>
                  <a:pt x="2945" y="13500"/>
                </a:cubicBezTo>
                <a:lnTo>
                  <a:pt x="2945" y="8100"/>
                </a:lnTo>
                <a:cubicBezTo>
                  <a:pt x="2945" y="8096"/>
                  <a:pt x="2944" y="8093"/>
                  <a:pt x="2944" y="8089"/>
                </a:cubicBezTo>
                <a:lnTo>
                  <a:pt x="16691" y="3197"/>
                </a:lnTo>
                <a:cubicBezTo>
                  <a:pt x="16691" y="3197"/>
                  <a:pt x="16691" y="18404"/>
                  <a:pt x="16691" y="18404"/>
                </a:cubicBezTo>
                <a:close/>
                <a:moveTo>
                  <a:pt x="12480" y="18725"/>
                </a:moveTo>
                <a:cubicBezTo>
                  <a:pt x="12316" y="19294"/>
                  <a:pt x="11764" y="19608"/>
                  <a:pt x="11247" y="19428"/>
                </a:cubicBezTo>
                <a:lnTo>
                  <a:pt x="6102" y="17625"/>
                </a:lnTo>
                <a:cubicBezTo>
                  <a:pt x="5585" y="17444"/>
                  <a:pt x="5299" y="16837"/>
                  <a:pt x="5464" y="16269"/>
                </a:cubicBezTo>
                <a:lnTo>
                  <a:pt x="5654" y="15610"/>
                </a:lnTo>
                <a:lnTo>
                  <a:pt x="12661" y="18104"/>
                </a:lnTo>
                <a:cubicBezTo>
                  <a:pt x="12661" y="18104"/>
                  <a:pt x="12480" y="18725"/>
                  <a:pt x="12480" y="18725"/>
                </a:cubicBezTo>
                <a:close/>
                <a:moveTo>
                  <a:pt x="1964" y="13500"/>
                </a:moveTo>
                <a:lnTo>
                  <a:pt x="982" y="13500"/>
                </a:lnTo>
                <a:lnTo>
                  <a:pt x="982" y="8100"/>
                </a:lnTo>
                <a:lnTo>
                  <a:pt x="1964" y="8100"/>
                </a:lnTo>
                <a:cubicBezTo>
                  <a:pt x="1964" y="8100"/>
                  <a:pt x="1964" y="13500"/>
                  <a:pt x="1964" y="13500"/>
                </a:cubicBezTo>
                <a:close/>
                <a:moveTo>
                  <a:pt x="19636" y="7560"/>
                </a:moveTo>
                <a:lnTo>
                  <a:pt x="19636" y="1620"/>
                </a:lnTo>
                <a:cubicBezTo>
                  <a:pt x="19636" y="725"/>
                  <a:pt x="18977" y="0"/>
                  <a:pt x="18164" y="0"/>
                </a:cubicBezTo>
                <a:cubicBezTo>
                  <a:pt x="17350" y="0"/>
                  <a:pt x="16691" y="725"/>
                  <a:pt x="16691" y="1620"/>
                </a:cubicBezTo>
                <a:lnTo>
                  <a:pt x="16691" y="2062"/>
                </a:lnTo>
                <a:lnTo>
                  <a:pt x="2411" y="7144"/>
                </a:lnTo>
                <a:cubicBezTo>
                  <a:pt x="2276" y="7067"/>
                  <a:pt x="2126" y="7020"/>
                  <a:pt x="1964" y="7020"/>
                </a:cubicBezTo>
                <a:lnTo>
                  <a:pt x="982" y="7020"/>
                </a:lnTo>
                <a:cubicBezTo>
                  <a:pt x="440" y="7020"/>
                  <a:pt x="0" y="7504"/>
                  <a:pt x="0" y="8100"/>
                </a:cubicBezTo>
                <a:lnTo>
                  <a:pt x="0" y="13500"/>
                </a:lnTo>
                <a:cubicBezTo>
                  <a:pt x="0" y="14097"/>
                  <a:pt x="440" y="14580"/>
                  <a:pt x="982" y="14580"/>
                </a:cubicBezTo>
                <a:lnTo>
                  <a:pt x="1964" y="14580"/>
                </a:lnTo>
                <a:cubicBezTo>
                  <a:pt x="2126" y="14580"/>
                  <a:pt x="2276" y="14533"/>
                  <a:pt x="2411" y="14457"/>
                </a:cubicBezTo>
                <a:lnTo>
                  <a:pt x="4720" y="15278"/>
                </a:lnTo>
                <a:lnTo>
                  <a:pt x="4529" y="15941"/>
                </a:lnTo>
                <a:cubicBezTo>
                  <a:pt x="4199" y="17078"/>
                  <a:pt x="4770" y="18292"/>
                  <a:pt x="5803" y="18654"/>
                </a:cubicBezTo>
                <a:lnTo>
                  <a:pt x="10949" y="20456"/>
                </a:lnTo>
                <a:cubicBezTo>
                  <a:pt x="11983" y="20819"/>
                  <a:pt x="13087" y="20190"/>
                  <a:pt x="13416" y="19053"/>
                </a:cubicBezTo>
                <a:lnTo>
                  <a:pt x="13595" y="18437"/>
                </a:lnTo>
                <a:lnTo>
                  <a:pt x="16691" y="19538"/>
                </a:lnTo>
                <a:lnTo>
                  <a:pt x="16691" y="19980"/>
                </a:lnTo>
                <a:cubicBezTo>
                  <a:pt x="16691" y="20875"/>
                  <a:pt x="17350" y="21600"/>
                  <a:pt x="18164" y="21600"/>
                </a:cubicBezTo>
                <a:cubicBezTo>
                  <a:pt x="18977" y="21600"/>
                  <a:pt x="19636" y="20875"/>
                  <a:pt x="19636" y="19980"/>
                </a:cubicBezTo>
                <a:lnTo>
                  <a:pt x="19636" y="14040"/>
                </a:lnTo>
                <a:cubicBezTo>
                  <a:pt x="20721" y="14040"/>
                  <a:pt x="21600" y="13073"/>
                  <a:pt x="21600" y="11880"/>
                </a:cubicBezTo>
                <a:lnTo>
                  <a:pt x="21600" y="9720"/>
                </a:lnTo>
                <a:cubicBezTo>
                  <a:pt x="21600" y="8527"/>
                  <a:pt x="20721" y="7560"/>
                  <a:pt x="19636" y="756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5" name="Shape 2783"/>
          <p:cNvSpPr/>
          <p:nvPr/>
        </p:nvSpPr>
        <p:spPr>
          <a:xfrm>
            <a:off x="15869231" y="4796643"/>
            <a:ext cx="953614" cy="823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855"/>
                </a:moveTo>
                <a:lnTo>
                  <a:pt x="1633" y="10800"/>
                </a:lnTo>
                <a:lnTo>
                  <a:pt x="4615" y="9156"/>
                </a:lnTo>
                <a:lnTo>
                  <a:pt x="10589" y="12450"/>
                </a:lnTo>
                <a:lnTo>
                  <a:pt x="10591" y="12446"/>
                </a:lnTo>
                <a:cubicBezTo>
                  <a:pt x="10654" y="12482"/>
                  <a:pt x="10724" y="12505"/>
                  <a:pt x="10800" y="12505"/>
                </a:cubicBezTo>
                <a:cubicBezTo>
                  <a:pt x="10876" y="12505"/>
                  <a:pt x="10946" y="12482"/>
                  <a:pt x="11009" y="12446"/>
                </a:cubicBezTo>
                <a:lnTo>
                  <a:pt x="11011" y="12450"/>
                </a:lnTo>
                <a:lnTo>
                  <a:pt x="16985" y="9156"/>
                </a:lnTo>
                <a:lnTo>
                  <a:pt x="19967" y="10800"/>
                </a:lnTo>
                <a:cubicBezTo>
                  <a:pt x="19967" y="10800"/>
                  <a:pt x="10800" y="15855"/>
                  <a:pt x="10800" y="15855"/>
                </a:cubicBezTo>
                <a:close/>
                <a:moveTo>
                  <a:pt x="19967" y="15347"/>
                </a:moveTo>
                <a:lnTo>
                  <a:pt x="10800" y="20402"/>
                </a:lnTo>
                <a:lnTo>
                  <a:pt x="1633" y="15347"/>
                </a:lnTo>
                <a:lnTo>
                  <a:pt x="4615" y="13703"/>
                </a:lnTo>
                <a:lnTo>
                  <a:pt x="10589" y="16997"/>
                </a:lnTo>
                <a:lnTo>
                  <a:pt x="10591" y="16994"/>
                </a:lnTo>
                <a:cubicBezTo>
                  <a:pt x="10654" y="17029"/>
                  <a:pt x="10724" y="17053"/>
                  <a:pt x="10800" y="17053"/>
                </a:cubicBezTo>
                <a:cubicBezTo>
                  <a:pt x="10876" y="17053"/>
                  <a:pt x="10946" y="17029"/>
                  <a:pt x="11009" y="16994"/>
                </a:cubicBezTo>
                <a:lnTo>
                  <a:pt x="11011" y="16997"/>
                </a:lnTo>
                <a:lnTo>
                  <a:pt x="16985" y="13703"/>
                </a:lnTo>
                <a:cubicBezTo>
                  <a:pt x="16985" y="13703"/>
                  <a:pt x="19967" y="15347"/>
                  <a:pt x="19967" y="15347"/>
                </a:cubicBezTo>
                <a:close/>
                <a:moveTo>
                  <a:pt x="1633" y="6253"/>
                </a:moveTo>
                <a:lnTo>
                  <a:pt x="10800" y="1198"/>
                </a:lnTo>
                <a:lnTo>
                  <a:pt x="19967" y="6253"/>
                </a:lnTo>
                <a:lnTo>
                  <a:pt x="10800" y="11307"/>
                </a:lnTo>
                <a:cubicBezTo>
                  <a:pt x="10800" y="11307"/>
                  <a:pt x="1633" y="6253"/>
                  <a:pt x="1633" y="6253"/>
                </a:cubicBezTo>
                <a:close/>
                <a:moveTo>
                  <a:pt x="21600" y="10800"/>
                </a:moveTo>
                <a:cubicBezTo>
                  <a:pt x="21600" y="10574"/>
                  <a:pt x="21484" y="10383"/>
                  <a:pt x="21319" y="10290"/>
                </a:cubicBezTo>
                <a:lnTo>
                  <a:pt x="21320" y="10287"/>
                </a:lnTo>
                <a:lnTo>
                  <a:pt x="18127" y="8526"/>
                </a:lnTo>
                <a:lnTo>
                  <a:pt x="21320" y="6766"/>
                </a:lnTo>
                <a:lnTo>
                  <a:pt x="21319" y="6762"/>
                </a:lnTo>
                <a:cubicBezTo>
                  <a:pt x="21484" y="6671"/>
                  <a:pt x="21600" y="6479"/>
                  <a:pt x="21600" y="6253"/>
                </a:cubicBezTo>
                <a:cubicBezTo>
                  <a:pt x="21600" y="6027"/>
                  <a:pt x="21484" y="5835"/>
                  <a:pt x="21319" y="5743"/>
                </a:cubicBezTo>
                <a:lnTo>
                  <a:pt x="21320" y="5740"/>
                </a:lnTo>
                <a:lnTo>
                  <a:pt x="11011" y="56"/>
                </a:lnTo>
                <a:lnTo>
                  <a:pt x="11009" y="59"/>
                </a:lnTo>
                <a:cubicBezTo>
                  <a:pt x="10946" y="23"/>
                  <a:pt x="10876" y="0"/>
                  <a:pt x="10800" y="0"/>
                </a:cubicBezTo>
                <a:cubicBezTo>
                  <a:pt x="10724" y="0"/>
                  <a:pt x="10654" y="23"/>
                  <a:pt x="10591" y="59"/>
                </a:cubicBezTo>
                <a:lnTo>
                  <a:pt x="10589" y="56"/>
                </a:lnTo>
                <a:lnTo>
                  <a:pt x="280" y="5740"/>
                </a:lnTo>
                <a:lnTo>
                  <a:pt x="281" y="5743"/>
                </a:lnTo>
                <a:cubicBezTo>
                  <a:pt x="116" y="5835"/>
                  <a:pt x="0" y="6027"/>
                  <a:pt x="0" y="6253"/>
                </a:cubicBezTo>
                <a:cubicBezTo>
                  <a:pt x="0" y="6479"/>
                  <a:pt x="116" y="6671"/>
                  <a:pt x="281" y="6762"/>
                </a:cubicBezTo>
                <a:lnTo>
                  <a:pt x="280" y="6766"/>
                </a:lnTo>
                <a:lnTo>
                  <a:pt x="3473" y="8526"/>
                </a:lnTo>
                <a:lnTo>
                  <a:pt x="280" y="10287"/>
                </a:lnTo>
                <a:lnTo>
                  <a:pt x="281" y="10290"/>
                </a:lnTo>
                <a:cubicBezTo>
                  <a:pt x="116" y="10383"/>
                  <a:pt x="0" y="10574"/>
                  <a:pt x="0" y="10800"/>
                </a:cubicBezTo>
                <a:cubicBezTo>
                  <a:pt x="0" y="11026"/>
                  <a:pt x="116" y="11218"/>
                  <a:pt x="281" y="11310"/>
                </a:cubicBezTo>
                <a:lnTo>
                  <a:pt x="280" y="11313"/>
                </a:lnTo>
                <a:lnTo>
                  <a:pt x="3473" y="13074"/>
                </a:lnTo>
                <a:lnTo>
                  <a:pt x="280" y="14834"/>
                </a:lnTo>
                <a:lnTo>
                  <a:pt x="281" y="14838"/>
                </a:lnTo>
                <a:cubicBezTo>
                  <a:pt x="116" y="14930"/>
                  <a:pt x="0" y="15121"/>
                  <a:pt x="0" y="15347"/>
                </a:cubicBezTo>
                <a:cubicBezTo>
                  <a:pt x="0" y="15574"/>
                  <a:pt x="116" y="15765"/>
                  <a:pt x="281" y="15857"/>
                </a:cubicBezTo>
                <a:lnTo>
                  <a:pt x="280" y="15860"/>
                </a:lnTo>
                <a:lnTo>
                  <a:pt x="10589" y="21544"/>
                </a:lnTo>
                <a:lnTo>
                  <a:pt x="10591" y="21541"/>
                </a:lnTo>
                <a:cubicBezTo>
                  <a:pt x="10654" y="21577"/>
                  <a:pt x="10724" y="21600"/>
                  <a:pt x="10800" y="21600"/>
                </a:cubicBezTo>
                <a:cubicBezTo>
                  <a:pt x="10876" y="21600"/>
                  <a:pt x="10946" y="21577"/>
                  <a:pt x="11009" y="21541"/>
                </a:cubicBezTo>
                <a:lnTo>
                  <a:pt x="11011" y="21544"/>
                </a:lnTo>
                <a:lnTo>
                  <a:pt x="21320" y="15860"/>
                </a:lnTo>
                <a:lnTo>
                  <a:pt x="21319" y="15857"/>
                </a:lnTo>
                <a:cubicBezTo>
                  <a:pt x="21484" y="15765"/>
                  <a:pt x="21600" y="15574"/>
                  <a:pt x="21600" y="15347"/>
                </a:cubicBezTo>
                <a:cubicBezTo>
                  <a:pt x="21600" y="15121"/>
                  <a:pt x="21484" y="14930"/>
                  <a:pt x="21319" y="14838"/>
                </a:cubicBezTo>
                <a:lnTo>
                  <a:pt x="21320" y="14834"/>
                </a:lnTo>
                <a:lnTo>
                  <a:pt x="18127" y="13074"/>
                </a:lnTo>
                <a:lnTo>
                  <a:pt x="21320" y="11313"/>
                </a:lnTo>
                <a:lnTo>
                  <a:pt x="21319" y="11310"/>
                </a:lnTo>
                <a:cubicBezTo>
                  <a:pt x="21484" y="11218"/>
                  <a:pt x="21600" y="11026"/>
                  <a:pt x="21600" y="108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6" name="Shape 2645"/>
          <p:cNvSpPr/>
          <p:nvPr/>
        </p:nvSpPr>
        <p:spPr>
          <a:xfrm>
            <a:off x="4939889" y="4818945"/>
            <a:ext cx="953614" cy="6935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20250"/>
                </a:moveTo>
                <a:lnTo>
                  <a:pt x="2740" y="17504"/>
                </a:lnTo>
                <a:cubicBezTo>
                  <a:pt x="2807" y="17526"/>
                  <a:pt x="2874" y="17550"/>
                  <a:pt x="2945" y="17550"/>
                </a:cubicBezTo>
                <a:lnTo>
                  <a:pt x="18655" y="17550"/>
                </a:lnTo>
                <a:cubicBezTo>
                  <a:pt x="18726" y="17550"/>
                  <a:pt x="18793" y="17526"/>
                  <a:pt x="18860" y="17504"/>
                </a:cubicBezTo>
                <a:lnTo>
                  <a:pt x="20192" y="20250"/>
                </a:lnTo>
                <a:cubicBezTo>
                  <a:pt x="20192" y="20250"/>
                  <a:pt x="1408" y="20250"/>
                  <a:pt x="1408" y="20250"/>
                </a:cubicBezTo>
                <a:close/>
                <a:moveTo>
                  <a:pt x="2945" y="1350"/>
                </a:moveTo>
                <a:lnTo>
                  <a:pt x="18655" y="1350"/>
                </a:lnTo>
                <a:lnTo>
                  <a:pt x="18655" y="16200"/>
                </a:lnTo>
                <a:lnTo>
                  <a:pt x="2945" y="16200"/>
                </a:lnTo>
                <a:cubicBezTo>
                  <a:pt x="2945" y="16200"/>
                  <a:pt x="2945" y="1350"/>
                  <a:pt x="2945" y="1350"/>
                </a:cubicBezTo>
                <a:close/>
                <a:moveTo>
                  <a:pt x="21510" y="20558"/>
                </a:moveTo>
                <a:lnTo>
                  <a:pt x="21518" y="20551"/>
                </a:lnTo>
                <a:lnTo>
                  <a:pt x="19591" y="16577"/>
                </a:lnTo>
                <a:cubicBezTo>
                  <a:pt x="19617" y="16457"/>
                  <a:pt x="19636" y="16332"/>
                  <a:pt x="19636" y="16200"/>
                </a:cubicBezTo>
                <a:lnTo>
                  <a:pt x="19636" y="1350"/>
                </a:lnTo>
                <a:cubicBezTo>
                  <a:pt x="19636" y="605"/>
                  <a:pt x="19197" y="0"/>
                  <a:pt x="18655" y="0"/>
                </a:cubicBezTo>
                <a:lnTo>
                  <a:pt x="2945" y="0"/>
                </a:lnTo>
                <a:cubicBezTo>
                  <a:pt x="2403" y="0"/>
                  <a:pt x="1964" y="605"/>
                  <a:pt x="1964" y="1350"/>
                </a:cubicBezTo>
                <a:lnTo>
                  <a:pt x="1964" y="16200"/>
                </a:lnTo>
                <a:cubicBezTo>
                  <a:pt x="1964" y="16332"/>
                  <a:pt x="1983" y="16457"/>
                  <a:pt x="2009" y="16577"/>
                </a:cubicBezTo>
                <a:lnTo>
                  <a:pt x="82" y="20551"/>
                </a:lnTo>
                <a:lnTo>
                  <a:pt x="90" y="20558"/>
                </a:lnTo>
                <a:cubicBezTo>
                  <a:pt x="38" y="20665"/>
                  <a:pt x="0" y="20787"/>
                  <a:pt x="0" y="20925"/>
                </a:cubicBezTo>
                <a:cubicBezTo>
                  <a:pt x="0" y="21298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298"/>
                  <a:pt x="21600" y="20925"/>
                </a:cubicBezTo>
                <a:cubicBezTo>
                  <a:pt x="21600" y="20787"/>
                  <a:pt x="21562" y="20665"/>
                  <a:pt x="21510" y="20558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7" name="Shape 2547"/>
          <p:cNvSpPr/>
          <p:nvPr/>
        </p:nvSpPr>
        <p:spPr>
          <a:xfrm>
            <a:off x="7642583" y="7237122"/>
            <a:ext cx="866860" cy="8668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865313" y="8588411"/>
            <a:ext cx="3459339" cy="1436291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>
              <a:lnSpc>
                <a:spcPts val="3466"/>
              </a:lnSpc>
              <a:spcAft>
                <a:spcPts val="533"/>
              </a:spcAft>
            </a:pPr>
            <a:r>
              <a:rPr lang="en-US" sz="27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Exclusive</a:t>
            </a:r>
          </a:p>
          <a:p>
            <a:pPr algn="ctr">
              <a:lnSpc>
                <a:spcPts val="3633"/>
              </a:lnSpc>
            </a:pPr>
            <a:r>
              <a:rPr lang="en-US" sz="24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Tools that allow people companies to create</a:t>
            </a:r>
            <a:endParaRPr lang="en-US" sz="2300" dirty="0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9" name="Shape 2633"/>
          <p:cNvSpPr/>
          <p:nvPr/>
        </p:nvSpPr>
        <p:spPr>
          <a:xfrm>
            <a:off x="13167884" y="7273445"/>
            <a:ext cx="866860" cy="8668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0" name="Shape 2587"/>
          <p:cNvSpPr/>
          <p:nvPr/>
        </p:nvSpPr>
        <p:spPr>
          <a:xfrm>
            <a:off x="18599945" y="7295747"/>
            <a:ext cx="857124" cy="8571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20502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8271728"/>
              </p:ext>
            </p:extLst>
          </p:nvPr>
        </p:nvGraphicFramePr>
        <p:xfrm>
          <a:off x="1766455" y="3138055"/>
          <a:ext cx="20952625" cy="88946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558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492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492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2492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249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23803"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600" b="0" i="0" dirty="0">
                          <a:solidFill>
                            <a:schemeClr val="tx1"/>
                          </a:solidFill>
                          <a:latin typeface="+mn-lt"/>
                          <a:ea typeface="Avenir Book" charset="0"/>
                          <a:cs typeface="Avenir Book" charset="0"/>
                        </a:rPr>
                        <a:t>New Produc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600" b="0" i="0" dirty="0">
                          <a:solidFill>
                            <a:schemeClr val="tx1"/>
                          </a:solidFill>
                          <a:latin typeface="+mn-lt"/>
                          <a:ea typeface="Avenir Book" charset="0"/>
                          <a:cs typeface="Avenir Book" charset="0"/>
                        </a:rPr>
                        <a:t>B2C Busin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600" b="0" i="0" dirty="0">
                          <a:solidFill>
                            <a:schemeClr val="tx1"/>
                          </a:solidFill>
                          <a:latin typeface="+mn-lt"/>
                          <a:ea typeface="Avenir Book" charset="0"/>
                          <a:cs typeface="Avenir Book" charset="0"/>
                        </a:rPr>
                        <a:t>Other Industr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600" b="0" i="0" dirty="0">
                          <a:solidFill>
                            <a:schemeClr val="tx1"/>
                          </a:solidFill>
                          <a:latin typeface="+mn-lt"/>
                          <a:ea typeface="Avenir Book" charset="0"/>
                          <a:cs typeface="Avenir Book" charset="0"/>
                        </a:rPr>
                        <a:t>Consultanc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67704">
                <a:tc>
                  <a:txBody>
                    <a:bodyPr/>
                    <a:lstStyle/>
                    <a:p>
                      <a:pPr algn="ctr"/>
                      <a:r>
                        <a:rPr lang="en-US" sz="3600" b="0" i="0" dirty="0">
                          <a:solidFill>
                            <a:schemeClr val="tx1"/>
                          </a:solidFill>
                          <a:latin typeface="+mn-lt"/>
                          <a:ea typeface="Avenir Book" charset="0"/>
                          <a:cs typeface="Avenir Book" charset="0"/>
                        </a:rPr>
                        <a:t>Global Play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735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C64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735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CB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67704">
                <a:tc>
                  <a:txBody>
                    <a:bodyPr/>
                    <a:lstStyle/>
                    <a:p>
                      <a:pPr algn="ctr"/>
                      <a:r>
                        <a:rPr lang="en-US" sz="3600" b="0" i="0" dirty="0">
                          <a:solidFill>
                            <a:schemeClr val="tx1"/>
                          </a:solidFill>
                          <a:latin typeface="+mn-lt"/>
                          <a:ea typeface="Avenir Book" charset="0"/>
                          <a:cs typeface="Avenir Book" charset="0"/>
                        </a:rPr>
                        <a:t>Employee Satisfac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C64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C64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735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C6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67704">
                <a:tc>
                  <a:txBody>
                    <a:bodyPr/>
                    <a:lstStyle/>
                    <a:p>
                      <a:pPr algn="ctr"/>
                      <a:r>
                        <a:rPr lang="en-US" sz="3600" b="0" i="0" dirty="0">
                          <a:solidFill>
                            <a:schemeClr val="tx1"/>
                          </a:solidFill>
                          <a:latin typeface="+mn-lt"/>
                          <a:ea typeface="Avenir Book" charset="0"/>
                          <a:cs typeface="Avenir Book" charset="0"/>
                        </a:rPr>
                        <a:t>Core Competenc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735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735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CB5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bg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CB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67704">
                <a:tc>
                  <a:txBody>
                    <a:bodyPr/>
                    <a:lstStyle/>
                    <a:p>
                      <a:pPr algn="ctr"/>
                      <a:r>
                        <a:rPr lang="en-US" sz="3600" b="0" i="0" dirty="0">
                          <a:solidFill>
                            <a:schemeClr val="tx1"/>
                          </a:solidFill>
                          <a:latin typeface="+mn-lt"/>
                          <a:ea typeface="Avenir Book" charset="0"/>
                          <a:cs typeface="Avenir Book" charset="0"/>
                        </a:rPr>
                        <a:t>Financial Impac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CB5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C64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CB5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CB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3" name="Shape 2541">
            <a:extLst>
              <a:ext uri="{FF2B5EF4-FFF2-40B4-BE49-F238E27FC236}">
                <a16:creationId xmlns:a16="http://schemas.microsoft.com/office/drawing/2014/main" id="{A28B91AB-72CC-46EE-A25F-0CB031CF8ED6}"/>
              </a:ext>
            </a:extLst>
          </p:cNvPr>
          <p:cNvSpPr>
            <a:spLocks noChangeAspect="1"/>
          </p:cNvSpPr>
          <p:nvPr/>
        </p:nvSpPr>
        <p:spPr>
          <a:xfrm>
            <a:off x="11846251" y="9073413"/>
            <a:ext cx="678022" cy="6780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54" name="Shape 2539">
            <a:extLst>
              <a:ext uri="{FF2B5EF4-FFF2-40B4-BE49-F238E27FC236}">
                <a16:creationId xmlns:a16="http://schemas.microsoft.com/office/drawing/2014/main" id="{85A4701C-7056-4D58-A908-D574DF3F1D42}"/>
              </a:ext>
            </a:extLst>
          </p:cNvPr>
          <p:cNvSpPr>
            <a:spLocks noChangeAspect="1"/>
          </p:cNvSpPr>
          <p:nvPr/>
        </p:nvSpPr>
        <p:spPr>
          <a:xfrm>
            <a:off x="7410431" y="10902212"/>
            <a:ext cx="828691" cy="5650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55" name="Shape 2976">
            <a:extLst>
              <a:ext uri="{FF2B5EF4-FFF2-40B4-BE49-F238E27FC236}">
                <a16:creationId xmlns:a16="http://schemas.microsoft.com/office/drawing/2014/main" id="{18278A34-B841-4A58-AD1F-65B4063B9359}"/>
              </a:ext>
            </a:extLst>
          </p:cNvPr>
          <p:cNvSpPr>
            <a:spLocks noChangeAspect="1"/>
          </p:cNvSpPr>
          <p:nvPr/>
        </p:nvSpPr>
        <p:spPr>
          <a:xfrm>
            <a:off x="7372739" y="7203049"/>
            <a:ext cx="828691" cy="8286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56" name="Shape 2539">
            <a:extLst>
              <a:ext uri="{FF2B5EF4-FFF2-40B4-BE49-F238E27FC236}">
                <a16:creationId xmlns:a16="http://schemas.microsoft.com/office/drawing/2014/main" id="{9DAB2CA4-92A2-427A-97B0-6720A91E31FF}"/>
              </a:ext>
            </a:extLst>
          </p:cNvPr>
          <p:cNvSpPr>
            <a:spLocks noChangeAspect="1"/>
          </p:cNvSpPr>
          <p:nvPr/>
        </p:nvSpPr>
        <p:spPr>
          <a:xfrm>
            <a:off x="16021029" y="10909138"/>
            <a:ext cx="828691" cy="5650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57" name="Shape 2539">
            <a:extLst>
              <a:ext uri="{FF2B5EF4-FFF2-40B4-BE49-F238E27FC236}">
                <a16:creationId xmlns:a16="http://schemas.microsoft.com/office/drawing/2014/main" id="{12453151-B313-42BA-9B19-2B9F6E353134}"/>
              </a:ext>
            </a:extLst>
          </p:cNvPr>
          <p:cNvSpPr>
            <a:spLocks noChangeAspect="1"/>
          </p:cNvSpPr>
          <p:nvPr/>
        </p:nvSpPr>
        <p:spPr>
          <a:xfrm>
            <a:off x="20232808" y="10902211"/>
            <a:ext cx="828691" cy="5650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58" name="Shape 2539">
            <a:extLst>
              <a:ext uri="{FF2B5EF4-FFF2-40B4-BE49-F238E27FC236}">
                <a16:creationId xmlns:a16="http://schemas.microsoft.com/office/drawing/2014/main" id="{ECA89B4F-ED0C-4E88-BF02-2BB0142694A3}"/>
              </a:ext>
            </a:extLst>
          </p:cNvPr>
          <p:cNvSpPr>
            <a:spLocks noChangeAspect="1"/>
          </p:cNvSpPr>
          <p:nvPr/>
        </p:nvSpPr>
        <p:spPr>
          <a:xfrm>
            <a:off x="20232809" y="9114971"/>
            <a:ext cx="828691" cy="5650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59" name="Shape 2539">
            <a:extLst>
              <a:ext uri="{FF2B5EF4-FFF2-40B4-BE49-F238E27FC236}">
                <a16:creationId xmlns:a16="http://schemas.microsoft.com/office/drawing/2014/main" id="{64050867-2A70-41CD-89F1-885D47E7A4C6}"/>
              </a:ext>
            </a:extLst>
          </p:cNvPr>
          <p:cNvSpPr>
            <a:spLocks noChangeAspect="1"/>
          </p:cNvSpPr>
          <p:nvPr/>
        </p:nvSpPr>
        <p:spPr>
          <a:xfrm>
            <a:off x="16021029" y="9114970"/>
            <a:ext cx="828691" cy="5650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60" name="Shape 2539">
            <a:extLst>
              <a:ext uri="{FF2B5EF4-FFF2-40B4-BE49-F238E27FC236}">
                <a16:creationId xmlns:a16="http://schemas.microsoft.com/office/drawing/2014/main" id="{96BADB85-08CE-4A01-84E1-4C66D415A05C}"/>
              </a:ext>
            </a:extLst>
          </p:cNvPr>
          <p:cNvSpPr>
            <a:spLocks noChangeAspect="1"/>
          </p:cNvSpPr>
          <p:nvPr/>
        </p:nvSpPr>
        <p:spPr>
          <a:xfrm>
            <a:off x="20232809" y="5547428"/>
            <a:ext cx="828691" cy="5650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61" name="Shape 2976">
            <a:extLst>
              <a:ext uri="{FF2B5EF4-FFF2-40B4-BE49-F238E27FC236}">
                <a16:creationId xmlns:a16="http://schemas.microsoft.com/office/drawing/2014/main" id="{C816F081-E2A5-44A7-91A5-88C32BAFA9E0}"/>
              </a:ext>
            </a:extLst>
          </p:cNvPr>
          <p:cNvSpPr>
            <a:spLocks noChangeAspect="1"/>
          </p:cNvSpPr>
          <p:nvPr/>
        </p:nvSpPr>
        <p:spPr>
          <a:xfrm>
            <a:off x="11764627" y="7189193"/>
            <a:ext cx="828691" cy="8286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62" name="Shape 2976">
            <a:extLst>
              <a:ext uri="{FF2B5EF4-FFF2-40B4-BE49-F238E27FC236}">
                <a16:creationId xmlns:a16="http://schemas.microsoft.com/office/drawing/2014/main" id="{980BA6F3-59CC-46AF-BDE4-F2A9A4E1A7EF}"/>
              </a:ext>
            </a:extLst>
          </p:cNvPr>
          <p:cNvSpPr>
            <a:spLocks noChangeAspect="1"/>
          </p:cNvSpPr>
          <p:nvPr/>
        </p:nvSpPr>
        <p:spPr>
          <a:xfrm>
            <a:off x="11771553" y="10791373"/>
            <a:ext cx="828691" cy="8286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63" name="Shape 2976">
            <a:extLst>
              <a:ext uri="{FF2B5EF4-FFF2-40B4-BE49-F238E27FC236}">
                <a16:creationId xmlns:a16="http://schemas.microsoft.com/office/drawing/2014/main" id="{5DF811B5-CD1C-46D0-AED8-6256F354F75E}"/>
              </a:ext>
            </a:extLst>
          </p:cNvPr>
          <p:cNvSpPr>
            <a:spLocks noChangeAspect="1"/>
          </p:cNvSpPr>
          <p:nvPr/>
        </p:nvSpPr>
        <p:spPr>
          <a:xfrm>
            <a:off x="11771553" y="5450446"/>
            <a:ext cx="828691" cy="8286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64" name="Shape 2976">
            <a:extLst>
              <a:ext uri="{FF2B5EF4-FFF2-40B4-BE49-F238E27FC236}">
                <a16:creationId xmlns:a16="http://schemas.microsoft.com/office/drawing/2014/main" id="{70E89F96-D40D-4F8B-8665-30EB4A1AE153}"/>
              </a:ext>
            </a:extLst>
          </p:cNvPr>
          <p:cNvSpPr>
            <a:spLocks noChangeAspect="1"/>
          </p:cNvSpPr>
          <p:nvPr/>
        </p:nvSpPr>
        <p:spPr>
          <a:xfrm>
            <a:off x="20250535" y="7196119"/>
            <a:ext cx="828691" cy="8286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65" name="Shape 2541">
            <a:extLst>
              <a:ext uri="{FF2B5EF4-FFF2-40B4-BE49-F238E27FC236}">
                <a16:creationId xmlns:a16="http://schemas.microsoft.com/office/drawing/2014/main" id="{48E2219E-65A7-4CCC-99FB-B3D0A340FA79}"/>
              </a:ext>
            </a:extLst>
          </p:cNvPr>
          <p:cNvSpPr>
            <a:spLocks noChangeAspect="1"/>
          </p:cNvSpPr>
          <p:nvPr/>
        </p:nvSpPr>
        <p:spPr>
          <a:xfrm>
            <a:off x="7468218" y="9080339"/>
            <a:ext cx="678022" cy="6780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66" name="Shape 2541">
            <a:extLst>
              <a:ext uri="{FF2B5EF4-FFF2-40B4-BE49-F238E27FC236}">
                <a16:creationId xmlns:a16="http://schemas.microsoft.com/office/drawing/2014/main" id="{8E7F5F5E-740A-454B-837F-6FA8C37813DB}"/>
              </a:ext>
            </a:extLst>
          </p:cNvPr>
          <p:cNvSpPr>
            <a:spLocks noChangeAspect="1"/>
          </p:cNvSpPr>
          <p:nvPr/>
        </p:nvSpPr>
        <p:spPr>
          <a:xfrm>
            <a:off x="7475145" y="5471229"/>
            <a:ext cx="678022" cy="6780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67" name="Shape 2541">
            <a:extLst>
              <a:ext uri="{FF2B5EF4-FFF2-40B4-BE49-F238E27FC236}">
                <a16:creationId xmlns:a16="http://schemas.microsoft.com/office/drawing/2014/main" id="{ED877F7F-77CA-4B4F-B86E-AD346AF92974}"/>
              </a:ext>
            </a:extLst>
          </p:cNvPr>
          <p:cNvSpPr>
            <a:spLocks noChangeAspect="1"/>
          </p:cNvSpPr>
          <p:nvPr/>
        </p:nvSpPr>
        <p:spPr>
          <a:xfrm>
            <a:off x="16051109" y="7293101"/>
            <a:ext cx="678022" cy="6780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68" name="Shape 2541">
            <a:extLst>
              <a:ext uri="{FF2B5EF4-FFF2-40B4-BE49-F238E27FC236}">
                <a16:creationId xmlns:a16="http://schemas.microsoft.com/office/drawing/2014/main" id="{D5DE4ABE-0823-4C30-BF52-002E54EB96A6}"/>
              </a:ext>
            </a:extLst>
          </p:cNvPr>
          <p:cNvSpPr>
            <a:spLocks noChangeAspect="1"/>
          </p:cNvSpPr>
          <p:nvPr/>
        </p:nvSpPr>
        <p:spPr>
          <a:xfrm>
            <a:off x="16058035" y="5492008"/>
            <a:ext cx="678022" cy="6780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62EC956-6DB3-8B4F-BDD9-FB9F1393DA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our Alternatives Are Considered</a:t>
            </a:r>
          </a:p>
        </p:txBody>
      </p:sp>
    </p:spTree>
    <p:extLst>
      <p:ext uri="{BB962C8B-B14F-4D97-AF65-F5344CB8AC3E}">
        <p14:creationId xmlns:p14="http://schemas.microsoft.com/office/powerpoint/2010/main" val="14755195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CF21370E-3853-4391-9A42-E1920A41CAB2}"/>
              </a:ext>
            </a:extLst>
          </p:cNvPr>
          <p:cNvSpPr txBox="1">
            <a:spLocks/>
          </p:cNvSpPr>
          <p:nvPr/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/>
          <a:lstStyle>
            <a:lvl1pPr algn="l" defTabSz="182840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00" b="0" i="0" kern="1200">
                <a:solidFill>
                  <a:schemeClr val="tx1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sz="6000" dirty="0"/>
              <a:t>Know Your Risks and How to Mitigate Them!</a:t>
            </a:r>
          </a:p>
        </p:txBody>
      </p:sp>
      <p:graphicFrame>
        <p:nvGraphicFramePr>
          <p:cNvPr id="11" name="Group 3">
            <a:extLst>
              <a:ext uri="{FF2B5EF4-FFF2-40B4-BE49-F238E27FC236}">
                <a16:creationId xmlns:a16="http://schemas.microsoft.com/office/drawing/2014/main" id="{94B572F7-3F1B-4F16-8115-9E52F464CAA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115632"/>
              </p:ext>
            </p:extLst>
          </p:nvPr>
        </p:nvGraphicFramePr>
        <p:xfrm>
          <a:off x="11301311" y="3767772"/>
          <a:ext cx="10857696" cy="7484208"/>
        </p:xfrm>
        <a:graphic>
          <a:graphicData uri="http://schemas.openxmlformats.org/drawingml/2006/table">
            <a:tbl>
              <a:tblPr/>
              <a:tblGrid>
                <a:gridCol w="14430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131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015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5064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+mn-lt"/>
                        <a:ea typeface="Avenir Book" charset="0"/>
                        <a:cs typeface="Avenir Book" charset="0"/>
                      </a:endParaRP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3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Avenir Book" charset="0"/>
                          <a:cs typeface="Avenir Book" charset="0"/>
                        </a:rPr>
                        <a:t>Risk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3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Avenir Book" charset="0"/>
                          <a:cs typeface="Avenir Book" charset="0"/>
                        </a:rPr>
                        <a:t>Countermeasure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1059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3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Avenir Book" charset="0"/>
                          <a:cs typeface="Avenir Book" charset="0"/>
                        </a:rPr>
                        <a:t>A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3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venir Roman" panose="02000503020000020003" pitchFamily="2" charset="0"/>
                          <a:ea typeface="Avenir Book" charset="0"/>
                          <a:cs typeface="Avenir Book" charset="0"/>
                        </a:rPr>
                        <a:t>Modified boxes won’t be accepted by customers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3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venir Roman" panose="02000503020000020003" pitchFamily="2" charset="0"/>
                          <a:ea typeface="Avenir Book" charset="0"/>
                          <a:cs typeface="Avenir Book" charset="0"/>
                        </a:rPr>
                        <a:t>Offer discounts for big packages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335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3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Avenir Book" charset="0"/>
                          <a:cs typeface="Avenir Book" charset="0"/>
                        </a:rPr>
                        <a:t>B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3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venir Roman" panose="02000503020000020003" pitchFamily="2" charset="0"/>
                          <a:ea typeface="Avenir Book" charset="0"/>
                          <a:cs typeface="Avenir Book" charset="0"/>
                        </a:rPr>
                        <a:t>Bosch is not willing to cooperate for the JV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3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venir Roman" panose="02000503020000020003" pitchFamily="2" charset="0"/>
                          <a:ea typeface="Avenir Book" charset="0"/>
                          <a:cs typeface="Avenir Book" charset="0"/>
                        </a:rPr>
                        <a:t>Find another partner, e.g. </a:t>
                      </a:r>
                      <a:r>
                        <a:rPr kumimoji="0" lang="en-US" sz="3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venir Roman" panose="02000503020000020003" pitchFamily="2" charset="0"/>
                          <a:ea typeface="Avenir Book" charset="0"/>
                          <a:cs typeface="Avenir Book" charset="0"/>
                        </a:rPr>
                        <a:t>Claas</a:t>
                      </a:r>
                      <a:endParaRPr kumimoji="0" lang="en-US" sz="3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venir Roman" panose="02000503020000020003" pitchFamily="2" charset="0"/>
                        <a:ea typeface="Avenir Book" charset="0"/>
                        <a:cs typeface="Avenir Book" charset="0"/>
                      </a:endParaRP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335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3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Avenir Book" charset="0"/>
                          <a:cs typeface="Avenir Book" charset="0"/>
                        </a:rPr>
                        <a:t>C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3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venir Roman" panose="02000503020000020003" pitchFamily="2" charset="0"/>
                          <a:ea typeface="Avenir Book" charset="0"/>
                          <a:cs typeface="Avenir Book" charset="0"/>
                        </a:rPr>
                        <a:t>Sensors will not be accepted by farmers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3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venir Roman" panose="02000503020000020003" pitchFamily="2" charset="0"/>
                          <a:ea typeface="Avenir Book" charset="0"/>
                          <a:cs typeface="Avenir Book" charset="0"/>
                        </a:rPr>
                        <a:t>Make them the benefits clear; give discount for first year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5E72BF1-9793-42D3-B5EB-0B828069C98E}"/>
              </a:ext>
            </a:extLst>
          </p:cNvPr>
          <p:cNvCxnSpPr/>
          <p:nvPr/>
        </p:nvCxnSpPr>
        <p:spPr>
          <a:xfrm>
            <a:off x="2161435" y="11251981"/>
            <a:ext cx="7887029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5FA959A-6DD7-40BD-A7E3-0B35373A6FE0}"/>
              </a:ext>
            </a:extLst>
          </p:cNvPr>
          <p:cNvCxnSpPr/>
          <p:nvPr/>
        </p:nvCxnSpPr>
        <p:spPr>
          <a:xfrm flipH="1" flipV="1">
            <a:off x="2191079" y="3429229"/>
            <a:ext cx="0" cy="785239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827B139-D79E-4B5A-9011-BDCE307F6BC0}"/>
              </a:ext>
            </a:extLst>
          </p:cNvPr>
          <p:cNvGrpSpPr/>
          <p:nvPr/>
        </p:nvGrpSpPr>
        <p:grpSpPr>
          <a:xfrm>
            <a:off x="2367787" y="3863290"/>
            <a:ext cx="7412103" cy="7271851"/>
            <a:chOff x="2319661" y="4469878"/>
            <a:chExt cx="7412103" cy="7271851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F5CD795-0A42-4367-BF9D-542B77938F09}"/>
                </a:ext>
              </a:extLst>
            </p:cNvPr>
            <p:cNvSpPr/>
            <p:nvPr/>
          </p:nvSpPr>
          <p:spPr>
            <a:xfrm>
              <a:off x="2319661" y="9988436"/>
              <a:ext cx="1753293" cy="1753293"/>
            </a:xfrm>
            <a:prstGeom prst="rect">
              <a:avLst/>
            </a:prstGeom>
            <a:solidFill>
              <a:srgbClr val="05CB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2E80CB6-A26F-4935-8B5C-DAC4DF0EADD0}"/>
                </a:ext>
              </a:extLst>
            </p:cNvPr>
            <p:cNvSpPr/>
            <p:nvPr/>
          </p:nvSpPr>
          <p:spPr>
            <a:xfrm>
              <a:off x="4201658" y="9973994"/>
              <a:ext cx="1753293" cy="1753293"/>
            </a:xfrm>
            <a:prstGeom prst="rect">
              <a:avLst/>
            </a:prstGeom>
            <a:solidFill>
              <a:srgbClr val="05CB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5807FC2-3282-4672-924A-62B7EB3E719A}"/>
                </a:ext>
              </a:extLst>
            </p:cNvPr>
            <p:cNvSpPr/>
            <p:nvPr/>
          </p:nvSpPr>
          <p:spPr>
            <a:xfrm>
              <a:off x="6083656" y="9973991"/>
              <a:ext cx="1753293" cy="1753293"/>
            </a:xfrm>
            <a:prstGeom prst="rect">
              <a:avLst/>
            </a:prstGeom>
            <a:solidFill>
              <a:srgbClr val="05CB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D80E5BF-1B79-4205-80CC-9D90A8949104}"/>
                </a:ext>
              </a:extLst>
            </p:cNvPr>
            <p:cNvSpPr/>
            <p:nvPr/>
          </p:nvSpPr>
          <p:spPr>
            <a:xfrm>
              <a:off x="2319661" y="8142897"/>
              <a:ext cx="1753293" cy="1753293"/>
            </a:xfrm>
            <a:prstGeom prst="rect">
              <a:avLst/>
            </a:prstGeom>
            <a:solidFill>
              <a:srgbClr val="05CB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329E04B-457A-4F85-A037-483F7712FCAC}"/>
                </a:ext>
              </a:extLst>
            </p:cNvPr>
            <p:cNvSpPr/>
            <p:nvPr/>
          </p:nvSpPr>
          <p:spPr>
            <a:xfrm>
              <a:off x="4201658" y="8128455"/>
              <a:ext cx="1753293" cy="1753293"/>
            </a:xfrm>
            <a:prstGeom prst="rect">
              <a:avLst/>
            </a:prstGeom>
            <a:solidFill>
              <a:srgbClr val="05CB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644AC1C-CC95-497C-A944-996AF79C634F}"/>
                </a:ext>
              </a:extLst>
            </p:cNvPr>
            <p:cNvSpPr/>
            <p:nvPr/>
          </p:nvSpPr>
          <p:spPr>
            <a:xfrm>
              <a:off x="2319661" y="6290138"/>
              <a:ext cx="1753293" cy="1753293"/>
            </a:xfrm>
            <a:prstGeom prst="rect">
              <a:avLst/>
            </a:prstGeom>
            <a:solidFill>
              <a:srgbClr val="05CB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3910C55-BF02-44E0-80FD-F803975EECB4}"/>
                </a:ext>
              </a:extLst>
            </p:cNvPr>
            <p:cNvSpPr/>
            <p:nvPr/>
          </p:nvSpPr>
          <p:spPr>
            <a:xfrm>
              <a:off x="6083656" y="8153731"/>
              <a:ext cx="1753293" cy="1753293"/>
            </a:xfrm>
            <a:prstGeom prst="rect">
              <a:avLst/>
            </a:prstGeom>
            <a:solidFill>
              <a:srgbClr val="F3C6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2B4DF05-FB31-4FED-A83F-CC69CD2BAD97}"/>
                </a:ext>
              </a:extLst>
            </p:cNvPr>
            <p:cNvSpPr/>
            <p:nvPr/>
          </p:nvSpPr>
          <p:spPr>
            <a:xfrm>
              <a:off x="4201658" y="6308195"/>
              <a:ext cx="1753293" cy="1753293"/>
            </a:xfrm>
            <a:prstGeom prst="rect">
              <a:avLst/>
            </a:prstGeom>
            <a:solidFill>
              <a:srgbClr val="F3C6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D36797F-6493-4F04-9453-9D4D9DEED617}"/>
                </a:ext>
              </a:extLst>
            </p:cNvPr>
            <p:cNvSpPr/>
            <p:nvPr/>
          </p:nvSpPr>
          <p:spPr>
            <a:xfrm>
              <a:off x="2319661" y="4469878"/>
              <a:ext cx="1753293" cy="1753293"/>
            </a:xfrm>
            <a:prstGeom prst="rect">
              <a:avLst/>
            </a:prstGeom>
            <a:solidFill>
              <a:srgbClr val="F3C6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3C4C4F7-94FF-4E4C-BB2D-3D191448BBE1}"/>
                </a:ext>
              </a:extLst>
            </p:cNvPr>
            <p:cNvSpPr/>
            <p:nvPr/>
          </p:nvSpPr>
          <p:spPr>
            <a:xfrm>
              <a:off x="7965653" y="8153731"/>
              <a:ext cx="1753293" cy="1753293"/>
            </a:xfrm>
            <a:prstGeom prst="rect">
              <a:avLst/>
            </a:prstGeom>
            <a:solidFill>
              <a:srgbClr val="F3C6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436C656-5C84-486C-8D3A-079DEFC94E91}"/>
                </a:ext>
              </a:extLst>
            </p:cNvPr>
            <p:cNvSpPr/>
            <p:nvPr/>
          </p:nvSpPr>
          <p:spPr>
            <a:xfrm>
              <a:off x="6083656" y="6308195"/>
              <a:ext cx="1753293" cy="1753293"/>
            </a:xfrm>
            <a:prstGeom prst="rect">
              <a:avLst/>
            </a:prstGeom>
            <a:solidFill>
              <a:srgbClr val="F3C6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B7CAE78-BF84-41C7-9AAC-1A32CF492728}"/>
                </a:ext>
              </a:extLst>
            </p:cNvPr>
            <p:cNvSpPr/>
            <p:nvPr/>
          </p:nvSpPr>
          <p:spPr>
            <a:xfrm>
              <a:off x="4201658" y="4469878"/>
              <a:ext cx="1753293" cy="1753293"/>
            </a:xfrm>
            <a:prstGeom prst="rect">
              <a:avLst/>
            </a:prstGeom>
            <a:solidFill>
              <a:srgbClr val="F3C6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4076CD2-BA0F-4288-97A6-D98EDCC81092}"/>
                </a:ext>
              </a:extLst>
            </p:cNvPr>
            <p:cNvSpPr/>
            <p:nvPr/>
          </p:nvSpPr>
          <p:spPr>
            <a:xfrm>
              <a:off x="7965653" y="9973988"/>
              <a:ext cx="1753293" cy="1753293"/>
            </a:xfrm>
            <a:prstGeom prst="rect">
              <a:avLst/>
            </a:prstGeom>
            <a:solidFill>
              <a:srgbClr val="F3C6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9715E1C-6AF2-4178-8628-B10E336D0FE6}"/>
                </a:ext>
              </a:extLst>
            </p:cNvPr>
            <p:cNvSpPr/>
            <p:nvPr/>
          </p:nvSpPr>
          <p:spPr>
            <a:xfrm>
              <a:off x="7965653" y="6308195"/>
              <a:ext cx="1753293" cy="1753293"/>
            </a:xfrm>
            <a:prstGeom prst="rect">
              <a:avLst/>
            </a:prstGeom>
            <a:solidFill>
              <a:srgbClr val="F5735D">
                <a:alpha val="8431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D47E40E-1538-443E-981C-383B0E8D0545}"/>
                </a:ext>
              </a:extLst>
            </p:cNvPr>
            <p:cNvSpPr/>
            <p:nvPr/>
          </p:nvSpPr>
          <p:spPr>
            <a:xfrm>
              <a:off x="6083656" y="4469878"/>
              <a:ext cx="1753293" cy="1753293"/>
            </a:xfrm>
            <a:prstGeom prst="rect">
              <a:avLst/>
            </a:prstGeom>
            <a:solidFill>
              <a:srgbClr val="F5735D">
                <a:alpha val="8431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04AEE0C-6670-4F7F-B0EE-1393C81FCE87}"/>
                </a:ext>
              </a:extLst>
            </p:cNvPr>
            <p:cNvSpPr/>
            <p:nvPr/>
          </p:nvSpPr>
          <p:spPr>
            <a:xfrm>
              <a:off x="7978471" y="4473276"/>
              <a:ext cx="1753293" cy="1753293"/>
            </a:xfrm>
            <a:prstGeom prst="rect">
              <a:avLst/>
            </a:prstGeom>
            <a:solidFill>
              <a:srgbClr val="F5735D">
                <a:alpha val="8431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sp>
        <p:nvSpPr>
          <p:cNvPr id="32" name="Oval 31">
            <a:extLst>
              <a:ext uri="{FF2B5EF4-FFF2-40B4-BE49-F238E27FC236}">
                <a16:creationId xmlns:a16="http://schemas.microsoft.com/office/drawing/2014/main" id="{8E59920E-C783-43D8-80F8-2308E9E5DB47}"/>
              </a:ext>
            </a:extLst>
          </p:cNvPr>
          <p:cNvSpPr/>
          <p:nvPr/>
        </p:nvSpPr>
        <p:spPr>
          <a:xfrm>
            <a:off x="6653240" y="5237191"/>
            <a:ext cx="1283935" cy="1283935"/>
          </a:xfrm>
          <a:prstGeom prst="ellipse">
            <a:avLst/>
          </a:prstGeom>
          <a:solidFill>
            <a:srgbClr val="FFFFFF">
              <a:alpha val="69804"/>
            </a:srgb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400" b="1" dirty="0">
                <a:solidFill>
                  <a:schemeClr val="tx1"/>
                </a:solidFill>
                <a:latin typeface="Avenir Heavy" charset="0"/>
                <a:ea typeface="Avenir Heavy" charset="0"/>
                <a:cs typeface="Avenir Heavy" charset="0"/>
              </a:rPr>
              <a:t>B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E2E340F2-C03E-4665-8A62-800DD9F2755C}"/>
              </a:ext>
            </a:extLst>
          </p:cNvPr>
          <p:cNvSpPr/>
          <p:nvPr/>
        </p:nvSpPr>
        <p:spPr>
          <a:xfrm>
            <a:off x="7384629" y="8466527"/>
            <a:ext cx="1283935" cy="1283935"/>
          </a:xfrm>
          <a:prstGeom prst="ellipse">
            <a:avLst/>
          </a:prstGeom>
          <a:solidFill>
            <a:srgbClr val="FFFFFF">
              <a:alpha val="69804"/>
            </a:srgb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400" b="1" dirty="0">
                <a:solidFill>
                  <a:schemeClr val="tx1"/>
                </a:solidFill>
                <a:latin typeface="Avenir Heavy" charset="0"/>
                <a:ea typeface="Avenir Heavy" charset="0"/>
                <a:cs typeface="Avenir Heavy" charset="0"/>
              </a:rPr>
              <a:t>C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579D1161-AF8D-4571-AC4C-C9168CE7490A}"/>
              </a:ext>
            </a:extLst>
          </p:cNvPr>
          <p:cNvSpPr/>
          <p:nvPr/>
        </p:nvSpPr>
        <p:spPr>
          <a:xfrm>
            <a:off x="4065810" y="4577334"/>
            <a:ext cx="1283935" cy="1283935"/>
          </a:xfrm>
          <a:prstGeom prst="ellipse">
            <a:avLst/>
          </a:prstGeom>
          <a:solidFill>
            <a:srgbClr val="FFFFFF">
              <a:alpha val="69804"/>
            </a:srgb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400" b="1" dirty="0">
                <a:solidFill>
                  <a:schemeClr val="tx1"/>
                </a:solidFill>
                <a:latin typeface="Avenir Heavy" charset="0"/>
                <a:ea typeface="Avenir Heavy" charset="0"/>
                <a:cs typeface="Avenir Heavy" charset="0"/>
              </a:rPr>
              <a:t>A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8EBF9FC-E14B-4535-96DF-D87D94BE6DCC}"/>
              </a:ext>
            </a:extLst>
          </p:cNvPr>
          <p:cNvSpPr/>
          <p:nvPr/>
        </p:nvSpPr>
        <p:spPr>
          <a:xfrm>
            <a:off x="2771334" y="7013949"/>
            <a:ext cx="1283935" cy="128393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400" b="1" dirty="0">
                <a:solidFill>
                  <a:schemeClr val="tx1"/>
                </a:solidFill>
                <a:latin typeface="Avenir Heavy" charset="0"/>
                <a:ea typeface="Avenir Heavy" charset="0"/>
                <a:cs typeface="Avenir Heavy" charset="0"/>
              </a:rPr>
              <a:t>A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A755878-1044-414F-B6E3-BCCF4EFBCFF0}"/>
              </a:ext>
            </a:extLst>
          </p:cNvPr>
          <p:cNvSpPr/>
          <p:nvPr/>
        </p:nvSpPr>
        <p:spPr>
          <a:xfrm>
            <a:off x="4847847" y="6720770"/>
            <a:ext cx="1283935" cy="128393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400" b="1" dirty="0">
                <a:solidFill>
                  <a:schemeClr val="tx1"/>
                </a:solidFill>
                <a:latin typeface="Avenir Heavy" charset="0"/>
                <a:ea typeface="Avenir Heavy" charset="0"/>
                <a:cs typeface="Avenir Heavy" charset="0"/>
              </a:rPr>
              <a:t>B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696E5823-C4F6-4F07-B62C-AAACAC689780}"/>
              </a:ext>
            </a:extLst>
          </p:cNvPr>
          <p:cNvSpPr/>
          <p:nvPr/>
        </p:nvSpPr>
        <p:spPr>
          <a:xfrm>
            <a:off x="4644780" y="8955370"/>
            <a:ext cx="1283935" cy="128393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400" b="1" dirty="0">
                <a:solidFill>
                  <a:schemeClr val="tx1"/>
                </a:solidFill>
                <a:latin typeface="Avenir Heavy" charset="0"/>
                <a:ea typeface="Avenir Heavy" charset="0"/>
                <a:cs typeface="Avenir Heavy" charset="0"/>
              </a:rPr>
              <a:t>C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9ADBA5A9-ED7E-4728-A7D3-D82B570B539F}"/>
              </a:ext>
            </a:extLst>
          </p:cNvPr>
          <p:cNvCxnSpPr>
            <a:cxnSpLocks/>
          </p:cNvCxnSpPr>
          <p:nvPr/>
        </p:nvCxnSpPr>
        <p:spPr>
          <a:xfrm flipH="1">
            <a:off x="3780305" y="5956723"/>
            <a:ext cx="517482" cy="925944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8B00DB2C-B890-4FBE-8285-CA3662BC5892}"/>
              </a:ext>
            </a:extLst>
          </p:cNvPr>
          <p:cNvCxnSpPr>
            <a:cxnSpLocks/>
          </p:cNvCxnSpPr>
          <p:nvPr/>
        </p:nvCxnSpPr>
        <p:spPr>
          <a:xfrm flipH="1">
            <a:off x="6030199" y="6385283"/>
            <a:ext cx="835660" cy="563296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C535180-4E6F-4DEB-B62F-12485066760E}"/>
              </a:ext>
            </a:extLst>
          </p:cNvPr>
          <p:cNvCxnSpPr>
            <a:cxnSpLocks/>
          </p:cNvCxnSpPr>
          <p:nvPr/>
        </p:nvCxnSpPr>
        <p:spPr>
          <a:xfrm flipH="1">
            <a:off x="6003077" y="9236979"/>
            <a:ext cx="1217740" cy="156558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5">
            <a:extLst>
              <a:ext uri="{FF2B5EF4-FFF2-40B4-BE49-F238E27FC236}">
                <a16:creationId xmlns:a16="http://schemas.microsoft.com/office/drawing/2014/main" id="{A4BD0CEC-A280-40A7-BAC8-76ACB1F51C92}"/>
              </a:ext>
            </a:extLst>
          </p:cNvPr>
          <p:cNvSpPr txBox="1"/>
          <p:nvPr/>
        </p:nvSpPr>
        <p:spPr>
          <a:xfrm rot="16200000">
            <a:off x="191970" y="4254169"/>
            <a:ext cx="31486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ea typeface="Avenir Book" charset="0"/>
                <a:cs typeface="Calibri" panose="020F0502020204030204" pitchFamily="34" charset="0"/>
              </a:rPr>
              <a:t>Probability</a:t>
            </a:r>
          </a:p>
        </p:txBody>
      </p:sp>
      <p:sp>
        <p:nvSpPr>
          <p:cNvPr id="43" name="TextBox 4">
            <a:extLst>
              <a:ext uri="{FF2B5EF4-FFF2-40B4-BE49-F238E27FC236}">
                <a16:creationId xmlns:a16="http://schemas.microsoft.com/office/drawing/2014/main" id="{1DB496C4-AC1D-41D2-82A3-199F2A7E6B0B}"/>
              </a:ext>
            </a:extLst>
          </p:cNvPr>
          <p:cNvSpPr txBox="1"/>
          <p:nvPr/>
        </p:nvSpPr>
        <p:spPr>
          <a:xfrm>
            <a:off x="8382416" y="11251981"/>
            <a:ext cx="31486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ea typeface="Avenir Book" charset="0"/>
                <a:cs typeface="Calibri" panose="020F0502020204030204" pitchFamily="34" charset="0"/>
              </a:rPr>
              <a:t>Impact</a:t>
            </a:r>
          </a:p>
        </p:txBody>
      </p:sp>
    </p:spTree>
    <p:extLst>
      <p:ext uri="{BB962C8B-B14F-4D97-AF65-F5344CB8AC3E}">
        <p14:creationId xmlns:p14="http://schemas.microsoft.com/office/powerpoint/2010/main" val="394899040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32BC6B6-0EF2-CB42-AC4B-3417D499A7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7A38C99D-24FF-1446-BAA9-895747C57833}"/>
              </a:ext>
            </a:extLst>
          </p:cNvPr>
          <p:cNvSpPr/>
          <p:nvPr/>
        </p:nvSpPr>
        <p:spPr>
          <a:xfrm>
            <a:off x="1027114" y="2897189"/>
            <a:ext cx="3821334" cy="976445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rgbClr val="F9F9F9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latin typeface="Avenir Medium"/>
                <a:ea typeface="Avenir Book" charset="0"/>
                <a:cs typeface="Avenir Book" charset="0"/>
              </a:rPr>
              <a:t>KPI 1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ED53169-EBD4-374E-A1F0-B8C7A580D062}"/>
              </a:ext>
            </a:extLst>
          </p:cNvPr>
          <p:cNvSpPr/>
          <p:nvPr/>
        </p:nvSpPr>
        <p:spPr>
          <a:xfrm>
            <a:off x="1027114" y="4166816"/>
            <a:ext cx="3821334" cy="976445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rgbClr val="F9F9F9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latin typeface="Avenir Medium"/>
                <a:ea typeface="Avenir Book" charset="0"/>
                <a:cs typeface="Avenir Book" charset="0"/>
              </a:rPr>
              <a:t>KPI 2</a:t>
            </a: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F341AA7A-0FCD-2E41-9E36-5F2EB957E4BD}"/>
              </a:ext>
            </a:extLst>
          </p:cNvPr>
          <p:cNvSpPr/>
          <p:nvPr/>
        </p:nvSpPr>
        <p:spPr>
          <a:xfrm>
            <a:off x="1027114" y="5436442"/>
            <a:ext cx="3821334" cy="976445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rgbClr val="F9F9F9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latin typeface="Avenir Medium"/>
                <a:ea typeface="Avenir Book" charset="0"/>
                <a:cs typeface="Avenir Book" charset="0"/>
              </a:rPr>
              <a:t>KPI 3</a:t>
            </a: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2A49EB10-4BFA-AF4F-9DE6-04603853962E}"/>
              </a:ext>
            </a:extLst>
          </p:cNvPr>
          <p:cNvSpPr/>
          <p:nvPr/>
        </p:nvSpPr>
        <p:spPr>
          <a:xfrm>
            <a:off x="5104018" y="2897188"/>
            <a:ext cx="7807822" cy="976445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solidFill>
              <a:srgbClr val="F9F9F9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latin typeface="Avenir Medium"/>
                <a:ea typeface="Avenir Book" charset="0"/>
                <a:cs typeface="Avenir Book" charset="0"/>
              </a:rPr>
              <a:t>KPI 1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1A2326B9-9806-AD4E-9405-0D1963DA0145}"/>
              </a:ext>
            </a:extLst>
          </p:cNvPr>
          <p:cNvSpPr/>
          <p:nvPr/>
        </p:nvSpPr>
        <p:spPr>
          <a:xfrm>
            <a:off x="5104018" y="4171430"/>
            <a:ext cx="7807822" cy="976445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solidFill>
              <a:srgbClr val="F9F9F9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latin typeface="Avenir Medium"/>
                <a:ea typeface="Avenir Book" charset="0"/>
                <a:cs typeface="Avenir Book" charset="0"/>
              </a:rPr>
              <a:t>KPI 1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176C8DF6-6523-2448-BD69-931023EB83ED}"/>
              </a:ext>
            </a:extLst>
          </p:cNvPr>
          <p:cNvSpPr/>
          <p:nvPr/>
        </p:nvSpPr>
        <p:spPr>
          <a:xfrm>
            <a:off x="5104018" y="5436441"/>
            <a:ext cx="7807822" cy="976445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solidFill>
              <a:srgbClr val="F9F9F9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latin typeface="Avenir Medium"/>
                <a:ea typeface="Avenir Book" charset="0"/>
                <a:cs typeface="Avenir Book" charset="0"/>
              </a:rPr>
              <a:t>KPI 1</a:t>
            </a:r>
          </a:p>
        </p:txBody>
      </p:sp>
      <p:sp>
        <p:nvSpPr>
          <p:cNvPr id="11" name="Triangle 10">
            <a:extLst>
              <a:ext uri="{FF2B5EF4-FFF2-40B4-BE49-F238E27FC236}">
                <a16:creationId xmlns:a16="http://schemas.microsoft.com/office/drawing/2014/main" id="{797CFF37-F160-3641-ACED-395D78D3DB4C}"/>
              </a:ext>
            </a:extLst>
          </p:cNvPr>
          <p:cNvSpPr/>
          <p:nvPr/>
        </p:nvSpPr>
        <p:spPr>
          <a:xfrm rot="10800000">
            <a:off x="1027114" y="6858000"/>
            <a:ext cx="11884726" cy="876096"/>
          </a:xfrm>
          <a:prstGeom prst="triangl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AA477E07-EAD8-BB46-B167-9607D0B4706F}"/>
              </a:ext>
            </a:extLst>
          </p:cNvPr>
          <p:cNvSpPr/>
          <p:nvPr/>
        </p:nvSpPr>
        <p:spPr>
          <a:xfrm>
            <a:off x="1027114" y="7966909"/>
            <a:ext cx="11884726" cy="890019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rgbClr val="F9F9F9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latin typeface="Avenir Medium"/>
                <a:ea typeface="Avenir Book" charset="0"/>
                <a:cs typeface="Avenir Book" charset="0"/>
              </a:rPr>
              <a:t>Text Box 1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EE6234A-7593-AF40-8130-BD140B189C8E}"/>
              </a:ext>
            </a:extLst>
          </p:cNvPr>
          <p:cNvSpPr/>
          <p:nvPr/>
        </p:nvSpPr>
        <p:spPr>
          <a:xfrm>
            <a:off x="15657514" y="2897188"/>
            <a:ext cx="6654800" cy="8352000"/>
          </a:xfrm>
          <a:prstGeom prst="rect">
            <a:avLst/>
          </a:prstGeom>
          <a:solidFill>
            <a:schemeClr val="accent3"/>
          </a:solidFill>
          <a:ln>
            <a:solidFill>
              <a:srgbClr val="F9F9F9"/>
            </a:solidFill>
          </a:ln>
          <a:ex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87" tIns="4287" rIns="4287" bIns="4287" numCol="1" spcCol="1270" anchor="ctr" anchorCtr="0">
            <a:noAutofit/>
          </a:bodyPr>
          <a:lstStyle/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b="1" dirty="0">
              <a:latin typeface="Avenir Medium"/>
            </a:endParaRPr>
          </a:p>
          <a:p>
            <a:pPr marL="571500" indent="-571500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itchFamily="2" charset="2"/>
              <a:buChar char="§"/>
            </a:pPr>
            <a:r>
              <a:rPr lang="es-ES" dirty="0" err="1">
                <a:solidFill>
                  <a:schemeClr val="tx1"/>
                </a:solidFill>
                <a:latin typeface="Avenir Medium"/>
              </a:rPr>
              <a:t>Usage</a:t>
            </a:r>
            <a:r>
              <a:rPr lang="es-ES" dirty="0">
                <a:solidFill>
                  <a:schemeClr val="tx1"/>
                </a:solidFill>
                <a:latin typeface="Avenir Medium"/>
              </a:rPr>
              <a:t> of natural </a:t>
            </a:r>
            <a:r>
              <a:rPr lang="es-ES" dirty="0" err="1">
                <a:solidFill>
                  <a:schemeClr val="tx1"/>
                </a:solidFill>
                <a:latin typeface="Avenir Medium"/>
              </a:rPr>
              <a:t>materials</a:t>
            </a:r>
            <a:r>
              <a:rPr lang="es-ES" dirty="0">
                <a:solidFill>
                  <a:schemeClr val="tx1"/>
                </a:solidFill>
                <a:latin typeface="Avenir Medium"/>
              </a:rPr>
              <a:t> </a:t>
            </a:r>
            <a:r>
              <a:rPr lang="es-ES" dirty="0" err="1">
                <a:solidFill>
                  <a:schemeClr val="tx1"/>
                </a:solidFill>
                <a:latin typeface="Avenir Medium"/>
              </a:rPr>
              <a:t>like</a:t>
            </a:r>
            <a:r>
              <a:rPr lang="es-ES" dirty="0">
                <a:solidFill>
                  <a:schemeClr val="tx1"/>
                </a:solidFill>
                <a:latin typeface="Avenir Medium"/>
              </a:rPr>
              <a:t> </a:t>
            </a:r>
            <a:r>
              <a:rPr lang="es-ES" dirty="0" err="1">
                <a:solidFill>
                  <a:schemeClr val="tx1"/>
                </a:solidFill>
                <a:latin typeface="Avenir Medium"/>
              </a:rPr>
              <a:t>cotton</a:t>
            </a:r>
            <a:r>
              <a:rPr lang="es-ES" dirty="0">
                <a:solidFill>
                  <a:schemeClr val="tx1"/>
                </a:solidFill>
                <a:latin typeface="Avenir Medium"/>
              </a:rPr>
              <a:t>, </a:t>
            </a:r>
            <a:r>
              <a:rPr lang="es-ES" dirty="0" err="1">
                <a:solidFill>
                  <a:schemeClr val="tx1"/>
                </a:solidFill>
                <a:latin typeface="Avenir Medium"/>
              </a:rPr>
              <a:t>wool</a:t>
            </a:r>
            <a:r>
              <a:rPr lang="es-ES" dirty="0">
                <a:solidFill>
                  <a:schemeClr val="tx1"/>
                </a:solidFill>
                <a:latin typeface="Avenir Medium"/>
              </a:rPr>
              <a:t>, </a:t>
            </a:r>
            <a:r>
              <a:rPr lang="es-ES" dirty="0" err="1">
                <a:solidFill>
                  <a:schemeClr val="tx1"/>
                </a:solidFill>
                <a:latin typeface="Avenir Medium"/>
              </a:rPr>
              <a:t>linen</a:t>
            </a:r>
            <a:r>
              <a:rPr lang="es-ES" dirty="0">
                <a:solidFill>
                  <a:schemeClr val="tx1"/>
                </a:solidFill>
                <a:latin typeface="Avenir Medium"/>
              </a:rPr>
              <a:t> and natural </a:t>
            </a:r>
            <a:r>
              <a:rPr lang="es-ES" dirty="0" err="1">
                <a:solidFill>
                  <a:schemeClr val="tx1"/>
                </a:solidFill>
                <a:latin typeface="Avenir Medium"/>
              </a:rPr>
              <a:t>dyes</a:t>
            </a:r>
            <a:endParaRPr lang="es-ES" dirty="0">
              <a:solidFill>
                <a:schemeClr val="tx1"/>
              </a:solidFill>
              <a:latin typeface="Avenir Medium"/>
            </a:endParaRPr>
          </a:p>
          <a:p>
            <a:pPr marL="571500" indent="-571500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itchFamily="2" charset="2"/>
              <a:buChar char="§"/>
            </a:pPr>
            <a:r>
              <a:rPr lang="es-ES" dirty="0" err="1">
                <a:solidFill>
                  <a:schemeClr val="tx1"/>
                </a:solidFill>
                <a:latin typeface="Avenir Medium"/>
              </a:rPr>
              <a:t>Get</a:t>
            </a:r>
            <a:r>
              <a:rPr lang="es-ES" dirty="0">
                <a:solidFill>
                  <a:schemeClr val="tx1"/>
                </a:solidFill>
                <a:latin typeface="Avenir Medium"/>
              </a:rPr>
              <a:t> </a:t>
            </a:r>
            <a:r>
              <a:rPr lang="es-ES" dirty="0" err="1">
                <a:solidFill>
                  <a:schemeClr val="tx1"/>
                </a:solidFill>
                <a:latin typeface="Avenir Medium"/>
              </a:rPr>
              <a:t>expertise</a:t>
            </a:r>
            <a:r>
              <a:rPr lang="es-ES" dirty="0">
                <a:solidFill>
                  <a:schemeClr val="tx1"/>
                </a:solidFill>
                <a:latin typeface="Avenir Medium"/>
              </a:rPr>
              <a:t> and </a:t>
            </a:r>
            <a:r>
              <a:rPr lang="es-ES" dirty="0" err="1">
                <a:solidFill>
                  <a:schemeClr val="tx1"/>
                </a:solidFill>
                <a:latin typeface="Avenir Medium"/>
              </a:rPr>
              <a:t>help</a:t>
            </a:r>
            <a:r>
              <a:rPr lang="es-ES" dirty="0">
                <a:solidFill>
                  <a:schemeClr val="tx1"/>
                </a:solidFill>
                <a:latin typeface="Avenir Medium"/>
              </a:rPr>
              <a:t> </a:t>
            </a:r>
            <a:r>
              <a:rPr lang="es-ES" dirty="0" err="1">
                <a:solidFill>
                  <a:schemeClr val="tx1"/>
                </a:solidFill>
                <a:latin typeface="Avenir Medium"/>
              </a:rPr>
              <a:t>from</a:t>
            </a:r>
            <a:r>
              <a:rPr lang="es-ES" dirty="0">
                <a:solidFill>
                  <a:schemeClr val="tx1"/>
                </a:solidFill>
                <a:latin typeface="Avenir Medium"/>
              </a:rPr>
              <a:t> </a:t>
            </a:r>
            <a:r>
              <a:rPr lang="es-ES" dirty="0" err="1">
                <a:solidFill>
                  <a:schemeClr val="tx1"/>
                </a:solidFill>
                <a:latin typeface="Avenir Medium"/>
              </a:rPr>
              <a:t>the</a:t>
            </a:r>
            <a:r>
              <a:rPr lang="es-ES" dirty="0">
                <a:solidFill>
                  <a:schemeClr val="tx1"/>
                </a:solidFill>
                <a:latin typeface="Avenir Medium"/>
              </a:rPr>
              <a:t> </a:t>
            </a:r>
            <a:r>
              <a:rPr lang="es-ES" dirty="0" err="1">
                <a:solidFill>
                  <a:schemeClr val="tx1"/>
                </a:solidFill>
                <a:latin typeface="Avenir Medium"/>
              </a:rPr>
              <a:t>Better</a:t>
            </a:r>
            <a:r>
              <a:rPr lang="es-ES" dirty="0">
                <a:solidFill>
                  <a:schemeClr val="tx1"/>
                </a:solidFill>
                <a:latin typeface="Avenir Medium"/>
              </a:rPr>
              <a:t> Cotton </a:t>
            </a:r>
            <a:r>
              <a:rPr lang="es-ES" dirty="0" err="1">
                <a:solidFill>
                  <a:schemeClr val="tx1"/>
                </a:solidFill>
                <a:latin typeface="Avenir Medium"/>
              </a:rPr>
              <a:t>Initiative</a:t>
            </a:r>
            <a:r>
              <a:rPr lang="es-ES" dirty="0">
                <a:solidFill>
                  <a:schemeClr val="tx1"/>
                </a:solidFill>
                <a:latin typeface="Avenir Medium"/>
              </a:rPr>
              <a:t> </a:t>
            </a:r>
          </a:p>
          <a:p>
            <a:pPr algn="ctr" defTabSz="30011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ES" b="1" dirty="0">
              <a:latin typeface="Avenir Medium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CFDB0BC-A533-124B-B594-1834D00F5BFC}"/>
              </a:ext>
            </a:extLst>
          </p:cNvPr>
          <p:cNvSpPr/>
          <p:nvPr/>
        </p:nvSpPr>
        <p:spPr>
          <a:xfrm>
            <a:off x="16375528" y="3148149"/>
            <a:ext cx="5218771" cy="13909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000" dirty="0" err="1">
                <a:solidFill>
                  <a:schemeClr val="tx2"/>
                </a:solidFill>
              </a:rPr>
              <a:t>Change</a:t>
            </a:r>
            <a:r>
              <a:rPr lang="es-ES" sz="4000" dirty="0">
                <a:solidFill>
                  <a:schemeClr val="tx2"/>
                </a:solidFill>
              </a:rPr>
              <a:t> in </a:t>
            </a:r>
            <a:r>
              <a:rPr lang="es-ES" sz="4000" dirty="0" err="1">
                <a:solidFill>
                  <a:schemeClr val="tx2"/>
                </a:solidFill>
              </a:rPr>
              <a:t>Materials</a:t>
            </a:r>
            <a:endParaRPr lang="es-ES" sz="4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3455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26F08-3964-1748-B2C6-DD493B973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AC0C5BA-4880-44EF-9C57-CCC435F2C2F3}"/>
              </a:ext>
            </a:extLst>
          </p:cNvPr>
          <p:cNvGrpSpPr/>
          <p:nvPr/>
        </p:nvGrpSpPr>
        <p:grpSpPr>
          <a:xfrm>
            <a:off x="-12700" y="12841264"/>
            <a:ext cx="24390350" cy="874736"/>
            <a:chOff x="8962256" y="6857999"/>
            <a:chExt cx="6215041" cy="874736"/>
          </a:xfrm>
        </p:grpSpPr>
        <p:sp>
          <p:nvSpPr>
            <p:cNvPr id="13" name="Text Box 37">
              <a:extLst>
                <a:ext uri="{FF2B5EF4-FFF2-40B4-BE49-F238E27FC236}">
                  <a16:creationId xmlns:a16="http://schemas.microsoft.com/office/drawing/2014/main" id="{04040486-3E3D-40BE-A425-AE3EF126FF8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962256" y="6857999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de-DE" dirty="0">
                  <a:latin typeface="Avenir Medium"/>
                </a:rPr>
                <a:t>Management</a:t>
              </a:r>
              <a:br>
                <a:rPr lang="de-DE" dirty="0">
                  <a:latin typeface="Avenir Medium"/>
                </a:rPr>
              </a:br>
              <a:r>
                <a:rPr lang="de-DE" dirty="0">
                  <a:latin typeface="Avenir Medium"/>
                </a:rPr>
                <a:t>Summary</a:t>
              </a:r>
            </a:p>
          </p:txBody>
        </p:sp>
        <p:sp>
          <p:nvSpPr>
            <p:cNvPr id="14" name="Text Box 39">
              <a:extLst>
                <a:ext uri="{FF2B5EF4-FFF2-40B4-BE49-F238E27FC236}">
                  <a16:creationId xmlns:a16="http://schemas.microsoft.com/office/drawing/2014/main" id="{978345C9-B482-4DF8-AB86-0525EED3993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0737982" y="6858000"/>
              <a:ext cx="887863" cy="870075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lternatives</a:t>
              </a:r>
            </a:p>
          </p:txBody>
        </p:sp>
        <p:sp>
          <p:nvSpPr>
            <p:cNvPr id="15" name="Text Box 41">
              <a:extLst>
                <a:ext uri="{FF2B5EF4-FFF2-40B4-BE49-F238E27FC236}">
                  <a16:creationId xmlns:a16="http://schemas.microsoft.com/office/drawing/2014/main" id="{9677A8CD-3B42-498E-AC88-5F53E82FC8C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625845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Implementation</a:t>
              </a:r>
            </a:p>
          </p:txBody>
        </p:sp>
        <p:sp>
          <p:nvSpPr>
            <p:cNvPr id="16" name="Text Box 43">
              <a:extLst>
                <a:ext uri="{FF2B5EF4-FFF2-40B4-BE49-F238E27FC236}">
                  <a16:creationId xmlns:a16="http://schemas.microsoft.com/office/drawing/2014/main" id="{C90412B2-C3A4-47BF-A5DB-BB56A67EFA9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2513708" y="6862659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Financials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7" name="Text Box 47">
              <a:extLst>
                <a:ext uri="{FF2B5EF4-FFF2-40B4-BE49-F238E27FC236}">
                  <a16:creationId xmlns:a16="http://schemas.microsoft.com/office/drawing/2014/main" id="{6D66FE45-A0EB-4978-983E-937702B1E3ED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9850119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nalysis</a:t>
              </a:r>
            </a:p>
          </p:txBody>
        </p:sp>
        <p:sp>
          <p:nvSpPr>
            <p:cNvPr id="18" name="Text Box 43">
              <a:extLst>
                <a:ext uri="{FF2B5EF4-FFF2-40B4-BE49-F238E27FC236}">
                  <a16:creationId xmlns:a16="http://schemas.microsoft.com/office/drawing/2014/main" id="{ABB2F014-2613-459E-B7AA-742179B54E0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401571" y="686266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Risk</a:t>
              </a:r>
            </a:p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Mitigation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9" name="Text Box 43">
              <a:extLst>
                <a:ext uri="{FF2B5EF4-FFF2-40B4-BE49-F238E27FC236}">
                  <a16:creationId xmlns:a16="http://schemas.microsoft.com/office/drawing/2014/main" id="{72184D11-5478-4308-94C1-69168CFC370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4289434" y="686266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Conclusion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39211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9D1CB6D-D36F-DC42-9154-988D61D3E6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9F5D8D-C625-F44B-97F7-11F31352C24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7093" y="3201557"/>
            <a:ext cx="2387567" cy="238756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580562C-800F-5F46-9335-1F70594E4C7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123" y="6520452"/>
            <a:ext cx="2387567" cy="23875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5FF6B8B-281F-5C43-8B4B-A7D575BC9B5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575" y="9723267"/>
            <a:ext cx="2241628" cy="224162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07F4867-61F2-8243-9C95-54B4B7A1982E}"/>
              </a:ext>
            </a:extLst>
          </p:cNvPr>
          <p:cNvSpPr/>
          <p:nvPr/>
        </p:nvSpPr>
        <p:spPr>
          <a:xfrm>
            <a:off x="4326154" y="2897188"/>
            <a:ext cx="12032644" cy="27785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indent="-742950">
              <a:buFont typeface="Wingdings" pitchFamily="2" charset="2"/>
              <a:buChar char="§"/>
            </a:pPr>
            <a:endParaRPr lang="es-ES" dirty="0">
              <a:solidFill>
                <a:schemeClr val="tx2"/>
              </a:solidFill>
              <a:latin typeface="Avenir Roman" panose="02000503020000020003" pitchFamily="2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32C9FB-95D9-4544-8E0B-41EBDD535B95}"/>
              </a:ext>
            </a:extLst>
          </p:cNvPr>
          <p:cNvSpPr/>
          <p:nvPr/>
        </p:nvSpPr>
        <p:spPr>
          <a:xfrm>
            <a:off x="4326154" y="6176009"/>
            <a:ext cx="12032644" cy="27785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indent="-742950">
              <a:buFont typeface="Wingdings" pitchFamily="2" charset="2"/>
              <a:buChar char="§"/>
            </a:pPr>
            <a:endParaRPr lang="es-ES" dirty="0">
              <a:solidFill>
                <a:schemeClr val="tx2"/>
              </a:solidFill>
              <a:latin typeface="Avenir Roman" panose="02000503020000020003" pitchFamily="2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22378C-C681-D148-BF0C-3FABA2FC69B6}"/>
              </a:ext>
            </a:extLst>
          </p:cNvPr>
          <p:cNvSpPr/>
          <p:nvPr/>
        </p:nvSpPr>
        <p:spPr>
          <a:xfrm>
            <a:off x="4348196" y="9454829"/>
            <a:ext cx="12032644" cy="27785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indent="-742950">
              <a:buFont typeface="Wingdings" pitchFamily="2" charset="2"/>
              <a:buChar char="§"/>
            </a:pPr>
            <a:endParaRPr lang="es-ES" dirty="0">
              <a:solidFill>
                <a:schemeClr val="tx2"/>
              </a:solidFill>
              <a:latin typeface="Avenir Roman" panose="02000503020000020003" pitchFamily="2" charset="0"/>
            </a:endParaRPr>
          </a:p>
          <a:p>
            <a:pPr marL="742950" indent="-742950">
              <a:buFont typeface="Wingdings" pitchFamily="2" charset="2"/>
              <a:buChar char="§"/>
            </a:pPr>
            <a:endParaRPr lang="es-ES" dirty="0">
              <a:solidFill>
                <a:schemeClr val="tx2"/>
              </a:solidFill>
              <a:latin typeface="Avenir Roman" panose="02000503020000020003" pitchFamily="2" charset="0"/>
            </a:endParaRPr>
          </a:p>
        </p:txBody>
      </p:sp>
      <p:sp>
        <p:nvSpPr>
          <p:cNvPr id="11" name="Shape 2792">
            <a:extLst>
              <a:ext uri="{FF2B5EF4-FFF2-40B4-BE49-F238E27FC236}">
                <a16:creationId xmlns:a16="http://schemas.microsoft.com/office/drawing/2014/main" id="{C9A78FD8-F0E2-0F42-92A4-C4044DCA0B3E}"/>
              </a:ext>
            </a:extLst>
          </p:cNvPr>
          <p:cNvSpPr/>
          <p:nvPr/>
        </p:nvSpPr>
        <p:spPr>
          <a:xfrm>
            <a:off x="18829303" y="3185650"/>
            <a:ext cx="2982482" cy="29103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949" y="13580"/>
                </a:moveTo>
                <a:cubicBezTo>
                  <a:pt x="11701" y="13784"/>
                  <a:pt x="11474" y="13901"/>
                  <a:pt x="11085" y="13931"/>
                </a:cubicBezTo>
                <a:lnTo>
                  <a:pt x="11085" y="11339"/>
                </a:lnTo>
                <a:cubicBezTo>
                  <a:pt x="11251" y="11383"/>
                  <a:pt x="11321" y="11435"/>
                  <a:pt x="11479" y="11494"/>
                </a:cubicBezTo>
                <a:cubicBezTo>
                  <a:pt x="11638" y="11554"/>
                  <a:pt x="11780" y="11632"/>
                  <a:pt x="11906" y="11728"/>
                </a:cubicBezTo>
                <a:cubicBezTo>
                  <a:pt x="12032" y="11824"/>
                  <a:pt x="12133" y="11943"/>
                  <a:pt x="12208" y="12084"/>
                </a:cubicBezTo>
                <a:cubicBezTo>
                  <a:pt x="12284" y="12225"/>
                  <a:pt x="12322" y="12399"/>
                  <a:pt x="12322" y="12607"/>
                </a:cubicBezTo>
                <a:cubicBezTo>
                  <a:pt x="12322" y="13052"/>
                  <a:pt x="12198" y="13376"/>
                  <a:pt x="11949" y="13580"/>
                </a:cubicBezTo>
                <a:moveTo>
                  <a:pt x="10437" y="9837"/>
                </a:moveTo>
                <a:cubicBezTo>
                  <a:pt x="10286" y="9800"/>
                  <a:pt x="10228" y="9753"/>
                  <a:pt x="10081" y="9698"/>
                </a:cubicBezTo>
                <a:cubicBezTo>
                  <a:pt x="9933" y="9642"/>
                  <a:pt x="9803" y="9570"/>
                  <a:pt x="9692" y="9481"/>
                </a:cubicBezTo>
                <a:cubicBezTo>
                  <a:pt x="9581" y="9392"/>
                  <a:pt x="9489" y="9285"/>
                  <a:pt x="9417" y="9159"/>
                </a:cubicBezTo>
                <a:cubicBezTo>
                  <a:pt x="9345" y="9032"/>
                  <a:pt x="9309" y="8880"/>
                  <a:pt x="9309" y="8702"/>
                </a:cubicBezTo>
                <a:cubicBezTo>
                  <a:pt x="9309" y="8309"/>
                  <a:pt x="9415" y="8030"/>
                  <a:pt x="9627" y="7862"/>
                </a:cubicBezTo>
                <a:cubicBezTo>
                  <a:pt x="9839" y="7696"/>
                  <a:pt x="10048" y="7612"/>
                  <a:pt x="10437" y="7612"/>
                </a:cubicBezTo>
                <a:cubicBezTo>
                  <a:pt x="10437" y="7612"/>
                  <a:pt x="10437" y="9837"/>
                  <a:pt x="10437" y="9837"/>
                </a:cubicBezTo>
                <a:close/>
                <a:moveTo>
                  <a:pt x="12765" y="10727"/>
                </a:moveTo>
                <a:cubicBezTo>
                  <a:pt x="12527" y="10542"/>
                  <a:pt x="12253" y="10390"/>
                  <a:pt x="11944" y="10271"/>
                </a:cubicBezTo>
                <a:cubicBezTo>
                  <a:pt x="11634" y="10153"/>
                  <a:pt x="11410" y="10049"/>
                  <a:pt x="11085" y="9959"/>
                </a:cubicBezTo>
                <a:lnTo>
                  <a:pt x="11085" y="7612"/>
                </a:lnTo>
                <a:cubicBezTo>
                  <a:pt x="11474" y="7612"/>
                  <a:pt x="11665" y="7713"/>
                  <a:pt x="11841" y="7913"/>
                </a:cubicBezTo>
                <a:cubicBezTo>
                  <a:pt x="12017" y="8113"/>
                  <a:pt x="12113" y="8402"/>
                  <a:pt x="12127" y="8781"/>
                </a:cubicBezTo>
                <a:lnTo>
                  <a:pt x="13359" y="8781"/>
                </a:lnTo>
                <a:cubicBezTo>
                  <a:pt x="13359" y="8417"/>
                  <a:pt x="13295" y="8098"/>
                  <a:pt x="13170" y="7824"/>
                </a:cubicBezTo>
                <a:cubicBezTo>
                  <a:pt x="13043" y="7550"/>
                  <a:pt x="12875" y="7323"/>
                  <a:pt x="12662" y="7145"/>
                </a:cubicBezTo>
                <a:cubicBezTo>
                  <a:pt x="12449" y="6967"/>
                  <a:pt x="12200" y="6833"/>
                  <a:pt x="11911" y="6744"/>
                </a:cubicBezTo>
                <a:cubicBezTo>
                  <a:pt x="11623" y="6656"/>
                  <a:pt x="11410" y="6611"/>
                  <a:pt x="11085" y="6611"/>
                </a:cubicBezTo>
                <a:lnTo>
                  <a:pt x="11085" y="5881"/>
                </a:lnTo>
                <a:lnTo>
                  <a:pt x="10437" y="5881"/>
                </a:lnTo>
                <a:lnTo>
                  <a:pt x="10437" y="6611"/>
                </a:lnTo>
                <a:cubicBezTo>
                  <a:pt x="10113" y="6611"/>
                  <a:pt x="9895" y="6659"/>
                  <a:pt x="9600" y="6756"/>
                </a:cubicBezTo>
                <a:cubicBezTo>
                  <a:pt x="9305" y="6852"/>
                  <a:pt x="9044" y="6991"/>
                  <a:pt x="8817" y="7173"/>
                </a:cubicBezTo>
                <a:cubicBezTo>
                  <a:pt x="8590" y="7355"/>
                  <a:pt x="8410" y="7581"/>
                  <a:pt x="8277" y="7852"/>
                </a:cubicBezTo>
                <a:cubicBezTo>
                  <a:pt x="8144" y="8122"/>
                  <a:pt x="8077" y="8436"/>
                  <a:pt x="8077" y="8791"/>
                </a:cubicBezTo>
                <a:cubicBezTo>
                  <a:pt x="8077" y="9199"/>
                  <a:pt x="8150" y="9541"/>
                  <a:pt x="8293" y="9815"/>
                </a:cubicBezTo>
                <a:cubicBezTo>
                  <a:pt x="8438" y="10089"/>
                  <a:pt x="8626" y="10317"/>
                  <a:pt x="8860" y="10499"/>
                </a:cubicBezTo>
                <a:cubicBezTo>
                  <a:pt x="9094" y="10681"/>
                  <a:pt x="9357" y="10829"/>
                  <a:pt x="9649" y="10944"/>
                </a:cubicBezTo>
                <a:cubicBezTo>
                  <a:pt x="9940" y="11059"/>
                  <a:pt x="10142" y="11157"/>
                  <a:pt x="10437" y="11239"/>
                </a:cubicBezTo>
                <a:lnTo>
                  <a:pt x="10437" y="13931"/>
                </a:lnTo>
                <a:cubicBezTo>
                  <a:pt x="9940" y="13916"/>
                  <a:pt x="9676" y="13768"/>
                  <a:pt x="9460" y="13486"/>
                </a:cubicBezTo>
                <a:cubicBezTo>
                  <a:pt x="9244" y="13204"/>
                  <a:pt x="9139" y="12818"/>
                  <a:pt x="9147" y="12329"/>
                </a:cubicBezTo>
                <a:lnTo>
                  <a:pt x="7915" y="12329"/>
                </a:lnTo>
                <a:cubicBezTo>
                  <a:pt x="7908" y="12744"/>
                  <a:pt x="7967" y="13111"/>
                  <a:pt x="8094" y="13430"/>
                </a:cubicBezTo>
                <a:cubicBezTo>
                  <a:pt x="8220" y="13749"/>
                  <a:pt x="8397" y="14018"/>
                  <a:pt x="8628" y="14236"/>
                </a:cubicBezTo>
                <a:cubicBezTo>
                  <a:pt x="8858" y="14455"/>
                  <a:pt x="9136" y="14624"/>
                  <a:pt x="9460" y="14743"/>
                </a:cubicBezTo>
                <a:cubicBezTo>
                  <a:pt x="9784" y="14861"/>
                  <a:pt x="10048" y="14924"/>
                  <a:pt x="10437" y="14932"/>
                </a:cubicBezTo>
                <a:lnTo>
                  <a:pt x="10437" y="15692"/>
                </a:lnTo>
                <a:lnTo>
                  <a:pt x="11085" y="15692"/>
                </a:lnTo>
                <a:lnTo>
                  <a:pt x="11085" y="14932"/>
                </a:lnTo>
                <a:cubicBezTo>
                  <a:pt x="11446" y="14917"/>
                  <a:pt x="11688" y="14856"/>
                  <a:pt x="11998" y="14748"/>
                </a:cubicBezTo>
                <a:cubicBezTo>
                  <a:pt x="12307" y="14641"/>
                  <a:pt x="12578" y="14485"/>
                  <a:pt x="12808" y="14281"/>
                </a:cubicBezTo>
                <a:cubicBezTo>
                  <a:pt x="13038" y="14077"/>
                  <a:pt x="13220" y="13821"/>
                  <a:pt x="13353" y="13513"/>
                </a:cubicBezTo>
                <a:cubicBezTo>
                  <a:pt x="13486" y="13206"/>
                  <a:pt x="13553" y="12844"/>
                  <a:pt x="13553" y="12429"/>
                </a:cubicBezTo>
                <a:cubicBezTo>
                  <a:pt x="13553" y="12028"/>
                  <a:pt x="13481" y="11691"/>
                  <a:pt x="13337" y="11417"/>
                </a:cubicBezTo>
                <a:cubicBezTo>
                  <a:pt x="13193" y="11142"/>
                  <a:pt x="13002" y="10912"/>
                  <a:pt x="12765" y="10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</p:spTree>
    <p:extLst>
      <p:ext uri="{BB962C8B-B14F-4D97-AF65-F5344CB8AC3E}">
        <p14:creationId xmlns:p14="http://schemas.microsoft.com/office/powerpoint/2010/main" val="196433718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E71AD09-2404-46CD-AFF2-06FCAAB4E893}"/>
              </a:ext>
            </a:extLst>
          </p:cNvPr>
          <p:cNvSpPr txBox="1">
            <a:spLocks/>
          </p:cNvSpPr>
          <p:nvPr/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/>
          <a:lstStyle>
            <a:lvl1pPr algn="l" defTabSz="182840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00" b="0" i="0" kern="1200">
                <a:solidFill>
                  <a:schemeClr val="tx1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sz="6000" dirty="0">
                <a:latin typeface="Avenir Medium"/>
              </a:rPr>
              <a:t>Make Adequate Assumptions for Valid Calculations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20F9689-583B-4047-93AB-9AD1C31F38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51405" y="4212043"/>
            <a:ext cx="6883957" cy="6730412"/>
            <a:chOff x="2764" y="1115"/>
            <a:chExt cx="2152" cy="2104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1E32DA0E-3DDE-4038-889D-40FF31B0249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764" y="1115"/>
              <a:ext cx="2152" cy="21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 sz="1400">
                <a:latin typeface="Avenir Medium"/>
              </a:endParaRPr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B338E868-E4D9-4933-8856-F79642A62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" y="1115"/>
              <a:ext cx="1247" cy="1066"/>
            </a:xfrm>
            <a:custGeom>
              <a:avLst/>
              <a:gdLst>
                <a:gd name="T0" fmla="*/ 1395 w 2494"/>
                <a:gd name="T1" fmla="*/ 212 h 2133"/>
                <a:gd name="T2" fmla="*/ 1355 w 2494"/>
                <a:gd name="T3" fmla="*/ 188 h 2133"/>
                <a:gd name="T4" fmla="*/ 1258 w 2494"/>
                <a:gd name="T5" fmla="*/ 133 h 2133"/>
                <a:gd name="T6" fmla="*/ 1129 w 2494"/>
                <a:gd name="T7" fmla="*/ 68 h 2133"/>
                <a:gd name="T8" fmla="*/ 1059 w 2494"/>
                <a:gd name="T9" fmla="*/ 39 h 2133"/>
                <a:gd name="T10" fmla="*/ 992 w 2494"/>
                <a:gd name="T11" fmla="*/ 16 h 2133"/>
                <a:gd name="T12" fmla="*/ 983 w 2494"/>
                <a:gd name="T13" fmla="*/ 14 h 2133"/>
                <a:gd name="T14" fmla="*/ 937 w 2494"/>
                <a:gd name="T15" fmla="*/ 4 h 2133"/>
                <a:gd name="T16" fmla="*/ 885 w 2494"/>
                <a:gd name="T17" fmla="*/ 0 h 2133"/>
                <a:gd name="T18" fmla="*/ 816 w 2494"/>
                <a:gd name="T19" fmla="*/ 4 h 2133"/>
                <a:gd name="T20" fmla="*/ 736 w 2494"/>
                <a:gd name="T21" fmla="*/ 18 h 2133"/>
                <a:gd name="T22" fmla="*/ 641 w 2494"/>
                <a:gd name="T23" fmla="*/ 47 h 2133"/>
                <a:gd name="T24" fmla="*/ 535 w 2494"/>
                <a:gd name="T25" fmla="*/ 93 h 2133"/>
                <a:gd name="T26" fmla="*/ 477 w 2494"/>
                <a:gd name="T27" fmla="*/ 126 h 2133"/>
                <a:gd name="T28" fmla="*/ 364 w 2494"/>
                <a:gd name="T29" fmla="*/ 194 h 2133"/>
                <a:gd name="T30" fmla="*/ 215 w 2494"/>
                <a:gd name="T31" fmla="*/ 291 h 2133"/>
                <a:gd name="T32" fmla="*/ 102 w 2494"/>
                <a:gd name="T33" fmla="*/ 375 h 2133"/>
                <a:gd name="T34" fmla="*/ 35 w 2494"/>
                <a:gd name="T35" fmla="*/ 431 h 2133"/>
                <a:gd name="T36" fmla="*/ 8 w 2494"/>
                <a:gd name="T37" fmla="*/ 456 h 2133"/>
                <a:gd name="T38" fmla="*/ 3 w 2494"/>
                <a:gd name="T39" fmla="*/ 490 h 2133"/>
                <a:gd name="T40" fmla="*/ 0 w 2494"/>
                <a:gd name="T41" fmla="*/ 533 h 2133"/>
                <a:gd name="T42" fmla="*/ 1 w 2494"/>
                <a:gd name="T43" fmla="*/ 596 h 2133"/>
                <a:gd name="T44" fmla="*/ 10 w 2494"/>
                <a:gd name="T45" fmla="*/ 677 h 2133"/>
                <a:gd name="T46" fmla="*/ 32 w 2494"/>
                <a:gd name="T47" fmla="*/ 781 h 2133"/>
                <a:gd name="T48" fmla="*/ 66 w 2494"/>
                <a:gd name="T49" fmla="*/ 905 h 2133"/>
                <a:gd name="T50" fmla="*/ 116 w 2494"/>
                <a:gd name="T51" fmla="*/ 1052 h 2133"/>
                <a:gd name="T52" fmla="*/ 141 w 2494"/>
                <a:gd name="T53" fmla="*/ 1127 h 2133"/>
                <a:gd name="T54" fmla="*/ 220 w 2494"/>
                <a:gd name="T55" fmla="*/ 1343 h 2133"/>
                <a:gd name="T56" fmla="*/ 353 w 2494"/>
                <a:gd name="T57" fmla="*/ 1682 h 2133"/>
                <a:gd name="T58" fmla="*/ 544 w 2494"/>
                <a:gd name="T59" fmla="*/ 2133 h 2133"/>
                <a:gd name="T60" fmla="*/ 1630 w 2494"/>
                <a:gd name="T61" fmla="*/ 1228 h 2133"/>
                <a:gd name="T62" fmla="*/ 1653 w 2494"/>
                <a:gd name="T63" fmla="*/ 1206 h 2133"/>
                <a:gd name="T64" fmla="*/ 1720 w 2494"/>
                <a:gd name="T65" fmla="*/ 1153 h 2133"/>
                <a:gd name="T66" fmla="*/ 1818 w 2494"/>
                <a:gd name="T67" fmla="*/ 1081 h 2133"/>
                <a:gd name="T68" fmla="*/ 1942 w 2494"/>
                <a:gd name="T69" fmla="*/ 1005 h 2133"/>
                <a:gd name="T70" fmla="*/ 2011 w 2494"/>
                <a:gd name="T71" fmla="*/ 969 h 2133"/>
                <a:gd name="T72" fmla="*/ 2081 w 2494"/>
                <a:gd name="T73" fmla="*/ 939 h 2133"/>
                <a:gd name="T74" fmla="*/ 2152 w 2494"/>
                <a:gd name="T75" fmla="*/ 914 h 2133"/>
                <a:gd name="T76" fmla="*/ 2224 w 2494"/>
                <a:gd name="T77" fmla="*/ 896 h 2133"/>
                <a:gd name="T78" fmla="*/ 2296 w 2494"/>
                <a:gd name="T79" fmla="*/ 889 h 2133"/>
                <a:gd name="T80" fmla="*/ 2364 w 2494"/>
                <a:gd name="T81" fmla="*/ 892 h 2133"/>
                <a:gd name="T82" fmla="*/ 2431 w 2494"/>
                <a:gd name="T83" fmla="*/ 908 h 2133"/>
                <a:gd name="T84" fmla="*/ 2494 w 2494"/>
                <a:gd name="T85" fmla="*/ 941 h 2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94" h="2133">
                  <a:moveTo>
                    <a:pt x="2494" y="941"/>
                  </a:moveTo>
                  <a:lnTo>
                    <a:pt x="1395" y="212"/>
                  </a:lnTo>
                  <a:lnTo>
                    <a:pt x="1395" y="212"/>
                  </a:lnTo>
                  <a:lnTo>
                    <a:pt x="1355" y="188"/>
                  </a:lnTo>
                  <a:lnTo>
                    <a:pt x="1312" y="163"/>
                  </a:lnTo>
                  <a:lnTo>
                    <a:pt x="1258" y="133"/>
                  </a:lnTo>
                  <a:lnTo>
                    <a:pt x="1195" y="101"/>
                  </a:lnTo>
                  <a:lnTo>
                    <a:pt x="1129" y="68"/>
                  </a:lnTo>
                  <a:lnTo>
                    <a:pt x="1093" y="52"/>
                  </a:lnTo>
                  <a:lnTo>
                    <a:pt x="1059" y="39"/>
                  </a:lnTo>
                  <a:lnTo>
                    <a:pt x="1027" y="27"/>
                  </a:lnTo>
                  <a:lnTo>
                    <a:pt x="992" y="16"/>
                  </a:lnTo>
                  <a:lnTo>
                    <a:pt x="992" y="16"/>
                  </a:lnTo>
                  <a:lnTo>
                    <a:pt x="983" y="14"/>
                  </a:lnTo>
                  <a:lnTo>
                    <a:pt x="957" y="7"/>
                  </a:lnTo>
                  <a:lnTo>
                    <a:pt x="937" y="4"/>
                  </a:lnTo>
                  <a:lnTo>
                    <a:pt x="912" y="2"/>
                  </a:lnTo>
                  <a:lnTo>
                    <a:pt x="885" y="0"/>
                  </a:lnTo>
                  <a:lnTo>
                    <a:pt x="852" y="0"/>
                  </a:lnTo>
                  <a:lnTo>
                    <a:pt x="816" y="4"/>
                  </a:lnTo>
                  <a:lnTo>
                    <a:pt x="777" y="9"/>
                  </a:lnTo>
                  <a:lnTo>
                    <a:pt x="736" y="18"/>
                  </a:lnTo>
                  <a:lnTo>
                    <a:pt x="689" y="29"/>
                  </a:lnTo>
                  <a:lnTo>
                    <a:pt x="641" y="47"/>
                  </a:lnTo>
                  <a:lnTo>
                    <a:pt x="588" y="66"/>
                  </a:lnTo>
                  <a:lnTo>
                    <a:pt x="535" y="93"/>
                  </a:lnTo>
                  <a:lnTo>
                    <a:pt x="477" y="126"/>
                  </a:lnTo>
                  <a:lnTo>
                    <a:pt x="477" y="126"/>
                  </a:lnTo>
                  <a:lnTo>
                    <a:pt x="421" y="158"/>
                  </a:lnTo>
                  <a:lnTo>
                    <a:pt x="364" y="194"/>
                  </a:lnTo>
                  <a:lnTo>
                    <a:pt x="292" y="239"/>
                  </a:lnTo>
                  <a:lnTo>
                    <a:pt x="215" y="291"/>
                  </a:lnTo>
                  <a:lnTo>
                    <a:pt x="138" y="346"/>
                  </a:lnTo>
                  <a:lnTo>
                    <a:pt x="102" y="375"/>
                  </a:lnTo>
                  <a:lnTo>
                    <a:pt x="66" y="402"/>
                  </a:lnTo>
                  <a:lnTo>
                    <a:pt x="35" y="431"/>
                  </a:lnTo>
                  <a:lnTo>
                    <a:pt x="8" y="456"/>
                  </a:lnTo>
                  <a:lnTo>
                    <a:pt x="8" y="456"/>
                  </a:lnTo>
                  <a:lnTo>
                    <a:pt x="7" y="465"/>
                  </a:lnTo>
                  <a:lnTo>
                    <a:pt x="3" y="490"/>
                  </a:lnTo>
                  <a:lnTo>
                    <a:pt x="1" y="510"/>
                  </a:lnTo>
                  <a:lnTo>
                    <a:pt x="0" y="533"/>
                  </a:lnTo>
                  <a:lnTo>
                    <a:pt x="0" y="562"/>
                  </a:lnTo>
                  <a:lnTo>
                    <a:pt x="1" y="596"/>
                  </a:lnTo>
                  <a:lnTo>
                    <a:pt x="5" y="634"/>
                  </a:lnTo>
                  <a:lnTo>
                    <a:pt x="10" y="677"/>
                  </a:lnTo>
                  <a:lnTo>
                    <a:pt x="19" y="725"/>
                  </a:lnTo>
                  <a:lnTo>
                    <a:pt x="32" y="781"/>
                  </a:lnTo>
                  <a:lnTo>
                    <a:pt x="46" y="840"/>
                  </a:lnTo>
                  <a:lnTo>
                    <a:pt x="66" y="905"/>
                  </a:lnTo>
                  <a:lnTo>
                    <a:pt x="89" y="975"/>
                  </a:lnTo>
                  <a:lnTo>
                    <a:pt x="116" y="1052"/>
                  </a:lnTo>
                  <a:lnTo>
                    <a:pt x="116" y="1052"/>
                  </a:lnTo>
                  <a:lnTo>
                    <a:pt x="141" y="1127"/>
                  </a:lnTo>
                  <a:lnTo>
                    <a:pt x="174" y="1217"/>
                  </a:lnTo>
                  <a:lnTo>
                    <a:pt x="220" y="1343"/>
                  </a:lnTo>
                  <a:lnTo>
                    <a:pt x="280" y="1497"/>
                  </a:lnTo>
                  <a:lnTo>
                    <a:pt x="353" y="1682"/>
                  </a:lnTo>
                  <a:lnTo>
                    <a:pt x="439" y="1896"/>
                  </a:lnTo>
                  <a:lnTo>
                    <a:pt x="544" y="2133"/>
                  </a:lnTo>
                  <a:lnTo>
                    <a:pt x="544" y="2133"/>
                  </a:lnTo>
                  <a:lnTo>
                    <a:pt x="1630" y="1228"/>
                  </a:lnTo>
                  <a:lnTo>
                    <a:pt x="1630" y="1228"/>
                  </a:lnTo>
                  <a:lnTo>
                    <a:pt x="1653" y="1206"/>
                  </a:lnTo>
                  <a:lnTo>
                    <a:pt x="1682" y="1183"/>
                  </a:lnTo>
                  <a:lnTo>
                    <a:pt x="1720" y="1153"/>
                  </a:lnTo>
                  <a:lnTo>
                    <a:pt x="1766" y="1118"/>
                  </a:lnTo>
                  <a:lnTo>
                    <a:pt x="1818" y="1081"/>
                  </a:lnTo>
                  <a:lnTo>
                    <a:pt x="1878" y="1043"/>
                  </a:lnTo>
                  <a:lnTo>
                    <a:pt x="1942" y="1005"/>
                  </a:lnTo>
                  <a:lnTo>
                    <a:pt x="1976" y="987"/>
                  </a:lnTo>
                  <a:lnTo>
                    <a:pt x="2011" y="969"/>
                  </a:lnTo>
                  <a:lnTo>
                    <a:pt x="2045" y="953"/>
                  </a:lnTo>
                  <a:lnTo>
                    <a:pt x="2081" y="939"/>
                  </a:lnTo>
                  <a:lnTo>
                    <a:pt x="2116" y="925"/>
                  </a:lnTo>
                  <a:lnTo>
                    <a:pt x="2152" y="914"/>
                  </a:lnTo>
                  <a:lnTo>
                    <a:pt x="2188" y="903"/>
                  </a:lnTo>
                  <a:lnTo>
                    <a:pt x="2224" y="896"/>
                  </a:lnTo>
                  <a:lnTo>
                    <a:pt x="2260" y="890"/>
                  </a:lnTo>
                  <a:lnTo>
                    <a:pt x="2296" y="889"/>
                  </a:lnTo>
                  <a:lnTo>
                    <a:pt x="2330" y="889"/>
                  </a:lnTo>
                  <a:lnTo>
                    <a:pt x="2364" y="892"/>
                  </a:lnTo>
                  <a:lnTo>
                    <a:pt x="2398" y="899"/>
                  </a:lnTo>
                  <a:lnTo>
                    <a:pt x="2431" y="908"/>
                  </a:lnTo>
                  <a:lnTo>
                    <a:pt x="2463" y="923"/>
                  </a:lnTo>
                  <a:lnTo>
                    <a:pt x="2494" y="941"/>
                  </a:lnTo>
                  <a:lnTo>
                    <a:pt x="2494" y="94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 sz="1400">
                <a:latin typeface="Avenir Medium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193AE227-A1AE-4E10-BE6C-A3D9D4BF8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9" y="1558"/>
              <a:ext cx="266" cy="210"/>
            </a:xfrm>
            <a:custGeom>
              <a:avLst/>
              <a:gdLst>
                <a:gd name="T0" fmla="*/ 0 w 532"/>
                <a:gd name="T1" fmla="*/ 11 h 422"/>
                <a:gd name="T2" fmla="*/ 0 w 532"/>
                <a:gd name="T3" fmla="*/ 11 h 422"/>
                <a:gd name="T4" fmla="*/ 50 w 532"/>
                <a:gd name="T5" fmla="*/ 49 h 422"/>
                <a:gd name="T6" fmla="*/ 180 w 532"/>
                <a:gd name="T7" fmla="*/ 144 h 422"/>
                <a:gd name="T8" fmla="*/ 262 w 532"/>
                <a:gd name="T9" fmla="*/ 206 h 422"/>
                <a:gd name="T10" fmla="*/ 352 w 532"/>
                <a:gd name="T11" fmla="*/ 275 h 422"/>
                <a:gd name="T12" fmla="*/ 442 w 532"/>
                <a:gd name="T13" fmla="*/ 348 h 422"/>
                <a:gd name="T14" fmla="*/ 532 w 532"/>
                <a:gd name="T15" fmla="*/ 422 h 422"/>
                <a:gd name="T16" fmla="*/ 532 w 532"/>
                <a:gd name="T17" fmla="*/ 422 h 422"/>
                <a:gd name="T18" fmla="*/ 528 w 532"/>
                <a:gd name="T19" fmla="*/ 409 h 422"/>
                <a:gd name="T20" fmla="*/ 515 w 532"/>
                <a:gd name="T21" fmla="*/ 373 h 422"/>
                <a:gd name="T22" fmla="*/ 496 w 532"/>
                <a:gd name="T23" fmla="*/ 321 h 422"/>
                <a:gd name="T24" fmla="*/ 483 w 532"/>
                <a:gd name="T25" fmla="*/ 291 h 422"/>
                <a:gd name="T26" fmla="*/ 469 w 532"/>
                <a:gd name="T27" fmla="*/ 259 h 422"/>
                <a:gd name="T28" fmla="*/ 451 w 532"/>
                <a:gd name="T29" fmla="*/ 226 h 422"/>
                <a:gd name="T30" fmla="*/ 431 w 532"/>
                <a:gd name="T31" fmla="*/ 194 h 422"/>
                <a:gd name="T32" fmla="*/ 408 w 532"/>
                <a:gd name="T33" fmla="*/ 160 h 422"/>
                <a:gd name="T34" fmla="*/ 383 w 532"/>
                <a:gd name="T35" fmla="*/ 129 h 422"/>
                <a:gd name="T36" fmla="*/ 356 w 532"/>
                <a:gd name="T37" fmla="*/ 99 h 422"/>
                <a:gd name="T38" fmla="*/ 325 w 532"/>
                <a:gd name="T39" fmla="*/ 72 h 422"/>
                <a:gd name="T40" fmla="*/ 309 w 532"/>
                <a:gd name="T41" fmla="*/ 59 h 422"/>
                <a:gd name="T42" fmla="*/ 293 w 532"/>
                <a:gd name="T43" fmla="*/ 49 h 422"/>
                <a:gd name="T44" fmla="*/ 275 w 532"/>
                <a:gd name="T45" fmla="*/ 38 h 422"/>
                <a:gd name="T46" fmla="*/ 257 w 532"/>
                <a:gd name="T47" fmla="*/ 29 h 422"/>
                <a:gd name="T48" fmla="*/ 257 w 532"/>
                <a:gd name="T49" fmla="*/ 29 h 422"/>
                <a:gd name="T50" fmla="*/ 239 w 532"/>
                <a:gd name="T51" fmla="*/ 22 h 422"/>
                <a:gd name="T52" fmla="*/ 217 w 532"/>
                <a:gd name="T53" fmla="*/ 14 h 422"/>
                <a:gd name="T54" fmla="*/ 189 w 532"/>
                <a:gd name="T55" fmla="*/ 7 h 422"/>
                <a:gd name="T56" fmla="*/ 151 w 532"/>
                <a:gd name="T57" fmla="*/ 2 h 422"/>
                <a:gd name="T58" fmla="*/ 131 w 532"/>
                <a:gd name="T59" fmla="*/ 0 h 422"/>
                <a:gd name="T60" fmla="*/ 108 w 532"/>
                <a:gd name="T61" fmla="*/ 0 h 422"/>
                <a:gd name="T62" fmla="*/ 83 w 532"/>
                <a:gd name="T63" fmla="*/ 0 h 422"/>
                <a:gd name="T64" fmla="*/ 58 w 532"/>
                <a:gd name="T65" fmla="*/ 2 h 422"/>
                <a:gd name="T66" fmla="*/ 29 w 532"/>
                <a:gd name="T67" fmla="*/ 5 h 422"/>
                <a:gd name="T68" fmla="*/ 0 w 532"/>
                <a:gd name="T69" fmla="*/ 11 h 422"/>
                <a:gd name="T70" fmla="*/ 0 w 532"/>
                <a:gd name="T71" fmla="*/ 11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32" h="422">
                  <a:moveTo>
                    <a:pt x="0" y="11"/>
                  </a:moveTo>
                  <a:lnTo>
                    <a:pt x="0" y="11"/>
                  </a:lnTo>
                  <a:lnTo>
                    <a:pt x="50" y="49"/>
                  </a:lnTo>
                  <a:lnTo>
                    <a:pt x="180" y="144"/>
                  </a:lnTo>
                  <a:lnTo>
                    <a:pt x="262" y="206"/>
                  </a:lnTo>
                  <a:lnTo>
                    <a:pt x="352" y="275"/>
                  </a:lnTo>
                  <a:lnTo>
                    <a:pt x="442" y="348"/>
                  </a:lnTo>
                  <a:lnTo>
                    <a:pt x="532" y="422"/>
                  </a:lnTo>
                  <a:lnTo>
                    <a:pt x="532" y="422"/>
                  </a:lnTo>
                  <a:lnTo>
                    <a:pt x="528" y="409"/>
                  </a:lnTo>
                  <a:lnTo>
                    <a:pt x="515" y="373"/>
                  </a:lnTo>
                  <a:lnTo>
                    <a:pt x="496" y="321"/>
                  </a:lnTo>
                  <a:lnTo>
                    <a:pt x="483" y="291"/>
                  </a:lnTo>
                  <a:lnTo>
                    <a:pt x="469" y="259"/>
                  </a:lnTo>
                  <a:lnTo>
                    <a:pt x="451" y="226"/>
                  </a:lnTo>
                  <a:lnTo>
                    <a:pt x="431" y="194"/>
                  </a:lnTo>
                  <a:lnTo>
                    <a:pt x="408" y="160"/>
                  </a:lnTo>
                  <a:lnTo>
                    <a:pt x="383" y="129"/>
                  </a:lnTo>
                  <a:lnTo>
                    <a:pt x="356" y="99"/>
                  </a:lnTo>
                  <a:lnTo>
                    <a:pt x="325" y="72"/>
                  </a:lnTo>
                  <a:lnTo>
                    <a:pt x="309" y="59"/>
                  </a:lnTo>
                  <a:lnTo>
                    <a:pt x="293" y="49"/>
                  </a:lnTo>
                  <a:lnTo>
                    <a:pt x="275" y="38"/>
                  </a:lnTo>
                  <a:lnTo>
                    <a:pt x="257" y="29"/>
                  </a:lnTo>
                  <a:lnTo>
                    <a:pt x="257" y="29"/>
                  </a:lnTo>
                  <a:lnTo>
                    <a:pt x="239" y="22"/>
                  </a:lnTo>
                  <a:lnTo>
                    <a:pt x="217" y="14"/>
                  </a:lnTo>
                  <a:lnTo>
                    <a:pt x="189" y="7"/>
                  </a:lnTo>
                  <a:lnTo>
                    <a:pt x="151" y="2"/>
                  </a:lnTo>
                  <a:lnTo>
                    <a:pt x="131" y="0"/>
                  </a:lnTo>
                  <a:lnTo>
                    <a:pt x="108" y="0"/>
                  </a:lnTo>
                  <a:lnTo>
                    <a:pt x="83" y="0"/>
                  </a:lnTo>
                  <a:lnTo>
                    <a:pt x="58" y="2"/>
                  </a:lnTo>
                  <a:lnTo>
                    <a:pt x="29" y="5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 sz="1400">
                <a:latin typeface="Avenir Medium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8EF6AD51-2C72-4483-B825-927D51C676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" y="1225"/>
              <a:ext cx="992" cy="1147"/>
            </a:xfrm>
            <a:custGeom>
              <a:avLst/>
              <a:gdLst>
                <a:gd name="T0" fmla="*/ 397 w 1984"/>
                <a:gd name="T1" fmla="*/ 811 h 2292"/>
                <a:gd name="T2" fmla="*/ 363 w 1984"/>
                <a:gd name="T3" fmla="*/ 842 h 2292"/>
                <a:gd name="T4" fmla="*/ 278 w 1984"/>
                <a:gd name="T5" fmla="*/ 915 h 2292"/>
                <a:gd name="T6" fmla="*/ 176 w 1984"/>
                <a:gd name="T7" fmla="*/ 1019 h 2292"/>
                <a:gd name="T8" fmla="*/ 128 w 1984"/>
                <a:gd name="T9" fmla="*/ 1075 h 2292"/>
                <a:gd name="T10" fmla="*/ 84 w 1984"/>
                <a:gd name="T11" fmla="*/ 1131 h 2292"/>
                <a:gd name="T12" fmla="*/ 79 w 1984"/>
                <a:gd name="T13" fmla="*/ 1138 h 2292"/>
                <a:gd name="T14" fmla="*/ 54 w 1984"/>
                <a:gd name="T15" fmla="*/ 1181 h 2292"/>
                <a:gd name="T16" fmla="*/ 34 w 1984"/>
                <a:gd name="T17" fmla="*/ 1230 h 2292"/>
                <a:gd name="T18" fmla="*/ 16 w 1984"/>
                <a:gd name="T19" fmla="*/ 1294 h 2292"/>
                <a:gd name="T20" fmla="*/ 4 w 1984"/>
                <a:gd name="T21" fmla="*/ 1375 h 2292"/>
                <a:gd name="T22" fmla="*/ 0 w 1984"/>
                <a:gd name="T23" fmla="*/ 1474 h 2292"/>
                <a:gd name="T24" fmla="*/ 13 w 1984"/>
                <a:gd name="T25" fmla="*/ 1590 h 2292"/>
                <a:gd name="T26" fmla="*/ 23 w 1984"/>
                <a:gd name="T27" fmla="*/ 1655 h 2292"/>
                <a:gd name="T28" fmla="*/ 54 w 1984"/>
                <a:gd name="T29" fmla="*/ 1784 h 2292"/>
                <a:gd name="T30" fmla="*/ 99 w 1984"/>
                <a:gd name="T31" fmla="*/ 1955 h 2292"/>
                <a:gd name="T32" fmla="*/ 142 w 1984"/>
                <a:gd name="T33" fmla="*/ 2089 h 2292"/>
                <a:gd name="T34" fmla="*/ 172 w 1984"/>
                <a:gd name="T35" fmla="*/ 2170 h 2292"/>
                <a:gd name="T36" fmla="*/ 190 w 1984"/>
                <a:gd name="T37" fmla="*/ 2204 h 2292"/>
                <a:gd name="T38" fmla="*/ 219 w 1984"/>
                <a:gd name="T39" fmla="*/ 2221 h 2292"/>
                <a:gd name="T40" fmla="*/ 260 w 1984"/>
                <a:gd name="T41" fmla="*/ 2237 h 2292"/>
                <a:gd name="T42" fmla="*/ 320 w 1984"/>
                <a:gd name="T43" fmla="*/ 2255 h 2292"/>
                <a:gd name="T44" fmla="*/ 401 w 1984"/>
                <a:gd name="T45" fmla="*/ 2271 h 2292"/>
                <a:gd name="T46" fmla="*/ 503 w 1984"/>
                <a:gd name="T47" fmla="*/ 2285 h 2292"/>
                <a:gd name="T48" fmla="*/ 632 w 1984"/>
                <a:gd name="T49" fmla="*/ 2292 h 2292"/>
                <a:gd name="T50" fmla="*/ 788 w 1984"/>
                <a:gd name="T51" fmla="*/ 2291 h 2292"/>
                <a:gd name="T52" fmla="*/ 1984 w 1984"/>
                <a:gd name="T53" fmla="*/ 2224 h 2292"/>
                <a:gd name="T54" fmla="*/ 1537 w 1984"/>
                <a:gd name="T55" fmla="*/ 1147 h 2292"/>
                <a:gd name="T56" fmla="*/ 1444 w 1984"/>
                <a:gd name="T57" fmla="*/ 912 h 2292"/>
                <a:gd name="T58" fmla="*/ 1424 w 1984"/>
                <a:gd name="T59" fmla="*/ 862 h 2292"/>
                <a:gd name="T60" fmla="*/ 1372 w 1984"/>
                <a:gd name="T61" fmla="*/ 714 h 2292"/>
                <a:gd name="T62" fmla="*/ 1334 w 1984"/>
                <a:gd name="T63" fmla="*/ 583 h 2292"/>
                <a:gd name="T64" fmla="*/ 1313 w 1984"/>
                <a:gd name="T65" fmla="*/ 477 h 2292"/>
                <a:gd name="T66" fmla="*/ 1304 w 1984"/>
                <a:gd name="T67" fmla="*/ 406 h 2292"/>
                <a:gd name="T68" fmla="*/ 1300 w 1984"/>
                <a:gd name="T69" fmla="*/ 334 h 2292"/>
                <a:gd name="T70" fmla="*/ 1304 w 1984"/>
                <a:gd name="T71" fmla="*/ 262 h 2292"/>
                <a:gd name="T72" fmla="*/ 1314 w 1984"/>
                <a:gd name="T73" fmla="*/ 194 h 2292"/>
                <a:gd name="T74" fmla="*/ 1336 w 1984"/>
                <a:gd name="T75" fmla="*/ 131 h 2292"/>
                <a:gd name="T76" fmla="*/ 1368 w 1984"/>
                <a:gd name="T77" fmla="*/ 73 h 2292"/>
                <a:gd name="T78" fmla="*/ 1411 w 1984"/>
                <a:gd name="T79" fmla="*/ 21 h 2292"/>
                <a:gd name="T80" fmla="*/ 1438 w 1984"/>
                <a:gd name="T81" fmla="*/ 0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84" h="2292">
                  <a:moveTo>
                    <a:pt x="1438" y="0"/>
                  </a:moveTo>
                  <a:lnTo>
                    <a:pt x="397" y="811"/>
                  </a:lnTo>
                  <a:lnTo>
                    <a:pt x="397" y="811"/>
                  </a:lnTo>
                  <a:lnTo>
                    <a:pt x="363" y="842"/>
                  </a:lnTo>
                  <a:lnTo>
                    <a:pt x="325" y="874"/>
                  </a:lnTo>
                  <a:lnTo>
                    <a:pt x="278" y="915"/>
                  </a:lnTo>
                  <a:lnTo>
                    <a:pt x="228" y="966"/>
                  </a:lnTo>
                  <a:lnTo>
                    <a:pt x="176" y="1019"/>
                  </a:lnTo>
                  <a:lnTo>
                    <a:pt x="151" y="1046"/>
                  </a:lnTo>
                  <a:lnTo>
                    <a:pt x="128" y="1075"/>
                  </a:lnTo>
                  <a:lnTo>
                    <a:pt x="104" y="1102"/>
                  </a:lnTo>
                  <a:lnTo>
                    <a:pt x="84" y="1131"/>
                  </a:lnTo>
                  <a:lnTo>
                    <a:pt x="84" y="1131"/>
                  </a:lnTo>
                  <a:lnTo>
                    <a:pt x="79" y="1138"/>
                  </a:lnTo>
                  <a:lnTo>
                    <a:pt x="65" y="1163"/>
                  </a:lnTo>
                  <a:lnTo>
                    <a:pt x="54" y="1181"/>
                  </a:lnTo>
                  <a:lnTo>
                    <a:pt x="45" y="1203"/>
                  </a:lnTo>
                  <a:lnTo>
                    <a:pt x="34" y="1230"/>
                  </a:lnTo>
                  <a:lnTo>
                    <a:pt x="25" y="1258"/>
                  </a:lnTo>
                  <a:lnTo>
                    <a:pt x="16" y="1294"/>
                  </a:lnTo>
                  <a:lnTo>
                    <a:pt x="9" y="1332"/>
                  </a:lnTo>
                  <a:lnTo>
                    <a:pt x="4" y="1375"/>
                  </a:lnTo>
                  <a:lnTo>
                    <a:pt x="0" y="1422"/>
                  </a:lnTo>
                  <a:lnTo>
                    <a:pt x="0" y="1474"/>
                  </a:lnTo>
                  <a:lnTo>
                    <a:pt x="4" y="1529"/>
                  </a:lnTo>
                  <a:lnTo>
                    <a:pt x="13" y="1590"/>
                  </a:lnTo>
                  <a:lnTo>
                    <a:pt x="23" y="1655"/>
                  </a:lnTo>
                  <a:lnTo>
                    <a:pt x="23" y="1655"/>
                  </a:lnTo>
                  <a:lnTo>
                    <a:pt x="38" y="1716"/>
                  </a:lnTo>
                  <a:lnTo>
                    <a:pt x="54" y="1784"/>
                  </a:lnTo>
                  <a:lnTo>
                    <a:pt x="74" y="1865"/>
                  </a:lnTo>
                  <a:lnTo>
                    <a:pt x="99" y="1955"/>
                  </a:lnTo>
                  <a:lnTo>
                    <a:pt x="126" y="2046"/>
                  </a:lnTo>
                  <a:lnTo>
                    <a:pt x="142" y="2089"/>
                  </a:lnTo>
                  <a:lnTo>
                    <a:pt x="158" y="2131"/>
                  </a:lnTo>
                  <a:lnTo>
                    <a:pt x="172" y="2170"/>
                  </a:lnTo>
                  <a:lnTo>
                    <a:pt x="190" y="2204"/>
                  </a:lnTo>
                  <a:lnTo>
                    <a:pt x="190" y="2204"/>
                  </a:lnTo>
                  <a:lnTo>
                    <a:pt x="198" y="2208"/>
                  </a:lnTo>
                  <a:lnTo>
                    <a:pt x="219" y="2221"/>
                  </a:lnTo>
                  <a:lnTo>
                    <a:pt x="237" y="2228"/>
                  </a:lnTo>
                  <a:lnTo>
                    <a:pt x="260" y="2237"/>
                  </a:lnTo>
                  <a:lnTo>
                    <a:pt x="287" y="2246"/>
                  </a:lnTo>
                  <a:lnTo>
                    <a:pt x="320" y="2255"/>
                  </a:lnTo>
                  <a:lnTo>
                    <a:pt x="357" y="2264"/>
                  </a:lnTo>
                  <a:lnTo>
                    <a:pt x="401" y="2271"/>
                  </a:lnTo>
                  <a:lnTo>
                    <a:pt x="449" y="2278"/>
                  </a:lnTo>
                  <a:lnTo>
                    <a:pt x="503" y="2285"/>
                  </a:lnTo>
                  <a:lnTo>
                    <a:pt x="566" y="2289"/>
                  </a:lnTo>
                  <a:lnTo>
                    <a:pt x="632" y="2292"/>
                  </a:lnTo>
                  <a:lnTo>
                    <a:pt x="708" y="2292"/>
                  </a:lnTo>
                  <a:lnTo>
                    <a:pt x="788" y="2291"/>
                  </a:lnTo>
                  <a:lnTo>
                    <a:pt x="1984" y="2224"/>
                  </a:lnTo>
                  <a:lnTo>
                    <a:pt x="1984" y="2224"/>
                  </a:lnTo>
                  <a:lnTo>
                    <a:pt x="1722" y="1594"/>
                  </a:lnTo>
                  <a:lnTo>
                    <a:pt x="1537" y="1147"/>
                  </a:lnTo>
                  <a:lnTo>
                    <a:pt x="1472" y="987"/>
                  </a:lnTo>
                  <a:lnTo>
                    <a:pt x="1444" y="912"/>
                  </a:lnTo>
                  <a:lnTo>
                    <a:pt x="1444" y="912"/>
                  </a:lnTo>
                  <a:lnTo>
                    <a:pt x="1424" y="862"/>
                  </a:lnTo>
                  <a:lnTo>
                    <a:pt x="1390" y="770"/>
                  </a:lnTo>
                  <a:lnTo>
                    <a:pt x="1372" y="714"/>
                  </a:lnTo>
                  <a:lnTo>
                    <a:pt x="1352" y="651"/>
                  </a:lnTo>
                  <a:lnTo>
                    <a:pt x="1334" y="583"/>
                  </a:lnTo>
                  <a:lnTo>
                    <a:pt x="1318" y="513"/>
                  </a:lnTo>
                  <a:lnTo>
                    <a:pt x="1313" y="477"/>
                  </a:lnTo>
                  <a:lnTo>
                    <a:pt x="1307" y="441"/>
                  </a:lnTo>
                  <a:lnTo>
                    <a:pt x="1304" y="406"/>
                  </a:lnTo>
                  <a:lnTo>
                    <a:pt x="1300" y="370"/>
                  </a:lnTo>
                  <a:lnTo>
                    <a:pt x="1300" y="334"/>
                  </a:lnTo>
                  <a:lnTo>
                    <a:pt x="1300" y="298"/>
                  </a:lnTo>
                  <a:lnTo>
                    <a:pt x="1304" y="262"/>
                  </a:lnTo>
                  <a:lnTo>
                    <a:pt x="1307" y="228"/>
                  </a:lnTo>
                  <a:lnTo>
                    <a:pt x="1314" y="194"/>
                  </a:lnTo>
                  <a:lnTo>
                    <a:pt x="1325" y="161"/>
                  </a:lnTo>
                  <a:lnTo>
                    <a:pt x="1336" y="131"/>
                  </a:lnTo>
                  <a:lnTo>
                    <a:pt x="1350" y="100"/>
                  </a:lnTo>
                  <a:lnTo>
                    <a:pt x="1368" y="73"/>
                  </a:lnTo>
                  <a:lnTo>
                    <a:pt x="1388" y="46"/>
                  </a:lnTo>
                  <a:lnTo>
                    <a:pt x="1411" y="21"/>
                  </a:lnTo>
                  <a:lnTo>
                    <a:pt x="1438" y="0"/>
                  </a:lnTo>
                  <a:lnTo>
                    <a:pt x="143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 sz="1400">
                <a:latin typeface="Avenir Medium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4DC5D301-D721-4270-AF40-F9A7AE923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7" y="1169"/>
              <a:ext cx="256" cy="184"/>
            </a:xfrm>
            <a:custGeom>
              <a:avLst/>
              <a:gdLst>
                <a:gd name="T0" fmla="*/ 0 w 511"/>
                <a:gd name="T1" fmla="*/ 368 h 368"/>
                <a:gd name="T2" fmla="*/ 0 w 511"/>
                <a:gd name="T3" fmla="*/ 368 h 368"/>
                <a:gd name="T4" fmla="*/ 39 w 511"/>
                <a:gd name="T5" fmla="*/ 334 h 368"/>
                <a:gd name="T6" fmla="*/ 86 w 511"/>
                <a:gd name="T7" fmla="*/ 296 h 368"/>
                <a:gd name="T8" fmla="*/ 147 w 511"/>
                <a:gd name="T9" fmla="*/ 246 h 368"/>
                <a:gd name="T10" fmla="*/ 221 w 511"/>
                <a:gd name="T11" fmla="*/ 190 h 368"/>
                <a:gd name="T12" fmla="*/ 309 w 511"/>
                <a:gd name="T13" fmla="*/ 129 h 368"/>
                <a:gd name="T14" fmla="*/ 355 w 511"/>
                <a:gd name="T15" fmla="*/ 97 h 368"/>
                <a:gd name="T16" fmla="*/ 405 w 511"/>
                <a:gd name="T17" fmla="*/ 64 h 368"/>
                <a:gd name="T18" fmla="*/ 458 w 511"/>
                <a:gd name="T19" fmla="*/ 32 h 368"/>
                <a:gd name="T20" fmla="*/ 511 w 511"/>
                <a:gd name="T21" fmla="*/ 2 h 368"/>
                <a:gd name="T22" fmla="*/ 511 w 511"/>
                <a:gd name="T23" fmla="*/ 2 h 368"/>
                <a:gd name="T24" fmla="*/ 501 w 511"/>
                <a:gd name="T25" fmla="*/ 2 h 368"/>
                <a:gd name="T26" fmla="*/ 472 w 511"/>
                <a:gd name="T27" fmla="*/ 0 h 368"/>
                <a:gd name="T28" fmla="*/ 429 w 511"/>
                <a:gd name="T29" fmla="*/ 3 h 368"/>
                <a:gd name="T30" fmla="*/ 402 w 511"/>
                <a:gd name="T31" fmla="*/ 5 h 368"/>
                <a:gd name="T32" fmla="*/ 373 w 511"/>
                <a:gd name="T33" fmla="*/ 10 h 368"/>
                <a:gd name="T34" fmla="*/ 344 w 511"/>
                <a:gd name="T35" fmla="*/ 16 h 368"/>
                <a:gd name="T36" fmla="*/ 312 w 511"/>
                <a:gd name="T37" fmla="*/ 23 h 368"/>
                <a:gd name="T38" fmla="*/ 278 w 511"/>
                <a:gd name="T39" fmla="*/ 34 h 368"/>
                <a:gd name="T40" fmla="*/ 246 w 511"/>
                <a:gd name="T41" fmla="*/ 46 h 368"/>
                <a:gd name="T42" fmla="*/ 212 w 511"/>
                <a:gd name="T43" fmla="*/ 63 h 368"/>
                <a:gd name="T44" fmla="*/ 179 w 511"/>
                <a:gd name="T45" fmla="*/ 80 h 368"/>
                <a:gd name="T46" fmla="*/ 147 w 511"/>
                <a:gd name="T47" fmla="*/ 104 h 368"/>
                <a:gd name="T48" fmla="*/ 116 w 511"/>
                <a:gd name="T49" fmla="*/ 129 h 368"/>
                <a:gd name="T50" fmla="*/ 116 w 511"/>
                <a:gd name="T51" fmla="*/ 129 h 368"/>
                <a:gd name="T52" fmla="*/ 100 w 511"/>
                <a:gd name="T53" fmla="*/ 143 h 368"/>
                <a:gd name="T54" fmla="*/ 84 w 511"/>
                <a:gd name="T55" fmla="*/ 161 h 368"/>
                <a:gd name="T56" fmla="*/ 64 w 511"/>
                <a:gd name="T57" fmla="*/ 186 h 368"/>
                <a:gd name="T58" fmla="*/ 54 w 511"/>
                <a:gd name="T59" fmla="*/ 203 h 368"/>
                <a:gd name="T60" fmla="*/ 43 w 511"/>
                <a:gd name="T61" fmla="*/ 221 h 368"/>
                <a:gd name="T62" fmla="*/ 34 w 511"/>
                <a:gd name="T63" fmla="*/ 240 h 368"/>
                <a:gd name="T64" fmla="*/ 25 w 511"/>
                <a:gd name="T65" fmla="*/ 262 h 368"/>
                <a:gd name="T66" fmla="*/ 16 w 511"/>
                <a:gd name="T67" fmla="*/ 285 h 368"/>
                <a:gd name="T68" fmla="*/ 9 w 511"/>
                <a:gd name="T69" fmla="*/ 310 h 368"/>
                <a:gd name="T70" fmla="*/ 3 w 511"/>
                <a:gd name="T71" fmla="*/ 339 h 368"/>
                <a:gd name="T72" fmla="*/ 0 w 511"/>
                <a:gd name="T73" fmla="*/ 368 h 368"/>
                <a:gd name="T74" fmla="*/ 0 w 511"/>
                <a:gd name="T75" fmla="*/ 3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11" h="368">
                  <a:moveTo>
                    <a:pt x="0" y="368"/>
                  </a:moveTo>
                  <a:lnTo>
                    <a:pt x="0" y="368"/>
                  </a:lnTo>
                  <a:lnTo>
                    <a:pt x="39" y="334"/>
                  </a:lnTo>
                  <a:lnTo>
                    <a:pt x="86" y="296"/>
                  </a:lnTo>
                  <a:lnTo>
                    <a:pt x="147" y="246"/>
                  </a:lnTo>
                  <a:lnTo>
                    <a:pt x="221" y="190"/>
                  </a:lnTo>
                  <a:lnTo>
                    <a:pt x="309" y="129"/>
                  </a:lnTo>
                  <a:lnTo>
                    <a:pt x="355" y="97"/>
                  </a:lnTo>
                  <a:lnTo>
                    <a:pt x="405" y="64"/>
                  </a:lnTo>
                  <a:lnTo>
                    <a:pt x="458" y="32"/>
                  </a:lnTo>
                  <a:lnTo>
                    <a:pt x="511" y="2"/>
                  </a:lnTo>
                  <a:lnTo>
                    <a:pt x="511" y="2"/>
                  </a:lnTo>
                  <a:lnTo>
                    <a:pt x="501" y="2"/>
                  </a:lnTo>
                  <a:lnTo>
                    <a:pt x="472" y="0"/>
                  </a:lnTo>
                  <a:lnTo>
                    <a:pt x="429" y="3"/>
                  </a:lnTo>
                  <a:lnTo>
                    <a:pt x="402" y="5"/>
                  </a:lnTo>
                  <a:lnTo>
                    <a:pt x="373" y="10"/>
                  </a:lnTo>
                  <a:lnTo>
                    <a:pt x="344" y="16"/>
                  </a:lnTo>
                  <a:lnTo>
                    <a:pt x="312" y="23"/>
                  </a:lnTo>
                  <a:lnTo>
                    <a:pt x="278" y="34"/>
                  </a:lnTo>
                  <a:lnTo>
                    <a:pt x="246" y="46"/>
                  </a:lnTo>
                  <a:lnTo>
                    <a:pt x="212" y="63"/>
                  </a:lnTo>
                  <a:lnTo>
                    <a:pt x="179" y="80"/>
                  </a:lnTo>
                  <a:lnTo>
                    <a:pt x="147" y="104"/>
                  </a:lnTo>
                  <a:lnTo>
                    <a:pt x="116" y="129"/>
                  </a:lnTo>
                  <a:lnTo>
                    <a:pt x="116" y="129"/>
                  </a:lnTo>
                  <a:lnTo>
                    <a:pt x="100" y="143"/>
                  </a:lnTo>
                  <a:lnTo>
                    <a:pt x="84" y="161"/>
                  </a:lnTo>
                  <a:lnTo>
                    <a:pt x="64" y="186"/>
                  </a:lnTo>
                  <a:lnTo>
                    <a:pt x="54" y="203"/>
                  </a:lnTo>
                  <a:lnTo>
                    <a:pt x="43" y="221"/>
                  </a:lnTo>
                  <a:lnTo>
                    <a:pt x="34" y="240"/>
                  </a:lnTo>
                  <a:lnTo>
                    <a:pt x="25" y="262"/>
                  </a:lnTo>
                  <a:lnTo>
                    <a:pt x="16" y="285"/>
                  </a:lnTo>
                  <a:lnTo>
                    <a:pt x="9" y="310"/>
                  </a:lnTo>
                  <a:lnTo>
                    <a:pt x="3" y="339"/>
                  </a:lnTo>
                  <a:lnTo>
                    <a:pt x="0" y="368"/>
                  </a:lnTo>
                  <a:lnTo>
                    <a:pt x="0" y="36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 sz="1400">
                <a:latin typeface="Avenir Medium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CA693C1-D115-490F-A169-F971C86F8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" y="2201"/>
              <a:ext cx="1159" cy="961"/>
            </a:xfrm>
            <a:custGeom>
              <a:avLst/>
              <a:gdLst>
                <a:gd name="T0" fmla="*/ 417 w 2318"/>
                <a:gd name="T1" fmla="*/ 1253 h 1923"/>
                <a:gd name="T2" fmla="*/ 431 w 2318"/>
                <a:gd name="T3" fmla="*/ 1296 h 1923"/>
                <a:gd name="T4" fmla="*/ 474 w 2318"/>
                <a:gd name="T5" fmla="*/ 1401 h 1923"/>
                <a:gd name="T6" fmla="*/ 537 w 2318"/>
                <a:gd name="T7" fmla="*/ 1532 h 1923"/>
                <a:gd name="T8" fmla="*/ 573 w 2318"/>
                <a:gd name="T9" fmla="*/ 1596 h 1923"/>
                <a:gd name="T10" fmla="*/ 611 w 2318"/>
                <a:gd name="T11" fmla="*/ 1655 h 1923"/>
                <a:gd name="T12" fmla="*/ 616 w 2318"/>
                <a:gd name="T13" fmla="*/ 1664 h 1923"/>
                <a:gd name="T14" fmla="*/ 648 w 2318"/>
                <a:gd name="T15" fmla="*/ 1700 h 1923"/>
                <a:gd name="T16" fmla="*/ 686 w 2318"/>
                <a:gd name="T17" fmla="*/ 1734 h 1923"/>
                <a:gd name="T18" fmla="*/ 742 w 2318"/>
                <a:gd name="T19" fmla="*/ 1774 h 1923"/>
                <a:gd name="T20" fmla="*/ 815 w 2318"/>
                <a:gd name="T21" fmla="*/ 1813 h 1923"/>
                <a:gd name="T22" fmla="*/ 907 w 2318"/>
                <a:gd name="T23" fmla="*/ 1849 h 1923"/>
                <a:gd name="T24" fmla="*/ 1020 w 2318"/>
                <a:gd name="T25" fmla="*/ 1878 h 1923"/>
                <a:gd name="T26" fmla="*/ 1085 w 2318"/>
                <a:gd name="T27" fmla="*/ 1887 h 1923"/>
                <a:gd name="T28" fmla="*/ 1216 w 2318"/>
                <a:gd name="T29" fmla="*/ 1903 h 1923"/>
                <a:gd name="T30" fmla="*/ 1394 w 2318"/>
                <a:gd name="T31" fmla="*/ 1919 h 1923"/>
                <a:gd name="T32" fmla="*/ 1534 w 2318"/>
                <a:gd name="T33" fmla="*/ 1923 h 1923"/>
                <a:gd name="T34" fmla="*/ 1620 w 2318"/>
                <a:gd name="T35" fmla="*/ 1921 h 1923"/>
                <a:gd name="T36" fmla="*/ 1657 w 2318"/>
                <a:gd name="T37" fmla="*/ 1916 h 1923"/>
                <a:gd name="T38" fmla="*/ 1683 w 2318"/>
                <a:gd name="T39" fmla="*/ 1894 h 1923"/>
                <a:gd name="T40" fmla="*/ 1711 w 2318"/>
                <a:gd name="T41" fmla="*/ 1862 h 1923"/>
                <a:gd name="T42" fmla="*/ 1749 w 2318"/>
                <a:gd name="T43" fmla="*/ 1812 h 1923"/>
                <a:gd name="T44" fmla="*/ 1792 w 2318"/>
                <a:gd name="T45" fmla="*/ 1742 h 1923"/>
                <a:gd name="T46" fmla="*/ 1839 w 2318"/>
                <a:gd name="T47" fmla="*/ 1648 h 1923"/>
                <a:gd name="T48" fmla="*/ 1889 w 2318"/>
                <a:gd name="T49" fmla="*/ 1528 h 1923"/>
                <a:gd name="T50" fmla="*/ 1939 w 2318"/>
                <a:gd name="T51" fmla="*/ 1381 h 1923"/>
                <a:gd name="T52" fmla="*/ 2318 w 2318"/>
                <a:gd name="T53" fmla="*/ 232 h 1923"/>
                <a:gd name="T54" fmla="*/ 1119 w 2318"/>
                <a:gd name="T55" fmla="*/ 293 h 1923"/>
                <a:gd name="T56" fmla="*/ 860 w 2318"/>
                <a:gd name="T57" fmla="*/ 302 h 1923"/>
                <a:gd name="T58" fmla="*/ 806 w 2318"/>
                <a:gd name="T59" fmla="*/ 302 h 1923"/>
                <a:gd name="T60" fmla="*/ 652 w 2318"/>
                <a:gd name="T61" fmla="*/ 304 h 1923"/>
                <a:gd name="T62" fmla="*/ 517 w 2318"/>
                <a:gd name="T63" fmla="*/ 295 h 1923"/>
                <a:gd name="T64" fmla="*/ 410 w 2318"/>
                <a:gd name="T65" fmla="*/ 280 h 1923"/>
                <a:gd name="T66" fmla="*/ 340 w 2318"/>
                <a:gd name="T67" fmla="*/ 264 h 1923"/>
                <a:gd name="T68" fmla="*/ 269 w 2318"/>
                <a:gd name="T69" fmla="*/ 243 h 1923"/>
                <a:gd name="T70" fmla="*/ 205 w 2318"/>
                <a:gd name="T71" fmla="*/ 216 h 1923"/>
                <a:gd name="T72" fmla="*/ 144 w 2318"/>
                <a:gd name="T73" fmla="*/ 182 h 1923"/>
                <a:gd name="T74" fmla="*/ 90 w 2318"/>
                <a:gd name="T75" fmla="*/ 140 h 1923"/>
                <a:gd name="T76" fmla="*/ 47 w 2318"/>
                <a:gd name="T77" fmla="*/ 92 h 1923"/>
                <a:gd name="T78" fmla="*/ 13 w 2318"/>
                <a:gd name="T79" fmla="*/ 33 h 1923"/>
                <a:gd name="T80" fmla="*/ 0 w 2318"/>
                <a:gd name="T81" fmla="*/ 0 h 1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18" h="1923">
                  <a:moveTo>
                    <a:pt x="0" y="0"/>
                  </a:moveTo>
                  <a:lnTo>
                    <a:pt x="417" y="1253"/>
                  </a:lnTo>
                  <a:lnTo>
                    <a:pt x="417" y="1253"/>
                  </a:lnTo>
                  <a:lnTo>
                    <a:pt x="431" y="1296"/>
                  </a:lnTo>
                  <a:lnTo>
                    <a:pt x="451" y="1343"/>
                  </a:lnTo>
                  <a:lnTo>
                    <a:pt x="474" y="1401"/>
                  </a:lnTo>
                  <a:lnTo>
                    <a:pt x="503" y="1465"/>
                  </a:lnTo>
                  <a:lnTo>
                    <a:pt x="537" y="1532"/>
                  </a:lnTo>
                  <a:lnTo>
                    <a:pt x="555" y="1564"/>
                  </a:lnTo>
                  <a:lnTo>
                    <a:pt x="573" y="1596"/>
                  </a:lnTo>
                  <a:lnTo>
                    <a:pt x="591" y="1627"/>
                  </a:lnTo>
                  <a:lnTo>
                    <a:pt x="611" y="1655"/>
                  </a:lnTo>
                  <a:lnTo>
                    <a:pt x="611" y="1655"/>
                  </a:lnTo>
                  <a:lnTo>
                    <a:pt x="616" y="1664"/>
                  </a:lnTo>
                  <a:lnTo>
                    <a:pt x="634" y="1686"/>
                  </a:lnTo>
                  <a:lnTo>
                    <a:pt x="648" y="1700"/>
                  </a:lnTo>
                  <a:lnTo>
                    <a:pt x="666" y="1716"/>
                  </a:lnTo>
                  <a:lnTo>
                    <a:pt x="686" y="1734"/>
                  </a:lnTo>
                  <a:lnTo>
                    <a:pt x="713" y="1754"/>
                  </a:lnTo>
                  <a:lnTo>
                    <a:pt x="742" y="1774"/>
                  </a:lnTo>
                  <a:lnTo>
                    <a:pt x="776" y="1794"/>
                  </a:lnTo>
                  <a:lnTo>
                    <a:pt x="815" y="1813"/>
                  </a:lnTo>
                  <a:lnTo>
                    <a:pt x="858" y="1833"/>
                  </a:lnTo>
                  <a:lnTo>
                    <a:pt x="907" y="1849"/>
                  </a:lnTo>
                  <a:lnTo>
                    <a:pt x="961" y="1866"/>
                  </a:lnTo>
                  <a:lnTo>
                    <a:pt x="1020" y="1878"/>
                  </a:lnTo>
                  <a:lnTo>
                    <a:pt x="1085" y="1887"/>
                  </a:lnTo>
                  <a:lnTo>
                    <a:pt x="1085" y="1887"/>
                  </a:lnTo>
                  <a:lnTo>
                    <a:pt x="1148" y="1896"/>
                  </a:lnTo>
                  <a:lnTo>
                    <a:pt x="1216" y="1903"/>
                  </a:lnTo>
                  <a:lnTo>
                    <a:pt x="1300" y="1912"/>
                  </a:lnTo>
                  <a:lnTo>
                    <a:pt x="1394" y="1919"/>
                  </a:lnTo>
                  <a:lnTo>
                    <a:pt x="1489" y="1923"/>
                  </a:lnTo>
                  <a:lnTo>
                    <a:pt x="1534" y="1923"/>
                  </a:lnTo>
                  <a:lnTo>
                    <a:pt x="1578" y="1923"/>
                  </a:lnTo>
                  <a:lnTo>
                    <a:pt x="1620" y="1921"/>
                  </a:lnTo>
                  <a:lnTo>
                    <a:pt x="1657" y="1916"/>
                  </a:lnTo>
                  <a:lnTo>
                    <a:pt x="1657" y="1916"/>
                  </a:lnTo>
                  <a:lnTo>
                    <a:pt x="1665" y="1910"/>
                  </a:lnTo>
                  <a:lnTo>
                    <a:pt x="1683" y="1894"/>
                  </a:lnTo>
                  <a:lnTo>
                    <a:pt x="1697" y="1880"/>
                  </a:lnTo>
                  <a:lnTo>
                    <a:pt x="1711" y="1862"/>
                  </a:lnTo>
                  <a:lnTo>
                    <a:pt x="1729" y="1839"/>
                  </a:lnTo>
                  <a:lnTo>
                    <a:pt x="1749" y="1812"/>
                  </a:lnTo>
                  <a:lnTo>
                    <a:pt x="1769" y="1779"/>
                  </a:lnTo>
                  <a:lnTo>
                    <a:pt x="1792" y="1742"/>
                  </a:lnTo>
                  <a:lnTo>
                    <a:pt x="1815" y="1697"/>
                  </a:lnTo>
                  <a:lnTo>
                    <a:pt x="1839" y="1648"/>
                  </a:lnTo>
                  <a:lnTo>
                    <a:pt x="1864" y="1591"/>
                  </a:lnTo>
                  <a:lnTo>
                    <a:pt x="1889" y="1528"/>
                  </a:lnTo>
                  <a:lnTo>
                    <a:pt x="1914" y="1460"/>
                  </a:lnTo>
                  <a:lnTo>
                    <a:pt x="1939" y="1381"/>
                  </a:lnTo>
                  <a:lnTo>
                    <a:pt x="2318" y="232"/>
                  </a:lnTo>
                  <a:lnTo>
                    <a:pt x="2318" y="232"/>
                  </a:lnTo>
                  <a:lnTo>
                    <a:pt x="1616" y="268"/>
                  </a:lnTo>
                  <a:lnTo>
                    <a:pt x="1119" y="293"/>
                  </a:lnTo>
                  <a:lnTo>
                    <a:pt x="945" y="300"/>
                  </a:lnTo>
                  <a:lnTo>
                    <a:pt x="860" y="302"/>
                  </a:lnTo>
                  <a:lnTo>
                    <a:pt x="860" y="302"/>
                  </a:lnTo>
                  <a:lnTo>
                    <a:pt x="806" y="302"/>
                  </a:lnTo>
                  <a:lnTo>
                    <a:pt x="711" y="304"/>
                  </a:lnTo>
                  <a:lnTo>
                    <a:pt x="652" y="304"/>
                  </a:lnTo>
                  <a:lnTo>
                    <a:pt x="585" y="300"/>
                  </a:lnTo>
                  <a:lnTo>
                    <a:pt x="517" y="295"/>
                  </a:lnTo>
                  <a:lnTo>
                    <a:pt x="445" y="286"/>
                  </a:lnTo>
                  <a:lnTo>
                    <a:pt x="410" y="280"/>
                  </a:lnTo>
                  <a:lnTo>
                    <a:pt x="374" y="271"/>
                  </a:lnTo>
                  <a:lnTo>
                    <a:pt x="340" y="264"/>
                  </a:lnTo>
                  <a:lnTo>
                    <a:pt x="304" y="253"/>
                  </a:lnTo>
                  <a:lnTo>
                    <a:pt x="269" y="243"/>
                  </a:lnTo>
                  <a:lnTo>
                    <a:pt x="235" y="230"/>
                  </a:lnTo>
                  <a:lnTo>
                    <a:pt x="205" y="216"/>
                  </a:lnTo>
                  <a:lnTo>
                    <a:pt x="173" y="200"/>
                  </a:lnTo>
                  <a:lnTo>
                    <a:pt x="144" y="182"/>
                  </a:lnTo>
                  <a:lnTo>
                    <a:pt x="117" y="162"/>
                  </a:lnTo>
                  <a:lnTo>
                    <a:pt x="90" y="140"/>
                  </a:lnTo>
                  <a:lnTo>
                    <a:pt x="67" y="117"/>
                  </a:lnTo>
                  <a:lnTo>
                    <a:pt x="47" y="92"/>
                  </a:lnTo>
                  <a:lnTo>
                    <a:pt x="29" y="63"/>
                  </a:lnTo>
                  <a:lnTo>
                    <a:pt x="13" y="3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 sz="1400">
                <a:latin typeface="Avenir Medium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53683E0D-14F2-4761-8EC7-746143484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5" y="1990"/>
              <a:ext cx="111" cy="309"/>
            </a:xfrm>
            <a:custGeom>
              <a:avLst/>
              <a:gdLst>
                <a:gd name="T0" fmla="*/ 222 w 222"/>
                <a:gd name="T1" fmla="*/ 618 h 618"/>
                <a:gd name="T2" fmla="*/ 222 w 222"/>
                <a:gd name="T3" fmla="*/ 618 h 618"/>
                <a:gd name="T4" fmla="*/ 203 w 222"/>
                <a:gd name="T5" fmla="*/ 568 h 618"/>
                <a:gd name="T6" fmla="*/ 183 w 222"/>
                <a:gd name="T7" fmla="*/ 510 h 618"/>
                <a:gd name="T8" fmla="*/ 158 w 222"/>
                <a:gd name="T9" fmla="*/ 433 h 618"/>
                <a:gd name="T10" fmla="*/ 129 w 222"/>
                <a:gd name="T11" fmla="*/ 341 h 618"/>
                <a:gd name="T12" fmla="*/ 102 w 222"/>
                <a:gd name="T13" fmla="*/ 236 h 618"/>
                <a:gd name="T14" fmla="*/ 88 w 222"/>
                <a:gd name="T15" fmla="*/ 180 h 618"/>
                <a:gd name="T16" fmla="*/ 73 w 222"/>
                <a:gd name="T17" fmla="*/ 121 h 618"/>
                <a:gd name="T18" fmla="*/ 63 w 222"/>
                <a:gd name="T19" fmla="*/ 61 h 618"/>
                <a:gd name="T20" fmla="*/ 50 w 222"/>
                <a:gd name="T21" fmla="*/ 0 h 618"/>
                <a:gd name="T22" fmla="*/ 50 w 222"/>
                <a:gd name="T23" fmla="*/ 0 h 618"/>
                <a:gd name="T24" fmla="*/ 46 w 222"/>
                <a:gd name="T25" fmla="*/ 9 h 618"/>
                <a:gd name="T26" fmla="*/ 36 w 222"/>
                <a:gd name="T27" fmla="*/ 38 h 618"/>
                <a:gd name="T28" fmla="*/ 23 w 222"/>
                <a:gd name="T29" fmla="*/ 81 h 618"/>
                <a:gd name="T30" fmla="*/ 16 w 222"/>
                <a:gd name="T31" fmla="*/ 108 h 618"/>
                <a:gd name="T32" fmla="*/ 11 w 222"/>
                <a:gd name="T33" fmla="*/ 137 h 618"/>
                <a:gd name="T34" fmla="*/ 5 w 222"/>
                <a:gd name="T35" fmla="*/ 169 h 618"/>
                <a:gd name="T36" fmla="*/ 2 w 222"/>
                <a:gd name="T37" fmla="*/ 203 h 618"/>
                <a:gd name="T38" fmla="*/ 0 w 222"/>
                <a:gd name="T39" fmla="*/ 239 h 618"/>
                <a:gd name="T40" fmla="*/ 0 w 222"/>
                <a:gd name="T41" fmla="*/ 275 h 618"/>
                <a:gd name="T42" fmla="*/ 2 w 222"/>
                <a:gd name="T43" fmla="*/ 313 h 618"/>
                <a:gd name="T44" fmla="*/ 9 w 222"/>
                <a:gd name="T45" fmla="*/ 350 h 618"/>
                <a:gd name="T46" fmla="*/ 18 w 222"/>
                <a:gd name="T47" fmla="*/ 390 h 618"/>
                <a:gd name="T48" fmla="*/ 30 w 222"/>
                <a:gd name="T49" fmla="*/ 428 h 618"/>
                <a:gd name="T50" fmla="*/ 30 w 222"/>
                <a:gd name="T51" fmla="*/ 428 h 618"/>
                <a:gd name="T52" fmla="*/ 32 w 222"/>
                <a:gd name="T53" fmla="*/ 433 h 618"/>
                <a:gd name="T54" fmla="*/ 38 w 222"/>
                <a:gd name="T55" fmla="*/ 447 h 618"/>
                <a:gd name="T56" fmla="*/ 50 w 222"/>
                <a:gd name="T57" fmla="*/ 469 h 618"/>
                <a:gd name="T58" fmla="*/ 66 w 222"/>
                <a:gd name="T59" fmla="*/ 496 h 618"/>
                <a:gd name="T60" fmla="*/ 79 w 222"/>
                <a:gd name="T61" fmla="*/ 510 h 618"/>
                <a:gd name="T62" fmla="*/ 91 w 222"/>
                <a:gd name="T63" fmla="*/ 526 h 618"/>
                <a:gd name="T64" fmla="*/ 108 w 222"/>
                <a:gd name="T65" fmla="*/ 541 h 618"/>
                <a:gd name="T66" fmla="*/ 125 w 222"/>
                <a:gd name="T67" fmla="*/ 557 h 618"/>
                <a:gd name="T68" fmla="*/ 145 w 222"/>
                <a:gd name="T69" fmla="*/ 573 h 618"/>
                <a:gd name="T70" fmla="*/ 169 w 222"/>
                <a:gd name="T71" fmla="*/ 589 h 618"/>
                <a:gd name="T72" fmla="*/ 194 w 222"/>
                <a:gd name="T73" fmla="*/ 604 h 618"/>
                <a:gd name="T74" fmla="*/ 222 w 222"/>
                <a:gd name="T75" fmla="*/ 618 h 618"/>
                <a:gd name="T76" fmla="*/ 222 w 222"/>
                <a:gd name="T77" fmla="*/ 618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22" h="618">
                  <a:moveTo>
                    <a:pt x="222" y="618"/>
                  </a:moveTo>
                  <a:lnTo>
                    <a:pt x="222" y="618"/>
                  </a:lnTo>
                  <a:lnTo>
                    <a:pt x="203" y="568"/>
                  </a:lnTo>
                  <a:lnTo>
                    <a:pt x="183" y="510"/>
                  </a:lnTo>
                  <a:lnTo>
                    <a:pt x="158" y="433"/>
                  </a:lnTo>
                  <a:lnTo>
                    <a:pt x="129" y="341"/>
                  </a:lnTo>
                  <a:lnTo>
                    <a:pt x="102" y="236"/>
                  </a:lnTo>
                  <a:lnTo>
                    <a:pt x="88" y="180"/>
                  </a:lnTo>
                  <a:lnTo>
                    <a:pt x="73" y="121"/>
                  </a:lnTo>
                  <a:lnTo>
                    <a:pt x="63" y="61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6" y="9"/>
                  </a:lnTo>
                  <a:lnTo>
                    <a:pt x="36" y="38"/>
                  </a:lnTo>
                  <a:lnTo>
                    <a:pt x="23" y="81"/>
                  </a:lnTo>
                  <a:lnTo>
                    <a:pt x="16" y="108"/>
                  </a:lnTo>
                  <a:lnTo>
                    <a:pt x="11" y="137"/>
                  </a:lnTo>
                  <a:lnTo>
                    <a:pt x="5" y="169"/>
                  </a:lnTo>
                  <a:lnTo>
                    <a:pt x="2" y="203"/>
                  </a:lnTo>
                  <a:lnTo>
                    <a:pt x="0" y="239"/>
                  </a:lnTo>
                  <a:lnTo>
                    <a:pt x="0" y="275"/>
                  </a:lnTo>
                  <a:lnTo>
                    <a:pt x="2" y="313"/>
                  </a:lnTo>
                  <a:lnTo>
                    <a:pt x="9" y="350"/>
                  </a:lnTo>
                  <a:lnTo>
                    <a:pt x="18" y="390"/>
                  </a:lnTo>
                  <a:lnTo>
                    <a:pt x="30" y="428"/>
                  </a:lnTo>
                  <a:lnTo>
                    <a:pt x="30" y="428"/>
                  </a:lnTo>
                  <a:lnTo>
                    <a:pt x="32" y="433"/>
                  </a:lnTo>
                  <a:lnTo>
                    <a:pt x="38" y="447"/>
                  </a:lnTo>
                  <a:lnTo>
                    <a:pt x="50" y="469"/>
                  </a:lnTo>
                  <a:lnTo>
                    <a:pt x="66" y="496"/>
                  </a:lnTo>
                  <a:lnTo>
                    <a:pt x="79" y="510"/>
                  </a:lnTo>
                  <a:lnTo>
                    <a:pt x="91" y="526"/>
                  </a:lnTo>
                  <a:lnTo>
                    <a:pt x="108" y="541"/>
                  </a:lnTo>
                  <a:lnTo>
                    <a:pt x="125" y="557"/>
                  </a:lnTo>
                  <a:lnTo>
                    <a:pt x="145" y="573"/>
                  </a:lnTo>
                  <a:lnTo>
                    <a:pt x="169" y="589"/>
                  </a:lnTo>
                  <a:lnTo>
                    <a:pt x="194" y="604"/>
                  </a:lnTo>
                  <a:lnTo>
                    <a:pt x="222" y="618"/>
                  </a:lnTo>
                  <a:lnTo>
                    <a:pt x="222" y="618"/>
                  </a:lnTo>
                  <a:close/>
                </a:path>
              </a:pathLst>
            </a:custGeom>
            <a:solidFill>
              <a:schemeClr val="accent3">
                <a:lumMod val="9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 sz="1400" dirty="0">
                <a:latin typeface="Avenir Medium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E1414F1F-A5CF-465A-A7F3-004F9FC47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" y="2161"/>
              <a:ext cx="1182" cy="1058"/>
            </a:xfrm>
            <a:custGeom>
              <a:avLst/>
              <a:gdLst>
                <a:gd name="T0" fmla="*/ 1320 w 2365"/>
                <a:gd name="T1" fmla="*/ 2117 h 2117"/>
                <a:gd name="T2" fmla="*/ 1367 w 2365"/>
                <a:gd name="T3" fmla="*/ 2115 h 2117"/>
                <a:gd name="T4" fmla="*/ 1478 w 2365"/>
                <a:gd name="T5" fmla="*/ 2110 h 2117"/>
                <a:gd name="T6" fmla="*/ 1623 w 2365"/>
                <a:gd name="T7" fmla="*/ 2094 h 2117"/>
                <a:gd name="T8" fmla="*/ 1695 w 2365"/>
                <a:gd name="T9" fmla="*/ 2079 h 2117"/>
                <a:gd name="T10" fmla="*/ 1763 w 2365"/>
                <a:gd name="T11" fmla="*/ 2063 h 2117"/>
                <a:gd name="T12" fmla="*/ 1774 w 2365"/>
                <a:gd name="T13" fmla="*/ 2060 h 2117"/>
                <a:gd name="T14" fmla="*/ 1819 w 2365"/>
                <a:gd name="T15" fmla="*/ 2042 h 2117"/>
                <a:gd name="T16" fmla="*/ 1864 w 2365"/>
                <a:gd name="T17" fmla="*/ 2016 h 2117"/>
                <a:gd name="T18" fmla="*/ 1920 w 2365"/>
                <a:gd name="T19" fmla="*/ 1977 h 2117"/>
                <a:gd name="T20" fmla="*/ 1981 w 2365"/>
                <a:gd name="T21" fmla="*/ 1921 h 2117"/>
                <a:gd name="T22" fmla="*/ 2043 w 2365"/>
                <a:gd name="T23" fmla="*/ 1846 h 2117"/>
                <a:gd name="T24" fmla="*/ 2106 w 2365"/>
                <a:gd name="T25" fmla="*/ 1747 h 2117"/>
                <a:gd name="T26" fmla="*/ 2139 w 2365"/>
                <a:gd name="T27" fmla="*/ 1690 h 2117"/>
                <a:gd name="T28" fmla="*/ 2200 w 2365"/>
                <a:gd name="T29" fmla="*/ 1552 h 2117"/>
                <a:gd name="T30" fmla="*/ 2277 w 2365"/>
                <a:gd name="T31" fmla="*/ 1365 h 2117"/>
                <a:gd name="T32" fmla="*/ 2331 w 2365"/>
                <a:gd name="T33" fmla="*/ 1219 h 2117"/>
                <a:gd name="T34" fmla="*/ 2358 w 2365"/>
                <a:gd name="T35" fmla="*/ 1131 h 2117"/>
                <a:gd name="T36" fmla="*/ 2365 w 2365"/>
                <a:gd name="T37" fmla="*/ 1094 h 2117"/>
                <a:gd name="T38" fmla="*/ 2356 w 2365"/>
                <a:gd name="T39" fmla="*/ 1067 h 2117"/>
                <a:gd name="T40" fmla="*/ 2338 w 2365"/>
                <a:gd name="T41" fmla="*/ 1034 h 2117"/>
                <a:gd name="T42" fmla="*/ 2306 w 2365"/>
                <a:gd name="T43" fmla="*/ 990 h 2117"/>
                <a:gd name="T44" fmla="*/ 2257 w 2365"/>
                <a:gd name="T45" fmla="*/ 932 h 2117"/>
                <a:gd name="T46" fmla="*/ 2189 w 2365"/>
                <a:gd name="T47" fmla="*/ 862 h 2117"/>
                <a:gd name="T48" fmla="*/ 2094 w 2365"/>
                <a:gd name="T49" fmla="*/ 781 h 2117"/>
                <a:gd name="T50" fmla="*/ 1973 w 2365"/>
                <a:gd name="T51" fmla="*/ 686 h 2117"/>
                <a:gd name="T52" fmla="*/ 984 w 2365"/>
                <a:gd name="T53" fmla="*/ 0 h 2117"/>
                <a:gd name="T54" fmla="*/ 715 w 2365"/>
                <a:gd name="T55" fmla="*/ 930 h 2117"/>
                <a:gd name="T56" fmla="*/ 632 w 2365"/>
                <a:gd name="T57" fmla="*/ 1201 h 2117"/>
                <a:gd name="T58" fmla="*/ 585 w 2365"/>
                <a:gd name="T59" fmla="*/ 1334 h 2117"/>
                <a:gd name="T60" fmla="*/ 564 w 2365"/>
                <a:gd name="T61" fmla="*/ 1386 h 2117"/>
                <a:gd name="T62" fmla="*/ 519 w 2365"/>
                <a:gd name="T63" fmla="*/ 1528 h 2117"/>
                <a:gd name="T64" fmla="*/ 474 w 2365"/>
                <a:gd name="T65" fmla="*/ 1645 h 2117"/>
                <a:gd name="T66" fmla="*/ 415 w 2365"/>
                <a:gd name="T67" fmla="*/ 1774 h 2117"/>
                <a:gd name="T68" fmla="*/ 379 w 2365"/>
                <a:gd name="T69" fmla="*/ 1837 h 2117"/>
                <a:gd name="T70" fmla="*/ 338 w 2365"/>
                <a:gd name="T71" fmla="*/ 1898 h 2117"/>
                <a:gd name="T72" fmla="*/ 295 w 2365"/>
                <a:gd name="T73" fmla="*/ 1954 h 2117"/>
                <a:gd name="T74" fmla="*/ 244 w 2365"/>
                <a:gd name="T75" fmla="*/ 2004 h 2117"/>
                <a:gd name="T76" fmla="*/ 190 w 2365"/>
                <a:gd name="T77" fmla="*/ 2045 h 2117"/>
                <a:gd name="T78" fmla="*/ 131 w 2365"/>
                <a:gd name="T79" fmla="*/ 2076 h 2117"/>
                <a:gd name="T80" fmla="*/ 68 w 2365"/>
                <a:gd name="T81" fmla="*/ 2095 h 2117"/>
                <a:gd name="T82" fmla="*/ 0 w 2365"/>
                <a:gd name="T83" fmla="*/ 2103 h 2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65" h="2117">
                  <a:moveTo>
                    <a:pt x="0" y="2103"/>
                  </a:moveTo>
                  <a:lnTo>
                    <a:pt x="1320" y="2117"/>
                  </a:lnTo>
                  <a:lnTo>
                    <a:pt x="1320" y="2117"/>
                  </a:lnTo>
                  <a:lnTo>
                    <a:pt x="1367" y="2115"/>
                  </a:lnTo>
                  <a:lnTo>
                    <a:pt x="1415" y="2113"/>
                  </a:lnTo>
                  <a:lnTo>
                    <a:pt x="1478" y="2110"/>
                  </a:lnTo>
                  <a:lnTo>
                    <a:pt x="1548" y="2103"/>
                  </a:lnTo>
                  <a:lnTo>
                    <a:pt x="1623" y="2094"/>
                  </a:lnTo>
                  <a:lnTo>
                    <a:pt x="1659" y="2086"/>
                  </a:lnTo>
                  <a:lnTo>
                    <a:pt x="1695" y="2079"/>
                  </a:lnTo>
                  <a:lnTo>
                    <a:pt x="1731" y="2072"/>
                  </a:lnTo>
                  <a:lnTo>
                    <a:pt x="1763" y="2063"/>
                  </a:lnTo>
                  <a:lnTo>
                    <a:pt x="1763" y="2063"/>
                  </a:lnTo>
                  <a:lnTo>
                    <a:pt x="1774" y="2060"/>
                  </a:lnTo>
                  <a:lnTo>
                    <a:pt x="1799" y="2051"/>
                  </a:lnTo>
                  <a:lnTo>
                    <a:pt x="1819" y="2042"/>
                  </a:lnTo>
                  <a:lnTo>
                    <a:pt x="1841" y="2031"/>
                  </a:lnTo>
                  <a:lnTo>
                    <a:pt x="1864" y="2016"/>
                  </a:lnTo>
                  <a:lnTo>
                    <a:pt x="1891" y="1999"/>
                  </a:lnTo>
                  <a:lnTo>
                    <a:pt x="1920" y="1977"/>
                  </a:lnTo>
                  <a:lnTo>
                    <a:pt x="1948" y="1952"/>
                  </a:lnTo>
                  <a:lnTo>
                    <a:pt x="1981" y="1921"/>
                  </a:lnTo>
                  <a:lnTo>
                    <a:pt x="2011" y="1885"/>
                  </a:lnTo>
                  <a:lnTo>
                    <a:pt x="2043" y="1846"/>
                  </a:lnTo>
                  <a:lnTo>
                    <a:pt x="2076" y="1799"/>
                  </a:lnTo>
                  <a:lnTo>
                    <a:pt x="2106" y="1747"/>
                  </a:lnTo>
                  <a:lnTo>
                    <a:pt x="2139" y="1690"/>
                  </a:lnTo>
                  <a:lnTo>
                    <a:pt x="2139" y="1690"/>
                  </a:lnTo>
                  <a:lnTo>
                    <a:pt x="2167" y="1623"/>
                  </a:lnTo>
                  <a:lnTo>
                    <a:pt x="2200" y="1552"/>
                  </a:lnTo>
                  <a:lnTo>
                    <a:pt x="2237" y="1462"/>
                  </a:lnTo>
                  <a:lnTo>
                    <a:pt x="2277" y="1365"/>
                  </a:lnTo>
                  <a:lnTo>
                    <a:pt x="2315" y="1266"/>
                  </a:lnTo>
                  <a:lnTo>
                    <a:pt x="2331" y="1219"/>
                  </a:lnTo>
                  <a:lnTo>
                    <a:pt x="2345" y="1173"/>
                  </a:lnTo>
                  <a:lnTo>
                    <a:pt x="2358" y="1131"/>
                  </a:lnTo>
                  <a:lnTo>
                    <a:pt x="2365" y="1094"/>
                  </a:lnTo>
                  <a:lnTo>
                    <a:pt x="2365" y="1094"/>
                  </a:lnTo>
                  <a:lnTo>
                    <a:pt x="2363" y="1087"/>
                  </a:lnTo>
                  <a:lnTo>
                    <a:pt x="2356" y="1067"/>
                  </a:lnTo>
                  <a:lnTo>
                    <a:pt x="2349" y="1052"/>
                  </a:lnTo>
                  <a:lnTo>
                    <a:pt x="2338" y="1034"/>
                  </a:lnTo>
                  <a:lnTo>
                    <a:pt x="2324" y="1015"/>
                  </a:lnTo>
                  <a:lnTo>
                    <a:pt x="2306" y="990"/>
                  </a:lnTo>
                  <a:lnTo>
                    <a:pt x="2284" y="963"/>
                  </a:lnTo>
                  <a:lnTo>
                    <a:pt x="2257" y="932"/>
                  </a:lnTo>
                  <a:lnTo>
                    <a:pt x="2227" y="900"/>
                  </a:lnTo>
                  <a:lnTo>
                    <a:pt x="2189" y="862"/>
                  </a:lnTo>
                  <a:lnTo>
                    <a:pt x="2144" y="823"/>
                  </a:lnTo>
                  <a:lnTo>
                    <a:pt x="2094" y="781"/>
                  </a:lnTo>
                  <a:lnTo>
                    <a:pt x="2038" y="735"/>
                  </a:lnTo>
                  <a:lnTo>
                    <a:pt x="1973" y="686"/>
                  </a:lnTo>
                  <a:lnTo>
                    <a:pt x="984" y="0"/>
                  </a:lnTo>
                  <a:lnTo>
                    <a:pt x="984" y="0"/>
                  </a:lnTo>
                  <a:lnTo>
                    <a:pt x="781" y="706"/>
                  </a:lnTo>
                  <a:lnTo>
                    <a:pt x="715" y="930"/>
                  </a:lnTo>
                  <a:lnTo>
                    <a:pt x="668" y="1092"/>
                  </a:lnTo>
                  <a:lnTo>
                    <a:pt x="632" y="1201"/>
                  </a:lnTo>
                  <a:lnTo>
                    <a:pt x="607" y="1277"/>
                  </a:lnTo>
                  <a:lnTo>
                    <a:pt x="585" y="1334"/>
                  </a:lnTo>
                  <a:lnTo>
                    <a:pt x="564" y="1386"/>
                  </a:lnTo>
                  <a:lnTo>
                    <a:pt x="564" y="1386"/>
                  </a:lnTo>
                  <a:lnTo>
                    <a:pt x="548" y="1438"/>
                  </a:lnTo>
                  <a:lnTo>
                    <a:pt x="519" y="1528"/>
                  </a:lnTo>
                  <a:lnTo>
                    <a:pt x="497" y="1586"/>
                  </a:lnTo>
                  <a:lnTo>
                    <a:pt x="474" y="1645"/>
                  </a:lnTo>
                  <a:lnTo>
                    <a:pt x="447" y="1709"/>
                  </a:lnTo>
                  <a:lnTo>
                    <a:pt x="415" y="1774"/>
                  </a:lnTo>
                  <a:lnTo>
                    <a:pt x="397" y="1805"/>
                  </a:lnTo>
                  <a:lnTo>
                    <a:pt x="379" y="1837"/>
                  </a:lnTo>
                  <a:lnTo>
                    <a:pt x="359" y="1867"/>
                  </a:lnTo>
                  <a:lnTo>
                    <a:pt x="338" y="1898"/>
                  </a:lnTo>
                  <a:lnTo>
                    <a:pt x="316" y="1927"/>
                  </a:lnTo>
                  <a:lnTo>
                    <a:pt x="295" y="1954"/>
                  </a:lnTo>
                  <a:lnTo>
                    <a:pt x="269" y="1979"/>
                  </a:lnTo>
                  <a:lnTo>
                    <a:pt x="244" y="2004"/>
                  </a:lnTo>
                  <a:lnTo>
                    <a:pt x="219" y="2025"/>
                  </a:lnTo>
                  <a:lnTo>
                    <a:pt x="190" y="2045"/>
                  </a:lnTo>
                  <a:lnTo>
                    <a:pt x="162" y="2061"/>
                  </a:lnTo>
                  <a:lnTo>
                    <a:pt x="131" y="2076"/>
                  </a:lnTo>
                  <a:lnTo>
                    <a:pt x="101" y="2088"/>
                  </a:lnTo>
                  <a:lnTo>
                    <a:pt x="68" y="2095"/>
                  </a:lnTo>
                  <a:lnTo>
                    <a:pt x="34" y="2101"/>
                  </a:lnTo>
                  <a:lnTo>
                    <a:pt x="0" y="2103"/>
                  </a:lnTo>
                  <a:lnTo>
                    <a:pt x="0" y="210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 sz="1400">
                <a:latin typeface="Avenir Medium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2C7A47A9-682A-4953-A53A-0495121361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3" y="3130"/>
              <a:ext cx="325" cy="82"/>
            </a:xfrm>
            <a:custGeom>
              <a:avLst/>
              <a:gdLst>
                <a:gd name="T0" fmla="*/ 650 w 650"/>
                <a:gd name="T1" fmla="*/ 36 h 164"/>
                <a:gd name="T2" fmla="*/ 650 w 650"/>
                <a:gd name="T3" fmla="*/ 36 h 164"/>
                <a:gd name="T4" fmla="*/ 598 w 650"/>
                <a:gd name="T5" fmla="*/ 38 h 164"/>
                <a:gd name="T6" fmla="*/ 539 w 650"/>
                <a:gd name="T7" fmla="*/ 40 h 164"/>
                <a:gd name="T8" fmla="*/ 460 w 650"/>
                <a:gd name="T9" fmla="*/ 40 h 164"/>
                <a:gd name="T10" fmla="*/ 363 w 650"/>
                <a:gd name="T11" fmla="*/ 36 h 164"/>
                <a:gd name="T12" fmla="*/ 253 w 650"/>
                <a:gd name="T13" fmla="*/ 31 h 164"/>
                <a:gd name="T14" fmla="*/ 192 w 650"/>
                <a:gd name="T15" fmla="*/ 25 h 164"/>
                <a:gd name="T16" fmla="*/ 131 w 650"/>
                <a:gd name="T17" fmla="*/ 18 h 164"/>
                <a:gd name="T18" fmla="*/ 66 w 650"/>
                <a:gd name="T19" fmla="*/ 11 h 164"/>
                <a:gd name="T20" fmla="*/ 0 w 650"/>
                <a:gd name="T21" fmla="*/ 0 h 164"/>
                <a:gd name="T22" fmla="*/ 0 w 650"/>
                <a:gd name="T23" fmla="*/ 0 h 164"/>
                <a:gd name="T24" fmla="*/ 9 w 650"/>
                <a:gd name="T25" fmla="*/ 7 h 164"/>
                <a:gd name="T26" fmla="*/ 32 w 650"/>
                <a:gd name="T27" fmla="*/ 27 h 164"/>
                <a:gd name="T28" fmla="*/ 70 w 650"/>
                <a:gd name="T29" fmla="*/ 56 h 164"/>
                <a:gd name="T30" fmla="*/ 91 w 650"/>
                <a:gd name="T31" fmla="*/ 70 h 164"/>
                <a:gd name="T32" fmla="*/ 118 w 650"/>
                <a:gd name="T33" fmla="*/ 86 h 164"/>
                <a:gd name="T34" fmla="*/ 147 w 650"/>
                <a:gd name="T35" fmla="*/ 103 h 164"/>
                <a:gd name="T36" fmla="*/ 178 w 650"/>
                <a:gd name="T37" fmla="*/ 117 h 164"/>
                <a:gd name="T38" fmla="*/ 210 w 650"/>
                <a:gd name="T39" fmla="*/ 131 h 164"/>
                <a:gd name="T40" fmla="*/ 244 w 650"/>
                <a:gd name="T41" fmla="*/ 142 h 164"/>
                <a:gd name="T42" fmla="*/ 282 w 650"/>
                <a:gd name="T43" fmla="*/ 153 h 164"/>
                <a:gd name="T44" fmla="*/ 319 w 650"/>
                <a:gd name="T45" fmla="*/ 160 h 164"/>
                <a:gd name="T46" fmla="*/ 359 w 650"/>
                <a:gd name="T47" fmla="*/ 164 h 164"/>
                <a:gd name="T48" fmla="*/ 398 w 650"/>
                <a:gd name="T49" fmla="*/ 164 h 164"/>
                <a:gd name="T50" fmla="*/ 398 w 650"/>
                <a:gd name="T51" fmla="*/ 164 h 164"/>
                <a:gd name="T52" fmla="*/ 406 w 650"/>
                <a:gd name="T53" fmla="*/ 164 h 164"/>
                <a:gd name="T54" fmla="*/ 422 w 650"/>
                <a:gd name="T55" fmla="*/ 162 h 164"/>
                <a:gd name="T56" fmla="*/ 447 w 650"/>
                <a:gd name="T57" fmla="*/ 156 h 164"/>
                <a:gd name="T58" fmla="*/ 479 w 650"/>
                <a:gd name="T59" fmla="*/ 147 h 164"/>
                <a:gd name="T60" fmla="*/ 497 w 650"/>
                <a:gd name="T61" fmla="*/ 142 h 164"/>
                <a:gd name="T62" fmla="*/ 517 w 650"/>
                <a:gd name="T63" fmla="*/ 133 h 164"/>
                <a:gd name="T64" fmla="*/ 539 w 650"/>
                <a:gd name="T65" fmla="*/ 122 h 164"/>
                <a:gd name="T66" fmla="*/ 560 w 650"/>
                <a:gd name="T67" fmla="*/ 110 h 164"/>
                <a:gd name="T68" fmla="*/ 582 w 650"/>
                <a:gd name="T69" fmla="*/ 95 h 164"/>
                <a:gd name="T70" fmla="*/ 605 w 650"/>
                <a:gd name="T71" fmla="*/ 77 h 164"/>
                <a:gd name="T72" fmla="*/ 627 w 650"/>
                <a:gd name="T73" fmla="*/ 58 h 164"/>
                <a:gd name="T74" fmla="*/ 650 w 650"/>
                <a:gd name="T75" fmla="*/ 36 h 164"/>
                <a:gd name="T76" fmla="*/ 650 w 650"/>
                <a:gd name="T77" fmla="*/ 3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50" h="164">
                  <a:moveTo>
                    <a:pt x="650" y="36"/>
                  </a:moveTo>
                  <a:lnTo>
                    <a:pt x="650" y="36"/>
                  </a:lnTo>
                  <a:lnTo>
                    <a:pt x="598" y="38"/>
                  </a:lnTo>
                  <a:lnTo>
                    <a:pt x="539" y="40"/>
                  </a:lnTo>
                  <a:lnTo>
                    <a:pt x="460" y="40"/>
                  </a:lnTo>
                  <a:lnTo>
                    <a:pt x="363" y="36"/>
                  </a:lnTo>
                  <a:lnTo>
                    <a:pt x="253" y="31"/>
                  </a:lnTo>
                  <a:lnTo>
                    <a:pt x="192" y="25"/>
                  </a:lnTo>
                  <a:lnTo>
                    <a:pt x="131" y="18"/>
                  </a:lnTo>
                  <a:lnTo>
                    <a:pt x="66" y="11"/>
                  </a:lnTo>
                  <a:lnTo>
                    <a:pt x="0" y="0"/>
                  </a:lnTo>
                  <a:lnTo>
                    <a:pt x="0" y="0"/>
                  </a:lnTo>
                  <a:lnTo>
                    <a:pt x="9" y="7"/>
                  </a:lnTo>
                  <a:lnTo>
                    <a:pt x="32" y="27"/>
                  </a:lnTo>
                  <a:lnTo>
                    <a:pt x="70" y="56"/>
                  </a:lnTo>
                  <a:lnTo>
                    <a:pt x="91" y="70"/>
                  </a:lnTo>
                  <a:lnTo>
                    <a:pt x="118" y="86"/>
                  </a:lnTo>
                  <a:lnTo>
                    <a:pt x="147" y="103"/>
                  </a:lnTo>
                  <a:lnTo>
                    <a:pt x="178" y="117"/>
                  </a:lnTo>
                  <a:lnTo>
                    <a:pt x="210" y="131"/>
                  </a:lnTo>
                  <a:lnTo>
                    <a:pt x="244" y="142"/>
                  </a:lnTo>
                  <a:lnTo>
                    <a:pt x="282" y="153"/>
                  </a:lnTo>
                  <a:lnTo>
                    <a:pt x="319" y="160"/>
                  </a:lnTo>
                  <a:lnTo>
                    <a:pt x="359" y="164"/>
                  </a:lnTo>
                  <a:lnTo>
                    <a:pt x="398" y="164"/>
                  </a:lnTo>
                  <a:lnTo>
                    <a:pt x="398" y="164"/>
                  </a:lnTo>
                  <a:lnTo>
                    <a:pt x="406" y="164"/>
                  </a:lnTo>
                  <a:lnTo>
                    <a:pt x="422" y="162"/>
                  </a:lnTo>
                  <a:lnTo>
                    <a:pt x="447" y="156"/>
                  </a:lnTo>
                  <a:lnTo>
                    <a:pt x="479" y="147"/>
                  </a:lnTo>
                  <a:lnTo>
                    <a:pt x="497" y="142"/>
                  </a:lnTo>
                  <a:lnTo>
                    <a:pt x="517" y="133"/>
                  </a:lnTo>
                  <a:lnTo>
                    <a:pt x="539" y="122"/>
                  </a:lnTo>
                  <a:lnTo>
                    <a:pt x="560" y="110"/>
                  </a:lnTo>
                  <a:lnTo>
                    <a:pt x="582" y="95"/>
                  </a:lnTo>
                  <a:lnTo>
                    <a:pt x="605" y="77"/>
                  </a:lnTo>
                  <a:lnTo>
                    <a:pt x="627" y="58"/>
                  </a:lnTo>
                  <a:lnTo>
                    <a:pt x="650" y="36"/>
                  </a:lnTo>
                  <a:lnTo>
                    <a:pt x="650" y="36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 sz="1400">
                <a:latin typeface="Avenir Medium"/>
              </a:endParaRP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ADFCFF49-449B-4256-81DA-0342DB746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7" y="1563"/>
              <a:ext cx="1090" cy="1287"/>
            </a:xfrm>
            <a:custGeom>
              <a:avLst/>
              <a:gdLst>
                <a:gd name="T0" fmla="*/ 2097 w 2180"/>
                <a:gd name="T1" fmla="*/ 1319 h 2574"/>
                <a:gd name="T2" fmla="*/ 2110 w 2180"/>
                <a:gd name="T3" fmla="*/ 1274 h 2574"/>
                <a:gd name="T4" fmla="*/ 2137 w 2180"/>
                <a:gd name="T5" fmla="*/ 1167 h 2574"/>
                <a:gd name="T6" fmla="*/ 2166 w 2180"/>
                <a:gd name="T7" fmla="*/ 1023 h 2574"/>
                <a:gd name="T8" fmla="*/ 2175 w 2180"/>
                <a:gd name="T9" fmla="*/ 949 h 2574"/>
                <a:gd name="T10" fmla="*/ 2180 w 2180"/>
                <a:gd name="T11" fmla="*/ 879 h 2574"/>
                <a:gd name="T12" fmla="*/ 2180 w 2180"/>
                <a:gd name="T13" fmla="*/ 870 h 2574"/>
                <a:gd name="T14" fmla="*/ 2176 w 2180"/>
                <a:gd name="T15" fmla="*/ 822 h 2574"/>
                <a:gd name="T16" fmla="*/ 2166 w 2180"/>
                <a:gd name="T17" fmla="*/ 770 h 2574"/>
                <a:gd name="T18" fmla="*/ 2146 w 2180"/>
                <a:gd name="T19" fmla="*/ 705 h 2574"/>
                <a:gd name="T20" fmla="*/ 2110 w 2180"/>
                <a:gd name="T21" fmla="*/ 632 h 2574"/>
                <a:gd name="T22" fmla="*/ 2058 w 2180"/>
                <a:gd name="T23" fmla="*/ 547 h 2574"/>
                <a:gd name="T24" fmla="*/ 1982 w 2180"/>
                <a:gd name="T25" fmla="*/ 458 h 2574"/>
                <a:gd name="T26" fmla="*/ 1938 w 2180"/>
                <a:gd name="T27" fmla="*/ 411 h 2574"/>
                <a:gd name="T28" fmla="*/ 1817 w 2180"/>
                <a:gd name="T29" fmla="*/ 305 h 2574"/>
                <a:gd name="T30" fmla="*/ 1654 w 2180"/>
                <a:gd name="T31" fmla="*/ 170 h 2574"/>
                <a:gd name="T32" fmla="*/ 1526 w 2180"/>
                <a:gd name="T33" fmla="*/ 72 h 2574"/>
                <a:gd name="T34" fmla="*/ 1449 w 2180"/>
                <a:gd name="T35" fmla="*/ 20 h 2574"/>
                <a:gd name="T36" fmla="*/ 1415 w 2180"/>
                <a:gd name="T37" fmla="*/ 0 h 2574"/>
                <a:gd name="T38" fmla="*/ 1383 w 2180"/>
                <a:gd name="T39" fmla="*/ 5 h 2574"/>
                <a:gd name="T40" fmla="*/ 1316 w 2180"/>
                <a:gd name="T41" fmla="*/ 25 h 2574"/>
                <a:gd name="T42" fmla="*/ 1252 w 2180"/>
                <a:gd name="T43" fmla="*/ 52 h 2574"/>
                <a:gd name="T44" fmla="*/ 1174 w 2180"/>
                <a:gd name="T45" fmla="*/ 91 h 2574"/>
                <a:gd name="T46" fmla="*/ 1081 w 2180"/>
                <a:gd name="T47" fmla="*/ 149 h 2574"/>
                <a:gd name="T48" fmla="*/ 975 w 2180"/>
                <a:gd name="T49" fmla="*/ 224 h 2574"/>
                <a:gd name="T50" fmla="*/ 0 w 2180"/>
                <a:gd name="T51" fmla="*/ 1036 h 2574"/>
                <a:gd name="T52" fmla="*/ 566 w 2180"/>
                <a:gd name="T53" fmla="*/ 1409 h 2574"/>
                <a:gd name="T54" fmla="*/ 1106 w 2180"/>
                <a:gd name="T55" fmla="*/ 1772 h 2574"/>
                <a:gd name="T56" fmla="*/ 1173 w 2180"/>
                <a:gd name="T57" fmla="*/ 1818 h 2574"/>
                <a:gd name="T58" fmla="*/ 1295 w 2180"/>
                <a:gd name="T59" fmla="*/ 1906 h 2574"/>
                <a:gd name="T60" fmla="*/ 1394 w 2180"/>
                <a:gd name="T61" fmla="*/ 1984 h 2574"/>
                <a:gd name="T62" fmla="*/ 1496 w 2180"/>
                <a:gd name="T63" fmla="*/ 2079 h 2574"/>
                <a:gd name="T64" fmla="*/ 1546 w 2180"/>
                <a:gd name="T65" fmla="*/ 2133 h 2574"/>
                <a:gd name="T66" fmla="*/ 1591 w 2180"/>
                <a:gd name="T67" fmla="*/ 2188 h 2574"/>
                <a:gd name="T68" fmla="*/ 1632 w 2180"/>
                <a:gd name="T69" fmla="*/ 2247 h 2574"/>
                <a:gd name="T70" fmla="*/ 1665 w 2180"/>
                <a:gd name="T71" fmla="*/ 2310 h 2574"/>
                <a:gd name="T72" fmla="*/ 1688 w 2180"/>
                <a:gd name="T73" fmla="*/ 2373 h 2574"/>
                <a:gd name="T74" fmla="*/ 1701 w 2180"/>
                <a:gd name="T75" fmla="*/ 2440 h 2574"/>
                <a:gd name="T76" fmla="*/ 1701 w 2180"/>
                <a:gd name="T77" fmla="*/ 2506 h 2574"/>
                <a:gd name="T78" fmla="*/ 1684 w 2180"/>
                <a:gd name="T79" fmla="*/ 2574 h 2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80" h="2574">
                  <a:moveTo>
                    <a:pt x="1684" y="2574"/>
                  </a:moveTo>
                  <a:lnTo>
                    <a:pt x="2097" y="1319"/>
                  </a:lnTo>
                  <a:lnTo>
                    <a:pt x="2097" y="1319"/>
                  </a:lnTo>
                  <a:lnTo>
                    <a:pt x="2110" y="1274"/>
                  </a:lnTo>
                  <a:lnTo>
                    <a:pt x="2123" y="1226"/>
                  </a:lnTo>
                  <a:lnTo>
                    <a:pt x="2137" y="1167"/>
                  </a:lnTo>
                  <a:lnTo>
                    <a:pt x="2153" y="1097"/>
                  </a:lnTo>
                  <a:lnTo>
                    <a:pt x="2166" y="1023"/>
                  </a:lnTo>
                  <a:lnTo>
                    <a:pt x="2171" y="987"/>
                  </a:lnTo>
                  <a:lnTo>
                    <a:pt x="2175" y="949"/>
                  </a:lnTo>
                  <a:lnTo>
                    <a:pt x="2178" y="914"/>
                  </a:lnTo>
                  <a:lnTo>
                    <a:pt x="2180" y="879"/>
                  </a:lnTo>
                  <a:lnTo>
                    <a:pt x="2180" y="879"/>
                  </a:lnTo>
                  <a:lnTo>
                    <a:pt x="2180" y="870"/>
                  </a:lnTo>
                  <a:lnTo>
                    <a:pt x="2178" y="842"/>
                  </a:lnTo>
                  <a:lnTo>
                    <a:pt x="2176" y="822"/>
                  </a:lnTo>
                  <a:lnTo>
                    <a:pt x="2173" y="797"/>
                  </a:lnTo>
                  <a:lnTo>
                    <a:pt x="2166" y="770"/>
                  </a:lnTo>
                  <a:lnTo>
                    <a:pt x="2157" y="739"/>
                  </a:lnTo>
                  <a:lnTo>
                    <a:pt x="2146" y="705"/>
                  </a:lnTo>
                  <a:lnTo>
                    <a:pt x="2130" y="669"/>
                  </a:lnTo>
                  <a:lnTo>
                    <a:pt x="2110" y="632"/>
                  </a:lnTo>
                  <a:lnTo>
                    <a:pt x="2087" y="590"/>
                  </a:lnTo>
                  <a:lnTo>
                    <a:pt x="2058" y="547"/>
                  </a:lnTo>
                  <a:lnTo>
                    <a:pt x="2024" y="502"/>
                  </a:lnTo>
                  <a:lnTo>
                    <a:pt x="1982" y="458"/>
                  </a:lnTo>
                  <a:lnTo>
                    <a:pt x="1938" y="411"/>
                  </a:lnTo>
                  <a:lnTo>
                    <a:pt x="1938" y="411"/>
                  </a:lnTo>
                  <a:lnTo>
                    <a:pt x="1880" y="359"/>
                  </a:lnTo>
                  <a:lnTo>
                    <a:pt x="1817" y="305"/>
                  </a:lnTo>
                  <a:lnTo>
                    <a:pt x="1740" y="240"/>
                  </a:lnTo>
                  <a:lnTo>
                    <a:pt x="1654" y="170"/>
                  </a:lnTo>
                  <a:lnTo>
                    <a:pt x="1568" y="102"/>
                  </a:lnTo>
                  <a:lnTo>
                    <a:pt x="1526" y="72"/>
                  </a:lnTo>
                  <a:lnTo>
                    <a:pt x="1487" y="43"/>
                  </a:lnTo>
                  <a:lnTo>
                    <a:pt x="1449" y="20"/>
                  </a:lnTo>
                  <a:lnTo>
                    <a:pt x="1415" y="0"/>
                  </a:lnTo>
                  <a:lnTo>
                    <a:pt x="1415" y="0"/>
                  </a:lnTo>
                  <a:lnTo>
                    <a:pt x="1408" y="0"/>
                  </a:lnTo>
                  <a:lnTo>
                    <a:pt x="1383" y="5"/>
                  </a:lnTo>
                  <a:lnTo>
                    <a:pt x="1341" y="16"/>
                  </a:lnTo>
                  <a:lnTo>
                    <a:pt x="1316" y="25"/>
                  </a:lnTo>
                  <a:lnTo>
                    <a:pt x="1286" y="38"/>
                  </a:lnTo>
                  <a:lnTo>
                    <a:pt x="1252" y="52"/>
                  </a:lnTo>
                  <a:lnTo>
                    <a:pt x="1214" y="70"/>
                  </a:lnTo>
                  <a:lnTo>
                    <a:pt x="1174" y="91"/>
                  </a:lnTo>
                  <a:lnTo>
                    <a:pt x="1130" y="118"/>
                  </a:lnTo>
                  <a:lnTo>
                    <a:pt x="1081" y="149"/>
                  </a:lnTo>
                  <a:lnTo>
                    <a:pt x="1029" y="183"/>
                  </a:lnTo>
                  <a:lnTo>
                    <a:pt x="975" y="224"/>
                  </a:lnTo>
                  <a:lnTo>
                    <a:pt x="918" y="269"/>
                  </a:lnTo>
                  <a:lnTo>
                    <a:pt x="0" y="1036"/>
                  </a:lnTo>
                  <a:lnTo>
                    <a:pt x="0" y="1036"/>
                  </a:lnTo>
                  <a:lnTo>
                    <a:pt x="566" y="1409"/>
                  </a:lnTo>
                  <a:lnTo>
                    <a:pt x="966" y="1677"/>
                  </a:lnTo>
                  <a:lnTo>
                    <a:pt x="1106" y="1772"/>
                  </a:lnTo>
                  <a:lnTo>
                    <a:pt x="1173" y="1818"/>
                  </a:lnTo>
                  <a:lnTo>
                    <a:pt x="1173" y="1818"/>
                  </a:lnTo>
                  <a:lnTo>
                    <a:pt x="1218" y="1851"/>
                  </a:lnTo>
                  <a:lnTo>
                    <a:pt x="1295" y="1906"/>
                  </a:lnTo>
                  <a:lnTo>
                    <a:pt x="1341" y="1942"/>
                  </a:lnTo>
                  <a:lnTo>
                    <a:pt x="1394" y="1984"/>
                  </a:lnTo>
                  <a:lnTo>
                    <a:pt x="1446" y="2028"/>
                  </a:lnTo>
                  <a:lnTo>
                    <a:pt x="1496" y="2079"/>
                  </a:lnTo>
                  <a:lnTo>
                    <a:pt x="1521" y="2106"/>
                  </a:lnTo>
                  <a:lnTo>
                    <a:pt x="1546" y="2133"/>
                  </a:lnTo>
                  <a:lnTo>
                    <a:pt x="1570" y="2159"/>
                  </a:lnTo>
                  <a:lnTo>
                    <a:pt x="1591" y="2188"/>
                  </a:lnTo>
                  <a:lnTo>
                    <a:pt x="1613" y="2219"/>
                  </a:lnTo>
                  <a:lnTo>
                    <a:pt x="1632" y="2247"/>
                  </a:lnTo>
                  <a:lnTo>
                    <a:pt x="1649" y="2278"/>
                  </a:lnTo>
                  <a:lnTo>
                    <a:pt x="1665" y="2310"/>
                  </a:lnTo>
                  <a:lnTo>
                    <a:pt x="1677" y="2343"/>
                  </a:lnTo>
                  <a:lnTo>
                    <a:pt x="1688" y="2373"/>
                  </a:lnTo>
                  <a:lnTo>
                    <a:pt x="1695" y="2407"/>
                  </a:lnTo>
                  <a:lnTo>
                    <a:pt x="1701" y="2440"/>
                  </a:lnTo>
                  <a:lnTo>
                    <a:pt x="1702" y="2472"/>
                  </a:lnTo>
                  <a:lnTo>
                    <a:pt x="1701" y="2506"/>
                  </a:lnTo>
                  <a:lnTo>
                    <a:pt x="1693" y="2540"/>
                  </a:lnTo>
                  <a:lnTo>
                    <a:pt x="1684" y="2574"/>
                  </a:lnTo>
                  <a:lnTo>
                    <a:pt x="1684" y="257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 sz="1400" dirty="0">
                <a:latin typeface="Avenir Medium"/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CFA00C06-520B-4DCA-A09B-3C4C61F7C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" y="2699"/>
              <a:ext cx="143" cy="305"/>
            </a:xfrm>
            <a:custGeom>
              <a:avLst/>
              <a:gdLst>
                <a:gd name="T0" fmla="*/ 230 w 285"/>
                <a:gd name="T1" fmla="*/ 0 h 608"/>
                <a:gd name="T2" fmla="*/ 230 w 285"/>
                <a:gd name="T3" fmla="*/ 0 h 608"/>
                <a:gd name="T4" fmla="*/ 215 w 285"/>
                <a:gd name="T5" fmla="*/ 50 h 608"/>
                <a:gd name="T6" fmla="*/ 199 w 285"/>
                <a:gd name="T7" fmla="*/ 107 h 608"/>
                <a:gd name="T8" fmla="*/ 176 w 285"/>
                <a:gd name="T9" fmla="*/ 183 h 608"/>
                <a:gd name="T10" fmla="*/ 144 w 285"/>
                <a:gd name="T11" fmla="*/ 274 h 608"/>
                <a:gd name="T12" fmla="*/ 104 w 285"/>
                <a:gd name="T13" fmla="*/ 377 h 608"/>
                <a:gd name="T14" fmla="*/ 81 w 285"/>
                <a:gd name="T15" fmla="*/ 432 h 608"/>
                <a:gd name="T16" fmla="*/ 56 w 285"/>
                <a:gd name="T17" fmla="*/ 490 h 608"/>
                <a:gd name="T18" fmla="*/ 29 w 285"/>
                <a:gd name="T19" fmla="*/ 547 h 608"/>
                <a:gd name="T20" fmla="*/ 0 w 285"/>
                <a:gd name="T21" fmla="*/ 608 h 608"/>
                <a:gd name="T22" fmla="*/ 0 w 285"/>
                <a:gd name="T23" fmla="*/ 608 h 608"/>
                <a:gd name="T24" fmla="*/ 9 w 285"/>
                <a:gd name="T25" fmla="*/ 603 h 608"/>
                <a:gd name="T26" fmla="*/ 36 w 285"/>
                <a:gd name="T27" fmla="*/ 587 h 608"/>
                <a:gd name="T28" fmla="*/ 73 w 285"/>
                <a:gd name="T29" fmla="*/ 560 h 608"/>
                <a:gd name="T30" fmla="*/ 95 w 285"/>
                <a:gd name="T31" fmla="*/ 542 h 608"/>
                <a:gd name="T32" fmla="*/ 117 w 285"/>
                <a:gd name="T33" fmla="*/ 522 h 608"/>
                <a:gd name="T34" fmla="*/ 140 w 285"/>
                <a:gd name="T35" fmla="*/ 499 h 608"/>
                <a:gd name="T36" fmla="*/ 165 w 285"/>
                <a:gd name="T37" fmla="*/ 475 h 608"/>
                <a:gd name="T38" fmla="*/ 187 w 285"/>
                <a:gd name="T39" fmla="*/ 448 h 608"/>
                <a:gd name="T40" fmla="*/ 210 w 285"/>
                <a:gd name="T41" fmla="*/ 418 h 608"/>
                <a:gd name="T42" fmla="*/ 230 w 285"/>
                <a:gd name="T43" fmla="*/ 386 h 608"/>
                <a:gd name="T44" fmla="*/ 248 w 285"/>
                <a:gd name="T45" fmla="*/ 351 h 608"/>
                <a:gd name="T46" fmla="*/ 264 w 285"/>
                <a:gd name="T47" fmla="*/ 316 h 608"/>
                <a:gd name="T48" fmla="*/ 275 w 285"/>
                <a:gd name="T49" fmla="*/ 278 h 608"/>
                <a:gd name="T50" fmla="*/ 275 w 285"/>
                <a:gd name="T51" fmla="*/ 278 h 608"/>
                <a:gd name="T52" fmla="*/ 276 w 285"/>
                <a:gd name="T53" fmla="*/ 271 h 608"/>
                <a:gd name="T54" fmla="*/ 280 w 285"/>
                <a:gd name="T55" fmla="*/ 254 h 608"/>
                <a:gd name="T56" fmla="*/ 284 w 285"/>
                <a:gd name="T57" fmla="*/ 229 h 608"/>
                <a:gd name="T58" fmla="*/ 285 w 285"/>
                <a:gd name="T59" fmla="*/ 195 h 608"/>
                <a:gd name="T60" fmla="*/ 284 w 285"/>
                <a:gd name="T61" fmla="*/ 175 h 608"/>
                <a:gd name="T62" fmla="*/ 282 w 285"/>
                <a:gd name="T63" fmla="*/ 154 h 608"/>
                <a:gd name="T64" fmla="*/ 278 w 285"/>
                <a:gd name="T65" fmla="*/ 132 h 608"/>
                <a:gd name="T66" fmla="*/ 273 w 285"/>
                <a:gd name="T67" fmla="*/ 107 h 608"/>
                <a:gd name="T68" fmla="*/ 266 w 285"/>
                <a:gd name="T69" fmla="*/ 82 h 608"/>
                <a:gd name="T70" fmla="*/ 257 w 285"/>
                <a:gd name="T71" fmla="*/ 55 h 608"/>
                <a:gd name="T72" fmla="*/ 244 w 285"/>
                <a:gd name="T73" fmla="*/ 28 h 608"/>
                <a:gd name="T74" fmla="*/ 230 w 285"/>
                <a:gd name="T75" fmla="*/ 0 h 608"/>
                <a:gd name="T76" fmla="*/ 230 w 285"/>
                <a:gd name="T77" fmla="*/ 0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5" h="608">
                  <a:moveTo>
                    <a:pt x="230" y="0"/>
                  </a:moveTo>
                  <a:lnTo>
                    <a:pt x="230" y="0"/>
                  </a:lnTo>
                  <a:lnTo>
                    <a:pt x="215" y="50"/>
                  </a:lnTo>
                  <a:lnTo>
                    <a:pt x="199" y="107"/>
                  </a:lnTo>
                  <a:lnTo>
                    <a:pt x="176" y="183"/>
                  </a:lnTo>
                  <a:lnTo>
                    <a:pt x="144" y="274"/>
                  </a:lnTo>
                  <a:lnTo>
                    <a:pt x="104" y="377"/>
                  </a:lnTo>
                  <a:lnTo>
                    <a:pt x="81" y="432"/>
                  </a:lnTo>
                  <a:lnTo>
                    <a:pt x="56" y="490"/>
                  </a:lnTo>
                  <a:lnTo>
                    <a:pt x="29" y="547"/>
                  </a:lnTo>
                  <a:lnTo>
                    <a:pt x="0" y="608"/>
                  </a:lnTo>
                  <a:lnTo>
                    <a:pt x="0" y="608"/>
                  </a:lnTo>
                  <a:lnTo>
                    <a:pt x="9" y="603"/>
                  </a:lnTo>
                  <a:lnTo>
                    <a:pt x="36" y="587"/>
                  </a:lnTo>
                  <a:lnTo>
                    <a:pt x="73" y="560"/>
                  </a:lnTo>
                  <a:lnTo>
                    <a:pt x="95" y="542"/>
                  </a:lnTo>
                  <a:lnTo>
                    <a:pt x="117" y="522"/>
                  </a:lnTo>
                  <a:lnTo>
                    <a:pt x="140" y="499"/>
                  </a:lnTo>
                  <a:lnTo>
                    <a:pt x="165" y="475"/>
                  </a:lnTo>
                  <a:lnTo>
                    <a:pt x="187" y="448"/>
                  </a:lnTo>
                  <a:lnTo>
                    <a:pt x="210" y="418"/>
                  </a:lnTo>
                  <a:lnTo>
                    <a:pt x="230" y="386"/>
                  </a:lnTo>
                  <a:lnTo>
                    <a:pt x="248" y="351"/>
                  </a:lnTo>
                  <a:lnTo>
                    <a:pt x="264" y="316"/>
                  </a:lnTo>
                  <a:lnTo>
                    <a:pt x="275" y="278"/>
                  </a:lnTo>
                  <a:lnTo>
                    <a:pt x="275" y="278"/>
                  </a:lnTo>
                  <a:lnTo>
                    <a:pt x="276" y="271"/>
                  </a:lnTo>
                  <a:lnTo>
                    <a:pt x="280" y="254"/>
                  </a:lnTo>
                  <a:lnTo>
                    <a:pt x="284" y="229"/>
                  </a:lnTo>
                  <a:lnTo>
                    <a:pt x="285" y="195"/>
                  </a:lnTo>
                  <a:lnTo>
                    <a:pt x="284" y="175"/>
                  </a:lnTo>
                  <a:lnTo>
                    <a:pt x="282" y="154"/>
                  </a:lnTo>
                  <a:lnTo>
                    <a:pt x="278" y="132"/>
                  </a:lnTo>
                  <a:lnTo>
                    <a:pt x="273" y="107"/>
                  </a:lnTo>
                  <a:lnTo>
                    <a:pt x="266" y="82"/>
                  </a:lnTo>
                  <a:lnTo>
                    <a:pt x="257" y="55"/>
                  </a:lnTo>
                  <a:lnTo>
                    <a:pt x="244" y="28"/>
                  </a:lnTo>
                  <a:lnTo>
                    <a:pt x="230" y="0"/>
                  </a:lnTo>
                  <a:lnTo>
                    <a:pt x="230" y="0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QA" sz="1400">
                <a:latin typeface="Avenir Medium"/>
              </a:endParaRPr>
            </a:p>
          </p:txBody>
        </p:sp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E6CB3AD-6F94-45CE-A811-99258A5A6B3E}"/>
              </a:ext>
            </a:extLst>
          </p:cNvPr>
          <p:cNvSpPr txBox="1">
            <a:spLocks/>
          </p:cNvSpPr>
          <p:nvPr/>
        </p:nvSpPr>
        <p:spPr>
          <a:xfrm>
            <a:off x="10551813" y="2851962"/>
            <a:ext cx="3274023" cy="4544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b="1" dirty="0">
                <a:solidFill>
                  <a:schemeClr val="accent1"/>
                </a:solidFill>
                <a:latin typeface="Avenir Medium"/>
              </a:rPr>
              <a:t>WACC</a:t>
            </a:r>
          </a:p>
          <a:p>
            <a:pPr marL="0" indent="0" algn="ctr">
              <a:buNone/>
            </a:pP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Avenir Medium"/>
              </a:rPr>
              <a:t>XX%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150B0D04-D0D7-4484-BFBE-22E0CC06F5F2}"/>
              </a:ext>
            </a:extLst>
          </p:cNvPr>
          <p:cNvSpPr txBox="1">
            <a:spLocks/>
          </p:cNvSpPr>
          <p:nvPr/>
        </p:nvSpPr>
        <p:spPr>
          <a:xfrm>
            <a:off x="15506573" y="5202367"/>
            <a:ext cx="5233402" cy="22452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3600" b="1" dirty="0">
                <a:solidFill>
                  <a:schemeClr val="accent2"/>
                </a:solidFill>
                <a:latin typeface="Avenir Medium"/>
              </a:rPr>
              <a:t>Initial Payment </a:t>
            </a:r>
            <a:r>
              <a:rPr lang="de-DE" sz="3600" b="1" dirty="0" err="1">
                <a:solidFill>
                  <a:schemeClr val="accent2"/>
                </a:solidFill>
                <a:latin typeface="Avenir Medium"/>
              </a:rPr>
              <a:t>by</a:t>
            </a:r>
            <a:r>
              <a:rPr lang="de-DE" sz="3600" b="1" dirty="0">
                <a:solidFill>
                  <a:schemeClr val="accent2"/>
                </a:solidFill>
                <a:latin typeface="Avenir Medium"/>
              </a:rPr>
              <a:t> </a:t>
            </a:r>
            <a:r>
              <a:rPr lang="de-DE" sz="3600" b="1" dirty="0" err="1">
                <a:solidFill>
                  <a:schemeClr val="accent2"/>
                </a:solidFill>
                <a:latin typeface="Avenir Medium"/>
              </a:rPr>
              <a:t>Consultancies</a:t>
            </a:r>
            <a:endParaRPr lang="de-DE" sz="3600" b="1" dirty="0">
              <a:solidFill>
                <a:schemeClr val="accent2"/>
              </a:solidFill>
              <a:latin typeface="Avenir Medium"/>
            </a:endParaRPr>
          </a:p>
          <a:p>
            <a:pPr marL="0" indent="0" algn="ctr">
              <a:buNone/>
            </a:pP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Avenir Medium"/>
              </a:rPr>
              <a:t>Subscription: €350 p. a.</a:t>
            </a:r>
          </a:p>
          <a:p>
            <a:pPr marL="0" indent="0" algn="ctr">
              <a:buNone/>
            </a:pP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Avenir Medium"/>
              </a:rPr>
              <a:t>Sensor purchase: </a:t>
            </a:r>
            <a:r>
              <a:rPr lang="de-DE" sz="3600" dirty="0">
                <a:solidFill>
                  <a:schemeClr val="bg1">
                    <a:lumMod val="50000"/>
                  </a:schemeClr>
                </a:solidFill>
                <a:latin typeface="Avenir Medium"/>
              </a:rPr>
              <a:t>€600</a:t>
            </a:r>
          </a:p>
          <a:p>
            <a:pPr marL="0" indent="0" algn="ctr">
              <a:buNone/>
            </a:pPr>
            <a:endParaRPr lang="en-US" sz="3600" dirty="0">
              <a:solidFill>
                <a:schemeClr val="tx1">
                  <a:lumMod val="60000"/>
                  <a:lumOff val="40000"/>
                </a:schemeClr>
              </a:solidFill>
              <a:latin typeface="Avenir Medium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DF5F6A3F-9C5F-45EF-8F0C-70920535198D}"/>
              </a:ext>
            </a:extLst>
          </p:cNvPr>
          <p:cNvSpPr txBox="1">
            <a:spLocks/>
          </p:cNvSpPr>
          <p:nvPr/>
        </p:nvSpPr>
        <p:spPr>
          <a:xfrm>
            <a:off x="14471695" y="9355739"/>
            <a:ext cx="6908024" cy="24654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b="1" dirty="0">
                <a:solidFill>
                  <a:schemeClr val="accent3"/>
                </a:solidFill>
                <a:latin typeface="Avenir Medium"/>
              </a:rPr>
              <a:t>Staff cost</a:t>
            </a:r>
          </a:p>
          <a:p>
            <a:pPr marL="0" indent="0" algn="ctr">
              <a:buNone/>
            </a:pP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Avenir Medium"/>
              </a:rPr>
              <a:t>6 m HUF per IT-Developer per year</a:t>
            </a:r>
          </a:p>
          <a:p>
            <a:pPr marL="0" indent="0" algn="ctr">
              <a:buNone/>
            </a:pPr>
            <a:endParaRPr lang="en-US" sz="3600" dirty="0">
              <a:solidFill>
                <a:schemeClr val="bg1">
                  <a:lumMod val="50000"/>
                </a:schemeClr>
              </a:solidFill>
              <a:latin typeface="Avenir Medium"/>
            </a:endParaRPr>
          </a:p>
          <a:p>
            <a:pPr marL="0" indent="0" algn="ctr">
              <a:buNone/>
            </a:pPr>
            <a:endParaRPr lang="en-US" sz="3600" b="1" dirty="0">
              <a:solidFill>
                <a:schemeClr val="bg1">
                  <a:lumMod val="50000"/>
                </a:schemeClr>
              </a:solidFill>
              <a:latin typeface="Avenir Medium"/>
            </a:endParaRP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5FEFBE2-FD44-4210-902C-3BE75313AEE0}"/>
              </a:ext>
            </a:extLst>
          </p:cNvPr>
          <p:cNvSpPr txBox="1">
            <a:spLocks/>
          </p:cNvSpPr>
          <p:nvPr/>
        </p:nvSpPr>
        <p:spPr>
          <a:xfrm>
            <a:off x="2832610" y="9355739"/>
            <a:ext cx="7267817" cy="13824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b="1" dirty="0">
                <a:solidFill>
                  <a:srgbClr val="1EA29F"/>
                </a:solidFill>
                <a:latin typeface="Avenir Medium"/>
              </a:rPr>
              <a:t>Average lease cost</a:t>
            </a:r>
          </a:p>
          <a:p>
            <a:pPr marL="0" indent="0" algn="ctr">
              <a:buNone/>
            </a:pP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Avenir Medium"/>
              </a:rPr>
              <a:t>2,9 m HUF per Offic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CB77F639-2405-41A4-AE3F-7D76061F31D1}"/>
              </a:ext>
            </a:extLst>
          </p:cNvPr>
          <p:cNvSpPr txBox="1">
            <a:spLocks/>
          </p:cNvSpPr>
          <p:nvPr/>
        </p:nvSpPr>
        <p:spPr>
          <a:xfrm>
            <a:off x="2697212" y="5621876"/>
            <a:ext cx="5807046" cy="18257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b="1" dirty="0">
                <a:solidFill>
                  <a:schemeClr val="accent3">
                    <a:lumMod val="50000"/>
                  </a:schemeClr>
                </a:solidFill>
                <a:latin typeface="Avenir Medium"/>
              </a:rPr>
              <a:t>Continuous Income form Maintenance Service</a:t>
            </a:r>
          </a:p>
          <a:p>
            <a:pPr marL="0" indent="0" algn="ctr">
              <a:buNone/>
            </a:pPr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Avenir Medium"/>
              </a:rPr>
              <a:t>19,5 m HUF per year per customer</a:t>
            </a:r>
          </a:p>
        </p:txBody>
      </p:sp>
      <p:sp>
        <p:nvSpPr>
          <p:cNvPr id="30" name="Shape 2633">
            <a:extLst>
              <a:ext uri="{FF2B5EF4-FFF2-40B4-BE49-F238E27FC236}">
                <a16:creationId xmlns:a16="http://schemas.microsoft.com/office/drawing/2014/main" id="{5DA9E462-9FEE-4FFD-B795-9D5F3C79448D}"/>
              </a:ext>
            </a:extLst>
          </p:cNvPr>
          <p:cNvSpPr/>
          <p:nvPr/>
        </p:nvSpPr>
        <p:spPr>
          <a:xfrm>
            <a:off x="11727100" y="4757465"/>
            <a:ext cx="866860" cy="8668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1" name="Shape 2690">
            <a:extLst>
              <a:ext uri="{FF2B5EF4-FFF2-40B4-BE49-F238E27FC236}">
                <a16:creationId xmlns:a16="http://schemas.microsoft.com/office/drawing/2014/main" id="{E7F285C1-02D4-4D54-8E81-348B2654F368}"/>
              </a:ext>
            </a:extLst>
          </p:cNvPr>
          <p:cNvSpPr/>
          <p:nvPr/>
        </p:nvSpPr>
        <p:spPr>
          <a:xfrm>
            <a:off x="9900211" y="9249662"/>
            <a:ext cx="953612" cy="8669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880"/>
                </a:moveTo>
                <a:cubicBezTo>
                  <a:pt x="20618" y="12476"/>
                  <a:pt x="20178" y="12960"/>
                  <a:pt x="19636" y="12960"/>
                </a:cubicBezTo>
                <a:lnTo>
                  <a:pt x="19636" y="8640"/>
                </a:lnTo>
                <a:cubicBezTo>
                  <a:pt x="20178" y="8640"/>
                  <a:pt x="20618" y="9124"/>
                  <a:pt x="20618" y="9720"/>
                </a:cubicBezTo>
                <a:cubicBezTo>
                  <a:pt x="20618" y="9720"/>
                  <a:pt x="20618" y="11880"/>
                  <a:pt x="20618" y="11880"/>
                </a:cubicBezTo>
                <a:close/>
                <a:moveTo>
                  <a:pt x="18655" y="19980"/>
                </a:moveTo>
                <a:cubicBezTo>
                  <a:pt x="18655" y="20279"/>
                  <a:pt x="18434" y="20520"/>
                  <a:pt x="18164" y="20520"/>
                </a:cubicBezTo>
                <a:cubicBezTo>
                  <a:pt x="17893" y="20520"/>
                  <a:pt x="17673" y="20279"/>
                  <a:pt x="17673" y="19980"/>
                </a:cubicBezTo>
                <a:lnTo>
                  <a:pt x="17673" y="1620"/>
                </a:lnTo>
                <a:cubicBezTo>
                  <a:pt x="17673" y="1322"/>
                  <a:pt x="17893" y="1080"/>
                  <a:pt x="18164" y="1080"/>
                </a:cubicBezTo>
                <a:cubicBezTo>
                  <a:pt x="18434" y="1080"/>
                  <a:pt x="18655" y="1322"/>
                  <a:pt x="18655" y="1620"/>
                </a:cubicBezTo>
                <a:cubicBezTo>
                  <a:pt x="18655" y="1620"/>
                  <a:pt x="18655" y="19980"/>
                  <a:pt x="18655" y="19980"/>
                </a:cubicBezTo>
                <a:close/>
                <a:moveTo>
                  <a:pt x="16691" y="18404"/>
                </a:moveTo>
                <a:lnTo>
                  <a:pt x="2944" y="13512"/>
                </a:lnTo>
                <a:cubicBezTo>
                  <a:pt x="2944" y="13508"/>
                  <a:pt x="2945" y="13504"/>
                  <a:pt x="2945" y="13500"/>
                </a:cubicBezTo>
                <a:lnTo>
                  <a:pt x="2945" y="8100"/>
                </a:lnTo>
                <a:cubicBezTo>
                  <a:pt x="2945" y="8096"/>
                  <a:pt x="2944" y="8093"/>
                  <a:pt x="2944" y="8089"/>
                </a:cubicBezTo>
                <a:lnTo>
                  <a:pt x="16691" y="3197"/>
                </a:lnTo>
                <a:cubicBezTo>
                  <a:pt x="16691" y="3197"/>
                  <a:pt x="16691" y="18404"/>
                  <a:pt x="16691" y="18404"/>
                </a:cubicBezTo>
                <a:close/>
                <a:moveTo>
                  <a:pt x="12480" y="18725"/>
                </a:moveTo>
                <a:cubicBezTo>
                  <a:pt x="12316" y="19294"/>
                  <a:pt x="11764" y="19608"/>
                  <a:pt x="11247" y="19428"/>
                </a:cubicBezTo>
                <a:lnTo>
                  <a:pt x="6102" y="17625"/>
                </a:lnTo>
                <a:cubicBezTo>
                  <a:pt x="5585" y="17444"/>
                  <a:pt x="5299" y="16837"/>
                  <a:pt x="5464" y="16269"/>
                </a:cubicBezTo>
                <a:lnTo>
                  <a:pt x="5654" y="15610"/>
                </a:lnTo>
                <a:lnTo>
                  <a:pt x="12661" y="18104"/>
                </a:lnTo>
                <a:cubicBezTo>
                  <a:pt x="12661" y="18104"/>
                  <a:pt x="12480" y="18725"/>
                  <a:pt x="12480" y="18725"/>
                </a:cubicBezTo>
                <a:close/>
                <a:moveTo>
                  <a:pt x="1964" y="13500"/>
                </a:moveTo>
                <a:lnTo>
                  <a:pt x="982" y="13500"/>
                </a:lnTo>
                <a:lnTo>
                  <a:pt x="982" y="8100"/>
                </a:lnTo>
                <a:lnTo>
                  <a:pt x="1964" y="8100"/>
                </a:lnTo>
                <a:cubicBezTo>
                  <a:pt x="1964" y="8100"/>
                  <a:pt x="1964" y="13500"/>
                  <a:pt x="1964" y="13500"/>
                </a:cubicBezTo>
                <a:close/>
                <a:moveTo>
                  <a:pt x="19636" y="7560"/>
                </a:moveTo>
                <a:lnTo>
                  <a:pt x="19636" y="1620"/>
                </a:lnTo>
                <a:cubicBezTo>
                  <a:pt x="19636" y="725"/>
                  <a:pt x="18977" y="0"/>
                  <a:pt x="18164" y="0"/>
                </a:cubicBezTo>
                <a:cubicBezTo>
                  <a:pt x="17350" y="0"/>
                  <a:pt x="16691" y="725"/>
                  <a:pt x="16691" y="1620"/>
                </a:cubicBezTo>
                <a:lnTo>
                  <a:pt x="16691" y="2062"/>
                </a:lnTo>
                <a:lnTo>
                  <a:pt x="2411" y="7144"/>
                </a:lnTo>
                <a:cubicBezTo>
                  <a:pt x="2276" y="7067"/>
                  <a:pt x="2126" y="7020"/>
                  <a:pt x="1964" y="7020"/>
                </a:cubicBezTo>
                <a:lnTo>
                  <a:pt x="982" y="7020"/>
                </a:lnTo>
                <a:cubicBezTo>
                  <a:pt x="440" y="7020"/>
                  <a:pt x="0" y="7504"/>
                  <a:pt x="0" y="8100"/>
                </a:cubicBezTo>
                <a:lnTo>
                  <a:pt x="0" y="13500"/>
                </a:lnTo>
                <a:cubicBezTo>
                  <a:pt x="0" y="14097"/>
                  <a:pt x="440" y="14580"/>
                  <a:pt x="982" y="14580"/>
                </a:cubicBezTo>
                <a:lnTo>
                  <a:pt x="1964" y="14580"/>
                </a:lnTo>
                <a:cubicBezTo>
                  <a:pt x="2126" y="14580"/>
                  <a:pt x="2276" y="14533"/>
                  <a:pt x="2411" y="14457"/>
                </a:cubicBezTo>
                <a:lnTo>
                  <a:pt x="4720" y="15278"/>
                </a:lnTo>
                <a:lnTo>
                  <a:pt x="4529" y="15941"/>
                </a:lnTo>
                <a:cubicBezTo>
                  <a:pt x="4199" y="17078"/>
                  <a:pt x="4770" y="18292"/>
                  <a:pt x="5803" y="18654"/>
                </a:cubicBezTo>
                <a:lnTo>
                  <a:pt x="10949" y="20456"/>
                </a:lnTo>
                <a:cubicBezTo>
                  <a:pt x="11983" y="20819"/>
                  <a:pt x="13087" y="20190"/>
                  <a:pt x="13416" y="19053"/>
                </a:cubicBezTo>
                <a:lnTo>
                  <a:pt x="13595" y="18437"/>
                </a:lnTo>
                <a:lnTo>
                  <a:pt x="16691" y="19538"/>
                </a:lnTo>
                <a:lnTo>
                  <a:pt x="16691" y="19980"/>
                </a:lnTo>
                <a:cubicBezTo>
                  <a:pt x="16691" y="20875"/>
                  <a:pt x="17350" y="21600"/>
                  <a:pt x="18164" y="21600"/>
                </a:cubicBezTo>
                <a:cubicBezTo>
                  <a:pt x="18977" y="21600"/>
                  <a:pt x="19636" y="20875"/>
                  <a:pt x="19636" y="19980"/>
                </a:cubicBezTo>
                <a:lnTo>
                  <a:pt x="19636" y="14040"/>
                </a:lnTo>
                <a:cubicBezTo>
                  <a:pt x="20721" y="14040"/>
                  <a:pt x="21600" y="13073"/>
                  <a:pt x="21600" y="11880"/>
                </a:cubicBezTo>
                <a:lnTo>
                  <a:pt x="21600" y="9720"/>
                </a:lnTo>
                <a:cubicBezTo>
                  <a:pt x="21600" y="8527"/>
                  <a:pt x="20721" y="7560"/>
                  <a:pt x="19636" y="756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3" name="Shape 2783">
            <a:extLst>
              <a:ext uri="{FF2B5EF4-FFF2-40B4-BE49-F238E27FC236}">
                <a16:creationId xmlns:a16="http://schemas.microsoft.com/office/drawing/2014/main" id="{FF051602-E5F3-4E04-8F07-4BB2BD7027FB}"/>
              </a:ext>
            </a:extLst>
          </p:cNvPr>
          <p:cNvSpPr/>
          <p:nvPr/>
        </p:nvSpPr>
        <p:spPr>
          <a:xfrm>
            <a:off x="13180037" y="9414354"/>
            <a:ext cx="953614" cy="823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855"/>
                </a:moveTo>
                <a:lnTo>
                  <a:pt x="1633" y="10800"/>
                </a:lnTo>
                <a:lnTo>
                  <a:pt x="4615" y="9156"/>
                </a:lnTo>
                <a:lnTo>
                  <a:pt x="10589" y="12450"/>
                </a:lnTo>
                <a:lnTo>
                  <a:pt x="10591" y="12446"/>
                </a:lnTo>
                <a:cubicBezTo>
                  <a:pt x="10654" y="12482"/>
                  <a:pt x="10724" y="12505"/>
                  <a:pt x="10800" y="12505"/>
                </a:cubicBezTo>
                <a:cubicBezTo>
                  <a:pt x="10876" y="12505"/>
                  <a:pt x="10946" y="12482"/>
                  <a:pt x="11009" y="12446"/>
                </a:cubicBezTo>
                <a:lnTo>
                  <a:pt x="11011" y="12450"/>
                </a:lnTo>
                <a:lnTo>
                  <a:pt x="16985" y="9156"/>
                </a:lnTo>
                <a:lnTo>
                  <a:pt x="19967" y="10800"/>
                </a:lnTo>
                <a:cubicBezTo>
                  <a:pt x="19967" y="10800"/>
                  <a:pt x="10800" y="15855"/>
                  <a:pt x="10800" y="15855"/>
                </a:cubicBezTo>
                <a:close/>
                <a:moveTo>
                  <a:pt x="19967" y="15347"/>
                </a:moveTo>
                <a:lnTo>
                  <a:pt x="10800" y="20402"/>
                </a:lnTo>
                <a:lnTo>
                  <a:pt x="1633" y="15347"/>
                </a:lnTo>
                <a:lnTo>
                  <a:pt x="4615" y="13703"/>
                </a:lnTo>
                <a:lnTo>
                  <a:pt x="10589" y="16997"/>
                </a:lnTo>
                <a:lnTo>
                  <a:pt x="10591" y="16994"/>
                </a:lnTo>
                <a:cubicBezTo>
                  <a:pt x="10654" y="17029"/>
                  <a:pt x="10724" y="17053"/>
                  <a:pt x="10800" y="17053"/>
                </a:cubicBezTo>
                <a:cubicBezTo>
                  <a:pt x="10876" y="17053"/>
                  <a:pt x="10946" y="17029"/>
                  <a:pt x="11009" y="16994"/>
                </a:cubicBezTo>
                <a:lnTo>
                  <a:pt x="11011" y="16997"/>
                </a:lnTo>
                <a:lnTo>
                  <a:pt x="16985" y="13703"/>
                </a:lnTo>
                <a:cubicBezTo>
                  <a:pt x="16985" y="13703"/>
                  <a:pt x="19967" y="15347"/>
                  <a:pt x="19967" y="15347"/>
                </a:cubicBezTo>
                <a:close/>
                <a:moveTo>
                  <a:pt x="1633" y="6253"/>
                </a:moveTo>
                <a:lnTo>
                  <a:pt x="10800" y="1198"/>
                </a:lnTo>
                <a:lnTo>
                  <a:pt x="19967" y="6253"/>
                </a:lnTo>
                <a:lnTo>
                  <a:pt x="10800" y="11307"/>
                </a:lnTo>
                <a:cubicBezTo>
                  <a:pt x="10800" y="11307"/>
                  <a:pt x="1633" y="6253"/>
                  <a:pt x="1633" y="6253"/>
                </a:cubicBezTo>
                <a:close/>
                <a:moveTo>
                  <a:pt x="21600" y="10800"/>
                </a:moveTo>
                <a:cubicBezTo>
                  <a:pt x="21600" y="10574"/>
                  <a:pt x="21484" y="10383"/>
                  <a:pt x="21319" y="10290"/>
                </a:cubicBezTo>
                <a:lnTo>
                  <a:pt x="21320" y="10287"/>
                </a:lnTo>
                <a:lnTo>
                  <a:pt x="18127" y="8526"/>
                </a:lnTo>
                <a:lnTo>
                  <a:pt x="21320" y="6766"/>
                </a:lnTo>
                <a:lnTo>
                  <a:pt x="21319" y="6762"/>
                </a:lnTo>
                <a:cubicBezTo>
                  <a:pt x="21484" y="6671"/>
                  <a:pt x="21600" y="6479"/>
                  <a:pt x="21600" y="6253"/>
                </a:cubicBezTo>
                <a:cubicBezTo>
                  <a:pt x="21600" y="6027"/>
                  <a:pt x="21484" y="5835"/>
                  <a:pt x="21319" y="5743"/>
                </a:cubicBezTo>
                <a:lnTo>
                  <a:pt x="21320" y="5740"/>
                </a:lnTo>
                <a:lnTo>
                  <a:pt x="11011" y="56"/>
                </a:lnTo>
                <a:lnTo>
                  <a:pt x="11009" y="59"/>
                </a:lnTo>
                <a:cubicBezTo>
                  <a:pt x="10946" y="23"/>
                  <a:pt x="10876" y="0"/>
                  <a:pt x="10800" y="0"/>
                </a:cubicBezTo>
                <a:cubicBezTo>
                  <a:pt x="10724" y="0"/>
                  <a:pt x="10654" y="23"/>
                  <a:pt x="10591" y="59"/>
                </a:cubicBezTo>
                <a:lnTo>
                  <a:pt x="10589" y="56"/>
                </a:lnTo>
                <a:lnTo>
                  <a:pt x="280" y="5740"/>
                </a:lnTo>
                <a:lnTo>
                  <a:pt x="281" y="5743"/>
                </a:lnTo>
                <a:cubicBezTo>
                  <a:pt x="116" y="5835"/>
                  <a:pt x="0" y="6027"/>
                  <a:pt x="0" y="6253"/>
                </a:cubicBezTo>
                <a:cubicBezTo>
                  <a:pt x="0" y="6479"/>
                  <a:pt x="116" y="6671"/>
                  <a:pt x="281" y="6762"/>
                </a:cubicBezTo>
                <a:lnTo>
                  <a:pt x="280" y="6766"/>
                </a:lnTo>
                <a:lnTo>
                  <a:pt x="3473" y="8526"/>
                </a:lnTo>
                <a:lnTo>
                  <a:pt x="280" y="10287"/>
                </a:lnTo>
                <a:lnTo>
                  <a:pt x="281" y="10290"/>
                </a:lnTo>
                <a:cubicBezTo>
                  <a:pt x="116" y="10383"/>
                  <a:pt x="0" y="10574"/>
                  <a:pt x="0" y="10800"/>
                </a:cubicBezTo>
                <a:cubicBezTo>
                  <a:pt x="0" y="11026"/>
                  <a:pt x="116" y="11218"/>
                  <a:pt x="281" y="11310"/>
                </a:cubicBezTo>
                <a:lnTo>
                  <a:pt x="280" y="11313"/>
                </a:lnTo>
                <a:lnTo>
                  <a:pt x="3473" y="13074"/>
                </a:lnTo>
                <a:lnTo>
                  <a:pt x="280" y="14834"/>
                </a:lnTo>
                <a:lnTo>
                  <a:pt x="281" y="14838"/>
                </a:lnTo>
                <a:cubicBezTo>
                  <a:pt x="116" y="14930"/>
                  <a:pt x="0" y="15121"/>
                  <a:pt x="0" y="15347"/>
                </a:cubicBezTo>
                <a:cubicBezTo>
                  <a:pt x="0" y="15574"/>
                  <a:pt x="116" y="15765"/>
                  <a:pt x="281" y="15857"/>
                </a:cubicBezTo>
                <a:lnTo>
                  <a:pt x="280" y="15860"/>
                </a:lnTo>
                <a:lnTo>
                  <a:pt x="10589" y="21544"/>
                </a:lnTo>
                <a:lnTo>
                  <a:pt x="10591" y="21541"/>
                </a:lnTo>
                <a:cubicBezTo>
                  <a:pt x="10654" y="21577"/>
                  <a:pt x="10724" y="21600"/>
                  <a:pt x="10800" y="21600"/>
                </a:cubicBezTo>
                <a:cubicBezTo>
                  <a:pt x="10876" y="21600"/>
                  <a:pt x="10946" y="21577"/>
                  <a:pt x="11009" y="21541"/>
                </a:cubicBezTo>
                <a:lnTo>
                  <a:pt x="11011" y="21544"/>
                </a:lnTo>
                <a:lnTo>
                  <a:pt x="21320" y="15860"/>
                </a:lnTo>
                <a:lnTo>
                  <a:pt x="21319" y="15857"/>
                </a:lnTo>
                <a:cubicBezTo>
                  <a:pt x="21484" y="15765"/>
                  <a:pt x="21600" y="15574"/>
                  <a:pt x="21600" y="15347"/>
                </a:cubicBezTo>
                <a:cubicBezTo>
                  <a:pt x="21600" y="15121"/>
                  <a:pt x="21484" y="14930"/>
                  <a:pt x="21319" y="14838"/>
                </a:cubicBezTo>
                <a:lnTo>
                  <a:pt x="21320" y="14834"/>
                </a:lnTo>
                <a:lnTo>
                  <a:pt x="18127" y="13074"/>
                </a:lnTo>
                <a:lnTo>
                  <a:pt x="21320" y="11313"/>
                </a:lnTo>
                <a:lnTo>
                  <a:pt x="21319" y="11310"/>
                </a:lnTo>
                <a:cubicBezTo>
                  <a:pt x="21484" y="11218"/>
                  <a:pt x="21600" y="11026"/>
                  <a:pt x="21600" y="108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4" name="Shape 2546">
            <a:extLst>
              <a:ext uri="{FF2B5EF4-FFF2-40B4-BE49-F238E27FC236}">
                <a16:creationId xmlns:a16="http://schemas.microsoft.com/office/drawing/2014/main" id="{D79F2B35-F1F7-4370-808F-8A99A2978829}"/>
              </a:ext>
            </a:extLst>
          </p:cNvPr>
          <p:cNvSpPr/>
          <p:nvPr/>
        </p:nvSpPr>
        <p:spPr>
          <a:xfrm>
            <a:off x="9117404" y="6334387"/>
            <a:ext cx="955003" cy="9884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3A449D2-F27E-4C57-BB29-0C02EC287A4D}"/>
              </a:ext>
            </a:extLst>
          </p:cNvPr>
          <p:cNvSpPr txBox="1"/>
          <p:nvPr/>
        </p:nvSpPr>
        <p:spPr>
          <a:xfrm>
            <a:off x="14293355" y="6142908"/>
            <a:ext cx="21344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600" dirty="0">
                <a:solidFill>
                  <a:schemeClr val="bg1"/>
                </a:solidFill>
                <a:latin typeface="Avenir Medium"/>
              </a:rPr>
              <a:t>€</a:t>
            </a:r>
            <a:endParaRPr lang="en-US" dirty="0">
              <a:solidFill>
                <a:schemeClr val="bg1"/>
              </a:solidFill>
              <a:latin typeface="Avenir Medium"/>
            </a:endParaRPr>
          </a:p>
        </p:txBody>
      </p:sp>
    </p:spTree>
    <p:extLst>
      <p:ext uri="{BB962C8B-B14F-4D97-AF65-F5344CB8AC3E}">
        <p14:creationId xmlns:p14="http://schemas.microsoft.com/office/powerpoint/2010/main" val="341499914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D36B0DD4-8BD2-408B-B2F1-15954A09E2A4}"/>
              </a:ext>
            </a:extLst>
          </p:cNvPr>
          <p:cNvSpPr txBox="1">
            <a:spLocks/>
          </p:cNvSpPr>
          <p:nvPr/>
        </p:nvSpPr>
        <p:spPr>
          <a:xfrm>
            <a:off x="1027114" y="1096963"/>
            <a:ext cx="22323424" cy="1153868"/>
          </a:xfrm>
          <a:prstGeom prst="rect">
            <a:avLst/>
          </a:prstGeom>
        </p:spPr>
        <p:txBody>
          <a:bodyPr/>
          <a:lstStyle>
            <a:lvl1pPr algn="l" defTabSz="182840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00" b="0" i="0" kern="1200">
                <a:solidFill>
                  <a:schemeClr val="tx1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de-DE" sz="6000" i="1" dirty="0" err="1"/>
              <a:t>xSEED`s</a:t>
            </a:r>
            <a:r>
              <a:rPr lang="de-DE" sz="6000" dirty="0"/>
              <a:t> </a:t>
            </a:r>
            <a:r>
              <a:rPr lang="de-DE" sz="6000" dirty="0" err="1"/>
              <a:t>Profitability</a:t>
            </a:r>
            <a:r>
              <a:rPr lang="de-DE" sz="6000" dirty="0"/>
              <a:t> </a:t>
            </a:r>
            <a:r>
              <a:rPr lang="de-DE" sz="6000" dirty="0" err="1"/>
              <a:t>is</a:t>
            </a:r>
            <a:r>
              <a:rPr lang="de-DE" sz="6000" dirty="0"/>
              <a:t> </a:t>
            </a:r>
            <a:r>
              <a:rPr lang="en-US" sz="6000" dirty="0"/>
              <a:t>Resistant Against Fluctuation </a:t>
            </a:r>
            <a:endParaRPr lang="en-US" sz="6000" i="1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FEC57E-D921-4B58-B73D-F94AD5CE3DEF}"/>
              </a:ext>
            </a:extLst>
          </p:cNvPr>
          <p:cNvSpPr>
            <a:spLocks/>
          </p:cNvSpPr>
          <p:nvPr/>
        </p:nvSpPr>
        <p:spPr bwMode="auto">
          <a:xfrm>
            <a:off x="1670357" y="4581086"/>
            <a:ext cx="290060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defTabSz="4572000"/>
            <a:r>
              <a:rPr lang="en-US" dirty="0">
                <a:solidFill>
                  <a:schemeClr val="tx2"/>
                </a:solidFill>
                <a:latin typeface="+mj-lt"/>
                <a:ea typeface="Avenir Book" charset="0"/>
                <a:cs typeface="Avenir Book" charset="0"/>
                <a:sym typeface="Bebas Neue" charset="0"/>
              </a:rPr>
              <a:t>Cost per Sensor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8D83DA-7CE3-430B-9396-DD00BC6A60A3}"/>
              </a:ext>
            </a:extLst>
          </p:cNvPr>
          <p:cNvSpPr/>
          <p:nvPr/>
        </p:nvSpPr>
        <p:spPr>
          <a:xfrm>
            <a:off x="1670357" y="5100651"/>
            <a:ext cx="9497891" cy="6592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Book" charset="0"/>
              <a:ea typeface="Avenir Book" charset="0"/>
              <a:cs typeface="Avenir Book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AD31004-4ECA-421D-9935-3B6718482E56}"/>
              </a:ext>
            </a:extLst>
          </p:cNvPr>
          <p:cNvGrpSpPr/>
          <p:nvPr/>
        </p:nvGrpSpPr>
        <p:grpSpPr>
          <a:xfrm>
            <a:off x="1670357" y="5100651"/>
            <a:ext cx="5489199" cy="659219"/>
            <a:chOff x="2431839" y="5380074"/>
            <a:chExt cx="7911359" cy="668925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E98FA6D-A5C0-4262-A97E-6DA82A334B0F}"/>
                </a:ext>
              </a:extLst>
            </p:cNvPr>
            <p:cNvSpPr/>
            <p:nvPr/>
          </p:nvSpPr>
          <p:spPr>
            <a:xfrm>
              <a:off x="2431839" y="5380074"/>
              <a:ext cx="7911359" cy="6689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6971170-D851-4A41-9F1A-28D586ADD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9634" y="5504082"/>
              <a:ext cx="1404689" cy="437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anchor="ctr" anchorCtr="0">
              <a:spAutoFit/>
            </a:bodyPr>
            <a:lstStyle/>
            <a:p>
              <a:pPr algn="r" defTabSz="4572000"/>
              <a:r>
                <a:rPr lang="en-US" sz="2800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  <a:sym typeface="Bebas Neue" charset="0"/>
                </a:rPr>
                <a:t>54.7%</a:t>
              </a:r>
            </a:p>
          </p:txBody>
        </p:sp>
      </p:grpSp>
      <p:sp>
        <p:nvSpPr>
          <p:cNvPr id="24" name="Title 1">
            <a:extLst>
              <a:ext uri="{FF2B5EF4-FFF2-40B4-BE49-F238E27FC236}">
                <a16:creationId xmlns:a16="http://schemas.microsoft.com/office/drawing/2014/main" id="{629AFD47-AA15-4122-ADFD-1F69D2F86C4D}"/>
              </a:ext>
            </a:extLst>
          </p:cNvPr>
          <p:cNvSpPr txBox="1">
            <a:spLocks/>
          </p:cNvSpPr>
          <p:nvPr/>
        </p:nvSpPr>
        <p:spPr>
          <a:xfrm>
            <a:off x="1179514" y="2873650"/>
            <a:ext cx="22323424" cy="1153868"/>
          </a:xfrm>
          <a:prstGeom prst="rect">
            <a:avLst/>
          </a:prstGeom>
        </p:spPr>
        <p:txBody>
          <a:bodyPr/>
          <a:lstStyle>
            <a:lvl1pPr algn="l" defTabSz="182840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00" b="0" i="0" kern="1200">
                <a:solidFill>
                  <a:schemeClr val="tx1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sz="3800" dirty="0">
                <a:solidFill>
                  <a:schemeClr val="tx1">
                    <a:lumMod val="75000"/>
                  </a:schemeClr>
                </a:solidFill>
              </a:rPr>
              <a:t>Positive NPV during the first five years is ensured, even if…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C2F3A5E-F3FF-4A97-A994-9322FBFCF925}"/>
              </a:ext>
            </a:extLst>
          </p:cNvPr>
          <p:cNvSpPr>
            <a:spLocks/>
          </p:cNvSpPr>
          <p:nvPr/>
        </p:nvSpPr>
        <p:spPr bwMode="auto">
          <a:xfrm>
            <a:off x="1670355" y="7848401"/>
            <a:ext cx="1138068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defTabSz="4572000"/>
            <a:r>
              <a:rPr lang="en-US" dirty="0">
                <a:solidFill>
                  <a:schemeClr val="tx2"/>
                </a:solidFill>
                <a:latin typeface="+mj-lt"/>
                <a:ea typeface="Avenir Book" charset="0"/>
                <a:cs typeface="Avenir Book" charset="0"/>
                <a:sym typeface="Bebas Neue" charset="0"/>
              </a:rPr>
              <a:t>WAC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4A5EBC6-AA16-43E9-800C-D6E21F1DDE1F}"/>
              </a:ext>
            </a:extLst>
          </p:cNvPr>
          <p:cNvSpPr/>
          <p:nvPr/>
        </p:nvSpPr>
        <p:spPr>
          <a:xfrm>
            <a:off x="1670357" y="8355214"/>
            <a:ext cx="9497891" cy="6592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Book" charset="0"/>
              <a:ea typeface="Avenir Book" charset="0"/>
              <a:cs typeface="Avenir Book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4F3083D-003D-49D1-B776-071B82A322C0}"/>
              </a:ext>
            </a:extLst>
          </p:cNvPr>
          <p:cNvGrpSpPr/>
          <p:nvPr/>
        </p:nvGrpSpPr>
        <p:grpSpPr>
          <a:xfrm>
            <a:off x="1670357" y="8364920"/>
            <a:ext cx="4054308" cy="649513"/>
            <a:chOff x="2431839" y="8324366"/>
            <a:chExt cx="6498583" cy="592359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BBB7F41-21D8-451C-9AD9-F0D4935946C7}"/>
                </a:ext>
              </a:extLst>
            </p:cNvPr>
            <p:cNvSpPr/>
            <p:nvPr/>
          </p:nvSpPr>
          <p:spPr>
            <a:xfrm>
              <a:off x="2431839" y="8324366"/>
              <a:ext cx="6498583" cy="59235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AAEC4F4-7222-4754-8EE2-FE143ECE3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0426" y="8390630"/>
              <a:ext cx="1562212" cy="392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anchor="ctr" anchorCtr="0">
              <a:spAutoFit/>
            </a:bodyPr>
            <a:lstStyle/>
            <a:p>
              <a:pPr algn="r" defTabSz="4572000"/>
              <a:r>
                <a:rPr lang="en-US" sz="2800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  <a:sym typeface="Bebas Neue" charset="0"/>
                </a:rPr>
                <a:t>31.0%</a:t>
              </a:r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7F405470-8B76-4C15-B32E-C8015664927A}"/>
              </a:ext>
            </a:extLst>
          </p:cNvPr>
          <p:cNvSpPr>
            <a:spLocks/>
          </p:cNvSpPr>
          <p:nvPr/>
        </p:nvSpPr>
        <p:spPr bwMode="auto">
          <a:xfrm>
            <a:off x="12994797" y="7886012"/>
            <a:ext cx="389363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defTabSz="4572000"/>
            <a:r>
              <a:rPr lang="en-US" dirty="0">
                <a:solidFill>
                  <a:schemeClr val="tx2"/>
                </a:solidFill>
                <a:latin typeface="+mj-lt"/>
                <a:ea typeface="Avenir Book" charset="0"/>
                <a:cs typeface="Avenir Book" charset="0"/>
                <a:sym typeface="Bebas Neue" charset="0"/>
              </a:rPr>
              <a:t>Investment Expens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2C25B6A-C931-44AA-8ABE-3BA28D1D0ECD}"/>
              </a:ext>
            </a:extLst>
          </p:cNvPr>
          <p:cNvSpPr/>
          <p:nvPr/>
        </p:nvSpPr>
        <p:spPr>
          <a:xfrm>
            <a:off x="12973531" y="8412227"/>
            <a:ext cx="9497891" cy="6592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Book" charset="0"/>
              <a:ea typeface="Avenir Book" charset="0"/>
              <a:cs typeface="Avenir Book" charset="0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A4C00DF-295D-479C-AE41-A1D5E433A8F2}"/>
              </a:ext>
            </a:extLst>
          </p:cNvPr>
          <p:cNvGrpSpPr/>
          <p:nvPr/>
        </p:nvGrpSpPr>
        <p:grpSpPr>
          <a:xfrm>
            <a:off x="12994797" y="8421933"/>
            <a:ext cx="5130587" cy="659219"/>
            <a:chOff x="2431840" y="8324366"/>
            <a:chExt cx="8523442" cy="659219"/>
          </a:xfrm>
          <a:solidFill>
            <a:schemeClr val="accent5"/>
          </a:solidFill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7B38925-7D70-41DE-A61C-2132A90FE868}"/>
                </a:ext>
              </a:extLst>
            </p:cNvPr>
            <p:cNvSpPr/>
            <p:nvPr/>
          </p:nvSpPr>
          <p:spPr>
            <a:xfrm>
              <a:off x="2431840" y="8324366"/>
              <a:ext cx="8523442" cy="6592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E7DBDD5C-D12E-4935-9892-D102AC46F10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6990" y="8424530"/>
              <a:ext cx="1581824" cy="439479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anchor="ctr" anchorCtr="0">
              <a:spAutoFit/>
            </a:bodyPr>
            <a:lstStyle/>
            <a:p>
              <a:pPr algn="r" defTabSz="4572000"/>
              <a:r>
                <a:rPr lang="en-US" sz="2800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  <a:sym typeface="Bebas Neue" charset="0"/>
                </a:rPr>
                <a:t>49.9%</a:t>
              </a: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B7D74807-2C90-463B-833F-47F482F39335}"/>
              </a:ext>
            </a:extLst>
          </p:cNvPr>
          <p:cNvSpPr>
            <a:spLocks/>
          </p:cNvSpPr>
          <p:nvPr/>
        </p:nvSpPr>
        <p:spPr bwMode="auto">
          <a:xfrm>
            <a:off x="12973531" y="4465934"/>
            <a:ext cx="3314049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defTabSz="4572000"/>
            <a:r>
              <a:rPr lang="en-US" dirty="0">
                <a:solidFill>
                  <a:schemeClr val="tx2"/>
                </a:solidFill>
                <a:latin typeface="+mj-lt"/>
                <a:ea typeface="Avenir Book" charset="0"/>
                <a:cs typeface="Avenir Book" charset="0"/>
                <a:sym typeface="Bebas Neue" charset="0"/>
              </a:rPr>
              <a:t>Subscription Pric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96F9CB9-A870-4F4F-8365-37BB0D4C1880}"/>
              </a:ext>
            </a:extLst>
          </p:cNvPr>
          <p:cNvSpPr/>
          <p:nvPr/>
        </p:nvSpPr>
        <p:spPr>
          <a:xfrm>
            <a:off x="12930686" y="5029638"/>
            <a:ext cx="9497891" cy="6592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Book" charset="0"/>
              <a:ea typeface="Avenir Book" charset="0"/>
              <a:cs typeface="Avenir Book" charset="0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F138C4E8-3C6E-4D47-82C3-78BDD93A0C49}"/>
              </a:ext>
            </a:extLst>
          </p:cNvPr>
          <p:cNvGrpSpPr/>
          <p:nvPr/>
        </p:nvGrpSpPr>
        <p:grpSpPr>
          <a:xfrm>
            <a:off x="12930686" y="5039344"/>
            <a:ext cx="4315914" cy="659219"/>
            <a:chOff x="12468973" y="8324367"/>
            <a:chExt cx="5500189" cy="659218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0C5374D-397D-4E6B-9974-520F97FE4E14}"/>
                </a:ext>
              </a:extLst>
            </p:cNvPr>
            <p:cNvSpPr/>
            <p:nvPr/>
          </p:nvSpPr>
          <p:spPr>
            <a:xfrm>
              <a:off x="12468973" y="8324367"/>
              <a:ext cx="5500189" cy="65921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FE66EC5D-7A5C-42B6-8953-58298B5C8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49836" y="8425965"/>
              <a:ext cx="1969715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anchor="ctr" anchorCtr="0">
              <a:spAutoFit/>
            </a:bodyPr>
            <a:lstStyle/>
            <a:p>
              <a:pPr algn="r" defTabSz="4572000"/>
              <a:r>
                <a:rPr lang="en-US" sz="2800" dirty="0">
                  <a:solidFill>
                    <a:schemeClr val="bg1"/>
                  </a:solidFill>
                  <a:latin typeface="Avenir Book" charset="0"/>
                  <a:ea typeface="Avenir Book" charset="0"/>
                  <a:cs typeface="Avenir Book" charset="0"/>
                  <a:sym typeface="Bebas Neue" charset="0"/>
                </a:rPr>
                <a:t>31.9%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5988A3D3-70E8-43FC-96A0-D4FAD4D6C83D}"/>
              </a:ext>
            </a:extLst>
          </p:cNvPr>
          <p:cNvSpPr txBox="1"/>
          <p:nvPr/>
        </p:nvSpPr>
        <p:spPr>
          <a:xfrm>
            <a:off x="1614489" y="6029325"/>
            <a:ext cx="105743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…Cost per sensor increases from €300 to €464  </a:t>
            </a:r>
          </a:p>
          <a:p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b="1" dirty="0">
                <a:sym typeface="Wingdings" panose="05000000000000000000" pitchFamily="2" charset="2"/>
              </a:rPr>
              <a:t>Sensitivity value of 54.7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B44B988-5343-46C2-8732-0EBFDBD19723}"/>
              </a:ext>
            </a:extLst>
          </p:cNvPr>
          <p:cNvSpPr txBox="1"/>
          <p:nvPr/>
        </p:nvSpPr>
        <p:spPr>
          <a:xfrm>
            <a:off x="1614489" y="9201339"/>
            <a:ext cx="1057433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…</a:t>
            </a:r>
            <a:r>
              <a:rPr lang="en-US" dirty="0"/>
              <a:t>WACC increases from 14.0% to </a:t>
            </a:r>
            <a:r>
              <a:rPr lang="en-US" b="1" dirty="0"/>
              <a:t>31.0%</a:t>
            </a:r>
          </a:p>
          <a:p>
            <a:r>
              <a:rPr lang="en-US" b="1" dirty="0">
                <a:sym typeface="Wingdings" panose="05000000000000000000" pitchFamily="2" charset="2"/>
              </a:rPr>
              <a:t>Sensitivity value of 121.4%</a:t>
            </a:r>
            <a:endParaRPr lang="en-US" b="1" dirty="0"/>
          </a:p>
          <a:p>
            <a:endParaRPr lang="en-US" b="1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DC94D74-B325-4613-B25D-99EC421C605B}"/>
              </a:ext>
            </a:extLst>
          </p:cNvPr>
          <p:cNvSpPr txBox="1"/>
          <p:nvPr/>
        </p:nvSpPr>
        <p:spPr>
          <a:xfrm>
            <a:off x="12928602" y="5973380"/>
            <a:ext cx="105743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…</a:t>
            </a:r>
            <a:r>
              <a:rPr lang="en-US" dirty="0"/>
              <a:t>Subscription price decreases from €350 to €248.39</a:t>
            </a:r>
          </a:p>
          <a:p>
            <a:r>
              <a:rPr lang="en-US" b="1" dirty="0"/>
              <a:t>→ Sensitivity value of 31.9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58FF0E1-2BEF-4D9F-A123-520FA3AC1E93}"/>
              </a:ext>
            </a:extLst>
          </p:cNvPr>
          <p:cNvSpPr txBox="1"/>
          <p:nvPr/>
        </p:nvSpPr>
        <p:spPr>
          <a:xfrm>
            <a:off x="12994797" y="9378263"/>
            <a:ext cx="1057433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…</a:t>
            </a:r>
            <a:r>
              <a:rPr lang="en-US" dirty="0"/>
              <a:t>Initial investment expenses increase from €5m to €7.498m</a:t>
            </a:r>
          </a:p>
          <a:p>
            <a:r>
              <a:rPr lang="en-US" b="1" dirty="0"/>
              <a:t>→ Sensitivity value of 49.9%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1980430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ive Bars</a:t>
            </a:r>
          </a:p>
        </p:txBody>
      </p:sp>
      <p:sp>
        <p:nvSpPr>
          <p:cNvPr id="3" name="Rectangle 2"/>
          <p:cNvSpPr>
            <a:spLocks/>
          </p:cNvSpPr>
          <p:nvPr/>
        </p:nvSpPr>
        <p:spPr bwMode="auto">
          <a:xfrm>
            <a:off x="12444911" y="7391326"/>
            <a:ext cx="2511778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defTabSz="4572000"/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  <a:sym typeface="Bebas Neue" charset="0"/>
              </a:rPr>
              <a:t>Managem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12444911" y="8355214"/>
            <a:ext cx="9497891" cy="6592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6" name="Rectangle 5"/>
          <p:cNvSpPr>
            <a:spLocks/>
          </p:cNvSpPr>
          <p:nvPr/>
        </p:nvSpPr>
        <p:spPr bwMode="auto">
          <a:xfrm>
            <a:off x="12444911" y="4456740"/>
            <a:ext cx="325621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defTabSz="4572000"/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  <a:sym typeface="Bebas Neue" charset="0"/>
              </a:rPr>
              <a:t>Business Strategy</a:t>
            </a:r>
          </a:p>
        </p:txBody>
      </p:sp>
      <p:sp>
        <p:nvSpPr>
          <p:cNvPr id="8" name="Rectangle 7"/>
          <p:cNvSpPr/>
          <p:nvPr/>
        </p:nvSpPr>
        <p:spPr>
          <a:xfrm>
            <a:off x="12444911" y="5430334"/>
            <a:ext cx="9497891" cy="6592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9" name="Rectangle 8"/>
          <p:cNvSpPr>
            <a:spLocks/>
          </p:cNvSpPr>
          <p:nvPr/>
        </p:nvSpPr>
        <p:spPr bwMode="auto">
          <a:xfrm>
            <a:off x="2407776" y="7391326"/>
            <a:ext cx="238046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defTabSz="4572000"/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  <a:sym typeface="Bebas Neue" charset="0"/>
              </a:rPr>
              <a:t>Social Media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386511" y="8355214"/>
            <a:ext cx="9497891" cy="6592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2" name="Rectangle 11"/>
          <p:cNvSpPr>
            <a:spLocks/>
          </p:cNvSpPr>
          <p:nvPr/>
        </p:nvSpPr>
        <p:spPr bwMode="auto">
          <a:xfrm>
            <a:off x="2407776" y="4456740"/>
            <a:ext cx="1917448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defTabSz="4572000"/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  <a:sym typeface="Bebas Neue" charset="0"/>
              </a:rPr>
              <a:t>Marketing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407776" y="5430334"/>
            <a:ext cx="9497891" cy="6592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2407776" y="5440040"/>
            <a:ext cx="6286859" cy="659219"/>
            <a:chOff x="2431839" y="5389780"/>
            <a:chExt cx="6758429" cy="659219"/>
          </a:xfrm>
          <a:solidFill>
            <a:schemeClr val="accent1"/>
          </a:solidFill>
        </p:grpSpPr>
        <p:sp>
          <p:nvSpPr>
            <p:cNvPr id="16" name="Rectangle 15"/>
            <p:cNvSpPr/>
            <p:nvPr/>
          </p:nvSpPr>
          <p:spPr>
            <a:xfrm>
              <a:off x="2431839" y="5389780"/>
              <a:ext cx="6758429" cy="6592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7" name="Rectangle 16"/>
            <p:cNvSpPr>
              <a:spLocks/>
            </p:cNvSpPr>
            <p:nvPr/>
          </p:nvSpPr>
          <p:spPr bwMode="auto">
            <a:xfrm>
              <a:off x="8258368" y="5487656"/>
              <a:ext cx="756503" cy="430887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anchor="ctr" anchorCtr="0">
              <a:spAutoFit/>
            </a:bodyPr>
            <a:lstStyle/>
            <a:p>
              <a:pPr algn="r" defTabSz="4572000"/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  <a:sym typeface="Bebas Neue" charset="0"/>
                </a:rPr>
                <a:t>65 %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12444912" y="5440040"/>
            <a:ext cx="4162998" cy="659219"/>
            <a:chOff x="12468975" y="5389780"/>
            <a:chExt cx="4162998" cy="659219"/>
          </a:xfrm>
          <a:solidFill>
            <a:schemeClr val="accent5"/>
          </a:solidFill>
        </p:grpSpPr>
        <p:sp>
          <p:nvSpPr>
            <p:cNvPr id="19" name="Rectangle 18"/>
            <p:cNvSpPr/>
            <p:nvPr/>
          </p:nvSpPr>
          <p:spPr>
            <a:xfrm>
              <a:off x="12468975" y="5389780"/>
              <a:ext cx="4162998" cy="6592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20" name="Rectangle 19"/>
            <p:cNvSpPr>
              <a:spLocks/>
            </p:cNvSpPr>
            <p:nvPr/>
          </p:nvSpPr>
          <p:spPr bwMode="auto">
            <a:xfrm>
              <a:off x="15755775" y="5488313"/>
              <a:ext cx="703718" cy="430887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anchor="ctr" anchorCtr="0">
              <a:spAutoFit/>
            </a:bodyPr>
            <a:lstStyle/>
            <a:p>
              <a:pPr algn="r" defTabSz="4572000"/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  <a:sym typeface="Bebas Neue" charset="0"/>
                </a:rPr>
                <a:t>42 %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407777" y="8364920"/>
            <a:ext cx="8523442" cy="659219"/>
            <a:chOff x="2431840" y="8324366"/>
            <a:chExt cx="8523442" cy="659219"/>
          </a:xfrm>
          <a:solidFill>
            <a:schemeClr val="accent2"/>
          </a:solidFill>
        </p:grpSpPr>
        <p:sp>
          <p:nvSpPr>
            <p:cNvPr id="22" name="Rectangle 21"/>
            <p:cNvSpPr/>
            <p:nvPr/>
          </p:nvSpPr>
          <p:spPr>
            <a:xfrm>
              <a:off x="2431840" y="8324366"/>
              <a:ext cx="8523442" cy="6592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23" name="Rectangle 22"/>
            <p:cNvSpPr>
              <a:spLocks/>
            </p:cNvSpPr>
            <p:nvPr/>
          </p:nvSpPr>
          <p:spPr bwMode="auto">
            <a:xfrm>
              <a:off x="10055096" y="8428825"/>
              <a:ext cx="703718" cy="430887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anchor="ctr" anchorCtr="0">
              <a:spAutoFit/>
            </a:bodyPr>
            <a:lstStyle/>
            <a:p>
              <a:pPr algn="r" defTabSz="4572000"/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  <a:sym typeface="Bebas Neue" charset="0"/>
                </a:rPr>
                <a:t>93 %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12444910" y="8364920"/>
            <a:ext cx="8583491" cy="659219"/>
            <a:chOff x="12468973" y="8324366"/>
            <a:chExt cx="8583491" cy="659219"/>
          </a:xfrm>
          <a:solidFill>
            <a:schemeClr val="accent4"/>
          </a:solidFill>
        </p:grpSpPr>
        <p:sp>
          <p:nvSpPr>
            <p:cNvPr id="25" name="Rectangle 24"/>
            <p:cNvSpPr/>
            <p:nvPr/>
          </p:nvSpPr>
          <p:spPr>
            <a:xfrm>
              <a:off x="12468973" y="8324366"/>
              <a:ext cx="8583491" cy="6592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26" name="Rectangle 25"/>
            <p:cNvSpPr>
              <a:spLocks/>
            </p:cNvSpPr>
            <p:nvPr/>
          </p:nvSpPr>
          <p:spPr bwMode="auto">
            <a:xfrm>
              <a:off x="20199891" y="8450090"/>
              <a:ext cx="703718" cy="430887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anchor="ctr" anchorCtr="0">
              <a:spAutoFit/>
            </a:bodyPr>
            <a:lstStyle/>
            <a:p>
              <a:pPr algn="r" defTabSz="4572000"/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  <a:sym typeface="Bebas Neue" charset="0"/>
                </a:rPr>
                <a:t>95 %</a:t>
              </a:r>
            </a:p>
          </p:txBody>
        </p:sp>
      </p:grpSp>
      <p:sp>
        <p:nvSpPr>
          <p:cNvPr id="27" name="Rectangle 26"/>
          <p:cNvSpPr>
            <a:spLocks/>
          </p:cNvSpPr>
          <p:nvPr/>
        </p:nvSpPr>
        <p:spPr bwMode="auto">
          <a:xfrm>
            <a:off x="12444911" y="9943692"/>
            <a:ext cx="1011495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defTabSz="4572000"/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  <a:sym typeface="Bebas Neue" charset="0"/>
              </a:rPr>
              <a:t>Audit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2444911" y="10907580"/>
            <a:ext cx="9497891" cy="6592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9" name="Rectangle 28"/>
          <p:cNvSpPr>
            <a:spLocks/>
          </p:cNvSpPr>
          <p:nvPr/>
        </p:nvSpPr>
        <p:spPr bwMode="auto">
          <a:xfrm>
            <a:off x="2407776" y="9943692"/>
            <a:ext cx="144751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defTabSz="4572000"/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  <a:sym typeface="Bebas Neue" charset="0"/>
              </a:rPr>
              <a:t>Finance</a:t>
            </a:r>
          </a:p>
        </p:txBody>
      </p:sp>
      <p:sp>
        <p:nvSpPr>
          <p:cNvPr id="30" name="Rectangle 29"/>
          <p:cNvSpPr/>
          <p:nvPr/>
        </p:nvSpPr>
        <p:spPr>
          <a:xfrm>
            <a:off x="2386511" y="10907580"/>
            <a:ext cx="9497891" cy="6592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2407777" y="10917286"/>
            <a:ext cx="6688097" cy="659219"/>
            <a:chOff x="2431840" y="8324366"/>
            <a:chExt cx="8523442" cy="659219"/>
          </a:xfrm>
          <a:solidFill>
            <a:schemeClr val="accent3"/>
          </a:solidFill>
        </p:grpSpPr>
        <p:sp>
          <p:nvSpPr>
            <p:cNvPr id="32" name="Rectangle 31"/>
            <p:cNvSpPr/>
            <p:nvPr/>
          </p:nvSpPr>
          <p:spPr>
            <a:xfrm>
              <a:off x="2431840" y="8324366"/>
              <a:ext cx="8523442" cy="6592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33" name="Rectangle 32"/>
            <p:cNvSpPr>
              <a:spLocks/>
            </p:cNvSpPr>
            <p:nvPr/>
          </p:nvSpPr>
          <p:spPr bwMode="auto">
            <a:xfrm>
              <a:off x="9861982" y="8428825"/>
              <a:ext cx="896833" cy="430887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anchor="ctr" anchorCtr="0">
              <a:spAutoFit/>
            </a:bodyPr>
            <a:lstStyle/>
            <a:p>
              <a:pPr algn="r" defTabSz="4572000"/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  <a:sym typeface="Bebas Neue" charset="0"/>
                </a:rPr>
                <a:t>58 %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12444910" y="10917286"/>
            <a:ext cx="8583491" cy="659219"/>
            <a:chOff x="12468973" y="8324366"/>
            <a:chExt cx="8583491" cy="659219"/>
          </a:xfrm>
          <a:solidFill>
            <a:schemeClr val="accent4">
              <a:lumMod val="60000"/>
              <a:lumOff val="40000"/>
            </a:schemeClr>
          </a:solidFill>
        </p:grpSpPr>
        <p:sp>
          <p:nvSpPr>
            <p:cNvPr id="35" name="Rectangle 34"/>
            <p:cNvSpPr/>
            <p:nvPr/>
          </p:nvSpPr>
          <p:spPr>
            <a:xfrm>
              <a:off x="12468973" y="8324366"/>
              <a:ext cx="8583491" cy="6592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36" name="Rectangle 35"/>
            <p:cNvSpPr>
              <a:spLocks/>
            </p:cNvSpPr>
            <p:nvPr/>
          </p:nvSpPr>
          <p:spPr bwMode="auto">
            <a:xfrm>
              <a:off x="20199891" y="8450090"/>
              <a:ext cx="703718" cy="430887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anchor="ctr" anchorCtr="0">
              <a:spAutoFit/>
            </a:bodyPr>
            <a:lstStyle/>
            <a:p>
              <a:pPr algn="r" defTabSz="4572000"/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  <a:sym typeface="Bebas Neue" charset="0"/>
                </a:rPr>
                <a:t>95 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37576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Blank Table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1090066"/>
              </p:ext>
            </p:extLst>
          </p:nvPr>
        </p:nvGraphicFramePr>
        <p:xfrm>
          <a:off x="1027112" y="2826839"/>
          <a:ext cx="22323424" cy="775658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62638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119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119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119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2119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2119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49481">
                <a:tc>
                  <a:txBody>
                    <a:bodyPr/>
                    <a:lstStyle/>
                    <a:p>
                      <a:pPr marL="80963" indent="0" algn="l" fontAlgn="b"/>
                      <a:r>
                        <a:rPr lang="de-DE" sz="28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all </a:t>
                      </a:r>
                      <a:r>
                        <a:rPr lang="de-DE" sz="2800" b="0" i="1" u="none" strike="noStrike" dirty="0" err="1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figures</a:t>
                      </a:r>
                      <a:r>
                        <a:rPr lang="de-DE" sz="28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in </a:t>
                      </a:r>
                      <a:r>
                        <a:rPr lang="de-DE" sz="2800" b="0" i="1" u="none" strike="noStrike" dirty="0" err="1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million</a:t>
                      </a:r>
                      <a:r>
                        <a:rPr lang="de-DE" sz="28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US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0" i="0" dirty="0">
                          <a:solidFill>
                            <a:schemeClr val="bg1"/>
                          </a:solidFill>
                          <a:latin typeface="+mj-lt"/>
                          <a:ea typeface="Avenir Book" charset="0"/>
                          <a:cs typeface="Arial" panose="020B0604020202020204" pitchFamily="34" charset="0"/>
                        </a:rPr>
                        <a:t>20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0" i="0" dirty="0">
                          <a:solidFill>
                            <a:schemeClr val="bg1"/>
                          </a:solidFill>
                          <a:latin typeface="+mj-lt"/>
                          <a:ea typeface="Avenir Book" charset="0"/>
                          <a:cs typeface="Arial" panose="020B0604020202020204" pitchFamily="34" charset="0"/>
                        </a:rPr>
                        <a:t>20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0" i="0" dirty="0">
                          <a:solidFill>
                            <a:schemeClr val="bg1"/>
                          </a:solidFill>
                          <a:latin typeface="+mj-lt"/>
                          <a:ea typeface="Avenir Book" charset="0"/>
                          <a:cs typeface="Arial" panose="020B0604020202020204" pitchFamily="34" charset="0"/>
                        </a:rPr>
                        <a:t>20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0" i="0" dirty="0">
                          <a:solidFill>
                            <a:schemeClr val="bg1"/>
                          </a:solidFill>
                          <a:latin typeface="+mj-lt"/>
                          <a:ea typeface="Avenir Book" charset="0"/>
                          <a:cs typeface="Arial" panose="020B0604020202020204" pitchFamily="34" charset="0"/>
                        </a:rPr>
                        <a:t>20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0" i="0" dirty="0">
                          <a:solidFill>
                            <a:schemeClr val="bg1"/>
                          </a:solidFill>
                          <a:latin typeface="+mj-lt"/>
                          <a:ea typeface="Avenir Book" charset="0"/>
                          <a:cs typeface="Arial" panose="020B0604020202020204" pitchFamily="34" charset="0"/>
                        </a:rPr>
                        <a:t>20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2780">
                <a:tc gridSpan="6">
                  <a:txBody>
                    <a:bodyPr/>
                    <a:lstStyle/>
                    <a:p>
                      <a:pPr marL="80963" indent="0" algn="l" fontAlgn="b">
                        <a:tabLst/>
                      </a:pPr>
                      <a:r>
                        <a:rPr lang="en-US" sz="3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Cash Flow from Operating Activities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3600" b="0" i="0" dirty="0">
                        <a:latin typeface="Arial" panose="020B0604020202020204" pitchFamily="34" charset="0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3600" b="0" i="0" dirty="0">
                        <a:latin typeface="Arial" panose="020B0604020202020204" pitchFamily="34" charset="0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3600" b="0" i="0" dirty="0">
                        <a:latin typeface="Arial" panose="020B0604020202020204" pitchFamily="34" charset="0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3600" b="0" i="0" dirty="0">
                        <a:latin typeface="Arial" panose="020B0604020202020204" pitchFamily="34" charset="0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3600" b="0" i="0" dirty="0">
                        <a:latin typeface="Arial" panose="020B0604020202020204" pitchFamily="34" charset="0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3676052"/>
                  </a:ext>
                </a:extLst>
              </a:tr>
              <a:tr h="622780">
                <a:tc>
                  <a:txBody>
                    <a:bodyPr/>
                    <a:lstStyle/>
                    <a:p>
                      <a:pPr marL="263525" indent="0" algn="l" fontAlgn="b"/>
                      <a:r>
                        <a:rPr lang="de-DE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fits Through additional Sales</a:t>
                      </a:r>
                    </a:p>
                  </a:txBody>
                  <a:tcPr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0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3,5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6,0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0,5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5,0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1054345"/>
                  </a:ext>
                </a:extLst>
              </a:tr>
              <a:tr h="622780">
                <a:tc>
                  <a:txBody>
                    <a:bodyPr/>
                    <a:lstStyle/>
                    <a:p>
                      <a:pPr marL="263525" indent="0" algn="l" fontAlgn="b"/>
                      <a:r>
                        <a:rPr lang="de-DE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asing </a:t>
                      </a:r>
                      <a:r>
                        <a:rPr lang="de-DE" sz="3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sts</a:t>
                      </a:r>
                      <a:r>
                        <a:rPr lang="de-DE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de-DE" sz="3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f</a:t>
                      </a:r>
                      <a:r>
                        <a:rPr lang="de-DE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de-DE" sz="3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ffices</a:t>
                      </a:r>
                      <a:endParaRPr lang="de-DE" sz="3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8,7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8,8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9,0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9,2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9,4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9474934"/>
                  </a:ext>
                </a:extLst>
              </a:tr>
              <a:tr h="622780">
                <a:tc>
                  <a:txBody>
                    <a:bodyPr/>
                    <a:lstStyle/>
                    <a:p>
                      <a:pPr marL="263525" indent="0" algn="l" fontAlgn="b"/>
                      <a:r>
                        <a:rPr lang="de-DE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rketing Costs</a:t>
                      </a:r>
                    </a:p>
                  </a:txBody>
                  <a:tcPr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4,4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7,2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3,6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,8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,2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0800138"/>
                  </a:ext>
                </a:extLst>
              </a:tr>
              <a:tr h="622780">
                <a:tc>
                  <a:txBody>
                    <a:bodyPr/>
                    <a:lstStyle/>
                    <a:p>
                      <a:pPr marL="365125" indent="0" algn="l" fontAlgn="b"/>
                      <a:r>
                        <a:rPr lang="de-DE" sz="3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um</a:t>
                      </a:r>
                      <a:endParaRPr lang="de-DE" sz="3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23,1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7,4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3,3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9,4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4,3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6846737"/>
                  </a:ext>
                </a:extLst>
              </a:tr>
              <a:tr h="622780">
                <a:tc>
                  <a:txBody>
                    <a:bodyPr/>
                    <a:lstStyle/>
                    <a:p>
                      <a:pPr algn="l" fontAlgn="b"/>
                      <a:endParaRPr lang="en-US" sz="2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4000" b="0" i="0" dirty="0">
                        <a:latin typeface="+mj-lt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4000" b="0" i="0" dirty="0">
                        <a:latin typeface="+mj-lt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4000" b="0" i="0" dirty="0">
                        <a:latin typeface="+mj-lt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4000" b="0" i="0" dirty="0">
                        <a:latin typeface="+mj-lt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4000" b="0" i="0" dirty="0">
                        <a:latin typeface="+mj-lt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4257114"/>
                  </a:ext>
                </a:extLst>
              </a:tr>
              <a:tr h="622780">
                <a:tc gridSpan="6">
                  <a:txBody>
                    <a:bodyPr/>
                    <a:lstStyle/>
                    <a:p>
                      <a:pPr marL="80963" indent="0" algn="l" fontAlgn="b"/>
                      <a:r>
                        <a:rPr lang="en-US" sz="3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Cash Flow from Investing Activities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3600" b="0" i="0" dirty="0">
                        <a:latin typeface="Arial" panose="020B0604020202020204" pitchFamily="34" charset="0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3600" b="0" i="0" dirty="0">
                        <a:latin typeface="Arial" panose="020B0604020202020204" pitchFamily="34" charset="0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3600" b="0" i="0" dirty="0">
                        <a:latin typeface="Arial" panose="020B0604020202020204" pitchFamily="34" charset="0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3600" b="0" i="0" dirty="0">
                        <a:latin typeface="Arial" panose="020B0604020202020204" pitchFamily="34" charset="0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3600" b="0" i="0" dirty="0">
                        <a:latin typeface="Arial" panose="020B0604020202020204" pitchFamily="34" charset="0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8346402"/>
                  </a:ext>
                </a:extLst>
              </a:tr>
              <a:tr h="622780">
                <a:tc>
                  <a:txBody>
                    <a:bodyPr/>
                    <a:lstStyle/>
                    <a:p>
                      <a:pPr marL="263525" indent="0" algn="l" fontAlgn="b"/>
                      <a:r>
                        <a:rPr lang="de-DE" sz="3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mployees</a:t>
                      </a:r>
                      <a:endParaRPr lang="de-DE" sz="3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23,0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25,46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27,9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30,5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33,1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2611398"/>
                  </a:ext>
                </a:extLst>
              </a:tr>
              <a:tr h="622780">
                <a:tc>
                  <a:txBody>
                    <a:bodyPr/>
                    <a:lstStyle/>
                    <a:p>
                      <a:pPr marL="365125" indent="0" algn="l" fontAlgn="b"/>
                      <a:r>
                        <a:rPr lang="de-DE" sz="3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um</a:t>
                      </a:r>
                      <a:endParaRPr lang="de-DE" sz="3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23,0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25,46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27,9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30,5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33,1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088291"/>
                  </a:ext>
                </a:extLst>
              </a:tr>
              <a:tr h="622780">
                <a:tc>
                  <a:txBody>
                    <a:bodyPr/>
                    <a:lstStyle/>
                    <a:p>
                      <a:pPr algn="l" fontAlgn="b"/>
                      <a:endParaRPr lang="de-DE" sz="2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4000" b="0" i="0" dirty="0">
                        <a:latin typeface="+mj-lt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4000" b="0" i="0" dirty="0">
                        <a:latin typeface="+mj-lt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4000" b="0" i="0">
                        <a:latin typeface="+mj-lt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4000" b="0" i="0" dirty="0">
                        <a:latin typeface="+mj-lt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4000" b="0" i="0" dirty="0">
                        <a:latin typeface="+mj-lt"/>
                        <a:ea typeface="Avenir Book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2780">
                <a:tc>
                  <a:txBody>
                    <a:bodyPr/>
                    <a:lstStyle/>
                    <a:p>
                      <a:pPr marL="80963" indent="0" algn="l" fontAlgn="b"/>
                      <a:r>
                        <a:rPr lang="de-DE" sz="3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Free Cash Flow 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46,1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8,0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5,3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8,9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1,2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5CA54802-8A0F-460F-A933-3D6A34DEF41E}"/>
              </a:ext>
            </a:extLst>
          </p:cNvPr>
          <p:cNvSpPr/>
          <p:nvPr/>
        </p:nvSpPr>
        <p:spPr>
          <a:xfrm>
            <a:off x="1027114" y="11389360"/>
            <a:ext cx="7365046" cy="11538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"/>
            <a:r>
              <a:rPr lang="de-DE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Net </a:t>
            </a:r>
            <a:r>
              <a:rPr lang="de-DE" b="1" dirty="0" err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resent</a:t>
            </a:r>
            <a:r>
              <a:rPr lang="de-DE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Value:  287,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B3795D5-742D-4987-BFAC-C7070F1C68FE}"/>
              </a:ext>
            </a:extLst>
          </p:cNvPr>
          <p:cNvSpPr/>
          <p:nvPr/>
        </p:nvSpPr>
        <p:spPr>
          <a:xfrm>
            <a:off x="15891194" y="11389360"/>
            <a:ext cx="7365046" cy="11538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WACC: 15%</a:t>
            </a:r>
          </a:p>
        </p:txBody>
      </p:sp>
    </p:spTree>
    <p:extLst>
      <p:ext uri="{BB962C8B-B14F-4D97-AF65-F5344CB8AC3E}">
        <p14:creationId xmlns:p14="http://schemas.microsoft.com/office/powerpoint/2010/main" val="204354369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table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5082853"/>
              </p:ext>
            </p:extLst>
          </p:nvPr>
        </p:nvGraphicFramePr>
        <p:xfrm>
          <a:off x="1027114" y="2897185"/>
          <a:ext cx="22323428" cy="80034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991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686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686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686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6869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6869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6869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6869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46869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46869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46869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46869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46869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1600685"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Projec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Ja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Fe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M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Ap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Ma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Ju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Ju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Au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Sep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Oc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Nov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De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0685"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latin typeface="Avenir Book" charset="0"/>
                          <a:ea typeface="Avenir Book" charset="0"/>
                          <a:cs typeface="Avenir Book" charset="0"/>
                        </a:rPr>
                        <a:t>Project</a:t>
                      </a:r>
                      <a:r>
                        <a:rPr lang="en-US" sz="2800" b="0" i="0" baseline="0" dirty="0">
                          <a:latin typeface="Avenir Book" charset="0"/>
                          <a:ea typeface="Avenir Book" charset="0"/>
                          <a:cs typeface="Avenir Book" charset="0"/>
                        </a:rPr>
                        <a:t> One</a:t>
                      </a:r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00685"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latin typeface="Avenir Book" charset="0"/>
                          <a:ea typeface="Avenir Book" charset="0"/>
                          <a:cs typeface="Avenir Book" charset="0"/>
                        </a:rPr>
                        <a:t>Project Tw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00685"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latin typeface="Avenir Book" charset="0"/>
                          <a:ea typeface="Avenir Book" charset="0"/>
                          <a:cs typeface="Avenir Book" charset="0"/>
                        </a:rPr>
                        <a:t>Project Thre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0685"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latin typeface="Avenir Book" charset="0"/>
                          <a:ea typeface="Avenir Book" charset="0"/>
                          <a:cs typeface="Avenir Book" charset="0"/>
                        </a:rPr>
                        <a:t>Project Fou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5690638" y="4982472"/>
            <a:ext cx="7534646" cy="337339"/>
            <a:chOff x="6664932" y="6088327"/>
            <a:chExt cx="7147787" cy="317810"/>
          </a:xfrm>
        </p:grpSpPr>
        <p:sp>
          <p:nvSpPr>
            <p:cNvPr id="5" name="Oval 4"/>
            <p:cNvSpPr/>
            <p:nvPr/>
          </p:nvSpPr>
          <p:spPr>
            <a:xfrm>
              <a:off x="13494909" y="6088327"/>
              <a:ext cx="317810" cy="31781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>
                <a:latin typeface="Avenir Medium"/>
              </a:endParaRPr>
            </a:p>
          </p:txBody>
        </p:sp>
        <p:cxnSp>
          <p:nvCxnSpPr>
            <p:cNvPr id="6" name="Straight Connector 5"/>
            <p:cNvCxnSpPr/>
            <p:nvPr/>
          </p:nvCxnSpPr>
          <p:spPr>
            <a:xfrm flipH="1">
              <a:off x="6664932" y="6247232"/>
              <a:ext cx="6829977" cy="0"/>
            </a:xfrm>
            <a:prstGeom prst="line">
              <a:avLst/>
            </a:prstGeom>
            <a:ln w="571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/>
        </p:nvGrpSpPr>
        <p:grpSpPr>
          <a:xfrm>
            <a:off x="11622725" y="6508327"/>
            <a:ext cx="5002561" cy="337339"/>
            <a:chOff x="9067010" y="6088327"/>
            <a:chExt cx="4745709" cy="317810"/>
          </a:xfrm>
        </p:grpSpPr>
        <p:sp>
          <p:nvSpPr>
            <p:cNvPr id="8" name="Oval 7"/>
            <p:cNvSpPr/>
            <p:nvPr/>
          </p:nvSpPr>
          <p:spPr>
            <a:xfrm>
              <a:off x="13494909" y="6088327"/>
              <a:ext cx="317810" cy="3178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>
                <a:latin typeface="Avenir Medium"/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>
            <a:xfrm flipH="1">
              <a:off x="9067010" y="6247232"/>
              <a:ext cx="4427900" cy="0"/>
            </a:xfrm>
            <a:prstGeom prst="line">
              <a:avLst/>
            </a:prstGeom>
            <a:ln w="571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/>
          <p:cNvGrpSpPr/>
          <p:nvPr/>
        </p:nvGrpSpPr>
        <p:grpSpPr>
          <a:xfrm>
            <a:off x="14622464" y="8034181"/>
            <a:ext cx="7534646" cy="337339"/>
            <a:chOff x="6664932" y="6088327"/>
            <a:chExt cx="7147787" cy="317810"/>
          </a:xfrm>
          <a:solidFill>
            <a:schemeClr val="accent3">
              <a:lumMod val="75000"/>
            </a:schemeClr>
          </a:solidFill>
        </p:grpSpPr>
        <p:sp>
          <p:nvSpPr>
            <p:cNvPr id="11" name="Oval 10"/>
            <p:cNvSpPr/>
            <p:nvPr/>
          </p:nvSpPr>
          <p:spPr>
            <a:xfrm>
              <a:off x="13494909" y="6088327"/>
              <a:ext cx="317810" cy="31781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>
                <a:latin typeface="Avenir Medium"/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 flipH="1">
              <a:off x="6664932" y="6247232"/>
              <a:ext cx="6829977" cy="0"/>
            </a:xfrm>
            <a:prstGeom prst="line">
              <a:avLst/>
            </a:prstGeom>
            <a:grpFill/>
            <a:ln w="571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/>
          <p:cNvGrpSpPr/>
          <p:nvPr/>
        </p:nvGrpSpPr>
        <p:grpSpPr>
          <a:xfrm>
            <a:off x="7295751" y="9560036"/>
            <a:ext cx="5002561" cy="337339"/>
            <a:chOff x="9067010" y="6088327"/>
            <a:chExt cx="4745709" cy="317810"/>
          </a:xfrm>
        </p:grpSpPr>
        <p:sp>
          <p:nvSpPr>
            <p:cNvPr id="14" name="Oval 13"/>
            <p:cNvSpPr/>
            <p:nvPr/>
          </p:nvSpPr>
          <p:spPr>
            <a:xfrm>
              <a:off x="13494909" y="6088327"/>
              <a:ext cx="317810" cy="317810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>
                <a:latin typeface="Avenir Medium"/>
              </a:endParaRPr>
            </a:p>
          </p:txBody>
        </p:sp>
        <p:cxnSp>
          <p:nvCxnSpPr>
            <p:cNvPr id="15" name="Straight Connector 14"/>
            <p:cNvCxnSpPr/>
            <p:nvPr/>
          </p:nvCxnSpPr>
          <p:spPr>
            <a:xfrm flipH="1">
              <a:off x="9067010" y="6247232"/>
              <a:ext cx="4427900" cy="0"/>
            </a:xfrm>
            <a:prstGeom prst="line">
              <a:avLst/>
            </a:prstGeom>
            <a:ln w="5715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8606026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t Portfolio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0" y="2897189"/>
            <a:ext cx="24377650" cy="10818812"/>
            <a:chOff x="0" y="3005855"/>
            <a:chExt cx="23350536" cy="10710145"/>
          </a:xfrm>
        </p:grpSpPr>
        <p:sp>
          <p:nvSpPr>
            <p:cNvPr id="3" name="Rectangle 2"/>
            <p:cNvSpPr/>
            <p:nvPr/>
          </p:nvSpPr>
          <p:spPr>
            <a:xfrm>
              <a:off x="7542124" y="3005856"/>
              <a:ext cx="7815108" cy="507912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15535428" y="3005856"/>
              <a:ext cx="7815108" cy="507912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7542124" y="8267859"/>
              <a:ext cx="15808412" cy="544814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Medium"/>
                <a:ea typeface="Avenir Book" charset="0"/>
                <a:cs typeface="Avenir Book" charset="0"/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9283397" y="4246232"/>
              <a:ext cx="4355759" cy="3387705"/>
              <a:chOff x="10013948" y="2882976"/>
              <a:chExt cx="4355759" cy="3387705"/>
            </a:xfrm>
          </p:grpSpPr>
          <p:sp>
            <p:nvSpPr>
              <p:cNvPr id="7" name="TextBox 6"/>
              <p:cNvSpPr txBox="1"/>
              <p:nvPr/>
            </p:nvSpPr>
            <p:spPr>
              <a:xfrm>
                <a:off x="10594860" y="2882976"/>
                <a:ext cx="3187928" cy="14320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8800" dirty="0">
                    <a:solidFill>
                      <a:schemeClr val="bg1"/>
                    </a:solidFill>
                    <a:latin typeface="Avenir Medium"/>
                    <a:ea typeface="Avenir Book" charset="0"/>
                    <a:cs typeface="Avenir Book" charset="0"/>
                  </a:rPr>
                  <a:t>12,500</a:t>
                </a: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>
                <a:off x="11379209" y="4232223"/>
                <a:ext cx="1619238" cy="63983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  <a:latin typeface="Avenir Medium"/>
                    <a:ea typeface="Avenir Book" charset="0"/>
                    <a:cs typeface="Avenir Book" charset="0"/>
                  </a:rPr>
                  <a:t>Projects</a:t>
                </a: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10013948" y="4899597"/>
                <a:ext cx="4355759" cy="13710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800" dirty="0">
                    <a:solidFill>
                      <a:schemeClr val="bg1"/>
                    </a:solidFill>
                    <a:latin typeface="Avenir Medium"/>
                    <a:ea typeface="Avenir Book" charset="0"/>
                    <a:cs typeface="Avenir Book" charset="0"/>
                  </a:rPr>
                  <a:t>These are scientific commentaries; but the commentaries of the whale.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17265863" y="4246232"/>
              <a:ext cx="4355759" cy="3387705"/>
              <a:chOff x="10013948" y="2882976"/>
              <a:chExt cx="4355759" cy="3387705"/>
            </a:xfrm>
          </p:grpSpPr>
          <p:sp>
            <p:nvSpPr>
              <p:cNvPr id="11" name="TextBox 10"/>
              <p:cNvSpPr txBox="1"/>
              <p:nvPr/>
            </p:nvSpPr>
            <p:spPr>
              <a:xfrm>
                <a:off x="10594861" y="2882976"/>
                <a:ext cx="3187928" cy="14320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8800" dirty="0">
                    <a:solidFill>
                      <a:schemeClr val="bg1"/>
                    </a:solidFill>
                    <a:latin typeface="Avenir Medium"/>
                    <a:ea typeface="Avenir Book" charset="0"/>
                    <a:cs typeface="Avenir Book" charset="0"/>
                  </a:rPr>
                  <a:t>13,740</a:t>
                </a: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11473146" y="4232223"/>
                <a:ext cx="1431359" cy="63983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  <a:latin typeface="Avenir Medium"/>
                    <a:ea typeface="Avenir Book" charset="0"/>
                    <a:cs typeface="Avenir Book" charset="0"/>
                  </a:rPr>
                  <a:t>Author</a:t>
                </a: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10013948" y="4899597"/>
                <a:ext cx="4355759" cy="13710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800" dirty="0">
                    <a:solidFill>
                      <a:schemeClr val="bg1"/>
                    </a:solidFill>
                    <a:latin typeface="Avenir Medium"/>
                    <a:ea typeface="Avenir Book" charset="0"/>
                    <a:cs typeface="Avenir Book" charset="0"/>
                  </a:rPr>
                  <a:t>These are scientific commentaries; but the commentaries of the whale.</a:t>
                </a:r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8638685" y="9920951"/>
              <a:ext cx="12353942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4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In the business world, everyone is paid in two coins: cash and experience. Take the experience first; the cash will come later. Harold S. </a:t>
              </a:r>
              <a:r>
                <a:rPr lang="en-US" sz="4400" dirty="0" err="1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Geneen</a:t>
              </a:r>
              <a:endParaRPr lang="en-US" sz="44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0" y="3005855"/>
              <a:ext cx="7363928" cy="1071014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Medium"/>
                <a:ea typeface="Avenir Book" charset="0"/>
                <a:cs typeface="Avenir Book" charset="0"/>
              </a:endParaRPr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1504084" y="6592708"/>
              <a:ext cx="4355759" cy="3387705"/>
              <a:chOff x="10013948" y="2882976"/>
              <a:chExt cx="4355759" cy="3387705"/>
            </a:xfrm>
          </p:grpSpPr>
          <p:sp>
            <p:nvSpPr>
              <p:cNvPr id="29" name="TextBox 28"/>
              <p:cNvSpPr txBox="1"/>
              <p:nvPr/>
            </p:nvSpPr>
            <p:spPr>
              <a:xfrm>
                <a:off x="10594860" y="2882976"/>
                <a:ext cx="3187928" cy="14320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8800" dirty="0">
                    <a:solidFill>
                      <a:schemeClr val="bg1"/>
                    </a:solidFill>
                    <a:latin typeface="Avenir Medium"/>
                    <a:ea typeface="Avenir Book" charset="0"/>
                    <a:cs typeface="Avenir Book" charset="0"/>
                  </a:rPr>
                  <a:t>12,500</a:t>
                </a: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11379207" y="4232223"/>
                <a:ext cx="1619238" cy="63983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  <a:latin typeface="Avenir Medium"/>
                    <a:ea typeface="Avenir Book" charset="0"/>
                    <a:cs typeface="Avenir Book" charset="0"/>
                  </a:rPr>
                  <a:t>Projects</a:t>
                </a:r>
                <a:endParaRPr lang="en-US" sz="24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10013948" y="4899597"/>
                <a:ext cx="4355759" cy="13710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800" dirty="0">
                    <a:solidFill>
                      <a:schemeClr val="bg1"/>
                    </a:solidFill>
                    <a:latin typeface="Avenir Medium"/>
                    <a:ea typeface="Avenir Book" charset="0"/>
                    <a:cs typeface="Avenir Book" charset="0"/>
                  </a:rPr>
                  <a:t>These are scientific commentaries; but the commentaries of the whale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8255116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Outcome</a:t>
            </a:r>
          </a:p>
        </p:txBody>
      </p:sp>
      <p:sp>
        <p:nvSpPr>
          <p:cNvPr id="3" name="Rectangle 2"/>
          <p:cNvSpPr/>
          <p:nvPr/>
        </p:nvSpPr>
        <p:spPr>
          <a:xfrm>
            <a:off x="7873877" y="2464904"/>
            <a:ext cx="8158869" cy="533565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6218781" y="2464904"/>
            <a:ext cx="8158869" cy="533565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873877" y="7992682"/>
            <a:ext cx="16503773" cy="57233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031945" y="4520104"/>
            <a:ext cx="3935693" cy="1708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0" dirty="0">
                <a:solidFill>
                  <a:schemeClr val="bg1"/>
                </a:solidFill>
                <a:latin typeface="Avenir Medium"/>
                <a:ea typeface="Avenir Book" charset="0"/>
                <a:cs typeface="Calibri" panose="020F0502020204030204" pitchFamily="34" charset="0"/>
              </a:rPr>
              <a:t>12,500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726114" y="6017777"/>
            <a:ext cx="45473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venir Medium"/>
                <a:ea typeface="Avenir Book" charset="0"/>
                <a:cs typeface="Calibri" panose="020F0502020204030204" pitchFamily="34" charset="0"/>
              </a:rPr>
              <a:t>Sales Increas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8331163" y="4538683"/>
            <a:ext cx="3935693" cy="1708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0" dirty="0">
                <a:solidFill>
                  <a:schemeClr val="bg1"/>
                </a:solidFill>
                <a:latin typeface="Avenir Medium"/>
                <a:ea typeface="Avenir Book" charset="0"/>
                <a:cs typeface="Calibri" panose="020F0502020204030204" pitchFamily="34" charset="0"/>
              </a:rPr>
              <a:t>13,740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8025332" y="6023075"/>
            <a:ext cx="45473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venir Medium"/>
                <a:ea typeface="Avenir Book" charset="0"/>
                <a:cs typeface="Calibri" panose="020F0502020204030204" pitchFamily="34" charset="0"/>
              </a:rPr>
              <a:t>ROI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770105" y="11507855"/>
            <a:ext cx="128973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venir Medium"/>
                <a:ea typeface="Avenir Book" charset="0"/>
                <a:cs typeface="Calibri" panose="020F0502020204030204" pitchFamily="34" charset="0"/>
              </a:rPr>
              <a:t>Company</a:t>
            </a:r>
          </a:p>
        </p:txBody>
      </p:sp>
      <p:sp>
        <p:nvSpPr>
          <p:cNvPr id="27" name="Rectangle 26"/>
          <p:cNvSpPr/>
          <p:nvPr/>
        </p:nvSpPr>
        <p:spPr>
          <a:xfrm>
            <a:off x="0" y="2464903"/>
            <a:ext cx="7687843" cy="112510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696609" y="7266067"/>
            <a:ext cx="4288353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500" dirty="0">
                <a:solidFill>
                  <a:schemeClr val="bg1"/>
                </a:solidFill>
                <a:latin typeface="Avenir Medium"/>
                <a:ea typeface="Avenir Book" charset="0"/>
                <a:cs typeface="Calibri" panose="020F0502020204030204" pitchFamily="34" charset="0"/>
              </a:rPr>
              <a:t>12,500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567108" y="8906477"/>
            <a:ext cx="45473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venir Medium"/>
                <a:ea typeface="Avenir Book" charset="0"/>
                <a:cs typeface="Calibri" panose="020F0502020204030204" pitchFamily="34" charset="0"/>
              </a:rPr>
              <a:t>New Customers</a:t>
            </a:r>
          </a:p>
        </p:txBody>
      </p:sp>
      <p:sp>
        <p:nvSpPr>
          <p:cNvPr id="21" name="Shape 2800">
            <a:extLst>
              <a:ext uri="{FF2B5EF4-FFF2-40B4-BE49-F238E27FC236}">
                <a16:creationId xmlns:a16="http://schemas.microsoft.com/office/drawing/2014/main" id="{4E9A5673-FB09-4C29-B36A-687A4CBAF64F}"/>
              </a:ext>
            </a:extLst>
          </p:cNvPr>
          <p:cNvSpPr/>
          <p:nvPr/>
        </p:nvSpPr>
        <p:spPr>
          <a:xfrm>
            <a:off x="19517610" y="3576962"/>
            <a:ext cx="1562799" cy="10764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208" y="15258"/>
                </a:moveTo>
                <a:cubicBezTo>
                  <a:pt x="10138" y="15500"/>
                  <a:pt x="10044" y="15701"/>
                  <a:pt x="9923" y="15861"/>
                </a:cubicBezTo>
                <a:cubicBezTo>
                  <a:pt x="9802" y="16022"/>
                  <a:pt x="9660" y="16144"/>
                  <a:pt x="9499" y="16228"/>
                </a:cubicBezTo>
                <a:cubicBezTo>
                  <a:pt x="9362" y="16300"/>
                  <a:pt x="9243" y="16340"/>
                  <a:pt x="9097" y="16360"/>
                </a:cubicBezTo>
                <a:lnTo>
                  <a:pt x="9097" y="16971"/>
                </a:lnTo>
                <a:lnTo>
                  <a:pt x="8606" y="16971"/>
                </a:lnTo>
                <a:lnTo>
                  <a:pt x="8606" y="16361"/>
                </a:lnTo>
                <a:cubicBezTo>
                  <a:pt x="8446" y="16345"/>
                  <a:pt x="8316" y="16304"/>
                  <a:pt x="8171" y="16224"/>
                </a:cubicBezTo>
                <a:cubicBezTo>
                  <a:pt x="8001" y="16130"/>
                  <a:pt x="7856" y="15998"/>
                  <a:pt x="7736" y="15826"/>
                </a:cubicBezTo>
                <a:cubicBezTo>
                  <a:pt x="7615" y="15655"/>
                  <a:pt x="7522" y="15443"/>
                  <a:pt x="7456" y="15193"/>
                </a:cubicBezTo>
                <a:cubicBezTo>
                  <a:pt x="7390" y="14942"/>
                  <a:pt x="7359" y="14654"/>
                  <a:pt x="7363" y="14327"/>
                </a:cubicBezTo>
                <a:lnTo>
                  <a:pt x="8007" y="14327"/>
                </a:lnTo>
                <a:cubicBezTo>
                  <a:pt x="8003" y="14712"/>
                  <a:pt x="8058" y="15015"/>
                  <a:pt x="8171" y="15236"/>
                </a:cubicBezTo>
                <a:cubicBezTo>
                  <a:pt x="8270" y="15431"/>
                  <a:pt x="8403" y="15530"/>
                  <a:pt x="8606" y="15563"/>
                </a:cubicBezTo>
                <a:lnTo>
                  <a:pt x="8606" y="13432"/>
                </a:lnTo>
                <a:cubicBezTo>
                  <a:pt x="8492" y="13376"/>
                  <a:pt x="8395" y="13313"/>
                  <a:pt x="8270" y="13239"/>
                </a:cubicBezTo>
                <a:cubicBezTo>
                  <a:pt x="8118" y="13149"/>
                  <a:pt x="7980" y="13033"/>
                  <a:pt x="7857" y="12890"/>
                </a:cubicBezTo>
                <a:cubicBezTo>
                  <a:pt x="7735" y="12746"/>
                  <a:pt x="7636" y="12568"/>
                  <a:pt x="7561" y="12352"/>
                </a:cubicBezTo>
                <a:cubicBezTo>
                  <a:pt x="7485" y="12136"/>
                  <a:pt x="7448" y="11868"/>
                  <a:pt x="7448" y="11548"/>
                </a:cubicBezTo>
                <a:cubicBezTo>
                  <a:pt x="7448" y="11268"/>
                  <a:pt x="7483" y="11023"/>
                  <a:pt x="7553" y="10809"/>
                </a:cubicBezTo>
                <a:cubicBezTo>
                  <a:pt x="7622" y="10596"/>
                  <a:pt x="7716" y="10419"/>
                  <a:pt x="7835" y="10276"/>
                </a:cubicBezTo>
                <a:cubicBezTo>
                  <a:pt x="7954" y="10134"/>
                  <a:pt x="8090" y="10024"/>
                  <a:pt x="8244" y="9948"/>
                </a:cubicBezTo>
                <a:cubicBezTo>
                  <a:pt x="8373" y="9885"/>
                  <a:pt x="8479" y="9855"/>
                  <a:pt x="8606" y="9844"/>
                </a:cubicBezTo>
                <a:lnTo>
                  <a:pt x="8606" y="9257"/>
                </a:lnTo>
                <a:lnTo>
                  <a:pt x="9097" y="9257"/>
                </a:lnTo>
                <a:lnTo>
                  <a:pt x="9097" y="9844"/>
                </a:lnTo>
                <a:cubicBezTo>
                  <a:pt x="9224" y="9853"/>
                  <a:pt x="9328" y="9881"/>
                  <a:pt x="9453" y="9939"/>
                </a:cubicBezTo>
                <a:cubicBezTo>
                  <a:pt x="9605" y="10009"/>
                  <a:pt x="9735" y="10114"/>
                  <a:pt x="9847" y="10255"/>
                </a:cubicBezTo>
                <a:cubicBezTo>
                  <a:pt x="9957" y="10394"/>
                  <a:pt x="10046" y="10572"/>
                  <a:pt x="10112" y="10788"/>
                </a:cubicBezTo>
                <a:cubicBezTo>
                  <a:pt x="10178" y="11003"/>
                  <a:pt x="10211" y="11254"/>
                  <a:pt x="10211" y="11540"/>
                </a:cubicBezTo>
                <a:lnTo>
                  <a:pt x="9567" y="11540"/>
                </a:lnTo>
                <a:cubicBezTo>
                  <a:pt x="9559" y="11242"/>
                  <a:pt x="9509" y="11015"/>
                  <a:pt x="9417" y="10857"/>
                </a:cubicBezTo>
                <a:cubicBezTo>
                  <a:pt x="9339" y="10725"/>
                  <a:pt x="9243" y="10661"/>
                  <a:pt x="9097" y="10640"/>
                </a:cubicBezTo>
                <a:lnTo>
                  <a:pt x="9097" y="12504"/>
                </a:lnTo>
                <a:cubicBezTo>
                  <a:pt x="9226" y="12565"/>
                  <a:pt x="9336" y="12633"/>
                  <a:pt x="9471" y="12710"/>
                </a:cubicBezTo>
                <a:cubicBezTo>
                  <a:pt x="9633" y="12804"/>
                  <a:pt x="9776" y="12923"/>
                  <a:pt x="9900" y="13069"/>
                </a:cubicBezTo>
                <a:cubicBezTo>
                  <a:pt x="10024" y="13215"/>
                  <a:pt x="10124" y="13395"/>
                  <a:pt x="10200" y="13610"/>
                </a:cubicBezTo>
                <a:cubicBezTo>
                  <a:pt x="10275" y="13827"/>
                  <a:pt x="10312" y="14091"/>
                  <a:pt x="10312" y="14407"/>
                </a:cubicBezTo>
                <a:cubicBezTo>
                  <a:pt x="10312" y="14732"/>
                  <a:pt x="10278" y="15016"/>
                  <a:pt x="10208" y="152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6"/>
                  <a:pt x="6938" y="18514"/>
                  <a:pt x="8836" y="18514"/>
                </a:cubicBezTo>
                <a:cubicBezTo>
                  <a:pt x="10734" y="18514"/>
                  <a:pt x="12273" y="16096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0"/>
                  <a:pt x="3927" y="1543"/>
                </a:cubicBezTo>
                <a:lnTo>
                  <a:pt x="3927" y="2314"/>
                </a:lnTo>
                <a:cubicBezTo>
                  <a:pt x="3927" y="2740"/>
                  <a:pt x="4147" y="3086"/>
                  <a:pt x="4418" y="3086"/>
                </a:cubicBezTo>
                <a:cubicBezTo>
                  <a:pt x="4689" y="3086"/>
                  <a:pt x="4909" y="2740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0"/>
                  <a:pt x="21600" y="15429"/>
                </a:cubicBezTo>
                <a:lnTo>
                  <a:pt x="21600" y="1543"/>
                </a:lnTo>
                <a:cubicBezTo>
                  <a:pt x="21600" y="690"/>
                  <a:pt x="21160" y="0"/>
                  <a:pt x="20618" y="0"/>
                </a:cubicBezTo>
                <a:moveTo>
                  <a:pt x="9451" y="13856"/>
                </a:moveTo>
                <a:cubicBezTo>
                  <a:pt x="9385" y="13780"/>
                  <a:pt x="9310" y="13718"/>
                  <a:pt x="9228" y="13671"/>
                </a:cubicBezTo>
                <a:cubicBezTo>
                  <a:pt x="9175" y="13642"/>
                  <a:pt x="9137" y="13616"/>
                  <a:pt x="9097" y="13590"/>
                </a:cubicBezTo>
                <a:lnTo>
                  <a:pt x="9097" y="15560"/>
                </a:lnTo>
                <a:cubicBezTo>
                  <a:pt x="9250" y="15523"/>
                  <a:pt x="9363" y="15447"/>
                  <a:pt x="9473" y="15311"/>
                </a:cubicBezTo>
                <a:cubicBezTo>
                  <a:pt x="9604" y="15151"/>
                  <a:pt x="9668" y="14896"/>
                  <a:pt x="9668" y="14545"/>
                </a:cubicBezTo>
                <a:cubicBezTo>
                  <a:pt x="9668" y="14383"/>
                  <a:pt x="9649" y="14246"/>
                  <a:pt x="9609" y="14135"/>
                </a:cubicBezTo>
                <a:cubicBezTo>
                  <a:pt x="9570" y="14024"/>
                  <a:pt x="9517" y="13931"/>
                  <a:pt x="9451" y="13856"/>
                </a:cubicBezTo>
                <a:moveTo>
                  <a:pt x="13255" y="16971"/>
                </a:moveTo>
                <a:cubicBezTo>
                  <a:pt x="12983" y="16971"/>
                  <a:pt x="12764" y="17316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6"/>
                  <a:pt x="13525" y="16971"/>
                  <a:pt x="13255" y="16971"/>
                </a:cubicBezTo>
                <a:moveTo>
                  <a:pt x="16200" y="7714"/>
                </a:moveTo>
                <a:cubicBezTo>
                  <a:pt x="15928" y="7714"/>
                  <a:pt x="15709" y="7369"/>
                  <a:pt x="15709" y="6943"/>
                </a:cubicBezTo>
                <a:cubicBezTo>
                  <a:pt x="15709" y="6516"/>
                  <a:pt x="15928" y="6171"/>
                  <a:pt x="16200" y="6171"/>
                </a:cubicBezTo>
                <a:cubicBezTo>
                  <a:pt x="16471" y="6171"/>
                  <a:pt x="16691" y="6516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7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7"/>
                  <a:pt x="14762" y="19814"/>
                  <a:pt x="14817" y="20057"/>
                </a:cubicBezTo>
                <a:lnTo>
                  <a:pt x="2855" y="20057"/>
                </a:lnTo>
                <a:cubicBezTo>
                  <a:pt x="2910" y="19814"/>
                  <a:pt x="2945" y="19557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7"/>
                  <a:pt x="982" y="17113"/>
                </a:cubicBezTo>
                <a:lnTo>
                  <a:pt x="982" y="9115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1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2" y="6414"/>
                  <a:pt x="14727" y="6671"/>
                  <a:pt x="14727" y="6943"/>
                </a:cubicBezTo>
                <a:cubicBezTo>
                  <a:pt x="14727" y="8221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5"/>
                </a:cubicBezTo>
                <a:cubicBezTo>
                  <a:pt x="16691" y="9115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8" y="20057"/>
                  <a:pt x="15709" y="19712"/>
                  <a:pt x="15709" y="19286"/>
                </a:cubicBezTo>
                <a:cubicBezTo>
                  <a:pt x="15709" y="18859"/>
                  <a:pt x="15928" y="18514"/>
                  <a:pt x="16200" y="18514"/>
                </a:cubicBezTo>
                <a:cubicBezTo>
                  <a:pt x="16471" y="18514"/>
                  <a:pt x="16691" y="18859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59"/>
                  <a:pt x="1201" y="18514"/>
                  <a:pt x="1473" y="18514"/>
                </a:cubicBezTo>
                <a:cubicBezTo>
                  <a:pt x="1744" y="18514"/>
                  <a:pt x="1964" y="18859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6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6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39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39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092" y="11478"/>
                </a:moveTo>
                <a:cubicBezTo>
                  <a:pt x="8092" y="11618"/>
                  <a:pt x="8111" y="11738"/>
                  <a:pt x="8149" y="11836"/>
                </a:cubicBezTo>
                <a:cubicBezTo>
                  <a:pt x="8186" y="11936"/>
                  <a:pt x="8234" y="12020"/>
                  <a:pt x="8293" y="12090"/>
                </a:cubicBezTo>
                <a:cubicBezTo>
                  <a:pt x="8351" y="12160"/>
                  <a:pt x="8419" y="12217"/>
                  <a:pt x="8496" y="12260"/>
                </a:cubicBezTo>
                <a:cubicBezTo>
                  <a:pt x="8542" y="12286"/>
                  <a:pt x="8573" y="12310"/>
                  <a:pt x="8606" y="12330"/>
                </a:cubicBezTo>
                <a:lnTo>
                  <a:pt x="8606" y="10637"/>
                </a:lnTo>
                <a:cubicBezTo>
                  <a:pt x="8457" y="10653"/>
                  <a:pt x="8353" y="10708"/>
                  <a:pt x="8258" y="10818"/>
                </a:cubicBezTo>
                <a:cubicBezTo>
                  <a:pt x="8147" y="10949"/>
                  <a:pt x="8092" y="11170"/>
                  <a:pt x="8092" y="11478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90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>
              <a:latin typeface="Avenir Medium"/>
            </a:endParaRPr>
          </a:p>
        </p:txBody>
      </p:sp>
      <p:sp>
        <p:nvSpPr>
          <p:cNvPr id="22" name="Shape 2818">
            <a:extLst>
              <a:ext uri="{FF2B5EF4-FFF2-40B4-BE49-F238E27FC236}">
                <a16:creationId xmlns:a16="http://schemas.microsoft.com/office/drawing/2014/main" id="{A4F1015C-199D-4A9A-ADB0-F076CEDE1A6E}"/>
              </a:ext>
            </a:extLst>
          </p:cNvPr>
          <p:cNvSpPr/>
          <p:nvPr/>
        </p:nvSpPr>
        <p:spPr>
          <a:xfrm>
            <a:off x="11244390" y="3025923"/>
            <a:ext cx="1510802" cy="14555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10453" y="7402"/>
                </a:moveTo>
                <a:cubicBezTo>
                  <a:pt x="10542" y="7500"/>
                  <a:pt x="10665" y="7560"/>
                  <a:pt x="10800" y="7560"/>
                </a:cubicBezTo>
                <a:cubicBezTo>
                  <a:pt x="10936" y="7560"/>
                  <a:pt x="11058" y="7500"/>
                  <a:pt x="11147" y="7402"/>
                </a:cubicBezTo>
                <a:lnTo>
                  <a:pt x="13111" y="5242"/>
                </a:lnTo>
                <a:cubicBezTo>
                  <a:pt x="13200" y="5144"/>
                  <a:pt x="13255" y="5009"/>
                  <a:pt x="13255" y="4860"/>
                </a:cubicBezTo>
                <a:cubicBezTo>
                  <a:pt x="13255" y="4562"/>
                  <a:pt x="13035" y="4320"/>
                  <a:pt x="12764" y="4320"/>
                </a:cubicBezTo>
                <a:cubicBezTo>
                  <a:pt x="12628" y="4320"/>
                  <a:pt x="12506" y="4381"/>
                  <a:pt x="12417" y="4478"/>
                </a:cubicBezTo>
                <a:lnTo>
                  <a:pt x="11291" y="57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5716"/>
                </a:lnTo>
                <a:lnTo>
                  <a:pt x="9183" y="4478"/>
                </a:lnTo>
                <a:cubicBezTo>
                  <a:pt x="9095" y="4381"/>
                  <a:pt x="8972" y="4320"/>
                  <a:pt x="8836" y="4320"/>
                </a:cubicBezTo>
                <a:cubicBezTo>
                  <a:pt x="8565" y="4320"/>
                  <a:pt x="8345" y="4562"/>
                  <a:pt x="8345" y="4860"/>
                </a:cubicBezTo>
                <a:cubicBezTo>
                  <a:pt x="8345" y="5009"/>
                  <a:pt x="8400" y="5144"/>
                  <a:pt x="8489" y="5242"/>
                </a:cubicBezTo>
                <a:cubicBezTo>
                  <a:pt x="8489" y="5242"/>
                  <a:pt x="10453" y="7402"/>
                  <a:pt x="10453" y="7402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28575" tIns="28575" rIns="28575" bIns="28575" anchor="ctr"/>
          <a:lstStyle/>
          <a:p>
            <a:pPr defTabSz="34290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>
              <a:latin typeface="Avenir Medium"/>
            </a:endParaRPr>
          </a:p>
        </p:txBody>
      </p:sp>
      <p:sp>
        <p:nvSpPr>
          <p:cNvPr id="23" name="Shape 2935">
            <a:extLst>
              <a:ext uri="{FF2B5EF4-FFF2-40B4-BE49-F238E27FC236}">
                <a16:creationId xmlns:a16="http://schemas.microsoft.com/office/drawing/2014/main" id="{B8DCBEFC-9AC4-4A42-8448-7261FBC50F09}"/>
              </a:ext>
            </a:extLst>
          </p:cNvPr>
          <p:cNvSpPr/>
          <p:nvPr/>
        </p:nvSpPr>
        <p:spPr>
          <a:xfrm>
            <a:off x="2931576" y="5322782"/>
            <a:ext cx="1818418" cy="1927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600" extrusionOk="0">
                <a:moveTo>
                  <a:pt x="6365" y="15409"/>
                </a:moveTo>
                <a:cubicBezTo>
                  <a:pt x="5782" y="14888"/>
                  <a:pt x="4858" y="14006"/>
                  <a:pt x="3935" y="12895"/>
                </a:cubicBezTo>
                <a:cubicBezTo>
                  <a:pt x="2587" y="11273"/>
                  <a:pt x="979" y="8835"/>
                  <a:pt x="979" y="6430"/>
                </a:cubicBezTo>
                <a:cubicBezTo>
                  <a:pt x="979" y="3427"/>
                  <a:pt x="3396" y="982"/>
                  <a:pt x="6366" y="982"/>
                </a:cubicBezTo>
                <a:cubicBezTo>
                  <a:pt x="9336" y="982"/>
                  <a:pt x="11752" y="3427"/>
                  <a:pt x="11752" y="6430"/>
                </a:cubicBezTo>
                <a:cubicBezTo>
                  <a:pt x="11752" y="10208"/>
                  <a:pt x="7888" y="14044"/>
                  <a:pt x="6365" y="15409"/>
                </a:cubicBezTo>
                <a:moveTo>
                  <a:pt x="6366" y="0"/>
                </a:moveTo>
                <a:cubicBezTo>
                  <a:pt x="2850" y="0"/>
                  <a:pt x="0" y="2879"/>
                  <a:pt x="0" y="6430"/>
                </a:cubicBezTo>
                <a:cubicBezTo>
                  <a:pt x="0" y="11655"/>
                  <a:pt x="6366" y="16701"/>
                  <a:pt x="6366" y="16701"/>
                </a:cubicBezTo>
                <a:cubicBezTo>
                  <a:pt x="6366" y="16701"/>
                  <a:pt x="12732" y="11655"/>
                  <a:pt x="12732" y="6430"/>
                </a:cubicBezTo>
                <a:cubicBezTo>
                  <a:pt x="12732" y="2879"/>
                  <a:pt x="9882" y="0"/>
                  <a:pt x="6366" y="0"/>
                </a:cubicBezTo>
                <a:moveTo>
                  <a:pt x="17357" y="19604"/>
                </a:moveTo>
                <a:cubicBezTo>
                  <a:pt x="17127" y="19764"/>
                  <a:pt x="16856" y="19909"/>
                  <a:pt x="16554" y="20033"/>
                </a:cubicBezTo>
                <a:cubicBezTo>
                  <a:pt x="16304" y="20137"/>
                  <a:pt x="16185" y="20424"/>
                  <a:pt x="16288" y="20675"/>
                </a:cubicBezTo>
                <a:cubicBezTo>
                  <a:pt x="16365" y="20865"/>
                  <a:pt x="16548" y="20979"/>
                  <a:pt x="16740" y="20979"/>
                </a:cubicBezTo>
                <a:cubicBezTo>
                  <a:pt x="16802" y="20979"/>
                  <a:pt x="16866" y="20967"/>
                  <a:pt x="16926" y="20942"/>
                </a:cubicBezTo>
                <a:cubicBezTo>
                  <a:pt x="17294" y="20790"/>
                  <a:pt x="17627" y="20611"/>
                  <a:pt x="17915" y="20411"/>
                </a:cubicBezTo>
                <a:cubicBezTo>
                  <a:pt x="18138" y="20256"/>
                  <a:pt x="18193" y="19950"/>
                  <a:pt x="18039" y="19727"/>
                </a:cubicBezTo>
                <a:cubicBezTo>
                  <a:pt x="17885" y="19505"/>
                  <a:pt x="17579" y="19449"/>
                  <a:pt x="17357" y="19604"/>
                </a:cubicBezTo>
                <a:moveTo>
                  <a:pt x="16249" y="13042"/>
                </a:moveTo>
                <a:cubicBezTo>
                  <a:pt x="16109" y="12790"/>
                  <a:pt x="16024" y="12529"/>
                  <a:pt x="15995" y="12265"/>
                </a:cubicBezTo>
                <a:cubicBezTo>
                  <a:pt x="15966" y="11995"/>
                  <a:pt x="15731" y="11801"/>
                  <a:pt x="15456" y="11829"/>
                </a:cubicBezTo>
                <a:cubicBezTo>
                  <a:pt x="15187" y="11859"/>
                  <a:pt x="14992" y="12100"/>
                  <a:pt x="15022" y="12370"/>
                </a:cubicBezTo>
                <a:cubicBezTo>
                  <a:pt x="15064" y="12767"/>
                  <a:pt x="15190" y="13154"/>
                  <a:pt x="15395" y="13522"/>
                </a:cubicBezTo>
                <a:cubicBezTo>
                  <a:pt x="15484" y="13682"/>
                  <a:pt x="15651" y="13773"/>
                  <a:pt x="15822" y="13773"/>
                </a:cubicBezTo>
                <a:cubicBezTo>
                  <a:pt x="15904" y="13773"/>
                  <a:pt x="15985" y="13753"/>
                  <a:pt x="16061" y="13710"/>
                </a:cubicBezTo>
                <a:cubicBezTo>
                  <a:pt x="16297" y="13578"/>
                  <a:pt x="16382" y="13279"/>
                  <a:pt x="16249" y="13042"/>
                </a:cubicBezTo>
                <a:moveTo>
                  <a:pt x="18249" y="15254"/>
                </a:moveTo>
                <a:cubicBezTo>
                  <a:pt x="18041" y="14981"/>
                  <a:pt x="17803" y="14708"/>
                  <a:pt x="17538" y="14439"/>
                </a:cubicBezTo>
                <a:cubicBezTo>
                  <a:pt x="17349" y="14246"/>
                  <a:pt x="17039" y="14244"/>
                  <a:pt x="16845" y="14434"/>
                </a:cubicBezTo>
                <a:cubicBezTo>
                  <a:pt x="16653" y="14624"/>
                  <a:pt x="16651" y="14935"/>
                  <a:pt x="16841" y="15129"/>
                </a:cubicBezTo>
                <a:cubicBezTo>
                  <a:pt x="17076" y="15368"/>
                  <a:pt x="17288" y="15612"/>
                  <a:pt x="17471" y="15851"/>
                </a:cubicBezTo>
                <a:cubicBezTo>
                  <a:pt x="17568" y="15977"/>
                  <a:pt x="17713" y="16043"/>
                  <a:pt x="17860" y="16043"/>
                </a:cubicBezTo>
                <a:cubicBezTo>
                  <a:pt x="17964" y="16043"/>
                  <a:pt x="18068" y="16011"/>
                  <a:pt x="18157" y="15942"/>
                </a:cubicBezTo>
                <a:cubicBezTo>
                  <a:pt x="18373" y="15777"/>
                  <a:pt x="18413" y="15469"/>
                  <a:pt x="18249" y="15254"/>
                </a:cubicBezTo>
                <a:moveTo>
                  <a:pt x="21476" y="5928"/>
                </a:moveTo>
                <a:cubicBezTo>
                  <a:pt x="21352" y="5687"/>
                  <a:pt x="21057" y="5592"/>
                  <a:pt x="20817" y="5717"/>
                </a:cubicBezTo>
                <a:cubicBezTo>
                  <a:pt x="20817" y="5717"/>
                  <a:pt x="20650" y="5803"/>
                  <a:pt x="20371" y="5962"/>
                </a:cubicBezTo>
                <a:cubicBezTo>
                  <a:pt x="20136" y="6096"/>
                  <a:pt x="20054" y="6396"/>
                  <a:pt x="20188" y="6632"/>
                </a:cubicBezTo>
                <a:cubicBezTo>
                  <a:pt x="20278" y="6791"/>
                  <a:pt x="20444" y="6880"/>
                  <a:pt x="20614" y="6880"/>
                </a:cubicBezTo>
                <a:cubicBezTo>
                  <a:pt x="20697" y="6880"/>
                  <a:pt x="20780" y="6859"/>
                  <a:pt x="20856" y="6815"/>
                </a:cubicBezTo>
                <a:cubicBezTo>
                  <a:pt x="21108" y="6672"/>
                  <a:pt x="21261" y="6592"/>
                  <a:pt x="21265" y="6590"/>
                </a:cubicBezTo>
                <a:cubicBezTo>
                  <a:pt x="21506" y="6466"/>
                  <a:pt x="21600" y="6170"/>
                  <a:pt x="21476" y="5928"/>
                </a:cubicBezTo>
                <a:moveTo>
                  <a:pt x="18659" y="16886"/>
                </a:moveTo>
                <a:cubicBezTo>
                  <a:pt x="18395" y="16941"/>
                  <a:pt x="18225" y="17201"/>
                  <a:pt x="18280" y="17467"/>
                </a:cubicBezTo>
                <a:cubicBezTo>
                  <a:pt x="18312" y="17625"/>
                  <a:pt x="18330" y="17781"/>
                  <a:pt x="18330" y="17929"/>
                </a:cubicBezTo>
                <a:cubicBezTo>
                  <a:pt x="18330" y="18050"/>
                  <a:pt x="18318" y="18171"/>
                  <a:pt x="18296" y="18287"/>
                </a:cubicBezTo>
                <a:cubicBezTo>
                  <a:pt x="18244" y="18554"/>
                  <a:pt x="18418" y="18811"/>
                  <a:pt x="18683" y="18862"/>
                </a:cubicBezTo>
                <a:cubicBezTo>
                  <a:pt x="18715" y="18869"/>
                  <a:pt x="18746" y="18871"/>
                  <a:pt x="18777" y="18871"/>
                </a:cubicBezTo>
                <a:cubicBezTo>
                  <a:pt x="19007" y="18871"/>
                  <a:pt x="19212" y="18708"/>
                  <a:pt x="19257" y="18473"/>
                </a:cubicBezTo>
                <a:cubicBezTo>
                  <a:pt x="19292" y="18296"/>
                  <a:pt x="19309" y="18114"/>
                  <a:pt x="19309" y="17929"/>
                </a:cubicBezTo>
                <a:cubicBezTo>
                  <a:pt x="19309" y="17715"/>
                  <a:pt x="19285" y="17492"/>
                  <a:pt x="19239" y="17267"/>
                </a:cubicBezTo>
                <a:cubicBezTo>
                  <a:pt x="19183" y="17001"/>
                  <a:pt x="18923" y="16832"/>
                  <a:pt x="18659" y="16886"/>
                </a:cubicBezTo>
                <a:moveTo>
                  <a:pt x="18590" y="7106"/>
                </a:moveTo>
                <a:cubicBezTo>
                  <a:pt x="18317" y="7303"/>
                  <a:pt x="18035" y="7518"/>
                  <a:pt x="17756" y="7745"/>
                </a:cubicBezTo>
                <a:cubicBezTo>
                  <a:pt x="17546" y="7917"/>
                  <a:pt x="17515" y="8226"/>
                  <a:pt x="17686" y="8436"/>
                </a:cubicBezTo>
                <a:cubicBezTo>
                  <a:pt x="17783" y="8556"/>
                  <a:pt x="17924" y="8617"/>
                  <a:pt x="18066" y="8617"/>
                </a:cubicBezTo>
                <a:cubicBezTo>
                  <a:pt x="18174" y="8617"/>
                  <a:pt x="18284" y="8581"/>
                  <a:pt x="18374" y="8507"/>
                </a:cubicBezTo>
                <a:cubicBezTo>
                  <a:pt x="18637" y="8292"/>
                  <a:pt x="18903" y="8090"/>
                  <a:pt x="19161" y="7905"/>
                </a:cubicBezTo>
                <a:cubicBezTo>
                  <a:pt x="19380" y="7747"/>
                  <a:pt x="19431" y="7440"/>
                  <a:pt x="19273" y="7220"/>
                </a:cubicBezTo>
                <a:cubicBezTo>
                  <a:pt x="19116" y="6999"/>
                  <a:pt x="18810" y="6949"/>
                  <a:pt x="18590" y="7106"/>
                </a:cubicBezTo>
                <a:moveTo>
                  <a:pt x="14704" y="20512"/>
                </a:moveTo>
                <a:cubicBezTo>
                  <a:pt x="14393" y="20556"/>
                  <a:pt x="14065" y="20590"/>
                  <a:pt x="13729" y="20611"/>
                </a:cubicBezTo>
                <a:cubicBezTo>
                  <a:pt x="13459" y="20629"/>
                  <a:pt x="13254" y="20863"/>
                  <a:pt x="13272" y="21134"/>
                </a:cubicBezTo>
                <a:cubicBezTo>
                  <a:pt x="13289" y="21394"/>
                  <a:pt x="13504" y="21593"/>
                  <a:pt x="13760" y="21593"/>
                </a:cubicBezTo>
                <a:cubicBezTo>
                  <a:pt x="13771" y="21593"/>
                  <a:pt x="13781" y="21592"/>
                  <a:pt x="13792" y="21592"/>
                </a:cubicBezTo>
                <a:cubicBezTo>
                  <a:pt x="14152" y="21568"/>
                  <a:pt x="14506" y="21533"/>
                  <a:pt x="14842" y="21485"/>
                </a:cubicBezTo>
                <a:cubicBezTo>
                  <a:pt x="15110" y="21447"/>
                  <a:pt x="15296" y="21198"/>
                  <a:pt x="15258" y="20929"/>
                </a:cubicBezTo>
                <a:cubicBezTo>
                  <a:pt x="15220" y="20661"/>
                  <a:pt x="14973" y="20472"/>
                  <a:pt x="14704" y="20512"/>
                </a:cubicBezTo>
                <a:moveTo>
                  <a:pt x="8893" y="20109"/>
                </a:moveTo>
                <a:cubicBezTo>
                  <a:pt x="8582" y="19997"/>
                  <a:pt x="8299" y="19866"/>
                  <a:pt x="8052" y="19721"/>
                </a:cubicBezTo>
                <a:cubicBezTo>
                  <a:pt x="7818" y="19582"/>
                  <a:pt x="7519" y="19663"/>
                  <a:pt x="7382" y="19896"/>
                </a:cubicBezTo>
                <a:cubicBezTo>
                  <a:pt x="7244" y="20130"/>
                  <a:pt x="7323" y="20432"/>
                  <a:pt x="7556" y="20568"/>
                </a:cubicBezTo>
                <a:cubicBezTo>
                  <a:pt x="7856" y="20744"/>
                  <a:pt x="8194" y="20901"/>
                  <a:pt x="8562" y="21034"/>
                </a:cubicBezTo>
                <a:cubicBezTo>
                  <a:pt x="8617" y="21053"/>
                  <a:pt x="8672" y="21062"/>
                  <a:pt x="8728" y="21062"/>
                </a:cubicBezTo>
                <a:cubicBezTo>
                  <a:pt x="8928" y="21062"/>
                  <a:pt x="9117" y="20938"/>
                  <a:pt x="9189" y="20737"/>
                </a:cubicBezTo>
                <a:cubicBezTo>
                  <a:pt x="9280" y="20482"/>
                  <a:pt x="9148" y="20200"/>
                  <a:pt x="8893" y="20109"/>
                </a:cubicBezTo>
                <a:moveTo>
                  <a:pt x="11751" y="20618"/>
                </a:moveTo>
                <a:cubicBezTo>
                  <a:pt x="11412" y="20600"/>
                  <a:pt x="11082" y="20572"/>
                  <a:pt x="10771" y="20533"/>
                </a:cubicBezTo>
                <a:cubicBezTo>
                  <a:pt x="10502" y="20493"/>
                  <a:pt x="10258" y="20690"/>
                  <a:pt x="10225" y="20959"/>
                </a:cubicBezTo>
                <a:cubicBezTo>
                  <a:pt x="10191" y="21229"/>
                  <a:pt x="10382" y="21474"/>
                  <a:pt x="10650" y="21507"/>
                </a:cubicBezTo>
                <a:cubicBezTo>
                  <a:pt x="10984" y="21549"/>
                  <a:pt x="11337" y="21580"/>
                  <a:pt x="11699" y="21600"/>
                </a:cubicBezTo>
                <a:cubicBezTo>
                  <a:pt x="11708" y="21600"/>
                  <a:pt x="11716" y="21600"/>
                  <a:pt x="11725" y="21600"/>
                </a:cubicBezTo>
                <a:cubicBezTo>
                  <a:pt x="11984" y="21600"/>
                  <a:pt x="12200" y="21397"/>
                  <a:pt x="12214" y="21135"/>
                </a:cubicBezTo>
                <a:cubicBezTo>
                  <a:pt x="12228" y="20863"/>
                  <a:pt x="12021" y="20632"/>
                  <a:pt x="11751" y="20618"/>
                </a:cubicBezTo>
                <a:moveTo>
                  <a:pt x="6840" y="18180"/>
                </a:moveTo>
                <a:cubicBezTo>
                  <a:pt x="6836" y="17912"/>
                  <a:pt x="6619" y="17696"/>
                  <a:pt x="6351" y="17696"/>
                </a:cubicBezTo>
                <a:cubicBezTo>
                  <a:pt x="6080" y="17696"/>
                  <a:pt x="5861" y="17916"/>
                  <a:pt x="5861" y="18188"/>
                </a:cubicBezTo>
                <a:cubicBezTo>
                  <a:pt x="5861" y="18234"/>
                  <a:pt x="5867" y="18484"/>
                  <a:pt x="5997" y="18834"/>
                </a:cubicBezTo>
                <a:cubicBezTo>
                  <a:pt x="6070" y="19033"/>
                  <a:pt x="6257" y="19155"/>
                  <a:pt x="6456" y="19155"/>
                </a:cubicBezTo>
                <a:cubicBezTo>
                  <a:pt x="6512" y="19155"/>
                  <a:pt x="6570" y="19145"/>
                  <a:pt x="6626" y="19124"/>
                </a:cubicBezTo>
                <a:cubicBezTo>
                  <a:pt x="6880" y="19030"/>
                  <a:pt x="7009" y="18748"/>
                  <a:pt x="6915" y="18493"/>
                </a:cubicBezTo>
                <a:cubicBezTo>
                  <a:pt x="6849" y="18314"/>
                  <a:pt x="6841" y="18191"/>
                  <a:pt x="6840" y="18180"/>
                </a:cubicBezTo>
                <a:moveTo>
                  <a:pt x="15760" y="10798"/>
                </a:moveTo>
                <a:cubicBezTo>
                  <a:pt x="15838" y="10844"/>
                  <a:pt x="15924" y="10866"/>
                  <a:pt x="16008" y="10866"/>
                </a:cubicBezTo>
                <a:cubicBezTo>
                  <a:pt x="16176" y="10866"/>
                  <a:pt x="16339" y="10780"/>
                  <a:pt x="16431" y="10625"/>
                </a:cubicBezTo>
                <a:cubicBezTo>
                  <a:pt x="16577" y="10376"/>
                  <a:pt x="16761" y="10120"/>
                  <a:pt x="16977" y="9861"/>
                </a:cubicBezTo>
                <a:cubicBezTo>
                  <a:pt x="17151" y="9653"/>
                  <a:pt x="17124" y="9343"/>
                  <a:pt x="16917" y="9169"/>
                </a:cubicBezTo>
                <a:cubicBezTo>
                  <a:pt x="16709" y="8994"/>
                  <a:pt x="16400" y="9022"/>
                  <a:pt x="16227" y="9230"/>
                </a:cubicBezTo>
                <a:cubicBezTo>
                  <a:pt x="15976" y="9529"/>
                  <a:pt x="15761" y="9832"/>
                  <a:pt x="15587" y="10125"/>
                </a:cubicBezTo>
                <a:cubicBezTo>
                  <a:pt x="15450" y="10359"/>
                  <a:pt x="15527" y="10659"/>
                  <a:pt x="15760" y="10798"/>
                </a:cubicBezTo>
                <a:moveTo>
                  <a:pt x="6366" y="8841"/>
                </a:moveTo>
                <a:cubicBezTo>
                  <a:pt x="5014" y="8841"/>
                  <a:pt x="3917" y="7741"/>
                  <a:pt x="3917" y="6384"/>
                </a:cubicBezTo>
                <a:cubicBezTo>
                  <a:pt x="3917" y="5027"/>
                  <a:pt x="5014" y="3927"/>
                  <a:pt x="6366" y="3927"/>
                </a:cubicBezTo>
                <a:cubicBezTo>
                  <a:pt x="7719" y="3927"/>
                  <a:pt x="8814" y="5027"/>
                  <a:pt x="8814" y="6384"/>
                </a:cubicBezTo>
                <a:cubicBezTo>
                  <a:pt x="8814" y="7741"/>
                  <a:pt x="7719" y="8841"/>
                  <a:pt x="6366" y="8841"/>
                </a:cubicBezTo>
                <a:moveTo>
                  <a:pt x="6366" y="2955"/>
                </a:moveTo>
                <a:cubicBezTo>
                  <a:pt x="4473" y="2955"/>
                  <a:pt x="2938" y="4494"/>
                  <a:pt x="2938" y="6392"/>
                </a:cubicBezTo>
                <a:cubicBezTo>
                  <a:pt x="2938" y="8291"/>
                  <a:pt x="4473" y="9831"/>
                  <a:pt x="6366" y="9831"/>
                </a:cubicBezTo>
                <a:cubicBezTo>
                  <a:pt x="8259" y="9831"/>
                  <a:pt x="9794" y="8291"/>
                  <a:pt x="9794" y="6392"/>
                </a:cubicBezTo>
                <a:cubicBezTo>
                  <a:pt x="9794" y="4494"/>
                  <a:pt x="8259" y="2955"/>
                  <a:pt x="6366" y="2955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 defTabSz="34290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25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59826A8F-83B6-4E33-88D0-6000E496D4E3}"/>
              </a:ext>
            </a:extLst>
          </p:cNvPr>
          <p:cNvSpPr txBox="1"/>
          <p:nvPr/>
        </p:nvSpPr>
        <p:spPr>
          <a:xfrm>
            <a:off x="14873657" y="9191968"/>
            <a:ext cx="2504212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0" dirty="0">
                <a:solidFill>
                  <a:schemeClr val="bg1"/>
                </a:solidFill>
                <a:latin typeface="Avenir Medium"/>
                <a:ea typeface="Avenir Book" charset="0"/>
                <a:cs typeface="Calibri" panose="020F0502020204030204" pitchFamily="34" charset="0"/>
              </a:rPr>
              <a:t>#1</a:t>
            </a:r>
          </a:p>
        </p:txBody>
      </p:sp>
    </p:spTree>
    <p:extLst>
      <p:ext uri="{BB962C8B-B14F-4D97-AF65-F5344CB8AC3E}">
        <p14:creationId xmlns:p14="http://schemas.microsoft.com/office/powerpoint/2010/main" val="138870308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2845" y="-16594"/>
            <a:ext cx="12245124" cy="68846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2222279" y="-16594"/>
            <a:ext cx="12155371" cy="68634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2222279" y="6834974"/>
            <a:ext cx="12155371" cy="686344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-22845" y="6846848"/>
            <a:ext cx="12245124" cy="68745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17935274" y="10343753"/>
            <a:ext cx="59101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>
            <a:spLocks/>
          </p:cNvSpPr>
          <p:nvPr/>
        </p:nvSpPr>
        <p:spPr bwMode="auto">
          <a:xfrm>
            <a:off x="16639994" y="9367897"/>
            <a:ext cx="3252492" cy="860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algn="ctr" defTabSz="4572000">
              <a:lnSpc>
                <a:spcPts val="7400"/>
              </a:lnSpc>
            </a:pPr>
            <a:r>
              <a:rPr lang="en-US" sz="4400" spc="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  <a:sym typeface="Bebas Neue" charset="0"/>
              </a:rPr>
              <a:t>MEETING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6083074" y="10644107"/>
            <a:ext cx="4340018" cy="793038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lstStyle/>
          <a:p>
            <a:pPr algn="ctr">
              <a:lnSpc>
                <a:spcPts val="2680"/>
              </a:lnSpc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TRAVELING IS LIFE</a:t>
            </a:r>
          </a:p>
          <a:p>
            <a:pPr algn="ctr">
              <a:lnSpc>
                <a:spcPts val="2680"/>
              </a:lnSpc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FROM THE WORLD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17963521" y="3455418"/>
            <a:ext cx="59101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>
            <a:spLocks/>
          </p:cNvSpPr>
          <p:nvPr/>
        </p:nvSpPr>
        <p:spPr bwMode="auto">
          <a:xfrm>
            <a:off x="16006203" y="2479562"/>
            <a:ext cx="4576573" cy="860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algn="ctr" defTabSz="4572000">
              <a:lnSpc>
                <a:spcPts val="7400"/>
              </a:lnSpc>
            </a:pPr>
            <a:r>
              <a:rPr lang="en-US" sz="4400" spc="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  <a:sym typeface="Bebas Neue" charset="0"/>
              </a:rPr>
              <a:t>SOCIAL MEDIA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6111321" y="3755772"/>
            <a:ext cx="4340018" cy="793038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lstStyle/>
          <a:p>
            <a:pPr algn="ctr">
              <a:lnSpc>
                <a:spcPts val="2680"/>
              </a:lnSpc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TRAVELING IS LIFE</a:t>
            </a:r>
          </a:p>
          <a:p>
            <a:pPr algn="ctr">
              <a:lnSpc>
                <a:spcPts val="2680"/>
              </a:lnSpc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FROM THE WORLD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5768209" y="10356958"/>
            <a:ext cx="59101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>
            <a:spLocks/>
          </p:cNvSpPr>
          <p:nvPr/>
        </p:nvSpPr>
        <p:spPr bwMode="auto">
          <a:xfrm>
            <a:off x="4649837" y="9381102"/>
            <a:ext cx="2898678" cy="860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algn="ctr" defTabSz="4572000">
              <a:lnSpc>
                <a:spcPts val="7400"/>
              </a:lnSpc>
            </a:pPr>
            <a:r>
              <a:rPr lang="en-US" sz="4400" spc="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  <a:sym typeface="Bebas Neue" charset="0"/>
              </a:rPr>
              <a:t>IMPROV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916009" y="10657312"/>
            <a:ext cx="4340018" cy="793038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lstStyle/>
          <a:p>
            <a:pPr algn="ctr">
              <a:lnSpc>
                <a:spcPts val="2680"/>
              </a:lnSpc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TRAVELING IS LIFE</a:t>
            </a:r>
          </a:p>
          <a:p>
            <a:pPr algn="ctr">
              <a:lnSpc>
                <a:spcPts val="2680"/>
              </a:lnSpc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FROM THE WORLD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5768209" y="3455418"/>
            <a:ext cx="59101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/>
          </p:cNvSpPr>
          <p:nvPr/>
        </p:nvSpPr>
        <p:spPr bwMode="auto">
          <a:xfrm>
            <a:off x="4226067" y="2479562"/>
            <a:ext cx="3746218" cy="860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algn="ctr" defTabSz="4572000">
              <a:lnSpc>
                <a:spcPts val="7400"/>
              </a:lnSpc>
            </a:pPr>
            <a:r>
              <a:rPr lang="en-US" sz="4400" spc="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  <a:sym typeface="Bebas Neue" charset="0"/>
              </a:rPr>
              <a:t>MARKETING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916009" y="3755772"/>
            <a:ext cx="4340018" cy="793038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lstStyle/>
          <a:p>
            <a:pPr algn="ctr">
              <a:lnSpc>
                <a:spcPts val="2680"/>
              </a:lnSpc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TRAVELING IS LIFE</a:t>
            </a:r>
          </a:p>
          <a:p>
            <a:pPr algn="ctr">
              <a:lnSpc>
                <a:spcPts val="2680"/>
              </a:lnSpc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FROM THE WORLD</a:t>
            </a:r>
          </a:p>
        </p:txBody>
      </p:sp>
    </p:spTree>
    <p:extLst>
      <p:ext uri="{BB962C8B-B14F-4D97-AF65-F5344CB8AC3E}">
        <p14:creationId xmlns:p14="http://schemas.microsoft.com/office/powerpoint/2010/main" val="85267462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ve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0" y="2479040"/>
            <a:ext cx="24377651" cy="11236960"/>
            <a:chOff x="-2" y="0"/>
            <a:chExt cx="24377651" cy="13716000"/>
          </a:xfrm>
        </p:grpSpPr>
        <p:sp>
          <p:nvSpPr>
            <p:cNvPr id="4" name="Rectangle 3"/>
            <p:cNvSpPr/>
            <p:nvPr/>
          </p:nvSpPr>
          <p:spPr>
            <a:xfrm>
              <a:off x="-2" y="0"/>
              <a:ext cx="6094413" cy="13716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6094411" y="0"/>
              <a:ext cx="6094413" cy="1371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12188824" y="0"/>
              <a:ext cx="6094413" cy="13716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18283236" y="0"/>
              <a:ext cx="6094413" cy="13716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076199" y="5431785"/>
            <a:ext cx="22106127" cy="7143025"/>
            <a:chOff x="1104951" y="4653312"/>
            <a:chExt cx="22106127" cy="7143025"/>
          </a:xfrm>
        </p:grpSpPr>
        <p:sp>
          <p:nvSpPr>
            <p:cNvPr id="9" name="Shape 2541"/>
            <p:cNvSpPr/>
            <p:nvPr/>
          </p:nvSpPr>
          <p:spPr>
            <a:xfrm>
              <a:off x="8453750" y="4653312"/>
              <a:ext cx="1351752" cy="13517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38090" tIns="38090" rIns="38090" bIns="38090" anchor="ctr"/>
            <a:lstStyle/>
            <a:p>
              <a:pPr defTabSz="45706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999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0" name="Shape 2539"/>
            <p:cNvSpPr/>
            <p:nvPr/>
          </p:nvSpPr>
          <p:spPr>
            <a:xfrm>
              <a:off x="14433601" y="4765958"/>
              <a:ext cx="1652140" cy="11264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20"/>
                  </a:moveTo>
                  <a:cubicBezTo>
                    <a:pt x="21600" y="323"/>
                    <a:pt x="21380" y="0"/>
                    <a:pt x="21109" y="0"/>
                  </a:cubicBezTo>
                  <a:cubicBezTo>
                    <a:pt x="20969" y="0"/>
                    <a:pt x="20845" y="88"/>
                    <a:pt x="20756" y="226"/>
                  </a:cubicBezTo>
                  <a:lnTo>
                    <a:pt x="20754" y="223"/>
                  </a:lnTo>
                  <a:lnTo>
                    <a:pt x="7848" y="19853"/>
                  </a:lnTo>
                  <a:lnTo>
                    <a:pt x="838" y="9571"/>
                  </a:lnTo>
                  <a:cubicBezTo>
                    <a:pt x="749" y="9441"/>
                    <a:pt x="626" y="9360"/>
                    <a:pt x="491" y="9360"/>
                  </a:cubicBezTo>
                  <a:cubicBezTo>
                    <a:pt x="220" y="9360"/>
                    <a:pt x="0" y="9683"/>
                    <a:pt x="0" y="10080"/>
                  </a:cubicBezTo>
                  <a:cubicBezTo>
                    <a:pt x="0" y="10279"/>
                    <a:pt x="55" y="10459"/>
                    <a:pt x="144" y="10589"/>
                  </a:cubicBezTo>
                  <a:lnTo>
                    <a:pt x="7507" y="21390"/>
                  </a:lnTo>
                  <a:cubicBezTo>
                    <a:pt x="7596" y="21520"/>
                    <a:pt x="7719" y="21600"/>
                    <a:pt x="7855" y="21600"/>
                  </a:cubicBezTo>
                  <a:cubicBezTo>
                    <a:pt x="7995" y="21600"/>
                    <a:pt x="8119" y="21513"/>
                    <a:pt x="8208" y="21376"/>
                  </a:cubicBezTo>
                  <a:lnTo>
                    <a:pt x="8210" y="21377"/>
                  </a:lnTo>
                  <a:lnTo>
                    <a:pt x="21465" y="1217"/>
                  </a:lnTo>
                  <a:lnTo>
                    <a:pt x="21462" y="1215"/>
                  </a:lnTo>
                  <a:cubicBezTo>
                    <a:pt x="21547" y="1087"/>
                    <a:pt x="21600" y="913"/>
                    <a:pt x="21600" y="720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38090" tIns="38090" rIns="38090" bIns="38090" anchor="ctr"/>
            <a:lstStyle/>
            <a:p>
              <a:pPr defTabSz="45706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999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1" name="Shape 2541"/>
            <p:cNvSpPr/>
            <p:nvPr/>
          </p:nvSpPr>
          <p:spPr>
            <a:xfrm>
              <a:off x="20697996" y="4653312"/>
              <a:ext cx="1351752" cy="13517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38090" tIns="38090" rIns="38090" bIns="38090" anchor="ctr"/>
            <a:lstStyle/>
            <a:p>
              <a:pPr defTabSz="45706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999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2" name="Shape 2539"/>
            <p:cNvSpPr/>
            <p:nvPr/>
          </p:nvSpPr>
          <p:spPr>
            <a:xfrm>
              <a:off x="2161646" y="4878603"/>
              <a:ext cx="1652140" cy="11264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20"/>
                  </a:moveTo>
                  <a:cubicBezTo>
                    <a:pt x="21600" y="323"/>
                    <a:pt x="21380" y="0"/>
                    <a:pt x="21109" y="0"/>
                  </a:cubicBezTo>
                  <a:cubicBezTo>
                    <a:pt x="20969" y="0"/>
                    <a:pt x="20845" y="88"/>
                    <a:pt x="20756" y="226"/>
                  </a:cubicBezTo>
                  <a:lnTo>
                    <a:pt x="20754" y="223"/>
                  </a:lnTo>
                  <a:lnTo>
                    <a:pt x="7848" y="19853"/>
                  </a:lnTo>
                  <a:lnTo>
                    <a:pt x="838" y="9571"/>
                  </a:lnTo>
                  <a:cubicBezTo>
                    <a:pt x="749" y="9441"/>
                    <a:pt x="626" y="9360"/>
                    <a:pt x="491" y="9360"/>
                  </a:cubicBezTo>
                  <a:cubicBezTo>
                    <a:pt x="220" y="9360"/>
                    <a:pt x="0" y="9683"/>
                    <a:pt x="0" y="10080"/>
                  </a:cubicBezTo>
                  <a:cubicBezTo>
                    <a:pt x="0" y="10279"/>
                    <a:pt x="55" y="10459"/>
                    <a:pt x="144" y="10589"/>
                  </a:cubicBezTo>
                  <a:lnTo>
                    <a:pt x="7507" y="21390"/>
                  </a:lnTo>
                  <a:cubicBezTo>
                    <a:pt x="7596" y="21520"/>
                    <a:pt x="7719" y="21600"/>
                    <a:pt x="7855" y="21600"/>
                  </a:cubicBezTo>
                  <a:cubicBezTo>
                    <a:pt x="7995" y="21600"/>
                    <a:pt x="8119" y="21513"/>
                    <a:pt x="8208" y="21376"/>
                  </a:cubicBezTo>
                  <a:lnTo>
                    <a:pt x="8210" y="21377"/>
                  </a:lnTo>
                  <a:lnTo>
                    <a:pt x="21465" y="1217"/>
                  </a:lnTo>
                  <a:lnTo>
                    <a:pt x="21462" y="1215"/>
                  </a:lnTo>
                  <a:cubicBezTo>
                    <a:pt x="21547" y="1087"/>
                    <a:pt x="21600" y="913"/>
                    <a:pt x="21600" y="720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38090" tIns="38090" rIns="38090" bIns="38090" anchor="ctr"/>
            <a:lstStyle/>
            <a:p>
              <a:pPr defTabSz="457063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999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578156" y="7532137"/>
              <a:ext cx="2833404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4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dvantages</a:t>
              </a:r>
              <a:endParaRPr lang="en-US" sz="54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104951" y="8687794"/>
              <a:ext cx="3778550" cy="26776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 telegraph wire, or a strand of cobweb, it is all the same. Likewise a fish is technically fast when it bears a waif, or any other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7393662" y="7532137"/>
              <a:ext cx="3476208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4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Disadvantages</a:t>
              </a:r>
              <a:endParaRPr lang="en-US" sz="54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241858" y="8687794"/>
              <a:ext cx="3778550" cy="26776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 telegraph wire, or a strand of cobweb, it is all the same. Likewise a fish is technically fast when it bears a waif, or any other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3768826" y="7532137"/>
              <a:ext cx="2833404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4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dvantages</a:t>
              </a:r>
              <a:endParaRPr lang="en-US" sz="54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3295621" y="8687794"/>
              <a:ext cx="3778550" cy="26776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 telegraph wire, or a strand of cobweb, it is all the same. Likewise a fish is technically fast when it bears a waif, or any other long as the.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9584332" y="7532137"/>
              <a:ext cx="3476208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4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Disadvantages</a:t>
              </a:r>
              <a:endParaRPr lang="en-US" sz="54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9432528" y="8687794"/>
              <a:ext cx="3778550" cy="31085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 telegraph wire, or a strand of cobweb, it is all the same. Likewise a fish is technically fast when it bears a waif, or of possession; so long as the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03702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1A61515E-886E-F448-81A5-D654D1375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grpSp>
        <p:nvGrpSpPr>
          <p:cNvPr id="13" name="Group 11">
            <a:extLst>
              <a:ext uri="{FF2B5EF4-FFF2-40B4-BE49-F238E27FC236}">
                <a16:creationId xmlns:a16="http://schemas.microsoft.com/office/drawing/2014/main" id="{50485CB3-2673-4394-8AF5-003CE90278A5}"/>
              </a:ext>
            </a:extLst>
          </p:cNvPr>
          <p:cNvGrpSpPr/>
          <p:nvPr/>
        </p:nvGrpSpPr>
        <p:grpSpPr>
          <a:xfrm>
            <a:off x="-12700" y="12841264"/>
            <a:ext cx="24390350" cy="874736"/>
            <a:chOff x="8962256" y="6857999"/>
            <a:chExt cx="6215041" cy="874736"/>
          </a:xfrm>
        </p:grpSpPr>
        <p:sp>
          <p:nvSpPr>
            <p:cNvPr id="14" name="Text Box 37">
              <a:extLst>
                <a:ext uri="{FF2B5EF4-FFF2-40B4-BE49-F238E27FC236}">
                  <a16:creationId xmlns:a16="http://schemas.microsoft.com/office/drawing/2014/main" id="{90A9FA5B-395D-4B34-A240-5F6929FB663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962256" y="6857999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de-DE" dirty="0">
                  <a:latin typeface="Avenir Medium"/>
                </a:rPr>
                <a:t>Management</a:t>
              </a:r>
              <a:br>
                <a:rPr lang="de-DE" dirty="0">
                  <a:latin typeface="Avenir Medium"/>
                </a:rPr>
              </a:br>
              <a:r>
                <a:rPr lang="de-DE" dirty="0">
                  <a:latin typeface="Avenir Medium"/>
                </a:rPr>
                <a:t>Summary</a:t>
              </a:r>
            </a:p>
          </p:txBody>
        </p:sp>
        <p:sp>
          <p:nvSpPr>
            <p:cNvPr id="15" name="Text Box 39">
              <a:extLst>
                <a:ext uri="{FF2B5EF4-FFF2-40B4-BE49-F238E27FC236}">
                  <a16:creationId xmlns:a16="http://schemas.microsoft.com/office/drawing/2014/main" id="{FD3737EF-4BB1-49BB-B511-8698AFF7658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0737982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lternatives</a:t>
              </a:r>
            </a:p>
          </p:txBody>
        </p:sp>
        <p:sp>
          <p:nvSpPr>
            <p:cNvPr id="16" name="Text Box 41">
              <a:extLst>
                <a:ext uri="{FF2B5EF4-FFF2-40B4-BE49-F238E27FC236}">
                  <a16:creationId xmlns:a16="http://schemas.microsoft.com/office/drawing/2014/main" id="{EFEDFA56-D9DE-4BB7-BD45-FCC32BB4406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625845" y="6858000"/>
              <a:ext cx="887863" cy="870075"/>
            </a:xfrm>
            <a:prstGeom prst="rect">
              <a:avLst/>
            </a:prstGeom>
            <a:solidFill>
              <a:schemeClr val="accent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Implementation</a:t>
              </a:r>
            </a:p>
          </p:txBody>
        </p:sp>
        <p:sp>
          <p:nvSpPr>
            <p:cNvPr id="17" name="Text Box 43">
              <a:extLst>
                <a:ext uri="{FF2B5EF4-FFF2-40B4-BE49-F238E27FC236}">
                  <a16:creationId xmlns:a16="http://schemas.microsoft.com/office/drawing/2014/main" id="{68ED5629-3390-43A8-8EBF-DFF6DCA94FB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2513708" y="6862659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Financials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8" name="Text Box 47">
              <a:extLst>
                <a:ext uri="{FF2B5EF4-FFF2-40B4-BE49-F238E27FC236}">
                  <a16:creationId xmlns:a16="http://schemas.microsoft.com/office/drawing/2014/main" id="{8781C85F-C144-455B-AA4F-0FD686E0BE4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9850119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nalysis</a:t>
              </a:r>
            </a:p>
          </p:txBody>
        </p:sp>
        <p:sp>
          <p:nvSpPr>
            <p:cNvPr id="19" name="Text Box 43">
              <a:extLst>
                <a:ext uri="{FF2B5EF4-FFF2-40B4-BE49-F238E27FC236}">
                  <a16:creationId xmlns:a16="http://schemas.microsoft.com/office/drawing/2014/main" id="{D2B8F76C-D7FB-4E1D-8467-6A21FABCE82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401571" y="686266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Risk</a:t>
              </a:r>
            </a:p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Mitigation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20" name="Text Box 43">
              <a:extLst>
                <a:ext uri="{FF2B5EF4-FFF2-40B4-BE49-F238E27FC236}">
                  <a16:creationId xmlns:a16="http://schemas.microsoft.com/office/drawing/2014/main" id="{9694A5E5-4240-41FF-850D-6F1567365C8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4289434" y="686266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Conclusion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771359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ves</a:t>
            </a:r>
          </a:p>
        </p:txBody>
      </p:sp>
      <p:sp>
        <p:nvSpPr>
          <p:cNvPr id="3" name="Rectangle 2"/>
          <p:cNvSpPr/>
          <p:nvPr/>
        </p:nvSpPr>
        <p:spPr>
          <a:xfrm>
            <a:off x="8778873" y="4006952"/>
            <a:ext cx="6813553" cy="68214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177378" y="5582332"/>
            <a:ext cx="2184637" cy="4585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3466"/>
              </a:lnSpc>
              <a:spcAft>
                <a:spcPts val="3199"/>
              </a:spcAft>
            </a:pPr>
            <a:r>
              <a:rPr lang="en-US" spc="53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Advertising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958713" y="4097944"/>
            <a:ext cx="758787" cy="1107959"/>
          </a:xfrm>
          <a:prstGeom prst="rect">
            <a:avLst/>
          </a:prstGeom>
          <a:noFill/>
        </p:spPr>
        <p:txBody>
          <a:bodyPr wrap="none" lIns="182843" tIns="91422" rIns="182843" bIns="91422" rtlCol="0">
            <a:spAutoFit/>
          </a:bodyPr>
          <a:lstStyle/>
          <a:p>
            <a:pPr algn="ctr"/>
            <a:r>
              <a:rPr lang="id-ID" sz="60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2</a:t>
            </a:r>
          </a:p>
        </p:txBody>
      </p:sp>
      <p:sp>
        <p:nvSpPr>
          <p:cNvPr id="7" name="Rectangle 6"/>
          <p:cNvSpPr/>
          <p:nvPr/>
        </p:nvSpPr>
        <p:spPr>
          <a:xfrm>
            <a:off x="15821022" y="4006952"/>
            <a:ext cx="6813553" cy="68214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6219527" y="5582332"/>
            <a:ext cx="1592167" cy="4585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3466"/>
              </a:lnSpc>
              <a:spcAft>
                <a:spcPts val="3199"/>
              </a:spcAft>
            </a:pPr>
            <a:r>
              <a:rPr lang="en-US" spc="53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Strateg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6000862" y="4097944"/>
            <a:ext cx="758787" cy="1107959"/>
          </a:xfrm>
          <a:prstGeom prst="rect">
            <a:avLst/>
          </a:prstGeom>
          <a:noFill/>
        </p:spPr>
        <p:txBody>
          <a:bodyPr wrap="none" lIns="182843" tIns="91422" rIns="182843" bIns="91422" rtlCol="0">
            <a:spAutoFit/>
          </a:bodyPr>
          <a:lstStyle/>
          <a:p>
            <a:pPr algn="ctr"/>
            <a:r>
              <a:rPr lang="id-ID" sz="60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3</a:t>
            </a:r>
            <a:endParaRPr lang="id-ID" sz="4800" dirty="0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709463" y="4006952"/>
            <a:ext cx="6813553" cy="68214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107968" y="5582332"/>
            <a:ext cx="1978619" cy="4585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3466"/>
              </a:lnSpc>
              <a:spcAft>
                <a:spcPts val="3199"/>
              </a:spcAft>
            </a:pPr>
            <a:r>
              <a:rPr lang="en-US" spc="53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Marketing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889303" y="4097944"/>
            <a:ext cx="758787" cy="1107959"/>
          </a:xfrm>
          <a:prstGeom prst="rect">
            <a:avLst/>
          </a:prstGeom>
          <a:noFill/>
        </p:spPr>
        <p:txBody>
          <a:bodyPr wrap="none" lIns="182843" tIns="91422" rIns="182843" bIns="91422" rtlCol="0">
            <a:spAutoFit/>
          </a:bodyPr>
          <a:lstStyle/>
          <a:p>
            <a:pPr algn="ctr"/>
            <a:r>
              <a:rPr lang="id-ID" sz="60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1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193905" y="6392940"/>
            <a:ext cx="5989840" cy="25365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4033"/>
              </a:lnSpc>
              <a:defRPr/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Tools that allow people or companies to create, share, or exchange information, there are many effects that stem from Internet usage. Internet users continue to spend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6175632" y="6392940"/>
            <a:ext cx="5989840" cy="25442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4033"/>
              </a:lnSpc>
              <a:defRPr/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Tools that allow people or companies to create, share, or exchange information, there are many effects that stem from Internet usage. Internet users continue to spend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105945" y="6392940"/>
            <a:ext cx="5989840" cy="25442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4033"/>
              </a:lnSpc>
              <a:defRPr/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Tools that allow people or companies to create, share, or exchange information, there are many effects that stem from Internet usage. Internet users continue to spend.</a:t>
            </a:r>
          </a:p>
        </p:txBody>
      </p:sp>
    </p:spTree>
    <p:extLst>
      <p:ext uri="{BB962C8B-B14F-4D97-AF65-F5344CB8AC3E}">
        <p14:creationId xmlns:p14="http://schemas.microsoft.com/office/powerpoint/2010/main" val="20129858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1">
            <a:extLst>
              <a:ext uri="{FF2B5EF4-FFF2-40B4-BE49-F238E27FC236}">
                <a16:creationId xmlns:a16="http://schemas.microsoft.com/office/drawing/2014/main" id="{08318F77-900A-4F91-8AE4-FF1A33D7B020}"/>
              </a:ext>
            </a:extLst>
          </p:cNvPr>
          <p:cNvSpPr/>
          <p:nvPr/>
        </p:nvSpPr>
        <p:spPr>
          <a:xfrm>
            <a:off x="0" y="0"/>
            <a:ext cx="24377650" cy="13716002"/>
          </a:xfrm>
          <a:prstGeom prst="rect">
            <a:avLst/>
          </a:prstGeom>
          <a:solidFill>
            <a:srgbClr val="419F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</a:endParaRPr>
          </a:p>
        </p:txBody>
      </p:sp>
      <p:sp>
        <p:nvSpPr>
          <p:cNvPr id="2" name="Oval 1"/>
          <p:cNvSpPr>
            <a:spLocks noChangeAspect="1"/>
          </p:cNvSpPr>
          <p:nvPr/>
        </p:nvSpPr>
        <p:spPr>
          <a:xfrm>
            <a:off x="1908120" y="5855891"/>
            <a:ext cx="4321483" cy="4321482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</a:endParaRPr>
          </a:p>
        </p:txBody>
      </p:sp>
      <p:sp>
        <p:nvSpPr>
          <p:cNvPr id="3" name="Oval 2"/>
          <p:cNvSpPr/>
          <p:nvPr/>
        </p:nvSpPr>
        <p:spPr>
          <a:xfrm>
            <a:off x="4758169" y="5525859"/>
            <a:ext cx="1653437" cy="1653437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027113" y="2897188"/>
            <a:ext cx="22323424" cy="1953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Lato Light" charset="0"/>
                <a:cs typeface="Lato Light" charset="0"/>
              </a:rPr>
              <a:t>First: What is a Fast-Fish? Alive or dead a fish is technically fast, when it is connected with an occupied ship or boat, by any medium at all controllable by the occupant or occupants,—a mast, an oar, a nine-inch cable, a telegraph wire, or a strand of cobweb, it is all the same. Likewise a fish is technically fast when it bears</a:t>
            </a:r>
          </a:p>
        </p:txBody>
      </p:sp>
      <p:sp>
        <p:nvSpPr>
          <p:cNvPr id="49" name="Oval 48"/>
          <p:cNvSpPr>
            <a:spLocks noChangeAspect="1"/>
          </p:cNvSpPr>
          <p:nvPr/>
        </p:nvSpPr>
        <p:spPr>
          <a:xfrm>
            <a:off x="7216243" y="5855891"/>
            <a:ext cx="4321483" cy="4321482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</a:endParaRPr>
          </a:p>
        </p:txBody>
      </p:sp>
      <p:sp>
        <p:nvSpPr>
          <p:cNvPr id="50" name="Oval 49"/>
          <p:cNvSpPr/>
          <p:nvPr/>
        </p:nvSpPr>
        <p:spPr>
          <a:xfrm>
            <a:off x="10066292" y="5525859"/>
            <a:ext cx="1653437" cy="165343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</a:endParaRPr>
          </a:p>
        </p:txBody>
      </p:sp>
      <p:sp>
        <p:nvSpPr>
          <p:cNvPr id="52" name="Oval 51"/>
          <p:cNvSpPr>
            <a:spLocks noChangeAspect="1"/>
          </p:cNvSpPr>
          <p:nvPr/>
        </p:nvSpPr>
        <p:spPr>
          <a:xfrm>
            <a:off x="12524366" y="5855891"/>
            <a:ext cx="4321483" cy="4321482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</a:endParaRPr>
          </a:p>
        </p:txBody>
      </p:sp>
      <p:sp>
        <p:nvSpPr>
          <p:cNvPr id="53" name="Oval 52"/>
          <p:cNvSpPr/>
          <p:nvPr/>
        </p:nvSpPr>
        <p:spPr>
          <a:xfrm>
            <a:off x="15374415" y="5525859"/>
            <a:ext cx="1653437" cy="165343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</a:endParaRPr>
          </a:p>
        </p:txBody>
      </p:sp>
      <p:sp>
        <p:nvSpPr>
          <p:cNvPr id="55" name="Oval 54"/>
          <p:cNvSpPr>
            <a:spLocks noChangeAspect="1"/>
          </p:cNvSpPr>
          <p:nvPr/>
        </p:nvSpPr>
        <p:spPr>
          <a:xfrm>
            <a:off x="17832489" y="5855891"/>
            <a:ext cx="4321483" cy="4321482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</a:endParaRPr>
          </a:p>
        </p:txBody>
      </p:sp>
      <p:sp>
        <p:nvSpPr>
          <p:cNvPr id="56" name="Oval 55"/>
          <p:cNvSpPr/>
          <p:nvPr/>
        </p:nvSpPr>
        <p:spPr>
          <a:xfrm>
            <a:off x="20682538" y="5525859"/>
            <a:ext cx="1653437" cy="165343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114199" y="6787518"/>
            <a:ext cx="1678665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5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75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3236839" y="8470340"/>
            <a:ext cx="166404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Agencies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8537651" y="6781731"/>
            <a:ext cx="1678665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5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99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8620787" y="8464553"/>
            <a:ext cx="15213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Projects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13440078" y="6821486"/>
            <a:ext cx="2425664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5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125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3705799" y="8504308"/>
            <a:ext cx="195476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Customers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19237029" y="6821486"/>
            <a:ext cx="1678665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5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13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9101450" y="8504308"/>
            <a:ext cx="178869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Countri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D421AAC-481F-415C-9231-032DDF2B8C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  <a:ea typeface="Avenir Medium" charset="0"/>
                <a:cs typeface="Avenir Medium" charset="0"/>
              </a:rPr>
              <a:t>Key Numbers Circ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89672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Values/Targe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160334" y="4332417"/>
            <a:ext cx="8757490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33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Tools that allow people or companies to create, share, or exchange information, there are many</a:t>
            </a:r>
          </a:p>
        </p:txBody>
      </p:sp>
      <p:sp>
        <p:nvSpPr>
          <p:cNvPr id="5" name="Rectangle 4"/>
          <p:cNvSpPr/>
          <p:nvPr/>
        </p:nvSpPr>
        <p:spPr>
          <a:xfrm>
            <a:off x="3148900" y="3792676"/>
            <a:ext cx="229934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Objective 1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148900" y="10565503"/>
            <a:ext cx="8772948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33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Tools that allow people or companies to create, share, or exchange information, there are many effects</a:t>
            </a:r>
          </a:p>
        </p:txBody>
      </p:sp>
      <p:sp>
        <p:nvSpPr>
          <p:cNvPr id="7" name="Rectangle 6"/>
          <p:cNvSpPr/>
          <p:nvPr/>
        </p:nvSpPr>
        <p:spPr>
          <a:xfrm>
            <a:off x="3137463" y="10025762"/>
            <a:ext cx="229934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Objective 4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160333" y="6425964"/>
            <a:ext cx="9028491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33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Tools that allow people or companies to create, share, or exchange information, there are many effects</a:t>
            </a:r>
          </a:p>
        </p:txBody>
      </p:sp>
      <p:sp>
        <p:nvSpPr>
          <p:cNvPr id="9" name="Rectangle 8"/>
          <p:cNvSpPr/>
          <p:nvPr/>
        </p:nvSpPr>
        <p:spPr>
          <a:xfrm>
            <a:off x="3148900" y="5886223"/>
            <a:ext cx="229934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Objective 2</a:t>
            </a:r>
          </a:p>
        </p:txBody>
      </p:sp>
      <p:sp>
        <p:nvSpPr>
          <p:cNvPr id="10" name="Shape 2547"/>
          <p:cNvSpPr/>
          <p:nvPr/>
        </p:nvSpPr>
        <p:spPr>
          <a:xfrm>
            <a:off x="1889524" y="4105319"/>
            <a:ext cx="899719" cy="899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3">
              <a:lumMod val="50000"/>
            </a:schemeClr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Source Sans Pro Regular" charset="0"/>
              <a:cs typeface="Source Sans Pro Regular" charset="0"/>
            </a:endParaRPr>
          </a:p>
        </p:txBody>
      </p:sp>
      <p:sp>
        <p:nvSpPr>
          <p:cNvPr id="11" name="Shape 2588"/>
          <p:cNvSpPr/>
          <p:nvPr/>
        </p:nvSpPr>
        <p:spPr>
          <a:xfrm>
            <a:off x="1930420" y="6131264"/>
            <a:ext cx="817926" cy="74359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Source Sans Pro Regular" charset="0"/>
              <a:cs typeface="Source Sans Pro Regular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48900" y="8523101"/>
            <a:ext cx="8772948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33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Tools that allow people or companies to create, share, or exchange information, there are many effect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137463" y="7983360"/>
            <a:ext cx="229934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Objective 3</a:t>
            </a:r>
          </a:p>
        </p:txBody>
      </p:sp>
      <p:sp>
        <p:nvSpPr>
          <p:cNvPr id="14" name="Shape 2633"/>
          <p:cNvSpPr/>
          <p:nvPr/>
        </p:nvSpPr>
        <p:spPr>
          <a:xfrm>
            <a:off x="1889524" y="8148537"/>
            <a:ext cx="899719" cy="899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accent4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Source Sans Pro Regular" charset="0"/>
              <a:cs typeface="Source Sans Pro Regular" charset="0"/>
            </a:endParaRPr>
          </a:p>
        </p:txBody>
      </p:sp>
      <p:sp>
        <p:nvSpPr>
          <p:cNvPr id="15" name="Shape 2690"/>
          <p:cNvSpPr>
            <a:spLocks noChangeAspect="1"/>
          </p:cNvSpPr>
          <p:nvPr/>
        </p:nvSpPr>
        <p:spPr>
          <a:xfrm>
            <a:off x="1919678" y="10156897"/>
            <a:ext cx="839410" cy="7631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880"/>
                </a:moveTo>
                <a:cubicBezTo>
                  <a:pt x="20618" y="12476"/>
                  <a:pt x="20178" y="12960"/>
                  <a:pt x="19636" y="12960"/>
                </a:cubicBezTo>
                <a:lnTo>
                  <a:pt x="19636" y="8640"/>
                </a:lnTo>
                <a:cubicBezTo>
                  <a:pt x="20178" y="8640"/>
                  <a:pt x="20618" y="9124"/>
                  <a:pt x="20618" y="9720"/>
                </a:cubicBezTo>
                <a:cubicBezTo>
                  <a:pt x="20618" y="9720"/>
                  <a:pt x="20618" y="11880"/>
                  <a:pt x="20618" y="11880"/>
                </a:cubicBezTo>
                <a:close/>
                <a:moveTo>
                  <a:pt x="18655" y="19980"/>
                </a:moveTo>
                <a:cubicBezTo>
                  <a:pt x="18655" y="20279"/>
                  <a:pt x="18434" y="20520"/>
                  <a:pt x="18164" y="20520"/>
                </a:cubicBezTo>
                <a:cubicBezTo>
                  <a:pt x="17893" y="20520"/>
                  <a:pt x="17673" y="20279"/>
                  <a:pt x="17673" y="19980"/>
                </a:cubicBezTo>
                <a:lnTo>
                  <a:pt x="17673" y="1620"/>
                </a:lnTo>
                <a:cubicBezTo>
                  <a:pt x="17673" y="1322"/>
                  <a:pt x="17893" y="1080"/>
                  <a:pt x="18164" y="1080"/>
                </a:cubicBezTo>
                <a:cubicBezTo>
                  <a:pt x="18434" y="1080"/>
                  <a:pt x="18655" y="1322"/>
                  <a:pt x="18655" y="1620"/>
                </a:cubicBezTo>
                <a:cubicBezTo>
                  <a:pt x="18655" y="1620"/>
                  <a:pt x="18655" y="19980"/>
                  <a:pt x="18655" y="19980"/>
                </a:cubicBezTo>
                <a:close/>
                <a:moveTo>
                  <a:pt x="16691" y="18404"/>
                </a:moveTo>
                <a:lnTo>
                  <a:pt x="2944" y="13512"/>
                </a:lnTo>
                <a:cubicBezTo>
                  <a:pt x="2944" y="13508"/>
                  <a:pt x="2945" y="13504"/>
                  <a:pt x="2945" y="13500"/>
                </a:cubicBezTo>
                <a:lnTo>
                  <a:pt x="2945" y="8100"/>
                </a:lnTo>
                <a:cubicBezTo>
                  <a:pt x="2945" y="8096"/>
                  <a:pt x="2944" y="8093"/>
                  <a:pt x="2944" y="8089"/>
                </a:cubicBezTo>
                <a:lnTo>
                  <a:pt x="16691" y="3197"/>
                </a:lnTo>
                <a:cubicBezTo>
                  <a:pt x="16691" y="3197"/>
                  <a:pt x="16691" y="18404"/>
                  <a:pt x="16691" y="18404"/>
                </a:cubicBezTo>
                <a:close/>
                <a:moveTo>
                  <a:pt x="12480" y="18725"/>
                </a:moveTo>
                <a:cubicBezTo>
                  <a:pt x="12316" y="19294"/>
                  <a:pt x="11764" y="19608"/>
                  <a:pt x="11247" y="19428"/>
                </a:cubicBezTo>
                <a:lnTo>
                  <a:pt x="6102" y="17625"/>
                </a:lnTo>
                <a:cubicBezTo>
                  <a:pt x="5585" y="17444"/>
                  <a:pt x="5299" y="16837"/>
                  <a:pt x="5464" y="16269"/>
                </a:cubicBezTo>
                <a:lnTo>
                  <a:pt x="5654" y="15610"/>
                </a:lnTo>
                <a:lnTo>
                  <a:pt x="12661" y="18104"/>
                </a:lnTo>
                <a:cubicBezTo>
                  <a:pt x="12661" y="18104"/>
                  <a:pt x="12480" y="18725"/>
                  <a:pt x="12480" y="18725"/>
                </a:cubicBezTo>
                <a:close/>
                <a:moveTo>
                  <a:pt x="1964" y="13500"/>
                </a:moveTo>
                <a:lnTo>
                  <a:pt x="982" y="13500"/>
                </a:lnTo>
                <a:lnTo>
                  <a:pt x="982" y="8100"/>
                </a:lnTo>
                <a:lnTo>
                  <a:pt x="1964" y="8100"/>
                </a:lnTo>
                <a:cubicBezTo>
                  <a:pt x="1964" y="8100"/>
                  <a:pt x="1964" y="13500"/>
                  <a:pt x="1964" y="13500"/>
                </a:cubicBezTo>
                <a:close/>
                <a:moveTo>
                  <a:pt x="19636" y="7560"/>
                </a:moveTo>
                <a:lnTo>
                  <a:pt x="19636" y="1620"/>
                </a:lnTo>
                <a:cubicBezTo>
                  <a:pt x="19636" y="725"/>
                  <a:pt x="18977" y="0"/>
                  <a:pt x="18164" y="0"/>
                </a:cubicBezTo>
                <a:cubicBezTo>
                  <a:pt x="17350" y="0"/>
                  <a:pt x="16691" y="725"/>
                  <a:pt x="16691" y="1620"/>
                </a:cubicBezTo>
                <a:lnTo>
                  <a:pt x="16691" y="2062"/>
                </a:lnTo>
                <a:lnTo>
                  <a:pt x="2411" y="7144"/>
                </a:lnTo>
                <a:cubicBezTo>
                  <a:pt x="2276" y="7067"/>
                  <a:pt x="2126" y="7020"/>
                  <a:pt x="1964" y="7020"/>
                </a:cubicBezTo>
                <a:lnTo>
                  <a:pt x="982" y="7020"/>
                </a:lnTo>
                <a:cubicBezTo>
                  <a:pt x="440" y="7020"/>
                  <a:pt x="0" y="7504"/>
                  <a:pt x="0" y="8100"/>
                </a:cubicBezTo>
                <a:lnTo>
                  <a:pt x="0" y="13500"/>
                </a:lnTo>
                <a:cubicBezTo>
                  <a:pt x="0" y="14097"/>
                  <a:pt x="440" y="14580"/>
                  <a:pt x="982" y="14580"/>
                </a:cubicBezTo>
                <a:lnTo>
                  <a:pt x="1964" y="14580"/>
                </a:lnTo>
                <a:cubicBezTo>
                  <a:pt x="2126" y="14580"/>
                  <a:pt x="2276" y="14533"/>
                  <a:pt x="2411" y="14457"/>
                </a:cubicBezTo>
                <a:lnTo>
                  <a:pt x="4720" y="15278"/>
                </a:lnTo>
                <a:lnTo>
                  <a:pt x="4529" y="15941"/>
                </a:lnTo>
                <a:cubicBezTo>
                  <a:pt x="4199" y="17078"/>
                  <a:pt x="4770" y="18292"/>
                  <a:pt x="5803" y="18654"/>
                </a:cubicBezTo>
                <a:lnTo>
                  <a:pt x="10949" y="20456"/>
                </a:lnTo>
                <a:cubicBezTo>
                  <a:pt x="11983" y="20819"/>
                  <a:pt x="13087" y="20190"/>
                  <a:pt x="13416" y="19053"/>
                </a:cubicBezTo>
                <a:lnTo>
                  <a:pt x="13595" y="18437"/>
                </a:lnTo>
                <a:lnTo>
                  <a:pt x="16691" y="19538"/>
                </a:lnTo>
                <a:lnTo>
                  <a:pt x="16691" y="19980"/>
                </a:lnTo>
                <a:cubicBezTo>
                  <a:pt x="16691" y="20875"/>
                  <a:pt x="17350" y="21600"/>
                  <a:pt x="18164" y="21600"/>
                </a:cubicBezTo>
                <a:cubicBezTo>
                  <a:pt x="18977" y="21600"/>
                  <a:pt x="19636" y="20875"/>
                  <a:pt x="19636" y="19980"/>
                </a:cubicBezTo>
                <a:lnTo>
                  <a:pt x="19636" y="14040"/>
                </a:lnTo>
                <a:cubicBezTo>
                  <a:pt x="20721" y="14040"/>
                  <a:pt x="21600" y="13073"/>
                  <a:pt x="21600" y="11880"/>
                </a:cubicBezTo>
                <a:lnTo>
                  <a:pt x="21600" y="9720"/>
                </a:lnTo>
                <a:cubicBezTo>
                  <a:pt x="21600" y="8527"/>
                  <a:pt x="20721" y="7560"/>
                  <a:pt x="19636" y="7560"/>
                </a:cubicBezTo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Source Sans Pro Regular" charset="0"/>
              <a:cs typeface="Source Sans Pro Regular" charset="0"/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13919483" y="3476549"/>
            <a:ext cx="7761860" cy="7763880"/>
          </a:xfrm>
          <a:custGeom>
            <a:avLst/>
            <a:gdLst>
              <a:gd name="connsiteX0" fmla="*/ 0 w 3355880"/>
              <a:gd name="connsiteY0" fmla="*/ 1677940 h 3355880"/>
              <a:gd name="connsiteX1" fmla="*/ 1677940 w 3355880"/>
              <a:gd name="connsiteY1" fmla="*/ 0 h 3355880"/>
              <a:gd name="connsiteX2" fmla="*/ 3355880 w 3355880"/>
              <a:gd name="connsiteY2" fmla="*/ 1677940 h 3355880"/>
              <a:gd name="connsiteX3" fmla="*/ 1677940 w 3355880"/>
              <a:gd name="connsiteY3" fmla="*/ 3355880 h 3355880"/>
              <a:gd name="connsiteX4" fmla="*/ 0 w 3355880"/>
              <a:gd name="connsiteY4" fmla="*/ 1677940 h 335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5880" h="3355880">
                <a:moveTo>
                  <a:pt x="0" y="1677940"/>
                </a:moveTo>
                <a:cubicBezTo>
                  <a:pt x="0" y="751239"/>
                  <a:pt x="751239" y="0"/>
                  <a:pt x="1677940" y="0"/>
                </a:cubicBezTo>
                <a:cubicBezTo>
                  <a:pt x="2604641" y="0"/>
                  <a:pt x="3355880" y="751239"/>
                  <a:pt x="3355880" y="1677940"/>
                </a:cubicBezTo>
                <a:cubicBezTo>
                  <a:pt x="3355880" y="2604641"/>
                  <a:pt x="2604641" y="3355880"/>
                  <a:pt x="1677940" y="3355880"/>
                </a:cubicBezTo>
                <a:cubicBezTo>
                  <a:pt x="751239" y="3355880"/>
                  <a:pt x="0" y="2604641"/>
                  <a:pt x="0" y="1677940"/>
                </a:cubicBezTo>
                <a:close/>
              </a:path>
            </a:pathLst>
          </a:custGeom>
          <a:solidFill>
            <a:schemeClr val="accent5"/>
          </a:solidFill>
          <a:ln w="22225">
            <a:solidFill>
              <a:schemeClr val="bg1">
                <a:lumMod val="85000"/>
              </a:schemeClr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3450328" tIns="674897" rIns="3450328" bIns="7385321" numCol="1" spcCol="2539" anchor="ctr" anchorCtr="0">
            <a:noAutofit/>
          </a:bodyPr>
          <a:lstStyle/>
          <a:p>
            <a:pPr algn="ctr" defTabSz="142208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200" dirty="0">
                <a:latin typeface="Avenir Medium"/>
              </a:rPr>
              <a:t> </a:t>
            </a:r>
          </a:p>
        </p:txBody>
      </p:sp>
      <p:sp>
        <p:nvSpPr>
          <p:cNvPr id="17" name="Freeform 16"/>
          <p:cNvSpPr/>
          <p:nvPr/>
        </p:nvSpPr>
        <p:spPr>
          <a:xfrm>
            <a:off x="14695669" y="4252933"/>
            <a:ext cx="6209489" cy="6211101"/>
          </a:xfrm>
          <a:custGeom>
            <a:avLst/>
            <a:gdLst>
              <a:gd name="connsiteX0" fmla="*/ 0 w 2684704"/>
              <a:gd name="connsiteY0" fmla="*/ 1342352 h 2684704"/>
              <a:gd name="connsiteX1" fmla="*/ 1342352 w 2684704"/>
              <a:gd name="connsiteY1" fmla="*/ 0 h 2684704"/>
              <a:gd name="connsiteX2" fmla="*/ 2684704 w 2684704"/>
              <a:gd name="connsiteY2" fmla="*/ 1342352 h 2684704"/>
              <a:gd name="connsiteX3" fmla="*/ 1342352 w 2684704"/>
              <a:gd name="connsiteY3" fmla="*/ 2684704 h 2684704"/>
              <a:gd name="connsiteX4" fmla="*/ 0 w 2684704"/>
              <a:gd name="connsiteY4" fmla="*/ 1342352 h 268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84704" h="2684704">
                <a:moveTo>
                  <a:pt x="0" y="1342352"/>
                </a:moveTo>
                <a:cubicBezTo>
                  <a:pt x="0" y="600991"/>
                  <a:pt x="600991" y="0"/>
                  <a:pt x="1342352" y="0"/>
                </a:cubicBezTo>
                <a:cubicBezTo>
                  <a:pt x="2083713" y="0"/>
                  <a:pt x="2684704" y="600991"/>
                  <a:pt x="2684704" y="1342352"/>
                </a:cubicBezTo>
                <a:cubicBezTo>
                  <a:pt x="2684704" y="2083713"/>
                  <a:pt x="2083713" y="2684704"/>
                  <a:pt x="1342352" y="2684704"/>
                </a:cubicBezTo>
                <a:cubicBezTo>
                  <a:pt x="600991" y="2684704"/>
                  <a:pt x="0" y="2083713"/>
                  <a:pt x="0" y="1342352"/>
                </a:cubicBezTo>
                <a:close/>
              </a:path>
            </a:pathLst>
          </a:custGeom>
          <a:solidFill>
            <a:schemeClr val="accent4"/>
          </a:solidFill>
          <a:ln w="3175" cmpd="sng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555607" tIns="657005" rIns="2555607" bIns="5667452" numCol="1" spcCol="2539" anchor="ctr" anchorCtr="0">
            <a:noAutofit/>
          </a:bodyPr>
          <a:lstStyle/>
          <a:p>
            <a:pPr algn="ctr" defTabSz="142208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200" dirty="0">
                <a:latin typeface="Avenir Medium"/>
              </a:rPr>
              <a:t> </a:t>
            </a:r>
          </a:p>
        </p:txBody>
      </p:sp>
      <p:sp>
        <p:nvSpPr>
          <p:cNvPr id="18" name="Freeform 17"/>
          <p:cNvSpPr/>
          <p:nvPr/>
        </p:nvSpPr>
        <p:spPr>
          <a:xfrm>
            <a:off x="15471854" y="5029324"/>
            <a:ext cx="4657113" cy="4658325"/>
          </a:xfrm>
          <a:custGeom>
            <a:avLst/>
            <a:gdLst>
              <a:gd name="connsiteX0" fmla="*/ 0 w 2013528"/>
              <a:gd name="connsiteY0" fmla="*/ 1006764 h 2013528"/>
              <a:gd name="connsiteX1" fmla="*/ 1006764 w 2013528"/>
              <a:gd name="connsiteY1" fmla="*/ 0 h 2013528"/>
              <a:gd name="connsiteX2" fmla="*/ 2013528 w 2013528"/>
              <a:gd name="connsiteY2" fmla="*/ 1006764 h 2013528"/>
              <a:gd name="connsiteX3" fmla="*/ 1006764 w 2013528"/>
              <a:gd name="connsiteY3" fmla="*/ 2013528 h 2013528"/>
              <a:gd name="connsiteX4" fmla="*/ 0 w 2013528"/>
              <a:gd name="connsiteY4" fmla="*/ 1006764 h 2013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3528" h="2013528">
                <a:moveTo>
                  <a:pt x="0" y="1006764"/>
                </a:moveTo>
                <a:cubicBezTo>
                  <a:pt x="0" y="450744"/>
                  <a:pt x="450744" y="0"/>
                  <a:pt x="1006764" y="0"/>
                </a:cubicBezTo>
                <a:cubicBezTo>
                  <a:pt x="1562784" y="0"/>
                  <a:pt x="2013528" y="450744"/>
                  <a:pt x="2013528" y="1006764"/>
                </a:cubicBezTo>
                <a:cubicBezTo>
                  <a:pt x="2013528" y="1562784"/>
                  <a:pt x="1562784" y="2013528"/>
                  <a:pt x="1006764" y="2013528"/>
                </a:cubicBezTo>
                <a:cubicBezTo>
                  <a:pt x="450744" y="2013528"/>
                  <a:pt x="0" y="1562784"/>
                  <a:pt x="0" y="1006764"/>
                </a:cubicBezTo>
                <a:close/>
              </a:path>
            </a:pathLst>
          </a:custGeom>
          <a:solidFill>
            <a:schemeClr val="accent2"/>
          </a:solidFill>
          <a:ln w="3175" cmpd="sng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1660884" tIns="630162" rIns="1660884" bIns="3985377" numCol="1" spcCol="2539" anchor="ctr" anchorCtr="0">
            <a:noAutofit/>
          </a:bodyPr>
          <a:lstStyle/>
          <a:p>
            <a:pPr algn="ctr" defTabSz="142208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200" dirty="0">
                <a:latin typeface="Avenir Medium"/>
              </a:rPr>
              <a:t> </a:t>
            </a:r>
          </a:p>
        </p:txBody>
      </p:sp>
      <p:sp>
        <p:nvSpPr>
          <p:cNvPr id="19" name="Freeform 18"/>
          <p:cNvSpPr/>
          <p:nvPr/>
        </p:nvSpPr>
        <p:spPr>
          <a:xfrm>
            <a:off x="16248042" y="5805714"/>
            <a:ext cx="3104742" cy="3105549"/>
          </a:xfrm>
          <a:custGeom>
            <a:avLst/>
            <a:gdLst>
              <a:gd name="connsiteX0" fmla="*/ 0 w 1342352"/>
              <a:gd name="connsiteY0" fmla="*/ 671176 h 1342352"/>
              <a:gd name="connsiteX1" fmla="*/ 671176 w 1342352"/>
              <a:gd name="connsiteY1" fmla="*/ 0 h 1342352"/>
              <a:gd name="connsiteX2" fmla="*/ 1342352 w 1342352"/>
              <a:gd name="connsiteY2" fmla="*/ 671176 h 1342352"/>
              <a:gd name="connsiteX3" fmla="*/ 671176 w 1342352"/>
              <a:gd name="connsiteY3" fmla="*/ 1342352 h 1342352"/>
              <a:gd name="connsiteX4" fmla="*/ 0 w 1342352"/>
              <a:gd name="connsiteY4" fmla="*/ 671176 h 1342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2352" h="1342352">
                <a:moveTo>
                  <a:pt x="0" y="671176"/>
                </a:moveTo>
                <a:cubicBezTo>
                  <a:pt x="0" y="300496"/>
                  <a:pt x="300496" y="0"/>
                  <a:pt x="671176" y="0"/>
                </a:cubicBezTo>
                <a:cubicBezTo>
                  <a:pt x="1041856" y="0"/>
                  <a:pt x="1342352" y="300496"/>
                  <a:pt x="1342352" y="671176"/>
                </a:cubicBezTo>
                <a:cubicBezTo>
                  <a:pt x="1342352" y="1041856"/>
                  <a:pt x="1041856" y="1342352"/>
                  <a:pt x="671176" y="1342352"/>
                </a:cubicBezTo>
                <a:cubicBezTo>
                  <a:pt x="300496" y="1342352"/>
                  <a:pt x="0" y="1041856"/>
                  <a:pt x="0" y="671176"/>
                </a:cubicBezTo>
                <a:close/>
              </a:path>
            </a:pathLst>
          </a:custGeom>
          <a:solidFill>
            <a:schemeClr val="accent1"/>
          </a:solidFill>
          <a:ln w="3175" cmpd="sng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751656" tIns="1122262" rIns="751656" bIns="1122262" numCol="1" spcCol="2539" anchor="ctr" anchorCtr="0">
            <a:noAutofit/>
          </a:bodyPr>
          <a:lstStyle/>
          <a:p>
            <a:pPr algn="ctr" defTabSz="142208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200" dirty="0">
                <a:latin typeface="Avenir Medium"/>
              </a:rPr>
              <a:t> </a:t>
            </a:r>
          </a:p>
        </p:txBody>
      </p:sp>
      <p:sp>
        <p:nvSpPr>
          <p:cNvPr id="20" name="Freeform 19"/>
          <p:cNvSpPr/>
          <p:nvPr/>
        </p:nvSpPr>
        <p:spPr>
          <a:xfrm>
            <a:off x="17131987" y="6689886"/>
            <a:ext cx="1336846" cy="1337194"/>
          </a:xfrm>
          <a:custGeom>
            <a:avLst/>
            <a:gdLst>
              <a:gd name="connsiteX0" fmla="*/ 0 w 1342352"/>
              <a:gd name="connsiteY0" fmla="*/ 671176 h 1342352"/>
              <a:gd name="connsiteX1" fmla="*/ 671176 w 1342352"/>
              <a:gd name="connsiteY1" fmla="*/ 0 h 1342352"/>
              <a:gd name="connsiteX2" fmla="*/ 1342352 w 1342352"/>
              <a:gd name="connsiteY2" fmla="*/ 671176 h 1342352"/>
              <a:gd name="connsiteX3" fmla="*/ 671176 w 1342352"/>
              <a:gd name="connsiteY3" fmla="*/ 1342352 h 1342352"/>
              <a:gd name="connsiteX4" fmla="*/ 0 w 1342352"/>
              <a:gd name="connsiteY4" fmla="*/ 671176 h 1342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2352" h="1342352">
                <a:moveTo>
                  <a:pt x="0" y="671176"/>
                </a:moveTo>
                <a:cubicBezTo>
                  <a:pt x="0" y="300496"/>
                  <a:pt x="300496" y="0"/>
                  <a:pt x="671176" y="0"/>
                </a:cubicBezTo>
                <a:cubicBezTo>
                  <a:pt x="1041856" y="0"/>
                  <a:pt x="1342352" y="300496"/>
                  <a:pt x="1342352" y="671176"/>
                </a:cubicBezTo>
                <a:cubicBezTo>
                  <a:pt x="1342352" y="1041856"/>
                  <a:pt x="1041856" y="1342352"/>
                  <a:pt x="671176" y="1342352"/>
                </a:cubicBezTo>
                <a:cubicBezTo>
                  <a:pt x="300496" y="1342352"/>
                  <a:pt x="0" y="1041856"/>
                  <a:pt x="0" y="671176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 w="3175" cmpd="sng">
            <a:solidFill>
              <a:schemeClr val="bg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751656" tIns="1122262" rIns="751656" bIns="1122262" numCol="1" spcCol="2539" anchor="ctr" anchorCtr="0">
            <a:noAutofit/>
          </a:bodyPr>
          <a:lstStyle/>
          <a:p>
            <a:pPr algn="ctr" defTabSz="142208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200" dirty="0">
                <a:latin typeface="Avenir Medium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828661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y/Gear</a:t>
            </a:r>
          </a:p>
        </p:txBody>
      </p:sp>
      <p:sp>
        <p:nvSpPr>
          <p:cNvPr id="3" name="Freeform 6"/>
          <p:cNvSpPr>
            <a:spLocks/>
          </p:cNvSpPr>
          <p:nvPr/>
        </p:nvSpPr>
        <p:spPr bwMode="auto">
          <a:xfrm>
            <a:off x="18013821" y="4332417"/>
            <a:ext cx="3586367" cy="4287355"/>
          </a:xfrm>
          <a:custGeom>
            <a:avLst/>
            <a:gdLst/>
            <a:ahLst/>
            <a:cxnLst>
              <a:cxn ang="0">
                <a:pos x="0" y="196"/>
              </a:cxn>
              <a:cxn ang="0">
                <a:pos x="0" y="61"/>
              </a:cxn>
              <a:cxn ang="0">
                <a:pos x="1" y="61"/>
              </a:cxn>
              <a:cxn ang="0">
                <a:pos x="32" y="62"/>
              </a:cxn>
              <a:cxn ang="0">
                <a:pos x="67" y="0"/>
              </a:cxn>
              <a:cxn ang="0">
                <a:pos x="126" y="15"/>
              </a:cxn>
              <a:cxn ang="0">
                <a:pos x="126" y="86"/>
              </a:cxn>
              <a:cxn ang="0">
                <a:pos x="185" y="120"/>
              </a:cxn>
              <a:cxn ang="0">
                <a:pos x="186" y="120"/>
              </a:cxn>
              <a:cxn ang="0">
                <a:pos x="246" y="84"/>
              </a:cxn>
              <a:cxn ang="0">
                <a:pos x="269" y="106"/>
              </a:cxn>
              <a:cxn ang="0">
                <a:pos x="283" y="120"/>
              </a:cxn>
              <a:cxn ang="0">
                <a:pos x="288" y="126"/>
              </a:cxn>
              <a:cxn ang="0">
                <a:pos x="252" y="186"/>
              </a:cxn>
              <a:cxn ang="0">
                <a:pos x="287" y="244"/>
              </a:cxn>
              <a:cxn ang="0">
                <a:pos x="359" y="244"/>
              </a:cxn>
              <a:cxn ang="0">
                <a:pos x="374" y="301"/>
              </a:cxn>
              <a:cxn ang="0">
                <a:pos x="313" y="341"/>
              </a:cxn>
              <a:cxn ang="0">
                <a:pos x="314" y="374"/>
              </a:cxn>
              <a:cxn ang="0">
                <a:pos x="314" y="376"/>
              </a:cxn>
              <a:cxn ang="0">
                <a:pos x="175" y="376"/>
              </a:cxn>
              <a:cxn ang="0">
                <a:pos x="174" y="376"/>
              </a:cxn>
              <a:cxn ang="0">
                <a:pos x="175" y="377"/>
              </a:cxn>
              <a:cxn ang="0">
                <a:pos x="187" y="406"/>
              </a:cxn>
              <a:cxn ang="0">
                <a:pos x="175" y="434"/>
              </a:cxn>
              <a:cxn ang="0">
                <a:pos x="146" y="446"/>
              </a:cxn>
              <a:cxn ang="0">
                <a:pos x="117" y="434"/>
              </a:cxn>
              <a:cxn ang="0">
                <a:pos x="106" y="406"/>
              </a:cxn>
              <a:cxn ang="0">
                <a:pos x="117" y="377"/>
              </a:cxn>
              <a:cxn ang="0">
                <a:pos x="118" y="376"/>
              </a:cxn>
              <a:cxn ang="0">
                <a:pos x="117" y="376"/>
              </a:cxn>
              <a:cxn ang="0">
                <a:pos x="0" y="376"/>
              </a:cxn>
              <a:cxn ang="0">
                <a:pos x="0" y="253"/>
              </a:cxn>
              <a:cxn ang="0">
                <a:pos x="3" y="253"/>
              </a:cxn>
              <a:cxn ang="0">
                <a:pos x="32" y="265"/>
              </a:cxn>
              <a:cxn ang="0">
                <a:pos x="61" y="253"/>
              </a:cxn>
              <a:cxn ang="0">
                <a:pos x="73" y="224"/>
              </a:cxn>
              <a:cxn ang="0">
                <a:pos x="61" y="196"/>
              </a:cxn>
              <a:cxn ang="0">
                <a:pos x="32" y="184"/>
              </a:cxn>
              <a:cxn ang="0">
                <a:pos x="3" y="196"/>
              </a:cxn>
              <a:cxn ang="0">
                <a:pos x="0" y="196"/>
              </a:cxn>
            </a:cxnLst>
            <a:rect l="0" t="0" r="r" b="b"/>
            <a:pathLst>
              <a:path w="374" h="446">
                <a:moveTo>
                  <a:pt x="0" y="196"/>
                </a:moveTo>
                <a:cubicBezTo>
                  <a:pt x="0" y="61"/>
                  <a:pt x="0" y="61"/>
                  <a:pt x="0" y="61"/>
                </a:cubicBezTo>
                <a:cubicBezTo>
                  <a:pt x="0" y="61"/>
                  <a:pt x="1" y="61"/>
                  <a:pt x="1" y="61"/>
                </a:cubicBezTo>
                <a:cubicBezTo>
                  <a:pt x="12" y="61"/>
                  <a:pt x="22" y="61"/>
                  <a:pt x="32" y="62"/>
                </a:cubicBezTo>
                <a:cubicBezTo>
                  <a:pt x="67" y="0"/>
                  <a:pt x="67" y="0"/>
                  <a:pt x="67" y="0"/>
                </a:cubicBezTo>
                <a:cubicBezTo>
                  <a:pt x="87" y="4"/>
                  <a:pt x="107" y="8"/>
                  <a:pt x="126" y="15"/>
                </a:cubicBezTo>
                <a:cubicBezTo>
                  <a:pt x="126" y="86"/>
                  <a:pt x="126" y="86"/>
                  <a:pt x="126" y="86"/>
                </a:cubicBezTo>
                <a:cubicBezTo>
                  <a:pt x="146" y="95"/>
                  <a:pt x="166" y="106"/>
                  <a:pt x="185" y="120"/>
                </a:cubicBezTo>
                <a:cubicBezTo>
                  <a:pt x="185" y="120"/>
                  <a:pt x="185" y="120"/>
                  <a:pt x="186" y="120"/>
                </a:cubicBezTo>
                <a:cubicBezTo>
                  <a:pt x="246" y="84"/>
                  <a:pt x="246" y="84"/>
                  <a:pt x="246" y="84"/>
                </a:cubicBezTo>
                <a:cubicBezTo>
                  <a:pt x="254" y="91"/>
                  <a:pt x="262" y="98"/>
                  <a:pt x="269" y="106"/>
                </a:cubicBezTo>
                <a:cubicBezTo>
                  <a:pt x="274" y="111"/>
                  <a:pt x="278" y="115"/>
                  <a:pt x="283" y="120"/>
                </a:cubicBezTo>
                <a:cubicBezTo>
                  <a:pt x="284" y="122"/>
                  <a:pt x="286" y="124"/>
                  <a:pt x="288" y="126"/>
                </a:cubicBezTo>
                <a:cubicBezTo>
                  <a:pt x="252" y="186"/>
                  <a:pt x="252" y="186"/>
                  <a:pt x="252" y="186"/>
                </a:cubicBezTo>
                <a:cubicBezTo>
                  <a:pt x="266" y="204"/>
                  <a:pt x="278" y="224"/>
                  <a:pt x="287" y="244"/>
                </a:cubicBezTo>
                <a:cubicBezTo>
                  <a:pt x="359" y="244"/>
                  <a:pt x="359" y="244"/>
                  <a:pt x="359" y="244"/>
                </a:cubicBezTo>
                <a:cubicBezTo>
                  <a:pt x="365" y="263"/>
                  <a:pt x="370" y="282"/>
                  <a:pt x="374" y="301"/>
                </a:cubicBezTo>
                <a:cubicBezTo>
                  <a:pt x="313" y="341"/>
                  <a:pt x="313" y="341"/>
                  <a:pt x="313" y="341"/>
                </a:cubicBezTo>
                <a:cubicBezTo>
                  <a:pt x="314" y="352"/>
                  <a:pt x="314" y="363"/>
                  <a:pt x="314" y="374"/>
                </a:cubicBezTo>
                <a:cubicBezTo>
                  <a:pt x="314" y="375"/>
                  <a:pt x="314" y="375"/>
                  <a:pt x="314" y="376"/>
                </a:cubicBezTo>
                <a:cubicBezTo>
                  <a:pt x="175" y="376"/>
                  <a:pt x="175" y="376"/>
                  <a:pt x="175" y="376"/>
                </a:cubicBezTo>
                <a:cubicBezTo>
                  <a:pt x="174" y="376"/>
                  <a:pt x="174" y="376"/>
                  <a:pt x="174" y="376"/>
                </a:cubicBezTo>
                <a:cubicBezTo>
                  <a:pt x="174" y="376"/>
                  <a:pt x="175" y="377"/>
                  <a:pt x="175" y="377"/>
                </a:cubicBezTo>
                <a:cubicBezTo>
                  <a:pt x="183" y="385"/>
                  <a:pt x="187" y="395"/>
                  <a:pt x="187" y="406"/>
                </a:cubicBezTo>
                <a:cubicBezTo>
                  <a:pt x="187" y="417"/>
                  <a:pt x="183" y="427"/>
                  <a:pt x="175" y="434"/>
                </a:cubicBezTo>
                <a:cubicBezTo>
                  <a:pt x="167" y="442"/>
                  <a:pt x="157" y="446"/>
                  <a:pt x="146" y="446"/>
                </a:cubicBezTo>
                <a:cubicBezTo>
                  <a:pt x="135" y="446"/>
                  <a:pt x="125" y="442"/>
                  <a:pt x="117" y="434"/>
                </a:cubicBezTo>
                <a:cubicBezTo>
                  <a:pt x="110" y="427"/>
                  <a:pt x="106" y="417"/>
                  <a:pt x="106" y="406"/>
                </a:cubicBezTo>
                <a:cubicBezTo>
                  <a:pt x="106" y="395"/>
                  <a:pt x="110" y="385"/>
                  <a:pt x="117" y="377"/>
                </a:cubicBezTo>
                <a:cubicBezTo>
                  <a:pt x="118" y="377"/>
                  <a:pt x="118" y="376"/>
                  <a:pt x="118" y="376"/>
                </a:cubicBezTo>
                <a:cubicBezTo>
                  <a:pt x="117" y="376"/>
                  <a:pt x="117" y="376"/>
                  <a:pt x="117" y="376"/>
                </a:cubicBezTo>
                <a:cubicBezTo>
                  <a:pt x="0" y="376"/>
                  <a:pt x="0" y="376"/>
                  <a:pt x="0" y="376"/>
                </a:cubicBezTo>
                <a:cubicBezTo>
                  <a:pt x="0" y="253"/>
                  <a:pt x="0" y="253"/>
                  <a:pt x="0" y="253"/>
                </a:cubicBezTo>
                <a:cubicBezTo>
                  <a:pt x="3" y="253"/>
                  <a:pt x="3" y="253"/>
                  <a:pt x="3" y="253"/>
                </a:cubicBezTo>
                <a:cubicBezTo>
                  <a:pt x="11" y="261"/>
                  <a:pt x="21" y="265"/>
                  <a:pt x="32" y="265"/>
                </a:cubicBezTo>
                <a:cubicBezTo>
                  <a:pt x="43" y="265"/>
                  <a:pt x="53" y="261"/>
                  <a:pt x="61" y="253"/>
                </a:cubicBezTo>
                <a:cubicBezTo>
                  <a:pt x="69" y="245"/>
                  <a:pt x="73" y="236"/>
                  <a:pt x="73" y="224"/>
                </a:cubicBezTo>
                <a:cubicBezTo>
                  <a:pt x="73" y="213"/>
                  <a:pt x="69" y="204"/>
                  <a:pt x="61" y="196"/>
                </a:cubicBezTo>
                <a:cubicBezTo>
                  <a:pt x="53" y="188"/>
                  <a:pt x="43" y="184"/>
                  <a:pt x="32" y="184"/>
                </a:cubicBezTo>
                <a:cubicBezTo>
                  <a:pt x="21" y="184"/>
                  <a:pt x="11" y="188"/>
                  <a:pt x="3" y="196"/>
                </a:cubicBezTo>
                <a:lnTo>
                  <a:pt x="0" y="196"/>
                </a:lnTo>
                <a:close/>
              </a:path>
            </a:pathLst>
          </a:custGeom>
          <a:solidFill>
            <a:schemeClr val="accent4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" name="Freeform 7"/>
          <p:cNvSpPr>
            <a:spLocks/>
          </p:cNvSpPr>
          <p:nvPr/>
        </p:nvSpPr>
        <p:spPr bwMode="auto">
          <a:xfrm>
            <a:off x="17295036" y="7946208"/>
            <a:ext cx="4316505" cy="3568381"/>
          </a:xfrm>
          <a:custGeom>
            <a:avLst/>
            <a:gdLst/>
            <a:ahLst/>
            <a:cxnLst>
              <a:cxn ang="0">
                <a:pos x="75" y="311"/>
              </a:cxn>
              <a:cxn ang="0">
                <a:pos x="75" y="166"/>
              </a:cxn>
              <a:cxn ang="0">
                <a:pos x="70" y="172"/>
              </a:cxn>
              <a:cxn ang="0">
                <a:pos x="41" y="184"/>
              </a:cxn>
              <a:cxn ang="0">
                <a:pos x="12" y="172"/>
              </a:cxn>
              <a:cxn ang="0">
                <a:pos x="0" y="144"/>
              </a:cxn>
              <a:cxn ang="0">
                <a:pos x="12" y="115"/>
              </a:cxn>
              <a:cxn ang="0">
                <a:pos x="41" y="103"/>
              </a:cxn>
              <a:cxn ang="0">
                <a:pos x="70" y="115"/>
              </a:cxn>
              <a:cxn ang="0">
                <a:pos x="75" y="121"/>
              </a:cxn>
              <a:cxn ang="0">
                <a:pos x="75" y="0"/>
              </a:cxn>
              <a:cxn ang="0">
                <a:pos x="192" y="0"/>
              </a:cxn>
              <a:cxn ang="0">
                <a:pos x="192" y="1"/>
              </a:cxn>
              <a:cxn ang="0">
                <a:pos x="181" y="30"/>
              </a:cxn>
              <a:cxn ang="0">
                <a:pos x="192" y="58"/>
              </a:cxn>
              <a:cxn ang="0">
                <a:pos x="221" y="70"/>
              </a:cxn>
              <a:cxn ang="0">
                <a:pos x="250" y="58"/>
              </a:cxn>
              <a:cxn ang="0">
                <a:pos x="262" y="30"/>
              </a:cxn>
              <a:cxn ang="0">
                <a:pos x="250" y="1"/>
              </a:cxn>
              <a:cxn ang="0">
                <a:pos x="250" y="0"/>
              </a:cxn>
              <a:cxn ang="0">
                <a:pos x="389" y="0"/>
              </a:cxn>
              <a:cxn ang="0">
                <a:pos x="388" y="32"/>
              </a:cxn>
              <a:cxn ang="0">
                <a:pos x="450" y="66"/>
              </a:cxn>
              <a:cxn ang="0">
                <a:pos x="436" y="121"/>
              </a:cxn>
              <a:cxn ang="0">
                <a:pos x="363" y="125"/>
              </a:cxn>
              <a:cxn ang="0">
                <a:pos x="329" y="183"/>
              </a:cxn>
              <a:cxn ang="0">
                <a:pos x="366" y="243"/>
              </a:cxn>
              <a:cxn ang="0">
                <a:pos x="344" y="266"/>
              </a:cxn>
              <a:cxn ang="0">
                <a:pos x="322" y="287"/>
              </a:cxn>
              <a:cxn ang="0">
                <a:pos x="260" y="251"/>
              </a:cxn>
              <a:cxn ang="0">
                <a:pos x="203" y="285"/>
              </a:cxn>
              <a:cxn ang="0">
                <a:pos x="203" y="356"/>
              </a:cxn>
              <a:cxn ang="0">
                <a:pos x="145" y="371"/>
              </a:cxn>
              <a:cxn ang="0">
                <a:pos x="108" y="309"/>
              </a:cxn>
              <a:cxn ang="0">
                <a:pos x="76" y="311"/>
              </a:cxn>
              <a:cxn ang="0">
                <a:pos x="75" y="311"/>
              </a:cxn>
            </a:cxnLst>
            <a:rect l="0" t="0" r="r" b="b"/>
            <a:pathLst>
              <a:path w="450" h="371">
                <a:moveTo>
                  <a:pt x="75" y="311"/>
                </a:moveTo>
                <a:cubicBezTo>
                  <a:pt x="75" y="166"/>
                  <a:pt x="75" y="166"/>
                  <a:pt x="75" y="166"/>
                </a:cubicBezTo>
                <a:cubicBezTo>
                  <a:pt x="73" y="168"/>
                  <a:pt x="72" y="170"/>
                  <a:pt x="70" y="172"/>
                </a:cubicBezTo>
                <a:cubicBezTo>
                  <a:pt x="62" y="180"/>
                  <a:pt x="52" y="184"/>
                  <a:pt x="41" y="184"/>
                </a:cubicBezTo>
                <a:cubicBezTo>
                  <a:pt x="30" y="184"/>
                  <a:pt x="20" y="180"/>
                  <a:pt x="12" y="172"/>
                </a:cubicBezTo>
                <a:cubicBezTo>
                  <a:pt x="4" y="165"/>
                  <a:pt x="0" y="155"/>
                  <a:pt x="0" y="144"/>
                </a:cubicBezTo>
                <a:cubicBezTo>
                  <a:pt x="0" y="133"/>
                  <a:pt x="4" y="123"/>
                  <a:pt x="12" y="115"/>
                </a:cubicBezTo>
                <a:cubicBezTo>
                  <a:pt x="20" y="107"/>
                  <a:pt x="30" y="103"/>
                  <a:pt x="41" y="103"/>
                </a:cubicBezTo>
                <a:cubicBezTo>
                  <a:pt x="52" y="103"/>
                  <a:pt x="62" y="107"/>
                  <a:pt x="70" y="115"/>
                </a:cubicBezTo>
                <a:cubicBezTo>
                  <a:pt x="72" y="117"/>
                  <a:pt x="73" y="119"/>
                  <a:pt x="75" y="121"/>
                </a:cubicBezTo>
                <a:cubicBezTo>
                  <a:pt x="75" y="0"/>
                  <a:pt x="75" y="0"/>
                  <a:pt x="75" y="0"/>
                </a:cubicBezTo>
                <a:cubicBezTo>
                  <a:pt x="192" y="0"/>
                  <a:pt x="192" y="0"/>
                  <a:pt x="192" y="0"/>
                </a:cubicBezTo>
                <a:cubicBezTo>
                  <a:pt x="192" y="1"/>
                  <a:pt x="192" y="1"/>
                  <a:pt x="192" y="1"/>
                </a:cubicBezTo>
                <a:cubicBezTo>
                  <a:pt x="185" y="9"/>
                  <a:pt x="181" y="19"/>
                  <a:pt x="181" y="30"/>
                </a:cubicBezTo>
                <a:cubicBezTo>
                  <a:pt x="181" y="41"/>
                  <a:pt x="185" y="51"/>
                  <a:pt x="192" y="58"/>
                </a:cubicBezTo>
                <a:cubicBezTo>
                  <a:pt x="200" y="66"/>
                  <a:pt x="210" y="70"/>
                  <a:pt x="221" y="70"/>
                </a:cubicBezTo>
                <a:cubicBezTo>
                  <a:pt x="232" y="70"/>
                  <a:pt x="242" y="66"/>
                  <a:pt x="250" y="58"/>
                </a:cubicBezTo>
                <a:cubicBezTo>
                  <a:pt x="258" y="51"/>
                  <a:pt x="262" y="41"/>
                  <a:pt x="262" y="30"/>
                </a:cubicBezTo>
                <a:cubicBezTo>
                  <a:pt x="262" y="19"/>
                  <a:pt x="258" y="9"/>
                  <a:pt x="250" y="1"/>
                </a:cubicBezTo>
                <a:cubicBezTo>
                  <a:pt x="250" y="0"/>
                  <a:pt x="250" y="0"/>
                  <a:pt x="250" y="0"/>
                </a:cubicBezTo>
                <a:cubicBezTo>
                  <a:pt x="389" y="0"/>
                  <a:pt x="389" y="0"/>
                  <a:pt x="389" y="0"/>
                </a:cubicBezTo>
                <a:cubicBezTo>
                  <a:pt x="389" y="11"/>
                  <a:pt x="389" y="22"/>
                  <a:pt x="388" y="32"/>
                </a:cubicBezTo>
                <a:cubicBezTo>
                  <a:pt x="450" y="66"/>
                  <a:pt x="450" y="66"/>
                  <a:pt x="450" y="66"/>
                </a:cubicBezTo>
                <a:cubicBezTo>
                  <a:pt x="446" y="85"/>
                  <a:pt x="442" y="103"/>
                  <a:pt x="436" y="121"/>
                </a:cubicBezTo>
                <a:cubicBezTo>
                  <a:pt x="363" y="125"/>
                  <a:pt x="363" y="125"/>
                  <a:pt x="363" y="125"/>
                </a:cubicBezTo>
                <a:cubicBezTo>
                  <a:pt x="354" y="145"/>
                  <a:pt x="343" y="164"/>
                  <a:pt x="329" y="183"/>
                </a:cubicBezTo>
                <a:cubicBezTo>
                  <a:pt x="366" y="243"/>
                  <a:pt x="366" y="243"/>
                  <a:pt x="366" y="243"/>
                </a:cubicBezTo>
                <a:cubicBezTo>
                  <a:pt x="359" y="251"/>
                  <a:pt x="352" y="258"/>
                  <a:pt x="344" y="266"/>
                </a:cubicBezTo>
                <a:cubicBezTo>
                  <a:pt x="337" y="273"/>
                  <a:pt x="329" y="280"/>
                  <a:pt x="322" y="287"/>
                </a:cubicBezTo>
                <a:cubicBezTo>
                  <a:pt x="260" y="251"/>
                  <a:pt x="260" y="251"/>
                  <a:pt x="260" y="251"/>
                </a:cubicBezTo>
                <a:cubicBezTo>
                  <a:pt x="242" y="265"/>
                  <a:pt x="223" y="276"/>
                  <a:pt x="203" y="285"/>
                </a:cubicBezTo>
                <a:cubicBezTo>
                  <a:pt x="203" y="356"/>
                  <a:pt x="203" y="356"/>
                  <a:pt x="203" y="356"/>
                </a:cubicBezTo>
                <a:cubicBezTo>
                  <a:pt x="184" y="363"/>
                  <a:pt x="165" y="368"/>
                  <a:pt x="145" y="371"/>
                </a:cubicBezTo>
                <a:cubicBezTo>
                  <a:pt x="108" y="309"/>
                  <a:pt x="108" y="309"/>
                  <a:pt x="108" y="309"/>
                </a:cubicBezTo>
                <a:cubicBezTo>
                  <a:pt x="98" y="310"/>
                  <a:pt x="87" y="311"/>
                  <a:pt x="76" y="311"/>
                </a:cubicBezTo>
                <a:cubicBezTo>
                  <a:pt x="76" y="311"/>
                  <a:pt x="75" y="311"/>
                  <a:pt x="75" y="311"/>
                </a:cubicBezTo>
                <a:close/>
              </a:path>
            </a:pathLst>
          </a:custGeom>
          <a:solidFill>
            <a:schemeClr val="accent5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auto">
          <a:xfrm>
            <a:off x="14446373" y="4339985"/>
            <a:ext cx="4267323" cy="3606224"/>
          </a:xfrm>
          <a:custGeom>
            <a:avLst/>
            <a:gdLst/>
            <a:ahLst/>
            <a:cxnLst>
              <a:cxn ang="0">
                <a:pos x="372" y="375"/>
              </a:cxn>
              <a:cxn ang="0">
                <a:pos x="239" y="375"/>
              </a:cxn>
              <a:cxn ang="0">
                <a:pos x="248" y="368"/>
              </a:cxn>
              <a:cxn ang="0">
                <a:pos x="260" y="340"/>
              </a:cxn>
              <a:cxn ang="0">
                <a:pos x="248" y="311"/>
              </a:cxn>
              <a:cxn ang="0">
                <a:pos x="220" y="299"/>
              </a:cxn>
              <a:cxn ang="0">
                <a:pos x="191" y="311"/>
              </a:cxn>
              <a:cxn ang="0">
                <a:pos x="179" y="340"/>
              </a:cxn>
              <a:cxn ang="0">
                <a:pos x="191" y="368"/>
              </a:cxn>
              <a:cxn ang="0">
                <a:pos x="200" y="375"/>
              </a:cxn>
              <a:cxn ang="0">
                <a:pos x="61" y="375"/>
              </a:cxn>
              <a:cxn ang="0">
                <a:pos x="61" y="375"/>
              </a:cxn>
              <a:cxn ang="0">
                <a:pos x="61" y="373"/>
              </a:cxn>
              <a:cxn ang="0">
                <a:pos x="61" y="367"/>
              </a:cxn>
              <a:cxn ang="0">
                <a:pos x="62" y="342"/>
              </a:cxn>
              <a:cxn ang="0">
                <a:pos x="0" y="307"/>
              </a:cxn>
              <a:cxn ang="0">
                <a:pos x="16" y="243"/>
              </a:cxn>
              <a:cxn ang="0">
                <a:pos x="86" y="247"/>
              </a:cxn>
              <a:cxn ang="0">
                <a:pos x="119" y="191"/>
              </a:cxn>
              <a:cxn ang="0">
                <a:pos x="85" y="127"/>
              </a:cxn>
              <a:cxn ang="0">
                <a:pos x="92" y="119"/>
              </a:cxn>
              <a:cxn ang="0">
                <a:pos x="106" y="105"/>
              </a:cxn>
              <a:cxn ang="0">
                <a:pos x="128" y="84"/>
              </a:cxn>
              <a:cxn ang="0">
                <a:pos x="188" y="120"/>
              </a:cxn>
              <a:cxn ang="0">
                <a:pos x="190" y="119"/>
              </a:cxn>
              <a:cxn ang="0">
                <a:pos x="243" y="88"/>
              </a:cxn>
              <a:cxn ang="0">
                <a:pos x="243" y="16"/>
              </a:cxn>
              <a:cxn ang="0">
                <a:pos x="303" y="0"/>
              </a:cxn>
              <a:cxn ang="0">
                <a:pos x="339" y="62"/>
              </a:cxn>
              <a:cxn ang="0">
                <a:pos x="372" y="60"/>
              </a:cxn>
              <a:cxn ang="0">
                <a:pos x="372" y="195"/>
              </a:cxn>
              <a:cxn ang="0">
                <a:pos x="372" y="199"/>
              </a:cxn>
              <a:cxn ang="0">
                <a:pos x="375" y="195"/>
              </a:cxn>
              <a:cxn ang="0">
                <a:pos x="404" y="183"/>
              </a:cxn>
              <a:cxn ang="0">
                <a:pos x="433" y="195"/>
              </a:cxn>
              <a:cxn ang="0">
                <a:pos x="445" y="223"/>
              </a:cxn>
              <a:cxn ang="0">
                <a:pos x="433" y="252"/>
              </a:cxn>
              <a:cxn ang="0">
                <a:pos x="404" y="264"/>
              </a:cxn>
              <a:cxn ang="0">
                <a:pos x="375" y="252"/>
              </a:cxn>
              <a:cxn ang="0">
                <a:pos x="372" y="248"/>
              </a:cxn>
              <a:cxn ang="0">
                <a:pos x="372" y="252"/>
              </a:cxn>
              <a:cxn ang="0">
                <a:pos x="372" y="375"/>
              </a:cxn>
            </a:cxnLst>
            <a:rect l="0" t="0" r="r" b="b"/>
            <a:pathLst>
              <a:path w="445" h="375">
                <a:moveTo>
                  <a:pt x="372" y="375"/>
                </a:moveTo>
                <a:cubicBezTo>
                  <a:pt x="239" y="375"/>
                  <a:pt x="239" y="375"/>
                  <a:pt x="239" y="375"/>
                </a:cubicBezTo>
                <a:cubicBezTo>
                  <a:pt x="243" y="373"/>
                  <a:pt x="246" y="371"/>
                  <a:pt x="248" y="368"/>
                </a:cubicBezTo>
                <a:cubicBezTo>
                  <a:pt x="256" y="360"/>
                  <a:pt x="260" y="351"/>
                  <a:pt x="260" y="340"/>
                </a:cubicBezTo>
                <a:cubicBezTo>
                  <a:pt x="260" y="328"/>
                  <a:pt x="256" y="319"/>
                  <a:pt x="248" y="311"/>
                </a:cubicBezTo>
                <a:cubicBezTo>
                  <a:pt x="241" y="303"/>
                  <a:pt x="231" y="299"/>
                  <a:pt x="220" y="299"/>
                </a:cubicBezTo>
                <a:cubicBezTo>
                  <a:pt x="209" y="299"/>
                  <a:pt x="199" y="303"/>
                  <a:pt x="191" y="311"/>
                </a:cubicBezTo>
                <a:cubicBezTo>
                  <a:pt x="183" y="319"/>
                  <a:pt x="179" y="328"/>
                  <a:pt x="179" y="340"/>
                </a:cubicBezTo>
                <a:cubicBezTo>
                  <a:pt x="179" y="351"/>
                  <a:pt x="183" y="360"/>
                  <a:pt x="191" y="368"/>
                </a:cubicBezTo>
                <a:cubicBezTo>
                  <a:pt x="194" y="371"/>
                  <a:pt x="197" y="373"/>
                  <a:pt x="200" y="375"/>
                </a:cubicBezTo>
                <a:cubicBezTo>
                  <a:pt x="61" y="375"/>
                  <a:pt x="61" y="375"/>
                  <a:pt x="61" y="375"/>
                </a:cubicBezTo>
                <a:cubicBezTo>
                  <a:pt x="61" y="375"/>
                  <a:pt x="61" y="375"/>
                  <a:pt x="61" y="375"/>
                </a:cubicBezTo>
                <a:cubicBezTo>
                  <a:pt x="61" y="374"/>
                  <a:pt x="61" y="374"/>
                  <a:pt x="61" y="373"/>
                </a:cubicBezTo>
                <a:cubicBezTo>
                  <a:pt x="61" y="371"/>
                  <a:pt x="61" y="369"/>
                  <a:pt x="61" y="367"/>
                </a:cubicBezTo>
                <a:cubicBezTo>
                  <a:pt x="61" y="359"/>
                  <a:pt x="61" y="350"/>
                  <a:pt x="62" y="342"/>
                </a:cubicBezTo>
                <a:cubicBezTo>
                  <a:pt x="0" y="307"/>
                  <a:pt x="0" y="307"/>
                  <a:pt x="0" y="307"/>
                </a:cubicBezTo>
                <a:cubicBezTo>
                  <a:pt x="4" y="285"/>
                  <a:pt x="9" y="263"/>
                  <a:pt x="16" y="243"/>
                </a:cubicBezTo>
                <a:cubicBezTo>
                  <a:pt x="86" y="247"/>
                  <a:pt x="86" y="247"/>
                  <a:pt x="86" y="247"/>
                </a:cubicBezTo>
                <a:cubicBezTo>
                  <a:pt x="95" y="227"/>
                  <a:pt x="106" y="209"/>
                  <a:pt x="119" y="191"/>
                </a:cubicBezTo>
                <a:cubicBezTo>
                  <a:pt x="85" y="127"/>
                  <a:pt x="85" y="127"/>
                  <a:pt x="85" y="127"/>
                </a:cubicBezTo>
                <a:cubicBezTo>
                  <a:pt x="87" y="124"/>
                  <a:pt x="90" y="122"/>
                  <a:pt x="92" y="119"/>
                </a:cubicBezTo>
                <a:cubicBezTo>
                  <a:pt x="97" y="114"/>
                  <a:pt x="101" y="110"/>
                  <a:pt x="106" y="105"/>
                </a:cubicBezTo>
                <a:cubicBezTo>
                  <a:pt x="113" y="98"/>
                  <a:pt x="120" y="91"/>
                  <a:pt x="128" y="84"/>
                </a:cubicBezTo>
                <a:cubicBezTo>
                  <a:pt x="188" y="120"/>
                  <a:pt x="188" y="120"/>
                  <a:pt x="188" y="120"/>
                </a:cubicBezTo>
                <a:cubicBezTo>
                  <a:pt x="189" y="120"/>
                  <a:pt x="190" y="119"/>
                  <a:pt x="190" y="119"/>
                </a:cubicBezTo>
                <a:cubicBezTo>
                  <a:pt x="207" y="106"/>
                  <a:pt x="225" y="96"/>
                  <a:pt x="243" y="88"/>
                </a:cubicBezTo>
                <a:cubicBezTo>
                  <a:pt x="243" y="16"/>
                  <a:pt x="243" y="16"/>
                  <a:pt x="243" y="16"/>
                </a:cubicBezTo>
                <a:cubicBezTo>
                  <a:pt x="262" y="9"/>
                  <a:pt x="282" y="4"/>
                  <a:pt x="303" y="0"/>
                </a:cubicBezTo>
                <a:cubicBezTo>
                  <a:pt x="339" y="62"/>
                  <a:pt x="339" y="62"/>
                  <a:pt x="339" y="62"/>
                </a:cubicBezTo>
                <a:cubicBezTo>
                  <a:pt x="350" y="61"/>
                  <a:pt x="361" y="60"/>
                  <a:pt x="372" y="60"/>
                </a:cubicBezTo>
                <a:cubicBezTo>
                  <a:pt x="372" y="195"/>
                  <a:pt x="372" y="195"/>
                  <a:pt x="372" y="195"/>
                </a:cubicBezTo>
                <a:cubicBezTo>
                  <a:pt x="372" y="199"/>
                  <a:pt x="372" y="199"/>
                  <a:pt x="372" y="199"/>
                </a:cubicBezTo>
                <a:cubicBezTo>
                  <a:pt x="373" y="197"/>
                  <a:pt x="374" y="196"/>
                  <a:pt x="375" y="195"/>
                </a:cubicBezTo>
                <a:cubicBezTo>
                  <a:pt x="383" y="187"/>
                  <a:pt x="393" y="183"/>
                  <a:pt x="404" y="183"/>
                </a:cubicBezTo>
                <a:cubicBezTo>
                  <a:pt x="415" y="183"/>
                  <a:pt x="425" y="187"/>
                  <a:pt x="433" y="195"/>
                </a:cubicBezTo>
                <a:cubicBezTo>
                  <a:pt x="441" y="203"/>
                  <a:pt x="445" y="212"/>
                  <a:pt x="445" y="223"/>
                </a:cubicBezTo>
                <a:cubicBezTo>
                  <a:pt x="445" y="235"/>
                  <a:pt x="441" y="244"/>
                  <a:pt x="433" y="252"/>
                </a:cubicBezTo>
                <a:cubicBezTo>
                  <a:pt x="425" y="260"/>
                  <a:pt x="415" y="264"/>
                  <a:pt x="404" y="264"/>
                </a:cubicBezTo>
                <a:cubicBezTo>
                  <a:pt x="393" y="264"/>
                  <a:pt x="383" y="260"/>
                  <a:pt x="375" y="252"/>
                </a:cubicBezTo>
                <a:cubicBezTo>
                  <a:pt x="374" y="251"/>
                  <a:pt x="373" y="250"/>
                  <a:pt x="372" y="248"/>
                </a:cubicBezTo>
                <a:cubicBezTo>
                  <a:pt x="372" y="252"/>
                  <a:pt x="372" y="252"/>
                  <a:pt x="372" y="252"/>
                </a:cubicBezTo>
                <a:lnTo>
                  <a:pt x="372" y="375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6" name="Freeform 8"/>
          <p:cNvSpPr>
            <a:spLocks/>
          </p:cNvSpPr>
          <p:nvPr/>
        </p:nvSpPr>
        <p:spPr bwMode="auto">
          <a:xfrm>
            <a:off x="14446373" y="7215881"/>
            <a:ext cx="3567452" cy="4287355"/>
          </a:xfrm>
          <a:custGeom>
            <a:avLst/>
            <a:gdLst/>
            <a:ahLst/>
            <a:cxnLst>
              <a:cxn ang="0">
                <a:pos x="61" y="76"/>
              </a:cxn>
              <a:cxn ang="0">
                <a:pos x="200" y="76"/>
              </a:cxn>
              <a:cxn ang="0">
                <a:pos x="191" y="69"/>
              </a:cxn>
              <a:cxn ang="0">
                <a:pos x="179" y="41"/>
              </a:cxn>
              <a:cxn ang="0">
                <a:pos x="191" y="12"/>
              </a:cxn>
              <a:cxn ang="0">
                <a:pos x="220" y="0"/>
              </a:cxn>
              <a:cxn ang="0">
                <a:pos x="248" y="12"/>
              </a:cxn>
              <a:cxn ang="0">
                <a:pos x="260" y="41"/>
              </a:cxn>
              <a:cxn ang="0">
                <a:pos x="248" y="69"/>
              </a:cxn>
              <a:cxn ang="0">
                <a:pos x="239" y="76"/>
              </a:cxn>
              <a:cxn ang="0">
                <a:pos x="372" y="76"/>
              </a:cxn>
              <a:cxn ang="0">
                <a:pos x="372" y="197"/>
              </a:cxn>
              <a:cxn ang="0">
                <a:pos x="367" y="191"/>
              </a:cxn>
              <a:cxn ang="0">
                <a:pos x="338" y="179"/>
              </a:cxn>
              <a:cxn ang="0">
                <a:pos x="309" y="191"/>
              </a:cxn>
              <a:cxn ang="0">
                <a:pos x="297" y="220"/>
              </a:cxn>
              <a:cxn ang="0">
                <a:pos x="309" y="248"/>
              </a:cxn>
              <a:cxn ang="0">
                <a:pos x="338" y="260"/>
              </a:cxn>
              <a:cxn ang="0">
                <a:pos x="367" y="248"/>
              </a:cxn>
              <a:cxn ang="0">
                <a:pos x="372" y="242"/>
              </a:cxn>
              <a:cxn ang="0">
                <a:pos x="372" y="387"/>
              </a:cxn>
              <a:cxn ang="0">
                <a:pos x="340" y="385"/>
              </a:cxn>
              <a:cxn ang="0">
                <a:pos x="302" y="446"/>
              </a:cxn>
              <a:cxn ang="0">
                <a:pos x="242" y="430"/>
              </a:cxn>
              <a:cxn ang="0">
                <a:pos x="247" y="361"/>
              </a:cxn>
              <a:cxn ang="0">
                <a:pos x="184" y="323"/>
              </a:cxn>
              <a:cxn ang="0">
                <a:pos x="129" y="363"/>
              </a:cxn>
              <a:cxn ang="0">
                <a:pos x="106" y="342"/>
              </a:cxn>
              <a:cxn ang="0">
                <a:pos x="82" y="316"/>
              </a:cxn>
              <a:cxn ang="0">
                <a:pos x="118" y="254"/>
              </a:cxn>
              <a:cxn ang="0">
                <a:pos x="86" y="199"/>
              </a:cxn>
              <a:cxn ang="0">
                <a:pos x="15" y="199"/>
              </a:cxn>
              <a:cxn ang="0">
                <a:pos x="0" y="141"/>
              </a:cxn>
              <a:cxn ang="0">
                <a:pos x="62" y="104"/>
              </a:cxn>
              <a:cxn ang="0">
                <a:pos x="61" y="84"/>
              </a:cxn>
              <a:cxn ang="0">
                <a:pos x="61" y="76"/>
              </a:cxn>
            </a:cxnLst>
            <a:rect l="0" t="0" r="r" b="b"/>
            <a:pathLst>
              <a:path w="372" h="446">
                <a:moveTo>
                  <a:pt x="61" y="76"/>
                </a:moveTo>
                <a:cubicBezTo>
                  <a:pt x="200" y="76"/>
                  <a:pt x="200" y="76"/>
                  <a:pt x="200" y="76"/>
                </a:cubicBezTo>
                <a:cubicBezTo>
                  <a:pt x="197" y="74"/>
                  <a:pt x="194" y="72"/>
                  <a:pt x="191" y="69"/>
                </a:cubicBezTo>
                <a:cubicBezTo>
                  <a:pt x="183" y="61"/>
                  <a:pt x="179" y="52"/>
                  <a:pt x="179" y="41"/>
                </a:cubicBezTo>
                <a:cubicBezTo>
                  <a:pt x="179" y="29"/>
                  <a:pt x="183" y="20"/>
                  <a:pt x="191" y="12"/>
                </a:cubicBezTo>
                <a:cubicBezTo>
                  <a:pt x="199" y="4"/>
                  <a:pt x="209" y="0"/>
                  <a:pt x="220" y="0"/>
                </a:cubicBezTo>
                <a:cubicBezTo>
                  <a:pt x="231" y="0"/>
                  <a:pt x="241" y="4"/>
                  <a:pt x="248" y="12"/>
                </a:cubicBezTo>
                <a:cubicBezTo>
                  <a:pt x="256" y="20"/>
                  <a:pt x="260" y="29"/>
                  <a:pt x="260" y="41"/>
                </a:cubicBezTo>
                <a:cubicBezTo>
                  <a:pt x="260" y="52"/>
                  <a:pt x="256" y="61"/>
                  <a:pt x="248" y="69"/>
                </a:cubicBezTo>
                <a:cubicBezTo>
                  <a:pt x="246" y="72"/>
                  <a:pt x="243" y="74"/>
                  <a:pt x="239" y="76"/>
                </a:cubicBezTo>
                <a:cubicBezTo>
                  <a:pt x="372" y="76"/>
                  <a:pt x="372" y="76"/>
                  <a:pt x="372" y="76"/>
                </a:cubicBezTo>
                <a:cubicBezTo>
                  <a:pt x="372" y="197"/>
                  <a:pt x="372" y="197"/>
                  <a:pt x="372" y="197"/>
                </a:cubicBezTo>
                <a:cubicBezTo>
                  <a:pt x="370" y="195"/>
                  <a:pt x="369" y="193"/>
                  <a:pt x="367" y="191"/>
                </a:cubicBezTo>
                <a:cubicBezTo>
                  <a:pt x="359" y="183"/>
                  <a:pt x="349" y="179"/>
                  <a:pt x="338" y="179"/>
                </a:cubicBezTo>
                <a:cubicBezTo>
                  <a:pt x="327" y="179"/>
                  <a:pt x="317" y="183"/>
                  <a:pt x="309" y="191"/>
                </a:cubicBezTo>
                <a:cubicBezTo>
                  <a:pt x="301" y="199"/>
                  <a:pt x="297" y="209"/>
                  <a:pt x="297" y="220"/>
                </a:cubicBezTo>
                <a:cubicBezTo>
                  <a:pt x="297" y="231"/>
                  <a:pt x="301" y="241"/>
                  <a:pt x="309" y="248"/>
                </a:cubicBezTo>
                <a:cubicBezTo>
                  <a:pt x="317" y="256"/>
                  <a:pt x="327" y="260"/>
                  <a:pt x="338" y="260"/>
                </a:cubicBezTo>
                <a:cubicBezTo>
                  <a:pt x="349" y="260"/>
                  <a:pt x="359" y="256"/>
                  <a:pt x="367" y="248"/>
                </a:cubicBezTo>
                <a:cubicBezTo>
                  <a:pt x="369" y="246"/>
                  <a:pt x="370" y="244"/>
                  <a:pt x="372" y="242"/>
                </a:cubicBezTo>
                <a:cubicBezTo>
                  <a:pt x="372" y="387"/>
                  <a:pt x="372" y="387"/>
                  <a:pt x="372" y="387"/>
                </a:cubicBezTo>
                <a:cubicBezTo>
                  <a:pt x="361" y="387"/>
                  <a:pt x="351" y="386"/>
                  <a:pt x="340" y="385"/>
                </a:cubicBezTo>
                <a:cubicBezTo>
                  <a:pt x="302" y="446"/>
                  <a:pt x="302" y="446"/>
                  <a:pt x="302" y="446"/>
                </a:cubicBezTo>
                <a:cubicBezTo>
                  <a:pt x="281" y="443"/>
                  <a:pt x="261" y="437"/>
                  <a:pt x="242" y="430"/>
                </a:cubicBezTo>
                <a:cubicBezTo>
                  <a:pt x="247" y="361"/>
                  <a:pt x="247" y="361"/>
                  <a:pt x="247" y="361"/>
                </a:cubicBezTo>
                <a:cubicBezTo>
                  <a:pt x="225" y="351"/>
                  <a:pt x="204" y="338"/>
                  <a:pt x="184" y="323"/>
                </a:cubicBezTo>
                <a:cubicBezTo>
                  <a:pt x="129" y="363"/>
                  <a:pt x="129" y="363"/>
                  <a:pt x="129" y="363"/>
                </a:cubicBezTo>
                <a:cubicBezTo>
                  <a:pt x="121" y="356"/>
                  <a:pt x="113" y="349"/>
                  <a:pt x="106" y="342"/>
                </a:cubicBezTo>
                <a:cubicBezTo>
                  <a:pt x="97" y="333"/>
                  <a:pt x="89" y="325"/>
                  <a:pt x="82" y="316"/>
                </a:cubicBezTo>
                <a:cubicBezTo>
                  <a:pt x="118" y="254"/>
                  <a:pt x="118" y="254"/>
                  <a:pt x="118" y="254"/>
                </a:cubicBezTo>
                <a:cubicBezTo>
                  <a:pt x="105" y="237"/>
                  <a:pt x="94" y="219"/>
                  <a:pt x="86" y="199"/>
                </a:cubicBezTo>
                <a:cubicBezTo>
                  <a:pt x="15" y="199"/>
                  <a:pt x="15" y="199"/>
                  <a:pt x="15" y="199"/>
                </a:cubicBezTo>
                <a:cubicBezTo>
                  <a:pt x="8" y="180"/>
                  <a:pt x="3" y="161"/>
                  <a:pt x="0" y="141"/>
                </a:cubicBezTo>
                <a:cubicBezTo>
                  <a:pt x="62" y="104"/>
                  <a:pt x="62" y="104"/>
                  <a:pt x="62" y="104"/>
                </a:cubicBezTo>
                <a:cubicBezTo>
                  <a:pt x="62" y="98"/>
                  <a:pt x="61" y="91"/>
                  <a:pt x="61" y="84"/>
                </a:cubicBezTo>
                <a:lnTo>
                  <a:pt x="61" y="76"/>
                </a:lnTo>
                <a:close/>
              </a:path>
            </a:pathLst>
          </a:custGeom>
          <a:solidFill>
            <a:schemeClr val="accent2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9" name="Shape 2547"/>
          <p:cNvSpPr/>
          <p:nvPr/>
        </p:nvSpPr>
        <p:spPr>
          <a:xfrm>
            <a:off x="16138154" y="5886457"/>
            <a:ext cx="883760" cy="8837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0" name="Shape 2588"/>
          <p:cNvSpPr/>
          <p:nvPr/>
        </p:nvSpPr>
        <p:spPr>
          <a:xfrm>
            <a:off x="16138154" y="9067541"/>
            <a:ext cx="883760" cy="8034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1" name="Shape 2633"/>
          <p:cNvSpPr/>
          <p:nvPr/>
        </p:nvSpPr>
        <p:spPr>
          <a:xfrm>
            <a:off x="19011408" y="5881801"/>
            <a:ext cx="883760" cy="8837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2" name="Shape 2690"/>
          <p:cNvSpPr>
            <a:spLocks noChangeAspect="1"/>
          </p:cNvSpPr>
          <p:nvPr/>
        </p:nvSpPr>
        <p:spPr>
          <a:xfrm>
            <a:off x="18999802" y="9067541"/>
            <a:ext cx="906972" cy="8245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880"/>
                </a:moveTo>
                <a:cubicBezTo>
                  <a:pt x="20618" y="12476"/>
                  <a:pt x="20178" y="12960"/>
                  <a:pt x="19636" y="12960"/>
                </a:cubicBezTo>
                <a:lnTo>
                  <a:pt x="19636" y="8640"/>
                </a:lnTo>
                <a:cubicBezTo>
                  <a:pt x="20178" y="8640"/>
                  <a:pt x="20618" y="9124"/>
                  <a:pt x="20618" y="9720"/>
                </a:cubicBezTo>
                <a:cubicBezTo>
                  <a:pt x="20618" y="9720"/>
                  <a:pt x="20618" y="11880"/>
                  <a:pt x="20618" y="11880"/>
                </a:cubicBezTo>
                <a:close/>
                <a:moveTo>
                  <a:pt x="18655" y="19980"/>
                </a:moveTo>
                <a:cubicBezTo>
                  <a:pt x="18655" y="20279"/>
                  <a:pt x="18434" y="20520"/>
                  <a:pt x="18164" y="20520"/>
                </a:cubicBezTo>
                <a:cubicBezTo>
                  <a:pt x="17893" y="20520"/>
                  <a:pt x="17673" y="20279"/>
                  <a:pt x="17673" y="19980"/>
                </a:cubicBezTo>
                <a:lnTo>
                  <a:pt x="17673" y="1620"/>
                </a:lnTo>
                <a:cubicBezTo>
                  <a:pt x="17673" y="1322"/>
                  <a:pt x="17893" y="1080"/>
                  <a:pt x="18164" y="1080"/>
                </a:cubicBezTo>
                <a:cubicBezTo>
                  <a:pt x="18434" y="1080"/>
                  <a:pt x="18655" y="1322"/>
                  <a:pt x="18655" y="1620"/>
                </a:cubicBezTo>
                <a:cubicBezTo>
                  <a:pt x="18655" y="1620"/>
                  <a:pt x="18655" y="19980"/>
                  <a:pt x="18655" y="19980"/>
                </a:cubicBezTo>
                <a:close/>
                <a:moveTo>
                  <a:pt x="16691" y="18404"/>
                </a:moveTo>
                <a:lnTo>
                  <a:pt x="2944" y="13512"/>
                </a:lnTo>
                <a:cubicBezTo>
                  <a:pt x="2944" y="13508"/>
                  <a:pt x="2945" y="13504"/>
                  <a:pt x="2945" y="13500"/>
                </a:cubicBezTo>
                <a:lnTo>
                  <a:pt x="2945" y="8100"/>
                </a:lnTo>
                <a:cubicBezTo>
                  <a:pt x="2945" y="8096"/>
                  <a:pt x="2944" y="8093"/>
                  <a:pt x="2944" y="8089"/>
                </a:cubicBezTo>
                <a:lnTo>
                  <a:pt x="16691" y="3197"/>
                </a:lnTo>
                <a:cubicBezTo>
                  <a:pt x="16691" y="3197"/>
                  <a:pt x="16691" y="18404"/>
                  <a:pt x="16691" y="18404"/>
                </a:cubicBezTo>
                <a:close/>
                <a:moveTo>
                  <a:pt x="12480" y="18725"/>
                </a:moveTo>
                <a:cubicBezTo>
                  <a:pt x="12316" y="19294"/>
                  <a:pt x="11764" y="19608"/>
                  <a:pt x="11247" y="19428"/>
                </a:cubicBezTo>
                <a:lnTo>
                  <a:pt x="6102" y="17625"/>
                </a:lnTo>
                <a:cubicBezTo>
                  <a:pt x="5585" y="17444"/>
                  <a:pt x="5299" y="16837"/>
                  <a:pt x="5464" y="16269"/>
                </a:cubicBezTo>
                <a:lnTo>
                  <a:pt x="5654" y="15610"/>
                </a:lnTo>
                <a:lnTo>
                  <a:pt x="12661" y="18104"/>
                </a:lnTo>
                <a:cubicBezTo>
                  <a:pt x="12661" y="18104"/>
                  <a:pt x="12480" y="18725"/>
                  <a:pt x="12480" y="18725"/>
                </a:cubicBezTo>
                <a:close/>
                <a:moveTo>
                  <a:pt x="1964" y="13500"/>
                </a:moveTo>
                <a:lnTo>
                  <a:pt x="982" y="13500"/>
                </a:lnTo>
                <a:lnTo>
                  <a:pt x="982" y="8100"/>
                </a:lnTo>
                <a:lnTo>
                  <a:pt x="1964" y="8100"/>
                </a:lnTo>
                <a:cubicBezTo>
                  <a:pt x="1964" y="8100"/>
                  <a:pt x="1964" y="13500"/>
                  <a:pt x="1964" y="13500"/>
                </a:cubicBezTo>
                <a:close/>
                <a:moveTo>
                  <a:pt x="19636" y="7560"/>
                </a:moveTo>
                <a:lnTo>
                  <a:pt x="19636" y="1620"/>
                </a:lnTo>
                <a:cubicBezTo>
                  <a:pt x="19636" y="725"/>
                  <a:pt x="18977" y="0"/>
                  <a:pt x="18164" y="0"/>
                </a:cubicBezTo>
                <a:cubicBezTo>
                  <a:pt x="17350" y="0"/>
                  <a:pt x="16691" y="725"/>
                  <a:pt x="16691" y="1620"/>
                </a:cubicBezTo>
                <a:lnTo>
                  <a:pt x="16691" y="2062"/>
                </a:lnTo>
                <a:lnTo>
                  <a:pt x="2411" y="7144"/>
                </a:lnTo>
                <a:cubicBezTo>
                  <a:pt x="2276" y="7067"/>
                  <a:pt x="2126" y="7020"/>
                  <a:pt x="1964" y="7020"/>
                </a:cubicBezTo>
                <a:lnTo>
                  <a:pt x="982" y="7020"/>
                </a:lnTo>
                <a:cubicBezTo>
                  <a:pt x="440" y="7020"/>
                  <a:pt x="0" y="7504"/>
                  <a:pt x="0" y="8100"/>
                </a:cubicBezTo>
                <a:lnTo>
                  <a:pt x="0" y="13500"/>
                </a:lnTo>
                <a:cubicBezTo>
                  <a:pt x="0" y="14097"/>
                  <a:pt x="440" y="14580"/>
                  <a:pt x="982" y="14580"/>
                </a:cubicBezTo>
                <a:lnTo>
                  <a:pt x="1964" y="14580"/>
                </a:lnTo>
                <a:cubicBezTo>
                  <a:pt x="2126" y="14580"/>
                  <a:pt x="2276" y="14533"/>
                  <a:pt x="2411" y="14457"/>
                </a:cubicBezTo>
                <a:lnTo>
                  <a:pt x="4720" y="15278"/>
                </a:lnTo>
                <a:lnTo>
                  <a:pt x="4529" y="15941"/>
                </a:lnTo>
                <a:cubicBezTo>
                  <a:pt x="4199" y="17078"/>
                  <a:pt x="4770" y="18292"/>
                  <a:pt x="5803" y="18654"/>
                </a:cubicBezTo>
                <a:lnTo>
                  <a:pt x="10949" y="20456"/>
                </a:lnTo>
                <a:cubicBezTo>
                  <a:pt x="11983" y="20819"/>
                  <a:pt x="13087" y="20190"/>
                  <a:pt x="13416" y="19053"/>
                </a:cubicBezTo>
                <a:lnTo>
                  <a:pt x="13595" y="18437"/>
                </a:lnTo>
                <a:lnTo>
                  <a:pt x="16691" y="19538"/>
                </a:lnTo>
                <a:lnTo>
                  <a:pt x="16691" y="19980"/>
                </a:lnTo>
                <a:cubicBezTo>
                  <a:pt x="16691" y="20875"/>
                  <a:pt x="17350" y="21600"/>
                  <a:pt x="18164" y="21600"/>
                </a:cubicBezTo>
                <a:cubicBezTo>
                  <a:pt x="18977" y="21600"/>
                  <a:pt x="19636" y="20875"/>
                  <a:pt x="19636" y="19980"/>
                </a:cubicBezTo>
                <a:lnTo>
                  <a:pt x="19636" y="14040"/>
                </a:lnTo>
                <a:cubicBezTo>
                  <a:pt x="20721" y="14040"/>
                  <a:pt x="21600" y="13073"/>
                  <a:pt x="21600" y="11880"/>
                </a:cubicBezTo>
                <a:lnTo>
                  <a:pt x="21600" y="9720"/>
                </a:lnTo>
                <a:cubicBezTo>
                  <a:pt x="21600" y="8527"/>
                  <a:pt x="20721" y="7560"/>
                  <a:pt x="19636" y="756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160334" y="4332417"/>
            <a:ext cx="8757490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33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Tools that allow people or companies to create, share, or exchange information, there are many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148900" y="3792676"/>
            <a:ext cx="229934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Objective 1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148900" y="10565503"/>
            <a:ext cx="8772948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33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Tools that allow people or companies to create, share, or exchange information, there are many effect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137463" y="10025762"/>
            <a:ext cx="229934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Objective 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160333" y="6425964"/>
            <a:ext cx="9028491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33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Tools that allow people or companies to create, share, or exchange information, there are many effects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148900" y="5886223"/>
            <a:ext cx="229934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Objective 2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148900" y="8523101"/>
            <a:ext cx="8772948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33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Tools that allow people or companies to create, share, or exchange information, there are many effect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3137463" y="7983360"/>
            <a:ext cx="229934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Objective 3</a:t>
            </a:r>
          </a:p>
        </p:txBody>
      </p:sp>
      <p:sp>
        <p:nvSpPr>
          <p:cNvPr id="35" name="Shape 2547">
            <a:extLst>
              <a:ext uri="{FF2B5EF4-FFF2-40B4-BE49-F238E27FC236}">
                <a16:creationId xmlns:a16="http://schemas.microsoft.com/office/drawing/2014/main" id="{892DD637-1D69-4F4E-8292-B9AEC7C835EE}"/>
              </a:ext>
            </a:extLst>
          </p:cNvPr>
          <p:cNvSpPr/>
          <p:nvPr/>
        </p:nvSpPr>
        <p:spPr>
          <a:xfrm>
            <a:off x="1747284" y="4105319"/>
            <a:ext cx="899719" cy="899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3">
              <a:lumMod val="50000"/>
            </a:schemeClr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Source Sans Pro Regular" charset="0"/>
              <a:cs typeface="Source Sans Pro Regular" charset="0"/>
            </a:endParaRPr>
          </a:p>
        </p:txBody>
      </p:sp>
      <p:sp>
        <p:nvSpPr>
          <p:cNvPr id="36" name="Shape 2588">
            <a:extLst>
              <a:ext uri="{FF2B5EF4-FFF2-40B4-BE49-F238E27FC236}">
                <a16:creationId xmlns:a16="http://schemas.microsoft.com/office/drawing/2014/main" id="{47A45BC5-F18E-4E68-9BE3-967FE3520B68}"/>
              </a:ext>
            </a:extLst>
          </p:cNvPr>
          <p:cNvSpPr/>
          <p:nvPr/>
        </p:nvSpPr>
        <p:spPr>
          <a:xfrm>
            <a:off x="1788180" y="6131264"/>
            <a:ext cx="817926" cy="74359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Source Sans Pro Regular" charset="0"/>
              <a:cs typeface="Source Sans Pro Regular" charset="0"/>
            </a:endParaRPr>
          </a:p>
        </p:txBody>
      </p:sp>
      <p:sp>
        <p:nvSpPr>
          <p:cNvPr id="37" name="Shape 2633">
            <a:extLst>
              <a:ext uri="{FF2B5EF4-FFF2-40B4-BE49-F238E27FC236}">
                <a16:creationId xmlns:a16="http://schemas.microsoft.com/office/drawing/2014/main" id="{9D25E38F-04E7-42C7-806C-2B91A1F3F606}"/>
              </a:ext>
            </a:extLst>
          </p:cNvPr>
          <p:cNvSpPr/>
          <p:nvPr/>
        </p:nvSpPr>
        <p:spPr>
          <a:xfrm>
            <a:off x="1747284" y="8148537"/>
            <a:ext cx="899719" cy="899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accent4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Source Sans Pro Regular" charset="0"/>
              <a:cs typeface="Source Sans Pro Regular" charset="0"/>
            </a:endParaRPr>
          </a:p>
        </p:txBody>
      </p:sp>
      <p:sp>
        <p:nvSpPr>
          <p:cNvPr id="38" name="Shape 2690">
            <a:extLst>
              <a:ext uri="{FF2B5EF4-FFF2-40B4-BE49-F238E27FC236}">
                <a16:creationId xmlns:a16="http://schemas.microsoft.com/office/drawing/2014/main" id="{986924E5-3CC9-4917-892A-C61B169AA35A}"/>
              </a:ext>
            </a:extLst>
          </p:cNvPr>
          <p:cNvSpPr>
            <a:spLocks noChangeAspect="1"/>
          </p:cNvSpPr>
          <p:nvPr/>
        </p:nvSpPr>
        <p:spPr>
          <a:xfrm>
            <a:off x="1777438" y="10156897"/>
            <a:ext cx="839410" cy="7631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880"/>
                </a:moveTo>
                <a:cubicBezTo>
                  <a:pt x="20618" y="12476"/>
                  <a:pt x="20178" y="12960"/>
                  <a:pt x="19636" y="12960"/>
                </a:cubicBezTo>
                <a:lnTo>
                  <a:pt x="19636" y="8640"/>
                </a:lnTo>
                <a:cubicBezTo>
                  <a:pt x="20178" y="8640"/>
                  <a:pt x="20618" y="9124"/>
                  <a:pt x="20618" y="9720"/>
                </a:cubicBezTo>
                <a:cubicBezTo>
                  <a:pt x="20618" y="9720"/>
                  <a:pt x="20618" y="11880"/>
                  <a:pt x="20618" y="11880"/>
                </a:cubicBezTo>
                <a:close/>
                <a:moveTo>
                  <a:pt x="18655" y="19980"/>
                </a:moveTo>
                <a:cubicBezTo>
                  <a:pt x="18655" y="20279"/>
                  <a:pt x="18434" y="20520"/>
                  <a:pt x="18164" y="20520"/>
                </a:cubicBezTo>
                <a:cubicBezTo>
                  <a:pt x="17893" y="20520"/>
                  <a:pt x="17673" y="20279"/>
                  <a:pt x="17673" y="19980"/>
                </a:cubicBezTo>
                <a:lnTo>
                  <a:pt x="17673" y="1620"/>
                </a:lnTo>
                <a:cubicBezTo>
                  <a:pt x="17673" y="1322"/>
                  <a:pt x="17893" y="1080"/>
                  <a:pt x="18164" y="1080"/>
                </a:cubicBezTo>
                <a:cubicBezTo>
                  <a:pt x="18434" y="1080"/>
                  <a:pt x="18655" y="1322"/>
                  <a:pt x="18655" y="1620"/>
                </a:cubicBezTo>
                <a:cubicBezTo>
                  <a:pt x="18655" y="1620"/>
                  <a:pt x="18655" y="19980"/>
                  <a:pt x="18655" y="19980"/>
                </a:cubicBezTo>
                <a:close/>
                <a:moveTo>
                  <a:pt x="16691" y="18404"/>
                </a:moveTo>
                <a:lnTo>
                  <a:pt x="2944" y="13512"/>
                </a:lnTo>
                <a:cubicBezTo>
                  <a:pt x="2944" y="13508"/>
                  <a:pt x="2945" y="13504"/>
                  <a:pt x="2945" y="13500"/>
                </a:cubicBezTo>
                <a:lnTo>
                  <a:pt x="2945" y="8100"/>
                </a:lnTo>
                <a:cubicBezTo>
                  <a:pt x="2945" y="8096"/>
                  <a:pt x="2944" y="8093"/>
                  <a:pt x="2944" y="8089"/>
                </a:cubicBezTo>
                <a:lnTo>
                  <a:pt x="16691" y="3197"/>
                </a:lnTo>
                <a:cubicBezTo>
                  <a:pt x="16691" y="3197"/>
                  <a:pt x="16691" y="18404"/>
                  <a:pt x="16691" y="18404"/>
                </a:cubicBezTo>
                <a:close/>
                <a:moveTo>
                  <a:pt x="12480" y="18725"/>
                </a:moveTo>
                <a:cubicBezTo>
                  <a:pt x="12316" y="19294"/>
                  <a:pt x="11764" y="19608"/>
                  <a:pt x="11247" y="19428"/>
                </a:cubicBezTo>
                <a:lnTo>
                  <a:pt x="6102" y="17625"/>
                </a:lnTo>
                <a:cubicBezTo>
                  <a:pt x="5585" y="17444"/>
                  <a:pt x="5299" y="16837"/>
                  <a:pt x="5464" y="16269"/>
                </a:cubicBezTo>
                <a:lnTo>
                  <a:pt x="5654" y="15610"/>
                </a:lnTo>
                <a:lnTo>
                  <a:pt x="12661" y="18104"/>
                </a:lnTo>
                <a:cubicBezTo>
                  <a:pt x="12661" y="18104"/>
                  <a:pt x="12480" y="18725"/>
                  <a:pt x="12480" y="18725"/>
                </a:cubicBezTo>
                <a:close/>
                <a:moveTo>
                  <a:pt x="1964" y="13500"/>
                </a:moveTo>
                <a:lnTo>
                  <a:pt x="982" y="13500"/>
                </a:lnTo>
                <a:lnTo>
                  <a:pt x="982" y="8100"/>
                </a:lnTo>
                <a:lnTo>
                  <a:pt x="1964" y="8100"/>
                </a:lnTo>
                <a:cubicBezTo>
                  <a:pt x="1964" y="8100"/>
                  <a:pt x="1964" y="13500"/>
                  <a:pt x="1964" y="13500"/>
                </a:cubicBezTo>
                <a:close/>
                <a:moveTo>
                  <a:pt x="19636" y="7560"/>
                </a:moveTo>
                <a:lnTo>
                  <a:pt x="19636" y="1620"/>
                </a:lnTo>
                <a:cubicBezTo>
                  <a:pt x="19636" y="725"/>
                  <a:pt x="18977" y="0"/>
                  <a:pt x="18164" y="0"/>
                </a:cubicBezTo>
                <a:cubicBezTo>
                  <a:pt x="17350" y="0"/>
                  <a:pt x="16691" y="725"/>
                  <a:pt x="16691" y="1620"/>
                </a:cubicBezTo>
                <a:lnTo>
                  <a:pt x="16691" y="2062"/>
                </a:lnTo>
                <a:lnTo>
                  <a:pt x="2411" y="7144"/>
                </a:lnTo>
                <a:cubicBezTo>
                  <a:pt x="2276" y="7067"/>
                  <a:pt x="2126" y="7020"/>
                  <a:pt x="1964" y="7020"/>
                </a:cubicBezTo>
                <a:lnTo>
                  <a:pt x="982" y="7020"/>
                </a:lnTo>
                <a:cubicBezTo>
                  <a:pt x="440" y="7020"/>
                  <a:pt x="0" y="7504"/>
                  <a:pt x="0" y="8100"/>
                </a:cubicBezTo>
                <a:lnTo>
                  <a:pt x="0" y="13500"/>
                </a:lnTo>
                <a:cubicBezTo>
                  <a:pt x="0" y="14097"/>
                  <a:pt x="440" y="14580"/>
                  <a:pt x="982" y="14580"/>
                </a:cubicBezTo>
                <a:lnTo>
                  <a:pt x="1964" y="14580"/>
                </a:lnTo>
                <a:cubicBezTo>
                  <a:pt x="2126" y="14580"/>
                  <a:pt x="2276" y="14533"/>
                  <a:pt x="2411" y="14457"/>
                </a:cubicBezTo>
                <a:lnTo>
                  <a:pt x="4720" y="15278"/>
                </a:lnTo>
                <a:lnTo>
                  <a:pt x="4529" y="15941"/>
                </a:lnTo>
                <a:cubicBezTo>
                  <a:pt x="4199" y="17078"/>
                  <a:pt x="4770" y="18292"/>
                  <a:pt x="5803" y="18654"/>
                </a:cubicBezTo>
                <a:lnTo>
                  <a:pt x="10949" y="20456"/>
                </a:lnTo>
                <a:cubicBezTo>
                  <a:pt x="11983" y="20819"/>
                  <a:pt x="13087" y="20190"/>
                  <a:pt x="13416" y="19053"/>
                </a:cubicBezTo>
                <a:lnTo>
                  <a:pt x="13595" y="18437"/>
                </a:lnTo>
                <a:lnTo>
                  <a:pt x="16691" y="19538"/>
                </a:lnTo>
                <a:lnTo>
                  <a:pt x="16691" y="19980"/>
                </a:lnTo>
                <a:cubicBezTo>
                  <a:pt x="16691" y="20875"/>
                  <a:pt x="17350" y="21600"/>
                  <a:pt x="18164" y="21600"/>
                </a:cubicBezTo>
                <a:cubicBezTo>
                  <a:pt x="18977" y="21600"/>
                  <a:pt x="19636" y="20875"/>
                  <a:pt x="19636" y="19980"/>
                </a:cubicBezTo>
                <a:lnTo>
                  <a:pt x="19636" y="14040"/>
                </a:lnTo>
                <a:cubicBezTo>
                  <a:pt x="20721" y="14040"/>
                  <a:pt x="21600" y="13073"/>
                  <a:pt x="21600" y="11880"/>
                </a:cubicBezTo>
                <a:lnTo>
                  <a:pt x="21600" y="9720"/>
                </a:lnTo>
                <a:cubicBezTo>
                  <a:pt x="21600" y="8527"/>
                  <a:pt x="20721" y="7560"/>
                  <a:pt x="19636" y="7560"/>
                </a:cubicBezTo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Source Sans Pro Regular" charset="0"/>
              <a:cs typeface="Source Sans Pro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904616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growth/Circle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2985936" y="3757148"/>
            <a:ext cx="8584098" cy="8620329"/>
            <a:chOff x="6978323" y="3209657"/>
            <a:chExt cx="10462184" cy="10506343"/>
          </a:xfrm>
        </p:grpSpPr>
        <p:sp>
          <p:nvSpPr>
            <p:cNvPr id="4" name="Oval 3"/>
            <p:cNvSpPr/>
            <p:nvPr/>
          </p:nvSpPr>
          <p:spPr>
            <a:xfrm>
              <a:off x="6978323" y="3209657"/>
              <a:ext cx="10462184" cy="10462184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venir Medium"/>
              </a:endParaRPr>
            </a:p>
          </p:txBody>
        </p:sp>
        <p:sp>
          <p:nvSpPr>
            <p:cNvPr id="5" name="Oval 4"/>
            <p:cNvSpPr/>
            <p:nvPr/>
          </p:nvSpPr>
          <p:spPr>
            <a:xfrm>
              <a:off x="8038419" y="5374005"/>
              <a:ext cx="8341995" cy="834199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venir Medium"/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9255512" y="7808194"/>
              <a:ext cx="5907806" cy="590780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venir Medium"/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10566337" y="10470200"/>
              <a:ext cx="3244978" cy="324497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venir Medium"/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16139966" y="8589182"/>
            <a:ext cx="2279470" cy="4540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ts val="3733"/>
              </a:lnSpc>
              <a:spcAft>
                <a:spcPts val="3199"/>
              </a:spcAft>
            </a:pPr>
            <a:r>
              <a:rPr lang="en-US" sz="2900" b="1" spc="300" dirty="0">
                <a:solidFill>
                  <a:schemeClr val="bg1"/>
                </a:solidFill>
                <a:latin typeface="Avenir Medium"/>
                <a:ea typeface="Avenir Medium" charset="0"/>
                <a:cs typeface="Avenir Medium" charset="0"/>
              </a:rPr>
              <a:t>$4 BILLION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6139967" y="4416618"/>
            <a:ext cx="2279470" cy="4540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ts val="3733"/>
              </a:lnSpc>
              <a:spcAft>
                <a:spcPts val="3199"/>
              </a:spcAft>
            </a:pPr>
            <a:r>
              <a:rPr lang="en-US" sz="2900" b="1" spc="300" dirty="0">
                <a:solidFill>
                  <a:schemeClr val="bg1"/>
                </a:solidFill>
                <a:latin typeface="Avenir Medium"/>
                <a:ea typeface="Avenir Medium" charset="0"/>
                <a:cs typeface="Avenir Medium" charset="0"/>
              </a:rPr>
              <a:t>$9 BILLION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6415682" y="10897533"/>
            <a:ext cx="1728037" cy="4540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ts val="3733"/>
              </a:lnSpc>
              <a:spcAft>
                <a:spcPts val="3199"/>
              </a:spcAft>
            </a:pPr>
            <a:r>
              <a:rPr lang="en-US" sz="2900" b="1" spc="300" dirty="0">
                <a:solidFill>
                  <a:schemeClr val="bg1"/>
                </a:solidFill>
                <a:latin typeface="Avenir Medium"/>
                <a:ea typeface="Avenir Medium" charset="0"/>
                <a:cs typeface="Avenir Medium" charset="0"/>
              </a:rPr>
              <a:t>$900,000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6139966" y="6383618"/>
            <a:ext cx="2279470" cy="4540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ts val="3733"/>
              </a:lnSpc>
              <a:spcAft>
                <a:spcPts val="3199"/>
              </a:spcAft>
            </a:pPr>
            <a:r>
              <a:rPr lang="en-US" sz="2900" b="1" spc="300" dirty="0">
                <a:solidFill>
                  <a:schemeClr val="bg1"/>
                </a:solidFill>
                <a:latin typeface="Avenir Medium"/>
                <a:ea typeface="Avenir Medium" charset="0"/>
                <a:cs typeface="Avenir Medium" charset="0"/>
              </a:rPr>
              <a:t>$6 BILLION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184751" y="10589866"/>
            <a:ext cx="6103628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4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Phenomenon whereby something new and somehow valuab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173317" y="10050125"/>
            <a:ext cx="112082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2018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184751" y="3928898"/>
            <a:ext cx="6103628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4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Phenomenon whereby something new and somehow valuabl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173317" y="3389157"/>
            <a:ext cx="112082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2010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184751" y="6178789"/>
            <a:ext cx="6103628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4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Phenomenon whereby something new and somehow valuabl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173317" y="5639048"/>
            <a:ext cx="112082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2012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184751" y="8319822"/>
            <a:ext cx="6584891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4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Phenomenon whereby something new and somehow valuabl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173317" y="7780081"/>
            <a:ext cx="112082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2015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469242" y="10195010"/>
            <a:ext cx="133815" cy="14173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469242" y="7962437"/>
            <a:ext cx="133815" cy="14173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469242" y="5773446"/>
            <a:ext cx="133815" cy="1417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469242" y="3540873"/>
            <a:ext cx="133815" cy="14173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676273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uppy</a:t>
            </a:r>
            <a:r>
              <a:rPr lang="en-US" dirty="0"/>
              <a:t> Chain/Circles</a:t>
            </a:r>
          </a:p>
        </p:txBody>
      </p:sp>
      <p:sp>
        <p:nvSpPr>
          <p:cNvPr id="3" name="Oval 2"/>
          <p:cNvSpPr/>
          <p:nvPr/>
        </p:nvSpPr>
        <p:spPr>
          <a:xfrm>
            <a:off x="14007372" y="4052086"/>
            <a:ext cx="6734873" cy="6736628"/>
          </a:xfrm>
          <a:prstGeom prst="ellipse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" name="Freeform 3"/>
          <p:cNvSpPr/>
          <p:nvPr/>
        </p:nvSpPr>
        <p:spPr>
          <a:xfrm>
            <a:off x="15334334" y="5562817"/>
            <a:ext cx="4029632" cy="4029632"/>
          </a:xfrm>
          <a:custGeom>
            <a:avLst/>
            <a:gdLst>
              <a:gd name="connsiteX0" fmla="*/ 0 w 3208463"/>
              <a:gd name="connsiteY0" fmla="*/ 1604232 h 3208463"/>
              <a:gd name="connsiteX1" fmla="*/ 1604232 w 3208463"/>
              <a:gd name="connsiteY1" fmla="*/ 0 h 3208463"/>
              <a:gd name="connsiteX2" fmla="*/ 3208464 w 3208463"/>
              <a:gd name="connsiteY2" fmla="*/ 1604232 h 3208463"/>
              <a:gd name="connsiteX3" fmla="*/ 1604232 w 3208463"/>
              <a:gd name="connsiteY3" fmla="*/ 3208464 h 3208463"/>
              <a:gd name="connsiteX4" fmla="*/ 0 w 3208463"/>
              <a:gd name="connsiteY4" fmla="*/ 1604232 h 3208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8463" h="3208463">
                <a:moveTo>
                  <a:pt x="0" y="1604232"/>
                </a:moveTo>
                <a:cubicBezTo>
                  <a:pt x="0" y="718239"/>
                  <a:pt x="718239" y="0"/>
                  <a:pt x="1604232" y="0"/>
                </a:cubicBezTo>
                <a:cubicBezTo>
                  <a:pt x="2490225" y="0"/>
                  <a:pt x="3208464" y="718239"/>
                  <a:pt x="3208464" y="1604232"/>
                </a:cubicBezTo>
                <a:cubicBezTo>
                  <a:pt x="3208464" y="2490225"/>
                  <a:pt x="2490225" y="3208464"/>
                  <a:pt x="1604232" y="3208464"/>
                </a:cubicBezTo>
                <a:cubicBezTo>
                  <a:pt x="718239" y="3208464"/>
                  <a:pt x="0" y="2490225"/>
                  <a:pt x="0" y="1604232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10509" tIns="510509" rIns="510509" bIns="510509" numCol="1" spcCol="1270" anchor="ctr" anchorCtr="0">
            <a:noAutofit/>
          </a:bodyPr>
          <a:lstStyle/>
          <a:p>
            <a:pPr lvl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000" kern="12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16226188" y="3195396"/>
            <a:ext cx="2245924" cy="2245924"/>
          </a:xfrm>
          <a:custGeom>
            <a:avLst/>
            <a:gdLst>
              <a:gd name="connsiteX0" fmla="*/ 0 w 2245924"/>
              <a:gd name="connsiteY0" fmla="*/ 1122962 h 2245924"/>
              <a:gd name="connsiteX1" fmla="*/ 1122962 w 2245924"/>
              <a:gd name="connsiteY1" fmla="*/ 0 h 2245924"/>
              <a:gd name="connsiteX2" fmla="*/ 2245924 w 2245924"/>
              <a:gd name="connsiteY2" fmla="*/ 1122962 h 2245924"/>
              <a:gd name="connsiteX3" fmla="*/ 1122962 w 2245924"/>
              <a:gd name="connsiteY3" fmla="*/ 2245924 h 2245924"/>
              <a:gd name="connsiteX4" fmla="*/ 0 w 2245924"/>
              <a:gd name="connsiteY4" fmla="*/ 1122962 h 2245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5924" h="2245924">
                <a:moveTo>
                  <a:pt x="0" y="1122962"/>
                </a:moveTo>
                <a:cubicBezTo>
                  <a:pt x="0" y="502767"/>
                  <a:pt x="502767" y="0"/>
                  <a:pt x="1122962" y="0"/>
                </a:cubicBezTo>
                <a:cubicBezTo>
                  <a:pt x="1743157" y="0"/>
                  <a:pt x="2245924" y="502767"/>
                  <a:pt x="2245924" y="1122962"/>
                </a:cubicBezTo>
                <a:cubicBezTo>
                  <a:pt x="2245924" y="1743157"/>
                  <a:pt x="1743157" y="2245924"/>
                  <a:pt x="1122962" y="2245924"/>
                </a:cubicBezTo>
                <a:cubicBezTo>
                  <a:pt x="502767" y="2245924"/>
                  <a:pt x="0" y="1743157"/>
                  <a:pt x="0" y="1122962"/>
                </a:cubicBezTo>
                <a:close/>
              </a:path>
            </a:pathLst>
          </a:cu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54308" tIns="354308" rIns="354308" bIns="354308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latin typeface="Avenir Medium"/>
                <a:ea typeface="Avenir Book" charset="0"/>
                <a:cs typeface="Avenir Book" charset="0"/>
              </a:rPr>
              <a:t>SUPPLIER</a:t>
            </a:r>
            <a:endParaRPr lang="en-US" sz="2000" kern="12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19466439" y="5549576"/>
            <a:ext cx="2245924" cy="2245924"/>
          </a:xfrm>
          <a:custGeom>
            <a:avLst/>
            <a:gdLst>
              <a:gd name="connsiteX0" fmla="*/ 0 w 2245924"/>
              <a:gd name="connsiteY0" fmla="*/ 1122962 h 2245924"/>
              <a:gd name="connsiteX1" fmla="*/ 1122962 w 2245924"/>
              <a:gd name="connsiteY1" fmla="*/ 0 h 2245924"/>
              <a:gd name="connsiteX2" fmla="*/ 2245924 w 2245924"/>
              <a:gd name="connsiteY2" fmla="*/ 1122962 h 2245924"/>
              <a:gd name="connsiteX3" fmla="*/ 1122962 w 2245924"/>
              <a:gd name="connsiteY3" fmla="*/ 2245924 h 2245924"/>
              <a:gd name="connsiteX4" fmla="*/ 0 w 2245924"/>
              <a:gd name="connsiteY4" fmla="*/ 1122962 h 2245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5924" h="2245924">
                <a:moveTo>
                  <a:pt x="0" y="1122962"/>
                </a:moveTo>
                <a:cubicBezTo>
                  <a:pt x="0" y="502767"/>
                  <a:pt x="502767" y="0"/>
                  <a:pt x="1122962" y="0"/>
                </a:cubicBezTo>
                <a:cubicBezTo>
                  <a:pt x="1743157" y="0"/>
                  <a:pt x="2245924" y="502767"/>
                  <a:pt x="2245924" y="1122962"/>
                </a:cubicBezTo>
                <a:cubicBezTo>
                  <a:pt x="2245924" y="1743157"/>
                  <a:pt x="1743157" y="2245924"/>
                  <a:pt x="1122962" y="2245924"/>
                </a:cubicBezTo>
                <a:cubicBezTo>
                  <a:pt x="502767" y="2245924"/>
                  <a:pt x="0" y="1743157"/>
                  <a:pt x="0" y="1122962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57150"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54308" tIns="354308" rIns="354308" bIns="354308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latin typeface="Avenir Medium"/>
                <a:ea typeface="Avenir Book" charset="0"/>
                <a:cs typeface="Avenir Book" charset="0"/>
              </a:rPr>
              <a:t>FACTORY</a:t>
            </a:r>
            <a:endParaRPr lang="en-US" sz="2000" kern="12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18228773" y="9358721"/>
            <a:ext cx="2245924" cy="2245924"/>
          </a:xfrm>
          <a:custGeom>
            <a:avLst/>
            <a:gdLst>
              <a:gd name="connsiteX0" fmla="*/ 0 w 2245924"/>
              <a:gd name="connsiteY0" fmla="*/ 1122962 h 2245924"/>
              <a:gd name="connsiteX1" fmla="*/ 1122962 w 2245924"/>
              <a:gd name="connsiteY1" fmla="*/ 0 h 2245924"/>
              <a:gd name="connsiteX2" fmla="*/ 2245924 w 2245924"/>
              <a:gd name="connsiteY2" fmla="*/ 1122962 h 2245924"/>
              <a:gd name="connsiteX3" fmla="*/ 1122962 w 2245924"/>
              <a:gd name="connsiteY3" fmla="*/ 2245924 h 2245924"/>
              <a:gd name="connsiteX4" fmla="*/ 0 w 2245924"/>
              <a:gd name="connsiteY4" fmla="*/ 1122962 h 2245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5924" h="2245924">
                <a:moveTo>
                  <a:pt x="0" y="1122962"/>
                </a:moveTo>
                <a:cubicBezTo>
                  <a:pt x="0" y="502767"/>
                  <a:pt x="502767" y="0"/>
                  <a:pt x="1122962" y="0"/>
                </a:cubicBezTo>
                <a:cubicBezTo>
                  <a:pt x="1743157" y="0"/>
                  <a:pt x="2245924" y="502767"/>
                  <a:pt x="2245924" y="1122962"/>
                </a:cubicBezTo>
                <a:cubicBezTo>
                  <a:pt x="2245924" y="1743157"/>
                  <a:pt x="1743157" y="2245924"/>
                  <a:pt x="1122962" y="2245924"/>
                </a:cubicBezTo>
                <a:cubicBezTo>
                  <a:pt x="502767" y="2245924"/>
                  <a:pt x="0" y="1743157"/>
                  <a:pt x="0" y="1122962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57150"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54308" tIns="354308" rIns="354308" bIns="354308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latin typeface="Avenir Medium"/>
                <a:ea typeface="Avenir Book" charset="0"/>
                <a:cs typeface="Avenir Book" charset="0"/>
              </a:rPr>
              <a:t>REVISED</a:t>
            </a:r>
            <a:endParaRPr lang="en-US" sz="2000" kern="12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14223602" y="9358721"/>
            <a:ext cx="2245924" cy="2245924"/>
          </a:xfrm>
          <a:custGeom>
            <a:avLst/>
            <a:gdLst>
              <a:gd name="connsiteX0" fmla="*/ 0 w 2245924"/>
              <a:gd name="connsiteY0" fmla="*/ 1122962 h 2245924"/>
              <a:gd name="connsiteX1" fmla="*/ 1122962 w 2245924"/>
              <a:gd name="connsiteY1" fmla="*/ 0 h 2245924"/>
              <a:gd name="connsiteX2" fmla="*/ 2245924 w 2245924"/>
              <a:gd name="connsiteY2" fmla="*/ 1122962 h 2245924"/>
              <a:gd name="connsiteX3" fmla="*/ 1122962 w 2245924"/>
              <a:gd name="connsiteY3" fmla="*/ 2245924 h 2245924"/>
              <a:gd name="connsiteX4" fmla="*/ 0 w 2245924"/>
              <a:gd name="connsiteY4" fmla="*/ 1122962 h 2245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5924" h="2245924">
                <a:moveTo>
                  <a:pt x="0" y="1122962"/>
                </a:moveTo>
                <a:cubicBezTo>
                  <a:pt x="0" y="502767"/>
                  <a:pt x="502767" y="0"/>
                  <a:pt x="1122962" y="0"/>
                </a:cubicBezTo>
                <a:cubicBezTo>
                  <a:pt x="1743157" y="0"/>
                  <a:pt x="2245924" y="502767"/>
                  <a:pt x="2245924" y="1122962"/>
                </a:cubicBezTo>
                <a:cubicBezTo>
                  <a:pt x="2245924" y="1743157"/>
                  <a:pt x="1743157" y="2245924"/>
                  <a:pt x="1122962" y="2245924"/>
                </a:cubicBezTo>
                <a:cubicBezTo>
                  <a:pt x="502767" y="2245924"/>
                  <a:pt x="0" y="1743157"/>
                  <a:pt x="0" y="1122962"/>
                </a:cubicBezTo>
                <a:close/>
              </a:path>
            </a:pathLst>
          </a:custGeom>
          <a:solidFill>
            <a:schemeClr val="accent4"/>
          </a:solidFill>
          <a:ln w="57150"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54308" tIns="354308" rIns="354308" bIns="354308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>
                <a:latin typeface="Avenir Medium"/>
                <a:ea typeface="Avenir Book" charset="0"/>
                <a:cs typeface="Avenir Book" charset="0"/>
              </a:rPr>
              <a:t>EVALUATE</a:t>
            </a:r>
          </a:p>
        </p:txBody>
      </p:sp>
      <p:sp>
        <p:nvSpPr>
          <p:cNvPr id="9" name="Freeform 8"/>
          <p:cNvSpPr/>
          <p:nvPr/>
        </p:nvSpPr>
        <p:spPr>
          <a:xfrm>
            <a:off x="12985936" y="5549576"/>
            <a:ext cx="2245924" cy="2245924"/>
          </a:xfrm>
          <a:custGeom>
            <a:avLst/>
            <a:gdLst>
              <a:gd name="connsiteX0" fmla="*/ 0 w 2245924"/>
              <a:gd name="connsiteY0" fmla="*/ 1122962 h 2245924"/>
              <a:gd name="connsiteX1" fmla="*/ 1122962 w 2245924"/>
              <a:gd name="connsiteY1" fmla="*/ 0 h 2245924"/>
              <a:gd name="connsiteX2" fmla="*/ 2245924 w 2245924"/>
              <a:gd name="connsiteY2" fmla="*/ 1122962 h 2245924"/>
              <a:gd name="connsiteX3" fmla="*/ 1122962 w 2245924"/>
              <a:gd name="connsiteY3" fmla="*/ 2245924 h 2245924"/>
              <a:gd name="connsiteX4" fmla="*/ 0 w 2245924"/>
              <a:gd name="connsiteY4" fmla="*/ 1122962 h 2245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5924" h="2245924">
                <a:moveTo>
                  <a:pt x="0" y="1122962"/>
                </a:moveTo>
                <a:cubicBezTo>
                  <a:pt x="0" y="502767"/>
                  <a:pt x="502767" y="0"/>
                  <a:pt x="1122962" y="0"/>
                </a:cubicBezTo>
                <a:cubicBezTo>
                  <a:pt x="1743157" y="0"/>
                  <a:pt x="2245924" y="502767"/>
                  <a:pt x="2245924" y="1122962"/>
                </a:cubicBezTo>
                <a:cubicBezTo>
                  <a:pt x="2245924" y="1743157"/>
                  <a:pt x="1743157" y="2245924"/>
                  <a:pt x="1122962" y="2245924"/>
                </a:cubicBezTo>
                <a:cubicBezTo>
                  <a:pt x="502767" y="2245924"/>
                  <a:pt x="0" y="1743157"/>
                  <a:pt x="0" y="1122962"/>
                </a:cubicBezTo>
                <a:close/>
              </a:path>
            </a:pathLst>
          </a:custGeom>
          <a:solidFill>
            <a:schemeClr val="accent5"/>
          </a:solidFill>
          <a:ln w="57150"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54308" tIns="354308" rIns="354308" bIns="354308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>
                <a:latin typeface="Avenir Medium"/>
                <a:ea typeface="Avenir Book" charset="0"/>
                <a:cs typeface="Avenir Book" charset="0"/>
              </a:rPr>
              <a:t>CONTRO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6161856" y="6634227"/>
            <a:ext cx="2419188" cy="2234651"/>
          </a:xfrm>
          <a:prstGeom prst="rect">
            <a:avLst/>
          </a:prstGeom>
          <a:noFill/>
        </p:spPr>
        <p:txBody>
          <a:bodyPr wrap="none" lIns="182880" tIns="548640" rIns="182880" bIns="365760" rtlCol="0">
            <a:spAutoFit/>
          </a:bodyPr>
          <a:lstStyle/>
          <a:p>
            <a:pPr algn="ctr">
              <a:lnSpc>
                <a:spcPts val="3233"/>
              </a:lnSpc>
              <a:spcAft>
                <a:spcPts val="3199"/>
              </a:spcAft>
            </a:pPr>
            <a:r>
              <a:rPr lang="en-US" sz="54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SUPPLY</a:t>
            </a:r>
          </a:p>
          <a:p>
            <a:pPr algn="ctr">
              <a:lnSpc>
                <a:spcPts val="3233"/>
              </a:lnSpc>
              <a:spcAft>
                <a:spcPts val="3199"/>
              </a:spcAft>
            </a:pPr>
            <a:r>
              <a:rPr lang="en-US" sz="54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CHAIN</a:t>
            </a: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3225253" y="7666840"/>
            <a:ext cx="8963571" cy="699104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4040"/>
              </a:lnSpc>
            </a:pPr>
            <a:r>
              <a:rPr lang="en-US" sz="280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Phenomenon whereby something new and somehow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387429" y="7201492"/>
            <a:ext cx="1342034" cy="64633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Title 3</a:t>
            </a:r>
          </a:p>
        </p:txBody>
      </p:sp>
      <p:sp>
        <p:nvSpPr>
          <p:cNvPr id="13" name="Subtitle 2"/>
          <p:cNvSpPr txBox="1">
            <a:spLocks/>
          </p:cNvSpPr>
          <p:nvPr/>
        </p:nvSpPr>
        <p:spPr>
          <a:xfrm>
            <a:off x="3238669" y="4319911"/>
            <a:ext cx="8950156" cy="699104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4040"/>
              </a:lnSpc>
            </a:pPr>
            <a:r>
              <a:rPr lang="en-US" sz="280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Phenomenon whereby something new and somehow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56240" y="3854563"/>
            <a:ext cx="1342034" cy="64633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Title 1</a:t>
            </a:r>
          </a:p>
        </p:txBody>
      </p:sp>
      <p:sp>
        <p:nvSpPr>
          <p:cNvPr id="15" name="Subtitle 2"/>
          <p:cNvSpPr txBox="1">
            <a:spLocks/>
          </p:cNvSpPr>
          <p:nvPr/>
        </p:nvSpPr>
        <p:spPr>
          <a:xfrm>
            <a:off x="3220390" y="9338458"/>
            <a:ext cx="8968434" cy="699104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4040"/>
              </a:lnSpc>
            </a:pPr>
            <a:r>
              <a:rPr lang="en-US" sz="280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Phenomenon whereby something new and somehow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82565" y="8873110"/>
            <a:ext cx="1342034" cy="64633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Title 4</a:t>
            </a:r>
          </a:p>
        </p:txBody>
      </p:sp>
      <p:sp>
        <p:nvSpPr>
          <p:cNvPr id="17" name="Subtitle 2"/>
          <p:cNvSpPr txBox="1">
            <a:spLocks/>
          </p:cNvSpPr>
          <p:nvPr/>
        </p:nvSpPr>
        <p:spPr>
          <a:xfrm>
            <a:off x="3238669" y="5991529"/>
            <a:ext cx="8950156" cy="699104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4040"/>
              </a:lnSpc>
            </a:pPr>
            <a:r>
              <a:rPr lang="en-US" sz="280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Phenomenon whereby something new and somehow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356240" y="5526181"/>
            <a:ext cx="1342034" cy="64633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Title 2</a:t>
            </a:r>
          </a:p>
        </p:txBody>
      </p:sp>
      <p:sp>
        <p:nvSpPr>
          <p:cNvPr id="19" name="Subtitle 2"/>
          <p:cNvSpPr txBox="1">
            <a:spLocks/>
          </p:cNvSpPr>
          <p:nvPr/>
        </p:nvSpPr>
        <p:spPr>
          <a:xfrm>
            <a:off x="3220390" y="11010076"/>
            <a:ext cx="8968434" cy="699104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4040"/>
              </a:lnSpc>
            </a:pPr>
            <a:r>
              <a:rPr lang="en-US" sz="280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Phenomenon whereby something new and somehow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404867" y="10544728"/>
            <a:ext cx="1342034" cy="64633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Title 5</a:t>
            </a:r>
          </a:p>
        </p:txBody>
      </p:sp>
      <p:sp>
        <p:nvSpPr>
          <p:cNvPr id="21" name="Oval 20"/>
          <p:cNvSpPr>
            <a:spLocks noChangeAspect="1"/>
          </p:cNvSpPr>
          <p:nvPr/>
        </p:nvSpPr>
        <p:spPr>
          <a:xfrm>
            <a:off x="2104771" y="8910432"/>
            <a:ext cx="1027094" cy="10273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 dirty="0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2" name="Oval 21"/>
          <p:cNvSpPr>
            <a:spLocks noChangeAspect="1"/>
          </p:cNvSpPr>
          <p:nvPr/>
        </p:nvSpPr>
        <p:spPr>
          <a:xfrm>
            <a:off x="2104771" y="10607907"/>
            <a:ext cx="1027094" cy="102736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 dirty="0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3" name="Oval 22"/>
          <p:cNvSpPr>
            <a:spLocks noChangeAspect="1"/>
          </p:cNvSpPr>
          <p:nvPr/>
        </p:nvSpPr>
        <p:spPr>
          <a:xfrm>
            <a:off x="2104771" y="7238546"/>
            <a:ext cx="1027094" cy="102736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 dirty="0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4" name="Oval 23"/>
          <p:cNvSpPr>
            <a:spLocks noChangeAspect="1"/>
          </p:cNvSpPr>
          <p:nvPr/>
        </p:nvSpPr>
        <p:spPr>
          <a:xfrm>
            <a:off x="2104771" y="3900547"/>
            <a:ext cx="1027094" cy="102736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 dirty="0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5" name="Shape 2645"/>
          <p:cNvSpPr/>
          <p:nvPr/>
        </p:nvSpPr>
        <p:spPr>
          <a:xfrm>
            <a:off x="2355502" y="4207377"/>
            <a:ext cx="558655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20250"/>
                </a:moveTo>
                <a:lnTo>
                  <a:pt x="2740" y="17504"/>
                </a:lnTo>
                <a:cubicBezTo>
                  <a:pt x="2807" y="17526"/>
                  <a:pt x="2874" y="17550"/>
                  <a:pt x="2945" y="17550"/>
                </a:cubicBezTo>
                <a:lnTo>
                  <a:pt x="18655" y="17550"/>
                </a:lnTo>
                <a:cubicBezTo>
                  <a:pt x="18726" y="17550"/>
                  <a:pt x="18793" y="17526"/>
                  <a:pt x="18860" y="17504"/>
                </a:cubicBezTo>
                <a:lnTo>
                  <a:pt x="20192" y="20250"/>
                </a:lnTo>
                <a:cubicBezTo>
                  <a:pt x="20192" y="20250"/>
                  <a:pt x="1408" y="20250"/>
                  <a:pt x="1408" y="20250"/>
                </a:cubicBezTo>
                <a:close/>
                <a:moveTo>
                  <a:pt x="2945" y="1350"/>
                </a:moveTo>
                <a:lnTo>
                  <a:pt x="18655" y="1350"/>
                </a:lnTo>
                <a:lnTo>
                  <a:pt x="18655" y="16200"/>
                </a:lnTo>
                <a:lnTo>
                  <a:pt x="2945" y="16200"/>
                </a:lnTo>
                <a:cubicBezTo>
                  <a:pt x="2945" y="16200"/>
                  <a:pt x="2945" y="1350"/>
                  <a:pt x="2945" y="1350"/>
                </a:cubicBezTo>
                <a:close/>
                <a:moveTo>
                  <a:pt x="21510" y="20558"/>
                </a:moveTo>
                <a:lnTo>
                  <a:pt x="21518" y="20551"/>
                </a:lnTo>
                <a:lnTo>
                  <a:pt x="19591" y="16577"/>
                </a:lnTo>
                <a:cubicBezTo>
                  <a:pt x="19617" y="16457"/>
                  <a:pt x="19636" y="16332"/>
                  <a:pt x="19636" y="16200"/>
                </a:cubicBezTo>
                <a:lnTo>
                  <a:pt x="19636" y="1350"/>
                </a:lnTo>
                <a:cubicBezTo>
                  <a:pt x="19636" y="605"/>
                  <a:pt x="19197" y="0"/>
                  <a:pt x="18655" y="0"/>
                </a:cubicBezTo>
                <a:lnTo>
                  <a:pt x="2945" y="0"/>
                </a:lnTo>
                <a:cubicBezTo>
                  <a:pt x="2403" y="0"/>
                  <a:pt x="1964" y="605"/>
                  <a:pt x="1964" y="1350"/>
                </a:cubicBezTo>
                <a:lnTo>
                  <a:pt x="1964" y="16200"/>
                </a:lnTo>
                <a:cubicBezTo>
                  <a:pt x="1964" y="16332"/>
                  <a:pt x="1983" y="16457"/>
                  <a:pt x="2009" y="16577"/>
                </a:cubicBezTo>
                <a:lnTo>
                  <a:pt x="82" y="20551"/>
                </a:lnTo>
                <a:lnTo>
                  <a:pt x="90" y="20558"/>
                </a:lnTo>
                <a:cubicBezTo>
                  <a:pt x="38" y="20665"/>
                  <a:pt x="0" y="20787"/>
                  <a:pt x="0" y="20925"/>
                </a:cubicBezTo>
                <a:cubicBezTo>
                  <a:pt x="0" y="21298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298"/>
                  <a:pt x="21600" y="20925"/>
                </a:cubicBezTo>
                <a:cubicBezTo>
                  <a:pt x="21600" y="20787"/>
                  <a:pt x="21562" y="20665"/>
                  <a:pt x="21510" y="20558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6" name="Oval 25"/>
          <p:cNvSpPr>
            <a:spLocks noChangeAspect="1"/>
          </p:cNvSpPr>
          <p:nvPr/>
        </p:nvSpPr>
        <p:spPr>
          <a:xfrm>
            <a:off x="2104771" y="5589360"/>
            <a:ext cx="1027094" cy="10273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 dirty="0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7" name="Shape 2550"/>
          <p:cNvSpPr/>
          <p:nvPr/>
        </p:nvSpPr>
        <p:spPr>
          <a:xfrm>
            <a:off x="2352267" y="5823712"/>
            <a:ext cx="558655" cy="5586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8" name="Shape 2562"/>
          <p:cNvSpPr/>
          <p:nvPr/>
        </p:nvSpPr>
        <p:spPr>
          <a:xfrm>
            <a:off x="2360868" y="7476721"/>
            <a:ext cx="558655" cy="5586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1" y="20619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294" y="17673"/>
                </a:moveTo>
                <a:lnTo>
                  <a:pt x="8376" y="10732"/>
                </a:lnTo>
                <a:lnTo>
                  <a:pt x="10838" y="14425"/>
                </a:lnTo>
                <a:cubicBezTo>
                  <a:pt x="10862" y="14484"/>
                  <a:pt x="10898" y="14536"/>
                  <a:pt x="10942" y="14581"/>
                </a:cubicBezTo>
                <a:lnTo>
                  <a:pt x="10944" y="14583"/>
                </a:lnTo>
                <a:cubicBezTo>
                  <a:pt x="11033" y="14673"/>
                  <a:pt x="11155" y="14727"/>
                  <a:pt x="11291" y="14727"/>
                </a:cubicBezTo>
                <a:cubicBezTo>
                  <a:pt x="11427" y="14727"/>
                  <a:pt x="11549" y="14673"/>
                  <a:pt x="11638" y="14583"/>
                </a:cubicBezTo>
                <a:lnTo>
                  <a:pt x="13686" y="12536"/>
                </a:lnTo>
                <a:lnTo>
                  <a:pt x="17242" y="17673"/>
                </a:lnTo>
                <a:cubicBezTo>
                  <a:pt x="17242" y="17673"/>
                  <a:pt x="4294" y="17673"/>
                  <a:pt x="4294" y="17673"/>
                </a:cubicBezTo>
                <a:close/>
                <a:moveTo>
                  <a:pt x="18620" y="17982"/>
                </a:moveTo>
                <a:lnTo>
                  <a:pt x="18617" y="17978"/>
                </a:lnTo>
                <a:cubicBezTo>
                  <a:pt x="18590" y="17913"/>
                  <a:pt x="18551" y="17858"/>
                  <a:pt x="18501" y="17810"/>
                </a:cubicBezTo>
                <a:lnTo>
                  <a:pt x="14201" y="11600"/>
                </a:lnTo>
                <a:lnTo>
                  <a:pt x="14200" y="11601"/>
                </a:lnTo>
                <a:cubicBezTo>
                  <a:pt x="14127" y="11420"/>
                  <a:pt x="13952" y="11291"/>
                  <a:pt x="13745" y="11291"/>
                </a:cubicBezTo>
                <a:cubicBezTo>
                  <a:pt x="13610" y="11291"/>
                  <a:pt x="13488" y="11346"/>
                  <a:pt x="13398" y="11435"/>
                </a:cubicBezTo>
                <a:lnTo>
                  <a:pt x="11360" y="13473"/>
                </a:lnTo>
                <a:lnTo>
                  <a:pt x="8798" y="9630"/>
                </a:lnTo>
                <a:cubicBezTo>
                  <a:pt x="8724" y="9453"/>
                  <a:pt x="8550" y="9327"/>
                  <a:pt x="8345" y="9327"/>
                </a:cubicBezTo>
                <a:cubicBezTo>
                  <a:pt x="8175" y="9327"/>
                  <a:pt x="8033" y="9420"/>
                  <a:pt x="7945" y="9551"/>
                </a:cubicBezTo>
                <a:lnTo>
                  <a:pt x="7937" y="9546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8164" y="18655"/>
                </a:lnTo>
                <a:cubicBezTo>
                  <a:pt x="18435" y="18655"/>
                  <a:pt x="18655" y="18435"/>
                  <a:pt x="18655" y="18164"/>
                </a:cubicBezTo>
                <a:cubicBezTo>
                  <a:pt x="18655" y="18099"/>
                  <a:pt x="18640" y="18039"/>
                  <a:pt x="18618" y="17983"/>
                </a:cubicBezTo>
                <a:cubicBezTo>
                  <a:pt x="18618" y="17983"/>
                  <a:pt x="18620" y="17982"/>
                  <a:pt x="18620" y="17982"/>
                </a:cubicBezTo>
                <a:close/>
                <a:moveTo>
                  <a:pt x="5400" y="3927"/>
                </a:moveTo>
                <a:cubicBezTo>
                  <a:pt x="6213" y="3927"/>
                  <a:pt x="6873" y="4587"/>
                  <a:pt x="6873" y="5400"/>
                </a:cubicBezTo>
                <a:cubicBezTo>
                  <a:pt x="6873" y="6214"/>
                  <a:pt x="6213" y="6873"/>
                  <a:pt x="5400" y="6873"/>
                </a:cubicBezTo>
                <a:cubicBezTo>
                  <a:pt x="4587" y="6873"/>
                  <a:pt x="3927" y="6214"/>
                  <a:pt x="3927" y="5400"/>
                </a:cubicBezTo>
                <a:cubicBezTo>
                  <a:pt x="3927" y="4587"/>
                  <a:pt x="4587" y="3927"/>
                  <a:pt x="5400" y="3927"/>
                </a:cubicBezTo>
                <a:moveTo>
                  <a:pt x="5400" y="7855"/>
                </a:moveTo>
                <a:cubicBezTo>
                  <a:pt x="6756" y="7855"/>
                  <a:pt x="7855" y="6756"/>
                  <a:pt x="7855" y="5400"/>
                </a:cubicBezTo>
                <a:cubicBezTo>
                  <a:pt x="7855" y="4045"/>
                  <a:pt x="6756" y="2945"/>
                  <a:pt x="5400" y="2945"/>
                </a:cubicBezTo>
                <a:cubicBezTo>
                  <a:pt x="4044" y="2945"/>
                  <a:pt x="2945" y="4045"/>
                  <a:pt x="2945" y="5400"/>
                </a:cubicBezTo>
                <a:cubicBezTo>
                  <a:pt x="2945" y="6756"/>
                  <a:pt x="4044" y="7855"/>
                  <a:pt x="5400" y="7855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9" name="Shape 2577"/>
          <p:cNvSpPr/>
          <p:nvPr/>
        </p:nvSpPr>
        <p:spPr>
          <a:xfrm>
            <a:off x="2319779" y="9163383"/>
            <a:ext cx="507869" cy="5586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20" y="4979"/>
                </a:moveTo>
                <a:lnTo>
                  <a:pt x="7560" y="6792"/>
                </a:lnTo>
                <a:lnTo>
                  <a:pt x="7560" y="2876"/>
                </a:lnTo>
                <a:lnTo>
                  <a:pt x="20520" y="1063"/>
                </a:lnTo>
                <a:cubicBezTo>
                  <a:pt x="20520" y="1063"/>
                  <a:pt x="20520" y="4979"/>
                  <a:pt x="20520" y="4979"/>
                </a:cubicBezTo>
                <a:close/>
                <a:moveTo>
                  <a:pt x="18900" y="17673"/>
                </a:moveTo>
                <a:lnTo>
                  <a:pt x="16740" y="17673"/>
                </a:lnTo>
                <a:cubicBezTo>
                  <a:pt x="15845" y="17673"/>
                  <a:pt x="15120" y="17014"/>
                  <a:pt x="15120" y="16200"/>
                </a:cubicBezTo>
                <a:cubicBezTo>
                  <a:pt x="15120" y="15387"/>
                  <a:pt x="15845" y="14727"/>
                  <a:pt x="16740" y="14727"/>
                </a:cubicBezTo>
                <a:lnTo>
                  <a:pt x="18900" y="14727"/>
                </a:lnTo>
                <a:cubicBezTo>
                  <a:pt x="19795" y="14727"/>
                  <a:pt x="20520" y="15387"/>
                  <a:pt x="20520" y="16200"/>
                </a:cubicBezTo>
                <a:cubicBezTo>
                  <a:pt x="20520" y="17014"/>
                  <a:pt x="19795" y="17673"/>
                  <a:pt x="18900" y="17673"/>
                </a:cubicBezTo>
                <a:moveTo>
                  <a:pt x="4860" y="20618"/>
                </a:moveTo>
                <a:lnTo>
                  <a:pt x="2700" y="20618"/>
                </a:lnTo>
                <a:cubicBezTo>
                  <a:pt x="1805" y="20618"/>
                  <a:pt x="1080" y="19959"/>
                  <a:pt x="1080" y="19146"/>
                </a:cubicBezTo>
                <a:cubicBezTo>
                  <a:pt x="1080" y="18332"/>
                  <a:pt x="1805" y="17673"/>
                  <a:pt x="2700" y="17673"/>
                </a:cubicBezTo>
                <a:lnTo>
                  <a:pt x="4860" y="17673"/>
                </a:lnTo>
                <a:cubicBezTo>
                  <a:pt x="5755" y="17673"/>
                  <a:pt x="6480" y="18332"/>
                  <a:pt x="6480" y="19146"/>
                </a:cubicBezTo>
                <a:cubicBezTo>
                  <a:pt x="6480" y="19959"/>
                  <a:pt x="5755" y="20618"/>
                  <a:pt x="4860" y="20618"/>
                </a:cubicBezTo>
                <a:moveTo>
                  <a:pt x="21060" y="0"/>
                </a:moveTo>
                <a:cubicBezTo>
                  <a:pt x="21031" y="0"/>
                  <a:pt x="21006" y="11"/>
                  <a:pt x="20980" y="15"/>
                </a:cubicBezTo>
                <a:lnTo>
                  <a:pt x="20978" y="6"/>
                </a:lnTo>
                <a:lnTo>
                  <a:pt x="6938" y="1969"/>
                </a:lnTo>
                <a:lnTo>
                  <a:pt x="6940" y="1979"/>
                </a:lnTo>
                <a:cubicBezTo>
                  <a:pt x="6681" y="2016"/>
                  <a:pt x="6480" y="2210"/>
                  <a:pt x="6480" y="2455"/>
                </a:cubicBezTo>
                <a:lnTo>
                  <a:pt x="6480" y="17193"/>
                </a:lnTo>
                <a:cubicBezTo>
                  <a:pt x="6028" y="16882"/>
                  <a:pt x="5471" y="16691"/>
                  <a:pt x="4860" y="16691"/>
                </a:cubicBezTo>
                <a:lnTo>
                  <a:pt x="2700" y="16691"/>
                </a:lnTo>
                <a:cubicBezTo>
                  <a:pt x="1209" y="16691"/>
                  <a:pt x="0" y="17790"/>
                  <a:pt x="0" y="19146"/>
                </a:cubicBezTo>
                <a:cubicBezTo>
                  <a:pt x="0" y="20501"/>
                  <a:pt x="1209" y="21600"/>
                  <a:pt x="2700" y="21600"/>
                </a:cubicBezTo>
                <a:lnTo>
                  <a:pt x="4860" y="21600"/>
                </a:lnTo>
                <a:cubicBezTo>
                  <a:pt x="6352" y="21600"/>
                  <a:pt x="7560" y="20501"/>
                  <a:pt x="7560" y="19146"/>
                </a:cubicBezTo>
                <a:lnTo>
                  <a:pt x="7560" y="7785"/>
                </a:lnTo>
                <a:lnTo>
                  <a:pt x="20520" y="5972"/>
                </a:lnTo>
                <a:lnTo>
                  <a:pt x="20520" y="14248"/>
                </a:lnTo>
                <a:cubicBezTo>
                  <a:pt x="20068" y="13937"/>
                  <a:pt x="19511" y="13745"/>
                  <a:pt x="18900" y="13745"/>
                </a:cubicBezTo>
                <a:lnTo>
                  <a:pt x="16740" y="13745"/>
                </a:lnTo>
                <a:cubicBezTo>
                  <a:pt x="15249" y="13745"/>
                  <a:pt x="14040" y="14845"/>
                  <a:pt x="14040" y="16200"/>
                </a:cubicBezTo>
                <a:cubicBezTo>
                  <a:pt x="14040" y="17556"/>
                  <a:pt x="15249" y="18655"/>
                  <a:pt x="16740" y="18655"/>
                </a:cubicBezTo>
                <a:lnTo>
                  <a:pt x="18900" y="18655"/>
                </a:lnTo>
                <a:cubicBezTo>
                  <a:pt x="20392" y="18655"/>
                  <a:pt x="21600" y="17556"/>
                  <a:pt x="21600" y="16200"/>
                </a:cubicBezTo>
                <a:lnTo>
                  <a:pt x="21600" y="491"/>
                </a:lnTo>
                <a:cubicBezTo>
                  <a:pt x="21600" y="220"/>
                  <a:pt x="21358" y="0"/>
                  <a:pt x="2106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0" name="Shape 2629"/>
          <p:cNvSpPr/>
          <p:nvPr/>
        </p:nvSpPr>
        <p:spPr>
          <a:xfrm>
            <a:off x="2334882" y="10869096"/>
            <a:ext cx="558810" cy="5586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1" y="20618"/>
                </a:moveTo>
                <a:cubicBezTo>
                  <a:pt x="15826" y="20618"/>
                  <a:pt x="15226" y="20482"/>
                  <a:pt x="14660" y="20214"/>
                </a:cubicBezTo>
                <a:cubicBezTo>
                  <a:pt x="14607" y="20189"/>
                  <a:pt x="14552" y="20170"/>
                  <a:pt x="14497" y="20155"/>
                </a:cubicBezTo>
                <a:cubicBezTo>
                  <a:pt x="8918" y="17308"/>
                  <a:pt x="4295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7" y="6369"/>
                  <a:pt x="982" y="5770"/>
                  <a:pt x="982" y="5155"/>
                </a:cubicBezTo>
                <a:cubicBezTo>
                  <a:pt x="982" y="2774"/>
                  <a:pt x="3066" y="982"/>
                  <a:pt x="4417" y="982"/>
                </a:cubicBezTo>
                <a:cubicBezTo>
                  <a:pt x="4594" y="982"/>
                  <a:pt x="4711" y="1072"/>
                  <a:pt x="4764" y="1126"/>
                </a:cubicBezTo>
                <a:cubicBezTo>
                  <a:pt x="4776" y="1139"/>
                  <a:pt x="4798" y="1164"/>
                  <a:pt x="4831" y="1216"/>
                </a:cubicBezTo>
                <a:cubicBezTo>
                  <a:pt x="4848" y="1244"/>
                  <a:pt x="4867" y="1271"/>
                  <a:pt x="4887" y="1297"/>
                </a:cubicBezTo>
                <a:lnTo>
                  <a:pt x="8118" y="5453"/>
                </a:lnTo>
                <a:cubicBezTo>
                  <a:pt x="8143" y="5485"/>
                  <a:pt x="8170" y="5515"/>
                  <a:pt x="8199" y="5544"/>
                </a:cubicBezTo>
                <a:cubicBezTo>
                  <a:pt x="8253" y="5598"/>
                  <a:pt x="8343" y="5715"/>
                  <a:pt x="8343" y="5891"/>
                </a:cubicBezTo>
                <a:cubicBezTo>
                  <a:pt x="8343" y="5978"/>
                  <a:pt x="8319" y="6060"/>
                  <a:pt x="8272" y="6135"/>
                </a:cubicBezTo>
                <a:lnTo>
                  <a:pt x="7178" y="7221"/>
                </a:lnTo>
                <a:cubicBezTo>
                  <a:pt x="7173" y="7226"/>
                  <a:pt x="7168" y="7231"/>
                  <a:pt x="7163" y="7236"/>
                </a:cubicBezTo>
                <a:cubicBezTo>
                  <a:pt x="6767" y="7609"/>
                  <a:pt x="6541" y="8126"/>
                  <a:pt x="6541" y="8668"/>
                </a:cubicBezTo>
                <a:cubicBezTo>
                  <a:pt x="6541" y="9175"/>
                  <a:pt x="6738" y="9658"/>
                  <a:pt x="7080" y="10020"/>
                </a:cubicBezTo>
                <a:cubicBezTo>
                  <a:pt x="7092" y="10040"/>
                  <a:pt x="7105" y="10059"/>
                  <a:pt x="7119" y="10078"/>
                </a:cubicBezTo>
                <a:cubicBezTo>
                  <a:pt x="8325" y="11745"/>
                  <a:pt x="9807" y="13222"/>
                  <a:pt x="11525" y="14469"/>
                </a:cubicBezTo>
                <a:cubicBezTo>
                  <a:pt x="11538" y="14478"/>
                  <a:pt x="11551" y="14487"/>
                  <a:pt x="11565" y="14496"/>
                </a:cubicBezTo>
                <a:cubicBezTo>
                  <a:pt x="11928" y="14844"/>
                  <a:pt x="12414" y="15045"/>
                  <a:pt x="12924" y="15045"/>
                </a:cubicBezTo>
                <a:cubicBezTo>
                  <a:pt x="13436" y="15045"/>
                  <a:pt x="13930" y="14840"/>
                  <a:pt x="14297" y="14479"/>
                </a:cubicBezTo>
                <a:cubicBezTo>
                  <a:pt x="14316" y="14463"/>
                  <a:pt x="14335" y="14446"/>
                  <a:pt x="14352" y="14427"/>
                </a:cubicBezTo>
                <a:lnTo>
                  <a:pt x="15451" y="13320"/>
                </a:lnTo>
                <a:cubicBezTo>
                  <a:pt x="15529" y="13271"/>
                  <a:pt x="15611" y="13247"/>
                  <a:pt x="15697" y="13247"/>
                </a:cubicBezTo>
                <a:cubicBezTo>
                  <a:pt x="15874" y="13247"/>
                  <a:pt x="15990" y="13337"/>
                  <a:pt x="16044" y="13391"/>
                </a:cubicBezTo>
                <a:cubicBezTo>
                  <a:pt x="16073" y="13420"/>
                  <a:pt x="16103" y="13447"/>
                  <a:pt x="16135" y="13472"/>
                </a:cubicBezTo>
                <a:lnTo>
                  <a:pt x="20291" y="16704"/>
                </a:lnTo>
                <a:cubicBezTo>
                  <a:pt x="20317" y="16725"/>
                  <a:pt x="20345" y="16744"/>
                  <a:pt x="20374" y="16762"/>
                </a:cubicBezTo>
                <a:cubicBezTo>
                  <a:pt x="20426" y="16795"/>
                  <a:pt x="20449" y="16816"/>
                  <a:pt x="20461" y="16827"/>
                </a:cubicBezTo>
                <a:cubicBezTo>
                  <a:pt x="20515" y="16881"/>
                  <a:pt x="20605" y="16997"/>
                  <a:pt x="20605" y="17174"/>
                </a:cubicBezTo>
                <a:cubicBezTo>
                  <a:pt x="20605" y="17207"/>
                  <a:pt x="20606" y="17240"/>
                  <a:pt x="20610" y="17273"/>
                </a:cubicBezTo>
                <a:cubicBezTo>
                  <a:pt x="20533" y="18625"/>
                  <a:pt x="18769" y="20618"/>
                  <a:pt x="16441" y="20618"/>
                </a:cubicBezTo>
                <a:moveTo>
                  <a:pt x="21586" y="17174"/>
                </a:moveTo>
                <a:cubicBezTo>
                  <a:pt x="21586" y="16768"/>
                  <a:pt x="21421" y="16399"/>
                  <a:pt x="21155" y="16133"/>
                </a:cubicBezTo>
                <a:cubicBezTo>
                  <a:pt x="21077" y="16054"/>
                  <a:pt x="20988" y="15988"/>
                  <a:pt x="20893" y="15929"/>
                </a:cubicBezTo>
                <a:lnTo>
                  <a:pt x="16738" y="12697"/>
                </a:lnTo>
                <a:cubicBezTo>
                  <a:pt x="16471" y="12430"/>
                  <a:pt x="16104" y="12265"/>
                  <a:pt x="15697" y="12265"/>
                </a:cubicBezTo>
                <a:cubicBezTo>
                  <a:pt x="15364" y="12265"/>
                  <a:pt x="15060" y="12380"/>
                  <a:pt x="14815" y="12567"/>
                </a:cubicBezTo>
                <a:lnTo>
                  <a:pt x="13655" y="13736"/>
                </a:lnTo>
                <a:lnTo>
                  <a:pt x="13652" y="13733"/>
                </a:lnTo>
                <a:cubicBezTo>
                  <a:pt x="13473" y="13934"/>
                  <a:pt x="13214" y="14063"/>
                  <a:pt x="12924" y="14063"/>
                </a:cubicBezTo>
                <a:cubicBezTo>
                  <a:pt x="12592" y="14063"/>
                  <a:pt x="12300" y="13897"/>
                  <a:pt x="12122" y="13645"/>
                </a:cubicBezTo>
                <a:cubicBezTo>
                  <a:pt x="12116" y="13654"/>
                  <a:pt x="12107" y="13663"/>
                  <a:pt x="12101" y="13674"/>
                </a:cubicBezTo>
                <a:cubicBezTo>
                  <a:pt x="10497" y="12510"/>
                  <a:pt x="9076" y="11108"/>
                  <a:pt x="7914" y="9502"/>
                </a:cubicBezTo>
                <a:cubicBezTo>
                  <a:pt x="7925" y="9495"/>
                  <a:pt x="7935" y="9486"/>
                  <a:pt x="7947" y="9479"/>
                </a:cubicBezTo>
                <a:cubicBezTo>
                  <a:pt x="7691" y="9299"/>
                  <a:pt x="7523" y="9004"/>
                  <a:pt x="7523" y="8668"/>
                </a:cubicBezTo>
                <a:cubicBezTo>
                  <a:pt x="7523" y="8367"/>
                  <a:pt x="7659" y="8101"/>
                  <a:pt x="7871" y="7920"/>
                </a:cubicBezTo>
                <a:lnTo>
                  <a:pt x="7870" y="7918"/>
                </a:lnTo>
                <a:lnTo>
                  <a:pt x="9023" y="6773"/>
                </a:lnTo>
                <a:cubicBezTo>
                  <a:pt x="9211" y="6528"/>
                  <a:pt x="9325" y="6224"/>
                  <a:pt x="9325" y="5891"/>
                </a:cubicBezTo>
                <a:cubicBezTo>
                  <a:pt x="9325" y="5485"/>
                  <a:pt x="9160" y="5116"/>
                  <a:pt x="8893" y="4850"/>
                </a:cubicBezTo>
                <a:lnTo>
                  <a:pt x="5662" y="693"/>
                </a:lnTo>
                <a:cubicBezTo>
                  <a:pt x="5603" y="599"/>
                  <a:pt x="5537" y="510"/>
                  <a:pt x="5458" y="432"/>
                </a:cubicBezTo>
                <a:cubicBezTo>
                  <a:pt x="5191" y="165"/>
                  <a:pt x="4823" y="0"/>
                  <a:pt x="4417" y="0"/>
                </a:cubicBezTo>
                <a:cubicBezTo>
                  <a:pt x="2454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2" y="7373"/>
                </a:lnTo>
                <a:cubicBezTo>
                  <a:pt x="3435" y="13255"/>
                  <a:pt x="8343" y="18164"/>
                  <a:pt x="14224" y="21117"/>
                </a:cubicBezTo>
                <a:lnTo>
                  <a:pt x="14240" y="21101"/>
                </a:lnTo>
                <a:cubicBezTo>
                  <a:pt x="14908" y="21418"/>
                  <a:pt x="15652" y="21600"/>
                  <a:pt x="16441" y="21600"/>
                </a:cubicBezTo>
                <a:cubicBezTo>
                  <a:pt x="19287" y="21600"/>
                  <a:pt x="21594" y="19145"/>
                  <a:pt x="21594" y="17182"/>
                </a:cubicBezTo>
                <a:cubicBezTo>
                  <a:pt x="21594" y="17179"/>
                  <a:pt x="21594" y="17177"/>
                  <a:pt x="21594" y="17174"/>
                </a:cubicBezTo>
                <a:cubicBezTo>
                  <a:pt x="21594" y="17174"/>
                  <a:pt x="21586" y="17174"/>
                  <a:pt x="21586" y="17174"/>
                </a:cubicBezTo>
                <a:close/>
                <a:moveTo>
                  <a:pt x="11785" y="10800"/>
                </a:moveTo>
                <a:cubicBezTo>
                  <a:pt x="12326" y="10800"/>
                  <a:pt x="12766" y="10360"/>
                  <a:pt x="12766" y="9819"/>
                </a:cubicBezTo>
                <a:cubicBezTo>
                  <a:pt x="12766" y="9276"/>
                  <a:pt x="12326" y="8836"/>
                  <a:pt x="11785" y="8836"/>
                </a:cubicBezTo>
                <a:cubicBezTo>
                  <a:pt x="11242" y="8836"/>
                  <a:pt x="10803" y="9276"/>
                  <a:pt x="10803" y="9819"/>
                </a:cubicBezTo>
                <a:cubicBezTo>
                  <a:pt x="10803" y="10360"/>
                  <a:pt x="11242" y="10800"/>
                  <a:pt x="11785" y="10800"/>
                </a:cubicBezTo>
                <a:moveTo>
                  <a:pt x="11785" y="5891"/>
                </a:moveTo>
                <a:cubicBezTo>
                  <a:pt x="13953" y="5891"/>
                  <a:pt x="15711" y="7649"/>
                  <a:pt x="15711" y="9819"/>
                </a:cubicBezTo>
                <a:cubicBezTo>
                  <a:pt x="15711" y="10090"/>
                  <a:pt x="15930" y="10309"/>
                  <a:pt x="16201" y="10309"/>
                </a:cubicBezTo>
                <a:cubicBezTo>
                  <a:pt x="16472" y="10309"/>
                  <a:pt x="16692" y="10090"/>
                  <a:pt x="16692" y="9819"/>
                </a:cubicBezTo>
                <a:cubicBezTo>
                  <a:pt x="16692" y="7107"/>
                  <a:pt x="14495" y="4909"/>
                  <a:pt x="11785" y="4909"/>
                </a:cubicBezTo>
                <a:cubicBezTo>
                  <a:pt x="11513" y="4909"/>
                  <a:pt x="11294" y="5129"/>
                  <a:pt x="11294" y="5400"/>
                </a:cubicBezTo>
                <a:cubicBezTo>
                  <a:pt x="11294" y="5672"/>
                  <a:pt x="11513" y="5891"/>
                  <a:pt x="11785" y="5891"/>
                </a:cubicBezTo>
                <a:moveTo>
                  <a:pt x="11785" y="982"/>
                </a:moveTo>
                <a:cubicBezTo>
                  <a:pt x="16663" y="982"/>
                  <a:pt x="20618" y="4939"/>
                  <a:pt x="20618" y="9819"/>
                </a:cubicBezTo>
                <a:cubicBezTo>
                  <a:pt x="20618" y="10090"/>
                  <a:pt x="20838" y="10309"/>
                  <a:pt x="21109" y="10309"/>
                </a:cubicBezTo>
                <a:cubicBezTo>
                  <a:pt x="21380" y="10309"/>
                  <a:pt x="21600" y="10090"/>
                  <a:pt x="21600" y="9819"/>
                </a:cubicBezTo>
                <a:cubicBezTo>
                  <a:pt x="21600" y="4396"/>
                  <a:pt x="17206" y="0"/>
                  <a:pt x="11785" y="0"/>
                </a:cubicBezTo>
                <a:cubicBezTo>
                  <a:pt x="11513" y="0"/>
                  <a:pt x="11294" y="220"/>
                  <a:pt x="11294" y="491"/>
                </a:cubicBezTo>
                <a:cubicBezTo>
                  <a:pt x="11294" y="762"/>
                  <a:pt x="11513" y="982"/>
                  <a:pt x="11785" y="982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Avenir Book" charset="0"/>
              <a:cs typeface="Avenir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19908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Triangle</a:t>
            </a:r>
          </a:p>
        </p:txBody>
      </p:sp>
      <p:sp>
        <p:nvSpPr>
          <p:cNvPr id="3" name="Triangle 2"/>
          <p:cNvSpPr/>
          <p:nvPr/>
        </p:nvSpPr>
        <p:spPr>
          <a:xfrm>
            <a:off x="7843954" y="3578729"/>
            <a:ext cx="8689742" cy="7491156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" name="Oval 3"/>
          <p:cNvSpPr/>
          <p:nvPr/>
        </p:nvSpPr>
        <p:spPr>
          <a:xfrm>
            <a:off x="6909689" y="6655675"/>
            <a:ext cx="3401345" cy="340223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43" tIns="91422" rIns="182843" bIns="91422" rtlCol="0" anchor="ctr"/>
          <a:lstStyle/>
          <a:p>
            <a:pPr algn="ctr"/>
            <a:endParaRPr lang="en-US" sz="6400" dirty="0">
              <a:solidFill>
                <a:schemeClr val="tx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14118118" y="6655675"/>
            <a:ext cx="3401345" cy="340223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43" tIns="91422" rIns="182843" bIns="91422" rtlCol="0" anchor="ctr"/>
          <a:lstStyle/>
          <a:p>
            <a:pPr algn="ctr"/>
            <a:endParaRPr lang="en-US" sz="6400" dirty="0">
              <a:solidFill>
                <a:schemeClr val="tx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0741546" y="7011069"/>
            <a:ext cx="2781531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dirty="0">
                <a:latin typeface="Avenir Medium"/>
                <a:ea typeface="Avenir Book" charset="0"/>
                <a:cs typeface="Avenir Book" charset="0"/>
              </a:rPr>
              <a:t>Only</a:t>
            </a:r>
          </a:p>
          <a:p>
            <a:pPr algn="ctr"/>
            <a:r>
              <a:rPr lang="en-US" sz="5400" dirty="0">
                <a:latin typeface="Avenir Medium"/>
                <a:ea typeface="Avenir Book" charset="0"/>
                <a:cs typeface="Avenir Book" charset="0"/>
              </a:rPr>
              <a:t>Great</a:t>
            </a:r>
          </a:p>
          <a:p>
            <a:pPr algn="ctr"/>
            <a:r>
              <a:rPr lang="en-US" sz="5400" dirty="0">
                <a:latin typeface="Avenir Medium"/>
                <a:ea typeface="Avenir Book" charset="0"/>
                <a:cs typeface="Avenir Book" charset="0"/>
              </a:rPr>
              <a:t>Solution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7776041" y="7434573"/>
            <a:ext cx="4181680" cy="2108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4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Phenomenon whereby something new and somehow valuable is formed the create</a:t>
            </a:r>
          </a:p>
        </p:txBody>
      </p:sp>
      <p:sp>
        <p:nvSpPr>
          <p:cNvPr id="8" name="Rectangle 7"/>
          <p:cNvSpPr/>
          <p:nvPr/>
        </p:nvSpPr>
        <p:spPr>
          <a:xfrm>
            <a:off x="17776041" y="6677976"/>
            <a:ext cx="207140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Solution 2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282829" y="7434573"/>
            <a:ext cx="4181680" cy="2108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404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Phenomenon whereby something new and somehow valuable is formed the create</a:t>
            </a:r>
          </a:p>
        </p:txBody>
      </p:sp>
      <p:sp>
        <p:nvSpPr>
          <p:cNvPr id="10" name="Rectangle 9"/>
          <p:cNvSpPr/>
          <p:nvPr/>
        </p:nvSpPr>
        <p:spPr>
          <a:xfrm>
            <a:off x="4395654" y="6677976"/>
            <a:ext cx="207140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Solution 1</a:t>
            </a:r>
          </a:p>
        </p:txBody>
      </p:sp>
      <p:sp>
        <p:nvSpPr>
          <p:cNvPr id="11" name="Shape 2616"/>
          <p:cNvSpPr/>
          <p:nvPr/>
        </p:nvSpPr>
        <p:spPr>
          <a:xfrm>
            <a:off x="7895385" y="7681936"/>
            <a:ext cx="1429952" cy="130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2" name="Shape 2618"/>
          <p:cNvSpPr/>
          <p:nvPr/>
        </p:nvSpPr>
        <p:spPr>
          <a:xfrm>
            <a:off x="15103884" y="7535173"/>
            <a:ext cx="1429812" cy="14300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8" h="21600" extrusionOk="0">
                <a:moveTo>
                  <a:pt x="2560" y="18308"/>
                </a:moveTo>
                <a:cubicBezTo>
                  <a:pt x="2472" y="18397"/>
                  <a:pt x="2418" y="18520"/>
                  <a:pt x="2418" y="18655"/>
                </a:cubicBezTo>
                <a:cubicBezTo>
                  <a:pt x="2418" y="18926"/>
                  <a:pt x="2635" y="19146"/>
                  <a:pt x="2902" y="19146"/>
                </a:cubicBezTo>
                <a:cubicBezTo>
                  <a:pt x="3169" y="19146"/>
                  <a:pt x="3385" y="18926"/>
                  <a:pt x="3385" y="18655"/>
                </a:cubicBezTo>
                <a:cubicBezTo>
                  <a:pt x="3385" y="18384"/>
                  <a:pt x="3169" y="18164"/>
                  <a:pt x="2902" y="18164"/>
                </a:cubicBezTo>
                <a:cubicBezTo>
                  <a:pt x="2768" y="18164"/>
                  <a:pt x="2647" y="18219"/>
                  <a:pt x="2560" y="18308"/>
                </a:cubicBezTo>
                <a:moveTo>
                  <a:pt x="20499" y="4279"/>
                </a:moveTo>
                <a:lnTo>
                  <a:pt x="20091" y="4692"/>
                </a:lnTo>
                <a:lnTo>
                  <a:pt x="20088" y="4688"/>
                </a:lnTo>
                <a:lnTo>
                  <a:pt x="17670" y="7143"/>
                </a:lnTo>
                <a:lnTo>
                  <a:pt x="17664" y="7137"/>
                </a:lnTo>
                <a:cubicBezTo>
                  <a:pt x="17227" y="7580"/>
                  <a:pt x="16624" y="7853"/>
                  <a:pt x="15958" y="7853"/>
                </a:cubicBezTo>
                <a:cubicBezTo>
                  <a:pt x="14624" y="7853"/>
                  <a:pt x="13543" y="6755"/>
                  <a:pt x="13543" y="5401"/>
                </a:cubicBezTo>
                <a:cubicBezTo>
                  <a:pt x="13543" y="4725"/>
                  <a:pt x="13813" y="4113"/>
                  <a:pt x="14248" y="3670"/>
                </a:cubicBezTo>
                <a:lnTo>
                  <a:pt x="13563" y="2975"/>
                </a:lnTo>
                <a:cubicBezTo>
                  <a:pt x="12951" y="3596"/>
                  <a:pt x="12571" y="4452"/>
                  <a:pt x="12571" y="5401"/>
                </a:cubicBezTo>
                <a:cubicBezTo>
                  <a:pt x="12571" y="7300"/>
                  <a:pt x="14087" y="8840"/>
                  <a:pt x="15958" y="8840"/>
                </a:cubicBezTo>
                <a:cubicBezTo>
                  <a:pt x="16893" y="8840"/>
                  <a:pt x="17737" y="8454"/>
                  <a:pt x="18348" y="7832"/>
                </a:cubicBezTo>
                <a:lnTo>
                  <a:pt x="18353" y="7837"/>
                </a:lnTo>
                <a:lnTo>
                  <a:pt x="20152" y="6011"/>
                </a:lnTo>
                <a:cubicBezTo>
                  <a:pt x="20516" y="7368"/>
                  <a:pt x="20343" y="8670"/>
                  <a:pt x="19540" y="9505"/>
                </a:cubicBezTo>
                <a:lnTo>
                  <a:pt x="16947" y="12198"/>
                </a:lnTo>
                <a:cubicBezTo>
                  <a:pt x="16605" y="12553"/>
                  <a:pt x="16104" y="12766"/>
                  <a:pt x="15610" y="12766"/>
                </a:cubicBezTo>
                <a:cubicBezTo>
                  <a:pt x="15590" y="12765"/>
                  <a:pt x="13953" y="12652"/>
                  <a:pt x="12318" y="11611"/>
                </a:cubicBezTo>
                <a:lnTo>
                  <a:pt x="12314" y="11620"/>
                </a:lnTo>
                <a:cubicBezTo>
                  <a:pt x="12239" y="11572"/>
                  <a:pt x="12155" y="11537"/>
                  <a:pt x="12060" y="11537"/>
                </a:cubicBezTo>
                <a:cubicBezTo>
                  <a:pt x="11897" y="11537"/>
                  <a:pt x="11759" y="11625"/>
                  <a:pt x="11671" y="11753"/>
                </a:cubicBezTo>
                <a:lnTo>
                  <a:pt x="11654" y="11742"/>
                </a:lnTo>
                <a:lnTo>
                  <a:pt x="4270" y="20043"/>
                </a:lnTo>
                <a:cubicBezTo>
                  <a:pt x="3919" y="20399"/>
                  <a:pt x="3436" y="20618"/>
                  <a:pt x="2902" y="20618"/>
                </a:cubicBezTo>
                <a:cubicBezTo>
                  <a:pt x="1833" y="20618"/>
                  <a:pt x="967" y="19740"/>
                  <a:pt x="967" y="18655"/>
                </a:cubicBezTo>
                <a:cubicBezTo>
                  <a:pt x="967" y="18113"/>
                  <a:pt x="1184" y="17622"/>
                  <a:pt x="1534" y="17267"/>
                </a:cubicBezTo>
                <a:lnTo>
                  <a:pt x="9684" y="9801"/>
                </a:lnTo>
                <a:lnTo>
                  <a:pt x="9671" y="9786"/>
                </a:lnTo>
                <a:cubicBezTo>
                  <a:pt x="9796" y="9698"/>
                  <a:pt x="9884" y="9557"/>
                  <a:pt x="9884" y="9389"/>
                </a:cubicBezTo>
                <a:cubicBezTo>
                  <a:pt x="9884" y="9283"/>
                  <a:pt x="9844" y="9190"/>
                  <a:pt x="9787" y="9110"/>
                </a:cubicBezTo>
                <a:lnTo>
                  <a:pt x="9790" y="9107"/>
                </a:lnTo>
                <a:cubicBezTo>
                  <a:pt x="8390" y="7219"/>
                  <a:pt x="8340" y="5816"/>
                  <a:pt x="9546" y="4488"/>
                </a:cubicBezTo>
                <a:lnTo>
                  <a:pt x="12130" y="1805"/>
                </a:lnTo>
                <a:cubicBezTo>
                  <a:pt x="12785" y="1125"/>
                  <a:pt x="13641" y="982"/>
                  <a:pt x="14244" y="982"/>
                </a:cubicBezTo>
                <a:lnTo>
                  <a:pt x="14246" y="982"/>
                </a:lnTo>
                <a:cubicBezTo>
                  <a:pt x="14611" y="982"/>
                  <a:pt x="14988" y="1037"/>
                  <a:pt x="15366" y="1136"/>
                </a:cubicBezTo>
                <a:lnTo>
                  <a:pt x="13559" y="2970"/>
                </a:lnTo>
                <a:lnTo>
                  <a:pt x="14243" y="3664"/>
                </a:lnTo>
                <a:lnTo>
                  <a:pt x="16661" y="1210"/>
                </a:lnTo>
                <a:lnTo>
                  <a:pt x="16657" y="1206"/>
                </a:lnTo>
                <a:lnTo>
                  <a:pt x="17082" y="775"/>
                </a:lnTo>
                <a:cubicBezTo>
                  <a:pt x="16139" y="269"/>
                  <a:pt x="15160" y="0"/>
                  <a:pt x="14246" y="0"/>
                </a:cubicBezTo>
                <a:lnTo>
                  <a:pt x="14244" y="0"/>
                </a:lnTo>
                <a:cubicBezTo>
                  <a:pt x="13167" y="0"/>
                  <a:pt x="12182" y="361"/>
                  <a:pt x="11460" y="1111"/>
                </a:cubicBezTo>
                <a:lnTo>
                  <a:pt x="8867" y="3804"/>
                </a:lnTo>
                <a:cubicBezTo>
                  <a:pt x="7163" y="5672"/>
                  <a:pt x="7613" y="7584"/>
                  <a:pt x="8769" y="9315"/>
                </a:cubicBezTo>
                <a:lnTo>
                  <a:pt x="850" y="16572"/>
                </a:lnTo>
                <a:cubicBezTo>
                  <a:pt x="325" y="17106"/>
                  <a:pt x="0" y="17842"/>
                  <a:pt x="0" y="18655"/>
                </a:cubicBezTo>
                <a:cubicBezTo>
                  <a:pt x="0" y="20282"/>
                  <a:pt x="1299" y="21600"/>
                  <a:pt x="2902" y="21600"/>
                </a:cubicBezTo>
                <a:cubicBezTo>
                  <a:pt x="3703" y="21600"/>
                  <a:pt x="4429" y="21271"/>
                  <a:pt x="4954" y="20738"/>
                </a:cubicBezTo>
                <a:lnTo>
                  <a:pt x="12160" y="12652"/>
                </a:lnTo>
                <a:cubicBezTo>
                  <a:pt x="13800" y="13590"/>
                  <a:pt x="15363" y="13747"/>
                  <a:pt x="15606" y="13747"/>
                </a:cubicBezTo>
                <a:cubicBezTo>
                  <a:pt x="16313" y="13747"/>
                  <a:pt x="17067" y="13463"/>
                  <a:pt x="17617" y="12892"/>
                </a:cubicBezTo>
                <a:lnTo>
                  <a:pt x="20209" y="10198"/>
                </a:lnTo>
                <a:cubicBezTo>
                  <a:pt x="21560" y="8795"/>
                  <a:pt x="21600" y="6433"/>
                  <a:pt x="20499" y="4279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9247005" y="10765271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408766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2662516" y="3806455"/>
            <a:ext cx="8697516" cy="7733109"/>
            <a:chOff x="7840067" y="3806455"/>
            <a:chExt cx="8697516" cy="7733109"/>
          </a:xfrm>
        </p:grpSpPr>
        <p:sp>
          <p:nvSpPr>
            <p:cNvPr id="1485" name="Shape 1485"/>
            <p:cNvSpPr/>
            <p:nvPr/>
          </p:nvSpPr>
          <p:spPr>
            <a:xfrm>
              <a:off x="9080808" y="5142052"/>
              <a:ext cx="6216033" cy="48833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8100" cap="flat">
              <a:noFill/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5063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486" name="Shape 1486"/>
            <p:cNvSpPr/>
            <p:nvPr/>
          </p:nvSpPr>
          <p:spPr>
            <a:xfrm>
              <a:off x="7840067" y="8414174"/>
              <a:ext cx="3125391" cy="3125390"/>
            </a:xfrm>
            <a:prstGeom prst="ellips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lnSpc>
                  <a:spcPct val="100000"/>
                </a:lnSpc>
                <a:defRPr sz="2500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lang="en-US" sz="3516" dirty="0">
                  <a:latin typeface="Avenir Medium"/>
                  <a:ea typeface="Avenir Book" charset="0"/>
                  <a:cs typeface="Avenir Book" charset="0"/>
                </a:rPr>
                <a:t>C</a:t>
              </a:r>
              <a:endParaRPr sz="3516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487" name="Shape 1487"/>
            <p:cNvSpPr/>
            <p:nvPr/>
          </p:nvSpPr>
          <p:spPr>
            <a:xfrm>
              <a:off x="13412192" y="8414174"/>
              <a:ext cx="3125391" cy="3125390"/>
            </a:xfrm>
            <a:prstGeom prst="ellipse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lnSpc>
                  <a:spcPct val="100000"/>
                </a:lnSpc>
                <a:defRPr sz="2500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lang="en-US" sz="3516" dirty="0">
                  <a:latin typeface="Avenir Medium"/>
                  <a:ea typeface="Avenir Book" charset="0"/>
                  <a:cs typeface="Avenir Book" charset="0"/>
                </a:rPr>
                <a:t>B</a:t>
              </a:r>
              <a:endParaRPr sz="3516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488" name="Shape 1488"/>
            <p:cNvSpPr/>
            <p:nvPr/>
          </p:nvSpPr>
          <p:spPr>
            <a:xfrm>
              <a:off x="10626130" y="3806455"/>
              <a:ext cx="3125391" cy="3125390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lnSpc>
                  <a:spcPct val="100000"/>
                </a:lnSpc>
                <a:defRPr sz="2500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lang="en-US" sz="3516" dirty="0">
                  <a:latin typeface="Avenir Medium"/>
                  <a:ea typeface="Avenir Book" charset="0"/>
                  <a:cs typeface="Avenir Book" charset="0"/>
                </a:rPr>
                <a:t>A</a:t>
              </a:r>
              <a:endParaRPr sz="3516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489" name="Shape 1489"/>
            <p:cNvSpPr/>
            <p:nvPr/>
          </p:nvSpPr>
          <p:spPr>
            <a:xfrm>
              <a:off x="10929110" y="7684442"/>
              <a:ext cx="2519429" cy="94154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defTabSz="584200">
                <a:lnSpc>
                  <a:spcPct val="110000"/>
                </a:lnSpc>
                <a:spcBef>
                  <a:spcPts val="3000"/>
                </a:spcBef>
                <a:defRPr sz="2000">
                  <a:solidFill>
                    <a:srgbClr val="4C4C4C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lang="en-US" sz="2813" dirty="0">
                  <a:solidFill>
                    <a:schemeClr val="tx1"/>
                  </a:solidFill>
                  <a:latin typeface="Avenir Medium"/>
                  <a:ea typeface="Avenir Book" charset="0"/>
                  <a:cs typeface="Avenir Book" charset="0"/>
                </a:rPr>
                <a:t>Title Content Goes Here</a:t>
              </a:r>
              <a:endParaRPr sz="2813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1050558" y="2902218"/>
            <a:ext cx="1073083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 ship or boat, by any medium at all controllable by the occupant or occupants, a mast, an oar, a nine-inch cable, a telegraph wire, or a strand of cobweb, it is all the same. Likewise a fish is technically fast</a:t>
            </a:r>
          </a:p>
        </p:txBody>
      </p:sp>
      <p:sp>
        <p:nvSpPr>
          <p:cNvPr id="19" name="Shape 2540"/>
          <p:cNvSpPr/>
          <p:nvPr/>
        </p:nvSpPr>
        <p:spPr>
          <a:xfrm>
            <a:off x="1945197" y="7129337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0" name="Shape 2540"/>
          <p:cNvSpPr/>
          <p:nvPr/>
        </p:nvSpPr>
        <p:spPr>
          <a:xfrm>
            <a:off x="1945197" y="8764348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858431" y="6896100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858431" y="8547116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3" name="Shape 2540"/>
          <p:cNvSpPr/>
          <p:nvPr/>
        </p:nvSpPr>
        <p:spPr>
          <a:xfrm>
            <a:off x="1945197" y="10415364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858431" y="10198132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F8F1668-6434-4666-BC1D-669456F055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Text with Triang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6151656"/>
      </p:ext>
    </p:extLst>
  </p:cSld>
  <p:clrMapOvr>
    <a:masterClrMapping/>
  </p:clrMapOvr>
  <p:transition spd="slow"/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536"/>
          <p:cNvGrpSpPr/>
          <p:nvPr/>
        </p:nvGrpSpPr>
        <p:grpSpPr>
          <a:xfrm>
            <a:off x="3714487" y="3200582"/>
            <a:ext cx="5343662" cy="9345931"/>
            <a:chOff x="0" y="0"/>
            <a:chExt cx="3175000" cy="5552994"/>
          </a:xfrm>
        </p:grpSpPr>
        <p:sp>
          <p:nvSpPr>
            <p:cNvPr id="18" name="Shape 1527"/>
            <p:cNvSpPr/>
            <p:nvPr/>
          </p:nvSpPr>
          <p:spPr>
            <a:xfrm>
              <a:off x="8873" y="1596374"/>
              <a:ext cx="1778001" cy="15397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00" y="0"/>
                  </a:moveTo>
                  <a:lnTo>
                    <a:pt x="21600" y="10800"/>
                  </a:lnTo>
                  <a:lnTo>
                    <a:pt x="16200" y="21600"/>
                  </a:lnTo>
                  <a:lnTo>
                    <a:pt x="5400" y="21600"/>
                  </a:lnTo>
                  <a:lnTo>
                    <a:pt x="0" y="10800"/>
                  </a:lnTo>
                  <a:lnTo>
                    <a:pt x="5400" y="0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FFFFFF"/>
                  </a:solidFill>
                </a:defRPr>
              </a:lvl1pPr>
            </a:lstStyle>
            <a:p>
              <a:pPr algn="ctr"/>
              <a:r>
                <a:rPr lang="en-US" sz="5063" dirty="0">
                  <a:latin typeface="Avenir Medium"/>
                  <a:ea typeface="Avenir Book" charset="0"/>
                  <a:cs typeface="Avenir Book" charset="0"/>
                </a:rPr>
                <a:t>B</a:t>
              </a:r>
              <a:endParaRPr sz="5063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9" name="Shape 1528"/>
            <p:cNvSpPr/>
            <p:nvPr/>
          </p:nvSpPr>
          <p:spPr>
            <a:xfrm>
              <a:off x="1397000" y="2413000"/>
              <a:ext cx="1778000" cy="15397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00" y="0"/>
                  </a:moveTo>
                  <a:lnTo>
                    <a:pt x="21600" y="10800"/>
                  </a:lnTo>
                  <a:lnTo>
                    <a:pt x="16200" y="21600"/>
                  </a:lnTo>
                  <a:lnTo>
                    <a:pt x="5400" y="21600"/>
                  </a:lnTo>
                  <a:lnTo>
                    <a:pt x="0" y="10800"/>
                  </a:lnTo>
                  <a:lnTo>
                    <a:pt x="5400" y="0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FFFFFF"/>
                  </a:solidFill>
                </a:defRPr>
              </a:lvl1pPr>
            </a:lstStyle>
            <a:p>
              <a:pPr algn="ctr"/>
              <a:r>
                <a:rPr lang="en-US" sz="5063" dirty="0">
                  <a:latin typeface="Avenir Medium"/>
                  <a:ea typeface="Avenir Book" charset="0"/>
                  <a:cs typeface="Avenir Book" charset="0"/>
                </a:rPr>
                <a:t>C</a:t>
              </a:r>
              <a:endParaRPr sz="5063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20" name="Shape 1529"/>
            <p:cNvSpPr/>
            <p:nvPr/>
          </p:nvSpPr>
          <p:spPr>
            <a:xfrm>
              <a:off x="1384300" y="4013200"/>
              <a:ext cx="1778000" cy="15397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00" y="0"/>
                  </a:moveTo>
                  <a:lnTo>
                    <a:pt x="21600" y="10800"/>
                  </a:lnTo>
                  <a:lnTo>
                    <a:pt x="16200" y="21600"/>
                  </a:lnTo>
                  <a:lnTo>
                    <a:pt x="5400" y="21600"/>
                  </a:lnTo>
                  <a:lnTo>
                    <a:pt x="0" y="10800"/>
                  </a:lnTo>
                  <a:lnTo>
                    <a:pt x="5400" y="0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FFFFFF"/>
                  </a:solidFill>
                </a:defRPr>
              </a:lvl1pPr>
            </a:lstStyle>
            <a:p>
              <a:pPr algn="ctr"/>
              <a:r>
                <a:rPr lang="en-US" sz="5063" dirty="0">
                  <a:latin typeface="Avenir Medium"/>
                  <a:ea typeface="Avenir Book" charset="0"/>
                  <a:cs typeface="Avenir Book" charset="0"/>
                </a:rPr>
                <a:t>E</a:t>
              </a:r>
              <a:endParaRPr sz="5063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21" name="Shape 1530"/>
            <p:cNvSpPr/>
            <p:nvPr/>
          </p:nvSpPr>
          <p:spPr>
            <a:xfrm>
              <a:off x="0" y="3200400"/>
              <a:ext cx="1778000" cy="15397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00" y="0"/>
                  </a:moveTo>
                  <a:lnTo>
                    <a:pt x="21600" y="10800"/>
                  </a:lnTo>
                  <a:lnTo>
                    <a:pt x="16200" y="21600"/>
                  </a:lnTo>
                  <a:lnTo>
                    <a:pt x="5400" y="21600"/>
                  </a:lnTo>
                  <a:lnTo>
                    <a:pt x="0" y="10800"/>
                  </a:lnTo>
                  <a:lnTo>
                    <a:pt x="5400" y="0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FFFFFF"/>
                  </a:solidFill>
                </a:defRPr>
              </a:lvl1pPr>
            </a:lstStyle>
            <a:p>
              <a:pPr algn="ctr"/>
              <a:r>
                <a:rPr lang="en-US" sz="5063" dirty="0">
                  <a:latin typeface="Avenir Medium"/>
                  <a:ea typeface="Avenir Book" charset="0"/>
                  <a:cs typeface="Avenir Book" charset="0"/>
                </a:rPr>
                <a:t>D</a:t>
              </a:r>
              <a:endParaRPr sz="5063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22" name="Shape 1531"/>
            <p:cNvSpPr/>
            <p:nvPr/>
          </p:nvSpPr>
          <p:spPr>
            <a:xfrm>
              <a:off x="12700" y="0"/>
              <a:ext cx="1778000" cy="15397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00" y="0"/>
                  </a:moveTo>
                  <a:lnTo>
                    <a:pt x="21600" y="10800"/>
                  </a:lnTo>
                  <a:lnTo>
                    <a:pt x="16200" y="21600"/>
                  </a:lnTo>
                  <a:lnTo>
                    <a:pt x="5400" y="21600"/>
                  </a:lnTo>
                  <a:lnTo>
                    <a:pt x="0" y="10800"/>
                  </a:lnTo>
                  <a:lnTo>
                    <a:pt x="540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FFFFFF"/>
                  </a:solidFill>
                </a:defRPr>
              </a:lvl1pPr>
            </a:lstStyle>
            <a:p>
              <a:pPr algn="ctr"/>
              <a:r>
                <a:rPr lang="en-US" sz="5063" dirty="0">
                  <a:latin typeface="Avenir Medium"/>
                  <a:ea typeface="Avenir Book" charset="0"/>
                  <a:cs typeface="Avenir Book" charset="0"/>
                </a:rPr>
                <a:t>A</a:t>
              </a:r>
              <a:endParaRPr sz="5063" dirty="0"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12212888" y="2921251"/>
            <a:ext cx="1073083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 ship or boat, by any medium at all controllable by the occupant or occupants,—a mast, an oar, a nine-inch cable, a telegraph wire, or a strand of cobweb, it is all the same. Likewise a fish is technically fast</a:t>
            </a:r>
          </a:p>
        </p:txBody>
      </p:sp>
      <p:sp>
        <p:nvSpPr>
          <p:cNvPr id="31" name="Shape 2540"/>
          <p:cNvSpPr/>
          <p:nvPr/>
        </p:nvSpPr>
        <p:spPr>
          <a:xfrm>
            <a:off x="13107527" y="7159983"/>
            <a:ext cx="692305" cy="6923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3" name="Shape 2540"/>
          <p:cNvSpPr/>
          <p:nvPr/>
        </p:nvSpPr>
        <p:spPr>
          <a:xfrm>
            <a:off x="13107527" y="8817667"/>
            <a:ext cx="692305" cy="6923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4020761" y="6915133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4020761" y="8566149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36" name="Shape 2540"/>
          <p:cNvSpPr/>
          <p:nvPr/>
        </p:nvSpPr>
        <p:spPr>
          <a:xfrm>
            <a:off x="13107527" y="10556317"/>
            <a:ext cx="692305" cy="6923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4020761" y="10217165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FF0FCF-8268-4AFA-8598-B211EF025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Hexagon Clus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9351940"/>
      </p:ext>
    </p:extLst>
  </p:cSld>
  <p:clrMapOvr>
    <a:masterClrMapping/>
  </p:clrMapOvr>
  <p:transition spd="slow"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1558925" y="3549926"/>
            <a:ext cx="3060581" cy="30605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619506" y="6678237"/>
            <a:ext cx="3060581" cy="30605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680087" y="9738818"/>
            <a:ext cx="3060581" cy="30605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570485" y="4149192"/>
            <a:ext cx="1037463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50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A</a:t>
            </a:r>
            <a:endParaRPr lang="en-US" sz="11500" dirty="0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656712" y="7277503"/>
            <a:ext cx="986167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50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B</a:t>
            </a:r>
            <a:endParaRPr lang="en-US" sz="11500" dirty="0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724507" y="10338084"/>
            <a:ext cx="971741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50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C</a:t>
            </a:r>
            <a:endParaRPr lang="en-US" sz="11500" dirty="0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949360" y="3549926"/>
            <a:ext cx="1516226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Avenir Medium"/>
                <a:ea typeface="Avenir Book" charset="0"/>
                <a:cs typeface="Avenir Book" charset="0"/>
              </a:rPr>
              <a:t>You Can Add A Title In This Section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 ship or boat, by any medium at all controllable by the occupant or occupants,—a mast, an oar, a nine-inch cable, a telegraph wire, or a strand of cobweb, it is all the same.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935282" y="6678417"/>
            <a:ext cx="15162260" cy="21491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Avenir Medium"/>
                <a:ea typeface="Avenir Book" charset="0"/>
                <a:cs typeface="Avenir Book" charset="0"/>
              </a:rPr>
              <a:t>You Can Add A Title In This Section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 ship or boat, by any medium at all controllable by the occupant or occupants,—a mast, an oar, a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1146240" y="9738818"/>
            <a:ext cx="1219291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Avenir Medium"/>
                <a:ea typeface="Avenir Book" charset="0"/>
                <a:cs typeface="Avenir Book" charset="0"/>
              </a:rPr>
              <a:t>You Can Add A Title In This Section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 ship or boat, by any medium at all controllable by the occupant or occupants,—a mast, an oar, a nine-inch cable, a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C88FF3-3E20-498B-80C9-C10990BED3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Steps Alphabetic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868602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413ED9-8B1C-6340-B7C1-62C72D424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3C6CA07-D10C-43E7-B097-41BF5856CD3C}"/>
              </a:ext>
            </a:extLst>
          </p:cNvPr>
          <p:cNvGrpSpPr/>
          <p:nvPr/>
        </p:nvGrpSpPr>
        <p:grpSpPr>
          <a:xfrm>
            <a:off x="-12700" y="12841264"/>
            <a:ext cx="24390350" cy="874736"/>
            <a:chOff x="8962256" y="6857999"/>
            <a:chExt cx="6215041" cy="874736"/>
          </a:xfrm>
        </p:grpSpPr>
        <p:sp>
          <p:nvSpPr>
            <p:cNvPr id="13" name="Text Box 37">
              <a:extLst>
                <a:ext uri="{FF2B5EF4-FFF2-40B4-BE49-F238E27FC236}">
                  <a16:creationId xmlns:a16="http://schemas.microsoft.com/office/drawing/2014/main" id="{3BCB667B-5A13-47E7-8CE1-24DD2FB6083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962256" y="6857999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de-DE" dirty="0">
                  <a:latin typeface="Avenir Medium"/>
                </a:rPr>
                <a:t>Management</a:t>
              </a:r>
              <a:br>
                <a:rPr lang="de-DE" dirty="0">
                  <a:latin typeface="Avenir Medium"/>
                </a:rPr>
              </a:br>
              <a:r>
                <a:rPr lang="de-DE" dirty="0">
                  <a:latin typeface="Avenir Medium"/>
                </a:rPr>
                <a:t>Summary</a:t>
              </a:r>
            </a:p>
          </p:txBody>
        </p:sp>
        <p:sp>
          <p:nvSpPr>
            <p:cNvPr id="14" name="Text Box 39">
              <a:extLst>
                <a:ext uri="{FF2B5EF4-FFF2-40B4-BE49-F238E27FC236}">
                  <a16:creationId xmlns:a16="http://schemas.microsoft.com/office/drawing/2014/main" id="{BF6DC7E9-C28D-427E-A664-29C4AD7EBE6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0737982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lternatives</a:t>
              </a:r>
            </a:p>
          </p:txBody>
        </p:sp>
        <p:sp>
          <p:nvSpPr>
            <p:cNvPr id="15" name="Text Box 41">
              <a:extLst>
                <a:ext uri="{FF2B5EF4-FFF2-40B4-BE49-F238E27FC236}">
                  <a16:creationId xmlns:a16="http://schemas.microsoft.com/office/drawing/2014/main" id="{2E28C244-0EE8-4781-A598-7BD7DC37ACE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625845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Implementation</a:t>
              </a:r>
            </a:p>
          </p:txBody>
        </p:sp>
        <p:sp>
          <p:nvSpPr>
            <p:cNvPr id="16" name="Text Box 43">
              <a:extLst>
                <a:ext uri="{FF2B5EF4-FFF2-40B4-BE49-F238E27FC236}">
                  <a16:creationId xmlns:a16="http://schemas.microsoft.com/office/drawing/2014/main" id="{B41D6C40-E17F-4AA6-964B-E187CFED14F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2513708" y="6862659"/>
              <a:ext cx="887863" cy="870075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Financials</a:t>
              </a:r>
            </a:p>
          </p:txBody>
        </p:sp>
        <p:sp>
          <p:nvSpPr>
            <p:cNvPr id="17" name="Text Box 47">
              <a:extLst>
                <a:ext uri="{FF2B5EF4-FFF2-40B4-BE49-F238E27FC236}">
                  <a16:creationId xmlns:a16="http://schemas.microsoft.com/office/drawing/2014/main" id="{37293503-FE78-4EAD-A114-C2C55D00F92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9850119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nalysis</a:t>
              </a:r>
            </a:p>
          </p:txBody>
        </p:sp>
        <p:sp>
          <p:nvSpPr>
            <p:cNvPr id="18" name="Text Box 43">
              <a:extLst>
                <a:ext uri="{FF2B5EF4-FFF2-40B4-BE49-F238E27FC236}">
                  <a16:creationId xmlns:a16="http://schemas.microsoft.com/office/drawing/2014/main" id="{041F9C2F-3F9F-423E-95BA-122D45EA99F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401571" y="686266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Risk</a:t>
              </a:r>
            </a:p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Mitigation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9" name="Text Box 43">
              <a:extLst>
                <a:ext uri="{FF2B5EF4-FFF2-40B4-BE49-F238E27FC236}">
                  <a16:creationId xmlns:a16="http://schemas.microsoft.com/office/drawing/2014/main" id="{F364C09B-51E2-48DE-8819-696FFBF262D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4289434" y="686266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Conclusion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790756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8" name="Shape 1698"/>
          <p:cNvSpPr/>
          <p:nvPr/>
        </p:nvSpPr>
        <p:spPr>
          <a:xfrm>
            <a:off x="10402888" y="4146130"/>
            <a:ext cx="3571875" cy="3571875"/>
          </a:xfrm>
          <a:prstGeom prst="ellipse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 sz="8000">
                <a:solidFill>
                  <a:srgbClr val="FFFFFF"/>
                </a:solidFill>
                <a:latin typeface="+mj-lt"/>
                <a:ea typeface="+mj-ea"/>
                <a:cs typeface="+mj-cs"/>
                <a:sym typeface="Helvetica Neue UltraLight"/>
              </a:defRPr>
            </a:lvl1pPr>
          </a:lstStyle>
          <a:p>
            <a:pPr algn="ctr"/>
            <a:r>
              <a:rPr sz="1125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2</a:t>
            </a:r>
          </a:p>
        </p:txBody>
      </p:sp>
      <p:sp>
        <p:nvSpPr>
          <p:cNvPr id="1701" name="Shape 1701"/>
          <p:cNvSpPr/>
          <p:nvPr/>
        </p:nvSpPr>
        <p:spPr>
          <a:xfrm>
            <a:off x="15796420" y="4146130"/>
            <a:ext cx="3571875" cy="3571875"/>
          </a:xfrm>
          <a:prstGeom prst="ellipse">
            <a:avLst/>
          </a:prstGeom>
          <a:solidFill>
            <a:schemeClr val="accent4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 sz="8000">
                <a:solidFill>
                  <a:srgbClr val="FFFFFF"/>
                </a:solidFill>
                <a:latin typeface="+mj-lt"/>
                <a:ea typeface="+mj-ea"/>
                <a:cs typeface="+mj-cs"/>
                <a:sym typeface="Helvetica Neue UltraLight"/>
              </a:defRPr>
            </a:lvl1pPr>
          </a:lstStyle>
          <a:p>
            <a:pPr algn="ctr"/>
            <a:r>
              <a:rPr sz="11250" dirty="0">
                <a:latin typeface="Avenir Medium"/>
                <a:ea typeface="Avenir Book" charset="0"/>
                <a:cs typeface="Avenir Book" charset="0"/>
              </a:rPr>
              <a:t>3</a:t>
            </a:r>
          </a:p>
        </p:txBody>
      </p:sp>
      <p:sp>
        <p:nvSpPr>
          <p:cNvPr id="1704" name="Shape 1704"/>
          <p:cNvSpPr/>
          <p:nvPr/>
        </p:nvSpPr>
        <p:spPr>
          <a:xfrm>
            <a:off x="5009356" y="4146130"/>
            <a:ext cx="3571875" cy="3571875"/>
          </a:xfrm>
          <a:prstGeom prst="ellips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 sz="8000">
                <a:solidFill>
                  <a:srgbClr val="FFFFFF"/>
                </a:solidFill>
                <a:latin typeface="+mj-lt"/>
                <a:ea typeface="+mj-ea"/>
                <a:cs typeface="+mj-cs"/>
                <a:sym typeface="Helvetica Neue UltraLight"/>
              </a:defRPr>
            </a:lvl1pPr>
          </a:lstStyle>
          <a:p>
            <a:pPr algn="ctr"/>
            <a:r>
              <a:rPr sz="11250">
                <a:latin typeface="Avenir Medium"/>
                <a:ea typeface="Avenir Book" charset="0"/>
                <a:cs typeface="Avenir Book" charset="0"/>
              </a:rPr>
              <a:t>1</a:t>
            </a:r>
          </a:p>
        </p:txBody>
      </p:sp>
      <p:sp>
        <p:nvSpPr>
          <p:cNvPr id="1707" name="Shape 1707"/>
          <p:cNvSpPr/>
          <p:nvPr/>
        </p:nvSpPr>
        <p:spPr>
          <a:xfrm>
            <a:off x="9349185" y="5717755"/>
            <a:ext cx="285750" cy="428625"/>
          </a:xfrm>
          <a:prstGeom prst="rightArrow">
            <a:avLst>
              <a:gd name="adj1" fmla="val 32000"/>
              <a:gd name="adj2" fmla="val 275000"/>
            </a:avLst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821560">
              <a:lnSpc>
                <a:spcPct val="110000"/>
              </a:lnSpc>
              <a:spcBef>
                <a:spcPts val="4219"/>
              </a:spcBef>
              <a:defRPr sz="2000">
                <a:solidFill>
                  <a:srgbClr val="4C4C4C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endParaRPr sz="2813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708" name="Shape 1708"/>
          <p:cNvSpPr/>
          <p:nvPr/>
        </p:nvSpPr>
        <p:spPr>
          <a:xfrm>
            <a:off x="14742717" y="5717755"/>
            <a:ext cx="285750" cy="428625"/>
          </a:xfrm>
          <a:prstGeom prst="rightArrow">
            <a:avLst>
              <a:gd name="adj1" fmla="val 32000"/>
              <a:gd name="adj2" fmla="val 275000"/>
            </a:avLst>
          </a:prstGeom>
          <a:solidFill>
            <a:schemeClr val="tx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821560">
              <a:lnSpc>
                <a:spcPct val="110000"/>
              </a:lnSpc>
              <a:spcBef>
                <a:spcPts val="4219"/>
              </a:spcBef>
              <a:defRPr sz="2000">
                <a:solidFill>
                  <a:srgbClr val="4C4C4C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endParaRPr sz="2813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784516" y="8167046"/>
            <a:ext cx="4021554" cy="3441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dirty="0">
                <a:latin typeface="Avenir Medium"/>
                <a:ea typeface="Avenir Book" charset="0"/>
                <a:cs typeface="Avenir Book" charset="0"/>
              </a:rPr>
              <a:t>Title Here</a:t>
            </a:r>
          </a:p>
          <a:p>
            <a:pPr algn="ctr"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224328" y="8167046"/>
            <a:ext cx="3928994" cy="3441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dirty="0">
                <a:latin typeface="Avenir Medium"/>
                <a:ea typeface="Avenir Book" charset="0"/>
                <a:cs typeface="Avenir Book" charset="0"/>
              </a:rPr>
              <a:t>Title Here</a:t>
            </a:r>
          </a:p>
          <a:p>
            <a:pPr algn="ctr"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5564749" y="8191500"/>
            <a:ext cx="403521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dirty="0">
                <a:latin typeface="Avenir Medium"/>
                <a:ea typeface="Avenir Book" charset="0"/>
                <a:cs typeface="Avenir Book" charset="0"/>
              </a:rPr>
              <a:t>Title Here</a:t>
            </a:r>
          </a:p>
          <a:p>
            <a:pPr algn="ctr"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8525053-A8DA-4A2B-BFCA-C432BF9E9E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Steps Numeric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4116917"/>
      </p:ext>
    </p:extLst>
  </p:cSld>
  <p:clrMapOvr>
    <a:masterClrMapping/>
  </p:clrMapOvr>
  <p:transition spd="slow"/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xagon Process</a:t>
            </a:r>
          </a:p>
        </p:txBody>
      </p:sp>
      <p:sp>
        <p:nvSpPr>
          <p:cNvPr id="3" name="Hexagon 2"/>
          <p:cNvSpPr/>
          <p:nvPr/>
        </p:nvSpPr>
        <p:spPr>
          <a:xfrm>
            <a:off x="3844944" y="4292467"/>
            <a:ext cx="2860752" cy="2467129"/>
          </a:xfrm>
          <a:prstGeom prst="hexagon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5" tIns="45712" rIns="91425" bIns="45712"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" name="Hexagon 3"/>
          <p:cNvSpPr/>
          <p:nvPr/>
        </p:nvSpPr>
        <p:spPr>
          <a:xfrm>
            <a:off x="6820373" y="4292467"/>
            <a:ext cx="2860752" cy="2467129"/>
          </a:xfrm>
          <a:prstGeom prst="hexagon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5" tIns="45712" rIns="91425" bIns="45712"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" name="Hexagon 4"/>
          <p:cNvSpPr/>
          <p:nvPr/>
        </p:nvSpPr>
        <p:spPr>
          <a:xfrm>
            <a:off x="9289961" y="6126648"/>
            <a:ext cx="2860752" cy="2467129"/>
          </a:xfrm>
          <a:prstGeom prst="hexagon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5" tIns="45712" rIns="91425" bIns="45712"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6" name="Hexagon 5"/>
          <p:cNvSpPr/>
          <p:nvPr/>
        </p:nvSpPr>
        <p:spPr>
          <a:xfrm>
            <a:off x="12232167" y="6126648"/>
            <a:ext cx="2860752" cy="2467129"/>
          </a:xfrm>
          <a:prstGeom prst="hexagon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5" tIns="45712" rIns="91425" bIns="45712"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7" name="Hexagon 6"/>
          <p:cNvSpPr/>
          <p:nvPr/>
        </p:nvSpPr>
        <p:spPr>
          <a:xfrm>
            <a:off x="17627350" y="4292467"/>
            <a:ext cx="2860752" cy="2467129"/>
          </a:xfrm>
          <a:prstGeom prst="hexagon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5" tIns="45712" rIns="91425" bIns="45712"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8" name="Hexagon 7"/>
          <p:cNvSpPr/>
          <p:nvPr/>
        </p:nvSpPr>
        <p:spPr>
          <a:xfrm>
            <a:off x="14701755" y="4292467"/>
            <a:ext cx="2860752" cy="2467129"/>
          </a:xfrm>
          <a:prstGeom prst="hexagon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5" tIns="45712" rIns="91425" bIns="45712"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9" name="Freeform 49"/>
          <p:cNvSpPr>
            <a:spLocks noChangeArrowheads="1"/>
          </p:cNvSpPr>
          <p:nvPr/>
        </p:nvSpPr>
        <p:spPr bwMode="auto">
          <a:xfrm>
            <a:off x="4867290" y="4869853"/>
            <a:ext cx="880910" cy="864754"/>
          </a:xfrm>
          <a:custGeom>
            <a:avLst/>
            <a:gdLst>
              <a:gd name="T0" fmla="*/ 239 w 479"/>
              <a:gd name="T1" fmla="*/ 0 h 471"/>
              <a:gd name="T2" fmla="*/ 239 w 479"/>
              <a:gd name="T3" fmla="*/ 0 h 471"/>
              <a:gd name="T4" fmla="*/ 0 w 479"/>
              <a:gd name="T5" fmla="*/ 231 h 471"/>
              <a:gd name="T6" fmla="*/ 239 w 479"/>
              <a:gd name="T7" fmla="*/ 470 h 471"/>
              <a:gd name="T8" fmla="*/ 478 w 479"/>
              <a:gd name="T9" fmla="*/ 231 h 471"/>
              <a:gd name="T10" fmla="*/ 239 w 479"/>
              <a:gd name="T11" fmla="*/ 0 h 471"/>
              <a:gd name="T12" fmla="*/ 177 w 479"/>
              <a:gd name="T13" fmla="*/ 338 h 471"/>
              <a:gd name="T14" fmla="*/ 177 w 479"/>
              <a:gd name="T15" fmla="*/ 338 h 471"/>
              <a:gd name="T16" fmla="*/ 133 w 479"/>
              <a:gd name="T17" fmla="*/ 338 h 471"/>
              <a:gd name="T18" fmla="*/ 133 w 479"/>
              <a:gd name="T19" fmla="*/ 178 h 471"/>
              <a:gd name="T20" fmla="*/ 177 w 479"/>
              <a:gd name="T21" fmla="*/ 178 h 471"/>
              <a:gd name="T22" fmla="*/ 177 w 479"/>
              <a:gd name="T23" fmla="*/ 338 h 471"/>
              <a:gd name="T24" fmla="*/ 159 w 479"/>
              <a:gd name="T25" fmla="*/ 160 h 471"/>
              <a:gd name="T26" fmla="*/ 159 w 479"/>
              <a:gd name="T27" fmla="*/ 160 h 471"/>
              <a:gd name="T28" fmla="*/ 133 w 479"/>
              <a:gd name="T29" fmla="*/ 134 h 471"/>
              <a:gd name="T30" fmla="*/ 159 w 479"/>
              <a:gd name="T31" fmla="*/ 107 h 471"/>
              <a:gd name="T32" fmla="*/ 186 w 479"/>
              <a:gd name="T33" fmla="*/ 134 h 471"/>
              <a:gd name="T34" fmla="*/ 159 w 479"/>
              <a:gd name="T35" fmla="*/ 160 h 471"/>
              <a:gd name="T36" fmla="*/ 354 w 479"/>
              <a:gd name="T37" fmla="*/ 338 h 471"/>
              <a:gd name="T38" fmla="*/ 354 w 479"/>
              <a:gd name="T39" fmla="*/ 338 h 471"/>
              <a:gd name="T40" fmla="*/ 310 w 479"/>
              <a:gd name="T41" fmla="*/ 338 h 471"/>
              <a:gd name="T42" fmla="*/ 310 w 479"/>
              <a:gd name="T43" fmla="*/ 249 h 471"/>
              <a:gd name="T44" fmla="*/ 284 w 479"/>
              <a:gd name="T45" fmla="*/ 213 h 471"/>
              <a:gd name="T46" fmla="*/ 256 w 479"/>
              <a:gd name="T47" fmla="*/ 231 h 471"/>
              <a:gd name="T48" fmla="*/ 256 w 479"/>
              <a:gd name="T49" fmla="*/ 240 h 471"/>
              <a:gd name="T50" fmla="*/ 256 w 479"/>
              <a:gd name="T51" fmla="*/ 338 h 471"/>
              <a:gd name="T52" fmla="*/ 212 w 479"/>
              <a:gd name="T53" fmla="*/ 338 h 471"/>
              <a:gd name="T54" fmla="*/ 212 w 479"/>
              <a:gd name="T55" fmla="*/ 231 h 471"/>
              <a:gd name="T56" fmla="*/ 203 w 479"/>
              <a:gd name="T57" fmla="*/ 178 h 471"/>
              <a:gd name="T58" fmla="*/ 247 w 479"/>
              <a:gd name="T59" fmla="*/ 178 h 471"/>
              <a:gd name="T60" fmla="*/ 247 w 479"/>
              <a:gd name="T61" fmla="*/ 196 h 471"/>
              <a:gd name="T62" fmla="*/ 256 w 479"/>
              <a:gd name="T63" fmla="*/ 196 h 471"/>
              <a:gd name="T64" fmla="*/ 300 w 479"/>
              <a:gd name="T65" fmla="*/ 178 h 471"/>
              <a:gd name="T66" fmla="*/ 354 w 479"/>
              <a:gd name="T67" fmla="*/ 240 h 471"/>
              <a:gd name="T68" fmla="*/ 354 w 479"/>
              <a:gd name="T69" fmla="*/ 338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79" h="471">
                <a:moveTo>
                  <a:pt x="239" y="0"/>
                </a:moveTo>
                <a:lnTo>
                  <a:pt x="239" y="0"/>
                </a:lnTo>
                <a:cubicBezTo>
                  <a:pt x="106" y="0"/>
                  <a:pt x="0" y="107"/>
                  <a:pt x="0" y="231"/>
                </a:cubicBezTo>
                <a:cubicBezTo>
                  <a:pt x="0" y="364"/>
                  <a:pt x="106" y="470"/>
                  <a:pt x="239" y="470"/>
                </a:cubicBezTo>
                <a:cubicBezTo>
                  <a:pt x="372" y="470"/>
                  <a:pt x="478" y="364"/>
                  <a:pt x="478" y="231"/>
                </a:cubicBezTo>
                <a:cubicBezTo>
                  <a:pt x="478" y="107"/>
                  <a:pt x="372" y="0"/>
                  <a:pt x="239" y="0"/>
                </a:cubicBezTo>
                <a:close/>
                <a:moveTo>
                  <a:pt x="177" y="338"/>
                </a:moveTo>
                <a:lnTo>
                  <a:pt x="177" y="338"/>
                </a:lnTo>
                <a:cubicBezTo>
                  <a:pt x="133" y="338"/>
                  <a:pt x="133" y="338"/>
                  <a:pt x="133" y="338"/>
                </a:cubicBezTo>
                <a:cubicBezTo>
                  <a:pt x="133" y="178"/>
                  <a:pt x="133" y="178"/>
                  <a:pt x="133" y="178"/>
                </a:cubicBezTo>
                <a:cubicBezTo>
                  <a:pt x="177" y="178"/>
                  <a:pt x="177" y="178"/>
                  <a:pt x="177" y="178"/>
                </a:cubicBezTo>
                <a:lnTo>
                  <a:pt x="177" y="338"/>
                </a:lnTo>
                <a:close/>
                <a:moveTo>
                  <a:pt x="159" y="160"/>
                </a:moveTo>
                <a:lnTo>
                  <a:pt x="159" y="160"/>
                </a:lnTo>
                <a:cubicBezTo>
                  <a:pt x="141" y="160"/>
                  <a:pt x="133" y="151"/>
                  <a:pt x="133" y="134"/>
                </a:cubicBezTo>
                <a:cubicBezTo>
                  <a:pt x="133" y="125"/>
                  <a:pt x="141" y="107"/>
                  <a:pt x="159" y="107"/>
                </a:cubicBezTo>
                <a:cubicBezTo>
                  <a:pt x="168" y="107"/>
                  <a:pt x="177" y="125"/>
                  <a:pt x="186" y="134"/>
                </a:cubicBezTo>
                <a:cubicBezTo>
                  <a:pt x="186" y="151"/>
                  <a:pt x="168" y="160"/>
                  <a:pt x="159" y="160"/>
                </a:cubicBezTo>
                <a:close/>
                <a:moveTo>
                  <a:pt x="354" y="338"/>
                </a:moveTo>
                <a:lnTo>
                  <a:pt x="354" y="338"/>
                </a:lnTo>
                <a:cubicBezTo>
                  <a:pt x="310" y="338"/>
                  <a:pt x="310" y="338"/>
                  <a:pt x="310" y="338"/>
                </a:cubicBezTo>
                <a:cubicBezTo>
                  <a:pt x="310" y="249"/>
                  <a:pt x="310" y="249"/>
                  <a:pt x="310" y="249"/>
                </a:cubicBezTo>
                <a:cubicBezTo>
                  <a:pt x="310" y="231"/>
                  <a:pt x="300" y="213"/>
                  <a:pt x="284" y="213"/>
                </a:cubicBezTo>
                <a:cubicBezTo>
                  <a:pt x="275" y="213"/>
                  <a:pt x="265" y="222"/>
                  <a:pt x="256" y="231"/>
                </a:cubicBezTo>
                <a:lnTo>
                  <a:pt x="256" y="240"/>
                </a:lnTo>
                <a:cubicBezTo>
                  <a:pt x="256" y="338"/>
                  <a:pt x="256" y="338"/>
                  <a:pt x="256" y="338"/>
                </a:cubicBezTo>
                <a:cubicBezTo>
                  <a:pt x="212" y="338"/>
                  <a:pt x="212" y="338"/>
                  <a:pt x="212" y="338"/>
                </a:cubicBezTo>
                <a:cubicBezTo>
                  <a:pt x="212" y="231"/>
                  <a:pt x="212" y="231"/>
                  <a:pt x="212" y="231"/>
                </a:cubicBezTo>
                <a:cubicBezTo>
                  <a:pt x="212" y="205"/>
                  <a:pt x="212" y="196"/>
                  <a:pt x="203" y="178"/>
                </a:cubicBezTo>
                <a:cubicBezTo>
                  <a:pt x="247" y="178"/>
                  <a:pt x="247" y="178"/>
                  <a:pt x="247" y="178"/>
                </a:cubicBezTo>
                <a:cubicBezTo>
                  <a:pt x="247" y="196"/>
                  <a:pt x="247" y="196"/>
                  <a:pt x="247" y="196"/>
                </a:cubicBezTo>
                <a:cubicBezTo>
                  <a:pt x="256" y="196"/>
                  <a:pt x="256" y="196"/>
                  <a:pt x="256" y="196"/>
                </a:cubicBezTo>
                <a:cubicBezTo>
                  <a:pt x="256" y="187"/>
                  <a:pt x="275" y="178"/>
                  <a:pt x="300" y="178"/>
                </a:cubicBezTo>
                <a:cubicBezTo>
                  <a:pt x="337" y="178"/>
                  <a:pt x="354" y="196"/>
                  <a:pt x="354" y="240"/>
                </a:cubicBezTo>
                <a:lnTo>
                  <a:pt x="354" y="3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0" name="Freeform 86"/>
          <p:cNvSpPr>
            <a:spLocks noChangeArrowheads="1"/>
          </p:cNvSpPr>
          <p:nvPr/>
        </p:nvSpPr>
        <p:spPr bwMode="auto">
          <a:xfrm>
            <a:off x="7838157" y="4835576"/>
            <a:ext cx="880910" cy="864746"/>
          </a:xfrm>
          <a:custGeom>
            <a:avLst/>
            <a:gdLst>
              <a:gd name="T0" fmla="*/ 239 w 480"/>
              <a:gd name="T1" fmla="*/ 0 h 471"/>
              <a:gd name="T2" fmla="*/ 239 w 480"/>
              <a:gd name="T3" fmla="*/ 0 h 471"/>
              <a:gd name="T4" fmla="*/ 0 w 480"/>
              <a:gd name="T5" fmla="*/ 231 h 471"/>
              <a:gd name="T6" fmla="*/ 239 w 480"/>
              <a:gd name="T7" fmla="*/ 470 h 471"/>
              <a:gd name="T8" fmla="*/ 479 w 480"/>
              <a:gd name="T9" fmla="*/ 231 h 471"/>
              <a:gd name="T10" fmla="*/ 239 w 480"/>
              <a:gd name="T11" fmla="*/ 0 h 471"/>
              <a:gd name="T12" fmla="*/ 337 w 480"/>
              <a:gd name="T13" fmla="*/ 195 h 471"/>
              <a:gd name="T14" fmla="*/ 337 w 480"/>
              <a:gd name="T15" fmla="*/ 195 h 471"/>
              <a:gd name="T16" fmla="*/ 337 w 480"/>
              <a:gd name="T17" fmla="*/ 195 h 471"/>
              <a:gd name="T18" fmla="*/ 204 w 480"/>
              <a:gd name="T19" fmla="*/ 328 h 471"/>
              <a:gd name="T20" fmla="*/ 133 w 480"/>
              <a:gd name="T21" fmla="*/ 310 h 471"/>
              <a:gd name="T22" fmla="*/ 142 w 480"/>
              <a:gd name="T23" fmla="*/ 310 h 471"/>
              <a:gd name="T24" fmla="*/ 204 w 480"/>
              <a:gd name="T25" fmla="*/ 293 h 471"/>
              <a:gd name="T26" fmla="*/ 160 w 480"/>
              <a:gd name="T27" fmla="*/ 257 h 471"/>
              <a:gd name="T28" fmla="*/ 169 w 480"/>
              <a:gd name="T29" fmla="*/ 257 h 471"/>
              <a:gd name="T30" fmla="*/ 178 w 480"/>
              <a:gd name="T31" fmla="*/ 257 h 471"/>
              <a:gd name="T32" fmla="*/ 142 w 480"/>
              <a:gd name="T33" fmla="*/ 213 h 471"/>
              <a:gd name="T34" fmla="*/ 142 w 480"/>
              <a:gd name="T35" fmla="*/ 213 h 471"/>
              <a:gd name="T36" fmla="*/ 160 w 480"/>
              <a:gd name="T37" fmla="*/ 213 h 471"/>
              <a:gd name="T38" fmla="*/ 142 w 480"/>
              <a:gd name="T39" fmla="*/ 178 h 471"/>
              <a:gd name="T40" fmla="*/ 151 w 480"/>
              <a:gd name="T41" fmla="*/ 151 h 471"/>
              <a:gd name="T42" fmla="*/ 239 w 480"/>
              <a:gd name="T43" fmla="*/ 204 h 471"/>
              <a:gd name="T44" fmla="*/ 239 w 480"/>
              <a:gd name="T45" fmla="*/ 195 h 471"/>
              <a:gd name="T46" fmla="*/ 292 w 480"/>
              <a:gd name="T47" fmla="*/ 142 h 471"/>
              <a:gd name="T48" fmla="*/ 319 w 480"/>
              <a:gd name="T49" fmla="*/ 160 h 471"/>
              <a:gd name="T50" fmla="*/ 355 w 480"/>
              <a:gd name="T51" fmla="*/ 151 h 471"/>
              <a:gd name="T52" fmla="*/ 337 w 480"/>
              <a:gd name="T53" fmla="*/ 178 h 471"/>
              <a:gd name="T54" fmla="*/ 364 w 480"/>
              <a:gd name="T55" fmla="*/ 169 h 471"/>
              <a:gd name="T56" fmla="*/ 337 w 480"/>
              <a:gd name="T57" fmla="*/ 195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480" h="471">
                <a:moveTo>
                  <a:pt x="239" y="0"/>
                </a:moveTo>
                <a:lnTo>
                  <a:pt x="239" y="0"/>
                </a:lnTo>
                <a:cubicBezTo>
                  <a:pt x="107" y="0"/>
                  <a:pt x="0" y="107"/>
                  <a:pt x="0" y="231"/>
                </a:cubicBezTo>
                <a:cubicBezTo>
                  <a:pt x="0" y="363"/>
                  <a:pt x="107" y="470"/>
                  <a:pt x="239" y="470"/>
                </a:cubicBezTo>
                <a:cubicBezTo>
                  <a:pt x="372" y="470"/>
                  <a:pt x="479" y="363"/>
                  <a:pt x="479" y="231"/>
                </a:cubicBezTo>
                <a:cubicBezTo>
                  <a:pt x="479" y="107"/>
                  <a:pt x="372" y="0"/>
                  <a:pt x="239" y="0"/>
                </a:cubicBezTo>
                <a:close/>
                <a:moveTo>
                  <a:pt x="337" y="195"/>
                </a:moveTo>
                <a:lnTo>
                  <a:pt x="337" y="195"/>
                </a:lnTo>
                <a:lnTo>
                  <a:pt x="337" y="195"/>
                </a:lnTo>
                <a:cubicBezTo>
                  <a:pt x="337" y="257"/>
                  <a:pt x="292" y="328"/>
                  <a:pt x="204" y="328"/>
                </a:cubicBezTo>
                <a:cubicBezTo>
                  <a:pt x="178" y="328"/>
                  <a:pt x="151" y="319"/>
                  <a:pt x="133" y="310"/>
                </a:cubicBezTo>
                <a:lnTo>
                  <a:pt x="142" y="310"/>
                </a:lnTo>
                <a:cubicBezTo>
                  <a:pt x="160" y="310"/>
                  <a:pt x="186" y="301"/>
                  <a:pt x="204" y="293"/>
                </a:cubicBezTo>
                <a:cubicBezTo>
                  <a:pt x="178" y="293"/>
                  <a:pt x="160" y="275"/>
                  <a:pt x="160" y="257"/>
                </a:cubicBezTo>
                <a:cubicBezTo>
                  <a:pt x="160" y="257"/>
                  <a:pt x="160" y="257"/>
                  <a:pt x="169" y="257"/>
                </a:cubicBezTo>
                <a:lnTo>
                  <a:pt x="178" y="257"/>
                </a:lnTo>
                <a:cubicBezTo>
                  <a:pt x="160" y="248"/>
                  <a:pt x="142" y="231"/>
                  <a:pt x="142" y="213"/>
                </a:cubicBezTo>
                <a:lnTo>
                  <a:pt x="142" y="213"/>
                </a:lnTo>
                <a:cubicBezTo>
                  <a:pt x="142" y="213"/>
                  <a:pt x="151" y="213"/>
                  <a:pt x="160" y="213"/>
                </a:cubicBezTo>
                <a:cubicBezTo>
                  <a:pt x="151" y="204"/>
                  <a:pt x="142" y="195"/>
                  <a:pt x="142" y="178"/>
                </a:cubicBezTo>
                <a:cubicBezTo>
                  <a:pt x="142" y="169"/>
                  <a:pt x="142" y="160"/>
                  <a:pt x="151" y="151"/>
                </a:cubicBezTo>
                <a:cubicBezTo>
                  <a:pt x="169" y="178"/>
                  <a:pt x="204" y="204"/>
                  <a:pt x="239" y="204"/>
                </a:cubicBezTo>
                <a:cubicBezTo>
                  <a:pt x="239" y="195"/>
                  <a:pt x="239" y="195"/>
                  <a:pt x="239" y="195"/>
                </a:cubicBezTo>
                <a:cubicBezTo>
                  <a:pt x="239" y="169"/>
                  <a:pt x="266" y="142"/>
                  <a:pt x="292" y="142"/>
                </a:cubicBezTo>
                <a:cubicBezTo>
                  <a:pt x="301" y="142"/>
                  <a:pt x="319" y="151"/>
                  <a:pt x="319" y="160"/>
                </a:cubicBezTo>
                <a:cubicBezTo>
                  <a:pt x="337" y="160"/>
                  <a:pt x="346" y="151"/>
                  <a:pt x="355" y="151"/>
                </a:cubicBezTo>
                <a:cubicBezTo>
                  <a:pt x="346" y="160"/>
                  <a:pt x="346" y="169"/>
                  <a:pt x="337" y="178"/>
                </a:cubicBezTo>
                <a:cubicBezTo>
                  <a:pt x="346" y="178"/>
                  <a:pt x="355" y="169"/>
                  <a:pt x="364" y="169"/>
                </a:cubicBezTo>
                <a:cubicBezTo>
                  <a:pt x="355" y="178"/>
                  <a:pt x="346" y="187"/>
                  <a:pt x="337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1" name="Freeform 86"/>
          <p:cNvSpPr>
            <a:spLocks noChangeArrowheads="1"/>
          </p:cNvSpPr>
          <p:nvPr/>
        </p:nvSpPr>
        <p:spPr bwMode="auto">
          <a:xfrm>
            <a:off x="18617271" y="4833991"/>
            <a:ext cx="880910" cy="864746"/>
          </a:xfrm>
          <a:custGeom>
            <a:avLst/>
            <a:gdLst>
              <a:gd name="T0" fmla="*/ 239 w 480"/>
              <a:gd name="T1" fmla="*/ 0 h 471"/>
              <a:gd name="T2" fmla="*/ 239 w 480"/>
              <a:gd name="T3" fmla="*/ 0 h 471"/>
              <a:gd name="T4" fmla="*/ 0 w 480"/>
              <a:gd name="T5" fmla="*/ 231 h 471"/>
              <a:gd name="T6" fmla="*/ 239 w 480"/>
              <a:gd name="T7" fmla="*/ 470 h 471"/>
              <a:gd name="T8" fmla="*/ 479 w 480"/>
              <a:gd name="T9" fmla="*/ 231 h 471"/>
              <a:gd name="T10" fmla="*/ 239 w 480"/>
              <a:gd name="T11" fmla="*/ 0 h 471"/>
              <a:gd name="T12" fmla="*/ 337 w 480"/>
              <a:gd name="T13" fmla="*/ 195 h 471"/>
              <a:gd name="T14" fmla="*/ 337 w 480"/>
              <a:gd name="T15" fmla="*/ 195 h 471"/>
              <a:gd name="T16" fmla="*/ 337 w 480"/>
              <a:gd name="T17" fmla="*/ 195 h 471"/>
              <a:gd name="T18" fmla="*/ 204 w 480"/>
              <a:gd name="T19" fmla="*/ 328 h 471"/>
              <a:gd name="T20" fmla="*/ 133 w 480"/>
              <a:gd name="T21" fmla="*/ 310 h 471"/>
              <a:gd name="T22" fmla="*/ 142 w 480"/>
              <a:gd name="T23" fmla="*/ 310 h 471"/>
              <a:gd name="T24" fmla="*/ 204 w 480"/>
              <a:gd name="T25" fmla="*/ 293 h 471"/>
              <a:gd name="T26" fmla="*/ 160 w 480"/>
              <a:gd name="T27" fmla="*/ 257 h 471"/>
              <a:gd name="T28" fmla="*/ 169 w 480"/>
              <a:gd name="T29" fmla="*/ 257 h 471"/>
              <a:gd name="T30" fmla="*/ 178 w 480"/>
              <a:gd name="T31" fmla="*/ 257 h 471"/>
              <a:gd name="T32" fmla="*/ 142 w 480"/>
              <a:gd name="T33" fmla="*/ 213 h 471"/>
              <a:gd name="T34" fmla="*/ 142 w 480"/>
              <a:gd name="T35" fmla="*/ 213 h 471"/>
              <a:gd name="T36" fmla="*/ 160 w 480"/>
              <a:gd name="T37" fmla="*/ 213 h 471"/>
              <a:gd name="T38" fmla="*/ 142 w 480"/>
              <a:gd name="T39" fmla="*/ 178 h 471"/>
              <a:gd name="T40" fmla="*/ 151 w 480"/>
              <a:gd name="T41" fmla="*/ 151 h 471"/>
              <a:gd name="T42" fmla="*/ 239 w 480"/>
              <a:gd name="T43" fmla="*/ 204 h 471"/>
              <a:gd name="T44" fmla="*/ 239 w 480"/>
              <a:gd name="T45" fmla="*/ 195 h 471"/>
              <a:gd name="T46" fmla="*/ 292 w 480"/>
              <a:gd name="T47" fmla="*/ 142 h 471"/>
              <a:gd name="T48" fmla="*/ 319 w 480"/>
              <a:gd name="T49" fmla="*/ 160 h 471"/>
              <a:gd name="T50" fmla="*/ 355 w 480"/>
              <a:gd name="T51" fmla="*/ 151 h 471"/>
              <a:gd name="T52" fmla="*/ 337 w 480"/>
              <a:gd name="T53" fmla="*/ 178 h 471"/>
              <a:gd name="T54" fmla="*/ 364 w 480"/>
              <a:gd name="T55" fmla="*/ 169 h 471"/>
              <a:gd name="T56" fmla="*/ 337 w 480"/>
              <a:gd name="T57" fmla="*/ 195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480" h="471">
                <a:moveTo>
                  <a:pt x="239" y="0"/>
                </a:moveTo>
                <a:lnTo>
                  <a:pt x="239" y="0"/>
                </a:lnTo>
                <a:cubicBezTo>
                  <a:pt x="107" y="0"/>
                  <a:pt x="0" y="107"/>
                  <a:pt x="0" y="231"/>
                </a:cubicBezTo>
                <a:cubicBezTo>
                  <a:pt x="0" y="363"/>
                  <a:pt x="107" y="470"/>
                  <a:pt x="239" y="470"/>
                </a:cubicBezTo>
                <a:cubicBezTo>
                  <a:pt x="372" y="470"/>
                  <a:pt x="479" y="363"/>
                  <a:pt x="479" y="231"/>
                </a:cubicBezTo>
                <a:cubicBezTo>
                  <a:pt x="479" y="107"/>
                  <a:pt x="372" y="0"/>
                  <a:pt x="239" y="0"/>
                </a:cubicBezTo>
                <a:close/>
                <a:moveTo>
                  <a:pt x="337" y="195"/>
                </a:moveTo>
                <a:lnTo>
                  <a:pt x="337" y="195"/>
                </a:lnTo>
                <a:lnTo>
                  <a:pt x="337" y="195"/>
                </a:lnTo>
                <a:cubicBezTo>
                  <a:pt x="337" y="257"/>
                  <a:pt x="292" y="328"/>
                  <a:pt x="204" y="328"/>
                </a:cubicBezTo>
                <a:cubicBezTo>
                  <a:pt x="178" y="328"/>
                  <a:pt x="151" y="319"/>
                  <a:pt x="133" y="310"/>
                </a:cubicBezTo>
                <a:lnTo>
                  <a:pt x="142" y="310"/>
                </a:lnTo>
                <a:cubicBezTo>
                  <a:pt x="160" y="310"/>
                  <a:pt x="186" y="301"/>
                  <a:pt x="204" y="293"/>
                </a:cubicBezTo>
                <a:cubicBezTo>
                  <a:pt x="178" y="293"/>
                  <a:pt x="160" y="275"/>
                  <a:pt x="160" y="257"/>
                </a:cubicBezTo>
                <a:cubicBezTo>
                  <a:pt x="160" y="257"/>
                  <a:pt x="160" y="257"/>
                  <a:pt x="169" y="257"/>
                </a:cubicBezTo>
                <a:lnTo>
                  <a:pt x="178" y="257"/>
                </a:lnTo>
                <a:cubicBezTo>
                  <a:pt x="160" y="248"/>
                  <a:pt x="142" y="231"/>
                  <a:pt x="142" y="213"/>
                </a:cubicBezTo>
                <a:lnTo>
                  <a:pt x="142" y="213"/>
                </a:lnTo>
                <a:cubicBezTo>
                  <a:pt x="142" y="213"/>
                  <a:pt x="151" y="213"/>
                  <a:pt x="160" y="213"/>
                </a:cubicBezTo>
                <a:cubicBezTo>
                  <a:pt x="151" y="204"/>
                  <a:pt x="142" y="195"/>
                  <a:pt x="142" y="178"/>
                </a:cubicBezTo>
                <a:cubicBezTo>
                  <a:pt x="142" y="169"/>
                  <a:pt x="142" y="160"/>
                  <a:pt x="151" y="151"/>
                </a:cubicBezTo>
                <a:cubicBezTo>
                  <a:pt x="169" y="178"/>
                  <a:pt x="204" y="204"/>
                  <a:pt x="239" y="204"/>
                </a:cubicBezTo>
                <a:cubicBezTo>
                  <a:pt x="239" y="195"/>
                  <a:pt x="239" y="195"/>
                  <a:pt x="239" y="195"/>
                </a:cubicBezTo>
                <a:cubicBezTo>
                  <a:pt x="239" y="169"/>
                  <a:pt x="266" y="142"/>
                  <a:pt x="292" y="142"/>
                </a:cubicBezTo>
                <a:cubicBezTo>
                  <a:pt x="301" y="142"/>
                  <a:pt x="319" y="151"/>
                  <a:pt x="319" y="160"/>
                </a:cubicBezTo>
                <a:cubicBezTo>
                  <a:pt x="337" y="160"/>
                  <a:pt x="346" y="151"/>
                  <a:pt x="355" y="151"/>
                </a:cubicBezTo>
                <a:cubicBezTo>
                  <a:pt x="346" y="160"/>
                  <a:pt x="346" y="169"/>
                  <a:pt x="337" y="178"/>
                </a:cubicBezTo>
                <a:cubicBezTo>
                  <a:pt x="346" y="178"/>
                  <a:pt x="355" y="169"/>
                  <a:pt x="364" y="169"/>
                </a:cubicBezTo>
                <a:cubicBezTo>
                  <a:pt x="355" y="178"/>
                  <a:pt x="346" y="187"/>
                  <a:pt x="337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2" name="Freeform 78"/>
          <p:cNvSpPr>
            <a:spLocks noChangeArrowheads="1"/>
          </p:cNvSpPr>
          <p:nvPr/>
        </p:nvSpPr>
        <p:spPr bwMode="auto">
          <a:xfrm>
            <a:off x="15713037" y="4868274"/>
            <a:ext cx="880910" cy="864746"/>
          </a:xfrm>
          <a:custGeom>
            <a:avLst/>
            <a:gdLst>
              <a:gd name="T0" fmla="*/ 212 w 479"/>
              <a:gd name="T1" fmla="*/ 169 h 471"/>
              <a:gd name="T2" fmla="*/ 212 w 479"/>
              <a:gd name="T3" fmla="*/ 169 h 471"/>
              <a:gd name="T4" fmla="*/ 185 w 479"/>
              <a:gd name="T5" fmla="*/ 142 h 471"/>
              <a:gd name="T6" fmla="*/ 177 w 479"/>
              <a:gd name="T7" fmla="*/ 142 h 471"/>
              <a:gd name="T8" fmla="*/ 168 w 479"/>
              <a:gd name="T9" fmla="*/ 160 h 471"/>
              <a:gd name="T10" fmla="*/ 168 w 479"/>
              <a:gd name="T11" fmla="*/ 187 h 471"/>
              <a:gd name="T12" fmla="*/ 194 w 479"/>
              <a:gd name="T13" fmla="*/ 213 h 471"/>
              <a:gd name="T14" fmla="*/ 203 w 479"/>
              <a:gd name="T15" fmla="*/ 213 h 471"/>
              <a:gd name="T16" fmla="*/ 212 w 479"/>
              <a:gd name="T17" fmla="*/ 169 h 471"/>
              <a:gd name="T18" fmla="*/ 238 w 479"/>
              <a:gd name="T19" fmla="*/ 0 h 471"/>
              <a:gd name="T20" fmla="*/ 238 w 479"/>
              <a:gd name="T21" fmla="*/ 0 h 471"/>
              <a:gd name="T22" fmla="*/ 0 w 479"/>
              <a:gd name="T23" fmla="*/ 231 h 471"/>
              <a:gd name="T24" fmla="*/ 238 w 479"/>
              <a:gd name="T25" fmla="*/ 470 h 471"/>
              <a:gd name="T26" fmla="*/ 478 w 479"/>
              <a:gd name="T27" fmla="*/ 231 h 471"/>
              <a:gd name="T28" fmla="*/ 238 w 479"/>
              <a:gd name="T29" fmla="*/ 0 h 471"/>
              <a:gd name="T30" fmla="*/ 221 w 479"/>
              <a:gd name="T31" fmla="*/ 338 h 471"/>
              <a:gd name="T32" fmla="*/ 221 w 479"/>
              <a:gd name="T33" fmla="*/ 338 h 471"/>
              <a:gd name="T34" fmla="*/ 185 w 479"/>
              <a:gd name="T35" fmla="*/ 346 h 471"/>
              <a:gd name="T36" fmla="*/ 185 w 479"/>
              <a:gd name="T37" fmla="*/ 346 h 471"/>
              <a:gd name="T38" fmla="*/ 185 w 479"/>
              <a:gd name="T39" fmla="*/ 346 h 471"/>
              <a:gd name="T40" fmla="*/ 124 w 479"/>
              <a:gd name="T41" fmla="*/ 301 h 471"/>
              <a:gd name="T42" fmla="*/ 194 w 479"/>
              <a:gd name="T43" fmla="*/ 248 h 471"/>
              <a:gd name="T44" fmla="*/ 194 w 479"/>
              <a:gd name="T45" fmla="*/ 248 h 471"/>
              <a:gd name="T46" fmla="*/ 185 w 479"/>
              <a:gd name="T47" fmla="*/ 231 h 471"/>
              <a:gd name="T48" fmla="*/ 185 w 479"/>
              <a:gd name="T49" fmla="*/ 231 h 471"/>
              <a:gd name="T50" fmla="*/ 159 w 479"/>
              <a:gd name="T51" fmla="*/ 222 h 471"/>
              <a:gd name="T52" fmla="*/ 141 w 479"/>
              <a:gd name="T53" fmla="*/ 178 h 471"/>
              <a:gd name="T54" fmla="*/ 194 w 479"/>
              <a:gd name="T55" fmla="*/ 125 h 471"/>
              <a:gd name="T56" fmla="*/ 256 w 479"/>
              <a:gd name="T57" fmla="*/ 125 h 471"/>
              <a:gd name="T58" fmla="*/ 256 w 479"/>
              <a:gd name="T59" fmla="*/ 125 h 471"/>
              <a:gd name="T60" fmla="*/ 238 w 479"/>
              <a:gd name="T61" fmla="*/ 134 h 471"/>
              <a:gd name="T62" fmla="*/ 221 w 479"/>
              <a:gd name="T63" fmla="*/ 134 h 471"/>
              <a:gd name="T64" fmla="*/ 238 w 479"/>
              <a:gd name="T65" fmla="*/ 178 h 471"/>
              <a:gd name="T66" fmla="*/ 230 w 479"/>
              <a:gd name="T67" fmla="*/ 213 h 471"/>
              <a:gd name="T68" fmla="*/ 212 w 479"/>
              <a:gd name="T69" fmla="*/ 231 h 471"/>
              <a:gd name="T70" fmla="*/ 230 w 479"/>
              <a:gd name="T71" fmla="*/ 240 h 471"/>
              <a:gd name="T72" fmla="*/ 256 w 479"/>
              <a:gd name="T73" fmla="*/ 284 h 471"/>
              <a:gd name="T74" fmla="*/ 221 w 479"/>
              <a:gd name="T75" fmla="*/ 338 h 471"/>
              <a:gd name="T76" fmla="*/ 354 w 479"/>
              <a:gd name="T77" fmla="*/ 231 h 471"/>
              <a:gd name="T78" fmla="*/ 354 w 479"/>
              <a:gd name="T79" fmla="*/ 231 h 471"/>
              <a:gd name="T80" fmla="*/ 310 w 479"/>
              <a:gd name="T81" fmla="*/ 231 h 471"/>
              <a:gd name="T82" fmla="*/ 310 w 479"/>
              <a:gd name="T83" fmla="*/ 275 h 471"/>
              <a:gd name="T84" fmla="*/ 291 w 479"/>
              <a:gd name="T85" fmla="*/ 275 h 471"/>
              <a:gd name="T86" fmla="*/ 291 w 479"/>
              <a:gd name="T87" fmla="*/ 231 h 471"/>
              <a:gd name="T88" fmla="*/ 256 w 479"/>
              <a:gd name="T89" fmla="*/ 231 h 471"/>
              <a:gd name="T90" fmla="*/ 256 w 479"/>
              <a:gd name="T91" fmla="*/ 213 h 471"/>
              <a:gd name="T92" fmla="*/ 291 w 479"/>
              <a:gd name="T93" fmla="*/ 213 h 471"/>
              <a:gd name="T94" fmla="*/ 291 w 479"/>
              <a:gd name="T95" fmla="*/ 169 h 471"/>
              <a:gd name="T96" fmla="*/ 310 w 479"/>
              <a:gd name="T97" fmla="*/ 169 h 471"/>
              <a:gd name="T98" fmla="*/ 310 w 479"/>
              <a:gd name="T99" fmla="*/ 213 h 471"/>
              <a:gd name="T100" fmla="*/ 354 w 479"/>
              <a:gd name="T101" fmla="*/ 213 h 471"/>
              <a:gd name="T102" fmla="*/ 354 w 479"/>
              <a:gd name="T103" fmla="*/ 231 h 471"/>
              <a:gd name="T104" fmla="*/ 194 w 479"/>
              <a:gd name="T105" fmla="*/ 266 h 471"/>
              <a:gd name="T106" fmla="*/ 194 w 479"/>
              <a:gd name="T107" fmla="*/ 266 h 471"/>
              <a:gd name="T108" fmla="*/ 194 w 479"/>
              <a:gd name="T109" fmla="*/ 266 h 471"/>
              <a:gd name="T110" fmla="*/ 159 w 479"/>
              <a:gd name="T111" fmla="*/ 275 h 471"/>
              <a:gd name="T112" fmla="*/ 150 w 479"/>
              <a:gd name="T113" fmla="*/ 301 h 471"/>
              <a:gd name="T114" fmla="*/ 194 w 479"/>
              <a:gd name="T115" fmla="*/ 328 h 471"/>
              <a:gd name="T116" fmla="*/ 230 w 479"/>
              <a:gd name="T117" fmla="*/ 293 h 471"/>
              <a:gd name="T118" fmla="*/ 194 w 479"/>
              <a:gd name="T119" fmla="*/ 266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9" h="471">
                <a:moveTo>
                  <a:pt x="212" y="169"/>
                </a:moveTo>
                <a:lnTo>
                  <a:pt x="212" y="169"/>
                </a:lnTo>
                <a:cubicBezTo>
                  <a:pt x="212" y="142"/>
                  <a:pt x="203" y="142"/>
                  <a:pt x="185" y="142"/>
                </a:cubicBezTo>
                <a:cubicBezTo>
                  <a:pt x="185" y="142"/>
                  <a:pt x="185" y="142"/>
                  <a:pt x="177" y="142"/>
                </a:cubicBezTo>
                <a:cubicBezTo>
                  <a:pt x="177" y="142"/>
                  <a:pt x="168" y="151"/>
                  <a:pt x="168" y="160"/>
                </a:cubicBezTo>
                <a:cubicBezTo>
                  <a:pt x="159" y="160"/>
                  <a:pt x="159" y="169"/>
                  <a:pt x="168" y="187"/>
                </a:cubicBezTo>
                <a:cubicBezTo>
                  <a:pt x="168" y="195"/>
                  <a:pt x="185" y="213"/>
                  <a:pt x="194" y="213"/>
                </a:cubicBezTo>
                <a:cubicBezTo>
                  <a:pt x="194" y="213"/>
                  <a:pt x="194" y="213"/>
                  <a:pt x="203" y="213"/>
                </a:cubicBezTo>
                <a:cubicBezTo>
                  <a:pt x="212" y="204"/>
                  <a:pt x="221" y="187"/>
                  <a:pt x="212" y="169"/>
                </a:cubicBezTo>
                <a:close/>
                <a:moveTo>
                  <a:pt x="238" y="0"/>
                </a:moveTo>
                <a:lnTo>
                  <a:pt x="238" y="0"/>
                </a:lnTo>
                <a:cubicBezTo>
                  <a:pt x="106" y="0"/>
                  <a:pt x="0" y="107"/>
                  <a:pt x="0" y="231"/>
                </a:cubicBezTo>
                <a:cubicBezTo>
                  <a:pt x="0" y="363"/>
                  <a:pt x="106" y="470"/>
                  <a:pt x="238" y="470"/>
                </a:cubicBezTo>
                <a:cubicBezTo>
                  <a:pt x="372" y="470"/>
                  <a:pt x="478" y="363"/>
                  <a:pt x="478" y="231"/>
                </a:cubicBezTo>
                <a:cubicBezTo>
                  <a:pt x="478" y="107"/>
                  <a:pt x="372" y="0"/>
                  <a:pt x="238" y="0"/>
                </a:cubicBezTo>
                <a:close/>
                <a:moveTo>
                  <a:pt x="221" y="338"/>
                </a:moveTo>
                <a:lnTo>
                  <a:pt x="221" y="338"/>
                </a:lnTo>
                <a:cubicBezTo>
                  <a:pt x="212" y="346"/>
                  <a:pt x="194" y="346"/>
                  <a:pt x="185" y="346"/>
                </a:cubicBezTo>
                <a:lnTo>
                  <a:pt x="185" y="346"/>
                </a:lnTo>
                <a:lnTo>
                  <a:pt x="185" y="346"/>
                </a:lnTo>
                <a:cubicBezTo>
                  <a:pt x="177" y="346"/>
                  <a:pt x="124" y="346"/>
                  <a:pt x="124" y="301"/>
                </a:cubicBezTo>
                <a:cubicBezTo>
                  <a:pt x="124" y="257"/>
                  <a:pt x="177" y="248"/>
                  <a:pt x="194" y="248"/>
                </a:cubicBezTo>
                <a:lnTo>
                  <a:pt x="194" y="248"/>
                </a:lnTo>
                <a:cubicBezTo>
                  <a:pt x="185" y="240"/>
                  <a:pt x="185" y="231"/>
                  <a:pt x="185" y="231"/>
                </a:cubicBezTo>
                <a:lnTo>
                  <a:pt x="185" y="231"/>
                </a:lnTo>
                <a:cubicBezTo>
                  <a:pt x="177" y="231"/>
                  <a:pt x="168" y="222"/>
                  <a:pt x="159" y="222"/>
                </a:cubicBezTo>
                <a:cubicBezTo>
                  <a:pt x="141" y="213"/>
                  <a:pt x="141" y="195"/>
                  <a:pt x="141" y="178"/>
                </a:cubicBezTo>
                <a:cubicBezTo>
                  <a:pt x="141" y="125"/>
                  <a:pt x="194" y="125"/>
                  <a:pt x="194" y="125"/>
                </a:cubicBezTo>
                <a:cubicBezTo>
                  <a:pt x="256" y="125"/>
                  <a:pt x="256" y="125"/>
                  <a:pt x="256" y="125"/>
                </a:cubicBezTo>
                <a:lnTo>
                  <a:pt x="256" y="125"/>
                </a:lnTo>
                <a:cubicBezTo>
                  <a:pt x="256" y="134"/>
                  <a:pt x="238" y="134"/>
                  <a:pt x="238" y="134"/>
                </a:cubicBezTo>
                <a:cubicBezTo>
                  <a:pt x="230" y="134"/>
                  <a:pt x="230" y="134"/>
                  <a:pt x="221" y="134"/>
                </a:cubicBezTo>
                <a:cubicBezTo>
                  <a:pt x="238" y="142"/>
                  <a:pt x="238" y="160"/>
                  <a:pt x="238" y="178"/>
                </a:cubicBezTo>
                <a:cubicBezTo>
                  <a:pt x="238" y="195"/>
                  <a:pt x="230" y="204"/>
                  <a:pt x="230" y="213"/>
                </a:cubicBezTo>
                <a:cubicBezTo>
                  <a:pt x="221" y="222"/>
                  <a:pt x="212" y="222"/>
                  <a:pt x="212" y="231"/>
                </a:cubicBezTo>
                <a:cubicBezTo>
                  <a:pt x="212" y="231"/>
                  <a:pt x="221" y="240"/>
                  <a:pt x="230" y="240"/>
                </a:cubicBezTo>
                <a:cubicBezTo>
                  <a:pt x="238" y="248"/>
                  <a:pt x="256" y="266"/>
                  <a:pt x="256" y="284"/>
                </a:cubicBezTo>
                <a:cubicBezTo>
                  <a:pt x="256" y="310"/>
                  <a:pt x="247" y="328"/>
                  <a:pt x="221" y="338"/>
                </a:cubicBezTo>
                <a:close/>
                <a:moveTo>
                  <a:pt x="354" y="231"/>
                </a:moveTo>
                <a:lnTo>
                  <a:pt x="354" y="231"/>
                </a:lnTo>
                <a:cubicBezTo>
                  <a:pt x="310" y="231"/>
                  <a:pt x="310" y="231"/>
                  <a:pt x="310" y="231"/>
                </a:cubicBezTo>
                <a:cubicBezTo>
                  <a:pt x="310" y="275"/>
                  <a:pt x="310" y="275"/>
                  <a:pt x="310" y="275"/>
                </a:cubicBezTo>
                <a:cubicBezTo>
                  <a:pt x="291" y="275"/>
                  <a:pt x="291" y="275"/>
                  <a:pt x="291" y="275"/>
                </a:cubicBezTo>
                <a:cubicBezTo>
                  <a:pt x="291" y="231"/>
                  <a:pt x="291" y="231"/>
                  <a:pt x="291" y="231"/>
                </a:cubicBezTo>
                <a:cubicBezTo>
                  <a:pt x="256" y="231"/>
                  <a:pt x="256" y="231"/>
                  <a:pt x="256" y="231"/>
                </a:cubicBezTo>
                <a:cubicBezTo>
                  <a:pt x="256" y="213"/>
                  <a:pt x="256" y="213"/>
                  <a:pt x="256" y="213"/>
                </a:cubicBezTo>
                <a:cubicBezTo>
                  <a:pt x="291" y="213"/>
                  <a:pt x="291" y="213"/>
                  <a:pt x="291" y="213"/>
                </a:cubicBezTo>
                <a:cubicBezTo>
                  <a:pt x="291" y="169"/>
                  <a:pt x="291" y="169"/>
                  <a:pt x="291" y="169"/>
                </a:cubicBezTo>
                <a:cubicBezTo>
                  <a:pt x="310" y="169"/>
                  <a:pt x="310" y="169"/>
                  <a:pt x="310" y="169"/>
                </a:cubicBezTo>
                <a:cubicBezTo>
                  <a:pt x="310" y="213"/>
                  <a:pt x="310" y="213"/>
                  <a:pt x="310" y="213"/>
                </a:cubicBezTo>
                <a:cubicBezTo>
                  <a:pt x="354" y="213"/>
                  <a:pt x="354" y="213"/>
                  <a:pt x="354" y="213"/>
                </a:cubicBezTo>
                <a:lnTo>
                  <a:pt x="354" y="231"/>
                </a:lnTo>
                <a:close/>
                <a:moveTo>
                  <a:pt x="194" y="266"/>
                </a:moveTo>
                <a:lnTo>
                  <a:pt x="194" y="266"/>
                </a:lnTo>
                <a:lnTo>
                  <a:pt x="194" y="266"/>
                </a:lnTo>
                <a:cubicBezTo>
                  <a:pt x="177" y="266"/>
                  <a:pt x="168" y="266"/>
                  <a:pt x="159" y="275"/>
                </a:cubicBezTo>
                <a:cubicBezTo>
                  <a:pt x="159" y="284"/>
                  <a:pt x="150" y="293"/>
                  <a:pt x="150" y="301"/>
                </a:cubicBezTo>
                <a:cubicBezTo>
                  <a:pt x="150" y="319"/>
                  <a:pt x="168" y="328"/>
                  <a:pt x="194" y="328"/>
                </a:cubicBezTo>
                <a:cubicBezTo>
                  <a:pt x="221" y="319"/>
                  <a:pt x="230" y="310"/>
                  <a:pt x="230" y="293"/>
                </a:cubicBezTo>
                <a:cubicBezTo>
                  <a:pt x="230" y="275"/>
                  <a:pt x="212" y="266"/>
                  <a:pt x="194" y="26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3" name="Freeform 79"/>
          <p:cNvSpPr>
            <a:spLocks noChangeArrowheads="1"/>
          </p:cNvSpPr>
          <p:nvPr/>
        </p:nvSpPr>
        <p:spPr bwMode="auto">
          <a:xfrm>
            <a:off x="10330043" y="6688223"/>
            <a:ext cx="880914" cy="864744"/>
          </a:xfrm>
          <a:custGeom>
            <a:avLst/>
            <a:gdLst>
              <a:gd name="T0" fmla="*/ 240 w 479"/>
              <a:gd name="T1" fmla="*/ 0 h 471"/>
              <a:gd name="T2" fmla="*/ 240 w 479"/>
              <a:gd name="T3" fmla="*/ 0 h 471"/>
              <a:gd name="T4" fmla="*/ 0 w 479"/>
              <a:gd name="T5" fmla="*/ 231 h 471"/>
              <a:gd name="T6" fmla="*/ 240 w 479"/>
              <a:gd name="T7" fmla="*/ 470 h 471"/>
              <a:gd name="T8" fmla="*/ 478 w 479"/>
              <a:gd name="T9" fmla="*/ 231 h 471"/>
              <a:gd name="T10" fmla="*/ 240 w 479"/>
              <a:gd name="T11" fmla="*/ 0 h 471"/>
              <a:gd name="T12" fmla="*/ 293 w 479"/>
              <a:gd name="T13" fmla="*/ 160 h 471"/>
              <a:gd name="T14" fmla="*/ 293 w 479"/>
              <a:gd name="T15" fmla="*/ 160 h 471"/>
              <a:gd name="T16" fmla="*/ 257 w 479"/>
              <a:gd name="T17" fmla="*/ 160 h 471"/>
              <a:gd name="T18" fmla="*/ 249 w 479"/>
              <a:gd name="T19" fmla="*/ 178 h 471"/>
              <a:gd name="T20" fmla="*/ 249 w 479"/>
              <a:gd name="T21" fmla="*/ 195 h 471"/>
              <a:gd name="T22" fmla="*/ 293 w 479"/>
              <a:gd name="T23" fmla="*/ 195 h 471"/>
              <a:gd name="T24" fmla="*/ 293 w 479"/>
              <a:gd name="T25" fmla="*/ 240 h 471"/>
              <a:gd name="T26" fmla="*/ 249 w 479"/>
              <a:gd name="T27" fmla="*/ 240 h 471"/>
              <a:gd name="T28" fmla="*/ 249 w 479"/>
              <a:gd name="T29" fmla="*/ 346 h 471"/>
              <a:gd name="T30" fmla="*/ 213 w 479"/>
              <a:gd name="T31" fmla="*/ 346 h 471"/>
              <a:gd name="T32" fmla="*/ 213 w 479"/>
              <a:gd name="T33" fmla="*/ 240 h 471"/>
              <a:gd name="T34" fmla="*/ 169 w 479"/>
              <a:gd name="T35" fmla="*/ 240 h 471"/>
              <a:gd name="T36" fmla="*/ 169 w 479"/>
              <a:gd name="T37" fmla="*/ 195 h 471"/>
              <a:gd name="T38" fmla="*/ 213 w 479"/>
              <a:gd name="T39" fmla="*/ 195 h 471"/>
              <a:gd name="T40" fmla="*/ 213 w 479"/>
              <a:gd name="T41" fmla="*/ 178 h 471"/>
              <a:gd name="T42" fmla="*/ 257 w 479"/>
              <a:gd name="T43" fmla="*/ 125 h 471"/>
              <a:gd name="T44" fmla="*/ 293 w 479"/>
              <a:gd name="T45" fmla="*/ 125 h 471"/>
              <a:gd name="T46" fmla="*/ 293 w 479"/>
              <a:gd name="T47" fmla="*/ 160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79" h="471">
                <a:moveTo>
                  <a:pt x="240" y="0"/>
                </a:moveTo>
                <a:lnTo>
                  <a:pt x="240" y="0"/>
                </a:lnTo>
                <a:cubicBezTo>
                  <a:pt x="106" y="0"/>
                  <a:pt x="0" y="107"/>
                  <a:pt x="0" y="231"/>
                </a:cubicBezTo>
                <a:cubicBezTo>
                  <a:pt x="0" y="363"/>
                  <a:pt x="106" y="470"/>
                  <a:pt x="240" y="470"/>
                </a:cubicBezTo>
                <a:cubicBezTo>
                  <a:pt x="372" y="470"/>
                  <a:pt x="478" y="363"/>
                  <a:pt x="478" y="231"/>
                </a:cubicBezTo>
                <a:cubicBezTo>
                  <a:pt x="478" y="107"/>
                  <a:pt x="372" y="0"/>
                  <a:pt x="240" y="0"/>
                </a:cubicBezTo>
                <a:close/>
                <a:moveTo>
                  <a:pt x="293" y="160"/>
                </a:moveTo>
                <a:lnTo>
                  <a:pt x="293" y="160"/>
                </a:lnTo>
                <a:cubicBezTo>
                  <a:pt x="257" y="160"/>
                  <a:pt x="257" y="160"/>
                  <a:pt x="257" y="160"/>
                </a:cubicBezTo>
                <a:cubicBezTo>
                  <a:pt x="257" y="160"/>
                  <a:pt x="249" y="169"/>
                  <a:pt x="249" y="178"/>
                </a:cubicBezTo>
                <a:cubicBezTo>
                  <a:pt x="249" y="195"/>
                  <a:pt x="249" y="195"/>
                  <a:pt x="249" y="195"/>
                </a:cubicBezTo>
                <a:cubicBezTo>
                  <a:pt x="293" y="195"/>
                  <a:pt x="293" y="195"/>
                  <a:pt x="293" y="195"/>
                </a:cubicBezTo>
                <a:cubicBezTo>
                  <a:pt x="293" y="240"/>
                  <a:pt x="293" y="240"/>
                  <a:pt x="293" y="240"/>
                </a:cubicBezTo>
                <a:cubicBezTo>
                  <a:pt x="249" y="240"/>
                  <a:pt x="249" y="240"/>
                  <a:pt x="249" y="240"/>
                </a:cubicBezTo>
                <a:cubicBezTo>
                  <a:pt x="249" y="346"/>
                  <a:pt x="249" y="346"/>
                  <a:pt x="249" y="346"/>
                </a:cubicBezTo>
                <a:cubicBezTo>
                  <a:pt x="213" y="346"/>
                  <a:pt x="213" y="346"/>
                  <a:pt x="213" y="346"/>
                </a:cubicBezTo>
                <a:cubicBezTo>
                  <a:pt x="213" y="240"/>
                  <a:pt x="213" y="240"/>
                  <a:pt x="213" y="240"/>
                </a:cubicBezTo>
                <a:cubicBezTo>
                  <a:pt x="169" y="240"/>
                  <a:pt x="169" y="240"/>
                  <a:pt x="169" y="240"/>
                </a:cubicBezTo>
                <a:cubicBezTo>
                  <a:pt x="169" y="195"/>
                  <a:pt x="169" y="195"/>
                  <a:pt x="169" y="195"/>
                </a:cubicBezTo>
                <a:cubicBezTo>
                  <a:pt x="213" y="195"/>
                  <a:pt x="213" y="195"/>
                  <a:pt x="213" y="195"/>
                </a:cubicBezTo>
                <a:cubicBezTo>
                  <a:pt x="213" y="178"/>
                  <a:pt x="213" y="178"/>
                  <a:pt x="213" y="178"/>
                </a:cubicBezTo>
                <a:cubicBezTo>
                  <a:pt x="213" y="151"/>
                  <a:pt x="230" y="125"/>
                  <a:pt x="257" y="125"/>
                </a:cubicBezTo>
                <a:cubicBezTo>
                  <a:pt x="293" y="125"/>
                  <a:pt x="293" y="125"/>
                  <a:pt x="293" y="125"/>
                </a:cubicBezTo>
                <a:lnTo>
                  <a:pt x="293" y="1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4" name="Freeform 87"/>
          <p:cNvSpPr>
            <a:spLocks noChangeArrowheads="1"/>
          </p:cNvSpPr>
          <p:nvPr/>
        </p:nvSpPr>
        <p:spPr bwMode="auto">
          <a:xfrm>
            <a:off x="13257701" y="6711761"/>
            <a:ext cx="783934" cy="800094"/>
          </a:xfrm>
          <a:custGeom>
            <a:avLst/>
            <a:gdLst>
              <a:gd name="T0" fmla="*/ 345 w 426"/>
              <a:gd name="T1" fmla="*/ 213 h 435"/>
              <a:gd name="T2" fmla="*/ 345 w 426"/>
              <a:gd name="T3" fmla="*/ 213 h 435"/>
              <a:gd name="T4" fmla="*/ 213 w 426"/>
              <a:gd name="T5" fmla="*/ 346 h 435"/>
              <a:gd name="T6" fmla="*/ 79 w 426"/>
              <a:gd name="T7" fmla="*/ 213 h 435"/>
              <a:gd name="T8" fmla="*/ 88 w 426"/>
              <a:gd name="T9" fmla="*/ 195 h 435"/>
              <a:gd name="T10" fmla="*/ 0 w 426"/>
              <a:gd name="T11" fmla="*/ 195 h 435"/>
              <a:gd name="T12" fmla="*/ 0 w 426"/>
              <a:gd name="T13" fmla="*/ 363 h 435"/>
              <a:gd name="T14" fmla="*/ 62 w 426"/>
              <a:gd name="T15" fmla="*/ 434 h 435"/>
              <a:gd name="T16" fmla="*/ 363 w 426"/>
              <a:gd name="T17" fmla="*/ 434 h 435"/>
              <a:gd name="T18" fmla="*/ 425 w 426"/>
              <a:gd name="T19" fmla="*/ 363 h 435"/>
              <a:gd name="T20" fmla="*/ 425 w 426"/>
              <a:gd name="T21" fmla="*/ 195 h 435"/>
              <a:gd name="T22" fmla="*/ 337 w 426"/>
              <a:gd name="T23" fmla="*/ 195 h 435"/>
              <a:gd name="T24" fmla="*/ 345 w 426"/>
              <a:gd name="T25" fmla="*/ 213 h 435"/>
              <a:gd name="T26" fmla="*/ 363 w 426"/>
              <a:gd name="T27" fmla="*/ 0 h 435"/>
              <a:gd name="T28" fmla="*/ 363 w 426"/>
              <a:gd name="T29" fmla="*/ 0 h 435"/>
              <a:gd name="T30" fmla="*/ 62 w 426"/>
              <a:gd name="T31" fmla="*/ 0 h 435"/>
              <a:gd name="T32" fmla="*/ 0 w 426"/>
              <a:gd name="T33" fmla="*/ 71 h 435"/>
              <a:gd name="T34" fmla="*/ 0 w 426"/>
              <a:gd name="T35" fmla="*/ 142 h 435"/>
              <a:gd name="T36" fmla="*/ 106 w 426"/>
              <a:gd name="T37" fmla="*/ 142 h 435"/>
              <a:gd name="T38" fmla="*/ 213 w 426"/>
              <a:gd name="T39" fmla="*/ 89 h 435"/>
              <a:gd name="T40" fmla="*/ 319 w 426"/>
              <a:gd name="T41" fmla="*/ 142 h 435"/>
              <a:gd name="T42" fmla="*/ 425 w 426"/>
              <a:gd name="T43" fmla="*/ 142 h 435"/>
              <a:gd name="T44" fmla="*/ 425 w 426"/>
              <a:gd name="T45" fmla="*/ 71 h 435"/>
              <a:gd name="T46" fmla="*/ 363 w 426"/>
              <a:gd name="T47" fmla="*/ 0 h 435"/>
              <a:gd name="T48" fmla="*/ 390 w 426"/>
              <a:gd name="T49" fmla="*/ 89 h 435"/>
              <a:gd name="T50" fmla="*/ 390 w 426"/>
              <a:gd name="T51" fmla="*/ 89 h 435"/>
              <a:gd name="T52" fmla="*/ 381 w 426"/>
              <a:gd name="T53" fmla="*/ 97 h 435"/>
              <a:gd name="T54" fmla="*/ 345 w 426"/>
              <a:gd name="T55" fmla="*/ 97 h 435"/>
              <a:gd name="T56" fmla="*/ 328 w 426"/>
              <a:gd name="T57" fmla="*/ 89 h 435"/>
              <a:gd name="T58" fmla="*/ 328 w 426"/>
              <a:gd name="T59" fmla="*/ 53 h 435"/>
              <a:gd name="T60" fmla="*/ 345 w 426"/>
              <a:gd name="T61" fmla="*/ 36 h 435"/>
              <a:gd name="T62" fmla="*/ 381 w 426"/>
              <a:gd name="T63" fmla="*/ 36 h 435"/>
              <a:gd name="T64" fmla="*/ 390 w 426"/>
              <a:gd name="T65" fmla="*/ 53 h 435"/>
              <a:gd name="T66" fmla="*/ 390 w 426"/>
              <a:gd name="T67" fmla="*/ 89 h 435"/>
              <a:gd name="T68" fmla="*/ 292 w 426"/>
              <a:gd name="T69" fmla="*/ 213 h 435"/>
              <a:gd name="T70" fmla="*/ 292 w 426"/>
              <a:gd name="T71" fmla="*/ 213 h 435"/>
              <a:gd name="T72" fmla="*/ 213 w 426"/>
              <a:gd name="T73" fmla="*/ 133 h 435"/>
              <a:gd name="T74" fmla="*/ 132 w 426"/>
              <a:gd name="T75" fmla="*/ 213 h 435"/>
              <a:gd name="T76" fmla="*/ 213 w 426"/>
              <a:gd name="T77" fmla="*/ 293 h 435"/>
              <a:gd name="T78" fmla="*/ 292 w 426"/>
              <a:gd name="T79" fmla="*/ 213 h 4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426" h="435">
                <a:moveTo>
                  <a:pt x="345" y="213"/>
                </a:moveTo>
                <a:lnTo>
                  <a:pt x="345" y="213"/>
                </a:lnTo>
                <a:cubicBezTo>
                  <a:pt x="345" y="284"/>
                  <a:pt x="284" y="346"/>
                  <a:pt x="213" y="346"/>
                </a:cubicBezTo>
                <a:cubicBezTo>
                  <a:pt x="142" y="346"/>
                  <a:pt x="79" y="284"/>
                  <a:pt x="79" y="213"/>
                </a:cubicBezTo>
                <a:cubicBezTo>
                  <a:pt x="79" y="203"/>
                  <a:pt x="88" y="203"/>
                  <a:pt x="88" y="195"/>
                </a:cubicBezTo>
                <a:cubicBezTo>
                  <a:pt x="0" y="195"/>
                  <a:pt x="0" y="195"/>
                  <a:pt x="0" y="195"/>
                </a:cubicBezTo>
                <a:cubicBezTo>
                  <a:pt x="0" y="363"/>
                  <a:pt x="0" y="363"/>
                  <a:pt x="0" y="363"/>
                </a:cubicBezTo>
                <a:cubicBezTo>
                  <a:pt x="0" y="399"/>
                  <a:pt x="26" y="434"/>
                  <a:pt x="62" y="434"/>
                </a:cubicBezTo>
                <a:cubicBezTo>
                  <a:pt x="363" y="434"/>
                  <a:pt x="363" y="434"/>
                  <a:pt x="363" y="434"/>
                </a:cubicBezTo>
                <a:cubicBezTo>
                  <a:pt x="398" y="434"/>
                  <a:pt x="425" y="399"/>
                  <a:pt x="425" y="363"/>
                </a:cubicBezTo>
                <a:cubicBezTo>
                  <a:pt x="425" y="195"/>
                  <a:pt x="425" y="195"/>
                  <a:pt x="425" y="195"/>
                </a:cubicBezTo>
                <a:cubicBezTo>
                  <a:pt x="337" y="195"/>
                  <a:pt x="337" y="195"/>
                  <a:pt x="337" y="195"/>
                </a:cubicBezTo>
                <a:cubicBezTo>
                  <a:pt x="337" y="203"/>
                  <a:pt x="345" y="203"/>
                  <a:pt x="345" y="213"/>
                </a:cubicBezTo>
                <a:close/>
                <a:moveTo>
                  <a:pt x="363" y="0"/>
                </a:moveTo>
                <a:lnTo>
                  <a:pt x="363" y="0"/>
                </a:lnTo>
                <a:cubicBezTo>
                  <a:pt x="62" y="0"/>
                  <a:pt x="62" y="0"/>
                  <a:pt x="62" y="0"/>
                </a:cubicBezTo>
                <a:cubicBezTo>
                  <a:pt x="26" y="0"/>
                  <a:pt x="0" y="36"/>
                  <a:pt x="0" y="71"/>
                </a:cubicBezTo>
                <a:cubicBezTo>
                  <a:pt x="0" y="142"/>
                  <a:pt x="0" y="142"/>
                  <a:pt x="0" y="142"/>
                </a:cubicBezTo>
                <a:cubicBezTo>
                  <a:pt x="106" y="142"/>
                  <a:pt x="106" y="142"/>
                  <a:pt x="106" y="142"/>
                </a:cubicBezTo>
                <a:cubicBezTo>
                  <a:pt x="132" y="106"/>
                  <a:pt x="168" y="89"/>
                  <a:pt x="213" y="89"/>
                </a:cubicBezTo>
                <a:cubicBezTo>
                  <a:pt x="257" y="89"/>
                  <a:pt x="292" y="106"/>
                  <a:pt x="319" y="142"/>
                </a:cubicBezTo>
                <a:cubicBezTo>
                  <a:pt x="425" y="142"/>
                  <a:pt x="425" y="142"/>
                  <a:pt x="425" y="142"/>
                </a:cubicBezTo>
                <a:cubicBezTo>
                  <a:pt x="425" y="71"/>
                  <a:pt x="425" y="71"/>
                  <a:pt x="425" y="71"/>
                </a:cubicBezTo>
                <a:cubicBezTo>
                  <a:pt x="425" y="36"/>
                  <a:pt x="398" y="0"/>
                  <a:pt x="363" y="0"/>
                </a:cubicBezTo>
                <a:close/>
                <a:moveTo>
                  <a:pt x="390" y="89"/>
                </a:moveTo>
                <a:lnTo>
                  <a:pt x="390" y="89"/>
                </a:lnTo>
                <a:cubicBezTo>
                  <a:pt x="390" y="89"/>
                  <a:pt x="390" y="97"/>
                  <a:pt x="381" y="97"/>
                </a:cubicBezTo>
                <a:cubicBezTo>
                  <a:pt x="345" y="97"/>
                  <a:pt x="345" y="97"/>
                  <a:pt x="345" y="97"/>
                </a:cubicBezTo>
                <a:cubicBezTo>
                  <a:pt x="337" y="97"/>
                  <a:pt x="328" y="89"/>
                  <a:pt x="328" y="89"/>
                </a:cubicBezTo>
                <a:cubicBezTo>
                  <a:pt x="328" y="53"/>
                  <a:pt x="328" y="53"/>
                  <a:pt x="328" y="53"/>
                </a:cubicBezTo>
                <a:cubicBezTo>
                  <a:pt x="328" y="44"/>
                  <a:pt x="337" y="36"/>
                  <a:pt x="345" y="36"/>
                </a:cubicBezTo>
                <a:cubicBezTo>
                  <a:pt x="381" y="36"/>
                  <a:pt x="381" y="36"/>
                  <a:pt x="381" y="36"/>
                </a:cubicBezTo>
                <a:cubicBezTo>
                  <a:pt x="390" y="36"/>
                  <a:pt x="390" y="44"/>
                  <a:pt x="390" y="53"/>
                </a:cubicBezTo>
                <a:lnTo>
                  <a:pt x="390" y="89"/>
                </a:lnTo>
                <a:close/>
                <a:moveTo>
                  <a:pt x="292" y="213"/>
                </a:moveTo>
                <a:lnTo>
                  <a:pt x="292" y="213"/>
                </a:lnTo>
                <a:cubicBezTo>
                  <a:pt x="292" y="168"/>
                  <a:pt x="257" y="133"/>
                  <a:pt x="213" y="133"/>
                </a:cubicBezTo>
                <a:cubicBezTo>
                  <a:pt x="168" y="133"/>
                  <a:pt x="132" y="168"/>
                  <a:pt x="132" y="213"/>
                </a:cubicBezTo>
                <a:cubicBezTo>
                  <a:pt x="132" y="257"/>
                  <a:pt x="168" y="293"/>
                  <a:pt x="213" y="293"/>
                </a:cubicBezTo>
                <a:cubicBezTo>
                  <a:pt x="257" y="293"/>
                  <a:pt x="292" y="257"/>
                  <a:pt x="292" y="2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3087773" y="7744247"/>
            <a:ext cx="1083630" cy="47775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ts val="3733"/>
              </a:lnSpc>
              <a:spcAft>
                <a:spcPts val="3199"/>
              </a:spcAft>
            </a:pPr>
            <a:r>
              <a:rPr lang="en-US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Social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230136" y="7744247"/>
            <a:ext cx="1083630" cy="47775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ts val="3733"/>
              </a:lnSpc>
              <a:spcAft>
                <a:spcPts val="3199"/>
              </a:spcAft>
            </a:pPr>
            <a:r>
              <a:rPr lang="en-US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Social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712777" y="5876273"/>
            <a:ext cx="1083630" cy="47775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ts val="3733"/>
              </a:lnSpc>
              <a:spcAft>
                <a:spcPts val="3199"/>
              </a:spcAft>
            </a:pPr>
            <a:r>
              <a:rPr lang="en-US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Socia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65932" y="5876273"/>
            <a:ext cx="1083630" cy="47775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ts val="3733"/>
              </a:lnSpc>
              <a:spcAft>
                <a:spcPts val="3199"/>
              </a:spcAft>
            </a:pPr>
            <a:r>
              <a:rPr lang="en-US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Social</a:t>
            </a:r>
            <a:endParaRPr lang="en-US" sz="2900" dirty="0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8495062" y="5876273"/>
            <a:ext cx="1083630" cy="47775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ts val="3733"/>
              </a:lnSpc>
              <a:spcAft>
                <a:spcPts val="3199"/>
              </a:spcAft>
            </a:pPr>
            <a:r>
              <a:rPr lang="en-US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Social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5592821" y="5876273"/>
            <a:ext cx="1083630" cy="47775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ts val="3733"/>
              </a:lnSpc>
              <a:spcAft>
                <a:spcPts val="3199"/>
              </a:spcAft>
            </a:pPr>
            <a:r>
              <a:rPr lang="en-US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Social</a:t>
            </a:r>
          </a:p>
        </p:txBody>
      </p:sp>
      <p:sp>
        <p:nvSpPr>
          <p:cNvPr id="21" name="Bent Arrow 20"/>
          <p:cNvSpPr/>
          <p:nvPr/>
        </p:nvSpPr>
        <p:spPr>
          <a:xfrm rot="5400000" flipH="1">
            <a:off x="15115106" y="6946726"/>
            <a:ext cx="1123829" cy="1101471"/>
          </a:xfrm>
          <a:prstGeom prst="bentArrow">
            <a:avLst>
              <a:gd name="adj1" fmla="val 11812"/>
              <a:gd name="adj2" fmla="val 11928"/>
              <a:gd name="adj3" fmla="val 22809"/>
              <a:gd name="adj4" fmla="val 79194"/>
            </a:avLst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 sz="4800">
              <a:solidFill>
                <a:schemeClr val="tx1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2" name="Bent Arrow 21"/>
          <p:cNvSpPr/>
          <p:nvPr/>
        </p:nvSpPr>
        <p:spPr>
          <a:xfrm rot="10800000" flipH="1">
            <a:off x="8201671" y="6935547"/>
            <a:ext cx="1123829" cy="1101471"/>
          </a:xfrm>
          <a:prstGeom prst="bentArrow">
            <a:avLst>
              <a:gd name="adj1" fmla="val 11812"/>
              <a:gd name="adj2" fmla="val 11928"/>
              <a:gd name="adj3" fmla="val 22809"/>
              <a:gd name="adj4" fmla="val 79194"/>
            </a:avLst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 sz="4800">
              <a:solidFill>
                <a:schemeClr val="tx1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14191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114" y="1096963"/>
            <a:ext cx="22323424" cy="1153868"/>
          </a:xfrm>
        </p:spPr>
        <p:txBody>
          <a:bodyPr/>
          <a:lstStyle/>
          <a:p>
            <a:r>
              <a:rPr lang="en-US" dirty="0"/>
              <a:t>Colorful Hexagon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151514" y="4443562"/>
            <a:ext cx="8402298" cy="7421282"/>
            <a:chOff x="7845023" y="4221204"/>
            <a:chExt cx="8753878" cy="7731814"/>
          </a:xfrm>
        </p:grpSpPr>
        <p:sp>
          <p:nvSpPr>
            <p:cNvPr id="4" name="Freeform 3"/>
            <p:cNvSpPr/>
            <p:nvPr/>
          </p:nvSpPr>
          <p:spPr>
            <a:xfrm>
              <a:off x="7845023" y="4221205"/>
              <a:ext cx="4376937" cy="3865905"/>
            </a:xfrm>
            <a:custGeom>
              <a:avLst/>
              <a:gdLst>
                <a:gd name="connsiteX0" fmla="*/ 0 w 3207956"/>
                <a:gd name="connsiteY0" fmla="*/ 3207956 h 3207956"/>
                <a:gd name="connsiteX1" fmla="*/ 1603978 w 3207956"/>
                <a:gd name="connsiteY1" fmla="*/ 0 h 3207956"/>
                <a:gd name="connsiteX2" fmla="*/ 3207956 w 3207956"/>
                <a:gd name="connsiteY2" fmla="*/ 3207956 h 3207956"/>
                <a:gd name="connsiteX3" fmla="*/ 0 w 3207956"/>
                <a:gd name="connsiteY3" fmla="*/ 3207956 h 3207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7956" h="3207956">
                  <a:moveTo>
                    <a:pt x="0" y="3207956"/>
                  </a:moveTo>
                  <a:lnTo>
                    <a:pt x="1603978" y="0"/>
                  </a:lnTo>
                  <a:lnTo>
                    <a:pt x="3207956" y="3207956"/>
                  </a:lnTo>
                  <a:lnTo>
                    <a:pt x="0" y="320795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78189" tIns="1680178" rIns="878189" bIns="762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Element</a:t>
              </a: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Name</a:t>
              </a:r>
            </a:p>
          </p:txBody>
        </p:sp>
        <p:sp>
          <p:nvSpPr>
            <p:cNvPr id="5" name="Freeform 4"/>
            <p:cNvSpPr/>
            <p:nvPr/>
          </p:nvSpPr>
          <p:spPr>
            <a:xfrm>
              <a:off x="10033493" y="4221204"/>
              <a:ext cx="4376938" cy="3865907"/>
            </a:xfrm>
            <a:custGeom>
              <a:avLst/>
              <a:gdLst>
                <a:gd name="connsiteX0" fmla="*/ 0 w 3207956"/>
                <a:gd name="connsiteY0" fmla="*/ 3207956 h 3207956"/>
                <a:gd name="connsiteX1" fmla="*/ 1603978 w 3207956"/>
                <a:gd name="connsiteY1" fmla="*/ 0 h 3207956"/>
                <a:gd name="connsiteX2" fmla="*/ 3207956 w 3207956"/>
                <a:gd name="connsiteY2" fmla="*/ 3207956 h 3207956"/>
                <a:gd name="connsiteX3" fmla="*/ 0 w 3207956"/>
                <a:gd name="connsiteY3" fmla="*/ 3207956 h 3207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7956" h="3207956">
                  <a:moveTo>
                    <a:pt x="3207956" y="0"/>
                  </a:moveTo>
                  <a:lnTo>
                    <a:pt x="1603978" y="3207956"/>
                  </a:lnTo>
                  <a:lnTo>
                    <a:pt x="0" y="0"/>
                  </a:lnTo>
                  <a:lnTo>
                    <a:pt x="32079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78189" tIns="76201" rIns="878190" bIns="1680177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Element</a:t>
              </a: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Name</a:t>
              </a:r>
            </a:p>
          </p:txBody>
        </p:sp>
        <p:sp>
          <p:nvSpPr>
            <p:cNvPr id="6" name="Freeform 5"/>
            <p:cNvSpPr/>
            <p:nvPr/>
          </p:nvSpPr>
          <p:spPr>
            <a:xfrm>
              <a:off x="12221963" y="4221205"/>
              <a:ext cx="4376937" cy="3865905"/>
            </a:xfrm>
            <a:custGeom>
              <a:avLst/>
              <a:gdLst>
                <a:gd name="connsiteX0" fmla="*/ 0 w 3207956"/>
                <a:gd name="connsiteY0" fmla="*/ 3207956 h 3207956"/>
                <a:gd name="connsiteX1" fmla="*/ 1603978 w 3207956"/>
                <a:gd name="connsiteY1" fmla="*/ 0 h 3207956"/>
                <a:gd name="connsiteX2" fmla="*/ 3207956 w 3207956"/>
                <a:gd name="connsiteY2" fmla="*/ 3207956 h 3207956"/>
                <a:gd name="connsiteX3" fmla="*/ 0 w 3207956"/>
                <a:gd name="connsiteY3" fmla="*/ 3207956 h 3207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7956" h="3207956">
                  <a:moveTo>
                    <a:pt x="0" y="3207956"/>
                  </a:moveTo>
                  <a:lnTo>
                    <a:pt x="1603978" y="0"/>
                  </a:lnTo>
                  <a:lnTo>
                    <a:pt x="3207956" y="3207956"/>
                  </a:lnTo>
                  <a:lnTo>
                    <a:pt x="0" y="320795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78189" tIns="1680178" rIns="878189" bIns="762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Element</a:t>
              </a: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Name</a:t>
              </a: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>
              <a:off x="7845023" y="8087112"/>
              <a:ext cx="4376937" cy="3865905"/>
            </a:xfrm>
            <a:custGeom>
              <a:avLst/>
              <a:gdLst>
                <a:gd name="connsiteX0" fmla="*/ 0 w 3207956"/>
                <a:gd name="connsiteY0" fmla="*/ 3207956 h 3207956"/>
                <a:gd name="connsiteX1" fmla="*/ 1603978 w 3207956"/>
                <a:gd name="connsiteY1" fmla="*/ 0 h 3207956"/>
                <a:gd name="connsiteX2" fmla="*/ 3207956 w 3207956"/>
                <a:gd name="connsiteY2" fmla="*/ 3207956 h 3207956"/>
                <a:gd name="connsiteX3" fmla="*/ 0 w 3207956"/>
                <a:gd name="connsiteY3" fmla="*/ 3207956 h 3207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7956" h="3207956">
                  <a:moveTo>
                    <a:pt x="3207956" y="0"/>
                  </a:moveTo>
                  <a:lnTo>
                    <a:pt x="1603978" y="3207956"/>
                  </a:lnTo>
                  <a:lnTo>
                    <a:pt x="0" y="0"/>
                  </a:lnTo>
                  <a:lnTo>
                    <a:pt x="3207956" y="0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78189" tIns="76200" rIns="878189" bIns="1680178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Element</a:t>
              </a: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Name</a:t>
              </a:r>
            </a:p>
          </p:txBody>
        </p:sp>
        <p:sp>
          <p:nvSpPr>
            <p:cNvPr id="8" name="Freeform 7"/>
            <p:cNvSpPr/>
            <p:nvPr/>
          </p:nvSpPr>
          <p:spPr>
            <a:xfrm>
              <a:off x="10033493" y="8087112"/>
              <a:ext cx="4376937" cy="3865905"/>
            </a:xfrm>
            <a:custGeom>
              <a:avLst/>
              <a:gdLst>
                <a:gd name="connsiteX0" fmla="*/ 0 w 3207956"/>
                <a:gd name="connsiteY0" fmla="*/ 3207956 h 3207956"/>
                <a:gd name="connsiteX1" fmla="*/ 1603978 w 3207956"/>
                <a:gd name="connsiteY1" fmla="*/ 0 h 3207956"/>
                <a:gd name="connsiteX2" fmla="*/ 3207956 w 3207956"/>
                <a:gd name="connsiteY2" fmla="*/ 3207956 h 3207956"/>
                <a:gd name="connsiteX3" fmla="*/ 0 w 3207956"/>
                <a:gd name="connsiteY3" fmla="*/ 3207956 h 3207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7956" h="3207956">
                  <a:moveTo>
                    <a:pt x="0" y="3207956"/>
                  </a:moveTo>
                  <a:lnTo>
                    <a:pt x="1603978" y="0"/>
                  </a:lnTo>
                  <a:lnTo>
                    <a:pt x="3207956" y="3207956"/>
                  </a:lnTo>
                  <a:lnTo>
                    <a:pt x="0" y="3207956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78189" tIns="1680178" rIns="878189" bIns="762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Element</a:t>
              </a: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Name</a:t>
              </a:r>
            </a:p>
          </p:txBody>
        </p:sp>
        <p:sp>
          <p:nvSpPr>
            <p:cNvPr id="9" name="Freeform 8"/>
            <p:cNvSpPr/>
            <p:nvPr/>
          </p:nvSpPr>
          <p:spPr>
            <a:xfrm>
              <a:off x="12221963" y="8087111"/>
              <a:ext cx="4376938" cy="3865907"/>
            </a:xfrm>
            <a:custGeom>
              <a:avLst/>
              <a:gdLst>
                <a:gd name="connsiteX0" fmla="*/ 0 w 3207956"/>
                <a:gd name="connsiteY0" fmla="*/ 3207956 h 3207956"/>
                <a:gd name="connsiteX1" fmla="*/ 1603978 w 3207956"/>
                <a:gd name="connsiteY1" fmla="*/ 0 h 3207956"/>
                <a:gd name="connsiteX2" fmla="*/ 3207956 w 3207956"/>
                <a:gd name="connsiteY2" fmla="*/ 3207956 h 3207956"/>
                <a:gd name="connsiteX3" fmla="*/ 0 w 3207956"/>
                <a:gd name="connsiteY3" fmla="*/ 3207956 h 3207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7956" h="3207956">
                  <a:moveTo>
                    <a:pt x="3207956" y="0"/>
                  </a:moveTo>
                  <a:lnTo>
                    <a:pt x="1603978" y="3207956"/>
                  </a:lnTo>
                  <a:lnTo>
                    <a:pt x="0" y="0"/>
                  </a:lnTo>
                  <a:lnTo>
                    <a:pt x="3207956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78189" tIns="76201" rIns="878190" bIns="1680178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Element</a:t>
              </a: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Name</a:t>
              </a:r>
            </a:p>
          </p:txBody>
        </p:sp>
      </p:grpSp>
      <p:sp>
        <p:nvSpPr>
          <p:cNvPr id="10" name="Oval 9"/>
          <p:cNvSpPr/>
          <p:nvPr/>
        </p:nvSpPr>
        <p:spPr>
          <a:xfrm>
            <a:off x="11612374" y="4350054"/>
            <a:ext cx="654338" cy="6543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2331973" y="4960658"/>
            <a:ext cx="4744093" cy="1338329"/>
          </a:xfrm>
          <a:prstGeom prst="rect">
            <a:avLst/>
          </a:prstGeom>
          <a:noFill/>
        </p:spPr>
        <p:txBody>
          <a:bodyPr wrap="square" lIns="120489" tIns="60244" rIns="120489" bIns="60244" rtlCol="0">
            <a:noAutofit/>
          </a:bodyPr>
          <a:lstStyle/>
          <a:p>
            <a:r>
              <a:rPr lang="en-US" sz="2640" dirty="0">
                <a:latin typeface="Avenir Medium"/>
                <a:ea typeface="Avenir Book" charset="0"/>
                <a:cs typeface="Avenir Book" charset="0"/>
              </a:rPr>
              <a:t>but the commentaries of the whale men themselves sometimes consist in har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2331973" y="4206279"/>
            <a:ext cx="3896107" cy="851664"/>
          </a:xfrm>
          <a:prstGeom prst="rect">
            <a:avLst/>
          </a:prstGeom>
          <a:noFill/>
        </p:spPr>
        <p:txBody>
          <a:bodyPr wrap="none" lIns="120489" tIns="60244" rIns="120489" bIns="60244" rtlCol="0">
            <a:noAutofit/>
          </a:bodyPr>
          <a:lstStyle/>
          <a:p>
            <a:r>
              <a:rPr lang="en-US" sz="4750" dirty="0">
                <a:latin typeface="Avenir Medium"/>
                <a:ea typeface="Avenir Book" charset="0"/>
                <a:cs typeface="Avenir Book" charset="0"/>
              </a:rPr>
              <a:t>Element Name</a:t>
            </a:r>
          </a:p>
        </p:txBody>
      </p:sp>
      <p:sp>
        <p:nvSpPr>
          <p:cNvPr id="13" name="Oval 12"/>
          <p:cNvSpPr/>
          <p:nvPr/>
        </p:nvSpPr>
        <p:spPr>
          <a:xfrm>
            <a:off x="17816393" y="4296604"/>
            <a:ext cx="654338" cy="6543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8530874" y="4960658"/>
            <a:ext cx="4744093" cy="1338329"/>
          </a:xfrm>
          <a:prstGeom prst="rect">
            <a:avLst/>
          </a:prstGeom>
          <a:noFill/>
        </p:spPr>
        <p:txBody>
          <a:bodyPr wrap="square" lIns="120489" tIns="60244" rIns="120489" bIns="60244" rtlCol="0">
            <a:noAutofit/>
          </a:bodyPr>
          <a:lstStyle/>
          <a:p>
            <a:r>
              <a:rPr lang="en-US" sz="2640" dirty="0">
                <a:latin typeface="Avenir Medium"/>
                <a:ea typeface="Avenir Book" charset="0"/>
                <a:cs typeface="Avenir Book" charset="0"/>
              </a:rPr>
              <a:t>but the commentaries of the whale men themselves sometimes consist in hard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530874" y="4206279"/>
            <a:ext cx="3896107" cy="851664"/>
          </a:xfrm>
          <a:prstGeom prst="rect">
            <a:avLst/>
          </a:prstGeom>
          <a:noFill/>
        </p:spPr>
        <p:txBody>
          <a:bodyPr wrap="none" lIns="120489" tIns="60244" rIns="120489" bIns="60244" rtlCol="0">
            <a:noAutofit/>
          </a:bodyPr>
          <a:lstStyle/>
          <a:p>
            <a:r>
              <a:rPr lang="en-US" sz="4750" dirty="0">
                <a:latin typeface="Avenir Medium"/>
                <a:ea typeface="Avenir Book" charset="0"/>
                <a:cs typeface="Avenir Book" charset="0"/>
              </a:rPr>
              <a:t>Element Name</a:t>
            </a:r>
          </a:p>
        </p:txBody>
      </p:sp>
      <p:sp>
        <p:nvSpPr>
          <p:cNvPr id="16" name="Oval 15"/>
          <p:cNvSpPr/>
          <p:nvPr/>
        </p:nvSpPr>
        <p:spPr>
          <a:xfrm>
            <a:off x="11612375" y="7247613"/>
            <a:ext cx="654338" cy="6543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2331973" y="7860852"/>
            <a:ext cx="4744093" cy="1338329"/>
          </a:xfrm>
          <a:prstGeom prst="rect">
            <a:avLst/>
          </a:prstGeom>
          <a:noFill/>
        </p:spPr>
        <p:txBody>
          <a:bodyPr wrap="square" lIns="120489" tIns="60244" rIns="120489" bIns="60244" rtlCol="0">
            <a:noAutofit/>
          </a:bodyPr>
          <a:lstStyle/>
          <a:p>
            <a:r>
              <a:rPr lang="en-US" sz="2640" dirty="0">
                <a:latin typeface="Avenir Medium"/>
                <a:ea typeface="Avenir Book" charset="0"/>
                <a:cs typeface="Avenir Book" charset="0"/>
              </a:rPr>
              <a:t>but the commentaries of the whale men themselves sometimes consist in hard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2331973" y="7106472"/>
            <a:ext cx="3896107" cy="851664"/>
          </a:xfrm>
          <a:prstGeom prst="rect">
            <a:avLst/>
          </a:prstGeom>
          <a:noFill/>
        </p:spPr>
        <p:txBody>
          <a:bodyPr wrap="none" lIns="120489" tIns="60244" rIns="120489" bIns="60244" rtlCol="0">
            <a:noAutofit/>
          </a:bodyPr>
          <a:lstStyle/>
          <a:p>
            <a:r>
              <a:rPr lang="en-US" sz="4750" dirty="0">
                <a:latin typeface="Avenir Medium"/>
                <a:ea typeface="Avenir Book" charset="0"/>
                <a:cs typeface="Avenir Book" charset="0"/>
              </a:rPr>
              <a:t>Element Name</a:t>
            </a:r>
          </a:p>
        </p:txBody>
      </p:sp>
      <p:sp>
        <p:nvSpPr>
          <p:cNvPr id="19" name="Oval 18"/>
          <p:cNvSpPr/>
          <p:nvPr/>
        </p:nvSpPr>
        <p:spPr>
          <a:xfrm>
            <a:off x="17816393" y="7247613"/>
            <a:ext cx="654338" cy="65433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8530874" y="7860852"/>
            <a:ext cx="4744093" cy="1338329"/>
          </a:xfrm>
          <a:prstGeom prst="rect">
            <a:avLst/>
          </a:prstGeom>
          <a:noFill/>
        </p:spPr>
        <p:txBody>
          <a:bodyPr wrap="square" lIns="120489" tIns="60244" rIns="120489" bIns="60244" rtlCol="0">
            <a:noAutofit/>
          </a:bodyPr>
          <a:lstStyle/>
          <a:p>
            <a:r>
              <a:rPr lang="en-US" sz="2640" dirty="0">
                <a:latin typeface="Avenir Medium"/>
                <a:ea typeface="Avenir Book" charset="0"/>
                <a:cs typeface="Avenir Book" charset="0"/>
              </a:rPr>
              <a:t>but the commentaries of the whale men themselves sometimes consist in hard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8530874" y="7106472"/>
            <a:ext cx="3896107" cy="851664"/>
          </a:xfrm>
          <a:prstGeom prst="rect">
            <a:avLst/>
          </a:prstGeom>
          <a:noFill/>
        </p:spPr>
        <p:txBody>
          <a:bodyPr wrap="none" lIns="120489" tIns="60244" rIns="120489" bIns="60244" rtlCol="0">
            <a:noAutofit/>
          </a:bodyPr>
          <a:lstStyle/>
          <a:p>
            <a:r>
              <a:rPr lang="en-US" sz="4750" dirty="0">
                <a:latin typeface="Avenir Medium"/>
                <a:ea typeface="Avenir Book" charset="0"/>
                <a:cs typeface="Avenir Book" charset="0"/>
              </a:rPr>
              <a:t>Element Name</a:t>
            </a:r>
          </a:p>
        </p:txBody>
      </p:sp>
      <p:sp>
        <p:nvSpPr>
          <p:cNvPr id="22" name="Oval 21"/>
          <p:cNvSpPr/>
          <p:nvPr/>
        </p:nvSpPr>
        <p:spPr>
          <a:xfrm>
            <a:off x="11612375" y="10249014"/>
            <a:ext cx="654338" cy="65433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2331973" y="10895607"/>
            <a:ext cx="4744093" cy="1338329"/>
          </a:xfrm>
          <a:prstGeom prst="rect">
            <a:avLst/>
          </a:prstGeom>
          <a:noFill/>
        </p:spPr>
        <p:txBody>
          <a:bodyPr wrap="square" lIns="120489" tIns="60244" rIns="120489" bIns="60244" rtlCol="0">
            <a:noAutofit/>
          </a:bodyPr>
          <a:lstStyle/>
          <a:p>
            <a:r>
              <a:rPr lang="en-US" sz="2640" dirty="0">
                <a:latin typeface="Avenir Medium"/>
                <a:ea typeface="Avenir Book" charset="0"/>
                <a:cs typeface="Avenir Book" charset="0"/>
              </a:rPr>
              <a:t>but the commentaries of the whale men themselves sometimes consist in hard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2331973" y="10141228"/>
            <a:ext cx="3896107" cy="851664"/>
          </a:xfrm>
          <a:prstGeom prst="rect">
            <a:avLst/>
          </a:prstGeom>
          <a:noFill/>
        </p:spPr>
        <p:txBody>
          <a:bodyPr wrap="none" lIns="120489" tIns="60244" rIns="120489" bIns="60244" rtlCol="0">
            <a:noAutofit/>
          </a:bodyPr>
          <a:lstStyle/>
          <a:p>
            <a:r>
              <a:rPr lang="en-US" sz="4750" dirty="0">
                <a:latin typeface="Avenir Medium"/>
                <a:ea typeface="Avenir Book" charset="0"/>
                <a:cs typeface="Avenir Book" charset="0"/>
              </a:rPr>
              <a:t>Element Name</a:t>
            </a:r>
          </a:p>
        </p:txBody>
      </p:sp>
      <p:sp>
        <p:nvSpPr>
          <p:cNvPr id="25" name="Oval 24"/>
          <p:cNvSpPr/>
          <p:nvPr/>
        </p:nvSpPr>
        <p:spPr>
          <a:xfrm>
            <a:off x="17822984" y="10275789"/>
            <a:ext cx="654338" cy="65433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530874" y="10895607"/>
            <a:ext cx="4744093" cy="1338329"/>
          </a:xfrm>
          <a:prstGeom prst="rect">
            <a:avLst/>
          </a:prstGeom>
          <a:noFill/>
        </p:spPr>
        <p:txBody>
          <a:bodyPr wrap="square" lIns="120489" tIns="60244" rIns="120489" bIns="60244" rtlCol="0">
            <a:noAutofit/>
          </a:bodyPr>
          <a:lstStyle/>
          <a:p>
            <a:r>
              <a:rPr lang="en-US" sz="2640" dirty="0">
                <a:latin typeface="Avenir Medium"/>
                <a:ea typeface="Avenir Book" charset="0"/>
                <a:cs typeface="Avenir Book" charset="0"/>
              </a:rPr>
              <a:t>but the commentaries of the whale men themselves sometimes consist in hard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8530874" y="10141228"/>
            <a:ext cx="4011415" cy="851664"/>
          </a:xfrm>
          <a:prstGeom prst="rect">
            <a:avLst/>
          </a:prstGeom>
          <a:noFill/>
        </p:spPr>
        <p:txBody>
          <a:bodyPr wrap="square" lIns="120489" tIns="60244" rIns="120489" bIns="60244" rtlCol="0">
            <a:noAutofit/>
          </a:bodyPr>
          <a:lstStyle/>
          <a:p>
            <a:r>
              <a:rPr lang="en-US" sz="4750" dirty="0">
                <a:latin typeface="Avenir Medium"/>
                <a:ea typeface="Avenir Book" charset="0"/>
                <a:cs typeface="Avenir Book" charset="0"/>
              </a:rPr>
              <a:t>Element Name</a:t>
            </a:r>
          </a:p>
        </p:txBody>
      </p:sp>
    </p:spTree>
    <p:extLst>
      <p:ext uri="{BB962C8B-B14F-4D97-AF65-F5344CB8AC3E}">
        <p14:creationId xmlns:p14="http://schemas.microsoft.com/office/powerpoint/2010/main" val="142418626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erarchy/Company structure</a:t>
            </a:r>
          </a:p>
        </p:txBody>
      </p:sp>
      <p:sp>
        <p:nvSpPr>
          <p:cNvPr id="3" name="Freeform 2"/>
          <p:cNvSpPr/>
          <p:nvPr/>
        </p:nvSpPr>
        <p:spPr>
          <a:xfrm>
            <a:off x="12186381" y="6178044"/>
            <a:ext cx="2269785" cy="80806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647029"/>
                </a:lnTo>
                <a:lnTo>
                  <a:pt x="2269785" y="647029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Freeform 3"/>
          <p:cNvSpPr/>
          <p:nvPr/>
        </p:nvSpPr>
        <p:spPr>
          <a:xfrm>
            <a:off x="9916633" y="6178044"/>
            <a:ext cx="2269748" cy="80806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269748" y="0"/>
                </a:moveTo>
                <a:lnTo>
                  <a:pt x="2269748" y="647029"/>
                </a:lnTo>
                <a:lnTo>
                  <a:pt x="0" y="647029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" name="Freeform 4"/>
          <p:cNvSpPr/>
          <p:nvPr/>
        </p:nvSpPr>
        <p:spPr>
          <a:xfrm>
            <a:off x="17370537" y="9049494"/>
            <a:ext cx="616511" cy="141668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134364"/>
                </a:lnTo>
                <a:lnTo>
                  <a:pt x="616511" y="1134364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6" name="Freeform 5"/>
          <p:cNvSpPr/>
          <p:nvPr/>
        </p:nvSpPr>
        <p:spPr>
          <a:xfrm>
            <a:off x="12186381" y="6178044"/>
            <a:ext cx="6665110" cy="241877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548004"/>
                </a:lnTo>
                <a:lnTo>
                  <a:pt x="6665110" y="1548004"/>
                </a:lnTo>
                <a:lnTo>
                  <a:pt x="6665110" y="1936755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" name="Freeform 6"/>
          <p:cNvSpPr/>
          <p:nvPr/>
        </p:nvSpPr>
        <p:spPr>
          <a:xfrm>
            <a:off x="13044039" y="9049494"/>
            <a:ext cx="330326" cy="141668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134364"/>
                </a:lnTo>
                <a:lnTo>
                  <a:pt x="330326" y="1134364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Freeform 7"/>
          <p:cNvSpPr/>
          <p:nvPr/>
        </p:nvSpPr>
        <p:spPr>
          <a:xfrm>
            <a:off x="12186381" y="6178044"/>
            <a:ext cx="2338612" cy="241877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548004"/>
                </a:lnTo>
                <a:lnTo>
                  <a:pt x="2338612" y="1548004"/>
                </a:lnTo>
                <a:lnTo>
                  <a:pt x="2338612" y="1936755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" name="Freeform 8"/>
          <p:cNvSpPr/>
          <p:nvPr/>
        </p:nvSpPr>
        <p:spPr>
          <a:xfrm>
            <a:off x="8305688" y="9049494"/>
            <a:ext cx="406744" cy="141668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134364"/>
                </a:lnTo>
                <a:lnTo>
                  <a:pt x="406744" y="1134364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Freeform 9"/>
          <p:cNvSpPr/>
          <p:nvPr/>
        </p:nvSpPr>
        <p:spPr>
          <a:xfrm>
            <a:off x="9786642" y="6178044"/>
            <a:ext cx="2399738" cy="241877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399738" y="0"/>
                </a:moveTo>
                <a:lnTo>
                  <a:pt x="2399738" y="1548004"/>
                </a:lnTo>
                <a:lnTo>
                  <a:pt x="0" y="1548004"/>
                </a:lnTo>
                <a:lnTo>
                  <a:pt x="0" y="1936755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Freeform 10"/>
          <p:cNvSpPr/>
          <p:nvPr/>
        </p:nvSpPr>
        <p:spPr>
          <a:xfrm>
            <a:off x="3979162" y="9049494"/>
            <a:ext cx="330354" cy="141668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134364"/>
                </a:lnTo>
                <a:lnTo>
                  <a:pt x="330354" y="1134364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Freeform 11"/>
          <p:cNvSpPr/>
          <p:nvPr/>
        </p:nvSpPr>
        <p:spPr>
          <a:xfrm>
            <a:off x="5460117" y="6178044"/>
            <a:ext cx="6726264" cy="241877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6726264" y="0"/>
                </a:moveTo>
                <a:lnTo>
                  <a:pt x="6726264" y="1548004"/>
                </a:lnTo>
                <a:lnTo>
                  <a:pt x="0" y="1548004"/>
                </a:lnTo>
                <a:lnTo>
                  <a:pt x="0" y="1936755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Freeform 12"/>
          <p:cNvSpPr/>
          <p:nvPr/>
        </p:nvSpPr>
        <p:spPr>
          <a:xfrm>
            <a:off x="10335188" y="4991661"/>
            <a:ext cx="3702386" cy="1186383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rgbClr val="F9F9F9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715" tIns="5715" rIns="5715" bIns="5715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kern="1200" dirty="0">
                <a:latin typeface="Avenir Medium"/>
                <a:ea typeface="Avenir Book" charset="0"/>
                <a:cs typeface="Avenir Book" charset="0"/>
              </a:rPr>
              <a:t>CEO &amp; Founder</a:t>
            </a:r>
          </a:p>
        </p:txBody>
      </p:sp>
      <p:sp>
        <p:nvSpPr>
          <p:cNvPr id="14" name="Freeform 13"/>
          <p:cNvSpPr/>
          <p:nvPr/>
        </p:nvSpPr>
        <p:spPr>
          <a:xfrm>
            <a:off x="3608924" y="8068987"/>
            <a:ext cx="3702386" cy="980507"/>
          </a:xfrm>
          <a:custGeom>
            <a:avLst/>
            <a:gdLst>
              <a:gd name="connsiteX0" fmla="*/ 0 w 3702386"/>
              <a:gd name="connsiteY0" fmla="*/ 0 h 785109"/>
              <a:gd name="connsiteX1" fmla="*/ 3702386 w 3702386"/>
              <a:gd name="connsiteY1" fmla="*/ 0 h 785109"/>
              <a:gd name="connsiteX2" fmla="*/ 3702386 w 3702386"/>
              <a:gd name="connsiteY2" fmla="*/ 785109 h 785109"/>
              <a:gd name="connsiteX3" fmla="*/ 0 w 3702386"/>
              <a:gd name="connsiteY3" fmla="*/ 785109 h 785109"/>
              <a:gd name="connsiteX4" fmla="*/ 0 w 3702386"/>
              <a:gd name="connsiteY4" fmla="*/ 0 h 785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785109">
                <a:moveTo>
                  <a:pt x="0" y="0"/>
                </a:moveTo>
                <a:lnTo>
                  <a:pt x="3702386" y="0"/>
                </a:lnTo>
                <a:lnTo>
                  <a:pt x="3702386" y="785109"/>
                </a:lnTo>
                <a:lnTo>
                  <a:pt x="0" y="78510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715" tIns="5715" rIns="5715" bIns="5715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kern="1200" dirty="0">
                <a:latin typeface="Avenir Medium"/>
                <a:ea typeface="Avenir Book" charset="0"/>
                <a:cs typeface="Avenir Book" charset="0"/>
              </a:rPr>
              <a:t>Human Resource</a:t>
            </a:r>
          </a:p>
        </p:txBody>
      </p:sp>
      <p:sp>
        <p:nvSpPr>
          <p:cNvPr id="15" name="Freeform 14"/>
          <p:cNvSpPr/>
          <p:nvPr/>
        </p:nvSpPr>
        <p:spPr>
          <a:xfrm>
            <a:off x="4309517" y="10020500"/>
            <a:ext cx="3059837" cy="891359"/>
          </a:xfrm>
          <a:custGeom>
            <a:avLst/>
            <a:gdLst>
              <a:gd name="connsiteX0" fmla="*/ 0 w 3059837"/>
              <a:gd name="connsiteY0" fmla="*/ 0 h 713727"/>
              <a:gd name="connsiteX1" fmla="*/ 3059837 w 3059837"/>
              <a:gd name="connsiteY1" fmla="*/ 0 h 713727"/>
              <a:gd name="connsiteX2" fmla="*/ 3059837 w 3059837"/>
              <a:gd name="connsiteY2" fmla="*/ 713727 h 713727"/>
              <a:gd name="connsiteX3" fmla="*/ 0 w 3059837"/>
              <a:gd name="connsiteY3" fmla="*/ 713727 h 713727"/>
              <a:gd name="connsiteX4" fmla="*/ 0 w 3059837"/>
              <a:gd name="connsiteY4" fmla="*/ 0 h 713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59837" h="713727">
                <a:moveTo>
                  <a:pt x="0" y="0"/>
                </a:moveTo>
                <a:lnTo>
                  <a:pt x="3059837" y="0"/>
                </a:lnTo>
                <a:lnTo>
                  <a:pt x="3059837" y="713727"/>
                </a:lnTo>
                <a:lnTo>
                  <a:pt x="0" y="7137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715" tIns="5715" rIns="5715" bIns="5715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kern="12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Department</a:t>
            </a:r>
          </a:p>
        </p:txBody>
      </p:sp>
      <p:sp>
        <p:nvSpPr>
          <p:cNvPr id="16" name="Freeform 15"/>
          <p:cNvSpPr/>
          <p:nvPr/>
        </p:nvSpPr>
        <p:spPr>
          <a:xfrm>
            <a:off x="7935449" y="8068987"/>
            <a:ext cx="3702386" cy="980507"/>
          </a:xfrm>
          <a:custGeom>
            <a:avLst/>
            <a:gdLst>
              <a:gd name="connsiteX0" fmla="*/ 0 w 3702386"/>
              <a:gd name="connsiteY0" fmla="*/ 0 h 785109"/>
              <a:gd name="connsiteX1" fmla="*/ 3702386 w 3702386"/>
              <a:gd name="connsiteY1" fmla="*/ 0 h 785109"/>
              <a:gd name="connsiteX2" fmla="*/ 3702386 w 3702386"/>
              <a:gd name="connsiteY2" fmla="*/ 785109 h 785109"/>
              <a:gd name="connsiteX3" fmla="*/ 0 w 3702386"/>
              <a:gd name="connsiteY3" fmla="*/ 785109 h 785109"/>
              <a:gd name="connsiteX4" fmla="*/ 0 w 3702386"/>
              <a:gd name="connsiteY4" fmla="*/ 0 h 785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785109">
                <a:moveTo>
                  <a:pt x="0" y="0"/>
                </a:moveTo>
                <a:lnTo>
                  <a:pt x="3702386" y="0"/>
                </a:lnTo>
                <a:lnTo>
                  <a:pt x="3702386" y="785109"/>
                </a:lnTo>
                <a:lnTo>
                  <a:pt x="0" y="78510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715" tIns="5715" rIns="5715" bIns="5715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kern="1200" dirty="0">
                <a:latin typeface="Avenir Medium"/>
                <a:ea typeface="Avenir Book" charset="0"/>
                <a:cs typeface="Avenir Book" charset="0"/>
              </a:rPr>
              <a:t>Finances</a:t>
            </a:r>
          </a:p>
        </p:txBody>
      </p:sp>
      <p:sp>
        <p:nvSpPr>
          <p:cNvPr id="17" name="Freeform 16"/>
          <p:cNvSpPr/>
          <p:nvPr/>
        </p:nvSpPr>
        <p:spPr>
          <a:xfrm>
            <a:off x="8712432" y="10020500"/>
            <a:ext cx="3059837" cy="891359"/>
          </a:xfrm>
          <a:custGeom>
            <a:avLst/>
            <a:gdLst>
              <a:gd name="connsiteX0" fmla="*/ 0 w 3059837"/>
              <a:gd name="connsiteY0" fmla="*/ 0 h 713727"/>
              <a:gd name="connsiteX1" fmla="*/ 3059837 w 3059837"/>
              <a:gd name="connsiteY1" fmla="*/ 0 h 713727"/>
              <a:gd name="connsiteX2" fmla="*/ 3059837 w 3059837"/>
              <a:gd name="connsiteY2" fmla="*/ 713727 h 713727"/>
              <a:gd name="connsiteX3" fmla="*/ 0 w 3059837"/>
              <a:gd name="connsiteY3" fmla="*/ 713727 h 713727"/>
              <a:gd name="connsiteX4" fmla="*/ 0 w 3059837"/>
              <a:gd name="connsiteY4" fmla="*/ 0 h 713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59837" h="713727">
                <a:moveTo>
                  <a:pt x="0" y="0"/>
                </a:moveTo>
                <a:lnTo>
                  <a:pt x="3059837" y="0"/>
                </a:lnTo>
                <a:lnTo>
                  <a:pt x="3059837" y="713727"/>
                </a:lnTo>
                <a:lnTo>
                  <a:pt x="0" y="7137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715" tIns="5715" rIns="5715" bIns="5715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kern="12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Section</a:t>
            </a:r>
          </a:p>
        </p:txBody>
      </p:sp>
      <p:sp>
        <p:nvSpPr>
          <p:cNvPr id="18" name="Freeform 17"/>
          <p:cNvSpPr/>
          <p:nvPr/>
        </p:nvSpPr>
        <p:spPr>
          <a:xfrm>
            <a:off x="12673800" y="8068987"/>
            <a:ext cx="3702386" cy="980507"/>
          </a:xfrm>
          <a:custGeom>
            <a:avLst/>
            <a:gdLst>
              <a:gd name="connsiteX0" fmla="*/ 0 w 3702386"/>
              <a:gd name="connsiteY0" fmla="*/ 0 h 785109"/>
              <a:gd name="connsiteX1" fmla="*/ 3702386 w 3702386"/>
              <a:gd name="connsiteY1" fmla="*/ 0 h 785109"/>
              <a:gd name="connsiteX2" fmla="*/ 3702386 w 3702386"/>
              <a:gd name="connsiteY2" fmla="*/ 785109 h 785109"/>
              <a:gd name="connsiteX3" fmla="*/ 0 w 3702386"/>
              <a:gd name="connsiteY3" fmla="*/ 785109 h 785109"/>
              <a:gd name="connsiteX4" fmla="*/ 0 w 3702386"/>
              <a:gd name="connsiteY4" fmla="*/ 0 h 785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785109">
                <a:moveTo>
                  <a:pt x="0" y="0"/>
                </a:moveTo>
                <a:lnTo>
                  <a:pt x="3702386" y="0"/>
                </a:lnTo>
                <a:lnTo>
                  <a:pt x="3702386" y="785109"/>
                </a:lnTo>
                <a:lnTo>
                  <a:pt x="0" y="78510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715" tIns="5715" rIns="5715" bIns="5715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kern="1200" dirty="0">
                <a:latin typeface="Avenir Medium"/>
                <a:ea typeface="Avenir Book" charset="0"/>
                <a:cs typeface="Avenir Book" charset="0"/>
              </a:rPr>
              <a:t>Production</a:t>
            </a:r>
          </a:p>
        </p:txBody>
      </p:sp>
      <p:sp>
        <p:nvSpPr>
          <p:cNvPr id="19" name="Freeform 18"/>
          <p:cNvSpPr/>
          <p:nvPr/>
        </p:nvSpPr>
        <p:spPr>
          <a:xfrm>
            <a:off x="13374366" y="10020500"/>
            <a:ext cx="3059837" cy="891359"/>
          </a:xfrm>
          <a:custGeom>
            <a:avLst/>
            <a:gdLst>
              <a:gd name="connsiteX0" fmla="*/ 0 w 3059837"/>
              <a:gd name="connsiteY0" fmla="*/ 0 h 713727"/>
              <a:gd name="connsiteX1" fmla="*/ 3059837 w 3059837"/>
              <a:gd name="connsiteY1" fmla="*/ 0 h 713727"/>
              <a:gd name="connsiteX2" fmla="*/ 3059837 w 3059837"/>
              <a:gd name="connsiteY2" fmla="*/ 713727 h 713727"/>
              <a:gd name="connsiteX3" fmla="*/ 0 w 3059837"/>
              <a:gd name="connsiteY3" fmla="*/ 713727 h 713727"/>
              <a:gd name="connsiteX4" fmla="*/ 0 w 3059837"/>
              <a:gd name="connsiteY4" fmla="*/ 0 h 713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59837" h="713727">
                <a:moveTo>
                  <a:pt x="0" y="0"/>
                </a:moveTo>
                <a:lnTo>
                  <a:pt x="3059837" y="0"/>
                </a:lnTo>
                <a:lnTo>
                  <a:pt x="3059837" y="713727"/>
                </a:lnTo>
                <a:lnTo>
                  <a:pt x="0" y="7137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715" tIns="5715" rIns="5715" bIns="5715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kern="12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Personal</a:t>
            </a:r>
          </a:p>
        </p:txBody>
      </p:sp>
      <p:sp>
        <p:nvSpPr>
          <p:cNvPr id="20" name="Freeform 19"/>
          <p:cNvSpPr/>
          <p:nvPr/>
        </p:nvSpPr>
        <p:spPr>
          <a:xfrm>
            <a:off x="17000298" y="8068987"/>
            <a:ext cx="3702386" cy="980507"/>
          </a:xfrm>
          <a:custGeom>
            <a:avLst/>
            <a:gdLst>
              <a:gd name="connsiteX0" fmla="*/ 0 w 3702386"/>
              <a:gd name="connsiteY0" fmla="*/ 0 h 785109"/>
              <a:gd name="connsiteX1" fmla="*/ 3702386 w 3702386"/>
              <a:gd name="connsiteY1" fmla="*/ 0 h 785109"/>
              <a:gd name="connsiteX2" fmla="*/ 3702386 w 3702386"/>
              <a:gd name="connsiteY2" fmla="*/ 785109 h 785109"/>
              <a:gd name="connsiteX3" fmla="*/ 0 w 3702386"/>
              <a:gd name="connsiteY3" fmla="*/ 785109 h 785109"/>
              <a:gd name="connsiteX4" fmla="*/ 0 w 3702386"/>
              <a:gd name="connsiteY4" fmla="*/ 0 h 785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785109">
                <a:moveTo>
                  <a:pt x="0" y="0"/>
                </a:moveTo>
                <a:lnTo>
                  <a:pt x="3702386" y="0"/>
                </a:lnTo>
                <a:lnTo>
                  <a:pt x="3702386" y="785109"/>
                </a:lnTo>
                <a:lnTo>
                  <a:pt x="0" y="78510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715" tIns="5715" rIns="5715" bIns="5715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kern="1200" dirty="0">
                <a:latin typeface="Avenir Medium"/>
                <a:ea typeface="Avenir Book" charset="0"/>
                <a:cs typeface="Avenir Book" charset="0"/>
              </a:rPr>
              <a:t>Marketing</a:t>
            </a:r>
          </a:p>
        </p:txBody>
      </p:sp>
      <p:sp>
        <p:nvSpPr>
          <p:cNvPr id="21" name="Freeform 20"/>
          <p:cNvSpPr/>
          <p:nvPr/>
        </p:nvSpPr>
        <p:spPr>
          <a:xfrm>
            <a:off x="17987048" y="10020500"/>
            <a:ext cx="2781677" cy="891359"/>
          </a:xfrm>
          <a:custGeom>
            <a:avLst/>
            <a:gdLst>
              <a:gd name="connsiteX0" fmla="*/ 0 w 2781677"/>
              <a:gd name="connsiteY0" fmla="*/ 0 h 713727"/>
              <a:gd name="connsiteX1" fmla="*/ 2781677 w 2781677"/>
              <a:gd name="connsiteY1" fmla="*/ 0 h 713727"/>
              <a:gd name="connsiteX2" fmla="*/ 2781677 w 2781677"/>
              <a:gd name="connsiteY2" fmla="*/ 713727 h 713727"/>
              <a:gd name="connsiteX3" fmla="*/ 0 w 2781677"/>
              <a:gd name="connsiteY3" fmla="*/ 713727 h 713727"/>
              <a:gd name="connsiteX4" fmla="*/ 0 w 2781677"/>
              <a:gd name="connsiteY4" fmla="*/ 0 h 713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81677" h="713727">
                <a:moveTo>
                  <a:pt x="0" y="0"/>
                </a:moveTo>
                <a:lnTo>
                  <a:pt x="2781677" y="0"/>
                </a:lnTo>
                <a:lnTo>
                  <a:pt x="2781677" y="713727"/>
                </a:lnTo>
                <a:lnTo>
                  <a:pt x="0" y="7137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715" tIns="5715" rIns="5715" bIns="5715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kern="12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Group</a:t>
            </a:r>
          </a:p>
        </p:txBody>
      </p:sp>
      <p:sp>
        <p:nvSpPr>
          <p:cNvPr id="22" name="Freeform 21"/>
          <p:cNvSpPr/>
          <p:nvPr/>
        </p:nvSpPr>
        <p:spPr>
          <a:xfrm>
            <a:off x="6248112" y="6223584"/>
            <a:ext cx="3702386" cy="1186383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rgbClr val="F9F9F9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715" tIns="5715" rIns="5715" bIns="5715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kern="1200" dirty="0">
                <a:latin typeface="Avenir Medium"/>
                <a:ea typeface="Avenir Book" charset="0"/>
                <a:cs typeface="Avenir Book" charset="0"/>
              </a:rPr>
              <a:t>Vice-president</a:t>
            </a:r>
          </a:p>
        </p:txBody>
      </p:sp>
      <p:sp>
        <p:nvSpPr>
          <p:cNvPr id="23" name="Freeform 22"/>
          <p:cNvSpPr/>
          <p:nvPr/>
        </p:nvSpPr>
        <p:spPr>
          <a:xfrm>
            <a:off x="14422300" y="6223584"/>
            <a:ext cx="3702386" cy="1186383"/>
          </a:xfrm>
          <a:custGeom>
            <a:avLst/>
            <a:gdLst>
              <a:gd name="connsiteX0" fmla="*/ 0 w 3702386"/>
              <a:gd name="connsiteY0" fmla="*/ 0 h 949958"/>
              <a:gd name="connsiteX1" fmla="*/ 3702386 w 3702386"/>
              <a:gd name="connsiteY1" fmla="*/ 0 h 949958"/>
              <a:gd name="connsiteX2" fmla="*/ 3702386 w 3702386"/>
              <a:gd name="connsiteY2" fmla="*/ 949958 h 949958"/>
              <a:gd name="connsiteX3" fmla="*/ 0 w 3702386"/>
              <a:gd name="connsiteY3" fmla="*/ 949958 h 949958"/>
              <a:gd name="connsiteX4" fmla="*/ 0 w 3702386"/>
              <a:gd name="connsiteY4" fmla="*/ 0 h 949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2386" h="949958">
                <a:moveTo>
                  <a:pt x="0" y="0"/>
                </a:moveTo>
                <a:lnTo>
                  <a:pt x="3702386" y="0"/>
                </a:lnTo>
                <a:lnTo>
                  <a:pt x="3702386" y="949958"/>
                </a:lnTo>
                <a:lnTo>
                  <a:pt x="0" y="94995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rgbClr val="F9F9F9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715" tIns="5715" rIns="5715" bIns="5715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Treasurer</a:t>
            </a:r>
            <a:endParaRPr lang="en-US" sz="2800" kern="1200" dirty="0">
              <a:latin typeface="Avenir Medium"/>
              <a:ea typeface="Avenir Book" charset="0"/>
              <a:cs typeface="Avenir Book" charset="0"/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8112125" y="7387431"/>
            <a:ext cx="0" cy="33037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16260676" y="7387431"/>
            <a:ext cx="0" cy="33037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104528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7" name="Group 1767"/>
          <p:cNvGrpSpPr/>
          <p:nvPr/>
        </p:nvGrpSpPr>
        <p:grpSpPr>
          <a:xfrm>
            <a:off x="9830508" y="2917480"/>
            <a:ext cx="11506994" cy="9694778"/>
            <a:chOff x="0" y="-11871"/>
            <a:chExt cx="8182750" cy="6894065"/>
          </a:xfrm>
        </p:grpSpPr>
        <p:grpSp>
          <p:nvGrpSpPr>
            <p:cNvPr id="1753" name="Group 1753"/>
            <p:cNvGrpSpPr/>
            <p:nvPr/>
          </p:nvGrpSpPr>
          <p:grpSpPr>
            <a:xfrm>
              <a:off x="762801" y="565338"/>
              <a:ext cx="7381737" cy="6316856"/>
              <a:chOff x="-1" y="0"/>
              <a:chExt cx="7381737" cy="6316856"/>
            </a:xfrm>
          </p:grpSpPr>
          <p:sp>
            <p:nvSpPr>
              <p:cNvPr id="1739" name="Shape 1739"/>
              <p:cNvSpPr/>
              <p:nvPr/>
            </p:nvSpPr>
            <p:spPr>
              <a:xfrm flipH="1">
                <a:off x="-1" y="0"/>
                <a:ext cx="3506877" cy="3506876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400000"/>
              </a:ln>
              <a:effectLst/>
            </p:spPr>
            <p:txBody>
              <a:bodyPr wrap="square" lIns="71438" tIns="71438" rIns="71438" bIns="71438" numCol="1" anchor="ctr">
                <a:noAutofit/>
              </a:bodyPr>
              <a:lstStyle/>
              <a:p>
                <a:pPr algn="ctr"/>
                <a:endParaRPr sz="5063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740" name="Shape 1740"/>
              <p:cNvSpPr/>
              <p:nvPr/>
            </p:nvSpPr>
            <p:spPr>
              <a:xfrm>
                <a:off x="-1" y="2809979"/>
                <a:ext cx="3506877" cy="3506877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400000"/>
              </a:ln>
              <a:effectLst/>
            </p:spPr>
            <p:txBody>
              <a:bodyPr wrap="square" lIns="71438" tIns="71438" rIns="71438" bIns="71438" numCol="1" anchor="ctr">
                <a:noAutofit/>
              </a:bodyPr>
              <a:lstStyle/>
              <a:p>
                <a:pPr algn="ctr"/>
                <a:endParaRPr sz="5063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741" name="Shape 1741"/>
              <p:cNvSpPr/>
              <p:nvPr/>
            </p:nvSpPr>
            <p:spPr>
              <a:xfrm>
                <a:off x="2477810" y="537989"/>
                <a:ext cx="2058132" cy="2179773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400000"/>
              </a:ln>
              <a:effectLst/>
            </p:spPr>
            <p:txBody>
              <a:bodyPr wrap="square" lIns="71438" tIns="71438" rIns="71438" bIns="71438" numCol="1" anchor="ctr">
                <a:noAutofit/>
              </a:bodyPr>
              <a:lstStyle/>
              <a:p>
                <a:pPr algn="ctr"/>
                <a:endParaRPr sz="5063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742" name="Shape 1742"/>
              <p:cNvSpPr/>
              <p:nvPr/>
            </p:nvSpPr>
            <p:spPr>
              <a:xfrm flipV="1">
                <a:off x="2477809" y="3720734"/>
                <a:ext cx="2058133" cy="2058132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400000"/>
              </a:ln>
              <a:effectLst/>
            </p:spPr>
            <p:txBody>
              <a:bodyPr wrap="square" lIns="71438" tIns="71438" rIns="71438" bIns="71438" numCol="1" anchor="ctr">
                <a:noAutofit/>
              </a:bodyPr>
              <a:lstStyle/>
              <a:p>
                <a:pPr algn="ctr"/>
                <a:endParaRPr sz="5063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743" name="Shape 1743"/>
              <p:cNvSpPr/>
              <p:nvPr/>
            </p:nvSpPr>
            <p:spPr>
              <a:xfrm>
                <a:off x="3506875" y="0"/>
                <a:ext cx="3874859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400000"/>
              </a:ln>
              <a:effectLst/>
            </p:spPr>
            <p:txBody>
              <a:bodyPr wrap="square" lIns="71438" tIns="71438" rIns="71438" bIns="71438" numCol="1" anchor="ctr">
                <a:noAutofit/>
              </a:bodyPr>
              <a:lstStyle/>
              <a:p>
                <a:pPr algn="ctr"/>
                <a:endParaRPr sz="5063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744" name="Shape 1744"/>
              <p:cNvSpPr/>
              <p:nvPr/>
            </p:nvSpPr>
            <p:spPr>
              <a:xfrm flipH="1" flipV="1">
                <a:off x="3506875" y="6316855"/>
                <a:ext cx="3874859" cy="1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400000"/>
              </a:ln>
              <a:effectLst/>
            </p:spPr>
            <p:txBody>
              <a:bodyPr wrap="square" lIns="71438" tIns="71438" rIns="71438" bIns="71438" numCol="1" anchor="ctr">
                <a:noAutofit/>
              </a:bodyPr>
              <a:lstStyle/>
              <a:p>
                <a:pPr algn="ctr"/>
                <a:endParaRPr sz="5063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745" name="Shape 1745"/>
              <p:cNvSpPr/>
              <p:nvPr/>
            </p:nvSpPr>
            <p:spPr>
              <a:xfrm flipH="1" flipV="1">
                <a:off x="4535942" y="2717761"/>
                <a:ext cx="2845792" cy="1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400000"/>
              </a:ln>
              <a:effectLst/>
            </p:spPr>
            <p:txBody>
              <a:bodyPr wrap="square" lIns="71438" tIns="71438" rIns="71438" bIns="71438" numCol="1" anchor="ctr">
                <a:noAutofit/>
              </a:bodyPr>
              <a:lstStyle/>
              <a:p>
                <a:pPr algn="ctr"/>
                <a:endParaRPr sz="5063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746" name="Shape 1746"/>
              <p:cNvSpPr/>
              <p:nvPr/>
            </p:nvSpPr>
            <p:spPr>
              <a:xfrm flipH="1">
                <a:off x="4535941" y="3720734"/>
                <a:ext cx="2845793" cy="1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400000"/>
              </a:ln>
              <a:effectLst/>
            </p:spPr>
            <p:txBody>
              <a:bodyPr wrap="square" lIns="71438" tIns="71438" rIns="71438" bIns="71438" numCol="1" anchor="ctr">
                <a:noAutofit/>
              </a:bodyPr>
              <a:lstStyle/>
              <a:p>
                <a:pPr algn="ctr"/>
                <a:endParaRPr sz="5063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grpSp>
            <p:nvGrpSpPr>
              <p:cNvPr id="1749" name="Group 1749"/>
              <p:cNvGrpSpPr/>
              <p:nvPr/>
            </p:nvGrpSpPr>
            <p:grpSpPr>
              <a:xfrm>
                <a:off x="3592149" y="4370129"/>
                <a:ext cx="3789587" cy="648668"/>
                <a:chOff x="0" y="0"/>
                <a:chExt cx="3789586" cy="648668"/>
              </a:xfrm>
            </p:grpSpPr>
            <p:sp>
              <p:nvSpPr>
                <p:cNvPr id="1747" name="Shape 1747"/>
                <p:cNvSpPr/>
                <p:nvPr/>
              </p:nvSpPr>
              <p:spPr>
                <a:xfrm flipH="1" flipV="1">
                  <a:off x="628164" y="648667"/>
                  <a:ext cx="3161422" cy="1"/>
                </a:xfrm>
                <a:prstGeom prst="line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400000"/>
                </a:ln>
                <a:effectLst/>
              </p:spPr>
              <p:txBody>
                <a:bodyPr wrap="square" lIns="71438" tIns="71438" rIns="71438" bIns="71438" numCol="1" anchor="ctr">
                  <a:noAutofit/>
                </a:bodyPr>
                <a:lstStyle/>
                <a:p>
                  <a:pPr algn="ctr"/>
                  <a:endParaRPr sz="5063">
                    <a:latin typeface="Avenir Medium"/>
                    <a:ea typeface="Avenir Book" charset="0"/>
                    <a:cs typeface="Avenir Book" charset="0"/>
                  </a:endParaRPr>
                </a:p>
              </p:txBody>
            </p:sp>
            <p:sp>
              <p:nvSpPr>
                <p:cNvPr id="1748" name="Shape 1748"/>
                <p:cNvSpPr/>
                <p:nvPr/>
              </p:nvSpPr>
              <p:spPr>
                <a:xfrm flipH="1" flipV="1">
                  <a:off x="0" y="0"/>
                  <a:ext cx="641834" cy="641834"/>
                </a:xfrm>
                <a:prstGeom prst="line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400000"/>
                </a:ln>
                <a:effectLst/>
              </p:spPr>
              <p:txBody>
                <a:bodyPr wrap="square" lIns="71438" tIns="71438" rIns="71438" bIns="71438" numCol="1" anchor="ctr">
                  <a:noAutofit/>
                </a:bodyPr>
                <a:lstStyle/>
                <a:p>
                  <a:pPr algn="ctr"/>
                  <a:endParaRPr sz="5063">
                    <a:latin typeface="Avenir Medium"/>
                    <a:ea typeface="Avenir Book" charset="0"/>
                    <a:cs typeface="Avenir Book" charset="0"/>
                  </a:endParaRPr>
                </a:p>
              </p:txBody>
            </p:sp>
          </p:grpSp>
          <p:grpSp>
            <p:nvGrpSpPr>
              <p:cNvPr id="1752" name="Group 1752"/>
              <p:cNvGrpSpPr/>
              <p:nvPr/>
            </p:nvGrpSpPr>
            <p:grpSpPr>
              <a:xfrm rot="10800000" flipH="1">
                <a:off x="3592149" y="1365229"/>
                <a:ext cx="3789585" cy="648668"/>
                <a:chOff x="0" y="0"/>
                <a:chExt cx="3789585" cy="648666"/>
              </a:xfrm>
            </p:grpSpPr>
            <p:sp>
              <p:nvSpPr>
                <p:cNvPr id="1750" name="Shape 1750"/>
                <p:cNvSpPr/>
                <p:nvPr/>
              </p:nvSpPr>
              <p:spPr>
                <a:xfrm flipH="1" flipV="1">
                  <a:off x="628164" y="648665"/>
                  <a:ext cx="3161421" cy="1"/>
                </a:xfrm>
                <a:prstGeom prst="line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400000"/>
                </a:ln>
                <a:effectLst/>
              </p:spPr>
              <p:txBody>
                <a:bodyPr wrap="square" lIns="71438" tIns="71438" rIns="71438" bIns="71438" numCol="1" anchor="ctr">
                  <a:noAutofit/>
                </a:bodyPr>
                <a:lstStyle/>
                <a:p>
                  <a:pPr algn="ctr"/>
                  <a:endParaRPr sz="5063">
                    <a:latin typeface="Avenir Medium"/>
                    <a:ea typeface="Avenir Book" charset="0"/>
                    <a:cs typeface="Avenir Book" charset="0"/>
                  </a:endParaRPr>
                </a:p>
              </p:txBody>
            </p:sp>
            <p:sp>
              <p:nvSpPr>
                <p:cNvPr id="1751" name="Shape 1751"/>
                <p:cNvSpPr/>
                <p:nvPr/>
              </p:nvSpPr>
              <p:spPr>
                <a:xfrm flipH="1" flipV="1">
                  <a:off x="0" y="0"/>
                  <a:ext cx="641834" cy="641834"/>
                </a:xfrm>
                <a:prstGeom prst="line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400000"/>
                </a:ln>
                <a:effectLst/>
              </p:spPr>
              <p:txBody>
                <a:bodyPr wrap="square" lIns="71438" tIns="71438" rIns="71438" bIns="71438" numCol="1" anchor="ctr">
                  <a:noAutofit/>
                </a:bodyPr>
                <a:lstStyle/>
                <a:p>
                  <a:pPr algn="ctr"/>
                  <a:endParaRPr sz="5063">
                    <a:latin typeface="Avenir Medium"/>
                    <a:ea typeface="Avenir Book" charset="0"/>
                    <a:cs typeface="Avenir Book" charset="0"/>
                  </a:endParaRPr>
                </a:p>
              </p:txBody>
            </p:sp>
          </p:grpSp>
        </p:grpSp>
        <p:sp>
          <p:nvSpPr>
            <p:cNvPr id="1754" name="Shape 1754"/>
            <p:cNvSpPr/>
            <p:nvPr/>
          </p:nvSpPr>
          <p:spPr>
            <a:xfrm>
              <a:off x="0" y="2612516"/>
              <a:ext cx="2222500" cy="22225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 sz="8000">
                  <a:solidFill>
                    <a:srgbClr val="FFFFFF"/>
                  </a:solidFill>
                  <a:latin typeface="+mj-lt"/>
                  <a:ea typeface="+mj-ea"/>
                  <a:cs typeface="+mj-cs"/>
                  <a:sym typeface="Helvetica Neue UltraLight"/>
                </a:defRPr>
              </a:lvl1pPr>
            </a:lstStyle>
            <a:p>
              <a:pPr algn="ctr"/>
              <a:r>
                <a:rPr lang="en-US" sz="4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Main Idea </a:t>
              </a:r>
              <a:endParaRPr sz="4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grpSp>
          <p:nvGrpSpPr>
            <p:cNvPr id="1759" name="Group 1759"/>
            <p:cNvGrpSpPr/>
            <p:nvPr/>
          </p:nvGrpSpPr>
          <p:grpSpPr>
            <a:xfrm>
              <a:off x="3035300" y="898016"/>
              <a:ext cx="1905001" cy="5651502"/>
              <a:chOff x="0" y="0"/>
              <a:chExt cx="1905000" cy="5651501"/>
            </a:xfrm>
          </p:grpSpPr>
          <p:sp>
            <p:nvSpPr>
              <p:cNvPr id="1755" name="Shape 1755"/>
              <p:cNvSpPr/>
              <p:nvPr/>
            </p:nvSpPr>
            <p:spPr>
              <a:xfrm>
                <a:off x="1016000" y="1104900"/>
                <a:ext cx="889000" cy="889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501" y="0"/>
                    </a:moveTo>
                    <a:lnTo>
                      <a:pt x="11100" y="0"/>
                    </a:lnTo>
                    <a:cubicBezTo>
                      <a:pt x="16899" y="0"/>
                      <a:pt x="21600" y="4702"/>
                      <a:pt x="21600" y="10500"/>
                    </a:cubicBezTo>
                    <a:lnTo>
                      <a:pt x="21600" y="11100"/>
                    </a:lnTo>
                    <a:cubicBezTo>
                      <a:pt x="21600" y="16898"/>
                      <a:pt x="16899" y="21600"/>
                      <a:pt x="11100" y="21600"/>
                    </a:cubicBezTo>
                    <a:lnTo>
                      <a:pt x="10501" y="21600"/>
                    </a:lnTo>
                    <a:cubicBezTo>
                      <a:pt x="4702" y="21600"/>
                      <a:pt x="0" y="16898"/>
                      <a:pt x="0" y="11100"/>
                    </a:cubicBezTo>
                    <a:lnTo>
                      <a:pt x="0" y="10500"/>
                    </a:lnTo>
                    <a:cubicBezTo>
                      <a:pt x="0" y="4702"/>
                      <a:pt x="4702" y="0"/>
                      <a:pt x="10501" y="0"/>
                    </a:cubicBezTo>
                    <a:cubicBezTo>
                      <a:pt x="10501" y="0"/>
                      <a:pt x="10501" y="0"/>
                      <a:pt x="10501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2500" cap="all">
                    <a:solidFill>
                      <a:srgbClr val="FFFFFF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pPr algn="ctr"/>
                <a:r>
                  <a:rPr lang="en-US" sz="3516" dirty="0">
                    <a:solidFill>
                      <a:schemeClr val="bg1"/>
                    </a:solidFill>
                    <a:latin typeface="Avenir Medium"/>
                    <a:ea typeface="Avenir Book" charset="0"/>
                    <a:cs typeface="Avenir Book" charset="0"/>
                  </a:rPr>
                  <a:t>a</a:t>
                </a:r>
                <a:endParaRPr sz="3516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756" name="Shape 1756"/>
              <p:cNvSpPr/>
              <p:nvPr/>
            </p:nvSpPr>
            <p:spPr>
              <a:xfrm>
                <a:off x="0" y="0"/>
                <a:ext cx="889000" cy="889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501" y="0"/>
                    </a:moveTo>
                    <a:lnTo>
                      <a:pt x="11100" y="0"/>
                    </a:lnTo>
                    <a:cubicBezTo>
                      <a:pt x="16899" y="0"/>
                      <a:pt x="21600" y="4702"/>
                      <a:pt x="21600" y="10500"/>
                    </a:cubicBezTo>
                    <a:lnTo>
                      <a:pt x="21600" y="11100"/>
                    </a:lnTo>
                    <a:cubicBezTo>
                      <a:pt x="21600" y="16898"/>
                      <a:pt x="16899" y="21600"/>
                      <a:pt x="11100" y="21600"/>
                    </a:cubicBezTo>
                    <a:lnTo>
                      <a:pt x="10501" y="21600"/>
                    </a:lnTo>
                    <a:cubicBezTo>
                      <a:pt x="4702" y="21600"/>
                      <a:pt x="0" y="16898"/>
                      <a:pt x="0" y="11100"/>
                    </a:cubicBezTo>
                    <a:lnTo>
                      <a:pt x="0" y="10500"/>
                    </a:lnTo>
                    <a:cubicBezTo>
                      <a:pt x="0" y="4702"/>
                      <a:pt x="4702" y="0"/>
                      <a:pt x="10501" y="0"/>
                    </a:cubicBezTo>
                    <a:cubicBezTo>
                      <a:pt x="10501" y="0"/>
                      <a:pt x="10501" y="0"/>
                      <a:pt x="10501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2500" cap="all">
                    <a:solidFill>
                      <a:srgbClr val="FFFFFF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pPr algn="ctr"/>
                <a:r>
                  <a:rPr lang="en-US" sz="3516" dirty="0">
                    <a:solidFill>
                      <a:schemeClr val="bg1"/>
                    </a:solidFill>
                    <a:latin typeface="Avenir Medium"/>
                    <a:ea typeface="Avenir Book" charset="0"/>
                    <a:cs typeface="Avenir Book" charset="0"/>
                  </a:rPr>
                  <a:t>1</a:t>
                </a:r>
                <a:endParaRPr sz="3516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757" name="Shape 1757"/>
              <p:cNvSpPr/>
              <p:nvPr/>
            </p:nvSpPr>
            <p:spPr>
              <a:xfrm>
                <a:off x="0" y="4762500"/>
                <a:ext cx="889000" cy="8890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501" y="0"/>
                    </a:moveTo>
                    <a:lnTo>
                      <a:pt x="11100" y="0"/>
                    </a:lnTo>
                    <a:cubicBezTo>
                      <a:pt x="16899" y="0"/>
                      <a:pt x="21600" y="4702"/>
                      <a:pt x="21600" y="10500"/>
                    </a:cubicBezTo>
                    <a:lnTo>
                      <a:pt x="21600" y="11100"/>
                    </a:lnTo>
                    <a:cubicBezTo>
                      <a:pt x="21600" y="16898"/>
                      <a:pt x="16899" y="21600"/>
                      <a:pt x="11100" y="21600"/>
                    </a:cubicBezTo>
                    <a:lnTo>
                      <a:pt x="10501" y="21600"/>
                    </a:lnTo>
                    <a:cubicBezTo>
                      <a:pt x="4702" y="21600"/>
                      <a:pt x="0" y="16898"/>
                      <a:pt x="0" y="11100"/>
                    </a:cubicBezTo>
                    <a:lnTo>
                      <a:pt x="0" y="10500"/>
                    </a:lnTo>
                    <a:cubicBezTo>
                      <a:pt x="0" y="4702"/>
                      <a:pt x="4702" y="0"/>
                      <a:pt x="10501" y="0"/>
                    </a:cubicBezTo>
                    <a:cubicBezTo>
                      <a:pt x="10501" y="0"/>
                      <a:pt x="10501" y="0"/>
                      <a:pt x="10501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2500" cap="all">
                    <a:solidFill>
                      <a:srgbClr val="FFFFFF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pPr algn="ctr"/>
                <a:r>
                  <a:rPr lang="en-US" sz="3516" dirty="0">
                    <a:solidFill>
                      <a:schemeClr val="bg1"/>
                    </a:solidFill>
                    <a:latin typeface="Avenir Medium"/>
                    <a:ea typeface="Avenir Book" charset="0"/>
                    <a:cs typeface="Avenir Book" charset="0"/>
                  </a:rPr>
                  <a:t>2</a:t>
                </a:r>
                <a:endParaRPr sz="3516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758" name="Shape 1758"/>
              <p:cNvSpPr/>
              <p:nvPr/>
            </p:nvSpPr>
            <p:spPr>
              <a:xfrm>
                <a:off x="1016000" y="3733800"/>
                <a:ext cx="889000" cy="889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501" y="0"/>
                    </a:moveTo>
                    <a:lnTo>
                      <a:pt x="11100" y="0"/>
                    </a:lnTo>
                    <a:cubicBezTo>
                      <a:pt x="16899" y="0"/>
                      <a:pt x="21600" y="4702"/>
                      <a:pt x="21600" y="10500"/>
                    </a:cubicBezTo>
                    <a:lnTo>
                      <a:pt x="21600" y="11100"/>
                    </a:lnTo>
                    <a:cubicBezTo>
                      <a:pt x="21600" y="16898"/>
                      <a:pt x="16899" y="21600"/>
                      <a:pt x="11100" y="21600"/>
                    </a:cubicBezTo>
                    <a:lnTo>
                      <a:pt x="10501" y="21600"/>
                    </a:lnTo>
                    <a:cubicBezTo>
                      <a:pt x="4702" y="21600"/>
                      <a:pt x="0" y="16898"/>
                      <a:pt x="0" y="11100"/>
                    </a:cubicBezTo>
                    <a:lnTo>
                      <a:pt x="0" y="10500"/>
                    </a:lnTo>
                    <a:cubicBezTo>
                      <a:pt x="0" y="4702"/>
                      <a:pt x="4702" y="0"/>
                      <a:pt x="10501" y="0"/>
                    </a:cubicBezTo>
                    <a:cubicBezTo>
                      <a:pt x="10501" y="0"/>
                      <a:pt x="10501" y="0"/>
                      <a:pt x="10501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2500" cap="all">
                    <a:solidFill>
                      <a:srgbClr val="FFFFFF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pPr algn="ctr"/>
                <a:r>
                  <a:rPr lang="en-US" sz="3516" dirty="0">
                    <a:solidFill>
                      <a:schemeClr val="bg1"/>
                    </a:solidFill>
                    <a:latin typeface="Avenir Medium"/>
                    <a:ea typeface="Avenir Book" charset="0"/>
                    <a:cs typeface="Avenir Book" charset="0"/>
                  </a:rPr>
                  <a:t>b</a:t>
                </a:r>
                <a:endParaRPr sz="3516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</p:grpSp>
        <p:grpSp>
          <p:nvGrpSpPr>
            <p:cNvPr id="1766" name="Group 1766"/>
            <p:cNvGrpSpPr/>
            <p:nvPr/>
          </p:nvGrpSpPr>
          <p:grpSpPr>
            <a:xfrm>
              <a:off x="6656400" y="-11871"/>
              <a:ext cx="1526350" cy="6734486"/>
              <a:chOff x="65583" y="-11871"/>
              <a:chExt cx="1526348" cy="6734485"/>
            </a:xfrm>
          </p:grpSpPr>
          <p:sp>
            <p:nvSpPr>
              <p:cNvPr id="1760" name="Shape 1760"/>
              <p:cNvSpPr/>
              <p:nvPr/>
            </p:nvSpPr>
            <p:spPr>
              <a:xfrm>
                <a:off x="103799" y="-11871"/>
                <a:ext cx="1488132" cy="42277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71438" tIns="71438" rIns="71438" bIns="71438" numCol="1" anchor="ctr">
                <a:spAutoFit/>
              </a:bodyPr>
              <a:lstStyle>
                <a:lvl1pPr algn="r" defTabSz="584200">
                  <a:lnSpc>
                    <a:spcPct val="110000"/>
                  </a:lnSpc>
                  <a:spcBef>
                    <a:spcPts val="3000"/>
                  </a:spcBef>
                  <a:defRPr sz="2000">
                    <a:solidFill>
                      <a:srgbClr val="4C4C4C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r>
                  <a:rPr lang="en-US" sz="2800" dirty="0">
                    <a:solidFill>
                      <a:schemeClr val="tx1"/>
                    </a:solidFill>
                    <a:latin typeface="Avenir Medium"/>
                    <a:ea typeface="Avenir Book" charset="0"/>
                    <a:cs typeface="Avenir Book" charset="0"/>
                  </a:rPr>
                  <a:t>Content Here</a:t>
                </a:r>
                <a:endParaRPr sz="2800" dirty="0">
                  <a:solidFill>
                    <a:schemeClr val="tx1"/>
                  </a:solidFill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761" name="Shape 1761"/>
              <p:cNvSpPr/>
              <p:nvPr/>
            </p:nvSpPr>
            <p:spPr>
              <a:xfrm>
                <a:off x="65587" y="2705929"/>
                <a:ext cx="1488132" cy="42277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71438" tIns="71438" rIns="71438" bIns="71438" numCol="1" anchor="ctr">
                <a:spAutoFit/>
              </a:bodyPr>
              <a:lstStyle>
                <a:lvl1pPr algn="r" defTabSz="584200">
                  <a:lnSpc>
                    <a:spcPct val="110000"/>
                  </a:lnSpc>
                  <a:spcBef>
                    <a:spcPts val="3000"/>
                  </a:spcBef>
                  <a:defRPr sz="2000">
                    <a:solidFill>
                      <a:srgbClr val="4C4C4C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r>
                  <a:rPr lang="en-US" sz="2800" dirty="0">
                    <a:solidFill>
                      <a:schemeClr val="tx1"/>
                    </a:solidFill>
                    <a:latin typeface="Avenir Medium"/>
                    <a:ea typeface="Avenir Book" charset="0"/>
                    <a:cs typeface="Avenir Book" charset="0"/>
                  </a:rPr>
                  <a:t>Content Here</a:t>
                </a:r>
                <a:endParaRPr sz="2800" dirty="0">
                  <a:solidFill>
                    <a:schemeClr val="tx1"/>
                  </a:solidFill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762" name="Shape 1762"/>
              <p:cNvSpPr/>
              <p:nvPr/>
            </p:nvSpPr>
            <p:spPr>
              <a:xfrm>
                <a:off x="65587" y="1347029"/>
                <a:ext cx="1488132" cy="42277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71438" tIns="71438" rIns="71438" bIns="71438" numCol="1" anchor="ctr">
                <a:spAutoFit/>
              </a:bodyPr>
              <a:lstStyle>
                <a:lvl1pPr algn="r" defTabSz="584200">
                  <a:lnSpc>
                    <a:spcPct val="110000"/>
                  </a:lnSpc>
                  <a:spcBef>
                    <a:spcPts val="3000"/>
                  </a:spcBef>
                  <a:defRPr sz="2000">
                    <a:solidFill>
                      <a:srgbClr val="4C4C4C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r>
                  <a:rPr lang="en-US" sz="2800" dirty="0">
                    <a:solidFill>
                      <a:schemeClr val="tx1"/>
                    </a:solidFill>
                    <a:latin typeface="Avenir Medium"/>
                    <a:ea typeface="Avenir Book" charset="0"/>
                    <a:cs typeface="Avenir Book" charset="0"/>
                  </a:rPr>
                  <a:t>Content Here</a:t>
                </a:r>
                <a:endParaRPr sz="2800" dirty="0">
                  <a:solidFill>
                    <a:schemeClr val="tx1"/>
                  </a:solidFill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763" name="Shape 1763"/>
              <p:cNvSpPr/>
              <p:nvPr/>
            </p:nvSpPr>
            <p:spPr>
              <a:xfrm>
                <a:off x="65587" y="3709040"/>
                <a:ext cx="1488132" cy="42277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71438" tIns="71438" rIns="71438" bIns="71438" numCol="1" anchor="ctr">
                <a:spAutoFit/>
              </a:bodyPr>
              <a:lstStyle>
                <a:lvl1pPr algn="r" defTabSz="584200">
                  <a:lnSpc>
                    <a:spcPct val="110000"/>
                  </a:lnSpc>
                  <a:spcBef>
                    <a:spcPts val="3000"/>
                  </a:spcBef>
                  <a:defRPr sz="2000">
                    <a:solidFill>
                      <a:srgbClr val="4C4C4C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r>
                  <a:rPr lang="en-US" sz="2800" dirty="0">
                    <a:solidFill>
                      <a:schemeClr val="tx1"/>
                    </a:solidFill>
                    <a:latin typeface="Avenir Medium"/>
                    <a:ea typeface="Avenir Book" charset="0"/>
                    <a:cs typeface="Avenir Book" charset="0"/>
                  </a:rPr>
                  <a:t>Content Here</a:t>
                </a:r>
                <a:endParaRPr sz="2800" dirty="0">
                  <a:solidFill>
                    <a:schemeClr val="tx1"/>
                  </a:solidFill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764" name="Shape 1764"/>
              <p:cNvSpPr/>
              <p:nvPr/>
            </p:nvSpPr>
            <p:spPr>
              <a:xfrm>
                <a:off x="65583" y="6299842"/>
                <a:ext cx="1488132" cy="42277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71438" tIns="71438" rIns="71438" bIns="71438" numCol="1" anchor="ctr">
                <a:spAutoFit/>
              </a:bodyPr>
              <a:lstStyle>
                <a:lvl1pPr algn="r" defTabSz="584200">
                  <a:lnSpc>
                    <a:spcPct val="110000"/>
                  </a:lnSpc>
                  <a:spcBef>
                    <a:spcPts val="3000"/>
                  </a:spcBef>
                  <a:defRPr sz="2000">
                    <a:solidFill>
                      <a:srgbClr val="4C4C4C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r>
                  <a:rPr lang="en-US" sz="2800" dirty="0">
                    <a:solidFill>
                      <a:schemeClr val="tx1"/>
                    </a:solidFill>
                    <a:latin typeface="Avenir Medium"/>
                    <a:ea typeface="Avenir Book" charset="0"/>
                    <a:cs typeface="Avenir Book" charset="0"/>
                  </a:rPr>
                  <a:t>Content Here</a:t>
                </a:r>
                <a:endParaRPr sz="2800" dirty="0">
                  <a:solidFill>
                    <a:schemeClr val="tx1"/>
                  </a:solidFill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765" name="Shape 1765"/>
              <p:cNvSpPr/>
              <p:nvPr/>
            </p:nvSpPr>
            <p:spPr>
              <a:xfrm>
                <a:off x="65588" y="5004440"/>
                <a:ext cx="1488132" cy="42277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71438" tIns="71438" rIns="71438" bIns="71438" numCol="1" anchor="ctr">
                <a:spAutoFit/>
              </a:bodyPr>
              <a:lstStyle>
                <a:lvl1pPr algn="r" defTabSz="584200">
                  <a:lnSpc>
                    <a:spcPct val="110000"/>
                  </a:lnSpc>
                  <a:spcBef>
                    <a:spcPts val="3000"/>
                  </a:spcBef>
                  <a:defRPr sz="2000">
                    <a:solidFill>
                      <a:srgbClr val="4C4C4C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r>
                  <a:rPr lang="en-US" sz="2800" dirty="0">
                    <a:solidFill>
                      <a:schemeClr val="tx1"/>
                    </a:solidFill>
                    <a:latin typeface="Avenir Medium"/>
                    <a:ea typeface="Avenir Book" charset="0"/>
                    <a:cs typeface="Avenir Book" charset="0"/>
                  </a:rPr>
                  <a:t>Content Here</a:t>
                </a:r>
                <a:endParaRPr sz="2800" dirty="0">
                  <a:solidFill>
                    <a:schemeClr val="tx1"/>
                  </a:solidFill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</p:grpSp>
      </p:grpSp>
      <p:sp>
        <p:nvSpPr>
          <p:cNvPr id="33" name="TextBox 32"/>
          <p:cNvSpPr txBox="1"/>
          <p:nvPr/>
        </p:nvSpPr>
        <p:spPr>
          <a:xfrm>
            <a:off x="1050558" y="2917480"/>
            <a:ext cx="8993833" cy="3916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 ship or boat, by any medium at all controllable by the occupant or occupants,—a mast, an oar, a nine-inch cable, a telegraph wire, or a strand of cobweb, it is all the same. Likewise a fish is technically fast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8F4716-8661-46FA-999B-CC5FD142D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Decision Tre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3228937"/>
      </p:ext>
    </p:extLst>
  </p:cSld>
  <p:clrMapOvr>
    <a:masterClrMapping/>
  </p:clrMapOvr>
  <p:transition spd="slow"/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hape 2685"/>
          <p:cNvSpPr/>
          <p:nvPr/>
        </p:nvSpPr>
        <p:spPr>
          <a:xfrm flipH="1" flipV="1">
            <a:off x="8354960" y="5026500"/>
            <a:ext cx="3432849" cy="1431235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>
              <a:defRPr sz="8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125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5" name="Shape 2685"/>
          <p:cNvSpPr/>
          <p:nvPr/>
        </p:nvSpPr>
        <p:spPr>
          <a:xfrm flipV="1">
            <a:off x="11940208" y="5026499"/>
            <a:ext cx="3982278" cy="1583635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>
              <a:defRPr sz="8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125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6" name="Shape 2685"/>
          <p:cNvSpPr/>
          <p:nvPr/>
        </p:nvSpPr>
        <p:spPr>
          <a:xfrm>
            <a:off x="12092608" y="6762533"/>
            <a:ext cx="2776331" cy="1941445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>
              <a:defRPr sz="8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125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7" name="Shape 2685"/>
          <p:cNvSpPr/>
          <p:nvPr/>
        </p:nvSpPr>
        <p:spPr>
          <a:xfrm flipH="1">
            <a:off x="9508711" y="6914934"/>
            <a:ext cx="2736298" cy="1212576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>
              <a:defRPr sz="8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125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3287" name="Shape 13287"/>
          <p:cNvSpPr/>
          <p:nvPr/>
        </p:nvSpPr>
        <p:spPr>
          <a:xfrm>
            <a:off x="10753910" y="4142874"/>
            <a:ext cx="2869830" cy="74016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899" y="3807"/>
                </a:moveTo>
                <a:lnTo>
                  <a:pt x="5701" y="3807"/>
                </a:lnTo>
                <a:cubicBezTo>
                  <a:pt x="2553" y="3809"/>
                  <a:pt x="0" y="4790"/>
                  <a:pt x="0" y="6001"/>
                </a:cubicBezTo>
                <a:lnTo>
                  <a:pt x="0" y="11708"/>
                </a:lnTo>
                <a:lnTo>
                  <a:pt x="0" y="11708"/>
                </a:lnTo>
                <a:cubicBezTo>
                  <a:pt x="1" y="12111"/>
                  <a:pt x="852" y="12438"/>
                  <a:pt x="1901" y="12438"/>
                </a:cubicBezTo>
                <a:cubicBezTo>
                  <a:pt x="2950" y="12438"/>
                  <a:pt x="3801" y="12111"/>
                  <a:pt x="3801" y="11708"/>
                </a:cubicBezTo>
                <a:cubicBezTo>
                  <a:pt x="3801" y="11707"/>
                  <a:pt x="3801" y="11706"/>
                  <a:pt x="3801" y="11705"/>
                </a:cubicBezTo>
                <a:lnTo>
                  <a:pt x="3801" y="8762"/>
                </a:lnTo>
                <a:lnTo>
                  <a:pt x="3790" y="8762"/>
                </a:lnTo>
                <a:lnTo>
                  <a:pt x="3790" y="6809"/>
                </a:lnTo>
                <a:cubicBezTo>
                  <a:pt x="3790" y="6673"/>
                  <a:pt x="4081" y="6562"/>
                  <a:pt x="4433" y="6562"/>
                </a:cubicBezTo>
                <a:cubicBezTo>
                  <a:pt x="4789" y="6562"/>
                  <a:pt x="5076" y="6673"/>
                  <a:pt x="5076" y="6809"/>
                </a:cubicBezTo>
                <a:lnTo>
                  <a:pt x="5076" y="11811"/>
                </a:lnTo>
                <a:lnTo>
                  <a:pt x="5075" y="11811"/>
                </a:lnTo>
                <a:lnTo>
                  <a:pt x="5075" y="20671"/>
                </a:lnTo>
                <a:cubicBezTo>
                  <a:pt x="5075" y="21184"/>
                  <a:pt x="6158" y="21600"/>
                  <a:pt x="7494" y="21600"/>
                </a:cubicBezTo>
                <a:cubicBezTo>
                  <a:pt x="8830" y="21600"/>
                  <a:pt x="9913" y="21184"/>
                  <a:pt x="9913" y="20671"/>
                </a:cubicBezTo>
                <a:lnTo>
                  <a:pt x="9913" y="12560"/>
                </a:lnTo>
                <a:cubicBezTo>
                  <a:pt x="9945" y="12380"/>
                  <a:pt x="10327" y="12236"/>
                  <a:pt x="10800" y="12229"/>
                </a:cubicBezTo>
                <a:cubicBezTo>
                  <a:pt x="11273" y="12236"/>
                  <a:pt x="11655" y="12380"/>
                  <a:pt x="11687" y="12560"/>
                </a:cubicBezTo>
                <a:lnTo>
                  <a:pt x="11687" y="20671"/>
                </a:lnTo>
                <a:cubicBezTo>
                  <a:pt x="11687" y="21184"/>
                  <a:pt x="12770" y="21600"/>
                  <a:pt x="14106" y="21600"/>
                </a:cubicBezTo>
                <a:cubicBezTo>
                  <a:pt x="15442" y="21600"/>
                  <a:pt x="16525" y="21184"/>
                  <a:pt x="16525" y="20671"/>
                </a:cubicBezTo>
                <a:lnTo>
                  <a:pt x="16525" y="11811"/>
                </a:lnTo>
                <a:lnTo>
                  <a:pt x="16524" y="11811"/>
                </a:lnTo>
                <a:lnTo>
                  <a:pt x="16524" y="6809"/>
                </a:lnTo>
                <a:cubicBezTo>
                  <a:pt x="16524" y="6673"/>
                  <a:pt x="16811" y="6562"/>
                  <a:pt x="17167" y="6562"/>
                </a:cubicBezTo>
                <a:cubicBezTo>
                  <a:pt x="17519" y="6562"/>
                  <a:pt x="17810" y="6673"/>
                  <a:pt x="17810" y="6809"/>
                </a:cubicBezTo>
                <a:lnTo>
                  <a:pt x="17810" y="8762"/>
                </a:lnTo>
                <a:lnTo>
                  <a:pt x="17799" y="8762"/>
                </a:lnTo>
                <a:lnTo>
                  <a:pt x="17799" y="11705"/>
                </a:lnTo>
                <a:cubicBezTo>
                  <a:pt x="17799" y="11706"/>
                  <a:pt x="17799" y="11707"/>
                  <a:pt x="17799" y="11708"/>
                </a:cubicBezTo>
                <a:cubicBezTo>
                  <a:pt x="17799" y="12111"/>
                  <a:pt x="18650" y="12438"/>
                  <a:pt x="19699" y="12438"/>
                </a:cubicBezTo>
                <a:cubicBezTo>
                  <a:pt x="20748" y="12438"/>
                  <a:pt x="21599" y="12111"/>
                  <a:pt x="21600" y="11708"/>
                </a:cubicBezTo>
                <a:lnTo>
                  <a:pt x="21600" y="11708"/>
                </a:lnTo>
                <a:lnTo>
                  <a:pt x="21600" y="6001"/>
                </a:lnTo>
                <a:cubicBezTo>
                  <a:pt x="21600" y="4790"/>
                  <a:pt x="19047" y="3809"/>
                  <a:pt x="15899" y="3807"/>
                </a:cubicBezTo>
                <a:close/>
                <a:moveTo>
                  <a:pt x="15076" y="1643"/>
                </a:moveTo>
                <a:cubicBezTo>
                  <a:pt x="15076" y="2551"/>
                  <a:pt x="13162" y="3286"/>
                  <a:pt x="10800" y="3286"/>
                </a:cubicBezTo>
                <a:cubicBezTo>
                  <a:pt x="8438" y="3286"/>
                  <a:pt x="6524" y="2551"/>
                  <a:pt x="6524" y="1643"/>
                </a:cubicBezTo>
                <a:cubicBezTo>
                  <a:pt x="6524" y="736"/>
                  <a:pt x="8438" y="0"/>
                  <a:pt x="10800" y="0"/>
                </a:cubicBezTo>
                <a:cubicBezTo>
                  <a:pt x="13162" y="0"/>
                  <a:pt x="15076" y="736"/>
                  <a:pt x="15076" y="1643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5063">
              <a:latin typeface="Avenir Medium"/>
              <a:ea typeface="Avenir Book" charset="0"/>
              <a:cs typeface="Avenir Book" charset="0"/>
            </a:endParaRPr>
          </a:p>
        </p:txBody>
      </p:sp>
      <p:grpSp>
        <p:nvGrpSpPr>
          <p:cNvPr id="13292" name="Group 13292"/>
          <p:cNvGrpSpPr/>
          <p:nvPr/>
        </p:nvGrpSpPr>
        <p:grpSpPr>
          <a:xfrm>
            <a:off x="7929965" y="4469376"/>
            <a:ext cx="8517721" cy="5375675"/>
            <a:chOff x="0" y="0"/>
            <a:chExt cx="6057043" cy="3822700"/>
          </a:xfrm>
        </p:grpSpPr>
        <p:sp>
          <p:nvSpPr>
            <p:cNvPr id="13288" name="Shape 13288"/>
            <p:cNvSpPr/>
            <p:nvPr/>
          </p:nvSpPr>
          <p:spPr>
            <a:xfrm>
              <a:off x="812800" y="2298700"/>
              <a:ext cx="590901" cy="15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899" y="3807"/>
                  </a:moveTo>
                  <a:lnTo>
                    <a:pt x="5701" y="3807"/>
                  </a:lnTo>
                  <a:cubicBezTo>
                    <a:pt x="2553" y="3809"/>
                    <a:pt x="0" y="4790"/>
                    <a:pt x="0" y="6001"/>
                  </a:cubicBezTo>
                  <a:lnTo>
                    <a:pt x="0" y="11708"/>
                  </a:lnTo>
                  <a:lnTo>
                    <a:pt x="0" y="11708"/>
                  </a:lnTo>
                  <a:cubicBezTo>
                    <a:pt x="1" y="12111"/>
                    <a:pt x="852" y="12438"/>
                    <a:pt x="1901" y="12438"/>
                  </a:cubicBezTo>
                  <a:cubicBezTo>
                    <a:pt x="2950" y="12438"/>
                    <a:pt x="3801" y="12111"/>
                    <a:pt x="3801" y="11708"/>
                  </a:cubicBezTo>
                  <a:cubicBezTo>
                    <a:pt x="3801" y="11707"/>
                    <a:pt x="3801" y="11706"/>
                    <a:pt x="3801" y="11705"/>
                  </a:cubicBezTo>
                  <a:lnTo>
                    <a:pt x="3801" y="8762"/>
                  </a:lnTo>
                  <a:lnTo>
                    <a:pt x="3790" y="8762"/>
                  </a:lnTo>
                  <a:lnTo>
                    <a:pt x="3790" y="6809"/>
                  </a:lnTo>
                  <a:cubicBezTo>
                    <a:pt x="3790" y="6673"/>
                    <a:pt x="4081" y="6562"/>
                    <a:pt x="4433" y="6562"/>
                  </a:cubicBezTo>
                  <a:cubicBezTo>
                    <a:pt x="4789" y="6562"/>
                    <a:pt x="5076" y="6673"/>
                    <a:pt x="5076" y="6809"/>
                  </a:cubicBezTo>
                  <a:lnTo>
                    <a:pt x="5076" y="11811"/>
                  </a:lnTo>
                  <a:lnTo>
                    <a:pt x="5075" y="11811"/>
                  </a:lnTo>
                  <a:lnTo>
                    <a:pt x="5075" y="20671"/>
                  </a:lnTo>
                  <a:cubicBezTo>
                    <a:pt x="5075" y="21184"/>
                    <a:pt x="6158" y="21600"/>
                    <a:pt x="7494" y="21600"/>
                  </a:cubicBezTo>
                  <a:cubicBezTo>
                    <a:pt x="8830" y="21600"/>
                    <a:pt x="9913" y="21184"/>
                    <a:pt x="9913" y="20671"/>
                  </a:cubicBezTo>
                  <a:lnTo>
                    <a:pt x="9913" y="12560"/>
                  </a:lnTo>
                  <a:cubicBezTo>
                    <a:pt x="9945" y="12380"/>
                    <a:pt x="10327" y="12236"/>
                    <a:pt x="10800" y="12229"/>
                  </a:cubicBezTo>
                  <a:cubicBezTo>
                    <a:pt x="11273" y="12236"/>
                    <a:pt x="11655" y="12380"/>
                    <a:pt x="11687" y="12560"/>
                  </a:cubicBezTo>
                  <a:lnTo>
                    <a:pt x="11687" y="20671"/>
                  </a:lnTo>
                  <a:cubicBezTo>
                    <a:pt x="11687" y="21184"/>
                    <a:pt x="12770" y="21600"/>
                    <a:pt x="14106" y="21600"/>
                  </a:cubicBezTo>
                  <a:cubicBezTo>
                    <a:pt x="15442" y="21600"/>
                    <a:pt x="16525" y="21184"/>
                    <a:pt x="16525" y="20671"/>
                  </a:cubicBezTo>
                  <a:lnTo>
                    <a:pt x="16525" y="11811"/>
                  </a:lnTo>
                  <a:lnTo>
                    <a:pt x="16524" y="11811"/>
                  </a:lnTo>
                  <a:lnTo>
                    <a:pt x="16524" y="6809"/>
                  </a:lnTo>
                  <a:cubicBezTo>
                    <a:pt x="16524" y="6673"/>
                    <a:pt x="16811" y="6562"/>
                    <a:pt x="17167" y="6562"/>
                  </a:cubicBezTo>
                  <a:cubicBezTo>
                    <a:pt x="17519" y="6562"/>
                    <a:pt x="17810" y="6673"/>
                    <a:pt x="17810" y="6809"/>
                  </a:cubicBezTo>
                  <a:lnTo>
                    <a:pt x="17810" y="8762"/>
                  </a:lnTo>
                  <a:lnTo>
                    <a:pt x="17799" y="8762"/>
                  </a:lnTo>
                  <a:lnTo>
                    <a:pt x="17799" y="11705"/>
                  </a:lnTo>
                  <a:cubicBezTo>
                    <a:pt x="17799" y="11706"/>
                    <a:pt x="17799" y="11707"/>
                    <a:pt x="17799" y="11708"/>
                  </a:cubicBezTo>
                  <a:cubicBezTo>
                    <a:pt x="17799" y="12111"/>
                    <a:pt x="18650" y="12438"/>
                    <a:pt x="19699" y="12438"/>
                  </a:cubicBezTo>
                  <a:cubicBezTo>
                    <a:pt x="20748" y="12438"/>
                    <a:pt x="21599" y="12111"/>
                    <a:pt x="21600" y="11708"/>
                  </a:cubicBezTo>
                  <a:lnTo>
                    <a:pt x="21600" y="11708"/>
                  </a:lnTo>
                  <a:lnTo>
                    <a:pt x="21600" y="6001"/>
                  </a:lnTo>
                  <a:cubicBezTo>
                    <a:pt x="21600" y="4790"/>
                    <a:pt x="19047" y="3809"/>
                    <a:pt x="15899" y="3807"/>
                  </a:cubicBezTo>
                  <a:close/>
                  <a:moveTo>
                    <a:pt x="15076" y="1643"/>
                  </a:moveTo>
                  <a:cubicBezTo>
                    <a:pt x="15076" y="2551"/>
                    <a:pt x="13162" y="3286"/>
                    <a:pt x="10800" y="3286"/>
                  </a:cubicBezTo>
                  <a:cubicBezTo>
                    <a:pt x="8438" y="3286"/>
                    <a:pt x="6524" y="2551"/>
                    <a:pt x="6524" y="1643"/>
                  </a:cubicBezTo>
                  <a:cubicBezTo>
                    <a:pt x="6524" y="736"/>
                    <a:pt x="8438" y="0"/>
                    <a:pt x="10800" y="0"/>
                  </a:cubicBezTo>
                  <a:cubicBezTo>
                    <a:pt x="13162" y="0"/>
                    <a:pt x="15076" y="736"/>
                    <a:pt x="15076" y="1643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5063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3289" name="Shape 13289"/>
            <p:cNvSpPr/>
            <p:nvPr/>
          </p:nvSpPr>
          <p:spPr>
            <a:xfrm>
              <a:off x="0" y="0"/>
              <a:ext cx="590901" cy="15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899" y="3807"/>
                  </a:moveTo>
                  <a:lnTo>
                    <a:pt x="5701" y="3807"/>
                  </a:lnTo>
                  <a:cubicBezTo>
                    <a:pt x="2553" y="3809"/>
                    <a:pt x="0" y="4790"/>
                    <a:pt x="0" y="6001"/>
                  </a:cubicBezTo>
                  <a:lnTo>
                    <a:pt x="0" y="11708"/>
                  </a:lnTo>
                  <a:lnTo>
                    <a:pt x="0" y="11708"/>
                  </a:lnTo>
                  <a:cubicBezTo>
                    <a:pt x="1" y="12111"/>
                    <a:pt x="852" y="12438"/>
                    <a:pt x="1901" y="12438"/>
                  </a:cubicBezTo>
                  <a:cubicBezTo>
                    <a:pt x="2950" y="12438"/>
                    <a:pt x="3801" y="12111"/>
                    <a:pt x="3801" y="11708"/>
                  </a:cubicBezTo>
                  <a:cubicBezTo>
                    <a:pt x="3801" y="11707"/>
                    <a:pt x="3801" y="11706"/>
                    <a:pt x="3801" y="11705"/>
                  </a:cubicBezTo>
                  <a:lnTo>
                    <a:pt x="3801" y="8762"/>
                  </a:lnTo>
                  <a:lnTo>
                    <a:pt x="3790" y="8762"/>
                  </a:lnTo>
                  <a:lnTo>
                    <a:pt x="3790" y="6809"/>
                  </a:lnTo>
                  <a:cubicBezTo>
                    <a:pt x="3790" y="6673"/>
                    <a:pt x="4081" y="6562"/>
                    <a:pt x="4433" y="6562"/>
                  </a:cubicBezTo>
                  <a:cubicBezTo>
                    <a:pt x="4789" y="6562"/>
                    <a:pt x="5076" y="6673"/>
                    <a:pt x="5076" y="6809"/>
                  </a:cubicBezTo>
                  <a:lnTo>
                    <a:pt x="5076" y="11811"/>
                  </a:lnTo>
                  <a:lnTo>
                    <a:pt x="5075" y="11811"/>
                  </a:lnTo>
                  <a:lnTo>
                    <a:pt x="5075" y="20671"/>
                  </a:lnTo>
                  <a:cubicBezTo>
                    <a:pt x="5075" y="21184"/>
                    <a:pt x="6158" y="21600"/>
                    <a:pt x="7494" y="21600"/>
                  </a:cubicBezTo>
                  <a:cubicBezTo>
                    <a:pt x="8830" y="21600"/>
                    <a:pt x="9913" y="21184"/>
                    <a:pt x="9913" y="20671"/>
                  </a:cubicBezTo>
                  <a:lnTo>
                    <a:pt x="9913" y="12560"/>
                  </a:lnTo>
                  <a:cubicBezTo>
                    <a:pt x="9945" y="12380"/>
                    <a:pt x="10327" y="12236"/>
                    <a:pt x="10800" y="12229"/>
                  </a:cubicBezTo>
                  <a:cubicBezTo>
                    <a:pt x="11273" y="12236"/>
                    <a:pt x="11655" y="12380"/>
                    <a:pt x="11687" y="12560"/>
                  </a:cubicBezTo>
                  <a:lnTo>
                    <a:pt x="11687" y="20671"/>
                  </a:lnTo>
                  <a:cubicBezTo>
                    <a:pt x="11687" y="21184"/>
                    <a:pt x="12770" y="21600"/>
                    <a:pt x="14106" y="21600"/>
                  </a:cubicBezTo>
                  <a:cubicBezTo>
                    <a:pt x="15442" y="21600"/>
                    <a:pt x="16525" y="21184"/>
                    <a:pt x="16525" y="20671"/>
                  </a:cubicBezTo>
                  <a:lnTo>
                    <a:pt x="16525" y="11811"/>
                  </a:lnTo>
                  <a:lnTo>
                    <a:pt x="16524" y="11811"/>
                  </a:lnTo>
                  <a:lnTo>
                    <a:pt x="16524" y="6809"/>
                  </a:lnTo>
                  <a:cubicBezTo>
                    <a:pt x="16524" y="6673"/>
                    <a:pt x="16811" y="6562"/>
                    <a:pt x="17167" y="6562"/>
                  </a:cubicBezTo>
                  <a:cubicBezTo>
                    <a:pt x="17519" y="6562"/>
                    <a:pt x="17810" y="6673"/>
                    <a:pt x="17810" y="6809"/>
                  </a:cubicBezTo>
                  <a:lnTo>
                    <a:pt x="17810" y="8762"/>
                  </a:lnTo>
                  <a:lnTo>
                    <a:pt x="17799" y="8762"/>
                  </a:lnTo>
                  <a:lnTo>
                    <a:pt x="17799" y="11705"/>
                  </a:lnTo>
                  <a:cubicBezTo>
                    <a:pt x="17799" y="11706"/>
                    <a:pt x="17799" y="11707"/>
                    <a:pt x="17799" y="11708"/>
                  </a:cubicBezTo>
                  <a:cubicBezTo>
                    <a:pt x="17799" y="12111"/>
                    <a:pt x="18650" y="12438"/>
                    <a:pt x="19699" y="12438"/>
                  </a:cubicBezTo>
                  <a:cubicBezTo>
                    <a:pt x="20748" y="12438"/>
                    <a:pt x="21599" y="12111"/>
                    <a:pt x="21600" y="11708"/>
                  </a:cubicBezTo>
                  <a:lnTo>
                    <a:pt x="21600" y="11708"/>
                  </a:lnTo>
                  <a:lnTo>
                    <a:pt x="21600" y="6001"/>
                  </a:lnTo>
                  <a:cubicBezTo>
                    <a:pt x="21600" y="4790"/>
                    <a:pt x="19047" y="3809"/>
                    <a:pt x="15899" y="3807"/>
                  </a:cubicBezTo>
                  <a:close/>
                  <a:moveTo>
                    <a:pt x="15076" y="1643"/>
                  </a:moveTo>
                  <a:cubicBezTo>
                    <a:pt x="15076" y="2551"/>
                    <a:pt x="13162" y="3286"/>
                    <a:pt x="10800" y="3286"/>
                  </a:cubicBezTo>
                  <a:cubicBezTo>
                    <a:pt x="8438" y="3286"/>
                    <a:pt x="6524" y="2551"/>
                    <a:pt x="6524" y="1643"/>
                  </a:cubicBezTo>
                  <a:cubicBezTo>
                    <a:pt x="6524" y="736"/>
                    <a:pt x="8438" y="0"/>
                    <a:pt x="10800" y="0"/>
                  </a:cubicBezTo>
                  <a:cubicBezTo>
                    <a:pt x="13162" y="0"/>
                    <a:pt x="15076" y="736"/>
                    <a:pt x="15076" y="1643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5063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3290" name="Shape 13290"/>
            <p:cNvSpPr/>
            <p:nvPr/>
          </p:nvSpPr>
          <p:spPr>
            <a:xfrm>
              <a:off x="5466142" y="0"/>
              <a:ext cx="590902" cy="15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899" y="3807"/>
                  </a:moveTo>
                  <a:lnTo>
                    <a:pt x="5701" y="3807"/>
                  </a:lnTo>
                  <a:cubicBezTo>
                    <a:pt x="2553" y="3809"/>
                    <a:pt x="0" y="4790"/>
                    <a:pt x="0" y="6001"/>
                  </a:cubicBezTo>
                  <a:lnTo>
                    <a:pt x="0" y="11708"/>
                  </a:lnTo>
                  <a:lnTo>
                    <a:pt x="0" y="11708"/>
                  </a:lnTo>
                  <a:cubicBezTo>
                    <a:pt x="1" y="12111"/>
                    <a:pt x="852" y="12438"/>
                    <a:pt x="1901" y="12438"/>
                  </a:cubicBezTo>
                  <a:cubicBezTo>
                    <a:pt x="2950" y="12438"/>
                    <a:pt x="3801" y="12111"/>
                    <a:pt x="3801" y="11708"/>
                  </a:cubicBezTo>
                  <a:cubicBezTo>
                    <a:pt x="3801" y="11707"/>
                    <a:pt x="3801" y="11706"/>
                    <a:pt x="3801" y="11705"/>
                  </a:cubicBezTo>
                  <a:lnTo>
                    <a:pt x="3801" y="8762"/>
                  </a:lnTo>
                  <a:lnTo>
                    <a:pt x="3790" y="8762"/>
                  </a:lnTo>
                  <a:lnTo>
                    <a:pt x="3790" y="6809"/>
                  </a:lnTo>
                  <a:cubicBezTo>
                    <a:pt x="3790" y="6673"/>
                    <a:pt x="4081" y="6562"/>
                    <a:pt x="4433" y="6562"/>
                  </a:cubicBezTo>
                  <a:cubicBezTo>
                    <a:pt x="4789" y="6562"/>
                    <a:pt x="5076" y="6673"/>
                    <a:pt x="5076" y="6809"/>
                  </a:cubicBezTo>
                  <a:lnTo>
                    <a:pt x="5076" y="11811"/>
                  </a:lnTo>
                  <a:lnTo>
                    <a:pt x="5075" y="11811"/>
                  </a:lnTo>
                  <a:lnTo>
                    <a:pt x="5075" y="20671"/>
                  </a:lnTo>
                  <a:cubicBezTo>
                    <a:pt x="5075" y="21184"/>
                    <a:pt x="6158" y="21600"/>
                    <a:pt x="7494" y="21600"/>
                  </a:cubicBezTo>
                  <a:cubicBezTo>
                    <a:pt x="8830" y="21600"/>
                    <a:pt x="9913" y="21184"/>
                    <a:pt x="9913" y="20671"/>
                  </a:cubicBezTo>
                  <a:lnTo>
                    <a:pt x="9913" y="12560"/>
                  </a:lnTo>
                  <a:cubicBezTo>
                    <a:pt x="9945" y="12380"/>
                    <a:pt x="10327" y="12236"/>
                    <a:pt x="10800" y="12229"/>
                  </a:cubicBezTo>
                  <a:cubicBezTo>
                    <a:pt x="11273" y="12236"/>
                    <a:pt x="11655" y="12380"/>
                    <a:pt x="11687" y="12560"/>
                  </a:cubicBezTo>
                  <a:lnTo>
                    <a:pt x="11687" y="20671"/>
                  </a:lnTo>
                  <a:cubicBezTo>
                    <a:pt x="11687" y="21184"/>
                    <a:pt x="12770" y="21600"/>
                    <a:pt x="14106" y="21600"/>
                  </a:cubicBezTo>
                  <a:cubicBezTo>
                    <a:pt x="15442" y="21600"/>
                    <a:pt x="16525" y="21184"/>
                    <a:pt x="16525" y="20671"/>
                  </a:cubicBezTo>
                  <a:lnTo>
                    <a:pt x="16525" y="11811"/>
                  </a:lnTo>
                  <a:lnTo>
                    <a:pt x="16524" y="11811"/>
                  </a:lnTo>
                  <a:lnTo>
                    <a:pt x="16524" y="6809"/>
                  </a:lnTo>
                  <a:cubicBezTo>
                    <a:pt x="16524" y="6673"/>
                    <a:pt x="16811" y="6562"/>
                    <a:pt x="17167" y="6562"/>
                  </a:cubicBezTo>
                  <a:cubicBezTo>
                    <a:pt x="17519" y="6562"/>
                    <a:pt x="17810" y="6673"/>
                    <a:pt x="17810" y="6809"/>
                  </a:cubicBezTo>
                  <a:lnTo>
                    <a:pt x="17810" y="8762"/>
                  </a:lnTo>
                  <a:lnTo>
                    <a:pt x="17799" y="8762"/>
                  </a:lnTo>
                  <a:lnTo>
                    <a:pt x="17799" y="11705"/>
                  </a:lnTo>
                  <a:cubicBezTo>
                    <a:pt x="17799" y="11706"/>
                    <a:pt x="17799" y="11707"/>
                    <a:pt x="17799" y="11708"/>
                  </a:cubicBezTo>
                  <a:cubicBezTo>
                    <a:pt x="17799" y="12111"/>
                    <a:pt x="18650" y="12438"/>
                    <a:pt x="19699" y="12438"/>
                  </a:cubicBezTo>
                  <a:cubicBezTo>
                    <a:pt x="20748" y="12438"/>
                    <a:pt x="21599" y="12111"/>
                    <a:pt x="21600" y="11708"/>
                  </a:cubicBezTo>
                  <a:lnTo>
                    <a:pt x="21600" y="11708"/>
                  </a:lnTo>
                  <a:lnTo>
                    <a:pt x="21600" y="6001"/>
                  </a:lnTo>
                  <a:cubicBezTo>
                    <a:pt x="21600" y="4790"/>
                    <a:pt x="19047" y="3809"/>
                    <a:pt x="15899" y="3807"/>
                  </a:cubicBezTo>
                  <a:close/>
                  <a:moveTo>
                    <a:pt x="15076" y="1643"/>
                  </a:moveTo>
                  <a:cubicBezTo>
                    <a:pt x="15076" y="2551"/>
                    <a:pt x="13162" y="3286"/>
                    <a:pt x="10800" y="3286"/>
                  </a:cubicBezTo>
                  <a:cubicBezTo>
                    <a:pt x="8438" y="3286"/>
                    <a:pt x="6524" y="2551"/>
                    <a:pt x="6524" y="1643"/>
                  </a:cubicBezTo>
                  <a:cubicBezTo>
                    <a:pt x="6524" y="736"/>
                    <a:pt x="8438" y="0"/>
                    <a:pt x="10800" y="0"/>
                  </a:cubicBezTo>
                  <a:cubicBezTo>
                    <a:pt x="13162" y="0"/>
                    <a:pt x="15076" y="736"/>
                    <a:pt x="15076" y="1643"/>
                  </a:cubicBez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5063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3291" name="Shape 13291"/>
            <p:cNvSpPr/>
            <p:nvPr/>
          </p:nvSpPr>
          <p:spPr>
            <a:xfrm>
              <a:off x="4653342" y="2298700"/>
              <a:ext cx="590902" cy="1524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899" y="3807"/>
                  </a:moveTo>
                  <a:lnTo>
                    <a:pt x="5701" y="3807"/>
                  </a:lnTo>
                  <a:cubicBezTo>
                    <a:pt x="2553" y="3809"/>
                    <a:pt x="0" y="4790"/>
                    <a:pt x="0" y="6001"/>
                  </a:cubicBezTo>
                  <a:lnTo>
                    <a:pt x="0" y="11708"/>
                  </a:lnTo>
                  <a:lnTo>
                    <a:pt x="0" y="11708"/>
                  </a:lnTo>
                  <a:cubicBezTo>
                    <a:pt x="1" y="12111"/>
                    <a:pt x="852" y="12438"/>
                    <a:pt x="1901" y="12438"/>
                  </a:cubicBezTo>
                  <a:cubicBezTo>
                    <a:pt x="2950" y="12438"/>
                    <a:pt x="3801" y="12111"/>
                    <a:pt x="3801" y="11708"/>
                  </a:cubicBezTo>
                  <a:cubicBezTo>
                    <a:pt x="3801" y="11707"/>
                    <a:pt x="3801" y="11706"/>
                    <a:pt x="3801" y="11705"/>
                  </a:cubicBezTo>
                  <a:lnTo>
                    <a:pt x="3801" y="8762"/>
                  </a:lnTo>
                  <a:lnTo>
                    <a:pt x="3790" y="8762"/>
                  </a:lnTo>
                  <a:lnTo>
                    <a:pt x="3790" y="6809"/>
                  </a:lnTo>
                  <a:cubicBezTo>
                    <a:pt x="3790" y="6673"/>
                    <a:pt x="4081" y="6562"/>
                    <a:pt x="4433" y="6562"/>
                  </a:cubicBezTo>
                  <a:cubicBezTo>
                    <a:pt x="4789" y="6562"/>
                    <a:pt x="5076" y="6673"/>
                    <a:pt x="5076" y="6809"/>
                  </a:cubicBezTo>
                  <a:lnTo>
                    <a:pt x="5076" y="11811"/>
                  </a:lnTo>
                  <a:lnTo>
                    <a:pt x="5075" y="11811"/>
                  </a:lnTo>
                  <a:lnTo>
                    <a:pt x="5075" y="20671"/>
                  </a:lnTo>
                  <a:cubicBezTo>
                    <a:pt x="5075" y="21184"/>
                    <a:pt x="6158" y="21600"/>
                    <a:pt x="7494" y="21600"/>
                  </a:cubicBezTo>
                  <a:cubicBezTo>
                    <a:pt x="8830" y="21600"/>
                    <a:pt x="9913" y="21184"/>
                    <a:pt x="9913" y="20671"/>
                  </a:cubicBezTo>
                  <a:lnTo>
                    <a:pt x="9913" y="12560"/>
                  </a:lnTo>
                  <a:cubicBezTo>
                    <a:pt x="9945" y="12380"/>
                    <a:pt x="10327" y="12236"/>
                    <a:pt x="10800" y="12229"/>
                  </a:cubicBezTo>
                  <a:cubicBezTo>
                    <a:pt x="11273" y="12236"/>
                    <a:pt x="11655" y="12380"/>
                    <a:pt x="11687" y="12560"/>
                  </a:cubicBezTo>
                  <a:lnTo>
                    <a:pt x="11687" y="20671"/>
                  </a:lnTo>
                  <a:cubicBezTo>
                    <a:pt x="11687" y="21184"/>
                    <a:pt x="12770" y="21600"/>
                    <a:pt x="14106" y="21600"/>
                  </a:cubicBezTo>
                  <a:cubicBezTo>
                    <a:pt x="15442" y="21600"/>
                    <a:pt x="16525" y="21184"/>
                    <a:pt x="16525" y="20671"/>
                  </a:cubicBezTo>
                  <a:lnTo>
                    <a:pt x="16525" y="11811"/>
                  </a:lnTo>
                  <a:lnTo>
                    <a:pt x="16524" y="11811"/>
                  </a:lnTo>
                  <a:lnTo>
                    <a:pt x="16524" y="6809"/>
                  </a:lnTo>
                  <a:cubicBezTo>
                    <a:pt x="16524" y="6673"/>
                    <a:pt x="16811" y="6562"/>
                    <a:pt x="17167" y="6562"/>
                  </a:cubicBezTo>
                  <a:cubicBezTo>
                    <a:pt x="17519" y="6562"/>
                    <a:pt x="17810" y="6673"/>
                    <a:pt x="17810" y="6809"/>
                  </a:cubicBezTo>
                  <a:lnTo>
                    <a:pt x="17810" y="8762"/>
                  </a:lnTo>
                  <a:lnTo>
                    <a:pt x="17799" y="8762"/>
                  </a:lnTo>
                  <a:lnTo>
                    <a:pt x="17799" y="11705"/>
                  </a:lnTo>
                  <a:cubicBezTo>
                    <a:pt x="17799" y="11706"/>
                    <a:pt x="17799" y="11707"/>
                    <a:pt x="17799" y="11708"/>
                  </a:cubicBezTo>
                  <a:cubicBezTo>
                    <a:pt x="17799" y="12111"/>
                    <a:pt x="18650" y="12438"/>
                    <a:pt x="19699" y="12438"/>
                  </a:cubicBezTo>
                  <a:cubicBezTo>
                    <a:pt x="20748" y="12438"/>
                    <a:pt x="21599" y="12111"/>
                    <a:pt x="21600" y="11708"/>
                  </a:cubicBezTo>
                  <a:lnTo>
                    <a:pt x="21600" y="11708"/>
                  </a:lnTo>
                  <a:lnTo>
                    <a:pt x="21600" y="6001"/>
                  </a:lnTo>
                  <a:cubicBezTo>
                    <a:pt x="21600" y="4790"/>
                    <a:pt x="19047" y="3809"/>
                    <a:pt x="15899" y="3807"/>
                  </a:cubicBezTo>
                  <a:close/>
                  <a:moveTo>
                    <a:pt x="15076" y="1643"/>
                  </a:moveTo>
                  <a:cubicBezTo>
                    <a:pt x="15076" y="2551"/>
                    <a:pt x="13162" y="3286"/>
                    <a:pt x="10800" y="3286"/>
                  </a:cubicBezTo>
                  <a:cubicBezTo>
                    <a:pt x="8438" y="3286"/>
                    <a:pt x="6524" y="2551"/>
                    <a:pt x="6524" y="1643"/>
                  </a:cubicBezTo>
                  <a:cubicBezTo>
                    <a:pt x="6524" y="736"/>
                    <a:pt x="8438" y="0"/>
                    <a:pt x="10800" y="0"/>
                  </a:cubicBezTo>
                  <a:cubicBezTo>
                    <a:pt x="13162" y="0"/>
                    <a:pt x="15076" y="736"/>
                    <a:pt x="15076" y="1643"/>
                  </a:cubicBez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5063"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2141621" y="4469376"/>
            <a:ext cx="536334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344780" y="7537496"/>
            <a:ext cx="541614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6872680" y="4469376"/>
            <a:ext cx="579481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5616730" y="7537496"/>
            <a:ext cx="548665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58BD19-8701-4B03-9CE4-0CC019777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Customer Group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3990132"/>
      </p:ext>
    </p:extLst>
  </p:cSld>
  <p:clrMapOvr>
    <a:masterClrMapping/>
  </p:clrMapOvr>
  <p:transition spd="slow"/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rcle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946011" y="3567340"/>
            <a:ext cx="21404526" cy="8502339"/>
            <a:chOff x="2569425" y="2759495"/>
            <a:chExt cx="21404526" cy="8502339"/>
          </a:xfrm>
        </p:grpSpPr>
        <p:grpSp>
          <p:nvGrpSpPr>
            <p:cNvPr id="4" name="Group 3"/>
            <p:cNvGrpSpPr/>
            <p:nvPr/>
          </p:nvGrpSpPr>
          <p:grpSpPr>
            <a:xfrm>
              <a:off x="7359321" y="2759495"/>
              <a:ext cx="10887708" cy="8502339"/>
              <a:chOff x="8628994" y="3610833"/>
              <a:chExt cx="10887708" cy="8502339"/>
            </a:xfrm>
          </p:grpSpPr>
          <p:sp>
            <p:nvSpPr>
              <p:cNvPr id="14" name="Oval 13"/>
              <p:cNvSpPr/>
              <p:nvPr/>
            </p:nvSpPr>
            <p:spPr>
              <a:xfrm>
                <a:off x="11539350" y="4135822"/>
                <a:ext cx="7977352" cy="797735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8628994" y="5814321"/>
                <a:ext cx="5670331" cy="567032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10310649" y="3610833"/>
                <a:ext cx="3535722" cy="3535718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</p:grpSp>
        <p:sp>
          <p:nvSpPr>
            <p:cNvPr id="5" name="TextBox 4"/>
            <p:cNvSpPr txBox="1"/>
            <p:nvPr/>
          </p:nvSpPr>
          <p:spPr>
            <a:xfrm>
              <a:off x="13315704" y="6347018"/>
              <a:ext cx="3685693" cy="2215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55%</a:t>
              </a:r>
              <a:endParaRPr lang="en-US" sz="166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8671472" y="7003099"/>
              <a:ext cx="3046027" cy="1862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5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30%</a:t>
              </a:r>
              <a:endParaRPr lang="en-US" sz="13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9622454" y="3958999"/>
              <a:ext cx="2372765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15%</a:t>
              </a:r>
              <a:endParaRPr lang="en-US" sz="96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8589052" y="7178014"/>
              <a:ext cx="5384899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latin typeface="Avenir Medium"/>
                  <a:ea typeface="Avenir Book" charset="0"/>
                  <a:cs typeface="Avenir Book" charset="0"/>
                </a:rPr>
                <a:t>but the commentaries of the whale men themselves sometimes consist in hard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8589053" y="6605513"/>
              <a:ext cx="295677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Avenir Medium"/>
                  <a:ea typeface="Avenir Book" charset="0"/>
                  <a:cs typeface="Avenir Book" charset="0"/>
                </a:rPr>
                <a:t>Element Name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569425" y="7178014"/>
              <a:ext cx="4466001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800" dirty="0">
                  <a:latin typeface="Avenir Medium"/>
                  <a:ea typeface="Avenir Book" charset="0"/>
                  <a:cs typeface="Avenir Book" charset="0"/>
                </a:rPr>
                <a:t>but the commentaries of the whale men themselves sometimes consist in hard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078940" y="6605513"/>
              <a:ext cx="295677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dirty="0">
                  <a:latin typeface="Avenir Medium"/>
                  <a:ea typeface="Avenir Book" charset="0"/>
                  <a:cs typeface="Avenir Book" charset="0"/>
                </a:rPr>
                <a:t>Element Name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823599" y="3486385"/>
              <a:ext cx="4959113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800" dirty="0">
                  <a:latin typeface="Avenir Medium"/>
                  <a:ea typeface="Avenir Book" charset="0"/>
                  <a:cs typeface="Avenir Book" charset="0"/>
                </a:rPr>
                <a:t>but the commentaries of the whale men themselves sometimes consist in hard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517011" y="2778499"/>
              <a:ext cx="3265701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4000" dirty="0">
                  <a:latin typeface="Avenir Medium"/>
                  <a:ea typeface="Avenir Book" charset="0"/>
                  <a:cs typeface="Avenir Book" charset="0"/>
                </a:rPr>
                <a:t>Element Nam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174100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tool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2453874" y="8468431"/>
            <a:ext cx="2025491" cy="47775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3733"/>
              </a:lnSpc>
              <a:spcAft>
                <a:spcPts val="3199"/>
              </a:spcAft>
            </a:pPr>
            <a:r>
              <a:rPr lang="en-US" dirty="0">
                <a:latin typeface="Avenir Medium"/>
                <a:ea typeface="Avenir Book" charset="0"/>
                <a:cs typeface="Avenir Book" charset="0"/>
              </a:rPr>
              <a:t>Population</a:t>
            </a:r>
          </a:p>
        </p:txBody>
      </p:sp>
      <p:sp>
        <p:nvSpPr>
          <p:cNvPr id="4" name="Text Box 353"/>
          <p:cNvSpPr txBox="1">
            <a:spLocks noChangeArrowheads="1"/>
          </p:cNvSpPr>
          <p:nvPr/>
        </p:nvSpPr>
        <p:spPr bwMode="auto">
          <a:xfrm>
            <a:off x="21112103" y="9461789"/>
            <a:ext cx="88646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5pPr>
            <a:lvl6pPr marL="2514600" indent="-2286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6pPr>
            <a:lvl7pPr marL="2971800" indent="-2286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7pPr>
            <a:lvl8pPr marL="3429000" indent="-2286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8pPr>
            <a:lvl9pPr marL="3886200" indent="-2286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9pPr>
          </a:lstStyle>
          <a:p>
            <a:r>
              <a:rPr lang="en-US" sz="400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60%</a:t>
            </a:r>
          </a:p>
        </p:txBody>
      </p:sp>
      <p:sp>
        <p:nvSpPr>
          <p:cNvPr id="5" name="Text Box 354"/>
          <p:cNvSpPr txBox="1">
            <a:spLocks noChangeArrowheads="1"/>
          </p:cNvSpPr>
          <p:nvPr/>
        </p:nvSpPr>
        <p:spPr bwMode="auto">
          <a:xfrm>
            <a:off x="21112103" y="10940221"/>
            <a:ext cx="88646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5pPr>
            <a:lvl6pPr marL="2514600" indent="-2286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6pPr>
            <a:lvl7pPr marL="2971800" indent="-2286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7pPr>
            <a:lvl8pPr marL="3429000" indent="-2286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8pPr>
            <a:lvl9pPr marL="3886200" indent="-2286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9pPr>
          </a:lstStyle>
          <a:p>
            <a:r>
              <a:rPr lang="en-US" sz="400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80%</a:t>
            </a:r>
          </a:p>
        </p:txBody>
      </p:sp>
      <p:sp>
        <p:nvSpPr>
          <p:cNvPr id="6" name="Freeform 355"/>
          <p:cNvSpPr>
            <a:spLocks noChangeArrowheads="1"/>
          </p:cNvSpPr>
          <p:nvPr/>
        </p:nvSpPr>
        <p:spPr bwMode="auto">
          <a:xfrm>
            <a:off x="14063280" y="9464840"/>
            <a:ext cx="401841" cy="833231"/>
          </a:xfrm>
          <a:custGeom>
            <a:avLst/>
            <a:gdLst>
              <a:gd name="T0" fmla="*/ 249 w 483"/>
              <a:gd name="T1" fmla="*/ 0 h 1002"/>
              <a:gd name="T2" fmla="*/ 249 w 483"/>
              <a:gd name="T3" fmla="*/ 0 h 1002"/>
              <a:gd name="T4" fmla="*/ 113 w 483"/>
              <a:gd name="T5" fmla="*/ 0 h 1002"/>
              <a:gd name="T6" fmla="*/ 0 w 483"/>
              <a:gd name="T7" fmla="*/ 113 h 1002"/>
              <a:gd name="T8" fmla="*/ 0 w 483"/>
              <a:gd name="T9" fmla="*/ 437 h 1002"/>
              <a:gd name="T10" fmla="*/ 45 w 483"/>
              <a:gd name="T11" fmla="*/ 482 h 1002"/>
              <a:gd name="T12" fmla="*/ 91 w 483"/>
              <a:gd name="T13" fmla="*/ 437 h 1002"/>
              <a:gd name="T14" fmla="*/ 91 w 483"/>
              <a:gd name="T15" fmla="*/ 151 h 1002"/>
              <a:gd name="T16" fmla="*/ 99 w 483"/>
              <a:gd name="T17" fmla="*/ 151 h 1002"/>
              <a:gd name="T18" fmla="*/ 107 w 483"/>
              <a:gd name="T19" fmla="*/ 151 h 1002"/>
              <a:gd name="T20" fmla="*/ 113 w 483"/>
              <a:gd name="T21" fmla="*/ 151 h 1002"/>
              <a:gd name="T22" fmla="*/ 113 w 483"/>
              <a:gd name="T23" fmla="*/ 949 h 1002"/>
              <a:gd name="T24" fmla="*/ 173 w 483"/>
              <a:gd name="T25" fmla="*/ 1001 h 1002"/>
              <a:gd name="T26" fmla="*/ 234 w 483"/>
              <a:gd name="T27" fmla="*/ 949 h 1002"/>
              <a:gd name="T28" fmla="*/ 234 w 483"/>
              <a:gd name="T29" fmla="*/ 482 h 1002"/>
              <a:gd name="T30" fmla="*/ 234 w 483"/>
              <a:gd name="T31" fmla="*/ 474 h 1002"/>
              <a:gd name="T32" fmla="*/ 249 w 483"/>
              <a:gd name="T33" fmla="*/ 474 h 1002"/>
              <a:gd name="T34" fmla="*/ 249 w 483"/>
              <a:gd name="T35" fmla="*/ 482 h 1002"/>
              <a:gd name="T36" fmla="*/ 249 w 483"/>
              <a:gd name="T37" fmla="*/ 949 h 1002"/>
              <a:gd name="T38" fmla="*/ 309 w 483"/>
              <a:gd name="T39" fmla="*/ 1001 h 1002"/>
              <a:gd name="T40" fmla="*/ 369 w 483"/>
              <a:gd name="T41" fmla="*/ 949 h 1002"/>
              <a:gd name="T42" fmla="*/ 369 w 483"/>
              <a:gd name="T43" fmla="*/ 151 h 1002"/>
              <a:gd name="T44" fmla="*/ 377 w 483"/>
              <a:gd name="T45" fmla="*/ 151 h 1002"/>
              <a:gd name="T46" fmla="*/ 385 w 483"/>
              <a:gd name="T47" fmla="*/ 151 h 1002"/>
              <a:gd name="T48" fmla="*/ 392 w 483"/>
              <a:gd name="T49" fmla="*/ 151 h 1002"/>
              <a:gd name="T50" fmla="*/ 392 w 483"/>
              <a:gd name="T51" fmla="*/ 437 h 1002"/>
              <a:gd name="T52" fmla="*/ 437 w 483"/>
              <a:gd name="T53" fmla="*/ 482 h 1002"/>
              <a:gd name="T54" fmla="*/ 482 w 483"/>
              <a:gd name="T55" fmla="*/ 437 h 1002"/>
              <a:gd name="T56" fmla="*/ 482 w 483"/>
              <a:gd name="T57" fmla="*/ 113 h 1002"/>
              <a:gd name="T58" fmla="*/ 377 w 483"/>
              <a:gd name="T59" fmla="*/ 0 h 1002"/>
              <a:gd name="T60" fmla="*/ 249 w 483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3" h="1002">
                <a:moveTo>
                  <a:pt x="249" y="0"/>
                </a:moveTo>
                <a:lnTo>
                  <a:pt x="249" y="0"/>
                </a:lnTo>
                <a:cubicBezTo>
                  <a:pt x="113" y="0"/>
                  <a:pt x="113" y="0"/>
                  <a:pt x="113" y="0"/>
                </a:cubicBezTo>
                <a:cubicBezTo>
                  <a:pt x="53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23" y="482"/>
                  <a:pt x="45" y="482"/>
                </a:cubicBezTo>
                <a:cubicBezTo>
                  <a:pt x="76" y="482"/>
                  <a:pt x="91" y="460"/>
                  <a:pt x="91" y="437"/>
                </a:cubicBezTo>
                <a:lnTo>
                  <a:pt x="91" y="151"/>
                </a:lnTo>
                <a:lnTo>
                  <a:pt x="99" y="151"/>
                </a:lnTo>
                <a:cubicBezTo>
                  <a:pt x="107" y="151"/>
                  <a:pt x="107" y="151"/>
                  <a:pt x="107" y="151"/>
                </a:cubicBezTo>
                <a:cubicBezTo>
                  <a:pt x="113" y="151"/>
                  <a:pt x="113" y="151"/>
                  <a:pt x="113" y="151"/>
                </a:cubicBezTo>
                <a:cubicBezTo>
                  <a:pt x="113" y="949"/>
                  <a:pt x="113" y="949"/>
                  <a:pt x="113" y="949"/>
                </a:cubicBezTo>
                <a:cubicBezTo>
                  <a:pt x="113" y="978"/>
                  <a:pt x="136" y="1001"/>
                  <a:pt x="173" y="1001"/>
                </a:cubicBezTo>
                <a:cubicBezTo>
                  <a:pt x="204" y="1001"/>
                  <a:pt x="234" y="978"/>
                  <a:pt x="234" y="949"/>
                </a:cubicBezTo>
                <a:cubicBezTo>
                  <a:pt x="234" y="482"/>
                  <a:pt x="234" y="482"/>
                  <a:pt x="234" y="482"/>
                </a:cubicBezTo>
                <a:cubicBezTo>
                  <a:pt x="234" y="474"/>
                  <a:pt x="234" y="474"/>
                  <a:pt x="234" y="474"/>
                </a:cubicBezTo>
                <a:cubicBezTo>
                  <a:pt x="249" y="474"/>
                  <a:pt x="249" y="474"/>
                  <a:pt x="249" y="474"/>
                </a:cubicBezTo>
                <a:cubicBezTo>
                  <a:pt x="249" y="474"/>
                  <a:pt x="249" y="474"/>
                  <a:pt x="249" y="482"/>
                </a:cubicBezTo>
                <a:cubicBezTo>
                  <a:pt x="249" y="949"/>
                  <a:pt x="249" y="949"/>
                  <a:pt x="249" y="949"/>
                </a:cubicBezTo>
                <a:cubicBezTo>
                  <a:pt x="249" y="978"/>
                  <a:pt x="280" y="1001"/>
                  <a:pt x="309" y="1001"/>
                </a:cubicBezTo>
                <a:cubicBezTo>
                  <a:pt x="346" y="1001"/>
                  <a:pt x="369" y="978"/>
                  <a:pt x="369" y="949"/>
                </a:cubicBezTo>
                <a:cubicBezTo>
                  <a:pt x="369" y="151"/>
                  <a:pt x="369" y="151"/>
                  <a:pt x="369" y="151"/>
                </a:cubicBezTo>
                <a:cubicBezTo>
                  <a:pt x="369" y="151"/>
                  <a:pt x="369" y="151"/>
                  <a:pt x="377" y="151"/>
                </a:cubicBezTo>
                <a:cubicBezTo>
                  <a:pt x="385" y="151"/>
                  <a:pt x="385" y="151"/>
                  <a:pt x="385" y="151"/>
                </a:cubicBezTo>
                <a:lnTo>
                  <a:pt x="392" y="151"/>
                </a:lnTo>
                <a:lnTo>
                  <a:pt x="392" y="437"/>
                </a:lnTo>
                <a:cubicBezTo>
                  <a:pt x="392" y="460"/>
                  <a:pt x="414" y="482"/>
                  <a:pt x="437" y="482"/>
                </a:cubicBezTo>
                <a:cubicBezTo>
                  <a:pt x="460" y="482"/>
                  <a:pt x="482" y="460"/>
                  <a:pt x="482" y="437"/>
                </a:cubicBezTo>
                <a:cubicBezTo>
                  <a:pt x="482" y="113"/>
                  <a:pt x="482" y="113"/>
                  <a:pt x="482" y="113"/>
                </a:cubicBezTo>
                <a:cubicBezTo>
                  <a:pt x="482" y="52"/>
                  <a:pt x="437" y="0"/>
                  <a:pt x="377" y="0"/>
                </a:cubicBezTo>
                <a:lnTo>
                  <a:pt x="249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7" name="Freeform 356"/>
          <p:cNvSpPr>
            <a:spLocks noChangeArrowheads="1"/>
          </p:cNvSpPr>
          <p:nvPr/>
        </p:nvSpPr>
        <p:spPr bwMode="auto">
          <a:xfrm>
            <a:off x="14188626" y="9295244"/>
            <a:ext cx="147465" cy="147475"/>
          </a:xfrm>
          <a:custGeom>
            <a:avLst/>
            <a:gdLst>
              <a:gd name="T0" fmla="*/ 91 w 183"/>
              <a:gd name="T1" fmla="*/ 0 h 183"/>
              <a:gd name="T2" fmla="*/ 91 w 183"/>
              <a:gd name="T3" fmla="*/ 0 h 183"/>
              <a:gd name="T4" fmla="*/ 182 w 183"/>
              <a:gd name="T5" fmla="*/ 91 h 183"/>
              <a:gd name="T6" fmla="*/ 91 w 183"/>
              <a:gd name="T7" fmla="*/ 182 h 183"/>
              <a:gd name="T8" fmla="*/ 0 w 183"/>
              <a:gd name="T9" fmla="*/ 91 h 183"/>
              <a:gd name="T10" fmla="*/ 91 w 183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3" h="183">
                <a:moveTo>
                  <a:pt x="91" y="0"/>
                </a:moveTo>
                <a:lnTo>
                  <a:pt x="91" y="0"/>
                </a:lnTo>
                <a:cubicBezTo>
                  <a:pt x="144" y="0"/>
                  <a:pt x="182" y="46"/>
                  <a:pt x="182" y="91"/>
                </a:cubicBezTo>
                <a:cubicBezTo>
                  <a:pt x="182" y="144"/>
                  <a:pt x="144" y="182"/>
                  <a:pt x="91" y="182"/>
                </a:cubicBezTo>
                <a:cubicBezTo>
                  <a:pt x="46" y="182"/>
                  <a:pt x="0" y="144"/>
                  <a:pt x="0" y="91"/>
                </a:cubicBezTo>
                <a:cubicBezTo>
                  <a:pt x="0" y="46"/>
                  <a:pt x="46" y="0"/>
                  <a:pt x="91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8" name="Freeform 357"/>
          <p:cNvSpPr>
            <a:spLocks noChangeArrowheads="1"/>
          </p:cNvSpPr>
          <p:nvPr/>
        </p:nvSpPr>
        <p:spPr bwMode="auto">
          <a:xfrm>
            <a:off x="14756366" y="9464840"/>
            <a:ext cx="401841" cy="833231"/>
          </a:xfrm>
          <a:custGeom>
            <a:avLst/>
            <a:gdLst>
              <a:gd name="T0" fmla="*/ 247 w 483"/>
              <a:gd name="T1" fmla="*/ 0 h 1002"/>
              <a:gd name="T2" fmla="*/ 247 w 483"/>
              <a:gd name="T3" fmla="*/ 0 h 1002"/>
              <a:gd name="T4" fmla="*/ 105 w 483"/>
              <a:gd name="T5" fmla="*/ 0 h 1002"/>
              <a:gd name="T6" fmla="*/ 0 w 483"/>
              <a:gd name="T7" fmla="*/ 113 h 1002"/>
              <a:gd name="T8" fmla="*/ 0 w 483"/>
              <a:gd name="T9" fmla="*/ 437 h 1002"/>
              <a:gd name="T10" fmla="*/ 45 w 483"/>
              <a:gd name="T11" fmla="*/ 482 h 1002"/>
              <a:gd name="T12" fmla="*/ 90 w 483"/>
              <a:gd name="T13" fmla="*/ 437 h 1002"/>
              <a:gd name="T14" fmla="*/ 90 w 483"/>
              <a:gd name="T15" fmla="*/ 151 h 1002"/>
              <a:gd name="T16" fmla="*/ 97 w 483"/>
              <a:gd name="T17" fmla="*/ 151 h 1002"/>
              <a:gd name="T18" fmla="*/ 105 w 483"/>
              <a:gd name="T19" fmla="*/ 151 h 1002"/>
              <a:gd name="T20" fmla="*/ 113 w 483"/>
              <a:gd name="T21" fmla="*/ 151 h 1002"/>
              <a:gd name="T22" fmla="*/ 113 w 483"/>
              <a:gd name="T23" fmla="*/ 949 h 1002"/>
              <a:gd name="T24" fmla="*/ 173 w 483"/>
              <a:gd name="T25" fmla="*/ 1001 h 1002"/>
              <a:gd name="T26" fmla="*/ 226 w 483"/>
              <a:gd name="T27" fmla="*/ 949 h 1002"/>
              <a:gd name="T28" fmla="*/ 226 w 483"/>
              <a:gd name="T29" fmla="*/ 482 h 1002"/>
              <a:gd name="T30" fmla="*/ 233 w 483"/>
              <a:gd name="T31" fmla="*/ 474 h 1002"/>
              <a:gd name="T32" fmla="*/ 241 w 483"/>
              <a:gd name="T33" fmla="*/ 474 h 1002"/>
              <a:gd name="T34" fmla="*/ 247 w 483"/>
              <a:gd name="T35" fmla="*/ 482 h 1002"/>
              <a:gd name="T36" fmla="*/ 247 w 483"/>
              <a:gd name="T37" fmla="*/ 949 h 1002"/>
              <a:gd name="T38" fmla="*/ 309 w 483"/>
              <a:gd name="T39" fmla="*/ 1001 h 1002"/>
              <a:gd name="T40" fmla="*/ 369 w 483"/>
              <a:gd name="T41" fmla="*/ 949 h 1002"/>
              <a:gd name="T42" fmla="*/ 369 w 483"/>
              <a:gd name="T43" fmla="*/ 151 h 1002"/>
              <a:gd name="T44" fmla="*/ 377 w 483"/>
              <a:gd name="T45" fmla="*/ 151 h 1002"/>
              <a:gd name="T46" fmla="*/ 383 w 483"/>
              <a:gd name="T47" fmla="*/ 151 h 1002"/>
              <a:gd name="T48" fmla="*/ 383 w 483"/>
              <a:gd name="T49" fmla="*/ 151 h 1002"/>
              <a:gd name="T50" fmla="*/ 383 w 483"/>
              <a:gd name="T51" fmla="*/ 437 h 1002"/>
              <a:gd name="T52" fmla="*/ 436 w 483"/>
              <a:gd name="T53" fmla="*/ 482 h 1002"/>
              <a:gd name="T54" fmla="*/ 482 w 483"/>
              <a:gd name="T55" fmla="*/ 437 h 1002"/>
              <a:gd name="T56" fmla="*/ 482 w 483"/>
              <a:gd name="T57" fmla="*/ 113 h 1002"/>
              <a:gd name="T58" fmla="*/ 369 w 483"/>
              <a:gd name="T59" fmla="*/ 0 h 1002"/>
              <a:gd name="T60" fmla="*/ 247 w 483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3" h="1002">
                <a:moveTo>
                  <a:pt x="247" y="0"/>
                </a:moveTo>
                <a:lnTo>
                  <a:pt x="247" y="0"/>
                </a:lnTo>
                <a:cubicBezTo>
                  <a:pt x="105" y="0"/>
                  <a:pt x="105" y="0"/>
                  <a:pt x="105" y="0"/>
                </a:cubicBezTo>
                <a:cubicBezTo>
                  <a:pt x="45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22" y="482"/>
                  <a:pt x="45" y="482"/>
                </a:cubicBezTo>
                <a:cubicBezTo>
                  <a:pt x="67" y="482"/>
                  <a:pt x="90" y="460"/>
                  <a:pt x="90" y="437"/>
                </a:cubicBezTo>
                <a:lnTo>
                  <a:pt x="90" y="151"/>
                </a:lnTo>
                <a:cubicBezTo>
                  <a:pt x="90" y="151"/>
                  <a:pt x="90" y="151"/>
                  <a:pt x="97" y="151"/>
                </a:cubicBezTo>
                <a:cubicBezTo>
                  <a:pt x="105" y="151"/>
                  <a:pt x="105" y="151"/>
                  <a:pt x="105" y="151"/>
                </a:cubicBezTo>
                <a:lnTo>
                  <a:pt x="113" y="151"/>
                </a:lnTo>
                <a:cubicBezTo>
                  <a:pt x="113" y="949"/>
                  <a:pt x="113" y="949"/>
                  <a:pt x="113" y="949"/>
                </a:cubicBezTo>
                <a:cubicBezTo>
                  <a:pt x="113" y="978"/>
                  <a:pt x="135" y="1001"/>
                  <a:pt x="173" y="1001"/>
                </a:cubicBezTo>
                <a:cubicBezTo>
                  <a:pt x="203" y="1001"/>
                  <a:pt x="226" y="978"/>
                  <a:pt x="226" y="949"/>
                </a:cubicBezTo>
                <a:cubicBezTo>
                  <a:pt x="226" y="482"/>
                  <a:pt x="226" y="482"/>
                  <a:pt x="226" y="482"/>
                </a:cubicBezTo>
                <a:cubicBezTo>
                  <a:pt x="226" y="474"/>
                  <a:pt x="233" y="474"/>
                  <a:pt x="233" y="474"/>
                </a:cubicBezTo>
                <a:cubicBezTo>
                  <a:pt x="241" y="474"/>
                  <a:pt x="241" y="474"/>
                  <a:pt x="241" y="474"/>
                </a:cubicBezTo>
                <a:cubicBezTo>
                  <a:pt x="247" y="474"/>
                  <a:pt x="247" y="474"/>
                  <a:pt x="247" y="482"/>
                </a:cubicBezTo>
                <a:cubicBezTo>
                  <a:pt x="247" y="949"/>
                  <a:pt x="247" y="949"/>
                  <a:pt x="247" y="949"/>
                </a:cubicBezTo>
                <a:cubicBezTo>
                  <a:pt x="247" y="978"/>
                  <a:pt x="278" y="1001"/>
                  <a:pt x="309" y="1001"/>
                </a:cubicBezTo>
                <a:cubicBezTo>
                  <a:pt x="338" y="1001"/>
                  <a:pt x="369" y="978"/>
                  <a:pt x="369" y="949"/>
                </a:cubicBezTo>
                <a:cubicBezTo>
                  <a:pt x="369" y="151"/>
                  <a:pt x="369" y="151"/>
                  <a:pt x="369" y="151"/>
                </a:cubicBezTo>
                <a:cubicBezTo>
                  <a:pt x="369" y="151"/>
                  <a:pt x="369" y="151"/>
                  <a:pt x="377" y="151"/>
                </a:cubicBezTo>
                <a:cubicBezTo>
                  <a:pt x="383" y="151"/>
                  <a:pt x="383" y="151"/>
                  <a:pt x="383" y="151"/>
                </a:cubicBezTo>
                <a:lnTo>
                  <a:pt x="383" y="151"/>
                </a:lnTo>
                <a:lnTo>
                  <a:pt x="383" y="437"/>
                </a:lnTo>
                <a:cubicBezTo>
                  <a:pt x="383" y="460"/>
                  <a:pt x="406" y="482"/>
                  <a:pt x="436" y="482"/>
                </a:cubicBezTo>
                <a:cubicBezTo>
                  <a:pt x="459" y="482"/>
                  <a:pt x="482" y="460"/>
                  <a:pt x="482" y="437"/>
                </a:cubicBezTo>
                <a:cubicBezTo>
                  <a:pt x="482" y="113"/>
                  <a:pt x="482" y="113"/>
                  <a:pt x="482" y="113"/>
                </a:cubicBezTo>
                <a:cubicBezTo>
                  <a:pt x="482" y="52"/>
                  <a:pt x="428" y="0"/>
                  <a:pt x="369" y="0"/>
                </a:cubicBezTo>
                <a:lnTo>
                  <a:pt x="247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9" name="Freeform 358"/>
          <p:cNvSpPr>
            <a:spLocks noChangeArrowheads="1"/>
          </p:cNvSpPr>
          <p:nvPr/>
        </p:nvSpPr>
        <p:spPr bwMode="auto">
          <a:xfrm>
            <a:off x="14881710" y="9295244"/>
            <a:ext cx="147465" cy="147475"/>
          </a:xfrm>
          <a:custGeom>
            <a:avLst/>
            <a:gdLst>
              <a:gd name="T0" fmla="*/ 91 w 182"/>
              <a:gd name="T1" fmla="*/ 0 h 183"/>
              <a:gd name="T2" fmla="*/ 91 w 182"/>
              <a:gd name="T3" fmla="*/ 0 h 183"/>
              <a:gd name="T4" fmla="*/ 181 w 182"/>
              <a:gd name="T5" fmla="*/ 91 h 183"/>
              <a:gd name="T6" fmla="*/ 91 w 182"/>
              <a:gd name="T7" fmla="*/ 182 h 183"/>
              <a:gd name="T8" fmla="*/ 0 w 182"/>
              <a:gd name="T9" fmla="*/ 91 h 183"/>
              <a:gd name="T10" fmla="*/ 91 w 182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2" h="183">
                <a:moveTo>
                  <a:pt x="91" y="0"/>
                </a:moveTo>
                <a:lnTo>
                  <a:pt x="91" y="0"/>
                </a:lnTo>
                <a:cubicBezTo>
                  <a:pt x="136" y="0"/>
                  <a:pt x="181" y="46"/>
                  <a:pt x="181" y="91"/>
                </a:cubicBezTo>
                <a:cubicBezTo>
                  <a:pt x="181" y="144"/>
                  <a:pt x="136" y="182"/>
                  <a:pt x="91" y="182"/>
                </a:cubicBezTo>
                <a:cubicBezTo>
                  <a:pt x="37" y="182"/>
                  <a:pt x="0" y="144"/>
                  <a:pt x="0" y="91"/>
                </a:cubicBezTo>
                <a:cubicBezTo>
                  <a:pt x="0" y="46"/>
                  <a:pt x="37" y="0"/>
                  <a:pt x="91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0" name="Freeform 359"/>
          <p:cNvSpPr>
            <a:spLocks noChangeArrowheads="1"/>
          </p:cNvSpPr>
          <p:nvPr/>
        </p:nvSpPr>
        <p:spPr bwMode="auto">
          <a:xfrm>
            <a:off x="15445764" y="9464840"/>
            <a:ext cx="390782" cy="833231"/>
          </a:xfrm>
          <a:custGeom>
            <a:avLst/>
            <a:gdLst>
              <a:gd name="T0" fmla="*/ 248 w 474"/>
              <a:gd name="T1" fmla="*/ 0 h 1002"/>
              <a:gd name="T2" fmla="*/ 248 w 474"/>
              <a:gd name="T3" fmla="*/ 0 h 1002"/>
              <a:gd name="T4" fmla="*/ 105 w 474"/>
              <a:gd name="T5" fmla="*/ 0 h 1002"/>
              <a:gd name="T6" fmla="*/ 0 w 474"/>
              <a:gd name="T7" fmla="*/ 113 h 1002"/>
              <a:gd name="T8" fmla="*/ 0 w 474"/>
              <a:gd name="T9" fmla="*/ 437 h 1002"/>
              <a:gd name="T10" fmla="*/ 44 w 474"/>
              <a:gd name="T11" fmla="*/ 482 h 1002"/>
              <a:gd name="T12" fmla="*/ 89 w 474"/>
              <a:gd name="T13" fmla="*/ 437 h 1002"/>
              <a:gd name="T14" fmla="*/ 89 w 474"/>
              <a:gd name="T15" fmla="*/ 151 h 1002"/>
              <a:gd name="T16" fmla="*/ 89 w 474"/>
              <a:gd name="T17" fmla="*/ 151 h 1002"/>
              <a:gd name="T18" fmla="*/ 105 w 474"/>
              <a:gd name="T19" fmla="*/ 151 h 1002"/>
              <a:gd name="T20" fmla="*/ 105 w 474"/>
              <a:gd name="T21" fmla="*/ 151 h 1002"/>
              <a:gd name="T22" fmla="*/ 105 w 474"/>
              <a:gd name="T23" fmla="*/ 949 h 1002"/>
              <a:gd name="T24" fmla="*/ 165 w 474"/>
              <a:gd name="T25" fmla="*/ 1001 h 1002"/>
              <a:gd name="T26" fmla="*/ 225 w 474"/>
              <a:gd name="T27" fmla="*/ 949 h 1002"/>
              <a:gd name="T28" fmla="*/ 225 w 474"/>
              <a:gd name="T29" fmla="*/ 482 h 1002"/>
              <a:gd name="T30" fmla="*/ 233 w 474"/>
              <a:gd name="T31" fmla="*/ 474 h 1002"/>
              <a:gd name="T32" fmla="*/ 240 w 474"/>
              <a:gd name="T33" fmla="*/ 474 h 1002"/>
              <a:gd name="T34" fmla="*/ 248 w 474"/>
              <a:gd name="T35" fmla="*/ 482 h 1002"/>
              <a:gd name="T36" fmla="*/ 248 w 474"/>
              <a:gd name="T37" fmla="*/ 949 h 1002"/>
              <a:gd name="T38" fmla="*/ 308 w 474"/>
              <a:gd name="T39" fmla="*/ 1001 h 1002"/>
              <a:gd name="T40" fmla="*/ 368 w 474"/>
              <a:gd name="T41" fmla="*/ 949 h 1002"/>
              <a:gd name="T42" fmla="*/ 368 w 474"/>
              <a:gd name="T43" fmla="*/ 151 h 1002"/>
              <a:gd name="T44" fmla="*/ 368 w 474"/>
              <a:gd name="T45" fmla="*/ 151 h 1002"/>
              <a:gd name="T46" fmla="*/ 384 w 474"/>
              <a:gd name="T47" fmla="*/ 151 h 1002"/>
              <a:gd name="T48" fmla="*/ 384 w 474"/>
              <a:gd name="T49" fmla="*/ 151 h 1002"/>
              <a:gd name="T50" fmla="*/ 384 w 474"/>
              <a:gd name="T51" fmla="*/ 437 h 1002"/>
              <a:gd name="T52" fmla="*/ 429 w 474"/>
              <a:gd name="T53" fmla="*/ 482 h 1002"/>
              <a:gd name="T54" fmla="*/ 473 w 474"/>
              <a:gd name="T55" fmla="*/ 437 h 1002"/>
              <a:gd name="T56" fmla="*/ 473 w 474"/>
              <a:gd name="T57" fmla="*/ 113 h 1002"/>
              <a:gd name="T58" fmla="*/ 368 w 474"/>
              <a:gd name="T59" fmla="*/ 0 h 1002"/>
              <a:gd name="T60" fmla="*/ 248 w 474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74" h="1002">
                <a:moveTo>
                  <a:pt x="248" y="0"/>
                </a:moveTo>
                <a:lnTo>
                  <a:pt x="248" y="0"/>
                </a:lnTo>
                <a:cubicBezTo>
                  <a:pt x="105" y="0"/>
                  <a:pt x="105" y="0"/>
                  <a:pt x="105" y="0"/>
                </a:cubicBezTo>
                <a:cubicBezTo>
                  <a:pt x="44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15" y="482"/>
                  <a:pt x="44" y="482"/>
                </a:cubicBezTo>
                <a:cubicBezTo>
                  <a:pt x="67" y="482"/>
                  <a:pt x="89" y="460"/>
                  <a:pt x="89" y="437"/>
                </a:cubicBezTo>
                <a:lnTo>
                  <a:pt x="89" y="151"/>
                </a:lnTo>
                <a:lnTo>
                  <a:pt x="89" y="151"/>
                </a:lnTo>
                <a:cubicBezTo>
                  <a:pt x="105" y="151"/>
                  <a:pt x="105" y="151"/>
                  <a:pt x="105" y="151"/>
                </a:cubicBezTo>
                <a:lnTo>
                  <a:pt x="105" y="151"/>
                </a:lnTo>
                <a:cubicBezTo>
                  <a:pt x="105" y="949"/>
                  <a:pt x="105" y="949"/>
                  <a:pt x="105" y="949"/>
                </a:cubicBezTo>
                <a:cubicBezTo>
                  <a:pt x="105" y="978"/>
                  <a:pt x="135" y="1001"/>
                  <a:pt x="165" y="1001"/>
                </a:cubicBezTo>
                <a:cubicBezTo>
                  <a:pt x="203" y="1001"/>
                  <a:pt x="225" y="978"/>
                  <a:pt x="225" y="949"/>
                </a:cubicBezTo>
                <a:cubicBezTo>
                  <a:pt x="225" y="482"/>
                  <a:pt x="225" y="482"/>
                  <a:pt x="225" y="482"/>
                </a:cubicBezTo>
                <a:cubicBezTo>
                  <a:pt x="225" y="474"/>
                  <a:pt x="225" y="474"/>
                  <a:pt x="233" y="474"/>
                </a:cubicBezTo>
                <a:cubicBezTo>
                  <a:pt x="240" y="474"/>
                  <a:pt x="240" y="474"/>
                  <a:pt x="240" y="474"/>
                </a:cubicBezTo>
                <a:cubicBezTo>
                  <a:pt x="248" y="474"/>
                  <a:pt x="248" y="474"/>
                  <a:pt x="248" y="482"/>
                </a:cubicBezTo>
                <a:cubicBezTo>
                  <a:pt x="248" y="949"/>
                  <a:pt x="248" y="949"/>
                  <a:pt x="248" y="949"/>
                </a:cubicBezTo>
                <a:cubicBezTo>
                  <a:pt x="248" y="978"/>
                  <a:pt x="271" y="1001"/>
                  <a:pt x="308" y="1001"/>
                </a:cubicBezTo>
                <a:cubicBezTo>
                  <a:pt x="338" y="1001"/>
                  <a:pt x="368" y="978"/>
                  <a:pt x="368" y="949"/>
                </a:cubicBezTo>
                <a:cubicBezTo>
                  <a:pt x="368" y="151"/>
                  <a:pt x="368" y="151"/>
                  <a:pt x="368" y="151"/>
                </a:cubicBezTo>
                <a:lnTo>
                  <a:pt x="368" y="151"/>
                </a:lnTo>
                <a:cubicBezTo>
                  <a:pt x="384" y="151"/>
                  <a:pt x="384" y="151"/>
                  <a:pt x="384" y="151"/>
                </a:cubicBezTo>
                <a:lnTo>
                  <a:pt x="384" y="151"/>
                </a:lnTo>
                <a:lnTo>
                  <a:pt x="384" y="437"/>
                </a:lnTo>
                <a:cubicBezTo>
                  <a:pt x="384" y="460"/>
                  <a:pt x="406" y="482"/>
                  <a:pt x="429" y="482"/>
                </a:cubicBezTo>
                <a:cubicBezTo>
                  <a:pt x="458" y="482"/>
                  <a:pt x="473" y="460"/>
                  <a:pt x="473" y="437"/>
                </a:cubicBezTo>
                <a:cubicBezTo>
                  <a:pt x="473" y="113"/>
                  <a:pt x="473" y="113"/>
                  <a:pt x="473" y="113"/>
                </a:cubicBezTo>
                <a:cubicBezTo>
                  <a:pt x="473" y="52"/>
                  <a:pt x="429" y="0"/>
                  <a:pt x="368" y="0"/>
                </a:cubicBezTo>
                <a:lnTo>
                  <a:pt x="248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1" name="Freeform 360"/>
          <p:cNvSpPr>
            <a:spLocks noChangeArrowheads="1"/>
          </p:cNvSpPr>
          <p:nvPr/>
        </p:nvSpPr>
        <p:spPr bwMode="auto">
          <a:xfrm>
            <a:off x="15574796" y="9295244"/>
            <a:ext cx="140092" cy="147475"/>
          </a:xfrm>
          <a:custGeom>
            <a:avLst/>
            <a:gdLst>
              <a:gd name="T0" fmla="*/ 82 w 173"/>
              <a:gd name="T1" fmla="*/ 0 h 183"/>
              <a:gd name="T2" fmla="*/ 82 w 173"/>
              <a:gd name="T3" fmla="*/ 0 h 183"/>
              <a:gd name="T4" fmla="*/ 172 w 173"/>
              <a:gd name="T5" fmla="*/ 91 h 183"/>
              <a:gd name="T6" fmla="*/ 82 w 173"/>
              <a:gd name="T7" fmla="*/ 182 h 183"/>
              <a:gd name="T8" fmla="*/ 0 w 173"/>
              <a:gd name="T9" fmla="*/ 91 h 183"/>
              <a:gd name="T10" fmla="*/ 82 w 173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3" h="183">
                <a:moveTo>
                  <a:pt x="82" y="0"/>
                </a:moveTo>
                <a:lnTo>
                  <a:pt x="82" y="0"/>
                </a:lnTo>
                <a:cubicBezTo>
                  <a:pt x="134" y="0"/>
                  <a:pt x="172" y="46"/>
                  <a:pt x="172" y="91"/>
                </a:cubicBezTo>
                <a:cubicBezTo>
                  <a:pt x="172" y="144"/>
                  <a:pt x="134" y="182"/>
                  <a:pt x="82" y="182"/>
                </a:cubicBezTo>
                <a:cubicBezTo>
                  <a:pt x="37" y="182"/>
                  <a:pt x="0" y="144"/>
                  <a:pt x="0" y="91"/>
                </a:cubicBezTo>
                <a:cubicBezTo>
                  <a:pt x="0" y="46"/>
                  <a:pt x="37" y="0"/>
                  <a:pt x="82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2" name="Freeform 361"/>
          <p:cNvSpPr>
            <a:spLocks noChangeArrowheads="1"/>
          </p:cNvSpPr>
          <p:nvPr/>
        </p:nvSpPr>
        <p:spPr bwMode="auto">
          <a:xfrm>
            <a:off x="16131477" y="9464840"/>
            <a:ext cx="401841" cy="833231"/>
          </a:xfrm>
          <a:custGeom>
            <a:avLst/>
            <a:gdLst>
              <a:gd name="T0" fmla="*/ 250 w 484"/>
              <a:gd name="T1" fmla="*/ 0 h 1002"/>
              <a:gd name="T2" fmla="*/ 250 w 484"/>
              <a:gd name="T3" fmla="*/ 0 h 1002"/>
              <a:gd name="T4" fmla="*/ 114 w 484"/>
              <a:gd name="T5" fmla="*/ 0 h 1002"/>
              <a:gd name="T6" fmla="*/ 0 w 484"/>
              <a:gd name="T7" fmla="*/ 113 h 1002"/>
              <a:gd name="T8" fmla="*/ 0 w 484"/>
              <a:gd name="T9" fmla="*/ 437 h 1002"/>
              <a:gd name="T10" fmla="*/ 46 w 484"/>
              <a:gd name="T11" fmla="*/ 482 h 1002"/>
              <a:gd name="T12" fmla="*/ 99 w 484"/>
              <a:gd name="T13" fmla="*/ 437 h 1002"/>
              <a:gd name="T14" fmla="*/ 99 w 484"/>
              <a:gd name="T15" fmla="*/ 151 h 1002"/>
              <a:gd name="T16" fmla="*/ 99 w 484"/>
              <a:gd name="T17" fmla="*/ 151 h 1002"/>
              <a:gd name="T18" fmla="*/ 106 w 484"/>
              <a:gd name="T19" fmla="*/ 151 h 1002"/>
              <a:gd name="T20" fmla="*/ 114 w 484"/>
              <a:gd name="T21" fmla="*/ 151 h 1002"/>
              <a:gd name="T22" fmla="*/ 114 w 484"/>
              <a:gd name="T23" fmla="*/ 949 h 1002"/>
              <a:gd name="T24" fmla="*/ 174 w 484"/>
              <a:gd name="T25" fmla="*/ 1001 h 1002"/>
              <a:gd name="T26" fmla="*/ 235 w 484"/>
              <a:gd name="T27" fmla="*/ 949 h 1002"/>
              <a:gd name="T28" fmla="*/ 235 w 484"/>
              <a:gd name="T29" fmla="*/ 482 h 1002"/>
              <a:gd name="T30" fmla="*/ 242 w 484"/>
              <a:gd name="T31" fmla="*/ 474 h 1002"/>
              <a:gd name="T32" fmla="*/ 250 w 484"/>
              <a:gd name="T33" fmla="*/ 474 h 1002"/>
              <a:gd name="T34" fmla="*/ 250 w 484"/>
              <a:gd name="T35" fmla="*/ 482 h 1002"/>
              <a:gd name="T36" fmla="*/ 250 w 484"/>
              <a:gd name="T37" fmla="*/ 949 h 1002"/>
              <a:gd name="T38" fmla="*/ 309 w 484"/>
              <a:gd name="T39" fmla="*/ 1001 h 1002"/>
              <a:gd name="T40" fmla="*/ 369 w 484"/>
              <a:gd name="T41" fmla="*/ 949 h 1002"/>
              <a:gd name="T42" fmla="*/ 369 w 484"/>
              <a:gd name="T43" fmla="*/ 151 h 1002"/>
              <a:gd name="T44" fmla="*/ 377 w 484"/>
              <a:gd name="T45" fmla="*/ 151 h 1002"/>
              <a:gd name="T46" fmla="*/ 384 w 484"/>
              <a:gd name="T47" fmla="*/ 151 h 1002"/>
              <a:gd name="T48" fmla="*/ 392 w 484"/>
              <a:gd name="T49" fmla="*/ 151 h 1002"/>
              <a:gd name="T50" fmla="*/ 392 w 484"/>
              <a:gd name="T51" fmla="*/ 437 h 1002"/>
              <a:gd name="T52" fmla="*/ 437 w 484"/>
              <a:gd name="T53" fmla="*/ 482 h 1002"/>
              <a:gd name="T54" fmla="*/ 483 w 484"/>
              <a:gd name="T55" fmla="*/ 437 h 1002"/>
              <a:gd name="T56" fmla="*/ 483 w 484"/>
              <a:gd name="T57" fmla="*/ 113 h 1002"/>
              <a:gd name="T58" fmla="*/ 377 w 484"/>
              <a:gd name="T59" fmla="*/ 0 h 1002"/>
              <a:gd name="T60" fmla="*/ 250 w 484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4" h="1002">
                <a:moveTo>
                  <a:pt x="250" y="0"/>
                </a:moveTo>
                <a:lnTo>
                  <a:pt x="250" y="0"/>
                </a:lnTo>
                <a:cubicBezTo>
                  <a:pt x="114" y="0"/>
                  <a:pt x="114" y="0"/>
                  <a:pt x="114" y="0"/>
                </a:cubicBezTo>
                <a:cubicBezTo>
                  <a:pt x="54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23" y="482"/>
                  <a:pt x="46" y="482"/>
                </a:cubicBezTo>
                <a:cubicBezTo>
                  <a:pt x="76" y="482"/>
                  <a:pt x="91" y="460"/>
                  <a:pt x="99" y="437"/>
                </a:cubicBezTo>
                <a:lnTo>
                  <a:pt x="99" y="151"/>
                </a:lnTo>
                <a:lnTo>
                  <a:pt x="99" y="151"/>
                </a:lnTo>
                <a:cubicBezTo>
                  <a:pt x="106" y="151"/>
                  <a:pt x="106" y="151"/>
                  <a:pt x="106" y="151"/>
                </a:cubicBezTo>
                <a:cubicBezTo>
                  <a:pt x="114" y="151"/>
                  <a:pt x="114" y="151"/>
                  <a:pt x="114" y="151"/>
                </a:cubicBezTo>
                <a:cubicBezTo>
                  <a:pt x="114" y="949"/>
                  <a:pt x="114" y="949"/>
                  <a:pt x="114" y="949"/>
                </a:cubicBezTo>
                <a:cubicBezTo>
                  <a:pt x="114" y="978"/>
                  <a:pt x="144" y="1001"/>
                  <a:pt x="174" y="1001"/>
                </a:cubicBezTo>
                <a:cubicBezTo>
                  <a:pt x="204" y="1001"/>
                  <a:pt x="235" y="978"/>
                  <a:pt x="235" y="949"/>
                </a:cubicBezTo>
                <a:cubicBezTo>
                  <a:pt x="235" y="482"/>
                  <a:pt x="235" y="482"/>
                  <a:pt x="235" y="482"/>
                </a:cubicBezTo>
                <a:cubicBezTo>
                  <a:pt x="235" y="474"/>
                  <a:pt x="235" y="474"/>
                  <a:pt x="242" y="474"/>
                </a:cubicBezTo>
                <a:cubicBezTo>
                  <a:pt x="250" y="474"/>
                  <a:pt x="250" y="474"/>
                  <a:pt x="250" y="474"/>
                </a:cubicBezTo>
                <a:cubicBezTo>
                  <a:pt x="250" y="474"/>
                  <a:pt x="250" y="474"/>
                  <a:pt x="250" y="482"/>
                </a:cubicBezTo>
                <a:cubicBezTo>
                  <a:pt x="250" y="949"/>
                  <a:pt x="250" y="949"/>
                  <a:pt x="250" y="949"/>
                </a:cubicBezTo>
                <a:cubicBezTo>
                  <a:pt x="250" y="978"/>
                  <a:pt x="279" y="1001"/>
                  <a:pt x="309" y="1001"/>
                </a:cubicBezTo>
                <a:cubicBezTo>
                  <a:pt x="347" y="1001"/>
                  <a:pt x="369" y="978"/>
                  <a:pt x="369" y="949"/>
                </a:cubicBezTo>
                <a:cubicBezTo>
                  <a:pt x="369" y="151"/>
                  <a:pt x="369" y="151"/>
                  <a:pt x="369" y="151"/>
                </a:cubicBezTo>
                <a:lnTo>
                  <a:pt x="377" y="151"/>
                </a:lnTo>
                <a:cubicBezTo>
                  <a:pt x="384" y="151"/>
                  <a:pt x="384" y="151"/>
                  <a:pt x="384" y="151"/>
                </a:cubicBezTo>
                <a:cubicBezTo>
                  <a:pt x="392" y="151"/>
                  <a:pt x="392" y="151"/>
                  <a:pt x="392" y="151"/>
                </a:cubicBezTo>
                <a:lnTo>
                  <a:pt x="392" y="437"/>
                </a:lnTo>
                <a:cubicBezTo>
                  <a:pt x="392" y="460"/>
                  <a:pt x="415" y="482"/>
                  <a:pt x="437" y="482"/>
                </a:cubicBezTo>
                <a:cubicBezTo>
                  <a:pt x="460" y="482"/>
                  <a:pt x="483" y="460"/>
                  <a:pt x="483" y="437"/>
                </a:cubicBezTo>
                <a:cubicBezTo>
                  <a:pt x="483" y="113"/>
                  <a:pt x="483" y="113"/>
                  <a:pt x="483" y="113"/>
                </a:cubicBezTo>
                <a:cubicBezTo>
                  <a:pt x="483" y="52"/>
                  <a:pt x="437" y="0"/>
                  <a:pt x="377" y="0"/>
                </a:cubicBezTo>
                <a:lnTo>
                  <a:pt x="25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3" name="Freeform 362"/>
          <p:cNvSpPr>
            <a:spLocks noChangeArrowheads="1"/>
          </p:cNvSpPr>
          <p:nvPr/>
        </p:nvSpPr>
        <p:spPr bwMode="auto">
          <a:xfrm>
            <a:off x="16256821" y="9295244"/>
            <a:ext cx="147465" cy="147475"/>
          </a:xfrm>
          <a:custGeom>
            <a:avLst/>
            <a:gdLst>
              <a:gd name="T0" fmla="*/ 91 w 182"/>
              <a:gd name="T1" fmla="*/ 0 h 183"/>
              <a:gd name="T2" fmla="*/ 91 w 182"/>
              <a:gd name="T3" fmla="*/ 0 h 183"/>
              <a:gd name="T4" fmla="*/ 181 w 182"/>
              <a:gd name="T5" fmla="*/ 91 h 183"/>
              <a:gd name="T6" fmla="*/ 91 w 182"/>
              <a:gd name="T7" fmla="*/ 182 h 183"/>
              <a:gd name="T8" fmla="*/ 0 w 182"/>
              <a:gd name="T9" fmla="*/ 91 h 183"/>
              <a:gd name="T10" fmla="*/ 91 w 182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2" h="183">
                <a:moveTo>
                  <a:pt x="91" y="0"/>
                </a:moveTo>
                <a:lnTo>
                  <a:pt x="91" y="0"/>
                </a:lnTo>
                <a:cubicBezTo>
                  <a:pt x="144" y="0"/>
                  <a:pt x="181" y="46"/>
                  <a:pt x="181" y="91"/>
                </a:cubicBezTo>
                <a:cubicBezTo>
                  <a:pt x="181" y="144"/>
                  <a:pt x="144" y="182"/>
                  <a:pt x="91" y="182"/>
                </a:cubicBezTo>
                <a:cubicBezTo>
                  <a:pt x="45" y="182"/>
                  <a:pt x="0" y="144"/>
                  <a:pt x="0" y="91"/>
                </a:cubicBezTo>
                <a:cubicBezTo>
                  <a:pt x="0" y="46"/>
                  <a:pt x="45" y="0"/>
                  <a:pt x="91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4" name="Freeform 363"/>
          <p:cNvSpPr>
            <a:spLocks noChangeArrowheads="1"/>
          </p:cNvSpPr>
          <p:nvPr/>
        </p:nvSpPr>
        <p:spPr bwMode="auto">
          <a:xfrm>
            <a:off x="16824560" y="9464840"/>
            <a:ext cx="398156" cy="833231"/>
          </a:xfrm>
          <a:custGeom>
            <a:avLst/>
            <a:gdLst>
              <a:gd name="T0" fmla="*/ 248 w 482"/>
              <a:gd name="T1" fmla="*/ 0 h 1002"/>
              <a:gd name="T2" fmla="*/ 248 w 482"/>
              <a:gd name="T3" fmla="*/ 0 h 1002"/>
              <a:gd name="T4" fmla="*/ 105 w 482"/>
              <a:gd name="T5" fmla="*/ 0 h 1002"/>
              <a:gd name="T6" fmla="*/ 0 w 482"/>
              <a:gd name="T7" fmla="*/ 113 h 1002"/>
              <a:gd name="T8" fmla="*/ 0 w 482"/>
              <a:gd name="T9" fmla="*/ 437 h 1002"/>
              <a:gd name="T10" fmla="*/ 45 w 482"/>
              <a:gd name="T11" fmla="*/ 482 h 1002"/>
              <a:gd name="T12" fmla="*/ 91 w 482"/>
              <a:gd name="T13" fmla="*/ 437 h 1002"/>
              <a:gd name="T14" fmla="*/ 91 w 482"/>
              <a:gd name="T15" fmla="*/ 151 h 1002"/>
              <a:gd name="T16" fmla="*/ 97 w 482"/>
              <a:gd name="T17" fmla="*/ 151 h 1002"/>
              <a:gd name="T18" fmla="*/ 105 w 482"/>
              <a:gd name="T19" fmla="*/ 151 h 1002"/>
              <a:gd name="T20" fmla="*/ 113 w 482"/>
              <a:gd name="T21" fmla="*/ 151 h 1002"/>
              <a:gd name="T22" fmla="*/ 113 w 482"/>
              <a:gd name="T23" fmla="*/ 949 h 1002"/>
              <a:gd name="T24" fmla="*/ 173 w 482"/>
              <a:gd name="T25" fmla="*/ 1001 h 1002"/>
              <a:gd name="T26" fmla="*/ 233 w 482"/>
              <a:gd name="T27" fmla="*/ 949 h 1002"/>
              <a:gd name="T28" fmla="*/ 233 w 482"/>
              <a:gd name="T29" fmla="*/ 482 h 1002"/>
              <a:gd name="T30" fmla="*/ 233 w 482"/>
              <a:gd name="T31" fmla="*/ 474 h 1002"/>
              <a:gd name="T32" fmla="*/ 248 w 482"/>
              <a:gd name="T33" fmla="*/ 474 h 1002"/>
              <a:gd name="T34" fmla="*/ 248 w 482"/>
              <a:gd name="T35" fmla="*/ 482 h 1002"/>
              <a:gd name="T36" fmla="*/ 248 w 482"/>
              <a:gd name="T37" fmla="*/ 949 h 1002"/>
              <a:gd name="T38" fmla="*/ 309 w 482"/>
              <a:gd name="T39" fmla="*/ 1001 h 1002"/>
              <a:gd name="T40" fmla="*/ 369 w 482"/>
              <a:gd name="T41" fmla="*/ 949 h 1002"/>
              <a:gd name="T42" fmla="*/ 369 w 482"/>
              <a:gd name="T43" fmla="*/ 151 h 1002"/>
              <a:gd name="T44" fmla="*/ 376 w 482"/>
              <a:gd name="T45" fmla="*/ 151 h 1002"/>
              <a:gd name="T46" fmla="*/ 384 w 482"/>
              <a:gd name="T47" fmla="*/ 151 h 1002"/>
              <a:gd name="T48" fmla="*/ 392 w 482"/>
              <a:gd name="T49" fmla="*/ 151 h 1002"/>
              <a:gd name="T50" fmla="*/ 392 w 482"/>
              <a:gd name="T51" fmla="*/ 437 h 1002"/>
              <a:gd name="T52" fmla="*/ 437 w 482"/>
              <a:gd name="T53" fmla="*/ 482 h 1002"/>
              <a:gd name="T54" fmla="*/ 481 w 482"/>
              <a:gd name="T55" fmla="*/ 437 h 1002"/>
              <a:gd name="T56" fmla="*/ 481 w 482"/>
              <a:gd name="T57" fmla="*/ 113 h 1002"/>
              <a:gd name="T58" fmla="*/ 369 w 482"/>
              <a:gd name="T59" fmla="*/ 0 h 1002"/>
              <a:gd name="T60" fmla="*/ 248 w 482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2" h="1002">
                <a:moveTo>
                  <a:pt x="248" y="0"/>
                </a:moveTo>
                <a:lnTo>
                  <a:pt x="248" y="0"/>
                </a:lnTo>
                <a:cubicBezTo>
                  <a:pt x="105" y="0"/>
                  <a:pt x="105" y="0"/>
                  <a:pt x="105" y="0"/>
                </a:cubicBezTo>
                <a:cubicBezTo>
                  <a:pt x="45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23" y="482"/>
                  <a:pt x="45" y="482"/>
                </a:cubicBezTo>
                <a:cubicBezTo>
                  <a:pt x="68" y="482"/>
                  <a:pt x="91" y="460"/>
                  <a:pt x="91" y="437"/>
                </a:cubicBezTo>
                <a:lnTo>
                  <a:pt x="91" y="151"/>
                </a:lnTo>
                <a:lnTo>
                  <a:pt x="97" y="151"/>
                </a:lnTo>
                <a:cubicBezTo>
                  <a:pt x="105" y="151"/>
                  <a:pt x="105" y="151"/>
                  <a:pt x="105" y="151"/>
                </a:cubicBezTo>
                <a:cubicBezTo>
                  <a:pt x="113" y="151"/>
                  <a:pt x="113" y="151"/>
                  <a:pt x="113" y="151"/>
                </a:cubicBezTo>
                <a:cubicBezTo>
                  <a:pt x="113" y="949"/>
                  <a:pt x="113" y="949"/>
                  <a:pt x="113" y="949"/>
                </a:cubicBezTo>
                <a:cubicBezTo>
                  <a:pt x="113" y="978"/>
                  <a:pt x="136" y="1001"/>
                  <a:pt x="173" y="1001"/>
                </a:cubicBezTo>
                <a:cubicBezTo>
                  <a:pt x="202" y="1001"/>
                  <a:pt x="233" y="978"/>
                  <a:pt x="233" y="949"/>
                </a:cubicBezTo>
                <a:cubicBezTo>
                  <a:pt x="233" y="482"/>
                  <a:pt x="233" y="482"/>
                  <a:pt x="233" y="482"/>
                </a:cubicBezTo>
                <a:cubicBezTo>
                  <a:pt x="233" y="474"/>
                  <a:pt x="233" y="474"/>
                  <a:pt x="233" y="474"/>
                </a:cubicBezTo>
                <a:cubicBezTo>
                  <a:pt x="248" y="474"/>
                  <a:pt x="248" y="474"/>
                  <a:pt x="248" y="474"/>
                </a:cubicBezTo>
                <a:cubicBezTo>
                  <a:pt x="248" y="474"/>
                  <a:pt x="248" y="474"/>
                  <a:pt x="248" y="482"/>
                </a:cubicBezTo>
                <a:cubicBezTo>
                  <a:pt x="248" y="949"/>
                  <a:pt x="248" y="949"/>
                  <a:pt x="248" y="949"/>
                </a:cubicBezTo>
                <a:cubicBezTo>
                  <a:pt x="248" y="978"/>
                  <a:pt x="278" y="1001"/>
                  <a:pt x="309" y="1001"/>
                </a:cubicBezTo>
                <a:cubicBezTo>
                  <a:pt x="338" y="1001"/>
                  <a:pt x="369" y="978"/>
                  <a:pt x="369" y="949"/>
                </a:cubicBezTo>
                <a:cubicBezTo>
                  <a:pt x="369" y="151"/>
                  <a:pt x="369" y="151"/>
                  <a:pt x="369" y="151"/>
                </a:cubicBezTo>
                <a:cubicBezTo>
                  <a:pt x="369" y="151"/>
                  <a:pt x="369" y="151"/>
                  <a:pt x="376" y="151"/>
                </a:cubicBezTo>
                <a:cubicBezTo>
                  <a:pt x="384" y="151"/>
                  <a:pt x="384" y="151"/>
                  <a:pt x="384" y="151"/>
                </a:cubicBezTo>
                <a:lnTo>
                  <a:pt x="392" y="151"/>
                </a:lnTo>
                <a:lnTo>
                  <a:pt x="392" y="437"/>
                </a:lnTo>
                <a:cubicBezTo>
                  <a:pt x="392" y="460"/>
                  <a:pt x="406" y="482"/>
                  <a:pt x="437" y="482"/>
                </a:cubicBezTo>
                <a:cubicBezTo>
                  <a:pt x="460" y="482"/>
                  <a:pt x="481" y="460"/>
                  <a:pt x="481" y="437"/>
                </a:cubicBezTo>
                <a:cubicBezTo>
                  <a:pt x="481" y="113"/>
                  <a:pt x="481" y="113"/>
                  <a:pt x="481" y="113"/>
                </a:cubicBezTo>
                <a:cubicBezTo>
                  <a:pt x="481" y="52"/>
                  <a:pt x="429" y="0"/>
                  <a:pt x="369" y="0"/>
                </a:cubicBezTo>
                <a:lnTo>
                  <a:pt x="248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5" name="Freeform 364"/>
          <p:cNvSpPr>
            <a:spLocks noChangeArrowheads="1"/>
          </p:cNvSpPr>
          <p:nvPr/>
        </p:nvSpPr>
        <p:spPr bwMode="auto">
          <a:xfrm>
            <a:off x="16949907" y="9295244"/>
            <a:ext cx="147465" cy="147475"/>
          </a:xfrm>
          <a:custGeom>
            <a:avLst/>
            <a:gdLst>
              <a:gd name="T0" fmla="*/ 90 w 180"/>
              <a:gd name="T1" fmla="*/ 0 h 183"/>
              <a:gd name="T2" fmla="*/ 90 w 180"/>
              <a:gd name="T3" fmla="*/ 0 h 183"/>
              <a:gd name="T4" fmla="*/ 179 w 180"/>
              <a:gd name="T5" fmla="*/ 91 h 183"/>
              <a:gd name="T6" fmla="*/ 90 w 180"/>
              <a:gd name="T7" fmla="*/ 182 h 183"/>
              <a:gd name="T8" fmla="*/ 0 w 180"/>
              <a:gd name="T9" fmla="*/ 91 h 183"/>
              <a:gd name="T10" fmla="*/ 90 w 180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0" h="183">
                <a:moveTo>
                  <a:pt x="90" y="0"/>
                </a:moveTo>
                <a:lnTo>
                  <a:pt x="90" y="0"/>
                </a:lnTo>
                <a:cubicBezTo>
                  <a:pt x="135" y="0"/>
                  <a:pt x="179" y="46"/>
                  <a:pt x="179" y="91"/>
                </a:cubicBezTo>
                <a:cubicBezTo>
                  <a:pt x="179" y="144"/>
                  <a:pt x="135" y="182"/>
                  <a:pt x="90" y="182"/>
                </a:cubicBezTo>
                <a:cubicBezTo>
                  <a:pt x="37" y="182"/>
                  <a:pt x="0" y="144"/>
                  <a:pt x="0" y="91"/>
                </a:cubicBezTo>
                <a:cubicBezTo>
                  <a:pt x="0" y="46"/>
                  <a:pt x="37" y="0"/>
                  <a:pt x="90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6" name="Freeform 365"/>
          <p:cNvSpPr>
            <a:spLocks noChangeArrowheads="1"/>
          </p:cNvSpPr>
          <p:nvPr/>
        </p:nvSpPr>
        <p:spPr bwMode="auto">
          <a:xfrm>
            <a:off x="17517647" y="9464840"/>
            <a:ext cx="401841" cy="833231"/>
          </a:xfrm>
          <a:custGeom>
            <a:avLst/>
            <a:gdLst>
              <a:gd name="T0" fmla="*/ 249 w 484"/>
              <a:gd name="T1" fmla="*/ 0 h 1002"/>
              <a:gd name="T2" fmla="*/ 249 w 484"/>
              <a:gd name="T3" fmla="*/ 0 h 1002"/>
              <a:gd name="T4" fmla="*/ 106 w 484"/>
              <a:gd name="T5" fmla="*/ 0 h 1002"/>
              <a:gd name="T6" fmla="*/ 0 w 484"/>
              <a:gd name="T7" fmla="*/ 113 h 1002"/>
              <a:gd name="T8" fmla="*/ 0 w 484"/>
              <a:gd name="T9" fmla="*/ 437 h 1002"/>
              <a:gd name="T10" fmla="*/ 46 w 484"/>
              <a:gd name="T11" fmla="*/ 482 h 1002"/>
              <a:gd name="T12" fmla="*/ 91 w 484"/>
              <a:gd name="T13" fmla="*/ 437 h 1002"/>
              <a:gd name="T14" fmla="*/ 91 w 484"/>
              <a:gd name="T15" fmla="*/ 151 h 1002"/>
              <a:gd name="T16" fmla="*/ 99 w 484"/>
              <a:gd name="T17" fmla="*/ 151 h 1002"/>
              <a:gd name="T18" fmla="*/ 106 w 484"/>
              <a:gd name="T19" fmla="*/ 151 h 1002"/>
              <a:gd name="T20" fmla="*/ 113 w 484"/>
              <a:gd name="T21" fmla="*/ 151 h 1002"/>
              <a:gd name="T22" fmla="*/ 113 w 484"/>
              <a:gd name="T23" fmla="*/ 949 h 1002"/>
              <a:gd name="T24" fmla="*/ 167 w 484"/>
              <a:gd name="T25" fmla="*/ 1001 h 1002"/>
              <a:gd name="T26" fmla="*/ 227 w 484"/>
              <a:gd name="T27" fmla="*/ 949 h 1002"/>
              <a:gd name="T28" fmla="*/ 227 w 484"/>
              <a:gd name="T29" fmla="*/ 482 h 1002"/>
              <a:gd name="T30" fmla="*/ 235 w 484"/>
              <a:gd name="T31" fmla="*/ 474 h 1002"/>
              <a:gd name="T32" fmla="*/ 241 w 484"/>
              <a:gd name="T33" fmla="*/ 474 h 1002"/>
              <a:gd name="T34" fmla="*/ 249 w 484"/>
              <a:gd name="T35" fmla="*/ 482 h 1002"/>
              <a:gd name="T36" fmla="*/ 249 w 484"/>
              <a:gd name="T37" fmla="*/ 949 h 1002"/>
              <a:gd name="T38" fmla="*/ 309 w 484"/>
              <a:gd name="T39" fmla="*/ 1001 h 1002"/>
              <a:gd name="T40" fmla="*/ 369 w 484"/>
              <a:gd name="T41" fmla="*/ 949 h 1002"/>
              <a:gd name="T42" fmla="*/ 369 w 484"/>
              <a:gd name="T43" fmla="*/ 151 h 1002"/>
              <a:gd name="T44" fmla="*/ 369 w 484"/>
              <a:gd name="T45" fmla="*/ 151 h 1002"/>
              <a:gd name="T46" fmla="*/ 385 w 484"/>
              <a:gd name="T47" fmla="*/ 151 h 1002"/>
              <a:gd name="T48" fmla="*/ 385 w 484"/>
              <a:gd name="T49" fmla="*/ 151 h 1002"/>
              <a:gd name="T50" fmla="*/ 385 w 484"/>
              <a:gd name="T51" fmla="*/ 437 h 1002"/>
              <a:gd name="T52" fmla="*/ 431 w 484"/>
              <a:gd name="T53" fmla="*/ 482 h 1002"/>
              <a:gd name="T54" fmla="*/ 483 w 484"/>
              <a:gd name="T55" fmla="*/ 437 h 1002"/>
              <a:gd name="T56" fmla="*/ 483 w 484"/>
              <a:gd name="T57" fmla="*/ 113 h 1002"/>
              <a:gd name="T58" fmla="*/ 369 w 484"/>
              <a:gd name="T59" fmla="*/ 0 h 1002"/>
              <a:gd name="T60" fmla="*/ 249 w 484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4" h="1002">
                <a:moveTo>
                  <a:pt x="249" y="0"/>
                </a:moveTo>
                <a:lnTo>
                  <a:pt x="249" y="0"/>
                </a:lnTo>
                <a:cubicBezTo>
                  <a:pt x="106" y="0"/>
                  <a:pt x="106" y="0"/>
                  <a:pt x="106" y="0"/>
                </a:cubicBezTo>
                <a:cubicBezTo>
                  <a:pt x="46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16" y="482"/>
                  <a:pt x="46" y="482"/>
                </a:cubicBezTo>
                <a:cubicBezTo>
                  <a:pt x="68" y="482"/>
                  <a:pt x="91" y="460"/>
                  <a:pt x="91" y="437"/>
                </a:cubicBezTo>
                <a:lnTo>
                  <a:pt x="91" y="151"/>
                </a:lnTo>
                <a:cubicBezTo>
                  <a:pt x="91" y="151"/>
                  <a:pt x="91" y="151"/>
                  <a:pt x="99" y="151"/>
                </a:cubicBezTo>
                <a:cubicBezTo>
                  <a:pt x="106" y="151"/>
                  <a:pt x="106" y="151"/>
                  <a:pt x="106" y="151"/>
                </a:cubicBezTo>
                <a:lnTo>
                  <a:pt x="113" y="151"/>
                </a:lnTo>
                <a:cubicBezTo>
                  <a:pt x="113" y="949"/>
                  <a:pt x="113" y="949"/>
                  <a:pt x="113" y="949"/>
                </a:cubicBezTo>
                <a:cubicBezTo>
                  <a:pt x="113" y="978"/>
                  <a:pt x="136" y="1001"/>
                  <a:pt x="167" y="1001"/>
                </a:cubicBezTo>
                <a:cubicBezTo>
                  <a:pt x="204" y="1001"/>
                  <a:pt x="227" y="978"/>
                  <a:pt x="227" y="949"/>
                </a:cubicBezTo>
                <a:cubicBezTo>
                  <a:pt x="227" y="482"/>
                  <a:pt x="227" y="482"/>
                  <a:pt x="227" y="482"/>
                </a:cubicBezTo>
                <a:cubicBezTo>
                  <a:pt x="227" y="474"/>
                  <a:pt x="235" y="474"/>
                  <a:pt x="235" y="474"/>
                </a:cubicBezTo>
                <a:cubicBezTo>
                  <a:pt x="241" y="474"/>
                  <a:pt x="241" y="474"/>
                  <a:pt x="241" y="474"/>
                </a:cubicBezTo>
                <a:cubicBezTo>
                  <a:pt x="249" y="474"/>
                  <a:pt x="249" y="474"/>
                  <a:pt x="249" y="482"/>
                </a:cubicBezTo>
                <a:cubicBezTo>
                  <a:pt x="249" y="949"/>
                  <a:pt x="249" y="949"/>
                  <a:pt x="249" y="949"/>
                </a:cubicBezTo>
                <a:cubicBezTo>
                  <a:pt x="249" y="978"/>
                  <a:pt x="272" y="1001"/>
                  <a:pt x="309" y="1001"/>
                </a:cubicBezTo>
                <a:cubicBezTo>
                  <a:pt x="340" y="1001"/>
                  <a:pt x="369" y="978"/>
                  <a:pt x="369" y="949"/>
                </a:cubicBezTo>
                <a:cubicBezTo>
                  <a:pt x="369" y="151"/>
                  <a:pt x="369" y="151"/>
                  <a:pt x="369" y="151"/>
                </a:cubicBezTo>
                <a:lnTo>
                  <a:pt x="369" y="151"/>
                </a:lnTo>
                <a:cubicBezTo>
                  <a:pt x="385" y="151"/>
                  <a:pt x="385" y="151"/>
                  <a:pt x="385" y="151"/>
                </a:cubicBezTo>
                <a:lnTo>
                  <a:pt x="385" y="151"/>
                </a:lnTo>
                <a:lnTo>
                  <a:pt x="385" y="437"/>
                </a:lnTo>
                <a:cubicBezTo>
                  <a:pt x="385" y="460"/>
                  <a:pt x="408" y="482"/>
                  <a:pt x="431" y="482"/>
                </a:cubicBezTo>
                <a:cubicBezTo>
                  <a:pt x="460" y="482"/>
                  <a:pt x="483" y="460"/>
                  <a:pt x="483" y="437"/>
                </a:cubicBezTo>
                <a:cubicBezTo>
                  <a:pt x="483" y="113"/>
                  <a:pt x="483" y="113"/>
                  <a:pt x="483" y="113"/>
                </a:cubicBezTo>
                <a:cubicBezTo>
                  <a:pt x="483" y="52"/>
                  <a:pt x="431" y="0"/>
                  <a:pt x="369" y="0"/>
                </a:cubicBezTo>
                <a:lnTo>
                  <a:pt x="249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7" name="Freeform 366"/>
          <p:cNvSpPr>
            <a:spLocks noChangeArrowheads="1"/>
          </p:cNvSpPr>
          <p:nvPr/>
        </p:nvSpPr>
        <p:spPr bwMode="auto">
          <a:xfrm>
            <a:off x="17642991" y="9295244"/>
            <a:ext cx="140092" cy="147475"/>
          </a:xfrm>
          <a:custGeom>
            <a:avLst/>
            <a:gdLst>
              <a:gd name="T0" fmla="*/ 90 w 174"/>
              <a:gd name="T1" fmla="*/ 0 h 183"/>
              <a:gd name="T2" fmla="*/ 90 w 174"/>
              <a:gd name="T3" fmla="*/ 0 h 183"/>
              <a:gd name="T4" fmla="*/ 173 w 174"/>
              <a:gd name="T5" fmla="*/ 91 h 183"/>
              <a:gd name="T6" fmla="*/ 90 w 174"/>
              <a:gd name="T7" fmla="*/ 182 h 183"/>
              <a:gd name="T8" fmla="*/ 0 w 174"/>
              <a:gd name="T9" fmla="*/ 91 h 183"/>
              <a:gd name="T10" fmla="*/ 90 w 174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4" h="183">
                <a:moveTo>
                  <a:pt x="90" y="0"/>
                </a:moveTo>
                <a:lnTo>
                  <a:pt x="90" y="0"/>
                </a:lnTo>
                <a:cubicBezTo>
                  <a:pt x="136" y="0"/>
                  <a:pt x="173" y="46"/>
                  <a:pt x="173" y="91"/>
                </a:cubicBezTo>
                <a:cubicBezTo>
                  <a:pt x="173" y="144"/>
                  <a:pt x="136" y="182"/>
                  <a:pt x="90" y="182"/>
                </a:cubicBezTo>
                <a:cubicBezTo>
                  <a:pt x="38" y="182"/>
                  <a:pt x="0" y="144"/>
                  <a:pt x="0" y="91"/>
                </a:cubicBezTo>
                <a:cubicBezTo>
                  <a:pt x="0" y="46"/>
                  <a:pt x="38" y="0"/>
                  <a:pt x="90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8" name="Freeform 367"/>
          <p:cNvSpPr>
            <a:spLocks noChangeArrowheads="1"/>
          </p:cNvSpPr>
          <p:nvPr/>
        </p:nvSpPr>
        <p:spPr bwMode="auto">
          <a:xfrm>
            <a:off x="18203357" y="9464840"/>
            <a:ext cx="401841" cy="833231"/>
          </a:xfrm>
          <a:custGeom>
            <a:avLst/>
            <a:gdLst>
              <a:gd name="T0" fmla="*/ 257 w 483"/>
              <a:gd name="T1" fmla="*/ 0 h 1002"/>
              <a:gd name="T2" fmla="*/ 257 w 483"/>
              <a:gd name="T3" fmla="*/ 0 h 1002"/>
              <a:gd name="T4" fmla="*/ 113 w 483"/>
              <a:gd name="T5" fmla="*/ 0 h 1002"/>
              <a:gd name="T6" fmla="*/ 0 w 483"/>
              <a:gd name="T7" fmla="*/ 113 h 1002"/>
              <a:gd name="T8" fmla="*/ 0 w 483"/>
              <a:gd name="T9" fmla="*/ 437 h 1002"/>
              <a:gd name="T10" fmla="*/ 45 w 483"/>
              <a:gd name="T11" fmla="*/ 482 h 1002"/>
              <a:gd name="T12" fmla="*/ 98 w 483"/>
              <a:gd name="T13" fmla="*/ 437 h 1002"/>
              <a:gd name="T14" fmla="*/ 98 w 483"/>
              <a:gd name="T15" fmla="*/ 151 h 1002"/>
              <a:gd name="T16" fmla="*/ 98 w 483"/>
              <a:gd name="T17" fmla="*/ 151 h 1002"/>
              <a:gd name="T18" fmla="*/ 113 w 483"/>
              <a:gd name="T19" fmla="*/ 151 h 1002"/>
              <a:gd name="T20" fmla="*/ 113 w 483"/>
              <a:gd name="T21" fmla="*/ 151 h 1002"/>
              <a:gd name="T22" fmla="*/ 113 w 483"/>
              <a:gd name="T23" fmla="*/ 949 h 1002"/>
              <a:gd name="T24" fmla="*/ 173 w 483"/>
              <a:gd name="T25" fmla="*/ 1001 h 1002"/>
              <a:gd name="T26" fmla="*/ 234 w 483"/>
              <a:gd name="T27" fmla="*/ 949 h 1002"/>
              <a:gd name="T28" fmla="*/ 234 w 483"/>
              <a:gd name="T29" fmla="*/ 482 h 1002"/>
              <a:gd name="T30" fmla="*/ 241 w 483"/>
              <a:gd name="T31" fmla="*/ 474 h 1002"/>
              <a:gd name="T32" fmla="*/ 249 w 483"/>
              <a:gd name="T33" fmla="*/ 474 h 1002"/>
              <a:gd name="T34" fmla="*/ 257 w 483"/>
              <a:gd name="T35" fmla="*/ 482 h 1002"/>
              <a:gd name="T36" fmla="*/ 257 w 483"/>
              <a:gd name="T37" fmla="*/ 949 h 1002"/>
              <a:gd name="T38" fmla="*/ 317 w 483"/>
              <a:gd name="T39" fmla="*/ 1001 h 1002"/>
              <a:gd name="T40" fmla="*/ 369 w 483"/>
              <a:gd name="T41" fmla="*/ 949 h 1002"/>
              <a:gd name="T42" fmla="*/ 369 w 483"/>
              <a:gd name="T43" fmla="*/ 151 h 1002"/>
              <a:gd name="T44" fmla="*/ 377 w 483"/>
              <a:gd name="T45" fmla="*/ 151 h 1002"/>
              <a:gd name="T46" fmla="*/ 385 w 483"/>
              <a:gd name="T47" fmla="*/ 151 h 1002"/>
              <a:gd name="T48" fmla="*/ 392 w 483"/>
              <a:gd name="T49" fmla="*/ 151 h 1002"/>
              <a:gd name="T50" fmla="*/ 392 w 483"/>
              <a:gd name="T51" fmla="*/ 437 h 1002"/>
              <a:gd name="T52" fmla="*/ 437 w 483"/>
              <a:gd name="T53" fmla="*/ 482 h 1002"/>
              <a:gd name="T54" fmla="*/ 482 w 483"/>
              <a:gd name="T55" fmla="*/ 437 h 1002"/>
              <a:gd name="T56" fmla="*/ 482 w 483"/>
              <a:gd name="T57" fmla="*/ 113 h 1002"/>
              <a:gd name="T58" fmla="*/ 377 w 483"/>
              <a:gd name="T59" fmla="*/ 0 h 1002"/>
              <a:gd name="T60" fmla="*/ 257 w 483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3" h="1002">
                <a:moveTo>
                  <a:pt x="257" y="0"/>
                </a:moveTo>
                <a:lnTo>
                  <a:pt x="257" y="0"/>
                </a:lnTo>
                <a:cubicBezTo>
                  <a:pt x="113" y="0"/>
                  <a:pt x="113" y="0"/>
                  <a:pt x="113" y="0"/>
                </a:cubicBezTo>
                <a:cubicBezTo>
                  <a:pt x="53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23" y="482"/>
                  <a:pt x="45" y="482"/>
                </a:cubicBezTo>
                <a:cubicBezTo>
                  <a:pt x="76" y="482"/>
                  <a:pt x="98" y="460"/>
                  <a:pt x="98" y="437"/>
                </a:cubicBezTo>
                <a:lnTo>
                  <a:pt x="98" y="151"/>
                </a:lnTo>
                <a:lnTo>
                  <a:pt x="98" y="151"/>
                </a:lnTo>
                <a:cubicBezTo>
                  <a:pt x="113" y="151"/>
                  <a:pt x="113" y="151"/>
                  <a:pt x="113" y="151"/>
                </a:cubicBezTo>
                <a:lnTo>
                  <a:pt x="113" y="151"/>
                </a:lnTo>
                <a:cubicBezTo>
                  <a:pt x="113" y="949"/>
                  <a:pt x="113" y="949"/>
                  <a:pt x="113" y="949"/>
                </a:cubicBezTo>
                <a:cubicBezTo>
                  <a:pt x="113" y="978"/>
                  <a:pt x="144" y="1001"/>
                  <a:pt x="173" y="1001"/>
                </a:cubicBezTo>
                <a:cubicBezTo>
                  <a:pt x="204" y="1001"/>
                  <a:pt x="234" y="978"/>
                  <a:pt x="234" y="949"/>
                </a:cubicBezTo>
                <a:cubicBezTo>
                  <a:pt x="234" y="482"/>
                  <a:pt x="234" y="482"/>
                  <a:pt x="234" y="482"/>
                </a:cubicBezTo>
                <a:cubicBezTo>
                  <a:pt x="234" y="474"/>
                  <a:pt x="234" y="474"/>
                  <a:pt x="241" y="474"/>
                </a:cubicBezTo>
                <a:cubicBezTo>
                  <a:pt x="249" y="474"/>
                  <a:pt x="249" y="474"/>
                  <a:pt x="249" y="474"/>
                </a:cubicBezTo>
                <a:cubicBezTo>
                  <a:pt x="249" y="474"/>
                  <a:pt x="257" y="474"/>
                  <a:pt x="257" y="482"/>
                </a:cubicBezTo>
                <a:cubicBezTo>
                  <a:pt x="257" y="949"/>
                  <a:pt x="257" y="949"/>
                  <a:pt x="257" y="949"/>
                </a:cubicBezTo>
                <a:cubicBezTo>
                  <a:pt x="257" y="978"/>
                  <a:pt x="278" y="1001"/>
                  <a:pt x="317" y="1001"/>
                </a:cubicBezTo>
                <a:cubicBezTo>
                  <a:pt x="346" y="1001"/>
                  <a:pt x="369" y="978"/>
                  <a:pt x="369" y="949"/>
                </a:cubicBezTo>
                <a:cubicBezTo>
                  <a:pt x="369" y="151"/>
                  <a:pt x="369" y="151"/>
                  <a:pt x="369" y="151"/>
                </a:cubicBezTo>
                <a:lnTo>
                  <a:pt x="377" y="151"/>
                </a:lnTo>
                <a:cubicBezTo>
                  <a:pt x="385" y="151"/>
                  <a:pt x="385" y="151"/>
                  <a:pt x="385" y="151"/>
                </a:cubicBezTo>
                <a:cubicBezTo>
                  <a:pt x="392" y="151"/>
                  <a:pt x="392" y="151"/>
                  <a:pt x="392" y="151"/>
                </a:cubicBezTo>
                <a:lnTo>
                  <a:pt x="392" y="437"/>
                </a:lnTo>
                <a:cubicBezTo>
                  <a:pt x="392" y="460"/>
                  <a:pt x="414" y="482"/>
                  <a:pt x="437" y="482"/>
                </a:cubicBezTo>
                <a:cubicBezTo>
                  <a:pt x="467" y="482"/>
                  <a:pt x="482" y="460"/>
                  <a:pt x="482" y="437"/>
                </a:cubicBezTo>
                <a:cubicBezTo>
                  <a:pt x="482" y="113"/>
                  <a:pt x="482" y="113"/>
                  <a:pt x="482" y="113"/>
                </a:cubicBezTo>
                <a:cubicBezTo>
                  <a:pt x="482" y="52"/>
                  <a:pt x="437" y="0"/>
                  <a:pt x="377" y="0"/>
                </a:cubicBezTo>
                <a:lnTo>
                  <a:pt x="257" y="0"/>
                </a:ln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9" name="Freeform 368"/>
          <p:cNvSpPr>
            <a:spLocks noChangeArrowheads="1"/>
          </p:cNvSpPr>
          <p:nvPr/>
        </p:nvSpPr>
        <p:spPr bwMode="auto">
          <a:xfrm>
            <a:off x="18313618" y="9295244"/>
            <a:ext cx="143777" cy="147475"/>
          </a:xfrm>
          <a:custGeom>
            <a:avLst/>
            <a:gdLst>
              <a:gd name="T0" fmla="*/ 83 w 175"/>
              <a:gd name="T1" fmla="*/ 0 h 183"/>
              <a:gd name="T2" fmla="*/ 83 w 175"/>
              <a:gd name="T3" fmla="*/ 0 h 183"/>
              <a:gd name="T4" fmla="*/ 174 w 175"/>
              <a:gd name="T5" fmla="*/ 91 h 183"/>
              <a:gd name="T6" fmla="*/ 83 w 175"/>
              <a:gd name="T7" fmla="*/ 182 h 183"/>
              <a:gd name="T8" fmla="*/ 0 w 175"/>
              <a:gd name="T9" fmla="*/ 91 h 183"/>
              <a:gd name="T10" fmla="*/ 83 w 175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5" h="183">
                <a:moveTo>
                  <a:pt x="83" y="0"/>
                </a:moveTo>
                <a:lnTo>
                  <a:pt x="83" y="0"/>
                </a:lnTo>
                <a:cubicBezTo>
                  <a:pt x="136" y="0"/>
                  <a:pt x="174" y="46"/>
                  <a:pt x="174" y="91"/>
                </a:cubicBezTo>
                <a:cubicBezTo>
                  <a:pt x="174" y="144"/>
                  <a:pt x="136" y="182"/>
                  <a:pt x="83" y="182"/>
                </a:cubicBezTo>
                <a:cubicBezTo>
                  <a:pt x="38" y="182"/>
                  <a:pt x="0" y="144"/>
                  <a:pt x="0" y="91"/>
                </a:cubicBezTo>
                <a:cubicBezTo>
                  <a:pt x="0" y="46"/>
                  <a:pt x="38" y="0"/>
                  <a:pt x="83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0" name="Freeform 369"/>
          <p:cNvSpPr>
            <a:spLocks noChangeArrowheads="1"/>
          </p:cNvSpPr>
          <p:nvPr/>
        </p:nvSpPr>
        <p:spPr bwMode="auto">
          <a:xfrm>
            <a:off x="18896443" y="9464840"/>
            <a:ext cx="401841" cy="833231"/>
          </a:xfrm>
          <a:custGeom>
            <a:avLst/>
            <a:gdLst>
              <a:gd name="T0" fmla="*/ 248 w 484"/>
              <a:gd name="T1" fmla="*/ 0 h 1002"/>
              <a:gd name="T2" fmla="*/ 248 w 484"/>
              <a:gd name="T3" fmla="*/ 0 h 1002"/>
              <a:gd name="T4" fmla="*/ 114 w 484"/>
              <a:gd name="T5" fmla="*/ 0 h 1002"/>
              <a:gd name="T6" fmla="*/ 0 w 484"/>
              <a:gd name="T7" fmla="*/ 113 h 1002"/>
              <a:gd name="T8" fmla="*/ 0 w 484"/>
              <a:gd name="T9" fmla="*/ 437 h 1002"/>
              <a:gd name="T10" fmla="*/ 46 w 484"/>
              <a:gd name="T11" fmla="*/ 482 h 1002"/>
              <a:gd name="T12" fmla="*/ 91 w 484"/>
              <a:gd name="T13" fmla="*/ 437 h 1002"/>
              <a:gd name="T14" fmla="*/ 91 w 484"/>
              <a:gd name="T15" fmla="*/ 151 h 1002"/>
              <a:gd name="T16" fmla="*/ 98 w 484"/>
              <a:gd name="T17" fmla="*/ 151 h 1002"/>
              <a:gd name="T18" fmla="*/ 106 w 484"/>
              <a:gd name="T19" fmla="*/ 151 h 1002"/>
              <a:gd name="T20" fmla="*/ 114 w 484"/>
              <a:gd name="T21" fmla="*/ 151 h 1002"/>
              <a:gd name="T22" fmla="*/ 114 w 484"/>
              <a:gd name="T23" fmla="*/ 949 h 1002"/>
              <a:gd name="T24" fmla="*/ 174 w 484"/>
              <a:gd name="T25" fmla="*/ 1001 h 1002"/>
              <a:gd name="T26" fmla="*/ 234 w 484"/>
              <a:gd name="T27" fmla="*/ 949 h 1002"/>
              <a:gd name="T28" fmla="*/ 234 w 484"/>
              <a:gd name="T29" fmla="*/ 482 h 1002"/>
              <a:gd name="T30" fmla="*/ 234 w 484"/>
              <a:gd name="T31" fmla="*/ 474 h 1002"/>
              <a:gd name="T32" fmla="*/ 248 w 484"/>
              <a:gd name="T33" fmla="*/ 474 h 1002"/>
              <a:gd name="T34" fmla="*/ 248 w 484"/>
              <a:gd name="T35" fmla="*/ 482 h 1002"/>
              <a:gd name="T36" fmla="*/ 248 w 484"/>
              <a:gd name="T37" fmla="*/ 949 h 1002"/>
              <a:gd name="T38" fmla="*/ 310 w 484"/>
              <a:gd name="T39" fmla="*/ 1001 h 1002"/>
              <a:gd name="T40" fmla="*/ 369 w 484"/>
              <a:gd name="T41" fmla="*/ 949 h 1002"/>
              <a:gd name="T42" fmla="*/ 369 w 484"/>
              <a:gd name="T43" fmla="*/ 151 h 1002"/>
              <a:gd name="T44" fmla="*/ 376 w 484"/>
              <a:gd name="T45" fmla="*/ 151 h 1002"/>
              <a:gd name="T46" fmla="*/ 384 w 484"/>
              <a:gd name="T47" fmla="*/ 151 h 1002"/>
              <a:gd name="T48" fmla="*/ 392 w 484"/>
              <a:gd name="T49" fmla="*/ 151 h 1002"/>
              <a:gd name="T50" fmla="*/ 392 w 484"/>
              <a:gd name="T51" fmla="*/ 437 h 1002"/>
              <a:gd name="T52" fmla="*/ 437 w 484"/>
              <a:gd name="T53" fmla="*/ 482 h 1002"/>
              <a:gd name="T54" fmla="*/ 483 w 484"/>
              <a:gd name="T55" fmla="*/ 437 h 1002"/>
              <a:gd name="T56" fmla="*/ 483 w 484"/>
              <a:gd name="T57" fmla="*/ 113 h 1002"/>
              <a:gd name="T58" fmla="*/ 369 w 484"/>
              <a:gd name="T59" fmla="*/ 0 h 1002"/>
              <a:gd name="T60" fmla="*/ 248 w 484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4" h="1002">
                <a:moveTo>
                  <a:pt x="248" y="0"/>
                </a:moveTo>
                <a:lnTo>
                  <a:pt x="248" y="0"/>
                </a:lnTo>
                <a:cubicBezTo>
                  <a:pt x="114" y="0"/>
                  <a:pt x="114" y="0"/>
                  <a:pt x="114" y="0"/>
                </a:cubicBezTo>
                <a:cubicBezTo>
                  <a:pt x="52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23" y="482"/>
                  <a:pt x="46" y="482"/>
                </a:cubicBezTo>
                <a:cubicBezTo>
                  <a:pt x="75" y="482"/>
                  <a:pt x="91" y="460"/>
                  <a:pt x="91" y="437"/>
                </a:cubicBezTo>
                <a:lnTo>
                  <a:pt x="91" y="151"/>
                </a:lnTo>
                <a:lnTo>
                  <a:pt x="98" y="151"/>
                </a:lnTo>
                <a:cubicBezTo>
                  <a:pt x="106" y="151"/>
                  <a:pt x="106" y="151"/>
                  <a:pt x="106" y="151"/>
                </a:cubicBezTo>
                <a:cubicBezTo>
                  <a:pt x="114" y="151"/>
                  <a:pt x="114" y="151"/>
                  <a:pt x="114" y="151"/>
                </a:cubicBezTo>
                <a:cubicBezTo>
                  <a:pt x="114" y="949"/>
                  <a:pt x="114" y="949"/>
                  <a:pt x="114" y="949"/>
                </a:cubicBezTo>
                <a:cubicBezTo>
                  <a:pt x="114" y="978"/>
                  <a:pt x="136" y="1001"/>
                  <a:pt x="174" y="1001"/>
                </a:cubicBezTo>
                <a:cubicBezTo>
                  <a:pt x="203" y="1001"/>
                  <a:pt x="234" y="978"/>
                  <a:pt x="234" y="949"/>
                </a:cubicBezTo>
                <a:cubicBezTo>
                  <a:pt x="234" y="482"/>
                  <a:pt x="234" y="482"/>
                  <a:pt x="234" y="482"/>
                </a:cubicBezTo>
                <a:cubicBezTo>
                  <a:pt x="234" y="474"/>
                  <a:pt x="234" y="474"/>
                  <a:pt x="234" y="474"/>
                </a:cubicBezTo>
                <a:cubicBezTo>
                  <a:pt x="248" y="474"/>
                  <a:pt x="248" y="474"/>
                  <a:pt x="248" y="474"/>
                </a:cubicBezTo>
                <a:cubicBezTo>
                  <a:pt x="248" y="474"/>
                  <a:pt x="248" y="474"/>
                  <a:pt x="248" y="482"/>
                </a:cubicBezTo>
                <a:cubicBezTo>
                  <a:pt x="248" y="949"/>
                  <a:pt x="248" y="949"/>
                  <a:pt x="248" y="949"/>
                </a:cubicBezTo>
                <a:cubicBezTo>
                  <a:pt x="248" y="978"/>
                  <a:pt x="279" y="1001"/>
                  <a:pt x="310" y="1001"/>
                </a:cubicBezTo>
                <a:cubicBezTo>
                  <a:pt x="347" y="1001"/>
                  <a:pt x="369" y="978"/>
                  <a:pt x="369" y="949"/>
                </a:cubicBezTo>
                <a:cubicBezTo>
                  <a:pt x="369" y="151"/>
                  <a:pt x="369" y="151"/>
                  <a:pt x="369" y="151"/>
                </a:cubicBezTo>
                <a:cubicBezTo>
                  <a:pt x="369" y="151"/>
                  <a:pt x="369" y="151"/>
                  <a:pt x="376" y="151"/>
                </a:cubicBezTo>
                <a:cubicBezTo>
                  <a:pt x="384" y="151"/>
                  <a:pt x="384" y="151"/>
                  <a:pt x="384" y="151"/>
                </a:cubicBezTo>
                <a:lnTo>
                  <a:pt x="392" y="151"/>
                </a:lnTo>
                <a:lnTo>
                  <a:pt x="392" y="437"/>
                </a:lnTo>
                <a:cubicBezTo>
                  <a:pt x="392" y="460"/>
                  <a:pt x="407" y="482"/>
                  <a:pt x="437" y="482"/>
                </a:cubicBezTo>
                <a:cubicBezTo>
                  <a:pt x="460" y="482"/>
                  <a:pt x="483" y="460"/>
                  <a:pt x="483" y="437"/>
                </a:cubicBezTo>
                <a:cubicBezTo>
                  <a:pt x="483" y="113"/>
                  <a:pt x="483" y="113"/>
                  <a:pt x="483" y="113"/>
                </a:cubicBezTo>
                <a:cubicBezTo>
                  <a:pt x="483" y="52"/>
                  <a:pt x="437" y="0"/>
                  <a:pt x="369" y="0"/>
                </a:cubicBezTo>
                <a:lnTo>
                  <a:pt x="248" y="0"/>
                </a:ln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1" name="Freeform 370"/>
          <p:cNvSpPr>
            <a:spLocks noChangeArrowheads="1"/>
          </p:cNvSpPr>
          <p:nvPr/>
        </p:nvSpPr>
        <p:spPr bwMode="auto">
          <a:xfrm>
            <a:off x="19021789" y="9295244"/>
            <a:ext cx="147465" cy="147475"/>
          </a:xfrm>
          <a:custGeom>
            <a:avLst/>
            <a:gdLst>
              <a:gd name="T0" fmla="*/ 91 w 182"/>
              <a:gd name="T1" fmla="*/ 0 h 183"/>
              <a:gd name="T2" fmla="*/ 91 w 182"/>
              <a:gd name="T3" fmla="*/ 0 h 183"/>
              <a:gd name="T4" fmla="*/ 181 w 182"/>
              <a:gd name="T5" fmla="*/ 91 h 183"/>
              <a:gd name="T6" fmla="*/ 91 w 182"/>
              <a:gd name="T7" fmla="*/ 182 h 183"/>
              <a:gd name="T8" fmla="*/ 0 w 182"/>
              <a:gd name="T9" fmla="*/ 91 h 183"/>
              <a:gd name="T10" fmla="*/ 91 w 182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2" h="183">
                <a:moveTo>
                  <a:pt x="91" y="0"/>
                </a:moveTo>
                <a:lnTo>
                  <a:pt x="91" y="0"/>
                </a:lnTo>
                <a:cubicBezTo>
                  <a:pt x="143" y="0"/>
                  <a:pt x="181" y="46"/>
                  <a:pt x="181" y="91"/>
                </a:cubicBezTo>
                <a:cubicBezTo>
                  <a:pt x="181" y="144"/>
                  <a:pt x="143" y="182"/>
                  <a:pt x="91" y="182"/>
                </a:cubicBezTo>
                <a:cubicBezTo>
                  <a:pt x="45" y="182"/>
                  <a:pt x="0" y="144"/>
                  <a:pt x="0" y="91"/>
                </a:cubicBezTo>
                <a:cubicBezTo>
                  <a:pt x="0" y="46"/>
                  <a:pt x="45" y="0"/>
                  <a:pt x="91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2" name="Freeform 371"/>
          <p:cNvSpPr>
            <a:spLocks noChangeArrowheads="1"/>
          </p:cNvSpPr>
          <p:nvPr/>
        </p:nvSpPr>
        <p:spPr bwMode="auto">
          <a:xfrm>
            <a:off x="19585841" y="9464840"/>
            <a:ext cx="401841" cy="833231"/>
          </a:xfrm>
          <a:custGeom>
            <a:avLst/>
            <a:gdLst>
              <a:gd name="T0" fmla="*/ 249 w 483"/>
              <a:gd name="T1" fmla="*/ 0 h 1002"/>
              <a:gd name="T2" fmla="*/ 249 w 483"/>
              <a:gd name="T3" fmla="*/ 0 h 1002"/>
              <a:gd name="T4" fmla="*/ 106 w 483"/>
              <a:gd name="T5" fmla="*/ 0 h 1002"/>
              <a:gd name="T6" fmla="*/ 0 w 483"/>
              <a:gd name="T7" fmla="*/ 113 h 1002"/>
              <a:gd name="T8" fmla="*/ 0 w 483"/>
              <a:gd name="T9" fmla="*/ 437 h 1002"/>
              <a:gd name="T10" fmla="*/ 45 w 483"/>
              <a:gd name="T11" fmla="*/ 482 h 1002"/>
              <a:gd name="T12" fmla="*/ 90 w 483"/>
              <a:gd name="T13" fmla="*/ 437 h 1002"/>
              <a:gd name="T14" fmla="*/ 90 w 483"/>
              <a:gd name="T15" fmla="*/ 151 h 1002"/>
              <a:gd name="T16" fmla="*/ 98 w 483"/>
              <a:gd name="T17" fmla="*/ 151 h 1002"/>
              <a:gd name="T18" fmla="*/ 106 w 483"/>
              <a:gd name="T19" fmla="*/ 151 h 1002"/>
              <a:gd name="T20" fmla="*/ 113 w 483"/>
              <a:gd name="T21" fmla="*/ 151 h 1002"/>
              <a:gd name="T22" fmla="*/ 113 w 483"/>
              <a:gd name="T23" fmla="*/ 949 h 1002"/>
              <a:gd name="T24" fmla="*/ 173 w 483"/>
              <a:gd name="T25" fmla="*/ 1001 h 1002"/>
              <a:gd name="T26" fmla="*/ 226 w 483"/>
              <a:gd name="T27" fmla="*/ 949 h 1002"/>
              <a:gd name="T28" fmla="*/ 226 w 483"/>
              <a:gd name="T29" fmla="*/ 482 h 1002"/>
              <a:gd name="T30" fmla="*/ 234 w 483"/>
              <a:gd name="T31" fmla="*/ 474 h 1002"/>
              <a:gd name="T32" fmla="*/ 241 w 483"/>
              <a:gd name="T33" fmla="*/ 474 h 1002"/>
              <a:gd name="T34" fmla="*/ 249 w 483"/>
              <a:gd name="T35" fmla="*/ 482 h 1002"/>
              <a:gd name="T36" fmla="*/ 249 w 483"/>
              <a:gd name="T37" fmla="*/ 949 h 1002"/>
              <a:gd name="T38" fmla="*/ 309 w 483"/>
              <a:gd name="T39" fmla="*/ 1001 h 1002"/>
              <a:gd name="T40" fmla="*/ 369 w 483"/>
              <a:gd name="T41" fmla="*/ 949 h 1002"/>
              <a:gd name="T42" fmla="*/ 369 w 483"/>
              <a:gd name="T43" fmla="*/ 151 h 1002"/>
              <a:gd name="T44" fmla="*/ 377 w 483"/>
              <a:gd name="T45" fmla="*/ 151 h 1002"/>
              <a:gd name="T46" fmla="*/ 385 w 483"/>
              <a:gd name="T47" fmla="*/ 151 h 1002"/>
              <a:gd name="T48" fmla="*/ 385 w 483"/>
              <a:gd name="T49" fmla="*/ 151 h 1002"/>
              <a:gd name="T50" fmla="*/ 385 w 483"/>
              <a:gd name="T51" fmla="*/ 437 h 1002"/>
              <a:gd name="T52" fmla="*/ 437 w 483"/>
              <a:gd name="T53" fmla="*/ 482 h 1002"/>
              <a:gd name="T54" fmla="*/ 482 w 483"/>
              <a:gd name="T55" fmla="*/ 437 h 1002"/>
              <a:gd name="T56" fmla="*/ 482 w 483"/>
              <a:gd name="T57" fmla="*/ 113 h 1002"/>
              <a:gd name="T58" fmla="*/ 369 w 483"/>
              <a:gd name="T59" fmla="*/ 0 h 1002"/>
              <a:gd name="T60" fmla="*/ 249 w 483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3" h="1002">
                <a:moveTo>
                  <a:pt x="249" y="0"/>
                </a:moveTo>
                <a:lnTo>
                  <a:pt x="249" y="0"/>
                </a:lnTo>
                <a:cubicBezTo>
                  <a:pt x="106" y="0"/>
                  <a:pt x="106" y="0"/>
                  <a:pt x="106" y="0"/>
                </a:cubicBezTo>
                <a:cubicBezTo>
                  <a:pt x="45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22" y="482"/>
                  <a:pt x="45" y="482"/>
                </a:cubicBezTo>
                <a:cubicBezTo>
                  <a:pt x="68" y="482"/>
                  <a:pt x="90" y="460"/>
                  <a:pt x="90" y="437"/>
                </a:cubicBezTo>
                <a:lnTo>
                  <a:pt x="90" y="151"/>
                </a:lnTo>
                <a:cubicBezTo>
                  <a:pt x="90" y="151"/>
                  <a:pt x="90" y="151"/>
                  <a:pt x="98" y="151"/>
                </a:cubicBezTo>
                <a:cubicBezTo>
                  <a:pt x="106" y="151"/>
                  <a:pt x="106" y="151"/>
                  <a:pt x="106" y="151"/>
                </a:cubicBezTo>
                <a:lnTo>
                  <a:pt x="113" y="151"/>
                </a:lnTo>
                <a:cubicBezTo>
                  <a:pt x="113" y="949"/>
                  <a:pt x="113" y="949"/>
                  <a:pt x="113" y="949"/>
                </a:cubicBezTo>
                <a:cubicBezTo>
                  <a:pt x="113" y="978"/>
                  <a:pt x="136" y="1001"/>
                  <a:pt x="173" y="1001"/>
                </a:cubicBezTo>
                <a:cubicBezTo>
                  <a:pt x="204" y="1001"/>
                  <a:pt x="226" y="978"/>
                  <a:pt x="226" y="949"/>
                </a:cubicBezTo>
                <a:cubicBezTo>
                  <a:pt x="226" y="482"/>
                  <a:pt x="226" y="482"/>
                  <a:pt x="226" y="482"/>
                </a:cubicBezTo>
                <a:cubicBezTo>
                  <a:pt x="226" y="474"/>
                  <a:pt x="234" y="474"/>
                  <a:pt x="234" y="474"/>
                </a:cubicBezTo>
                <a:cubicBezTo>
                  <a:pt x="241" y="474"/>
                  <a:pt x="241" y="474"/>
                  <a:pt x="241" y="474"/>
                </a:cubicBezTo>
                <a:cubicBezTo>
                  <a:pt x="249" y="474"/>
                  <a:pt x="249" y="474"/>
                  <a:pt x="249" y="482"/>
                </a:cubicBezTo>
                <a:cubicBezTo>
                  <a:pt x="249" y="949"/>
                  <a:pt x="249" y="949"/>
                  <a:pt x="249" y="949"/>
                </a:cubicBezTo>
                <a:cubicBezTo>
                  <a:pt x="249" y="978"/>
                  <a:pt x="278" y="1001"/>
                  <a:pt x="309" y="1001"/>
                </a:cubicBezTo>
                <a:cubicBezTo>
                  <a:pt x="339" y="1001"/>
                  <a:pt x="369" y="978"/>
                  <a:pt x="369" y="949"/>
                </a:cubicBezTo>
                <a:cubicBezTo>
                  <a:pt x="369" y="151"/>
                  <a:pt x="369" y="151"/>
                  <a:pt x="369" y="151"/>
                </a:cubicBezTo>
                <a:cubicBezTo>
                  <a:pt x="369" y="151"/>
                  <a:pt x="369" y="151"/>
                  <a:pt x="377" y="151"/>
                </a:cubicBezTo>
                <a:cubicBezTo>
                  <a:pt x="385" y="151"/>
                  <a:pt x="385" y="151"/>
                  <a:pt x="385" y="151"/>
                </a:cubicBezTo>
                <a:lnTo>
                  <a:pt x="385" y="151"/>
                </a:lnTo>
                <a:lnTo>
                  <a:pt x="385" y="437"/>
                </a:lnTo>
                <a:cubicBezTo>
                  <a:pt x="385" y="460"/>
                  <a:pt x="407" y="482"/>
                  <a:pt x="437" y="482"/>
                </a:cubicBezTo>
                <a:cubicBezTo>
                  <a:pt x="459" y="482"/>
                  <a:pt x="482" y="460"/>
                  <a:pt x="482" y="437"/>
                </a:cubicBezTo>
                <a:cubicBezTo>
                  <a:pt x="482" y="113"/>
                  <a:pt x="482" y="113"/>
                  <a:pt x="482" y="113"/>
                </a:cubicBezTo>
                <a:cubicBezTo>
                  <a:pt x="482" y="52"/>
                  <a:pt x="429" y="0"/>
                  <a:pt x="369" y="0"/>
                </a:cubicBezTo>
                <a:lnTo>
                  <a:pt x="249" y="0"/>
                </a:ln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3" name="Freeform 372"/>
          <p:cNvSpPr>
            <a:spLocks noChangeArrowheads="1"/>
          </p:cNvSpPr>
          <p:nvPr/>
        </p:nvSpPr>
        <p:spPr bwMode="auto">
          <a:xfrm>
            <a:off x="19711188" y="9295244"/>
            <a:ext cx="147465" cy="147475"/>
          </a:xfrm>
          <a:custGeom>
            <a:avLst/>
            <a:gdLst>
              <a:gd name="T0" fmla="*/ 91 w 182"/>
              <a:gd name="T1" fmla="*/ 0 h 183"/>
              <a:gd name="T2" fmla="*/ 91 w 182"/>
              <a:gd name="T3" fmla="*/ 0 h 183"/>
              <a:gd name="T4" fmla="*/ 181 w 182"/>
              <a:gd name="T5" fmla="*/ 91 h 183"/>
              <a:gd name="T6" fmla="*/ 91 w 182"/>
              <a:gd name="T7" fmla="*/ 182 h 183"/>
              <a:gd name="T8" fmla="*/ 0 w 182"/>
              <a:gd name="T9" fmla="*/ 91 h 183"/>
              <a:gd name="T10" fmla="*/ 91 w 182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2" h="183">
                <a:moveTo>
                  <a:pt x="91" y="0"/>
                </a:moveTo>
                <a:lnTo>
                  <a:pt x="91" y="0"/>
                </a:lnTo>
                <a:cubicBezTo>
                  <a:pt x="136" y="0"/>
                  <a:pt x="181" y="46"/>
                  <a:pt x="181" y="91"/>
                </a:cubicBezTo>
                <a:cubicBezTo>
                  <a:pt x="181" y="144"/>
                  <a:pt x="136" y="182"/>
                  <a:pt x="91" y="182"/>
                </a:cubicBezTo>
                <a:cubicBezTo>
                  <a:pt x="39" y="182"/>
                  <a:pt x="0" y="144"/>
                  <a:pt x="0" y="91"/>
                </a:cubicBezTo>
                <a:cubicBezTo>
                  <a:pt x="0" y="46"/>
                  <a:pt x="39" y="0"/>
                  <a:pt x="91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4" name="Freeform 373"/>
          <p:cNvSpPr>
            <a:spLocks noChangeArrowheads="1"/>
          </p:cNvSpPr>
          <p:nvPr/>
        </p:nvSpPr>
        <p:spPr bwMode="auto">
          <a:xfrm>
            <a:off x="20271554" y="9464840"/>
            <a:ext cx="401841" cy="833231"/>
          </a:xfrm>
          <a:custGeom>
            <a:avLst/>
            <a:gdLst>
              <a:gd name="T0" fmla="*/ 256 w 484"/>
              <a:gd name="T1" fmla="*/ 0 h 1002"/>
              <a:gd name="T2" fmla="*/ 256 w 484"/>
              <a:gd name="T3" fmla="*/ 0 h 1002"/>
              <a:gd name="T4" fmla="*/ 114 w 484"/>
              <a:gd name="T5" fmla="*/ 0 h 1002"/>
              <a:gd name="T6" fmla="*/ 0 w 484"/>
              <a:gd name="T7" fmla="*/ 113 h 1002"/>
              <a:gd name="T8" fmla="*/ 0 w 484"/>
              <a:gd name="T9" fmla="*/ 437 h 1002"/>
              <a:gd name="T10" fmla="*/ 54 w 484"/>
              <a:gd name="T11" fmla="*/ 482 h 1002"/>
              <a:gd name="T12" fmla="*/ 99 w 484"/>
              <a:gd name="T13" fmla="*/ 437 h 1002"/>
              <a:gd name="T14" fmla="*/ 99 w 484"/>
              <a:gd name="T15" fmla="*/ 151 h 1002"/>
              <a:gd name="T16" fmla="*/ 99 w 484"/>
              <a:gd name="T17" fmla="*/ 151 h 1002"/>
              <a:gd name="T18" fmla="*/ 114 w 484"/>
              <a:gd name="T19" fmla="*/ 151 h 1002"/>
              <a:gd name="T20" fmla="*/ 114 w 484"/>
              <a:gd name="T21" fmla="*/ 151 h 1002"/>
              <a:gd name="T22" fmla="*/ 114 w 484"/>
              <a:gd name="T23" fmla="*/ 949 h 1002"/>
              <a:gd name="T24" fmla="*/ 174 w 484"/>
              <a:gd name="T25" fmla="*/ 1001 h 1002"/>
              <a:gd name="T26" fmla="*/ 233 w 484"/>
              <a:gd name="T27" fmla="*/ 949 h 1002"/>
              <a:gd name="T28" fmla="*/ 233 w 484"/>
              <a:gd name="T29" fmla="*/ 482 h 1002"/>
              <a:gd name="T30" fmla="*/ 241 w 484"/>
              <a:gd name="T31" fmla="*/ 474 h 1002"/>
              <a:gd name="T32" fmla="*/ 249 w 484"/>
              <a:gd name="T33" fmla="*/ 474 h 1002"/>
              <a:gd name="T34" fmla="*/ 256 w 484"/>
              <a:gd name="T35" fmla="*/ 482 h 1002"/>
              <a:gd name="T36" fmla="*/ 256 w 484"/>
              <a:gd name="T37" fmla="*/ 949 h 1002"/>
              <a:gd name="T38" fmla="*/ 317 w 484"/>
              <a:gd name="T39" fmla="*/ 1001 h 1002"/>
              <a:gd name="T40" fmla="*/ 377 w 484"/>
              <a:gd name="T41" fmla="*/ 949 h 1002"/>
              <a:gd name="T42" fmla="*/ 377 w 484"/>
              <a:gd name="T43" fmla="*/ 151 h 1002"/>
              <a:gd name="T44" fmla="*/ 377 w 484"/>
              <a:gd name="T45" fmla="*/ 151 h 1002"/>
              <a:gd name="T46" fmla="*/ 392 w 484"/>
              <a:gd name="T47" fmla="*/ 151 h 1002"/>
              <a:gd name="T48" fmla="*/ 392 w 484"/>
              <a:gd name="T49" fmla="*/ 151 h 1002"/>
              <a:gd name="T50" fmla="*/ 392 w 484"/>
              <a:gd name="T51" fmla="*/ 437 h 1002"/>
              <a:gd name="T52" fmla="*/ 437 w 484"/>
              <a:gd name="T53" fmla="*/ 482 h 1002"/>
              <a:gd name="T54" fmla="*/ 483 w 484"/>
              <a:gd name="T55" fmla="*/ 437 h 1002"/>
              <a:gd name="T56" fmla="*/ 483 w 484"/>
              <a:gd name="T57" fmla="*/ 113 h 1002"/>
              <a:gd name="T58" fmla="*/ 377 w 484"/>
              <a:gd name="T59" fmla="*/ 0 h 1002"/>
              <a:gd name="T60" fmla="*/ 256 w 484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4" h="1002">
                <a:moveTo>
                  <a:pt x="256" y="0"/>
                </a:moveTo>
                <a:lnTo>
                  <a:pt x="256" y="0"/>
                </a:lnTo>
                <a:cubicBezTo>
                  <a:pt x="114" y="0"/>
                  <a:pt x="114" y="0"/>
                  <a:pt x="114" y="0"/>
                </a:cubicBezTo>
                <a:cubicBezTo>
                  <a:pt x="54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23" y="482"/>
                  <a:pt x="54" y="482"/>
                </a:cubicBezTo>
                <a:cubicBezTo>
                  <a:pt x="76" y="482"/>
                  <a:pt x="99" y="460"/>
                  <a:pt x="99" y="437"/>
                </a:cubicBezTo>
                <a:lnTo>
                  <a:pt x="99" y="151"/>
                </a:lnTo>
                <a:lnTo>
                  <a:pt x="99" y="151"/>
                </a:lnTo>
                <a:cubicBezTo>
                  <a:pt x="114" y="151"/>
                  <a:pt x="114" y="151"/>
                  <a:pt x="114" y="151"/>
                </a:cubicBezTo>
                <a:lnTo>
                  <a:pt x="114" y="151"/>
                </a:lnTo>
                <a:cubicBezTo>
                  <a:pt x="114" y="949"/>
                  <a:pt x="114" y="949"/>
                  <a:pt x="114" y="949"/>
                </a:cubicBezTo>
                <a:cubicBezTo>
                  <a:pt x="114" y="978"/>
                  <a:pt x="144" y="1001"/>
                  <a:pt x="174" y="1001"/>
                </a:cubicBezTo>
                <a:cubicBezTo>
                  <a:pt x="211" y="1001"/>
                  <a:pt x="233" y="978"/>
                  <a:pt x="233" y="949"/>
                </a:cubicBezTo>
                <a:cubicBezTo>
                  <a:pt x="233" y="482"/>
                  <a:pt x="233" y="482"/>
                  <a:pt x="233" y="482"/>
                </a:cubicBezTo>
                <a:cubicBezTo>
                  <a:pt x="233" y="474"/>
                  <a:pt x="233" y="474"/>
                  <a:pt x="241" y="474"/>
                </a:cubicBezTo>
                <a:cubicBezTo>
                  <a:pt x="249" y="474"/>
                  <a:pt x="249" y="474"/>
                  <a:pt x="249" y="474"/>
                </a:cubicBezTo>
                <a:cubicBezTo>
                  <a:pt x="256" y="474"/>
                  <a:pt x="256" y="474"/>
                  <a:pt x="256" y="482"/>
                </a:cubicBezTo>
                <a:cubicBezTo>
                  <a:pt x="256" y="949"/>
                  <a:pt x="256" y="949"/>
                  <a:pt x="256" y="949"/>
                </a:cubicBezTo>
                <a:cubicBezTo>
                  <a:pt x="256" y="978"/>
                  <a:pt x="279" y="1001"/>
                  <a:pt x="317" y="1001"/>
                </a:cubicBezTo>
                <a:cubicBezTo>
                  <a:pt x="347" y="1001"/>
                  <a:pt x="377" y="978"/>
                  <a:pt x="377" y="949"/>
                </a:cubicBezTo>
                <a:cubicBezTo>
                  <a:pt x="377" y="151"/>
                  <a:pt x="377" y="151"/>
                  <a:pt x="377" y="151"/>
                </a:cubicBezTo>
                <a:lnTo>
                  <a:pt x="377" y="151"/>
                </a:lnTo>
                <a:cubicBezTo>
                  <a:pt x="392" y="151"/>
                  <a:pt x="392" y="151"/>
                  <a:pt x="392" y="151"/>
                </a:cubicBezTo>
                <a:lnTo>
                  <a:pt x="392" y="151"/>
                </a:lnTo>
                <a:lnTo>
                  <a:pt x="392" y="437"/>
                </a:lnTo>
                <a:cubicBezTo>
                  <a:pt x="392" y="460"/>
                  <a:pt x="415" y="482"/>
                  <a:pt x="437" y="482"/>
                </a:cubicBezTo>
                <a:cubicBezTo>
                  <a:pt x="468" y="482"/>
                  <a:pt x="483" y="460"/>
                  <a:pt x="483" y="437"/>
                </a:cubicBezTo>
                <a:cubicBezTo>
                  <a:pt x="483" y="113"/>
                  <a:pt x="483" y="113"/>
                  <a:pt x="483" y="113"/>
                </a:cubicBezTo>
                <a:cubicBezTo>
                  <a:pt x="483" y="52"/>
                  <a:pt x="437" y="0"/>
                  <a:pt x="377" y="0"/>
                </a:cubicBezTo>
                <a:lnTo>
                  <a:pt x="256" y="0"/>
                </a:ln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5" name="Freeform 374"/>
          <p:cNvSpPr>
            <a:spLocks noChangeArrowheads="1"/>
          </p:cNvSpPr>
          <p:nvPr/>
        </p:nvSpPr>
        <p:spPr bwMode="auto">
          <a:xfrm>
            <a:off x="20404272" y="9295244"/>
            <a:ext cx="140092" cy="147475"/>
          </a:xfrm>
          <a:custGeom>
            <a:avLst/>
            <a:gdLst>
              <a:gd name="T0" fmla="*/ 82 w 174"/>
              <a:gd name="T1" fmla="*/ 0 h 183"/>
              <a:gd name="T2" fmla="*/ 82 w 174"/>
              <a:gd name="T3" fmla="*/ 0 h 183"/>
              <a:gd name="T4" fmla="*/ 173 w 174"/>
              <a:gd name="T5" fmla="*/ 91 h 183"/>
              <a:gd name="T6" fmla="*/ 82 w 174"/>
              <a:gd name="T7" fmla="*/ 182 h 183"/>
              <a:gd name="T8" fmla="*/ 0 w 174"/>
              <a:gd name="T9" fmla="*/ 91 h 183"/>
              <a:gd name="T10" fmla="*/ 82 w 174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4" h="183">
                <a:moveTo>
                  <a:pt x="82" y="0"/>
                </a:moveTo>
                <a:lnTo>
                  <a:pt x="82" y="0"/>
                </a:lnTo>
                <a:cubicBezTo>
                  <a:pt x="136" y="0"/>
                  <a:pt x="173" y="46"/>
                  <a:pt x="173" y="91"/>
                </a:cubicBezTo>
                <a:cubicBezTo>
                  <a:pt x="173" y="144"/>
                  <a:pt x="136" y="182"/>
                  <a:pt x="82" y="182"/>
                </a:cubicBezTo>
                <a:cubicBezTo>
                  <a:pt x="37" y="182"/>
                  <a:pt x="0" y="144"/>
                  <a:pt x="0" y="91"/>
                </a:cubicBezTo>
                <a:cubicBezTo>
                  <a:pt x="0" y="46"/>
                  <a:pt x="37" y="0"/>
                  <a:pt x="82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6" name="Freeform 395"/>
          <p:cNvSpPr>
            <a:spLocks noChangeArrowheads="1"/>
          </p:cNvSpPr>
          <p:nvPr/>
        </p:nvSpPr>
        <p:spPr bwMode="auto">
          <a:xfrm>
            <a:off x="12433793" y="10795799"/>
            <a:ext cx="1275571" cy="965958"/>
          </a:xfrm>
          <a:custGeom>
            <a:avLst/>
            <a:gdLst>
              <a:gd name="T0" fmla="*/ 1151 w 1529"/>
              <a:gd name="T1" fmla="*/ 1159 h 1160"/>
              <a:gd name="T2" fmla="*/ 0 w 1529"/>
              <a:gd name="T3" fmla="*/ 1159 h 1160"/>
              <a:gd name="T4" fmla="*/ 0 w 1529"/>
              <a:gd name="T5" fmla="*/ 0 h 1160"/>
              <a:gd name="T6" fmla="*/ 1151 w 1529"/>
              <a:gd name="T7" fmla="*/ 0 h 1160"/>
              <a:gd name="T8" fmla="*/ 1528 w 1529"/>
              <a:gd name="T9" fmla="*/ 580 h 1160"/>
              <a:gd name="T10" fmla="*/ 1151 w 1529"/>
              <a:gd name="T11" fmla="*/ 1159 h 1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29" h="1160">
                <a:moveTo>
                  <a:pt x="1151" y="1159"/>
                </a:moveTo>
                <a:lnTo>
                  <a:pt x="0" y="1159"/>
                </a:lnTo>
                <a:lnTo>
                  <a:pt x="0" y="0"/>
                </a:lnTo>
                <a:lnTo>
                  <a:pt x="1151" y="0"/>
                </a:lnTo>
                <a:lnTo>
                  <a:pt x="1528" y="580"/>
                </a:lnTo>
                <a:lnTo>
                  <a:pt x="1151" y="1159"/>
                </a:lnTo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7" name="Freeform 398"/>
          <p:cNvSpPr>
            <a:spLocks noChangeArrowheads="1"/>
          </p:cNvSpPr>
          <p:nvPr/>
        </p:nvSpPr>
        <p:spPr bwMode="auto">
          <a:xfrm>
            <a:off x="12433793" y="9321053"/>
            <a:ext cx="1275571" cy="958585"/>
          </a:xfrm>
          <a:custGeom>
            <a:avLst/>
            <a:gdLst>
              <a:gd name="T0" fmla="*/ 1151 w 1529"/>
              <a:gd name="T1" fmla="*/ 1151 h 1152"/>
              <a:gd name="T2" fmla="*/ 0 w 1529"/>
              <a:gd name="T3" fmla="*/ 1151 h 1152"/>
              <a:gd name="T4" fmla="*/ 0 w 1529"/>
              <a:gd name="T5" fmla="*/ 0 h 1152"/>
              <a:gd name="T6" fmla="*/ 1151 w 1529"/>
              <a:gd name="T7" fmla="*/ 0 h 1152"/>
              <a:gd name="T8" fmla="*/ 1528 w 1529"/>
              <a:gd name="T9" fmla="*/ 572 h 1152"/>
              <a:gd name="T10" fmla="*/ 1151 w 1529"/>
              <a:gd name="T11" fmla="*/ 1151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29" h="1152">
                <a:moveTo>
                  <a:pt x="1151" y="1151"/>
                </a:moveTo>
                <a:lnTo>
                  <a:pt x="0" y="1151"/>
                </a:lnTo>
                <a:lnTo>
                  <a:pt x="0" y="0"/>
                </a:lnTo>
                <a:lnTo>
                  <a:pt x="1151" y="0"/>
                </a:lnTo>
                <a:lnTo>
                  <a:pt x="1528" y="572"/>
                </a:lnTo>
                <a:lnTo>
                  <a:pt x="1151" y="1151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8" name="Freeform 40"/>
          <p:cNvSpPr>
            <a:spLocks noChangeArrowheads="1"/>
          </p:cNvSpPr>
          <p:nvPr/>
        </p:nvSpPr>
        <p:spPr bwMode="auto">
          <a:xfrm>
            <a:off x="12758992" y="9568649"/>
            <a:ext cx="433340" cy="451425"/>
          </a:xfrm>
          <a:custGeom>
            <a:avLst/>
            <a:gdLst>
              <a:gd name="T0" fmla="*/ 158 w 423"/>
              <a:gd name="T1" fmla="*/ 440 h 441"/>
              <a:gd name="T2" fmla="*/ 158 w 423"/>
              <a:gd name="T3" fmla="*/ 440 h 441"/>
              <a:gd name="T4" fmla="*/ 123 w 423"/>
              <a:gd name="T5" fmla="*/ 423 h 441"/>
              <a:gd name="T6" fmla="*/ 13 w 423"/>
              <a:gd name="T7" fmla="*/ 277 h 441"/>
              <a:gd name="T8" fmla="*/ 22 w 423"/>
              <a:gd name="T9" fmla="*/ 216 h 441"/>
              <a:gd name="T10" fmla="*/ 83 w 423"/>
              <a:gd name="T11" fmla="*/ 225 h 441"/>
              <a:gd name="T12" fmla="*/ 154 w 423"/>
              <a:gd name="T13" fmla="*/ 321 h 441"/>
              <a:gd name="T14" fmla="*/ 338 w 423"/>
              <a:gd name="T15" fmla="*/ 27 h 441"/>
              <a:gd name="T16" fmla="*/ 395 w 423"/>
              <a:gd name="T17" fmla="*/ 13 h 441"/>
              <a:gd name="T18" fmla="*/ 413 w 423"/>
              <a:gd name="T19" fmla="*/ 75 h 441"/>
              <a:gd name="T20" fmla="*/ 198 w 423"/>
              <a:gd name="T21" fmla="*/ 423 h 441"/>
              <a:gd name="T22" fmla="*/ 163 w 423"/>
              <a:gd name="T23" fmla="*/ 440 h 441"/>
              <a:gd name="T24" fmla="*/ 158 w 423"/>
              <a:gd name="T25" fmla="*/ 440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23" h="441">
                <a:moveTo>
                  <a:pt x="158" y="440"/>
                </a:moveTo>
                <a:lnTo>
                  <a:pt x="158" y="440"/>
                </a:lnTo>
                <a:cubicBezTo>
                  <a:pt x="145" y="440"/>
                  <a:pt x="132" y="436"/>
                  <a:pt x="123" y="423"/>
                </a:cubicBezTo>
                <a:cubicBezTo>
                  <a:pt x="13" y="277"/>
                  <a:pt x="13" y="277"/>
                  <a:pt x="13" y="277"/>
                </a:cubicBezTo>
                <a:cubicBezTo>
                  <a:pt x="0" y="260"/>
                  <a:pt x="4" y="233"/>
                  <a:pt x="22" y="216"/>
                </a:cubicBezTo>
                <a:cubicBezTo>
                  <a:pt x="44" y="203"/>
                  <a:pt x="70" y="207"/>
                  <a:pt x="83" y="225"/>
                </a:cubicBezTo>
                <a:cubicBezTo>
                  <a:pt x="154" y="321"/>
                  <a:pt x="154" y="321"/>
                  <a:pt x="154" y="321"/>
                </a:cubicBezTo>
                <a:cubicBezTo>
                  <a:pt x="338" y="27"/>
                  <a:pt x="338" y="27"/>
                  <a:pt x="338" y="27"/>
                </a:cubicBezTo>
                <a:cubicBezTo>
                  <a:pt x="351" y="9"/>
                  <a:pt x="377" y="0"/>
                  <a:pt x="395" y="13"/>
                </a:cubicBezTo>
                <a:cubicBezTo>
                  <a:pt x="417" y="27"/>
                  <a:pt x="422" y="53"/>
                  <a:pt x="413" y="75"/>
                </a:cubicBezTo>
                <a:cubicBezTo>
                  <a:pt x="198" y="423"/>
                  <a:pt x="198" y="423"/>
                  <a:pt x="198" y="423"/>
                </a:cubicBezTo>
                <a:cubicBezTo>
                  <a:pt x="189" y="432"/>
                  <a:pt x="176" y="440"/>
                  <a:pt x="163" y="440"/>
                </a:cubicBezTo>
                <a:lnTo>
                  <a:pt x="158" y="440"/>
                </a:lnTo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9" name="Freeform 44"/>
          <p:cNvSpPr>
            <a:spLocks noChangeArrowheads="1"/>
          </p:cNvSpPr>
          <p:nvPr/>
        </p:nvSpPr>
        <p:spPr bwMode="auto">
          <a:xfrm>
            <a:off x="12803552" y="11114684"/>
            <a:ext cx="306949" cy="334054"/>
          </a:xfrm>
          <a:custGeom>
            <a:avLst/>
            <a:gdLst>
              <a:gd name="T0" fmla="*/ 282 w 301"/>
              <a:gd name="T1" fmla="*/ 259 h 326"/>
              <a:gd name="T2" fmla="*/ 282 w 301"/>
              <a:gd name="T3" fmla="*/ 259 h 326"/>
              <a:gd name="T4" fmla="*/ 199 w 301"/>
              <a:gd name="T5" fmla="*/ 163 h 326"/>
              <a:gd name="T6" fmla="*/ 282 w 301"/>
              <a:gd name="T7" fmla="*/ 66 h 326"/>
              <a:gd name="T8" fmla="*/ 282 w 301"/>
              <a:gd name="T9" fmla="*/ 13 h 326"/>
              <a:gd name="T10" fmla="*/ 234 w 301"/>
              <a:gd name="T11" fmla="*/ 13 h 326"/>
              <a:gd name="T12" fmla="*/ 150 w 301"/>
              <a:gd name="T13" fmla="*/ 105 h 326"/>
              <a:gd name="T14" fmla="*/ 66 w 301"/>
              <a:gd name="T15" fmla="*/ 13 h 326"/>
              <a:gd name="T16" fmla="*/ 14 w 301"/>
              <a:gd name="T17" fmla="*/ 13 h 326"/>
              <a:gd name="T18" fmla="*/ 14 w 301"/>
              <a:gd name="T19" fmla="*/ 66 h 326"/>
              <a:gd name="T20" fmla="*/ 102 w 301"/>
              <a:gd name="T21" fmla="*/ 163 h 326"/>
              <a:gd name="T22" fmla="*/ 14 w 301"/>
              <a:gd name="T23" fmla="*/ 259 h 326"/>
              <a:gd name="T24" fmla="*/ 14 w 301"/>
              <a:gd name="T25" fmla="*/ 312 h 326"/>
              <a:gd name="T26" fmla="*/ 66 w 301"/>
              <a:gd name="T27" fmla="*/ 312 h 326"/>
              <a:gd name="T28" fmla="*/ 150 w 301"/>
              <a:gd name="T29" fmla="*/ 220 h 326"/>
              <a:gd name="T30" fmla="*/ 234 w 301"/>
              <a:gd name="T31" fmla="*/ 312 h 326"/>
              <a:gd name="T32" fmla="*/ 282 w 301"/>
              <a:gd name="T33" fmla="*/ 312 h 326"/>
              <a:gd name="T34" fmla="*/ 282 w 301"/>
              <a:gd name="T35" fmla="*/ 259 h 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01" h="326">
                <a:moveTo>
                  <a:pt x="282" y="259"/>
                </a:moveTo>
                <a:lnTo>
                  <a:pt x="282" y="259"/>
                </a:lnTo>
                <a:cubicBezTo>
                  <a:pt x="199" y="163"/>
                  <a:pt x="199" y="163"/>
                  <a:pt x="199" y="163"/>
                </a:cubicBezTo>
                <a:cubicBezTo>
                  <a:pt x="282" y="66"/>
                  <a:pt x="282" y="66"/>
                  <a:pt x="282" y="66"/>
                </a:cubicBezTo>
                <a:cubicBezTo>
                  <a:pt x="300" y="53"/>
                  <a:pt x="300" y="26"/>
                  <a:pt x="282" y="13"/>
                </a:cubicBezTo>
                <a:cubicBezTo>
                  <a:pt x="269" y="0"/>
                  <a:pt x="247" y="0"/>
                  <a:pt x="234" y="13"/>
                </a:cubicBezTo>
                <a:cubicBezTo>
                  <a:pt x="150" y="105"/>
                  <a:pt x="150" y="105"/>
                  <a:pt x="150" y="105"/>
                </a:cubicBezTo>
                <a:cubicBezTo>
                  <a:pt x="66" y="13"/>
                  <a:pt x="66" y="13"/>
                  <a:pt x="66" y="13"/>
                </a:cubicBezTo>
                <a:cubicBezTo>
                  <a:pt x="53" y="0"/>
                  <a:pt x="31" y="0"/>
                  <a:pt x="14" y="13"/>
                </a:cubicBezTo>
                <a:cubicBezTo>
                  <a:pt x="0" y="26"/>
                  <a:pt x="0" y="53"/>
                  <a:pt x="14" y="66"/>
                </a:cubicBezTo>
                <a:cubicBezTo>
                  <a:pt x="102" y="163"/>
                  <a:pt x="102" y="163"/>
                  <a:pt x="102" y="163"/>
                </a:cubicBezTo>
                <a:cubicBezTo>
                  <a:pt x="14" y="259"/>
                  <a:pt x="14" y="259"/>
                  <a:pt x="14" y="259"/>
                </a:cubicBezTo>
                <a:cubicBezTo>
                  <a:pt x="0" y="273"/>
                  <a:pt x="0" y="299"/>
                  <a:pt x="14" y="312"/>
                </a:cubicBezTo>
                <a:cubicBezTo>
                  <a:pt x="31" y="325"/>
                  <a:pt x="53" y="325"/>
                  <a:pt x="66" y="312"/>
                </a:cubicBezTo>
                <a:cubicBezTo>
                  <a:pt x="150" y="220"/>
                  <a:pt x="150" y="220"/>
                  <a:pt x="150" y="220"/>
                </a:cubicBezTo>
                <a:cubicBezTo>
                  <a:pt x="234" y="312"/>
                  <a:pt x="234" y="312"/>
                  <a:pt x="234" y="312"/>
                </a:cubicBezTo>
                <a:cubicBezTo>
                  <a:pt x="247" y="325"/>
                  <a:pt x="269" y="325"/>
                  <a:pt x="282" y="312"/>
                </a:cubicBezTo>
                <a:cubicBezTo>
                  <a:pt x="300" y="299"/>
                  <a:pt x="300" y="273"/>
                  <a:pt x="282" y="259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grpSp>
        <p:nvGrpSpPr>
          <p:cNvPr id="30" name="Group 18"/>
          <p:cNvGrpSpPr>
            <a:grpSpLocks noChangeAspect="1"/>
          </p:cNvGrpSpPr>
          <p:nvPr/>
        </p:nvGrpSpPr>
        <p:grpSpPr bwMode="auto">
          <a:xfrm flipH="1">
            <a:off x="16071366" y="10803043"/>
            <a:ext cx="510131" cy="958713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31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33" name="Group 18"/>
          <p:cNvGrpSpPr>
            <a:grpSpLocks noChangeAspect="1"/>
          </p:cNvGrpSpPr>
          <p:nvPr/>
        </p:nvGrpSpPr>
        <p:grpSpPr bwMode="auto">
          <a:xfrm flipH="1">
            <a:off x="15386702" y="10803043"/>
            <a:ext cx="510131" cy="958713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34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35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36" name="Group 18"/>
          <p:cNvGrpSpPr>
            <a:grpSpLocks noChangeAspect="1"/>
          </p:cNvGrpSpPr>
          <p:nvPr/>
        </p:nvGrpSpPr>
        <p:grpSpPr bwMode="auto">
          <a:xfrm flipH="1">
            <a:off x="14693099" y="10803043"/>
            <a:ext cx="510131" cy="958713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37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38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39" name="Group 18"/>
          <p:cNvGrpSpPr>
            <a:grpSpLocks noChangeAspect="1"/>
          </p:cNvGrpSpPr>
          <p:nvPr/>
        </p:nvGrpSpPr>
        <p:grpSpPr bwMode="auto">
          <a:xfrm flipH="1">
            <a:off x="14008435" y="10803043"/>
            <a:ext cx="510131" cy="958713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40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41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42" name="Group 18"/>
          <p:cNvGrpSpPr>
            <a:grpSpLocks noChangeAspect="1"/>
          </p:cNvGrpSpPr>
          <p:nvPr/>
        </p:nvGrpSpPr>
        <p:grpSpPr bwMode="auto">
          <a:xfrm flipH="1">
            <a:off x="17459994" y="10803043"/>
            <a:ext cx="510131" cy="958713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43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44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45" name="Group 18"/>
          <p:cNvGrpSpPr>
            <a:grpSpLocks noChangeAspect="1"/>
          </p:cNvGrpSpPr>
          <p:nvPr/>
        </p:nvGrpSpPr>
        <p:grpSpPr bwMode="auto">
          <a:xfrm flipH="1">
            <a:off x="16775330" y="10803043"/>
            <a:ext cx="510131" cy="958713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46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47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48" name="Group 18"/>
          <p:cNvGrpSpPr>
            <a:grpSpLocks noChangeAspect="1"/>
          </p:cNvGrpSpPr>
          <p:nvPr/>
        </p:nvGrpSpPr>
        <p:grpSpPr bwMode="auto">
          <a:xfrm flipH="1">
            <a:off x="18838261" y="10803043"/>
            <a:ext cx="510131" cy="958713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49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50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51" name="Group 18"/>
          <p:cNvGrpSpPr>
            <a:grpSpLocks noChangeAspect="1"/>
          </p:cNvGrpSpPr>
          <p:nvPr/>
        </p:nvGrpSpPr>
        <p:grpSpPr bwMode="auto">
          <a:xfrm flipH="1">
            <a:off x="18153597" y="10803043"/>
            <a:ext cx="510131" cy="958713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52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53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54" name="Group 18"/>
          <p:cNvGrpSpPr>
            <a:grpSpLocks noChangeAspect="1"/>
          </p:cNvGrpSpPr>
          <p:nvPr/>
        </p:nvGrpSpPr>
        <p:grpSpPr bwMode="auto">
          <a:xfrm flipH="1">
            <a:off x="20246757" y="10803043"/>
            <a:ext cx="510131" cy="958713"/>
            <a:chOff x="3241" y="1291"/>
            <a:chExt cx="421" cy="791"/>
          </a:xfrm>
          <a:solidFill>
            <a:schemeClr val="bg1">
              <a:lumMod val="85000"/>
            </a:schemeClr>
          </a:solidFill>
        </p:grpSpPr>
        <p:sp>
          <p:nvSpPr>
            <p:cNvPr id="55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56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57" name="Group 18"/>
          <p:cNvGrpSpPr>
            <a:grpSpLocks noChangeAspect="1"/>
          </p:cNvGrpSpPr>
          <p:nvPr/>
        </p:nvGrpSpPr>
        <p:grpSpPr bwMode="auto">
          <a:xfrm flipH="1">
            <a:off x="19562093" y="10803043"/>
            <a:ext cx="510131" cy="958713"/>
            <a:chOff x="3241" y="1291"/>
            <a:chExt cx="421" cy="791"/>
          </a:xfrm>
          <a:solidFill>
            <a:schemeClr val="bg1">
              <a:lumMod val="85000"/>
            </a:schemeClr>
          </a:solidFill>
        </p:grpSpPr>
        <p:sp>
          <p:nvSpPr>
            <p:cNvPr id="58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59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3356508" y="6364872"/>
            <a:ext cx="8832317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33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Tools that allow people or companies to create, share, or exchange information, there are many effects</a:t>
            </a:r>
          </a:p>
        </p:txBody>
      </p:sp>
      <p:sp>
        <p:nvSpPr>
          <p:cNvPr id="61" name="Rectangle 60"/>
          <p:cNvSpPr/>
          <p:nvPr/>
        </p:nvSpPr>
        <p:spPr>
          <a:xfrm>
            <a:off x="3345074" y="5825131"/>
            <a:ext cx="205376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2,432,000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3345074" y="10555556"/>
            <a:ext cx="8832314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33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Tools that allow people or companies to create, share, or exchange information, there are many effects</a:t>
            </a:r>
          </a:p>
        </p:txBody>
      </p:sp>
      <p:sp>
        <p:nvSpPr>
          <p:cNvPr id="63" name="Rectangle 62"/>
          <p:cNvSpPr/>
          <p:nvPr/>
        </p:nvSpPr>
        <p:spPr>
          <a:xfrm>
            <a:off x="3333637" y="10015815"/>
            <a:ext cx="205376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3,947,200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1915797" y="3870167"/>
            <a:ext cx="10150492" cy="1272101"/>
          </a:xfrm>
          <a:prstGeom prst="rect">
            <a:avLst/>
          </a:prstGeom>
          <a:noFill/>
        </p:spPr>
        <p:txBody>
          <a:bodyPr wrap="square" lIns="243797" tIns="121899" rIns="243797" bIns="121899" rtlCol="0">
            <a:spAutoFit/>
          </a:bodyPr>
          <a:lstStyle/>
          <a:p>
            <a:pPr>
              <a:lnSpc>
                <a:spcPts val="4033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Tools that allow people or companies to create, share exchange information, there are many effects</a:t>
            </a:r>
          </a:p>
        </p:txBody>
      </p:sp>
      <p:sp>
        <p:nvSpPr>
          <p:cNvPr id="65" name="Rectangle 64"/>
          <p:cNvSpPr/>
          <p:nvPr/>
        </p:nvSpPr>
        <p:spPr>
          <a:xfrm>
            <a:off x="1904362" y="3062424"/>
            <a:ext cx="2181088" cy="800177"/>
          </a:xfrm>
          <a:prstGeom prst="rect">
            <a:avLst/>
          </a:prstGeom>
        </p:spPr>
        <p:txBody>
          <a:bodyPr wrap="none" lIns="243797" tIns="121899" rIns="243797" bIns="121899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Your title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3356508" y="8458419"/>
            <a:ext cx="8820880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33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Tools that allow people or companies to create, share, or exchange information, there are many effects</a:t>
            </a:r>
          </a:p>
        </p:txBody>
      </p:sp>
      <p:sp>
        <p:nvSpPr>
          <p:cNvPr id="67" name="Rectangle 66"/>
          <p:cNvSpPr/>
          <p:nvPr/>
        </p:nvSpPr>
        <p:spPr>
          <a:xfrm>
            <a:off x="3345074" y="7918678"/>
            <a:ext cx="205376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7,332,000</a:t>
            </a:r>
          </a:p>
        </p:txBody>
      </p:sp>
      <p:sp>
        <p:nvSpPr>
          <p:cNvPr id="68" name="Shape 2633"/>
          <p:cNvSpPr/>
          <p:nvPr/>
        </p:nvSpPr>
        <p:spPr>
          <a:xfrm>
            <a:off x="2294768" y="10174870"/>
            <a:ext cx="558655" cy="5586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69" name="Shape 2547"/>
          <p:cNvSpPr/>
          <p:nvPr/>
        </p:nvSpPr>
        <p:spPr>
          <a:xfrm>
            <a:off x="2294768" y="5999415"/>
            <a:ext cx="558655" cy="5586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70" name="Shape 2588"/>
          <p:cNvSpPr/>
          <p:nvPr/>
        </p:nvSpPr>
        <p:spPr>
          <a:xfrm>
            <a:off x="2264606" y="8105659"/>
            <a:ext cx="558655" cy="5078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graphicFrame>
        <p:nvGraphicFramePr>
          <p:cNvPr id="71" name="Chart 70"/>
          <p:cNvGraphicFramePr/>
          <p:nvPr>
            <p:extLst>
              <p:ext uri="{D42A27DB-BD31-4B8C-83A1-F6EECF244321}">
                <p14:modId xmlns:p14="http://schemas.microsoft.com/office/powerpoint/2010/main" val="734874182"/>
              </p:ext>
            </p:extLst>
          </p:nvPr>
        </p:nvGraphicFramePr>
        <p:xfrm>
          <a:off x="12188825" y="1856852"/>
          <a:ext cx="10113088" cy="6742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1832353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untains</a:t>
            </a:r>
          </a:p>
        </p:txBody>
      </p:sp>
      <p:sp>
        <p:nvSpPr>
          <p:cNvPr id="3" name="Triangle 2"/>
          <p:cNvSpPr/>
          <p:nvPr/>
        </p:nvSpPr>
        <p:spPr>
          <a:xfrm>
            <a:off x="6039472" y="7764838"/>
            <a:ext cx="4257243" cy="367003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" name="Triangle 3"/>
          <p:cNvSpPr/>
          <p:nvPr/>
        </p:nvSpPr>
        <p:spPr>
          <a:xfrm>
            <a:off x="8168093" y="6284075"/>
            <a:ext cx="5974928" cy="51508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6" name="Triangle 5"/>
          <p:cNvSpPr/>
          <p:nvPr/>
        </p:nvSpPr>
        <p:spPr>
          <a:xfrm>
            <a:off x="15165382" y="8636644"/>
            <a:ext cx="3245948" cy="2798231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" name="Triangle 4"/>
          <p:cNvSpPr/>
          <p:nvPr/>
        </p:nvSpPr>
        <p:spPr>
          <a:xfrm>
            <a:off x="12014400" y="7003997"/>
            <a:ext cx="5139818" cy="4430878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337065" y="8047095"/>
            <a:ext cx="2215286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dirty="0">
                <a:latin typeface="Avenir Medium"/>
                <a:ea typeface="Avenir Book" charset="0"/>
                <a:cs typeface="Avenir Book" charset="0"/>
              </a:rPr>
              <a:t>1</a:t>
            </a:r>
            <a:r>
              <a:rPr lang="en-US" baseline="30000" dirty="0">
                <a:latin typeface="Avenir Medium"/>
                <a:ea typeface="Avenir Book" charset="0"/>
                <a:cs typeface="Avenir Book" charset="0"/>
              </a:rPr>
              <a:t>st</a:t>
            </a:r>
            <a:r>
              <a:rPr lang="en-US" dirty="0">
                <a:latin typeface="Avenir Medium"/>
                <a:ea typeface="Avenir Book" charset="0"/>
                <a:cs typeface="Avenir Book" charset="0"/>
              </a:rPr>
              <a:t> Quarter</a:t>
            </a:r>
            <a:endParaRPr lang="en-US" sz="6600" dirty="0">
              <a:latin typeface="Avenir Medium"/>
              <a:ea typeface="Avenir Book" charset="0"/>
              <a:cs typeface="Avenir Book" charset="0"/>
            </a:endParaRPr>
          </a:p>
          <a:p>
            <a:pPr algn="r"/>
            <a:r>
              <a:rPr lang="en-US" sz="5400" dirty="0">
                <a:latin typeface="Avenir Medium"/>
                <a:ea typeface="Avenir Book" charset="0"/>
                <a:cs typeface="Avenir Book" charset="0"/>
              </a:rPr>
              <a:t>17%</a:t>
            </a:r>
            <a:endParaRPr lang="en-US" sz="6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051790" y="6020635"/>
            <a:ext cx="2319738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dirty="0">
                <a:latin typeface="Avenir Medium"/>
                <a:ea typeface="Avenir Book" charset="0"/>
                <a:cs typeface="Avenir Book" charset="0"/>
              </a:rPr>
              <a:t>2</a:t>
            </a:r>
            <a:r>
              <a:rPr lang="en-US" baseline="30000" dirty="0">
                <a:latin typeface="Avenir Medium"/>
                <a:ea typeface="Avenir Book" charset="0"/>
                <a:cs typeface="Avenir Book" charset="0"/>
              </a:rPr>
              <a:t>nd</a:t>
            </a:r>
            <a:r>
              <a:rPr lang="en-US" dirty="0">
                <a:latin typeface="Avenir Medium"/>
                <a:ea typeface="Avenir Book" charset="0"/>
                <a:cs typeface="Avenir Book" charset="0"/>
              </a:rPr>
              <a:t> Quarter</a:t>
            </a:r>
          </a:p>
          <a:p>
            <a:pPr algn="r"/>
            <a:r>
              <a:rPr lang="en-US" sz="5400" dirty="0">
                <a:latin typeface="Avenir Medium"/>
                <a:ea typeface="Avenir Book" charset="0"/>
                <a:cs typeface="Avenir Book" charset="0"/>
              </a:rPr>
              <a:t>46%</a:t>
            </a:r>
            <a:endParaRPr lang="en-US" sz="6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5001863" y="6080667"/>
            <a:ext cx="2261004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venir Medium"/>
                <a:ea typeface="Avenir Book" charset="0"/>
                <a:cs typeface="Avenir Book" charset="0"/>
              </a:rPr>
              <a:t>3</a:t>
            </a:r>
            <a:r>
              <a:rPr lang="en-US" baseline="30000" dirty="0">
                <a:latin typeface="Avenir Medium"/>
                <a:ea typeface="Avenir Book" charset="0"/>
                <a:cs typeface="Avenir Book" charset="0"/>
              </a:rPr>
              <a:t>rd</a:t>
            </a:r>
            <a:r>
              <a:rPr lang="en-US" dirty="0">
                <a:latin typeface="Avenir Medium"/>
                <a:ea typeface="Avenir Book" charset="0"/>
                <a:cs typeface="Avenir Book" charset="0"/>
              </a:rPr>
              <a:t> Quarter</a:t>
            </a:r>
          </a:p>
          <a:p>
            <a:r>
              <a:rPr lang="en-US" sz="5400" dirty="0">
                <a:latin typeface="Avenir Medium"/>
                <a:ea typeface="Avenir Book" charset="0"/>
                <a:cs typeface="Avenir Book" charset="0"/>
              </a:rPr>
              <a:t>31%</a:t>
            </a:r>
            <a:endParaRPr lang="en-US" sz="6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7627301" y="8397810"/>
            <a:ext cx="2308517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venir Medium"/>
                <a:ea typeface="Avenir Book" charset="0"/>
                <a:cs typeface="Avenir Book" charset="0"/>
              </a:rPr>
              <a:t>4</a:t>
            </a:r>
            <a:r>
              <a:rPr lang="en-US" baseline="30000" dirty="0">
                <a:latin typeface="Avenir Medium"/>
                <a:ea typeface="Avenir Book" charset="0"/>
                <a:cs typeface="Avenir Book" charset="0"/>
              </a:rPr>
              <a:t>Th</a:t>
            </a:r>
            <a:r>
              <a:rPr lang="en-US" dirty="0">
                <a:latin typeface="Avenir Medium"/>
                <a:ea typeface="Avenir Book" charset="0"/>
                <a:cs typeface="Avenir Book" charset="0"/>
              </a:rPr>
              <a:t> Quarter</a:t>
            </a:r>
          </a:p>
          <a:p>
            <a:r>
              <a:rPr lang="en-US" sz="5400" dirty="0">
                <a:latin typeface="Avenir Medium"/>
                <a:ea typeface="Avenir Book" charset="0"/>
                <a:cs typeface="Avenir Book" charset="0"/>
              </a:rPr>
              <a:t>9%</a:t>
            </a:r>
            <a:endParaRPr lang="en-US" sz="6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96065" y="6138447"/>
            <a:ext cx="4029156" cy="1429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20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235562" y="4593414"/>
            <a:ext cx="4029156" cy="967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20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7592269" y="6497290"/>
            <a:ext cx="4029156" cy="1429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5001863" y="4033230"/>
            <a:ext cx="4029156" cy="1429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</a:t>
            </a:r>
          </a:p>
        </p:txBody>
      </p:sp>
    </p:spTree>
    <p:extLst>
      <p:ext uri="{BB962C8B-B14F-4D97-AF65-F5344CB8AC3E}">
        <p14:creationId xmlns:p14="http://schemas.microsoft.com/office/powerpoint/2010/main" val="149996191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rs</a:t>
            </a:r>
          </a:p>
        </p:txBody>
      </p:sp>
      <p:graphicFrame>
        <p:nvGraphicFramePr>
          <p:cNvPr id="3" name="Chart 2"/>
          <p:cNvGraphicFramePr/>
          <p:nvPr>
            <p:extLst>
              <p:ext uri="{D42A27DB-BD31-4B8C-83A1-F6EECF244321}">
                <p14:modId xmlns:p14="http://schemas.microsoft.com/office/powerpoint/2010/main" val="152091017"/>
              </p:ext>
            </p:extLst>
          </p:nvPr>
        </p:nvGraphicFramePr>
        <p:xfrm>
          <a:off x="1596468" y="4098366"/>
          <a:ext cx="10592357" cy="7682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3"/>
          <p:cNvSpPr/>
          <p:nvPr/>
        </p:nvSpPr>
        <p:spPr>
          <a:xfrm>
            <a:off x="11387461" y="5160835"/>
            <a:ext cx="11270011" cy="64749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" name="Round Same Side Corner Rectangle 4"/>
          <p:cNvSpPr/>
          <p:nvPr/>
        </p:nvSpPr>
        <p:spPr>
          <a:xfrm rot="10800000" flipH="1">
            <a:off x="12357048" y="5714165"/>
            <a:ext cx="109654" cy="905037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endParaRPr lang="bg-BG" dirty="0">
              <a:solidFill>
                <a:srgbClr val="FFFFFF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6" name="Round Same Side Corner Rectangle 5"/>
          <p:cNvSpPr/>
          <p:nvPr/>
        </p:nvSpPr>
        <p:spPr>
          <a:xfrm rot="10800000" flipH="1">
            <a:off x="12354085" y="7163900"/>
            <a:ext cx="109654" cy="905037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endParaRPr lang="bg-BG" dirty="0">
              <a:solidFill>
                <a:srgbClr val="FFFFFF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7" name="Round Same Side Corner Rectangle 6"/>
          <p:cNvSpPr/>
          <p:nvPr/>
        </p:nvSpPr>
        <p:spPr>
          <a:xfrm rot="10800000" flipH="1">
            <a:off x="12354085" y="8637660"/>
            <a:ext cx="109654" cy="905037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endParaRPr lang="bg-BG" dirty="0">
              <a:solidFill>
                <a:srgbClr val="FFFFFF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8" name="Round Same Side Corner Rectangle 7"/>
          <p:cNvSpPr/>
          <p:nvPr/>
        </p:nvSpPr>
        <p:spPr>
          <a:xfrm rot="10800000" flipH="1">
            <a:off x="12359189" y="10192770"/>
            <a:ext cx="109654" cy="905037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endParaRPr lang="bg-BG" dirty="0">
              <a:solidFill>
                <a:srgbClr val="FFFFFF"/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778100" y="5704161"/>
            <a:ext cx="92017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545454"/>
                </a:solidFill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778100" y="7170142"/>
            <a:ext cx="92017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545454"/>
                </a:solidFill>
                <a:latin typeface="Avenir Medium"/>
                <a:ea typeface="Avenir Book" charset="0"/>
                <a:cs typeface="Avenir Book" charset="0"/>
              </a:rPr>
              <a:t>Second: What is a Fast-Fish? Alive or dead a fish is technically fas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2778100" y="8671631"/>
            <a:ext cx="92017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545454"/>
                </a:solidFill>
                <a:latin typeface="Avenir Medium"/>
                <a:ea typeface="Avenir Book" charset="0"/>
                <a:cs typeface="Avenir Book" charset="0"/>
              </a:rPr>
              <a:t>Third: What is a Fast-Fish? Alive or dead a fish is technically fas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2778100" y="10137612"/>
            <a:ext cx="92017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545454"/>
                </a:solidFill>
                <a:latin typeface="Avenir Medium"/>
                <a:ea typeface="Avenir Book" charset="0"/>
                <a:cs typeface="Avenir Book" charset="0"/>
              </a:rPr>
              <a:t>Fourth: What is a Fast-Fish? Alive or dead a fish is technically fas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713386" y="8733186"/>
            <a:ext cx="79079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800" dirty="0">
                <a:latin typeface="Avenir Medium"/>
                <a:ea typeface="Avenir Book" charset="0"/>
                <a:cs typeface="Avenir Book" charset="0"/>
              </a:rPr>
              <a:t>1</a:t>
            </a:r>
            <a:r>
              <a:rPr lang="en-US" sz="4800" baseline="30000" dirty="0">
                <a:latin typeface="Avenir Medium"/>
                <a:ea typeface="Avenir Book" charset="0"/>
                <a:cs typeface="Avenir Book" charset="0"/>
              </a:rPr>
              <a:t>st</a:t>
            </a:r>
            <a:endParaRPr lang="en-US" sz="48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505778" y="7840634"/>
            <a:ext cx="93006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800" dirty="0">
                <a:latin typeface="Avenir Medium"/>
                <a:ea typeface="Avenir Book" charset="0"/>
                <a:cs typeface="Avenir Book" charset="0"/>
              </a:rPr>
              <a:t>2</a:t>
            </a:r>
            <a:r>
              <a:rPr lang="en-US" sz="4800" baseline="30000" dirty="0">
                <a:latin typeface="Avenir Medium"/>
                <a:ea typeface="Avenir Book" charset="0"/>
                <a:cs typeface="Avenir Book" charset="0"/>
              </a:rPr>
              <a:t>nd</a:t>
            </a:r>
            <a:endParaRPr lang="en-US" sz="48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373823" y="5136772"/>
            <a:ext cx="85068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800" dirty="0">
                <a:latin typeface="Avenir Medium"/>
                <a:ea typeface="Avenir Book" charset="0"/>
                <a:cs typeface="Avenir Book" charset="0"/>
              </a:rPr>
              <a:t>3</a:t>
            </a:r>
            <a:r>
              <a:rPr lang="en-US" sz="4800" baseline="30000" dirty="0">
                <a:latin typeface="Avenir Medium"/>
                <a:ea typeface="Avenir Book" charset="0"/>
                <a:cs typeface="Avenir Book" charset="0"/>
              </a:rPr>
              <a:t>rd</a:t>
            </a:r>
            <a:endParaRPr lang="en-US" sz="48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259916" y="4145588"/>
            <a:ext cx="85151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800" dirty="0">
                <a:latin typeface="Avenir Medium"/>
                <a:ea typeface="Avenir Book" charset="0"/>
                <a:cs typeface="Avenir Book" charset="0"/>
              </a:rPr>
              <a:t>4</a:t>
            </a:r>
            <a:r>
              <a:rPr lang="en-US" sz="4800" baseline="30000" dirty="0">
                <a:latin typeface="Avenir Medium"/>
                <a:ea typeface="Avenir Book" charset="0"/>
                <a:cs typeface="Avenir Book" charset="0"/>
              </a:rPr>
              <a:t>th</a:t>
            </a:r>
            <a:endParaRPr lang="en-US" sz="4800" dirty="0">
              <a:latin typeface="Avenir Medium"/>
              <a:ea typeface="Avenir Book" charset="0"/>
              <a:cs typeface="Avenir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1400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F3007-4903-FB4E-B891-AD261F669D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60596E1-F77A-4C3B-9127-99B9ECD7FC57}"/>
              </a:ext>
            </a:extLst>
          </p:cNvPr>
          <p:cNvGrpSpPr/>
          <p:nvPr/>
        </p:nvGrpSpPr>
        <p:grpSpPr>
          <a:xfrm>
            <a:off x="-12700" y="12841264"/>
            <a:ext cx="24390350" cy="874736"/>
            <a:chOff x="8962256" y="6857999"/>
            <a:chExt cx="6215041" cy="874736"/>
          </a:xfrm>
        </p:grpSpPr>
        <p:sp>
          <p:nvSpPr>
            <p:cNvPr id="13" name="Text Box 37">
              <a:extLst>
                <a:ext uri="{FF2B5EF4-FFF2-40B4-BE49-F238E27FC236}">
                  <a16:creationId xmlns:a16="http://schemas.microsoft.com/office/drawing/2014/main" id="{33B84082-0D95-4E46-8A5E-E11B64069CA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962256" y="6857999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de-DE" dirty="0">
                  <a:latin typeface="Avenir Medium"/>
                </a:rPr>
                <a:t>Management</a:t>
              </a:r>
              <a:br>
                <a:rPr lang="de-DE" dirty="0">
                  <a:latin typeface="Avenir Medium"/>
                </a:rPr>
              </a:br>
              <a:r>
                <a:rPr lang="de-DE" dirty="0">
                  <a:latin typeface="Avenir Medium"/>
                </a:rPr>
                <a:t>Summary</a:t>
              </a:r>
            </a:p>
          </p:txBody>
        </p:sp>
        <p:sp>
          <p:nvSpPr>
            <p:cNvPr id="14" name="Text Box 39">
              <a:extLst>
                <a:ext uri="{FF2B5EF4-FFF2-40B4-BE49-F238E27FC236}">
                  <a16:creationId xmlns:a16="http://schemas.microsoft.com/office/drawing/2014/main" id="{8976B12A-8C04-4296-932C-0D4BDFD1875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0737982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lternatives</a:t>
              </a:r>
            </a:p>
          </p:txBody>
        </p:sp>
        <p:sp>
          <p:nvSpPr>
            <p:cNvPr id="15" name="Text Box 41">
              <a:extLst>
                <a:ext uri="{FF2B5EF4-FFF2-40B4-BE49-F238E27FC236}">
                  <a16:creationId xmlns:a16="http://schemas.microsoft.com/office/drawing/2014/main" id="{D00ECDFF-A3A2-4C8B-9FE0-E38D7006EEA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625845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Implementation</a:t>
              </a:r>
            </a:p>
          </p:txBody>
        </p:sp>
        <p:sp>
          <p:nvSpPr>
            <p:cNvPr id="16" name="Text Box 43">
              <a:extLst>
                <a:ext uri="{FF2B5EF4-FFF2-40B4-BE49-F238E27FC236}">
                  <a16:creationId xmlns:a16="http://schemas.microsoft.com/office/drawing/2014/main" id="{414D6488-EE81-45A0-9432-CD5030DE525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2513708" y="6862659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Financials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7" name="Text Box 47">
              <a:extLst>
                <a:ext uri="{FF2B5EF4-FFF2-40B4-BE49-F238E27FC236}">
                  <a16:creationId xmlns:a16="http://schemas.microsoft.com/office/drawing/2014/main" id="{824D3ED1-60D3-44DD-BDE6-BBAF49E6D05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9850119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de-DE" sz="2800" dirty="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Analysis</a:t>
              </a:r>
            </a:p>
          </p:txBody>
        </p:sp>
        <p:sp>
          <p:nvSpPr>
            <p:cNvPr id="18" name="Text Box 43">
              <a:extLst>
                <a:ext uri="{FF2B5EF4-FFF2-40B4-BE49-F238E27FC236}">
                  <a16:creationId xmlns:a16="http://schemas.microsoft.com/office/drawing/2014/main" id="{213EC011-F210-41E6-9AE8-7ACC405AC6D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401571" y="6862660"/>
              <a:ext cx="887863" cy="870075"/>
            </a:xfrm>
            <a:prstGeom prst="rect">
              <a:avLst/>
            </a:prstGeom>
            <a:solidFill>
              <a:schemeClr val="accent4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Risk</a:t>
              </a:r>
            </a:p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Mitigation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9" name="Text Box 43">
              <a:extLst>
                <a:ext uri="{FF2B5EF4-FFF2-40B4-BE49-F238E27FC236}">
                  <a16:creationId xmlns:a16="http://schemas.microsoft.com/office/drawing/2014/main" id="{EA53B58A-5878-44A1-8BA1-E53C8A26E89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4289434" y="686266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Avenir Medium"/>
                  <a:ea typeface="Avenir Book" charset="0"/>
                  <a:cs typeface="Avenir Book" charset="0"/>
                </a:rPr>
                <a:t>Conclusion</a:t>
              </a:r>
              <a:endPara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7506898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1591733" y="3939428"/>
            <a:ext cx="5007850" cy="75009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914407" y="3939428"/>
            <a:ext cx="5007850" cy="75009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2237081" y="3939428"/>
            <a:ext cx="5007850" cy="75009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7559755" y="3939428"/>
            <a:ext cx="5007850" cy="75009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807394" y="6666203"/>
            <a:ext cx="255390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Write a</a:t>
            </a:r>
          </a:p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Nice title in</a:t>
            </a:r>
          </a:p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This area</a:t>
            </a:r>
          </a:p>
        </p:txBody>
      </p:sp>
      <p:sp>
        <p:nvSpPr>
          <p:cNvPr id="29" name="Shape 2540"/>
          <p:cNvSpPr/>
          <p:nvPr/>
        </p:nvSpPr>
        <p:spPr>
          <a:xfrm>
            <a:off x="3319985" y="4865516"/>
            <a:ext cx="1517826" cy="15178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382252" y="8888056"/>
            <a:ext cx="3526839" cy="1697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8130066" y="6666203"/>
            <a:ext cx="255390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Write a</a:t>
            </a:r>
          </a:p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Nice title in</a:t>
            </a:r>
          </a:p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This area</a:t>
            </a:r>
          </a:p>
        </p:txBody>
      </p:sp>
      <p:sp>
        <p:nvSpPr>
          <p:cNvPr id="33" name="Shape 2540"/>
          <p:cNvSpPr/>
          <p:nvPr/>
        </p:nvSpPr>
        <p:spPr>
          <a:xfrm>
            <a:off x="8642659" y="4865516"/>
            <a:ext cx="1517826" cy="15178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704926" y="8888056"/>
            <a:ext cx="3526839" cy="1697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3452740" y="6666203"/>
            <a:ext cx="255390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Write a</a:t>
            </a:r>
          </a:p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Nice title in</a:t>
            </a:r>
          </a:p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This area</a:t>
            </a:r>
          </a:p>
        </p:txBody>
      </p:sp>
      <p:sp>
        <p:nvSpPr>
          <p:cNvPr id="37" name="Shape 2540"/>
          <p:cNvSpPr/>
          <p:nvPr/>
        </p:nvSpPr>
        <p:spPr>
          <a:xfrm>
            <a:off x="13965333" y="4865516"/>
            <a:ext cx="1517826" cy="15178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3027600" y="8888056"/>
            <a:ext cx="3526839" cy="1697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8775414" y="6666203"/>
            <a:ext cx="255390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Write a</a:t>
            </a:r>
          </a:p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Nice title in</a:t>
            </a:r>
          </a:p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This area</a:t>
            </a:r>
          </a:p>
        </p:txBody>
      </p:sp>
      <p:sp>
        <p:nvSpPr>
          <p:cNvPr id="41" name="Shape 2540"/>
          <p:cNvSpPr/>
          <p:nvPr/>
        </p:nvSpPr>
        <p:spPr>
          <a:xfrm>
            <a:off x="19288007" y="4865516"/>
            <a:ext cx="1517826" cy="15178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8350274" y="8888056"/>
            <a:ext cx="3526839" cy="1697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2C507B-38BE-450F-88CA-21AB7D1CB9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Alternativ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5747428"/>
      </p:ext>
    </p:extLst>
  </p:cSld>
  <p:clrMapOvr>
    <a:masterClrMapping/>
  </p:clrMapOvr>
  <p:transition spd="slow"/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4362226" y="3939428"/>
            <a:ext cx="5007850" cy="75009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9684900" y="3939428"/>
            <a:ext cx="5007850" cy="7500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5007574" y="3939428"/>
            <a:ext cx="5007850" cy="75009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577887" y="6666203"/>
            <a:ext cx="255390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Write a</a:t>
            </a:r>
          </a:p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Nice title in</a:t>
            </a:r>
          </a:p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This area</a:t>
            </a:r>
          </a:p>
        </p:txBody>
      </p:sp>
      <p:sp>
        <p:nvSpPr>
          <p:cNvPr id="29" name="Shape 2540"/>
          <p:cNvSpPr/>
          <p:nvPr/>
        </p:nvSpPr>
        <p:spPr>
          <a:xfrm>
            <a:off x="6090478" y="4865516"/>
            <a:ext cx="1517826" cy="15178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076780" y="8950311"/>
            <a:ext cx="362465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0900559" y="6666203"/>
            <a:ext cx="255390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Write a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Nice title in</a:t>
            </a:r>
          </a:p>
          <a:p>
            <a:pPr algn="ctr"/>
            <a:r>
              <a:rPr lang="en-US" sz="40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This area</a:t>
            </a:r>
          </a:p>
        </p:txBody>
      </p:sp>
      <p:sp>
        <p:nvSpPr>
          <p:cNvPr id="33" name="Shape 2540"/>
          <p:cNvSpPr/>
          <p:nvPr/>
        </p:nvSpPr>
        <p:spPr>
          <a:xfrm>
            <a:off x="11413152" y="4865516"/>
            <a:ext cx="1517826" cy="15178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399454" y="8950311"/>
            <a:ext cx="362465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6223233" y="6666203"/>
            <a:ext cx="255390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Write a</a:t>
            </a:r>
          </a:p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Nice title in</a:t>
            </a:r>
          </a:p>
          <a:p>
            <a:pPr algn="ctr"/>
            <a:r>
              <a:rPr lang="en-US" sz="4000" dirty="0">
                <a:latin typeface="Avenir Medium"/>
                <a:ea typeface="Avenir Book" charset="0"/>
                <a:cs typeface="Avenir Book" charset="0"/>
              </a:rPr>
              <a:t>This area</a:t>
            </a:r>
          </a:p>
        </p:txBody>
      </p:sp>
      <p:sp>
        <p:nvSpPr>
          <p:cNvPr id="37" name="Shape 2540"/>
          <p:cNvSpPr/>
          <p:nvPr/>
        </p:nvSpPr>
        <p:spPr>
          <a:xfrm>
            <a:off x="16735826" y="4865516"/>
            <a:ext cx="1517826" cy="15178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5722128" y="8950311"/>
            <a:ext cx="362465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56936F1-4B33-490A-93A5-180CB1D04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Alternative Sel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6127851"/>
      </p:ext>
    </p:extLst>
  </p:cSld>
  <p:clrMapOvr>
    <a:masterClrMapping/>
  </p:clrMapOvr>
  <p:transition spd="slow"/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9491486"/>
              </p:ext>
            </p:extLst>
          </p:nvPr>
        </p:nvGraphicFramePr>
        <p:xfrm>
          <a:off x="6467310" y="3850881"/>
          <a:ext cx="16251770" cy="75147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503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503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503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5035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25035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540858"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First Sol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Second</a:t>
                      </a:r>
                      <a:r>
                        <a:rPr lang="en-US" sz="2800" b="0" i="0" baseline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 Solution</a:t>
                      </a:r>
                      <a:endParaRPr lang="en-US" sz="2800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Third Sol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Fourth Sol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3462"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First Criter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3462"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Second Criter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93462"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Third Criter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DEAL BREAK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643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93462"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Fourth Criter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5" name="Shape 2539"/>
          <p:cNvSpPr/>
          <p:nvPr/>
        </p:nvSpPr>
        <p:spPr>
          <a:xfrm>
            <a:off x="11069323" y="5892226"/>
            <a:ext cx="558654" cy="380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6" name="Shape 2541"/>
          <p:cNvSpPr/>
          <p:nvPr/>
        </p:nvSpPr>
        <p:spPr>
          <a:xfrm>
            <a:off x="14346459" y="5854136"/>
            <a:ext cx="457082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7" name="Shape 2539"/>
          <p:cNvSpPr/>
          <p:nvPr/>
        </p:nvSpPr>
        <p:spPr>
          <a:xfrm>
            <a:off x="17611815" y="5892226"/>
            <a:ext cx="558654" cy="380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8" name="Shape 2541"/>
          <p:cNvSpPr/>
          <p:nvPr/>
        </p:nvSpPr>
        <p:spPr>
          <a:xfrm>
            <a:off x="20888951" y="5854136"/>
            <a:ext cx="457082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1" name="Shape 2541"/>
          <p:cNvSpPr/>
          <p:nvPr/>
        </p:nvSpPr>
        <p:spPr>
          <a:xfrm>
            <a:off x="17623595" y="7410868"/>
            <a:ext cx="457082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2" name="Shape 2539"/>
          <p:cNvSpPr/>
          <p:nvPr/>
        </p:nvSpPr>
        <p:spPr>
          <a:xfrm>
            <a:off x="20888951" y="7448958"/>
            <a:ext cx="558654" cy="380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5" name="Shape 2539"/>
          <p:cNvSpPr/>
          <p:nvPr/>
        </p:nvSpPr>
        <p:spPr>
          <a:xfrm>
            <a:off x="11069323" y="9005690"/>
            <a:ext cx="558654" cy="380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6" name="Shape 2541"/>
          <p:cNvSpPr/>
          <p:nvPr/>
        </p:nvSpPr>
        <p:spPr>
          <a:xfrm>
            <a:off x="14346459" y="8967600"/>
            <a:ext cx="457082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7" name="Shape 2539"/>
          <p:cNvSpPr/>
          <p:nvPr/>
        </p:nvSpPr>
        <p:spPr>
          <a:xfrm>
            <a:off x="17611815" y="9005690"/>
            <a:ext cx="558654" cy="380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9" name="Shape 2539"/>
          <p:cNvSpPr/>
          <p:nvPr/>
        </p:nvSpPr>
        <p:spPr>
          <a:xfrm>
            <a:off x="14346459" y="10420701"/>
            <a:ext cx="558654" cy="380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0" name="Shape 2541"/>
          <p:cNvSpPr/>
          <p:nvPr/>
        </p:nvSpPr>
        <p:spPr>
          <a:xfrm>
            <a:off x="17623595" y="10382611"/>
            <a:ext cx="457082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1" name="Shape 2539"/>
          <p:cNvSpPr/>
          <p:nvPr/>
        </p:nvSpPr>
        <p:spPr>
          <a:xfrm>
            <a:off x="20888951" y="10420701"/>
            <a:ext cx="558654" cy="380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027113" y="3850881"/>
            <a:ext cx="5007850" cy="75009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9" name="Shape 2539"/>
          <p:cNvSpPr/>
          <p:nvPr/>
        </p:nvSpPr>
        <p:spPr>
          <a:xfrm>
            <a:off x="11069323" y="7410868"/>
            <a:ext cx="558654" cy="380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0" name="Shape 2539"/>
          <p:cNvSpPr/>
          <p:nvPr/>
        </p:nvSpPr>
        <p:spPr>
          <a:xfrm>
            <a:off x="11069323" y="10524332"/>
            <a:ext cx="558654" cy="380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417914" y="6378875"/>
            <a:ext cx="2203617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atin typeface="Avenir Medium"/>
                <a:ea typeface="Avenir Book" charset="0"/>
                <a:cs typeface="Avenir Book" charset="0"/>
              </a:rPr>
              <a:t>Benefits of</a:t>
            </a:r>
          </a:p>
          <a:p>
            <a:pPr algn="ctr"/>
            <a:r>
              <a:rPr lang="en-US" dirty="0">
                <a:latin typeface="Avenir Medium"/>
                <a:ea typeface="Avenir Book" charset="0"/>
                <a:cs typeface="Avenir Book" charset="0"/>
              </a:rPr>
              <a:t>doing</a:t>
            </a:r>
          </a:p>
          <a:p>
            <a:pPr algn="ctr"/>
            <a:r>
              <a:rPr lang="en-US" dirty="0">
                <a:latin typeface="Avenir Medium"/>
                <a:ea typeface="Avenir Book" charset="0"/>
                <a:cs typeface="Avenir Book" charset="0"/>
              </a:rPr>
              <a:t>Business</a:t>
            </a:r>
          </a:p>
          <a:p>
            <a:pPr algn="ctr"/>
            <a:r>
              <a:rPr lang="en-US" dirty="0">
                <a:latin typeface="Avenir Medium"/>
                <a:ea typeface="Avenir Book" charset="0"/>
                <a:cs typeface="Avenir Book" charset="0"/>
              </a:rPr>
              <a:t>with Us</a:t>
            </a:r>
          </a:p>
        </p:txBody>
      </p:sp>
      <p:sp>
        <p:nvSpPr>
          <p:cNvPr id="51" name="Shape 2540"/>
          <p:cNvSpPr/>
          <p:nvPr/>
        </p:nvSpPr>
        <p:spPr>
          <a:xfrm>
            <a:off x="2755365" y="4578188"/>
            <a:ext cx="1517826" cy="15178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9" name="Shape 2976"/>
          <p:cNvSpPr/>
          <p:nvPr/>
        </p:nvSpPr>
        <p:spPr>
          <a:xfrm>
            <a:off x="14313868" y="741086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380653" y="9493167"/>
            <a:ext cx="3468453" cy="1754326"/>
            <a:chOff x="19991664" y="11255883"/>
            <a:chExt cx="3468453" cy="1754326"/>
          </a:xfrm>
        </p:grpSpPr>
        <p:sp>
          <p:nvSpPr>
            <p:cNvPr id="3" name="TextBox 2"/>
            <p:cNvSpPr txBox="1"/>
            <p:nvPr/>
          </p:nvSpPr>
          <p:spPr>
            <a:xfrm>
              <a:off x="20396698" y="11255883"/>
              <a:ext cx="3063419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400" dirty="0">
                  <a:latin typeface="Avenir Medium"/>
                  <a:ea typeface="Avenir Book" charset="0"/>
                  <a:cs typeface="Avenir Book" charset="0"/>
                </a:rPr>
                <a:t>Applicable</a:t>
              </a:r>
            </a:p>
            <a:p>
              <a:pPr>
                <a:lnSpc>
                  <a:spcPct val="150000"/>
                </a:lnSpc>
              </a:pPr>
              <a:r>
                <a:rPr lang="en-US" sz="2400" dirty="0">
                  <a:latin typeface="Avenir Medium"/>
                  <a:ea typeface="Avenir Book" charset="0"/>
                  <a:cs typeface="Avenir Book" charset="0"/>
                </a:rPr>
                <a:t>Partly applicable</a:t>
              </a:r>
            </a:p>
            <a:p>
              <a:pPr>
                <a:lnSpc>
                  <a:spcPct val="150000"/>
                </a:lnSpc>
              </a:pPr>
              <a:r>
                <a:rPr lang="en-US" sz="2400" dirty="0">
                  <a:latin typeface="Avenir Medium"/>
                  <a:ea typeface="Avenir Book" charset="0"/>
                  <a:cs typeface="Avenir Book" charset="0"/>
                </a:rPr>
                <a:t>Not applicable</a:t>
              </a:r>
            </a:p>
          </p:txBody>
        </p:sp>
        <p:sp>
          <p:nvSpPr>
            <p:cNvPr id="33" name="Shape 2539"/>
            <p:cNvSpPr/>
            <p:nvPr/>
          </p:nvSpPr>
          <p:spPr>
            <a:xfrm>
              <a:off x="19991664" y="11505198"/>
              <a:ext cx="301271" cy="2054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20"/>
                  </a:moveTo>
                  <a:cubicBezTo>
                    <a:pt x="21600" y="323"/>
                    <a:pt x="21380" y="0"/>
                    <a:pt x="21109" y="0"/>
                  </a:cubicBezTo>
                  <a:cubicBezTo>
                    <a:pt x="20969" y="0"/>
                    <a:pt x="20845" y="88"/>
                    <a:pt x="20756" y="226"/>
                  </a:cubicBezTo>
                  <a:lnTo>
                    <a:pt x="20754" y="223"/>
                  </a:lnTo>
                  <a:lnTo>
                    <a:pt x="7848" y="19853"/>
                  </a:lnTo>
                  <a:lnTo>
                    <a:pt x="838" y="9571"/>
                  </a:lnTo>
                  <a:cubicBezTo>
                    <a:pt x="749" y="9441"/>
                    <a:pt x="626" y="9360"/>
                    <a:pt x="491" y="9360"/>
                  </a:cubicBezTo>
                  <a:cubicBezTo>
                    <a:pt x="220" y="9360"/>
                    <a:pt x="0" y="9683"/>
                    <a:pt x="0" y="10080"/>
                  </a:cubicBezTo>
                  <a:cubicBezTo>
                    <a:pt x="0" y="10279"/>
                    <a:pt x="55" y="10459"/>
                    <a:pt x="144" y="10589"/>
                  </a:cubicBezTo>
                  <a:lnTo>
                    <a:pt x="7507" y="21390"/>
                  </a:lnTo>
                  <a:cubicBezTo>
                    <a:pt x="7596" y="21520"/>
                    <a:pt x="7719" y="21600"/>
                    <a:pt x="7855" y="21600"/>
                  </a:cubicBezTo>
                  <a:cubicBezTo>
                    <a:pt x="7995" y="21600"/>
                    <a:pt x="8119" y="21513"/>
                    <a:pt x="8208" y="21376"/>
                  </a:cubicBezTo>
                  <a:lnTo>
                    <a:pt x="8210" y="21377"/>
                  </a:lnTo>
                  <a:lnTo>
                    <a:pt x="21465" y="1217"/>
                  </a:lnTo>
                  <a:lnTo>
                    <a:pt x="21462" y="1215"/>
                  </a:lnTo>
                  <a:cubicBezTo>
                    <a:pt x="21547" y="1087"/>
                    <a:pt x="21600" y="913"/>
                    <a:pt x="21600" y="720"/>
                  </a:cubicBezTo>
                </a:path>
              </a:pathLst>
            </a:custGeom>
            <a:solidFill>
              <a:schemeClr val="tx1"/>
            </a:solidFill>
            <a:ln w="12700">
              <a:solidFill>
                <a:schemeClr val="tx1"/>
              </a:solidFill>
              <a:miter lim="400000"/>
            </a:ln>
          </p:spPr>
          <p:txBody>
            <a:bodyPr lIns="38090" tIns="38090" rIns="38090" bIns="38090" anchor="ctr"/>
            <a:lstStyle/>
            <a:p>
              <a:pPr defTabSz="457079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999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34" name="Shape 2976"/>
            <p:cNvSpPr/>
            <p:nvPr/>
          </p:nvSpPr>
          <p:spPr>
            <a:xfrm>
              <a:off x="19991664" y="11991654"/>
              <a:ext cx="307345" cy="3073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1"/>
            </a:solidFill>
            <a:ln w="12700">
              <a:solidFill>
                <a:schemeClr val="tx1"/>
              </a:solidFill>
              <a:miter lim="400000"/>
            </a:ln>
          </p:spPr>
          <p:txBody>
            <a:bodyPr lIns="38090" tIns="38090" rIns="38090" bIns="38090" anchor="ctr"/>
            <a:lstStyle/>
            <a:p>
              <a:pPr defTabSz="457079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999">
                <a:latin typeface="Avenir Medium"/>
              </a:endParaRPr>
            </a:p>
          </p:txBody>
        </p:sp>
        <p:sp>
          <p:nvSpPr>
            <p:cNvPr id="42" name="Shape 2541"/>
            <p:cNvSpPr/>
            <p:nvPr/>
          </p:nvSpPr>
          <p:spPr>
            <a:xfrm>
              <a:off x="19991664" y="12580042"/>
              <a:ext cx="301271" cy="3012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648" y="10800"/>
                  </a:moveTo>
                  <a:lnTo>
                    <a:pt x="21424" y="1024"/>
                  </a:lnTo>
                  <a:cubicBezTo>
                    <a:pt x="21533" y="916"/>
                    <a:pt x="21600" y="766"/>
                    <a:pt x="21600" y="600"/>
                  </a:cubicBezTo>
                  <a:cubicBezTo>
                    <a:pt x="21600" y="269"/>
                    <a:pt x="21332" y="0"/>
                    <a:pt x="21000" y="0"/>
                  </a:cubicBezTo>
                  <a:cubicBezTo>
                    <a:pt x="20835" y="0"/>
                    <a:pt x="20685" y="67"/>
                    <a:pt x="20576" y="176"/>
                  </a:cubicBezTo>
                  <a:lnTo>
                    <a:pt x="10800" y="9952"/>
                  </a:lnTo>
                  <a:lnTo>
                    <a:pt x="1024" y="176"/>
                  </a:lnTo>
                  <a:cubicBezTo>
                    <a:pt x="916" y="67"/>
                    <a:pt x="766" y="0"/>
                    <a:pt x="600" y="0"/>
                  </a:cubicBezTo>
                  <a:cubicBezTo>
                    <a:pt x="268" y="0"/>
                    <a:pt x="0" y="269"/>
                    <a:pt x="0" y="600"/>
                  </a:cubicBezTo>
                  <a:cubicBezTo>
                    <a:pt x="0" y="766"/>
                    <a:pt x="67" y="916"/>
                    <a:pt x="176" y="1025"/>
                  </a:cubicBezTo>
                  <a:lnTo>
                    <a:pt x="9952" y="10800"/>
                  </a:lnTo>
                  <a:lnTo>
                    <a:pt x="176" y="20576"/>
                  </a:lnTo>
                  <a:cubicBezTo>
                    <a:pt x="67" y="20684"/>
                    <a:pt x="0" y="20834"/>
                    <a:pt x="0" y="21000"/>
                  </a:cubicBezTo>
                  <a:cubicBezTo>
                    <a:pt x="0" y="21332"/>
                    <a:pt x="268" y="21600"/>
                    <a:pt x="600" y="21600"/>
                  </a:cubicBezTo>
                  <a:cubicBezTo>
                    <a:pt x="766" y="21600"/>
                    <a:pt x="916" y="21533"/>
                    <a:pt x="1024" y="21424"/>
                  </a:cubicBezTo>
                  <a:lnTo>
                    <a:pt x="10800" y="11648"/>
                  </a:lnTo>
                  <a:lnTo>
                    <a:pt x="20576" y="21424"/>
                  </a:lnTo>
                  <a:cubicBezTo>
                    <a:pt x="20685" y="21533"/>
                    <a:pt x="20835" y="21600"/>
                    <a:pt x="21000" y="21600"/>
                  </a:cubicBezTo>
                  <a:cubicBezTo>
                    <a:pt x="21332" y="21600"/>
                    <a:pt x="21600" y="21332"/>
                    <a:pt x="21600" y="21000"/>
                  </a:cubicBezTo>
                  <a:cubicBezTo>
                    <a:pt x="21600" y="20834"/>
                    <a:pt x="21533" y="20684"/>
                    <a:pt x="21424" y="20576"/>
                  </a:cubicBezTo>
                  <a:cubicBezTo>
                    <a:pt x="21424" y="20576"/>
                    <a:pt x="11648" y="10800"/>
                    <a:pt x="11648" y="10800"/>
                  </a:cubicBezTo>
                  <a:close/>
                </a:path>
              </a:pathLst>
            </a:custGeom>
            <a:solidFill>
              <a:schemeClr val="tx1"/>
            </a:solidFill>
            <a:ln w="12700">
              <a:solidFill>
                <a:schemeClr val="tx1"/>
              </a:solidFill>
              <a:miter lim="400000"/>
            </a:ln>
          </p:spPr>
          <p:txBody>
            <a:bodyPr lIns="38090" tIns="38090" rIns="38090" bIns="38090" anchor="ctr"/>
            <a:lstStyle/>
            <a:p>
              <a:pPr defTabSz="457079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999"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  <p:sp>
        <p:nvSpPr>
          <p:cNvPr id="5" name="Titel 4">
            <a:extLst>
              <a:ext uri="{FF2B5EF4-FFF2-40B4-BE49-F238E27FC236}">
                <a16:creationId xmlns:a16="http://schemas.microsoft.com/office/drawing/2014/main" id="{2FECCB2C-BBB0-438D-9E6A-B7B033B98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Alternative Selec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623048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3576256"/>
              </p:ext>
            </p:extLst>
          </p:nvPr>
        </p:nvGraphicFramePr>
        <p:xfrm>
          <a:off x="4002087" y="4522011"/>
          <a:ext cx="16373475" cy="75147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578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578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578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540858">
                <a:tc>
                  <a:txBody>
                    <a:bodyPr/>
                    <a:lstStyle/>
                    <a:p>
                      <a:pPr algn="ctr"/>
                      <a:r>
                        <a:rPr lang="en-US" sz="36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Star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600" b="0" i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Popul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6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Enterpri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3462"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Feature 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Feature 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Feature 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3462"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Feature Tw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Feature Tw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93462"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800" b="0" i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Feature Thre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93462"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$78/M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$129/M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0" i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#299/M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Freeform 654"/>
          <p:cNvSpPr>
            <a:spLocks/>
          </p:cNvSpPr>
          <p:nvPr/>
        </p:nvSpPr>
        <p:spPr bwMode="auto">
          <a:xfrm>
            <a:off x="12086035" y="6977951"/>
            <a:ext cx="137293" cy="202872"/>
          </a:xfrm>
          <a:custGeom>
            <a:avLst/>
            <a:gdLst>
              <a:gd name="T0" fmla="*/ 10 w 15"/>
              <a:gd name="T1" fmla="*/ 21 h 22"/>
              <a:gd name="T2" fmla="*/ 8 w 15"/>
              <a:gd name="T3" fmla="*/ 17 h 22"/>
              <a:gd name="T4" fmla="*/ 11 w 15"/>
              <a:gd name="T5" fmla="*/ 12 h 22"/>
              <a:gd name="T6" fmla="*/ 11 w 15"/>
              <a:gd name="T7" fmla="*/ 13 h 22"/>
              <a:gd name="T8" fmla="*/ 15 w 15"/>
              <a:gd name="T9" fmla="*/ 10 h 22"/>
              <a:gd name="T10" fmla="*/ 11 w 15"/>
              <a:gd name="T11" fmla="*/ 7 h 22"/>
              <a:gd name="T12" fmla="*/ 10 w 15"/>
              <a:gd name="T13" fmla="*/ 5 h 22"/>
              <a:gd name="T14" fmla="*/ 12 w 15"/>
              <a:gd name="T15" fmla="*/ 4 h 22"/>
              <a:gd name="T16" fmla="*/ 12 w 15"/>
              <a:gd name="T17" fmla="*/ 1 h 22"/>
              <a:gd name="T18" fmla="*/ 11 w 15"/>
              <a:gd name="T19" fmla="*/ 1 h 22"/>
              <a:gd name="T20" fmla="*/ 7 w 15"/>
              <a:gd name="T21" fmla="*/ 4 h 22"/>
              <a:gd name="T22" fmla="*/ 2 w 15"/>
              <a:gd name="T23" fmla="*/ 5 h 22"/>
              <a:gd name="T24" fmla="*/ 4 w 15"/>
              <a:gd name="T25" fmla="*/ 6 h 22"/>
              <a:gd name="T26" fmla="*/ 6 w 15"/>
              <a:gd name="T27" fmla="*/ 8 h 22"/>
              <a:gd name="T28" fmla="*/ 4 w 15"/>
              <a:gd name="T29" fmla="*/ 8 h 22"/>
              <a:gd name="T30" fmla="*/ 2 w 15"/>
              <a:gd name="T31" fmla="*/ 8 h 22"/>
              <a:gd name="T32" fmla="*/ 0 w 15"/>
              <a:gd name="T33" fmla="*/ 9 h 22"/>
              <a:gd name="T34" fmla="*/ 0 w 15"/>
              <a:gd name="T35" fmla="*/ 14 h 22"/>
              <a:gd name="T36" fmla="*/ 2 w 15"/>
              <a:gd name="T37" fmla="*/ 16 h 22"/>
              <a:gd name="T38" fmla="*/ 2 w 15"/>
              <a:gd name="T39" fmla="*/ 20 h 22"/>
              <a:gd name="T40" fmla="*/ 10 w 15"/>
              <a:gd name="T41" fmla="*/ 21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5" h="22">
                <a:moveTo>
                  <a:pt x="10" y="21"/>
                </a:moveTo>
                <a:cubicBezTo>
                  <a:pt x="10" y="20"/>
                  <a:pt x="6" y="18"/>
                  <a:pt x="8" y="17"/>
                </a:cubicBezTo>
                <a:cubicBezTo>
                  <a:pt x="9" y="16"/>
                  <a:pt x="9" y="13"/>
                  <a:pt x="11" y="12"/>
                </a:cubicBezTo>
                <a:cubicBezTo>
                  <a:pt x="11" y="12"/>
                  <a:pt x="11" y="13"/>
                  <a:pt x="11" y="13"/>
                </a:cubicBezTo>
                <a:cubicBezTo>
                  <a:pt x="12" y="13"/>
                  <a:pt x="15" y="11"/>
                  <a:pt x="15" y="10"/>
                </a:cubicBezTo>
                <a:cubicBezTo>
                  <a:pt x="15" y="9"/>
                  <a:pt x="11" y="9"/>
                  <a:pt x="11" y="7"/>
                </a:cubicBezTo>
                <a:cubicBezTo>
                  <a:pt x="11" y="6"/>
                  <a:pt x="10" y="6"/>
                  <a:pt x="10" y="5"/>
                </a:cubicBezTo>
                <a:cubicBezTo>
                  <a:pt x="10" y="4"/>
                  <a:pt x="12" y="5"/>
                  <a:pt x="12" y="4"/>
                </a:cubicBezTo>
                <a:cubicBezTo>
                  <a:pt x="12" y="3"/>
                  <a:pt x="12" y="2"/>
                  <a:pt x="12" y="1"/>
                </a:cubicBezTo>
                <a:cubicBezTo>
                  <a:pt x="12" y="0"/>
                  <a:pt x="12" y="1"/>
                  <a:pt x="11" y="1"/>
                </a:cubicBezTo>
                <a:cubicBezTo>
                  <a:pt x="8" y="1"/>
                  <a:pt x="9" y="2"/>
                  <a:pt x="7" y="4"/>
                </a:cubicBezTo>
                <a:cubicBezTo>
                  <a:pt x="6" y="5"/>
                  <a:pt x="3" y="3"/>
                  <a:pt x="2" y="5"/>
                </a:cubicBezTo>
                <a:cubicBezTo>
                  <a:pt x="0" y="7"/>
                  <a:pt x="3" y="7"/>
                  <a:pt x="4" y="6"/>
                </a:cubicBezTo>
                <a:cubicBezTo>
                  <a:pt x="5" y="5"/>
                  <a:pt x="7" y="6"/>
                  <a:pt x="6" y="8"/>
                </a:cubicBezTo>
                <a:cubicBezTo>
                  <a:pt x="6" y="7"/>
                  <a:pt x="4" y="6"/>
                  <a:pt x="4" y="8"/>
                </a:cubicBezTo>
                <a:cubicBezTo>
                  <a:pt x="3" y="8"/>
                  <a:pt x="2" y="9"/>
                  <a:pt x="2" y="8"/>
                </a:cubicBezTo>
                <a:cubicBezTo>
                  <a:pt x="2" y="9"/>
                  <a:pt x="0" y="7"/>
                  <a:pt x="0" y="9"/>
                </a:cubicBezTo>
                <a:cubicBezTo>
                  <a:pt x="0" y="11"/>
                  <a:pt x="0" y="12"/>
                  <a:pt x="0" y="14"/>
                </a:cubicBezTo>
                <a:cubicBezTo>
                  <a:pt x="1" y="15"/>
                  <a:pt x="2" y="15"/>
                  <a:pt x="2" y="16"/>
                </a:cubicBezTo>
                <a:cubicBezTo>
                  <a:pt x="3" y="18"/>
                  <a:pt x="1" y="19"/>
                  <a:pt x="2" y="20"/>
                </a:cubicBezTo>
                <a:cubicBezTo>
                  <a:pt x="4" y="22"/>
                  <a:pt x="8" y="21"/>
                  <a:pt x="10" y="2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7" name="Freeform 654"/>
          <p:cNvSpPr>
            <a:spLocks/>
          </p:cNvSpPr>
          <p:nvPr/>
        </p:nvSpPr>
        <p:spPr bwMode="auto">
          <a:xfrm>
            <a:off x="12238435" y="7130351"/>
            <a:ext cx="137293" cy="202872"/>
          </a:xfrm>
          <a:custGeom>
            <a:avLst/>
            <a:gdLst>
              <a:gd name="T0" fmla="*/ 10 w 15"/>
              <a:gd name="T1" fmla="*/ 21 h 22"/>
              <a:gd name="T2" fmla="*/ 8 w 15"/>
              <a:gd name="T3" fmla="*/ 17 h 22"/>
              <a:gd name="T4" fmla="*/ 11 w 15"/>
              <a:gd name="T5" fmla="*/ 12 h 22"/>
              <a:gd name="T6" fmla="*/ 11 w 15"/>
              <a:gd name="T7" fmla="*/ 13 h 22"/>
              <a:gd name="T8" fmla="*/ 15 w 15"/>
              <a:gd name="T9" fmla="*/ 10 h 22"/>
              <a:gd name="T10" fmla="*/ 11 w 15"/>
              <a:gd name="T11" fmla="*/ 7 h 22"/>
              <a:gd name="T12" fmla="*/ 10 w 15"/>
              <a:gd name="T13" fmla="*/ 5 h 22"/>
              <a:gd name="T14" fmla="*/ 12 w 15"/>
              <a:gd name="T15" fmla="*/ 4 h 22"/>
              <a:gd name="T16" fmla="*/ 12 w 15"/>
              <a:gd name="T17" fmla="*/ 1 h 22"/>
              <a:gd name="T18" fmla="*/ 11 w 15"/>
              <a:gd name="T19" fmla="*/ 1 h 22"/>
              <a:gd name="T20" fmla="*/ 7 w 15"/>
              <a:gd name="T21" fmla="*/ 4 h 22"/>
              <a:gd name="T22" fmla="*/ 2 w 15"/>
              <a:gd name="T23" fmla="*/ 5 h 22"/>
              <a:gd name="T24" fmla="*/ 4 w 15"/>
              <a:gd name="T25" fmla="*/ 6 h 22"/>
              <a:gd name="T26" fmla="*/ 6 w 15"/>
              <a:gd name="T27" fmla="*/ 8 h 22"/>
              <a:gd name="T28" fmla="*/ 4 w 15"/>
              <a:gd name="T29" fmla="*/ 8 h 22"/>
              <a:gd name="T30" fmla="*/ 2 w 15"/>
              <a:gd name="T31" fmla="*/ 8 h 22"/>
              <a:gd name="T32" fmla="*/ 0 w 15"/>
              <a:gd name="T33" fmla="*/ 9 h 22"/>
              <a:gd name="T34" fmla="*/ 0 w 15"/>
              <a:gd name="T35" fmla="*/ 14 h 22"/>
              <a:gd name="T36" fmla="*/ 2 w 15"/>
              <a:gd name="T37" fmla="*/ 16 h 22"/>
              <a:gd name="T38" fmla="*/ 2 w 15"/>
              <a:gd name="T39" fmla="*/ 20 h 22"/>
              <a:gd name="T40" fmla="*/ 10 w 15"/>
              <a:gd name="T41" fmla="*/ 21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5" h="22">
                <a:moveTo>
                  <a:pt x="10" y="21"/>
                </a:moveTo>
                <a:cubicBezTo>
                  <a:pt x="10" y="20"/>
                  <a:pt x="6" y="18"/>
                  <a:pt x="8" y="17"/>
                </a:cubicBezTo>
                <a:cubicBezTo>
                  <a:pt x="9" y="16"/>
                  <a:pt x="9" y="13"/>
                  <a:pt x="11" y="12"/>
                </a:cubicBezTo>
                <a:cubicBezTo>
                  <a:pt x="11" y="12"/>
                  <a:pt x="11" y="13"/>
                  <a:pt x="11" y="13"/>
                </a:cubicBezTo>
                <a:cubicBezTo>
                  <a:pt x="12" y="13"/>
                  <a:pt x="15" y="11"/>
                  <a:pt x="15" y="10"/>
                </a:cubicBezTo>
                <a:cubicBezTo>
                  <a:pt x="15" y="9"/>
                  <a:pt x="11" y="9"/>
                  <a:pt x="11" y="7"/>
                </a:cubicBezTo>
                <a:cubicBezTo>
                  <a:pt x="11" y="6"/>
                  <a:pt x="10" y="6"/>
                  <a:pt x="10" y="5"/>
                </a:cubicBezTo>
                <a:cubicBezTo>
                  <a:pt x="10" y="4"/>
                  <a:pt x="12" y="5"/>
                  <a:pt x="12" y="4"/>
                </a:cubicBezTo>
                <a:cubicBezTo>
                  <a:pt x="12" y="3"/>
                  <a:pt x="12" y="2"/>
                  <a:pt x="12" y="1"/>
                </a:cubicBezTo>
                <a:cubicBezTo>
                  <a:pt x="12" y="0"/>
                  <a:pt x="12" y="1"/>
                  <a:pt x="11" y="1"/>
                </a:cubicBezTo>
                <a:cubicBezTo>
                  <a:pt x="8" y="1"/>
                  <a:pt x="9" y="2"/>
                  <a:pt x="7" y="4"/>
                </a:cubicBezTo>
                <a:cubicBezTo>
                  <a:pt x="6" y="5"/>
                  <a:pt x="3" y="3"/>
                  <a:pt x="2" y="5"/>
                </a:cubicBezTo>
                <a:cubicBezTo>
                  <a:pt x="0" y="7"/>
                  <a:pt x="3" y="7"/>
                  <a:pt x="4" y="6"/>
                </a:cubicBezTo>
                <a:cubicBezTo>
                  <a:pt x="5" y="5"/>
                  <a:pt x="7" y="6"/>
                  <a:pt x="6" y="8"/>
                </a:cubicBezTo>
                <a:cubicBezTo>
                  <a:pt x="6" y="7"/>
                  <a:pt x="4" y="6"/>
                  <a:pt x="4" y="8"/>
                </a:cubicBezTo>
                <a:cubicBezTo>
                  <a:pt x="3" y="8"/>
                  <a:pt x="2" y="9"/>
                  <a:pt x="2" y="8"/>
                </a:cubicBezTo>
                <a:cubicBezTo>
                  <a:pt x="2" y="9"/>
                  <a:pt x="0" y="7"/>
                  <a:pt x="0" y="9"/>
                </a:cubicBezTo>
                <a:cubicBezTo>
                  <a:pt x="0" y="11"/>
                  <a:pt x="0" y="12"/>
                  <a:pt x="0" y="14"/>
                </a:cubicBezTo>
                <a:cubicBezTo>
                  <a:pt x="1" y="15"/>
                  <a:pt x="2" y="15"/>
                  <a:pt x="2" y="16"/>
                </a:cubicBezTo>
                <a:cubicBezTo>
                  <a:pt x="3" y="18"/>
                  <a:pt x="1" y="19"/>
                  <a:pt x="2" y="20"/>
                </a:cubicBezTo>
                <a:cubicBezTo>
                  <a:pt x="4" y="22"/>
                  <a:pt x="8" y="21"/>
                  <a:pt x="10" y="2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5598860-6D22-4DF0-ABF5-6BAFF1261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Alternative Tab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492639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0890071"/>
              </p:ext>
            </p:extLst>
          </p:nvPr>
        </p:nvGraphicFramePr>
        <p:xfrm>
          <a:off x="1027112" y="2897191"/>
          <a:ext cx="22323425" cy="7931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5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377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160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429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2020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991404">
                <a:tc>
                  <a:txBody>
                    <a:bodyPr/>
                    <a:lstStyle/>
                    <a:p>
                      <a:pPr algn="ctr"/>
                      <a:endParaRPr lang="en-US" sz="2400" b="0" i="0" noProof="0" dirty="0">
                        <a:solidFill>
                          <a:schemeClr val="tx1"/>
                        </a:solidFill>
                        <a:latin typeface="Avenir Medium"/>
                        <a:ea typeface="Avenir Book" charset="0"/>
                        <a:cs typeface="Avenir Book" charset="0"/>
                      </a:endParaRPr>
                    </a:p>
                  </a:txBody>
                  <a:tcPr marL="90065" marR="90065" marT="45032" marB="45032"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800" b="0" i="0" noProof="0" dirty="0">
                          <a:solidFill>
                            <a:srgbClr val="FFFFFF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Item Name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800" b="0" i="0" noProof="0" dirty="0">
                          <a:solidFill>
                            <a:srgbClr val="FFFFFF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Description</a:t>
                      </a:r>
                    </a:p>
                  </a:txBody>
                  <a:tcPr marL="354587" marR="90065" marT="45032" marB="4503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800" b="0" i="0" noProof="0" dirty="0">
                          <a:solidFill>
                            <a:srgbClr val="FFFFFF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Title</a:t>
                      </a:r>
                    </a:p>
                  </a:txBody>
                  <a:tcPr marL="354587" marR="90065" marT="45032" marB="4503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800" b="0" i="0" noProof="0" dirty="0">
                          <a:solidFill>
                            <a:srgbClr val="FFFFFF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Total</a:t>
                      </a:r>
                    </a:p>
                  </a:txBody>
                  <a:tcPr marL="354587" marR="90065" marT="45032" marB="45032" anchor="ctr">
                    <a:lnL w="12700" cmpd="sng">
                      <a:noFill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91404">
                <a:tc>
                  <a:txBody>
                    <a:bodyPr/>
                    <a:lstStyle/>
                    <a:p>
                      <a:pPr algn="ctr"/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1</a:t>
                      </a:r>
                    </a:p>
                  </a:txBody>
                  <a:tcPr marL="90065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Shoes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4066"/>
                        </a:lnSpc>
                      </a:pPr>
                      <a:r>
                        <a:rPr lang="en-US" sz="2400" b="0" i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Write something here in this column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Trending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$3,000,000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91404">
                <a:tc>
                  <a:txBody>
                    <a:bodyPr/>
                    <a:lstStyle/>
                    <a:p>
                      <a:pPr algn="ctr"/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2</a:t>
                      </a:r>
                    </a:p>
                  </a:txBody>
                  <a:tcPr marL="90065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T-Shirts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4066"/>
                        </a:lnSpc>
                      </a:pPr>
                      <a:r>
                        <a:rPr lang="en-US" sz="2400" b="0" i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Write something here in this column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Trending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$3,000,000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91404">
                <a:tc>
                  <a:txBody>
                    <a:bodyPr/>
                    <a:lstStyle/>
                    <a:p>
                      <a:pPr algn="ctr"/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3</a:t>
                      </a:r>
                    </a:p>
                  </a:txBody>
                  <a:tcPr marL="90065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Pants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4066"/>
                        </a:lnSpc>
                      </a:pPr>
                      <a:r>
                        <a:rPr lang="en-US" sz="2400" b="0" i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Write something here in this column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Trending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$3,000,000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91404">
                <a:tc>
                  <a:txBody>
                    <a:bodyPr/>
                    <a:lstStyle/>
                    <a:p>
                      <a:pPr algn="ctr"/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4</a:t>
                      </a:r>
                    </a:p>
                  </a:txBody>
                  <a:tcPr marL="90065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Houses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4066"/>
                        </a:lnSpc>
                      </a:pPr>
                      <a:r>
                        <a:rPr lang="en-US" sz="2400" b="0" i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Write something here in this column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Trending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$3,000,000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91404">
                <a:tc>
                  <a:txBody>
                    <a:bodyPr/>
                    <a:lstStyle/>
                    <a:p>
                      <a:pPr algn="ctr"/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5</a:t>
                      </a:r>
                    </a:p>
                  </a:txBody>
                  <a:tcPr marL="90065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Animals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4066"/>
                        </a:lnSpc>
                      </a:pPr>
                      <a:r>
                        <a:rPr lang="en-US" sz="2400" b="0" i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Write something here in this column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Trending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828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$3,000,000</a:t>
                      </a:r>
                    </a:p>
                    <a:p>
                      <a:endParaRPr lang="en-US" sz="2400" b="0" i="0" noProof="0" dirty="0">
                        <a:solidFill>
                          <a:schemeClr val="tx1"/>
                        </a:solidFill>
                        <a:latin typeface="Avenir Medium"/>
                        <a:ea typeface="Avenir Book" charset="0"/>
                        <a:cs typeface="Avenir Book" charset="0"/>
                      </a:endParaRP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91404">
                <a:tc>
                  <a:txBody>
                    <a:bodyPr/>
                    <a:lstStyle/>
                    <a:p>
                      <a:pPr algn="ctr"/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6</a:t>
                      </a:r>
                    </a:p>
                  </a:txBody>
                  <a:tcPr marL="90065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Investment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4066"/>
                        </a:lnSpc>
                      </a:pPr>
                      <a:r>
                        <a:rPr lang="en-US" sz="2400" b="0" i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Write something here in this column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Trending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$3,000,000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alpha val="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991404">
                <a:tc>
                  <a:txBody>
                    <a:bodyPr/>
                    <a:lstStyle/>
                    <a:p>
                      <a:pPr algn="ctr"/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7</a:t>
                      </a:r>
                    </a:p>
                  </a:txBody>
                  <a:tcPr marL="90065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Cars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4066"/>
                        </a:lnSpc>
                      </a:pPr>
                      <a:r>
                        <a:rPr lang="en-US" sz="2400" b="0" i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Write something here in this column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Trending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i="0" noProof="0" dirty="0">
                          <a:solidFill>
                            <a:schemeClr val="tx1"/>
                          </a:solidFill>
                          <a:latin typeface="Avenir Medium"/>
                          <a:ea typeface="Avenir Book" charset="0"/>
                          <a:cs typeface="Avenir Book" charset="0"/>
                        </a:rPr>
                        <a:t>$3,000,000</a:t>
                      </a:r>
                    </a:p>
                  </a:txBody>
                  <a:tcPr marL="354587" marR="90065" marT="45032" marB="45032" anchor="ctr">
                    <a:lnL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64695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lank Table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4914490"/>
              </p:ext>
            </p:extLst>
          </p:nvPr>
        </p:nvGraphicFramePr>
        <p:xfrm>
          <a:off x="1027114" y="2897188"/>
          <a:ext cx="22232297" cy="69048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8442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8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8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8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8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8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484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484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986400"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86400"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86400"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86400"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86400"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86400"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86400"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800" b="0" i="0" dirty="0"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447752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5" name="Shape 2685"/>
          <p:cNvSpPr/>
          <p:nvPr/>
        </p:nvSpPr>
        <p:spPr>
          <a:xfrm flipV="1">
            <a:off x="12188825" y="4139783"/>
            <a:ext cx="1" cy="6319685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>
              <a:defRPr sz="8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125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686" name="Shape 2686"/>
          <p:cNvSpPr/>
          <p:nvPr/>
        </p:nvSpPr>
        <p:spPr>
          <a:xfrm>
            <a:off x="12054879" y="6123882"/>
            <a:ext cx="267892" cy="267892"/>
          </a:xfrm>
          <a:prstGeom prst="ellipse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5063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687" name="Shape 2687"/>
          <p:cNvSpPr/>
          <p:nvPr/>
        </p:nvSpPr>
        <p:spPr>
          <a:xfrm>
            <a:off x="12054879" y="8207477"/>
            <a:ext cx="267892" cy="267892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5063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688" name="Shape 2688"/>
          <p:cNvSpPr/>
          <p:nvPr/>
        </p:nvSpPr>
        <p:spPr>
          <a:xfrm>
            <a:off x="12054879" y="4040288"/>
            <a:ext cx="267892" cy="267891"/>
          </a:xfrm>
          <a:prstGeom prst="ellips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5063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689" name="Shape 2689"/>
          <p:cNvSpPr/>
          <p:nvPr/>
        </p:nvSpPr>
        <p:spPr>
          <a:xfrm>
            <a:off x="12054879" y="10291072"/>
            <a:ext cx="267892" cy="267891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endParaRPr sz="5063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489158" y="4370132"/>
            <a:ext cx="7894093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926345" y="3762395"/>
            <a:ext cx="34569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latin typeface="Avenir Medium"/>
                <a:ea typeface="Avenir Book" charset="0"/>
                <a:cs typeface="Avenir Book" charset="0"/>
              </a:rPr>
              <a:t>Step On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489158" y="8498331"/>
            <a:ext cx="7894093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926345" y="7890594"/>
            <a:ext cx="34569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latin typeface="Avenir Medium"/>
                <a:ea typeface="Avenir Book" charset="0"/>
                <a:cs typeface="Avenir Book" charset="0"/>
              </a:rPr>
              <a:t>Step Thre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2456717" y="6486621"/>
            <a:ext cx="8815116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2456717" y="5878884"/>
            <a:ext cx="34569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venir Medium"/>
                <a:ea typeface="Avenir Book" charset="0"/>
                <a:cs typeface="Avenir Book" charset="0"/>
              </a:rPr>
              <a:t>Step Two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2456716" y="10614820"/>
            <a:ext cx="8117283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2456717" y="10007083"/>
            <a:ext cx="34569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venir Medium"/>
                <a:ea typeface="Avenir Book" charset="0"/>
                <a:cs typeface="Avenir Book" charset="0"/>
              </a:rPr>
              <a:t>Step Fou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64D825-586C-4926-91A4-55A3EC2FA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Proces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5727025"/>
      </p:ext>
    </p:extLst>
  </p:cSld>
  <p:clrMapOvr>
    <a:masterClrMapping/>
  </p:clrMapOvr>
  <p:transition spd="slow"/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Chart 27"/>
          <p:cNvGraphicFramePr/>
          <p:nvPr>
            <p:extLst>
              <p:ext uri="{D42A27DB-BD31-4B8C-83A1-F6EECF244321}">
                <p14:modId xmlns:p14="http://schemas.microsoft.com/office/powerpoint/2010/main" val="1083733688"/>
              </p:ext>
            </p:extLst>
          </p:nvPr>
        </p:nvGraphicFramePr>
        <p:xfrm>
          <a:off x="2432442" y="4820939"/>
          <a:ext cx="4537379" cy="3747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Oval 28"/>
          <p:cNvSpPr/>
          <p:nvPr/>
        </p:nvSpPr>
        <p:spPr>
          <a:xfrm>
            <a:off x="3100931" y="5094605"/>
            <a:ext cx="3200400" cy="3200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230309" y="6053468"/>
            <a:ext cx="284402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0" spc="300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60</a:t>
            </a:r>
          </a:p>
        </p:txBody>
      </p:sp>
      <p:graphicFrame>
        <p:nvGraphicFramePr>
          <p:cNvPr id="38" name="Chart 37"/>
          <p:cNvGraphicFramePr/>
          <p:nvPr>
            <p:extLst>
              <p:ext uri="{D42A27DB-BD31-4B8C-83A1-F6EECF244321}">
                <p14:modId xmlns:p14="http://schemas.microsoft.com/office/powerpoint/2010/main" val="2556156994"/>
              </p:ext>
            </p:extLst>
          </p:nvPr>
        </p:nvGraphicFramePr>
        <p:xfrm>
          <a:off x="7638310" y="4820939"/>
          <a:ext cx="4537379" cy="3747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9" name="Oval 38"/>
          <p:cNvSpPr/>
          <p:nvPr/>
        </p:nvSpPr>
        <p:spPr>
          <a:xfrm>
            <a:off x="8306799" y="5094605"/>
            <a:ext cx="3200400" cy="3200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436177" y="6053468"/>
            <a:ext cx="284402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0" spc="300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35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431787" y="10076562"/>
            <a:ext cx="3963751" cy="1964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385369" y="9249709"/>
            <a:ext cx="205466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atin typeface="Avenir Medium"/>
                <a:ea typeface="Avenir Book" charset="0"/>
                <a:cs typeface="Avenir Book" charset="0"/>
              </a:rPr>
              <a:t>Content A</a:t>
            </a:r>
            <a:endParaRPr lang="en-US" sz="54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8838842" y="9249709"/>
            <a:ext cx="20386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atin typeface="Avenir Medium"/>
                <a:ea typeface="Avenir Book" charset="0"/>
                <a:cs typeface="Avenir Book" charset="0"/>
              </a:rPr>
              <a:t>Content B</a:t>
            </a:r>
            <a:endParaRPr lang="en-US" sz="54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4029413" y="9249709"/>
            <a:ext cx="20338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atin typeface="Avenir Medium"/>
                <a:ea typeface="Avenir Book" charset="0"/>
                <a:cs typeface="Avenir Book" charset="0"/>
              </a:rPr>
              <a:t>Content C</a:t>
            </a:r>
            <a:endParaRPr lang="en-US" sz="54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9456435" y="9249709"/>
            <a:ext cx="20706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atin typeface="Avenir Medium"/>
                <a:ea typeface="Avenir Book" charset="0"/>
                <a:cs typeface="Avenir Book" charset="0"/>
              </a:rPr>
              <a:t>Content D</a:t>
            </a:r>
            <a:endParaRPr lang="en-US" sz="5400" dirty="0">
              <a:latin typeface="Avenir Medium"/>
              <a:ea typeface="Avenir Book" charset="0"/>
              <a:cs typeface="Avenir Book" charset="0"/>
            </a:endParaRPr>
          </a:p>
        </p:txBody>
      </p:sp>
      <p:graphicFrame>
        <p:nvGraphicFramePr>
          <p:cNvPr id="47" name="Chart 46"/>
          <p:cNvGraphicFramePr/>
          <p:nvPr>
            <p:extLst>
              <p:ext uri="{D42A27DB-BD31-4B8C-83A1-F6EECF244321}">
                <p14:modId xmlns:p14="http://schemas.microsoft.com/office/powerpoint/2010/main" val="3764465889"/>
              </p:ext>
            </p:extLst>
          </p:nvPr>
        </p:nvGraphicFramePr>
        <p:xfrm>
          <a:off x="12802161" y="4820939"/>
          <a:ext cx="4537379" cy="3747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8" name="Oval 47"/>
          <p:cNvSpPr/>
          <p:nvPr/>
        </p:nvSpPr>
        <p:spPr>
          <a:xfrm>
            <a:off x="13470650" y="5094605"/>
            <a:ext cx="3200400" cy="3200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3600028" y="6053468"/>
            <a:ext cx="284402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0" spc="300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70</a:t>
            </a:r>
          </a:p>
        </p:txBody>
      </p:sp>
      <p:graphicFrame>
        <p:nvGraphicFramePr>
          <p:cNvPr id="50" name="Chart 49"/>
          <p:cNvGraphicFramePr/>
          <p:nvPr>
            <p:extLst>
              <p:ext uri="{D42A27DB-BD31-4B8C-83A1-F6EECF244321}">
                <p14:modId xmlns:p14="http://schemas.microsoft.com/office/powerpoint/2010/main" val="645393764"/>
              </p:ext>
            </p:extLst>
          </p:nvPr>
        </p:nvGraphicFramePr>
        <p:xfrm>
          <a:off x="18008029" y="4820939"/>
          <a:ext cx="4537379" cy="3747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1" name="Oval 50"/>
          <p:cNvSpPr/>
          <p:nvPr/>
        </p:nvSpPr>
        <p:spPr>
          <a:xfrm>
            <a:off x="18676518" y="5094605"/>
            <a:ext cx="3200400" cy="3200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8805896" y="6053468"/>
            <a:ext cx="284402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0" spc="300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90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081460" y="2897188"/>
            <a:ext cx="21022215" cy="1977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 ship or boat, by any medium at all controllable by the occupant or occupants,—a mast, an oar, a nine-inch cable, a telegraph wire, or a strand of cobweb, it is all the same. Likewise a fish is technically fast when i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7924060" y="10076562"/>
            <a:ext cx="3963751" cy="1964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3198304" y="10076562"/>
            <a:ext cx="3963751" cy="1964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8690577" y="10076562"/>
            <a:ext cx="3963751" cy="1964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B0484B-5AFE-4F49-AF36-AF9203FDD1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Key Numbers Progres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04573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1444618005"/>
              </p:ext>
            </p:extLst>
          </p:nvPr>
        </p:nvGraphicFramePr>
        <p:xfrm>
          <a:off x="2094020" y="4536551"/>
          <a:ext cx="20213053" cy="6126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6299970" y="11934235"/>
            <a:ext cx="3815414" cy="6848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Content A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1371368" y="11925707"/>
            <a:ext cx="3815414" cy="6848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Content B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6731838" y="11930712"/>
            <a:ext cx="3815414" cy="6848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Content C</a:t>
            </a:r>
          </a:p>
        </p:txBody>
      </p:sp>
      <p:sp>
        <p:nvSpPr>
          <p:cNvPr id="3" name="Rectangle 2"/>
          <p:cNvSpPr/>
          <p:nvPr/>
        </p:nvSpPr>
        <p:spPr>
          <a:xfrm>
            <a:off x="5972800" y="12173232"/>
            <a:ext cx="260669" cy="2606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1048906" y="12164843"/>
            <a:ext cx="260669" cy="2606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6385108" y="12164843"/>
            <a:ext cx="260669" cy="26066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B27C8CF-6AC6-4702-9847-57D174EC3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Bar Char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42817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ll Chart</a:t>
            </a:r>
          </a:p>
        </p:txBody>
      </p:sp>
      <p:sp>
        <p:nvSpPr>
          <p:cNvPr id="3" name="Shape 613"/>
          <p:cNvSpPr/>
          <p:nvPr/>
        </p:nvSpPr>
        <p:spPr>
          <a:xfrm>
            <a:off x="1613107" y="4997632"/>
            <a:ext cx="4242912" cy="38142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3" extrusionOk="0">
                <a:moveTo>
                  <a:pt x="5362" y="8702"/>
                </a:moveTo>
                <a:cubicBezTo>
                  <a:pt x="6154" y="3493"/>
                  <a:pt x="8339" y="-7"/>
                  <a:pt x="10794" y="0"/>
                </a:cubicBezTo>
                <a:cubicBezTo>
                  <a:pt x="13249" y="6"/>
                  <a:pt x="15430" y="3519"/>
                  <a:pt x="16217" y="8734"/>
                </a:cubicBezTo>
                <a:cubicBezTo>
                  <a:pt x="16576" y="11187"/>
                  <a:pt x="17136" y="13469"/>
                  <a:pt x="17869" y="15463"/>
                </a:cubicBezTo>
                <a:cubicBezTo>
                  <a:pt x="18864" y="18174"/>
                  <a:pt x="20147" y="20279"/>
                  <a:pt x="21600" y="21585"/>
                </a:cubicBezTo>
                <a:cubicBezTo>
                  <a:pt x="17994" y="21587"/>
                  <a:pt x="14388" y="21588"/>
                  <a:pt x="10782" y="21589"/>
                </a:cubicBezTo>
                <a:cubicBezTo>
                  <a:pt x="7188" y="21591"/>
                  <a:pt x="3594" y="21592"/>
                  <a:pt x="0" y="21593"/>
                </a:cubicBezTo>
                <a:cubicBezTo>
                  <a:pt x="1456" y="20285"/>
                  <a:pt x="2740" y="18169"/>
                  <a:pt x="3731" y="15444"/>
                </a:cubicBezTo>
                <a:cubicBezTo>
                  <a:pt x="4457" y="13445"/>
                  <a:pt x="5011" y="11158"/>
                  <a:pt x="5362" y="870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4572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" name="Shape 614"/>
          <p:cNvSpPr/>
          <p:nvPr/>
        </p:nvSpPr>
        <p:spPr>
          <a:xfrm>
            <a:off x="3734561" y="3872870"/>
            <a:ext cx="4242912" cy="4938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3" extrusionOk="0">
                <a:moveTo>
                  <a:pt x="5362" y="8702"/>
                </a:moveTo>
                <a:cubicBezTo>
                  <a:pt x="6154" y="3493"/>
                  <a:pt x="8339" y="-7"/>
                  <a:pt x="10794" y="0"/>
                </a:cubicBezTo>
                <a:cubicBezTo>
                  <a:pt x="13249" y="6"/>
                  <a:pt x="15430" y="3519"/>
                  <a:pt x="16217" y="8734"/>
                </a:cubicBezTo>
                <a:cubicBezTo>
                  <a:pt x="16576" y="11187"/>
                  <a:pt x="17136" y="13469"/>
                  <a:pt x="17869" y="15463"/>
                </a:cubicBezTo>
                <a:cubicBezTo>
                  <a:pt x="18864" y="18174"/>
                  <a:pt x="20147" y="20279"/>
                  <a:pt x="21600" y="21585"/>
                </a:cubicBezTo>
                <a:cubicBezTo>
                  <a:pt x="17994" y="21587"/>
                  <a:pt x="14388" y="21588"/>
                  <a:pt x="10782" y="21589"/>
                </a:cubicBezTo>
                <a:cubicBezTo>
                  <a:pt x="7188" y="21591"/>
                  <a:pt x="3594" y="21592"/>
                  <a:pt x="0" y="21593"/>
                </a:cubicBezTo>
                <a:cubicBezTo>
                  <a:pt x="1456" y="20285"/>
                  <a:pt x="2740" y="18169"/>
                  <a:pt x="3731" y="15444"/>
                </a:cubicBezTo>
                <a:cubicBezTo>
                  <a:pt x="4457" y="13445"/>
                  <a:pt x="5011" y="11158"/>
                  <a:pt x="5362" y="8702"/>
                </a:cubicBezTo>
                <a:close/>
              </a:path>
            </a:pathLst>
          </a:custGeom>
          <a:solidFill>
            <a:schemeClr val="accent2">
              <a:alpha val="90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4572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" name="Shape 615"/>
          <p:cNvSpPr/>
          <p:nvPr/>
        </p:nvSpPr>
        <p:spPr>
          <a:xfrm>
            <a:off x="5856015" y="5842709"/>
            <a:ext cx="4242912" cy="29691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3" extrusionOk="0">
                <a:moveTo>
                  <a:pt x="5362" y="8702"/>
                </a:moveTo>
                <a:cubicBezTo>
                  <a:pt x="6154" y="3493"/>
                  <a:pt x="8339" y="-7"/>
                  <a:pt x="10794" y="0"/>
                </a:cubicBezTo>
                <a:cubicBezTo>
                  <a:pt x="13249" y="6"/>
                  <a:pt x="15430" y="3519"/>
                  <a:pt x="16217" y="8734"/>
                </a:cubicBezTo>
                <a:cubicBezTo>
                  <a:pt x="16576" y="11187"/>
                  <a:pt x="17136" y="13469"/>
                  <a:pt x="17869" y="15463"/>
                </a:cubicBezTo>
                <a:cubicBezTo>
                  <a:pt x="18864" y="18174"/>
                  <a:pt x="20147" y="20279"/>
                  <a:pt x="21600" y="21585"/>
                </a:cubicBezTo>
                <a:cubicBezTo>
                  <a:pt x="17994" y="21587"/>
                  <a:pt x="14388" y="21588"/>
                  <a:pt x="10782" y="21589"/>
                </a:cubicBezTo>
                <a:cubicBezTo>
                  <a:pt x="7188" y="21591"/>
                  <a:pt x="3594" y="21592"/>
                  <a:pt x="0" y="21593"/>
                </a:cubicBezTo>
                <a:cubicBezTo>
                  <a:pt x="1456" y="20285"/>
                  <a:pt x="2740" y="18169"/>
                  <a:pt x="3731" y="15444"/>
                </a:cubicBezTo>
                <a:cubicBezTo>
                  <a:pt x="4457" y="13445"/>
                  <a:pt x="5011" y="11158"/>
                  <a:pt x="5362" y="8702"/>
                </a:cubicBezTo>
                <a:close/>
              </a:path>
            </a:pathLst>
          </a:custGeom>
          <a:solidFill>
            <a:schemeClr val="accent4">
              <a:alpha val="90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4572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6" name="Shape 616"/>
          <p:cNvSpPr/>
          <p:nvPr/>
        </p:nvSpPr>
        <p:spPr>
          <a:xfrm>
            <a:off x="7977473" y="4356432"/>
            <a:ext cx="4242912" cy="44554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3" extrusionOk="0">
                <a:moveTo>
                  <a:pt x="5362" y="8702"/>
                </a:moveTo>
                <a:cubicBezTo>
                  <a:pt x="6154" y="3493"/>
                  <a:pt x="8339" y="-7"/>
                  <a:pt x="10794" y="0"/>
                </a:cubicBezTo>
                <a:cubicBezTo>
                  <a:pt x="13249" y="6"/>
                  <a:pt x="15430" y="3519"/>
                  <a:pt x="16217" y="8734"/>
                </a:cubicBezTo>
                <a:cubicBezTo>
                  <a:pt x="16576" y="11187"/>
                  <a:pt x="17136" y="13469"/>
                  <a:pt x="17869" y="15463"/>
                </a:cubicBezTo>
                <a:cubicBezTo>
                  <a:pt x="18864" y="18174"/>
                  <a:pt x="20147" y="20279"/>
                  <a:pt x="21600" y="21585"/>
                </a:cubicBezTo>
                <a:cubicBezTo>
                  <a:pt x="17994" y="21587"/>
                  <a:pt x="14388" y="21588"/>
                  <a:pt x="10782" y="21589"/>
                </a:cubicBezTo>
                <a:cubicBezTo>
                  <a:pt x="7188" y="21591"/>
                  <a:pt x="3594" y="21592"/>
                  <a:pt x="0" y="21593"/>
                </a:cubicBezTo>
                <a:cubicBezTo>
                  <a:pt x="1456" y="20285"/>
                  <a:pt x="2740" y="18169"/>
                  <a:pt x="3731" y="15444"/>
                </a:cubicBezTo>
                <a:cubicBezTo>
                  <a:pt x="4457" y="13445"/>
                  <a:pt x="5011" y="11158"/>
                  <a:pt x="5362" y="8702"/>
                </a:cubicBezTo>
                <a:close/>
              </a:path>
            </a:pathLst>
          </a:custGeom>
          <a:solidFill>
            <a:schemeClr val="accent5">
              <a:alpha val="90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4572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7" name="Shape 617"/>
          <p:cNvSpPr/>
          <p:nvPr/>
        </p:nvSpPr>
        <p:spPr>
          <a:xfrm>
            <a:off x="10098929" y="6409721"/>
            <a:ext cx="4242912" cy="24021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3" extrusionOk="0">
                <a:moveTo>
                  <a:pt x="5362" y="8702"/>
                </a:moveTo>
                <a:cubicBezTo>
                  <a:pt x="6154" y="3493"/>
                  <a:pt x="8339" y="-7"/>
                  <a:pt x="10794" y="0"/>
                </a:cubicBezTo>
                <a:cubicBezTo>
                  <a:pt x="13249" y="6"/>
                  <a:pt x="15430" y="3519"/>
                  <a:pt x="16217" y="8734"/>
                </a:cubicBezTo>
                <a:cubicBezTo>
                  <a:pt x="16576" y="11187"/>
                  <a:pt x="17136" y="13469"/>
                  <a:pt x="17869" y="15463"/>
                </a:cubicBezTo>
                <a:cubicBezTo>
                  <a:pt x="18864" y="18174"/>
                  <a:pt x="20147" y="20279"/>
                  <a:pt x="21600" y="21585"/>
                </a:cubicBezTo>
                <a:cubicBezTo>
                  <a:pt x="17994" y="21587"/>
                  <a:pt x="14388" y="21588"/>
                  <a:pt x="10782" y="21589"/>
                </a:cubicBezTo>
                <a:cubicBezTo>
                  <a:pt x="7188" y="21591"/>
                  <a:pt x="3594" y="21592"/>
                  <a:pt x="0" y="21593"/>
                </a:cubicBezTo>
                <a:cubicBezTo>
                  <a:pt x="1456" y="20285"/>
                  <a:pt x="2740" y="18169"/>
                  <a:pt x="3731" y="15444"/>
                </a:cubicBezTo>
                <a:cubicBezTo>
                  <a:pt x="4457" y="13445"/>
                  <a:pt x="5011" y="11158"/>
                  <a:pt x="5362" y="8702"/>
                </a:cubicBezTo>
                <a:close/>
              </a:path>
            </a:pathLst>
          </a:custGeom>
          <a:solidFill>
            <a:schemeClr val="accent1">
              <a:alpha val="90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4572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8" name="Shape 618"/>
          <p:cNvSpPr/>
          <p:nvPr/>
        </p:nvSpPr>
        <p:spPr>
          <a:xfrm>
            <a:off x="12220385" y="5298777"/>
            <a:ext cx="4242912" cy="35130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3" extrusionOk="0">
                <a:moveTo>
                  <a:pt x="5362" y="8702"/>
                </a:moveTo>
                <a:cubicBezTo>
                  <a:pt x="6154" y="3493"/>
                  <a:pt x="8339" y="-7"/>
                  <a:pt x="10794" y="0"/>
                </a:cubicBezTo>
                <a:cubicBezTo>
                  <a:pt x="13249" y="6"/>
                  <a:pt x="15430" y="3519"/>
                  <a:pt x="16217" y="8734"/>
                </a:cubicBezTo>
                <a:cubicBezTo>
                  <a:pt x="16576" y="11187"/>
                  <a:pt x="17136" y="13469"/>
                  <a:pt x="17869" y="15463"/>
                </a:cubicBezTo>
                <a:cubicBezTo>
                  <a:pt x="18864" y="18174"/>
                  <a:pt x="20147" y="20279"/>
                  <a:pt x="21600" y="21585"/>
                </a:cubicBezTo>
                <a:cubicBezTo>
                  <a:pt x="17994" y="21587"/>
                  <a:pt x="14388" y="21588"/>
                  <a:pt x="10782" y="21589"/>
                </a:cubicBezTo>
                <a:cubicBezTo>
                  <a:pt x="7188" y="21591"/>
                  <a:pt x="3594" y="21592"/>
                  <a:pt x="0" y="21593"/>
                </a:cubicBezTo>
                <a:cubicBezTo>
                  <a:pt x="1456" y="20285"/>
                  <a:pt x="2740" y="18169"/>
                  <a:pt x="3731" y="15444"/>
                </a:cubicBezTo>
                <a:cubicBezTo>
                  <a:pt x="4457" y="13445"/>
                  <a:pt x="5011" y="11158"/>
                  <a:pt x="5362" y="8702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4572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9" name="Shape 619"/>
          <p:cNvSpPr/>
          <p:nvPr/>
        </p:nvSpPr>
        <p:spPr>
          <a:xfrm>
            <a:off x="14341839" y="4356432"/>
            <a:ext cx="4242912" cy="44554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3" extrusionOk="0">
                <a:moveTo>
                  <a:pt x="5362" y="8702"/>
                </a:moveTo>
                <a:cubicBezTo>
                  <a:pt x="6154" y="3493"/>
                  <a:pt x="8339" y="-7"/>
                  <a:pt x="10794" y="0"/>
                </a:cubicBezTo>
                <a:cubicBezTo>
                  <a:pt x="13249" y="6"/>
                  <a:pt x="15430" y="3519"/>
                  <a:pt x="16217" y="8734"/>
                </a:cubicBezTo>
                <a:cubicBezTo>
                  <a:pt x="16576" y="11187"/>
                  <a:pt x="17136" y="13469"/>
                  <a:pt x="17869" y="15463"/>
                </a:cubicBezTo>
                <a:cubicBezTo>
                  <a:pt x="18864" y="18174"/>
                  <a:pt x="20147" y="20279"/>
                  <a:pt x="21600" y="21585"/>
                </a:cubicBezTo>
                <a:cubicBezTo>
                  <a:pt x="17994" y="21587"/>
                  <a:pt x="14388" y="21588"/>
                  <a:pt x="10782" y="21589"/>
                </a:cubicBezTo>
                <a:cubicBezTo>
                  <a:pt x="7188" y="21591"/>
                  <a:pt x="3594" y="21592"/>
                  <a:pt x="0" y="21593"/>
                </a:cubicBezTo>
                <a:cubicBezTo>
                  <a:pt x="1456" y="20285"/>
                  <a:pt x="2740" y="18169"/>
                  <a:pt x="3731" y="15444"/>
                </a:cubicBezTo>
                <a:cubicBezTo>
                  <a:pt x="4457" y="13445"/>
                  <a:pt x="5011" y="11158"/>
                  <a:pt x="5362" y="8702"/>
                </a:cubicBezTo>
                <a:close/>
              </a:path>
            </a:pathLst>
          </a:custGeom>
          <a:solidFill>
            <a:schemeClr val="accent5">
              <a:alpha val="90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4572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0" name="Shape 620"/>
          <p:cNvSpPr/>
          <p:nvPr/>
        </p:nvSpPr>
        <p:spPr>
          <a:xfrm>
            <a:off x="16463295" y="3663174"/>
            <a:ext cx="4242912" cy="51486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3" extrusionOk="0">
                <a:moveTo>
                  <a:pt x="5362" y="8702"/>
                </a:moveTo>
                <a:cubicBezTo>
                  <a:pt x="6154" y="3493"/>
                  <a:pt x="8339" y="-7"/>
                  <a:pt x="10794" y="0"/>
                </a:cubicBezTo>
                <a:cubicBezTo>
                  <a:pt x="13249" y="6"/>
                  <a:pt x="15430" y="3519"/>
                  <a:pt x="16217" y="8734"/>
                </a:cubicBezTo>
                <a:cubicBezTo>
                  <a:pt x="16576" y="11187"/>
                  <a:pt x="17136" y="13469"/>
                  <a:pt x="17869" y="15463"/>
                </a:cubicBezTo>
                <a:cubicBezTo>
                  <a:pt x="18864" y="18174"/>
                  <a:pt x="20147" y="20279"/>
                  <a:pt x="21600" y="21585"/>
                </a:cubicBezTo>
                <a:cubicBezTo>
                  <a:pt x="17994" y="21587"/>
                  <a:pt x="14388" y="21588"/>
                  <a:pt x="10782" y="21589"/>
                </a:cubicBezTo>
                <a:cubicBezTo>
                  <a:pt x="7188" y="21591"/>
                  <a:pt x="3594" y="21592"/>
                  <a:pt x="0" y="21593"/>
                </a:cubicBezTo>
                <a:cubicBezTo>
                  <a:pt x="1456" y="20285"/>
                  <a:pt x="2740" y="18169"/>
                  <a:pt x="3731" y="15444"/>
                </a:cubicBezTo>
                <a:cubicBezTo>
                  <a:pt x="4457" y="13445"/>
                  <a:pt x="5011" y="11158"/>
                  <a:pt x="5362" y="8702"/>
                </a:cubicBezTo>
                <a:close/>
              </a:path>
            </a:pathLst>
          </a:custGeom>
          <a:solidFill>
            <a:schemeClr val="accent4">
              <a:alpha val="90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4572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1" name="Shape 621"/>
          <p:cNvSpPr/>
          <p:nvPr/>
        </p:nvSpPr>
        <p:spPr>
          <a:xfrm>
            <a:off x="18584751" y="4563544"/>
            <a:ext cx="4242912" cy="42482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93" extrusionOk="0">
                <a:moveTo>
                  <a:pt x="5362" y="8702"/>
                </a:moveTo>
                <a:cubicBezTo>
                  <a:pt x="6154" y="3493"/>
                  <a:pt x="8339" y="-7"/>
                  <a:pt x="10794" y="0"/>
                </a:cubicBezTo>
                <a:cubicBezTo>
                  <a:pt x="13249" y="6"/>
                  <a:pt x="15430" y="3519"/>
                  <a:pt x="16217" y="8734"/>
                </a:cubicBezTo>
                <a:cubicBezTo>
                  <a:pt x="16576" y="11187"/>
                  <a:pt x="17136" y="13469"/>
                  <a:pt x="17869" y="15463"/>
                </a:cubicBezTo>
                <a:cubicBezTo>
                  <a:pt x="18864" y="18174"/>
                  <a:pt x="20147" y="20279"/>
                  <a:pt x="21600" y="21585"/>
                </a:cubicBezTo>
                <a:cubicBezTo>
                  <a:pt x="17994" y="21587"/>
                  <a:pt x="14388" y="21588"/>
                  <a:pt x="10782" y="21589"/>
                </a:cubicBezTo>
                <a:cubicBezTo>
                  <a:pt x="7188" y="21591"/>
                  <a:pt x="3594" y="21592"/>
                  <a:pt x="0" y="21593"/>
                </a:cubicBezTo>
                <a:cubicBezTo>
                  <a:pt x="1456" y="20285"/>
                  <a:pt x="2740" y="18169"/>
                  <a:pt x="3731" y="15444"/>
                </a:cubicBezTo>
                <a:cubicBezTo>
                  <a:pt x="4457" y="13445"/>
                  <a:pt x="5011" y="11158"/>
                  <a:pt x="5362" y="8702"/>
                </a:cubicBezTo>
                <a:close/>
              </a:path>
            </a:pathLst>
          </a:custGeom>
          <a:solidFill>
            <a:schemeClr val="accent3">
              <a:lumMod val="50000"/>
              <a:alpha val="90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4572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2" name="Shape 624"/>
          <p:cNvSpPr/>
          <p:nvPr/>
        </p:nvSpPr>
        <p:spPr>
          <a:xfrm>
            <a:off x="3349840" y="4151647"/>
            <a:ext cx="769441" cy="6196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numCol="1" anchor="ctr">
            <a:spAutoFit/>
          </a:bodyPr>
          <a:lstStyle>
            <a:lvl1pPr>
              <a:lnSpc>
                <a:spcPct val="120000"/>
              </a:lnSpc>
              <a:defRPr sz="20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 algn="ctr">
              <a:defRPr sz="1800" b="0">
                <a:solidFill>
                  <a:srgbClr val="000000"/>
                </a:solidFill>
              </a:defRPr>
            </a:pPr>
            <a:r>
              <a:rPr lang="en-US"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84</a:t>
            </a:r>
            <a:r>
              <a:rPr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%</a:t>
            </a:r>
          </a:p>
        </p:txBody>
      </p:sp>
      <p:sp>
        <p:nvSpPr>
          <p:cNvPr id="13" name="Shape 625"/>
          <p:cNvSpPr/>
          <p:nvPr/>
        </p:nvSpPr>
        <p:spPr>
          <a:xfrm>
            <a:off x="18200030" y="2877280"/>
            <a:ext cx="769441" cy="6196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numCol="1" anchor="ctr">
            <a:spAutoFit/>
          </a:bodyPr>
          <a:lstStyle>
            <a:lvl1pPr>
              <a:lnSpc>
                <a:spcPct val="120000"/>
              </a:lnSpc>
              <a:defRPr sz="20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 algn="ctr">
              <a:defRPr sz="1800" b="0">
                <a:solidFill>
                  <a:srgbClr val="000000"/>
                </a:solidFill>
              </a:defRPr>
            </a:pPr>
            <a:r>
              <a:rPr lang="en-US"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96</a:t>
            </a:r>
            <a:r>
              <a:rPr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%</a:t>
            </a:r>
          </a:p>
        </p:txBody>
      </p:sp>
      <p:sp>
        <p:nvSpPr>
          <p:cNvPr id="14" name="Shape 626"/>
          <p:cNvSpPr/>
          <p:nvPr/>
        </p:nvSpPr>
        <p:spPr>
          <a:xfrm>
            <a:off x="13957120" y="4367204"/>
            <a:ext cx="769441" cy="6196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numCol="1" anchor="ctr">
            <a:spAutoFit/>
          </a:bodyPr>
          <a:lstStyle>
            <a:lvl1pPr>
              <a:lnSpc>
                <a:spcPct val="120000"/>
              </a:lnSpc>
              <a:defRPr sz="20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 algn="ctr">
              <a:defRPr sz="1800" b="0">
                <a:solidFill>
                  <a:srgbClr val="000000"/>
                </a:solidFill>
              </a:defRPr>
            </a:pPr>
            <a:r>
              <a:rPr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6</a:t>
            </a:r>
            <a:r>
              <a:rPr lang="en-US"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1</a:t>
            </a:r>
            <a:r>
              <a:rPr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%</a:t>
            </a:r>
          </a:p>
        </p:txBody>
      </p:sp>
      <p:sp>
        <p:nvSpPr>
          <p:cNvPr id="15" name="Shape 627"/>
          <p:cNvSpPr/>
          <p:nvPr/>
        </p:nvSpPr>
        <p:spPr>
          <a:xfrm>
            <a:off x="9714208" y="3518481"/>
            <a:ext cx="769441" cy="6196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numCol="1" anchor="ctr">
            <a:spAutoFit/>
          </a:bodyPr>
          <a:lstStyle>
            <a:lvl1pPr>
              <a:lnSpc>
                <a:spcPct val="120000"/>
              </a:lnSpc>
              <a:defRPr sz="20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 algn="ctr">
              <a:defRPr sz="1800" b="0">
                <a:solidFill>
                  <a:srgbClr val="000000"/>
                </a:solidFill>
              </a:defRPr>
            </a:pPr>
            <a:r>
              <a:rPr lang="en-US"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94</a:t>
            </a:r>
            <a:r>
              <a:rPr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%</a:t>
            </a:r>
          </a:p>
        </p:txBody>
      </p:sp>
      <p:sp>
        <p:nvSpPr>
          <p:cNvPr id="16" name="Shape 628"/>
          <p:cNvSpPr/>
          <p:nvPr/>
        </p:nvSpPr>
        <p:spPr>
          <a:xfrm>
            <a:off x="7592754" y="5046148"/>
            <a:ext cx="769441" cy="6196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numCol="1" anchor="ctr">
            <a:spAutoFit/>
          </a:bodyPr>
          <a:lstStyle>
            <a:lvl1pPr>
              <a:lnSpc>
                <a:spcPct val="120000"/>
              </a:lnSpc>
              <a:defRPr sz="20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 algn="ctr">
              <a:defRPr sz="1800" b="0">
                <a:solidFill>
                  <a:srgbClr val="000000"/>
                </a:solidFill>
              </a:defRPr>
            </a:pPr>
            <a:r>
              <a:rPr lang="en-US"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5</a:t>
            </a:r>
            <a:r>
              <a:rPr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2%</a:t>
            </a:r>
          </a:p>
        </p:txBody>
      </p:sp>
      <p:sp>
        <p:nvSpPr>
          <p:cNvPr id="17" name="Shape 629"/>
          <p:cNvSpPr/>
          <p:nvPr/>
        </p:nvSpPr>
        <p:spPr>
          <a:xfrm>
            <a:off x="20321488" y="3831046"/>
            <a:ext cx="769441" cy="6196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numCol="1" anchor="ctr">
            <a:spAutoFit/>
          </a:bodyPr>
          <a:lstStyle>
            <a:lvl1pPr>
              <a:lnSpc>
                <a:spcPct val="120000"/>
              </a:lnSpc>
              <a:defRPr sz="20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 algn="ctr">
              <a:defRPr sz="1800" b="0">
                <a:solidFill>
                  <a:srgbClr val="000000"/>
                </a:solidFill>
              </a:defRPr>
            </a:pPr>
            <a:r>
              <a:rPr lang="en-US"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82</a:t>
            </a:r>
            <a:r>
              <a:rPr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%</a:t>
            </a:r>
          </a:p>
        </p:txBody>
      </p:sp>
      <p:sp>
        <p:nvSpPr>
          <p:cNvPr id="18" name="Shape 631"/>
          <p:cNvSpPr/>
          <p:nvPr/>
        </p:nvSpPr>
        <p:spPr>
          <a:xfrm>
            <a:off x="16078576" y="3563041"/>
            <a:ext cx="769441" cy="6196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numCol="1" anchor="ctr">
            <a:spAutoFit/>
          </a:bodyPr>
          <a:lstStyle>
            <a:lvl1pPr>
              <a:lnSpc>
                <a:spcPct val="120000"/>
              </a:lnSpc>
              <a:defRPr sz="20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 algn="ctr">
              <a:defRPr sz="1800" b="0">
                <a:solidFill>
                  <a:srgbClr val="000000"/>
                </a:solidFill>
              </a:defRPr>
            </a:pPr>
            <a:r>
              <a:rPr lang="en-US"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88</a:t>
            </a:r>
            <a:r>
              <a:rPr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%</a:t>
            </a:r>
          </a:p>
        </p:txBody>
      </p:sp>
      <p:sp>
        <p:nvSpPr>
          <p:cNvPr id="19" name="Shape 632"/>
          <p:cNvSpPr/>
          <p:nvPr/>
        </p:nvSpPr>
        <p:spPr>
          <a:xfrm>
            <a:off x="11835664" y="5649605"/>
            <a:ext cx="769441" cy="6196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numCol="1" anchor="ctr">
            <a:spAutoFit/>
          </a:bodyPr>
          <a:lstStyle>
            <a:lvl1pPr>
              <a:lnSpc>
                <a:spcPct val="120000"/>
              </a:lnSpc>
              <a:defRPr sz="20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 algn="ctr">
              <a:defRPr sz="1800" b="0">
                <a:solidFill>
                  <a:srgbClr val="000000"/>
                </a:solidFill>
              </a:defRPr>
            </a:pPr>
            <a:r>
              <a:rPr lang="en-US"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43</a:t>
            </a:r>
            <a:r>
              <a:rPr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%</a:t>
            </a:r>
          </a:p>
        </p:txBody>
      </p:sp>
      <p:sp>
        <p:nvSpPr>
          <p:cNvPr id="20" name="Shape 633"/>
          <p:cNvSpPr/>
          <p:nvPr/>
        </p:nvSpPr>
        <p:spPr>
          <a:xfrm>
            <a:off x="5471296" y="3032745"/>
            <a:ext cx="769441" cy="6196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numCol="1" anchor="ctr">
            <a:spAutoFit/>
          </a:bodyPr>
          <a:lstStyle>
            <a:lvl1pPr>
              <a:lnSpc>
                <a:spcPct val="120000"/>
              </a:lnSpc>
              <a:defRPr sz="20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 algn="ctr">
              <a:defRPr sz="1800" b="0">
                <a:solidFill>
                  <a:srgbClr val="000000"/>
                </a:solidFill>
              </a:defRPr>
            </a:pPr>
            <a:r>
              <a:rPr lang="en-US"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98</a:t>
            </a:r>
            <a:r>
              <a:rPr sz="3000" b="0" dirty="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%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0961818" y="9258328"/>
            <a:ext cx="2446504" cy="5547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ts val="4533"/>
              </a:lnSpc>
              <a:spcAft>
                <a:spcPts val="1600"/>
              </a:spcAft>
            </a:pPr>
            <a:r>
              <a:rPr lang="en-US" spc="53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App Analysis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792507" y="9954831"/>
            <a:ext cx="21035156" cy="15183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4033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Mobile social media refers to the combination of mobile devices and social media. This is the group of mobile marketing applications that allow the creation and exchange of user-generated content media refers to the combination of mobile devices and social media. This is the group of mobile marketing applications that allow</a:t>
            </a:r>
          </a:p>
        </p:txBody>
      </p:sp>
    </p:spTree>
    <p:extLst>
      <p:ext uri="{BB962C8B-B14F-4D97-AF65-F5344CB8AC3E}">
        <p14:creationId xmlns:p14="http://schemas.microsoft.com/office/powerpoint/2010/main" val="8423337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4BD75-352C-F24C-947B-D1F514D108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grpSp>
        <p:nvGrpSpPr>
          <p:cNvPr id="13" name="Group 11">
            <a:extLst>
              <a:ext uri="{FF2B5EF4-FFF2-40B4-BE49-F238E27FC236}">
                <a16:creationId xmlns:a16="http://schemas.microsoft.com/office/drawing/2014/main" id="{AC9FCF3B-695B-4CE5-A024-6737CBC5E3D2}"/>
              </a:ext>
            </a:extLst>
          </p:cNvPr>
          <p:cNvGrpSpPr/>
          <p:nvPr/>
        </p:nvGrpSpPr>
        <p:grpSpPr>
          <a:xfrm>
            <a:off x="-12700" y="12841264"/>
            <a:ext cx="24390350" cy="874736"/>
            <a:chOff x="8962256" y="6857999"/>
            <a:chExt cx="6215041" cy="874736"/>
          </a:xfrm>
        </p:grpSpPr>
        <p:sp>
          <p:nvSpPr>
            <p:cNvPr id="14" name="Text Box 37">
              <a:extLst>
                <a:ext uri="{FF2B5EF4-FFF2-40B4-BE49-F238E27FC236}">
                  <a16:creationId xmlns:a16="http://schemas.microsoft.com/office/drawing/2014/main" id="{D1A3AA4D-35BE-44EB-AFA4-FF9C9497152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962256" y="6857999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de-DE" dirty="0">
                  <a:latin typeface="Avenir Medium"/>
                </a:rPr>
                <a:t>Management</a:t>
              </a:r>
              <a:br>
                <a:rPr lang="de-DE" dirty="0">
                  <a:latin typeface="Avenir Medium"/>
                </a:rPr>
              </a:br>
              <a:r>
                <a:rPr lang="de-DE" dirty="0">
                  <a:latin typeface="Avenir Medium"/>
                </a:rPr>
                <a:t>Summary</a:t>
              </a:r>
            </a:p>
          </p:txBody>
        </p:sp>
        <p:sp>
          <p:nvSpPr>
            <p:cNvPr id="15" name="Text Box 39">
              <a:extLst>
                <a:ext uri="{FF2B5EF4-FFF2-40B4-BE49-F238E27FC236}">
                  <a16:creationId xmlns:a16="http://schemas.microsoft.com/office/drawing/2014/main" id="{04F7F2D0-1897-4DC1-AEB0-23F870DD731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0737982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de-DE" dirty="0">
                  <a:latin typeface="Avenir Medium"/>
                </a:rPr>
                <a:t>Alternatives</a:t>
              </a:r>
            </a:p>
          </p:txBody>
        </p:sp>
        <p:sp>
          <p:nvSpPr>
            <p:cNvPr id="16" name="Text Box 41">
              <a:extLst>
                <a:ext uri="{FF2B5EF4-FFF2-40B4-BE49-F238E27FC236}">
                  <a16:creationId xmlns:a16="http://schemas.microsoft.com/office/drawing/2014/main" id="{48AF8092-1322-4E39-A626-DF3B1849B4B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625845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de-DE" dirty="0">
                  <a:latin typeface="Avenir Medium"/>
                </a:rPr>
                <a:t>Implementation</a:t>
              </a:r>
            </a:p>
          </p:txBody>
        </p:sp>
        <p:sp>
          <p:nvSpPr>
            <p:cNvPr id="17" name="Text Box 43">
              <a:extLst>
                <a:ext uri="{FF2B5EF4-FFF2-40B4-BE49-F238E27FC236}">
                  <a16:creationId xmlns:a16="http://schemas.microsoft.com/office/drawing/2014/main" id="{18B61E86-DA19-4545-B630-1FECF1102D4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2513708" y="6862659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en-US">
                  <a:latin typeface="Avenir Medium"/>
                </a:rPr>
                <a:t>Financials</a:t>
              </a:r>
              <a:endParaRPr lang="en-US" dirty="0">
                <a:latin typeface="Avenir Medium"/>
              </a:endParaRPr>
            </a:p>
          </p:txBody>
        </p:sp>
        <p:sp>
          <p:nvSpPr>
            <p:cNvPr id="18" name="Text Box 47">
              <a:extLst>
                <a:ext uri="{FF2B5EF4-FFF2-40B4-BE49-F238E27FC236}">
                  <a16:creationId xmlns:a16="http://schemas.microsoft.com/office/drawing/2014/main" id="{2797B5A6-7F6D-46D3-8FC3-A40759215C9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9850119" y="685800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de-DE" dirty="0">
                  <a:latin typeface="Avenir Medium"/>
                </a:rPr>
                <a:t>Analysis</a:t>
              </a:r>
            </a:p>
          </p:txBody>
        </p:sp>
        <p:sp>
          <p:nvSpPr>
            <p:cNvPr id="19" name="Text Box 43">
              <a:extLst>
                <a:ext uri="{FF2B5EF4-FFF2-40B4-BE49-F238E27FC236}">
                  <a16:creationId xmlns:a16="http://schemas.microsoft.com/office/drawing/2014/main" id="{E4392C80-9BAF-43C1-8EA5-75054599490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401571" y="6862660"/>
              <a:ext cx="887863" cy="8700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en-US">
                  <a:latin typeface="Avenir Medium"/>
                </a:rPr>
                <a:t>Risk</a:t>
              </a:r>
            </a:p>
            <a:p>
              <a:r>
                <a:rPr lang="en-US">
                  <a:latin typeface="Avenir Medium"/>
                </a:rPr>
                <a:t>Mitigation</a:t>
              </a:r>
              <a:endParaRPr lang="en-US" dirty="0">
                <a:latin typeface="Avenir Medium"/>
              </a:endParaRPr>
            </a:p>
          </p:txBody>
        </p:sp>
        <p:sp>
          <p:nvSpPr>
            <p:cNvPr id="20" name="Text Box 43">
              <a:extLst>
                <a:ext uri="{FF2B5EF4-FFF2-40B4-BE49-F238E27FC236}">
                  <a16:creationId xmlns:a16="http://schemas.microsoft.com/office/drawing/2014/main" id="{C70759F1-E3FB-4B47-9C67-523922A0F62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4289434" y="6862660"/>
              <a:ext cx="887863" cy="870075"/>
            </a:xfrm>
            <a:prstGeom prst="rect">
              <a:avLst/>
            </a:prstGeom>
            <a:solidFill>
              <a:schemeClr val="accent5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40511" tIns="40511" rIns="40511" bIns="40511" anchor="ctr"/>
            <a:lstStyle>
              <a:defPPr>
                <a:defRPr lang="en-US"/>
              </a:defPPr>
              <a:lvl1pPr algn="ctr">
                <a:defRPr sz="2800">
                  <a:solidFill>
                    <a:schemeClr val="bg1"/>
                  </a:solidFill>
                  <a:ea typeface="Avenir Book" charset="0"/>
                  <a:cs typeface="Avenir Book" charset="0"/>
                </a:defRPr>
              </a:lvl1pPr>
            </a:lstStyle>
            <a:p>
              <a:r>
                <a:rPr lang="en-US">
                  <a:latin typeface="Avenir Medium"/>
                </a:rPr>
                <a:t>Conclusion</a:t>
              </a:r>
              <a:endParaRPr lang="en-US" dirty="0">
                <a:latin typeface="Avenir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205928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9565046" y="5272951"/>
            <a:ext cx="5476178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600" b="1" dirty="0">
                <a:latin typeface="Avenir Medium"/>
                <a:ea typeface="Avenir Medium" charset="0"/>
                <a:cs typeface="Avenir Medium" charset="0"/>
              </a:rPr>
              <a:t>MAP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60927" y="7919829"/>
            <a:ext cx="74844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spc="600" dirty="0">
                <a:latin typeface="Avenir Medium"/>
                <a:ea typeface="Avenir Book" charset="0"/>
                <a:cs typeface="Avenir Book" charset="0"/>
              </a:rPr>
              <a:t>YOU CAN WRITE SOMETHING HERE</a:t>
            </a:r>
          </a:p>
        </p:txBody>
      </p:sp>
    </p:spTree>
    <p:extLst>
      <p:ext uri="{BB962C8B-B14F-4D97-AF65-F5344CB8AC3E}">
        <p14:creationId xmlns:p14="http://schemas.microsoft.com/office/powerpoint/2010/main" val="178307744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3" name="Group 572"/>
          <p:cNvGrpSpPr/>
          <p:nvPr/>
        </p:nvGrpSpPr>
        <p:grpSpPr>
          <a:xfrm>
            <a:off x="4016937" y="4758842"/>
            <a:ext cx="16328538" cy="8077440"/>
            <a:chOff x="3843499" y="3719582"/>
            <a:chExt cx="16665619" cy="8244192"/>
          </a:xfrm>
          <a:solidFill>
            <a:schemeClr val="bg1">
              <a:lumMod val="85000"/>
            </a:schemeClr>
          </a:solidFill>
        </p:grpSpPr>
        <p:sp>
          <p:nvSpPr>
            <p:cNvPr id="574" name="Freeform 781"/>
            <p:cNvSpPr>
              <a:spLocks/>
            </p:cNvSpPr>
            <p:nvPr/>
          </p:nvSpPr>
          <p:spPr bwMode="auto">
            <a:xfrm>
              <a:off x="9818027" y="3757809"/>
              <a:ext cx="85988" cy="38227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75" name="Freeform 403"/>
            <p:cNvSpPr>
              <a:spLocks/>
            </p:cNvSpPr>
            <p:nvPr/>
          </p:nvSpPr>
          <p:spPr bwMode="auto">
            <a:xfrm>
              <a:off x="16859435" y="9558687"/>
              <a:ext cx="1904460" cy="1423937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76" name="Freeform 404"/>
            <p:cNvSpPr>
              <a:spLocks/>
            </p:cNvSpPr>
            <p:nvPr/>
          </p:nvSpPr>
          <p:spPr bwMode="auto">
            <a:xfrm>
              <a:off x="11416754" y="5927165"/>
              <a:ext cx="372610" cy="563840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77" name="Freeform 405"/>
            <p:cNvSpPr>
              <a:spLocks/>
            </p:cNvSpPr>
            <p:nvPr/>
          </p:nvSpPr>
          <p:spPr bwMode="auto">
            <a:xfrm>
              <a:off x="10566434" y="5337841"/>
              <a:ext cx="503186" cy="245289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78" name="Freeform 406"/>
            <p:cNvSpPr>
              <a:spLocks/>
            </p:cNvSpPr>
            <p:nvPr/>
          </p:nvSpPr>
          <p:spPr bwMode="auto">
            <a:xfrm>
              <a:off x="14085545" y="4439516"/>
              <a:ext cx="840765" cy="57977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79" name="Freeform 407"/>
            <p:cNvSpPr>
              <a:spLocks/>
            </p:cNvSpPr>
            <p:nvPr/>
          </p:nvSpPr>
          <p:spPr bwMode="auto">
            <a:xfrm>
              <a:off x="16241600" y="4197415"/>
              <a:ext cx="299364" cy="14972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80" name="Freeform 408"/>
            <p:cNvSpPr>
              <a:spLocks/>
            </p:cNvSpPr>
            <p:nvPr/>
          </p:nvSpPr>
          <p:spPr bwMode="auto">
            <a:xfrm>
              <a:off x="15999561" y="4111405"/>
              <a:ext cx="280256" cy="14972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81" name="Freeform 409"/>
            <p:cNvSpPr>
              <a:spLocks/>
            </p:cNvSpPr>
            <p:nvPr/>
          </p:nvSpPr>
          <p:spPr bwMode="auto">
            <a:xfrm>
              <a:off x="15916758" y="4120960"/>
              <a:ext cx="140127" cy="47785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82" name="Freeform 410"/>
            <p:cNvSpPr>
              <a:spLocks/>
            </p:cNvSpPr>
            <p:nvPr/>
          </p:nvSpPr>
          <p:spPr bwMode="auto">
            <a:xfrm>
              <a:off x="15942235" y="3990355"/>
              <a:ext cx="235667" cy="14972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83" name="Freeform 411"/>
            <p:cNvSpPr>
              <a:spLocks/>
            </p:cNvSpPr>
            <p:nvPr/>
          </p:nvSpPr>
          <p:spPr bwMode="auto">
            <a:xfrm>
              <a:off x="18426316" y="4579679"/>
              <a:ext cx="235667" cy="76452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84" name="Freeform 412"/>
            <p:cNvSpPr>
              <a:spLocks/>
            </p:cNvSpPr>
            <p:nvPr/>
          </p:nvSpPr>
          <p:spPr bwMode="auto">
            <a:xfrm>
              <a:off x="18126952" y="4729398"/>
              <a:ext cx="197453" cy="76452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85" name="Freeform 413"/>
            <p:cNvSpPr>
              <a:spLocks/>
            </p:cNvSpPr>
            <p:nvPr/>
          </p:nvSpPr>
          <p:spPr bwMode="auto">
            <a:xfrm>
              <a:off x="18136507" y="4694361"/>
              <a:ext cx="76432" cy="44598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86" name="Freeform 414"/>
            <p:cNvSpPr>
              <a:spLocks/>
            </p:cNvSpPr>
            <p:nvPr/>
          </p:nvSpPr>
          <p:spPr bwMode="auto">
            <a:xfrm>
              <a:off x="17932683" y="4560566"/>
              <a:ext cx="28662" cy="47785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87" name="Freeform 415"/>
            <p:cNvSpPr>
              <a:spLocks/>
            </p:cNvSpPr>
            <p:nvPr/>
          </p:nvSpPr>
          <p:spPr bwMode="auto">
            <a:xfrm>
              <a:off x="17932683" y="4700729"/>
              <a:ext cx="38217" cy="47785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88" name="Freeform 416"/>
            <p:cNvSpPr>
              <a:spLocks/>
            </p:cNvSpPr>
            <p:nvPr/>
          </p:nvSpPr>
          <p:spPr bwMode="auto">
            <a:xfrm>
              <a:off x="17996378" y="4525526"/>
              <a:ext cx="394905" cy="14972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89" name="Freeform 417"/>
            <p:cNvSpPr>
              <a:spLocks/>
            </p:cNvSpPr>
            <p:nvPr/>
          </p:nvSpPr>
          <p:spPr bwMode="auto">
            <a:xfrm>
              <a:off x="18222495" y="4570124"/>
              <a:ext cx="73248" cy="76452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90" name="Freeform 418"/>
            <p:cNvSpPr>
              <a:spLocks/>
            </p:cNvSpPr>
            <p:nvPr/>
          </p:nvSpPr>
          <p:spPr bwMode="auto">
            <a:xfrm>
              <a:off x="19445425" y="5076623"/>
              <a:ext cx="101909" cy="57338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91" name="Freeform 419"/>
            <p:cNvSpPr>
              <a:spLocks/>
            </p:cNvSpPr>
            <p:nvPr/>
          </p:nvSpPr>
          <p:spPr bwMode="auto">
            <a:xfrm>
              <a:off x="19247970" y="5898496"/>
              <a:ext cx="57323" cy="47785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92" name="Freeform 420"/>
            <p:cNvSpPr>
              <a:spLocks/>
            </p:cNvSpPr>
            <p:nvPr/>
          </p:nvSpPr>
          <p:spPr bwMode="auto">
            <a:xfrm>
              <a:off x="18005931" y="6172454"/>
              <a:ext cx="47770" cy="25484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93" name="Freeform 421"/>
            <p:cNvSpPr>
              <a:spLocks/>
            </p:cNvSpPr>
            <p:nvPr/>
          </p:nvSpPr>
          <p:spPr bwMode="auto">
            <a:xfrm>
              <a:off x="18846696" y="6452780"/>
              <a:ext cx="47770" cy="44598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94" name="Freeform 422"/>
            <p:cNvSpPr>
              <a:spLocks/>
            </p:cNvSpPr>
            <p:nvPr/>
          </p:nvSpPr>
          <p:spPr bwMode="auto">
            <a:xfrm>
              <a:off x="18818035" y="6526047"/>
              <a:ext cx="19109" cy="9556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95" name="Freeform 423"/>
            <p:cNvSpPr>
              <a:spLocks/>
            </p:cNvSpPr>
            <p:nvPr/>
          </p:nvSpPr>
          <p:spPr bwMode="auto">
            <a:xfrm>
              <a:off x="18687463" y="6675768"/>
              <a:ext cx="28662" cy="9556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96" name="Freeform 424"/>
            <p:cNvSpPr>
              <a:spLocks/>
            </p:cNvSpPr>
            <p:nvPr/>
          </p:nvSpPr>
          <p:spPr bwMode="auto">
            <a:xfrm>
              <a:off x="18575996" y="6723551"/>
              <a:ext cx="66879" cy="38227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97" name="Freeform 425"/>
            <p:cNvSpPr>
              <a:spLocks/>
            </p:cNvSpPr>
            <p:nvPr/>
          </p:nvSpPr>
          <p:spPr bwMode="auto">
            <a:xfrm>
              <a:off x="18502748" y="6761778"/>
              <a:ext cx="54139" cy="35042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98" name="Freeform 426"/>
            <p:cNvSpPr>
              <a:spLocks/>
            </p:cNvSpPr>
            <p:nvPr/>
          </p:nvSpPr>
          <p:spPr bwMode="auto">
            <a:xfrm>
              <a:off x="18454978" y="6790447"/>
              <a:ext cx="47770" cy="44598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99" name="Freeform 427"/>
            <p:cNvSpPr>
              <a:spLocks/>
            </p:cNvSpPr>
            <p:nvPr/>
          </p:nvSpPr>
          <p:spPr bwMode="auto">
            <a:xfrm>
              <a:off x="18445422" y="6854158"/>
              <a:ext cx="9553" cy="9556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00" name="Freeform 428"/>
            <p:cNvSpPr>
              <a:spLocks/>
            </p:cNvSpPr>
            <p:nvPr/>
          </p:nvSpPr>
          <p:spPr bwMode="auto">
            <a:xfrm>
              <a:off x="18397652" y="6815931"/>
              <a:ext cx="47770" cy="38227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01" name="Freeform 429"/>
            <p:cNvSpPr>
              <a:spLocks/>
            </p:cNvSpPr>
            <p:nvPr/>
          </p:nvSpPr>
          <p:spPr bwMode="auto">
            <a:xfrm>
              <a:off x="18053701" y="7163156"/>
              <a:ext cx="19109" cy="28669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grpSp>
          <p:nvGrpSpPr>
            <p:cNvPr id="602" name="Group 601"/>
            <p:cNvGrpSpPr/>
            <p:nvPr/>
          </p:nvGrpSpPr>
          <p:grpSpPr>
            <a:xfrm>
              <a:off x="17709756" y="6761778"/>
              <a:ext cx="697449" cy="662593"/>
              <a:chOff x="5961121" y="2686387"/>
              <a:chExt cx="288233" cy="273757"/>
            </a:xfrm>
            <a:grpFill/>
          </p:grpSpPr>
          <p:sp>
            <p:nvSpPr>
              <p:cNvPr id="967" name="Freeform 430"/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id-ID" dirty="0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968" name="Freeform 431"/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4763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id-ID" dirty="0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</p:grpSp>
        <p:sp>
          <p:nvSpPr>
            <p:cNvPr id="603" name="Freeform 432"/>
            <p:cNvSpPr>
              <a:spLocks/>
            </p:cNvSpPr>
            <p:nvPr/>
          </p:nvSpPr>
          <p:spPr bwMode="auto">
            <a:xfrm>
              <a:off x="17884911" y="7370216"/>
              <a:ext cx="19109" cy="25484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04" name="Freeform 433"/>
            <p:cNvSpPr>
              <a:spLocks/>
            </p:cNvSpPr>
            <p:nvPr/>
          </p:nvSpPr>
          <p:spPr bwMode="auto">
            <a:xfrm>
              <a:off x="17773446" y="7370216"/>
              <a:ext cx="121018" cy="92380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05" name="Freeform 434"/>
            <p:cNvSpPr>
              <a:spLocks/>
            </p:cNvSpPr>
            <p:nvPr/>
          </p:nvSpPr>
          <p:spPr bwMode="auto">
            <a:xfrm>
              <a:off x="17652427" y="7405258"/>
              <a:ext cx="101909" cy="14972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06" name="Freeform 435"/>
            <p:cNvSpPr>
              <a:spLocks/>
            </p:cNvSpPr>
            <p:nvPr/>
          </p:nvSpPr>
          <p:spPr bwMode="auto">
            <a:xfrm>
              <a:off x="17550518" y="7771599"/>
              <a:ext cx="35033" cy="28669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07" name="Freeform 436"/>
            <p:cNvSpPr>
              <a:spLocks/>
            </p:cNvSpPr>
            <p:nvPr/>
          </p:nvSpPr>
          <p:spPr bwMode="auto">
            <a:xfrm>
              <a:off x="17633319" y="7679216"/>
              <a:ext cx="19109" cy="15928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08" name="Freeform 437"/>
            <p:cNvSpPr>
              <a:spLocks/>
            </p:cNvSpPr>
            <p:nvPr/>
          </p:nvSpPr>
          <p:spPr bwMode="auto">
            <a:xfrm>
              <a:off x="17381727" y="7873535"/>
              <a:ext cx="19109" cy="9556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09" name="Freeform 438"/>
            <p:cNvSpPr>
              <a:spLocks/>
            </p:cNvSpPr>
            <p:nvPr/>
          </p:nvSpPr>
          <p:spPr bwMode="auto">
            <a:xfrm>
              <a:off x="17203386" y="7838493"/>
              <a:ext cx="111465" cy="156092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10" name="Freeform 439"/>
            <p:cNvSpPr>
              <a:spLocks/>
            </p:cNvSpPr>
            <p:nvPr/>
          </p:nvSpPr>
          <p:spPr bwMode="auto">
            <a:xfrm>
              <a:off x="16652429" y="8099708"/>
              <a:ext cx="130574" cy="92380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11" name="Freeform 440"/>
            <p:cNvSpPr>
              <a:spLocks/>
            </p:cNvSpPr>
            <p:nvPr/>
          </p:nvSpPr>
          <p:spPr bwMode="auto">
            <a:xfrm>
              <a:off x="17184277" y="8163419"/>
              <a:ext cx="187897" cy="264400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12" name="Freeform 441"/>
            <p:cNvSpPr>
              <a:spLocks/>
            </p:cNvSpPr>
            <p:nvPr/>
          </p:nvSpPr>
          <p:spPr bwMode="auto">
            <a:xfrm>
              <a:off x="17343512" y="8389592"/>
              <a:ext cx="57323" cy="73269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13" name="Freeform 442"/>
            <p:cNvSpPr>
              <a:spLocks/>
            </p:cNvSpPr>
            <p:nvPr/>
          </p:nvSpPr>
          <p:spPr bwMode="auto">
            <a:xfrm>
              <a:off x="17381727" y="8453303"/>
              <a:ext cx="92356" cy="124237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14" name="Freeform 443"/>
            <p:cNvSpPr>
              <a:spLocks/>
            </p:cNvSpPr>
            <p:nvPr/>
          </p:nvSpPr>
          <p:spPr bwMode="auto">
            <a:xfrm>
              <a:off x="17212936" y="8399150"/>
              <a:ext cx="57323" cy="73269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15" name="Freeform 444"/>
            <p:cNvSpPr>
              <a:spLocks/>
            </p:cNvSpPr>
            <p:nvPr/>
          </p:nvSpPr>
          <p:spPr bwMode="auto">
            <a:xfrm>
              <a:off x="17279818" y="8472417"/>
              <a:ext cx="82803" cy="95566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16" name="Freeform 445"/>
            <p:cNvSpPr>
              <a:spLocks/>
            </p:cNvSpPr>
            <p:nvPr/>
          </p:nvSpPr>
          <p:spPr bwMode="auto">
            <a:xfrm>
              <a:off x="17298926" y="8529755"/>
              <a:ext cx="63695" cy="101936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17" name="Freeform 446"/>
            <p:cNvSpPr>
              <a:spLocks/>
            </p:cNvSpPr>
            <p:nvPr/>
          </p:nvSpPr>
          <p:spPr bwMode="auto">
            <a:xfrm>
              <a:off x="17353063" y="8520200"/>
              <a:ext cx="38217" cy="73269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18" name="Freeform 447"/>
            <p:cNvSpPr>
              <a:spLocks/>
            </p:cNvSpPr>
            <p:nvPr/>
          </p:nvSpPr>
          <p:spPr bwMode="auto">
            <a:xfrm>
              <a:off x="17372174" y="8567983"/>
              <a:ext cx="57323" cy="35042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19" name="Freeform 448"/>
            <p:cNvSpPr>
              <a:spLocks/>
            </p:cNvSpPr>
            <p:nvPr/>
          </p:nvSpPr>
          <p:spPr bwMode="auto">
            <a:xfrm>
              <a:off x="17372174" y="8593469"/>
              <a:ext cx="130574" cy="197506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20" name="Freeform 449"/>
            <p:cNvSpPr>
              <a:spLocks/>
            </p:cNvSpPr>
            <p:nvPr/>
          </p:nvSpPr>
          <p:spPr bwMode="auto">
            <a:xfrm>
              <a:off x="17289371" y="8631694"/>
              <a:ext cx="111465" cy="95566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21" name="Freeform 450"/>
            <p:cNvSpPr>
              <a:spLocks/>
            </p:cNvSpPr>
            <p:nvPr/>
          </p:nvSpPr>
          <p:spPr bwMode="auto">
            <a:xfrm>
              <a:off x="17063256" y="8539313"/>
              <a:ext cx="111465" cy="111494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22" name="Freeform 451"/>
            <p:cNvSpPr>
              <a:spLocks/>
            </p:cNvSpPr>
            <p:nvPr/>
          </p:nvSpPr>
          <p:spPr bwMode="auto">
            <a:xfrm>
              <a:off x="17391283" y="8399150"/>
              <a:ext cx="19109" cy="9556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23" name="Freeform 452"/>
            <p:cNvSpPr>
              <a:spLocks/>
            </p:cNvSpPr>
            <p:nvPr/>
          </p:nvSpPr>
          <p:spPr bwMode="auto">
            <a:xfrm>
              <a:off x="16037776" y="8781415"/>
              <a:ext cx="522294" cy="544729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24" name="Freeform 453"/>
            <p:cNvSpPr>
              <a:spLocks/>
            </p:cNvSpPr>
            <p:nvPr/>
          </p:nvSpPr>
          <p:spPr bwMode="auto">
            <a:xfrm>
              <a:off x="16130132" y="8978921"/>
              <a:ext cx="47770" cy="47785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25" name="Freeform 454"/>
            <p:cNvSpPr>
              <a:spLocks/>
            </p:cNvSpPr>
            <p:nvPr/>
          </p:nvSpPr>
          <p:spPr bwMode="auto">
            <a:xfrm>
              <a:off x="16197014" y="9090415"/>
              <a:ext cx="44586" cy="47785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26" name="Freeform 455"/>
            <p:cNvSpPr>
              <a:spLocks/>
            </p:cNvSpPr>
            <p:nvPr/>
          </p:nvSpPr>
          <p:spPr bwMode="auto">
            <a:xfrm>
              <a:off x="16512300" y="9119082"/>
              <a:ext cx="66879" cy="66896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27" name="Freeform 456"/>
            <p:cNvSpPr>
              <a:spLocks/>
            </p:cNvSpPr>
            <p:nvPr/>
          </p:nvSpPr>
          <p:spPr bwMode="auto">
            <a:xfrm>
              <a:off x="16617396" y="9166867"/>
              <a:ext cx="35033" cy="35042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28" name="Freeform 457"/>
            <p:cNvSpPr>
              <a:spLocks/>
            </p:cNvSpPr>
            <p:nvPr/>
          </p:nvSpPr>
          <p:spPr bwMode="auto">
            <a:xfrm>
              <a:off x="16521853" y="9326144"/>
              <a:ext cx="429938" cy="1401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29" name="Freeform 458"/>
            <p:cNvSpPr>
              <a:spLocks/>
            </p:cNvSpPr>
            <p:nvPr/>
          </p:nvSpPr>
          <p:spPr bwMode="auto">
            <a:xfrm>
              <a:off x="16840326" y="9361183"/>
              <a:ext cx="73248" cy="28669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30" name="Freeform 459"/>
            <p:cNvSpPr>
              <a:spLocks/>
            </p:cNvSpPr>
            <p:nvPr/>
          </p:nvSpPr>
          <p:spPr bwMode="auto">
            <a:xfrm>
              <a:off x="16942236" y="9428080"/>
              <a:ext cx="57323" cy="38227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31" name="Freeform 460"/>
            <p:cNvSpPr>
              <a:spLocks/>
            </p:cNvSpPr>
            <p:nvPr/>
          </p:nvSpPr>
          <p:spPr bwMode="auto">
            <a:xfrm>
              <a:off x="16999562" y="9437635"/>
              <a:ext cx="44586" cy="28669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32" name="Freeform 461"/>
            <p:cNvSpPr>
              <a:spLocks/>
            </p:cNvSpPr>
            <p:nvPr/>
          </p:nvSpPr>
          <p:spPr bwMode="auto">
            <a:xfrm>
              <a:off x="17034592" y="9437635"/>
              <a:ext cx="66879" cy="38227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33" name="Freeform 462"/>
            <p:cNvSpPr>
              <a:spLocks/>
            </p:cNvSpPr>
            <p:nvPr/>
          </p:nvSpPr>
          <p:spPr bwMode="auto">
            <a:xfrm>
              <a:off x="17082363" y="9428080"/>
              <a:ext cx="76432" cy="47785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34" name="Freeform 463"/>
            <p:cNvSpPr>
              <a:spLocks/>
            </p:cNvSpPr>
            <p:nvPr/>
          </p:nvSpPr>
          <p:spPr bwMode="auto">
            <a:xfrm>
              <a:off x="17184277" y="9437635"/>
              <a:ext cx="114649" cy="38227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35" name="Freeform 464"/>
            <p:cNvSpPr>
              <a:spLocks/>
            </p:cNvSpPr>
            <p:nvPr/>
          </p:nvSpPr>
          <p:spPr bwMode="auto">
            <a:xfrm>
              <a:off x="17149244" y="9491791"/>
              <a:ext cx="101909" cy="57338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36" name="Freeform 465"/>
            <p:cNvSpPr>
              <a:spLocks/>
            </p:cNvSpPr>
            <p:nvPr/>
          </p:nvSpPr>
          <p:spPr bwMode="auto">
            <a:xfrm>
              <a:off x="17474083" y="9192351"/>
              <a:ext cx="57323" cy="38227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37" name="Freeform 466"/>
            <p:cNvSpPr>
              <a:spLocks/>
            </p:cNvSpPr>
            <p:nvPr/>
          </p:nvSpPr>
          <p:spPr bwMode="auto">
            <a:xfrm>
              <a:off x="17569627" y="9185981"/>
              <a:ext cx="140127" cy="44598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38" name="Freeform 467"/>
            <p:cNvSpPr>
              <a:spLocks/>
            </p:cNvSpPr>
            <p:nvPr/>
          </p:nvSpPr>
          <p:spPr bwMode="auto">
            <a:xfrm>
              <a:off x="17139689" y="8969361"/>
              <a:ext cx="299364" cy="337667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39" name="Freeform 468"/>
            <p:cNvSpPr>
              <a:spLocks/>
            </p:cNvSpPr>
            <p:nvPr/>
          </p:nvSpPr>
          <p:spPr bwMode="auto">
            <a:xfrm>
              <a:off x="17540962" y="8950247"/>
              <a:ext cx="73248" cy="1401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40" name="Freeform 469"/>
            <p:cNvSpPr>
              <a:spLocks/>
            </p:cNvSpPr>
            <p:nvPr/>
          </p:nvSpPr>
          <p:spPr bwMode="auto">
            <a:xfrm>
              <a:off x="17579182" y="8931136"/>
              <a:ext cx="25477" cy="19114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41" name="Freeform 470"/>
            <p:cNvSpPr>
              <a:spLocks/>
            </p:cNvSpPr>
            <p:nvPr/>
          </p:nvSpPr>
          <p:spPr bwMode="auto">
            <a:xfrm>
              <a:off x="17681092" y="9052186"/>
              <a:ext cx="44586" cy="19114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42" name="Freeform 471"/>
            <p:cNvSpPr>
              <a:spLocks/>
            </p:cNvSpPr>
            <p:nvPr/>
          </p:nvSpPr>
          <p:spPr bwMode="auto">
            <a:xfrm>
              <a:off x="17690647" y="9061741"/>
              <a:ext cx="175160" cy="105124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43" name="Freeform 472"/>
            <p:cNvSpPr>
              <a:spLocks/>
            </p:cNvSpPr>
            <p:nvPr/>
          </p:nvSpPr>
          <p:spPr bwMode="auto">
            <a:xfrm>
              <a:off x="18521857" y="9240134"/>
              <a:ext cx="194268" cy="111494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44" name="Freeform 473"/>
            <p:cNvSpPr>
              <a:spLocks/>
            </p:cNvSpPr>
            <p:nvPr/>
          </p:nvSpPr>
          <p:spPr bwMode="auto">
            <a:xfrm>
              <a:off x="18802113" y="9297472"/>
              <a:ext cx="82803" cy="101936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45" name="Freeform 474"/>
            <p:cNvSpPr>
              <a:spLocks/>
            </p:cNvSpPr>
            <p:nvPr/>
          </p:nvSpPr>
          <p:spPr bwMode="auto">
            <a:xfrm>
              <a:off x="19044149" y="9485423"/>
              <a:ext cx="54139" cy="54153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46" name="Freeform 475"/>
            <p:cNvSpPr>
              <a:spLocks/>
            </p:cNvSpPr>
            <p:nvPr/>
          </p:nvSpPr>
          <p:spPr bwMode="auto">
            <a:xfrm>
              <a:off x="18986825" y="9399411"/>
              <a:ext cx="85988" cy="57338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47" name="Freeform 476"/>
            <p:cNvSpPr>
              <a:spLocks/>
            </p:cNvSpPr>
            <p:nvPr/>
          </p:nvSpPr>
          <p:spPr bwMode="auto">
            <a:xfrm>
              <a:off x="18904022" y="9361183"/>
              <a:ext cx="38217" cy="47785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48" name="Freeform 477"/>
            <p:cNvSpPr>
              <a:spLocks/>
            </p:cNvSpPr>
            <p:nvPr/>
          </p:nvSpPr>
          <p:spPr bwMode="auto">
            <a:xfrm>
              <a:off x="19247970" y="10017406"/>
              <a:ext cx="149680" cy="111494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49" name="Freeform 478"/>
            <p:cNvSpPr>
              <a:spLocks/>
            </p:cNvSpPr>
            <p:nvPr/>
          </p:nvSpPr>
          <p:spPr bwMode="auto">
            <a:xfrm>
              <a:off x="19649244" y="10727782"/>
              <a:ext cx="105096" cy="130608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50" name="Freeform 479"/>
            <p:cNvSpPr>
              <a:spLocks/>
            </p:cNvSpPr>
            <p:nvPr/>
          </p:nvSpPr>
          <p:spPr bwMode="auto">
            <a:xfrm>
              <a:off x="19677908" y="10848834"/>
              <a:ext cx="242036" cy="283514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51" name="Freeform 480"/>
            <p:cNvSpPr>
              <a:spLocks/>
            </p:cNvSpPr>
            <p:nvPr/>
          </p:nvSpPr>
          <p:spPr bwMode="auto">
            <a:xfrm>
              <a:off x="19359438" y="11055894"/>
              <a:ext cx="366243" cy="356781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52" name="Freeform 481"/>
            <p:cNvSpPr>
              <a:spLocks/>
            </p:cNvSpPr>
            <p:nvPr/>
          </p:nvSpPr>
          <p:spPr bwMode="auto">
            <a:xfrm>
              <a:off x="19416761" y="11412677"/>
              <a:ext cx="19109" cy="19114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53" name="Freeform 482"/>
            <p:cNvSpPr>
              <a:spLocks/>
            </p:cNvSpPr>
            <p:nvPr/>
          </p:nvSpPr>
          <p:spPr bwMode="auto">
            <a:xfrm>
              <a:off x="18343513" y="11065452"/>
              <a:ext cx="178346" cy="168835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54" name="Freeform 483"/>
            <p:cNvSpPr>
              <a:spLocks/>
            </p:cNvSpPr>
            <p:nvPr/>
          </p:nvSpPr>
          <p:spPr bwMode="auto">
            <a:xfrm>
              <a:off x="18483640" y="11017669"/>
              <a:ext cx="28662" cy="47785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55" name="Freeform 484"/>
            <p:cNvSpPr>
              <a:spLocks/>
            </p:cNvSpPr>
            <p:nvPr/>
          </p:nvSpPr>
          <p:spPr bwMode="auto">
            <a:xfrm>
              <a:off x="18295742" y="11017669"/>
              <a:ext cx="19109" cy="19114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56" name="Freeform 485"/>
            <p:cNvSpPr>
              <a:spLocks/>
            </p:cNvSpPr>
            <p:nvPr/>
          </p:nvSpPr>
          <p:spPr bwMode="auto">
            <a:xfrm>
              <a:off x="15384910" y="8593469"/>
              <a:ext cx="101909" cy="168835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57" name="Freeform 486"/>
            <p:cNvSpPr>
              <a:spLocks/>
            </p:cNvSpPr>
            <p:nvPr/>
          </p:nvSpPr>
          <p:spPr bwMode="auto">
            <a:xfrm>
              <a:off x="13665165" y="9606473"/>
              <a:ext cx="337579" cy="653035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58" name="Freeform 487"/>
            <p:cNvSpPr>
              <a:spLocks/>
            </p:cNvSpPr>
            <p:nvPr/>
          </p:nvSpPr>
          <p:spPr bwMode="auto">
            <a:xfrm>
              <a:off x="14413572" y="5028840"/>
              <a:ext cx="101909" cy="76452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59" name="Freeform 488"/>
            <p:cNvSpPr>
              <a:spLocks/>
            </p:cNvSpPr>
            <p:nvPr/>
          </p:nvSpPr>
          <p:spPr bwMode="auto">
            <a:xfrm>
              <a:off x="13926310" y="5086181"/>
              <a:ext cx="101909" cy="92380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60" name="Freeform 489"/>
            <p:cNvSpPr>
              <a:spLocks/>
            </p:cNvSpPr>
            <p:nvPr/>
          </p:nvSpPr>
          <p:spPr bwMode="auto">
            <a:xfrm>
              <a:off x="14945419" y="4767625"/>
              <a:ext cx="82803" cy="47785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61" name="Freeform 490"/>
            <p:cNvSpPr>
              <a:spLocks/>
            </p:cNvSpPr>
            <p:nvPr/>
          </p:nvSpPr>
          <p:spPr bwMode="auto">
            <a:xfrm>
              <a:off x="16811662" y="4675245"/>
              <a:ext cx="92356" cy="44598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62" name="Freeform 491"/>
            <p:cNvSpPr>
              <a:spLocks/>
            </p:cNvSpPr>
            <p:nvPr/>
          </p:nvSpPr>
          <p:spPr bwMode="auto">
            <a:xfrm>
              <a:off x="15868988" y="3999911"/>
              <a:ext cx="57323" cy="19114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63" name="Freeform 492"/>
            <p:cNvSpPr>
              <a:spLocks/>
            </p:cNvSpPr>
            <p:nvPr/>
          </p:nvSpPr>
          <p:spPr bwMode="auto">
            <a:xfrm>
              <a:off x="15346696" y="4805855"/>
              <a:ext cx="54139" cy="38227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64" name="Freeform 493"/>
            <p:cNvSpPr>
              <a:spLocks/>
            </p:cNvSpPr>
            <p:nvPr/>
          </p:nvSpPr>
          <p:spPr bwMode="auto">
            <a:xfrm>
              <a:off x="12098282" y="6892386"/>
              <a:ext cx="54139" cy="101936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65" name="Freeform 494"/>
            <p:cNvSpPr>
              <a:spLocks/>
            </p:cNvSpPr>
            <p:nvPr/>
          </p:nvSpPr>
          <p:spPr bwMode="auto">
            <a:xfrm>
              <a:off x="12079173" y="6984768"/>
              <a:ext cx="82803" cy="1401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66" name="Freeform 495"/>
            <p:cNvSpPr>
              <a:spLocks/>
            </p:cNvSpPr>
            <p:nvPr/>
          </p:nvSpPr>
          <p:spPr bwMode="auto">
            <a:xfrm>
              <a:off x="12273444" y="7153601"/>
              <a:ext cx="149680" cy="92380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67" name="Freeform 496"/>
            <p:cNvSpPr>
              <a:spLocks/>
            </p:cNvSpPr>
            <p:nvPr/>
          </p:nvSpPr>
          <p:spPr bwMode="auto">
            <a:xfrm>
              <a:off x="13161977" y="7284208"/>
              <a:ext cx="121018" cy="66896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68" name="Freeform 497"/>
            <p:cNvSpPr>
              <a:spLocks/>
            </p:cNvSpPr>
            <p:nvPr/>
          </p:nvSpPr>
          <p:spPr bwMode="auto">
            <a:xfrm>
              <a:off x="12760705" y="7293764"/>
              <a:ext cx="140127" cy="38227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69" name="Freeform 498"/>
            <p:cNvSpPr>
              <a:spLocks/>
            </p:cNvSpPr>
            <p:nvPr/>
          </p:nvSpPr>
          <p:spPr bwMode="auto">
            <a:xfrm>
              <a:off x="12693826" y="5917609"/>
              <a:ext cx="66879" cy="66896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70" name="Freeform 499"/>
            <p:cNvSpPr>
              <a:spLocks/>
            </p:cNvSpPr>
            <p:nvPr/>
          </p:nvSpPr>
          <p:spPr bwMode="auto">
            <a:xfrm>
              <a:off x="12703380" y="5892125"/>
              <a:ext cx="47770" cy="25484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71" name="Freeform 500"/>
            <p:cNvSpPr>
              <a:spLocks/>
            </p:cNvSpPr>
            <p:nvPr/>
          </p:nvSpPr>
          <p:spPr bwMode="auto">
            <a:xfrm>
              <a:off x="12509111" y="5955834"/>
              <a:ext cx="54139" cy="92380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72" name="Freeform 501"/>
            <p:cNvSpPr>
              <a:spLocks/>
            </p:cNvSpPr>
            <p:nvPr/>
          </p:nvSpPr>
          <p:spPr bwMode="auto">
            <a:xfrm>
              <a:off x="12591917" y="5796557"/>
              <a:ext cx="38217" cy="38227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73" name="Freeform 502"/>
            <p:cNvSpPr>
              <a:spLocks/>
            </p:cNvSpPr>
            <p:nvPr/>
          </p:nvSpPr>
          <p:spPr bwMode="auto">
            <a:xfrm>
              <a:off x="12219302" y="6086441"/>
              <a:ext cx="54139" cy="86010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74" name="Freeform 503"/>
            <p:cNvSpPr>
              <a:spLocks/>
            </p:cNvSpPr>
            <p:nvPr/>
          </p:nvSpPr>
          <p:spPr bwMode="auto">
            <a:xfrm>
              <a:off x="12152426" y="6105555"/>
              <a:ext cx="76432" cy="76452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75" name="Freeform 504"/>
            <p:cNvSpPr>
              <a:spLocks/>
            </p:cNvSpPr>
            <p:nvPr/>
          </p:nvSpPr>
          <p:spPr bwMode="auto">
            <a:xfrm>
              <a:off x="11818028" y="7070776"/>
              <a:ext cx="44586" cy="35042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76" name="Freeform 505"/>
            <p:cNvSpPr>
              <a:spLocks/>
            </p:cNvSpPr>
            <p:nvPr/>
          </p:nvSpPr>
          <p:spPr bwMode="auto">
            <a:xfrm>
              <a:off x="11359426" y="5927165"/>
              <a:ext cx="57323" cy="57338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77" name="Freeform 506"/>
            <p:cNvSpPr>
              <a:spLocks/>
            </p:cNvSpPr>
            <p:nvPr/>
          </p:nvSpPr>
          <p:spPr bwMode="auto">
            <a:xfrm>
              <a:off x="11388093" y="5994061"/>
              <a:ext cx="28662" cy="28669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78" name="Freeform 507"/>
            <p:cNvSpPr>
              <a:spLocks/>
            </p:cNvSpPr>
            <p:nvPr/>
          </p:nvSpPr>
          <p:spPr bwMode="auto">
            <a:xfrm>
              <a:off x="11416754" y="6022733"/>
              <a:ext cx="15924" cy="9556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79" name="Freeform 508"/>
            <p:cNvSpPr>
              <a:spLocks/>
            </p:cNvSpPr>
            <p:nvPr/>
          </p:nvSpPr>
          <p:spPr bwMode="auto">
            <a:xfrm>
              <a:off x="11416754" y="6048217"/>
              <a:ext cx="9553" cy="19114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80" name="Freeform 509"/>
            <p:cNvSpPr>
              <a:spLocks/>
            </p:cNvSpPr>
            <p:nvPr/>
          </p:nvSpPr>
          <p:spPr bwMode="auto">
            <a:xfrm>
              <a:off x="11416754" y="6067328"/>
              <a:ext cx="15924" cy="9556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81" name="Freeform 510"/>
            <p:cNvSpPr>
              <a:spLocks/>
            </p:cNvSpPr>
            <p:nvPr/>
          </p:nvSpPr>
          <p:spPr bwMode="auto">
            <a:xfrm>
              <a:off x="11490002" y="6207491"/>
              <a:ext cx="9553" cy="19114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82" name="Freeform 511"/>
            <p:cNvSpPr>
              <a:spLocks/>
            </p:cNvSpPr>
            <p:nvPr/>
          </p:nvSpPr>
          <p:spPr bwMode="auto">
            <a:xfrm>
              <a:off x="11630131" y="5787002"/>
              <a:ext cx="19109" cy="38227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83" name="Freeform 512"/>
            <p:cNvSpPr>
              <a:spLocks/>
            </p:cNvSpPr>
            <p:nvPr/>
          </p:nvSpPr>
          <p:spPr bwMode="auto">
            <a:xfrm>
              <a:off x="8260699" y="11747159"/>
              <a:ext cx="111465" cy="57338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84" name="Freeform 513"/>
            <p:cNvSpPr>
              <a:spLocks/>
            </p:cNvSpPr>
            <p:nvPr/>
          </p:nvSpPr>
          <p:spPr bwMode="auto">
            <a:xfrm>
              <a:off x="8251144" y="11804497"/>
              <a:ext cx="82803" cy="57338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85" name="Freeform 514"/>
            <p:cNvSpPr>
              <a:spLocks/>
            </p:cNvSpPr>
            <p:nvPr/>
          </p:nvSpPr>
          <p:spPr bwMode="auto">
            <a:xfrm>
              <a:off x="8241593" y="11731231"/>
              <a:ext cx="73248" cy="44598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86" name="Freeform 515"/>
            <p:cNvSpPr>
              <a:spLocks/>
            </p:cNvSpPr>
            <p:nvPr/>
          </p:nvSpPr>
          <p:spPr bwMode="auto">
            <a:xfrm>
              <a:off x="8203376" y="11766272"/>
              <a:ext cx="76432" cy="47785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87" name="Freeform 516"/>
            <p:cNvSpPr>
              <a:spLocks/>
            </p:cNvSpPr>
            <p:nvPr/>
          </p:nvSpPr>
          <p:spPr bwMode="auto">
            <a:xfrm>
              <a:off x="8184267" y="11702559"/>
              <a:ext cx="28662" cy="28669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88" name="Freeform 517"/>
            <p:cNvSpPr>
              <a:spLocks/>
            </p:cNvSpPr>
            <p:nvPr/>
          </p:nvSpPr>
          <p:spPr bwMode="auto">
            <a:xfrm>
              <a:off x="8184267" y="11626107"/>
              <a:ext cx="66879" cy="66896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89" name="Freeform 518"/>
            <p:cNvSpPr>
              <a:spLocks/>
            </p:cNvSpPr>
            <p:nvPr/>
          </p:nvSpPr>
          <p:spPr bwMode="auto">
            <a:xfrm>
              <a:off x="8174712" y="11505057"/>
              <a:ext cx="47770" cy="101936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90" name="Freeform 519"/>
            <p:cNvSpPr>
              <a:spLocks/>
            </p:cNvSpPr>
            <p:nvPr/>
          </p:nvSpPr>
          <p:spPr bwMode="auto">
            <a:xfrm>
              <a:off x="8165159" y="11587880"/>
              <a:ext cx="28662" cy="57338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91" name="Freeform 520"/>
            <p:cNvSpPr>
              <a:spLocks/>
            </p:cNvSpPr>
            <p:nvPr/>
          </p:nvSpPr>
          <p:spPr bwMode="auto">
            <a:xfrm>
              <a:off x="8165159" y="11466830"/>
              <a:ext cx="47770" cy="66896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92" name="Freeform 521"/>
            <p:cNvSpPr>
              <a:spLocks/>
            </p:cNvSpPr>
            <p:nvPr/>
          </p:nvSpPr>
          <p:spPr bwMode="auto">
            <a:xfrm>
              <a:off x="8212931" y="11282067"/>
              <a:ext cx="47770" cy="44598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93" name="Freeform 522"/>
            <p:cNvSpPr>
              <a:spLocks/>
            </p:cNvSpPr>
            <p:nvPr/>
          </p:nvSpPr>
          <p:spPr bwMode="auto">
            <a:xfrm>
              <a:off x="8222485" y="11113235"/>
              <a:ext cx="57323" cy="101936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94" name="Freeform 523"/>
            <p:cNvSpPr>
              <a:spLocks/>
            </p:cNvSpPr>
            <p:nvPr/>
          </p:nvSpPr>
          <p:spPr bwMode="auto">
            <a:xfrm>
              <a:off x="8410382" y="8462859"/>
              <a:ext cx="44586" cy="38227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95" name="Freeform 524"/>
            <p:cNvSpPr>
              <a:spLocks/>
            </p:cNvSpPr>
            <p:nvPr/>
          </p:nvSpPr>
          <p:spPr bwMode="auto">
            <a:xfrm>
              <a:off x="8811656" y="8520200"/>
              <a:ext cx="54139" cy="73269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96" name="Freeform 525"/>
            <p:cNvSpPr>
              <a:spLocks/>
            </p:cNvSpPr>
            <p:nvPr/>
          </p:nvSpPr>
          <p:spPr bwMode="auto">
            <a:xfrm>
              <a:off x="9324397" y="9026702"/>
              <a:ext cx="130574" cy="121050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97" name="Freeform 526"/>
            <p:cNvSpPr>
              <a:spLocks/>
            </p:cNvSpPr>
            <p:nvPr/>
          </p:nvSpPr>
          <p:spPr bwMode="auto">
            <a:xfrm>
              <a:off x="8560064" y="8163419"/>
              <a:ext cx="92356" cy="38227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98" name="Freeform 527"/>
            <p:cNvSpPr>
              <a:spLocks/>
            </p:cNvSpPr>
            <p:nvPr/>
          </p:nvSpPr>
          <p:spPr bwMode="auto">
            <a:xfrm>
              <a:off x="8034585" y="8153861"/>
              <a:ext cx="105096" cy="47785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99" name="Freeform 528"/>
            <p:cNvSpPr>
              <a:spLocks/>
            </p:cNvSpPr>
            <p:nvPr/>
          </p:nvSpPr>
          <p:spPr bwMode="auto">
            <a:xfrm>
              <a:off x="7747963" y="7940431"/>
              <a:ext cx="484077" cy="168835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00" name="Freeform 529"/>
            <p:cNvSpPr>
              <a:spLocks/>
            </p:cNvSpPr>
            <p:nvPr/>
          </p:nvSpPr>
          <p:spPr bwMode="auto">
            <a:xfrm>
              <a:off x="8034585" y="7838493"/>
              <a:ext cx="38217" cy="35042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01" name="Freeform 530"/>
            <p:cNvSpPr>
              <a:spLocks/>
            </p:cNvSpPr>
            <p:nvPr/>
          </p:nvSpPr>
          <p:spPr bwMode="auto">
            <a:xfrm>
              <a:off x="8270255" y="8032812"/>
              <a:ext cx="19109" cy="19114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02" name="Freeform 531"/>
            <p:cNvSpPr>
              <a:spLocks/>
            </p:cNvSpPr>
            <p:nvPr/>
          </p:nvSpPr>
          <p:spPr bwMode="auto">
            <a:xfrm>
              <a:off x="8830764" y="6656657"/>
              <a:ext cx="54139" cy="95566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03" name="Freeform 532"/>
            <p:cNvSpPr>
              <a:spLocks/>
            </p:cNvSpPr>
            <p:nvPr/>
          </p:nvSpPr>
          <p:spPr bwMode="auto">
            <a:xfrm>
              <a:off x="8856242" y="6704440"/>
              <a:ext cx="66879" cy="38227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04" name="Freeform 533"/>
            <p:cNvSpPr>
              <a:spLocks/>
            </p:cNvSpPr>
            <p:nvPr/>
          </p:nvSpPr>
          <p:spPr bwMode="auto">
            <a:xfrm>
              <a:off x="8671526" y="6666212"/>
              <a:ext cx="140127" cy="66896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05" name="Freeform 534"/>
            <p:cNvSpPr>
              <a:spLocks/>
            </p:cNvSpPr>
            <p:nvPr/>
          </p:nvSpPr>
          <p:spPr bwMode="auto">
            <a:xfrm>
              <a:off x="8700193" y="6481449"/>
              <a:ext cx="146495" cy="73269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06" name="Freeform 535"/>
            <p:cNvSpPr>
              <a:spLocks/>
            </p:cNvSpPr>
            <p:nvPr/>
          </p:nvSpPr>
          <p:spPr bwMode="auto">
            <a:xfrm>
              <a:off x="8932676" y="6385884"/>
              <a:ext cx="299364" cy="289884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07" name="Freeform 536"/>
            <p:cNvSpPr>
              <a:spLocks/>
            </p:cNvSpPr>
            <p:nvPr/>
          </p:nvSpPr>
          <p:spPr bwMode="auto">
            <a:xfrm>
              <a:off x="9174715" y="6592943"/>
              <a:ext cx="76432" cy="92380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08" name="Freeform 537"/>
            <p:cNvSpPr>
              <a:spLocks/>
            </p:cNvSpPr>
            <p:nvPr/>
          </p:nvSpPr>
          <p:spPr bwMode="auto">
            <a:xfrm>
              <a:off x="8652423" y="5694619"/>
              <a:ext cx="28662" cy="54153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09" name="Freeform 538"/>
            <p:cNvSpPr>
              <a:spLocks/>
            </p:cNvSpPr>
            <p:nvPr/>
          </p:nvSpPr>
          <p:spPr bwMode="auto">
            <a:xfrm>
              <a:off x="8512296" y="5787002"/>
              <a:ext cx="28662" cy="28669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10" name="Freeform 539"/>
            <p:cNvSpPr>
              <a:spLocks/>
            </p:cNvSpPr>
            <p:nvPr/>
          </p:nvSpPr>
          <p:spPr bwMode="auto">
            <a:xfrm>
              <a:off x="7868981" y="6283948"/>
              <a:ext cx="63695" cy="38227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11" name="Freeform 540"/>
            <p:cNvSpPr>
              <a:spLocks/>
            </p:cNvSpPr>
            <p:nvPr/>
          </p:nvSpPr>
          <p:spPr bwMode="auto">
            <a:xfrm>
              <a:off x="7970890" y="6057775"/>
              <a:ext cx="57323" cy="57338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12" name="Freeform 541"/>
            <p:cNvSpPr>
              <a:spLocks/>
            </p:cNvSpPr>
            <p:nvPr/>
          </p:nvSpPr>
          <p:spPr bwMode="auto">
            <a:xfrm>
              <a:off x="7942229" y="5656392"/>
              <a:ext cx="57323" cy="66896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13" name="Freeform 542"/>
            <p:cNvSpPr>
              <a:spLocks/>
            </p:cNvSpPr>
            <p:nvPr/>
          </p:nvSpPr>
          <p:spPr bwMode="auto">
            <a:xfrm>
              <a:off x="7782993" y="5618167"/>
              <a:ext cx="111465" cy="57338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14" name="Freeform 543"/>
            <p:cNvSpPr>
              <a:spLocks/>
            </p:cNvSpPr>
            <p:nvPr/>
          </p:nvSpPr>
          <p:spPr bwMode="auto">
            <a:xfrm>
              <a:off x="8018661" y="5583125"/>
              <a:ext cx="63695" cy="25484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15" name="Freeform 544"/>
            <p:cNvSpPr>
              <a:spLocks/>
            </p:cNvSpPr>
            <p:nvPr/>
          </p:nvSpPr>
          <p:spPr bwMode="auto">
            <a:xfrm>
              <a:off x="7623756" y="5395179"/>
              <a:ext cx="318473" cy="222990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16" name="Freeform 545"/>
            <p:cNvSpPr>
              <a:spLocks/>
            </p:cNvSpPr>
            <p:nvPr/>
          </p:nvSpPr>
          <p:spPr bwMode="auto">
            <a:xfrm>
              <a:off x="7747963" y="5376063"/>
              <a:ext cx="63695" cy="47785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17" name="Freeform 546"/>
            <p:cNvSpPr>
              <a:spLocks/>
            </p:cNvSpPr>
            <p:nvPr/>
          </p:nvSpPr>
          <p:spPr bwMode="auto">
            <a:xfrm>
              <a:off x="7728852" y="5385621"/>
              <a:ext cx="35033" cy="47785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18" name="Freeform 547"/>
            <p:cNvSpPr>
              <a:spLocks/>
            </p:cNvSpPr>
            <p:nvPr/>
          </p:nvSpPr>
          <p:spPr bwMode="auto">
            <a:xfrm>
              <a:off x="7642864" y="5207233"/>
              <a:ext cx="28662" cy="57338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19" name="Freeform 548"/>
            <p:cNvSpPr>
              <a:spLocks/>
            </p:cNvSpPr>
            <p:nvPr/>
          </p:nvSpPr>
          <p:spPr bwMode="auto">
            <a:xfrm>
              <a:off x="7502737" y="4719845"/>
              <a:ext cx="1343951" cy="984332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20" name="Freeform 549"/>
            <p:cNvSpPr>
              <a:spLocks/>
            </p:cNvSpPr>
            <p:nvPr/>
          </p:nvSpPr>
          <p:spPr bwMode="auto">
            <a:xfrm>
              <a:off x="8372164" y="5637283"/>
              <a:ext cx="57323" cy="19114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21" name="Freeform 550"/>
            <p:cNvSpPr>
              <a:spLocks/>
            </p:cNvSpPr>
            <p:nvPr/>
          </p:nvSpPr>
          <p:spPr bwMode="auto">
            <a:xfrm>
              <a:off x="8203376" y="5226347"/>
              <a:ext cx="76432" cy="19114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22" name="Freeform 551"/>
            <p:cNvSpPr>
              <a:spLocks/>
            </p:cNvSpPr>
            <p:nvPr/>
          </p:nvSpPr>
          <p:spPr bwMode="auto">
            <a:xfrm>
              <a:off x="8091911" y="5207233"/>
              <a:ext cx="111465" cy="92380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23" name="Freeform 552"/>
            <p:cNvSpPr>
              <a:spLocks/>
            </p:cNvSpPr>
            <p:nvPr/>
          </p:nvSpPr>
          <p:spPr bwMode="auto">
            <a:xfrm>
              <a:off x="7989999" y="5124408"/>
              <a:ext cx="63695" cy="35042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24" name="Freeform 553"/>
            <p:cNvSpPr>
              <a:spLocks/>
            </p:cNvSpPr>
            <p:nvPr/>
          </p:nvSpPr>
          <p:spPr bwMode="auto">
            <a:xfrm>
              <a:off x="8082358" y="5114850"/>
              <a:ext cx="57323" cy="28669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25" name="Freeform 554"/>
            <p:cNvSpPr>
              <a:spLocks/>
            </p:cNvSpPr>
            <p:nvPr/>
          </p:nvSpPr>
          <p:spPr bwMode="auto">
            <a:xfrm>
              <a:off x="8028216" y="5095739"/>
              <a:ext cx="44586" cy="19114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26" name="Freeform 555"/>
            <p:cNvSpPr>
              <a:spLocks/>
            </p:cNvSpPr>
            <p:nvPr/>
          </p:nvSpPr>
          <p:spPr bwMode="auto">
            <a:xfrm>
              <a:off x="7913567" y="4738956"/>
              <a:ext cx="245223" cy="105124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27" name="Freeform 556"/>
            <p:cNvSpPr>
              <a:spLocks/>
            </p:cNvSpPr>
            <p:nvPr/>
          </p:nvSpPr>
          <p:spPr bwMode="auto">
            <a:xfrm>
              <a:off x="5709742" y="6433669"/>
              <a:ext cx="270700" cy="178393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28" name="Freeform 557"/>
            <p:cNvSpPr>
              <a:spLocks/>
            </p:cNvSpPr>
            <p:nvPr/>
          </p:nvSpPr>
          <p:spPr bwMode="auto">
            <a:xfrm>
              <a:off x="5496368" y="6226607"/>
              <a:ext cx="121018" cy="130608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29" name="Freeform 558"/>
            <p:cNvSpPr>
              <a:spLocks/>
            </p:cNvSpPr>
            <p:nvPr/>
          </p:nvSpPr>
          <p:spPr bwMode="auto">
            <a:xfrm>
              <a:off x="5505923" y="6076886"/>
              <a:ext cx="38217" cy="38227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30" name="Freeform 559"/>
            <p:cNvSpPr>
              <a:spLocks/>
            </p:cNvSpPr>
            <p:nvPr/>
          </p:nvSpPr>
          <p:spPr bwMode="auto">
            <a:xfrm>
              <a:off x="5458150" y="6032291"/>
              <a:ext cx="57323" cy="54153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31" name="Freeform 560"/>
            <p:cNvSpPr>
              <a:spLocks/>
            </p:cNvSpPr>
            <p:nvPr/>
          </p:nvSpPr>
          <p:spPr bwMode="auto">
            <a:xfrm>
              <a:off x="5432673" y="6048217"/>
              <a:ext cx="35033" cy="57338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32" name="Freeform 561"/>
            <p:cNvSpPr>
              <a:spLocks/>
            </p:cNvSpPr>
            <p:nvPr/>
          </p:nvSpPr>
          <p:spPr bwMode="auto">
            <a:xfrm>
              <a:off x="5375347" y="5994061"/>
              <a:ext cx="47770" cy="101936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33" name="Freeform 562"/>
            <p:cNvSpPr>
              <a:spLocks/>
            </p:cNvSpPr>
            <p:nvPr/>
          </p:nvSpPr>
          <p:spPr bwMode="auto">
            <a:xfrm>
              <a:off x="5337130" y="5955834"/>
              <a:ext cx="66879" cy="66896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34" name="Freeform 563"/>
            <p:cNvSpPr>
              <a:spLocks/>
            </p:cNvSpPr>
            <p:nvPr/>
          </p:nvSpPr>
          <p:spPr bwMode="auto">
            <a:xfrm>
              <a:off x="5404009" y="5955834"/>
              <a:ext cx="63695" cy="86010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35" name="Freeform 564"/>
            <p:cNvSpPr>
              <a:spLocks/>
            </p:cNvSpPr>
            <p:nvPr/>
          </p:nvSpPr>
          <p:spPr bwMode="auto">
            <a:xfrm>
              <a:off x="5384900" y="5974948"/>
              <a:ext cx="28662" cy="9556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36" name="Freeform 565"/>
            <p:cNvSpPr>
              <a:spLocks/>
            </p:cNvSpPr>
            <p:nvPr/>
          </p:nvSpPr>
          <p:spPr bwMode="auto">
            <a:xfrm>
              <a:off x="4486812" y="5984506"/>
              <a:ext cx="124202" cy="63711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37" name="Freeform 566"/>
            <p:cNvSpPr>
              <a:spLocks/>
            </p:cNvSpPr>
            <p:nvPr/>
          </p:nvSpPr>
          <p:spPr bwMode="auto">
            <a:xfrm>
              <a:off x="4534582" y="5927165"/>
              <a:ext cx="76432" cy="66896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38" name="Freeform 567"/>
            <p:cNvSpPr>
              <a:spLocks/>
            </p:cNvSpPr>
            <p:nvPr/>
          </p:nvSpPr>
          <p:spPr bwMode="auto">
            <a:xfrm>
              <a:off x="4002734" y="6182007"/>
              <a:ext cx="92356" cy="35042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39" name="Freeform 568"/>
            <p:cNvSpPr>
              <a:spLocks/>
            </p:cNvSpPr>
            <p:nvPr/>
          </p:nvSpPr>
          <p:spPr bwMode="auto">
            <a:xfrm>
              <a:off x="3891269" y="6236163"/>
              <a:ext cx="54139" cy="47785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40" name="Freeform 569"/>
            <p:cNvSpPr>
              <a:spLocks/>
            </p:cNvSpPr>
            <p:nvPr/>
          </p:nvSpPr>
          <p:spPr bwMode="auto">
            <a:xfrm>
              <a:off x="7066431" y="5076623"/>
              <a:ext cx="194268" cy="121050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41" name="Freeform 570"/>
            <p:cNvSpPr>
              <a:spLocks/>
            </p:cNvSpPr>
            <p:nvPr/>
          </p:nvSpPr>
          <p:spPr bwMode="auto">
            <a:xfrm>
              <a:off x="6999554" y="5133964"/>
              <a:ext cx="47770" cy="35042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42" name="Freeform 571"/>
            <p:cNvSpPr>
              <a:spLocks/>
            </p:cNvSpPr>
            <p:nvPr/>
          </p:nvSpPr>
          <p:spPr bwMode="auto">
            <a:xfrm>
              <a:off x="6942228" y="5169003"/>
              <a:ext cx="19109" cy="19114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43" name="Freeform 572"/>
            <p:cNvSpPr>
              <a:spLocks/>
            </p:cNvSpPr>
            <p:nvPr/>
          </p:nvSpPr>
          <p:spPr bwMode="auto">
            <a:xfrm>
              <a:off x="6139678" y="4777183"/>
              <a:ext cx="859874" cy="4204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44" name="Freeform 573"/>
            <p:cNvSpPr>
              <a:spLocks/>
            </p:cNvSpPr>
            <p:nvPr/>
          </p:nvSpPr>
          <p:spPr bwMode="auto">
            <a:xfrm>
              <a:off x="6709745" y="4738956"/>
              <a:ext cx="130574" cy="86010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45" name="Freeform 574"/>
            <p:cNvSpPr>
              <a:spLocks/>
            </p:cNvSpPr>
            <p:nvPr/>
          </p:nvSpPr>
          <p:spPr bwMode="auto">
            <a:xfrm>
              <a:off x="6916751" y="4700729"/>
              <a:ext cx="296178" cy="273958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46" name="Freeform 575"/>
            <p:cNvSpPr>
              <a:spLocks/>
            </p:cNvSpPr>
            <p:nvPr/>
          </p:nvSpPr>
          <p:spPr bwMode="auto">
            <a:xfrm>
              <a:off x="7232037" y="4700729"/>
              <a:ext cx="261145" cy="207060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47" name="Freeform 576"/>
            <p:cNvSpPr>
              <a:spLocks/>
            </p:cNvSpPr>
            <p:nvPr/>
          </p:nvSpPr>
          <p:spPr bwMode="auto">
            <a:xfrm>
              <a:off x="5833947" y="4675245"/>
              <a:ext cx="503186" cy="308998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48" name="Freeform 577"/>
            <p:cNvSpPr>
              <a:spLocks/>
            </p:cNvSpPr>
            <p:nvPr/>
          </p:nvSpPr>
          <p:spPr bwMode="auto">
            <a:xfrm>
              <a:off x="6811655" y="4589235"/>
              <a:ext cx="66879" cy="38227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49" name="Freeform 578"/>
            <p:cNvSpPr>
              <a:spLocks/>
            </p:cNvSpPr>
            <p:nvPr/>
          </p:nvSpPr>
          <p:spPr bwMode="auto">
            <a:xfrm>
              <a:off x="6235221" y="4420403"/>
              <a:ext cx="560509" cy="264400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50" name="Freeform 579"/>
            <p:cNvSpPr>
              <a:spLocks/>
            </p:cNvSpPr>
            <p:nvPr/>
          </p:nvSpPr>
          <p:spPr bwMode="auto">
            <a:xfrm>
              <a:off x="6139678" y="4525526"/>
              <a:ext cx="95541" cy="63711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51" name="Freeform 580"/>
            <p:cNvSpPr>
              <a:spLocks/>
            </p:cNvSpPr>
            <p:nvPr/>
          </p:nvSpPr>
          <p:spPr bwMode="auto">
            <a:xfrm>
              <a:off x="5974074" y="4385363"/>
              <a:ext cx="343950" cy="15927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52" name="Freeform 581"/>
            <p:cNvSpPr>
              <a:spLocks/>
            </p:cNvSpPr>
            <p:nvPr/>
          </p:nvSpPr>
          <p:spPr bwMode="auto">
            <a:xfrm>
              <a:off x="6346686" y="4449069"/>
              <a:ext cx="73248" cy="19114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53" name="Freeform 582"/>
            <p:cNvSpPr>
              <a:spLocks/>
            </p:cNvSpPr>
            <p:nvPr/>
          </p:nvSpPr>
          <p:spPr bwMode="auto">
            <a:xfrm>
              <a:off x="6410381" y="4318467"/>
              <a:ext cx="197453" cy="92380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54" name="Freeform 583"/>
            <p:cNvSpPr>
              <a:spLocks/>
            </p:cNvSpPr>
            <p:nvPr/>
          </p:nvSpPr>
          <p:spPr bwMode="auto">
            <a:xfrm>
              <a:off x="6327577" y="4337578"/>
              <a:ext cx="73248" cy="38227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55" name="Freeform 584"/>
            <p:cNvSpPr>
              <a:spLocks/>
            </p:cNvSpPr>
            <p:nvPr/>
          </p:nvSpPr>
          <p:spPr bwMode="auto">
            <a:xfrm>
              <a:off x="6429489" y="4251568"/>
              <a:ext cx="197453" cy="66896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56" name="Freeform 585"/>
            <p:cNvSpPr>
              <a:spLocks/>
            </p:cNvSpPr>
            <p:nvPr/>
          </p:nvSpPr>
          <p:spPr bwMode="auto">
            <a:xfrm>
              <a:off x="6907195" y="4449069"/>
              <a:ext cx="261145" cy="178393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57" name="Freeform 586"/>
            <p:cNvSpPr>
              <a:spLocks/>
            </p:cNvSpPr>
            <p:nvPr/>
          </p:nvSpPr>
          <p:spPr bwMode="auto">
            <a:xfrm>
              <a:off x="6878534" y="4535082"/>
              <a:ext cx="82803" cy="25484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58" name="Freeform 587"/>
            <p:cNvSpPr>
              <a:spLocks/>
            </p:cNvSpPr>
            <p:nvPr/>
          </p:nvSpPr>
          <p:spPr bwMode="auto">
            <a:xfrm>
              <a:off x="6859425" y="4525526"/>
              <a:ext cx="76432" cy="19114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59" name="Freeform 588"/>
            <p:cNvSpPr>
              <a:spLocks/>
            </p:cNvSpPr>
            <p:nvPr/>
          </p:nvSpPr>
          <p:spPr bwMode="auto">
            <a:xfrm>
              <a:off x="6821208" y="4496854"/>
              <a:ext cx="95541" cy="47785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60" name="Freeform 589"/>
            <p:cNvSpPr>
              <a:spLocks/>
            </p:cNvSpPr>
            <p:nvPr/>
          </p:nvSpPr>
          <p:spPr bwMode="auto">
            <a:xfrm>
              <a:off x="6830763" y="4458630"/>
              <a:ext cx="66879" cy="47785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61" name="Freeform 590"/>
            <p:cNvSpPr>
              <a:spLocks/>
            </p:cNvSpPr>
            <p:nvPr/>
          </p:nvSpPr>
          <p:spPr bwMode="auto">
            <a:xfrm>
              <a:off x="6738407" y="4347133"/>
              <a:ext cx="111465" cy="82827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62" name="Freeform 591"/>
            <p:cNvSpPr>
              <a:spLocks/>
            </p:cNvSpPr>
            <p:nvPr/>
          </p:nvSpPr>
          <p:spPr bwMode="auto">
            <a:xfrm>
              <a:off x="6916751" y="4337578"/>
              <a:ext cx="82803" cy="28669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63" name="Freeform 592"/>
            <p:cNvSpPr>
              <a:spLocks/>
            </p:cNvSpPr>
            <p:nvPr/>
          </p:nvSpPr>
          <p:spPr bwMode="auto">
            <a:xfrm>
              <a:off x="6757513" y="4187857"/>
              <a:ext cx="334395" cy="178393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64" name="Freeform 593"/>
            <p:cNvSpPr>
              <a:spLocks/>
            </p:cNvSpPr>
            <p:nvPr/>
          </p:nvSpPr>
          <p:spPr bwMode="auto">
            <a:xfrm>
              <a:off x="7018660" y="4101847"/>
              <a:ext cx="101909" cy="47785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65" name="Freeform 594"/>
            <p:cNvSpPr>
              <a:spLocks/>
            </p:cNvSpPr>
            <p:nvPr/>
          </p:nvSpPr>
          <p:spPr bwMode="auto">
            <a:xfrm>
              <a:off x="7101463" y="4251568"/>
              <a:ext cx="187897" cy="105124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66" name="Freeform 595"/>
            <p:cNvSpPr>
              <a:spLocks/>
            </p:cNvSpPr>
            <p:nvPr/>
          </p:nvSpPr>
          <p:spPr bwMode="auto">
            <a:xfrm>
              <a:off x="7206560" y="4347133"/>
              <a:ext cx="165604" cy="47785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67" name="Freeform 596"/>
            <p:cNvSpPr>
              <a:spLocks/>
            </p:cNvSpPr>
            <p:nvPr/>
          </p:nvSpPr>
          <p:spPr bwMode="auto">
            <a:xfrm>
              <a:off x="7197007" y="4560566"/>
              <a:ext cx="156051" cy="105124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68" name="Freeform 597"/>
            <p:cNvSpPr>
              <a:spLocks/>
            </p:cNvSpPr>
            <p:nvPr/>
          </p:nvSpPr>
          <p:spPr bwMode="auto">
            <a:xfrm>
              <a:off x="7270254" y="4535082"/>
              <a:ext cx="38217" cy="25484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69" name="Freeform 598"/>
            <p:cNvSpPr>
              <a:spLocks/>
            </p:cNvSpPr>
            <p:nvPr/>
          </p:nvSpPr>
          <p:spPr bwMode="auto">
            <a:xfrm>
              <a:off x="7439043" y="4366247"/>
              <a:ext cx="82803" cy="54153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70" name="Freeform 599"/>
            <p:cNvSpPr>
              <a:spLocks/>
            </p:cNvSpPr>
            <p:nvPr/>
          </p:nvSpPr>
          <p:spPr bwMode="auto">
            <a:xfrm>
              <a:off x="7483629" y="4449069"/>
              <a:ext cx="28662" cy="38227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71" name="Freeform 600"/>
            <p:cNvSpPr>
              <a:spLocks/>
            </p:cNvSpPr>
            <p:nvPr/>
          </p:nvSpPr>
          <p:spPr bwMode="auto">
            <a:xfrm>
              <a:off x="7177896" y="4420403"/>
              <a:ext cx="831212" cy="254845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72" name="Freeform 601"/>
            <p:cNvSpPr>
              <a:spLocks/>
            </p:cNvSpPr>
            <p:nvPr/>
          </p:nvSpPr>
          <p:spPr bwMode="auto">
            <a:xfrm>
              <a:off x="7197007" y="3980797"/>
              <a:ext cx="550956" cy="347225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73" name="Freeform 602"/>
            <p:cNvSpPr>
              <a:spLocks/>
            </p:cNvSpPr>
            <p:nvPr/>
          </p:nvSpPr>
          <p:spPr bwMode="auto">
            <a:xfrm>
              <a:off x="7419934" y="3767367"/>
              <a:ext cx="1455416" cy="758159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74" name="Freeform 604"/>
            <p:cNvSpPr>
              <a:spLocks/>
            </p:cNvSpPr>
            <p:nvPr/>
          </p:nvSpPr>
          <p:spPr bwMode="auto">
            <a:xfrm>
              <a:off x="8101466" y="4187857"/>
              <a:ext cx="130574" cy="47785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75" name="Freeform 605"/>
            <p:cNvSpPr>
              <a:spLocks/>
            </p:cNvSpPr>
            <p:nvPr/>
          </p:nvSpPr>
          <p:spPr bwMode="auto">
            <a:xfrm>
              <a:off x="7738407" y="4226081"/>
              <a:ext cx="54142" cy="19114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76" name="Freeform 606"/>
            <p:cNvSpPr>
              <a:spLocks/>
            </p:cNvSpPr>
            <p:nvPr/>
          </p:nvSpPr>
          <p:spPr bwMode="auto">
            <a:xfrm>
              <a:off x="7980446" y="4515968"/>
              <a:ext cx="54142" cy="28672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77" name="Freeform 607"/>
            <p:cNvSpPr>
              <a:spLocks/>
            </p:cNvSpPr>
            <p:nvPr/>
          </p:nvSpPr>
          <p:spPr bwMode="auto">
            <a:xfrm>
              <a:off x="4805282" y="5815671"/>
              <a:ext cx="47770" cy="38227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78" name="Freeform 608"/>
            <p:cNvSpPr>
              <a:spLocks/>
            </p:cNvSpPr>
            <p:nvPr/>
          </p:nvSpPr>
          <p:spPr bwMode="auto">
            <a:xfrm>
              <a:off x="4872164" y="5806113"/>
              <a:ext cx="9556" cy="955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79" name="Freeform 609"/>
            <p:cNvSpPr>
              <a:spLocks/>
            </p:cNvSpPr>
            <p:nvPr/>
          </p:nvSpPr>
          <p:spPr bwMode="auto">
            <a:xfrm>
              <a:off x="3919931" y="5815671"/>
              <a:ext cx="63695" cy="57338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80" name="Freeform 610"/>
            <p:cNvSpPr>
              <a:spLocks/>
            </p:cNvSpPr>
            <p:nvPr/>
          </p:nvSpPr>
          <p:spPr bwMode="auto">
            <a:xfrm>
              <a:off x="17661981" y="9138193"/>
              <a:ext cx="19109" cy="955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81" name="Freeform 611"/>
            <p:cNvSpPr>
              <a:spLocks/>
            </p:cNvSpPr>
            <p:nvPr/>
          </p:nvSpPr>
          <p:spPr bwMode="auto">
            <a:xfrm>
              <a:off x="17540962" y="9119079"/>
              <a:ext cx="19109" cy="19114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82" name="Freeform 612"/>
            <p:cNvSpPr>
              <a:spLocks/>
            </p:cNvSpPr>
            <p:nvPr/>
          </p:nvSpPr>
          <p:spPr bwMode="auto">
            <a:xfrm>
              <a:off x="17961345" y="10785121"/>
              <a:ext cx="63695" cy="47785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83" name="Rectangle 613"/>
            <p:cNvSpPr>
              <a:spLocks noChangeArrowheads="1"/>
            </p:cNvSpPr>
            <p:nvPr/>
          </p:nvSpPr>
          <p:spPr bwMode="auto">
            <a:xfrm>
              <a:off x="12451788" y="5197675"/>
              <a:ext cx="3187" cy="3188"/>
            </a:xfrm>
            <a:prstGeom prst="rect">
              <a:avLst/>
            </a:pr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84" name="Freeform 614"/>
            <p:cNvSpPr>
              <a:spLocks/>
            </p:cNvSpPr>
            <p:nvPr/>
          </p:nvSpPr>
          <p:spPr bwMode="auto">
            <a:xfrm>
              <a:off x="9257516" y="10504795"/>
              <a:ext cx="95541" cy="82827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85" name="Freeform 615"/>
            <p:cNvSpPr>
              <a:spLocks/>
            </p:cNvSpPr>
            <p:nvPr/>
          </p:nvSpPr>
          <p:spPr bwMode="auto">
            <a:xfrm>
              <a:off x="7821211" y="6733109"/>
              <a:ext cx="66879" cy="28672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86" name="Freeform 616"/>
            <p:cNvSpPr>
              <a:spLocks/>
            </p:cNvSpPr>
            <p:nvPr/>
          </p:nvSpPr>
          <p:spPr bwMode="auto">
            <a:xfrm>
              <a:off x="8483629" y="11766268"/>
              <a:ext cx="168791" cy="14972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87" name="Freeform 617"/>
            <p:cNvSpPr>
              <a:spLocks/>
            </p:cNvSpPr>
            <p:nvPr/>
          </p:nvSpPr>
          <p:spPr bwMode="auto">
            <a:xfrm>
              <a:off x="8305288" y="11747159"/>
              <a:ext cx="280256" cy="216615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88" name="Freeform 618"/>
            <p:cNvSpPr>
              <a:spLocks/>
            </p:cNvSpPr>
            <p:nvPr/>
          </p:nvSpPr>
          <p:spPr bwMode="auto">
            <a:xfrm>
              <a:off x="8260699" y="8501084"/>
              <a:ext cx="710194" cy="516057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89" name="Freeform 619"/>
            <p:cNvSpPr>
              <a:spLocks/>
            </p:cNvSpPr>
            <p:nvPr/>
          </p:nvSpPr>
          <p:spPr bwMode="auto">
            <a:xfrm>
              <a:off x="8830764" y="8641249"/>
              <a:ext cx="242036" cy="356781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90" name="Freeform 620"/>
            <p:cNvSpPr>
              <a:spLocks/>
            </p:cNvSpPr>
            <p:nvPr/>
          </p:nvSpPr>
          <p:spPr bwMode="auto">
            <a:xfrm>
              <a:off x="8986815" y="8752743"/>
              <a:ext cx="207006" cy="216615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91" name="Freeform 621"/>
            <p:cNvSpPr>
              <a:spLocks/>
            </p:cNvSpPr>
            <p:nvPr/>
          </p:nvSpPr>
          <p:spPr bwMode="auto">
            <a:xfrm>
              <a:off x="9155606" y="8771859"/>
              <a:ext cx="149682" cy="16883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92" name="Freeform 622"/>
            <p:cNvSpPr>
              <a:spLocks/>
            </p:cNvSpPr>
            <p:nvPr/>
          </p:nvSpPr>
          <p:spPr bwMode="auto">
            <a:xfrm>
              <a:off x="7821211" y="8453303"/>
              <a:ext cx="754780" cy="786831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93" name="Freeform 623"/>
            <p:cNvSpPr>
              <a:spLocks/>
            </p:cNvSpPr>
            <p:nvPr/>
          </p:nvSpPr>
          <p:spPr bwMode="auto">
            <a:xfrm>
              <a:off x="7923120" y="8978916"/>
              <a:ext cx="261145" cy="309000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94" name="Freeform 624"/>
            <p:cNvSpPr>
              <a:spLocks/>
            </p:cNvSpPr>
            <p:nvPr/>
          </p:nvSpPr>
          <p:spPr bwMode="auto">
            <a:xfrm>
              <a:off x="7894458" y="9036257"/>
              <a:ext cx="598727" cy="888769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95" name="Freeform 625"/>
            <p:cNvSpPr>
              <a:spLocks/>
            </p:cNvSpPr>
            <p:nvPr/>
          </p:nvSpPr>
          <p:spPr bwMode="auto">
            <a:xfrm>
              <a:off x="8158790" y="9867685"/>
              <a:ext cx="407643" cy="1984597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96" name="Freeform 626"/>
            <p:cNvSpPr>
              <a:spLocks/>
            </p:cNvSpPr>
            <p:nvPr/>
          </p:nvSpPr>
          <p:spPr bwMode="auto">
            <a:xfrm>
              <a:off x="8435859" y="9485418"/>
              <a:ext cx="598727" cy="653038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97" name="Freeform 627"/>
            <p:cNvSpPr>
              <a:spLocks/>
            </p:cNvSpPr>
            <p:nvPr/>
          </p:nvSpPr>
          <p:spPr bwMode="auto">
            <a:xfrm>
              <a:off x="8773441" y="9950508"/>
              <a:ext cx="420383" cy="414121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98" name="Freeform 628"/>
            <p:cNvSpPr>
              <a:spLocks noEditPoints="1"/>
            </p:cNvSpPr>
            <p:nvPr/>
          </p:nvSpPr>
          <p:spPr bwMode="auto">
            <a:xfrm>
              <a:off x="8241593" y="8800526"/>
              <a:ext cx="1856688" cy="1882659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99" name="Freeform 629"/>
            <p:cNvSpPr>
              <a:spLocks/>
            </p:cNvSpPr>
            <p:nvPr/>
          </p:nvSpPr>
          <p:spPr bwMode="auto">
            <a:xfrm>
              <a:off x="8961338" y="10485681"/>
              <a:ext cx="251592" cy="261215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00" name="Freeform 630"/>
            <p:cNvSpPr>
              <a:spLocks/>
            </p:cNvSpPr>
            <p:nvPr/>
          </p:nvSpPr>
          <p:spPr bwMode="auto">
            <a:xfrm>
              <a:off x="8241593" y="10074745"/>
              <a:ext cx="961783" cy="1672412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01" name="Freeform 631"/>
            <p:cNvSpPr>
              <a:spLocks/>
            </p:cNvSpPr>
            <p:nvPr/>
          </p:nvSpPr>
          <p:spPr bwMode="auto">
            <a:xfrm>
              <a:off x="7617387" y="8313140"/>
              <a:ext cx="203824" cy="226173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02" name="Freeform 632"/>
            <p:cNvSpPr>
              <a:spLocks/>
            </p:cNvSpPr>
            <p:nvPr/>
          </p:nvSpPr>
          <p:spPr bwMode="auto">
            <a:xfrm>
              <a:off x="7681084" y="8520197"/>
              <a:ext cx="159235" cy="1401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03" name="Freeform 633"/>
            <p:cNvSpPr>
              <a:spLocks/>
            </p:cNvSpPr>
            <p:nvPr/>
          </p:nvSpPr>
          <p:spPr bwMode="auto">
            <a:xfrm>
              <a:off x="7502737" y="8360921"/>
              <a:ext cx="105096" cy="82827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04" name="Freeform 634"/>
            <p:cNvSpPr>
              <a:spLocks/>
            </p:cNvSpPr>
            <p:nvPr/>
          </p:nvSpPr>
          <p:spPr bwMode="auto">
            <a:xfrm>
              <a:off x="7391272" y="8192091"/>
              <a:ext cx="187902" cy="216615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05" name="Freeform 635"/>
            <p:cNvSpPr>
              <a:spLocks/>
            </p:cNvSpPr>
            <p:nvPr/>
          </p:nvSpPr>
          <p:spPr bwMode="auto">
            <a:xfrm>
              <a:off x="6254330" y="7453043"/>
              <a:ext cx="1398093" cy="898324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06" name="Freeform 636"/>
            <p:cNvSpPr>
              <a:spLocks/>
            </p:cNvSpPr>
            <p:nvPr/>
          </p:nvSpPr>
          <p:spPr bwMode="auto">
            <a:xfrm>
              <a:off x="7531402" y="8287656"/>
              <a:ext cx="280256" cy="14972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07" name="Freeform 637"/>
            <p:cNvSpPr>
              <a:spLocks/>
            </p:cNvSpPr>
            <p:nvPr/>
          </p:nvSpPr>
          <p:spPr bwMode="auto">
            <a:xfrm>
              <a:off x="7531402" y="8163419"/>
              <a:ext cx="66879" cy="1401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08" name="Freeform 638"/>
            <p:cNvSpPr>
              <a:spLocks/>
            </p:cNvSpPr>
            <p:nvPr/>
          </p:nvSpPr>
          <p:spPr bwMode="auto">
            <a:xfrm>
              <a:off x="8232035" y="8080592"/>
              <a:ext cx="121018" cy="101936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09" name="Freeform 639"/>
            <p:cNvSpPr>
              <a:spLocks/>
            </p:cNvSpPr>
            <p:nvPr/>
          </p:nvSpPr>
          <p:spPr bwMode="auto">
            <a:xfrm>
              <a:off x="8343503" y="8080592"/>
              <a:ext cx="168791" cy="1401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10" name="Freeform 640"/>
            <p:cNvSpPr>
              <a:spLocks/>
            </p:cNvSpPr>
            <p:nvPr/>
          </p:nvSpPr>
          <p:spPr bwMode="auto">
            <a:xfrm>
              <a:off x="3843499" y="4965129"/>
              <a:ext cx="1812106" cy="1216878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11" name="Freeform 641"/>
            <p:cNvSpPr>
              <a:spLocks/>
            </p:cNvSpPr>
            <p:nvPr/>
          </p:nvSpPr>
          <p:spPr bwMode="auto">
            <a:xfrm>
              <a:off x="5888086" y="6516489"/>
              <a:ext cx="2697455" cy="1337930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12" name="Freeform 642"/>
            <p:cNvSpPr>
              <a:spLocks noEditPoints="1"/>
            </p:cNvSpPr>
            <p:nvPr/>
          </p:nvSpPr>
          <p:spPr bwMode="auto">
            <a:xfrm>
              <a:off x="5133309" y="4907791"/>
              <a:ext cx="3984080" cy="2048308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13" name="Freeform 643"/>
            <p:cNvSpPr>
              <a:spLocks/>
            </p:cNvSpPr>
            <p:nvPr/>
          </p:nvSpPr>
          <p:spPr bwMode="auto">
            <a:xfrm>
              <a:off x="17343512" y="9466307"/>
              <a:ext cx="95541" cy="82827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14" name="Freeform 644"/>
            <p:cNvSpPr>
              <a:spLocks/>
            </p:cNvSpPr>
            <p:nvPr/>
          </p:nvSpPr>
          <p:spPr bwMode="auto">
            <a:xfrm>
              <a:off x="17419944" y="9447193"/>
              <a:ext cx="121018" cy="44598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15" name="Freeform 645"/>
            <p:cNvSpPr>
              <a:spLocks/>
            </p:cNvSpPr>
            <p:nvPr/>
          </p:nvSpPr>
          <p:spPr bwMode="auto">
            <a:xfrm>
              <a:off x="12273444" y="6414553"/>
              <a:ext cx="289811" cy="15927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16" name="Freeform 646"/>
            <p:cNvSpPr>
              <a:spLocks/>
            </p:cNvSpPr>
            <p:nvPr/>
          </p:nvSpPr>
          <p:spPr bwMode="auto">
            <a:xfrm>
              <a:off x="12142870" y="6545160"/>
              <a:ext cx="347132" cy="14972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17" name="Freeform 647"/>
            <p:cNvSpPr>
              <a:spLocks/>
            </p:cNvSpPr>
            <p:nvPr/>
          </p:nvSpPr>
          <p:spPr bwMode="auto">
            <a:xfrm>
              <a:off x="12021850" y="6656654"/>
              <a:ext cx="531848" cy="516057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18" name="Freeform 648"/>
            <p:cNvSpPr>
              <a:spLocks/>
            </p:cNvSpPr>
            <p:nvPr/>
          </p:nvSpPr>
          <p:spPr bwMode="auto">
            <a:xfrm>
              <a:off x="12330767" y="6685324"/>
              <a:ext cx="251592" cy="235731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19" name="Freeform 649"/>
            <p:cNvSpPr>
              <a:spLocks/>
            </p:cNvSpPr>
            <p:nvPr/>
          </p:nvSpPr>
          <p:spPr bwMode="auto">
            <a:xfrm>
              <a:off x="11470893" y="6414553"/>
              <a:ext cx="617835" cy="531986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20" name="Freeform 650"/>
            <p:cNvSpPr>
              <a:spLocks/>
            </p:cNvSpPr>
            <p:nvPr/>
          </p:nvSpPr>
          <p:spPr bwMode="auto">
            <a:xfrm>
              <a:off x="11983632" y="6621615"/>
              <a:ext cx="207006" cy="1401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21" name="Freeform 651"/>
            <p:cNvSpPr>
              <a:spLocks/>
            </p:cNvSpPr>
            <p:nvPr/>
          </p:nvSpPr>
          <p:spPr bwMode="auto">
            <a:xfrm>
              <a:off x="11808475" y="6395439"/>
              <a:ext cx="194268" cy="121050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22" name="Freeform 652"/>
            <p:cNvSpPr>
              <a:spLocks/>
            </p:cNvSpPr>
            <p:nvPr/>
          </p:nvSpPr>
          <p:spPr bwMode="auto">
            <a:xfrm>
              <a:off x="11967711" y="6481449"/>
              <a:ext cx="35033" cy="35042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23" name="Freeform 653"/>
            <p:cNvSpPr>
              <a:spLocks/>
            </p:cNvSpPr>
            <p:nvPr/>
          </p:nvSpPr>
          <p:spPr bwMode="auto">
            <a:xfrm>
              <a:off x="11853061" y="6264832"/>
              <a:ext cx="187902" cy="16883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24" name="Freeform 654"/>
            <p:cNvSpPr>
              <a:spLocks/>
            </p:cNvSpPr>
            <p:nvPr/>
          </p:nvSpPr>
          <p:spPr bwMode="auto">
            <a:xfrm>
              <a:off x="12079173" y="5984503"/>
              <a:ext cx="140127" cy="207060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25" name="Freeform 655"/>
            <p:cNvSpPr>
              <a:spLocks/>
            </p:cNvSpPr>
            <p:nvPr/>
          </p:nvSpPr>
          <p:spPr bwMode="auto">
            <a:xfrm>
              <a:off x="11977264" y="6172454"/>
              <a:ext cx="417198" cy="484203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26" name="Freeform 656"/>
            <p:cNvSpPr>
              <a:spLocks/>
            </p:cNvSpPr>
            <p:nvPr/>
          </p:nvSpPr>
          <p:spPr bwMode="auto">
            <a:xfrm>
              <a:off x="12712935" y="6322173"/>
              <a:ext cx="831212" cy="493761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27" name="Freeform 657"/>
            <p:cNvSpPr>
              <a:spLocks/>
            </p:cNvSpPr>
            <p:nvPr/>
          </p:nvSpPr>
          <p:spPr bwMode="auto">
            <a:xfrm>
              <a:off x="12451788" y="6506933"/>
              <a:ext cx="280256" cy="114679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28" name="Freeform 658"/>
            <p:cNvSpPr>
              <a:spLocks/>
            </p:cNvSpPr>
            <p:nvPr/>
          </p:nvSpPr>
          <p:spPr bwMode="auto">
            <a:xfrm>
              <a:off x="12760703" y="6086441"/>
              <a:ext cx="439491" cy="328114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29" name="Freeform 659"/>
            <p:cNvSpPr>
              <a:spLocks/>
            </p:cNvSpPr>
            <p:nvPr/>
          </p:nvSpPr>
          <p:spPr bwMode="auto">
            <a:xfrm>
              <a:off x="12658794" y="6067328"/>
              <a:ext cx="270700" cy="178393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30" name="Freeform 660"/>
            <p:cNvSpPr>
              <a:spLocks/>
            </p:cNvSpPr>
            <p:nvPr/>
          </p:nvSpPr>
          <p:spPr bwMode="auto">
            <a:xfrm>
              <a:off x="12658794" y="5955834"/>
              <a:ext cx="334397" cy="16883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31" name="Freeform 661"/>
            <p:cNvSpPr>
              <a:spLocks/>
            </p:cNvSpPr>
            <p:nvPr/>
          </p:nvSpPr>
          <p:spPr bwMode="auto">
            <a:xfrm>
              <a:off x="12760703" y="5853898"/>
              <a:ext cx="222932" cy="1401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32" name="Freeform 662"/>
            <p:cNvSpPr>
              <a:spLocks/>
            </p:cNvSpPr>
            <p:nvPr/>
          </p:nvSpPr>
          <p:spPr bwMode="auto">
            <a:xfrm>
              <a:off x="12591917" y="6143782"/>
              <a:ext cx="149682" cy="73269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33" name="Freeform 663"/>
            <p:cNvSpPr>
              <a:spLocks/>
            </p:cNvSpPr>
            <p:nvPr/>
          </p:nvSpPr>
          <p:spPr bwMode="auto">
            <a:xfrm>
              <a:off x="12359429" y="6162893"/>
              <a:ext cx="445860" cy="391823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34" name="Freeform 664"/>
            <p:cNvSpPr>
              <a:spLocks/>
            </p:cNvSpPr>
            <p:nvPr/>
          </p:nvSpPr>
          <p:spPr bwMode="auto">
            <a:xfrm>
              <a:off x="12630129" y="6573832"/>
              <a:ext cx="429938" cy="2803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35" name="Freeform 665"/>
            <p:cNvSpPr>
              <a:spLocks/>
            </p:cNvSpPr>
            <p:nvPr/>
          </p:nvSpPr>
          <p:spPr bwMode="auto">
            <a:xfrm>
              <a:off x="12929494" y="6564274"/>
              <a:ext cx="156051" cy="187951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36" name="Freeform 666"/>
            <p:cNvSpPr>
              <a:spLocks/>
            </p:cNvSpPr>
            <p:nvPr/>
          </p:nvSpPr>
          <p:spPr bwMode="auto">
            <a:xfrm>
              <a:off x="12993189" y="6666210"/>
              <a:ext cx="92356" cy="95566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37" name="Freeform 667"/>
            <p:cNvSpPr>
              <a:spLocks/>
            </p:cNvSpPr>
            <p:nvPr/>
          </p:nvSpPr>
          <p:spPr bwMode="auto">
            <a:xfrm>
              <a:off x="12712935" y="6815931"/>
              <a:ext cx="299364" cy="178393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38" name="Freeform 668"/>
            <p:cNvSpPr>
              <a:spLocks/>
            </p:cNvSpPr>
            <p:nvPr/>
          </p:nvSpPr>
          <p:spPr bwMode="auto">
            <a:xfrm>
              <a:off x="12423124" y="6771334"/>
              <a:ext cx="168791" cy="1401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39" name="Freeform 669"/>
            <p:cNvSpPr>
              <a:spLocks/>
            </p:cNvSpPr>
            <p:nvPr/>
          </p:nvSpPr>
          <p:spPr bwMode="auto">
            <a:xfrm>
              <a:off x="12544142" y="6704437"/>
              <a:ext cx="207006" cy="251657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40" name="Freeform 670"/>
            <p:cNvSpPr>
              <a:spLocks/>
            </p:cNvSpPr>
            <p:nvPr/>
          </p:nvSpPr>
          <p:spPr bwMode="auto">
            <a:xfrm>
              <a:off x="12432679" y="6554719"/>
              <a:ext cx="328029" cy="178393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41" name="Freeform 671"/>
            <p:cNvSpPr>
              <a:spLocks/>
            </p:cNvSpPr>
            <p:nvPr/>
          </p:nvSpPr>
          <p:spPr bwMode="auto">
            <a:xfrm>
              <a:off x="12620574" y="6956097"/>
              <a:ext cx="289811" cy="299442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42" name="Freeform 672"/>
            <p:cNvSpPr>
              <a:spLocks/>
            </p:cNvSpPr>
            <p:nvPr/>
          </p:nvSpPr>
          <p:spPr bwMode="auto">
            <a:xfrm>
              <a:off x="12881724" y="6940166"/>
              <a:ext cx="140127" cy="92380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43" name="Freeform 673"/>
            <p:cNvSpPr>
              <a:spLocks/>
            </p:cNvSpPr>
            <p:nvPr/>
          </p:nvSpPr>
          <p:spPr bwMode="auto">
            <a:xfrm>
              <a:off x="12582361" y="6911499"/>
              <a:ext cx="82803" cy="16883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44" name="Freeform 674"/>
            <p:cNvSpPr>
              <a:spLocks/>
            </p:cNvSpPr>
            <p:nvPr/>
          </p:nvSpPr>
          <p:spPr bwMode="auto">
            <a:xfrm>
              <a:off x="12630129" y="6930613"/>
              <a:ext cx="121018" cy="82827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45" name="Freeform 675"/>
            <p:cNvSpPr>
              <a:spLocks/>
            </p:cNvSpPr>
            <p:nvPr/>
          </p:nvSpPr>
          <p:spPr bwMode="auto">
            <a:xfrm>
              <a:off x="13655610" y="6984764"/>
              <a:ext cx="178346" cy="14972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46" name="Freeform 676"/>
            <p:cNvSpPr>
              <a:spLocks/>
            </p:cNvSpPr>
            <p:nvPr/>
          </p:nvSpPr>
          <p:spPr bwMode="auto">
            <a:xfrm>
              <a:off x="13722489" y="7061218"/>
              <a:ext cx="923568" cy="783643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47" name="Freeform 677"/>
            <p:cNvSpPr>
              <a:spLocks/>
            </p:cNvSpPr>
            <p:nvPr/>
          </p:nvSpPr>
          <p:spPr bwMode="auto">
            <a:xfrm>
              <a:off x="13741597" y="7070776"/>
              <a:ext cx="73250" cy="54156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48" name="Freeform 678"/>
            <p:cNvSpPr>
              <a:spLocks/>
            </p:cNvSpPr>
            <p:nvPr/>
          </p:nvSpPr>
          <p:spPr bwMode="auto">
            <a:xfrm>
              <a:off x="13525034" y="6844600"/>
              <a:ext cx="328029" cy="16883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49" name="Freeform 679"/>
            <p:cNvSpPr>
              <a:spLocks/>
            </p:cNvSpPr>
            <p:nvPr/>
          </p:nvSpPr>
          <p:spPr bwMode="auto">
            <a:xfrm>
              <a:off x="13751153" y="6956097"/>
              <a:ext cx="251592" cy="197506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50" name="Freeform 680"/>
            <p:cNvSpPr>
              <a:spLocks/>
            </p:cNvSpPr>
            <p:nvPr/>
          </p:nvSpPr>
          <p:spPr bwMode="auto">
            <a:xfrm>
              <a:off x="13833954" y="7574093"/>
              <a:ext cx="82803" cy="95566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51" name="Freeform 681"/>
            <p:cNvSpPr>
              <a:spLocks/>
            </p:cNvSpPr>
            <p:nvPr/>
          </p:nvSpPr>
          <p:spPr bwMode="auto">
            <a:xfrm>
              <a:off x="13311662" y="7220495"/>
              <a:ext cx="324842" cy="251657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52" name="Freeform 682"/>
            <p:cNvSpPr>
              <a:spLocks/>
            </p:cNvSpPr>
            <p:nvPr/>
          </p:nvSpPr>
          <p:spPr bwMode="auto">
            <a:xfrm>
              <a:off x="13461341" y="7201383"/>
              <a:ext cx="464969" cy="439605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53" name="Freeform 683"/>
            <p:cNvSpPr>
              <a:spLocks/>
            </p:cNvSpPr>
            <p:nvPr/>
          </p:nvSpPr>
          <p:spPr bwMode="auto">
            <a:xfrm>
              <a:off x="12872168" y="6946541"/>
              <a:ext cx="885351" cy="337667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54" name="Freeform 684"/>
            <p:cNvSpPr>
              <a:spLocks/>
            </p:cNvSpPr>
            <p:nvPr/>
          </p:nvSpPr>
          <p:spPr bwMode="auto">
            <a:xfrm>
              <a:off x="13273442" y="7481712"/>
              <a:ext cx="980892" cy="786831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55" name="Freeform 685"/>
            <p:cNvSpPr>
              <a:spLocks/>
            </p:cNvSpPr>
            <p:nvPr/>
          </p:nvSpPr>
          <p:spPr bwMode="auto">
            <a:xfrm>
              <a:off x="13292551" y="7424369"/>
              <a:ext cx="194268" cy="207060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56" name="Freeform 686"/>
            <p:cNvSpPr>
              <a:spLocks/>
            </p:cNvSpPr>
            <p:nvPr/>
          </p:nvSpPr>
          <p:spPr bwMode="auto">
            <a:xfrm>
              <a:off x="13302106" y="7351105"/>
              <a:ext cx="73250" cy="82827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57" name="Freeform 687"/>
            <p:cNvSpPr>
              <a:spLocks/>
            </p:cNvSpPr>
            <p:nvPr/>
          </p:nvSpPr>
          <p:spPr bwMode="auto">
            <a:xfrm>
              <a:off x="13292551" y="7462599"/>
              <a:ext cx="28664" cy="66896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58" name="Freeform 688"/>
            <p:cNvSpPr>
              <a:spLocks/>
            </p:cNvSpPr>
            <p:nvPr/>
          </p:nvSpPr>
          <p:spPr bwMode="auto">
            <a:xfrm>
              <a:off x="13254336" y="7424369"/>
              <a:ext cx="76432" cy="245289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59" name="Freeform 689"/>
            <p:cNvSpPr>
              <a:spLocks/>
            </p:cNvSpPr>
            <p:nvPr/>
          </p:nvSpPr>
          <p:spPr bwMode="auto">
            <a:xfrm>
              <a:off x="14028220" y="7790708"/>
              <a:ext cx="47770" cy="73269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60" name="Freeform 690"/>
            <p:cNvSpPr>
              <a:spLocks/>
            </p:cNvSpPr>
            <p:nvPr/>
          </p:nvSpPr>
          <p:spPr bwMode="auto">
            <a:xfrm>
              <a:off x="13646057" y="8137935"/>
              <a:ext cx="496815" cy="315371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61" name="Freeform 691"/>
            <p:cNvSpPr>
              <a:spLocks/>
            </p:cNvSpPr>
            <p:nvPr/>
          </p:nvSpPr>
          <p:spPr bwMode="auto">
            <a:xfrm>
              <a:off x="14085545" y="7790708"/>
              <a:ext cx="382165" cy="458719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62" name="Freeform 692"/>
            <p:cNvSpPr>
              <a:spLocks/>
            </p:cNvSpPr>
            <p:nvPr/>
          </p:nvSpPr>
          <p:spPr bwMode="auto">
            <a:xfrm>
              <a:off x="14897646" y="6892386"/>
              <a:ext cx="512741" cy="222990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63" name="Freeform 693"/>
            <p:cNvSpPr>
              <a:spLocks/>
            </p:cNvSpPr>
            <p:nvPr/>
          </p:nvSpPr>
          <p:spPr bwMode="auto">
            <a:xfrm>
              <a:off x="14273445" y="6752222"/>
              <a:ext cx="831212" cy="487388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64" name="Freeform 694"/>
            <p:cNvSpPr>
              <a:spLocks/>
            </p:cNvSpPr>
            <p:nvPr/>
          </p:nvSpPr>
          <p:spPr bwMode="auto">
            <a:xfrm>
              <a:off x="14525037" y="7293764"/>
              <a:ext cx="0" cy="955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65" name="Freeform 695"/>
            <p:cNvSpPr>
              <a:spLocks/>
            </p:cNvSpPr>
            <p:nvPr/>
          </p:nvSpPr>
          <p:spPr bwMode="auto">
            <a:xfrm>
              <a:off x="14095099" y="6921055"/>
              <a:ext cx="681527" cy="401378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66" name="Freeform 696"/>
            <p:cNvSpPr>
              <a:spLocks/>
            </p:cNvSpPr>
            <p:nvPr/>
          </p:nvSpPr>
          <p:spPr bwMode="auto">
            <a:xfrm>
              <a:off x="14814846" y="7013435"/>
              <a:ext cx="372610" cy="251657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67" name="Freeform 697"/>
            <p:cNvSpPr>
              <a:spLocks/>
            </p:cNvSpPr>
            <p:nvPr/>
          </p:nvSpPr>
          <p:spPr bwMode="auto">
            <a:xfrm>
              <a:off x="14515484" y="7230053"/>
              <a:ext cx="773889" cy="691265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68" name="Freeform 698"/>
            <p:cNvSpPr>
              <a:spLocks/>
            </p:cNvSpPr>
            <p:nvPr/>
          </p:nvSpPr>
          <p:spPr bwMode="auto">
            <a:xfrm>
              <a:off x="14477266" y="7144043"/>
              <a:ext cx="700638" cy="496944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69" name="Freeform 699"/>
            <p:cNvSpPr>
              <a:spLocks/>
            </p:cNvSpPr>
            <p:nvPr/>
          </p:nvSpPr>
          <p:spPr bwMode="auto">
            <a:xfrm>
              <a:off x="14413572" y="6742664"/>
              <a:ext cx="25477" cy="38227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70" name="Freeform 700"/>
            <p:cNvSpPr>
              <a:spLocks noEditPoints="1"/>
            </p:cNvSpPr>
            <p:nvPr/>
          </p:nvSpPr>
          <p:spPr bwMode="auto">
            <a:xfrm>
              <a:off x="13824398" y="6153340"/>
              <a:ext cx="1894907" cy="907882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71" name="Freeform 701"/>
            <p:cNvSpPr>
              <a:spLocks/>
            </p:cNvSpPr>
            <p:nvPr/>
          </p:nvSpPr>
          <p:spPr bwMode="auto">
            <a:xfrm>
              <a:off x="14849878" y="7284206"/>
              <a:ext cx="1308918" cy="1395268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72" name="Freeform 702"/>
            <p:cNvSpPr>
              <a:spLocks/>
            </p:cNvSpPr>
            <p:nvPr/>
          </p:nvSpPr>
          <p:spPr bwMode="auto">
            <a:xfrm>
              <a:off x="15926311" y="7669658"/>
              <a:ext cx="382165" cy="917438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73" name="Freeform 703"/>
            <p:cNvSpPr>
              <a:spLocks/>
            </p:cNvSpPr>
            <p:nvPr/>
          </p:nvSpPr>
          <p:spPr bwMode="auto">
            <a:xfrm>
              <a:off x="15747967" y="7781150"/>
              <a:ext cx="213379" cy="261215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74" name="Freeform 704"/>
            <p:cNvSpPr>
              <a:spLocks/>
            </p:cNvSpPr>
            <p:nvPr/>
          </p:nvSpPr>
          <p:spPr bwMode="auto">
            <a:xfrm>
              <a:off x="16149241" y="8071036"/>
              <a:ext cx="391721" cy="719934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75" name="Freeform 705"/>
            <p:cNvSpPr>
              <a:spLocks/>
            </p:cNvSpPr>
            <p:nvPr/>
          </p:nvSpPr>
          <p:spPr bwMode="auto">
            <a:xfrm>
              <a:off x="16362618" y="7921315"/>
              <a:ext cx="356688" cy="72949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76" name="Freeform 706"/>
            <p:cNvSpPr>
              <a:spLocks/>
            </p:cNvSpPr>
            <p:nvPr/>
          </p:nvSpPr>
          <p:spPr bwMode="auto">
            <a:xfrm>
              <a:off x="16279815" y="7978656"/>
              <a:ext cx="343950" cy="4204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77" name="Freeform 707"/>
            <p:cNvSpPr>
              <a:spLocks/>
            </p:cNvSpPr>
            <p:nvPr/>
          </p:nvSpPr>
          <p:spPr bwMode="auto">
            <a:xfrm>
              <a:off x="17754337" y="9119079"/>
              <a:ext cx="420383" cy="356781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78" name="Freeform 708"/>
            <p:cNvSpPr>
              <a:spLocks/>
            </p:cNvSpPr>
            <p:nvPr/>
          </p:nvSpPr>
          <p:spPr bwMode="auto">
            <a:xfrm>
              <a:off x="18165166" y="9176423"/>
              <a:ext cx="477708" cy="382265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79" name="Freeform 709"/>
            <p:cNvSpPr>
              <a:spLocks/>
            </p:cNvSpPr>
            <p:nvPr/>
          </p:nvSpPr>
          <p:spPr bwMode="auto">
            <a:xfrm>
              <a:off x="16681089" y="8829198"/>
              <a:ext cx="477708" cy="4204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80" name="Freeform 710"/>
            <p:cNvSpPr>
              <a:spLocks/>
            </p:cNvSpPr>
            <p:nvPr/>
          </p:nvSpPr>
          <p:spPr bwMode="auto">
            <a:xfrm>
              <a:off x="16709750" y="8717701"/>
              <a:ext cx="458600" cy="299442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81" name="Freeform 711"/>
            <p:cNvSpPr>
              <a:spLocks/>
            </p:cNvSpPr>
            <p:nvPr/>
          </p:nvSpPr>
          <p:spPr bwMode="auto">
            <a:xfrm>
              <a:off x="15776631" y="7679214"/>
              <a:ext cx="159235" cy="92380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82" name="Freeform 712"/>
            <p:cNvSpPr>
              <a:spLocks/>
            </p:cNvSpPr>
            <p:nvPr/>
          </p:nvSpPr>
          <p:spPr bwMode="auto">
            <a:xfrm>
              <a:off x="15410388" y="7574093"/>
              <a:ext cx="347132" cy="216615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83" name="Freeform 713"/>
            <p:cNvSpPr>
              <a:spLocks/>
            </p:cNvSpPr>
            <p:nvPr/>
          </p:nvSpPr>
          <p:spPr bwMode="auto">
            <a:xfrm>
              <a:off x="16372171" y="8360921"/>
              <a:ext cx="261145" cy="216615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84" name="Freeform 714"/>
            <p:cNvSpPr>
              <a:spLocks/>
            </p:cNvSpPr>
            <p:nvPr/>
          </p:nvSpPr>
          <p:spPr bwMode="auto">
            <a:xfrm>
              <a:off x="16270259" y="8743185"/>
              <a:ext cx="207006" cy="245289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85" name="Freeform 715"/>
            <p:cNvSpPr>
              <a:spLocks/>
            </p:cNvSpPr>
            <p:nvPr/>
          </p:nvSpPr>
          <p:spPr bwMode="auto">
            <a:xfrm>
              <a:off x="15104655" y="6264832"/>
              <a:ext cx="2799367" cy="1825318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86" name="Freeform 716"/>
            <p:cNvSpPr>
              <a:spLocks/>
            </p:cNvSpPr>
            <p:nvPr/>
          </p:nvSpPr>
          <p:spPr bwMode="auto">
            <a:xfrm>
              <a:off x="15747967" y="6357215"/>
              <a:ext cx="1464969" cy="637107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87" name="Freeform 717"/>
            <p:cNvSpPr>
              <a:spLocks/>
            </p:cNvSpPr>
            <p:nvPr/>
          </p:nvSpPr>
          <p:spPr bwMode="auto">
            <a:xfrm>
              <a:off x="12219302" y="5133964"/>
              <a:ext cx="585987" cy="100982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88" name="Freeform 718"/>
            <p:cNvSpPr>
              <a:spLocks/>
            </p:cNvSpPr>
            <p:nvPr/>
          </p:nvSpPr>
          <p:spPr bwMode="auto">
            <a:xfrm>
              <a:off x="12649240" y="5057512"/>
              <a:ext cx="503186" cy="786831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89" name="Freeform 719"/>
            <p:cNvSpPr>
              <a:spLocks/>
            </p:cNvSpPr>
            <p:nvPr/>
          </p:nvSpPr>
          <p:spPr bwMode="auto">
            <a:xfrm>
              <a:off x="11929493" y="4965129"/>
              <a:ext cx="1194269" cy="100026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90" name="Freeform 720"/>
            <p:cNvSpPr>
              <a:spLocks noEditPoints="1"/>
            </p:cNvSpPr>
            <p:nvPr/>
          </p:nvSpPr>
          <p:spPr bwMode="auto">
            <a:xfrm>
              <a:off x="12945416" y="4366247"/>
              <a:ext cx="7563702" cy="2637633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91" name="Freeform 721"/>
            <p:cNvSpPr>
              <a:spLocks/>
            </p:cNvSpPr>
            <p:nvPr/>
          </p:nvSpPr>
          <p:spPr bwMode="auto">
            <a:xfrm>
              <a:off x="18193828" y="6226607"/>
              <a:ext cx="140127" cy="299442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92" name="Freeform 722"/>
            <p:cNvSpPr>
              <a:spLocks/>
            </p:cNvSpPr>
            <p:nvPr/>
          </p:nvSpPr>
          <p:spPr bwMode="auto">
            <a:xfrm>
              <a:off x="18222490" y="6516489"/>
              <a:ext cx="140127" cy="216615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93" name="Freeform 723"/>
            <p:cNvSpPr>
              <a:spLocks/>
            </p:cNvSpPr>
            <p:nvPr/>
          </p:nvSpPr>
          <p:spPr bwMode="auto">
            <a:xfrm>
              <a:off x="17483637" y="7153601"/>
              <a:ext cx="197453" cy="235731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94" name="Freeform 724"/>
            <p:cNvSpPr>
              <a:spLocks/>
            </p:cNvSpPr>
            <p:nvPr/>
          </p:nvSpPr>
          <p:spPr bwMode="auto">
            <a:xfrm>
              <a:off x="17400836" y="6901941"/>
              <a:ext cx="299364" cy="289887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95" name="Freeform 725"/>
            <p:cNvSpPr>
              <a:spLocks/>
            </p:cNvSpPr>
            <p:nvPr/>
          </p:nvSpPr>
          <p:spPr bwMode="auto">
            <a:xfrm>
              <a:off x="11209749" y="6162893"/>
              <a:ext cx="222932" cy="232543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96" name="Freeform 726"/>
            <p:cNvSpPr>
              <a:spLocks/>
            </p:cNvSpPr>
            <p:nvPr/>
          </p:nvSpPr>
          <p:spPr bwMode="auto">
            <a:xfrm>
              <a:off x="11321211" y="6153340"/>
              <a:ext cx="149682" cy="92380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97" name="Freeform 727"/>
            <p:cNvSpPr>
              <a:spLocks/>
            </p:cNvSpPr>
            <p:nvPr/>
          </p:nvSpPr>
          <p:spPr bwMode="auto">
            <a:xfrm>
              <a:off x="11267072" y="6854158"/>
              <a:ext cx="585987" cy="43005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98" name="Freeform 728"/>
            <p:cNvSpPr>
              <a:spLocks/>
            </p:cNvSpPr>
            <p:nvPr/>
          </p:nvSpPr>
          <p:spPr bwMode="auto">
            <a:xfrm>
              <a:off x="11267072" y="6946541"/>
              <a:ext cx="149682" cy="283516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99" name="Freeform 729"/>
            <p:cNvSpPr>
              <a:spLocks/>
            </p:cNvSpPr>
            <p:nvPr/>
          </p:nvSpPr>
          <p:spPr bwMode="auto">
            <a:xfrm>
              <a:off x="13069621" y="9510902"/>
              <a:ext cx="493633" cy="825058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00" name="Freeform 730"/>
            <p:cNvSpPr>
              <a:spLocks/>
            </p:cNvSpPr>
            <p:nvPr/>
          </p:nvSpPr>
          <p:spPr bwMode="auto">
            <a:xfrm>
              <a:off x="13181086" y="9485418"/>
              <a:ext cx="149682" cy="353598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01" name="Freeform 731"/>
            <p:cNvSpPr>
              <a:spLocks/>
            </p:cNvSpPr>
            <p:nvPr/>
          </p:nvSpPr>
          <p:spPr bwMode="auto">
            <a:xfrm>
              <a:off x="12674715" y="9418522"/>
              <a:ext cx="560509" cy="468277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02" name="Freeform 732"/>
            <p:cNvSpPr>
              <a:spLocks/>
            </p:cNvSpPr>
            <p:nvPr/>
          </p:nvSpPr>
          <p:spPr bwMode="auto">
            <a:xfrm>
              <a:off x="12247966" y="9839014"/>
              <a:ext cx="595542" cy="58932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03" name="Freeform 733"/>
            <p:cNvSpPr>
              <a:spLocks/>
            </p:cNvSpPr>
            <p:nvPr/>
          </p:nvSpPr>
          <p:spPr bwMode="auto">
            <a:xfrm>
              <a:off x="12263888" y="8781415"/>
              <a:ext cx="850321" cy="888769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04" name="Freeform 734"/>
            <p:cNvSpPr>
              <a:spLocks/>
            </p:cNvSpPr>
            <p:nvPr/>
          </p:nvSpPr>
          <p:spPr bwMode="auto">
            <a:xfrm>
              <a:off x="12254333" y="9307030"/>
              <a:ext cx="525479" cy="58932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05" name="Freeform 735"/>
            <p:cNvSpPr>
              <a:spLocks/>
            </p:cNvSpPr>
            <p:nvPr/>
          </p:nvSpPr>
          <p:spPr bwMode="auto">
            <a:xfrm>
              <a:off x="12591915" y="9867685"/>
              <a:ext cx="429938" cy="449163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06" name="Freeform 736"/>
            <p:cNvSpPr>
              <a:spLocks/>
            </p:cNvSpPr>
            <p:nvPr/>
          </p:nvSpPr>
          <p:spPr bwMode="auto">
            <a:xfrm>
              <a:off x="12824398" y="9775302"/>
              <a:ext cx="366243" cy="324926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07" name="Freeform 737"/>
            <p:cNvSpPr>
              <a:spLocks/>
            </p:cNvSpPr>
            <p:nvPr/>
          </p:nvSpPr>
          <p:spPr bwMode="auto">
            <a:xfrm>
              <a:off x="13069621" y="10259505"/>
              <a:ext cx="92356" cy="105124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08" name="Freeform 738"/>
            <p:cNvSpPr>
              <a:spLocks noEditPoints="1"/>
            </p:cNvSpPr>
            <p:nvPr/>
          </p:nvSpPr>
          <p:spPr bwMode="auto">
            <a:xfrm>
              <a:off x="12442232" y="10090673"/>
              <a:ext cx="738853" cy="646665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09" name="Freeform 739"/>
            <p:cNvSpPr>
              <a:spLocks/>
            </p:cNvSpPr>
            <p:nvPr/>
          </p:nvSpPr>
          <p:spPr bwMode="auto">
            <a:xfrm>
              <a:off x="12919938" y="10399671"/>
              <a:ext cx="121018" cy="124237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10" name="Freeform 740"/>
            <p:cNvSpPr>
              <a:spLocks/>
            </p:cNvSpPr>
            <p:nvPr/>
          </p:nvSpPr>
          <p:spPr bwMode="auto">
            <a:xfrm>
              <a:off x="12263888" y="9240129"/>
              <a:ext cx="47770" cy="76452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11" name="Freeform 741"/>
            <p:cNvSpPr>
              <a:spLocks/>
            </p:cNvSpPr>
            <p:nvPr/>
          </p:nvSpPr>
          <p:spPr bwMode="auto">
            <a:xfrm>
              <a:off x="12219300" y="8857867"/>
              <a:ext cx="324842" cy="4204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12" name="Freeform 742"/>
            <p:cNvSpPr>
              <a:spLocks/>
            </p:cNvSpPr>
            <p:nvPr/>
          </p:nvSpPr>
          <p:spPr bwMode="auto">
            <a:xfrm>
              <a:off x="12359429" y="8520197"/>
              <a:ext cx="595542" cy="4204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13" name="Freeform 743"/>
            <p:cNvSpPr>
              <a:spLocks/>
            </p:cNvSpPr>
            <p:nvPr/>
          </p:nvSpPr>
          <p:spPr bwMode="auto">
            <a:xfrm>
              <a:off x="11697008" y="7921315"/>
              <a:ext cx="1092359" cy="767717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14" name="Freeform 744"/>
            <p:cNvSpPr>
              <a:spLocks/>
            </p:cNvSpPr>
            <p:nvPr/>
          </p:nvSpPr>
          <p:spPr bwMode="auto">
            <a:xfrm>
              <a:off x="12684268" y="7940429"/>
              <a:ext cx="767517" cy="946107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15" name="Freeform 745"/>
            <p:cNvSpPr>
              <a:spLocks/>
            </p:cNvSpPr>
            <p:nvPr/>
          </p:nvSpPr>
          <p:spPr bwMode="auto">
            <a:xfrm>
              <a:off x="13356248" y="8182530"/>
              <a:ext cx="299364" cy="270773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16" name="Freeform 746"/>
            <p:cNvSpPr>
              <a:spLocks/>
            </p:cNvSpPr>
            <p:nvPr/>
          </p:nvSpPr>
          <p:spPr bwMode="auto">
            <a:xfrm>
              <a:off x="13200194" y="8313140"/>
              <a:ext cx="691083" cy="573398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17" name="Freeform 747"/>
            <p:cNvSpPr>
              <a:spLocks/>
            </p:cNvSpPr>
            <p:nvPr/>
          </p:nvSpPr>
          <p:spPr bwMode="auto">
            <a:xfrm>
              <a:off x="13235227" y="8481973"/>
              <a:ext cx="812103" cy="777272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18" name="Freeform 748"/>
            <p:cNvSpPr>
              <a:spLocks/>
            </p:cNvSpPr>
            <p:nvPr/>
          </p:nvSpPr>
          <p:spPr bwMode="auto">
            <a:xfrm>
              <a:off x="13601471" y="8437375"/>
              <a:ext cx="82803" cy="101936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19" name="Freeform 749"/>
            <p:cNvSpPr>
              <a:spLocks/>
            </p:cNvSpPr>
            <p:nvPr/>
          </p:nvSpPr>
          <p:spPr bwMode="auto">
            <a:xfrm>
              <a:off x="13040961" y="8848311"/>
              <a:ext cx="242036" cy="261215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20" name="Freeform 750"/>
            <p:cNvSpPr>
              <a:spLocks/>
            </p:cNvSpPr>
            <p:nvPr/>
          </p:nvSpPr>
          <p:spPr bwMode="auto">
            <a:xfrm>
              <a:off x="13012297" y="9147751"/>
              <a:ext cx="92356" cy="92380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21" name="Freeform 751"/>
            <p:cNvSpPr>
              <a:spLocks/>
            </p:cNvSpPr>
            <p:nvPr/>
          </p:nvSpPr>
          <p:spPr bwMode="auto">
            <a:xfrm>
              <a:off x="13012297" y="9090413"/>
              <a:ext cx="101909" cy="86010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22" name="Freeform 752"/>
            <p:cNvSpPr>
              <a:spLocks/>
            </p:cNvSpPr>
            <p:nvPr/>
          </p:nvSpPr>
          <p:spPr bwMode="auto">
            <a:xfrm>
              <a:off x="13031406" y="9061741"/>
              <a:ext cx="503186" cy="544729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23" name="Freeform 753"/>
            <p:cNvSpPr>
              <a:spLocks/>
            </p:cNvSpPr>
            <p:nvPr/>
          </p:nvSpPr>
          <p:spPr bwMode="auto">
            <a:xfrm>
              <a:off x="12117393" y="8931134"/>
              <a:ext cx="251592" cy="289887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24" name="Freeform 754"/>
            <p:cNvSpPr>
              <a:spLocks/>
            </p:cNvSpPr>
            <p:nvPr/>
          </p:nvSpPr>
          <p:spPr bwMode="auto">
            <a:xfrm>
              <a:off x="12133315" y="8931134"/>
              <a:ext cx="105096" cy="66896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25" name="Freeform 755"/>
            <p:cNvSpPr>
              <a:spLocks/>
            </p:cNvSpPr>
            <p:nvPr/>
          </p:nvSpPr>
          <p:spPr bwMode="auto">
            <a:xfrm>
              <a:off x="12098282" y="8427819"/>
              <a:ext cx="343950" cy="531986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26" name="Freeform 756"/>
            <p:cNvSpPr>
              <a:spLocks/>
            </p:cNvSpPr>
            <p:nvPr/>
          </p:nvSpPr>
          <p:spPr bwMode="auto">
            <a:xfrm>
              <a:off x="11732043" y="8453303"/>
              <a:ext cx="140127" cy="289887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27" name="Freeform 757"/>
            <p:cNvSpPr>
              <a:spLocks/>
            </p:cNvSpPr>
            <p:nvPr/>
          </p:nvSpPr>
          <p:spPr bwMode="auto">
            <a:xfrm>
              <a:off x="11827584" y="8380032"/>
              <a:ext cx="550956" cy="477833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28" name="Freeform 758"/>
            <p:cNvSpPr>
              <a:spLocks/>
            </p:cNvSpPr>
            <p:nvPr/>
          </p:nvSpPr>
          <p:spPr bwMode="auto">
            <a:xfrm>
              <a:off x="11432679" y="8322691"/>
              <a:ext cx="394905" cy="2803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29" name="Freeform 759"/>
            <p:cNvSpPr>
              <a:spLocks/>
            </p:cNvSpPr>
            <p:nvPr/>
          </p:nvSpPr>
          <p:spPr bwMode="auto">
            <a:xfrm>
              <a:off x="11697010" y="8529753"/>
              <a:ext cx="92356" cy="222990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30" name="Freeform 760"/>
            <p:cNvSpPr>
              <a:spLocks/>
            </p:cNvSpPr>
            <p:nvPr/>
          </p:nvSpPr>
          <p:spPr bwMode="auto">
            <a:xfrm>
              <a:off x="11295734" y="8539311"/>
              <a:ext cx="296178" cy="289887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31" name="Freeform 761"/>
            <p:cNvSpPr>
              <a:spLocks/>
            </p:cNvSpPr>
            <p:nvPr/>
          </p:nvSpPr>
          <p:spPr bwMode="auto">
            <a:xfrm>
              <a:off x="11547328" y="8529753"/>
              <a:ext cx="213379" cy="2803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32" name="Freeform 762"/>
            <p:cNvSpPr>
              <a:spLocks/>
            </p:cNvSpPr>
            <p:nvPr/>
          </p:nvSpPr>
          <p:spPr bwMode="auto">
            <a:xfrm>
              <a:off x="11079175" y="8558422"/>
              <a:ext cx="140127" cy="168835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33" name="Freeform 763"/>
            <p:cNvSpPr>
              <a:spLocks/>
            </p:cNvSpPr>
            <p:nvPr/>
          </p:nvSpPr>
          <p:spPr bwMode="auto">
            <a:xfrm>
              <a:off x="11161976" y="8631691"/>
              <a:ext cx="207006" cy="197506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34" name="Freeform 764"/>
            <p:cNvSpPr>
              <a:spLocks/>
            </p:cNvSpPr>
            <p:nvPr/>
          </p:nvSpPr>
          <p:spPr bwMode="auto">
            <a:xfrm>
              <a:off x="11015478" y="8443745"/>
              <a:ext cx="324842" cy="273958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35" name="Freeform 765"/>
            <p:cNvSpPr>
              <a:spLocks/>
            </p:cNvSpPr>
            <p:nvPr/>
          </p:nvSpPr>
          <p:spPr bwMode="auto">
            <a:xfrm>
              <a:off x="10929493" y="8453303"/>
              <a:ext cx="149682" cy="66896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36" name="Freeform 766"/>
            <p:cNvSpPr>
              <a:spLocks/>
            </p:cNvSpPr>
            <p:nvPr/>
          </p:nvSpPr>
          <p:spPr bwMode="auto">
            <a:xfrm>
              <a:off x="10919937" y="8389590"/>
              <a:ext cx="140127" cy="38227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37" name="Freeform 767"/>
            <p:cNvSpPr>
              <a:spLocks/>
            </p:cNvSpPr>
            <p:nvPr/>
          </p:nvSpPr>
          <p:spPr bwMode="auto">
            <a:xfrm>
              <a:off x="10900829" y="7733369"/>
              <a:ext cx="560509" cy="637107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38" name="Freeform 768"/>
            <p:cNvSpPr>
              <a:spLocks/>
            </p:cNvSpPr>
            <p:nvPr/>
          </p:nvSpPr>
          <p:spPr bwMode="auto">
            <a:xfrm>
              <a:off x="10900829" y="8258982"/>
              <a:ext cx="270700" cy="213435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39" name="Freeform 769"/>
            <p:cNvSpPr>
              <a:spLocks/>
            </p:cNvSpPr>
            <p:nvPr/>
          </p:nvSpPr>
          <p:spPr bwMode="auto">
            <a:xfrm>
              <a:off x="11136499" y="7838490"/>
              <a:ext cx="783439" cy="72949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40" name="Freeform 770"/>
            <p:cNvSpPr>
              <a:spLocks/>
            </p:cNvSpPr>
            <p:nvPr/>
          </p:nvSpPr>
          <p:spPr bwMode="auto">
            <a:xfrm>
              <a:off x="12814845" y="7500821"/>
              <a:ext cx="515923" cy="503317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41" name="Freeform 771"/>
            <p:cNvSpPr>
              <a:spLocks/>
            </p:cNvSpPr>
            <p:nvPr/>
          </p:nvSpPr>
          <p:spPr bwMode="auto">
            <a:xfrm>
              <a:off x="12050511" y="7210939"/>
              <a:ext cx="187902" cy="363153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42" name="Freeform 772"/>
            <p:cNvSpPr>
              <a:spLocks/>
            </p:cNvSpPr>
            <p:nvPr/>
          </p:nvSpPr>
          <p:spPr bwMode="auto">
            <a:xfrm>
              <a:off x="12133317" y="7424369"/>
              <a:ext cx="710194" cy="684895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43" name="Freeform 773"/>
            <p:cNvSpPr>
              <a:spLocks/>
            </p:cNvSpPr>
            <p:nvPr/>
          </p:nvSpPr>
          <p:spPr bwMode="auto">
            <a:xfrm>
              <a:off x="10910384" y="7714256"/>
              <a:ext cx="391721" cy="318556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44" name="Freeform 774"/>
            <p:cNvSpPr>
              <a:spLocks/>
            </p:cNvSpPr>
            <p:nvPr/>
          </p:nvSpPr>
          <p:spPr bwMode="auto">
            <a:xfrm>
              <a:off x="11098281" y="7265092"/>
              <a:ext cx="560509" cy="449163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45" name="Freeform 775"/>
            <p:cNvSpPr>
              <a:spLocks/>
            </p:cNvSpPr>
            <p:nvPr/>
          </p:nvSpPr>
          <p:spPr bwMode="auto">
            <a:xfrm>
              <a:off x="11295736" y="7220495"/>
              <a:ext cx="968154" cy="923808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46" name="Freeform 776"/>
            <p:cNvSpPr>
              <a:spLocks/>
            </p:cNvSpPr>
            <p:nvPr/>
          </p:nvSpPr>
          <p:spPr bwMode="auto">
            <a:xfrm>
              <a:off x="8295732" y="3719582"/>
              <a:ext cx="2850322" cy="2124760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47" name="Freeform 777"/>
            <p:cNvSpPr>
              <a:spLocks/>
            </p:cNvSpPr>
            <p:nvPr/>
          </p:nvSpPr>
          <p:spPr bwMode="auto">
            <a:xfrm>
              <a:off x="9136497" y="5038398"/>
              <a:ext cx="149682" cy="105124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48" name="Freeform 778"/>
            <p:cNvSpPr>
              <a:spLocks/>
            </p:cNvSpPr>
            <p:nvPr/>
          </p:nvSpPr>
          <p:spPr bwMode="auto">
            <a:xfrm>
              <a:off x="9184270" y="4965129"/>
              <a:ext cx="38217" cy="19114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49" name="Freeform 779"/>
            <p:cNvSpPr>
              <a:spLocks/>
            </p:cNvSpPr>
            <p:nvPr/>
          </p:nvSpPr>
          <p:spPr bwMode="auto">
            <a:xfrm>
              <a:off x="9212932" y="3859745"/>
              <a:ext cx="101909" cy="57338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50" name="Freeform 780"/>
            <p:cNvSpPr>
              <a:spLocks/>
            </p:cNvSpPr>
            <p:nvPr/>
          </p:nvSpPr>
          <p:spPr bwMode="auto">
            <a:xfrm>
              <a:off x="9528218" y="3776918"/>
              <a:ext cx="76432" cy="44598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51" name="Freeform 782"/>
            <p:cNvSpPr>
              <a:spLocks/>
            </p:cNvSpPr>
            <p:nvPr/>
          </p:nvSpPr>
          <p:spPr bwMode="auto">
            <a:xfrm>
              <a:off x="10735225" y="3897972"/>
              <a:ext cx="54142" cy="38227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52" name="Freeform 783"/>
            <p:cNvSpPr>
              <a:spLocks/>
            </p:cNvSpPr>
            <p:nvPr/>
          </p:nvSpPr>
          <p:spPr bwMode="auto">
            <a:xfrm>
              <a:off x="10808475" y="3936197"/>
              <a:ext cx="47770" cy="955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53" name="Freeform 784"/>
            <p:cNvSpPr>
              <a:spLocks/>
            </p:cNvSpPr>
            <p:nvPr/>
          </p:nvSpPr>
          <p:spPr bwMode="auto">
            <a:xfrm>
              <a:off x="10808475" y="4468183"/>
              <a:ext cx="38217" cy="66896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54" name="Freeform 785"/>
            <p:cNvSpPr>
              <a:spLocks/>
            </p:cNvSpPr>
            <p:nvPr/>
          </p:nvSpPr>
          <p:spPr bwMode="auto">
            <a:xfrm>
              <a:off x="10827583" y="4589232"/>
              <a:ext cx="63695" cy="38227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55" name="Freeform 786"/>
            <p:cNvSpPr>
              <a:spLocks/>
            </p:cNvSpPr>
            <p:nvPr/>
          </p:nvSpPr>
          <p:spPr bwMode="auto">
            <a:xfrm>
              <a:off x="10566434" y="4796294"/>
              <a:ext cx="159235" cy="92380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56" name="Freeform 787"/>
            <p:cNvSpPr>
              <a:spLocks/>
            </p:cNvSpPr>
            <p:nvPr/>
          </p:nvSpPr>
          <p:spPr bwMode="auto">
            <a:xfrm>
              <a:off x="10537774" y="4777183"/>
              <a:ext cx="82803" cy="28672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57" name="Freeform 788"/>
            <p:cNvSpPr>
              <a:spLocks/>
            </p:cNvSpPr>
            <p:nvPr/>
          </p:nvSpPr>
          <p:spPr bwMode="auto">
            <a:xfrm>
              <a:off x="10407201" y="4974685"/>
              <a:ext cx="121018" cy="63711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58" name="Freeform 789"/>
            <p:cNvSpPr>
              <a:spLocks/>
            </p:cNvSpPr>
            <p:nvPr/>
          </p:nvSpPr>
          <p:spPr bwMode="auto">
            <a:xfrm>
              <a:off x="9305288" y="5067067"/>
              <a:ext cx="38217" cy="57338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59" name="Freeform 790"/>
            <p:cNvSpPr>
              <a:spLocks/>
            </p:cNvSpPr>
            <p:nvPr/>
          </p:nvSpPr>
          <p:spPr bwMode="auto">
            <a:xfrm>
              <a:off x="9222485" y="4946016"/>
              <a:ext cx="35033" cy="38227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60" name="Freeform 791"/>
            <p:cNvSpPr>
              <a:spLocks/>
            </p:cNvSpPr>
            <p:nvPr/>
          </p:nvSpPr>
          <p:spPr bwMode="auto">
            <a:xfrm>
              <a:off x="10865798" y="4347133"/>
              <a:ext cx="19109" cy="19114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61" name="Freeform 792"/>
            <p:cNvSpPr>
              <a:spLocks/>
            </p:cNvSpPr>
            <p:nvPr/>
          </p:nvSpPr>
          <p:spPr bwMode="auto">
            <a:xfrm>
              <a:off x="10789366" y="4245195"/>
              <a:ext cx="28664" cy="15928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62" name="Freeform 793"/>
            <p:cNvSpPr>
              <a:spLocks/>
            </p:cNvSpPr>
            <p:nvPr/>
          </p:nvSpPr>
          <p:spPr bwMode="auto">
            <a:xfrm>
              <a:off x="10865798" y="4206968"/>
              <a:ext cx="25477" cy="28672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63" name="Freeform 794"/>
            <p:cNvSpPr>
              <a:spLocks/>
            </p:cNvSpPr>
            <p:nvPr/>
          </p:nvSpPr>
          <p:spPr bwMode="auto">
            <a:xfrm>
              <a:off x="8314841" y="4394916"/>
              <a:ext cx="47770" cy="6370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64" name="Freeform 795"/>
            <p:cNvSpPr>
              <a:spLocks/>
            </p:cNvSpPr>
            <p:nvPr/>
          </p:nvSpPr>
          <p:spPr bwMode="auto">
            <a:xfrm>
              <a:off x="8372164" y="4394916"/>
              <a:ext cx="57323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65" name="Freeform 796"/>
            <p:cNvSpPr>
              <a:spLocks/>
            </p:cNvSpPr>
            <p:nvPr/>
          </p:nvSpPr>
          <p:spPr bwMode="auto">
            <a:xfrm>
              <a:off x="9445417" y="3802407"/>
              <a:ext cx="38217" cy="19114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966" name="Freeform 797"/>
            <p:cNvSpPr>
              <a:spLocks/>
            </p:cNvSpPr>
            <p:nvPr/>
          </p:nvSpPr>
          <p:spPr bwMode="auto">
            <a:xfrm>
              <a:off x="5467694" y="6086410"/>
              <a:ext cx="85988" cy="111494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grpFill/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2591297" y="7215156"/>
            <a:ext cx="3407089" cy="3598721"/>
            <a:chOff x="3421139" y="6301370"/>
            <a:chExt cx="3407089" cy="3598721"/>
          </a:xfrm>
        </p:grpSpPr>
        <p:grpSp>
          <p:nvGrpSpPr>
            <p:cNvPr id="3" name="Group 2"/>
            <p:cNvGrpSpPr/>
            <p:nvPr/>
          </p:nvGrpSpPr>
          <p:grpSpPr>
            <a:xfrm>
              <a:off x="3421139" y="6301370"/>
              <a:ext cx="3407089" cy="2804192"/>
              <a:chOff x="3817288" y="5690652"/>
              <a:chExt cx="3407089" cy="2804192"/>
            </a:xfrm>
          </p:grpSpPr>
          <p:sp>
            <p:nvSpPr>
              <p:cNvPr id="411" name="Oval 410"/>
              <p:cNvSpPr/>
              <p:nvPr/>
            </p:nvSpPr>
            <p:spPr>
              <a:xfrm>
                <a:off x="4420185" y="5690652"/>
                <a:ext cx="2804192" cy="2804192"/>
              </a:xfrm>
              <a:prstGeom prst="ellipse">
                <a:avLst/>
              </a:prstGeom>
              <a:solidFill>
                <a:schemeClr val="bg2"/>
              </a:solidFill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2" name="Oval 1"/>
              <p:cNvSpPr/>
              <p:nvPr/>
            </p:nvSpPr>
            <p:spPr>
              <a:xfrm>
                <a:off x="3817288" y="6929142"/>
                <a:ext cx="1362502" cy="136250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</p:grpSp>
        <p:sp>
          <p:nvSpPr>
            <p:cNvPr id="412" name="TextBox 411"/>
            <p:cNvSpPr txBox="1"/>
            <p:nvPr/>
          </p:nvSpPr>
          <p:spPr>
            <a:xfrm>
              <a:off x="4319043" y="9376871"/>
              <a:ext cx="232332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800" dirty="0">
                  <a:solidFill>
                    <a:schemeClr val="tx2"/>
                  </a:solidFill>
                  <a:latin typeface="Avenir Medium"/>
                  <a:ea typeface="Avenir Book" charset="0"/>
                  <a:cs typeface="Avenir Book" charset="0"/>
                </a:rPr>
                <a:t>North America</a:t>
              </a:r>
              <a:endParaRPr lang="en-US" sz="4400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413" name="TextBox 412"/>
            <p:cNvSpPr txBox="1"/>
            <p:nvPr/>
          </p:nvSpPr>
          <p:spPr>
            <a:xfrm>
              <a:off x="3675793" y="7894796"/>
              <a:ext cx="89479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200">
                  <a:solidFill>
                    <a:schemeClr val="bg2"/>
                  </a:solidFill>
                  <a:latin typeface="Avenir Medium"/>
                  <a:ea typeface="Avenir Book" charset="0"/>
                  <a:cs typeface="Avenir Book" charset="0"/>
                </a:rPr>
                <a:t>25%</a:t>
              </a:r>
              <a:endParaRPr lang="en-US" sz="4800" dirty="0">
                <a:solidFill>
                  <a:schemeClr val="bg2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414" name="TextBox 413"/>
            <p:cNvSpPr txBox="1"/>
            <p:nvPr/>
          </p:nvSpPr>
          <p:spPr>
            <a:xfrm>
              <a:off x="4883732" y="7206501"/>
              <a:ext cx="1382110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tx2"/>
                  </a:solidFill>
                  <a:latin typeface="Avenir Medium"/>
                  <a:ea typeface="Avenir Book" charset="0"/>
                  <a:cs typeface="Avenir Book" charset="0"/>
                </a:rPr>
                <a:t>75%</a:t>
              </a:r>
              <a:endParaRPr lang="en-US" sz="8000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1400456" y="9217163"/>
            <a:ext cx="3407089" cy="3598721"/>
            <a:chOff x="10828397" y="9162370"/>
            <a:chExt cx="3407089" cy="3598721"/>
          </a:xfrm>
        </p:grpSpPr>
        <p:grpSp>
          <p:nvGrpSpPr>
            <p:cNvPr id="421" name="Group 420"/>
            <p:cNvGrpSpPr/>
            <p:nvPr/>
          </p:nvGrpSpPr>
          <p:grpSpPr>
            <a:xfrm>
              <a:off x="10828397" y="9162370"/>
              <a:ext cx="3407089" cy="2804192"/>
              <a:chOff x="3817288" y="5690652"/>
              <a:chExt cx="3407089" cy="2804192"/>
            </a:xfrm>
          </p:grpSpPr>
          <p:sp>
            <p:nvSpPr>
              <p:cNvPr id="423" name="Oval 422"/>
              <p:cNvSpPr/>
              <p:nvPr/>
            </p:nvSpPr>
            <p:spPr>
              <a:xfrm>
                <a:off x="4420185" y="5690652"/>
                <a:ext cx="2804192" cy="2804192"/>
              </a:xfrm>
              <a:prstGeom prst="ellipse">
                <a:avLst/>
              </a:prstGeom>
              <a:solidFill>
                <a:schemeClr val="bg2"/>
              </a:solidFill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422" name="Oval 421"/>
              <p:cNvSpPr/>
              <p:nvPr/>
            </p:nvSpPr>
            <p:spPr>
              <a:xfrm>
                <a:off x="3817288" y="6929142"/>
                <a:ext cx="1362502" cy="136250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</p:grpSp>
        <p:sp>
          <p:nvSpPr>
            <p:cNvPr id="426" name="TextBox 425"/>
            <p:cNvSpPr txBox="1"/>
            <p:nvPr/>
          </p:nvSpPr>
          <p:spPr>
            <a:xfrm>
              <a:off x="12373115" y="12237871"/>
              <a:ext cx="1029704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800" dirty="0">
                  <a:solidFill>
                    <a:schemeClr val="tx2"/>
                  </a:solidFill>
                  <a:latin typeface="Avenir Medium"/>
                  <a:ea typeface="Avenir Book" charset="0"/>
                  <a:cs typeface="Avenir Book" charset="0"/>
                </a:rPr>
                <a:t>Africa</a:t>
              </a:r>
              <a:endParaRPr lang="en-US" sz="4400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431" name="TextBox 430"/>
            <p:cNvSpPr txBox="1"/>
            <p:nvPr/>
          </p:nvSpPr>
          <p:spPr>
            <a:xfrm>
              <a:off x="11083051" y="10755796"/>
              <a:ext cx="894797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200" dirty="0">
                  <a:solidFill>
                    <a:schemeClr val="bg2"/>
                  </a:solidFill>
                  <a:latin typeface="Avenir Medium"/>
                  <a:ea typeface="Avenir Book" charset="0"/>
                  <a:cs typeface="Avenir Book" charset="0"/>
                </a:rPr>
                <a:t>41%</a:t>
              </a:r>
              <a:endParaRPr lang="en-US" sz="4800" dirty="0">
                <a:solidFill>
                  <a:schemeClr val="bg2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432" name="TextBox 431"/>
            <p:cNvSpPr txBox="1"/>
            <p:nvPr/>
          </p:nvSpPr>
          <p:spPr>
            <a:xfrm>
              <a:off x="12290990" y="10067501"/>
              <a:ext cx="1382110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tx2"/>
                  </a:solidFill>
                  <a:latin typeface="Avenir Medium"/>
                  <a:ea typeface="Avenir Book" charset="0"/>
                  <a:cs typeface="Avenir Book" charset="0"/>
                </a:rPr>
                <a:t>59%</a:t>
              </a:r>
              <a:endParaRPr lang="en-US" sz="8000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8863332" y="7949928"/>
            <a:ext cx="3407089" cy="3598721"/>
            <a:chOff x="18633479" y="3691995"/>
            <a:chExt cx="3407089" cy="3598721"/>
          </a:xfrm>
        </p:grpSpPr>
        <p:grpSp>
          <p:nvGrpSpPr>
            <p:cNvPr id="433" name="Group 432"/>
            <p:cNvGrpSpPr/>
            <p:nvPr/>
          </p:nvGrpSpPr>
          <p:grpSpPr>
            <a:xfrm>
              <a:off x="18633479" y="3691995"/>
              <a:ext cx="3407089" cy="2804192"/>
              <a:chOff x="3817288" y="5690652"/>
              <a:chExt cx="3407089" cy="2804192"/>
            </a:xfrm>
          </p:grpSpPr>
          <p:sp>
            <p:nvSpPr>
              <p:cNvPr id="435" name="Oval 434"/>
              <p:cNvSpPr/>
              <p:nvPr/>
            </p:nvSpPr>
            <p:spPr>
              <a:xfrm>
                <a:off x="4420185" y="5690652"/>
                <a:ext cx="2804192" cy="2804192"/>
              </a:xfrm>
              <a:prstGeom prst="ellipse">
                <a:avLst/>
              </a:prstGeom>
              <a:solidFill>
                <a:schemeClr val="bg2"/>
              </a:solidFill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  <p:sp>
            <p:nvSpPr>
              <p:cNvPr id="434" name="Oval 433"/>
              <p:cNvSpPr/>
              <p:nvPr/>
            </p:nvSpPr>
            <p:spPr>
              <a:xfrm>
                <a:off x="3817288" y="6929142"/>
                <a:ext cx="1362502" cy="136250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venir Medium"/>
                  <a:ea typeface="Avenir Book" charset="0"/>
                  <a:cs typeface="Avenir Book" charset="0"/>
                </a:endParaRPr>
              </a:p>
            </p:txBody>
          </p:sp>
        </p:grpSp>
        <p:sp>
          <p:nvSpPr>
            <p:cNvPr id="436" name="TextBox 435"/>
            <p:cNvSpPr txBox="1"/>
            <p:nvPr/>
          </p:nvSpPr>
          <p:spPr>
            <a:xfrm>
              <a:off x="19961217" y="6767496"/>
              <a:ext cx="146367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800" dirty="0">
                  <a:solidFill>
                    <a:schemeClr val="tx2"/>
                  </a:solidFill>
                  <a:latin typeface="Avenir Medium"/>
                  <a:ea typeface="Avenir Book" charset="0"/>
                  <a:cs typeface="Avenir Book" charset="0"/>
                </a:rPr>
                <a:t>Australia</a:t>
              </a:r>
              <a:endParaRPr lang="en-US" sz="4400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437" name="TextBox 436"/>
            <p:cNvSpPr txBox="1"/>
            <p:nvPr/>
          </p:nvSpPr>
          <p:spPr>
            <a:xfrm>
              <a:off x="18888133" y="5285421"/>
              <a:ext cx="894797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200" dirty="0">
                  <a:solidFill>
                    <a:schemeClr val="bg2"/>
                  </a:solidFill>
                  <a:latin typeface="Avenir Medium"/>
                  <a:ea typeface="Avenir Book" charset="0"/>
                  <a:cs typeface="Avenir Book" charset="0"/>
                </a:rPr>
                <a:t>12%</a:t>
              </a:r>
              <a:endParaRPr lang="en-US" sz="4800" dirty="0">
                <a:solidFill>
                  <a:schemeClr val="bg2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438" name="TextBox 437"/>
            <p:cNvSpPr txBox="1"/>
            <p:nvPr/>
          </p:nvSpPr>
          <p:spPr>
            <a:xfrm>
              <a:off x="20096072" y="4597126"/>
              <a:ext cx="1382110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5400" dirty="0">
                  <a:solidFill>
                    <a:schemeClr val="tx2"/>
                  </a:solidFill>
                  <a:latin typeface="Avenir Medium"/>
                  <a:ea typeface="Avenir Book" charset="0"/>
                  <a:cs typeface="Avenir Book" charset="0"/>
                </a:rPr>
                <a:t>88%</a:t>
              </a:r>
              <a:endParaRPr lang="en-US" sz="8000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  <p:sp>
        <p:nvSpPr>
          <p:cNvPr id="424" name="TextBox 423"/>
          <p:cNvSpPr txBox="1"/>
          <p:nvPr/>
        </p:nvSpPr>
        <p:spPr>
          <a:xfrm>
            <a:off x="1053839" y="2934998"/>
            <a:ext cx="2102221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 ship or boat, by any medium at all controllable by the occupant or occupants,—a mast, an oar, a nine-inch cable, a telegraph wire, or a strand of cobweb, it is al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A9C6A9A-85A5-4A8F-BD41-33476E4593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World Ma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54720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pe Map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8228419" y="0"/>
            <a:ext cx="16176941" cy="11831782"/>
            <a:chOff x="2979926" y="-33603"/>
            <a:chExt cx="6221676" cy="4549336"/>
          </a:xfrm>
          <a:solidFill>
            <a:schemeClr val="bg1">
              <a:lumMod val="85000"/>
            </a:schemeClr>
          </a:solidFill>
        </p:grpSpPr>
        <p:sp>
          <p:nvSpPr>
            <p:cNvPr id="4" name="Freeform 100"/>
            <p:cNvSpPr>
              <a:spLocks noEditPoints="1"/>
            </p:cNvSpPr>
            <p:nvPr/>
          </p:nvSpPr>
          <p:spPr bwMode="auto">
            <a:xfrm>
              <a:off x="5709811" y="2172878"/>
              <a:ext cx="237477" cy="119327"/>
            </a:xfrm>
            <a:custGeom>
              <a:avLst/>
              <a:gdLst>
                <a:gd name="T0" fmla="*/ 44 w 104"/>
                <a:gd name="T1" fmla="*/ 1 h 54"/>
                <a:gd name="T2" fmla="*/ 48 w 104"/>
                <a:gd name="T3" fmla="*/ 4 h 54"/>
                <a:gd name="T4" fmla="*/ 51 w 104"/>
                <a:gd name="T5" fmla="*/ 5 h 54"/>
                <a:gd name="T6" fmla="*/ 57 w 104"/>
                <a:gd name="T7" fmla="*/ 8 h 54"/>
                <a:gd name="T8" fmla="*/ 69 w 104"/>
                <a:gd name="T9" fmla="*/ 9 h 54"/>
                <a:gd name="T10" fmla="*/ 71 w 104"/>
                <a:gd name="T11" fmla="*/ 7 h 54"/>
                <a:gd name="T12" fmla="*/ 75 w 104"/>
                <a:gd name="T13" fmla="*/ 6 h 54"/>
                <a:gd name="T14" fmla="*/ 82 w 104"/>
                <a:gd name="T15" fmla="*/ 4 h 54"/>
                <a:gd name="T16" fmla="*/ 85 w 104"/>
                <a:gd name="T17" fmla="*/ 8 h 54"/>
                <a:gd name="T18" fmla="*/ 87 w 104"/>
                <a:gd name="T19" fmla="*/ 8 h 54"/>
                <a:gd name="T20" fmla="*/ 91 w 104"/>
                <a:gd name="T21" fmla="*/ 12 h 54"/>
                <a:gd name="T22" fmla="*/ 94 w 104"/>
                <a:gd name="T23" fmla="*/ 15 h 54"/>
                <a:gd name="T24" fmla="*/ 92 w 104"/>
                <a:gd name="T25" fmla="*/ 22 h 54"/>
                <a:gd name="T26" fmla="*/ 92 w 104"/>
                <a:gd name="T27" fmla="*/ 25 h 54"/>
                <a:gd name="T28" fmla="*/ 92 w 104"/>
                <a:gd name="T29" fmla="*/ 35 h 54"/>
                <a:gd name="T30" fmla="*/ 95 w 104"/>
                <a:gd name="T31" fmla="*/ 39 h 54"/>
                <a:gd name="T32" fmla="*/ 95 w 104"/>
                <a:gd name="T33" fmla="*/ 40 h 54"/>
                <a:gd name="T34" fmla="*/ 99 w 104"/>
                <a:gd name="T35" fmla="*/ 39 h 54"/>
                <a:gd name="T36" fmla="*/ 100 w 104"/>
                <a:gd name="T37" fmla="*/ 38 h 54"/>
                <a:gd name="T38" fmla="*/ 99 w 104"/>
                <a:gd name="T39" fmla="*/ 39 h 54"/>
                <a:gd name="T40" fmla="*/ 90 w 104"/>
                <a:gd name="T41" fmla="*/ 41 h 54"/>
                <a:gd name="T42" fmla="*/ 82 w 104"/>
                <a:gd name="T43" fmla="*/ 46 h 54"/>
                <a:gd name="T44" fmla="*/ 61 w 104"/>
                <a:gd name="T45" fmla="*/ 48 h 54"/>
                <a:gd name="T46" fmla="*/ 46 w 104"/>
                <a:gd name="T47" fmla="*/ 49 h 54"/>
                <a:gd name="T48" fmla="*/ 37 w 104"/>
                <a:gd name="T49" fmla="*/ 51 h 54"/>
                <a:gd name="T50" fmla="*/ 24 w 104"/>
                <a:gd name="T51" fmla="*/ 52 h 54"/>
                <a:gd name="T52" fmla="*/ 17 w 104"/>
                <a:gd name="T53" fmla="*/ 52 h 54"/>
                <a:gd name="T54" fmla="*/ 4 w 104"/>
                <a:gd name="T55" fmla="*/ 53 h 54"/>
                <a:gd name="T56" fmla="*/ 5 w 104"/>
                <a:gd name="T57" fmla="*/ 49 h 54"/>
                <a:gd name="T58" fmla="*/ 13 w 104"/>
                <a:gd name="T59" fmla="*/ 40 h 54"/>
                <a:gd name="T60" fmla="*/ 8 w 104"/>
                <a:gd name="T61" fmla="*/ 38 h 54"/>
                <a:gd name="T62" fmla="*/ 4 w 104"/>
                <a:gd name="T63" fmla="*/ 35 h 54"/>
                <a:gd name="T64" fmla="*/ 9 w 104"/>
                <a:gd name="T65" fmla="*/ 22 h 54"/>
                <a:gd name="T66" fmla="*/ 25 w 104"/>
                <a:gd name="T67" fmla="*/ 25 h 54"/>
                <a:gd name="T68" fmla="*/ 38 w 104"/>
                <a:gd name="T69" fmla="*/ 8 h 54"/>
                <a:gd name="T70" fmla="*/ 40 w 104"/>
                <a:gd name="T71" fmla="*/ 1 h 54"/>
                <a:gd name="T72" fmla="*/ 44 w 104"/>
                <a:gd name="T73" fmla="*/ 1 h 54"/>
                <a:gd name="T74" fmla="*/ 102 w 104"/>
                <a:gd name="T75" fmla="*/ 37 h 54"/>
                <a:gd name="T76" fmla="*/ 102 w 104"/>
                <a:gd name="T77" fmla="*/ 37 h 54"/>
                <a:gd name="T78" fmla="*/ 102 w 104"/>
                <a:gd name="T79" fmla="*/ 37 h 54"/>
                <a:gd name="T80" fmla="*/ 102 w 104"/>
                <a:gd name="T81" fmla="*/ 38 h 54"/>
                <a:gd name="T82" fmla="*/ 102 w 104"/>
                <a:gd name="T83" fmla="*/ 37 h 54"/>
                <a:gd name="T84" fmla="*/ 102 w 104"/>
                <a:gd name="T85" fmla="*/ 37 h 54"/>
                <a:gd name="T86" fmla="*/ 102 w 104"/>
                <a:gd name="T87" fmla="*/ 38 h 54"/>
                <a:gd name="T88" fmla="*/ 102 w 104"/>
                <a:gd name="T89" fmla="*/ 38 h 54"/>
                <a:gd name="T90" fmla="*/ 104 w 104"/>
                <a:gd name="T91" fmla="*/ 42 h 54"/>
                <a:gd name="T92" fmla="*/ 104 w 104"/>
                <a:gd name="T93" fmla="*/ 42 h 54"/>
                <a:gd name="T94" fmla="*/ 102 w 104"/>
                <a:gd name="T95" fmla="*/ 3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54">
                  <a:moveTo>
                    <a:pt x="44" y="1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10"/>
                    <a:pt x="91" y="12"/>
                  </a:cubicBezTo>
                  <a:cubicBezTo>
                    <a:pt x="92" y="14"/>
                    <a:pt x="94" y="15"/>
                    <a:pt x="94" y="15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8"/>
                  </a:cubicBezTo>
                  <a:cubicBezTo>
                    <a:pt x="100" y="39"/>
                    <a:pt x="99" y="39"/>
                    <a:pt x="99" y="39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63" y="48"/>
                    <a:pt x="61" y="48"/>
                  </a:cubicBezTo>
                  <a:cubicBezTo>
                    <a:pt x="60" y="48"/>
                    <a:pt x="48" y="49"/>
                    <a:pt x="46" y="49"/>
                  </a:cubicBezTo>
                  <a:cubicBezTo>
                    <a:pt x="45" y="50"/>
                    <a:pt x="39" y="51"/>
                    <a:pt x="37" y="51"/>
                  </a:cubicBezTo>
                  <a:cubicBezTo>
                    <a:pt x="35" y="51"/>
                    <a:pt x="26" y="52"/>
                    <a:pt x="24" y="52"/>
                  </a:cubicBezTo>
                  <a:cubicBezTo>
                    <a:pt x="22" y="52"/>
                    <a:pt x="17" y="52"/>
                    <a:pt x="17" y="52"/>
                  </a:cubicBezTo>
                  <a:cubicBezTo>
                    <a:pt x="17" y="52"/>
                    <a:pt x="7" y="53"/>
                    <a:pt x="4" y="53"/>
                  </a:cubicBezTo>
                  <a:cubicBezTo>
                    <a:pt x="1" y="54"/>
                    <a:pt x="5" y="49"/>
                    <a:pt x="5" y="49"/>
                  </a:cubicBezTo>
                  <a:cubicBezTo>
                    <a:pt x="5" y="49"/>
                    <a:pt x="17" y="39"/>
                    <a:pt x="13" y="40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0" y="26"/>
                    <a:pt x="5" y="22"/>
                    <a:pt x="9" y="22"/>
                  </a:cubicBezTo>
                  <a:cubicBezTo>
                    <a:pt x="12" y="22"/>
                    <a:pt x="20" y="25"/>
                    <a:pt x="25" y="25"/>
                  </a:cubicBezTo>
                  <a:cubicBezTo>
                    <a:pt x="43" y="25"/>
                    <a:pt x="39" y="19"/>
                    <a:pt x="38" y="8"/>
                  </a:cubicBezTo>
                  <a:cubicBezTo>
                    <a:pt x="38" y="5"/>
                    <a:pt x="39" y="2"/>
                    <a:pt x="40" y="1"/>
                  </a:cubicBezTo>
                  <a:cubicBezTo>
                    <a:pt x="41" y="0"/>
                    <a:pt x="43" y="2"/>
                    <a:pt x="44" y="1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102" y="38"/>
                  </a:moveTo>
                  <a:cubicBezTo>
                    <a:pt x="102" y="38"/>
                    <a:pt x="102" y="38"/>
                    <a:pt x="102" y="38"/>
                  </a:cubicBezTo>
                  <a:cubicBezTo>
                    <a:pt x="103" y="39"/>
                    <a:pt x="104" y="41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41"/>
                    <a:pt x="103" y="39"/>
                    <a:pt x="102" y="38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5" name="Freeform 23"/>
            <p:cNvSpPr>
              <a:spLocks/>
            </p:cNvSpPr>
            <p:nvPr/>
          </p:nvSpPr>
          <p:spPr bwMode="auto">
            <a:xfrm>
              <a:off x="5951686" y="3592015"/>
              <a:ext cx="171511" cy="172598"/>
            </a:xfrm>
            <a:custGeom>
              <a:avLst/>
              <a:gdLst>
                <a:gd name="T0" fmla="*/ 70 w 75"/>
                <a:gd name="T1" fmla="*/ 49 h 78"/>
                <a:gd name="T2" fmla="*/ 52 w 75"/>
                <a:gd name="T3" fmla="*/ 56 h 78"/>
                <a:gd name="T4" fmla="*/ 40 w 75"/>
                <a:gd name="T5" fmla="*/ 65 h 78"/>
                <a:gd name="T6" fmla="*/ 38 w 75"/>
                <a:gd name="T7" fmla="*/ 77 h 78"/>
                <a:gd name="T8" fmla="*/ 32 w 75"/>
                <a:gd name="T9" fmla="*/ 76 h 78"/>
                <a:gd name="T10" fmla="*/ 31 w 75"/>
                <a:gd name="T11" fmla="*/ 70 h 78"/>
                <a:gd name="T12" fmla="*/ 30 w 75"/>
                <a:gd name="T13" fmla="*/ 66 h 78"/>
                <a:gd name="T14" fmla="*/ 26 w 75"/>
                <a:gd name="T15" fmla="*/ 60 h 78"/>
                <a:gd name="T16" fmla="*/ 21 w 75"/>
                <a:gd name="T17" fmla="*/ 57 h 78"/>
                <a:gd name="T18" fmla="*/ 19 w 75"/>
                <a:gd name="T19" fmla="*/ 57 h 78"/>
                <a:gd name="T20" fmla="*/ 15 w 75"/>
                <a:gd name="T21" fmla="*/ 55 h 78"/>
                <a:gd name="T22" fmla="*/ 13 w 75"/>
                <a:gd name="T23" fmla="*/ 49 h 78"/>
                <a:gd name="T24" fmla="*/ 9 w 75"/>
                <a:gd name="T25" fmla="*/ 46 h 78"/>
                <a:gd name="T26" fmla="*/ 6 w 75"/>
                <a:gd name="T27" fmla="*/ 44 h 78"/>
                <a:gd name="T28" fmla="*/ 1 w 75"/>
                <a:gd name="T29" fmla="*/ 34 h 78"/>
                <a:gd name="T30" fmla="*/ 10 w 75"/>
                <a:gd name="T31" fmla="*/ 29 h 78"/>
                <a:gd name="T32" fmla="*/ 16 w 75"/>
                <a:gd name="T33" fmla="*/ 27 h 78"/>
                <a:gd name="T34" fmla="*/ 20 w 75"/>
                <a:gd name="T35" fmla="*/ 24 h 78"/>
                <a:gd name="T36" fmla="*/ 25 w 75"/>
                <a:gd name="T37" fmla="*/ 15 h 78"/>
                <a:gd name="T38" fmla="*/ 24 w 75"/>
                <a:gd name="T39" fmla="*/ 8 h 78"/>
                <a:gd name="T40" fmla="*/ 25 w 75"/>
                <a:gd name="T41" fmla="*/ 4 h 78"/>
                <a:gd name="T42" fmla="*/ 32 w 75"/>
                <a:gd name="T43" fmla="*/ 2 h 78"/>
                <a:gd name="T44" fmla="*/ 39 w 75"/>
                <a:gd name="T45" fmla="*/ 7 h 78"/>
                <a:gd name="T46" fmla="*/ 47 w 75"/>
                <a:gd name="T47" fmla="*/ 11 h 78"/>
                <a:gd name="T48" fmla="*/ 50 w 75"/>
                <a:gd name="T49" fmla="*/ 17 h 78"/>
                <a:gd name="T50" fmla="*/ 59 w 75"/>
                <a:gd name="T51" fmla="*/ 23 h 78"/>
                <a:gd name="T52" fmla="*/ 67 w 75"/>
                <a:gd name="T53" fmla="*/ 26 h 78"/>
                <a:gd name="T54" fmla="*/ 75 w 75"/>
                <a:gd name="T55" fmla="*/ 26 h 78"/>
                <a:gd name="T56" fmla="*/ 73 w 75"/>
                <a:gd name="T57" fmla="*/ 31 h 78"/>
                <a:gd name="T58" fmla="*/ 70 w 75"/>
                <a:gd name="T59" fmla="*/ 37 h 78"/>
                <a:gd name="T60" fmla="*/ 70 w 75"/>
                <a:gd name="T61" fmla="*/ 43 h 78"/>
                <a:gd name="T62" fmla="*/ 70 w 75"/>
                <a:gd name="T63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5" h="78">
                  <a:moveTo>
                    <a:pt x="71" y="48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66" y="51"/>
                    <a:pt x="61" y="49"/>
                    <a:pt x="60" y="56"/>
                  </a:cubicBezTo>
                  <a:cubicBezTo>
                    <a:pt x="60" y="68"/>
                    <a:pt x="56" y="56"/>
                    <a:pt x="52" y="56"/>
                  </a:cubicBezTo>
                  <a:cubicBezTo>
                    <a:pt x="49" y="56"/>
                    <a:pt x="49" y="58"/>
                    <a:pt x="47" y="60"/>
                  </a:cubicBezTo>
                  <a:cubicBezTo>
                    <a:pt x="44" y="62"/>
                    <a:pt x="41" y="63"/>
                    <a:pt x="40" y="65"/>
                  </a:cubicBezTo>
                  <a:cubicBezTo>
                    <a:pt x="40" y="67"/>
                    <a:pt x="39" y="69"/>
                    <a:pt x="39" y="71"/>
                  </a:cubicBezTo>
                  <a:cubicBezTo>
                    <a:pt x="40" y="74"/>
                    <a:pt x="40" y="77"/>
                    <a:pt x="38" y="77"/>
                  </a:cubicBezTo>
                  <a:cubicBezTo>
                    <a:pt x="37" y="77"/>
                    <a:pt x="34" y="78"/>
                    <a:pt x="32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1" y="70"/>
                    <a:pt x="31" y="69"/>
                  </a:cubicBezTo>
                  <a:cubicBezTo>
                    <a:pt x="30" y="68"/>
                    <a:pt x="30" y="66"/>
                    <a:pt x="30" y="66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7" y="61"/>
                    <a:pt x="26" y="60"/>
                  </a:cubicBezTo>
                  <a:cubicBezTo>
                    <a:pt x="26" y="60"/>
                    <a:pt x="26" y="59"/>
                    <a:pt x="24" y="58"/>
                  </a:cubicBezTo>
                  <a:cubicBezTo>
                    <a:pt x="23" y="58"/>
                    <a:pt x="21" y="57"/>
                    <a:pt x="21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2"/>
                    <a:pt x="7" y="40"/>
                    <a:pt x="6" y="38"/>
                  </a:cubicBezTo>
                  <a:cubicBezTo>
                    <a:pt x="4" y="36"/>
                    <a:pt x="0" y="34"/>
                    <a:pt x="1" y="34"/>
                  </a:cubicBezTo>
                  <a:cubicBezTo>
                    <a:pt x="2" y="32"/>
                    <a:pt x="6" y="33"/>
                    <a:pt x="8" y="32"/>
                  </a:cubicBezTo>
                  <a:cubicBezTo>
                    <a:pt x="9" y="32"/>
                    <a:pt x="9" y="30"/>
                    <a:pt x="10" y="29"/>
                  </a:cubicBezTo>
                  <a:cubicBezTo>
                    <a:pt x="11" y="29"/>
                    <a:pt x="13" y="30"/>
                    <a:pt x="13" y="28"/>
                  </a:cubicBezTo>
                  <a:cubicBezTo>
                    <a:pt x="13" y="26"/>
                    <a:pt x="15" y="26"/>
                    <a:pt x="16" y="27"/>
                  </a:cubicBezTo>
                  <a:cubicBezTo>
                    <a:pt x="16" y="27"/>
                    <a:pt x="17" y="27"/>
                    <a:pt x="19" y="25"/>
                  </a:cubicBezTo>
                  <a:cubicBezTo>
                    <a:pt x="22" y="24"/>
                    <a:pt x="20" y="24"/>
                    <a:pt x="20" y="24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5" y="9"/>
                    <a:pt x="24" y="8"/>
                  </a:cubicBezTo>
                  <a:cubicBezTo>
                    <a:pt x="22" y="6"/>
                    <a:pt x="23" y="6"/>
                    <a:pt x="23" y="5"/>
                  </a:cubicBezTo>
                  <a:cubicBezTo>
                    <a:pt x="24" y="4"/>
                    <a:pt x="25" y="4"/>
                    <a:pt x="25" y="4"/>
                  </a:cubicBezTo>
                  <a:cubicBezTo>
                    <a:pt x="26" y="3"/>
                    <a:pt x="28" y="3"/>
                    <a:pt x="30" y="1"/>
                  </a:cubicBezTo>
                  <a:cubicBezTo>
                    <a:pt x="32" y="0"/>
                    <a:pt x="32" y="2"/>
                    <a:pt x="32" y="2"/>
                  </a:cubicBezTo>
                  <a:cubicBezTo>
                    <a:pt x="32" y="2"/>
                    <a:pt x="33" y="5"/>
                    <a:pt x="36" y="6"/>
                  </a:cubicBezTo>
                  <a:cubicBezTo>
                    <a:pt x="38" y="7"/>
                    <a:pt x="39" y="7"/>
                    <a:pt x="39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8" y="12"/>
                  </a:cubicBezTo>
                  <a:cubicBezTo>
                    <a:pt x="49" y="13"/>
                    <a:pt x="50" y="17"/>
                    <a:pt x="50" y="17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63" y="23"/>
                    <a:pt x="65" y="24"/>
                  </a:cubicBezTo>
                  <a:cubicBezTo>
                    <a:pt x="67" y="24"/>
                    <a:pt x="67" y="26"/>
                    <a:pt x="67" y="26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7"/>
                    <a:pt x="74" y="28"/>
                  </a:cubicBezTo>
                  <a:cubicBezTo>
                    <a:pt x="73" y="28"/>
                    <a:pt x="73" y="30"/>
                    <a:pt x="73" y="31"/>
                  </a:cubicBezTo>
                  <a:cubicBezTo>
                    <a:pt x="73" y="33"/>
                    <a:pt x="73" y="34"/>
                    <a:pt x="73" y="35"/>
                  </a:cubicBezTo>
                  <a:cubicBezTo>
                    <a:pt x="72" y="37"/>
                    <a:pt x="71" y="36"/>
                    <a:pt x="70" y="37"/>
                  </a:cubicBezTo>
                  <a:cubicBezTo>
                    <a:pt x="69" y="37"/>
                    <a:pt x="70" y="39"/>
                    <a:pt x="71" y="41"/>
                  </a:cubicBezTo>
                  <a:cubicBezTo>
                    <a:pt x="71" y="42"/>
                    <a:pt x="71" y="42"/>
                    <a:pt x="70" y="43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1" y="48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5900013" y="3680445"/>
              <a:ext cx="193500" cy="353719"/>
            </a:xfrm>
            <a:custGeom>
              <a:avLst/>
              <a:gdLst>
                <a:gd name="T0" fmla="*/ 57 w 85"/>
                <a:gd name="T1" fmla="*/ 158 h 160"/>
                <a:gd name="T2" fmla="*/ 58 w 85"/>
                <a:gd name="T3" fmla="*/ 151 h 160"/>
                <a:gd name="T4" fmla="*/ 63 w 85"/>
                <a:gd name="T5" fmla="*/ 149 h 160"/>
                <a:gd name="T6" fmla="*/ 58 w 85"/>
                <a:gd name="T7" fmla="*/ 142 h 160"/>
                <a:gd name="T8" fmla="*/ 61 w 85"/>
                <a:gd name="T9" fmla="*/ 137 h 160"/>
                <a:gd name="T10" fmla="*/ 75 w 85"/>
                <a:gd name="T11" fmla="*/ 124 h 160"/>
                <a:gd name="T12" fmla="*/ 84 w 85"/>
                <a:gd name="T13" fmla="*/ 96 h 160"/>
                <a:gd name="T14" fmla="*/ 79 w 85"/>
                <a:gd name="T15" fmla="*/ 91 h 160"/>
                <a:gd name="T16" fmla="*/ 73 w 85"/>
                <a:gd name="T17" fmla="*/ 88 h 160"/>
                <a:gd name="T18" fmla="*/ 68 w 85"/>
                <a:gd name="T19" fmla="*/ 90 h 160"/>
                <a:gd name="T20" fmla="*/ 68 w 85"/>
                <a:gd name="T21" fmla="*/ 90 h 160"/>
                <a:gd name="T22" fmla="*/ 68 w 85"/>
                <a:gd name="T23" fmla="*/ 90 h 160"/>
                <a:gd name="T24" fmla="*/ 65 w 85"/>
                <a:gd name="T25" fmla="*/ 81 h 160"/>
                <a:gd name="T26" fmla="*/ 59 w 85"/>
                <a:gd name="T27" fmla="*/ 76 h 160"/>
                <a:gd name="T28" fmla="*/ 55 w 85"/>
                <a:gd name="T29" fmla="*/ 68 h 160"/>
                <a:gd name="T30" fmla="*/ 52 w 85"/>
                <a:gd name="T31" fmla="*/ 59 h 160"/>
                <a:gd name="T32" fmla="*/ 56 w 85"/>
                <a:gd name="T33" fmla="*/ 53 h 160"/>
                <a:gd name="T34" fmla="*/ 54 w 85"/>
                <a:gd name="T35" fmla="*/ 43 h 160"/>
                <a:gd name="T36" fmla="*/ 55 w 85"/>
                <a:gd name="T37" fmla="*/ 36 h 160"/>
                <a:gd name="T38" fmla="*/ 53 w 85"/>
                <a:gd name="T39" fmla="*/ 26 h 160"/>
                <a:gd name="T40" fmla="*/ 44 w 85"/>
                <a:gd name="T41" fmla="*/ 17 h 160"/>
                <a:gd name="T42" fmla="*/ 37 w 85"/>
                <a:gd name="T43" fmla="*/ 12 h 160"/>
                <a:gd name="T44" fmla="*/ 31 w 85"/>
                <a:gd name="T45" fmla="*/ 5 h 160"/>
                <a:gd name="T46" fmla="*/ 24 w 85"/>
                <a:gd name="T47" fmla="*/ 7 h 160"/>
                <a:gd name="T48" fmla="*/ 19 w 85"/>
                <a:gd name="T49" fmla="*/ 9 h 160"/>
                <a:gd name="T50" fmla="*/ 17 w 85"/>
                <a:gd name="T51" fmla="*/ 3 h 160"/>
                <a:gd name="T52" fmla="*/ 14 w 85"/>
                <a:gd name="T53" fmla="*/ 0 h 160"/>
                <a:gd name="T54" fmla="*/ 9 w 85"/>
                <a:gd name="T55" fmla="*/ 9 h 160"/>
                <a:gd name="T56" fmla="*/ 5 w 85"/>
                <a:gd name="T57" fmla="*/ 15 h 160"/>
                <a:gd name="T58" fmla="*/ 3 w 85"/>
                <a:gd name="T59" fmla="*/ 21 h 160"/>
                <a:gd name="T60" fmla="*/ 1 w 85"/>
                <a:gd name="T61" fmla="*/ 28 h 160"/>
                <a:gd name="T62" fmla="*/ 5 w 85"/>
                <a:gd name="T63" fmla="*/ 33 h 160"/>
                <a:gd name="T64" fmla="*/ 5 w 85"/>
                <a:gd name="T65" fmla="*/ 39 h 160"/>
                <a:gd name="T66" fmla="*/ 6 w 85"/>
                <a:gd name="T67" fmla="*/ 45 h 160"/>
                <a:gd name="T68" fmla="*/ 14 w 85"/>
                <a:gd name="T69" fmla="*/ 45 h 160"/>
                <a:gd name="T70" fmla="*/ 14 w 85"/>
                <a:gd name="T71" fmla="*/ 54 h 160"/>
                <a:gd name="T72" fmla="*/ 13 w 85"/>
                <a:gd name="T73" fmla="*/ 59 h 160"/>
                <a:gd name="T74" fmla="*/ 14 w 85"/>
                <a:gd name="T75" fmla="*/ 61 h 160"/>
                <a:gd name="T76" fmla="*/ 11 w 85"/>
                <a:gd name="T77" fmla="*/ 67 h 160"/>
                <a:gd name="T78" fmla="*/ 11 w 85"/>
                <a:gd name="T79" fmla="*/ 71 h 160"/>
                <a:gd name="T80" fmla="*/ 14 w 85"/>
                <a:gd name="T81" fmla="*/ 77 h 160"/>
                <a:gd name="T82" fmla="*/ 14 w 85"/>
                <a:gd name="T83" fmla="*/ 87 h 160"/>
                <a:gd name="T84" fmla="*/ 14 w 85"/>
                <a:gd name="T85" fmla="*/ 93 h 160"/>
                <a:gd name="T86" fmla="*/ 13 w 85"/>
                <a:gd name="T87" fmla="*/ 97 h 160"/>
                <a:gd name="T88" fmla="*/ 11 w 85"/>
                <a:gd name="T89" fmla="*/ 101 h 160"/>
                <a:gd name="T90" fmla="*/ 12 w 85"/>
                <a:gd name="T91" fmla="*/ 111 h 160"/>
                <a:gd name="T92" fmla="*/ 19 w 85"/>
                <a:gd name="T93" fmla="*/ 119 h 160"/>
                <a:gd name="T94" fmla="*/ 18 w 85"/>
                <a:gd name="T95" fmla="*/ 126 h 160"/>
                <a:gd name="T96" fmla="*/ 13 w 85"/>
                <a:gd name="T97" fmla="*/ 120 h 160"/>
                <a:gd name="T98" fmla="*/ 14 w 85"/>
                <a:gd name="T99" fmla="*/ 124 h 160"/>
                <a:gd name="T100" fmla="*/ 19 w 85"/>
                <a:gd name="T101" fmla="*/ 131 h 160"/>
                <a:gd name="T102" fmla="*/ 32 w 85"/>
                <a:gd name="T103" fmla="*/ 138 h 160"/>
                <a:gd name="T104" fmla="*/ 38 w 85"/>
                <a:gd name="T105" fmla="*/ 139 h 160"/>
                <a:gd name="T106" fmla="*/ 44 w 85"/>
                <a:gd name="T107" fmla="*/ 151 h 160"/>
                <a:gd name="T108" fmla="*/ 46 w 85"/>
                <a:gd name="T109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" h="160">
                  <a:moveTo>
                    <a:pt x="49" y="158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7" y="158"/>
                    <a:pt x="59" y="156"/>
                    <a:pt x="59" y="156"/>
                  </a:cubicBezTo>
                  <a:cubicBezTo>
                    <a:pt x="59" y="156"/>
                    <a:pt x="59" y="154"/>
                    <a:pt x="59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1"/>
                    <a:pt x="58" y="151"/>
                  </a:cubicBezTo>
                  <a:cubicBezTo>
                    <a:pt x="59" y="151"/>
                    <a:pt x="60" y="150"/>
                    <a:pt x="60" y="151"/>
                  </a:cubicBezTo>
                  <a:cubicBezTo>
                    <a:pt x="61" y="151"/>
                    <a:pt x="60" y="151"/>
                    <a:pt x="61" y="151"/>
                  </a:cubicBezTo>
                  <a:cubicBezTo>
                    <a:pt x="62" y="151"/>
                    <a:pt x="63" y="150"/>
                    <a:pt x="63" y="150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8"/>
                    <a:pt x="59" y="146"/>
                    <a:pt x="58" y="146"/>
                  </a:cubicBezTo>
                  <a:cubicBezTo>
                    <a:pt x="58" y="145"/>
                    <a:pt x="57" y="144"/>
                    <a:pt x="57" y="144"/>
                  </a:cubicBezTo>
                  <a:cubicBezTo>
                    <a:pt x="57" y="143"/>
                    <a:pt x="58" y="142"/>
                    <a:pt x="58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59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2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0" y="107"/>
                    <a:pt x="84" y="103"/>
                    <a:pt x="84" y="104"/>
                  </a:cubicBezTo>
                  <a:cubicBezTo>
                    <a:pt x="85" y="105"/>
                    <a:pt x="84" y="96"/>
                    <a:pt x="84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1"/>
                    <a:pt x="80" y="91"/>
                    <a:pt x="80" y="91"/>
                  </a:cubicBezTo>
                  <a:cubicBezTo>
                    <a:pt x="80" y="91"/>
                    <a:pt x="80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7" y="88"/>
                    <a:pt x="77" y="88"/>
                    <a:pt x="77" y="88"/>
                  </a:cubicBezTo>
                  <a:cubicBezTo>
                    <a:pt x="77" y="88"/>
                    <a:pt x="76" y="89"/>
                    <a:pt x="75" y="89"/>
                  </a:cubicBezTo>
                  <a:cubicBezTo>
                    <a:pt x="74" y="89"/>
                    <a:pt x="74" y="88"/>
                    <a:pt x="73" y="8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88"/>
                    <a:pt x="72" y="88"/>
                    <a:pt x="71" y="88"/>
                  </a:cubicBezTo>
                  <a:cubicBezTo>
                    <a:pt x="70" y="88"/>
                    <a:pt x="69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88"/>
                    <a:pt x="68" y="88"/>
                    <a:pt x="67" y="87"/>
                  </a:cubicBezTo>
                  <a:cubicBezTo>
                    <a:pt x="67" y="86"/>
                    <a:pt x="67" y="84"/>
                    <a:pt x="66" y="83"/>
                  </a:cubicBezTo>
                  <a:cubicBezTo>
                    <a:pt x="65" y="82"/>
                    <a:pt x="65" y="81"/>
                    <a:pt x="65" y="81"/>
                  </a:cubicBezTo>
                  <a:cubicBezTo>
                    <a:pt x="65" y="81"/>
                    <a:pt x="63" y="81"/>
                    <a:pt x="62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1" y="81"/>
                    <a:pt x="60" y="79"/>
                    <a:pt x="61" y="79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6" y="71"/>
                    <a:pt x="56" y="70"/>
                    <a:pt x="56" y="70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7" y="67"/>
                    <a:pt x="57" y="66"/>
                  </a:cubicBezTo>
                  <a:cubicBezTo>
                    <a:pt x="57" y="66"/>
                    <a:pt x="58" y="65"/>
                    <a:pt x="57" y="64"/>
                  </a:cubicBezTo>
                  <a:cubicBezTo>
                    <a:pt x="57" y="63"/>
                    <a:pt x="55" y="62"/>
                    <a:pt x="55" y="62"/>
                  </a:cubicBezTo>
                  <a:cubicBezTo>
                    <a:pt x="54" y="61"/>
                    <a:pt x="53" y="60"/>
                    <a:pt x="52" y="59"/>
                  </a:cubicBezTo>
                  <a:cubicBezTo>
                    <a:pt x="52" y="58"/>
                    <a:pt x="52" y="57"/>
                    <a:pt x="52" y="57"/>
                  </a:cubicBezTo>
                  <a:cubicBezTo>
                    <a:pt x="52" y="57"/>
                    <a:pt x="52" y="56"/>
                    <a:pt x="53" y="56"/>
                  </a:cubicBezTo>
                  <a:cubicBezTo>
                    <a:pt x="54" y="55"/>
                    <a:pt x="55" y="55"/>
                    <a:pt x="55" y="54"/>
                  </a:cubicBezTo>
                  <a:cubicBezTo>
                    <a:pt x="55" y="54"/>
                    <a:pt x="56" y="54"/>
                    <a:pt x="56" y="53"/>
                  </a:cubicBezTo>
                  <a:cubicBezTo>
                    <a:pt x="55" y="52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5" y="40"/>
                    <a:pt x="55" y="40"/>
                  </a:cubicBezTo>
                  <a:cubicBezTo>
                    <a:pt x="55" y="39"/>
                    <a:pt x="55" y="37"/>
                    <a:pt x="55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3" y="28"/>
                    <a:pt x="53" y="26"/>
                    <a:pt x="53" y="26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0" y="21"/>
                    <a:pt x="49" y="20"/>
                  </a:cubicBezTo>
                  <a:cubicBezTo>
                    <a:pt x="49" y="20"/>
                    <a:pt x="49" y="19"/>
                    <a:pt x="47" y="18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7" y="6"/>
                    <a:pt x="27" y="6"/>
                  </a:cubicBezTo>
                  <a:cubicBezTo>
                    <a:pt x="27" y="6"/>
                    <a:pt x="24" y="7"/>
                    <a:pt x="24" y="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8" y="7"/>
                    <a:pt x="17" y="6"/>
                    <a:pt x="17" y="6"/>
                  </a:cubicBezTo>
                  <a:cubicBezTo>
                    <a:pt x="17" y="6"/>
                    <a:pt x="17" y="5"/>
                    <a:pt x="17" y="5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4" y="0"/>
                    <a:pt x="14" y="0"/>
                  </a:cubicBezTo>
                  <a:cubicBezTo>
                    <a:pt x="14" y="0"/>
                    <a:pt x="10" y="4"/>
                    <a:pt x="10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7" y="12"/>
                    <a:pt x="7" y="13"/>
                  </a:cubicBezTo>
                  <a:cubicBezTo>
                    <a:pt x="7" y="13"/>
                    <a:pt x="6" y="14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3" y="21"/>
                    <a:pt x="3" y="2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1"/>
                    <a:pt x="5" y="32"/>
                  </a:cubicBezTo>
                  <a:cubicBezTo>
                    <a:pt x="5" y="32"/>
                    <a:pt x="5" y="33"/>
                    <a:pt x="5" y="33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5" y="36"/>
                    <a:pt x="5" y="36"/>
                  </a:cubicBezTo>
                  <a:cubicBezTo>
                    <a:pt x="5" y="36"/>
                    <a:pt x="5" y="37"/>
                    <a:pt x="5" y="37"/>
                  </a:cubicBezTo>
                  <a:cubicBezTo>
                    <a:pt x="5" y="37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5" y="41"/>
                    <a:pt x="5" y="42"/>
                  </a:cubicBezTo>
                  <a:cubicBezTo>
                    <a:pt x="5" y="42"/>
                    <a:pt x="5" y="43"/>
                    <a:pt x="5" y="43"/>
                  </a:cubicBezTo>
                  <a:cubicBezTo>
                    <a:pt x="4" y="43"/>
                    <a:pt x="6" y="45"/>
                    <a:pt x="6" y="45"/>
                  </a:cubicBezTo>
                  <a:cubicBezTo>
                    <a:pt x="6" y="45"/>
                    <a:pt x="7" y="44"/>
                    <a:pt x="8" y="44"/>
                  </a:cubicBezTo>
                  <a:cubicBezTo>
                    <a:pt x="8" y="44"/>
                    <a:pt x="10" y="44"/>
                    <a:pt x="10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7"/>
                    <a:pt x="16" y="58"/>
                  </a:cubicBezTo>
                  <a:cubicBezTo>
                    <a:pt x="15" y="58"/>
                    <a:pt x="14" y="58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4" y="61"/>
                    <a:pt x="14" y="61"/>
                  </a:cubicBezTo>
                  <a:cubicBezTo>
                    <a:pt x="14" y="62"/>
                    <a:pt x="14" y="64"/>
                    <a:pt x="14" y="64"/>
                  </a:cubicBezTo>
                  <a:cubicBezTo>
                    <a:pt x="14" y="64"/>
                    <a:pt x="14" y="65"/>
                    <a:pt x="13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1" y="71"/>
                    <a:pt x="12" y="72"/>
                    <a:pt x="12" y="72"/>
                  </a:cubicBezTo>
                  <a:cubicBezTo>
                    <a:pt x="12" y="72"/>
                    <a:pt x="15" y="74"/>
                    <a:pt x="15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4" y="81"/>
                    <a:pt x="14" y="81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4" y="86"/>
                    <a:pt x="14" y="86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3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2" y="100"/>
                  </a:cubicBezTo>
                  <a:cubicBezTo>
                    <a:pt x="12" y="100"/>
                    <a:pt x="11" y="101"/>
                    <a:pt x="11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5"/>
                    <a:pt x="18" y="126"/>
                  </a:cubicBezTo>
                  <a:cubicBezTo>
                    <a:pt x="18" y="126"/>
                    <a:pt x="18" y="126"/>
                    <a:pt x="17" y="125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1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1"/>
                    <a:pt x="11" y="121"/>
                  </a:cubicBezTo>
                  <a:cubicBezTo>
                    <a:pt x="11" y="122"/>
                    <a:pt x="11" y="122"/>
                    <a:pt x="12" y="123"/>
                  </a:cubicBezTo>
                  <a:cubicBezTo>
                    <a:pt x="13" y="124"/>
                    <a:pt x="13" y="124"/>
                    <a:pt x="14" y="124"/>
                  </a:cubicBezTo>
                  <a:cubicBezTo>
                    <a:pt x="14" y="124"/>
                    <a:pt x="14" y="125"/>
                    <a:pt x="15" y="125"/>
                  </a:cubicBezTo>
                  <a:cubicBezTo>
                    <a:pt x="15" y="126"/>
                    <a:pt x="15" y="128"/>
                    <a:pt x="15" y="128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9"/>
                    <a:pt x="33" y="139"/>
                    <a:pt x="33" y="139"/>
                  </a:cubicBezTo>
                  <a:cubicBezTo>
                    <a:pt x="33" y="139"/>
                    <a:pt x="34" y="139"/>
                    <a:pt x="35" y="139"/>
                  </a:cubicBezTo>
                  <a:cubicBezTo>
                    <a:pt x="35" y="139"/>
                    <a:pt x="37" y="139"/>
                    <a:pt x="37" y="139"/>
                  </a:cubicBezTo>
                  <a:cubicBezTo>
                    <a:pt x="37" y="139"/>
                    <a:pt x="38" y="138"/>
                    <a:pt x="38" y="139"/>
                  </a:cubicBezTo>
                  <a:cubicBezTo>
                    <a:pt x="38" y="140"/>
                    <a:pt x="41" y="145"/>
                    <a:pt x="41" y="145"/>
                  </a:cubicBezTo>
                  <a:cubicBezTo>
                    <a:pt x="41" y="145"/>
                    <a:pt x="41" y="146"/>
                    <a:pt x="42" y="147"/>
                  </a:cubicBezTo>
                  <a:cubicBezTo>
                    <a:pt x="43" y="148"/>
                    <a:pt x="45" y="149"/>
                    <a:pt x="45" y="149"/>
                  </a:cubicBezTo>
                  <a:cubicBezTo>
                    <a:pt x="45" y="149"/>
                    <a:pt x="44" y="150"/>
                    <a:pt x="44" y="151"/>
                  </a:cubicBezTo>
                  <a:cubicBezTo>
                    <a:pt x="45" y="152"/>
                    <a:pt x="44" y="152"/>
                    <a:pt x="45" y="152"/>
                  </a:cubicBezTo>
                  <a:cubicBezTo>
                    <a:pt x="45" y="153"/>
                    <a:pt x="45" y="153"/>
                    <a:pt x="45" y="153"/>
                  </a:cubicBezTo>
                  <a:cubicBezTo>
                    <a:pt x="45" y="153"/>
                    <a:pt x="45" y="153"/>
                    <a:pt x="45" y="154"/>
                  </a:cubicBezTo>
                  <a:cubicBezTo>
                    <a:pt x="46" y="154"/>
                    <a:pt x="46" y="155"/>
                    <a:pt x="46" y="155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/>
          </p:nvSpPr>
          <p:spPr bwMode="auto">
            <a:xfrm>
              <a:off x="5900013" y="3680445"/>
              <a:ext cx="193500" cy="353719"/>
            </a:xfrm>
            <a:custGeom>
              <a:avLst/>
              <a:gdLst>
                <a:gd name="T0" fmla="*/ 45 w 85"/>
                <a:gd name="T1" fmla="*/ 154 h 160"/>
                <a:gd name="T2" fmla="*/ 41 w 85"/>
                <a:gd name="T3" fmla="*/ 145 h 160"/>
                <a:gd name="T4" fmla="*/ 15 w 85"/>
                <a:gd name="T5" fmla="*/ 128 h 160"/>
                <a:gd name="T6" fmla="*/ 14 w 85"/>
                <a:gd name="T7" fmla="*/ 121 h 160"/>
                <a:gd name="T8" fmla="*/ 18 w 85"/>
                <a:gd name="T9" fmla="*/ 119 h 160"/>
                <a:gd name="T10" fmla="*/ 12 w 85"/>
                <a:gd name="T11" fmla="*/ 100 h 160"/>
                <a:gd name="T12" fmla="*/ 14 w 85"/>
                <a:gd name="T13" fmla="*/ 93 h 160"/>
                <a:gd name="T14" fmla="*/ 14 w 85"/>
                <a:gd name="T15" fmla="*/ 77 h 160"/>
                <a:gd name="T16" fmla="*/ 11 w 85"/>
                <a:gd name="T17" fmla="*/ 67 h 160"/>
                <a:gd name="T18" fmla="*/ 13 w 85"/>
                <a:gd name="T19" fmla="*/ 58 h 160"/>
                <a:gd name="T20" fmla="*/ 14 w 85"/>
                <a:gd name="T21" fmla="*/ 46 h 160"/>
                <a:gd name="T22" fmla="*/ 4 w 85"/>
                <a:gd name="T23" fmla="*/ 39 h 160"/>
                <a:gd name="T24" fmla="*/ 0 w 85"/>
                <a:gd name="T25" fmla="*/ 27 h 160"/>
                <a:gd name="T26" fmla="*/ 4 w 85"/>
                <a:gd name="T27" fmla="*/ 15 h 160"/>
                <a:gd name="T28" fmla="*/ 16 w 85"/>
                <a:gd name="T29" fmla="*/ 0 h 160"/>
                <a:gd name="T30" fmla="*/ 19 w 85"/>
                <a:gd name="T31" fmla="*/ 8 h 160"/>
                <a:gd name="T32" fmla="*/ 31 w 85"/>
                <a:gd name="T33" fmla="*/ 4 h 160"/>
                <a:gd name="T34" fmla="*/ 42 w 85"/>
                <a:gd name="T35" fmla="*/ 16 h 160"/>
                <a:gd name="T36" fmla="*/ 54 w 85"/>
                <a:gd name="T37" fmla="*/ 30 h 160"/>
                <a:gd name="T38" fmla="*/ 55 w 85"/>
                <a:gd name="T39" fmla="*/ 48 h 160"/>
                <a:gd name="T40" fmla="*/ 52 w 85"/>
                <a:gd name="T41" fmla="*/ 59 h 160"/>
                <a:gd name="T42" fmla="*/ 57 w 85"/>
                <a:gd name="T43" fmla="*/ 73 h 160"/>
                <a:gd name="T44" fmla="*/ 68 w 85"/>
                <a:gd name="T45" fmla="*/ 87 h 160"/>
                <a:gd name="T46" fmla="*/ 77 w 85"/>
                <a:gd name="T47" fmla="*/ 88 h 160"/>
                <a:gd name="T48" fmla="*/ 80 w 85"/>
                <a:gd name="T49" fmla="*/ 107 h 160"/>
                <a:gd name="T50" fmla="*/ 60 w 85"/>
                <a:gd name="T51" fmla="*/ 140 h 160"/>
                <a:gd name="T52" fmla="*/ 61 w 85"/>
                <a:gd name="T53" fmla="*/ 147 h 160"/>
                <a:gd name="T54" fmla="*/ 59 w 85"/>
                <a:gd name="T55" fmla="*/ 154 h 160"/>
                <a:gd name="T56" fmla="*/ 49 w 85"/>
                <a:gd name="T57" fmla="*/ 158 h 160"/>
                <a:gd name="T58" fmla="*/ 57 w 85"/>
                <a:gd name="T59" fmla="*/ 151 h 160"/>
                <a:gd name="T60" fmla="*/ 63 w 85"/>
                <a:gd name="T61" fmla="*/ 149 h 160"/>
                <a:gd name="T62" fmla="*/ 59 w 85"/>
                <a:gd name="T63" fmla="*/ 140 h 160"/>
                <a:gd name="T64" fmla="*/ 75 w 85"/>
                <a:gd name="T65" fmla="*/ 124 h 160"/>
                <a:gd name="T66" fmla="*/ 80 w 85"/>
                <a:gd name="T67" fmla="*/ 91 h 160"/>
                <a:gd name="T68" fmla="*/ 69 w 85"/>
                <a:gd name="T69" fmla="*/ 90 h 160"/>
                <a:gd name="T70" fmla="*/ 65 w 85"/>
                <a:gd name="T71" fmla="*/ 81 h 160"/>
                <a:gd name="T72" fmla="*/ 55 w 85"/>
                <a:gd name="T73" fmla="*/ 68 h 160"/>
                <a:gd name="T74" fmla="*/ 54 w 85"/>
                <a:gd name="T75" fmla="*/ 55 h 160"/>
                <a:gd name="T76" fmla="*/ 54 w 85"/>
                <a:gd name="T77" fmla="*/ 42 h 160"/>
                <a:gd name="T78" fmla="*/ 52 w 85"/>
                <a:gd name="T79" fmla="*/ 26 h 160"/>
                <a:gd name="T80" fmla="*/ 40 w 85"/>
                <a:gd name="T81" fmla="*/ 15 h 160"/>
                <a:gd name="T82" fmla="*/ 24 w 85"/>
                <a:gd name="T83" fmla="*/ 7 h 160"/>
                <a:gd name="T84" fmla="*/ 17 w 85"/>
                <a:gd name="T85" fmla="*/ 5 h 160"/>
                <a:gd name="T86" fmla="*/ 9 w 85"/>
                <a:gd name="T87" fmla="*/ 9 h 160"/>
                <a:gd name="T88" fmla="*/ 4 w 85"/>
                <a:gd name="T89" fmla="*/ 20 h 160"/>
                <a:gd name="T90" fmla="*/ 6 w 85"/>
                <a:gd name="T91" fmla="*/ 32 h 160"/>
                <a:gd name="T92" fmla="*/ 5 w 85"/>
                <a:gd name="T93" fmla="*/ 41 h 160"/>
                <a:gd name="T94" fmla="*/ 15 w 85"/>
                <a:gd name="T95" fmla="*/ 46 h 160"/>
                <a:gd name="T96" fmla="*/ 13 w 85"/>
                <a:gd name="T97" fmla="*/ 59 h 160"/>
                <a:gd name="T98" fmla="*/ 12 w 85"/>
                <a:gd name="T99" fmla="*/ 66 h 160"/>
                <a:gd name="T100" fmla="*/ 15 w 85"/>
                <a:gd name="T101" fmla="*/ 75 h 160"/>
                <a:gd name="T102" fmla="*/ 17 w 85"/>
                <a:gd name="T103" fmla="*/ 92 h 160"/>
                <a:gd name="T104" fmla="*/ 13 w 85"/>
                <a:gd name="T105" fmla="*/ 101 h 160"/>
                <a:gd name="T106" fmla="*/ 18 w 85"/>
                <a:gd name="T107" fmla="*/ 122 h 160"/>
                <a:gd name="T108" fmla="*/ 13 w 85"/>
                <a:gd name="T109" fmla="*/ 120 h 160"/>
                <a:gd name="T110" fmla="*/ 27 w 85"/>
                <a:gd name="T111" fmla="*/ 135 h 160"/>
                <a:gd name="T112" fmla="*/ 38 w 85"/>
                <a:gd name="T113" fmla="*/ 139 h 160"/>
                <a:gd name="T114" fmla="*/ 47 w 85"/>
                <a:gd name="T115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5" h="160">
                  <a:moveTo>
                    <a:pt x="52" y="160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6" y="155"/>
                    <a:pt x="46" y="155"/>
                    <a:pt x="46" y="155"/>
                  </a:cubicBezTo>
                  <a:cubicBezTo>
                    <a:pt x="46" y="155"/>
                    <a:pt x="45" y="155"/>
                    <a:pt x="45" y="154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4" y="153"/>
                    <a:pt x="44" y="153"/>
                    <a:pt x="44" y="153"/>
                  </a:cubicBezTo>
                  <a:cubicBezTo>
                    <a:pt x="44" y="152"/>
                    <a:pt x="44" y="152"/>
                    <a:pt x="44" y="152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44" y="150"/>
                    <a:pt x="44" y="149"/>
                    <a:pt x="45" y="149"/>
                  </a:cubicBezTo>
                  <a:cubicBezTo>
                    <a:pt x="44" y="149"/>
                    <a:pt x="42" y="148"/>
                    <a:pt x="42" y="147"/>
                  </a:cubicBezTo>
                  <a:cubicBezTo>
                    <a:pt x="41" y="147"/>
                    <a:pt x="41" y="145"/>
                    <a:pt x="41" y="145"/>
                  </a:cubicBezTo>
                  <a:cubicBezTo>
                    <a:pt x="40" y="145"/>
                    <a:pt x="38" y="141"/>
                    <a:pt x="38" y="139"/>
                  </a:cubicBezTo>
                  <a:cubicBezTo>
                    <a:pt x="36" y="139"/>
                    <a:pt x="35" y="139"/>
                    <a:pt x="35" y="139"/>
                  </a:cubicBezTo>
                  <a:cubicBezTo>
                    <a:pt x="34" y="139"/>
                    <a:pt x="33" y="139"/>
                    <a:pt x="33" y="139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1" y="137"/>
                    <a:pt x="31" y="137"/>
                    <a:pt x="31" y="137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4"/>
                  </a:cubicBezTo>
                  <a:cubicBezTo>
                    <a:pt x="13" y="124"/>
                    <a:pt x="12" y="124"/>
                    <a:pt x="12" y="123"/>
                  </a:cubicBezTo>
                  <a:cubicBezTo>
                    <a:pt x="11" y="123"/>
                    <a:pt x="11" y="122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0"/>
                    <a:pt x="14" y="121"/>
                    <a:pt x="14" y="121"/>
                  </a:cubicBezTo>
                  <a:cubicBezTo>
                    <a:pt x="15" y="121"/>
                    <a:pt x="15" y="123"/>
                    <a:pt x="15" y="123"/>
                  </a:cubicBezTo>
                  <a:cubicBezTo>
                    <a:pt x="15" y="123"/>
                    <a:pt x="16" y="125"/>
                    <a:pt x="17" y="125"/>
                  </a:cubicBezTo>
                  <a:cubicBezTo>
                    <a:pt x="17" y="125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2" y="100"/>
                    <a:pt x="12" y="100"/>
                  </a:cubicBezTo>
                  <a:cubicBezTo>
                    <a:pt x="12" y="100"/>
                    <a:pt x="13" y="99"/>
                    <a:pt x="13" y="99"/>
                  </a:cubicBezTo>
                  <a:cubicBezTo>
                    <a:pt x="13" y="99"/>
                    <a:pt x="13" y="98"/>
                    <a:pt x="13" y="98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4"/>
                    <a:pt x="13" y="93"/>
                    <a:pt x="13" y="93"/>
                  </a:cubicBezTo>
                  <a:cubicBezTo>
                    <a:pt x="13" y="93"/>
                    <a:pt x="13" y="93"/>
                    <a:pt x="14" y="93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5"/>
                    <a:pt x="12" y="83"/>
                    <a:pt x="12" y="83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4" y="78"/>
                    <a:pt x="14" y="77"/>
                  </a:cubicBezTo>
                  <a:cubicBezTo>
                    <a:pt x="14" y="76"/>
                    <a:pt x="14" y="75"/>
                    <a:pt x="14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3" y="73"/>
                    <a:pt x="12" y="72"/>
                    <a:pt x="12" y="72"/>
                  </a:cubicBezTo>
                  <a:cubicBezTo>
                    <a:pt x="12" y="72"/>
                    <a:pt x="11" y="72"/>
                    <a:pt x="11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2" y="65"/>
                    <a:pt x="13" y="65"/>
                    <a:pt x="13" y="65"/>
                  </a:cubicBezTo>
                  <a:cubicBezTo>
                    <a:pt x="13" y="65"/>
                    <a:pt x="14" y="64"/>
                    <a:pt x="14" y="64"/>
                  </a:cubicBezTo>
                  <a:cubicBezTo>
                    <a:pt x="14" y="63"/>
                    <a:pt x="14" y="62"/>
                    <a:pt x="14" y="61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59"/>
                    <a:pt x="13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6" y="57"/>
                    <a:pt x="16" y="56"/>
                    <a:pt x="16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8" y="44"/>
                    <a:pt x="7" y="45"/>
                    <a:pt x="7" y="45"/>
                  </a:cubicBezTo>
                  <a:cubicBezTo>
                    <a:pt x="4" y="44"/>
                    <a:pt x="4" y="43"/>
                    <a:pt x="4" y="43"/>
                  </a:cubicBezTo>
                  <a:cubicBezTo>
                    <a:pt x="5" y="43"/>
                    <a:pt x="5" y="42"/>
                    <a:pt x="5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5" y="37"/>
                    <a:pt x="5" y="37"/>
                  </a:cubicBezTo>
                  <a:cubicBezTo>
                    <a:pt x="4" y="36"/>
                    <a:pt x="4" y="35"/>
                    <a:pt x="4" y="35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1"/>
                    <a:pt x="5" y="30"/>
                    <a:pt x="5" y="3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6" y="13"/>
                    <a:pt x="7" y="13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4"/>
                    <a:pt x="17" y="4"/>
                    <a:pt x="17" y="5"/>
                  </a:cubicBezTo>
                  <a:cubicBezTo>
                    <a:pt x="18" y="5"/>
                    <a:pt x="17" y="6"/>
                    <a:pt x="17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20" y="9"/>
                    <a:pt x="20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6" y="6"/>
                    <a:pt x="27" y="6"/>
                  </a:cubicBezTo>
                  <a:cubicBezTo>
                    <a:pt x="27" y="6"/>
                    <a:pt x="27" y="5"/>
                    <a:pt x="28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6" y="17"/>
                    <a:pt x="48" y="18"/>
                  </a:cubicBezTo>
                  <a:cubicBezTo>
                    <a:pt x="49" y="18"/>
                    <a:pt x="49" y="19"/>
                    <a:pt x="49" y="19"/>
                  </a:cubicBezTo>
                  <a:cubicBezTo>
                    <a:pt x="50" y="21"/>
                    <a:pt x="52" y="23"/>
                    <a:pt x="52" y="2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8"/>
                    <a:pt x="54" y="29"/>
                  </a:cubicBezTo>
                  <a:cubicBezTo>
                    <a:pt x="54" y="29"/>
                    <a:pt x="54" y="30"/>
                    <a:pt x="54" y="30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40"/>
                    <a:pt x="55" y="40"/>
                  </a:cubicBezTo>
                  <a:cubicBezTo>
                    <a:pt x="55" y="40"/>
                    <a:pt x="55" y="42"/>
                    <a:pt x="55" y="42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1"/>
                    <a:pt x="56" y="52"/>
                    <a:pt x="56" y="53"/>
                  </a:cubicBezTo>
                  <a:cubicBezTo>
                    <a:pt x="57" y="53"/>
                    <a:pt x="56" y="54"/>
                    <a:pt x="56" y="54"/>
                  </a:cubicBezTo>
                  <a:cubicBezTo>
                    <a:pt x="55" y="55"/>
                    <a:pt x="55" y="55"/>
                    <a:pt x="54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2" y="57"/>
                    <a:pt x="52" y="57"/>
                  </a:cubicBezTo>
                  <a:cubicBezTo>
                    <a:pt x="52" y="57"/>
                    <a:pt x="52" y="58"/>
                    <a:pt x="52" y="59"/>
                  </a:cubicBezTo>
                  <a:cubicBezTo>
                    <a:pt x="53" y="60"/>
                    <a:pt x="55" y="61"/>
                    <a:pt x="55" y="61"/>
                  </a:cubicBezTo>
                  <a:cubicBezTo>
                    <a:pt x="55" y="61"/>
                    <a:pt x="57" y="63"/>
                    <a:pt x="57" y="64"/>
                  </a:cubicBezTo>
                  <a:cubicBezTo>
                    <a:pt x="58" y="64"/>
                    <a:pt x="57" y="65"/>
                    <a:pt x="57" y="66"/>
                  </a:cubicBezTo>
                  <a:cubicBezTo>
                    <a:pt x="57" y="66"/>
                    <a:pt x="57" y="67"/>
                    <a:pt x="55" y="68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3"/>
                    <a:pt x="57" y="73"/>
                  </a:cubicBezTo>
                  <a:cubicBezTo>
                    <a:pt x="58" y="74"/>
                    <a:pt x="59" y="76"/>
                    <a:pt x="60" y="76"/>
                  </a:cubicBezTo>
                  <a:cubicBezTo>
                    <a:pt x="60" y="76"/>
                    <a:pt x="61" y="78"/>
                    <a:pt x="61" y="79"/>
                  </a:cubicBezTo>
                  <a:cubicBezTo>
                    <a:pt x="61" y="79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ubicBezTo>
                    <a:pt x="63" y="81"/>
                    <a:pt x="65" y="81"/>
                    <a:pt x="65" y="81"/>
                  </a:cubicBezTo>
                  <a:cubicBezTo>
                    <a:pt x="65" y="81"/>
                    <a:pt x="66" y="82"/>
                    <a:pt x="66" y="83"/>
                  </a:cubicBezTo>
                  <a:cubicBezTo>
                    <a:pt x="67" y="84"/>
                    <a:pt x="68" y="86"/>
                    <a:pt x="68" y="87"/>
                  </a:cubicBezTo>
                  <a:cubicBezTo>
                    <a:pt x="68" y="87"/>
                    <a:pt x="68" y="88"/>
                    <a:pt x="68" y="88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90"/>
                    <a:pt x="69" y="89"/>
                    <a:pt x="69" y="89"/>
                  </a:cubicBezTo>
                  <a:cubicBezTo>
                    <a:pt x="69" y="89"/>
                    <a:pt x="70" y="88"/>
                    <a:pt x="70" y="88"/>
                  </a:cubicBezTo>
                  <a:cubicBezTo>
                    <a:pt x="71" y="88"/>
                    <a:pt x="72" y="88"/>
                    <a:pt x="73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6" y="88"/>
                    <a:pt x="76" y="88"/>
                    <a:pt x="77" y="88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80" y="91"/>
                    <a:pt x="81" y="91"/>
                    <a:pt x="81" y="91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3" y="104"/>
                    <a:pt x="81" y="106"/>
                    <a:pt x="80" y="107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6"/>
                    <a:pt x="61" y="137"/>
                    <a:pt x="61" y="137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43"/>
                    <a:pt x="58" y="143"/>
                    <a:pt x="58" y="144"/>
                  </a:cubicBezTo>
                  <a:cubicBezTo>
                    <a:pt x="58" y="144"/>
                    <a:pt x="58" y="144"/>
                    <a:pt x="58" y="145"/>
                  </a:cubicBezTo>
                  <a:cubicBezTo>
                    <a:pt x="58" y="145"/>
                    <a:pt x="59" y="145"/>
                    <a:pt x="59" y="146"/>
                  </a:cubicBezTo>
                  <a:cubicBezTo>
                    <a:pt x="59" y="146"/>
                    <a:pt x="60" y="147"/>
                    <a:pt x="61" y="147"/>
                  </a:cubicBezTo>
                  <a:cubicBezTo>
                    <a:pt x="62" y="148"/>
                    <a:pt x="63" y="148"/>
                    <a:pt x="63" y="148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3" y="151"/>
                    <a:pt x="62" y="151"/>
                    <a:pt x="61" y="151"/>
                  </a:cubicBezTo>
                  <a:cubicBezTo>
                    <a:pt x="61" y="151"/>
                    <a:pt x="60" y="151"/>
                    <a:pt x="60" y="151"/>
                  </a:cubicBezTo>
                  <a:cubicBezTo>
                    <a:pt x="59" y="151"/>
                    <a:pt x="59" y="151"/>
                    <a:pt x="58" y="151"/>
                  </a:cubicBezTo>
                  <a:cubicBezTo>
                    <a:pt x="58" y="151"/>
                    <a:pt x="58" y="152"/>
                    <a:pt x="58" y="153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59" y="154"/>
                    <a:pt x="59" y="156"/>
                    <a:pt x="59" y="156"/>
                  </a:cubicBezTo>
                  <a:cubicBezTo>
                    <a:pt x="59" y="156"/>
                    <a:pt x="59" y="157"/>
                    <a:pt x="57" y="158"/>
                  </a:cubicBezTo>
                  <a:cubicBezTo>
                    <a:pt x="56" y="160"/>
                    <a:pt x="56" y="160"/>
                    <a:pt x="56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lose/>
                  <a:moveTo>
                    <a:pt x="49" y="158"/>
                  </a:moveTo>
                  <a:cubicBezTo>
                    <a:pt x="49" y="158"/>
                    <a:pt x="49" y="158"/>
                    <a:pt x="49" y="158"/>
                  </a:cubicBezTo>
                  <a:cubicBezTo>
                    <a:pt x="52" y="159"/>
                    <a:pt x="52" y="159"/>
                    <a:pt x="52" y="159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8" y="157"/>
                    <a:pt x="59" y="156"/>
                    <a:pt x="59" y="156"/>
                  </a:cubicBezTo>
                  <a:cubicBezTo>
                    <a:pt x="59" y="156"/>
                    <a:pt x="58" y="154"/>
                    <a:pt x="58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2"/>
                    <a:pt x="57" y="151"/>
                  </a:cubicBezTo>
                  <a:cubicBezTo>
                    <a:pt x="57" y="151"/>
                    <a:pt x="58" y="150"/>
                    <a:pt x="58" y="150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59" y="150"/>
                    <a:pt x="60" y="150"/>
                    <a:pt x="60" y="150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2" y="151"/>
                    <a:pt x="63" y="150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9"/>
                    <a:pt x="62" y="148"/>
                    <a:pt x="61" y="148"/>
                  </a:cubicBezTo>
                  <a:cubicBezTo>
                    <a:pt x="59" y="147"/>
                    <a:pt x="58" y="146"/>
                    <a:pt x="58" y="146"/>
                  </a:cubicBezTo>
                  <a:cubicBezTo>
                    <a:pt x="58" y="146"/>
                    <a:pt x="58" y="145"/>
                    <a:pt x="58" y="145"/>
                  </a:cubicBezTo>
                  <a:cubicBezTo>
                    <a:pt x="57" y="145"/>
                    <a:pt x="57" y="144"/>
                    <a:pt x="57" y="144"/>
                  </a:cubicBezTo>
                  <a:cubicBezTo>
                    <a:pt x="57" y="143"/>
                    <a:pt x="57" y="142"/>
                    <a:pt x="57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6"/>
                    <a:pt x="83" y="104"/>
                    <a:pt x="84" y="104"/>
                  </a:cubicBezTo>
                  <a:cubicBezTo>
                    <a:pt x="84" y="103"/>
                    <a:pt x="84" y="100"/>
                    <a:pt x="83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2"/>
                    <a:pt x="80" y="92"/>
                    <a:pt x="80" y="91"/>
                  </a:cubicBezTo>
                  <a:cubicBezTo>
                    <a:pt x="80" y="91"/>
                    <a:pt x="79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76" y="89"/>
                    <a:pt x="76" y="89"/>
                    <a:pt x="75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2" y="88"/>
                    <a:pt x="71" y="88"/>
                    <a:pt x="71" y="89"/>
                  </a:cubicBezTo>
                  <a:cubicBezTo>
                    <a:pt x="70" y="89"/>
                    <a:pt x="70" y="89"/>
                    <a:pt x="69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8" y="91"/>
                    <a:pt x="68" y="90"/>
                    <a:pt x="68" y="90"/>
                  </a:cubicBezTo>
                  <a:cubicBezTo>
                    <a:pt x="68" y="90"/>
                    <a:pt x="68" y="90"/>
                    <a:pt x="67" y="90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8"/>
                    <a:pt x="67" y="87"/>
                    <a:pt x="67" y="87"/>
                  </a:cubicBezTo>
                  <a:cubicBezTo>
                    <a:pt x="67" y="86"/>
                    <a:pt x="66" y="84"/>
                    <a:pt x="66" y="83"/>
                  </a:cubicBezTo>
                  <a:cubicBezTo>
                    <a:pt x="65" y="82"/>
                    <a:pt x="65" y="82"/>
                    <a:pt x="65" y="81"/>
                  </a:cubicBezTo>
                  <a:cubicBezTo>
                    <a:pt x="65" y="81"/>
                    <a:pt x="63" y="81"/>
                    <a:pt x="63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0" y="80"/>
                    <a:pt x="60" y="79"/>
                    <a:pt x="61" y="78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6" y="67"/>
                    <a:pt x="56" y="66"/>
                    <a:pt x="56" y="66"/>
                  </a:cubicBezTo>
                  <a:cubicBezTo>
                    <a:pt x="57" y="65"/>
                    <a:pt x="57" y="64"/>
                    <a:pt x="57" y="64"/>
                  </a:cubicBezTo>
                  <a:cubicBezTo>
                    <a:pt x="57" y="64"/>
                    <a:pt x="55" y="62"/>
                    <a:pt x="54" y="62"/>
                  </a:cubicBezTo>
                  <a:cubicBezTo>
                    <a:pt x="54" y="62"/>
                    <a:pt x="52" y="60"/>
                    <a:pt x="52" y="59"/>
                  </a:cubicBezTo>
                  <a:cubicBezTo>
                    <a:pt x="51" y="58"/>
                    <a:pt x="51" y="57"/>
                    <a:pt x="51" y="57"/>
                  </a:cubicBezTo>
                  <a:cubicBezTo>
                    <a:pt x="52" y="56"/>
                    <a:pt x="52" y="56"/>
                    <a:pt x="53" y="56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5"/>
                    <a:pt x="55" y="54"/>
                    <a:pt x="55" y="54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54" y="39"/>
                    <a:pt x="55" y="38"/>
                    <a:pt x="55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29"/>
                  </a:cubicBezTo>
                  <a:cubicBezTo>
                    <a:pt x="53" y="28"/>
                    <a:pt x="52" y="26"/>
                    <a:pt x="52" y="2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49" y="21"/>
                    <a:pt x="49" y="21"/>
                  </a:cubicBezTo>
                  <a:cubicBezTo>
                    <a:pt x="49" y="20"/>
                    <a:pt x="48" y="20"/>
                    <a:pt x="48" y="20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7" y="6"/>
                    <a:pt x="27" y="6"/>
                  </a:cubicBezTo>
                  <a:cubicBezTo>
                    <a:pt x="27" y="7"/>
                    <a:pt x="24" y="7"/>
                    <a:pt x="24" y="7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19" y="10"/>
                    <a:pt x="19" y="10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4"/>
                    <a:pt x="17" y="4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0"/>
                    <a:pt x="14" y="0"/>
                  </a:cubicBezTo>
                  <a:cubicBezTo>
                    <a:pt x="14" y="1"/>
                    <a:pt x="12" y="2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3"/>
                    <a:pt x="7" y="13"/>
                  </a:cubicBezTo>
                  <a:cubicBezTo>
                    <a:pt x="7" y="14"/>
                    <a:pt x="6" y="15"/>
                    <a:pt x="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4" y="20"/>
                    <a:pt x="3" y="21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1"/>
                    <a:pt x="6" y="32"/>
                  </a:cubicBezTo>
                  <a:cubicBezTo>
                    <a:pt x="6" y="32"/>
                    <a:pt x="5" y="33"/>
                    <a:pt x="5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5" y="36"/>
                    <a:pt x="6" y="37"/>
                    <a:pt x="6" y="37"/>
                  </a:cubicBezTo>
                  <a:cubicBezTo>
                    <a:pt x="6" y="38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3"/>
                    <a:pt x="5" y="43"/>
                  </a:cubicBezTo>
                  <a:cubicBezTo>
                    <a:pt x="5" y="43"/>
                    <a:pt x="6" y="44"/>
                    <a:pt x="7" y="44"/>
                  </a:cubicBezTo>
                  <a:cubicBezTo>
                    <a:pt x="7" y="44"/>
                    <a:pt x="7" y="44"/>
                    <a:pt x="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4"/>
                    <a:pt x="16" y="55"/>
                    <a:pt x="16" y="55"/>
                  </a:cubicBezTo>
                  <a:cubicBezTo>
                    <a:pt x="16" y="56"/>
                    <a:pt x="16" y="58"/>
                    <a:pt x="16" y="58"/>
                  </a:cubicBezTo>
                  <a:cubicBezTo>
                    <a:pt x="15" y="58"/>
                    <a:pt x="14" y="59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5" y="62"/>
                    <a:pt x="15" y="64"/>
                    <a:pt x="15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2" y="71"/>
                    <a:pt x="12" y="71"/>
                    <a:pt x="12" y="72"/>
                  </a:cubicBezTo>
                  <a:cubicBezTo>
                    <a:pt x="12" y="72"/>
                    <a:pt x="12" y="72"/>
                    <a:pt x="15" y="73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5" y="75"/>
                    <a:pt x="15" y="76"/>
                    <a:pt x="15" y="77"/>
                  </a:cubicBezTo>
                  <a:cubicBezTo>
                    <a:pt x="15" y="78"/>
                    <a:pt x="14" y="81"/>
                    <a:pt x="14" y="81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4" y="84"/>
                    <a:pt x="14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4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3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6"/>
                    <a:pt x="18" y="126"/>
                  </a:cubicBezTo>
                  <a:cubicBezTo>
                    <a:pt x="18" y="126"/>
                    <a:pt x="17" y="126"/>
                    <a:pt x="17" y="126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2" y="122"/>
                    <a:pt x="12" y="123"/>
                  </a:cubicBezTo>
                  <a:cubicBezTo>
                    <a:pt x="13" y="123"/>
                    <a:pt x="14" y="124"/>
                    <a:pt x="14" y="124"/>
                  </a:cubicBezTo>
                  <a:cubicBezTo>
                    <a:pt x="14" y="124"/>
                    <a:pt x="15" y="125"/>
                    <a:pt x="15" y="125"/>
                  </a:cubicBezTo>
                  <a:cubicBezTo>
                    <a:pt x="15" y="125"/>
                    <a:pt x="16" y="128"/>
                    <a:pt x="16" y="128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38"/>
                    <a:pt x="34" y="138"/>
                    <a:pt x="35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38"/>
                    <a:pt x="37" y="139"/>
                    <a:pt x="37" y="139"/>
                  </a:cubicBezTo>
                  <a:cubicBezTo>
                    <a:pt x="37" y="139"/>
                    <a:pt x="38" y="139"/>
                    <a:pt x="38" y="139"/>
                  </a:cubicBezTo>
                  <a:cubicBezTo>
                    <a:pt x="38" y="140"/>
                    <a:pt x="40" y="143"/>
                    <a:pt x="41" y="145"/>
                  </a:cubicBezTo>
                  <a:cubicBezTo>
                    <a:pt x="41" y="145"/>
                    <a:pt x="42" y="146"/>
                    <a:pt x="42" y="147"/>
                  </a:cubicBezTo>
                  <a:cubicBezTo>
                    <a:pt x="43" y="147"/>
                    <a:pt x="45" y="148"/>
                    <a:pt x="45" y="148"/>
                  </a:cubicBezTo>
                  <a:cubicBezTo>
                    <a:pt x="45" y="149"/>
                    <a:pt x="45" y="150"/>
                    <a:pt x="45" y="151"/>
                  </a:cubicBezTo>
                  <a:cubicBezTo>
                    <a:pt x="45" y="151"/>
                    <a:pt x="45" y="151"/>
                    <a:pt x="45" y="152"/>
                  </a:cubicBezTo>
                  <a:cubicBezTo>
                    <a:pt x="45" y="153"/>
                    <a:pt x="46" y="153"/>
                    <a:pt x="46" y="153"/>
                  </a:cubicBezTo>
                  <a:cubicBezTo>
                    <a:pt x="46" y="154"/>
                    <a:pt x="47" y="155"/>
                    <a:pt x="47" y="155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8" name="Freeform 84"/>
            <p:cNvSpPr>
              <a:spLocks/>
            </p:cNvSpPr>
            <p:nvPr/>
          </p:nvSpPr>
          <p:spPr bwMode="auto">
            <a:xfrm>
              <a:off x="5810959" y="3583492"/>
              <a:ext cx="177008" cy="196037"/>
            </a:xfrm>
            <a:custGeom>
              <a:avLst/>
              <a:gdLst>
                <a:gd name="T0" fmla="*/ 46 w 78"/>
                <a:gd name="T1" fmla="*/ 88 h 89"/>
                <a:gd name="T2" fmla="*/ 44 w 78"/>
                <a:gd name="T3" fmla="*/ 86 h 89"/>
                <a:gd name="T4" fmla="*/ 44 w 78"/>
                <a:gd name="T5" fmla="*/ 81 h 89"/>
                <a:gd name="T6" fmla="*/ 44 w 78"/>
                <a:gd name="T7" fmla="*/ 77 h 89"/>
                <a:gd name="T8" fmla="*/ 42 w 78"/>
                <a:gd name="T9" fmla="*/ 73 h 89"/>
                <a:gd name="T10" fmla="*/ 39 w 78"/>
                <a:gd name="T11" fmla="*/ 69 h 89"/>
                <a:gd name="T12" fmla="*/ 43 w 78"/>
                <a:gd name="T13" fmla="*/ 64 h 89"/>
                <a:gd name="T14" fmla="*/ 44 w 78"/>
                <a:gd name="T15" fmla="*/ 59 h 89"/>
                <a:gd name="T16" fmla="*/ 47 w 78"/>
                <a:gd name="T17" fmla="*/ 55 h 89"/>
                <a:gd name="T18" fmla="*/ 50 w 78"/>
                <a:gd name="T19" fmla="*/ 49 h 89"/>
                <a:gd name="T20" fmla="*/ 55 w 78"/>
                <a:gd name="T21" fmla="*/ 44 h 89"/>
                <a:gd name="T22" fmla="*/ 56 w 78"/>
                <a:gd name="T23" fmla="*/ 47 h 89"/>
                <a:gd name="T24" fmla="*/ 57 w 78"/>
                <a:gd name="T25" fmla="*/ 51 h 89"/>
                <a:gd name="T26" fmla="*/ 59 w 78"/>
                <a:gd name="T27" fmla="*/ 54 h 89"/>
                <a:gd name="T28" fmla="*/ 66 w 78"/>
                <a:gd name="T29" fmla="*/ 50 h 89"/>
                <a:gd name="T30" fmla="*/ 68 w 78"/>
                <a:gd name="T31" fmla="*/ 48 h 89"/>
                <a:gd name="T32" fmla="*/ 67 w 78"/>
                <a:gd name="T33" fmla="*/ 41 h 89"/>
                <a:gd name="T34" fmla="*/ 70 w 78"/>
                <a:gd name="T35" fmla="*/ 36 h 89"/>
                <a:gd name="T36" fmla="*/ 78 w 78"/>
                <a:gd name="T37" fmla="*/ 31 h 89"/>
                <a:gd name="T38" fmla="*/ 71 w 78"/>
                <a:gd name="T39" fmla="*/ 25 h 89"/>
                <a:gd name="T40" fmla="*/ 62 w 78"/>
                <a:gd name="T41" fmla="*/ 20 h 89"/>
                <a:gd name="T42" fmla="*/ 57 w 78"/>
                <a:gd name="T43" fmla="*/ 17 h 89"/>
                <a:gd name="T44" fmla="*/ 50 w 78"/>
                <a:gd name="T45" fmla="*/ 19 h 89"/>
                <a:gd name="T46" fmla="*/ 46 w 78"/>
                <a:gd name="T47" fmla="*/ 17 h 89"/>
                <a:gd name="T48" fmla="*/ 40 w 78"/>
                <a:gd name="T49" fmla="*/ 14 h 89"/>
                <a:gd name="T50" fmla="*/ 38 w 78"/>
                <a:gd name="T51" fmla="*/ 10 h 89"/>
                <a:gd name="T52" fmla="*/ 33 w 78"/>
                <a:gd name="T53" fmla="*/ 7 h 89"/>
                <a:gd name="T54" fmla="*/ 26 w 78"/>
                <a:gd name="T55" fmla="*/ 5 h 89"/>
                <a:gd name="T56" fmla="*/ 25 w 78"/>
                <a:gd name="T57" fmla="*/ 0 h 89"/>
                <a:gd name="T58" fmla="*/ 20 w 78"/>
                <a:gd name="T59" fmla="*/ 2 h 89"/>
                <a:gd name="T60" fmla="*/ 17 w 78"/>
                <a:gd name="T61" fmla="*/ 0 h 89"/>
                <a:gd name="T62" fmla="*/ 14 w 78"/>
                <a:gd name="T63" fmla="*/ 4 h 89"/>
                <a:gd name="T64" fmla="*/ 17 w 78"/>
                <a:gd name="T65" fmla="*/ 6 h 89"/>
                <a:gd name="T66" fmla="*/ 19 w 78"/>
                <a:gd name="T67" fmla="*/ 10 h 89"/>
                <a:gd name="T68" fmla="*/ 20 w 78"/>
                <a:gd name="T69" fmla="*/ 14 h 89"/>
                <a:gd name="T70" fmla="*/ 17 w 78"/>
                <a:gd name="T71" fmla="*/ 14 h 89"/>
                <a:gd name="T72" fmla="*/ 12 w 78"/>
                <a:gd name="T73" fmla="*/ 12 h 89"/>
                <a:gd name="T74" fmla="*/ 8 w 78"/>
                <a:gd name="T75" fmla="*/ 20 h 89"/>
                <a:gd name="T76" fmla="*/ 7 w 78"/>
                <a:gd name="T77" fmla="*/ 28 h 89"/>
                <a:gd name="T78" fmla="*/ 0 w 78"/>
                <a:gd name="T79" fmla="*/ 32 h 89"/>
                <a:gd name="T80" fmla="*/ 3 w 78"/>
                <a:gd name="T81" fmla="*/ 40 h 89"/>
                <a:gd name="T82" fmla="*/ 4 w 78"/>
                <a:gd name="T83" fmla="*/ 46 h 89"/>
                <a:gd name="T84" fmla="*/ 7 w 78"/>
                <a:gd name="T85" fmla="*/ 49 h 89"/>
                <a:gd name="T86" fmla="*/ 5 w 78"/>
                <a:gd name="T87" fmla="*/ 54 h 89"/>
                <a:gd name="T88" fmla="*/ 3 w 78"/>
                <a:gd name="T89" fmla="*/ 57 h 89"/>
                <a:gd name="T90" fmla="*/ 5 w 78"/>
                <a:gd name="T91" fmla="*/ 61 h 89"/>
                <a:gd name="T92" fmla="*/ 12 w 78"/>
                <a:gd name="T93" fmla="*/ 60 h 89"/>
                <a:gd name="T94" fmla="*/ 13 w 78"/>
                <a:gd name="T95" fmla="*/ 57 h 89"/>
                <a:gd name="T96" fmla="*/ 16 w 78"/>
                <a:gd name="T97" fmla="*/ 60 h 89"/>
                <a:gd name="T98" fmla="*/ 14 w 78"/>
                <a:gd name="T99" fmla="*/ 61 h 89"/>
                <a:gd name="T100" fmla="*/ 12 w 78"/>
                <a:gd name="T101" fmla="*/ 63 h 89"/>
                <a:gd name="T102" fmla="*/ 8 w 78"/>
                <a:gd name="T103" fmla="*/ 65 h 89"/>
                <a:gd name="T104" fmla="*/ 13 w 78"/>
                <a:gd name="T105" fmla="*/ 65 h 89"/>
                <a:gd name="T106" fmla="*/ 17 w 78"/>
                <a:gd name="T107" fmla="*/ 69 h 89"/>
                <a:gd name="T108" fmla="*/ 25 w 78"/>
                <a:gd name="T109" fmla="*/ 71 h 89"/>
                <a:gd name="T110" fmla="*/ 30 w 78"/>
                <a:gd name="T111" fmla="*/ 75 h 89"/>
                <a:gd name="T112" fmla="*/ 31 w 78"/>
                <a:gd name="T113" fmla="*/ 77 h 89"/>
                <a:gd name="T114" fmla="*/ 34 w 78"/>
                <a:gd name="T115" fmla="*/ 80 h 89"/>
                <a:gd name="T116" fmla="*/ 36 w 78"/>
                <a:gd name="T117" fmla="*/ 84 h 89"/>
                <a:gd name="T118" fmla="*/ 40 w 78"/>
                <a:gd name="T119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89">
                  <a:moveTo>
                    <a:pt x="42" y="87"/>
                  </a:moveTo>
                  <a:cubicBezTo>
                    <a:pt x="42" y="87"/>
                    <a:pt x="47" y="89"/>
                    <a:pt x="46" y="89"/>
                  </a:cubicBezTo>
                  <a:cubicBezTo>
                    <a:pt x="46" y="89"/>
                    <a:pt x="46" y="89"/>
                    <a:pt x="46" y="88"/>
                  </a:cubicBezTo>
                  <a:cubicBezTo>
                    <a:pt x="46" y="88"/>
                    <a:pt x="45" y="89"/>
                    <a:pt x="45" y="89"/>
                  </a:cubicBezTo>
                  <a:cubicBezTo>
                    <a:pt x="45" y="89"/>
                    <a:pt x="43" y="87"/>
                    <a:pt x="44" y="87"/>
                  </a:cubicBezTo>
                  <a:cubicBezTo>
                    <a:pt x="44" y="87"/>
                    <a:pt x="44" y="86"/>
                    <a:pt x="44" y="86"/>
                  </a:cubicBezTo>
                  <a:cubicBezTo>
                    <a:pt x="44" y="85"/>
                    <a:pt x="43" y="84"/>
                    <a:pt x="43" y="84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1"/>
                    <a:pt x="44" y="81"/>
                  </a:cubicBezTo>
                  <a:cubicBezTo>
                    <a:pt x="44" y="81"/>
                    <a:pt x="44" y="80"/>
                    <a:pt x="44" y="80"/>
                  </a:cubicBezTo>
                  <a:cubicBezTo>
                    <a:pt x="44" y="80"/>
                    <a:pt x="43" y="79"/>
                    <a:pt x="43" y="79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6"/>
                    <a:pt x="44" y="76"/>
                  </a:cubicBezTo>
                  <a:cubicBezTo>
                    <a:pt x="44" y="75"/>
                    <a:pt x="44" y="74"/>
                    <a:pt x="44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4"/>
                    <a:pt x="43" y="64"/>
                  </a:cubicBezTo>
                  <a:cubicBezTo>
                    <a:pt x="43" y="63"/>
                    <a:pt x="43" y="62"/>
                    <a:pt x="43" y="62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7"/>
                    <a:pt x="46" y="57"/>
                  </a:cubicBezTo>
                  <a:cubicBezTo>
                    <a:pt x="46" y="56"/>
                    <a:pt x="47" y="55"/>
                    <a:pt x="47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3" y="44"/>
                    <a:pt x="53" y="44"/>
                  </a:cubicBezTo>
                  <a:cubicBezTo>
                    <a:pt x="53" y="44"/>
                    <a:pt x="55" y="44"/>
                    <a:pt x="55" y="44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7"/>
                    <a:pt x="56" y="48"/>
                    <a:pt x="56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0"/>
                    <a:pt x="57" y="51"/>
                    <a:pt x="57" y="51"/>
                  </a:cubicBezTo>
                  <a:cubicBezTo>
                    <a:pt x="57" y="52"/>
                    <a:pt x="58" y="53"/>
                    <a:pt x="58" y="53"/>
                  </a:cubicBezTo>
                  <a:cubicBezTo>
                    <a:pt x="58" y="53"/>
                    <a:pt x="58" y="53"/>
                    <a:pt x="59" y="5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6" y="50"/>
                    <a:pt x="66" y="50"/>
                  </a:cubicBezTo>
                  <a:cubicBezTo>
                    <a:pt x="66" y="50"/>
                    <a:pt x="67" y="48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6"/>
                    <a:pt x="69" y="44"/>
                    <a:pt x="68" y="42"/>
                  </a:cubicBezTo>
                  <a:cubicBezTo>
                    <a:pt x="68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5" y="39"/>
                    <a:pt x="62" y="38"/>
                    <a:pt x="63" y="38"/>
                  </a:cubicBezTo>
                  <a:cubicBezTo>
                    <a:pt x="64" y="36"/>
                    <a:pt x="68" y="37"/>
                    <a:pt x="70" y="36"/>
                  </a:cubicBezTo>
                  <a:cubicBezTo>
                    <a:pt x="71" y="36"/>
                    <a:pt x="71" y="34"/>
                    <a:pt x="72" y="33"/>
                  </a:cubicBezTo>
                  <a:cubicBezTo>
                    <a:pt x="73" y="33"/>
                    <a:pt x="75" y="34"/>
                    <a:pt x="75" y="32"/>
                  </a:cubicBezTo>
                  <a:cubicBezTo>
                    <a:pt x="75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7" y="29"/>
                    <a:pt x="74" y="27"/>
                    <a:pt x="73" y="26"/>
                  </a:cubicBezTo>
                  <a:cubicBezTo>
                    <a:pt x="73" y="26"/>
                    <a:pt x="73" y="25"/>
                    <a:pt x="71" y="25"/>
                  </a:cubicBezTo>
                  <a:cubicBezTo>
                    <a:pt x="70" y="25"/>
                    <a:pt x="68" y="23"/>
                    <a:pt x="68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2" y="20"/>
                    <a:pt x="62" y="20"/>
                  </a:cubicBezTo>
                  <a:cubicBezTo>
                    <a:pt x="61" y="20"/>
                    <a:pt x="58" y="19"/>
                    <a:pt x="58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7" y="17"/>
                    <a:pt x="57" y="17"/>
                  </a:cubicBezTo>
                  <a:cubicBezTo>
                    <a:pt x="56" y="17"/>
                    <a:pt x="55" y="18"/>
                    <a:pt x="55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0" y="19"/>
                    <a:pt x="50" y="19"/>
                  </a:cubicBezTo>
                  <a:cubicBezTo>
                    <a:pt x="49" y="18"/>
                    <a:pt x="48" y="16"/>
                    <a:pt x="48" y="16"/>
                  </a:cubicBezTo>
                  <a:cubicBezTo>
                    <a:pt x="48" y="16"/>
                    <a:pt x="48" y="16"/>
                    <a:pt x="47" y="16"/>
                  </a:cubicBezTo>
                  <a:cubicBezTo>
                    <a:pt x="46" y="17"/>
                    <a:pt x="48" y="18"/>
                    <a:pt x="46" y="17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8" y="12"/>
                    <a:pt x="38" y="12"/>
                  </a:cubicBezTo>
                  <a:cubicBezTo>
                    <a:pt x="38" y="12"/>
                    <a:pt x="38" y="10"/>
                    <a:pt x="38" y="10"/>
                  </a:cubicBezTo>
                  <a:cubicBezTo>
                    <a:pt x="37" y="10"/>
                    <a:pt x="34" y="9"/>
                    <a:pt x="34" y="9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7"/>
                    <a:pt x="30" y="6"/>
                    <a:pt x="30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4" y="2"/>
                    <a:pt x="24" y="2"/>
                  </a:cubicBezTo>
                  <a:cubicBezTo>
                    <a:pt x="25" y="2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1" y="1"/>
                    <a:pt x="21" y="1"/>
                  </a:cubicBezTo>
                  <a:cubicBezTo>
                    <a:pt x="21" y="1"/>
                    <a:pt x="20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4"/>
                    <a:pt x="16" y="4"/>
                    <a:pt x="16" y="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7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8"/>
                    <a:pt x="12" y="58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1"/>
                    <a:pt x="14" y="61"/>
                  </a:cubicBezTo>
                  <a:cubicBezTo>
                    <a:pt x="14" y="61"/>
                    <a:pt x="14" y="64"/>
                    <a:pt x="14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3" y="64"/>
                    <a:pt x="12" y="63"/>
                    <a:pt x="12" y="6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8" y="63"/>
                    <a:pt x="8" y="64"/>
                    <a:pt x="8" y="65"/>
                  </a:cubicBezTo>
                  <a:cubicBezTo>
                    <a:pt x="9" y="65"/>
                    <a:pt x="10" y="65"/>
                    <a:pt x="10" y="65"/>
                  </a:cubicBezTo>
                  <a:cubicBezTo>
                    <a:pt x="10" y="65"/>
                    <a:pt x="12" y="65"/>
                    <a:pt x="12" y="65"/>
                  </a:cubicBezTo>
                  <a:cubicBezTo>
                    <a:pt x="12" y="65"/>
                    <a:pt x="12" y="65"/>
                    <a:pt x="13" y="65"/>
                  </a:cubicBezTo>
                  <a:cubicBezTo>
                    <a:pt x="13" y="65"/>
                    <a:pt x="15" y="65"/>
                    <a:pt x="15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6" y="73"/>
                    <a:pt x="27" y="73"/>
                  </a:cubicBezTo>
                  <a:cubicBezTo>
                    <a:pt x="27" y="73"/>
                    <a:pt x="28" y="75"/>
                    <a:pt x="28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2" y="76"/>
                    <a:pt x="32" y="76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79"/>
                    <a:pt x="34" y="79"/>
                    <a:pt x="34" y="80"/>
                  </a:cubicBezTo>
                  <a:cubicBezTo>
                    <a:pt x="34" y="80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6" y="83"/>
                    <a:pt x="36" y="84"/>
                  </a:cubicBezTo>
                  <a:cubicBezTo>
                    <a:pt x="36" y="84"/>
                    <a:pt x="36" y="84"/>
                    <a:pt x="36" y="85"/>
                  </a:cubicBezTo>
                  <a:cubicBezTo>
                    <a:pt x="37" y="85"/>
                    <a:pt x="39" y="85"/>
                    <a:pt x="39" y="85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1" y="87"/>
                    <a:pt x="41" y="87"/>
                    <a:pt x="41" y="87"/>
                  </a:cubicBezTo>
                  <a:lnTo>
                    <a:pt x="42" y="87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" name="Freeform 193"/>
            <p:cNvSpPr>
              <a:spLocks/>
            </p:cNvSpPr>
            <p:nvPr/>
          </p:nvSpPr>
          <p:spPr bwMode="auto">
            <a:xfrm>
              <a:off x="6017652" y="3676183"/>
              <a:ext cx="241875" cy="205626"/>
            </a:xfrm>
            <a:custGeom>
              <a:avLst/>
              <a:gdLst>
                <a:gd name="T0" fmla="*/ 19 w 106"/>
                <a:gd name="T1" fmla="*/ 90 h 93"/>
                <a:gd name="T2" fmla="*/ 16 w 106"/>
                <a:gd name="T3" fmla="*/ 91 h 93"/>
                <a:gd name="T4" fmla="*/ 14 w 106"/>
                <a:gd name="T5" fmla="*/ 85 h 93"/>
                <a:gd name="T6" fmla="*/ 10 w 106"/>
                <a:gd name="T7" fmla="*/ 83 h 93"/>
                <a:gd name="T8" fmla="*/ 9 w 106"/>
                <a:gd name="T9" fmla="*/ 81 h 93"/>
                <a:gd name="T10" fmla="*/ 5 w 106"/>
                <a:gd name="T11" fmla="*/ 75 h 93"/>
                <a:gd name="T12" fmla="*/ 4 w 106"/>
                <a:gd name="T13" fmla="*/ 72 h 93"/>
                <a:gd name="T14" fmla="*/ 5 w 106"/>
                <a:gd name="T15" fmla="*/ 68 h 93"/>
                <a:gd name="T16" fmla="*/ 3 w 106"/>
                <a:gd name="T17" fmla="*/ 64 h 93"/>
                <a:gd name="T18" fmla="*/ 0 w 106"/>
                <a:gd name="T19" fmla="*/ 59 h 93"/>
                <a:gd name="T20" fmla="*/ 3 w 106"/>
                <a:gd name="T21" fmla="*/ 56 h 93"/>
                <a:gd name="T22" fmla="*/ 2 w 106"/>
                <a:gd name="T23" fmla="*/ 53 h 93"/>
                <a:gd name="T24" fmla="*/ 2 w 106"/>
                <a:gd name="T25" fmla="*/ 49 h 93"/>
                <a:gd name="T26" fmla="*/ 2 w 106"/>
                <a:gd name="T27" fmla="*/ 44 h 93"/>
                <a:gd name="T28" fmla="*/ 3 w 106"/>
                <a:gd name="T29" fmla="*/ 39 h 93"/>
                <a:gd name="T30" fmla="*/ 9 w 106"/>
                <a:gd name="T31" fmla="*/ 39 h 93"/>
                <a:gd name="T32" fmla="*/ 11 w 106"/>
                <a:gd name="T33" fmla="*/ 27 h 93"/>
                <a:gd name="T34" fmla="*/ 23 w 106"/>
                <a:gd name="T35" fmla="*/ 18 h 93"/>
                <a:gd name="T36" fmla="*/ 26 w 106"/>
                <a:gd name="T37" fmla="*/ 21 h 93"/>
                <a:gd name="T38" fmla="*/ 31 w 106"/>
                <a:gd name="T39" fmla="*/ 18 h 93"/>
                <a:gd name="T40" fmla="*/ 42 w 106"/>
                <a:gd name="T41" fmla="*/ 10 h 93"/>
                <a:gd name="T42" fmla="*/ 46 w 106"/>
                <a:gd name="T43" fmla="*/ 11 h 93"/>
                <a:gd name="T44" fmla="*/ 52 w 106"/>
                <a:gd name="T45" fmla="*/ 6 h 93"/>
                <a:gd name="T46" fmla="*/ 57 w 106"/>
                <a:gd name="T47" fmla="*/ 4 h 93"/>
                <a:gd name="T48" fmla="*/ 62 w 106"/>
                <a:gd name="T49" fmla="*/ 3 h 93"/>
                <a:gd name="T50" fmla="*/ 68 w 106"/>
                <a:gd name="T51" fmla="*/ 1 h 93"/>
                <a:gd name="T52" fmla="*/ 73 w 106"/>
                <a:gd name="T53" fmla="*/ 0 h 93"/>
                <a:gd name="T54" fmla="*/ 94 w 106"/>
                <a:gd name="T55" fmla="*/ 15 h 93"/>
                <a:gd name="T56" fmla="*/ 105 w 106"/>
                <a:gd name="T57" fmla="*/ 30 h 93"/>
                <a:gd name="T58" fmla="*/ 106 w 106"/>
                <a:gd name="T59" fmla="*/ 48 h 93"/>
                <a:gd name="T60" fmla="*/ 97 w 106"/>
                <a:gd name="T61" fmla="*/ 51 h 93"/>
                <a:gd name="T62" fmla="*/ 93 w 106"/>
                <a:gd name="T63" fmla="*/ 64 h 93"/>
                <a:gd name="T64" fmla="*/ 72 w 106"/>
                <a:gd name="T65" fmla="*/ 68 h 93"/>
                <a:gd name="T66" fmla="*/ 63 w 106"/>
                <a:gd name="T67" fmla="*/ 76 h 93"/>
                <a:gd name="T68" fmla="*/ 53 w 106"/>
                <a:gd name="T69" fmla="*/ 85 h 93"/>
                <a:gd name="T70" fmla="*/ 41 w 106"/>
                <a:gd name="T71" fmla="*/ 87 h 93"/>
                <a:gd name="T72" fmla="*/ 29 w 106"/>
                <a:gd name="T73" fmla="*/ 90 h 93"/>
                <a:gd name="T74" fmla="*/ 28 w 106"/>
                <a:gd name="T75" fmla="*/ 93 h 93"/>
                <a:gd name="T76" fmla="*/ 27 w 106"/>
                <a:gd name="T77" fmla="*/ 92 h 93"/>
                <a:gd name="T78" fmla="*/ 23 w 106"/>
                <a:gd name="T79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" h="93">
                  <a:moveTo>
                    <a:pt x="21" y="90"/>
                  </a:moveTo>
                  <a:cubicBezTo>
                    <a:pt x="21" y="90"/>
                    <a:pt x="20" y="90"/>
                    <a:pt x="19" y="90"/>
                  </a:cubicBezTo>
                  <a:cubicBezTo>
                    <a:pt x="18" y="90"/>
                    <a:pt x="17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0"/>
                    <a:pt x="16" y="90"/>
                    <a:pt x="15" y="89"/>
                  </a:cubicBezTo>
                  <a:cubicBezTo>
                    <a:pt x="15" y="88"/>
                    <a:pt x="15" y="86"/>
                    <a:pt x="14" y="85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1" y="83"/>
                    <a:pt x="10" y="83"/>
                  </a:cubicBezTo>
                  <a:cubicBezTo>
                    <a:pt x="10" y="83"/>
                    <a:pt x="9" y="83"/>
                    <a:pt x="9" y="83"/>
                  </a:cubicBezTo>
                  <a:cubicBezTo>
                    <a:pt x="9" y="83"/>
                    <a:pt x="8" y="81"/>
                    <a:pt x="9" y="81"/>
                  </a:cubicBezTo>
                  <a:cubicBezTo>
                    <a:pt x="9" y="80"/>
                    <a:pt x="8" y="79"/>
                    <a:pt x="7" y="78"/>
                  </a:cubicBezTo>
                  <a:cubicBezTo>
                    <a:pt x="7" y="78"/>
                    <a:pt x="5" y="75"/>
                    <a:pt x="5" y="75"/>
                  </a:cubicBezTo>
                  <a:cubicBezTo>
                    <a:pt x="5" y="75"/>
                    <a:pt x="4" y="75"/>
                    <a:pt x="4" y="74"/>
                  </a:cubicBezTo>
                  <a:cubicBezTo>
                    <a:pt x="4" y="73"/>
                    <a:pt x="4" y="72"/>
                    <a:pt x="4" y="72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5" y="69"/>
                    <a:pt x="5" y="68"/>
                  </a:cubicBezTo>
                  <a:cubicBezTo>
                    <a:pt x="5" y="68"/>
                    <a:pt x="6" y="67"/>
                    <a:pt x="5" y="66"/>
                  </a:cubicBezTo>
                  <a:cubicBezTo>
                    <a:pt x="5" y="65"/>
                    <a:pt x="3" y="64"/>
                    <a:pt x="3" y="64"/>
                  </a:cubicBezTo>
                  <a:cubicBezTo>
                    <a:pt x="2" y="63"/>
                    <a:pt x="1" y="62"/>
                    <a:pt x="0" y="61"/>
                  </a:cubicBezTo>
                  <a:cubicBezTo>
                    <a:pt x="0" y="60"/>
                    <a:pt x="0" y="59"/>
                    <a:pt x="0" y="59"/>
                  </a:cubicBezTo>
                  <a:cubicBezTo>
                    <a:pt x="0" y="59"/>
                    <a:pt x="0" y="58"/>
                    <a:pt x="1" y="58"/>
                  </a:cubicBezTo>
                  <a:cubicBezTo>
                    <a:pt x="2" y="57"/>
                    <a:pt x="3" y="57"/>
                    <a:pt x="3" y="56"/>
                  </a:cubicBezTo>
                  <a:cubicBezTo>
                    <a:pt x="3" y="56"/>
                    <a:pt x="4" y="56"/>
                    <a:pt x="4" y="55"/>
                  </a:cubicBezTo>
                  <a:cubicBezTo>
                    <a:pt x="3" y="54"/>
                    <a:pt x="2" y="53"/>
                    <a:pt x="2" y="53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3" y="42"/>
                    <a:pt x="3" y="42"/>
                  </a:cubicBezTo>
                  <a:cubicBezTo>
                    <a:pt x="3" y="41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5" y="40"/>
                    <a:pt x="8" y="39"/>
                    <a:pt x="9" y="39"/>
                  </a:cubicBezTo>
                  <a:cubicBezTo>
                    <a:pt x="11" y="39"/>
                    <a:pt x="11" y="36"/>
                    <a:pt x="10" y="33"/>
                  </a:cubicBezTo>
                  <a:cubicBezTo>
                    <a:pt x="10" y="31"/>
                    <a:pt x="11" y="29"/>
                    <a:pt x="11" y="27"/>
                  </a:cubicBezTo>
                  <a:cubicBezTo>
                    <a:pt x="12" y="25"/>
                    <a:pt x="15" y="24"/>
                    <a:pt x="18" y="22"/>
                  </a:cubicBezTo>
                  <a:cubicBezTo>
                    <a:pt x="20" y="20"/>
                    <a:pt x="20" y="18"/>
                    <a:pt x="23" y="18"/>
                  </a:cubicBezTo>
                  <a:cubicBezTo>
                    <a:pt x="23" y="18"/>
                    <a:pt x="24" y="18"/>
                    <a:pt x="25" y="19"/>
                  </a:cubicBezTo>
                  <a:cubicBezTo>
                    <a:pt x="25" y="19"/>
                    <a:pt x="25" y="20"/>
                    <a:pt x="26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9" y="24"/>
                    <a:pt x="31" y="26"/>
                    <a:pt x="31" y="18"/>
                  </a:cubicBezTo>
                  <a:cubicBezTo>
                    <a:pt x="32" y="11"/>
                    <a:pt x="37" y="13"/>
                    <a:pt x="41" y="11"/>
                  </a:cubicBezTo>
                  <a:cubicBezTo>
                    <a:pt x="41" y="11"/>
                    <a:pt x="41" y="11"/>
                    <a:pt x="42" y="10"/>
                  </a:cubicBezTo>
                  <a:cubicBezTo>
                    <a:pt x="43" y="11"/>
                    <a:pt x="44" y="11"/>
                    <a:pt x="45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9" y="7"/>
                    <a:pt x="49" y="7"/>
                  </a:cubicBezTo>
                  <a:cubicBezTo>
                    <a:pt x="50" y="7"/>
                    <a:pt x="52" y="6"/>
                    <a:pt x="52" y="6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6" y="4"/>
                    <a:pt x="57" y="4"/>
                  </a:cubicBezTo>
                  <a:cubicBezTo>
                    <a:pt x="58" y="4"/>
                    <a:pt x="59" y="4"/>
                    <a:pt x="61" y="4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64" y="1"/>
                    <a:pt x="66" y="1"/>
                  </a:cubicBezTo>
                  <a:cubicBezTo>
                    <a:pt x="68" y="0"/>
                    <a:pt x="68" y="1"/>
                    <a:pt x="68" y="1"/>
                  </a:cubicBezTo>
                  <a:cubicBezTo>
                    <a:pt x="68" y="1"/>
                    <a:pt x="71" y="1"/>
                    <a:pt x="73" y="1"/>
                  </a:cubicBezTo>
                  <a:cubicBezTo>
                    <a:pt x="73" y="1"/>
                    <a:pt x="73" y="0"/>
                    <a:pt x="73" y="0"/>
                  </a:cubicBezTo>
                  <a:cubicBezTo>
                    <a:pt x="76" y="2"/>
                    <a:pt x="76" y="5"/>
                    <a:pt x="79" y="8"/>
                  </a:cubicBezTo>
                  <a:cubicBezTo>
                    <a:pt x="83" y="12"/>
                    <a:pt x="87" y="11"/>
                    <a:pt x="94" y="15"/>
                  </a:cubicBezTo>
                  <a:cubicBezTo>
                    <a:pt x="94" y="16"/>
                    <a:pt x="98" y="19"/>
                    <a:pt x="99" y="22"/>
                  </a:cubicBezTo>
                  <a:cubicBezTo>
                    <a:pt x="100" y="26"/>
                    <a:pt x="104" y="26"/>
                    <a:pt x="105" y="30"/>
                  </a:cubicBezTo>
                  <a:cubicBezTo>
                    <a:pt x="105" y="33"/>
                    <a:pt x="103" y="34"/>
                    <a:pt x="103" y="37"/>
                  </a:cubicBezTo>
                  <a:cubicBezTo>
                    <a:pt x="103" y="40"/>
                    <a:pt x="105" y="47"/>
                    <a:pt x="106" y="48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3" y="64"/>
                    <a:pt x="81" y="66"/>
                    <a:pt x="80" y="66"/>
                  </a:cubicBezTo>
                  <a:cubicBezTo>
                    <a:pt x="79" y="66"/>
                    <a:pt x="74" y="67"/>
                    <a:pt x="72" y="68"/>
                  </a:cubicBezTo>
                  <a:cubicBezTo>
                    <a:pt x="70" y="68"/>
                    <a:pt x="67" y="70"/>
                    <a:pt x="66" y="70"/>
                  </a:cubicBezTo>
                  <a:cubicBezTo>
                    <a:pt x="64" y="71"/>
                    <a:pt x="63" y="76"/>
                    <a:pt x="63" y="76"/>
                  </a:cubicBezTo>
                  <a:cubicBezTo>
                    <a:pt x="63" y="76"/>
                    <a:pt x="60" y="80"/>
                    <a:pt x="59" y="81"/>
                  </a:cubicBezTo>
                  <a:cubicBezTo>
                    <a:pt x="58" y="82"/>
                    <a:pt x="53" y="85"/>
                    <a:pt x="53" y="85"/>
                  </a:cubicBezTo>
                  <a:cubicBezTo>
                    <a:pt x="53" y="85"/>
                    <a:pt x="48" y="85"/>
                    <a:pt x="47" y="85"/>
                  </a:cubicBezTo>
                  <a:cubicBezTo>
                    <a:pt x="45" y="85"/>
                    <a:pt x="43" y="87"/>
                    <a:pt x="41" y="87"/>
                  </a:cubicBezTo>
                  <a:cubicBezTo>
                    <a:pt x="38" y="88"/>
                    <a:pt x="36" y="89"/>
                    <a:pt x="35" y="89"/>
                  </a:cubicBezTo>
                  <a:cubicBezTo>
                    <a:pt x="34" y="89"/>
                    <a:pt x="29" y="90"/>
                    <a:pt x="29" y="90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3"/>
                    <a:pt x="28" y="93"/>
                    <a:pt x="28" y="93"/>
                  </a:cubicBezTo>
                  <a:cubicBezTo>
                    <a:pt x="28" y="93"/>
                    <a:pt x="28" y="93"/>
                    <a:pt x="27" y="93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0"/>
                    <a:pt x="24" y="91"/>
                    <a:pt x="23" y="91"/>
                  </a:cubicBezTo>
                  <a:cubicBezTo>
                    <a:pt x="22" y="91"/>
                    <a:pt x="22" y="90"/>
                    <a:pt x="21" y="90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0" name="Freeform 47"/>
            <p:cNvSpPr>
              <a:spLocks/>
            </p:cNvSpPr>
            <p:nvPr/>
          </p:nvSpPr>
          <p:spPr bwMode="auto">
            <a:xfrm>
              <a:off x="5588874" y="2851550"/>
              <a:ext cx="445269" cy="240785"/>
            </a:xfrm>
            <a:custGeom>
              <a:avLst/>
              <a:gdLst>
                <a:gd name="T0" fmla="*/ 32 w 195"/>
                <a:gd name="T1" fmla="*/ 49 h 109"/>
                <a:gd name="T2" fmla="*/ 40 w 195"/>
                <a:gd name="T3" fmla="*/ 37 h 109"/>
                <a:gd name="T4" fmla="*/ 47 w 195"/>
                <a:gd name="T5" fmla="*/ 25 h 109"/>
                <a:gd name="T6" fmla="*/ 53 w 195"/>
                <a:gd name="T7" fmla="*/ 15 h 109"/>
                <a:gd name="T8" fmla="*/ 64 w 195"/>
                <a:gd name="T9" fmla="*/ 13 h 109"/>
                <a:gd name="T10" fmla="*/ 71 w 195"/>
                <a:gd name="T11" fmla="*/ 17 h 109"/>
                <a:gd name="T12" fmla="*/ 78 w 195"/>
                <a:gd name="T13" fmla="*/ 8 h 109"/>
                <a:gd name="T14" fmla="*/ 87 w 195"/>
                <a:gd name="T15" fmla="*/ 10 h 109"/>
                <a:gd name="T16" fmla="*/ 96 w 195"/>
                <a:gd name="T17" fmla="*/ 14 h 109"/>
                <a:gd name="T18" fmla="*/ 97 w 195"/>
                <a:gd name="T19" fmla="*/ 22 h 109"/>
                <a:gd name="T20" fmla="*/ 102 w 195"/>
                <a:gd name="T21" fmla="*/ 23 h 109"/>
                <a:gd name="T22" fmla="*/ 106 w 195"/>
                <a:gd name="T23" fmla="*/ 23 h 109"/>
                <a:gd name="T24" fmla="*/ 108 w 195"/>
                <a:gd name="T25" fmla="*/ 20 h 109"/>
                <a:gd name="T26" fmla="*/ 111 w 195"/>
                <a:gd name="T27" fmla="*/ 15 h 109"/>
                <a:gd name="T28" fmla="*/ 114 w 195"/>
                <a:gd name="T29" fmla="*/ 12 h 109"/>
                <a:gd name="T30" fmla="*/ 118 w 195"/>
                <a:gd name="T31" fmla="*/ 9 h 109"/>
                <a:gd name="T32" fmla="*/ 123 w 195"/>
                <a:gd name="T33" fmla="*/ 9 h 109"/>
                <a:gd name="T34" fmla="*/ 126 w 195"/>
                <a:gd name="T35" fmla="*/ 8 h 109"/>
                <a:gd name="T36" fmla="*/ 131 w 195"/>
                <a:gd name="T37" fmla="*/ 9 h 109"/>
                <a:gd name="T38" fmla="*/ 135 w 195"/>
                <a:gd name="T39" fmla="*/ 11 h 109"/>
                <a:gd name="T40" fmla="*/ 142 w 195"/>
                <a:gd name="T41" fmla="*/ 7 h 109"/>
                <a:gd name="T42" fmla="*/ 145 w 195"/>
                <a:gd name="T43" fmla="*/ 4 h 109"/>
                <a:gd name="T44" fmla="*/ 148 w 195"/>
                <a:gd name="T45" fmla="*/ 1 h 109"/>
                <a:gd name="T46" fmla="*/ 154 w 195"/>
                <a:gd name="T47" fmla="*/ 2 h 109"/>
                <a:gd name="T48" fmla="*/ 162 w 195"/>
                <a:gd name="T49" fmla="*/ 1 h 109"/>
                <a:gd name="T50" fmla="*/ 168 w 195"/>
                <a:gd name="T51" fmla="*/ 1 h 109"/>
                <a:gd name="T52" fmla="*/ 173 w 195"/>
                <a:gd name="T53" fmla="*/ 4 h 109"/>
                <a:gd name="T54" fmla="*/ 175 w 195"/>
                <a:gd name="T55" fmla="*/ 9 h 109"/>
                <a:gd name="T56" fmla="*/ 183 w 195"/>
                <a:gd name="T57" fmla="*/ 10 h 109"/>
                <a:gd name="T58" fmla="*/ 187 w 195"/>
                <a:gd name="T59" fmla="*/ 11 h 109"/>
                <a:gd name="T60" fmla="*/ 195 w 195"/>
                <a:gd name="T61" fmla="*/ 12 h 109"/>
                <a:gd name="T62" fmla="*/ 193 w 195"/>
                <a:gd name="T63" fmla="*/ 20 h 109"/>
                <a:gd name="T64" fmla="*/ 192 w 195"/>
                <a:gd name="T65" fmla="*/ 27 h 109"/>
                <a:gd name="T66" fmla="*/ 191 w 195"/>
                <a:gd name="T67" fmla="*/ 33 h 109"/>
                <a:gd name="T68" fmla="*/ 188 w 195"/>
                <a:gd name="T69" fmla="*/ 39 h 109"/>
                <a:gd name="T70" fmla="*/ 188 w 195"/>
                <a:gd name="T71" fmla="*/ 47 h 109"/>
                <a:gd name="T72" fmla="*/ 186 w 195"/>
                <a:gd name="T73" fmla="*/ 52 h 109"/>
                <a:gd name="T74" fmla="*/ 169 w 195"/>
                <a:gd name="T75" fmla="*/ 49 h 109"/>
                <a:gd name="T76" fmla="*/ 146 w 195"/>
                <a:gd name="T77" fmla="*/ 50 h 109"/>
                <a:gd name="T78" fmla="*/ 126 w 195"/>
                <a:gd name="T79" fmla="*/ 70 h 109"/>
                <a:gd name="T80" fmla="*/ 110 w 195"/>
                <a:gd name="T81" fmla="*/ 78 h 109"/>
                <a:gd name="T82" fmla="*/ 94 w 195"/>
                <a:gd name="T83" fmla="*/ 85 h 109"/>
                <a:gd name="T84" fmla="*/ 73 w 195"/>
                <a:gd name="T85" fmla="*/ 96 h 109"/>
                <a:gd name="T86" fmla="*/ 47 w 195"/>
                <a:gd name="T87" fmla="*/ 107 h 109"/>
                <a:gd name="T88" fmla="*/ 22 w 195"/>
                <a:gd name="T89" fmla="*/ 98 h 109"/>
                <a:gd name="T90" fmla="*/ 14 w 195"/>
                <a:gd name="T91" fmla="*/ 102 h 109"/>
                <a:gd name="T92" fmla="*/ 4 w 195"/>
                <a:gd name="T93" fmla="*/ 88 h 109"/>
                <a:gd name="T94" fmla="*/ 0 w 195"/>
                <a:gd name="T95" fmla="*/ 84 h 109"/>
                <a:gd name="T96" fmla="*/ 2 w 195"/>
                <a:gd name="T97" fmla="*/ 75 h 109"/>
                <a:gd name="T98" fmla="*/ 3 w 195"/>
                <a:gd name="T99" fmla="*/ 68 h 109"/>
                <a:gd name="T100" fmla="*/ 5 w 195"/>
                <a:gd name="T101" fmla="*/ 60 h 109"/>
                <a:gd name="T102" fmla="*/ 9 w 195"/>
                <a:gd name="T103" fmla="*/ 55 h 109"/>
                <a:gd name="T104" fmla="*/ 16 w 195"/>
                <a:gd name="T105" fmla="*/ 57 h 109"/>
                <a:gd name="T106" fmla="*/ 22 w 195"/>
                <a:gd name="T107" fmla="*/ 5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5" h="109">
                  <a:moveTo>
                    <a:pt x="26" y="54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49"/>
                    <a:pt x="30" y="50"/>
                  </a:cubicBezTo>
                  <a:cubicBezTo>
                    <a:pt x="30" y="50"/>
                    <a:pt x="32" y="49"/>
                    <a:pt x="32" y="49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0"/>
                    <a:pt x="40" y="30"/>
                  </a:cubicBezTo>
                  <a:cubicBezTo>
                    <a:pt x="41" y="30"/>
                    <a:pt x="44" y="28"/>
                    <a:pt x="44" y="28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7" y="14"/>
                    <a:pt x="58" y="14"/>
                  </a:cubicBezTo>
                  <a:cubicBezTo>
                    <a:pt x="59" y="14"/>
                    <a:pt x="60" y="13"/>
                    <a:pt x="60" y="13"/>
                  </a:cubicBezTo>
                  <a:cubicBezTo>
                    <a:pt x="61" y="13"/>
                    <a:pt x="64" y="13"/>
                    <a:pt x="64" y="13"/>
                  </a:cubicBezTo>
                  <a:cubicBezTo>
                    <a:pt x="64" y="13"/>
                    <a:pt x="66" y="11"/>
                    <a:pt x="66" y="12"/>
                  </a:cubicBezTo>
                  <a:cubicBezTo>
                    <a:pt x="66" y="14"/>
                    <a:pt x="66" y="15"/>
                    <a:pt x="66" y="15"/>
                  </a:cubicBezTo>
                  <a:cubicBezTo>
                    <a:pt x="67" y="16"/>
                    <a:pt x="68" y="18"/>
                    <a:pt x="68" y="18"/>
                  </a:cubicBezTo>
                  <a:cubicBezTo>
                    <a:pt x="68" y="18"/>
                    <a:pt x="70" y="18"/>
                    <a:pt x="71" y="17"/>
                  </a:cubicBezTo>
                  <a:cubicBezTo>
                    <a:pt x="72" y="16"/>
                    <a:pt x="74" y="15"/>
                    <a:pt x="74" y="15"/>
                  </a:cubicBezTo>
                  <a:cubicBezTo>
                    <a:pt x="74" y="15"/>
                    <a:pt x="76" y="17"/>
                    <a:pt x="76" y="16"/>
                  </a:cubicBezTo>
                  <a:cubicBezTo>
                    <a:pt x="76" y="15"/>
                    <a:pt x="76" y="11"/>
                    <a:pt x="76" y="11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80" y="8"/>
                    <a:pt x="80" y="7"/>
                  </a:cubicBezTo>
                  <a:cubicBezTo>
                    <a:pt x="80" y="6"/>
                    <a:pt x="82" y="4"/>
                    <a:pt x="82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9" y="24"/>
                    <a:pt x="99" y="24"/>
                  </a:cubicBezTo>
                  <a:cubicBezTo>
                    <a:pt x="99" y="24"/>
                    <a:pt x="101" y="23"/>
                    <a:pt x="102" y="23"/>
                  </a:cubicBezTo>
                  <a:cubicBezTo>
                    <a:pt x="102" y="23"/>
                    <a:pt x="102" y="22"/>
                    <a:pt x="102" y="22"/>
                  </a:cubicBezTo>
                  <a:cubicBezTo>
                    <a:pt x="102" y="22"/>
                    <a:pt x="104" y="21"/>
                    <a:pt x="104" y="21"/>
                  </a:cubicBezTo>
                  <a:cubicBezTo>
                    <a:pt x="104" y="21"/>
                    <a:pt x="105" y="21"/>
                    <a:pt x="105" y="21"/>
                  </a:cubicBezTo>
                  <a:cubicBezTo>
                    <a:pt x="105" y="22"/>
                    <a:pt x="106" y="23"/>
                    <a:pt x="106" y="23"/>
                  </a:cubicBezTo>
                  <a:cubicBezTo>
                    <a:pt x="106" y="23"/>
                    <a:pt x="107" y="22"/>
                    <a:pt x="107" y="23"/>
                  </a:cubicBezTo>
                  <a:cubicBezTo>
                    <a:pt x="107" y="23"/>
                    <a:pt x="108" y="23"/>
                    <a:pt x="108" y="23"/>
                  </a:cubicBezTo>
                  <a:cubicBezTo>
                    <a:pt x="108" y="23"/>
                    <a:pt x="108" y="23"/>
                    <a:pt x="108" y="22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19"/>
                    <a:pt x="108" y="18"/>
                    <a:pt x="108" y="18"/>
                  </a:cubicBezTo>
                  <a:cubicBezTo>
                    <a:pt x="109" y="17"/>
                    <a:pt x="109" y="17"/>
                    <a:pt x="109" y="16"/>
                  </a:cubicBezTo>
                  <a:cubicBezTo>
                    <a:pt x="109" y="16"/>
                    <a:pt x="108" y="15"/>
                    <a:pt x="109" y="15"/>
                  </a:cubicBezTo>
                  <a:cubicBezTo>
                    <a:pt x="110" y="15"/>
                    <a:pt x="111" y="15"/>
                    <a:pt x="111" y="15"/>
                  </a:cubicBezTo>
                  <a:cubicBezTo>
                    <a:pt x="111" y="15"/>
                    <a:pt x="111" y="14"/>
                    <a:pt x="111" y="14"/>
                  </a:cubicBezTo>
                  <a:cubicBezTo>
                    <a:pt x="111" y="14"/>
                    <a:pt x="112" y="13"/>
                    <a:pt x="113" y="13"/>
                  </a:cubicBezTo>
                  <a:cubicBezTo>
                    <a:pt x="113" y="13"/>
                    <a:pt x="113" y="14"/>
                    <a:pt x="114" y="13"/>
                  </a:cubicBezTo>
                  <a:cubicBezTo>
                    <a:pt x="115" y="12"/>
                    <a:pt x="114" y="12"/>
                    <a:pt x="114" y="12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5" y="10"/>
                    <a:pt x="114" y="11"/>
                    <a:pt x="116" y="11"/>
                  </a:cubicBezTo>
                  <a:cubicBezTo>
                    <a:pt x="117" y="10"/>
                    <a:pt x="118" y="10"/>
                    <a:pt x="118" y="10"/>
                  </a:cubicBezTo>
                  <a:cubicBezTo>
                    <a:pt x="118" y="10"/>
                    <a:pt x="118" y="9"/>
                    <a:pt x="118" y="9"/>
                  </a:cubicBezTo>
                  <a:cubicBezTo>
                    <a:pt x="120" y="8"/>
                    <a:pt x="120" y="8"/>
                    <a:pt x="120" y="8"/>
                  </a:cubicBezTo>
                  <a:cubicBezTo>
                    <a:pt x="120" y="8"/>
                    <a:pt x="120" y="9"/>
                    <a:pt x="120" y="9"/>
                  </a:cubicBezTo>
                  <a:cubicBezTo>
                    <a:pt x="120" y="9"/>
                    <a:pt x="121" y="9"/>
                    <a:pt x="122" y="9"/>
                  </a:cubicBezTo>
                  <a:cubicBezTo>
                    <a:pt x="122" y="9"/>
                    <a:pt x="123" y="10"/>
                    <a:pt x="123" y="9"/>
                  </a:cubicBezTo>
                  <a:cubicBezTo>
                    <a:pt x="123" y="9"/>
                    <a:pt x="124" y="9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8"/>
                    <a:pt x="124" y="7"/>
                    <a:pt x="125" y="7"/>
                  </a:cubicBezTo>
                  <a:cubicBezTo>
                    <a:pt x="126" y="8"/>
                    <a:pt x="125" y="8"/>
                    <a:pt x="126" y="8"/>
                  </a:cubicBezTo>
                  <a:cubicBezTo>
                    <a:pt x="126" y="7"/>
                    <a:pt x="128" y="6"/>
                    <a:pt x="128" y="6"/>
                  </a:cubicBezTo>
                  <a:cubicBezTo>
                    <a:pt x="128" y="6"/>
                    <a:pt x="128" y="6"/>
                    <a:pt x="129" y="8"/>
                  </a:cubicBezTo>
                  <a:cubicBezTo>
                    <a:pt x="129" y="9"/>
                    <a:pt x="130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2" y="11"/>
                    <a:pt x="132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1"/>
                    <a:pt x="135" y="11"/>
                  </a:cubicBezTo>
                  <a:cubicBezTo>
                    <a:pt x="136" y="11"/>
                    <a:pt x="137" y="12"/>
                    <a:pt x="137" y="12"/>
                  </a:cubicBezTo>
                  <a:cubicBezTo>
                    <a:pt x="137" y="11"/>
                    <a:pt x="138" y="10"/>
                    <a:pt x="138" y="10"/>
                  </a:cubicBezTo>
                  <a:cubicBezTo>
                    <a:pt x="138" y="9"/>
                    <a:pt x="138" y="9"/>
                    <a:pt x="139" y="8"/>
                  </a:cubicBezTo>
                  <a:cubicBezTo>
                    <a:pt x="139" y="8"/>
                    <a:pt x="142" y="7"/>
                    <a:pt x="142" y="7"/>
                  </a:cubicBezTo>
                  <a:cubicBezTo>
                    <a:pt x="142" y="7"/>
                    <a:pt x="141" y="5"/>
                    <a:pt x="140" y="5"/>
                  </a:cubicBezTo>
                  <a:cubicBezTo>
                    <a:pt x="140" y="5"/>
                    <a:pt x="139" y="4"/>
                    <a:pt x="141" y="3"/>
                  </a:cubicBezTo>
                  <a:cubicBezTo>
                    <a:pt x="142" y="3"/>
                    <a:pt x="143" y="3"/>
                    <a:pt x="143" y="3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6" y="2"/>
                    <a:pt x="147" y="1"/>
                    <a:pt x="147" y="1"/>
                  </a:cubicBezTo>
                  <a:cubicBezTo>
                    <a:pt x="147" y="1"/>
                    <a:pt x="148" y="1"/>
                    <a:pt x="148" y="1"/>
                  </a:cubicBezTo>
                  <a:cubicBezTo>
                    <a:pt x="149" y="1"/>
                    <a:pt x="150" y="1"/>
                    <a:pt x="150" y="1"/>
                  </a:cubicBezTo>
                  <a:cubicBezTo>
                    <a:pt x="150" y="1"/>
                    <a:pt x="151" y="2"/>
                    <a:pt x="151" y="2"/>
                  </a:cubicBezTo>
                  <a:cubicBezTo>
                    <a:pt x="152" y="2"/>
                    <a:pt x="153" y="2"/>
                    <a:pt x="153" y="2"/>
                  </a:cubicBezTo>
                  <a:cubicBezTo>
                    <a:pt x="153" y="2"/>
                    <a:pt x="154" y="3"/>
                    <a:pt x="154" y="2"/>
                  </a:cubicBezTo>
                  <a:cubicBezTo>
                    <a:pt x="155" y="2"/>
                    <a:pt x="155" y="1"/>
                    <a:pt x="155" y="1"/>
                  </a:cubicBezTo>
                  <a:cubicBezTo>
                    <a:pt x="155" y="1"/>
                    <a:pt x="159" y="0"/>
                    <a:pt x="159" y="0"/>
                  </a:cubicBezTo>
                  <a:cubicBezTo>
                    <a:pt x="159" y="0"/>
                    <a:pt x="160" y="0"/>
                    <a:pt x="160" y="0"/>
                  </a:cubicBezTo>
                  <a:cubicBezTo>
                    <a:pt x="161" y="1"/>
                    <a:pt x="162" y="1"/>
                    <a:pt x="162" y="1"/>
                  </a:cubicBezTo>
                  <a:cubicBezTo>
                    <a:pt x="163" y="1"/>
                    <a:pt x="164" y="2"/>
                    <a:pt x="164" y="2"/>
                  </a:cubicBezTo>
                  <a:cubicBezTo>
                    <a:pt x="165" y="3"/>
                    <a:pt x="166" y="3"/>
                    <a:pt x="166" y="3"/>
                  </a:cubicBezTo>
                  <a:cubicBezTo>
                    <a:pt x="166" y="3"/>
                    <a:pt x="166" y="1"/>
                    <a:pt x="166" y="1"/>
                  </a:cubicBezTo>
                  <a:cubicBezTo>
                    <a:pt x="167" y="1"/>
                    <a:pt x="168" y="1"/>
                    <a:pt x="168" y="1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70" y="3"/>
                    <a:pt x="171" y="3"/>
                  </a:cubicBezTo>
                  <a:cubicBezTo>
                    <a:pt x="171" y="3"/>
                    <a:pt x="172" y="2"/>
                    <a:pt x="172" y="2"/>
                  </a:cubicBezTo>
                  <a:cubicBezTo>
                    <a:pt x="172" y="3"/>
                    <a:pt x="173" y="3"/>
                    <a:pt x="173" y="4"/>
                  </a:cubicBezTo>
                  <a:cubicBezTo>
                    <a:pt x="173" y="4"/>
                    <a:pt x="174" y="5"/>
                    <a:pt x="174" y="5"/>
                  </a:cubicBezTo>
                  <a:cubicBezTo>
                    <a:pt x="174" y="6"/>
                    <a:pt x="175" y="6"/>
                    <a:pt x="175" y="6"/>
                  </a:cubicBezTo>
                  <a:cubicBezTo>
                    <a:pt x="175" y="7"/>
                    <a:pt x="175" y="8"/>
                    <a:pt x="175" y="8"/>
                  </a:cubicBezTo>
                  <a:cubicBezTo>
                    <a:pt x="175" y="8"/>
                    <a:pt x="175" y="8"/>
                    <a:pt x="175" y="9"/>
                  </a:cubicBezTo>
                  <a:cubicBezTo>
                    <a:pt x="176" y="9"/>
                    <a:pt x="179" y="9"/>
                    <a:pt x="179" y="9"/>
                  </a:cubicBezTo>
                  <a:cubicBezTo>
                    <a:pt x="179" y="9"/>
                    <a:pt x="180" y="9"/>
                    <a:pt x="180" y="10"/>
                  </a:cubicBezTo>
                  <a:cubicBezTo>
                    <a:pt x="180" y="10"/>
                    <a:pt x="182" y="10"/>
                    <a:pt x="182" y="10"/>
                  </a:cubicBezTo>
                  <a:cubicBezTo>
                    <a:pt x="182" y="10"/>
                    <a:pt x="183" y="9"/>
                    <a:pt x="183" y="10"/>
                  </a:cubicBezTo>
                  <a:cubicBezTo>
                    <a:pt x="183" y="10"/>
                    <a:pt x="183" y="11"/>
                    <a:pt x="183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6" y="11"/>
                    <a:pt x="186" y="11"/>
                    <a:pt x="186" y="11"/>
                  </a:cubicBezTo>
                  <a:cubicBezTo>
                    <a:pt x="186" y="11"/>
                    <a:pt x="187" y="10"/>
                    <a:pt x="187" y="11"/>
                  </a:cubicBezTo>
                  <a:cubicBezTo>
                    <a:pt x="187" y="11"/>
                    <a:pt x="188" y="11"/>
                    <a:pt x="188" y="11"/>
                  </a:cubicBezTo>
                  <a:cubicBezTo>
                    <a:pt x="188" y="11"/>
                    <a:pt x="190" y="12"/>
                    <a:pt x="190" y="12"/>
                  </a:cubicBezTo>
                  <a:cubicBezTo>
                    <a:pt x="190" y="12"/>
                    <a:pt x="191" y="12"/>
                    <a:pt x="192" y="12"/>
                  </a:cubicBezTo>
                  <a:cubicBezTo>
                    <a:pt x="192" y="12"/>
                    <a:pt x="195" y="12"/>
                    <a:pt x="195" y="12"/>
                  </a:cubicBezTo>
                  <a:cubicBezTo>
                    <a:pt x="195" y="12"/>
                    <a:pt x="195" y="13"/>
                    <a:pt x="195" y="14"/>
                  </a:cubicBezTo>
                  <a:cubicBezTo>
                    <a:pt x="195" y="14"/>
                    <a:pt x="195" y="16"/>
                    <a:pt x="195" y="16"/>
                  </a:cubicBezTo>
                  <a:cubicBezTo>
                    <a:pt x="195" y="16"/>
                    <a:pt x="194" y="17"/>
                    <a:pt x="194" y="18"/>
                  </a:cubicBezTo>
                  <a:cubicBezTo>
                    <a:pt x="193" y="18"/>
                    <a:pt x="193" y="20"/>
                    <a:pt x="193" y="20"/>
                  </a:cubicBezTo>
                  <a:cubicBezTo>
                    <a:pt x="193" y="20"/>
                    <a:pt x="193" y="21"/>
                    <a:pt x="193" y="21"/>
                  </a:cubicBezTo>
                  <a:cubicBezTo>
                    <a:pt x="193" y="21"/>
                    <a:pt x="193" y="23"/>
                    <a:pt x="193" y="23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92" y="25"/>
                    <a:pt x="191" y="26"/>
                    <a:pt x="192" y="27"/>
                  </a:cubicBezTo>
                  <a:cubicBezTo>
                    <a:pt x="192" y="27"/>
                    <a:pt x="192" y="28"/>
                    <a:pt x="192" y="28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91" y="33"/>
                    <a:pt x="191" y="33"/>
                    <a:pt x="191" y="33"/>
                  </a:cubicBezTo>
                  <a:cubicBezTo>
                    <a:pt x="191" y="33"/>
                    <a:pt x="192" y="34"/>
                    <a:pt x="191" y="35"/>
                  </a:cubicBezTo>
                  <a:cubicBezTo>
                    <a:pt x="191" y="35"/>
                    <a:pt x="190" y="36"/>
                    <a:pt x="190" y="36"/>
                  </a:cubicBezTo>
                  <a:cubicBezTo>
                    <a:pt x="190" y="36"/>
                    <a:pt x="188" y="38"/>
                    <a:pt x="188" y="38"/>
                  </a:cubicBezTo>
                  <a:cubicBezTo>
                    <a:pt x="188" y="38"/>
                    <a:pt x="188" y="39"/>
                    <a:pt x="188" y="39"/>
                  </a:cubicBezTo>
                  <a:cubicBezTo>
                    <a:pt x="188" y="39"/>
                    <a:pt x="187" y="41"/>
                    <a:pt x="187" y="41"/>
                  </a:cubicBezTo>
                  <a:cubicBezTo>
                    <a:pt x="187" y="41"/>
                    <a:pt x="187" y="44"/>
                    <a:pt x="187" y="44"/>
                  </a:cubicBezTo>
                  <a:cubicBezTo>
                    <a:pt x="187" y="44"/>
                    <a:pt x="188" y="45"/>
                    <a:pt x="188" y="45"/>
                  </a:cubicBezTo>
                  <a:cubicBezTo>
                    <a:pt x="188" y="45"/>
                    <a:pt x="188" y="46"/>
                    <a:pt x="188" y="47"/>
                  </a:cubicBezTo>
                  <a:cubicBezTo>
                    <a:pt x="187" y="47"/>
                    <a:pt x="188" y="48"/>
                    <a:pt x="188" y="49"/>
                  </a:cubicBezTo>
                  <a:cubicBezTo>
                    <a:pt x="188" y="49"/>
                    <a:pt x="188" y="50"/>
                    <a:pt x="188" y="50"/>
                  </a:cubicBezTo>
                  <a:cubicBezTo>
                    <a:pt x="187" y="52"/>
                    <a:pt x="187" y="52"/>
                    <a:pt x="187" y="52"/>
                  </a:cubicBezTo>
                  <a:cubicBezTo>
                    <a:pt x="186" y="52"/>
                    <a:pt x="186" y="52"/>
                    <a:pt x="186" y="52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77" y="57"/>
                    <a:pt x="177" y="57"/>
                    <a:pt x="177" y="57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3" y="48"/>
                    <a:pt x="163" y="48"/>
                    <a:pt x="163" y="48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1" y="53"/>
                    <a:pt x="151" y="53"/>
                    <a:pt x="151" y="53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3" y="96"/>
                    <a:pt x="73" y="96"/>
                    <a:pt x="73" y="96"/>
                  </a:cubicBezTo>
                  <a:cubicBezTo>
                    <a:pt x="73" y="96"/>
                    <a:pt x="77" y="99"/>
                    <a:pt x="79" y="100"/>
                  </a:cubicBezTo>
                  <a:cubicBezTo>
                    <a:pt x="81" y="102"/>
                    <a:pt x="75" y="103"/>
                    <a:pt x="74" y="104"/>
                  </a:cubicBezTo>
                  <a:cubicBezTo>
                    <a:pt x="73" y="105"/>
                    <a:pt x="64" y="106"/>
                    <a:pt x="64" y="106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102"/>
                    <a:pt x="14" y="102"/>
                    <a:pt x="14" y="102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9" y="103"/>
                    <a:pt x="8" y="98"/>
                    <a:pt x="6" y="93"/>
                  </a:cubicBezTo>
                  <a:cubicBezTo>
                    <a:pt x="6" y="93"/>
                    <a:pt x="6" y="92"/>
                    <a:pt x="5" y="91"/>
                  </a:cubicBezTo>
                  <a:cubicBezTo>
                    <a:pt x="5" y="90"/>
                    <a:pt x="4" y="88"/>
                    <a:pt x="4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87"/>
                    <a:pt x="2" y="86"/>
                    <a:pt x="2" y="86"/>
                  </a:cubicBezTo>
                  <a:cubicBezTo>
                    <a:pt x="2" y="86"/>
                    <a:pt x="2" y="85"/>
                    <a:pt x="2" y="85"/>
                  </a:cubicBezTo>
                  <a:cubicBezTo>
                    <a:pt x="1" y="85"/>
                    <a:pt x="0" y="84"/>
                    <a:pt x="0" y="84"/>
                  </a:cubicBezTo>
                  <a:cubicBezTo>
                    <a:pt x="0" y="84"/>
                    <a:pt x="0" y="81"/>
                    <a:pt x="0" y="8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5"/>
                    <a:pt x="2" y="75"/>
                  </a:cubicBezTo>
                  <a:cubicBezTo>
                    <a:pt x="2" y="75"/>
                    <a:pt x="3" y="73"/>
                    <a:pt x="3" y="73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5"/>
                    <a:pt x="3" y="65"/>
                  </a:cubicBezTo>
                  <a:cubicBezTo>
                    <a:pt x="4" y="65"/>
                    <a:pt x="4" y="62"/>
                    <a:pt x="4" y="62"/>
                  </a:cubicBezTo>
                  <a:cubicBezTo>
                    <a:pt x="4" y="62"/>
                    <a:pt x="5" y="60"/>
                    <a:pt x="5" y="60"/>
                  </a:cubicBezTo>
                  <a:cubicBezTo>
                    <a:pt x="6" y="60"/>
                    <a:pt x="6" y="59"/>
                    <a:pt x="6" y="59"/>
                  </a:cubicBezTo>
                  <a:cubicBezTo>
                    <a:pt x="6" y="58"/>
                    <a:pt x="6" y="57"/>
                    <a:pt x="6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9" y="55"/>
                    <a:pt x="9" y="55"/>
                  </a:cubicBezTo>
                  <a:cubicBezTo>
                    <a:pt x="9" y="55"/>
                    <a:pt x="10" y="55"/>
                    <a:pt x="11" y="55"/>
                  </a:cubicBezTo>
                  <a:cubicBezTo>
                    <a:pt x="11" y="55"/>
                    <a:pt x="12" y="55"/>
                    <a:pt x="13" y="55"/>
                  </a:cubicBezTo>
                  <a:cubicBezTo>
                    <a:pt x="13" y="55"/>
                    <a:pt x="13" y="56"/>
                    <a:pt x="14" y="56"/>
                  </a:cubicBezTo>
                  <a:cubicBezTo>
                    <a:pt x="15" y="56"/>
                    <a:pt x="16" y="57"/>
                    <a:pt x="16" y="57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8" y="56"/>
                    <a:pt x="18" y="55"/>
                    <a:pt x="18" y="55"/>
                  </a:cubicBezTo>
                  <a:cubicBezTo>
                    <a:pt x="19" y="55"/>
                    <a:pt x="21" y="56"/>
                    <a:pt x="21" y="56"/>
                  </a:cubicBezTo>
                  <a:cubicBezTo>
                    <a:pt x="21" y="56"/>
                    <a:pt x="22" y="57"/>
                    <a:pt x="22" y="56"/>
                  </a:cubicBezTo>
                  <a:cubicBezTo>
                    <a:pt x="23" y="56"/>
                    <a:pt x="24" y="55"/>
                    <a:pt x="24" y="55"/>
                  </a:cubicBezTo>
                  <a:cubicBezTo>
                    <a:pt x="26" y="54"/>
                    <a:pt x="26" y="54"/>
                    <a:pt x="26" y="54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1" name="Freeform 88"/>
            <p:cNvSpPr>
              <a:spLocks/>
            </p:cNvSpPr>
            <p:nvPr/>
          </p:nvSpPr>
          <p:spPr bwMode="auto">
            <a:xfrm>
              <a:off x="5320613" y="3211661"/>
              <a:ext cx="266062" cy="194972"/>
            </a:xfrm>
            <a:custGeom>
              <a:avLst/>
              <a:gdLst>
                <a:gd name="T0" fmla="*/ 5 w 117"/>
                <a:gd name="T1" fmla="*/ 46 h 88"/>
                <a:gd name="T2" fmla="*/ 1 w 117"/>
                <a:gd name="T3" fmla="*/ 42 h 88"/>
                <a:gd name="T4" fmla="*/ 6 w 117"/>
                <a:gd name="T5" fmla="*/ 36 h 88"/>
                <a:gd name="T6" fmla="*/ 10 w 117"/>
                <a:gd name="T7" fmla="*/ 33 h 88"/>
                <a:gd name="T8" fmla="*/ 13 w 117"/>
                <a:gd name="T9" fmla="*/ 27 h 88"/>
                <a:gd name="T10" fmla="*/ 41 w 117"/>
                <a:gd name="T11" fmla="*/ 31 h 88"/>
                <a:gd name="T12" fmla="*/ 48 w 117"/>
                <a:gd name="T13" fmla="*/ 26 h 88"/>
                <a:gd name="T14" fmla="*/ 55 w 117"/>
                <a:gd name="T15" fmla="*/ 19 h 88"/>
                <a:gd name="T16" fmla="*/ 71 w 117"/>
                <a:gd name="T17" fmla="*/ 15 h 88"/>
                <a:gd name="T18" fmla="*/ 85 w 117"/>
                <a:gd name="T19" fmla="*/ 12 h 88"/>
                <a:gd name="T20" fmla="*/ 95 w 117"/>
                <a:gd name="T21" fmla="*/ 8 h 88"/>
                <a:gd name="T22" fmla="*/ 101 w 117"/>
                <a:gd name="T23" fmla="*/ 2 h 88"/>
                <a:gd name="T24" fmla="*/ 107 w 117"/>
                <a:gd name="T25" fmla="*/ 2 h 88"/>
                <a:gd name="T26" fmla="*/ 108 w 117"/>
                <a:gd name="T27" fmla="*/ 5 h 88"/>
                <a:gd name="T28" fmla="*/ 109 w 117"/>
                <a:gd name="T29" fmla="*/ 7 h 88"/>
                <a:gd name="T30" fmla="*/ 111 w 117"/>
                <a:gd name="T31" fmla="*/ 10 h 88"/>
                <a:gd name="T32" fmla="*/ 115 w 117"/>
                <a:gd name="T33" fmla="*/ 19 h 88"/>
                <a:gd name="T34" fmla="*/ 109 w 117"/>
                <a:gd name="T35" fmla="*/ 22 h 88"/>
                <a:gd name="T36" fmla="*/ 107 w 117"/>
                <a:gd name="T37" fmla="*/ 27 h 88"/>
                <a:gd name="T38" fmla="*/ 102 w 117"/>
                <a:gd name="T39" fmla="*/ 28 h 88"/>
                <a:gd name="T40" fmla="*/ 101 w 117"/>
                <a:gd name="T41" fmla="*/ 32 h 88"/>
                <a:gd name="T42" fmla="*/ 96 w 117"/>
                <a:gd name="T43" fmla="*/ 35 h 88"/>
                <a:gd name="T44" fmla="*/ 91 w 117"/>
                <a:gd name="T45" fmla="*/ 38 h 88"/>
                <a:gd name="T46" fmla="*/ 86 w 117"/>
                <a:gd name="T47" fmla="*/ 41 h 88"/>
                <a:gd name="T48" fmla="*/ 87 w 117"/>
                <a:gd name="T49" fmla="*/ 46 h 88"/>
                <a:gd name="T50" fmla="*/ 90 w 117"/>
                <a:gd name="T51" fmla="*/ 49 h 88"/>
                <a:gd name="T52" fmla="*/ 89 w 117"/>
                <a:gd name="T53" fmla="*/ 56 h 88"/>
                <a:gd name="T54" fmla="*/ 88 w 117"/>
                <a:gd name="T55" fmla="*/ 60 h 88"/>
                <a:gd name="T56" fmla="*/ 83 w 117"/>
                <a:gd name="T57" fmla="*/ 62 h 88"/>
                <a:gd name="T58" fmla="*/ 78 w 117"/>
                <a:gd name="T59" fmla="*/ 64 h 88"/>
                <a:gd name="T60" fmla="*/ 76 w 117"/>
                <a:gd name="T61" fmla="*/ 68 h 88"/>
                <a:gd name="T62" fmla="*/ 79 w 117"/>
                <a:gd name="T63" fmla="*/ 69 h 88"/>
                <a:gd name="T64" fmla="*/ 77 w 117"/>
                <a:gd name="T65" fmla="*/ 72 h 88"/>
                <a:gd name="T66" fmla="*/ 76 w 117"/>
                <a:gd name="T67" fmla="*/ 76 h 88"/>
                <a:gd name="T68" fmla="*/ 79 w 117"/>
                <a:gd name="T69" fmla="*/ 80 h 88"/>
                <a:gd name="T70" fmla="*/ 74 w 117"/>
                <a:gd name="T71" fmla="*/ 83 h 88"/>
                <a:gd name="T72" fmla="*/ 69 w 117"/>
                <a:gd name="T73" fmla="*/ 81 h 88"/>
                <a:gd name="T74" fmla="*/ 64 w 117"/>
                <a:gd name="T75" fmla="*/ 80 h 88"/>
                <a:gd name="T76" fmla="*/ 61 w 117"/>
                <a:gd name="T77" fmla="*/ 82 h 88"/>
                <a:gd name="T78" fmla="*/ 55 w 117"/>
                <a:gd name="T79" fmla="*/ 80 h 88"/>
                <a:gd name="T80" fmla="*/ 53 w 117"/>
                <a:gd name="T81" fmla="*/ 77 h 88"/>
                <a:gd name="T82" fmla="*/ 49 w 117"/>
                <a:gd name="T83" fmla="*/ 72 h 88"/>
                <a:gd name="T84" fmla="*/ 46 w 117"/>
                <a:gd name="T85" fmla="*/ 76 h 88"/>
                <a:gd name="T86" fmla="*/ 45 w 117"/>
                <a:gd name="T87" fmla="*/ 80 h 88"/>
                <a:gd name="T88" fmla="*/ 39 w 117"/>
                <a:gd name="T89" fmla="*/ 83 h 88"/>
                <a:gd name="T90" fmla="*/ 33 w 117"/>
                <a:gd name="T91" fmla="*/ 84 h 88"/>
                <a:gd name="T92" fmla="*/ 28 w 117"/>
                <a:gd name="T93" fmla="*/ 83 h 88"/>
                <a:gd name="T94" fmla="*/ 27 w 117"/>
                <a:gd name="T95" fmla="*/ 84 h 88"/>
                <a:gd name="T96" fmla="*/ 24 w 117"/>
                <a:gd name="T97" fmla="*/ 87 h 88"/>
                <a:gd name="T98" fmla="*/ 21 w 117"/>
                <a:gd name="T99" fmla="*/ 88 h 88"/>
                <a:gd name="T100" fmla="*/ 15 w 117"/>
                <a:gd name="T101" fmla="*/ 87 h 88"/>
                <a:gd name="T102" fmla="*/ 11 w 117"/>
                <a:gd name="T103" fmla="*/ 84 h 88"/>
                <a:gd name="T104" fmla="*/ 15 w 117"/>
                <a:gd name="T105" fmla="*/ 82 h 88"/>
                <a:gd name="T106" fmla="*/ 17 w 117"/>
                <a:gd name="T107" fmla="*/ 81 h 88"/>
                <a:gd name="T108" fmla="*/ 19 w 117"/>
                <a:gd name="T109" fmla="*/ 79 h 88"/>
                <a:gd name="T110" fmla="*/ 17 w 117"/>
                <a:gd name="T111" fmla="*/ 77 h 88"/>
                <a:gd name="T112" fmla="*/ 9 w 117"/>
                <a:gd name="T113" fmla="*/ 67 h 88"/>
                <a:gd name="T114" fmla="*/ 11 w 117"/>
                <a:gd name="T115" fmla="*/ 61 h 88"/>
                <a:gd name="T116" fmla="*/ 9 w 117"/>
                <a:gd name="T117" fmla="*/ 58 h 88"/>
                <a:gd name="T118" fmla="*/ 6 w 117"/>
                <a:gd name="T119" fmla="*/ 58 h 88"/>
                <a:gd name="T120" fmla="*/ 5 w 117"/>
                <a:gd name="T121" fmla="*/ 55 h 88"/>
                <a:gd name="T122" fmla="*/ 11 w 117"/>
                <a:gd name="T123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" h="88">
                  <a:moveTo>
                    <a:pt x="9" y="48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3" y="38"/>
                    <a:pt x="3" y="38"/>
                  </a:cubicBezTo>
                  <a:cubicBezTo>
                    <a:pt x="4" y="37"/>
                    <a:pt x="6" y="36"/>
                    <a:pt x="6" y="3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8" y="33"/>
                    <a:pt x="9" y="33"/>
                  </a:cubicBezTo>
                  <a:cubicBezTo>
                    <a:pt x="10" y="33"/>
                    <a:pt x="10" y="34"/>
                    <a:pt x="10" y="33"/>
                  </a:cubicBezTo>
                  <a:cubicBezTo>
                    <a:pt x="11" y="33"/>
                    <a:pt x="11" y="29"/>
                    <a:pt x="11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2"/>
                    <a:pt x="111" y="12"/>
                    <a:pt x="111" y="12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5" y="19"/>
                    <a:pt x="115" y="19"/>
                  </a:cubicBezTo>
                  <a:cubicBezTo>
                    <a:pt x="114" y="19"/>
                    <a:pt x="112" y="19"/>
                    <a:pt x="112" y="19"/>
                  </a:cubicBezTo>
                  <a:cubicBezTo>
                    <a:pt x="112" y="19"/>
                    <a:pt x="111" y="20"/>
                    <a:pt x="110" y="20"/>
                  </a:cubicBezTo>
                  <a:cubicBezTo>
                    <a:pt x="110" y="20"/>
                    <a:pt x="109" y="22"/>
                    <a:pt x="109" y="22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8"/>
                    <a:pt x="112" y="28"/>
                    <a:pt x="107" y="27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30"/>
                    <a:pt x="102" y="30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1" y="38"/>
                    <a:pt x="89" y="38"/>
                    <a:pt x="89" y="38"/>
                  </a:cubicBezTo>
                  <a:cubicBezTo>
                    <a:pt x="89" y="38"/>
                    <a:pt x="86" y="39"/>
                    <a:pt x="86" y="39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1"/>
                    <a:pt x="85" y="42"/>
                    <a:pt x="85" y="42"/>
                  </a:cubicBezTo>
                  <a:cubicBezTo>
                    <a:pt x="85" y="42"/>
                    <a:pt x="85" y="45"/>
                    <a:pt x="85" y="45"/>
                  </a:cubicBezTo>
                  <a:cubicBezTo>
                    <a:pt x="85" y="45"/>
                    <a:pt x="87" y="46"/>
                    <a:pt x="87" y="46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89" y="49"/>
                    <a:pt x="89" y="52"/>
                    <a:pt x="89" y="52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1" y="58"/>
                    <a:pt x="90" y="59"/>
                  </a:cubicBezTo>
                  <a:cubicBezTo>
                    <a:pt x="89" y="59"/>
                    <a:pt x="88" y="60"/>
                    <a:pt x="88" y="60"/>
                  </a:cubicBezTo>
                  <a:cubicBezTo>
                    <a:pt x="88" y="60"/>
                    <a:pt x="86" y="60"/>
                    <a:pt x="86" y="60"/>
                  </a:cubicBezTo>
                  <a:cubicBezTo>
                    <a:pt x="86" y="60"/>
                    <a:pt x="84" y="60"/>
                    <a:pt x="84" y="60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7" y="67"/>
                    <a:pt x="77" y="67"/>
                  </a:cubicBezTo>
                  <a:cubicBezTo>
                    <a:pt x="78" y="68"/>
                    <a:pt x="79" y="69"/>
                    <a:pt x="79" y="69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78" y="71"/>
                    <a:pt x="78" y="71"/>
                  </a:cubicBezTo>
                  <a:cubicBezTo>
                    <a:pt x="78" y="71"/>
                    <a:pt x="77" y="72"/>
                    <a:pt x="77" y="72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4"/>
                    <a:pt x="76" y="74"/>
                    <a:pt x="76" y="75"/>
                  </a:cubicBezTo>
                  <a:cubicBezTo>
                    <a:pt x="76" y="75"/>
                    <a:pt x="76" y="76"/>
                    <a:pt x="76" y="76"/>
                  </a:cubicBezTo>
                  <a:cubicBezTo>
                    <a:pt x="77" y="76"/>
                    <a:pt x="78" y="78"/>
                    <a:pt x="78" y="78"/>
                  </a:cubicBezTo>
                  <a:cubicBezTo>
                    <a:pt x="78" y="78"/>
                    <a:pt x="79" y="79"/>
                    <a:pt x="79" y="79"/>
                  </a:cubicBezTo>
                  <a:cubicBezTo>
                    <a:pt x="79" y="79"/>
                    <a:pt x="79" y="80"/>
                    <a:pt x="79" y="80"/>
                  </a:cubicBezTo>
                  <a:cubicBezTo>
                    <a:pt x="79" y="80"/>
                    <a:pt x="78" y="81"/>
                    <a:pt x="77" y="81"/>
                  </a:cubicBezTo>
                  <a:cubicBezTo>
                    <a:pt x="77" y="81"/>
                    <a:pt x="75" y="81"/>
                    <a:pt x="75" y="81"/>
                  </a:cubicBezTo>
                  <a:cubicBezTo>
                    <a:pt x="75" y="81"/>
                    <a:pt x="74" y="83"/>
                    <a:pt x="74" y="83"/>
                  </a:cubicBezTo>
                  <a:cubicBezTo>
                    <a:pt x="74" y="83"/>
                    <a:pt x="73" y="83"/>
                    <a:pt x="72" y="83"/>
                  </a:cubicBezTo>
                  <a:cubicBezTo>
                    <a:pt x="72" y="83"/>
                    <a:pt x="74" y="84"/>
                    <a:pt x="72" y="83"/>
                  </a:cubicBezTo>
                  <a:cubicBezTo>
                    <a:pt x="69" y="82"/>
                    <a:pt x="69" y="81"/>
                    <a:pt x="69" y="81"/>
                  </a:cubicBezTo>
                  <a:cubicBezTo>
                    <a:pt x="69" y="81"/>
                    <a:pt x="68" y="80"/>
                    <a:pt x="68" y="80"/>
                  </a:cubicBezTo>
                  <a:cubicBezTo>
                    <a:pt x="67" y="80"/>
                    <a:pt x="66" y="80"/>
                    <a:pt x="66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2"/>
                    <a:pt x="61" y="82"/>
                  </a:cubicBezTo>
                  <a:cubicBezTo>
                    <a:pt x="60" y="83"/>
                    <a:pt x="61" y="83"/>
                    <a:pt x="60" y="83"/>
                  </a:cubicBezTo>
                  <a:cubicBezTo>
                    <a:pt x="58" y="83"/>
                    <a:pt x="57" y="81"/>
                    <a:pt x="57" y="81"/>
                  </a:cubicBezTo>
                  <a:cubicBezTo>
                    <a:pt x="57" y="81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3" y="79"/>
                    <a:pt x="53" y="80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2" y="76"/>
                    <a:pt x="52" y="77"/>
                    <a:pt x="51" y="76"/>
                  </a:cubicBezTo>
                  <a:cubicBezTo>
                    <a:pt x="51" y="75"/>
                    <a:pt x="50" y="74"/>
                    <a:pt x="50" y="74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8" y="74"/>
                    <a:pt x="47" y="74"/>
                    <a:pt x="47" y="74"/>
                  </a:cubicBezTo>
                  <a:cubicBezTo>
                    <a:pt x="47" y="75"/>
                    <a:pt x="46" y="76"/>
                    <a:pt x="46" y="76"/>
                  </a:cubicBezTo>
                  <a:cubicBezTo>
                    <a:pt x="46" y="76"/>
                    <a:pt x="45" y="77"/>
                    <a:pt x="45" y="78"/>
                  </a:cubicBezTo>
                  <a:cubicBezTo>
                    <a:pt x="46" y="78"/>
                    <a:pt x="46" y="78"/>
                    <a:pt x="46" y="79"/>
                  </a:cubicBezTo>
                  <a:cubicBezTo>
                    <a:pt x="46" y="79"/>
                    <a:pt x="45" y="80"/>
                    <a:pt x="45" y="80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2"/>
                    <a:pt x="41" y="83"/>
                    <a:pt x="41" y="83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3" y="84"/>
                    <a:pt x="33" y="84"/>
                  </a:cubicBezTo>
                  <a:cubicBezTo>
                    <a:pt x="32" y="84"/>
                    <a:pt x="31" y="84"/>
                    <a:pt x="31" y="84"/>
                  </a:cubicBezTo>
                  <a:cubicBezTo>
                    <a:pt x="31" y="84"/>
                    <a:pt x="30" y="83"/>
                    <a:pt x="29" y="83"/>
                  </a:cubicBezTo>
                  <a:cubicBezTo>
                    <a:pt x="29" y="83"/>
                    <a:pt x="28" y="83"/>
                    <a:pt x="28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7" y="84"/>
                    <a:pt x="27" y="84"/>
                  </a:cubicBezTo>
                  <a:cubicBezTo>
                    <a:pt x="27" y="85"/>
                    <a:pt x="27" y="86"/>
                    <a:pt x="27" y="86"/>
                  </a:cubicBezTo>
                  <a:cubicBezTo>
                    <a:pt x="27" y="86"/>
                    <a:pt x="26" y="86"/>
                    <a:pt x="26" y="86"/>
                  </a:cubicBezTo>
                  <a:cubicBezTo>
                    <a:pt x="26" y="87"/>
                    <a:pt x="24" y="87"/>
                    <a:pt x="24" y="87"/>
                  </a:cubicBezTo>
                  <a:cubicBezTo>
                    <a:pt x="24" y="87"/>
                    <a:pt x="24" y="88"/>
                    <a:pt x="24" y="88"/>
                  </a:cubicBezTo>
                  <a:cubicBezTo>
                    <a:pt x="24" y="88"/>
                    <a:pt x="24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ubicBezTo>
                    <a:pt x="21" y="87"/>
                    <a:pt x="20" y="87"/>
                    <a:pt x="19" y="87"/>
                  </a:cubicBezTo>
                  <a:cubicBezTo>
                    <a:pt x="19" y="87"/>
                    <a:pt x="16" y="86"/>
                    <a:pt x="16" y="86"/>
                  </a:cubicBezTo>
                  <a:cubicBezTo>
                    <a:pt x="16" y="86"/>
                    <a:pt x="15" y="87"/>
                    <a:pt x="15" y="87"/>
                  </a:cubicBezTo>
                  <a:cubicBezTo>
                    <a:pt x="14" y="87"/>
                    <a:pt x="13" y="87"/>
                    <a:pt x="12" y="86"/>
                  </a:cubicBezTo>
                  <a:cubicBezTo>
                    <a:pt x="12" y="86"/>
                    <a:pt x="11" y="86"/>
                    <a:pt x="11" y="86"/>
                  </a:cubicBezTo>
                  <a:cubicBezTo>
                    <a:pt x="11" y="85"/>
                    <a:pt x="11" y="84"/>
                    <a:pt x="11" y="84"/>
                  </a:cubicBezTo>
                  <a:cubicBezTo>
                    <a:pt x="11" y="84"/>
                    <a:pt x="10" y="83"/>
                    <a:pt x="11" y="83"/>
                  </a:cubicBezTo>
                  <a:cubicBezTo>
                    <a:pt x="11" y="83"/>
                    <a:pt x="12" y="83"/>
                    <a:pt x="13" y="83"/>
                  </a:cubicBezTo>
                  <a:cubicBezTo>
                    <a:pt x="14" y="83"/>
                    <a:pt x="15" y="83"/>
                    <a:pt x="15" y="82"/>
                  </a:cubicBezTo>
                  <a:cubicBezTo>
                    <a:pt x="15" y="82"/>
                    <a:pt x="15" y="82"/>
                    <a:pt x="16" y="82"/>
                  </a:cubicBezTo>
                  <a:cubicBezTo>
                    <a:pt x="16" y="82"/>
                    <a:pt x="17" y="83"/>
                    <a:pt x="17" y="82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7" y="79"/>
                    <a:pt x="17" y="79"/>
                  </a:cubicBezTo>
                  <a:cubicBezTo>
                    <a:pt x="18" y="79"/>
                    <a:pt x="19" y="79"/>
                    <a:pt x="19" y="79"/>
                  </a:cubicBezTo>
                  <a:cubicBezTo>
                    <a:pt x="20" y="79"/>
                    <a:pt x="21" y="79"/>
                    <a:pt x="21" y="79"/>
                  </a:cubicBezTo>
                  <a:cubicBezTo>
                    <a:pt x="21" y="79"/>
                    <a:pt x="21" y="79"/>
                    <a:pt x="22" y="78"/>
                  </a:cubicBezTo>
                  <a:cubicBezTo>
                    <a:pt x="22" y="78"/>
                    <a:pt x="18" y="78"/>
                    <a:pt x="17" y="77"/>
                  </a:cubicBezTo>
                  <a:cubicBezTo>
                    <a:pt x="15" y="75"/>
                    <a:pt x="13" y="74"/>
                    <a:pt x="13" y="70"/>
                  </a:cubicBezTo>
                  <a:cubicBezTo>
                    <a:pt x="12" y="70"/>
                    <a:pt x="12" y="68"/>
                    <a:pt x="11" y="68"/>
                  </a:cubicBezTo>
                  <a:cubicBezTo>
                    <a:pt x="11" y="68"/>
                    <a:pt x="9" y="67"/>
                    <a:pt x="9" y="67"/>
                  </a:cubicBezTo>
                  <a:cubicBezTo>
                    <a:pt x="9" y="66"/>
                    <a:pt x="9" y="66"/>
                    <a:pt x="10" y="65"/>
                  </a:cubicBezTo>
                  <a:cubicBezTo>
                    <a:pt x="10" y="64"/>
                    <a:pt x="10" y="64"/>
                    <a:pt x="11" y="63"/>
                  </a:cubicBezTo>
                  <a:cubicBezTo>
                    <a:pt x="11" y="63"/>
                    <a:pt x="11" y="61"/>
                    <a:pt x="11" y="61"/>
                  </a:cubicBezTo>
                  <a:cubicBezTo>
                    <a:pt x="11" y="61"/>
                    <a:pt x="12" y="60"/>
                    <a:pt x="11" y="60"/>
                  </a:cubicBezTo>
                  <a:cubicBezTo>
                    <a:pt x="11" y="59"/>
                    <a:pt x="10" y="58"/>
                    <a:pt x="10" y="58"/>
                  </a:cubicBezTo>
                  <a:cubicBezTo>
                    <a:pt x="10" y="58"/>
                    <a:pt x="10" y="58"/>
                    <a:pt x="9" y="58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6" y="58"/>
                    <a:pt x="6" y="58"/>
                  </a:cubicBezTo>
                  <a:cubicBezTo>
                    <a:pt x="5" y="58"/>
                    <a:pt x="5" y="58"/>
                    <a:pt x="5" y="57"/>
                  </a:cubicBezTo>
                  <a:cubicBezTo>
                    <a:pt x="5" y="57"/>
                    <a:pt x="6" y="56"/>
                    <a:pt x="6" y="56"/>
                  </a:cubicBezTo>
                  <a:cubicBezTo>
                    <a:pt x="6" y="56"/>
                    <a:pt x="5" y="55"/>
                    <a:pt x="5" y="55"/>
                  </a:cubicBezTo>
                  <a:cubicBezTo>
                    <a:pt x="5" y="55"/>
                    <a:pt x="6" y="53"/>
                    <a:pt x="7" y="53"/>
                  </a:cubicBezTo>
                  <a:cubicBezTo>
                    <a:pt x="8" y="52"/>
                    <a:pt x="10" y="50"/>
                    <a:pt x="10" y="5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9" y="48"/>
                    <a:pt x="9" y="48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2" name="Freeform 197"/>
            <p:cNvSpPr>
              <a:spLocks noEditPoints="1"/>
            </p:cNvSpPr>
            <p:nvPr/>
          </p:nvSpPr>
          <p:spPr bwMode="auto">
            <a:xfrm>
              <a:off x="5338204" y="3253212"/>
              <a:ext cx="517832" cy="466653"/>
            </a:xfrm>
            <a:custGeom>
              <a:avLst/>
              <a:gdLst>
                <a:gd name="T0" fmla="*/ 216 w 227"/>
                <a:gd name="T1" fmla="*/ 62 h 211"/>
                <a:gd name="T2" fmla="*/ 209 w 227"/>
                <a:gd name="T3" fmla="*/ 47 h 211"/>
                <a:gd name="T4" fmla="*/ 183 w 227"/>
                <a:gd name="T5" fmla="*/ 33 h 211"/>
                <a:gd name="T6" fmla="*/ 141 w 227"/>
                <a:gd name="T7" fmla="*/ 25 h 211"/>
                <a:gd name="T8" fmla="*/ 102 w 227"/>
                <a:gd name="T9" fmla="*/ 1 h 211"/>
                <a:gd name="T10" fmla="*/ 84 w 227"/>
                <a:gd name="T11" fmla="*/ 17 h 211"/>
                <a:gd name="T12" fmla="*/ 82 w 227"/>
                <a:gd name="T13" fmla="*/ 40 h 211"/>
                <a:gd name="T14" fmla="*/ 70 w 227"/>
                <a:gd name="T15" fmla="*/ 52 h 211"/>
                <a:gd name="T16" fmla="*/ 58 w 227"/>
                <a:gd name="T17" fmla="*/ 61 h 211"/>
                <a:gd name="T18" fmla="*/ 39 w 227"/>
                <a:gd name="T19" fmla="*/ 55 h 211"/>
                <a:gd name="T20" fmla="*/ 18 w 227"/>
                <a:gd name="T21" fmla="*/ 65 h 211"/>
                <a:gd name="T22" fmla="*/ 3 w 227"/>
                <a:gd name="T23" fmla="*/ 67 h 211"/>
                <a:gd name="T24" fmla="*/ 3 w 227"/>
                <a:gd name="T25" fmla="*/ 66 h 211"/>
                <a:gd name="T26" fmla="*/ 3 w 227"/>
                <a:gd name="T27" fmla="*/ 66 h 211"/>
                <a:gd name="T28" fmla="*/ 4 w 227"/>
                <a:gd name="T29" fmla="*/ 77 h 211"/>
                <a:gd name="T30" fmla="*/ 17 w 227"/>
                <a:gd name="T31" fmla="*/ 102 h 211"/>
                <a:gd name="T32" fmla="*/ 30 w 227"/>
                <a:gd name="T33" fmla="*/ 77 h 211"/>
                <a:gd name="T34" fmla="*/ 51 w 227"/>
                <a:gd name="T35" fmla="*/ 92 h 211"/>
                <a:gd name="T36" fmla="*/ 64 w 227"/>
                <a:gd name="T37" fmla="*/ 115 h 211"/>
                <a:gd name="T38" fmla="*/ 53 w 227"/>
                <a:gd name="T39" fmla="*/ 108 h 211"/>
                <a:gd name="T40" fmla="*/ 65 w 227"/>
                <a:gd name="T41" fmla="*/ 124 h 211"/>
                <a:gd name="T42" fmla="*/ 73 w 227"/>
                <a:gd name="T43" fmla="*/ 138 h 211"/>
                <a:gd name="T44" fmla="*/ 72 w 227"/>
                <a:gd name="T45" fmla="*/ 145 h 211"/>
                <a:gd name="T46" fmla="*/ 58 w 227"/>
                <a:gd name="T47" fmla="*/ 130 h 211"/>
                <a:gd name="T48" fmla="*/ 61 w 227"/>
                <a:gd name="T49" fmla="*/ 136 h 211"/>
                <a:gd name="T50" fmla="*/ 76 w 227"/>
                <a:gd name="T51" fmla="*/ 153 h 211"/>
                <a:gd name="T52" fmla="*/ 74 w 227"/>
                <a:gd name="T53" fmla="*/ 146 h 211"/>
                <a:gd name="T54" fmla="*/ 89 w 227"/>
                <a:gd name="T55" fmla="*/ 156 h 211"/>
                <a:gd name="T56" fmla="*/ 99 w 227"/>
                <a:gd name="T57" fmla="*/ 157 h 211"/>
                <a:gd name="T58" fmla="*/ 126 w 227"/>
                <a:gd name="T59" fmla="*/ 164 h 211"/>
                <a:gd name="T60" fmla="*/ 160 w 227"/>
                <a:gd name="T61" fmla="*/ 187 h 211"/>
                <a:gd name="T62" fmla="*/ 140 w 227"/>
                <a:gd name="T63" fmla="*/ 190 h 211"/>
                <a:gd name="T64" fmla="*/ 184 w 227"/>
                <a:gd name="T65" fmla="*/ 200 h 211"/>
                <a:gd name="T66" fmla="*/ 171 w 227"/>
                <a:gd name="T67" fmla="*/ 185 h 211"/>
                <a:gd name="T68" fmla="*/ 153 w 227"/>
                <a:gd name="T69" fmla="*/ 162 h 211"/>
                <a:gd name="T70" fmla="*/ 118 w 227"/>
                <a:gd name="T71" fmla="*/ 135 h 211"/>
                <a:gd name="T72" fmla="*/ 100 w 227"/>
                <a:gd name="T73" fmla="*/ 105 h 211"/>
                <a:gd name="T74" fmla="*/ 88 w 227"/>
                <a:gd name="T75" fmla="*/ 76 h 211"/>
                <a:gd name="T76" fmla="*/ 121 w 227"/>
                <a:gd name="T77" fmla="*/ 70 h 211"/>
                <a:gd name="T78" fmla="*/ 160 w 227"/>
                <a:gd name="T79" fmla="*/ 71 h 211"/>
                <a:gd name="T80" fmla="*/ 189 w 227"/>
                <a:gd name="T81" fmla="*/ 70 h 211"/>
                <a:gd name="T82" fmla="*/ 179 w 227"/>
                <a:gd name="T83" fmla="*/ 190 h 211"/>
                <a:gd name="T84" fmla="*/ 192 w 227"/>
                <a:gd name="T85" fmla="*/ 201 h 211"/>
                <a:gd name="T86" fmla="*/ 159 w 227"/>
                <a:gd name="T87" fmla="*/ 195 h 211"/>
                <a:gd name="T88" fmla="*/ 144 w 227"/>
                <a:gd name="T89" fmla="*/ 199 h 211"/>
                <a:gd name="T90" fmla="*/ 115 w 227"/>
                <a:gd name="T91" fmla="*/ 191 h 211"/>
                <a:gd name="T92" fmla="*/ 136 w 227"/>
                <a:gd name="T93" fmla="*/ 178 h 211"/>
                <a:gd name="T94" fmla="*/ 144 w 227"/>
                <a:gd name="T95" fmla="*/ 180 h 211"/>
                <a:gd name="T96" fmla="*/ 123 w 227"/>
                <a:gd name="T97" fmla="*/ 178 h 211"/>
                <a:gd name="T98" fmla="*/ 129 w 227"/>
                <a:gd name="T99" fmla="*/ 168 h 211"/>
                <a:gd name="T100" fmla="*/ 51 w 227"/>
                <a:gd name="T101" fmla="*/ 93 h 211"/>
                <a:gd name="T102" fmla="*/ 50 w 227"/>
                <a:gd name="T103" fmla="*/ 97 h 211"/>
                <a:gd name="T104" fmla="*/ 60 w 227"/>
                <a:gd name="T105" fmla="*/ 119 h 211"/>
                <a:gd name="T106" fmla="*/ 53 w 227"/>
                <a:gd name="T107" fmla="*/ 121 h 211"/>
                <a:gd name="T108" fmla="*/ 35 w 227"/>
                <a:gd name="T109" fmla="*/ 119 h 211"/>
                <a:gd name="T110" fmla="*/ 36 w 227"/>
                <a:gd name="T111" fmla="*/ 91 h 211"/>
                <a:gd name="T112" fmla="*/ 40 w 227"/>
                <a:gd name="T113" fmla="*/ 103 h 211"/>
                <a:gd name="T114" fmla="*/ 45 w 227"/>
                <a:gd name="T115" fmla="*/ 120 h 211"/>
                <a:gd name="T116" fmla="*/ 37 w 227"/>
                <a:gd name="T117" fmla="*/ 107 h 211"/>
                <a:gd name="T118" fmla="*/ 34 w 227"/>
                <a:gd name="T119" fmla="*/ 9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7" h="211">
                  <a:moveTo>
                    <a:pt x="215" y="82"/>
                  </a:moveTo>
                  <a:cubicBezTo>
                    <a:pt x="215" y="80"/>
                    <a:pt x="214" y="79"/>
                    <a:pt x="216" y="78"/>
                  </a:cubicBezTo>
                  <a:cubicBezTo>
                    <a:pt x="217" y="78"/>
                    <a:pt x="218" y="80"/>
                    <a:pt x="218" y="78"/>
                  </a:cubicBezTo>
                  <a:cubicBezTo>
                    <a:pt x="218" y="76"/>
                    <a:pt x="219" y="77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7"/>
                    <a:pt x="217" y="77"/>
                  </a:cubicBezTo>
                  <a:cubicBezTo>
                    <a:pt x="217" y="77"/>
                    <a:pt x="216" y="78"/>
                    <a:pt x="215" y="78"/>
                  </a:cubicBezTo>
                  <a:cubicBezTo>
                    <a:pt x="214" y="77"/>
                    <a:pt x="214" y="77"/>
                    <a:pt x="214" y="77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216" y="71"/>
                    <a:pt x="215" y="69"/>
                    <a:pt x="214" y="67"/>
                  </a:cubicBezTo>
                  <a:cubicBezTo>
                    <a:pt x="213" y="66"/>
                    <a:pt x="212" y="65"/>
                    <a:pt x="212" y="65"/>
                  </a:cubicBezTo>
                  <a:cubicBezTo>
                    <a:pt x="215" y="63"/>
                    <a:pt x="215" y="63"/>
                    <a:pt x="215" y="63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6" y="61"/>
                    <a:pt x="216" y="61"/>
                    <a:pt x="216" y="61"/>
                  </a:cubicBezTo>
                  <a:cubicBezTo>
                    <a:pt x="216" y="61"/>
                    <a:pt x="218" y="63"/>
                    <a:pt x="220" y="63"/>
                  </a:cubicBezTo>
                  <a:cubicBezTo>
                    <a:pt x="221" y="63"/>
                    <a:pt x="220" y="63"/>
                    <a:pt x="222" y="62"/>
                  </a:cubicBezTo>
                  <a:cubicBezTo>
                    <a:pt x="224" y="62"/>
                    <a:pt x="227" y="59"/>
                    <a:pt x="227" y="59"/>
                  </a:cubicBezTo>
                  <a:cubicBezTo>
                    <a:pt x="227" y="59"/>
                    <a:pt x="225" y="57"/>
                    <a:pt x="224" y="57"/>
                  </a:cubicBezTo>
                  <a:cubicBezTo>
                    <a:pt x="223" y="58"/>
                    <a:pt x="224" y="58"/>
                    <a:pt x="221" y="58"/>
                  </a:cubicBezTo>
                  <a:cubicBezTo>
                    <a:pt x="218" y="57"/>
                    <a:pt x="217" y="56"/>
                    <a:pt x="217" y="56"/>
                  </a:cubicBezTo>
                  <a:cubicBezTo>
                    <a:pt x="217" y="56"/>
                    <a:pt x="216" y="56"/>
                    <a:pt x="215" y="56"/>
                  </a:cubicBezTo>
                  <a:cubicBezTo>
                    <a:pt x="214" y="56"/>
                    <a:pt x="214" y="56"/>
                    <a:pt x="213" y="55"/>
                  </a:cubicBezTo>
                  <a:cubicBezTo>
                    <a:pt x="211" y="53"/>
                    <a:pt x="209" y="51"/>
                    <a:pt x="209" y="51"/>
                  </a:cubicBezTo>
                  <a:cubicBezTo>
                    <a:pt x="209" y="51"/>
                    <a:pt x="207" y="52"/>
                    <a:pt x="207" y="51"/>
                  </a:cubicBezTo>
                  <a:cubicBezTo>
                    <a:pt x="207" y="51"/>
                    <a:pt x="208" y="49"/>
                    <a:pt x="208" y="49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07" y="47"/>
                    <a:pt x="209" y="47"/>
                    <a:pt x="209" y="47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2" y="44"/>
                    <a:pt x="210" y="42"/>
                    <a:pt x="207" y="43"/>
                  </a:cubicBezTo>
                  <a:cubicBezTo>
                    <a:pt x="206" y="43"/>
                    <a:pt x="205" y="44"/>
                    <a:pt x="205" y="44"/>
                  </a:cubicBezTo>
                  <a:cubicBezTo>
                    <a:pt x="204" y="44"/>
                    <a:pt x="202" y="43"/>
                    <a:pt x="202" y="42"/>
                  </a:cubicBezTo>
                  <a:cubicBezTo>
                    <a:pt x="202" y="41"/>
                    <a:pt x="201" y="41"/>
                    <a:pt x="203" y="40"/>
                  </a:cubicBezTo>
                  <a:cubicBezTo>
                    <a:pt x="204" y="40"/>
                    <a:pt x="205" y="38"/>
                    <a:pt x="205" y="38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204" y="29"/>
                    <a:pt x="204" y="29"/>
                    <a:pt x="204" y="29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200" y="26"/>
                    <a:pt x="200" y="26"/>
                    <a:pt x="200" y="26"/>
                  </a:cubicBezTo>
                  <a:cubicBezTo>
                    <a:pt x="198" y="25"/>
                    <a:pt x="198" y="25"/>
                    <a:pt x="198" y="25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6" y="30"/>
                    <a:pt x="193" y="31"/>
                    <a:pt x="193" y="32"/>
                  </a:cubicBezTo>
                  <a:cubicBezTo>
                    <a:pt x="192" y="33"/>
                    <a:pt x="187" y="33"/>
                    <a:pt x="187" y="33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4" y="36"/>
                    <a:pt x="173" y="36"/>
                  </a:cubicBezTo>
                  <a:cubicBezTo>
                    <a:pt x="172" y="36"/>
                    <a:pt x="167" y="35"/>
                    <a:pt x="167" y="35"/>
                  </a:cubicBezTo>
                  <a:cubicBezTo>
                    <a:pt x="164" y="36"/>
                    <a:pt x="164" y="36"/>
                    <a:pt x="164" y="36"/>
                  </a:cubicBezTo>
                  <a:cubicBezTo>
                    <a:pt x="157" y="34"/>
                    <a:pt x="157" y="34"/>
                    <a:pt x="157" y="34"/>
                  </a:cubicBezTo>
                  <a:cubicBezTo>
                    <a:pt x="155" y="32"/>
                    <a:pt x="155" y="32"/>
                    <a:pt x="155" y="32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1" y="26"/>
                    <a:pt x="141" y="26"/>
                    <a:pt x="141" y="25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8" y="0"/>
                    <a:pt x="108" y="0"/>
                  </a:cubicBezTo>
                  <a:cubicBezTo>
                    <a:pt x="108" y="0"/>
                    <a:pt x="107" y="0"/>
                    <a:pt x="107" y="0"/>
                  </a:cubicBezTo>
                  <a:cubicBezTo>
                    <a:pt x="106" y="0"/>
                    <a:pt x="104" y="0"/>
                    <a:pt x="104" y="0"/>
                  </a:cubicBezTo>
                  <a:cubicBezTo>
                    <a:pt x="104" y="0"/>
                    <a:pt x="103" y="1"/>
                    <a:pt x="102" y="1"/>
                  </a:cubicBezTo>
                  <a:cubicBezTo>
                    <a:pt x="102" y="1"/>
                    <a:pt x="101" y="3"/>
                    <a:pt x="101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9"/>
                    <a:pt x="104" y="9"/>
                    <a:pt x="99" y="8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11"/>
                    <a:pt x="94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3" y="19"/>
                    <a:pt x="81" y="19"/>
                    <a:pt x="81" y="19"/>
                  </a:cubicBezTo>
                  <a:cubicBezTo>
                    <a:pt x="81" y="19"/>
                    <a:pt x="78" y="20"/>
                    <a:pt x="78" y="2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7" y="23"/>
                    <a:pt x="77" y="23"/>
                  </a:cubicBezTo>
                  <a:cubicBezTo>
                    <a:pt x="77" y="23"/>
                    <a:pt x="77" y="26"/>
                    <a:pt x="77" y="26"/>
                  </a:cubicBezTo>
                  <a:cubicBezTo>
                    <a:pt x="77" y="26"/>
                    <a:pt x="79" y="27"/>
                    <a:pt x="79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30"/>
                    <a:pt x="82" y="30"/>
                  </a:cubicBezTo>
                  <a:cubicBezTo>
                    <a:pt x="81" y="30"/>
                    <a:pt x="81" y="33"/>
                    <a:pt x="81" y="3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9"/>
                    <a:pt x="83" y="39"/>
                    <a:pt x="82" y="40"/>
                  </a:cubicBezTo>
                  <a:cubicBezTo>
                    <a:pt x="81" y="40"/>
                    <a:pt x="80" y="41"/>
                    <a:pt x="80" y="41"/>
                  </a:cubicBezTo>
                  <a:cubicBezTo>
                    <a:pt x="80" y="41"/>
                    <a:pt x="78" y="41"/>
                    <a:pt x="78" y="41"/>
                  </a:cubicBezTo>
                  <a:cubicBezTo>
                    <a:pt x="78" y="41"/>
                    <a:pt x="76" y="41"/>
                    <a:pt x="76" y="41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9" y="50"/>
                    <a:pt x="69" y="49"/>
                  </a:cubicBezTo>
                  <a:cubicBezTo>
                    <a:pt x="69" y="49"/>
                    <a:pt x="69" y="48"/>
                    <a:pt x="69" y="48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0" y="52"/>
                    <a:pt x="70" y="52"/>
                  </a:cubicBezTo>
                  <a:cubicBezTo>
                    <a:pt x="70" y="52"/>
                    <a:pt x="69" y="53"/>
                    <a:pt x="69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5"/>
                    <a:pt x="68" y="55"/>
                    <a:pt x="68" y="56"/>
                  </a:cubicBezTo>
                  <a:cubicBezTo>
                    <a:pt x="68" y="56"/>
                    <a:pt x="68" y="57"/>
                    <a:pt x="68" y="57"/>
                  </a:cubicBezTo>
                  <a:cubicBezTo>
                    <a:pt x="69" y="57"/>
                    <a:pt x="70" y="59"/>
                    <a:pt x="70" y="59"/>
                  </a:cubicBezTo>
                  <a:cubicBezTo>
                    <a:pt x="70" y="59"/>
                    <a:pt x="71" y="60"/>
                    <a:pt x="71" y="60"/>
                  </a:cubicBezTo>
                  <a:cubicBezTo>
                    <a:pt x="71" y="60"/>
                    <a:pt x="71" y="61"/>
                    <a:pt x="71" y="61"/>
                  </a:cubicBezTo>
                  <a:cubicBezTo>
                    <a:pt x="71" y="61"/>
                    <a:pt x="70" y="62"/>
                    <a:pt x="69" y="62"/>
                  </a:cubicBezTo>
                  <a:cubicBezTo>
                    <a:pt x="69" y="62"/>
                    <a:pt x="67" y="62"/>
                    <a:pt x="67" y="62"/>
                  </a:cubicBezTo>
                  <a:cubicBezTo>
                    <a:pt x="67" y="62"/>
                    <a:pt x="66" y="64"/>
                    <a:pt x="66" y="64"/>
                  </a:cubicBezTo>
                  <a:cubicBezTo>
                    <a:pt x="66" y="64"/>
                    <a:pt x="65" y="64"/>
                    <a:pt x="64" y="64"/>
                  </a:cubicBezTo>
                  <a:cubicBezTo>
                    <a:pt x="64" y="64"/>
                    <a:pt x="66" y="65"/>
                    <a:pt x="64" y="64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0" y="61"/>
                    <a:pt x="60" y="61"/>
                  </a:cubicBezTo>
                  <a:cubicBezTo>
                    <a:pt x="59" y="61"/>
                    <a:pt x="58" y="61"/>
                    <a:pt x="58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3"/>
                    <a:pt x="53" y="63"/>
                  </a:cubicBezTo>
                  <a:cubicBezTo>
                    <a:pt x="52" y="64"/>
                    <a:pt x="53" y="64"/>
                    <a:pt x="52" y="64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5" y="60"/>
                    <a:pt x="45" y="61"/>
                    <a:pt x="45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4" y="57"/>
                    <a:pt x="44" y="58"/>
                    <a:pt x="43" y="57"/>
                  </a:cubicBezTo>
                  <a:cubicBezTo>
                    <a:pt x="43" y="56"/>
                    <a:pt x="42" y="55"/>
                    <a:pt x="42" y="55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7" y="58"/>
                    <a:pt x="37" y="59"/>
                  </a:cubicBez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7" y="61"/>
                    <a:pt x="37" y="61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3"/>
                    <a:pt x="33" y="64"/>
                    <a:pt x="33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5" y="65"/>
                    <a:pt x="25" y="65"/>
                  </a:cubicBezTo>
                  <a:cubicBezTo>
                    <a:pt x="24" y="65"/>
                    <a:pt x="23" y="65"/>
                    <a:pt x="23" y="65"/>
                  </a:cubicBezTo>
                  <a:cubicBezTo>
                    <a:pt x="23" y="65"/>
                    <a:pt x="22" y="64"/>
                    <a:pt x="21" y="64"/>
                  </a:cubicBezTo>
                  <a:cubicBezTo>
                    <a:pt x="21" y="64"/>
                    <a:pt x="20" y="64"/>
                    <a:pt x="20" y="64"/>
                  </a:cubicBezTo>
                  <a:cubicBezTo>
                    <a:pt x="19" y="64"/>
                    <a:pt x="18" y="64"/>
                    <a:pt x="18" y="6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9" y="65"/>
                    <a:pt x="19" y="65"/>
                  </a:cubicBezTo>
                  <a:cubicBezTo>
                    <a:pt x="19" y="66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ubicBezTo>
                    <a:pt x="18" y="68"/>
                    <a:pt x="16" y="68"/>
                    <a:pt x="16" y="68"/>
                  </a:cubicBezTo>
                  <a:cubicBezTo>
                    <a:pt x="16" y="68"/>
                    <a:pt x="16" y="69"/>
                    <a:pt x="16" y="69"/>
                  </a:cubicBezTo>
                  <a:cubicBezTo>
                    <a:pt x="16" y="69"/>
                    <a:pt x="16" y="69"/>
                    <a:pt x="15" y="69"/>
                  </a:cubicBezTo>
                  <a:cubicBezTo>
                    <a:pt x="14" y="69"/>
                    <a:pt x="14" y="69"/>
                    <a:pt x="13" y="69"/>
                  </a:cubicBezTo>
                  <a:cubicBezTo>
                    <a:pt x="13" y="68"/>
                    <a:pt x="12" y="68"/>
                    <a:pt x="11" y="68"/>
                  </a:cubicBezTo>
                  <a:cubicBezTo>
                    <a:pt x="11" y="68"/>
                    <a:pt x="8" y="67"/>
                    <a:pt x="8" y="67"/>
                  </a:cubicBezTo>
                  <a:cubicBezTo>
                    <a:pt x="8" y="67"/>
                    <a:pt x="7" y="68"/>
                    <a:pt x="7" y="68"/>
                  </a:cubicBezTo>
                  <a:cubicBezTo>
                    <a:pt x="6" y="68"/>
                    <a:pt x="5" y="68"/>
                    <a:pt x="4" y="67"/>
                  </a:cubicBezTo>
                  <a:cubicBezTo>
                    <a:pt x="4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2" y="73"/>
                    <a:pt x="2" y="73"/>
                  </a:cubicBezTo>
                  <a:cubicBezTo>
                    <a:pt x="2" y="74"/>
                    <a:pt x="3" y="74"/>
                    <a:pt x="3" y="75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6" y="83"/>
                    <a:pt x="6" y="84"/>
                  </a:cubicBezTo>
                  <a:cubicBezTo>
                    <a:pt x="6" y="84"/>
                    <a:pt x="6" y="85"/>
                    <a:pt x="6" y="86"/>
                  </a:cubicBezTo>
                  <a:cubicBezTo>
                    <a:pt x="6" y="86"/>
                    <a:pt x="8" y="88"/>
                    <a:pt x="8" y="8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2"/>
                    <a:pt x="11" y="93"/>
                    <a:pt x="11" y="93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3"/>
                    <a:pt x="18" y="103"/>
                  </a:cubicBezTo>
                  <a:cubicBezTo>
                    <a:pt x="19" y="103"/>
                    <a:pt x="20" y="103"/>
                    <a:pt x="20" y="103"/>
                  </a:cubicBezTo>
                  <a:cubicBezTo>
                    <a:pt x="21" y="103"/>
                    <a:pt x="21" y="104"/>
                    <a:pt x="22" y="101"/>
                  </a:cubicBezTo>
                  <a:cubicBezTo>
                    <a:pt x="22" y="99"/>
                    <a:pt x="22" y="98"/>
                    <a:pt x="22" y="98"/>
                  </a:cubicBezTo>
                  <a:cubicBezTo>
                    <a:pt x="22" y="98"/>
                    <a:pt x="23" y="98"/>
                    <a:pt x="23" y="97"/>
                  </a:cubicBezTo>
                  <a:cubicBezTo>
                    <a:pt x="24" y="97"/>
                    <a:pt x="25" y="97"/>
                    <a:pt x="25" y="96"/>
                  </a:cubicBezTo>
                  <a:cubicBezTo>
                    <a:pt x="25" y="94"/>
                    <a:pt x="23" y="93"/>
                    <a:pt x="23" y="93"/>
                  </a:cubicBezTo>
                  <a:cubicBezTo>
                    <a:pt x="23" y="93"/>
                    <a:pt x="25" y="92"/>
                    <a:pt x="26" y="93"/>
                  </a:cubicBezTo>
                  <a:cubicBezTo>
                    <a:pt x="26" y="94"/>
                    <a:pt x="26" y="95"/>
                    <a:pt x="27" y="94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7" y="91"/>
                    <a:pt x="27" y="90"/>
                    <a:pt x="27" y="89"/>
                  </a:cubicBezTo>
                  <a:cubicBezTo>
                    <a:pt x="27" y="89"/>
                    <a:pt x="28" y="88"/>
                    <a:pt x="28" y="87"/>
                  </a:cubicBezTo>
                  <a:cubicBezTo>
                    <a:pt x="29" y="86"/>
                    <a:pt x="29" y="85"/>
                    <a:pt x="29" y="84"/>
                  </a:cubicBezTo>
                  <a:cubicBezTo>
                    <a:pt x="29" y="82"/>
                    <a:pt x="29" y="83"/>
                    <a:pt x="30" y="81"/>
                  </a:cubicBezTo>
                  <a:cubicBezTo>
                    <a:pt x="30" y="80"/>
                    <a:pt x="30" y="81"/>
                    <a:pt x="30" y="77"/>
                  </a:cubicBezTo>
                  <a:cubicBezTo>
                    <a:pt x="31" y="74"/>
                    <a:pt x="31" y="73"/>
                    <a:pt x="32" y="73"/>
                  </a:cubicBezTo>
                  <a:cubicBezTo>
                    <a:pt x="32" y="73"/>
                    <a:pt x="40" y="76"/>
                    <a:pt x="40" y="76"/>
                  </a:cubicBezTo>
                  <a:cubicBezTo>
                    <a:pt x="40" y="76"/>
                    <a:pt x="41" y="78"/>
                    <a:pt x="41" y="78"/>
                  </a:cubicBezTo>
                  <a:cubicBezTo>
                    <a:pt x="41" y="79"/>
                    <a:pt x="41" y="80"/>
                    <a:pt x="41" y="80"/>
                  </a:cubicBezTo>
                  <a:cubicBezTo>
                    <a:pt x="41" y="81"/>
                    <a:pt x="40" y="83"/>
                    <a:pt x="40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38" y="84"/>
                    <a:pt x="38" y="86"/>
                  </a:cubicBezTo>
                  <a:cubicBezTo>
                    <a:pt x="37" y="87"/>
                    <a:pt x="37" y="87"/>
                    <a:pt x="38" y="88"/>
                  </a:cubicBezTo>
                  <a:cubicBezTo>
                    <a:pt x="39" y="89"/>
                    <a:pt x="40" y="90"/>
                    <a:pt x="40" y="90"/>
                  </a:cubicBezTo>
                  <a:cubicBezTo>
                    <a:pt x="41" y="90"/>
                    <a:pt x="42" y="89"/>
                    <a:pt x="43" y="89"/>
                  </a:cubicBezTo>
                  <a:cubicBezTo>
                    <a:pt x="43" y="89"/>
                    <a:pt x="44" y="89"/>
                    <a:pt x="44" y="89"/>
                  </a:cubicBezTo>
                  <a:cubicBezTo>
                    <a:pt x="44" y="90"/>
                    <a:pt x="44" y="91"/>
                    <a:pt x="45" y="92"/>
                  </a:cubicBezTo>
                  <a:cubicBezTo>
                    <a:pt x="46" y="92"/>
                    <a:pt x="47" y="93"/>
                    <a:pt x="47" y="93"/>
                  </a:cubicBezTo>
                  <a:cubicBezTo>
                    <a:pt x="48" y="93"/>
                    <a:pt x="49" y="93"/>
                    <a:pt x="49" y="93"/>
                  </a:cubicBezTo>
                  <a:cubicBezTo>
                    <a:pt x="49" y="93"/>
                    <a:pt x="50" y="92"/>
                    <a:pt x="51" y="92"/>
                  </a:cubicBezTo>
                  <a:cubicBezTo>
                    <a:pt x="51" y="92"/>
                    <a:pt x="54" y="95"/>
                    <a:pt x="52" y="91"/>
                  </a:cubicBezTo>
                  <a:cubicBezTo>
                    <a:pt x="49" y="88"/>
                    <a:pt x="49" y="88"/>
                    <a:pt x="49" y="87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5"/>
                    <a:pt x="46" y="84"/>
                  </a:cubicBezTo>
                  <a:cubicBezTo>
                    <a:pt x="47" y="83"/>
                    <a:pt x="47" y="83"/>
                    <a:pt x="48" y="83"/>
                  </a:cubicBezTo>
                  <a:cubicBezTo>
                    <a:pt x="49" y="83"/>
                    <a:pt x="49" y="82"/>
                    <a:pt x="51" y="84"/>
                  </a:cubicBezTo>
                  <a:cubicBezTo>
                    <a:pt x="52" y="85"/>
                    <a:pt x="52" y="85"/>
                    <a:pt x="52" y="86"/>
                  </a:cubicBezTo>
                  <a:cubicBezTo>
                    <a:pt x="53" y="88"/>
                    <a:pt x="54" y="89"/>
                    <a:pt x="55" y="90"/>
                  </a:cubicBezTo>
                  <a:cubicBezTo>
                    <a:pt x="55" y="90"/>
                    <a:pt x="56" y="90"/>
                    <a:pt x="56" y="92"/>
                  </a:cubicBezTo>
                  <a:cubicBezTo>
                    <a:pt x="56" y="94"/>
                    <a:pt x="56" y="96"/>
                    <a:pt x="56" y="97"/>
                  </a:cubicBezTo>
                  <a:cubicBezTo>
                    <a:pt x="56" y="97"/>
                    <a:pt x="56" y="101"/>
                    <a:pt x="56" y="101"/>
                  </a:cubicBezTo>
                  <a:cubicBezTo>
                    <a:pt x="56" y="101"/>
                    <a:pt x="56" y="103"/>
                    <a:pt x="56" y="104"/>
                  </a:cubicBezTo>
                  <a:cubicBezTo>
                    <a:pt x="56" y="105"/>
                    <a:pt x="61" y="112"/>
                    <a:pt x="61" y="112"/>
                  </a:cubicBezTo>
                  <a:cubicBezTo>
                    <a:pt x="61" y="112"/>
                    <a:pt x="63" y="115"/>
                    <a:pt x="64" y="115"/>
                  </a:cubicBezTo>
                  <a:cubicBezTo>
                    <a:pt x="64" y="115"/>
                    <a:pt x="65" y="118"/>
                    <a:pt x="66" y="119"/>
                  </a:cubicBezTo>
                  <a:cubicBezTo>
                    <a:pt x="68" y="119"/>
                    <a:pt x="72" y="121"/>
                    <a:pt x="72" y="121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9" y="125"/>
                    <a:pt x="81" y="128"/>
                    <a:pt x="82" y="128"/>
                  </a:cubicBezTo>
                  <a:cubicBezTo>
                    <a:pt x="82" y="128"/>
                    <a:pt x="87" y="128"/>
                    <a:pt x="83" y="128"/>
                  </a:cubicBezTo>
                  <a:cubicBezTo>
                    <a:pt x="80" y="128"/>
                    <a:pt x="76" y="126"/>
                    <a:pt x="76" y="126"/>
                  </a:cubicBezTo>
                  <a:cubicBezTo>
                    <a:pt x="76" y="126"/>
                    <a:pt x="75" y="124"/>
                    <a:pt x="75" y="124"/>
                  </a:cubicBezTo>
                  <a:cubicBezTo>
                    <a:pt x="74" y="124"/>
                    <a:pt x="70" y="123"/>
                    <a:pt x="69" y="122"/>
                  </a:cubicBezTo>
                  <a:cubicBezTo>
                    <a:pt x="69" y="122"/>
                    <a:pt x="68" y="121"/>
                    <a:pt x="67" y="120"/>
                  </a:cubicBezTo>
                  <a:cubicBezTo>
                    <a:pt x="66" y="118"/>
                    <a:pt x="64" y="117"/>
                    <a:pt x="64" y="117"/>
                  </a:cubicBezTo>
                  <a:cubicBezTo>
                    <a:pt x="64" y="117"/>
                    <a:pt x="63" y="116"/>
                    <a:pt x="62" y="114"/>
                  </a:cubicBezTo>
                  <a:cubicBezTo>
                    <a:pt x="61" y="113"/>
                    <a:pt x="61" y="113"/>
                    <a:pt x="61" y="112"/>
                  </a:cubicBezTo>
                  <a:cubicBezTo>
                    <a:pt x="60" y="112"/>
                    <a:pt x="61" y="112"/>
                    <a:pt x="59" y="111"/>
                  </a:cubicBezTo>
                  <a:cubicBezTo>
                    <a:pt x="57" y="110"/>
                    <a:pt x="56" y="109"/>
                    <a:pt x="56" y="109"/>
                  </a:cubicBezTo>
                  <a:cubicBezTo>
                    <a:pt x="55" y="109"/>
                    <a:pt x="53" y="108"/>
                    <a:pt x="53" y="108"/>
                  </a:cubicBezTo>
                  <a:cubicBezTo>
                    <a:pt x="53" y="108"/>
                    <a:pt x="51" y="106"/>
                    <a:pt x="51" y="106"/>
                  </a:cubicBezTo>
                  <a:cubicBezTo>
                    <a:pt x="51" y="106"/>
                    <a:pt x="50" y="108"/>
                    <a:pt x="52" y="109"/>
                  </a:cubicBezTo>
                  <a:cubicBezTo>
                    <a:pt x="53" y="109"/>
                    <a:pt x="55" y="111"/>
                    <a:pt x="55" y="111"/>
                  </a:cubicBezTo>
                  <a:cubicBezTo>
                    <a:pt x="55" y="111"/>
                    <a:pt x="57" y="112"/>
                    <a:pt x="57" y="112"/>
                  </a:cubicBezTo>
                  <a:cubicBezTo>
                    <a:pt x="57" y="112"/>
                    <a:pt x="57" y="114"/>
                    <a:pt x="57" y="114"/>
                  </a:cubicBezTo>
                  <a:cubicBezTo>
                    <a:pt x="57" y="114"/>
                    <a:pt x="54" y="113"/>
                    <a:pt x="57" y="114"/>
                  </a:cubicBezTo>
                  <a:cubicBezTo>
                    <a:pt x="59" y="115"/>
                    <a:pt x="61" y="115"/>
                    <a:pt x="61" y="115"/>
                  </a:cubicBezTo>
                  <a:cubicBezTo>
                    <a:pt x="61" y="115"/>
                    <a:pt x="59" y="116"/>
                    <a:pt x="58" y="116"/>
                  </a:cubicBezTo>
                  <a:cubicBezTo>
                    <a:pt x="58" y="117"/>
                    <a:pt x="60" y="120"/>
                    <a:pt x="60" y="119"/>
                  </a:cubicBezTo>
                  <a:cubicBezTo>
                    <a:pt x="61" y="119"/>
                    <a:pt x="62" y="120"/>
                    <a:pt x="63" y="120"/>
                  </a:cubicBezTo>
                  <a:cubicBezTo>
                    <a:pt x="63" y="120"/>
                    <a:pt x="65" y="120"/>
                    <a:pt x="65" y="121"/>
                  </a:cubicBezTo>
                  <a:cubicBezTo>
                    <a:pt x="66" y="121"/>
                    <a:pt x="66" y="121"/>
                    <a:pt x="66" y="122"/>
                  </a:cubicBezTo>
                  <a:cubicBezTo>
                    <a:pt x="65" y="122"/>
                    <a:pt x="66" y="124"/>
                    <a:pt x="66" y="124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8" y="125"/>
                    <a:pt x="65" y="125"/>
                    <a:pt x="65" y="124"/>
                  </a:cubicBezTo>
                  <a:cubicBezTo>
                    <a:pt x="64" y="124"/>
                    <a:pt x="64" y="123"/>
                    <a:pt x="63" y="124"/>
                  </a:cubicBezTo>
                  <a:cubicBezTo>
                    <a:pt x="62" y="125"/>
                    <a:pt x="62" y="125"/>
                    <a:pt x="62" y="126"/>
                  </a:cubicBezTo>
                  <a:cubicBezTo>
                    <a:pt x="63" y="127"/>
                    <a:pt x="64" y="128"/>
                    <a:pt x="65" y="127"/>
                  </a:cubicBezTo>
                  <a:cubicBezTo>
                    <a:pt x="65" y="127"/>
                    <a:pt x="65" y="127"/>
                    <a:pt x="66" y="126"/>
                  </a:cubicBezTo>
                  <a:cubicBezTo>
                    <a:pt x="66" y="126"/>
                    <a:pt x="66" y="126"/>
                    <a:pt x="67" y="126"/>
                  </a:cubicBezTo>
                  <a:cubicBezTo>
                    <a:pt x="67" y="126"/>
                    <a:pt x="68" y="126"/>
                    <a:pt x="68" y="126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25"/>
                    <a:pt x="69" y="125"/>
                    <a:pt x="69" y="126"/>
                  </a:cubicBezTo>
                  <a:cubicBezTo>
                    <a:pt x="69" y="126"/>
                    <a:pt x="70" y="126"/>
                    <a:pt x="69" y="127"/>
                  </a:cubicBezTo>
                  <a:cubicBezTo>
                    <a:pt x="69" y="128"/>
                    <a:pt x="68" y="128"/>
                    <a:pt x="68" y="128"/>
                  </a:cubicBezTo>
                  <a:cubicBezTo>
                    <a:pt x="68" y="129"/>
                    <a:pt x="67" y="128"/>
                    <a:pt x="68" y="130"/>
                  </a:cubicBezTo>
                  <a:cubicBezTo>
                    <a:pt x="68" y="131"/>
                    <a:pt x="68" y="132"/>
                    <a:pt x="68" y="132"/>
                  </a:cubicBezTo>
                  <a:cubicBezTo>
                    <a:pt x="68" y="132"/>
                    <a:pt x="69" y="132"/>
                    <a:pt x="69" y="132"/>
                  </a:cubicBezTo>
                  <a:cubicBezTo>
                    <a:pt x="70" y="133"/>
                    <a:pt x="70" y="134"/>
                    <a:pt x="70" y="135"/>
                  </a:cubicBezTo>
                  <a:cubicBezTo>
                    <a:pt x="71" y="135"/>
                    <a:pt x="73" y="138"/>
                    <a:pt x="73" y="138"/>
                  </a:cubicBezTo>
                  <a:cubicBezTo>
                    <a:pt x="73" y="138"/>
                    <a:pt x="76" y="140"/>
                    <a:pt x="76" y="140"/>
                  </a:cubicBezTo>
                  <a:cubicBezTo>
                    <a:pt x="76" y="140"/>
                    <a:pt x="77" y="141"/>
                    <a:pt x="77" y="141"/>
                  </a:cubicBezTo>
                  <a:cubicBezTo>
                    <a:pt x="77" y="141"/>
                    <a:pt x="77" y="142"/>
                    <a:pt x="76" y="141"/>
                  </a:cubicBezTo>
                  <a:cubicBezTo>
                    <a:pt x="75" y="140"/>
                    <a:pt x="73" y="139"/>
                    <a:pt x="73" y="139"/>
                  </a:cubicBezTo>
                  <a:cubicBezTo>
                    <a:pt x="73" y="141"/>
                    <a:pt x="73" y="141"/>
                    <a:pt x="73" y="141"/>
                  </a:cubicBezTo>
                  <a:cubicBezTo>
                    <a:pt x="73" y="141"/>
                    <a:pt x="74" y="142"/>
                    <a:pt x="75" y="142"/>
                  </a:cubicBezTo>
                  <a:cubicBezTo>
                    <a:pt x="75" y="143"/>
                    <a:pt x="75" y="143"/>
                    <a:pt x="76" y="144"/>
                  </a:cubicBezTo>
                  <a:cubicBezTo>
                    <a:pt x="77" y="144"/>
                    <a:pt x="78" y="144"/>
                    <a:pt x="79" y="144"/>
                  </a:cubicBezTo>
                  <a:cubicBezTo>
                    <a:pt x="79" y="145"/>
                    <a:pt x="79" y="143"/>
                    <a:pt x="79" y="143"/>
                  </a:cubicBezTo>
                  <a:cubicBezTo>
                    <a:pt x="79" y="143"/>
                    <a:pt x="80" y="143"/>
                    <a:pt x="80" y="143"/>
                  </a:cubicBezTo>
                  <a:cubicBezTo>
                    <a:pt x="80" y="144"/>
                    <a:pt x="81" y="145"/>
                    <a:pt x="80" y="146"/>
                  </a:cubicBezTo>
                  <a:cubicBezTo>
                    <a:pt x="80" y="146"/>
                    <a:pt x="80" y="147"/>
                    <a:pt x="79" y="146"/>
                  </a:cubicBezTo>
                  <a:cubicBezTo>
                    <a:pt x="78" y="146"/>
                    <a:pt x="77" y="145"/>
                    <a:pt x="76" y="145"/>
                  </a:cubicBezTo>
                  <a:cubicBezTo>
                    <a:pt x="76" y="145"/>
                    <a:pt x="75" y="144"/>
                    <a:pt x="74" y="145"/>
                  </a:cubicBezTo>
                  <a:cubicBezTo>
                    <a:pt x="74" y="145"/>
                    <a:pt x="72" y="144"/>
                    <a:pt x="72" y="145"/>
                  </a:cubicBezTo>
                  <a:cubicBezTo>
                    <a:pt x="72" y="146"/>
                    <a:pt x="72" y="147"/>
                    <a:pt x="72" y="147"/>
                  </a:cubicBezTo>
                  <a:cubicBezTo>
                    <a:pt x="72" y="147"/>
                    <a:pt x="71" y="143"/>
                    <a:pt x="70" y="143"/>
                  </a:cubicBezTo>
                  <a:cubicBezTo>
                    <a:pt x="69" y="143"/>
                    <a:pt x="67" y="142"/>
                    <a:pt x="67" y="142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40"/>
                    <a:pt x="67" y="140"/>
                    <a:pt x="67" y="140"/>
                  </a:cubicBezTo>
                  <a:cubicBezTo>
                    <a:pt x="68" y="141"/>
                    <a:pt x="67" y="141"/>
                    <a:pt x="68" y="141"/>
                  </a:cubicBezTo>
                  <a:cubicBezTo>
                    <a:pt x="69" y="141"/>
                    <a:pt x="67" y="139"/>
                    <a:pt x="69" y="139"/>
                  </a:cubicBezTo>
                  <a:cubicBezTo>
                    <a:pt x="71" y="139"/>
                    <a:pt x="71" y="139"/>
                    <a:pt x="71" y="139"/>
                  </a:cubicBezTo>
                  <a:cubicBezTo>
                    <a:pt x="71" y="138"/>
                    <a:pt x="73" y="138"/>
                    <a:pt x="71" y="137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8" y="136"/>
                    <a:pt x="68" y="136"/>
                    <a:pt x="68" y="135"/>
                  </a:cubicBezTo>
                  <a:cubicBezTo>
                    <a:pt x="67" y="134"/>
                    <a:pt x="67" y="133"/>
                    <a:pt x="66" y="133"/>
                  </a:cubicBezTo>
                  <a:cubicBezTo>
                    <a:pt x="66" y="133"/>
                    <a:pt x="63" y="133"/>
                    <a:pt x="63" y="133"/>
                  </a:cubicBezTo>
                  <a:cubicBezTo>
                    <a:pt x="63" y="133"/>
                    <a:pt x="62" y="132"/>
                    <a:pt x="61" y="132"/>
                  </a:cubicBezTo>
                  <a:cubicBezTo>
                    <a:pt x="60" y="132"/>
                    <a:pt x="58" y="130"/>
                    <a:pt x="58" y="130"/>
                  </a:cubicBezTo>
                  <a:cubicBezTo>
                    <a:pt x="57" y="129"/>
                    <a:pt x="54" y="128"/>
                    <a:pt x="54" y="128"/>
                  </a:cubicBezTo>
                  <a:cubicBezTo>
                    <a:pt x="54" y="128"/>
                    <a:pt x="53" y="127"/>
                    <a:pt x="52" y="127"/>
                  </a:cubicBezTo>
                  <a:cubicBezTo>
                    <a:pt x="51" y="127"/>
                    <a:pt x="51" y="127"/>
                    <a:pt x="50" y="127"/>
                  </a:cubicBezTo>
                  <a:cubicBezTo>
                    <a:pt x="49" y="126"/>
                    <a:pt x="48" y="125"/>
                    <a:pt x="48" y="125"/>
                  </a:cubicBezTo>
                  <a:cubicBezTo>
                    <a:pt x="47" y="124"/>
                    <a:pt x="46" y="124"/>
                    <a:pt x="46" y="124"/>
                  </a:cubicBezTo>
                  <a:cubicBezTo>
                    <a:pt x="47" y="125"/>
                    <a:pt x="46" y="125"/>
                    <a:pt x="48" y="126"/>
                  </a:cubicBezTo>
                  <a:cubicBezTo>
                    <a:pt x="49" y="127"/>
                    <a:pt x="50" y="127"/>
                    <a:pt x="50" y="127"/>
                  </a:cubicBezTo>
                  <a:cubicBezTo>
                    <a:pt x="50" y="127"/>
                    <a:pt x="51" y="128"/>
                    <a:pt x="51" y="128"/>
                  </a:cubicBezTo>
                  <a:cubicBezTo>
                    <a:pt x="51" y="129"/>
                    <a:pt x="52" y="128"/>
                    <a:pt x="53" y="128"/>
                  </a:cubicBezTo>
                  <a:cubicBezTo>
                    <a:pt x="53" y="129"/>
                    <a:pt x="54" y="129"/>
                    <a:pt x="54" y="130"/>
                  </a:cubicBezTo>
                  <a:cubicBezTo>
                    <a:pt x="54" y="130"/>
                    <a:pt x="57" y="130"/>
                    <a:pt x="57" y="131"/>
                  </a:cubicBezTo>
                  <a:cubicBezTo>
                    <a:pt x="57" y="132"/>
                    <a:pt x="58" y="133"/>
                    <a:pt x="57" y="133"/>
                  </a:cubicBezTo>
                  <a:cubicBezTo>
                    <a:pt x="57" y="133"/>
                    <a:pt x="56" y="134"/>
                    <a:pt x="56" y="134"/>
                  </a:cubicBezTo>
                  <a:cubicBezTo>
                    <a:pt x="57" y="134"/>
                    <a:pt x="58" y="135"/>
                    <a:pt x="59" y="135"/>
                  </a:cubicBezTo>
                  <a:cubicBezTo>
                    <a:pt x="60" y="135"/>
                    <a:pt x="59" y="135"/>
                    <a:pt x="61" y="136"/>
                  </a:cubicBezTo>
                  <a:cubicBezTo>
                    <a:pt x="63" y="136"/>
                    <a:pt x="63" y="138"/>
                    <a:pt x="63" y="138"/>
                  </a:cubicBezTo>
                  <a:cubicBezTo>
                    <a:pt x="63" y="139"/>
                    <a:pt x="65" y="140"/>
                    <a:pt x="65" y="140"/>
                  </a:cubicBezTo>
                  <a:cubicBezTo>
                    <a:pt x="65" y="140"/>
                    <a:pt x="64" y="140"/>
                    <a:pt x="65" y="141"/>
                  </a:cubicBezTo>
                  <a:cubicBezTo>
                    <a:pt x="65" y="141"/>
                    <a:pt x="64" y="141"/>
                    <a:pt x="65" y="142"/>
                  </a:cubicBezTo>
                  <a:cubicBezTo>
                    <a:pt x="66" y="142"/>
                    <a:pt x="67" y="142"/>
                    <a:pt x="67" y="142"/>
                  </a:cubicBezTo>
                  <a:cubicBezTo>
                    <a:pt x="67" y="143"/>
                    <a:pt x="67" y="143"/>
                    <a:pt x="67" y="144"/>
                  </a:cubicBezTo>
                  <a:cubicBezTo>
                    <a:pt x="67" y="144"/>
                    <a:pt x="65" y="146"/>
                    <a:pt x="68" y="146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7"/>
                    <a:pt x="71" y="147"/>
                    <a:pt x="71" y="147"/>
                  </a:cubicBezTo>
                  <a:cubicBezTo>
                    <a:pt x="71" y="147"/>
                    <a:pt x="70" y="148"/>
                    <a:pt x="71" y="149"/>
                  </a:cubicBezTo>
                  <a:cubicBezTo>
                    <a:pt x="71" y="150"/>
                    <a:pt x="75" y="150"/>
                    <a:pt x="75" y="150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49"/>
                    <a:pt x="77" y="150"/>
                    <a:pt x="76" y="150"/>
                  </a:cubicBezTo>
                  <a:cubicBezTo>
                    <a:pt x="76" y="151"/>
                    <a:pt x="75" y="151"/>
                    <a:pt x="75" y="151"/>
                  </a:cubicBezTo>
                  <a:cubicBezTo>
                    <a:pt x="75" y="151"/>
                    <a:pt x="75" y="153"/>
                    <a:pt x="76" y="153"/>
                  </a:cubicBezTo>
                  <a:cubicBezTo>
                    <a:pt x="77" y="153"/>
                    <a:pt x="78" y="154"/>
                    <a:pt x="78" y="154"/>
                  </a:cubicBezTo>
                  <a:cubicBezTo>
                    <a:pt x="78" y="154"/>
                    <a:pt x="79" y="154"/>
                    <a:pt x="79" y="155"/>
                  </a:cubicBezTo>
                  <a:cubicBezTo>
                    <a:pt x="80" y="155"/>
                    <a:pt x="80" y="156"/>
                    <a:pt x="80" y="156"/>
                  </a:cubicBezTo>
                  <a:cubicBezTo>
                    <a:pt x="81" y="156"/>
                    <a:pt x="82" y="156"/>
                    <a:pt x="82" y="157"/>
                  </a:cubicBezTo>
                  <a:cubicBezTo>
                    <a:pt x="83" y="157"/>
                    <a:pt x="84" y="158"/>
                    <a:pt x="84" y="157"/>
                  </a:cubicBezTo>
                  <a:cubicBezTo>
                    <a:pt x="84" y="156"/>
                    <a:pt x="85" y="156"/>
                    <a:pt x="84" y="155"/>
                  </a:cubicBezTo>
                  <a:cubicBezTo>
                    <a:pt x="83" y="154"/>
                    <a:pt x="82" y="154"/>
                    <a:pt x="81" y="154"/>
                  </a:cubicBezTo>
                  <a:cubicBezTo>
                    <a:pt x="81" y="154"/>
                    <a:pt x="80" y="154"/>
                    <a:pt x="80" y="153"/>
                  </a:cubicBezTo>
                  <a:cubicBezTo>
                    <a:pt x="79" y="153"/>
                    <a:pt x="79" y="153"/>
                    <a:pt x="79" y="152"/>
                  </a:cubicBezTo>
                  <a:cubicBezTo>
                    <a:pt x="79" y="151"/>
                    <a:pt x="78" y="150"/>
                    <a:pt x="78" y="150"/>
                  </a:cubicBezTo>
                  <a:cubicBezTo>
                    <a:pt x="78" y="150"/>
                    <a:pt x="78" y="148"/>
                    <a:pt x="78" y="148"/>
                  </a:cubicBezTo>
                  <a:cubicBezTo>
                    <a:pt x="77" y="148"/>
                    <a:pt x="77" y="148"/>
                    <a:pt x="76" y="148"/>
                  </a:cubicBezTo>
                  <a:cubicBezTo>
                    <a:pt x="76" y="148"/>
                    <a:pt x="75" y="147"/>
                    <a:pt x="75" y="147"/>
                  </a:cubicBezTo>
                  <a:cubicBezTo>
                    <a:pt x="74" y="147"/>
                    <a:pt x="73" y="147"/>
                    <a:pt x="73" y="147"/>
                  </a:cubicBezTo>
                  <a:cubicBezTo>
                    <a:pt x="73" y="146"/>
                    <a:pt x="74" y="146"/>
                    <a:pt x="74" y="146"/>
                  </a:cubicBezTo>
                  <a:cubicBezTo>
                    <a:pt x="74" y="146"/>
                    <a:pt x="75" y="146"/>
                    <a:pt x="76" y="146"/>
                  </a:cubicBezTo>
                  <a:cubicBezTo>
                    <a:pt x="77" y="147"/>
                    <a:pt x="77" y="146"/>
                    <a:pt x="78" y="147"/>
                  </a:cubicBezTo>
                  <a:cubicBezTo>
                    <a:pt x="79" y="147"/>
                    <a:pt x="78" y="148"/>
                    <a:pt x="79" y="148"/>
                  </a:cubicBezTo>
                  <a:cubicBezTo>
                    <a:pt x="81" y="148"/>
                    <a:pt x="81" y="147"/>
                    <a:pt x="81" y="147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3" y="146"/>
                    <a:pt x="84" y="147"/>
                  </a:cubicBezTo>
                  <a:cubicBezTo>
                    <a:pt x="85" y="147"/>
                    <a:pt x="83" y="148"/>
                    <a:pt x="85" y="148"/>
                  </a:cubicBezTo>
                  <a:cubicBezTo>
                    <a:pt x="87" y="148"/>
                    <a:pt x="88" y="148"/>
                    <a:pt x="88" y="148"/>
                  </a:cubicBezTo>
                  <a:cubicBezTo>
                    <a:pt x="88" y="149"/>
                    <a:pt x="88" y="150"/>
                    <a:pt x="88" y="150"/>
                  </a:cubicBezTo>
                  <a:cubicBezTo>
                    <a:pt x="88" y="150"/>
                    <a:pt x="88" y="151"/>
                    <a:pt x="88" y="151"/>
                  </a:cubicBezTo>
                  <a:cubicBezTo>
                    <a:pt x="89" y="151"/>
                    <a:pt x="91" y="151"/>
                    <a:pt x="91" y="151"/>
                  </a:cubicBezTo>
                  <a:cubicBezTo>
                    <a:pt x="91" y="151"/>
                    <a:pt x="92" y="151"/>
                    <a:pt x="92" y="152"/>
                  </a:cubicBezTo>
                  <a:cubicBezTo>
                    <a:pt x="93" y="153"/>
                    <a:pt x="90" y="154"/>
                    <a:pt x="90" y="154"/>
                  </a:cubicBezTo>
                  <a:cubicBezTo>
                    <a:pt x="90" y="154"/>
                    <a:pt x="89" y="153"/>
                    <a:pt x="89" y="154"/>
                  </a:cubicBezTo>
                  <a:cubicBezTo>
                    <a:pt x="89" y="155"/>
                    <a:pt x="88" y="155"/>
                    <a:pt x="89" y="156"/>
                  </a:cubicBezTo>
                  <a:cubicBezTo>
                    <a:pt x="90" y="156"/>
                    <a:pt x="89" y="156"/>
                    <a:pt x="89" y="156"/>
                  </a:cubicBezTo>
                  <a:cubicBezTo>
                    <a:pt x="88" y="156"/>
                    <a:pt x="87" y="155"/>
                    <a:pt x="88" y="157"/>
                  </a:cubicBezTo>
                  <a:cubicBezTo>
                    <a:pt x="88" y="158"/>
                    <a:pt x="89" y="159"/>
                    <a:pt x="89" y="159"/>
                  </a:cubicBezTo>
                  <a:cubicBezTo>
                    <a:pt x="90" y="159"/>
                    <a:pt x="92" y="159"/>
                    <a:pt x="92" y="159"/>
                  </a:cubicBezTo>
                  <a:cubicBezTo>
                    <a:pt x="93" y="159"/>
                    <a:pt x="94" y="159"/>
                    <a:pt x="93" y="159"/>
                  </a:cubicBezTo>
                  <a:cubicBezTo>
                    <a:pt x="92" y="158"/>
                    <a:pt x="91" y="158"/>
                    <a:pt x="91" y="158"/>
                  </a:cubicBezTo>
                  <a:cubicBezTo>
                    <a:pt x="91" y="158"/>
                    <a:pt x="91" y="158"/>
                    <a:pt x="91" y="157"/>
                  </a:cubicBezTo>
                  <a:cubicBezTo>
                    <a:pt x="91" y="157"/>
                    <a:pt x="92" y="157"/>
                    <a:pt x="92" y="157"/>
                  </a:cubicBezTo>
                  <a:cubicBezTo>
                    <a:pt x="92" y="156"/>
                    <a:pt x="93" y="155"/>
                    <a:pt x="93" y="155"/>
                  </a:cubicBezTo>
                  <a:cubicBezTo>
                    <a:pt x="93" y="155"/>
                    <a:pt x="94" y="153"/>
                    <a:pt x="95" y="154"/>
                  </a:cubicBezTo>
                  <a:cubicBezTo>
                    <a:pt x="95" y="155"/>
                    <a:pt x="95" y="155"/>
                    <a:pt x="96" y="155"/>
                  </a:cubicBezTo>
                  <a:cubicBezTo>
                    <a:pt x="96" y="155"/>
                    <a:pt x="99" y="152"/>
                    <a:pt x="99" y="152"/>
                  </a:cubicBezTo>
                  <a:cubicBezTo>
                    <a:pt x="99" y="152"/>
                    <a:pt x="100" y="152"/>
                    <a:pt x="99" y="153"/>
                  </a:cubicBezTo>
                  <a:cubicBezTo>
                    <a:pt x="99" y="154"/>
                    <a:pt x="98" y="155"/>
                    <a:pt x="99" y="156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100" y="158"/>
                    <a:pt x="99" y="158"/>
                    <a:pt x="100" y="159"/>
                  </a:cubicBezTo>
                  <a:cubicBezTo>
                    <a:pt x="100" y="160"/>
                    <a:pt x="100" y="159"/>
                    <a:pt x="100" y="160"/>
                  </a:cubicBezTo>
                  <a:cubicBezTo>
                    <a:pt x="101" y="161"/>
                    <a:pt x="102" y="163"/>
                    <a:pt x="102" y="163"/>
                  </a:cubicBezTo>
                  <a:cubicBezTo>
                    <a:pt x="102" y="163"/>
                    <a:pt x="101" y="164"/>
                    <a:pt x="102" y="164"/>
                  </a:cubicBezTo>
                  <a:cubicBezTo>
                    <a:pt x="103" y="165"/>
                    <a:pt x="105" y="165"/>
                    <a:pt x="105" y="165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5" y="165"/>
                    <a:pt x="106" y="166"/>
                    <a:pt x="107" y="165"/>
                  </a:cubicBezTo>
                  <a:cubicBezTo>
                    <a:pt x="107" y="164"/>
                    <a:pt x="108" y="164"/>
                    <a:pt x="108" y="164"/>
                  </a:cubicBezTo>
                  <a:cubicBezTo>
                    <a:pt x="109" y="164"/>
                    <a:pt x="108" y="164"/>
                    <a:pt x="110" y="164"/>
                  </a:cubicBezTo>
                  <a:cubicBezTo>
                    <a:pt x="112" y="164"/>
                    <a:pt x="112" y="165"/>
                    <a:pt x="113" y="164"/>
                  </a:cubicBezTo>
                  <a:cubicBezTo>
                    <a:pt x="114" y="163"/>
                    <a:pt x="113" y="163"/>
                    <a:pt x="115" y="163"/>
                  </a:cubicBezTo>
                  <a:cubicBezTo>
                    <a:pt x="117" y="163"/>
                    <a:pt x="119" y="162"/>
                    <a:pt x="119" y="162"/>
                  </a:cubicBezTo>
                  <a:cubicBezTo>
                    <a:pt x="119" y="162"/>
                    <a:pt x="122" y="162"/>
                    <a:pt x="122" y="162"/>
                  </a:cubicBezTo>
                  <a:cubicBezTo>
                    <a:pt x="124" y="163"/>
                    <a:pt x="124" y="163"/>
                    <a:pt x="124" y="163"/>
                  </a:cubicBezTo>
                  <a:cubicBezTo>
                    <a:pt x="124" y="163"/>
                    <a:pt x="125" y="164"/>
                    <a:pt x="126" y="164"/>
                  </a:cubicBezTo>
                  <a:cubicBezTo>
                    <a:pt x="126" y="164"/>
                    <a:pt x="127" y="164"/>
                    <a:pt x="128" y="164"/>
                  </a:cubicBezTo>
                  <a:cubicBezTo>
                    <a:pt x="128" y="164"/>
                    <a:pt x="132" y="165"/>
                    <a:pt x="132" y="16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67"/>
                    <a:pt x="138" y="167"/>
                    <a:pt x="138" y="167"/>
                  </a:cubicBezTo>
                  <a:cubicBezTo>
                    <a:pt x="142" y="170"/>
                    <a:pt x="142" y="170"/>
                    <a:pt x="142" y="170"/>
                  </a:cubicBezTo>
                  <a:cubicBezTo>
                    <a:pt x="146" y="174"/>
                    <a:pt x="146" y="174"/>
                    <a:pt x="146" y="174"/>
                  </a:cubicBezTo>
                  <a:cubicBezTo>
                    <a:pt x="151" y="176"/>
                    <a:pt x="151" y="176"/>
                    <a:pt x="151" y="176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56" y="180"/>
                    <a:pt x="159" y="182"/>
                    <a:pt x="159" y="182"/>
                  </a:cubicBezTo>
                  <a:cubicBezTo>
                    <a:pt x="160" y="182"/>
                    <a:pt x="163" y="184"/>
                    <a:pt x="163" y="184"/>
                  </a:cubicBezTo>
                  <a:cubicBezTo>
                    <a:pt x="166" y="186"/>
                    <a:pt x="166" y="186"/>
                    <a:pt x="166" y="186"/>
                  </a:cubicBezTo>
                  <a:cubicBezTo>
                    <a:pt x="166" y="186"/>
                    <a:pt x="167" y="188"/>
                    <a:pt x="167" y="188"/>
                  </a:cubicBezTo>
                  <a:cubicBezTo>
                    <a:pt x="167" y="189"/>
                    <a:pt x="166" y="188"/>
                    <a:pt x="165" y="188"/>
                  </a:cubicBezTo>
                  <a:cubicBezTo>
                    <a:pt x="164" y="189"/>
                    <a:pt x="160" y="187"/>
                    <a:pt x="160" y="187"/>
                  </a:cubicBezTo>
                  <a:cubicBezTo>
                    <a:pt x="158" y="185"/>
                    <a:pt x="158" y="185"/>
                    <a:pt x="158" y="185"/>
                  </a:cubicBezTo>
                  <a:cubicBezTo>
                    <a:pt x="155" y="185"/>
                    <a:pt x="155" y="185"/>
                    <a:pt x="155" y="185"/>
                  </a:cubicBezTo>
                  <a:cubicBezTo>
                    <a:pt x="153" y="184"/>
                    <a:pt x="153" y="184"/>
                    <a:pt x="153" y="184"/>
                  </a:cubicBezTo>
                  <a:cubicBezTo>
                    <a:pt x="149" y="185"/>
                    <a:pt x="149" y="185"/>
                    <a:pt x="149" y="18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46" y="184"/>
                    <a:pt x="145" y="184"/>
                    <a:pt x="146" y="185"/>
                  </a:cubicBezTo>
                  <a:cubicBezTo>
                    <a:pt x="146" y="185"/>
                    <a:pt x="146" y="186"/>
                    <a:pt x="146" y="186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1"/>
                    <a:pt x="128" y="191"/>
                    <a:pt x="132" y="192"/>
                  </a:cubicBezTo>
                  <a:cubicBezTo>
                    <a:pt x="136" y="192"/>
                    <a:pt x="138" y="192"/>
                    <a:pt x="138" y="191"/>
                  </a:cubicBezTo>
                  <a:cubicBezTo>
                    <a:pt x="139" y="191"/>
                    <a:pt x="139" y="190"/>
                    <a:pt x="140" y="190"/>
                  </a:cubicBezTo>
                  <a:cubicBezTo>
                    <a:pt x="141" y="190"/>
                    <a:pt x="143" y="190"/>
                    <a:pt x="144" y="190"/>
                  </a:cubicBezTo>
                  <a:cubicBezTo>
                    <a:pt x="144" y="190"/>
                    <a:pt x="145" y="190"/>
                    <a:pt x="147" y="189"/>
                  </a:cubicBezTo>
                  <a:cubicBezTo>
                    <a:pt x="148" y="189"/>
                    <a:pt x="148" y="188"/>
                    <a:pt x="150" y="189"/>
                  </a:cubicBezTo>
                  <a:cubicBezTo>
                    <a:pt x="152" y="190"/>
                    <a:pt x="151" y="187"/>
                    <a:pt x="151" y="187"/>
                  </a:cubicBezTo>
                  <a:cubicBezTo>
                    <a:pt x="151" y="187"/>
                    <a:pt x="151" y="186"/>
                    <a:pt x="152" y="186"/>
                  </a:cubicBezTo>
                  <a:cubicBezTo>
                    <a:pt x="154" y="187"/>
                    <a:pt x="154" y="187"/>
                    <a:pt x="154" y="187"/>
                  </a:cubicBezTo>
                  <a:cubicBezTo>
                    <a:pt x="155" y="187"/>
                    <a:pt x="157" y="188"/>
                    <a:pt x="157" y="188"/>
                  </a:cubicBezTo>
                  <a:cubicBezTo>
                    <a:pt x="158" y="188"/>
                    <a:pt x="162" y="189"/>
                    <a:pt x="162" y="189"/>
                  </a:cubicBezTo>
                  <a:cubicBezTo>
                    <a:pt x="162" y="189"/>
                    <a:pt x="163" y="192"/>
                    <a:pt x="163" y="192"/>
                  </a:cubicBezTo>
                  <a:cubicBezTo>
                    <a:pt x="164" y="192"/>
                    <a:pt x="167" y="192"/>
                    <a:pt x="168" y="192"/>
                  </a:cubicBezTo>
                  <a:cubicBezTo>
                    <a:pt x="169" y="192"/>
                    <a:pt x="171" y="192"/>
                    <a:pt x="172" y="193"/>
                  </a:cubicBezTo>
                  <a:cubicBezTo>
                    <a:pt x="173" y="194"/>
                    <a:pt x="174" y="194"/>
                    <a:pt x="174" y="194"/>
                  </a:cubicBezTo>
                  <a:cubicBezTo>
                    <a:pt x="174" y="194"/>
                    <a:pt x="175" y="195"/>
                    <a:pt x="176" y="196"/>
                  </a:cubicBezTo>
                  <a:cubicBezTo>
                    <a:pt x="176" y="196"/>
                    <a:pt x="179" y="198"/>
                    <a:pt x="179" y="198"/>
                  </a:cubicBezTo>
                  <a:cubicBezTo>
                    <a:pt x="179" y="198"/>
                    <a:pt x="184" y="200"/>
                    <a:pt x="184" y="200"/>
                  </a:cubicBezTo>
                  <a:cubicBezTo>
                    <a:pt x="185" y="199"/>
                    <a:pt x="185" y="199"/>
                    <a:pt x="185" y="199"/>
                  </a:cubicBezTo>
                  <a:cubicBezTo>
                    <a:pt x="185" y="198"/>
                    <a:pt x="185" y="197"/>
                    <a:pt x="185" y="197"/>
                  </a:cubicBezTo>
                  <a:cubicBezTo>
                    <a:pt x="184" y="196"/>
                    <a:pt x="180" y="195"/>
                    <a:pt x="180" y="195"/>
                  </a:cubicBezTo>
                  <a:cubicBezTo>
                    <a:pt x="180" y="195"/>
                    <a:pt x="178" y="194"/>
                    <a:pt x="178" y="194"/>
                  </a:cubicBezTo>
                  <a:cubicBezTo>
                    <a:pt x="177" y="189"/>
                    <a:pt x="178" y="193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3" y="193"/>
                    <a:pt x="173" y="192"/>
                    <a:pt x="173" y="192"/>
                  </a:cubicBezTo>
                  <a:cubicBezTo>
                    <a:pt x="173" y="191"/>
                    <a:pt x="173" y="191"/>
                    <a:pt x="173" y="191"/>
                  </a:cubicBezTo>
                  <a:cubicBezTo>
                    <a:pt x="172" y="190"/>
                    <a:pt x="172" y="190"/>
                    <a:pt x="172" y="190"/>
                  </a:cubicBezTo>
                  <a:cubicBezTo>
                    <a:pt x="172" y="190"/>
                    <a:pt x="171" y="188"/>
                    <a:pt x="172" y="187"/>
                  </a:cubicBezTo>
                  <a:cubicBezTo>
                    <a:pt x="173" y="187"/>
                    <a:pt x="171" y="192"/>
                    <a:pt x="175" y="186"/>
                  </a:cubicBezTo>
                  <a:cubicBezTo>
                    <a:pt x="175" y="186"/>
                    <a:pt x="175" y="185"/>
                    <a:pt x="175" y="185"/>
                  </a:cubicBezTo>
                  <a:cubicBezTo>
                    <a:pt x="174" y="185"/>
                    <a:pt x="174" y="185"/>
                    <a:pt x="174" y="185"/>
                  </a:cubicBezTo>
                  <a:cubicBezTo>
                    <a:pt x="171" y="185"/>
                    <a:pt x="171" y="185"/>
                    <a:pt x="171" y="185"/>
                  </a:cubicBezTo>
                  <a:cubicBezTo>
                    <a:pt x="171" y="185"/>
                    <a:pt x="171" y="186"/>
                    <a:pt x="170" y="187"/>
                  </a:cubicBezTo>
                  <a:cubicBezTo>
                    <a:pt x="169" y="188"/>
                    <a:pt x="169" y="187"/>
                    <a:pt x="169" y="187"/>
                  </a:cubicBezTo>
                  <a:cubicBezTo>
                    <a:pt x="169" y="186"/>
                    <a:pt x="169" y="186"/>
                    <a:pt x="169" y="186"/>
                  </a:cubicBezTo>
                  <a:cubicBezTo>
                    <a:pt x="170" y="185"/>
                    <a:pt x="170" y="185"/>
                    <a:pt x="170" y="185"/>
                  </a:cubicBezTo>
                  <a:cubicBezTo>
                    <a:pt x="170" y="185"/>
                    <a:pt x="170" y="182"/>
                    <a:pt x="170" y="181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67" y="179"/>
                    <a:pt x="167" y="179"/>
                    <a:pt x="167" y="179"/>
                  </a:cubicBezTo>
                  <a:cubicBezTo>
                    <a:pt x="165" y="177"/>
                    <a:pt x="165" y="177"/>
                    <a:pt x="165" y="177"/>
                  </a:cubicBezTo>
                  <a:cubicBezTo>
                    <a:pt x="162" y="175"/>
                    <a:pt x="162" y="175"/>
                    <a:pt x="162" y="175"/>
                  </a:cubicBezTo>
                  <a:cubicBezTo>
                    <a:pt x="158" y="171"/>
                    <a:pt x="158" y="171"/>
                    <a:pt x="158" y="171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4" y="168"/>
                    <a:pt x="154" y="168"/>
                    <a:pt x="154" y="168"/>
                  </a:cubicBezTo>
                  <a:cubicBezTo>
                    <a:pt x="154" y="166"/>
                    <a:pt x="154" y="166"/>
                    <a:pt x="154" y="166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49" y="161"/>
                    <a:pt x="147" y="160"/>
                  </a:cubicBezTo>
                  <a:cubicBezTo>
                    <a:pt x="145" y="159"/>
                    <a:pt x="145" y="159"/>
                    <a:pt x="145" y="159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2" y="155"/>
                    <a:pt x="142" y="155"/>
                    <a:pt x="142" y="155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2" y="148"/>
                    <a:pt x="132" y="148"/>
                    <a:pt x="132" y="148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6" y="144"/>
                    <a:pt x="126" y="144"/>
                    <a:pt x="126" y="144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4" y="130"/>
                    <a:pt x="114" y="130"/>
                    <a:pt x="114" y="130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08" y="119"/>
                    <a:pt x="107" y="119"/>
                    <a:pt x="107" y="118"/>
                  </a:cubicBezTo>
                  <a:cubicBezTo>
                    <a:pt x="106" y="118"/>
                    <a:pt x="104" y="117"/>
                    <a:pt x="105" y="116"/>
                  </a:cubicBezTo>
                  <a:cubicBezTo>
                    <a:pt x="105" y="115"/>
                    <a:pt x="104" y="114"/>
                    <a:pt x="104" y="112"/>
                  </a:cubicBezTo>
                  <a:cubicBezTo>
                    <a:pt x="104" y="111"/>
                    <a:pt x="104" y="110"/>
                    <a:pt x="103" y="110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1" y="109"/>
                    <a:pt x="100" y="109"/>
                    <a:pt x="100" y="109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9" y="109"/>
                    <a:pt x="100" y="107"/>
                    <a:pt x="100" y="105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4"/>
                    <a:pt x="96" y="101"/>
                    <a:pt x="94" y="100"/>
                  </a:cubicBezTo>
                  <a:cubicBezTo>
                    <a:pt x="92" y="100"/>
                    <a:pt x="92" y="100"/>
                    <a:pt x="92" y="100"/>
                  </a:cubicBezTo>
                  <a:cubicBezTo>
                    <a:pt x="91" y="101"/>
                    <a:pt x="91" y="102"/>
                    <a:pt x="91" y="102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7" y="97"/>
                    <a:pt x="88" y="95"/>
                  </a:cubicBezTo>
                  <a:cubicBezTo>
                    <a:pt x="90" y="93"/>
                    <a:pt x="88" y="92"/>
                    <a:pt x="88" y="92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8" y="81"/>
                    <a:pt x="88" y="81"/>
                    <a:pt x="88" y="81"/>
                  </a:cubicBezTo>
                  <a:cubicBezTo>
                    <a:pt x="88" y="81"/>
                    <a:pt x="87" y="77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5"/>
                    <a:pt x="88" y="75"/>
                    <a:pt x="89" y="75"/>
                  </a:cubicBezTo>
                  <a:cubicBezTo>
                    <a:pt x="89" y="74"/>
                    <a:pt x="94" y="73"/>
                    <a:pt x="94" y="73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7" y="83"/>
                    <a:pt x="108" y="82"/>
                    <a:pt x="109" y="82"/>
                  </a:cubicBezTo>
                  <a:cubicBezTo>
                    <a:pt x="109" y="81"/>
                    <a:pt x="109" y="79"/>
                    <a:pt x="109" y="79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4" y="71"/>
                    <a:pt x="125" y="71"/>
                  </a:cubicBezTo>
                  <a:cubicBezTo>
                    <a:pt x="125" y="71"/>
                    <a:pt x="126" y="71"/>
                    <a:pt x="126" y="71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3" y="70"/>
                    <a:pt x="143" y="70"/>
                    <a:pt x="143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3" y="72"/>
                    <a:pt x="163" y="72"/>
                    <a:pt x="163" y="72"/>
                  </a:cubicBezTo>
                  <a:cubicBezTo>
                    <a:pt x="165" y="73"/>
                    <a:pt x="165" y="73"/>
                    <a:pt x="165" y="73"/>
                  </a:cubicBezTo>
                  <a:cubicBezTo>
                    <a:pt x="165" y="73"/>
                    <a:pt x="165" y="73"/>
                    <a:pt x="166" y="72"/>
                  </a:cubicBezTo>
                  <a:cubicBezTo>
                    <a:pt x="166" y="72"/>
                    <a:pt x="169" y="72"/>
                    <a:pt x="169" y="72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71" y="71"/>
                    <a:pt x="171" y="71"/>
                    <a:pt x="171" y="71"/>
                  </a:cubicBezTo>
                  <a:cubicBezTo>
                    <a:pt x="172" y="71"/>
                    <a:pt x="174" y="71"/>
                    <a:pt x="174" y="71"/>
                  </a:cubicBezTo>
                  <a:cubicBezTo>
                    <a:pt x="175" y="68"/>
                    <a:pt x="175" y="68"/>
                    <a:pt x="175" y="68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7" y="69"/>
                    <a:pt x="177" y="69"/>
                    <a:pt x="178" y="69"/>
                  </a:cubicBezTo>
                  <a:cubicBezTo>
                    <a:pt x="179" y="69"/>
                    <a:pt x="180" y="68"/>
                    <a:pt x="180" y="68"/>
                  </a:cubicBezTo>
                  <a:cubicBezTo>
                    <a:pt x="180" y="68"/>
                    <a:pt x="181" y="69"/>
                    <a:pt x="181" y="69"/>
                  </a:cubicBezTo>
                  <a:cubicBezTo>
                    <a:pt x="181" y="69"/>
                    <a:pt x="182" y="68"/>
                    <a:pt x="183" y="68"/>
                  </a:cubicBezTo>
                  <a:cubicBezTo>
                    <a:pt x="185" y="68"/>
                    <a:pt x="186" y="67"/>
                    <a:pt x="186" y="67"/>
                  </a:cubicBezTo>
                  <a:cubicBezTo>
                    <a:pt x="186" y="67"/>
                    <a:pt x="187" y="69"/>
                    <a:pt x="189" y="70"/>
                  </a:cubicBezTo>
                  <a:cubicBezTo>
                    <a:pt x="189" y="70"/>
                    <a:pt x="189" y="70"/>
                    <a:pt x="189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2" y="69"/>
                    <a:pt x="193" y="69"/>
                  </a:cubicBezTo>
                  <a:cubicBezTo>
                    <a:pt x="195" y="69"/>
                    <a:pt x="196" y="69"/>
                    <a:pt x="197" y="69"/>
                  </a:cubicBezTo>
                  <a:cubicBezTo>
                    <a:pt x="199" y="69"/>
                    <a:pt x="200" y="71"/>
                    <a:pt x="200" y="71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203" y="74"/>
                    <a:pt x="204" y="76"/>
                    <a:pt x="204" y="77"/>
                  </a:cubicBezTo>
                  <a:cubicBezTo>
                    <a:pt x="205" y="78"/>
                    <a:pt x="205" y="79"/>
                    <a:pt x="205" y="79"/>
                  </a:cubicBezTo>
                  <a:cubicBezTo>
                    <a:pt x="205" y="79"/>
                    <a:pt x="213" y="82"/>
                    <a:pt x="214" y="82"/>
                  </a:cubicBezTo>
                  <a:cubicBezTo>
                    <a:pt x="214" y="82"/>
                    <a:pt x="215" y="82"/>
                    <a:pt x="215" y="82"/>
                  </a:cubicBezTo>
                  <a:close/>
                  <a:moveTo>
                    <a:pt x="175" y="191"/>
                  </a:moveTo>
                  <a:cubicBezTo>
                    <a:pt x="175" y="191"/>
                    <a:pt x="175" y="191"/>
                    <a:pt x="175" y="191"/>
                  </a:cubicBezTo>
                  <a:cubicBezTo>
                    <a:pt x="176" y="191"/>
                    <a:pt x="176" y="190"/>
                    <a:pt x="176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7"/>
                    <a:pt x="187" y="197"/>
                    <a:pt x="187" y="197"/>
                  </a:cubicBezTo>
                  <a:cubicBezTo>
                    <a:pt x="192" y="200"/>
                    <a:pt x="192" y="200"/>
                    <a:pt x="192" y="200"/>
                  </a:cubicBezTo>
                  <a:cubicBezTo>
                    <a:pt x="198" y="203"/>
                    <a:pt x="198" y="203"/>
                    <a:pt x="198" y="203"/>
                  </a:cubicBezTo>
                  <a:cubicBezTo>
                    <a:pt x="198" y="203"/>
                    <a:pt x="202" y="205"/>
                    <a:pt x="203" y="205"/>
                  </a:cubicBezTo>
                  <a:cubicBezTo>
                    <a:pt x="203" y="205"/>
                    <a:pt x="203" y="206"/>
                    <a:pt x="204" y="206"/>
                  </a:cubicBezTo>
                  <a:cubicBezTo>
                    <a:pt x="204" y="207"/>
                    <a:pt x="206" y="210"/>
                    <a:pt x="206" y="210"/>
                  </a:cubicBezTo>
                  <a:cubicBezTo>
                    <a:pt x="207" y="211"/>
                    <a:pt x="204" y="209"/>
                    <a:pt x="204" y="209"/>
                  </a:cubicBezTo>
                  <a:cubicBezTo>
                    <a:pt x="204" y="209"/>
                    <a:pt x="203" y="207"/>
                    <a:pt x="202" y="206"/>
                  </a:cubicBezTo>
                  <a:cubicBezTo>
                    <a:pt x="200" y="206"/>
                    <a:pt x="198" y="206"/>
                    <a:pt x="197" y="205"/>
                  </a:cubicBezTo>
                  <a:cubicBezTo>
                    <a:pt x="196" y="204"/>
                    <a:pt x="196" y="203"/>
                    <a:pt x="196" y="203"/>
                  </a:cubicBezTo>
                  <a:cubicBezTo>
                    <a:pt x="195" y="203"/>
                    <a:pt x="195" y="201"/>
                    <a:pt x="192" y="201"/>
                  </a:cubicBezTo>
                  <a:cubicBezTo>
                    <a:pt x="189" y="200"/>
                    <a:pt x="189" y="201"/>
                    <a:pt x="188" y="199"/>
                  </a:cubicBezTo>
                  <a:cubicBezTo>
                    <a:pt x="187" y="196"/>
                    <a:pt x="187" y="198"/>
                    <a:pt x="186" y="196"/>
                  </a:cubicBezTo>
                  <a:cubicBezTo>
                    <a:pt x="184" y="195"/>
                    <a:pt x="185" y="196"/>
                    <a:pt x="181" y="195"/>
                  </a:cubicBezTo>
                  <a:cubicBezTo>
                    <a:pt x="178" y="193"/>
                    <a:pt x="180" y="194"/>
                    <a:pt x="180" y="193"/>
                  </a:cubicBezTo>
                  <a:cubicBezTo>
                    <a:pt x="179" y="191"/>
                    <a:pt x="180" y="192"/>
                    <a:pt x="178" y="192"/>
                  </a:cubicBezTo>
                  <a:cubicBezTo>
                    <a:pt x="177" y="191"/>
                    <a:pt x="178" y="191"/>
                    <a:pt x="177" y="191"/>
                  </a:cubicBezTo>
                  <a:cubicBezTo>
                    <a:pt x="177" y="191"/>
                    <a:pt x="176" y="192"/>
                    <a:pt x="175" y="192"/>
                  </a:cubicBezTo>
                  <a:cubicBezTo>
                    <a:pt x="175" y="191"/>
                    <a:pt x="175" y="191"/>
                    <a:pt x="175" y="191"/>
                  </a:cubicBezTo>
                  <a:close/>
                  <a:moveTo>
                    <a:pt x="169" y="198"/>
                  </a:moveTo>
                  <a:cubicBezTo>
                    <a:pt x="169" y="198"/>
                    <a:pt x="169" y="198"/>
                    <a:pt x="169" y="198"/>
                  </a:cubicBezTo>
                  <a:cubicBezTo>
                    <a:pt x="169" y="198"/>
                    <a:pt x="167" y="198"/>
                    <a:pt x="166" y="198"/>
                  </a:cubicBezTo>
                  <a:cubicBezTo>
                    <a:pt x="166" y="198"/>
                    <a:pt x="165" y="197"/>
                    <a:pt x="164" y="197"/>
                  </a:cubicBezTo>
                  <a:cubicBezTo>
                    <a:pt x="163" y="197"/>
                    <a:pt x="161" y="197"/>
                    <a:pt x="161" y="197"/>
                  </a:cubicBezTo>
                  <a:cubicBezTo>
                    <a:pt x="160" y="197"/>
                    <a:pt x="159" y="196"/>
                    <a:pt x="159" y="196"/>
                  </a:cubicBezTo>
                  <a:cubicBezTo>
                    <a:pt x="159" y="196"/>
                    <a:pt x="159" y="195"/>
                    <a:pt x="159" y="195"/>
                  </a:cubicBezTo>
                  <a:cubicBezTo>
                    <a:pt x="159" y="195"/>
                    <a:pt x="161" y="194"/>
                    <a:pt x="161" y="194"/>
                  </a:cubicBezTo>
                  <a:cubicBezTo>
                    <a:pt x="161" y="195"/>
                    <a:pt x="167" y="196"/>
                    <a:pt x="167" y="196"/>
                  </a:cubicBezTo>
                  <a:cubicBezTo>
                    <a:pt x="171" y="196"/>
                    <a:pt x="171" y="196"/>
                    <a:pt x="171" y="196"/>
                  </a:cubicBezTo>
                  <a:cubicBezTo>
                    <a:pt x="171" y="196"/>
                    <a:pt x="172" y="196"/>
                    <a:pt x="172" y="196"/>
                  </a:cubicBezTo>
                  <a:cubicBezTo>
                    <a:pt x="172" y="196"/>
                    <a:pt x="173" y="196"/>
                    <a:pt x="174" y="197"/>
                  </a:cubicBezTo>
                  <a:cubicBezTo>
                    <a:pt x="175" y="197"/>
                    <a:pt x="175" y="197"/>
                    <a:pt x="175" y="198"/>
                  </a:cubicBezTo>
                  <a:cubicBezTo>
                    <a:pt x="175" y="198"/>
                    <a:pt x="176" y="199"/>
                    <a:pt x="175" y="199"/>
                  </a:cubicBezTo>
                  <a:cubicBezTo>
                    <a:pt x="175" y="199"/>
                    <a:pt x="174" y="199"/>
                    <a:pt x="174" y="199"/>
                  </a:cubicBezTo>
                  <a:cubicBezTo>
                    <a:pt x="174" y="199"/>
                    <a:pt x="172" y="198"/>
                    <a:pt x="172" y="198"/>
                  </a:cubicBezTo>
                  <a:cubicBezTo>
                    <a:pt x="170" y="198"/>
                    <a:pt x="170" y="198"/>
                    <a:pt x="170" y="198"/>
                  </a:cubicBezTo>
                  <a:cubicBezTo>
                    <a:pt x="169" y="198"/>
                    <a:pt x="169" y="198"/>
                    <a:pt x="169" y="198"/>
                  </a:cubicBezTo>
                  <a:close/>
                  <a:moveTo>
                    <a:pt x="138" y="199"/>
                  </a:moveTo>
                  <a:cubicBezTo>
                    <a:pt x="138" y="199"/>
                    <a:pt x="138" y="199"/>
                    <a:pt x="138" y="199"/>
                  </a:cubicBezTo>
                  <a:cubicBezTo>
                    <a:pt x="138" y="199"/>
                    <a:pt x="142" y="198"/>
                    <a:pt x="142" y="198"/>
                  </a:cubicBezTo>
                  <a:cubicBezTo>
                    <a:pt x="144" y="199"/>
                    <a:pt x="144" y="199"/>
                    <a:pt x="144" y="199"/>
                  </a:cubicBezTo>
                  <a:cubicBezTo>
                    <a:pt x="144" y="199"/>
                    <a:pt x="144" y="200"/>
                    <a:pt x="143" y="200"/>
                  </a:cubicBezTo>
                  <a:cubicBezTo>
                    <a:pt x="143" y="200"/>
                    <a:pt x="141" y="202"/>
                    <a:pt x="141" y="202"/>
                  </a:cubicBezTo>
                  <a:cubicBezTo>
                    <a:pt x="138" y="200"/>
                    <a:pt x="138" y="200"/>
                    <a:pt x="138" y="200"/>
                  </a:cubicBezTo>
                  <a:cubicBezTo>
                    <a:pt x="138" y="199"/>
                    <a:pt x="138" y="199"/>
                    <a:pt x="138" y="199"/>
                  </a:cubicBezTo>
                  <a:close/>
                  <a:moveTo>
                    <a:pt x="107" y="194"/>
                  </a:moveTo>
                  <a:cubicBezTo>
                    <a:pt x="107" y="194"/>
                    <a:pt x="107" y="194"/>
                    <a:pt x="107" y="194"/>
                  </a:cubicBezTo>
                  <a:cubicBezTo>
                    <a:pt x="108" y="194"/>
                    <a:pt x="109" y="193"/>
                    <a:pt x="109" y="194"/>
                  </a:cubicBezTo>
                  <a:cubicBezTo>
                    <a:pt x="109" y="195"/>
                    <a:pt x="108" y="196"/>
                    <a:pt x="108" y="196"/>
                  </a:cubicBezTo>
                  <a:cubicBezTo>
                    <a:pt x="108" y="196"/>
                    <a:pt x="107" y="196"/>
                    <a:pt x="107" y="196"/>
                  </a:cubicBezTo>
                  <a:cubicBezTo>
                    <a:pt x="107" y="195"/>
                    <a:pt x="107" y="194"/>
                    <a:pt x="107" y="194"/>
                  </a:cubicBezTo>
                  <a:close/>
                  <a:moveTo>
                    <a:pt x="113" y="189"/>
                  </a:moveTo>
                  <a:cubicBezTo>
                    <a:pt x="113" y="189"/>
                    <a:pt x="113" y="189"/>
                    <a:pt x="113" y="189"/>
                  </a:cubicBezTo>
                  <a:cubicBezTo>
                    <a:pt x="113" y="189"/>
                    <a:pt x="115" y="188"/>
                    <a:pt x="115" y="188"/>
                  </a:cubicBezTo>
                  <a:cubicBezTo>
                    <a:pt x="116" y="189"/>
                    <a:pt x="117" y="189"/>
                    <a:pt x="116" y="190"/>
                  </a:cubicBezTo>
                  <a:cubicBezTo>
                    <a:pt x="116" y="190"/>
                    <a:pt x="116" y="190"/>
                    <a:pt x="115" y="191"/>
                  </a:cubicBezTo>
                  <a:cubicBezTo>
                    <a:pt x="114" y="192"/>
                    <a:pt x="112" y="193"/>
                    <a:pt x="112" y="193"/>
                  </a:cubicBezTo>
                  <a:cubicBezTo>
                    <a:pt x="112" y="193"/>
                    <a:pt x="112" y="193"/>
                    <a:pt x="111" y="193"/>
                  </a:cubicBezTo>
                  <a:cubicBezTo>
                    <a:pt x="109" y="192"/>
                    <a:pt x="108" y="191"/>
                    <a:pt x="108" y="191"/>
                  </a:cubicBezTo>
                  <a:cubicBezTo>
                    <a:pt x="108" y="191"/>
                    <a:pt x="107" y="190"/>
                    <a:pt x="109" y="190"/>
                  </a:cubicBezTo>
                  <a:cubicBezTo>
                    <a:pt x="110" y="189"/>
                    <a:pt x="111" y="189"/>
                    <a:pt x="111" y="189"/>
                  </a:cubicBezTo>
                  <a:cubicBezTo>
                    <a:pt x="112" y="189"/>
                    <a:pt x="113" y="189"/>
                    <a:pt x="113" y="189"/>
                  </a:cubicBezTo>
                  <a:close/>
                  <a:moveTo>
                    <a:pt x="124" y="178"/>
                  </a:move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6" y="177"/>
                    <a:pt x="126" y="177"/>
                  </a:cubicBezTo>
                  <a:cubicBezTo>
                    <a:pt x="126" y="177"/>
                    <a:pt x="126" y="177"/>
                    <a:pt x="127" y="177"/>
                  </a:cubicBezTo>
                  <a:cubicBezTo>
                    <a:pt x="127" y="177"/>
                    <a:pt x="127" y="177"/>
                    <a:pt x="128" y="177"/>
                  </a:cubicBezTo>
                  <a:cubicBezTo>
                    <a:pt x="128" y="177"/>
                    <a:pt x="129" y="176"/>
                    <a:pt x="130" y="177"/>
                  </a:cubicBezTo>
                  <a:cubicBezTo>
                    <a:pt x="131" y="177"/>
                    <a:pt x="131" y="178"/>
                    <a:pt x="132" y="178"/>
                  </a:cubicBezTo>
                  <a:cubicBezTo>
                    <a:pt x="132" y="178"/>
                    <a:pt x="133" y="178"/>
                    <a:pt x="133" y="178"/>
                  </a:cubicBezTo>
                  <a:cubicBezTo>
                    <a:pt x="134" y="178"/>
                    <a:pt x="134" y="178"/>
                    <a:pt x="136" y="178"/>
                  </a:cubicBezTo>
                  <a:cubicBezTo>
                    <a:pt x="138" y="178"/>
                    <a:pt x="141" y="178"/>
                    <a:pt x="141" y="178"/>
                  </a:cubicBezTo>
                  <a:cubicBezTo>
                    <a:pt x="141" y="179"/>
                    <a:pt x="142" y="178"/>
                    <a:pt x="143" y="178"/>
                  </a:cubicBezTo>
                  <a:cubicBezTo>
                    <a:pt x="145" y="179"/>
                    <a:pt x="145" y="179"/>
                    <a:pt x="145" y="179"/>
                  </a:cubicBezTo>
                  <a:cubicBezTo>
                    <a:pt x="146" y="179"/>
                    <a:pt x="145" y="180"/>
                    <a:pt x="147" y="179"/>
                  </a:cubicBezTo>
                  <a:cubicBezTo>
                    <a:pt x="148" y="179"/>
                    <a:pt x="148" y="179"/>
                    <a:pt x="148" y="179"/>
                  </a:cubicBezTo>
                  <a:cubicBezTo>
                    <a:pt x="148" y="179"/>
                    <a:pt x="148" y="179"/>
                    <a:pt x="149" y="178"/>
                  </a:cubicBezTo>
                  <a:cubicBezTo>
                    <a:pt x="150" y="178"/>
                    <a:pt x="151" y="177"/>
                    <a:pt x="151" y="177"/>
                  </a:cubicBezTo>
                  <a:cubicBezTo>
                    <a:pt x="152" y="177"/>
                    <a:pt x="152" y="177"/>
                    <a:pt x="152" y="177"/>
                  </a:cubicBezTo>
                  <a:cubicBezTo>
                    <a:pt x="152" y="180"/>
                    <a:pt x="152" y="180"/>
                    <a:pt x="152" y="180"/>
                  </a:cubicBezTo>
                  <a:cubicBezTo>
                    <a:pt x="152" y="180"/>
                    <a:pt x="152" y="180"/>
                    <a:pt x="152" y="181"/>
                  </a:cubicBezTo>
                  <a:cubicBezTo>
                    <a:pt x="152" y="181"/>
                    <a:pt x="151" y="182"/>
                    <a:pt x="150" y="182"/>
                  </a:cubicBezTo>
                  <a:cubicBezTo>
                    <a:pt x="150" y="182"/>
                    <a:pt x="149" y="181"/>
                    <a:pt x="149" y="181"/>
                  </a:cubicBezTo>
                  <a:cubicBezTo>
                    <a:pt x="149" y="180"/>
                    <a:pt x="148" y="180"/>
                    <a:pt x="148" y="180"/>
                  </a:cubicBezTo>
                  <a:cubicBezTo>
                    <a:pt x="147" y="180"/>
                    <a:pt x="146" y="181"/>
                    <a:pt x="145" y="181"/>
                  </a:cubicBezTo>
                  <a:cubicBezTo>
                    <a:pt x="145" y="181"/>
                    <a:pt x="144" y="180"/>
                    <a:pt x="144" y="180"/>
                  </a:cubicBezTo>
                  <a:cubicBezTo>
                    <a:pt x="144" y="180"/>
                    <a:pt x="142" y="180"/>
                    <a:pt x="141" y="180"/>
                  </a:cubicBezTo>
                  <a:cubicBezTo>
                    <a:pt x="141" y="180"/>
                    <a:pt x="140" y="180"/>
                    <a:pt x="139" y="180"/>
                  </a:cubicBezTo>
                  <a:cubicBezTo>
                    <a:pt x="138" y="180"/>
                    <a:pt x="137" y="180"/>
                    <a:pt x="136" y="180"/>
                  </a:cubicBezTo>
                  <a:cubicBezTo>
                    <a:pt x="135" y="181"/>
                    <a:pt x="133" y="180"/>
                    <a:pt x="133" y="181"/>
                  </a:cubicBezTo>
                  <a:cubicBezTo>
                    <a:pt x="133" y="181"/>
                    <a:pt x="133" y="182"/>
                    <a:pt x="133" y="182"/>
                  </a:cubicBezTo>
                  <a:cubicBezTo>
                    <a:pt x="133" y="182"/>
                    <a:pt x="134" y="183"/>
                    <a:pt x="133" y="183"/>
                  </a:cubicBezTo>
                  <a:cubicBezTo>
                    <a:pt x="131" y="183"/>
                    <a:pt x="131" y="183"/>
                    <a:pt x="131" y="182"/>
                  </a:cubicBezTo>
                  <a:cubicBezTo>
                    <a:pt x="130" y="181"/>
                    <a:pt x="132" y="180"/>
                    <a:pt x="129" y="181"/>
                  </a:cubicBezTo>
                  <a:cubicBezTo>
                    <a:pt x="127" y="181"/>
                    <a:pt x="127" y="180"/>
                    <a:pt x="126" y="180"/>
                  </a:cubicBezTo>
                  <a:cubicBezTo>
                    <a:pt x="126" y="181"/>
                    <a:pt x="124" y="179"/>
                    <a:pt x="123" y="180"/>
                  </a:cubicBezTo>
                  <a:cubicBezTo>
                    <a:pt x="123" y="180"/>
                    <a:pt x="122" y="181"/>
                    <a:pt x="122" y="181"/>
                  </a:cubicBezTo>
                  <a:cubicBezTo>
                    <a:pt x="122" y="181"/>
                    <a:pt x="119" y="181"/>
                    <a:pt x="119" y="181"/>
                  </a:cubicBezTo>
                  <a:cubicBezTo>
                    <a:pt x="119" y="181"/>
                    <a:pt x="120" y="178"/>
                    <a:pt x="120" y="178"/>
                  </a:cubicBezTo>
                  <a:cubicBezTo>
                    <a:pt x="120" y="178"/>
                    <a:pt x="120" y="178"/>
                    <a:pt x="121" y="178"/>
                  </a:cubicBezTo>
                  <a:cubicBezTo>
                    <a:pt x="122" y="178"/>
                    <a:pt x="123" y="178"/>
                    <a:pt x="123" y="178"/>
                  </a:cubicBezTo>
                  <a:cubicBezTo>
                    <a:pt x="124" y="178"/>
                    <a:pt x="124" y="178"/>
                    <a:pt x="124" y="178"/>
                  </a:cubicBezTo>
                  <a:close/>
                  <a:moveTo>
                    <a:pt x="120" y="172"/>
                  </a:moveTo>
                  <a:cubicBezTo>
                    <a:pt x="120" y="172"/>
                    <a:pt x="120" y="172"/>
                    <a:pt x="120" y="172"/>
                  </a:cubicBezTo>
                  <a:cubicBezTo>
                    <a:pt x="120" y="172"/>
                    <a:pt x="116" y="170"/>
                    <a:pt x="116" y="170"/>
                  </a:cubicBezTo>
                  <a:cubicBezTo>
                    <a:pt x="115" y="170"/>
                    <a:pt x="114" y="170"/>
                    <a:pt x="113" y="170"/>
                  </a:cubicBezTo>
                  <a:cubicBezTo>
                    <a:pt x="113" y="170"/>
                    <a:pt x="111" y="169"/>
                    <a:pt x="112" y="168"/>
                  </a:cubicBezTo>
                  <a:cubicBezTo>
                    <a:pt x="112" y="168"/>
                    <a:pt x="113" y="167"/>
                    <a:pt x="114" y="168"/>
                  </a:cubicBezTo>
                  <a:cubicBezTo>
                    <a:pt x="115" y="169"/>
                    <a:pt x="116" y="169"/>
                    <a:pt x="116" y="170"/>
                  </a:cubicBezTo>
                  <a:cubicBezTo>
                    <a:pt x="117" y="170"/>
                    <a:pt x="119" y="171"/>
                    <a:pt x="119" y="171"/>
                  </a:cubicBezTo>
                  <a:cubicBezTo>
                    <a:pt x="120" y="171"/>
                    <a:pt x="120" y="172"/>
                    <a:pt x="120" y="171"/>
                  </a:cubicBezTo>
                  <a:cubicBezTo>
                    <a:pt x="121" y="171"/>
                    <a:pt x="121" y="169"/>
                    <a:pt x="121" y="169"/>
                  </a:cubicBezTo>
                  <a:cubicBezTo>
                    <a:pt x="121" y="168"/>
                    <a:pt x="120" y="168"/>
                    <a:pt x="120" y="168"/>
                  </a:cubicBezTo>
                  <a:cubicBezTo>
                    <a:pt x="121" y="168"/>
                    <a:pt x="123" y="167"/>
                    <a:pt x="123" y="167"/>
                  </a:cubicBezTo>
                  <a:cubicBezTo>
                    <a:pt x="124" y="168"/>
                    <a:pt x="125" y="168"/>
                    <a:pt x="126" y="168"/>
                  </a:cubicBezTo>
                  <a:cubicBezTo>
                    <a:pt x="126" y="168"/>
                    <a:pt x="125" y="168"/>
                    <a:pt x="129" y="168"/>
                  </a:cubicBezTo>
                  <a:cubicBezTo>
                    <a:pt x="132" y="168"/>
                    <a:pt x="131" y="168"/>
                    <a:pt x="133" y="168"/>
                  </a:cubicBezTo>
                  <a:cubicBezTo>
                    <a:pt x="134" y="168"/>
                    <a:pt x="136" y="168"/>
                    <a:pt x="136" y="168"/>
                  </a:cubicBezTo>
                  <a:cubicBezTo>
                    <a:pt x="136" y="169"/>
                    <a:pt x="138" y="170"/>
                    <a:pt x="138" y="170"/>
                  </a:cubicBezTo>
                  <a:cubicBezTo>
                    <a:pt x="138" y="171"/>
                    <a:pt x="139" y="171"/>
                    <a:pt x="138" y="172"/>
                  </a:cubicBezTo>
                  <a:cubicBezTo>
                    <a:pt x="136" y="173"/>
                    <a:pt x="136" y="173"/>
                    <a:pt x="134" y="173"/>
                  </a:cubicBezTo>
                  <a:cubicBezTo>
                    <a:pt x="133" y="173"/>
                    <a:pt x="134" y="173"/>
                    <a:pt x="132" y="174"/>
                  </a:cubicBezTo>
                  <a:cubicBezTo>
                    <a:pt x="129" y="174"/>
                    <a:pt x="127" y="174"/>
                    <a:pt x="127" y="174"/>
                  </a:cubicBezTo>
                  <a:cubicBezTo>
                    <a:pt x="127" y="174"/>
                    <a:pt x="128" y="174"/>
                    <a:pt x="125" y="174"/>
                  </a:cubicBezTo>
                  <a:cubicBezTo>
                    <a:pt x="123" y="173"/>
                    <a:pt x="122" y="174"/>
                    <a:pt x="121" y="173"/>
                  </a:cubicBezTo>
                  <a:cubicBezTo>
                    <a:pt x="121" y="173"/>
                    <a:pt x="120" y="172"/>
                    <a:pt x="120" y="172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3"/>
                    <a:pt x="50" y="93"/>
                  </a:cubicBez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1" y="93"/>
                    <a:pt x="51" y="93"/>
                  </a:cubicBezTo>
                  <a:cubicBezTo>
                    <a:pt x="51" y="94"/>
                    <a:pt x="51" y="94"/>
                    <a:pt x="52" y="94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53" y="95"/>
                    <a:pt x="53" y="97"/>
                    <a:pt x="52" y="96"/>
                  </a:cubicBezTo>
                  <a:cubicBezTo>
                    <a:pt x="51" y="96"/>
                    <a:pt x="50" y="96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lose/>
                  <a:moveTo>
                    <a:pt x="51" y="103"/>
                  </a:move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0" y="103"/>
                    <a:pt x="50" y="103"/>
                  </a:cubicBezTo>
                  <a:cubicBezTo>
                    <a:pt x="50" y="103"/>
                    <a:pt x="48" y="102"/>
                    <a:pt x="47" y="102"/>
                  </a:cubicBezTo>
                  <a:cubicBezTo>
                    <a:pt x="47" y="101"/>
                    <a:pt x="47" y="101"/>
                    <a:pt x="48" y="101"/>
                  </a:cubicBezTo>
                  <a:cubicBezTo>
                    <a:pt x="48" y="100"/>
                    <a:pt x="48" y="99"/>
                    <a:pt x="48" y="99"/>
                  </a:cubicBezTo>
                  <a:cubicBezTo>
                    <a:pt x="48" y="99"/>
                    <a:pt x="49" y="98"/>
                    <a:pt x="49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3" y="98"/>
                    <a:pt x="53" y="99"/>
                  </a:cubicBezTo>
                  <a:cubicBezTo>
                    <a:pt x="53" y="99"/>
                    <a:pt x="50" y="99"/>
                    <a:pt x="50" y="99"/>
                  </a:cubicBezTo>
                  <a:cubicBezTo>
                    <a:pt x="50" y="99"/>
                    <a:pt x="50" y="99"/>
                    <a:pt x="51" y="101"/>
                  </a:cubicBezTo>
                  <a:cubicBezTo>
                    <a:pt x="52" y="102"/>
                    <a:pt x="52" y="101"/>
                    <a:pt x="52" y="101"/>
                  </a:cubicBezTo>
                  <a:cubicBezTo>
                    <a:pt x="52" y="102"/>
                    <a:pt x="52" y="102"/>
                    <a:pt x="54" y="102"/>
                  </a:cubicBezTo>
                  <a:cubicBezTo>
                    <a:pt x="55" y="103"/>
                    <a:pt x="54" y="103"/>
                    <a:pt x="55" y="104"/>
                  </a:cubicBezTo>
                  <a:cubicBezTo>
                    <a:pt x="55" y="104"/>
                    <a:pt x="54" y="105"/>
                    <a:pt x="54" y="105"/>
                  </a:cubicBezTo>
                  <a:cubicBezTo>
                    <a:pt x="53" y="106"/>
                    <a:pt x="53" y="105"/>
                    <a:pt x="53" y="105"/>
                  </a:cubicBezTo>
                  <a:cubicBezTo>
                    <a:pt x="53" y="105"/>
                    <a:pt x="52" y="103"/>
                    <a:pt x="51" y="103"/>
                  </a:cubicBezTo>
                  <a:close/>
                  <a:moveTo>
                    <a:pt x="55" y="117"/>
                  </a:moveTo>
                  <a:cubicBezTo>
                    <a:pt x="55" y="117"/>
                    <a:pt x="55" y="117"/>
                    <a:pt x="55" y="117"/>
                  </a:cubicBezTo>
                  <a:cubicBezTo>
                    <a:pt x="55" y="117"/>
                    <a:pt x="56" y="116"/>
                    <a:pt x="56" y="117"/>
                  </a:cubicBezTo>
                  <a:cubicBezTo>
                    <a:pt x="57" y="117"/>
                    <a:pt x="57" y="118"/>
                    <a:pt x="57" y="118"/>
                  </a:cubicBezTo>
                  <a:cubicBezTo>
                    <a:pt x="58" y="119"/>
                    <a:pt x="59" y="119"/>
                    <a:pt x="60" y="119"/>
                  </a:cubicBezTo>
                  <a:cubicBezTo>
                    <a:pt x="60" y="120"/>
                    <a:pt x="60" y="121"/>
                    <a:pt x="60" y="121"/>
                  </a:cubicBezTo>
                  <a:cubicBezTo>
                    <a:pt x="60" y="121"/>
                    <a:pt x="59" y="122"/>
                    <a:pt x="59" y="121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20"/>
                    <a:pt x="57" y="119"/>
                    <a:pt x="57" y="119"/>
                  </a:cubicBezTo>
                  <a:cubicBezTo>
                    <a:pt x="57" y="119"/>
                    <a:pt x="55" y="117"/>
                    <a:pt x="55" y="117"/>
                  </a:cubicBezTo>
                  <a:close/>
                  <a:moveTo>
                    <a:pt x="53" y="121"/>
                  </a:moveTo>
                  <a:cubicBezTo>
                    <a:pt x="53" y="121"/>
                    <a:pt x="53" y="121"/>
                    <a:pt x="53" y="121"/>
                  </a:cubicBezTo>
                  <a:cubicBezTo>
                    <a:pt x="53" y="121"/>
                    <a:pt x="53" y="120"/>
                    <a:pt x="53" y="120"/>
                  </a:cubicBezTo>
                  <a:cubicBezTo>
                    <a:pt x="53" y="120"/>
                    <a:pt x="54" y="120"/>
                    <a:pt x="54" y="121"/>
                  </a:cubicBezTo>
                  <a:cubicBezTo>
                    <a:pt x="54" y="121"/>
                    <a:pt x="55" y="122"/>
                    <a:pt x="55" y="122"/>
                  </a:cubicBezTo>
                  <a:cubicBezTo>
                    <a:pt x="55" y="123"/>
                    <a:pt x="54" y="123"/>
                    <a:pt x="54" y="123"/>
                  </a:cubicBezTo>
                  <a:cubicBezTo>
                    <a:pt x="54" y="124"/>
                    <a:pt x="55" y="124"/>
                    <a:pt x="54" y="124"/>
                  </a:cubicBezTo>
                  <a:cubicBezTo>
                    <a:pt x="53" y="124"/>
                    <a:pt x="53" y="124"/>
                    <a:pt x="53" y="124"/>
                  </a:cubicBezTo>
                  <a:cubicBezTo>
                    <a:pt x="53" y="124"/>
                    <a:pt x="53" y="123"/>
                    <a:pt x="53" y="123"/>
                  </a:cubicBezTo>
                  <a:cubicBezTo>
                    <a:pt x="53" y="122"/>
                    <a:pt x="53" y="121"/>
                    <a:pt x="53" y="121"/>
                  </a:cubicBezTo>
                  <a:close/>
                  <a:moveTo>
                    <a:pt x="49" y="121"/>
                  </a:moveTo>
                  <a:cubicBezTo>
                    <a:pt x="49" y="121"/>
                    <a:pt x="49" y="121"/>
                    <a:pt x="49" y="121"/>
                  </a:cubicBezTo>
                  <a:cubicBezTo>
                    <a:pt x="49" y="121"/>
                    <a:pt x="50" y="121"/>
                    <a:pt x="50" y="122"/>
                  </a:cubicBezTo>
                  <a:cubicBezTo>
                    <a:pt x="50" y="122"/>
                    <a:pt x="51" y="122"/>
                    <a:pt x="51" y="123"/>
                  </a:cubicBezTo>
                  <a:cubicBezTo>
                    <a:pt x="51" y="123"/>
                    <a:pt x="51" y="123"/>
                    <a:pt x="51" y="124"/>
                  </a:cubicBezTo>
                  <a:cubicBezTo>
                    <a:pt x="51" y="125"/>
                    <a:pt x="52" y="125"/>
                    <a:pt x="51" y="125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9" y="121"/>
                    <a:pt x="49" y="121"/>
                    <a:pt x="49" y="121"/>
                  </a:cubicBezTo>
                  <a:close/>
                  <a:moveTo>
                    <a:pt x="34" y="116"/>
                  </a:moveTo>
                  <a:cubicBezTo>
                    <a:pt x="34" y="116"/>
                    <a:pt x="34" y="116"/>
                    <a:pt x="34" y="116"/>
                  </a:cubicBezTo>
                  <a:cubicBezTo>
                    <a:pt x="34" y="116"/>
                    <a:pt x="35" y="116"/>
                    <a:pt x="35" y="116"/>
                  </a:cubicBezTo>
                  <a:cubicBezTo>
                    <a:pt x="36" y="117"/>
                    <a:pt x="35" y="117"/>
                    <a:pt x="36" y="118"/>
                  </a:cubicBezTo>
                  <a:cubicBezTo>
                    <a:pt x="36" y="118"/>
                    <a:pt x="35" y="119"/>
                    <a:pt x="35" y="119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4" y="116"/>
                    <a:pt x="34" y="116"/>
                    <a:pt x="34" y="116"/>
                  </a:cubicBezTo>
                  <a:close/>
                  <a:moveTo>
                    <a:pt x="34" y="112"/>
                  </a:move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2" y="112"/>
                    <a:pt x="32" y="112"/>
                  </a:cubicBezTo>
                  <a:cubicBezTo>
                    <a:pt x="32" y="112"/>
                    <a:pt x="31" y="112"/>
                    <a:pt x="31" y="111"/>
                  </a:cubicBezTo>
                  <a:cubicBezTo>
                    <a:pt x="31" y="111"/>
                    <a:pt x="31" y="110"/>
                    <a:pt x="32" y="110"/>
                  </a:cubicBezTo>
                  <a:cubicBezTo>
                    <a:pt x="32" y="110"/>
                    <a:pt x="32" y="109"/>
                    <a:pt x="32" y="108"/>
                  </a:cubicBezTo>
                  <a:cubicBezTo>
                    <a:pt x="32" y="108"/>
                    <a:pt x="33" y="108"/>
                    <a:pt x="33" y="108"/>
                  </a:cubicBezTo>
                  <a:cubicBezTo>
                    <a:pt x="33" y="108"/>
                    <a:pt x="34" y="109"/>
                    <a:pt x="34" y="109"/>
                  </a:cubicBezTo>
                  <a:cubicBezTo>
                    <a:pt x="34" y="109"/>
                    <a:pt x="34" y="111"/>
                    <a:pt x="34" y="112"/>
                  </a:cubicBezTo>
                  <a:close/>
                  <a:moveTo>
                    <a:pt x="34" y="89"/>
                  </a:moveTo>
                  <a:cubicBezTo>
                    <a:pt x="34" y="89"/>
                    <a:pt x="34" y="89"/>
                    <a:pt x="34" y="89"/>
                  </a:cubicBezTo>
                  <a:cubicBezTo>
                    <a:pt x="34" y="89"/>
                    <a:pt x="36" y="89"/>
                    <a:pt x="36" y="89"/>
                  </a:cubicBezTo>
                  <a:cubicBezTo>
                    <a:pt x="36" y="89"/>
                    <a:pt x="36" y="90"/>
                    <a:pt x="36" y="91"/>
                  </a:cubicBezTo>
                  <a:cubicBezTo>
                    <a:pt x="37" y="91"/>
                    <a:pt x="37" y="92"/>
                    <a:pt x="37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2"/>
                    <a:pt x="39" y="91"/>
                    <a:pt x="39" y="92"/>
                  </a:cubicBezTo>
                  <a:cubicBezTo>
                    <a:pt x="40" y="92"/>
                    <a:pt x="41" y="91"/>
                    <a:pt x="41" y="91"/>
                  </a:cubicBezTo>
                  <a:cubicBezTo>
                    <a:pt x="41" y="91"/>
                    <a:pt x="42" y="92"/>
                    <a:pt x="42" y="92"/>
                  </a:cubicBezTo>
                  <a:cubicBezTo>
                    <a:pt x="42" y="93"/>
                    <a:pt x="41" y="94"/>
                    <a:pt x="41" y="94"/>
                  </a:cubicBezTo>
                  <a:cubicBezTo>
                    <a:pt x="40" y="94"/>
                    <a:pt x="39" y="93"/>
                    <a:pt x="39" y="93"/>
                  </a:cubicBezTo>
                  <a:cubicBezTo>
                    <a:pt x="39" y="93"/>
                    <a:pt x="38" y="92"/>
                    <a:pt x="38" y="93"/>
                  </a:cubicBezTo>
                  <a:cubicBezTo>
                    <a:pt x="38" y="93"/>
                    <a:pt x="38" y="94"/>
                    <a:pt x="38" y="95"/>
                  </a:cubicBezTo>
                  <a:cubicBezTo>
                    <a:pt x="39" y="95"/>
                    <a:pt x="39" y="95"/>
                    <a:pt x="39" y="96"/>
                  </a:cubicBezTo>
                  <a:cubicBezTo>
                    <a:pt x="38" y="96"/>
                    <a:pt x="38" y="97"/>
                    <a:pt x="38" y="97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39" y="99"/>
                    <a:pt x="39" y="100"/>
                  </a:cubicBezTo>
                  <a:cubicBezTo>
                    <a:pt x="39" y="100"/>
                    <a:pt x="40" y="101"/>
                    <a:pt x="40" y="101"/>
                  </a:cubicBezTo>
                  <a:cubicBezTo>
                    <a:pt x="40" y="102"/>
                    <a:pt x="40" y="103"/>
                    <a:pt x="40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1" y="107"/>
                    <a:pt x="41" y="107"/>
                  </a:cubicBezTo>
                  <a:cubicBezTo>
                    <a:pt x="41" y="108"/>
                    <a:pt x="43" y="109"/>
                    <a:pt x="43" y="110"/>
                  </a:cubicBezTo>
                  <a:cubicBezTo>
                    <a:pt x="43" y="110"/>
                    <a:pt x="43" y="112"/>
                    <a:pt x="42" y="112"/>
                  </a:cubicBezTo>
                  <a:cubicBezTo>
                    <a:pt x="42" y="112"/>
                    <a:pt x="41" y="113"/>
                    <a:pt x="41" y="112"/>
                  </a:cubicBezTo>
                  <a:cubicBezTo>
                    <a:pt x="40" y="111"/>
                    <a:pt x="39" y="109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0"/>
                    <a:pt x="38" y="111"/>
                    <a:pt x="38" y="111"/>
                  </a:cubicBezTo>
                  <a:cubicBezTo>
                    <a:pt x="38" y="112"/>
                    <a:pt x="40" y="113"/>
                    <a:pt x="40" y="113"/>
                  </a:cubicBezTo>
                  <a:cubicBezTo>
                    <a:pt x="40" y="113"/>
                    <a:pt x="39" y="111"/>
                    <a:pt x="40" y="113"/>
                  </a:cubicBezTo>
                  <a:cubicBezTo>
                    <a:pt x="41" y="115"/>
                    <a:pt x="42" y="116"/>
                    <a:pt x="42" y="116"/>
                  </a:cubicBezTo>
                  <a:cubicBezTo>
                    <a:pt x="42" y="116"/>
                    <a:pt x="43" y="117"/>
                    <a:pt x="44" y="117"/>
                  </a:cubicBezTo>
                  <a:cubicBezTo>
                    <a:pt x="44" y="118"/>
                    <a:pt x="44" y="118"/>
                    <a:pt x="45" y="119"/>
                  </a:cubicBezTo>
                  <a:cubicBezTo>
                    <a:pt x="45" y="119"/>
                    <a:pt x="46" y="120"/>
                    <a:pt x="45" y="120"/>
                  </a:cubicBezTo>
                  <a:cubicBezTo>
                    <a:pt x="44" y="121"/>
                    <a:pt x="45" y="121"/>
                    <a:pt x="44" y="121"/>
                  </a:cubicBezTo>
                  <a:cubicBezTo>
                    <a:pt x="44" y="120"/>
                    <a:pt x="43" y="120"/>
                    <a:pt x="43" y="119"/>
                  </a:cubicBezTo>
                  <a:cubicBezTo>
                    <a:pt x="43" y="118"/>
                    <a:pt x="42" y="117"/>
                    <a:pt x="42" y="116"/>
                  </a:cubicBezTo>
                  <a:cubicBezTo>
                    <a:pt x="41" y="116"/>
                    <a:pt x="40" y="115"/>
                    <a:pt x="40" y="115"/>
                  </a:cubicBezTo>
                  <a:cubicBezTo>
                    <a:pt x="39" y="115"/>
                    <a:pt x="39" y="114"/>
                    <a:pt x="39" y="114"/>
                  </a:cubicBezTo>
                  <a:cubicBezTo>
                    <a:pt x="39" y="114"/>
                    <a:pt x="38" y="114"/>
                    <a:pt x="38" y="114"/>
                  </a:cubicBezTo>
                  <a:cubicBezTo>
                    <a:pt x="38" y="114"/>
                    <a:pt x="36" y="114"/>
                    <a:pt x="36" y="114"/>
                  </a:cubicBezTo>
                  <a:cubicBezTo>
                    <a:pt x="36" y="113"/>
                    <a:pt x="36" y="113"/>
                    <a:pt x="37" y="112"/>
                  </a:cubicBezTo>
                  <a:cubicBezTo>
                    <a:pt x="37" y="112"/>
                    <a:pt x="38" y="112"/>
                    <a:pt x="38" y="112"/>
                  </a:cubicBezTo>
                  <a:cubicBezTo>
                    <a:pt x="38" y="112"/>
                    <a:pt x="37" y="111"/>
                    <a:pt x="37" y="111"/>
                  </a:cubicBezTo>
                  <a:cubicBezTo>
                    <a:pt x="37" y="111"/>
                    <a:pt x="37" y="110"/>
                    <a:pt x="37" y="110"/>
                  </a:cubicBezTo>
                  <a:cubicBezTo>
                    <a:pt x="36" y="110"/>
                    <a:pt x="36" y="111"/>
                    <a:pt x="36" y="110"/>
                  </a:cubicBezTo>
                  <a:cubicBezTo>
                    <a:pt x="36" y="109"/>
                    <a:pt x="36" y="109"/>
                    <a:pt x="36" y="108"/>
                  </a:cubicBezTo>
                  <a:cubicBezTo>
                    <a:pt x="36" y="108"/>
                    <a:pt x="36" y="106"/>
                    <a:pt x="36" y="106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38" y="105"/>
                    <a:pt x="38" y="105"/>
                    <a:pt x="37" y="105"/>
                  </a:cubicBezTo>
                  <a:cubicBezTo>
                    <a:pt x="36" y="105"/>
                    <a:pt x="36" y="103"/>
                    <a:pt x="36" y="103"/>
                  </a:cubicBezTo>
                  <a:cubicBezTo>
                    <a:pt x="36" y="103"/>
                    <a:pt x="36" y="102"/>
                    <a:pt x="36" y="102"/>
                  </a:cubicBezTo>
                  <a:cubicBezTo>
                    <a:pt x="36" y="102"/>
                    <a:pt x="35" y="102"/>
                    <a:pt x="35" y="101"/>
                  </a:cubicBezTo>
                  <a:cubicBezTo>
                    <a:pt x="34" y="100"/>
                    <a:pt x="34" y="99"/>
                    <a:pt x="34" y="99"/>
                  </a:cubicBezTo>
                  <a:cubicBezTo>
                    <a:pt x="34" y="99"/>
                    <a:pt x="35" y="99"/>
                    <a:pt x="34" y="98"/>
                  </a:cubicBezTo>
                  <a:cubicBezTo>
                    <a:pt x="34" y="97"/>
                    <a:pt x="34" y="97"/>
                    <a:pt x="33" y="97"/>
                  </a:cubicBezTo>
                  <a:cubicBezTo>
                    <a:pt x="33" y="96"/>
                    <a:pt x="33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6"/>
                    <a:pt x="36" y="96"/>
                    <a:pt x="36" y="96"/>
                  </a:cubicBezTo>
                  <a:cubicBezTo>
                    <a:pt x="36" y="95"/>
                    <a:pt x="37" y="94"/>
                    <a:pt x="36" y="94"/>
                  </a:cubicBezTo>
                  <a:cubicBezTo>
                    <a:pt x="36" y="93"/>
                    <a:pt x="35" y="92"/>
                    <a:pt x="35" y="92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4" y="91"/>
                    <a:pt x="34" y="91"/>
                    <a:pt x="34" y="90"/>
                  </a:cubicBezTo>
                  <a:cubicBezTo>
                    <a:pt x="34" y="90"/>
                    <a:pt x="34" y="89"/>
                    <a:pt x="34" y="89"/>
                  </a:cubicBezTo>
                  <a:close/>
                  <a:moveTo>
                    <a:pt x="33" y="89"/>
                  </a:move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2" y="88"/>
                    <a:pt x="32" y="87"/>
                  </a:cubicBezTo>
                  <a:cubicBezTo>
                    <a:pt x="32" y="87"/>
                    <a:pt x="32" y="87"/>
                    <a:pt x="32" y="86"/>
                  </a:cubicBezTo>
                  <a:cubicBezTo>
                    <a:pt x="32" y="85"/>
                    <a:pt x="31" y="85"/>
                    <a:pt x="31" y="84"/>
                  </a:cubicBezTo>
                  <a:cubicBezTo>
                    <a:pt x="32" y="84"/>
                    <a:pt x="32" y="83"/>
                    <a:pt x="32" y="83"/>
                  </a:cubicBezTo>
                  <a:cubicBezTo>
                    <a:pt x="33" y="82"/>
                    <a:pt x="34" y="82"/>
                    <a:pt x="34" y="83"/>
                  </a:cubicBezTo>
                  <a:cubicBezTo>
                    <a:pt x="34" y="83"/>
                    <a:pt x="34" y="84"/>
                    <a:pt x="34" y="85"/>
                  </a:cubicBezTo>
                  <a:cubicBezTo>
                    <a:pt x="34" y="85"/>
                    <a:pt x="34" y="86"/>
                    <a:pt x="34" y="86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8"/>
                    <a:pt x="35" y="89"/>
                    <a:pt x="35" y="89"/>
                  </a:cubicBezTo>
                  <a:lnTo>
                    <a:pt x="33" y="89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7316079" y="4213154"/>
              <a:ext cx="216588" cy="121458"/>
            </a:xfrm>
            <a:custGeom>
              <a:avLst/>
              <a:gdLst>
                <a:gd name="T0" fmla="*/ 2 w 95"/>
                <a:gd name="T1" fmla="*/ 39 h 55"/>
                <a:gd name="T2" fmla="*/ 2 w 95"/>
                <a:gd name="T3" fmla="*/ 36 h 55"/>
                <a:gd name="T4" fmla="*/ 0 w 95"/>
                <a:gd name="T5" fmla="*/ 31 h 55"/>
                <a:gd name="T6" fmla="*/ 2 w 95"/>
                <a:gd name="T7" fmla="*/ 31 h 55"/>
                <a:gd name="T8" fmla="*/ 7 w 95"/>
                <a:gd name="T9" fmla="*/ 32 h 55"/>
                <a:gd name="T10" fmla="*/ 9 w 95"/>
                <a:gd name="T11" fmla="*/ 31 h 55"/>
                <a:gd name="T12" fmla="*/ 12 w 95"/>
                <a:gd name="T13" fmla="*/ 27 h 55"/>
                <a:gd name="T14" fmla="*/ 15 w 95"/>
                <a:gd name="T15" fmla="*/ 27 h 55"/>
                <a:gd name="T16" fmla="*/ 16 w 95"/>
                <a:gd name="T17" fmla="*/ 26 h 55"/>
                <a:gd name="T18" fmla="*/ 18 w 95"/>
                <a:gd name="T19" fmla="*/ 27 h 55"/>
                <a:gd name="T20" fmla="*/ 20 w 95"/>
                <a:gd name="T21" fmla="*/ 27 h 55"/>
                <a:gd name="T22" fmla="*/ 23 w 95"/>
                <a:gd name="T23" fmla="*/ 28 h 55"/>
                <a:gd name="T24" fmla="*/ 26 w 95"/>
                <a:gd name="T25" fmla="*/ 26 h 55"/>
                <a:gd name="T26" fmla="*/ 28 w 95"/>
                <a:gd name="T27" fmla="*/ 20 h 55"/>
                <a:gd name="T28" fmla="*/ 28 w 95"/>
                <a:gd name="T29" fmla="*/ 16 h 55"/>
                <a:gd name="T30" fmla="*/ 33 w 95"/>
                <a:gd name="T31" fmla="*/ 18 h 55"/>
                <a:gd name="T32" fmla="*/ 36 w 95"/>
                <a:gd name="T33" fmla="*/ 18 h 55"/>
                <a:gd name="T34" fmla="*/ 44 w 95"/>
                <a:gd name="T35" fmla="*/ 19 h 55"/>
                <a:gd name="T36" fmla="*/ 58 w 95"/>
                <a:gd name="T37" fmla="*/ 18 h 55"/>
                <a:gd name="T38" fmla="*/ 61 w 95"/>
                <a:gd name="T39" fmla="*/ 16 h 55"/>
                <a:gd name="T40" fmla="*/ 66 w 95"/>
                <a:gd name="T41" fmla="*/ 15 h 55"/>
                <a:gd name="T42" fmla="*/ 70 w 95"/>
                <a:gd name="T43" fmla="*/ 13 h 55"/>
                <a:gd name="T44" fmla="*/ 76 w 95"/>
                <a:gd name="T45" fmla="*/ 10 h 55"/>
                <a:gd name="T46" fmla="*/ 78 w 95"/>
                <a:gd name="T47" fmla="*/ 8 h 55"/>
                <a:gd name="T48" fmla="*/ 80 w 95"/>
                <a:gd name="T49" fmla="*/ 8 h 55"/>
                <a:gd name="T50" fmla="*/ 83 w 95"/>
                <a:gd name="T51" fmla="*/ 7 h 55"/>
                <a:gd name="T52" fmla="*/ 89 w 95"/>
                <a:gd name="T53" fmla="*/ 3 h 55"/>
                <a:gd name="T54" fmla="*/ 94 w 95"/>
                <a:gd name="T55" fmla="*/ 2 h 55"/>
                <a:gd name="T56" fmla="*/ 89 w 95"/>
                <a:gd name="T57" fmla="*/ 6 h 55"/>
                <a:gd name="T58" fmla="*/ 83 w 95"/>
                <a:gd name="T59" fmla="*/ 11 h 55"/>
                <a:gd name="T60" fmla="*/ 76 w 95"/>
                <a:gd name="T61" fmla="*/ 15 h 55"/>
                <a:gd name="T62" fmla="*/ 73 w 95"/>
                <a:gd name="T63" fmla="*/ 19 h 55"/>
                <a:gd name="T64" fmla="*/ 68 w 95"/>
                <a:gd name="T65" fmla="*/ 20 h 55"/>
                <a:gd name="T66" fmla="*/ 67 w 95"/>
                <a:gd name="T67" fmla="*/ 27 h 55"/>
                <a:gd name="T68" fmla="*/ 73 w 95"/>
                <a:gd name="T69" fmla="*/ 34 h 55"/>
                <a:gd name="T70" fmla="*/ 74 w 95"/>
                <a:gd name="T71" fmla="*/ 38 h 55"/>
                <a:gd name="T72" fmla="*/ 70 w 95"/>
                <a:gd name="T73" fmla="*/ 36 h 55"/>
                <a:gd name="T74" fmla="*/ 63 w 95"/>
                <a:gd name="T75" fmla="*/ 37 h 55"/>
                <a:gd name="T76" fmla="*/ 59 w 95"/>
                <a:gd name="T77" fmla="*/ 36 h 55"/>
                <a:gd name="T78" fmla="*/ 55 w 95"/>
                <a:gd name="T79" fmla="*/ 43 h 55"/>
                <a:gd name="T80" fmla="*/ 52 w 95"/>
                <a:gd name="T81" fmla="*/ 46 h 55"/>
                <a:gd name="T82" fmla="*/ 47 w 95"/>
                <a:gd name="T83" fmla="*/ 47 h 55"/>
                <a:gd name="T84" fmla="*/ 43 w 95"/>
                <a:gd name="T85" fmla="*/ 49 h 55"/>
                <a:gd name="T86" fmla="*/ 36 w 95"/>
                <a:gd name="T87" fmla="*/ 50 h 55"/>
                <a:gd name="T88" fmla="*/ 29 w 95"/>
                <a:gd name="T89" fmla="*/ 53 h 55"/>
                <a:gd name="T90" fmla="*/ 24 w 95"/>
                <a:gd name="T91" fmla="*/ 50 h 55"/>
                <a:gd name="T92" fmla="*/ 19 w 95"/>
                <a:gd name="T93" fmla="*/ 53 h 55"/>
                <a:gd name="T94" fmla="*/ 12 w 95"/>
                <a:gd name="T95" fmla="*/ 50 h 55"/>
                <a:gd name="T96" fmla="*/ 8 w 95"/>
                <a:gd name="T97" fmla="*/ 50 h 55"/>
                <a:gd name="T98" fmla="*/ 5 w 95"/>
                <a:gd name="T99" fmla="*/ 45 h 55"/>
                <a:gd name="T100" fmla="*/ 2 w 95"/>
                <a:gd name="T101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" h="55">
                  <a:moveTo>
                    <a:pt x="2" y="39"/>
                  </a:moveTo>
                  <a:cubicBezTo>
                    <a:pt x="2" y="39"/>
                    <a:pt x="2" y="38"/>
                    <a:pt x="2" y="36"/>
                  </a:cubicBezTo>
                  <a:cubicBezTo>
                    <a:pt x="1" y="34"/>
                    <a:pt x="0" y="31"/>
                    <a:pt x="0" y="31"/>
                  </a:cubicBezTo>
                  <a:cubicBezTo>
                    <a:pt x="0" y="31"/>
                    <a:pt x="1" y="30"/>
                    <a:pt x="2" y="31"/>
                  </a:cubicBezTo>
                  <a:cubicBezTo>
                    <a:pt x="3" y="32"/>
                    <a:pt x="4" y="34"/>
                    <a:pt x="7" y="32"/>
                  </a:cubicBezTo>
                  <a:cubicBezTo>
                    <a:pt x="8" y="32"/>
                    <a:pt x="9" y="32"/>
                    <a:pt x="9" y="31"/>
                  </a:cubicBezTo>
                  <a:cubicBezTo>
                    <a:pt x="11" y="29"/>
                    <a:pt x="11" y="27"/>
                    <a:pt x="12" y="27"/>
                  </a:cubicBezTo>
                  <a:cubicBezTo>
                    <a:pt x="13" y="26"/>
                    <a:pt x="13" y="27"/>
                    <a:pt x="15" y="27"/>
                  </a:cubicBezTo>
                  <a:cubicBezTo>
                    <a:pt x="15" y="27"/>
                    <a:pt x="16" y="26"/>
                    <a:pt x="16" y="26"/>
                  </a:cubicBezTo>
                  <a:cubicBezTo>
                    <a:pt x="17" y="26"/>
                    <a:pt x="17" y="27"/>
                    <a:pt x="18" y="27"/>
                  </a:cubicBezTo>
                  <a:cubicBezTo>
                    <a:pt x="19" y="27"/>
                    <a:pt x="19" y="26"/>
                    <a:pt x="20" y="27"/>
                  </a:cubicBezTo>
                  <a:cubicBezTo>
                    <a:pt x="21" y="27"/>
                    <a:pt x="22" y="28"/>
                    <a:pt x="23" y="28"/>
                  </a:cubicBezTo>
                  <a:cubicBezTo>
                    <a:pt x="24" y="28"/>
                    <a:pt x="26" y="28"/>
                    <a:pt x="26" y="26"/>
                  </a:cubicBezTo>
                  <a:cubicBezTo>
                    <a:pt x="27" y="25"/>
                    <a:pt x="28" y="23"/>
                    <a:pt x="28" y="20"/>
                  </a:cubicBezTo>
                  <a:cubicBezTo>
                    <a:pt x="28" y="17"/>
                    <a:pt x="27" y="15"/>
                    <a:pt x="28" y="16"/>
                  </a:cubicBezTo>
                  <a:cubicBezTo>
                    <a:pt x="28" y="16"/>
                    <a:pt x="31" y="17"/>
                    <a:pt x="33" y="18"/>
                  </a:cubicBezTo>
                  <a:cubicBezTo>
                    <a:pt x="35" y="18"/>
                    <a:pt x="34" y="17"/>
                    <a:pt x="36" y="18"/>
                  </a:cubicBezTo>
                  <a:cubicBezTo>
                    <a:pt x="38" y="18"/>
                    <a:pt x="42" y="19"/>
                    <a:pt x="44" y="19"/>
                  </a:cubicBezTo>
                  <a:cubicBezTo>
                    <a:pt x="48" y="19"/>
                    <a:pt x="53" y="19"/>
                    <a:pt x="58" y="18"/>
                  </a:cubicBezTo>
                  <a:cubicBezTo>
                    <a:pt x="58" y="17"/>
                    <a:pt x="60" y="16"/>
                    <a:pt x="61" y="16"/>
                  </a:cubicBezTo>
                  <a:cubicBezTo>
                    <a:pt x="62" y="15"/>
                    <a:pt x="64" y="16"/>
                    <a:pt x="66" y="15"/>
                  </a:cubicBezTo>
                  <a:cubicBezTo>
                    <a:pt x="67" y="15"/>
                    <a:pt x="69" y="14"/>
                    <a:pt x="70" y="13"/>
                  </a:cubicBezTo>
                  <a:cubicBezTo>
                    <a:pt x="72" y="12"/>
                    <a:pt x="74" y="11"/>
                    <a:pt x="76" y="10"/>
                  </a:cubicBezTo>
                  <a:cubicBezTo>
                    <a:pt x="77" y="10"/>
                    <a:pt x="77" y="9"/>
                    <a:pt x="78" y="8"/>
                  </a:cubicBezTo>
                  <a:cubicBezTo>
                    <a:pt x="79" y="8"/>
                    <a:pt x="79" y="8"/>
                    <a:pt x="80" y="8"/>
                  </a:cubicBezTo>
                  <a:cubicBezTo>
                    <a:pt x="81" y="8"/>
                    <a:pt x="82" y="7"/>
                    <a:pt x="83" y="7"/>
                  </a:cubicBezTo>
                  <a:cubicBezTo>
                    <a:pt x="85" y="6"/>
                    <a:pt x="86" y="5"/>
                    <a:pt x="89" y="3"/>
                  </a:cubicBezTo>
                  <a:cubicBezTo>
                    <a:pt x="92" y="0"/>
                    <a:pt x="95" y="0"/>
                    <a:pt x="94" y="2"/>
                  </a:cubicBezTo>
                  <a:cubicBezTo>
                    <a:pt x="94" y="3"/>
                    <a:pt x="90" y="5"/>
                    <a:pt x="89" y="6"/>
                  </a:cubicBezTo>
                  <a:cubicBezTo>
                    <a:pt x="87" y="8"/>
                    <a:pt x="85" y="10"/>
                    <a:pt x="83" y="11"/>
                  </a:cubicBezTo>
                  <a:cubicBezTo>
                    <a:pt x="81" y="11"/>
                    <a:pt x="78" y="13"/>
                    <a:pt x="76" y="15"/>
                  </a:cubicBezTo>
                  <a:cubicBezTo>
                    <a:pt x="74" y="16"/>
                    <a:pt x="74" y="18"/>
                    <a:pt x="73" y="19"/>
                  </a:cubicBezTo>
                  <a:cubicBezTo>
                    <a:pt x="70" y="21"/>
                    <a:pt x="69" y="19"/>
                    <a:pt x="68" y="20"/>
                  </a:cubicBezTo>
                  <a:cubicBezTo>
                    <a:pt x="68" y="22"/>
                    <a:pt x="67" y="25"/>
                    <a:pt x="67" y="27"/>
                  </a:cubicBezTo>
                  <a:cubicBezTo>
                    <a:pt x="68" y="30"/>
                    <a:pt x="71" y="32"/>
                    <a:pt x="73" y="34"/>
                  </a:cubicBezTo>
                  <a:cubicBezTo>
                    <a:pt x="73" y="34"/>
                    <a:pt x="76" y="37"/>
                    <a:pt x="74" y="38"/>
                  </a:cubicBezTo>
                  <a:cubicBezTo>
                    <a:pt x="73" y="38"/>
                    <a:pt x="72" y="36"/>
                    <a:pt x="70" y="36"/>
                  </a:cubicBezTo>
                  <a:cubicBezTo>
                    <a:pt x="68" y="36"/>
                    <a:pt x="65" y="36"/>
                    <a:pt x="63" y="37"/>
                  </a:cubicBezTo>
                  <a:cubicBezTo>
                    <a:pt x="62" y="37"/>
                    <a:pt x="61" y="36"/>
                    <a:pt x="59" y="36"/>
                  </a:cubicBezTo>
                  <a:cubicBezTo>
                    <a:pt x="57" y="37"/>
                    <a:pt x="55" y="41"/>
                    <a:pt x="55" y="43"/>
                  </a:cubicBezTo>
                  <a:cubicBezTo>
                    <a:pt x="55" y="44"/>
                    <a:pt x="53" y="44"/>
                    <a:pt x="52" y="46"/>
                  </a:cubicBezTo>
                  <a:cubicBezTo>
                    <a:pt x="50" y="47"/>
                    <a:pt x="49" y="46"/>
                    <a:pt x="47" y="47"/>
                  </a:cubicBezTo>
                  <a:cubicBezTo>
                    <a:pt x="45" y="48"/>
                    <a:pt x="45" y="49"/>
                    <a:pt x="43" y="49"/>
                  </a:cubicBezTo>
                  <a:cubicBezTo>
                    <a:pt x="40" y="49"/>
                    <a:pt x="37" y="50"/>
                    <a:pt x="36" y="50"/>
                  </a:cubicBezTo>
                  <a:cubicBezTo>
                    <a:pt x="30" y="50"/>
                    <a:pt x="33" y="55"/>
                    <a:pt x="29" y="53"/>
                  </a:cubicBezTo>
                  <a:cubicBezTo>
                    <a:pt x="27" y="53"/>
                    <a:pt x="26" y="51"/>
                    <a:pt x="24" y="50"/>
                  </a:cubicBezTo>
                  <a:cubicBezTo>
                    <a:pt x="23" y="50"/>
                    <a:pt x="21" y="52"/>
                    <a:pt x="19" y="53"/>
                  </a:cubicBezTo>
                  <a:cubicBezTo>
                    <a:pt x="17" y="54"/>
                    <a:pt x="14" y="51"/>
                    <a:pt x="12" y="50"/>
                  </a:cubicBezTo>
                  <a:cubicBezTo>
                    <a:pt x="10" y="49"/>
                    <a:pt x="9" y="51"/>
                    <a:pt x="8" y="50"/>
                  </a:cubicBezTo>
                  <a:cubicBezTo>
                    <a:pt x="6" y="48"/>
                    <a:pt x="7" y="46"/>
                    <a:pt x="5" y="45"/>
                  </a:cubicBezTo>
                  <a:cubicBezTo>
                    <a:pt x="4" y="43"/>
                    <a:pt x="2" y="41"/>
                    <a:pt x="2" y="39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4" name="Freeform 21"/>
            <p:cNvSpPr>
              <a:spLocks/>
            </p:cNvSpPr>
            <p:nvPr/>
          </p:nvSpPr>
          <p:spPr bwMode="auto">
            <a:xfrm>
              <a:off x="5794468" y="3262801"/>
              <a:ext cx="424380" cy="437887"/>
            </a:xfrm>
            <a:custGeom>
              <a:avLst/>
              <a:gdLst>
                <a:gd name="T0" fmla="*/ 13 w 186"/>
                <a:gd name="T1" fmla="*/ 14 h 198"/>
                <a:gd name="T2" fmla="*/ 23 w 186"/>
                <a:gd name="T3" fmla="*/ 6 h 198"/>
                <a:gd name="T4" fmla="*/ 32 w 186"/>
                <a:gd name="T5" fmla="*/ 3 h 198"/>
                <a:gd name="T6" fmla="*/ 48 w 186"/>
                <a:gd name="T7" fmla="*/ 1 h 198"/>
                <a:gd name="T8" fmla="*/ 62 w 186"/>
                <a:gd name="T9" fmla="*/ 9 h 198"/>
                <a:gd name="T10" fmla="*/ 74 w 186"/>
                <a:gd name="T11" fmla="*/ 20 h 198"/>
                <a:gd name="T12" fmla="*/ 77 w 186"/>
                <a:gd name="T13" fmla="*/ 32 h 198"/>
                <a:gd name="T14" fmla="*/ 94 w 186"/>
                <a:gd name="T15" fmla="*/ 40 h 198"/>
                <a:gd name="T16" fmla="*/ 105 w 186"/>
                <a:gd name="T17" fmla="*/ 44 h 198"/>
                <a:gd name="T18" fmla="*/ 109 w 186"/>
                <a:gd name="T19" fmla="*/ 54 h 198"/>
                <a:gd name="T20" fmla="*/ 106 w 186"/>
                <a:gd name="T21" fmla="*/ 63 h 198"/>
                <a:gd name="T22" fmla="*/ 117 w 186"/>
                <a:gd name="T23" fmla="*/ 69 h 198"/>
                <a:gd name="T24" fmla="*/ 131 w 186"/>
                <a:gd name="T25" fmla="*/ 70 h 198"/>
                <a:gd name="T26" fmla="*/ 140 w 186"/>
                <a:gd name="T27" fmla="*/ 68 h 198"/>
                <a:gd name="T28" fmla="*/ 153 w 186"/>
                <a:gd name="T29" fmla="*/ 65 h 198"/>
                <a:gd name="T30" fmla="*/ 154 w 186"/>
                <a:gd name="T31" fmla="*/ 67 h 198"/>
                <a:gd name="T32" fmla="*/ 155 w 186"/>
                <a:gd name="T33" fmla="*/ 77 h 198"/>
                <a:gd name="T34" fmla="*/ 160 w 186"/>
                <a:gd name="T35" fmla="*/ 84 h 198"/>
                <a:gd name="T36" fmla="*/ 156 w 186"/>
                <a:gd name="T37" fmla="*/ 96 h 198"/>
                <a:gd name="T38" fmla="*/ 155 w 186"/>
                <a:gd name="T39" fmla="*/ 112 h 198"/>
                <a:gd name="T40" fmla="*/ 168 w 186"/>
                <a:gd name="T41" fmla="*/ 126 h 198"/>
                <a:gd name="T42" fmla="*/ 182 w 186"/>
                <a:gd name="T43" fmla="*/ 136 h 198"/>
                <a:gd name="T44" fmla="*/ 178 w 186"/>
                <a:gd name="T45" fmla="*/ 151 h 198"/>
                <a:gd name="T46" fmla="*/ 170 w 186"/>
                <a:gd name="T47" fmla="*/ 159 h 198"/>
                <a:gd name="T48" fmla="*/ 170 w 186"/>
                <a:gd name="T49" fmla="*/ 175 h 198"/>
                <a:gd name="T50" fmla="*/ 173 w 186"/>
                <a:gd name="T51" fmla="*/ 185 h 198"/>
                <a:gd name="T52" fmla="*/ 160 w 186"/>
                <a:gd name="T53" fmla="*/ 190 h 198"/>
                <a:gd name="T54" fmla="*/ 150 w 186"/>
                <a:gd name="T55" fmla="*/ 193 h 198"/>
                <a:gd name="T56" fmla="*/ 139 w 186"/>
                <a:gd name="T57" fmla="*/ 197 h 198"/>
                <a:gd name="T58" fmla="*/ 139 w 186"/>
                <a:gd name="T59" fmla="*/ 186 h 198"/>
                <a:gd name="T60" fmla="*/ 144 w 186"/>
                <a:gd name="T61" fmla="*/ 175 h 198"/>
                <a:gd name="T62" fmla="*/ 128 w 186"/>
                <a:gd name="T63" fmla="*/ 172 h 198"/>
                <a:gd name="T64" fmla="*/ 116 w 186"/>
                <a:gd name="T65" fmla="*/ 160 h 198"/>
                <a:gd name="T66" fmla="*/ 101 w 186"/>
                <a:gd name="T67" fmla="*/ 151 h 198"/>
                <a:gd name="T68" fmla="*/ 93 w 186"/>
                <a:gd name="T69" fmla="*/ 157 h 198"/>
                <a:gd name="T70" fmla="*/ 89 w 186"/>
                <a:gd name="T71" fmla="*/ 173 h 198"/>
                <a:gd name="T72" fmla="*/ 81 w 186"/>
                <a:gd name="T73" fmla="*/ 172 h 198"/>
                <a:gd name="T74" fmla="*/ 75 w 186"/>
                <a:gd name="T75" fmla="*/ 168 h 198"/>
                <a:gd name="T76" fmla="*/ 65 w 186"/>
                <a:gd name="T77" fmla="*/ 162 h 198"/>
                <a:gd name="T78" fmla="*/ 57 w 186"/>
                <a:gd name="T79" fmla="*/ 164 h 198"/>
                <a:gd name="T80" fmla="*/ 50 w 186"/>
                <a:gd name="T81" fmla="*/ 161 h 198"/>
                <a:gd name="T82" fmla="*/ 45 w 186"/>
                <a:gd name="T83" fmla="*/ 157 h 198"/>
                <a:gd name="T84" fmla="*/ 40 w 186"/>
                <a:gd name="T85" fmla="*/ 152 h 198"/>
                <a:gd name="T86" fmla="*/ 32 w 186"/>
                <a:gd name="T87" fmla="*/ 148 h 198"/>
                <a:gd name="T88" fmla="*/ 34 w 186"/>
                <a:gd name="T89" fmla="*/ 144 h 198"/>
                <a:gd name="T90" fmla="*/ 43 w 186"/>
                <a:gd name="T91" fmla="*/ 140 h 198"/>
                <a:gd name="T92" fmla="*/ 35 w 186"/>
                <a:gd name="T93" fmla="*/ 127 h 198"/>
                <a:gd name="T94" fmla="*/ 32 w 186"/>
                <a:gd name="T95" fmla="*/ 120 h 198"/>
                <a:gd name="T96" fmla="*/ 43 w 186"/>
                <a:gd name="T97" fmla="*/ 118 h 198"/>
                <a:gd name="T98" fmla="*/ 37 w 186"/>
                <a:gd name="T99" fmla="*/ 111 h 198"/>
                <a:gd name="T100" fmla="*/ 28 w 186"/>
                <a:gd name="T101" fmla="*/ 106 h 198"/>
                <a:gd name="T102" fmla="*/ 22 w 186"/>
                <a:gd name="T103" fmla="*/ 98 h 198"/>
                <a:gd name="T104" fmla="*/ 24 w 186"/>
                <a:gd name="T105" fmla="*/ 87 h 198"/>
                <a:gd name="T106" fmla="*/ 27 w 186"/>
                <a:gd name="T107" fmla="*/ 73 h 198"/>
                <a:gd name="T108" fmla="*/ 15 w 186"/>
                <a:gd name="T109" fmla="*/ 74 h 198"/>
                <a:gd name="T110" fmla="*/ 14 w 186"/>
                <a:gd name="T111" fmla="*/ 63 h 198"/>
                <a:gd name="T112" fmla="*/ 16 w 186"/>
                <a:gd name="T113" fmla="*/ 57 h 198"/>
                <a:gd name="T114" fmla="*/ 24 w 186"/>
                <a:gd name="T115" fmla="*/ 53 h 198"/>
                <a:gd name="T116" fmla="*/ 13 w 186"/>
                <a:gd name="T117" fmla="*/ 51 h 198"/>
                <a:gd name="T118" fmla="*/ 7 w 186"/>
                <a:gd name="T119" fmla="*/ 43 h 198"/>
                <a:gd name="T120" fmla="*/ 5 w 186"/>
                <a:gd name="T121" fmla="*/ 40 h 198"/>
                <a:gd name="T122" fmla="*/ 3 w 186"/>
                <a:gd name="T123" fmla="*/ 31 h 198"/>
                <a:gd name="T124" fmla="*/ 4 w 186"/>
                <a:gd name="T125" fmla="*/ 2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198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22" y="6"/>
                    <a:pt x="23" y="6"/>
                  </a:cubicBezTo>
                  <a:cubicBezTo>
                    <a:pt x="25" y="6"/>
                    <a:pt x="23" y="4"/>
                    <a:pt x="23" y="4"/>
                  </a:cubicBezTo>
                  <a:cubicBezTo>
                    <a:pt x="23" y="4"/>
                    <a:pt x="28" y="2"/>
                    <a:pt x="30" y="2"/>
                  </a:cubicBezTo>
                  <a:cubicBezTo>
                    <a:pt x="30" y="2"/>
                    <a:pt x="30" y="2"/>
                    <a:pt x="31" y="2"/>
                  </a:cubicBezTo>
                  <a:cubicBezTo>
                    <a:pt x="32" y="2"/>
                    <a:pt x="32" y="3"/>
                    <a:pt x="32" y="3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42" y="0"/>
                    <a:pt x="43" y="0"/>
                  </a:cubicBezTo>
                  <a:cubicBezTo>
                    <a:pt x="44" y="0"/>
                    <a:pt x="46" y="1"/>
                    <a:pt x="46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9" y="2"/>
                    <a:pt x="50" y="2"/>
                  </a:cubicBezTo>
                  <a:cubicBezTo>
                    <a:pt x="52" y="3"/>
                    <a:pt x="53" y="6"/>
                    <a:pt x="54" y="6"/>
                  </a:cubicBezTo>
                  <a:cubicBezTo>
                    <a:pt x="56" y="7"/>
                    <a:pt x="58" y="7"/>
                    <a:pt x="59" y="7"/>
                  </a:cubicBezTo>
                  <a:cubicBezTo>
                    <a:pt x="60" y="8"/>
                    <a:pt x="62" y="9"/>
                    <a:pt x="62" y="9"/>
                  </a:cubicBezTo>
                  <a:cubicBezTo>
                    <a:pt x="62" y="9"/>
                    <a:pt x="67" y="14"/>
                    <a:pt x="68" y="14"/>
                  </a:cubicBezTo>
                  <a:cubicBezTo>
                    <a:pt x="69" y="14"/>
                    <a:pt x="69" y="14"/>
                    <a:pt x="70" y="16"/>
                  </a:cubicBezTo>
                  <a:cubicBezTo>
                    <a:pt x="71" y="17"/>
                    <a:pt x="74" y="16"/>
                    <a:pt x="74" y="16"/>
                  </a:cubicBezTo>
                  <a:cubicBezTo>
                    <a:pt x="74" y="16"/>
                    <a:pt x="75" y="19"/>
                    <a:pt x="74" y="20"/>
                  </a:cubicBezTo>
                  <a:cubicBezTo>
                    <a:pt x="74" y="21"/>
                    <a:pt x="74" y="24"/>
                    <a:pt x="74" y="24"/>
                  </a:cubicBezTo>
                  <a:cubicBezTo>
                    <a:pt x="74" y="24"/>
                    <a:pt x="74" y="25"/>
                    <a:pt x="74" y="26"/>
                  </a:cubicBezTo>
                  <a:cubicBezTo>
                    <a:pt x="75" y="28"/>
                    <a:pt x="76" y="28"/>
                    <a:pt x="76" y="30"/>
                  </a:cubicBezTo>
                  <a:cubicBezTo>
                    <a:pt x="77" y="31"/>
                    <a:pt x="76" y="31"/>
                    <a:pt x="77" y="32"/>
                  </a:cubicBezTo>
                  <a:cubicBezTo>
                    <a:pt x="78" y="33"/>
                    <a:pt x="79" y="35"/>
                    <a:pt x="80" y="35"/>
                  </a:cubicBezTo>
                  <a:cubicBezTo>
                    <a:pt x="81" y="35"/>
                    <a:pt x="82" y="35"/>
                    <a:pt x="85" y="36"/>
                  </a:cubicBezTo>
                  <a:cubicBezTo>
                    <a:pt x="88" y="38"/>
                    <a:pt x="89" y="38"/>
                    <a:pt x="90" y="39"/>
                  </a:cubicBezTo>
                  <a:cubicBezTo>
                    <a:pt x="92" y="40"/>
                    <a:pt x="91" y="39"/>
                    <a:pt x="94" y="40"/>
                  </a:cubicBezTo>
                  <a:cubicBezTo>
                    <a:pt x="98" y="41"/>
                    <a:pt x="97" y="40"/>
                    <a:pt x="98" y="41"/>
                  </a:cubicBezTo>
                  <a:cubicBezTo>
                    <a:pt x="99" y="41"/>
                    <a:pt x="98" y="40"/>
                    <a:pt x="100" y="41"/>
                  </a:cubicBezTo>
                  <a:cubicBezTo>
                    <a:pt x="103" y="41"/>
                    <a:pt x="105" y="42"/>
                    <a:pt x="105" y="4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1" y="51"/>
                    <a:pt x="103" y="52"/>
                  </a:cubicBezTo>
                  <a:cubicBezTo>
                    <a:pt x="105" y="53"/>
                    <a:pt x="109" y="54"/>
                    <a:pt x="109" y="54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6"/>
                    <a:pt x="110" y="59"/>
                    <a:pt x="109" y="60"/>
                  </a:cubicBezTo>
                  <a:cubicBezTo>
                    <a:pt x="108" y="60"/>
                    <a:pt x="105" y="60"/>
                    <a:pt x="105" y="60"/>
                  </a:cubicBezTo>
                  <a:cubicBezTo>
                    <a:pt x="105" y="60"/>
                    <a:pt x="104" y="63"/>
                    <a:pt x="106" y="63"/>
                  </a:cubicBezTo>
                  <a:cubicBezTo>
                    <a:pt x="107" y="64"/>
                    <a:pt x="109" y="64"/>
                    <a:pt x="110" y="64"/>
                  </a:cubicBezTo>
                  <a:cubicBezTo>
                    <a:pt x="111" y="64"/>
                    <a:pt x="113" y="65"/>
                    <a:pt x="113" y="65"/>
                  </a:cubicBezTo>
                  <a:cubicBezTo>
                    <a:pt x="113" y="65"/>
                    <a:pt x="114" y="65"/>
                    <a:pt x="115" y="66"/>
                  </a:cubicBezTo>
                  <a:cubicBezTo>
                    <a:pt x="115" y="68"/>
                    <a:pt x="116" y="69"/>
                    <a:pt x="117" y="69"/>
                  </a:cubicBezTo>
                  <a:cubicBezTo>
                    <a:pt x="118" y="69"/>
                    <a:pt x="120" y="69"/>
                    <a:pt x="121" y="69"/>
                  </a:cubicBezTo>
                  <a:cubicBezTo>
                    <a:pt x="122" y="69"/>
                    <a:pt x="122" y="68"/>
                    <a:pt x="123" y="68"/>
                  </a:cubicBezTo>
                  <a:cubicBezTo>
                    <a:pt x="124" y="69"/>
                    <a:pt x="130" y="68"/>
                    <a:pt x="130" y="68"/>
                  </a:cubicBezTo>
                  <a:cubicBezTo>
                    <a:pt x="130" y="68"/>
                    <a:pt x="130" y="68"/>
                    <a:pt x="131" y="70"/>
                  </a:cubicBezTo>
                  <a:cubicBezTo>
                    <a:pt x="133" y="73"/>
                    <a:pt x="136" y="74"/>
                    <a:pt x="136" y="74"/>
                  </a:cubicBezTo>
                  <a:cubicBezTo>
                    <a:pt x="136" y="74"/>
                    <a:pt x="137" y="75"/>
                    <a:pt x="137" y="74"/>
                  </a:cubicBezTo>
                  <a:cubicBezTo>
                    <a:pt x="137" y="73"/>
                    <a:pt x="138" y="72"/>
                    <a:pt x="138" y="72"/>
                  </a:cubicBezTo>
                  <a:cubicBezTo>
                    <a:pt x="138" y="72"/>
                    <a:pt x="140" y="69"/>
                    <a:pt x="140" y="68"/>
                  </a:cubicBezTo>
                  <a:cubicBezTo>
                    <a:pt x="141" y="67"/>
                    <a:pt x="142" y="64"/>
                    <a:pt x="143" y="64"/>
                  </a:cubicBezTo>
                  <a:cubicBezTo>
                    <a:pt x="144" y="63"/>
                    <a:pt x="147" y="61"/>
                    <a:pt x="147" y="61"/>
                  </a:cubicBezTo>
                  <a:cubicBezTo>
                    <a:pt x="147" y="61"/>
                    <a:pt x="147" y="60"/>
                    <a:pt x="149" y="61"/>
                  </a:cubicBezTo>
                  <a:cubicBezTo>
                    <a:pt x="150" y="63"/>
                    <a:pt x="153" y="65"/>
                    <a:pt x="153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58" y="65"/>
                    <a:pt x="161" y="66"/>
                    <a:pt x="161" y="67"/>
                  </a:cubicBezTo>
                  <a:cubicBezTo>
                    <a:pt x="161" y="68"/>
                    <a:pt x="160" y="68"/>
                    <a:pt x="158" y="69"/>
                  </a:cubicBezTo>
                  <a:cubicBezTo>
                    <a:pt x="157" y="69"/>
                    <a:pt x="154" y="66"/>
                    <a:pt x="154" y="67"/>
                  </a:cubicBezTo>
                  <a:cubicBezTo>
                    <a:pt x="153" y="68"/>
                    <a:pt x="153" y="70"/>
                    <a:pt x="153" y="70"/>
                  </a:cubicBezTo>
                  <a:cubicBezTo>
                    <a:pt x="149" y="72"/>
                    <a:pt x="149" y="72"/>
                    <a:pt x="149" y="72"/>
                  </a:cubicBezTo>
                  <a:cubicBezTo>
                    <a:pt x="150" y="74"/>
                    <a:pt x="150" y="74"/>
                    <a:pt x="150" y="74"/>
                  </a:cubicBezTo>
                  <a:cubicBezTo>
                    <a:pt x="150" y="74"/>
                    <a:pt x="155" y="76"/>
                    <a:pt x="155" y="77"/>
                  </a:cubicBezTo>
                  <a:cubicBezTo>
                    <a:pt x="155" y="78"/>
                    <a:pt x="155" y="80"/>
                    <a:pt x="155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60" y="84"/>
                    <a:pt x="160" y="84"/>
                    <a:pt x="160" y="84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0" y="91"/>
                    <a:pt x="160" y="91"/>
                    <a:pt x="160" y="91"/>
                  </a:cubicBezTo>
                  <a:cubicBezTo>
                    <a:pt x="160" y="91"/>
                    <a:pt x="161" y="94"/>
                    <a:pt x="160" y="94"/>
                  </a:cubicBezTo>
                  <a:cubicBezTo>
                    <a:pt x="159" y="94"/>
                    <a:pt x="156" y="96"/>
                    <a:pt x="156" y="96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54" y="99"/>
                    <a:pt x="154" y="103"/>
                    <a:pt x="154" y="104"/>
                  </a:cubicBezTo>
                  <a:cubicBezTo>
                    <a:pt x="155" y="106"/>
                    <a:pt x="154" y="109"/>
                    <a:pt x="154" y="109"/>
                  </a:cubicBezTo>
                  <a:cubicBezTo>
                    <a:pt x="154" y="109"/>
                    <a:pt x="154" y="111"/>
                    <a:pt x="155" y="112"/>
                  </a:cubicBezTo>
                  <a:cubicBezTo>
                    <a:pt x="156" y="113"/>
                    <a:pt x="157" y="115"/>
                    <a:pt x="157" y="115"/>
                  </a:cubicBezTo>
                  <a:cubicBezTo>
                    <a:pt x="157" y="115"/>
                    <a:pt x="158" y="116"/>
                    <a:pt x="159" y="118"/>
                  </a:cubicBezTo>
                  <a:cubicBezTo>
                    <a:pt x="160" y="120"/>
                    <a:pt x="164" y="125"/>
                    <a:pt x="164" y="125"/>
                  </a:cubicBezTo>
                  <a:cubicBezTo>
                    <a:pt x="164" y="125"/>
                    <a:pt x="167" y="126"/>
                    <a:pt x="168" y="126"/>
                  </a:cubicBezTo>
                  <a:cubicBezTo>
                    <a:pt x="168" y="126"/>
                    <a:pt x="172" y="128"/>
                    <a:pt x="172" y="128"/>
                  </a:cubicBezTo>
                  <a:cubicBezTo>
                    <a:pt x="172" y="128"/>
                    <a:pt x="174" y="128"/>
                    <a:pt x="174" y="129"/>
                  </a:cubicBezTo>
                  <a:cubicBezTo>
                    <a:pt x="174" y="129"/>
                    <a:pt x="178" y="135"/>
                    <a:pt x="178" y="135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6" y="136"/>
                    <a:pt x="186" y="136"/>
                    <a:pt x="186" y="136"/>
                  </a:cubicBezTo>
                  <a:cubicBezTo>
                    <a:pt x="186" y="136"/>
                    <a:pt x="185" y="141"/>
                    <a:pt x="184" y="142"/>
                  </a:cubicBezTo>
                  <a:cubicBezTo>
                    <a:pt x="183" y="143"/>
                    <a:pt x="180" y="147"/>
                    <a:pt x="180" y="147"/>
                  </a:cubicBezTo>
                  <a:cubicBezTo>
                    <a:pt x="180" y="147"/>
                    <a:pt x="178" y="149"/>
                    <a:pt x="178" y="151"/>
                  </a:cubicBezTo>
                  <a:cubicBezTo>
                    <a:pt x="179" y="152"/>
                    <a:pt x="179" y="155"/>
                    <a:pt x="179" y="155"/>
                  </a:cubicBezTo>
                  <a:cubicBezTo>
                    <a:pt x="179" y="155"/>
                    <a:pt x="177" y="157"/>
                    <a:pt x="176" y="157"/>
                  </a:cubicBezTo>
                  <a:cubicBezTo>
                    <a:pt x="175" y="157"/>
                    <a:pt x="173" y="157"/>
                    <a:pt x="172" y="158"/>
                  </a:cubicBezTo>
                  <a:cubicBezTo>
                    <a:pt x="171" y="158"/>
                    <a:pt x="170" y="159"/>
                    <a:pt x="170" y="159"/>
                  </a:cubicBezTo>
                  <a:cubicBezTo>
                    <a:pt x="169" y="160"/>
                    <a:pt x="167" y="162"/>
                    <a:pt x="167" y="162"/>
                  </a:cubicBezTo>
                  <a:cubicBezTo>
                    <a:pt x="169" y="165"/>
                    <a:pt x="169" y="165"/>
                    <a:pt x="169" y="165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70" y="175"/>
                    <a:pt x="170" y="175"/>
                    <a:pt x="170" y="175"/>
                  </a:cubicBezTo>
                  <a:cubicBezTo>
                    <a:pt x="170" y="175"/>
                    <a:pt x="173" y="176"/>
                    <a:pt x="173" y="177"/>
                  </a:cubicBezTo>
                  <a:cubicBezTo>
                    <a:pt x="174" y="177"/>
                    <a:pt x="175" y="180"/>
                    <a:pt x="175" y="180"/>
                  </a:cubicBezTo>
                  <a:cubicBezTo>
                    <a:pt x="174" y="182"/>
                    <a:pt x="174" y="182"/>
                    <a:pt x="174" y="182"/>
                  </a:cubicBezTo>
                  <a:cubicBezTo>
                    <a:pt x="173" y="185"/>
                    <a:pt x="173" y="185"/>
                    <a:pt x="173" y="185"/>
                  </a:cubicBezTo>
                  <a:cubicBezTo>
                    <a:pt x="173" y="185"/>
                    <a:pt x="172" y="187"/>
                    <a:pt x="171" y="188"/>
                  </a:cubicBezTo>
                  <a:cubicBezTo>
                    <a:pt x="169" y="188"/>
                    <a:pt x="166" y="188"/>
                    <a:pt x="166" y="188"/>
                  </a:cubicBezTo>
                  <a:cubicBezTo>
                    <a:pt x="166" y="188"/>
                    <a:pt x="166" y="187"/>
                    <a:pt x="164" y="188"/>
                  </a:cubicBezTo>
                  <a:cubicBezTo>
                    <a:pt x="162" y="188"/>
                    <a:pt x="160" y="190"/>
                    <a:pt x="160" y="190"/>
                  </a:cubicBezTo>
                  <a:cubicBezTo>
                    <a:pt x="160" y="190"/>
                    <a:pt x="160" y="190"/>
                    <a:pt x="159" y="191"/>
                  </a:cubicBezTo>
                  <a:cubicBezTo>
                    <a:pt x="157" y="191"/>
                    <a:pt x="156" y="191"/>
                    <a:pt x="155" y="191"/>
                  </a:cubicBezTo>
                  <a:cubicBezTo>
                    <a:pt x="154" y="191"/>
                    <a:pt x="152" y="190"/>
                    <a:pt x="152" y="190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0" y="193"/>
                    <a:pt x="148" y="194"/>
                    <a:pt x="147" y="194"/>
                  </a:cubicBezTo>
                  <a:cubicBezTo>
                    <a:pt x="147" y="194"/>
                    <a:pt x="144" y="198"/>
                    <a:pt x="144" y="198"/>
                  </a:cubicBezTo>
                  <a:cubicBezTo>
                    <a:pt x="144" y="198"/>
                    <a:pt x="144" y="198"/>
                    <a:pt x="143" y="198"/>
                  </a:cubicBezTo>
                  <a:cubicBezTo>
                    <a:pt x="141" y="198"/>
                    <a:pt x="139" y="197"/>
                    <a:pt x="139" y="197"/>
                  </a:cubicBezTo>
                  <a:cubicBezTo>
                    <a:pt x="136" y="194"/>
                    <a:pt x="136" y="194"/>
                    <a:pt x="136" y="194"/>
                  </a:cubicBezTo>
                  <a:cubicBezTo>
                    <a:pt x="136" y="194"/>
                    <a:pt x="137" y="194"/>
                    <a:pt x="139" y="192"/>
                  </a:cubicBezTo>
                  <a:cubicBezTo>
                    <a:pt x="140" y="191"/>
                    <a:pt x="140" y="191"/>
                    <a:pt x="140" y="190"/>
                  </a:cubicBezTo>
                  <a:cubicBezTo>
                    <a:pt x="139" y="188"/>
                    <a:pt x="138" y="186"/>
                    <a:pt x="139" y="186"/>
                  </a:cubicBezTo>
                  <a:cubicBezTo>
                    <a:pt x="140" y="185"/>
                    <a:pt x="141" y="186"/>
                    <a:pt x="142" y="184"/>
                  </a:cubicBezTo>
                  <a:cubicBezTo>
                    <a:pt x="142" y="183"/>
                    <a:pt x="142" y="182"/>
                    <a:pt x="142" y="180"/>
                  </a:cubicBezTo>
                  <a:cubicBezTo>
                    <a:pt x="142" y="179"/>
                    <a:pt x="142" y="177"/>
                    <a:pt x="143" y="177"/>
                  </a:cubicBezTo>
                  <a:cubicBezTo>
                    <a:pt x="144" y="176"/>
                    <a:pt x="144" y="175"/>
                    <a:pt x="144" y="175"/>
                  </a:cubicBezTo>
                  <a:cubicBezTo>
                    <a:pt x="139" y="174"/>
                    <a:pt x="139" y="174"/>
                    <a:pt x="139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6" y="175"/>
                    <a:pt x="136" y="173"/>
                    <a:pt x="134" y="173"/>
                  </a:cubicBezTo>
                  <a:cubicBezTo>
                    <a:pt x="132" y="172"/>
                    <a:pt x="128" y="172"/>
                    <a:pt x="128" y="172"/>
                  </a:cubicBezTo>
                  <a:cubicBezTo>
                    <a:pt x="127" y="168"/>
                    <a:pt x="127" y="168"/>
                    <a:pt x="127" y="168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119" y="166"/>
                    <a:pt x="118" y="162"/>
                    <a:pt x="117" y="161"/>
                  </a:cubicBezTo>
                  <a:cubicBezTo>
                    <a:pt x="116" y="160"/>
                    <a:pt x="116" y="160"/>
                    <a:pt x="116" y="160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08" y="156"/>
                    <a:pt x="108" y="156"/>
                    <a:pt x="108" y="156"/>
                  </a:cubicBezTo>
                  <a:cubicBezTo>
                    <a:pt x="108" y="156"/>
                    <a:pt x="107" y="156"/>
                    <a:pt x="105" y="155"/>
                  </a:cubicBezTo>
                  <a:cubicBezTo>
                    <a:pt x="102" y="154"/>
                    <a:pt x="101" y="151"/>
                    <a:pt x="101" y="151"/>
                  </a:cubicBezTo>
                  <a:cubicBezTo>
                    <a:pt x="101" y="151"/>
                    <a:pt x="101" y="149"/>
                    <a:pt x="99" y="150"/>
                  </a:cubicBezTo>
                  <a:cubicBezTo>
                    <a:pt x="97" y="152"/>
                    <a:pt x="95" y="152"/>
                    <a:pt x="94" y="153"/>
                  </a:cubicBezTo>
                  <a:cubicBezTo>
                    <a:pt x="94" y="153"/>
                    <a:pt x="93" y="153"/>
                    <a:pt x="92" y="154"/>
                  </a:cubicBezTo>
                  <a:cubicBezTo>
                    <a:pt x="92" y="155"/>
                    <a:pt x="91" y="155"/>
                    <a:pt x="93" y="157"/>
                  </a:cubicBezTo>
                  <a:cubicBezTo>
                    <a:pt x="94" y="158"/>
                    <a:pt x="95" y="159"/>
                    <a:pt x="95" y="159"/>
                  </a:cubicBezTo>
                  <a:cubicBezTo>
                    <a:pt x="94" y="164"/>
                    <a:pt x="94" y="164"/>
                    <a:pt x="94" y="164"/>
                  </a:cubicBezTo>
                  <a:cubicBezTo>
                    <a:pt x="88" y="170"/>
                    <a:pt x="88" y="170"/>
                    <a:pt x="88" y="170"/>
                  </a:cubicBezTo>
                  <a:cubicBezTo>
                    <a:pt x="89" y="173"/>
                    <a:pt x="89" y="173"/>
                    <a:pt x="89" y="173"/>
                  </a:cubicBezTo>
                  <a:cubicBezTo>
                    <a:pt x="89" y="173"/>
                    <a:pt x="91" y="173"/>
                    <a:pt x="88" y="174"/>
                  </a:cubicBezTo>
                  <a:cubicBezTo>
                    <a:pt x="86" y="175"/>
                    <a:pt x="86" y="176"/>
                    <a:pt x="85" y="176"/>
                  </a:cubicBezTo>
                  <a:cubicBezTo>
                    <a:pt x="85" y="175"/>
                    <a:pt x="84" y="174"/>
                    <a:pt x="82" y="173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81" y="172"/>
                    <a:pt x="81" y="172"/>
                    <a:pt x="80" y="171"/>
                  </a:cubicBezTo>
                  <a:cubicBezTo>
                    <a:pt x="80" y="171"/>
                    <a:pt x="80" y="171"/>
                    <a:pt x="80" y="171"/>
                  </a:cubicBezTo>
                  <a:cubicBezTo>
                    <a:pt x="80" y="171"/>
                    <a:pt x="80" y="170"/>
                    <a:pt x="78" y="170"/>
                  </a:cubicBezTo>
                  <a:cubicBezTo>
                    <a:pt x="77" y="170"/>
                    <a:pt x="75" y="168"/>
                    <a:pt x="75" y="168"/>
                  </a:cubicBezTo>
                  <a:cubicBezTo>
                    <a:pt x="72" y="168"/>
                    <a:pt x="72" y="168"/>
                    <a:pt x="72" y="168"/>
                  </a:cubicBezTo>
                  <a:cubicBezTo>
                    <a:pt x="72" y="168"/>
                    <a:pt x="69" y="165"/>
                    <a:pt x="69" y="165"/>
                  </a:cubicBezTo>
                  <a:cubicBezTo>
                    <a:pt x="68" y="165"/>
                    <a:pt x="65" y="164"/>
                    <a:pt x="65" y="164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5" y="162"/>
                    <a:pt x="64" y="162"/>
                    <a:pt x="64" y="162"/>
                  </a:cubicBezTo>
                  <a:cubicBezTo>
                    <a:pt x="63" y="162"/>
                    <a:pt x="62" y="163"/>
                    <a:pt x="62" y="163"/>
                  </a:cubicBezTo>
                  <a:cubicBezTo>
                    <a:pt x="59" y="164"/>
                    <a:pt x="59" y="164"/>
                    <a:pt x="59" y="164"/>
                  </a:cubicBezTo>
                  <a:cubicBezTo>
                    <a:pt x="59" y="164"/>
                    <a:pt x="57" y="164"/>
                    <a:pt x="57" y="164"/>
                  </a:cubicBezTo>
                  <a:cubicBezTo>
                    <a:pt x="56" y="163"/>
                    <a:pt x="55" y="161"/>
                    <a:pt x="55" y="161"/>
                  </a:cubicBezTo>
                  <a:cubicBezTo>
                    <a:pt x="55" y="161"/>
                    <a:pt x="55" y="161"/>
                    <a:pt x="54" y="161"/>
                  </a:cubicBezTo>
                  <a:cubicBezTo>
                    <a:pt x="53" y="162"/>
                    <a:pt x="55" y="163"/>
                    <a:pt x="53" y="162"/>
                  </a:cubicBezTo>
                  <a:cubicBezTo>
                    <a:pt x="50" y="161"/>
                    <a:pt x="50" y="161"/>
                    <a:pt x="50" y="161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6" y="159"/>
                    <a:pt x="46" y="159"/>
                    <a:pt x="46" y="159"/>
                  </a:cubicBezTo>
                  <a:cubicBezTo>
                    <a:pt x="46" y="159"/>
                    <a:pt x="45" y="157"/>
                    <a:pt x="45" y="157"/>
                  </a:cubicBezTo>
                  <a:cubicBezTo>
                    <a:pt x="45" y="157"/>
                    <a:pt x="45" y="155"/>
                    <a:pt x="45" y="155"/>
                  </a:cubicBezTo>
                  <a:cubicBezTo>
                    <a:pt x="44" y="155"/>
                    <a:pt x="41" y="154"/>
                    <a:pt x="41" y="154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39" y="152"/>
                    <a:pt x="37" y="151"/>
                    <a:pt x="37" y="151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48"/>
                    <a:pt x="31" y="147"/>
                    <a:pt x="31" y="147"/>
                  </a:cubicBezTo>
                  <a:cubicBezTo>
                    <a:pt x="32" y="147"/>
                    <a:pt x="32" y="145"/>
                    <a:pt x="32" y="145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2" y="144"/>
                    <a:pt x="34" y="144"/>
                    <a:pt x="34" y="144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141"/>
                    <a:pt x="36" y="141"/>
                    <a:pt x="37" y="141"/>
                  </a:cubicBezTo>
                  <a:cubicBezTo>
                    <a:pt x="39" y="142"/>
                    <a:pt x="40" y="142"/>
                    <a:pt x="41" y="142"/>
                  </a:cubicBezTo>
                  <a:cubicBezTo>
                    <a:pt x="42" y="142"/>
                    <a:pt x="43" y="144"/>
                    <a:pt x="43" y="140"/>
                  </a:cubicBezTo>
                  <a:cubicBezTo>
                    <a:pt x="43" y="137"/>
                    <a:pt x="43" y="136"/>
                    <a:pt x="43" y="136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32"/>
                    <a:pt x="38" y="131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4" y="127"/>
                    <a:pt x="32" y="125"/>
                    <a:pt x="32" y="125"/>
                  </a:cubicBezTo>
                  <a:cubicBezTo>
                    <a:pt x="31" y="124"/>
                    <a:pt x="30" y="123"/>
                    <a:pt x="30" y="123"/>
                  </a:cubicBezTo>
                  <a:cubicBezTo>
                    <a:pt x="30" y="123"/>
                    <a:pt x="30" y="121"/>
                    <a:pt x="30" y="120"/>
                  </a:cubicBezTo>
                  <a:cubicBezTo>
                    <a:pt x="31" y="120"/>
                    <a:pt x="31" y="120"/>
                    <a:pt x="32" y="120"/>
                  </a:cubicBezTo>
                  <a:cubicBezTo>
                    <a:pt x="33" y="121"/>
                    <a:pt x="34" y="121"/>
                    <a:pt x="35" y="121"/>
                  </a:cubicBezTo>
                  <a:cubicBezTo>
                    <a:pt x="36" y="121"/>
                    <a:pt x="37" y="121"/>
                    <a:pt x="38" y="121"/>
                  </a:cubicBezTo>
                  <a:cubicBezTo>
                    <a:pt x="38" y="121"/>
                    <a:pt x="41" y="120"/>
                    <a:pt x="41" y="120"/>
                  </a:cubicBezTo>
                  <a:cubicBezTo>
                    <a:pt x="42" y="120"/>
                    <a:pt x="42" y="118"/>
                    <a:pt x="43" y="118"/>
                  </a:cubicBezTo>
                  <a:cubicBezTo>
                    <a:pt x="43" y="118"/>
                    <a:pt x="44" y="117"/>
                    <a:pt x="43" y="116"/>
                  </a:cubicBezTo>
                  <a:cubicBezTo>
                    <a:pt x="43" y="116"/>
                    <a:pt x="41" y="115"/>
                    <a:pt x="41" y="115"/>
                  </a:cubicBezTo>
                  <a:cubicBezTo>
                    <a:pt x="40" y="115"/>
                    <a:pt x="39" y="114"/>
                    <a:pt x="39" y="113"/>
                  </a:cubicBezTo>
                  <a:cubicBezTo>
                    <a:pt x="38" y="113"/>
                    <a:pt x="37" y="112"/>
                    <a:pt x="37" y="111"/>
                  </a:cubicBezTo>
                  <a:cubicBezTo>
                    <a:pt x="36" y="111"/>
                    <a:pt x="36" y="112"/>
                    <a:pt x="35" y="112"/>
                  </a:cubicBezTo>
                  <a:cubicBezTo>
                    <a:pt x="34" y="111"/>
                    <a:pt x="33" y="110"/>
                    <a:pt x="32" y="109"/>
                  </a:cubicBezTo>
                  <a:cubicBezTo>
                    <a:pt x="32" y="108"/>
                    <a:pt x="32" y="108"/>
                    <a:pt x="31" y="107"/>
                  </a:cubicBezTo>
                  <a:cubicBezTo>
                    <a:pt x="30" y="107"/>
                    <a:pt x="29" y="106"/>
                    <a:pt x="28" y="106"/>
                  </a:cubicBezTo>
                  <a:cubicBezTo>
                    <a:pt x="27" y="106"/>
                    <a:pt x="27" y="107"/>
                    <a:pt x="25" y="106"/>
                  </a:cubicBezTo>
                  <a:cubicBezTo>
                    <a:pt x="23" y="106"/>
                    <a:pt x="21" y="105"/>
                    <a:pt x="21" y="104"/>
                  </a:cubicBezTo>
                  <a:cubicBezTo>
                    <a:pt x="22" y="103"/>
                    <a:pt x="21" y="103"/>
                    <a:pt x="22" y="102"/>
                  </a:cubicBezTo>
                  <a:cubicBezTo>
                    <a:pt x="22" y="101"/>
                    <a:pt x="22" y="99"/>
                    <a:pt x="22" y="98"/>
                  </a:cubicBezTo>
                  <a:cubicBezTo>
                    <a:pt x="22" y="97"/>
                    <a:pt x="21" y="98"/>
                    <a:pt x="21" y="95"/>
                  </a:cubicBezTo>
                  <a:cubicBezTo>
                    <a:pt x="20" y="92"/>
                    <a:pt x="22" y="93"/>
                    <a:pt x="22" y="93"/>
                  </a:cubicBezTo>
                  <a:cubicBezTo>
                    <a:pt x="22" y="93"/>
                    <a:pt x="23" y="91"/>
                    <a:pt x="23" y="90"/>
                  </a:cubicBezTo>
                  <a:cubicBezTo>
                    <a:pt x="23" y="90"/>
                    <a:pt x="24" y="87"/>
                    <a:pt x="24" y="87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3"/>
                    <a:pt x="17" y="73"/>
                  </a:cubicBezTo>
                  <a:cubicBezTo>
                    <a:pt x="17" y="73"/>
                    <a:pt x="16" y="74"/>
                    <a:pt x="15" y="74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5" y="65"/>
                    <a:pt x="14" y="63"/>
                  </a:cubicBezTo>
                  <a:cubicBezTo>
                    <a:pt x="13" y="62"/>
                    <a:pt x="12" y="61"/>
                    <a:pt x="12" y="61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8" y="59"/>
                    <a:pt x="20" y="59"/>
                  </a:cubicBezTo>
                  <a:cubicBezTo>
                    <a:pt x="21" y="59"/>
                    <a:pt x="20" y="59"/>
                    <a:pt x="22" y="58"/>
                  </a:cubicBezTo>
                  <a:cubicBezTo>
                    <a:pt x="24" y="58"/>
                    <a:pt x="27" y="55"/>
                    <a:pt x="27" y="55"/>
                  </a:cubicBezTo>
                  <a:cubicBezTo>
                    <a:pt x="27" y="55"/>
                    <a:pt x="25" y="53"/>
                    <a:pt x="24" y="53"/>
                  </a:cubicBezTo>
                  <a:cubicBezTo>
                    <a:pt x="23" y="54"/>
                    <a:pt x="24" y="54"/>
                    <a:pt x="21" y="54"/>
                  </a:cubicBezTo>
                  <a:cubicBezTo>
                    <a:pt x="18" y="53"/>
                    <a:pt x="17" y="52"/>
                    <a:pt x="17" y="52"/>
                  </a:cubicBezTo>
                  <a:cubicBezTo>
                    <a:pt x="17" y="52"/>
                    <a:pt x="16" y="52"/>
                    <a:pt x="15" y="52"/>
                  </a:cubicBezTo>
                  <a:cubicBezTo>
                    <a:pt x="14" y="52"/>
                    <a:pt x="14" y="52"/>
                    <a:pt x="13" y="51"/>
                  </a:cubicBezTo>
                  <a:cubicBezTo>
                    <a:pt x="11" y="49"/>
                    <a:pt x="9" y="47"/>
                    <a:pt x="9" y="47"/>
                  </a:cubicBezTo>
                  <a:cubicBezTo>
                    <a:pt x="9" y="47"/>
                    <a:pt x="7" y="48"/>
                    <a:pt x="7" y="47"/>
                  </a:cubicBezTo>
                  <a:cubicBezTo>
                    <a:pt x="7" y="46"/>
                    <a:pt x="8" y="45"/>
                    <a:pt x="8" y="45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9" y="43"/>
                    <a:pt x="10" y="42"/>
                  </a:cubicBezTo>
                  <a:cubicBezTo>
                    <a:pt x="11" y="42"/>
                    <a:pt x="11" y="39"/>
                    <a:pt x="10" y="39"/>
                  </a:cubicBezTo>
                  <a:cubicBezTo>
                    <a:pt x="9" y="39"/>
                    <a:pt x="8" y="38"/>
                    <a:pt x="7" y="39"/>
                  </a:cubicBezTo>
                  <a:cubicBezTo>
                    <a:pt x="6" y="39"/>
                    <a:pt x="5" y="40"/>
                    <a:pt x="5" y="40"/>
                  </a:cubicBezTo>
                  <a:cubicBezTo>
                    <a:pt x="4" y="40"/>
                    <a:pt x="2" y="39"/>
                    <a:pt x="2" y="38"/>
                  </a:cubicBezTo>
                  <a:cubicBezTo>
                    <a:pt x="2" y="37"/>
                    <a:pt x="1" y="37"/>
                    <a:pt x="3" y="36"/>
                  </a:cubicBezTo>
                  <a:cubicBezTo>
                    <a:pt x="4" y="36"/>
                    <a:pt x="5" y="34"/>
                    <a:pt x="5" y="34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0" y="15"/>
                    <a:pt x="11" y="14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5" name="Freeform 25"/>
            <p:cNvSpPr>
              <a:spLocks/>
            </p:cNvSpPr>
            <p:nvPr/>
          </p:nvSpPr>
          <p:spPr bwMode="auto">
            <a:xfrm>
              <a:off x="4681844" y="3129624"/>
              <a:ext cx="394695" cy="240785"/>
            </a:xfrm>
            <a:custGeom>
              <a:avLst/>
              <a:gdLst>
                <a:gd name="T0" fmla="*/ 33 w 173"/>
                <a:gd name="T1" fmla="*/ 82 h 109"/>
                <a:gd name="T2" fmla="*/ 34 w 173"/>
                <a:gd name="T3" fmla="*/ 96 h 109"/>
                <a:gd name="T4" fmla="*/ 43 w 173"/>
                <a:gd name="T5" fmla="*/ 106 h 109"/>
                <a:gd name="T6" fmla="*/ 57 w 173"/>
                <a:gd name="T7" fmla="*/ 101 h 109"/>
                <a:gd name="T8" fmla="*/ 68 w 173"/>
                <a:gd name="T9" fmla="*/ 103 h 109"/>
                <a:gd name="T10" fmla="*/ 78 w 173"/>
                <a:gd name="T11" fmla="*/ 97 h 109"/>
                <a:gd name="T12" fmla="*/ 81 w 173"/>
                <a:gd name="T13" fmla="*/ 85 h 109"/>
                <a:gd name="T14" fmla="*/ 88 w 173"/>
                <a:gd name="T15" fmla="*/ 77 h 109"/>
                <a:gd name="T16" fmla="*/ 94 w 173"/>
                <a:gd name="T17" fmla="*/ 85 h 109"/>
                <a:gd name="T18" fmla="*/ 103 w 173"/>
                <a:gd name="T19" fmla="*/ 92 h 109"/>
                <a:gd name="T20" fmla="*/ 110 w 173"/>
                <a:gd name="T21" fmla="*/ 96 h 109"/>
                <a:gd name="T22" fmla="*/ 113 w 173"/>
                <a:gd name="T23" fmla="*/ 108 h 109"/>
                <a:gd name="T24" fmla="*/ 117 w 173"/>
                <a:gd name="T25" fmla="*/ 101 h 109"/>
                <a:gd name="T26" fmla="*/ 121 w 173"/>
                <a:gd name="T27" fmla="*/ 89 h 109"/>
                <a:gd name="T28" fmla="*/ 126 w 173"/>
                <a:gd name="T29" fmla="*/ 80 h 109"/>
                <a:gd name="T30" fmla="*/ 130 w 173"/>
                <a:gd name="T31" fmla="*/ 72 h 109"/>
                <a:gd name="T32" fmla="*/ 136 w 173"/>
                <a:gd name="T33" fmla="*/ 81 h 109"/>
                <a:gd name="T34" fmla="*/ 147 w 173"/>
                <a:gd name="T35" fmla="*/ 78 h 109"/>
                <a:gd name="T36" fmla="*/ 156 w 173"/>
                <a:gd name="T37" fmla="*/ 84 h 109"/>
                <a:gd name="T38" fmla="*/ 158 w 173"/>
                <a:gd name="T39" fmla="*/ 79 h 109"/>
                <a:gd name="T40" fmla="*/ 156 w 173"/>
                <a:gd name="T41" fmla="*/ 71 h 109"/>
                <a:gd name="T42" fmla="*/ 161 w 173"/>
                <a:gd name="T43" fmla="*/ 64 h 109"/>
                <a:gd name="T44" fmla="*/ 170 w 173"/>
                <a:gd name="T45" fmla="*/ 67 h 109"/>
                <a:gd name="T46" fmla="*/ 170 w 173"/>
                <a:gd name="T47" fmla="*/ 58 h 109"/>
                <a:gd name="T48" fmla="*/ 170 w 173"/>
                <a:gd name="T49" fmla="*/ 45 h 109"/>
                <a:gd name="T50" fmla="*/ 163 w 173"/>
                <a:gd name="T51" fmla="*/ 46 h 109"/>
                <a:gd name="T52" fmla="*/ 152 w 173"/>
                <a:gd name="T53" fmla="*/ 48 h 109"/>
                <a:gd name="T54" fmla="*/ 138 w 173"/>
                <a:gd name="T55" fmla="*/ 40 h 109"/>
                <a:gd name="T56" fmla="*/ 133 w 173"/>
                <a:gd name="T57" fmla="*/ 40 h 109"/>
                <a:gd name="T58" fmla="*/ 133 w 173"/>
                <a:gd name="T59" fmla="*/ 35 h 109"/>
                <a:gd name="T60" fmla="*/ 137 w 173"/>
                <a:gd name="T61" fmla="*/ 24 h 109"/>
                <a:gd name="T62" fmla="*/ 136 w 173"/>
                <a:gd name="T63" fmla="*/ 15 h 109"/>
                <a:gd name="T64" fmla="*/ 125 w 173"/>
                <a:gd name="T65" fmla="*/ 8 h 109"/>
                <a:gd name="T66" fmla="*/ 110 w 173"/>
                <a:gd name="T67" fmla="*/ 7 h 109"/>
                <a:gd name="T68" fmla="*/ 102 w 173"/>
                <a:gd name="T69" fmla="*/ 6 h 109"/>
                <a:gd name="T70" fmla="*/ 103 w 173"/>
                <a:gd name="T71" fmla="*/ 1 h 109"/>
                <a:gd name="T72" fmla="*/ 95 w 173"/>
                <a:gd name="T73" fmla="*/ 2 h 109"/>
                <a:gd name="T74" fmla="*/ 100 w 173"/>
                <a:gd name="T75" fmla="*/ 8 h 109"/>
                <a:gd name="T76" fmla="*/ 92 w 173"/>
                <a:gd name="T77" fmla="*/ 12 h 109"/>
                <a:gd name="T78" fmla="*/ 76 w 173"/>
                <a:gd name="T79" fmla="*/ 13 h 109"/>
                <a:gd name="T80" fmla="*/ 65 w 173"/>
                <a:gd name="T81" fmla="*/ 13 h 109"/>
                <a:gd name="T82" fmla="*/ 59 w 173"/>
                <a:gd name="T83" fmla="*/ 14 h 109"/>
                <a:gd name="T84" fmla="*/ 56 w 173"/>
                <a:gd name="T85" fmla="*/ 20 h 109"/>
                <a:gd name="T86" fmla="*/ 46 w 173"/>
                <a:gd name="T87" fmla="*/ 16 h 109"/>
                <a:gd name="T88" fmla="*/ 39 w 173"/>
                <a:gd name="T89" fmla="*/ 20 h 109"/>
                <a:gd name="T90" fmla="*/ 42 w 173"/>
                <a:gd name="T91" fmla="*/ 23 h 109"/>
                <a:gd name="T92" fmla="*/ 37 w 173"/>
                <a:gd name="T93" fmla="*/ 33 h 109"/>
                <a:gd name="T94" fmla="*/ 29 w 173"/>
                <a:gd name="T95" fmla="*/ 41 h 109"/>
                <a:gd name="T96" fmla="*/ 19 w 173"/>
                <a:gd name="T97" fmla="*/ 47 h 109"/>
                <a:gd name="T98" fmla="*/ 19 w 173"/>
                <a:gd name="T99" fmla="*/ 56 h 109"/>
                <a:gd name="T100" fmla="*/ 7 w 173"/>
                <a:gd name="T101" fmla="*/ 67 h 109"/>
                <a:gd name="T102" fmla="*/ 7 w 173"/>
                <a:gd name="T103" fmla="*/ 77 h 109"/>
                <a:gd name="T104" fmla="*/ 0 w 173"/>
                <a:gd name="T105" fmla="*/ 87 h 109"/>
                <a:gd name="T106" fmla="*/ 10 w 173"/>
                <a:gd name="T107" fmla="*/ 87 h 109"/>
                <a:gd name="T108" fmla="*/ 12 w 173"/>
                <a:gd name="T109" fmla="*/ 77 h 109"/>
                <a:gd name="T110" fmla="*/ 31 w 173"/>
                <a:gd name="T111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" h="109">
                  <a:moveTo>
                    <a:pt x="31" y="75"/>
                  </a:moveTo>
                  <a:cubicBezTo>
                    <a:pt x="33" y="76"/>
                    <a:pt x="33" y="76"/>
                    <a:pt x="33" y="76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7"/>
                    <a:pt x="32" y="7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80"/>
                    <a:pt x="33" y="81"/>
                    <a:pt x="33" y="81"/>
                  </a:cubicBezTo>
                  <a:cubicBezTo>
                    <a:pt x="33" y="81"/>
                    <a:pt x="34" y="81"/>
                    <a:pt x="33" y="82"/>
                  </a:cubicBezTo>
                  <a:cubicBezTo>
                    <a:pt x="33" y="84"/>
                    <a:pt x="33" y="85"/>
                    <a:pt x="33" y="85"/>
                  </a:cubicBezTo>
                  <a:cubicBezTo>
                    <a:pt x="33" y="85"/>
                    <a:pt x="33" y="86"/>
                    <a:pt x="33" y="87"/>
                  </a:cubicBezTo>
                  <a:cubicBezTo>
                    <a:pt x="32" y="87"/>
                    <a:pt x="31" y="90"/>
                    <a:pt x="31" y="90"/>
                  </a:cubicBezTo>
                  <a:cubicBezTo>
                    <a:pt x="31" y="90"/>
                    <a:pt x="31" y="90"/>
                    <a:pt x="31" y="91"/>
                  </a:cubicBezTo>
                  <a:cubicBezTo>
                    <a:pt x="32" y="91"/>
                    <a:pt x="35" y="91"/>
                    <a:pt x="35" y="91"/>
                  </a:cubicBezTo>
                  <a:cubicBezTo>
                    <a:pt x="35" y="91"/>
                    <a:pt x="35" y="93"/>
                    <a:pt x="35" y="94"/>
                  </a:cubicBezTo>
                  <a:cubicBezTo>
                    <a:pt x="34" y="94"/>
                    <a:pt x="33" y="96"/>
                    <a:pt x="34" y="96"/>
                  </a:cubicBezTo>
                  <a:cubicBezTo>
                    <a:pt x="35" y="96"/>
                    <a:pt x="36" y="97"/>
                    <a:pt x="36" y="97"/>
                  </a:cubicBezTo>
                  <a:cubicBezTo>
                    <a:pt x="36" y="97"/>
                    <a:pt x="37" y="98"/>
                    <a:pt x="37" y="98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41" y="101"/>
                    <a:pt x="41" y="101"/>
                  </a:cubicBezTo>
                  <a:cubicBezTo>
                    <a:pt x="41" y="102"/>
                    <a:pt x="40" y="103"/>
                    <a:pt x="40" y="103"/>
                  </a:cubicBezTo>
                  <a:cubicBezTo>
                    <a:pt x="40" y="103"/>
                    <a:pt x="42" y="105"/>
                    <a:pt x="42" y="105"/>
                  </a:cubicBezTo>
                  <a:cubicBezTo>
                    <a:pt x="42" y="105"/>
                    <a:pt x="42" y="106"/>
                    <a:pt x="43" y="106"/>
                  </a:cubicBezTo>
                  <a:cubicBezTo>
                    <a:pt x="44" y="106"/>
                    <a:pt x="45" y="105"/>
                    <a:pt x="45" y="105"/>
                  </a:cubicBezTo>
                  <a:cubicBezTo>
                    <a:pt x="45" y="105"/>
                    <a:pt x="47" y="104"/>
                    <a:pt x="47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3"/>
                    <a:pt x="51" y="104"/>
                    <a:pt x="52" y="104"/>
                  </a:cubicBezTo>
                  <a:cubicBezTo>
                    <a:pt x="53" y="104"/>
                    <a:pt x="56" y="104"/>
                    <a:pt x="56" y="104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6" y="101"/>
                    <a:pt x="57" y="101"/>
                  </a:cubicBezTo>
                  <a:cubicBezTo>
                    <a:pt x="58" y="101"/>
                    <a:pt x="59" y="101"/>
                    <a:pt x="59" y="101"/>
                  </a:cubicBezTo>
                  <a:cubicBezTo>
                    <a:pt x="59" y="101"/>
                    <a:pt x="58" y="100"/>
                    <a:pt x="59" y="100"/>
                  </a:cubicBezTo>
                  <a:cubicBezTo>
                    <a:pt x="59" y="100"/>
                    <a:pt x="61" y="100"/>
                    <a:pt x="62" y="101"/>
                  </a:cubicBezTo>
                  <a:cubicBezTo>
                    <a:pt x="62" y="101"/>
                    <a:pt x="64" y="100"/>
                    <a:pt x="64" y="101"/>
                  </a:cubicBezTo>
                  <a:cubicBezTo>
                    <a:pt x="64" y="101"/>
                    <a:pt x="65" y="102"/>
                    <a:pt x="65" y="102"/>
                  </a:cubicBezTo>
                  <a:cubicBezTo>
                    <a:pt x="65" y="102"/>
                    <a:pt x="66" y="104"/>
                    <a:pt x="66" y="103"/>
                  </a:cubicBezTo>
                  <a:cubicBezTo>
                    <a:pt x="67" y="103"/>
                    <a:pt x="67" y="103"/>
                    <a:pt x="68" y="103"/>
                  </a:cubicBezTo>
                  <a:cubicBezTo>
                    <a:pt x="68" y="104"/>
                    <a:pt x="70" y="104"/>
                    <a:pt x="71" y="104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02"/>
                    <a:pt x="70" y="101"/>
                    <a:pt x="72" y="101"/>
                  </a:cubicBezTo>
                  <a:cubicBezTo>
                    <a:pt x="73" y="101"/>
                    <a:pt x="73" y="100"/>
                    <a:pt x="74" y="100"/>
                  </a:cubicBezTo>
                  <a:cubicBezTo>
                    <a:pt x="75" y="100"/>
                    <a:pt x="76" y="100"/>
                    <a:pt x="76" y="100"/>
                  </a:cubicBezTo>
                  <a:cubicBezTo>
                    <a:pt x="76" y="100"/>
                    <a:pt x="76" y="100"/>
                    <a:pt x="77" y="99"/>
                  </a:cubicBezTo>
                  <a:cubicBezTo>
                    <a:pt x="78" y="98"/>
                    <a:pt x="78" y="97"/>
                    <a:pt x="78" y="97"/>
                  </a:cubicBezTo>
                  <a:cubicBezTo>
                    <a:pt x="78" y="96"/>
                    <a:pt x="78" y="95"/>
                    <a:pt x="78" y="95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80" y="93"/>
                    <a:pt x="80" y="93"/>
                    <a:pt x="81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81" y="83"/>
                    <a:pt x="81" y="83"/>
                    <a:pt x="81" y="83"/>
                  </a:cubicBezTo>
                  <a:cubicBezTo>
                    <a:pt x="81" y="83"/>
                    <a:pt x="82" y="82"/>
                    <a:pt x="83" y="82"/>
                  </a:cubicBezTo>
                  <a:cubicBezTo>
                    <a:pt x="84" y="82"/>
                    <a:pt x="84" y="82"/>
                    <a:pt x="84" y="81"/>
                  </a:cubicBezTo>
                  <a:cubicBezTo>
                    <a:pt x="85" y="81"/>
                    <a:pt x="87" y="79"/>
                    <a:pt x="87" y="79"/>
                  </a:cubicBezTo>
                  <a:cubicBezTo>
                    <a:pt x="87" y="79"/>
                    <a:pt x="87" y="79"/>
                    <a:pt x="88" y="79"/>
                  </a:cubicBezTo>
                  <a:cubicBezTo>
                    <a:pt x="88" y="78"/>
                    <a:pt x="88" y="77"/>
                    <a:pt x="88" y="77"/>
                  </a:cubicBezTo>
                  <a:cubicBezTo>
                    <a:pt x="88" y="77"/>
                    <a:pt x="88" y="76"/>
                    <a:pt x="89" y="76"/>
                  </a:cubicBezTo>
                  <a:cubicBezTo>
                    <a:pt x="90" y="75"/>
                    <a:pt x="94" y="74"/>
                    <a:pt x="94" y="74"/>
                  </a:cubicBezTo>
                  <a:cubicBezTo>
                    <a:pt x="94" y="74"/>
                    <a:pt x="93" y="76"/>
                    <a:pt x="93" y="77"/>
                  </a:cubicBezTo>
                  <a:cubicBezTo>
                    <a:pt x="93" y="78"/>
                    <a:pt x="94" y="80"/>
                    <a:pt x="94" y="80"/>
                  </a:cubicBezTo>
                  <a:cubicBezTo>
                    <a:pt x="94" y="80"/>
                    <a:pt x="93" y="82"/>
                    <a:pt x="93" y="82"/>
                  </a:cubicBezTo>
                  <a:cubicBezTo>
                    <a:pt x="93" y="83"/>
                    <a:pt x="93" y="84"/>
                    <a:pt x="93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6"/>
                    <a:pt x="94" y="86"/>
                  </a:cubicBezTo>
                  <a:cubicBezTo>
                    <a:pt x="95" y="86"/>
                    <a:pt x="96" y="88"/>
                    <a:pt x="96" y="88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98" y="89"/>
                    <a:pt x="98" y="90"/>
                  </a:cubicBezTo>
                  <a:cubicBezTo>
                    <a:pt x="98" y="90"/>
                    <a:pt x="99" y="91"/>
                    <a:pt x="100" y="92"/>
                  </a:cubicBezTo>
                  <a:cubicBezTo>
                    <a:pt x="100" y="92"/>
                    <a:pt x="101" y="92"/>
                    <a:pt x="101" y="92"/>
                  </a:cubicBezTo>
                  <a:cubicBezTo>
                    <a:pt x="102" y="92"/>
                    <a:pt x="103" y="92"/>
                    <a:pt x="103" y="92"/>
                  </a:cubicBezTo>
                  <a:cubicBezTo>
                    <a:pt x="103" y="93"/>
                    <a:pt x="105" y="93"/>
                    <a:pt x="106" y="93"/>
                  </a:cubicBezTo>
                  <a:cubicBezTo>
                    <a:pt x="106" y="94"/>
                    <a:pt x="108" y="93"/>
                    <a:pt x="108" y="93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10" y="94"/>
                    <a:pt x="110" y="94"/>
                    <a:pt x="110" y="94"/>
                  </a:cubicBezTo>
                  <a:cubicBezTo>
                    <a:pt x="110" y="94"/>
                    <a:pt x="111" y="94"/>
                    <a:pt x="111" y="95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9" y="97"/>
                    <a:pt x="108" y="99"/>
                    <a:pt x="108" y="99"/>
                  </a:cubicBezTo>
                  <a:cubicBezTo>
                    <a:pt x="111" y="101"/>
                    <a:pt x="111" y="101"/>
                    <a:pt x="111" y="101"/>
                  </a:cubicBezTo>
                  <a:cubicBezTo>
                    <a:pt x="111" y="101"/>
                    <a:pt x="112" y="101"/>
                    <a:pt x="112" y="102"/>
                  </a:cubicBezTo>
                  <a:cubicBezTo>
                    <a:pt x="113" y="103"/>
                    <a:pt x="113" y="104"/>
                    <a:pt x="113" y="104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3" y="105"/>
                    <a:pt x="113" y="107"/>
                    <a:pt x="113" y="107"/>
                  </a:cubicBezTo>
                  <a:cubicBezTo>
                    <a:pt x="113" y="107"/>
                    <a:pt x="111" y="108"/>
                    <a:pt x="113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6" y="108"/>
                    <a:pt x="117" y="109"/>
                    <a:pt x="117" y="109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7" y="106"/>
                    <a:pt x="119" y="105"/>
                  </a:cubicBezTo>
                  <a:cubicBezTo>
                    <a:pt x="120" y="104"/>
                    <a:pt x="120" y="104"/>
                    <a:pt x="120" y="104"/>
                  </a:cubicBezTo>
                  <a:cubicBezTo>
                    <a:pt x="120" y="104"/>
                    <a:pt x="117" y="103"/>
                    <a:pt x="117" y="102"/>
                  </a:cubicBezTo>
                  <a:cubicBezTo>
                    <a:pt x="117" y="102"/>
                    <a:pt x="116" y="102"/>
                    <a:pt x="117" y="101"/>
                  </a:cubicBezTo>
                  <a:cubicBezTo>
                    <a:pt x="117" y="100"/>
                    <a:pt x="116" y="100"/>
                    <a:pt x="117" y="99"/>
                  </a:cubicBezTo>
                  <a:cubicBezTo>
                    <a:pt x="117" y="99"/>
                    <a:pt x="118" y="99"/>
                    <a:pt x="118" y="98"/>
                  </a:cubicBezTo>
                  <a:cubicBezTo>
                    <a:pt x="118" y="98"/>
                    <a:pt x="117" y="96"/>
                    <a:pt x="117" y="96"/>
                  </a:cubicBezTo>
                  <a:cubicBezTo>
                    <a:pt x="119" y="95"/>
                    <a:pt x="119" y="95"/>
                    <a:pt x="119" y="95"/>
                  </a:cubicBezTo>
                  <a:cubicBezTo>
                    <a:pt x="119" y="95"/>
                    <a:pt x="119" y="94"/>
                    <a:pt x="119" y="94"/>
                  </a:cubicBezTo>
                  <a:cubicBezTo>
                    <a:pt x="119" y="93"/>
                    <a:pt x="119" y="91"/>
                    <a:pt x="119" y="91"/>
                  </a:cubicBezTo>
                  <a:cubicBezTo>
                    <a:pt x="120" y="91"/>
                    <a:pt x="121" y="89"/>
                    <a:pt x="121" y="89"/>
                  </a:cubicBezTo>
                  <a:cubicBezTo>
                    <a:pt x="121" y="89"/>
                    <a:pt x="123" y="89"/>
                    <a:pt x="123" y="89"/>
                  </a:cubicBezTo>
                  <a:cubicBezTo>
                    <a:pt x="123" y="88"/>
                    <a:pt x="124" y="87"/>
                    <a:pt x="124" y="87"/>
                  </a:cubicBezTo>
                  <a:cubicBezTo>
                    <a:pt x="124" y="87"/>
                    <a:pt x="124" y="87"/>
                    <a:pt x="125" y="86"/>
                  </a:cubicBezTo>
                  <a:cubicBezTo>
                    <a:pt x="125" y="85"/>
                    <a:pt x="125" y="84"/>
                    <a:pt x="125" y="84"/>
                  </a:cubicBezTo>
                  <a:cubicBezTo>
                    <a:pt x="125" y="83"/>
                    <a:pt x="126" y="82"/>
                    <a:pt x="126" y="82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0"/>
                    <a:pt x="126" y="80"/>
                  </a:cubicBezTo>
                  <a:cubicBezTo>
                    <a:pt x="126" y="79"/>
                    <a:pt x="126" y="78"/>
                    <a:pt x="126" y="78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71"/>
                    <a:pt x="128" y="70"/>
                    <a:pt x="128" y="71"/>
                  </a:cubicBezTo>
                  <a:cubicBezTo>
                    <a:pt x="129" y="71"/>
                    <a:pt x="130" y="72"/>
                    <a:pt x="130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4" y="71"/>
                    <a:pt x="134" y="72"/>
                  </a:cubicBezTo>
                  <a:cubicBezTo>
                    <a:pt x="133" y="72"/>
                    <a:pt x="132" y="73"/>
                    <a:pt x="133" y="74"/>
                  </a:cubicBezTo>
                  <a:cubicBezTo>
                    <a:pt x="133" y="74"/>
                    <a:pt x="134" y="75"/>
                    <a:pt x="134" y="76"/>
                  </a:cubicBezTo>
                  <a:cubicBezTo>
                    <a:pt x="134" y="77"/>
                    <a:pt x="134" y="77"/>
                    <a:pt x="134" y="79"/>
                  </a:cubicBezTo>
                  <a:cubicBezTo>
                    <a:pt x="134" y="80"/>
                    <a:pt x="136" y="80"/>
                    <a:pt x="136" y="81"/>
                  </a:cubicBezTo>
                  <a:cubicBezTo>
                    <a:pt x="137" y="81"/>
                    <a:pt x="135" y="82"/>
                    <a:pt x="138" y="82"/>
                  </a:cubicBezTo>
                  <a:cubicBezTo>
                    <a:pt x="140" y="82"/>
                    <a:pt x="142" y="83"/>
                    <a:pt x="142" y="82"/>
                  </a:cubicBezTo>
                  <a:cubicBezTo>
                    <a:pt x="143" y="82"/>
                    <a:pt x="143" y="82"/>
                    <a:pt x="143" y="81"/>
                  </a:cubicBezTo>
                  <a:cubicBezTo>
                    <a:pt x="142" y="80"/>
                    <a:pt x="143" y="79"/>
                    <a:pt x="143" y="79"/>
                  </a:cubicBezTo>
                  <a:cubicBezTo>
                    <a:pt x="143" y="79"/>
                    <a:pt x="144" y="79"/>
                    <a:pt x="144" y="79"/>
                  </a:cubicBezTo>
                  <a:cubicBezTo>
                    <a:pt x="145" y="79"/>
                    <a:pt x="145" y="80"/>
                    <a:pt x="146" y="79"/>
                  </a:cubicBezTo>
                  <a:cubicBezTo>
                    <a:pt x="146" y="79"/>
                    <a:pt x="147" y="78"/>
                    <a:pt x="147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8" y="77"/>
                    <a:pt x="150" y="77"/>
                  </a:cubicBezTo>
                  <a:cubicBezTo>
                    <a:pt x="151" y="77"/>
                    <a:pt x="153" y="77"/>
                    <a:pt x="153" y="77"/>
                  </a:cubicBezTo>
                  <a:cubicBezTo>
                    <a:pt x="153" y="77"/>
                    <a:pt x="153" y="78"/>
                    <a:pt x="153" y="79"/>
                  </a:cubicBezTo>
                  <a:cubicBezTo>
                    <a:pt x="154" y="80"/>
                    <a:pt x="154" y="80"/>
                    <a:pt x="154" y="80"/>
                  </a:cubicBezTo>
                  <a:cubicBezTo>
                    <a:pt x="154" y="80"/>
                    <a:pt x="153" y="80"/>
                    <a:pt x="154" y="82"/>
                  </a:cubicBezTo>
                  <a:cubicBezTo>
                    <a:pt x="155" y="83"/>
                    <a:pt x="156" y="83"/>
                    <a:pt x="156" y="84"/>
                  </a:cubicBezTo>
                  <a:cubicBezTo>
                    <a:pt x="157" y="84"/>
                    <a:pt x="156" y="86"/>
                    <a:pt x="156" y="86"/>
                  </a:cubicBezTo>
                  <a:cubicBezTo>
                    <a:pt x="156" y="86"/>
                    <a:pt x="158" y="86"/>
                    <a:pt x="158" y="86"/>
                  </a:cubicBezTo>
                  <a:cubicBezTo>
                    <a:pt x="158" y="85"/>
                    <a:pt x="158" y="85"/>
                    <a:pt x="159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59" y="85"/>
                    <a:pt x="160" y="84"/>
                    <a:pt x="160" y="83"/>
                  </a:cubicBezTo>
                  <a:cubicBezTo>
                    <a:pt x="160" y="83"/>
                    <a:pt x="160" y="80"/>
                    <a:pt x="159" y="80"/>
                  </a:cubicBezTo>
                  <a:cubicBezTo>
                    <a:pt x="159" y="80"/>
                    <a:pt x="158" y="80"/>
                    <a:pt x="158" y="79"/>
                  </a:cubicBezTo>
                  <a:cubicBezTo>
                    <a:pt x="157" y="78"/>
                    <a:pt x="157" y="78"/>
                    <a:pt x="158" y="78"/>
                  </a:cubicBezTo>
                  <a:cubicBezTo>
                    <a:pt x="158" y="78"/>
                    <a:pt x="159" y="77"/>
                    <a:pt x="159" y="77"/>
                  </a:cubicBezTo>
                  <a:cubicBezTo>
                    <a:pt x="159" y="77"/>
                    <a:pt x="160" y="76"/>
                    <a:pt x="159" y="76"/>
                  </a:cubicBezTo>
                  <a:cubicBezTo>
                    <a:pt x="159" y="75"/>
                    <a:pt x="158" y="74"/>
                    <a:pt x="158" y="74"/>
                  </a:cubicBezTo>
                  <a:cubicBezTo>
                    <a:pt x="158" y="74"/>
                    <a:pt x="157" y="75"/>
                    <a:pt x="156" y="74"/>
                  </a:cubicBezTo>
                  <a:cubicBezTo>
                    <a:pt x="156" y="74"/>
                    <a:pt x="156" y="74"/>
                    <a:pt x="156" y="73"/>
                  </a:cubicBezTo>
                  <a:cubicBezTo>
                    <a:pt x="156" y="73"/>
                    <a:pt x="156" y="71"/>
                    <a:pt x="156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6" y="68"/>
                    <a:pt x="156" y="68"/>
                    <a:pt x="156" y="68"/>
                  </a:cubicBezTo>
                  <a:cubicBezTo>
                    <a:pt x="156" y="68"/>
                    <a:pt x="156" y="67"/>
                    <a:pt x="157" y="67"/>
                  </a:cubicBezTo>
                  <a:cubicBezTo>
                    <a:pt x="157" y="66"/>
                    <a:pt x="157" y="66"/>
                    <a:pt x="157" y="65"/>
                  </a:cubicBezTo>
                  <a:cubicBezTo>
                    <a:pt x="158" y="65"/>
                    <a:pt x="158" y="64"/>
                    <a:pt x="158" y="64"/>
                  </a:cubicBezTo>
                  <a:cubicBezTo>
                    <a:pt x="159" y="64"/>
                    <a:pt x="160" y="64"/>
                    <a:pt x="161" y="64"/>
                  </a:cubicBezTo>
                  <a:cubicBezTo>
                    <a:pt x="161" y="64"/>
                    <a:pt x="161" y="63"/>
                    <a:pt x="162" y="63"/>
                  </a:cubicBezTo>
                  <a:cubicBezTo>
                    <a:pt x="162" y="63"/>
                    <a:pt x="163" y="64"/>
                    <a:pt x="163" y="64"/>
                  </a:cubicBezTo>
                  <a:cubicBezTo>
                    <a:pt x="163" y="64"/>
                    <a:pt x="163" y="64"/>
                    <a:pt x="163" y="65"/>
                  </a:cubicBezTo>
                  <a:cubicBezTo>
                    <a:pt x="163" y="65"/>
                    <a:pt x="166" y="67"/>
                    <a:pt x="166" y="67"/>
                  </a:cubicBezTo>
                  <a:cubicBezTo>
                    <a:pt x="166" y="67"/>
                    <a:pt x="166" y="67"/>
                    <a:pt x="167" y="67"/>
                  </a:cubicBezTo>
                  <a:cubicBezTo>
                    <a:pt x="167" y="67"/>
                    <a:pt x="166" y="67"/>
                    <a:pt x="167" y="67"/>
                  </a:cubicBezTo>
                  <a:cubicBezTo>
                    <a:pt x="167" y="68"/>
                    <a:pt x="170" y="67"/>
                    <a:pt x="170" y="67"/>
                  </a:cubicBezTo>
                  <a:cubicBezTo>
                    <a:pt x="171" y="67"/>
                    <a:pt x="171" y="67"/>
                    <a:pt x="171" y="67"/>
                  </a:cubicBezTo>
                  <a:cubicBezTo>
                    <a:pt x="171" y="67"/>
                    <a:pt x="171" y="67"/>
                    <a:pt x="171" y="66"/>
                  </a:cubicBezTo>
                  <a:cubicBezTo>
                    <a:pt x="172" y="66"/>
                    <a:pt x="172" y="65"/>
                    <a:pt x="172" y="64"/>
                  </a:cubicBezTo>
                  <a:cubicBezTo>
                    <a:pt x="172" y="64"/>
                    <a:pt x="173" y="64"/>
                    <a:pt x="172" y="63"/>
                  </a:cubicBezTo>
                  <a:cubicBezTo>
                    <a:pt x="170" y="62"/>
                    <a:pt x="169" y="62"/>
                    <a:pt x="169" y="62"/>
                  </a:cubicBezTo>
                  <a:cubicBezTo>
                    <a:pt x="169" y="62"/>
                    <a:pt x="167" y="60"/>
                    <a:pt x="168" y="60"/>
                  </a:cubicBezTo>
                  <a:cubicBezTo>
                    <a:pt x="169" y="59"/>
                    <a:pt x="170" y="58"/>
                    <a:pt x="170" y="58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9" y="53"/>
                    <a:pt x="169" y="53"/>
                    <a:pt x="169" y="53"/>
                  </a:cubicBezTo>
                  <a:cubicBezTo>
                    <a:pt x="169" y="53"/>
                    <a:pt x="170" y="52"/>
                    <a:pt x="170" y="52"/>
                  </a:cubicBezTo>
                  <a:cubicBezTo>
                    <a:pt x="170" y="51"/>
                    <a:pt x="171" y="48"/>
                    <a:pt x="171" y="48"/>
                  </a:cubicBezTo>
                  <a:cubicBezTo>
                    <a:pt x="171" y="48"/>
                    <a:pt x="171" y="47"/>
                    <a:pt x="171" y="46"/>
                  </a:cubicBezTo>
                  <a:cubicBezTo>
                    <a:pt x="171" y="46"/>
                    <a:pt x="170" y="45"/>
                    <a:pt x="170" y="45"/>
                  </a:cubicBezTo>
                  <a:cubicBezTo>
                    <a:pt x="169" y="44"/>
                    <a:pt x="169" y="44"/>
                    <a:pt x="169" y="44"/>
                  </a:cubicBezTo>
                  <a:cubicBezTo>
                    <a:pt x="169" y="44"/>
                    <a:pt x="168" y="42"/>
                    <a:pt x="168" y="42"/>
                  </a:cubicBezTo>
                  <a:cubicBezTo>
                    <a:pt x="167" y="43"/>
                    <a:pt x="166" y="43"/>
                    <a:pt x="166" y="43"/>
                  </a:cubicBezTo>
                  <a:cubicBezTo>
                    <a:pt x="166" y="43"/>
                    <a:pt x="166" y="45"/>
                    <a:pt x="166" y="45"/>
                  </a:cubicBezTo>
                  <a:cubicBezTo>
                    <a:pt x="165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61" y="49"/>
                    <a:pt x="161" y="49"/>
                    <a:pt x="161" y="49"/>
                  </a:cubicBezTo>
                  <a:cubicBezTo>
                    <a:pt x="161" y="49"/>
                    <a:pt x="159" y="50"/>
                    <a:pt x="158" y="50"/>
                  </a:cubicBezTo>
                  <a:cubicBezTo>
                    <a:pt x="158" y="50"/>
                    <a:pt x="156" y="50"/>
                    <a:pt x="156" y="50"/>
                  </a:cubicBezTo>
                  <a:cubicBezTo>
                    <a:pt x="155" y="49"/>
                    <a:pt x="155" y="49"/>
                    <a:pt x="155" y="49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0" y="47"/>
                    <a:pt x="150" y="47"/>
                    <a:pt x="150" y="47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44"/>
                    <a:pt x="149" y="44"/>
                    <a:pt x="149" y="44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0"/>
                    <a:pt x="134" y="40"/>
                    <a:pt x="134" y="40"/>
                  </a:cubicBezTo>
                  <a:cubicBezTo>
                    <a:pt x="134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3" y="36"/>
                    <a:pt x="133" y="36"/>
                  </a:cubicBezTo>
                  <a:cubicBezTo>
                    <a:pt x="133" y="36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6"/>
                    <a:pt x="137" y="26"/>
                  </a:cubicBezTo>
                  <a:cubicBezTo>
                    <a:pt x="137" y="25"/>
                    <a:pt x="137" y="24"/>
                    <a:pt x="137" y="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40" y="22"/>
                    <a:pt x="140" y="22"/>
                  </a:cubicBezTo>
                  <a:cubicBezTo>
                    <a:pt x="140" y="21"/>
                    <a:pt x="139" y="20"/>
                    <a:pt x="139" y="20"/>
                  </a:cubicBezTo>
                  <a:cubicBezTo>
                    <a:pt x="139" y="19"/>
                    <a:pt x="140" y="18"/>
                    <a:pt x="140" y="18"/>
                  </a:cubicBezTo>
                  <a:cubicBezTo>
                    <a:pt x="139" y="18"/>
                    <a:pt x="139" y="17"/>
                    <a:pt x="138" y="17"/>
                  </a:cubicBezTo>
                  <a:cubicBezTo>
                    <a:pt x="138" y="17"/>
                    <a:pt x="137" y="17"/>
                    <a:pt x="137" y="16"/>
                  </a:cubicBezTo>
                  <a:cubicBezTo>
                    <a:pt x="137" y="16"/>
                    <a:pt x="136" y="15"/>
                    <a:pt x="136" y="15"/>
                  </a:cubicBezTo>
                  <a:cubicBezTo>
                    <a:pt x="136" y="15"/>
                    <a:pt x="136" y="13"/>
                    <a:pt x="135" y="13"/>
                  </a:cubicBezTo>
                  <a:cubicBezTo>
                    <a:pt x="135" y="13"/>
                    <a:pt x="134" y="13"/>
                    <a:pt x="133" y="12"/>
                  </a:cubicBezTo>
                  <a:cubicBezTo>
                    <a:pt x="132" y="12"/>
                    <a:pt x="131" y="11"/>
                    <a:pt x="131" y="11"/>
                  </a:cubicBezTo>
                  <a:cubicBezTo>
                    <a:pt x="130" y="11"/>
                    <a:pt x="128" y="9"/>
                    <a:pt x="128" y="9"/>
                  </a:cubicBezTo>
                  <a:cubicBezTo>
                    <a:pt x="128" y="9"/>
                    <a:pt x="128" y="9"/>
                    <a:pt x="127" y="9"/>
                  </a:cubicBezTo>
                  <a:cubicBezTo>
                    <a:pt x="127" y="9"/>
                    <a:pt x="126" y="8"/>
                    <a:pt x="126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4" y="8"/>
                    <a:pt x="124" y="8"/>
                    <a:pt x="123" y="7"/>
                  </a:cubicBezTo>
                  <a:cubicBezTo>
                    <a:pt x="121" y="7"/>
                    <a:pt x="122" y="7"/>
                    <a:pt x="120" y="7"/>
                  </a:cubicBezTo>
                  <a:cubicBezTo>
                    <a:pt x="119" y="7"/>
                    <a:pt x="118" y="7"/>
                    <a:pt x="118" y="7"/>
                  </a:cubicBezTo>
                  <a:cubicBezTo>
                    <a:pt x="118" y="7"/>
                    <a:pt x="117" y="6"/>
                    <a:pt x="115" y="6"/>
                  </a:cubicBezTo>
                  <a:cubicBezTo>
                    <a:pt x="114" y="7"/>
                    <a:pt x="112" y="8"/>
                    <a:pt x="111" y="8"/>
                  </a:cubicBezTo>
                  <a:cubicBezTo>
                    <a:pt x="111" y="8"/>
                    <a:pt x="110" y="7"/>
                    <a:pt x="110" y="7"/>
                  </a:cubicBezTo>
                  <a:cubicBezTo>
                    <a:pt x="110" y="7"/>
                    <a:pt x="110" y="6"/>
                    <a:pt x="110" y="6"/>
                  </a:cubicBezTo>
                  <a:cubicBezTo>
                    <a:pt x="110" y="6"/>
                    <a:pt x="109" y="5"/>
                    <a:pt x="108" y="4"/>
                  </a:cubicBezTo>
                  <a:cubicBezTo>
                    <a:pt x="108" y="4"/>
                    <a:pt x="107" y="4"/>
                    <a:pt x="107" y="4"/>
                  </a:cubicBezTo>
                  <a:cubicBezTo>
                    <a:pt x="107" y="4"/>
                    <a:pt x="107" y="4"/>
                    <a:pt x="107" y="5"/>
                  </a:cubicBezTo>
                  <a:cubicBezTo>
                    <a:pt x="107" y="6"/>
                    <a:pt x="109" y="6"/>
                    <a:pt x="107" y="6"/>
                  </a:cubicBezTo>
                  <a:cubicBezTo>
                    <a:pt x="106" y="5"/>
                    <a:pt x="105" y="5"/>
                    <a:pt x="105" y="5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4" y="5"/>
                    <a:pt x="104" y="5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3"/>
                    <a:pt x="104" y="3"/>
                  </a:cubicBezTo>
                  <a:cubicBezTo>
                    <a:pt x="105" y="3"/>
                    <a:pt x="106" y="2"/>
                    <a:pt x="105" y="2"/>
                  </a:cubicBezTo>
                  <a:cubicBezTo>
                    <a:pt x="104" y="2"/>
                    <a:pt x="103" y="2"/>
                    <a:pt x="103" y="2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2" y="0"/>
                    <a:pt x="102" y="0"/>
                  </a:cubicBezTo>
                  <a:cubicBezTo>
                    <a:pt x="102" y="1"/>
                    <a:pt x="102" y="2"/>
                    <a:pt x="102" y="2"/>
                  </a:cubicBezTo>
                  <a:cubicBezTo>
                    <a:pt x="101" y="2"/>
                    <a:pt x="101" y="2"/>
                    <a:pt x="101" y="1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100" y="1"/>
                    <a:pt x="98" y="1"/>
                  </a:cubicBezTo>
                  <a:cubicBezTo>
                    <a:pt x="97" y="1"/>
                    <a:pt x="96" y="2"/>
                    <a:pt x="95" y="2"/>
                  </a:cubicBezTo>
                  <a:cubicBezTo>
                    <a:pt x="94" y="3"/>
                    <a:pt x="94" y="4"/>
                    <a:pt x="94" y="4"/>
                  </a:cubicBezTo>
                  <a:cubicBezTo>
                    <a:pt x="94" y="5"/>
                    <a:pt x="92" y="5"/>
                    <a:pt x="92" y="6"/>
                  </a:cubicBezTo>
                  <a:cubicBezTo>
                    <a:pt x="93" y="6"/>
                    <a:pt x="92" y="6"/>
                    <a:pt x="94" y="7"/>
                  </a:cubicBezTo>
                  <a:cubicBezTo>
                    <a:pt x="95" y="7"/>
                    <a:pt x="95" y="7"/>
                    <a:pt x="96" y="7"/>
                  </a:cubicBezTo>
                  <a:cubicBezTo>
                    <a:pt x="97" y="8"/>
                    <a:pt x="98" y="7"/>
                    <a:pt x="98" y="7"/>
                  </a:cubicBezTo>
                  <a:cubicBezTo>
                    <a:pt x="98" y="7"/>
                    <a:pt x="98" y="7"/>
                    <a:pt x="99" y="8"/>
                  </a:cubicBezTo>
                  <a:cubicBezTo>
                    <a:pt x="99" y="8"/>
                    <a:pt x="100" y="7"/>
                    <a:pt x="100" y="8"/>
                  </a:cubicBezTo>
                  <a:cubicBezTo>
                    <a:pt x="100" y="9"/>
                    <a:pt x="101" y="10"/>
                    <a:pt x="100" y="10"/>
                  </a:cubicBezTo>
                  <a:cubicBezTo>
                    <a:pt x="99" y="10"/>
                    <a:pt x="98" y="11"/>
                    <a:pt x="98" y="10"/>
                  </a:cubicBezTo>
                  <a:cubicBezTo>
                    <a:pt x="98" y="10"/>
                    <a:pt x="98" y="9"/>
                    <a:pt x="97" y="9"/>
                  </a:cubicBezTo>
                  <a:cubicBezTo>
                    <a:pt x="97" y="9"/>
                    <a:pt x="96" y="9"/>
                    <a:pt x="96" y="9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1"/>
                    <a:pt x="95" y="12"/>
                    <a:pt x="94" y="12"/>
                  </a:cubicBezTo>
                  <a:cubicBezTo>
                    <a:pt x="93" y="12"/>
                    <a:pt x="94" y="12"/>
                    <a:pt x="92" y="12"/>
                  </a:cubicBezTo>
                  <a:cubicBezTo>
                    <a:pt x="90" y="12"/>
                    <a:pt x="90" y="11"/>
                    <a:pt x="89" y="11"/>
                  </a:cubicBezTo>
                  <a:cubicBezTo>
                    <a:pt x="89" y="11"/>
                    <a:pt x="89" y="11"/>
                    <a:pt x="88" y="11"/>
                  </a:cubicBezTo>
                  <a:cubicBezTo>
                    <a:pt x="88" y="11"/>
                    <a:pt x="86" y="9"/>
                    <a:pt x="85" y="11"/>
                  </a:cubicBezTo>
                  <a:cubicBezTo>
                    <a:pt x="84" y="12"/>
                    <a:pt x="83" y="13"/>
                    <a:pt x="83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79" y="13"/>
                    <a:pt x="78" y="13"/>
                  </a:cubicBezTo>
                  <a:cubicBezTo>
                    <a:pt x="77" y="13"/>
                    <a:pt x="76" y="13"/>
                    <a:pt x="76" y="13"/>
                  </a:cubicBezTo>
                  <a:cubicBezTo>
                    <a:pt x="75" y="14"/>
                    <a:pt x="74" y="11"/>
                    <a:pt x="74" y="11"/>
                  </a:cubicBezTo>
                  <a:cubicBezTo>
                    <a:pt x="74" y="11"/>
                    <a:pt x="75" y="9"/>
                    <a:pt x="72" y="11"/>
                  </a:cubicBezTo>
                  <a:cubicBezTo>
                    <a:pt x="69" y="13"/>
                    <a:pt x="68" y="13"/>
                    <a:pt x="68" y="13"/>
                  </a:cubicBezTo>
                  <a:cubicBezTo>
                    <a:pt x="67" y="13"/>
                    <a:pt x="66" y="14"/>
                    <a:pt x="66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6" y="13"/>
                    <a:pt x="66" y="12"/>
                    <a:pt x="66" y="12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2"/>
                    <a:pt x="63" y="12"/>
                    <a:pt x="62" y="12"/>
                  </a:cubicBezTo>
                  <a:cubicBezTo>
                    <a:pt x="62" y="12"/>
                    <a:pt x="60" y="12"/>
                    <a:pt x="60" y="1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4"/>
                    <a:pt x="59" y="14"/>
                  </a:cubicBezTo>
                  <a:cubicBezTo>
                    <a:pt x="59" y="14"/>
                    <a:pt x="59" y="15"/>
                    <a:pt x="59" y="15"/>
                  </a:cubicBezTo>
                  <a:cubicBezTo>
                    <a:pt x="59" y="15"/>
                    <a:pt x="59" y="16"/>
                    <a:pt x="59" y="16"/>
                  </a:cubicBezTo>
                  <a:cubicBezTo>
                    <a:pt x="59" y="16"/>
                    <a:pt x="58" y="16"/>
                    <a:pt x="58" y="16"/>
                  </a:cubicBezTo>
                  <a:cubicBezTo>
                    <a:pt x="58" y="16"/>
                    <a:pt x="57" y="16"/>
                    <a:pt x="57" y="16"/>
                  </a:cubicBezTo>
                  <a:cubicBezTo>
                    <a:pt x="57" y="16"/>
                    <a:pt x="56" y="18"/>
                    <a:pt x="56" y="18"/>
                  </a:cubicBezTo>
                  <a:cubicBezTo>
                    <a:pt x="56" y="18"/>
                    <a:pt x="56" y="19"/>
                    <a:pt x="56" y="19"/>
                  </a:cubicBezTo>
                  <a:cubicBezTo>
                    <a:pt x="56" y="19"/>
                    <a:pt x="56" y="19"/>
                    <a:pt x="56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3" y="20"/>
                    <a:pt x="52" y="20"/>
                  </a:cubicBezTo>
                  <a:cubicBezTo>
                    <a:pt x="52" y="20"/>
                    <a:pt x="51" y="20"/>
                    <a:pt x="51" y="20"/>
                  </a:cubicBezTo>
                  <a:cubicBezTo>
                    <a:pt x="50" y="20"/>
                    <a:pt x="50" y="21"/>
                    <a:pt x="50" y="21"/>
                  </a:cubicBezTo>
                  <a:cubicBezTo>
                    <a:pt x="50" y="21"/>
                    <a:pt x="48" y="20"/>
                    <a:pt x="48" y="20"/>
                  </a:cubicBezTo>
                  <a:cubicBezTo>
                    <a:pt x="47" y="20"/>
                    <a:pt x="47" y="19"/>
                    <a:pt x="47" y="18"/>
                  </a:cubicBezTo>
                  <a:cubicBezTo>
                    <a:pt x="47" y="18"/>
                    <a:pt x="46" y="16"/>
                    <a:pt x="46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41" y="19"/>
                    <a:pt x="41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7" y="22"/>
                    <a:pt x="37" y="22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5" y="23"/>
                    <a:pt x="36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9" y="24"/>
                    <a:pt x="40" y="24"/>
                    <a:pt x="40" y="24"/>
                  </a:cubicBezTo>
                  <a:cubicBezTo>
                    <a:pt x="40" y="24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30"/>
                  </a:cubicBezTo>
                  <a:cubicBezTo>
                    <a:pt x="38" y="31"/>
                    <a:pt x="37" y="33"/>
                    <a:pt x="37" y="3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5" y="45"/>
                    <a:pt x="25" y="45"/>
                  </a:cubicBezTo>
                  <a:cubicBezTo>
                    <a:pt x="24" y="45"/>
                    <a:pt x="23" y="46"/>
                    <a:pt x="23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0" y="46"/>
                    <a:pt x="19" y="47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9"/>
                    <a:pt x="20" y="50"/>
                    <a:pt x="20" y="50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19" y="52"/>
                    <a:pt x="19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19" y="54"/>
                    <a:pt x="19" y="55"/>
                    <a:pt x="19" y="55"/>
                  </a:cubicBezTo>
                  <a:cubicBezTo>
                    <a:pt x="19" y="55"/>
                    <a:pt x="19" y="56"/>
                    <a:pt x="19" y="56"/>
                  </a:cubicBezTo>
                  <a:cubicBezTo>
                    <a:pt x="19" y="56"/>
                    <a:pt x="19" y="57"/>
                    <a:pt x="18" y="58"/>
                  </a:cubicBezTo>
                  <a:cubicBezTo>
                    <a:pt x="18" y="58"/>
                    <a:pt x="17" y="59"/>
                    <a:pt x="17" y="59"/>
                  </a:cubicBezTo>
                  <a:cubicBezTo>
                    <a:pt x="17" y="59"/>
                    <a:pt x="15" y="59"/>
                    <a:pt x="15" y="59"/>
                  </a:cubicBezTo>
                  <a:cubicBezTo>
                    <a:pt x="15" y="60"/>
                    <a:pt x="13" y="60"/>
                    <a:pt x="13" y="60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7"/>
                    <a:pt x="7" y="67"/>
                  </a:cubicBezTo>
                  <a:cubicBezTo>
                    <a:pt x="7" y="67"/>
                    <a:pt x="7" y="69"/>
                    <a:pt x="7" y="69"/>
                  </a:cubicBezTo>
                  <a:cubicBezTo>
                    <a:pt x="7" y="70"/>
                    <a:pt x="6" y="71"/>
                    <a:pt x="6" y="71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3" y="85"/>
                    <a:pt x="2" y="85"/>
                  </a:cubicBezTo>
                  <a:cubicBezTo>
                    <a:pt x="2" y="85"/>
                    <a:pt x="1" y="86"/>
                    <a:pt x="1" y="8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2" y="90"/>
                    <a:pt x="2" y="90"/>
                    <a:pt x="2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8"/>
                    <a:pt x="10" y="87"/>
                  </a:cubicBezTo>
                  <a:cubicBezTo>
                    <a:pt x="11" y="86"/>
                    <a:pt x="12" y="86"/>
                    <a:pt x="12" y="86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ubicBezTo>
                    <a:pt x="11" y="79"/>
                    <a:pt x="12" y="77"/>
                    <a:pt x="12" y="77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4" y="73"/>
                    <a:pt x="24" y="73"/>
                  </a:cubicBezTo>
                  <a:cubicBezTo>
                    <a:pt x="24" y="73"/>
                    <a:pt x="28" y="73"/>
                    <a:pt x="28" y="73"/>
                  </a:cubicBezTo>
                  <a:lnTo>
                    <a:pt x="31" y="75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6" name="Freeform 51"/>
            <p:cNvSpPr>
              <a:spLocks/>
            </p:cNvSpPr>
            <p:nvPr/>
          </p:nvSpPr>
          <p:spPr bwMode="auto">
            <a:xfrm>
              <a:off x="5753789" y="1798916"/>
              <a:ext cx="494744" cy="296186"/>
            </a:xfrm>
            <a:custGeom>
              <a:avLst/>
              <a:gdLst>
                <a:gd name="T0" fmla="*/ 31 w 217"/>
                <a:gd name="T1" fmla="*/ 35 h 134"/>
                <a:gd name="T2" fmla="*/ 42 w 217"/>
                <a:gd name="T3" fmla="*/ 43 h 134"/>
                <a:gd name="T4" fmla="*/ 55 w 217"/>
                <a:gd name="T5" fmla="*/ 53 h 134"/>
                <a:gd name="T6" fmla="*/ 66 w 217"/>
                <a:gd name="T7" fmla="*/ 68 h 134"/>
                <a:gd name="T8" fmla="*/ 83 w 217"/>
                <a:gd name="T9" fmla="*/ 64 h 134"/>
                <a:gd name="T10" fmla="*/ 87 w 217"/>
                <a:gd name="T11" fmla="*/ 37 h 134"/>
                <a:gd name="T12" fmla="*/ 83 w 217"/>
                <a:gd name="T13" fmla="*/ 16 h 134"/>
                <a:gd name="T14" fmla="*/ 99 w 217"/>
                <a:gd name="T15" fmla="*/ 3 h 134"/>
                <a:gd name="T16" fmla="*/ 112 w 217"/>
                <a:gd name="T17" fmla="*/ 2 h 134"/>
                <a:gd name="T18" fmla="*/ 125 w 217"/>
                <a:gd name="T19" fmla="*/ 5 h 134"/>
                <a:gd name="T20" fmla="*/ 142 w 217"/>
                <a:gd name="T21" fmla="*/ 17 h 134"/>
                <a:gd name="T22" fmla="*/ 152 w 217"/>
                <a:gd name="T23" fmla="*/ 17 h 134"/>
                <a:gd name="T24" fmla="*/ 159 w 217"/>
                <a:gd name="T25" fmla="*/ 11 h 134"/>
                <a:gd name="T26" fmla="*/ 177 w 217"/>
                <a:gd name="T27" fmla="*/ 11 h 134"/>
                <a:gd name="T28" fmla="*/ 184 w 217"/>
                <a:gd name="T29" fmla="*/ 18 h 134"/>
                <a:gd name="T30" fmla="*/ 192 w 217"/>
                <a:gd name="T31" fmla="*/ 31 h 134"/>
                <a:gd name="T32" fmla="*/ 192 w 217"/>
                <a:gd name="T33" fmla="*/ 46 h 134"/>
                <a:gd name="T34" fmla="*/ 198 w 217"/>
                <a:gd name="T35" fmla="*/ 49 h 134"/>
                <a:gd name="T36" fmla="*/ 206 w 217"/>
                <a:gd name="T37" fmla="*/ 58 h 134"/>
                <a:gd name="T38" fmla="*/ 212 w 217"/>
                <a:gd name="T39" fmla="*/ 66 h 134"/>
                <a:gd name="T40" fmla="*/ 216 w 217"/>
                <a:gd name="T41" fmla="*/ 78 h 134"/>
                <a:gd name="T42" fmla="*/ 211 w 217"/>
                <a:gd name="T43" fmla="*/ 83 h 134"/>
                <a:gd name="T44" fmla="*/ 207 w 217"/>
                <a:gd name="T45" fmla="*/ 100 h 134"/>
                <a:gd name="T46" fmla="*/ 192 w 217"/>
                <a:gd name="T47" fmla="*/ 103 h 134"/>
                <a:gd name="T48" fmla="*/ 185 w 217"/>
                <a:gd name="T49" fmla="*/ 112 h 134"/>
                <a:gd name="T50" fmla="*/ 177 w 217"/>
                <a:gd name="T51" fmla="*/ 115 h 134"/>
                <a:gd name="T52" fmla="*/ 165 w 217"/>
                <a:gd name="T53" fmla="*/ 114 h 134"/>
                <a:gd name="T54" fmla="*/ 157 w 217"/>
                <a:gd name="T55" fmla="*/ 105 h 134"/>
                <a:gd name="T56" fmla="*/ 146 w 217"/>
                <a:gd name="T57" fmla="*/ 101 h 134"/>
                <a:gd name="T58" fmla="*/ 139 w 217"/>
                <a:gd name="T59" fmla="*/ 97 h 134"/>
                <a:gd name="T60" fmla="*/ 124 w 217"/>
                <a:gd name="T61" fmla="*/ 97 h 134"/>
                <a:gd name="T62" fmla="*/ 117 w 217"/>
                <a:gd name="T63" fmla="*/ 87 h 134"/>
                <a:gd name="T64" fmla="*/ 108 w 217"/>
                <a:gd name="T65" fmla="*/ 99 h 134"/>
                <a:gd name="T66" fmla="*/ 94 w 217"/>
                <a:gd name="T67" fmla="*/ 100 h 134"/>
                <a:gd name="T68" fmla="*/ 80 w 217"/>
                <a:gd name="T69" fmla="*/ 100 h 134"/>
                <a:gd name="T70" fmla="*/ 67 w 217"/>
                <a:gd name="T71" fmla="*/ 107 h 134"/>
                <a:gd name="T72" fmla="*/ 55 w 217"/>
                <a:gd name="T73" fmla="*/ 104 h 134"/>
                <a:gd name="T74" fmla="*/ 34 w 217"/>
                <a:gd name="T75" fmla="*/ 106 h 134"/>
                <a:gd name="T76" fmla="*/ 21 w 217"/>
                <a:gd name="T77" fmla="*/ 113 h 134"/>
                <a:gd name="T78" fmla="*/ 14 w 217"/>
                <a:gd name="T79" fmla="*/ 122 h 134"/>
                <a:gd name="T80" fmla="*/ 9 w 217"/>
                <a:gd name="T81" fmla="*/ 131 h 134"/>
                <a:gd name="T82" fmla="*/ 5 w 217"/>
                <a:gd name="T83" fmla="*/ 128 h 134"/>
                <a:gd name="T84" fmla="*/ 3 w 217"/>
                <a:gd name="T85" fmla="*/ 108 h 134"/>
                <a:gd name="T86" fmla="*/ 7 w 217"/>
                <a:gd name="T87" fmla="*/ 83 h 134"/>
                <a:gd name="T88" fmla="*/ 8 w 217"/>
                <a:gd name="T89" fmla="*/ 60 h 134"/>
                <a:gd name="T90" fmla="*/ 19 w 217"/>
                <a:gd name="T9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" h="134">
                  <a:moveTo>
                    <a:pt x="19" y="45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30" y="35"/>
                    <a:pt x="31" y="35"/>
                  </a:cubicBezTo>
                  <a:cubicBezTo>
                    <a:pt x="33" y="34"/>
                    <a:pt x="36" y="32"/>
                    <a:pt x="36" y="33"/>
                  </a:cubicBezTo>
                  <a:cubicBezTo>
                    <a:pt x="36" y="34"/>
                    <a:pt x="37" y="41"/>
                    <a:pt x="37" y="41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5"/>
                    <a:pt x="56" y="58"/>
                  </a:cubicBezTo>
                  <a:cubicBezTo>
                    <a:pt x="59" y="61"/>
                    <a:pt x="60" y="61"/>
                    <a:pt x="61" y="64"/>
                  </a:cubicBezTo>
                  <a:cubicBezTo>
                    <a:pt x="62" y="66"/>
                    <a:pt x="66" y="68"/>
                    <a:pt x="66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76" y="71"/>
                    <a:pt x="77" y="70"/>
                  </a:cubicBezTo>
                  <a:cubicBezTo>
                    <a:pt x="78" y="69"/>
                    <a:pt x="83" y="65"/>
                    <a:pt x="83" y="64"/>
                  </a:cubicBezTo>
                  <a:cubicBezTo>
                    <a:pt x="84" y="63"/>
                    <a:pt x="87" y="59"/>
                    <a:pt x="88" y="58"/>
                  </a:cubicBezTo>
                  <a:cubicBezTo>
                    <a:pt x="89" y="57"/>
                    <a:pt x="92" y="50"/>
                    <a:pt x="92" y="49"/>
                  </a:cubicBezTo>
                  <a:cubicBezTo>
                    <a:pt x="92" y="47"/>
                    <a:pt x="88" y="39"/>
                    <a:pt x="87" y="37"/>
                  </a:cubicBezTo>
                  <a:cubicBezTo>
                    <a:pt x="87" y="35"/>
                    <a:pt x="86" y="29"/>
                    <a:pt x="86" y="29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16"/>
                    <a:pt x="83" y="16"/>
                  </a:cubicBezTo>
                  <a:cubicBezTo>
                    <a:pt x="84" y="15"/>
                    <a:pt x="89" y="11"/>
                    <a:pt x="89" y="11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5" y="18"/>
                    <a:pt x="147" y="20"/>
                    <a:pt x="149" y="19"/>
                  </a:cubicBezTo>
                  <a:cubicBezTo>
                    <a:pt x="150" y="19"/>
                    <a:pt x="151" y="18"/>
                    <a:pt x="152" y="17"/>
                  </a:cubicBezTo>
                  <a:cubicBezTo>
                    <a:pt x="154" y="16"/>
                    <a:pt x="155" y="14"/>
                    <a:pt x="155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7" y="20"/>
                    <a:pt x="188" y="20"/>
                  </a:cubicBezTo>
                  <a:cubicBezTo>
                    <a:pt x="189" y="20"/>
                    <a:pt x="191" y="21"/>
                    <a:pt x="191" y="21"/>
                  </a:cubicBezTo>
                  <a:cubicBezTo>
                    <a:pt x="192" y="31"/>
                    <a:pt x="192" y="31"/>
                    <a:pt x="192" y="31"/>
                  </a:cubicBezTo>
                  <a:cubicBezTo>
                    <a:pt x="190" y="34"/>
                    <a:pt x="190" y="34"/>
                    <a:pt x="190" y="34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46"/>
                    <a:pt x="192" y="46"/>
                    <a:pt x="192" y="46"/>
                  </a:cubicBezTo>
                  <a:cubicBezTo>
                    <a:pt x="196" y="43"/>
                    <a:pt x="196" y="43"/>
                    <a:pt x="196" y="43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203" y="53"/>
                    <a:pt x="203" y="53"/>
                    <a:pt x="203" y="53"/>
                  </a:cubicBezTo>
                  <a:cubicBezTo>
                    <a:pt x="207" y="55"/>
                    <a:pt x="207" y="55"/>
                    <a:pt x="207" y="55"/>
                  </a:cubicBezTo>
                  <a:cubicBezTo>
                    <a:pt x="206" y="58"/>
                    <a:pt x="206" y="58"/>
                    <a:pt x="206" y="58"/>
                  </a:cubicBezTo>
                  <a:cubicBezTo>
                    <a:pt x="206" y="58"/>
                    <a:pt x="207" y="59"/>
                    <a:pt x="208" y="59"/>
                  </a:cubicBezTo>
                  <a:cubicBezTo>
                    <a:pt x="209" y="60"/>
                    <a:pt x="211" y="61"/>
                    <a:pt x="211" y="61"/>
                  </a:cubicBezTo>
                  <a:cubicBezTo>
                    <a:pt x="211" y="61"/>
                    <a:pt x="212" y="64"/>
                    <a:pt x="212" y="66"/>
                  </a:cubicBezTo>
                  <a:cubicBezTo>
                    <a:pt x="213" y="67"/>
                    <a:pt x="217" y="70"/>
                    <a:pt x="217" y="70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79"/>
                    <a:pt x="216" y="80"/>
                    <a:pt x="216" y="81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05" y="95"/>
                    <a:pt x="205" y="95"/>
                    <a:pt x="205" y="95"/>
                  </a:cubicBezTo>
                  <a:cubicBezTo>
                    <a:pt x="207" y="100"/>
                    <a:pt x="207" y="100"/>
                    <a:pt x="207" y="100"/>
                  </a:cubicBezTo>
                  <a:cubicBezTo>
                    <a:pt x="205" y="103"/>
                    <a:pt x="205" y="103"/>
                    <a:pt x="205" y="103"/>
                  </a:cubicBezTo>
                  <a:cubicBezTo>
                    <a:pt x="197" y="103"/>
                    <a:pt x="197" y="103"/>
                    <a:pt x="197" y="103"/>
                  </a:cubicBezTo>
                  <a:cubicBezTo>
                    <a:pt x="197" y="103"/>
                    <a:pt x="196" y="103"/>
                    <a:pt x="192" y="103"/>
                  </a:cubicBezTo>
                  <a:cubicBezTo>
                    <a:pt x="188" y="103"/>
                    <a:pt x="189" y="103"/>
                    <a:pt x="189" y="103"/>
                  </a:cubicBezTo>
                  <a:cubicBezTo>
                    <a:pt x="186" y="106"/>
                    <a:pt x="186" y="106"/>
                    <a:pt x="186" y="106"/>
                  </a:cubicBezTo>
                  <a:cubicBezTo>
                    <a:pt x="185" y="112"/>
                    <a:pt x="185" y="112"/>
                    <a:pt x="185" y="112"/>
                  </a:cubicBezTo>
                  <a:cubicBezTo>
                    <a:pt x="185" y="112"/>
                    <a:pt x="183" y="112"/>
                    <a:pt x="179" y="113"/>
                  </a:cubicBezTo>
                  <a:cubicBezTo>
                    <a:pt x="177" y="114"/>
                    <a:pt x="177" y="115"/>
                    <a:pt x="177" y="115"/>
                  </a:cubicBezTo>
                  <a:cubicBezTo>
                    <a:pt x="177" y="115"/>
                    <a:pt x="177" y="115"/>
                    <a:pt x="177" y="115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5" y="114"/>
                    <a:pt x="165" y="114"/>
                    <a:pt x="165" y="114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60" y="109"/>
                    <a:pt x="160" y="109"/>
                    <a:pt x="160" y="109"/>
                  </a:cubicBezTo>
                  <a:cubicBezTo>
                    <a:pt x="157" y="105"/>
                    <a:pt x="157" y="105"/>
                    <a:pt x="157" y="105"/>
                  </a:cubicBezTo>
                  <a:cubicBezTo>
                    <a:pt x="153" y="104"/>
                    <a:pt x="153" y="104"/>
                    <a:pt x="153" y="104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101"/>
                    <a:pt x="146" y="101"/>
                    <a:pt x="146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2" y="97"/>
                    <a:pt x="142" y="97"/>
                    <a:pt x="142" y="97"/>
                  </a:cubicBezTo>
                  <a:cubicBezTo>
                    <a:pt x="139" y="97"/>
                    <a:pt x="139" y="97"/>
                    <a:pt x="139" y="97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24" y="97"/>
                    <a:pt x="124" y="97"/>
                    <a:pt x="124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3" y="90"/>
                    <a:pt x="112" y="90"/>
                  </a:cubicBezTo>
                  <a:cubicBezTo>
                    <a:pt x="112" y="90"/>
                    <a:pt x="109" y="95"/>
                    <a:pt x="109" y="95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99" y="101"/>
                    <a:pt x="99" y="102"/>
                  </a:cubicBezTo>
                  <a:cubicBezTo>
                    <a:pt x="98" y="102"/>
                    <a:pt x="94" y="100"/>
                    <a:pt x="94" y="10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0"/>
                    <a:pt x="82" y="100"/>
                    <a:pt x="81" y="99"/>
                  </a:cubicBezTo>
                  <a:cubicBezTo>
                    <a:pt x="80" y="99"/>
                    <a:pt x="80" y="100"/>
                    <a:pt x="80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102"/>
                    <a:pt x="68" y="106"/>
                    <a:pt x="67" y="107"/>
                  </a:cubicBezTo>
                  <a:cubicBezTo>
                    <a:pt x="66" y="107"/>
                    <a:pt x="63" y="104"/>
                    <a:pt x="62" y="103"/>
                  </a:cubicBezTo>
                  <a:cubicBezTo>
                    <a:pt x="62" y="102"/>
                    <a:pt x="59" y="101"/>
                    <a:pt x="59" y="101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48" y="105"/>
                    <a:pt x="47" y="105"/>
                  </a:cubicBezTo>
                  <a:cubicBezTo>
                    <a:pt x="46" y="105"/>
                    <a:pt x="41" y="107"/>
                    <a:pt x="41" y="107"/>
                  </a:cubicBezTo>
                  <a:cubicBezTo>
                    <a:pt x="34" y="106"/>
                    <a:pt x="34" y="106"/>
                    <a:pt x="34" y="106"/>
                  </a:cubicBezTo>
                  <a:cubicBezTo>
                    <a:pt x="31" y="109"/>
                    <a:pt x="31" y="109"/>
                    <a:pt x="31" y="109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1" y="113"/>
                    <a:pt x="21" y="113"/>
                    <a:pt x="21" y="113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0" y="129"/>
                    <a:pt x="8" y="129"/>
                  </a:cubicBezTo>
                  <a:cubicBezTo>
                    <a:pt x="7" y="130"/>
                    <a:pt x="9" y="131"/>
                    <a:pt x="9" y="131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8" y="134"/>
                    <a:pt x="7" y="133"/>
                    <a:pt x="7" y="133"/>
                  </a:cubicBezTo>
                  <a:cubicBezTo>
                    <a:pt x="7" y="133"/>
                    <a:pt x="6" y="130"/>
                    <a:pt x="5" y="128"/>
                  </a:cubicBezTo>
                  <a:cubicBezTo>
                    <a:pt x="3" y="126"/>
                    <a:pt x="1" y="117"/>
                    <a:pt x="1" y="117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3" y="113"/>
                    <a:pt x="3" y="109"/>
                    <a:pt x="3" y="108"/>
                  </a:cubicBezTo>
                  <a:cubicBezTo>
                    <a:pt x="2" y="106"/>
                    <a:pt x="1" y="97"/>
                    <a:pt x="1" y="97"/>
                  </a:cubicBezTo>
                  <a:cubicBezTo>
                    <a:pt x="1" y="97"/>
                    <a:pt x="0" y="93"/>
                    <a:pt x="0" y="92"/>
                  </a:cubicBezTo>
                  <a:cubicBezTo>
                    <a:pt x="0" y="91"/>
                    <a:pt x="7" y="83"/>
                    <a:pt x="7" y="83"/>
                  </a:cubicBezTo>
                  <a:cubicBezTo>
                    <a:pt x="7" y="82"/>
                    <a:pt x="8" y="74"/>
                    <a:pt x="8" y="74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1" y="47"/>
                    <a:pt x="12" y="47"/>
                  </a:cubicBezTo>
                  <a:cubicBezTo>
                    <a:pt x="13" y="46"/>
                    <a:pt x="19" y="45"/>
                    <a:pt x="19" y="45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7" name="Freeform 61"/>
            <p:cNvSpPr>
              <a:spLocks noEditPoints="1"/>
            </p:cNvSpPr>
            <p:nvPr/>
          </p:nvSpPr>
          <p:spPr bwMode="auto">
            <a:xfrm>
              <a:off x="5535002" y="3399175"/>
              <a:ext cx="359514" cy="307906"/>
            </a:xfrm>
            <a:custGeom>
              <a:avLst/>
              <a:gdLst>
                <a:gd name="T0" fmla="*/ 132 w 158"/>
                <a:gd name="T1" fmla="*/ 9 h 139"/>
                <a:gd name="T2" fmla="*/ 138 w 158"/>
                <a:gd name="T3" fmla="*/ 25 h 139"/>
                <a:gd name="T4" fmla="*/ 135 w 158"/>
                <a:gd name="T5" fmla="*/ 42 h 139"/>
                <a:gd name="T6" fmla="*/ 151 w 158"/>
                <a:gd name="T7" fmla="*/ 49 h 139"/>
                <a:gd name="T8" fmla="*/ 152 w 158"/>
                <a:gd name="T9" fmla="*/ 59 h 139"/>
                <a:gd name="T10" fmla="*/ 149 w 158"/>
                <a:gd name="T11" fmla="*/ 65 h 139"/>
                <a:gd name="T12" fmla="*/ 151 w 158"/>
                <a:gd name="T13" fmla="*/ 79 h 139"/>
                <a:gd name="T14" fmla="*/ 141 w 158"/>
                <a:gd name="T15" fmla="*/ 85 h 139"/>
                <a:gd name="T16" fmla="*/ 135 w 158"/>
                <a:gd name="T17" fmla="*/ 87 h 139"/>
                <a:gd name="T18" fmla="*/ 140 w 158"/>
                <a:gd name="T19" fmla="*/ 93 h 139"/>
                <a:gd name="T20" fmla="*/ 138 w 158"/>
                <a:gd name="T21" fmla="*/ 97 h 139"/>
                <a:gd name="T22" fmla="*/ 129 w 158"/>
                <a:gd name="T23" fmla="*/ 103 h 139"/>
                <a:gd name="T24" fmla="*/ 121 w 158"/>
                <a:gd name="T25" fmla="*/ 115 h 139"/>
                <a:gd name="T26" fmla="*/ 125 w 158"/>
                <a:gd name="T27" fmla="*/ 129 h 139"/>
                <a:gd name="T28" fmla="*/ 126 w 158"/>
                <a:gd name="T29" fmla="*/ 137 h 139"/>
                <a:gd name="T30" fmla="*/ 118 w 158"/>
                <a:gd name="T31" fmla="*/ 139 h 139"/>
                <a:gd name="T32" fmla="*/ 114 w 158"/>
                <a:gd name="T33" fmla="*/ 138 h 139"/>
                <a:gd name="T34" fmla="*/ 113 w 158"/>
                <a:gd name="T35" fmla="*/ 137 h 139"/>
                <a:gd name="T36" fmla="*/ 113 w 158"/>
                <a:gd name="T37" fmla="*/ 137 h 139"/>
                <a:gd name="T38" fmla="*/ 113 w 158"/>
                <a:gd name="T39" fmla="*/ 137 h 139"/>
                <a:gd name="T40" fmla="*/ 112 w 158"/>
                <a:gd name="T41" fmla="*/ 137 h 139"/>
                <a:gd name="T42" fmla="*/ 99 w 158"/>
                <a:gd name="T43" fmla="*/ 129 h 139"/>
                <a:gd name="T44" fmla="*/ 87 w 158"/>
                <a:gd name="T45" fmla="*/ 116 h 139"/>
                <a:gd name="T46" fmla="*/ 68 w 158"/>
                <a:gd name="T47" fmla="*/ 100 h 139"/>
                <a:gd name="T48" fmla="*/ 56 w 158"/>
                <a:gd name="T49" fmla="*/ 89 h 139"/>
                <a:gd name="T50" fmla="*/ 43 w 158"/>
                <a:gd name="T51" fmla="*/ 79 h 139"/>
                <a:gd name="T52" fmla="*/ 31 w 158"/>
                <a:gd name="T53" fmla="*/ 68 h 139"/>
                <a:gd name="T54" fmla="*/ 23 w 158"/>
                <a:gd name="T55" fmla="*/ 54 h 139"/>
                <a:gd name="T56" fmla="*/ 14 w 158"/>
                <a:gd name="T57" fmla="*/ 43 h 139"/>
                <a:gd name="T58" fmla="*/ 5 w 158"/>
                <a:gd name="T59" fmla="*/ 36 h 139"/>
                <a:gd name="T60" fmla="*/ 1 w 158"/>
                <a:gd name="T61" fmla="*/ 20 h 139"/>
                <a:gd name="T62" fmla="*/ 2 w 158"/>
                <a:gd name="T63" fmla="*/ 10 h 139"/>
                <a:gd name="T64" fmla="*/ 8 w 158"/>
                <a:gd name="T65" fmla="*/ 7 h 139"/>
                <a:gd name="T66" fmla="*/ 23 w 158"/>
                <a:gd name="T67" fmla="*/ 13 h 139"/>
                <a:gd name="T68" fmla="*/ 35 w 158"/>
                <a:gd name="T69" fmla="*/ 4 h 139"/>
                <a:gd name="T70" fmla="*/ 48 w 158"/>
                <a:gd name="T71" fmla="*/ 2 h 139"/>
                <a:gd name="T72" fmla="*/ 61 w 158"/>
                <a:gd name="T73" fmla="*/ 4 h 139"/>
                <a:gd name="T74" fmla="*/ 80 w 158"/>
                <a:gd name="T75" fmla="*/ 6 h 139"/>
                <a:gd name="T76" fmla="*/ 90 w 158"/>
                <a:gd name="T77" fmla="*/ 3 h 139"/>
                <a:gd name="T78" fmla="*/ 97 w 158"/>
                <a:gd name="T79" fmla="*/ 2 h 139"/>
                <a:gd name="T80" fmla="*/ 98 w 158"/>
                <a:gd name="T81" fmla="*/ 2 h 139"/>
                <a:gd name="T82" fmla="*/ 98 w 158"/>
                <a:gd name="T83" fmla="*/ 2 h 139"/>
                <a:gd name="T84" fmla="*/ 99 w 158"/>
                <a:gd name="T85" fmla="*/ 2 h 139"/>
                <a:gd name="T86" fmla="*/ 99 w 158"/>
                <a:gd name="T87" fmla="*/ 2 h 139"/>
                <a:gd name="T88" fmla="*/ 99 w 158"/>
                <a:gd name="T89" fmla="*/ 2 h 139"/>
                <a:gd name="T90" fmla="*/ 100 w 158"/>
                <a:gd name="T91" fmla="*/ 1 h 139"/>
                <a:gd name="T92" fmla="*/ 100 w 158"/>
                <a:gd name="T93" fmla="*/ 1 h 139"/>
                <a:gd name="T94" fmla="*/ 100 w 158"/>
                <a:gd name="T95" fmla="*/ 1 h 139"/>
                <a:gd name="T96" fmla="*/ 100 w 158"/>
                <a:gd name="T97" fmla="*/ 1 h 139"/>
                <a:gd name="T98" fmla="*/ 100 w 158"/>
                <a:gd name="T99" fmla="*/ 1 h 139"/>
                <a:gd name="T100" fmla="*/ 103 w 158"/>
                <a:gd name="T101" fmla="*/ 4 h 139"/>
                <a:gd name="T102" fmla="*/ 117 w 158"/>
                <a:gd name="T103" fmla="*/ 8 h 139"/>
                <a:gd name="T104" fmla="*/ 130 w 158"/>
                <a:gd name="T10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8" h="139">
                  <a:moveTo>
                    <a:pt x="145" y="83"/>
                  </a:moveTo>
                  <a:cubicBezTo>
                    <a:pt x="146" y="83"/>
                    <a:pt x="146" y="83"/>
                    <a:pt x="146" y="83"/>
                  </a:cubicBezTo>
                  <a:cubicBezTo>
                    <a:pt x="146" y="83"/>
                    <a:pt x="146" y="83"/>
                    <a:pt x="146" y="83"/>
                  </a:cubicBezTo>
                  <a:cubicBezTo>
                    <a:pt x="145" y="83"/>
                    <a:pt x="145" y="83"/>
                    <a:pt x="145" y="83"/>
                  </a:cubicBezTo>
                  <a:close/>
                  <a:moveTo>
                    <a:pt x="132" y="9"/>
                  </a:moveTo>
                  <a:cubicBezTo>
                    <a:pt x="132" y="9"/>
                    <a:pt x="132" y="9"/>
                    <a:pt x="132" y="9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8"/>
                    <a:pt x="137" y="28"/>
                  </a:cubicBezTo>
                  <a:cubicBezTo>
                    <a:pt x="137" y="29"/>
                    <a:pt x="136" y="31"/>
                    <a:pt x="136" y="31"/>
                  </a:cubicBezTo>
                  <a:cubicBezTo>
                    <a:pt x="136" y="31"/>
                    <a:pt x="134" y="30"/>
                    <a:pt x="135" y="33"/>
                  </a:cubicBezTo>
                  <a:cubicBezTo>
                    <a:pt x="135" y="36"/>
                    <a:pt x="136" y="35"/>
                    <a:pt x="136" y="36"/>
                  </a:cubicBezTo>
                  <a:cubicBezTo>
                    <a:pt x="136" y="37"/>
                    <a:pt x="136" y="39"/>
                    <a:pt x="136" y="40"/>
                  </a:cubicBezTo>
                  <a:cubicBezTo>
                    <a:pt x="135" y="41"/>
                    <a:pt x="136" y="41"/>
                    <a:pt x="135" y="42"/>
                  </a:cubicBezTo>
                  <a:cubicBezTo>
                    <a:pt x="135" y="43"/>
                    <a:pt x="137" y="44"/>
                    <a:pt x="139" y="44"/>
                  </a:cubicBezTo>
                  <a:cubicBezTo>
                    <a:pt x="141" y="45"/>
                    <a:pt x="141" y="44"/>
                    <a:pt x="142" y="44"/>
                  </a:cubicBezTo>
                  <a:cubicBezTo>
                    <a:pt x="143" y="44"/>
                    <a:pt x="144" y="45"/>
                    <a:pt x="145" y="45"/>
                  </a:cubicBezTo>
                  <a:cubicBezTo>
                    <a:pt x="146" y="46"/>
                    <a:pt x="146" y="46"/>
                    <a:pt x="146" y="47"/>
                  </a:cubicBezTo>
                  <a:cubicBezTo>
                    <a:pt x="147" y="48"/>
                    <a:pt x="148" y="49"/>
                    <a:pt x="149" y="50"/>
                  </a:cubicBezTo>
                  <a:cubicBezTo>
                    <a:pt x="150" y="50"/>
                    <a:pt x="150" y="49"/>
                    <a:pt x="151" y="49"/>
                  </a:cubicBezTo>
                  <a:cubicBezTo>
                    <a:pt x="151" y="50"/>
                    <a:pt x="152" y="51"/>
                    <a:pt x="153" y="51"/>
                  </a:cubicBezTo>
                  <a:cubicBezTo>
                    <a:pt x="153" y="52"/>
                    <a:pt x="154" y="53"/>
                    <a:pt x="155" y="53"/>
                  </a:cubicBezTo>
                  <a:cubicBezTo>
                    <a:pt x="155" y="53"/>
                    <a:pt x="157" y="54"/>
                    <a:pt x="157" y="54"/>
                  </a:cubicBezTo>
                  <a:cubicBezTo>
                    <a:pt x="158" y="55"/>
                    <a:pt x="157" y="56"/>
                    <a:pt x="157" y="56"/>
                  </a:cubicBezTo>
                  <a:cubicBezTo>
                    <a:pt x="156" y="56"/>
                    <a:pt x="156" y="58"/>
                    <a:pt x="155" y="58"/>
                  </a:cubicBezTo>
                  <a:cubicBezTo>
                    <a:pt x="155" y="58"/>
                    <a:pt x="152" y="59"/>
                    <a:pt x="152" y="59"/>
                  </a:cubicBezTo>
                  <a:cubicBezTo>
                    <a:pt x="151" y="59"/>
                    <a:pt x="150" y="59"/>
                    <a:pt x="149" y="59"/>
                  </a:cubicBezTo>
                  <a:cubicBezTo>
                    <a:pt x="148" y="59"/>
                    <a:pt x="147" y="59"/>
                    <a:pt x="146" y="58"/>
                  </a:cubicBezTo>
                  <a:cubicBezTo>
                    <a:pt x="145" y="58"/>
                    <a:pt x="145" y="58"/>
                    <a:pt x="144" y="58"/>
                  </a:cubicBezTo>
                  <a:cubicBezTo>
                    <a:pt x="144" y="59"/>
                    <a:pt x="144" y="61"/>
                    <a:pt x="144" y="61"/>
                  </a:cubicBezTo>
                  <a:cubicBezTo>
                    <a:pt x="144" y="61"/>
                    <a:pt x="145" y="62"/>
                    <a:pt x="146" y="63"/>
                  </a:cubicBezTo>
                  <a:cubicBezTo>
                    <a:pt x="146" y="63"/>
                    <a:pt x="148" y="65"/>
                    <a:pt x="149" y="65"/>
                  </a:cubicBezTo>
                  <a:cubicBezTo>
                    <a:pt x="149" y="65"/>
                    <a:pt x="150" y="66"/>
                    <a:pt x="151" y="67"/>
                  </a:cubicBezTo>
                  <a:cubicBezTo>
                    <a:pt x="152" y="69"/>
                    <a:pt x="152" y="70"/>
                    <a:pt x="152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4"/>
                    <a:pt x="157" y="75"/>
                    <a:pt x="157" y="78"/>
                  </a:cubicBezTo>
                  <a:cubicBezTo>
                    <a:pt x="157" y="82"/>
                    <a:pt x="156" y="80"/>
                    <a:pt x="155" y="80"/>
                  </a:cubicBezTo>
                  <a:cubicBezTo>
                    <a:pt x="154" y="80"/>
                    <a:pt x="153" y="80"/>
                    <a:pt x="151" y="79"/>
                  </a:cubicBezTo>
                  <a:cubicBezTo>
                    <a:pt x="150" y="79"/>
                    <a:pt x="150" y="79"/>
                    <a:pt x="150" y="79"/>
                  </a:cubicBezTo>
                  <a:cubicBezTo>
                    <a:pt x="148" y="82"/>
                    <a:pt x="148" y="82"/>
                    <a:pt x="148" y="82"/>
                  </a:cubicBezTo>
                  <a:cubicBezTo>
                    <a:pt x="148" y="82"/>
                    <a:pt x="146" y="82"/>
                    <a:pt x="145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2" y="84"/>
                    <a:pt x="142" y="84"/>
                  </a:cubicBezTo>
                  <a:cubicBezTo>
                    <a:pt x="142" y="84"/>
                    <a:pt x="141" y="85"/>
                    <a:pt x="141" y="8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38" y="83"/>
                    <a:pt x="138" y="83"/>
                    <a:pt x="138" y="83"/>
                  </a:cubicBezTo>
                  <a:cubicBezTo>
                    <a:pt x="136" y="85"/>
                    <a:pt x="136" y="85"/>
                    <a:pt x="136" y="85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7"/>
                    <a:pt x="135" y="87"/>
                  </a:cubicBezTo>
                  <a:cubicBezTo>
                    <a:pt x="135" y="87"/>
                    <a:pt x="137" y="87"/>
                    <a:pt x="137" y="87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37" y="89"/>
                    <a:pt x="137" y="89"/>
                    <a:pt x="138" y="89"/>
                  </a:cubicBezTo>
                  <a:cubicBezTo>
                    <a:pt x="138" y="89"/>
                    <a:pt x="139" y="90"/>
                    <a:pt x="139" y="90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0" y="98"/>
                    <a:pt x="140" y="98"/>
                    <a:pt x="140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4"/>
                    <a:pt x="136" y="94"/>
                    <a:pt x="136" y="94"/>
                  </a:cubicBezTo>
                  <a:cubicBezTo>
                    <a:pt x="133" y="95"/>
                    <a:pt x="133" y="95"/>
                    <a:pt x="133" y="95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9" y="103"/>
                    <a:pt x="129" y="103"/>
                    <a:pt x="129" y="103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4" y="114"/>
                    <a:pt x="124" y="114"/>
                    <a:pt x="124" y="114"/>
                  </a:cubicBezTo>
                  <a:cubicBezTo>
                    <a:pt x="121" y="115"/>
                    <a:pt x="121" y="115"/>
                    <a:pt x="121" y="11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19"/>
                    <a:pt x="121" y="119"/>
                    <a:pt x="121" y="119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126" y="130"/>
                    <a:pt x="126" y="130"/>
                    <a:pt x="126" y="130"/>
                  </a:cubicBezTo>
                  <a:cubicBezTo>
                    <a:pt x="128" y="130"/>
                    <a:pt x="128" y="130"/>
                    <a:pt x="128" y="130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19" y="139"/>
                    <a:pt x="118" y="139"/>
                  </a:cubicBezTo>
                  <a:cubicBezTo>
                    <a:pt x="118" y="139"/>
                    <a:pt x="117" y="139"/>
                    <a:pt x="117" y="139"/>
                  </a:cubicBezTo>
                  <a:cubicBezTo>
                    <a:pt x="117" y="139"/>
                    <a:pt x="115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06" y="134"/>
                    <a:pt x="106" y="134"/>
                    <a:pt x="106" y="134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1"/>
                    <a:pt x="87" y="126"/>
                    <a:pt x="89" y="120"/>
                  </a:cubicBezTo>
                  <a:cubicBezTo>
                    <a:pt x="89" y="120"/>
                    <a:pt x="89" y="119"/>
                    <a:pt x="89" y="119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89" y="118"/>
                    <a:pt x="87" y="116"/>
                    <a:pt x="87" y="116"/>
                  </a:cubicBezTo>
                  <a:cubicBezTo>
                    <a:pt x="81" y="113"/>
                    <a:pt x="80" y="110"/>
                    <a:pt x="77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3" y="95"/>
                    <a:pt x="61" y="94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3"/>
                    <a:pt x="21" y="53"/>
                    <a:pt x="21" y="52"/>
                  </a:cubicBezTo>
                  <a:cubicBezTo>
                    <a:pt x="20" y="52"/>
                    <a:pt x="18" y="51"/>
                    <a:pt x="19" y="50"/>
                  </a:cubicBezTo>
                  <a:cubicBezTo>
                    <a:pt x="19" y="49"/>
                    <a:pt x="18" y="48"/>
                    <a:pt x="18" y="46"/>
                  </a:cubicBezTo>
                  <a:cubicBezTo>
                    <a:pt x="18" y="45"/>
                    <a:pt x="18" y="44"/>
                    <a:pt x="17" y="44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4" y="43"/>
                    <a:pt x="14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4" y="41"/>
                    <a:pt x="14" y="39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8"/>
                    <a:pt x="10" y="35"/>
                    <a:pt x="8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1"/>
                    <a:pt x="2" y="29"/>
                  </a:cubicBezTo>
                  <a:cubicBezTo>
                    <a:pt x="4" y="27"/>
                    <a:pt x="2" y="26"/>
                    <a:pt x="2" y="26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" y="13"/>
                    <a:pt x="1" y="11"/>
                  </a:cubicBezTo>
                  <a:cubicBezTo>
                    <a:pt x="1" y="11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8" y="7"/>
                    <a:pt x="8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2" y="16"/>
                    <a:pt x="23" y="16"/>
                  </a:cubicBezTo>
                  <a:cubicBezTo>
                    <a:pt x="23" y="15"/>
                    <a:pt x="23" y="13"/>
                    <a:pt x="23" y="13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8" y="5"/>
                    <a:pt x="39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80" y="6"/>
                  </a:cubicBezTo>
                  <a:cubicBezTo>
                    <a:pt x="80" y="6"/>
                    <a:pt x="83" y="6"/>
                    <a:pt x="83" y="6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6" y="5"/>
                    <a:pt x="88" y="5"/>
                    <a:pt x="88" y="5"/>
                  </a:cubicBezTo>
                  <a:cubicBezTo>
                    <a:pt x="89" y="2"/>
                    <a:pt x="89" y="2"/>
                    <a:pt x="89" y="2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1" y="3"/>
                    <a:pt x="92" y="3"/>
                  </a:cubicBezTo>
                  <a:cubicBezTo>
                    <a:pt x="93" y="3"/>
                    <a:pt x="94" y="2"/>
                    <a:pt x="94" y="2"/>
                  </a:cubicBezTo>
                  <a:cubicBezTo>
                    <a:pt x="94" y="2"/>
                    <a:pt x="95" y="3"/>
                    <a:pt x="95" y="3"/>
                  </a:cubicBezTo>
                  <a:cubicBezTo>
                    <a:pt x="95" y="3"/>
                    <a:pt x="96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1" y="3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6" y="3"/>
                    <a:pt x="107" y="3"/>
                  </a:cubicBezTo>
                  <a:cubicBezTo>
                    <a:pt x="109" y="3"/>
                    <a:pt x="110" y="3"/>
                    <a:pt x="111" y="3"/>
                  </a:cubicBezTo>
                  <a:cubicBezTo>
                    <a:pt x="113" y="3"/>
                    <a:pt x="114" y="5"/>
                    <a:pt x="114" y="5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8"/>
                    <a:pt x="118" y="10"/>
                    <a:pt x="118" y="11"/>
                  </a:cubicBezTo>
                  <a:cubicBezTo>
                    <a:pt x="119" y="12"/>
                    <a:pt x="119" y="13"/>
                    <a:pt x="119" y="13"/>
                  </a:cubicBezTo>
                  <a:cubicBezTo>
                    <a:pt x="119" y="13"/>
                    <a:pt x="119" y="13"/>
                    <a:pt x="119" y="13"/>
                  </a:cubicBezTo>
                  <a:cubicBezTo>
                    <a:pt x="120" y="13"/>
                    <a:pt x="127" y="16"/>
                    <a:pt x="128" y="16"/>
                  </a:cubicBezTo>
                  <a:cubicBezTo>
                    <a:pt x="128" y="16"/>
                    <a:pt x="129" y="16"/>
                    <a:pt x="129" y="16"/>
                  </a:cubicBezTo>
                  <a:cubicBezTo>
                    <a:pt x="129" y="14"/>
                    <a:pt x="128" y="13"/>
                    <a:pt x="130" y="12"/>
                  </a:cubicBezTo>
                  <a:cubicBezTo>
                    <a:pt x="131" y="12"/>
                    <a:pt x="132" y="14"/>
                    <a:pt x="132" y="12"/>
                  </a:cubicBezTo>
                  <a:cubicBezTo>
                    <a:pt x="132" y="10"/>
                    <a:pt x="133" y="11"/>
                    <a:pt x="132" y="9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8" name="Freeform 63"/>
            <p:cNvSpPr>
              <a:spLocks noEditPoints="1"/>
            </p:cNvSpPr>
            <p:nvPr/>
          </p:nvSpPr>
          <p:spPr bwMode="auto">
            <a:xfrm>
              <a:off x="4877543" y="1947010"/>
              <a:ext cx="322133" cy="369700"/>
            </a:xfrm>
            <a:custGeom>
              <a:avLst/>
              <a:gdLst>
                <a:gd name="T0" fmla="*/ 71 w 141"/>
                <a:gd name="T1" fmla="*/ 5 h 167"/>
                <a:gd name="T2" fmla="*/ 67 w 141"/>
                <a:gd name="T3" fmla="*/ 47 h 167"/>
                <a:gd name="T4" fmla="*/ 87 w 141"/>
                <a:gd name="T5" fmla="*/ 73 h 167"/>
                <a:gd name="T6" fmla="*/ 76 w 141"/>
                <a:gd name="T7" fmla="*/ 89 h 167"/>
                <a:gd name="T8" fmla="*/ 66 w 141"/>
                <a:gd name="T9" fmla="*/ 95 h 167"/>
                <a:gd name="T10" fmla="*/ 60 w 141"/>
                <a:gd name="T11" fmla="*/ 106 h 167"/>
                <a:gd name="T12" fmla="*/ 51 w 141"/>
                <a:gd name="T13" fmla="*/ 115 h 167"/>
                <a:gd name="T14" fmla="*/ 47 w 141"/>
                <a:gd name="T15" fmla="*/ 129 h 167"/>
                <a:gd name="T16" fmla="*/ 44 w 141"/>
                <a:gd name="T17" fmla="*/ 146 h 167"/>
                <a:gd name="T18" fmla="*/ 36 w 141"/>
                <a:gd name="T19" fmla="*/ 157 h 167"/>
                <a:gd name="T20" fmla="*/ 17 w 141"/>
                <a:gd name="T21" fmla="*/ 140 h 167"/>
                <a:gd name="T22" fmla="*/ 4 w 141"/>
                <a:gd name="T23" fmla="*/ 120 h 167"/>
                <a:gd name="T24" fmla="*/ 8 w 141"/>
                <a:gd name="T25" fmla="*/ 95 h 167"/>
                <a:gd name="T26" fmla="*/ 6 w 141"/>
                <a:gd name="T27" fmla="*/ 60 h 167"/>
                <a:gd name="T28" fmla="*/ 18 w 141"/>
                <a:gd name="T29" fmla="*/ 62 h 167"/>
                <a:gd name="T30" fmla="*/ 24 w 141"/>
                <a:gd name="T31" fmla="*/ 44 h 167"/>
                <a:gd name="T32" fmla="*/ 25 w 141"/>
                <a:gd name="T33" fmla="*/ 54 h 167"/>
                <a:gd name="T34" fmla="*/ 33 w 141"/>
                <a:gd name="T35" fmla="*/ 60 h 167"/>
                <a:gd name="T36" fmla="*/ 36 w 141"/>
                <a:gd name="T37" fmla="*/ 56 h 167"/>
                <a:gd name="T38" fmla="*/ 47 w 141"/>
                <a:gd name="T39" fmla="*/ 40 h 167"/>
                <a:gd name="T40" fmla="*/ 34 w 141"/>
                <a:gd name="T41" fmla="*/ 40 h 167"/>
                <a:gd name="T42" fmla="*/ 18 w 141"/>
                <a:gd name="T43" fmla="*/ 46 h 167"/>
                <a:gd name="T44" fmla="*/ 17 w 141"/>
                <a:gd name="T45" fmla="*/ 59 h 167"/>
                <a:gd name="T46" fmla="*/ 5 w 141"/>
                <a:gd name="T47" fmla="*/ 51 h 167"/>
                <a:gd name="T48" fmla="*/ 24 w 141"/>
                <a:gd name="T49" fmla="*/ 33 h 167"/>
                <a:gd name="T50" fmla="*/ 11 w 141"/>
                <a:gd name="T51" fmla="*/ 144 h 167"/>
                <a:gd name="T52" fmla="*/ 68 w 141"/>
                <a:gd name="T53" fmla="*/ 112 h 167"/>
                <a:gd name="T54" fmla="*/ 68 w 141"/>
                <a:gd name="T55" fmla="*/ 112 h 167"/>
                <a:gd name="T56" fmla="*/ 107 w 141"/>
                <a:gd name="T57" fmla="*/ 153 h 167"/>
                <a:gd name="T58" fmla="*/ 105 w 141"/>
                <a:gd name="T59" fmla="*/ 151 h 167"/>
                <a:gd name="T60" fmla="*/ 128 w 141"/>
                <a:gd name="T61" fmla="*/ 143 h 167"/>
                <a:gd name="T62" fmla="*/ 124 w 141"/>
                <a:gd name="T63" fmla="*/ 138 h 167"/>
                <a:gd name="T64" fmla="*/ 132 w 141"/>
                <a:gd name="T65" fmla="*/ 124 h 167"/>
                <a:gd name="T66" fmla="*/ 139 w 141"/>
                <a:gd name="T67" fmla="*/ 110 h 167"/>
                <a:gd name="T68" fmla="*/ 133 w 141"/>
                <a:gd name="T69" fmla="*/ 87 h 167"/>
                <a:gd name="T70" fmla="*/ 119 w 141"/>
                <a:gd name="T71" fmla="*/ 97 h 167"/>
                <a:gd name="T72" fmla="*/ 111 w 141"/>
                <a:gd name="T73" fmla="*/ 108 h 167"/>
                <a:gd name="T74" fmla="*/ 113 w 141"/>
                <a:gd name="T75" fmla="*/ 95 h 167"/>
                <a:gd name="T76" fmla="*/ 105 w 141"/>
                <a:gd name="T77" fmla="*/ 99 h 167"/>
                <a:gd name="T78" fmla="*/ 88 w 141"/>
                <a:gd name="T79" fmla="*/ 108 h 167"/>
                <a:gd name="T80" fmla="*/ 96 w 141"/>
                <a:gd name="T81" fmla="*/ 127 h 167"/>
                <a:gd name="T82" fmla="*/ 112 w 141"/>
                <a:gd name="T83" fmla="*/ 136 h 167"/>
                <a:gd name="T84" fmla="*/ 125 w 141"/>
                <a:gd name="T85" fmla="*/ 147 h 167"/>
                <a:gd name="T86" fmla="*/ 132 w 141"/>
                <a:gd name="T87" fmla="*/ 149 h 167"/>
                <a:gd name="T88" fmla="*/ 128 w 141"/>
                <a:gd name="T89" fmla="*/ 147 h 167"/>
                <a:gd name="T90" fmla="*/ 111 w 141"/>
                <a:gd name="T91" fmla="*/ 154 h 167"/>
                <a:gd name="T92" fmla="*/ 93 w 141"/>
                <a:gd name="T93" fmla="*/ 154 h 167"/>
                <a:gd name="T94" fmla="*/ 106 w 141"/>
                <a:gd name="T95" fmla="*/ 167 h 167"/>
                <a:gd name="T96" fmla="*/ 77 w 141"/>
                <a:gd name="T97" fmla="*/ 121 h 167"/>
                <a:gd name="T98" fmla="*/ 52 w 141"/>
                <a:gd name="T99" fmla="*/ 119 h 167"/>
                <a:gd name="T100" fmla="*/ 61 w 141"/>
                <a:gd name="T101" fmla="*/ 139 h 167"/>
                <a:gd name="T102" fmla="*/ 83 w 141"/>
                <a:gd name="T103" fmla="*/ 143 h 167"/>
                <a:gd name="T104" fmla="*/ 84 w 141"/>
                <a:gd name="T105" fmla="*/ 120 h 167"/>
                <a:gd name="T106" fmla="*/ 74 w 141"/>
                <a:gd name="T107" fmla="*/ 115 h 167"/>
                <a:gd name="T108" fmla="*/ 78 w 141"/>
                <a:gd name="T109" fmla="*/ 99 h 167"/>
                <a:gd name="T110" fmla="*/ 75 w 141"/>
                <a:gd name="T111" fmla="*/ 107 h 167"/>
                <a:gd name="T112" fmla="*/ 89 w 141"/>
                <a:gd name="T113" fmla="*/ 142 h 167"/>
                <a:gd name="T114" fmla="*/ 80 w 141"/>
                <a:gd name="T115" fmla="*/ 157 h 167"/>
                <a:gd name="T116" fmla="*/ 66 w 141"/>
                <a:gd name="T117" fmla="*/ 150 h 167"/>
                <a:gd name="T118" fmla="*/ 67 w 141"/>
                <a:gd name="T119" fmla="*/ 150 h 167"/>
                <a:gd name="T120" fmla="*/ 61 w 141"/>
                <a:gd name="T121" fmla="*/ 155 h 167"/>
                <a:gd name="T122" fmla="*/ 83 w 141"/>
                <a:gd name="T123" fmla="*/ 25 h 167"/>
                <a:gd name="T124" fmla="*/ 85 w 141"/>
                <a:gd name="T125" fmla="*/ 2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" h="167">
                  <a:moveTo>
                    <a:pt x="38" y="33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5" y="6"/>
                    <a:pt x="66" y="6"/>
                  </a:cubicBezTo>
                  <a:cubicBezTo>
                    <a:pt x="67" y="5"/>
                    <a:pt x="73" y="0"/>
                    <a:pt x="7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6" y="25"/>
                    <a:pt x="75" y="26"/>
                  </a:cubicBezTo>
                  <a:cubicBezTo>
                    <a:pt x="73" y="27"/>
                    <a:pt x="71" y="30"/>
                    <a:pt x="71" y="30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5" y="66"/>
                    <a:pt x="76" y="66"/>
                  </a:cubicBezTo>
                  <a:cubicBezTo>
                    <a:pt x="77" y="66"/>
                    <a:pt x="80" y="65"/>
                    <a:pt x="81" y="65"/>
                  </a:cubicBezTo>
                  <a:cubicBezTo>
                    <a:pt x="82" y="65"/>
                    <a:pt x="84" y="66"/>
                    <a:pt x="84" y="66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86" y="75"/>
                    <a:pt x="86" y="76"/>
                  </a:cubicBezTo>
                  <a:cubicBezTo>
                    <a:pt x="85" y="77"/>
                    <a:pt x="84" y="79"/>
                    <a:pt x="84" y="79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8" y="84"/>
                    <a:pt x="78" y="81"/>
                    <a:pt x="77" y="82"/>
                  </a:cubicBezTo>
                  <a:cubicBezTo>
                    <a:pt x="76" y="82"/>
                    <a:pt x="75" y="84"/>
                    <a:pt x="75" y="84"/>
                  </a:cubicBezTo>
                  <a:cubicBezTo>
                    <a:pt x="76" y="86"/>
                    <a:pt x="76" y="86"/>
                    <a:pt x="76" y="86"/>
                  </a:cubicBezTo>
                  <a:cubicBezTo>
                    <a:pt x="76" y="86"/>
                    <a:pt x="77" y="89"/>
                    <a:pt x="76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70" y="79"/>
                    <a:pt x="69" y="79"/>
                    <a:pt x="68" y="80"/>
                  </a:cubicBezTo>
                  <a:cubicBezTo>
                    <a:pt x="68" y="81"/>
                    <a:pt x="67" y="85"/>
                    <a:pt x="67" y="85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6" y="89"/>
                    <a:pt x="67" y="90"/>
                    <a:pt x="67" y="91"/>
                  </a:cubicBezTo>
                  <a:cubicBezTo>
                    <a:pt x="67" y="92"/>
                    <a:pt x="66" y="93"/>
                    <a:pt x="66" y="93"/>
                  </a:cubicBezTo>
                  <a:cubicBezTo>
                    <a:pt x="66" y="93"/>
                    <a:pt x="66" y="94"/>
                    <a:pt x="66" y="95"/>
                  </a:cubicBezTo>
                  <a:cubicBezTo>
                    <a:pt x="66" y="95"/>
                    <a:pt x="67" y="97"/>
                    <a:pt x="67" y="98"/>
                  </a:cubicBezTo>
                  <a:cubicBezTo>
                    <a:pt x="67" y="98"/>
                    <a:pt x="67" y="99"/>
                    <a:pt x="66" y="99"/>
                  </a:cubicBezTo>
                  <a:cubicBezTo>
                    <a:pt x="66" y="100"/>
                    <a:pt x="66" y="100"/>
                    <a:pt x="66" y="101"/>
                  </a:cubicBezTo>
                  <a:cubicBezTo>
                    <a:pt x="65" y="101"/>
                    <a:pt x="64" y="102"/>
                    <a:pt x="64" y="102"/>
                  </a:cubicBezTo>
                  <a:cubicBezTo>
                    <a:pt x="64" y="102"/>
                    <a:pt x="62" y="103"/>
                    <a:pt x="62" y="103"/>
                  </a:cubicBezTo>
                  <a:cubicBezTo>
                    <a:pt x="62" y="103"/>
                    <a:pt x="61" y="102"/>
                    <a:pt x="60" y="102"/>
                  </a:cubicBezTo>
                  <a:cubicBezTo>
                    <a:pt x="59" y="102"/>
                    <a:pt x="59" y="101"/>
                    <a:pt x="58" y="102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61" y="106"/>
                    <a:pt x="61" y="107"/>
                  </a:cubicBezTo>
                  <a:cubicBezTo>
                    <a:pt x="60" y="108"/>
                    <a:pt x="59" y="109"/>
                    <a:pt x="59" y="109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5" y="112"/>
                    <a:pt x="53" y="111"/>
                    <a:pt x="53" y="112"/>
                  </a:cubicBezTo>
                  <a:cubicBezTo>
                    <a:pt x="52" y="112"/>
                    <a:pt x="51" y="112"/>
                    <a:pt x="51" y="112"/>
                  </a:cubicBezTo>
                  <a:cubicBezTo>
                    <a:pt x="51" y="113"/>
                    <a:pt x="53" y="115"/>
                    <a:pt x="53" y="115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2" y="117"/>
                    <a:pt x="52" y="117"/>
                    <a:pt x="52" y="117"/>
                  </a:cubicBezTo>
                  <a:cubicBezTo>
                    <a:pt x="51" y="118"/>
                    <a:pt x="51" y="118"/>
                    <a:pt x="51" y="118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49" y="120"/>
                    <a:pt x="48" y="121"/>
                    <a:pt x="47" y="121"/>
                  </a:cubicBezTo>
                  <a:cubicBezTo>
                    <a:pt x="47" y="121"/>
                    <a:pt x="44" y="121"/>
                    <a:pt x="44" y="121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7" y="123"/>
                    <a:pt x="48" y="122"/>
                    <a:pt x="48" y="123"/>
                  </a:cubicBezTo>
                  <a:cubicBezTo>
                    <a:pt x="47" y="123"/>
                    <a:pt x="47" y="123"/>
                    <a:pt x="47" y="124"/>
                  </a:cubicBezTo>
                  <a:cubicBezTo>
                    <a:pt x="47" y="126"/>
                    <a:pt x="47" y="129"/>
                    <a:pt x="47" y="129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50" y="133"/>
                    <a:pt x="50" y="133"/>
                    <a:pt x="50" y="133"/>
                  </a:cubicBezTo>
                  <a:cubicBezTo>
                    <a:pt x="50" y="133"/>
                    <a:pt x="50" y="133"/>
                    <a:pt x="50" y="134"/>
                  </a:cubicBezTo>
                  <a:cubicBezTo>
                    <a:pt x="50" y="134"/>
                    <a:pt x="50" y="135"/>
                    <a:pt x="50" y="135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7"/>
                    <a:pt x="49" y="138"/>
                    <a:pt x="48" y="138"/>
                  </a:cubicBezTo>
                  <a:cubicBezTo>
                    <a:pt x="48" y="138"/>
                    <a:pt x="44" y="139"/>
                    <a:pt x="44" y="139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45" y="142"/>
                    <a:pt x="45" y="144"/>
                    <a:pt x="45" y="144"/>
                  </a:cubicBezTo>
                  <a:cubicBezTo>
                    <a:pt x="45" y="145"/>
                    <a:pt x="44" y="146"/>
                    <a:pt x="44" y="146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6"/>
                    <a:pt x="52" y="156"/>
                    <a:pt x="52" y="156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48" y="154"/>
                    <a:pt x="47" y="154"/>
                    <a:pt x="47" y="155"/>
                  </a:cubicBezTo>
                  <a:cubicBezTo>
                    <a:pt x="46" y="155"/>
                    <a:pt x="43" y="157"/>
                    <a:pt x="43" y="157"/>
                  </a:cubicBezTo>
                  <a:cubicBezTo>
                    <a:pt x="43" y="157"/>
                    <a:pt x="41" y="158"/>
                    <a:pt x="40" y="158"/>
                  </a:cubicBezTo>
                  <a:cubicBezTo>
                    <a:pt x="40" y="158"/>
                    <a:pt x="39" y="158"/>
                    <a:pt x="39" y="158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2" y="155"/>
                    <a:pt x="32" y="155"/>
                    <a:pt x="32" y="155"/>
                  </a:cubicBezTo>
                  <a:cubicBezTo>
                    <a:pt x="32" y="155"/>
                    <a:pt x="30" y="154"/>
                    <a:pt x="29" y="154"/>
                  </a:cubicBezTo>
                  <a:cubicBezTo>
                    <a:pt x="28" y="154"/>
                    <a:pt x="23" y="152"/>
                    <a:pt x="23" y="152"/>
                  </a:cubicBezTo>
                  <a:cubicBezTo>
                    <a:pt x="21" y="153"/>
                    <a:pt x="21" y="153"/>
                    <a:pt x="21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3" y="147"/>
                    <a:pt x="13" y="147"/>
                  </a:cubicBezTo>
                  <a:cubicBezTo>
                    <a:pt x="13" y="147"/>
                    <a:pt x="16" y="145"/>
                    <a:pt x="16" y="145"/>
                  </a:cubicBezTo>
                  <a:cubicBezTo>
                    <a:pt x="17" y="145"/>
                    <a:pt x="17" y="144"/>
                    <a:pt x="17" y="144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38"/>
                    <a:pt x="17" y="138"/>
                  </a:cubicBezTo>
                  <a:cubicBezTo>
                    <a:pt x="17" y="137"/>
                    <a:pt x="18" y="136"/>
                    <a:pt x="18" y="136"/>
                  </a:cubicBezTo>
                  <a:cubicBezTo>
                    <a:pt x="18" y="136"/>
                    <a:pt x="18" y="133"/>
                    <a:pt x="17" y="132"/>
                  </a:cubicBezTo>
                  <a:cubicBezTo>
                    <a:pt x="17" y="130"/>
                    <a:pt x="17" y="128"/>
                    <a:pt x="17" y="128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4" y="125"/>
                    <a:pt x="12" y="124"/>
                  </a:cubicBezTo>
                  <a:cubicBezTo>
                    <a:pt x="10" y="123"/>
                    <a:pt x="7" y="122"/>
                    <a:pt x="7" y="122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4" y="118"/>
                    <a:pt x="4" y="119"/>
                  </a:cubicBezTo>
                  <a:cubicBezTo>
                    <a:pt x="4" y="119"/>
                    <a:pt x="4" y="120"/>
                    <a:pt x="4" y="120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2" y="119"/>
                    <a:pt x="0" y="116"/>
                    <a:pt x="0" y="115"/>
                  </a:cubicBezTo>
                  <a:cubicBezTo>
                    <a:pt x="1" y="115"/>
                    <a:pt x="2" y="114"/>
                    <a:pt x="2" y="113"/>
                  </a:cubicBezTo>
                  <a:cubicBezTo>
                    <a:pt x="3" y="112"/>
                    <a:pt x="4" y="110"/>
                    <a:pt x="4" y="109"/>
                  </a:cubicBezTo>
                  <a:cubicBezTo>
                    <a:pt x="4" y="109"/>
                    <a:pt x="4" y="105"/>
                    <a:pt x="4" y="105"/>
                  </a:cubicBezTo>
                  <a:cubicBezTo>
                    <a:pt x="4" y="105"/>
                    <a:pt x="3" y="104"/>
                    <a:pt x="4" y="104"/>
                  </a:cubicBezTo>
                  <a:cubicBezTo>
                    <a:pt x="5" y="104"/>
                    <a:pt x="4" y="104"/>
                    <a:pt x="5" y="104"/>
                  </a:cubicBezTo>
                  <a:cubicBezTo>
                    <a:pt x="6" y="103"/>
                    <a:pt x="9" y="101"/>
                    <a:pt x="9" y="101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8" y="97"/>
                    <a:pt x="8" y="96"/>
                  </a:cubicBezTo>
                  <a:cubicBezTo>
                    <a:pt x="8" y="96"/>
                    <a:pt x="8" y="96"/>
                    <a:pt x="8" y="95"/>
                  </a:cubicBezTo>
                  <a:cubicBezTo>
                    <a:pt x="8" y="93"/>
                    <a:pt x="4" y="89"/>
                    <a:pt x="4" y="89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2" y="89"/>
                    <a:pt x="2" y="88"/>
                    <a:pt x="2" y="87"/>
                  </a:cubicBezTo>
                  <a:cubicBezTo>
                    <a:pt x="2" y="87"/>
                    <a:pt x="2" y="84"/>
                    <a:pt x="2" y="84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4"/>
                    <a:pt x="2" y="63"/>
                  </a:cubicBezTo>
                  <a:cubicBezTo>
                    <a:pt x="2" y="63"/>
                    <a:pt x="4" y="59"/>
                    <a:pt x="4" y="59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5" y="61"/>
                    <a:pt x="6" y="62"/>
                  </a:cubicBezTo>
                  <a:cubicBezTo>
                    <a:pt x="7" y="62"/>
                    <a:pt x="8" y="62"/>
                    <a:pt x="9" y="62"/>
                  </a:cubicBezTo>
                  <a:cubicBezTo>
                    <a:pt x="9" y="62"/>
                    <a:pt x="10" y="63"/>
                    <a:pt x="10" y="6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6"/>
                    <a:pt x="20" y="66"/>
                  </a:cubicBezTo>
                  <a:cubicBezTo>
                    <a:pt x="20" y="66"/>
                    <a:pt x="19" y="64"/>
                    <a:pt x="19" y="64"/>
                  </a:cubicBezTo>
                  <a:cubicBezTo>
                    <a:pt x="19" y="63"/>
                    <a:pt x="18" y="62"/>
                    <a:pt x="18" y="62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8"/>
                    <a:pt x="22" y="57"/>
                    <a:pt x="21" y="57"/>
                  </a:cubicBezTo>
                  <a:cubicBezTo>
                    <a:pt x="20" y="57"/>
                    <a:pt x="18" y="57"/>
                    <a:pt x="18" y="57"/>
                  </a:cubicBezTo>
                  <a:cubicBezTo>
                    <a:pt x="18" y="57"/>
                    <a:pt x="17" y="56"/>
                    <a:pt x="17" y="56"/>
                  </a:cubicBezTo>
                  <a:cubicBezTo>
                    <a:pt x="17" y="56"/>
                    <a:pt x="16" y="54"/>
                    <a:pt x="16" y="54"/>
                  </a:cubicBezTo>
                  <a:cubicBezTo>
                    <a:pt x="16" y="54"/>
                    <a:pt x="16" y="52"/>
                    <a:pt x="17" y="52"/>
                  </a:cubicBezTo>
                  <a:cubicBezTo>
                    <a:pt x="17" y="51"/>
                    <a:pt x="18" y="48"/>
                    <a:pt x="18" y="48"/>
                  </a:cubicBezTo>
                  <a:cubicBezTo>
                    <a:pt x="18" y="48"/>
                    <a:pt x="17" y="46"/>
                    <a:pt x="19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2" y="46"/>
                    <a:pt x="23" y="44"/>
                    <a:pt x="24" y="44"/>
                  </a:cubicBezTo>
                  <a:cubicBezTo>
                    <a:pt x="24" y="44"/>
                    <a:pt x="25" y="43"/>
                    <a:pt x="25" y="44"/>
                  </a:cubicBezTo>
                  <a:cubicBezTo>
                    <a:pt x="26" y="44"/>
                    <a:pt x="25" y="47"/>
                    <a:pt x="25" y="47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4" y="50"/>
                    <a:pt x="24" y="51"/>
                  </a:cubicBezTo>
                  <a:cubicBezTo>
                    <a:pt x="24" y="52"/>
                    <a:pt x="24" y="53"/>
                    <a:pt x="24" y="5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3" y="57"/>
                    <a:pt x="23" y="58"/>
                    <a:pt x="23" y="58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5" y="56"/>
                    <a:pt x="25" y="56"/>
                  </a:cubicBezTo>
                  <a:cubicBezTo>
                    <a:pt x="25" y="56"/>
                    <a:pt x="24" y="55"/>
                    <a:pt x="25" y="54"/>
                  </a:cubicBezTo>
                  <a:cubicBezTo>
                    <a:pt x="26" y="53"/>
                    <a:pt x="26" y="52"/>
                    <a:pt x="27" y="52"/>
                  </a:cubicBezTo>
                  <a:cubicBezTo>
                    <a:pt x="27" y="51"/>
                    <a:pt x="27" y="51"/>
                    <a:pt x="29" y="51"/>
                  </a:cubicBezTo>
                  <a:cubicBezTo>
                    <a:pt x="30" y="51"/>
                    <a:pt x="32" y="53"/>
                    <a:pt x="32" y="53"/>
                  </a:cubicBezTo>
                  <a:cubicBezTo>
                    <a:pt x="32" y="53"/>
                    <a:pt x="33" y="54"/>
                    <a:pt x="32" y="54"/>
                  </a:cubicBezTo>
                  <a:cubicBezTo>
                    <a:pt x="32" y="55"/>
                    <a:pt x="31" y="56"/>
                    <a:pt x="31" y="56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9"/>
                    <a:pt x="31" y="60"/>
                  </a:cubicBezTo>
                  <a:cubicBezTo>
                    <a:pt x="31" y="60"/>
                    <a:pt x="31" y="61"/>
                    <a:pt x="31" y="61"/>
                  </a:cubicBezTo>
                  <a:cubicBezTo>
                    <a:pt x="31" y="62"/>
                    <a:pt x="28" y="63"/>
                    <a:pt x="31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0"/>
                    <a:pt x="33" y="60"/>
                  </a:cubicBezTo>
                  <a:cubicBezTo>
                    <a:pt x="33" y="60"/>
                    <a:pt x="34" y="60"/>
                    <a:pt x="34" y="60"/>
                  </a:cubicBezTo>
                  <a:cubicBezTo>
                    <a:pt x="35" y="60"/>
                    <a:pt x="36" y="60"/>
                    <a:pt x="36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2"/>
                    <a:pt x="37" y="63"/>
                  </a:cubicBezTo>
                  <a:cubicBezTo>
                    <a:pt x="37" y="63"/>
                    <a:pt x="37" y="64"/>
                    <a:pt x="37" y="64"/>
                  </a:cubicBezTo>
                  <a:cubicBezTo>
                    <a:pt x="37" y="64"/>
                    <a:pt x="39" y="66"/>
                    <a:pt x="39" y="65"/>
                  </a:cubicBezTo>
                  <a:cubicBezTo>
                    <a:pt x="39" y="64"/>
                    <a:pt x="40" y="65"/>
                    <a:pt x="39" y="63"/>
                  </a:cubicBezTo>
                  <a:cubicBezTo>
                    <a:pt x="38" y="62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59"/>
                    <a:pt x="38" y="58"/>
                    <a:pt x="38" y="58"/>
                  </a:cubicBezTo>
                  <a:cubicBezTo>
                    <a:pt x="37" y="57"/>
                    <a:pt x="36" y="57"/>
                    <a:pt x="36" y="56"/>
                  </a:cubicBezTo>
                  <a:cubicBezTo>
                    <a:pt x="36" y="56"/>
                    <a:pt x="33" y="53"/>
                    <a:pt x="33" y="53"/>
                  </a:cubicBezTo>
                  <a:cubicBezTo>
                    <a:pt x="33" y="53"/>
                    <a:pt x="33" y="52"/>
                    <a:pt x="33" y="51"/>
                  </a:cubicBezTo>
                  <a:cubicBezTo>
                    <a:pt x="33" y="49"/>
                    <a:pt x="33" y="48"/>
                    <a:pt x="33" y="47"/>
                  </a:cubicBezTo>
                  <a:cubicBezTo>
                    <a:pt x="33" y="47"/>
                    <a:pt x="34" y="45"/>
                    <a:pt x="34" y="45"/>
                  </a:cubicBezTo>
                  <a:cubicBezTo>
                    <a:pt x="34" y="45"/>
                    <a:pt x="34" y="43"/>
                    <a:pt x="35" y="42"/>
                  </a:cubicBezTo>
                  <a:cubicBezTo>
                    <a:pt x="36" y="42"/>
                    <a:pt x="35" y="41"/>
                    <a:pt x="36" y="41"/>
                  </a:cubicBezTo>
                  <a:cubicBezTo>
                    <a:pt x="38" y="40"/>
                    <a:pt x="37" y="40"/>
                    <a:pt x="39" y="40"/>
                  </a:cubicBezTo>
                  <a:cubicBezTo>
                    <a:pt x="40" y="40"/>
                    <a:pt x="42" y="41"/>
                    <a:pt x="43" y="41"/>
                  </a:cubicBezTo>
                  <a:cubicBezTo>
                    <a:pt x="43" y="41"/>
                    <a:pt x="46" y="42"/>
                    <a:pt x="46" y="42"/>
                  </a:cubicBezTo>
                  <a:cubicBezTo>
                    <a:pt x="46" y="42"/>
                    <a:pt x="46" y="41"/>
                    <a:pt x="46" y="41"/>
                  </a:cubicBezTo>
                  <a:cubicBezTo>
                    <a:pt x="47" y="41"/>
                    <a:pt x="47" y="39"/>
                    <a:pt x="47" y="40"/>
                  </a:cubicBezTo>
                  <a:cubicBezTo>
                    <a:pt x="48" y="40"/>
                    <a:pt x="48" y="41"/>
                    <a:pt x="49" y="40"/>
                  </a:cubicBezTo>
                  <a:cubicBezTo>
                    <a:pt x="50" y="39"/>
                    <a:pt x="50" y="38"/>
                    <a:pt x="50" y="38"/>
                  </a:cubicBezTo>
                  <a:cubicBezTo>
                    <a:pt x="50" y="38"/>
                    <a:pt x="51" y="38"/>
                    <a:pt x="52" y="37"/>
                  </a:cubicBezTo>
                  <a:cubicBezTo>
                    <a:pt x="52" y="37"/>
                    <a:pt x="51" y="36"/>
                    <a:pt x="50" y="36"/>
                  </a:cubicBezTo>
                  <a:cubicBezTo>
                    <a:pt x="50" y="36"/>
                    <a:pt x="48" y="36"/>
                    <a:pt x="47" y="37"/>
                  </a:cubicBezTo>
                  <a:cubicBezTo>
                    <a:pt x="46" y="37"/>
                    <a:pt x="47" y="37"/>
                    <a:pt x="45" y="37"/>
                  </a:cubicBezTo>
                  <a:cubicBezTo>
                    <a:pt x="44" y="38"/>
                    <a:pt x="44" y="38"/>
                    <a:pt x="42" y="38"/>
                  </a:cubicBezTo>
                  <a:cubicBezTo>
                    <a:pt x="40" y="38"/>
                    <a:pt x="40" y="38"/>
                    <a:pt x="39" y="39"/>
                  </a:cubicBezTo>
                  <a:cubicBezTo>
                    <a:pt x="38" y="40"/>
                    <a:pt x="37" y="40"/>
                    <a:pt x="37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5" y="40"/>
                    <a:pt x="34" y="40"/>
                  </a:cubicBezTo>
                  <a:cubicBezTo>
                    <a:pt x="34" y="40"/>
                    <a:pt x="33" y="39"/>
                    <a:pt x="33" y="39"/>
                  </a:cubicBezTo>
                  <a:cubicBezTo>
                    <a:pt x="33" y="39"/>
                    <a:pt x="33" y="39"/>
                    <a:pt x="32" y="39"/>
                  </a:cubicBezTo>
                  <a:cubicBezTo>
                    <a:pt x="31" y="39"/>
                    <a:pt x="30" y="40"/>
                    <a:pt x="30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7" y="40"/>
                    <a:pt x="26" y="40"/>
                  </a:cubicBezTo>
                  <a:cubicBezTo>
                    <a:pt x="26" y="41"/>
                    <a:pt x="24" y="41"/>
                    <a:pt x="24" y="41"/>
                  </a:cubicBezTo>
                  <a:cubicBezTo>
                    <a:pt x="24" y="41"/>
                    <a:pt x="24" y="41"/>
                    <a:pt x="23" y="41"/>
                  </a:cubicBezTo>
                  <a:cubicBezTo>
                    <a:pt x="23" y="42"/>
                    <a:pt x="24" y="42"/>
                    <a:pt x="23" y="43"/>
                  </a:cubicBezTo>
                  <a:cubicBezTo>
                    <a:pt x="22" y="43"/>
                    <a:pt x="20" y="43"/>
                    <a:pt x="20" y="43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5" y="62"/>
                    <a:pt x="14" y="62"/>
                  </a:cubicBezTo>
                  <a:cubicBezTo>
                    <a:pt x="14" y="62"/>
                    <a:pt x="13" y="61"/>
                    <a:pt x="13" y="61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8" y="56"/>
                    <a:pt x="8" y="56"/>
                  </a:cubicBezTo>
                  <a:cubicBezTo>
                    <a:pt x="8" y="55"/>
                    <a:pt x="7" y="54"/>
                    <a:pt x="7" y="54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6" y="51"/>
                  </a:cubicBezTo>
                  <a:cubicBezTo>
                    <a:pt x="6" y="50"/>
                    <a:pt x="6" y="50"/>
                    <a:pt x="7" y="49"/>
                  </a:cubicBezTo>
                  <a:cubicBezTo>
                    <a:pt x="7" y="48"/>
                    <a:pt x="9" y="46"/>
                    <a:pt x="9" y="46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2" y="35"/>
                    <a:pt x="22" y="35"/>
                  </a:cubicBezTo>
                  <a:cubicBezTo>
                    <a:pt x="23" y="34"/>
                    <a:pt x="24" y="33"/>
                    <a:pt x="24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16" y="139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4" y="138"/>
                    <a:pt x="14" y="138"/>
                  </a:cubicBezTo>
                  <a:cubicBezTo>
                    <a:pt x="14" y="139"/>
                    <a:pt x="13" y="140"/>
                    <a:pt x="13" y="140"/>
                  </a:cubicBezTo>
                  <a:cubicBezTo>
                    <a:pt x="12" y="143"/>
                    <a:pt x="12" y="143"/>
                    <a:pt x="12" y="143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8" y="147"/>
                    <a:pt x="8" y="147"/>
                    <a:pt x="8" y="147"/>
                  </a:cubicBezTo>
                  <a:cubicBezTo>
                    <a:pt x="8" y="147"/>
                    <a:pt x="8" y="148"/>
                    <a:pt x="9" y="148"/>
                  </a:cubicBezTo>
                  <a:cubicBezTo>
                    <a:pt x="10" y="148"/>
                    <a:pt x="11" y="148"/>
                    <a:pt x="11" y="148"/>
                  </a:cubicBezTo>
                  <a:cubicBezTo>
                    <a:pt x="11" y="147"/>
                    <a:pt x="12" y="146"/>
                    <a:pt x="12" y="146"/>
                  </a:cubicBezTo>
                  <a:cubicBezTo>
                    <a:pt x="12" y="146"/>
                    <a:pt x="13" y="145"/>
                    <a:pt x="13" y="145"/>
                  </a:cubicBezTo>
                  <a:cubicBezTo>
                    <a:pt x="14" y="145"/>
                    <a:pt x="16" y="145"/>
                    <a:pt x="16" y="144"/>
                  </a:cubicBezTo>
                  <a:cubicBezTo>
                    <a:pt x="16" y="143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39"/>
                    <a:pt x="16" y="139"/>
                    <a:pt x="16" y="139"/>
                  </a:cubicBezTo>
                  <a:close/>
                  <a:moveTo>
                    <a:pt x="68" y="112"/>
                  </a:move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9" y="111"/>
                    <a:pt x="69" y="111"/>
                  </a:cubicBezTo>
                  <a:cubicBezTo>
                    <a:pt x="69" y="110"/>
                    <a:pt x="68" y="109"/>
                    <a:pt x="68" y="109"/>
                  </a:cubicBezTo>
                  <a:cubicBezTo>
                    <a:pt x="68" y="108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ubicBezTo>
                    <a:pt x="69" y="107"/>
                    <a:pt x="68" y="107"/>
                    <a:pt x="68" y="107"/>
                  </a:cubicBezTo>
                  <a:cubicBezTo>
                    <a:pt x="67" y="107"/>
                    <a:pt x="67" y="108"/>
                    <a:pt x="67" y="108"/>
                  </a:cubicBezTo>
                  <a:cubicBezTo>
                    <a:pt x="67" y="108"/>
                    <a:pt x="67" y="109"/>
                    <a:pt x="67" y="109"/>
                  </a:cubicBezTo>
                  <a:cubicBezTo>
                    <a:pt x="67" y="109"/>
                    <a:pt x="67" y="110"/>
                    <a:pt x="67" y="110"/>
                  </a:cubicBezTo>
                  <a:cubicBezTo>
                    <a:pt x="67" y="110"/>
                    <a:pt x="68" y="112"/>
                    <a:pt x="68" y="112"/>
                  </a:cubicBezTo>
                  <a:close/>
                  <a:moveTo>
                    <a:pt x="95" y="139"/>
                  </a:moveTo>
                  <a:cubicBezTo>
                    <a:pt x="95" y="139"/>
                    <a:pt x="95" y="139"/>
                    <a:pt x="95" y="139"/>
                  </a:cubicBezTo>
                  <a:cubicBezTo>
                    <a:pt x="96" y="138"/>
                    <a:pt x="96" y="138"/>
                    <a:pt x="96" y="138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39"/>
                    <a:pt x="96" y="140"/>
                    <a:pt x="96" y="140"/>
                  </a:cubicBezTo>
                  <a:cubicBezTo>
                    <a:pt x="96" y="140"/>
                    <a:pt x="95" y="139"/>
                    <a:pt x="95" y="139"/>
                  </a:cubicBezTo>
                  <a:cubicBezTo>
                    <a:pt x="95" y="139"/>
                    <a:pt x="95" y="139"/>
                    <a:pt x="95" y="139"/>
                  </a:cubicBezTo>
                  <a:close/>
                  <a:moveTo>
                    <a:pt x="106" y="152"/>
                  </a:moveTo>
                  <a:cubicBezTo>
                    <a:pt x="106" y="152"/>
                    <a:pt x="106" y="152"/>
                    <a:pt x="106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6" y="154"/>
                    <a:pt x="106" y="154"/>
                    <a:pt x="106" y="154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6" y="152"/>
                    <a:pt x="106" y="152"/>
                    <a:pt x="106" y="152"/>
                  </a:cubicBezTo>
                  <a:close/>
                  <a:moveTo>
                    <a:pt x="103" y="150"/>
                  </a:moveTo>
                  <a:cubicBezTo>
                    <a:pt x="103" y="150"/>
                    <a:pt x="103" y="150"/>
                    <a:pt x="103" y="150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04" y="149"/>
                    <a:pt x="104" y="149"/>
                    <a:pt x="105" y="149"/>
                  </a:cubicBezTo>
                  <a:cubicBezTo>
                    <a:pt x="105" y="149"/>
                    <a:pt x="106" y="150"/>
                    <a:pt x="106" y="150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105" y="150"/>
                    <a:pt x="105" y="151"/>
                    <a:pt x="105" y="151"/>
                  </a:cubicBezTo>
                  <a:cubicBezTo>
                    <a:pt x="104" y="151"/>
                    <a:pt x="103" y="150"/>
                    <a:pt x="103" y="150"/>
                  </a:cubicBezTo>
                  <a:close/>
                  <a:moveTo>
                    <a:pt x="108" y="150"/>
                  </a:moveTo>
                  <a:cubicBezTo>
                    <a:pt x="108" y="150"/>
                    <a:pt x="108" y="150"/>
                    <a:pt x="108" y="150"/>
                  </a:cubicBezTo>
                  <a:cubicBezTo>
                    <a:pt x="107" y="148"/>
                    <a:pt x="107" y="148"/>
                    <a:pt x="107" y="148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7"/>
                    <a:pt x="109" y="148"/>
                    <a:pt x="109" y="148"/>
                  </a:cubicBezTo>
                  <a:cubicBezTo>
                    <a:pt x="109" y="148"/>
                    <a:pt x="108" y="149"/>
                    <a:pt x="108" y="149"/>
                  </a:cubicBezTo>
                  <a:cubicBezTo>
                    <a:pt x="108" y="150"/>
                    <a:pt x="108" y="150"/>
                    <a:pt x="108" y="150"/>
                  </a:cubicBezTo>
                  <a:close/>
                  <a:moveTo>
                    <a:pt x="129" y="144"/>
                  </a:moveTo>
                  <a:cubicBezTo>
                    <a:pt x="129" y="144"/>
                    <a:pt x="129" y="144"/>
                    <a:pt x="129" y="144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43"/>
                    <a:pt x="129" y="142"/>
                    <a:pt x="129" y="142"/>
                  </a:cubicBezTo>
                  <a:cubicBezTo>
                    <a:pt x="130" y="142"/>
                    <a:pt x="131" y="142"/>
                    <a:pt x="131" y="142"/>
                  </a:cubicBezTo>
                  <a:cubicBezTo>
                    <a:pt x="129" y="144"/>
                    <a:pt x="129" y="144"/>
                    <a:pt x="129" y="144"/>
                  </a:cubicBezTo>
                  <a:close/>
                  <a:moveTo>
                    <a:pt x="127" y="145"/>
                  </a:moveTo>
                  <a:cubicBezTo>
                    <a:pt x="127" y="145"/>
                    <a:pt x="127" y="145"/>
                    <a:pt x="127" y="145"/>
                  </a:cubicBezTo>
                  <a:cubicBezTo>
                    <a:pt x="127" y="142"/>
                    <a:pt x="127" y="142"/>
                    <a:pt x="127" y="142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27" y="140"/>
                    <a:pt x="127" y="140"/>
                    <a:pt x="127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26" y="140"/>
                    <a:pt x="125" y="138"/>
                    <a:pt x="125" y="138"/>
                  </a:cubicBezTo>
                  <a:cubicBezTo>
                    <a:pt x="125" y="138"/>
                    <a:pt x="124" y="138"/>
                    <a:pt x="124" y="138"/>
                  </a:cubicBezTo>
                  <a:cubicBezTo>
                    <a:pt x="124" y="138"/>
                    <a:pt x="123" y="138"/>
                    <a:pt x="123" y="138"/>
                  </a:cubicBezTo>
                  <a:cubicBezTo>
                    <a:pt x="123" y="138"/>
                    <a:pt x="124" y="137"/>
                    <a:pt x="124" y="137"/>
                  </a:cubicBezTo>
                  <a:cubicBezTo>
                    <a:pt x="124" y="137"/>
                    <a:pt x="124" y="137"/>
                    <a:pt x="125" y="137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6" y="136"/>
                    <a:pt x="128" y="133"/>
                    <a:pt x="130" y="133"/>
                  </a:cubicBezTo>
                  <a:cubicBezTo>
                    <a:pt x="131" y="133"/>
                    <a:pt x="133" y="133"/>
                    <a:pt x="133" y="133"/>
                  </a:cubicBezTo>
                  <a:cubicBezTo>
                    <a:pt x="135" y="131"/>
                    <a:pt x="135" y="131"/>
                    <a:pt x="135" y="131"/>
                  </a:cubicBezTo>
                  <a:cubicBezTo>
                    <a:pt x="135" y="131"/>
                    <a:pt x="135" y="130"/>
                    <a:pt x="135" y="130"/>
                  </a:cubicBezTo>
                  <a:cubicBezTo>
                    <a:pt x="136" y="130"/>
                    <a:pt x="135" y="128"/>
                    <a:pt x="135" y="128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2" y="124"/>
                    <a:pt x="132" y="124"/>
                  </a:cubicBezTo>
                  <a:cubicBezTo>
                    <a:pt x="132" y="124"/>
                    <a:pt x="128" y="122"/>
                    <a:pt x="128" y="122"/>
                  </a:cubicBezTo>
                  <a:cubicBezTo>
                    <a:pt x="128" y="122"/>
                    <a:pt x="128" y="120"/>
                    <a:pt x="127" y="120"/>
                  </a:cubicBezTo>
                  <a:cubicBezTo>
                    <a:pt x="127" y="120"/>
                    <a:pt x="128" y="118"/>
                    <a:pt x="128" y="118"/>
                  </a:cubicBezTo>
                  <a:cubicBezTo>
                    <a:pt x="128" y="118"/>
                    <a:pt x="130" y="115"/>
                    <a:pt x="132" y="114"/>
                  </a:cubicBezTo>
                  <a:cubicBezTo>
                    <a:pt x="133" y="113"/>
                    <a:pt x="134" y="113"/>
                    <a:pt x="134" y="113"/>
                  </a:cubicBezTo>
                  <a:cubicBezTo>
                    <a:pt x="135" y="113"/>
                    <a:pt x="136" y="114"/>
                    <a:pt x="137" y="115"/>
                  </a:cubicBezTo>
                  <a:cubicBezTo>
                    <a:pt x="137" y="115"/>
                    <a:pt x="138" y="115"/>
                    <a:pt x="139" y="115"/>
                  </a:cubicBezTo>
                  <a:cubicBezTo>
                    <a:pt x="140" y="115"/>
                    <a:pt x="141" y="115"/>
                    <a:pt x="141" y="115"/>
                  </a:cubicBezTo>
                  <a:cubicBezTo>
                    <a:pt x="141" y="115"/>
                    <a:pt x="141" y="113"/>
                    <a:pt x="141" y="112"/>
                  </a:cubicBezTo>
                  <a:cubicBezTo>
                    <a:pt x="141" y="111"/>
                    <a:pt x="141" y="112"/>
                    <a:pt x="140" y="111"/>
                  </a:cubicBezTo>
                  <a:cubicBezTo>
                    <a:pt x="140" y="111"/>
                    <a:pt x="139" y="110"/>
                    <a:pt x="139" y="110"/>
                  </a:cubicBezTo>
                  <a:cubicBezTo>
                    <a:pt x="139" y="110"/>
                    <a:pt x="139" y="109"/>
                    <a:pt x="139" y="109"/>
                  </a:cubicBezTo>
                  <a:cubicBezTo>
                    <a:pt x="139" y="109"/>
                    <a:pt x="139" y="108"/>
                    <a:pt x="139" y="107"/>
                  </a:cubicBezTo>
                  <a:cubicBezTo>
                    <a:pt x="139" y="107"/>
                    <a:pt x="139" y="104"/>
                    <a:pt x="139" y="104"/>
                  </a:cubicBezTo>
                  <a:cubicBezTo>
                    <a:pt x="139" y="103"/>
                    <a:pt x="138" y="101"/>
                    <a:pt x="138" y="101"/>
                  </a:cubicBezTo>
                  <a:cubicBezTo>
                    <a:pt x="138" y="100"/>
                    <a:pt x="137" y="99"/>
                    <a:pt x="137" y="99"/>
                  </a:cubicBezTo>
                  <a:cubicBezTo>
                    <a:pt x="136" y="97"/>
                    <a:pt x="136" y="97"/>
                    <a:pt x="136" y="97"/>
                  </a:cubicBezTo>
                  <a:cubicBezTo>
                    <a:pt x="136" y="97"/>
                    <a:pt x="136" y="97"/>
                    <a:pt x="136" y="96"/>
                  </a:cubicBezTo>
                  <a:cubicBezTo>
                    <a:pt x="136" y="94"/>
                    <a:pt x="137" y="92"/>
                    <a:pt x="137" y="92"/>
                  </a:cubicBezTo>
                  <a:cubicBezTo>
                    <a:pt x="138" y="91"/>
                    <a:pt x="138" y="89"/>
                    <a:pt x="138" y="89"/>
                  </a:cubicBezTo>
                  <a:cubicBezTo>
                    <a:pt x="137" y="88"/>
                    <a:pt x="137" y="88"/>
                    <a:pt x="137" y="88"/>
                  </a:cubicBezTo>
                  <a:cubicBezTo>
                    <a:pt x="137" y="88"/>
                    <a:pt x="133" y="87"/>
                    <a:pt x="133" y="87"/>
                  </a:cubicBezTo>
                  <a:cubicBezTo>
                    <a:pt x="133" y="87"/>
                    <a:pt x="132" y="86"/>
                    <a:pt x="132" y="86"/>
                  </a:cubicBezTo>
                  <a:cubicBezTo>
                    <a:pt x="132" y="85"/>
                    <a:pt x="131" y="85"/>
                    <a:pt x="131" y="85"/>
                  </a:cubicBezTo>
                  <a:cubicBezTo>
                    <a:pt x="131" y="85"/>
                    <a:pt x="127" y="86"/>
                    <a:pt x="127" y="86"/>
                  </a:cubicBezTo>
                  <a:cubicBezTo>
                    <a:pt x="127" y="86"/>
                    <a:pt x="125" y="87"/>
                    <a:pt x="124" y="88"/>
                  </a:cubicBezTo>
                  <a:cubicBezTo>
                    <a:pt x="122" y="88"/>
                    <a:pt x="122" y="88"/>
                    <a:pt x="121" y="89"/>
                  </a:cubicBezTo>
                  <a:cubicBezTo>
                    <a:pt x="119" y="90"/>
                    <a:pt x="119" y="91"/>
                    <a:pt x="118" y="92"/>
                  </a:cubicBezTo>
                  <a:cubicBezTo>
                    <a:pt x="117" y="92"/>
                    <a:pt x="116" y="94"/>
                    <a:pt x="116" y="94"/>
                  </a:cubicBezTo>
                  <a:cubicBezTo>
                    <a:pt x="115" y="95"/>
                    <a:pt x="115" y="95"/>
                    <a:pt x="116" y="96"/>
                  </a:cubicBezTo>
                  <a:cubicBezTo>
                    <a:pt x="116" y="97"/>
                    <a:pt x="117" y="96"/>
                    <a:pt x="117" y="96"/>
                  </a:cubicBezTo>
                  <a:cubicBezTo>
                    <a:pt x="117" y="96"/>
                    <a:pt x="118" y="96"/>
                    <a:pt x="119" y="96"/>
                  </a:cubicBezTo>
                  <a:cubicBezTo>
                    <a:pt x="120" y="96"/>
                    <a:pt x="120" y="97"/>
                    <a:pt x="119" y="97"/>
                  </a:cubicBezTo>
                  <a:cubicBezTo>
                    <a:pt x="119" y="97"/>
                    <a:pt x="119" y="98"/>
                    <a:pt x="119" y="98"/>
                  </a:cubicBezTo>
                  <a:cubicBezTo>
                    <a:pt x="119" y="98"/>
                    <a:pt x="119" y="98"/>
                    <a:pt x="118" y="99"/>
                  </a:cubicBezTo>
                  <a:cubicBezTo>
                    <a:pt x="118" y="99"/>
                    <a:pt x="118" y="100"/>
                    <a:pt x="118" y="101"/>
                  </a:cubicBezTo>
                  <a:cubicBezTo>
                    <a:pt x="118" y="102"/>
                    <a:pt x="117" y="102"/>
                    <a:pt x="117" y="102"/>
                  </a:cubicBezTo>
                  <a:cubicBezTo>
                    <a:pt x="116" y="103"/>
                    <a:pt x="116" y="103"/>
                    <a:pt x="115" y="104"/>
                  </a:cubicBezTo>
                  <a:cubicBezTo>
                    <a:pt x="114" y="104"/>
                    <a:pt x="114" y="105"/>
                    <a:pt x="114" y="105"/>
                  </a:cubicBezTo>
                  <a:cubicBezTo>
                    <a:pt x="114" y="106"/>
                    <a:pt x="114" y="106"/>
                    <a:pt x="115" y="107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9"/>
                    <a:pt x="114" y="110"/>
                    <a:pt x="114" y="109"/>
                  </a:cubicBezTo>
                  <a:cubicBezTo>
                    <a:pt x="114" y="109"/>
                    <a:pt x="114" y="108"/>
                    <a:pt x="1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1" y="108"/>
                    <a:pt x="111" y="108"/>
                    <a:pt x="110" y="108"/>
                  </a:cubicBezTo>
                  <a:cubicBezTo>
                    <a:pt x="110" y="108"/>
                    <a:pt x="112" y="106"/>
                    <a:pt x="112" y="106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99"/>
                    <a:pt x="111" y="97"/>
                    <a:pt x="112" y="97"/>
                  </a:cubicBezTo>
                  <a:cubicBezTo>
                    <a:pt x="112" y="97"/>
                    <a:pt x="113" y="96"/>
                    <a:pt x="113" y="95"/>
                  </a:cubicBezTo>
                  <a:cubicBezTo>
                    <a:pt x="114" y="95"/>
                    <a:pt x="113" y="94"/>
                    <a:pt x="113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6" y="96"/>
                    <a:pt x="105" y="96"/>
                  </a:cubicBezTo>
                  <a:cubicBezTo>
                    <a:pt x="104" y="96"/>
                    <a:pt x="105" y="96"/>
                    <a:pt x="104" y="96"/>
                  </a:cubicBezTo>
                  <a:cubicBezTo>
                    <a:pt x="104" y="95"/>
                    <a:pt x="103" y="95"/>
                    <a:pt x="103" y="95"/>
                  </a:cubicBezTo>
                  <a:cubicBezTo>
                    <a:pt x="103" y="95"/>
                    <a:pt x="101" y="95"/>
                    <a:pt x="101" y="95"/>
                  </a:cubicBezTo>
                  <a:cubicBezTo>
                    <a:pt x="100" y="95"/>
                    <a:pt x="100" y="96"/>
                    <a:pt x="100" y="96"/>
                  </a:cubicBezTo>
                  <a:cubicBezTo>
                    <a:pt x="100" y="96"/>
                    <a:pt x="103" y="97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4" y="101"/>
                    <a:pt x="103" y="101"/>
                  </a:cubicBezTo>
                  <a:cubicBezTo>
                    <a:pt x="103" y="102"/>
                    <a:pt x="102" y="102"/>
                    <a:pt x="102" y="102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00" y="103"/>
                    <a:pt x="101" y="105"/>
                    <a:pt x="101" y="105"/>
                  </a:cubicBezTo>
                  <a:cubicBezTo>
                    <a:pt x="101" y="105"/>
                    <a:pt x="101" y="107"/>
                    <a:pt x="101" y="107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8"/>
                    <a:pt x="95" y="108"/>
                    <a:pt x="95" y="108"/>
                  </a:cubicBezTo>
                  <a:cubicBezTo>
                    <a:pt x="94" y="108"/>
                    <a:pt x="94" y="107"/>
                    <a:pt x="94" y="107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3" y="109"/>
                    <a:pt x="89" y="108"/>
                    <a:pt x="88" y="108"/>
                  </a:cubicBezTo>
                  <a:cubicBezTo>
                    <a:pt x="88" y="108"/>
                    <a:pt x="88" y="110"/>
                    <a:pt x="88" y="110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2" y="114"/>
                    <a:pt x="92" y="114"/>
                    <a:pt x="92" y="11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1"/>
                    <a:pt x="95" y="121"/>
                    <a:pt x="95" y="121"/>
                  </a:cubicBezTo>
                  <a:cubicBezTo>
                    <a:pt x="95" y="121"/>
                    <a:pt x="95" y="122"/>
                    <a:pt x="96" y="123"/>
                  </a:cubicBezTo>
                  <a:cubicBezTo>
                    <a:pt x="96" y="123"/>
                    <a:pt x="96" y="125"/>
                    <a:pt x="96" y="125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28"/>
                    <a:pt x="94" y="129"/>
                    <a:pt x="94" y="130"/>
                  </a:cubicBezTo>
                  <a:cubicBezTo>
                    <a:pt x="94" y="130"/>
                    <a:pt x="95" y="130"/>
                    <a:pt x="95" y="130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8" y="134"/>
                    <a:pt x="98" y="134"/>
                    <a:pt x="98" y="134"/>
                  </a:cubicBezTo>
                  <a:cubicBezTo>
                    <a:pt x="98" y="134"/>
                    <a:pt x="97" y="135"/>
                    <a:pt x="97" y="136"/>
                  </a:cubicBezTo>
                  <a:cubicBezTo>
                    <a:pt x="97" y="136"/>
                    <a:pt x="99" y="137"/>
                    <a:pt x="99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5" y="137"/>
                    <a:pt x="105" y="137"/>
                    <a:pt x="105" y="137"/>
                  </a:cubicBezTo>
                  <a:cubicBezTo>
                    <a:pt x="105" y="137"/>
                    <a:pt x="108" y="137"/>
                    <a:pt x="109" y="137"/>
                  </a:cubicBezTo>
                  <a:cubicBezTo>
                    <a:pt x="109" y="137"/>
                    <a:pt x="112" y="136"/>
                    <a:pt x="112" y="136"/>
                  </a:cubicBezTo>
                  <a:cubicBezTo>
                    <a:pt x="112" y="136"/>
                    <a:pt x="114" y="138"/>
                    <a:pt x="115" y="138"/>
                  </a:cubicBezTo>
                  <a:cubicBezTo>
                    <a:pt x="116" y="139"/>
                    <a:pt x="115" y="140"/>
                    <a:pt x="115" y="140"/>
                  </a:cubicBezTo>
                  <a:cubicBezTo>
                    <a:pt x="115" y="141"/>
                    <a:pt x="114" y="141"/>
                    <a:pt x="114" y="141"/>
                  </a:cubicBezTo>
                  <a:cubicBezTo>
                    <a:pt x="114" y="141"/>
                    <a:pt x="115" y="144"/>
                    <a:pt x="115" y="144"/>
                  </a:cubicBezTo>
                  <a:cubicBezTo>
                    <a:pt x="116" y="145"/>
                    <a:pt x="116" y="144"/>
                    <a:pt x="116" y="144"/>
                  </a:cubicBezTo>
                  <a:cubicBezTo>
                    <a:pt x="116" y="144"/>
                    <a:pt x="117" y="145"/>
                    <a:pt x="118" y="146"/>
                  </a:cubicBezTo>
                  <a:cubicBezTo>
                    <a:pt x="118" y="147"/>
                    <a:pt x="119" y="147"/>
                    <a:pt x="119" y="147"/>
                  </a:cubicBezTo>
                  <a:cubicBezTo>
                    <a:pt x="120" y="147"/>
                    <a:pt x="120" y="147"/>
                    <a:pt x="120" y="147"/>
                  </a:cubicBezTo>
                  <a:cubicBezTo>
                    <a:pt x="120" y="147"/>
                    <a:pt x="121" y="147"/>
                    <a:pt x="121" y="148"/>
                  </a:cubicBezTo>
                  <a:cubicBezTo>
                    <a:pt x="122" y="148"/>
                    <a:pt x="123" y="148"/>
                    <a:pt x="124" y="148"/>
                  </a:cubicBezTo>
                  <a:cubicBezTo>
                    <a:pt x="124" y="148"/>
                    <a:pt x="125" y="148"/>
                    <a:pt x="125" y="147"/>
                  </a:cubicBezTo>
                  <a:cubicBezTo>
                    <a:pt x="125" y="147"/>
                    <a:pt x="126" y="147"/>
                    <a:pt x="127" y="147"/>
                  </a:cubicBezTo>
                  <a:cubicBezTo>
                    <a:pt x="127" y="146"/>
                    <a:pt x="127" y="145"/>
                    <a:pt x="127" y="145"/>
                  </a:cubicBezTo>
                  <a:cubicBezTo>
                    <a:pt x="127" y="145"/>
                    <a:pt x="127" y="145"/>
                    <a:pt x="127" y="145"/>
                  </a:cubicBezTo>
                  <a:close/>
                  <a:moveTo>
                    <a:pt x="127" y="150"/>
                  </a:moveTo>
                  <a:cubicBezTo>
                    <a:pt x="127" y="150"/>
                    <a:pt x="127" y="150"/>
                    <a:pt x="127" y="150"/>
                  </a:cubicBezTo>
                  <a:cubicBezTo>
                    <a:pt x="126" y="151"/>
                    <a:pt x="126" y="151"/>
                    <a:pt x="126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1"/>
                    <a:pt x="129" y="152"/>
                    <a:pt x="129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35" y="148"/>
                    <a:pt x="135" y="148"/>
                    <a:pt x="135" y="148"/>
                  </a:cubicBezTo>
                  <a:cubicBezTo>
                    <a:pt x="135" y="148"/>
                    <a:pt x="138" y="148"/>
                    <a:pt x="138" y="148"/>
                  </a:cubicBezTo>
                  <a:cubicBezTo>
                    <a:pt x="138" y="148"/>
                    <a:pt x="139" y="147"/>
                    <a:pt x="139" y="147"/>
                  </a:cubicBezTo>
                  <a:cubicBezTo>
                    <a:pt x="139" y="146"/>
                    <a:pt x="139" y="146"/>
                    <a:pt x="139" y="14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5" y="144"/>
                    <a:pt x="133" y="144"/>
                    <a:pt x="132" y="144"/>
                  </a:cubicBezTo>
                  <a:cubicBezTo>
                    <a:pt x="132" y="144"/>
                    <a:pt x="131" y="144"/>
                    <a:pt x="131" y="144"/>
                  </a:cubicBezTo>
                  <a:cubicBezTo>
                    <a:pt x="131" y="144"/>
                    <a:pt x="131" y="145"/>
                    <a:pt x="131" y="146"/>
                  </a:cubicBezTo>
                  <a:cubicBezTo>
                    <a:pt x="130" y="147"/>
                    <a:pt x="130" y="147"/>
                    <a:pt x="129" y="147"/>
                  </a:cubicBezTo>
                  <a:cubicBezTo>
                    <a:pt x="129" y="147"/>
                    <a:pt x="128" y="147"/>
                    <a:pt x="128" y="147"/>
                  </a:cubicBezTo>
                  <a:cubicBezTo>
                    <a:pt x="127" y="150"/>
                    <a:pt x="127" y="150"/>
                    <a:pt x="127" y="150"/>
                  </a:cubicBezTo>
                  <a:close/>
                  <a:moveTo>
                    <a:pt x="116" y="162"/>
                  </a:moveTo>
                  <a:cubicBezTo>
                    <a:pt x="116" y="162"/>
                    <a:pt x="116" y="162"/>
                    <a:pt x="116" y="162"/>
                  </a:cubicBezTo>
                  <a:cubicBezTo>
                    <a:pt x="117" y="162"/>
                    <a:pt x="117" y="162"/>
                    <a:pt x="117" y="162"/>
                  </a:cubicBezTo>
                  <a:cubicBezTo>
                    <a:pt x="118" y="161"/>
                    <a:pt x="118" y="161"/>
                    <a:pt x="118" y="161"/>
                  </a:cubicBezTo>
                  <a:cubicBezTo>
                    <a:pt x="117" y="159"/>
                    <a:pt x="117" y="159"/>
                    <a:pt x="117" y="159"/>
                  </a:cubicBezTo>
                  <a:cubicBezTo>
                    <a:pt x="116" y="158"/>
                    <a:pt x="116" y="158"/>
                    <a:pt x="116" y="158"/>
                  </a:cubicBezTo>
                  <a:cubicBezTo>
                    <a:pt x="115" y="155"/>
                    <a:pt x="115" y="155"/>
                    <a:pt x="115" y="155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09" y="156"/>
                    <a:pt x="109" y="156"/>
                    <a:pt x="109" y="156"/>
                  </a:cubicBezTo>
                  <a:cubicBezTo>
                    <a:pt x="109" y="156"/>
                    <a:pt x="106" y="155"/>
                    <a:pt x="105" y="154"/>
                  </a:cubicBezTo>
                  <a:cubicBezTo>
                    <a:pt x="103" y="153"/>
                    <a:pt x="103" y="153"/>
                    <a:pt x="103" y="153"/>
                  </a:cubicBezTo>
                  <a:cubicBezTo>
                    <a:pt x="103" y="153"/>
                    <a:pt x="102" y="153"/>
                    <a:pt x="101" y="152"/>
                  </a:cubicBezTo>
                  <a:cubicBezTo>
                    <a:pt x="101" y="152"/>
                    <a:pt x="100" y="151"/>
                    <a:pt x="100" y="151"/>
                  </a:cubicBezTo>
                  <a:cubicBezTo>
                    <a:pt x="100" y="151"/>
                    <a:pt x="100" y="150"/>
                    <a:pt x="99" y="150"/>
                  </a:cubicBezTo>
                  <a:cubicBezTo>
                    <a:pt x="99" y="149"/>
                    <a:pt x="98" y="150"/>
                    <a:pt x="97" y="150"/>
                  </a:cubicBezTo>
                  <a:cubicBezTo>
                    <a:pt x="95" y="150"/>
                    <a:pt x="95" y="150"/>
                    <a:pt x="94" y="150"/>
                  </a:cubicBezTo>
                  <a:cubicBezTo>
                    <a:pt x="94" y="151"/>
                    <a:pt x="93" y="151"/>
                    <a:pt x="93" y="151"/>
                  </a:cubicBezTo>
                  <a:cubicBezTo>
                    <a:pt x="92" y="152"/>
                    <a:pt x="93" y="154"/>
                    <a:pt x="93" y="154"/>
                  </a:cubicBezTo>
                  <a:cubicBezTo>
                    <a:pt x="93" y="155"/>
                    <a:pt x="93" y="155"/>
                    <a:pt x="93" y="155"/>
                  </a:cubicBezTo>
                  <a:cubicBezTo>
                    <a:pt x="94" y="157"/>
                    <a:pt x="94" y="157"/>
                    <a:pt x="94" y="157"/>
                  </a:cubicBezTo>
                  <a:cubicBezTo>
                    <a:pt x="92" y="157"/>
                    <a:pt x="92" y="157"/>
                    <a:pt x="92" y="157"/>
                  </a:cubicBezTo>
                  <a:cubicBezTo>
                    <a:pt x="91" y="157"/>
                    <a:pt x="91" y="157"/>
                    <a:pt x="91" y="157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2" y="159"/>
                    <a:pt x="92" y="160"/>
                    <a:pt x="93" y="161"/>
                  </a:cubicBezTo>
                  <a:cubicBezTo>
                    <a:pt x="93" y="161"/>
                    <a:pt x="94" y="162"/>
                    <a:pt x="94" y="162"/>
                  </a:cubicBezTo>
                  <a:cubicBezTo>
                    <a:pt x="94" y="162"/>
                    <a:pt x="99" y="163"/>
                    <a:pt x="99" y="163"/>
                  </a:cubicBezTo>
                  <a:cubicBezTo>
                    <a:pt x="100" y="163"/>
                    <a:pt x="100" y="163"/>
                    <a:pt x="100" y="163"/>
                  </a:cubicBezTo>
                  <a:cubicBezTo>
                    <a:pt x="100" y="163"/>
                    <a:pt x="102" y="164"/>
                    <a:pt x="104" y="165"/>
                  </a:cubicBezTo>
                  <a:cubicBezTo>
                    <a:pt x="105" y="166"/>
                    <a:pt x="106" y="167"/>
                    <a:pt x="106" y="167"/>
                  </a:cubicBezTo>
                  <a:cubicBezTo>
                    <a:pt x="106" y="167"/>
                    <a:pt x="108" y="167"/>
                    <a:pt x="108" y="167"/>
                  </a:cubicBezTo>
                  <a:cubicBezTo>
                    <a:pt x="109" y="166"/>
                    <a:pt x="109" y="166"/>
                    <a:pt x="109" y="166"/>
                  </a:cubicBezTo>
                  <a:cubicBezTo>
                    <a:pt x="112" y="165"/>
                    <a:pt x="112" y="165"/>
                    <a:pt x="112" y="165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8" y="166"/>
                    <a:pt x="118" y="166"/>
                    <a:pt x="118" y="166"/>
                  </a:cubicBezTo>
                  <a:cubicBezTo>
                    <a:pt x="118" y="164"/>
                    <a:pt x="118" y="164"/>
                    <a:pt x="118" y="164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16" y="162"/>
                    <a:pt x="116" y="162"/>
                    <a:pt x="116" y="16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3" y="117"/>
                    <a:pt x="73" y="117"/>
                    <a:pt x="73" y="117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70" y="116"/>
                    <a:pt x="69" y="113"/>
                    <a:pt x="69" y="113"/>
                  </a:cubicBezTo>
                  <a:cubicBezTo>
                    <a:pt x="68" y="112"/>
                    <a:pt x="68" y="113"/>
                    <a:pt x="68" y="113"/>
                  </a:cubicBezTo>
                  <a:cubicBezTo>
                    <a:pt x="68" y="113"/>
                    <a:pt x="68" y="115"/>
                    <a:pt x="67" y="116"/>
                  </a:cubicBezTo>
                  <a:cubicBezTo>
                    <a:pt x="66" y="116"/>
                    <a:pt x="65" y="116"/>
                    <a:pt x="65" y="116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63" y="118"/>
                    <a:pt x="60" y="119"/>
                    <a:pt x="59" y="119"/>
                  </a:cubicBezTo>
                  <a:cubicBezTo>
                    <a:pt x="59" y="119"/>
                    <a:pt x="58" y="120"/>
                    <a:pt x="58" y="120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54" y="129"/>
                    <a:pt x="55" y="130"/>
                    <a:pt x="56" y="132"/>
                  </a:cubicBezTo>
                  <a:cubicBezTo>
                    <a:pt x="57" y="134"/>
                    <a:pt x="56" y="135"/>
                    <a:pt x="56" y="135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2" y="140"/>
                    <a:pt x="63" y="140"/>
                  </a:cubicBezTo>
                  <a:cubicBezTo>
                    <a:pt x="63" y="140"/>
                    <a:pt x="63" y="141"/>
                    <a:pt x="63" y="141"/>
                  </a:cubicBezTo>
                  <a:cubicBezTo>
                    <a:pt x="63" y="143"/>
                    <a:pt x="63" y="143"/>
                    <a:pt x="63" y="143"/>
                  </a:cubicBezTo>
                  <a:cubicBezTo>
                    <a:pt x="64" y="145"/>
                    <a:pt x="64" y="145"/>
                    <a:pt x="64" y="145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71" y="145"/>
                    <a:pt x="75" y="147"/>
                    <a:pt x="76" y="147"/>
                  </a:cubicBezTo>
                  <a:cubicBezTo>
                    <a:pt x="76" y="147"/>
                    <a:pt x="78" y="145"/>
                    <a:pt x="78" y="145"/>
                  </a:cubicBezTo>
                  <a:cubicBezTo>
                    <a:pt x="79" y="144"/>
                    <a:pt x="82" y="144"/>
                    <a:pt x="82" y="144"/>
                  </a:cubicBezTo>
                  <a:cubicBezTo>
                    <a:pt x="83" y="144"/>
                    <a:pt x="83" y="143"/>
                    <a:pt x="83" y="143"/>
                  </a:cubicBezTo>
                  <a:cubicBezTo>
                    <a:pt x="83" y="142"/>
                    <a:pt x="84" y="141"/>
                    <a:pt x="84" y="140"/>
                  </a:cubicBezTo>
                  <a:cubicBezTo>
                    <a:pt x="84" y="139"/>
                    <a:pt x="85" y="138"/>
                    <a:pt x="85" y="138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33"/>
                    <a:pt x="84" y="133"/>
                    <a:pt x="84" y="133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2" y="125"/>
                    <a:pt x="82" y="125"/>
                    <a:pt x="82" y="125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88" y="115"/>
                    <a:pt x="84" y="114"/>
                    <a:pt x="83" y="114"/>
                  </a:cubicBezTo>
                  <a:cubicBezTo>
                    <a:pt x="81" y="114"/>
                    <a:pt x="82" y="114"/>
                    <a:pt x="82" y="113"/>
                  </a:cubicBezTo>
                  <a:cubicBezTo>
                    <a:pt x="82" y="113"/>
                    <a:pt x="81" y="112"/>
                    <a:pt x="81" y="112"/>
                  </a:cubicBezTo>
                  <a:cubicBezTo>
                    <a:pt x="81" y="112"/>
                    <a:pt x="79" y="113"/>
                    <a:pt x="79" y="113"/>
                  </a:cubicBezTo>
                  <a:cubicBezTo>
                    <a:pt x="78" y="113"/>
                    <a:pt x="78" y="111"/>
                    <a:pt x="78" y="111"/>
                  </a:cubicBezTo>
                  <a:cubicBezTo>
                    <a:pt x="78" y="111"/>
                    <a:pt x="76" y="112"/>
                    <a:pt x="76" y="112"/>
                  </a:cubicBezTo>
                  <a:cubicBezTo>
                    <a:pt x="75" y="112"/>
                    <a:pt x="73" y="112"/>
                    <a:pt x="73" y="112"/>
                  </a:cubicBezTo>
                  <a:cubicBezTo>
                    <a:pt x="73" y="112"/>
                    <a:pt x="73" y="113"/>
                    <a:pt x="73" y="113"/>
                  </a:cubicBezTo>
                  <a:cubicBezTo>
                    <a:pt x="72" y="114"/>
                    <a:pt x="73" y="115"/>
                    <a:pt x="74" y="115"/>
                  </a:cubicBezTo>
                  <a:cubicBezTo>
                    <a:pt x="74" y="116"/>
                    <a:pt x="75" y="118"/>
                    <a:pt x="75" y="118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75" y="107"/>
                  </a:moveTo>
                  <a:cubicBezTo>
                    <a:pt x="75" y="107"/>
                    <a:pt x="75" y="107"/>
                    <a:pt x="75" y="107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78" y="105"/>
                    <a:pt x="79" y="104"/>
                    <a:pt x="79" y="103"/>
                  </a:cubicBezTo>
                  <a:cubicBezTo>
                    <a:pt x="79" y="103"/>
                    <a:pt x="79" y="102"/>
                    <a:pt x="79" y="10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4"/>
                    <a:pt x="74" y="96"/>
                    <a:pt x="74" y="96"/>
                  </a:cubicBezTo>
                  <a:cubicBezTo>
                    <a:pt x="74" y="97"/>
                    <a:pt x="75" y="98"/>
                    <a:pt x="75" y="98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5" y="105"/>
                    <a:pt x="75" y="105"/>
                    <a:pt x="75" y="105"/>
                  </a:cubicBezTo>
                  <a:cubicBezTo>
                    <a:pt x="75" y="107"/>
                    <a:pt x="75" y="107"/>
                    <a:pt x="75" y="107"/>
                  </a:cubicBezTo>
                  <a:close/>
                  <a:moveTo>
                    <a:pt x="80" y="157"/>
                  </a:moveTo>
                  <a:cubicBezTo>
                    <a:pt x="80" y="157"/>
                    <a:pt x="80" y="157"/>
                    <a:pt x="80" y="157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2" y="162"/>
                    <a:pt x="84" y="163"/>
                    <a:pt x="84" y="162"/>
                  </a:cubicBezTo>
                  <a:cubicBezTo>
                    <a:pt x="84" y="161"/>
                    <a:pt x="83" y="160"/>
                    <a:pt x="84" y="159"/>
                  </a:cubicBezTo>
                  <a:cubicBezTo>
                    <a:pt x="84" y="158"/>
                    <a:pt x="85" y="156"/>
                    <a:pt x="85" y="155"/>
                  </a:cubicBezTo>
                  <a:cubicBezTo>
                    <a:pt x="85" y="154"/>
                    <a:pt x="86" y="153"/>
                    <a:pt x="86" y="152"/>
                  </a:cubicBezTo>
                  <a:cubicBezTo>
                    <a:pt x="87" y="151"/>
                    <a:pt x="88" y="149"/>
                    <a:pt x="88" y="148"/>
                  </a:cubicBezTo>
                  <a:cubicBezTo>
                    <a:pt x="88" y="148"/>
                    <a:pt x="89" y="146"/>
                    <a:pt x="89" y="145"/>
                  </a:cubicBezTo>
                  <a:cubicBezTo>
                    <a:pt x="89" y="145"/>
                    <a:pt x="89" y="142"/>
                    <a:pt x="89" y="142"/>
                  </a:cubicBezTo>
                  <a:cubicBezTo>
                    <a:pt x="89" y="142"/>
                    <a:pt x="88" y="139"/>
                    <a:pt x="88" y="139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5" y="147"/>
                    <a:pt x="85" y="147"/>
                    <a:pt x="85" y="147"/>
                  </a:cubicBezTo>
                  <a:cubicBezTo>
                    <a:pt x="84" y="149"/>
                    <a:pt x="84" y="149"/>
                    <a:pt x="84" y="149"/>
                  </a:cubicBezTo>
                  <a:cubicBezTo>
                    <a:pt x="82" y="151"/>
                    <a:pt x="82" y="151"/>
                    <a:pt x="82" y="151"/>
                  </a:cubicBezTo>
                  <a:cubicBezTo>
                    <a:pt x="82" y="152"/>
                    <a:pt x="82" y="152"/>
                    <a:pt x="82" y="152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1" y="155"/>
                    <a:pt x="81" y="155"/>
                    <a:pt x="81" y="155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0" y="157"/>
                    <a:pt x="80" y="157"/>
                    <a:pt x="80" y="157"/>
                  </a:cubicBezTo>
                  <a:close/>
                  <a:moveTo>
                    <a:pt x="75" y="148"/>
                  </a:moveTo>
                  <a:cubicBezTo>
                    <a:pt x="75" y="148"/>
                    <a:pt x="75" y="148"/>
                    <a:pt x="75" y="148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76" y="149"/>
                    <a:pt x="77" y="152"/>
                    <a:pt x="78" y="152"/>
                  </a:cubicBezTo>
                  <a:cubicBezTo>
                    <a:pt x="78" y="152"/>
                    <a:pt x="81" y="149"/>
                    <a:pt x="81" y="149"/>
                  </a:cubicBezTo>
                  <a:cubicBezTo>
                    <a:pt x="81" y="147"/>
                    <a:pt x="81" y="147"/>
                    <a:pt x="81" y="147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5" y="148"/>
                    <a:pt x="75" y="148"/>
                    <a:pt x="75" y="148"/>
                  </a:cubicBezTo>
                  <a:close/>
                  <a:moveTo>
                    <a:pt x="66" y="150"/>
                  </a:moveTo>
                  <a:cubicBezTo>
                    <a:pt x="66" y="150"/>
                    <a:pt x="66" y="150"/>
                    <a:pt x="66" y="150"/>
                  </a:cubicBezTo>
                  <a:cubicBezTo>
                    <a:pt x="66" y="150"/>
                    <a:pt x="67" y="153"/>
                    <a:pt x="67" y="153"/>
                  </a:cubicBezTo>
                  <a:cubicBezTo>
                    <a:pt x="68" y="153"/>
                    <a:pt x="69" y="154"/>
                    <a:pt x="69" y="15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7"/>
                    <a:pt x="72" y="157"/>
                  </a:cubicBezTo>
                  <a:cubicBezTo>
                    <a:pt x="72" y="157"/>
                    <a:pt x="74" y="156"/>
                    <a:pt x="74" y="15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5" y="154"/>
                    <a:pt x="73" y="154"/>
                    <a:pt x="73" y="154"/>
                  </a:cubicBezTo>
                  <a:cubicBezTo>
                    <a:pt x="72" y="154"/>
                    <a:pt x="71" y="152"/>
                    <a:pt x="71" y="152"/>
                  </a:cubicBezTo>
                  <a:cubicBezTo>
                    <a:pt x="71" y="152"/>
                    <a:pt x="70" y="152"/>
                    <a:pt x="70" y="152"/>
                  </a:cubicBezTo>
                  <a:cubicBezTo>
                    <a:pt x="69" y="152"/>
                    <a:pt x="67" y="150"/>
                    <a:pt x="67" y="150"/>
                  </a:cubicBezTo>
                  <a:cubicBezTo>
                    <a:pt x="66" y="150"/>
                    <a:pt x="66" y="150"/>
                    <a:pt x="66" y="150"/>
                  </a:cubicBezTo>
                  <a:close/>
                  <a:moveTo>
                    <a:pt x="50" y="147"/>
                  </a:moveTo>
                  <a:cubicBezTo>
                    <a:pt x="50" y="147"/>
                    <a:pt x="50" y="147"/>
                    <a:pt x="50" y="147"/>
                  </a:cubicBezTo>
                  <a:cubicBezTo>
                    <a:pt x="52" y="148"/>
                    <a:pt x="52" y="148"/>
                    <a:pt x="52" y="148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3" y="152"/>
                    <a:pt x="54" y="154"/>
                    <a:pt x="55" y="153"/>
                  </a:cubicBezTo>
                  <a:cubicBezTo>
                    <a:pt x="56" y="153"/>
                    <a:pt x="56" y="153"/>
                    <a:pt x="56" y="153"/>
                  </a:cubicBezTo>
                  <a:cubicBezTo>
                    <a:pt x="56" y="153"/>
                    <a:pt x="58" y="154"/>
                    <a:pt x="58" y="154"/>
                  </a:cubicBezTo>
                  <a:cubicBezTo>
                    <a:pt x="59" y="155"/>
                    <a:pt x="60" y="155"/>
                    <a:pt x="61" y="155"/>
                  </a:cubicBezTo>
                  <a:cubicBezTo>
                    <a:pt x="62" y="155"/>
                    <a:pt x="62" y="154"/>
                    <a:pt x="62" y="154"/>
                  </a:cubicBezTo>
                  <a:cubicBezTo>
                    <a:pt x="62" y="153"/>
                    <a:pt x="62" y="152"/>
                    <a:pt x="62" y="152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4" y="145"/>
                    <a:pt x="54" y="145"/>
                    <a:pt x="54" y="145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50" y="147"/>
                    <a:pt x="50" y="147"/>
                    <a:pt x="50" y="147"/>
                  </a:cubicBezTo>
                  <a:close/>
                  <a:moveTo>
                    <a:pt x="83" y="25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4" y="26"/>
                    <a:pt x="85" y="26"/>
                    <a:pt x="85" y="26"/>
                  </a:cubicBezTo>
                  <a:cubicBezTo>
                    <a:pt x="85" y="26"/>
                    <a:pt x="87" y="27"/>
                    <a:pt x="87" y="27"/>
                  </a:cubicBezTo>
                  <a:cubicBezTo>
                    <a:pt x="87" y="28"/>
                    <a:pt x="88" y="27"/>
                    <a:pt x="88" y="27"/>
                  </a:cubicBezTo>
                  <a:cubicBezTo>
                    <a:pt x="89" y="27"/>
                    <a:pt x="89" y="26"/>
                    <a:pt x="89" y="25"/>
                  </a:cubicBezTo>
                  <a:cubicBezTo>
                    <a:pt x="89" y="25"/>
                    <a:pt x="90" y="24"/>
                    <a:pt x="90" y="24"/>
                  </a:cubicBezTo>
                  <a:cubicBezTo>
                    <a:pt x="90" y="24"/>
                    <a:pt x="93" y="22"/>
                    <a:pt x="93" y="22"/>
                  </a:cubicBezTo>
                  <a:cubicBezTo>
                    <a:pt x="93" y="21"/>
                    <a:pt x="91" y="21"/>
                    <a:pt x="91" y="21"/>
                  </a:cubicBezTo>
                  <a:cubicBezTo>
                    <a:pt x="91" y="21"/>
                    <a:pt x="88" y="22"/>
                    <a:pt x="88" y="22"/>
                  </a:cubicBezTo>
                  <a:cubicBezTo>
                    <a:pt x="88" y="22"/>
                    <a:pt x="85" y="23"/>
                    <a:pt x="85" y="23"/>
                  </a:cubicBezTo>
                  <a:lnTo>
                    <a:pt x="83" y="25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9" name="Freeform 144"/>
            <p:cNvSpPr>
              <a:spLocks noEditPoints="1"/>
            </p:cNvSpPr>
            <p:nvPr/>
          </p:nvSpPr>
          <p:spPr bwMode="auto">
            <a:xfrm>
              <a:off x="4518029" y="2422186"/>
              <a:ext cx="310039" cy="351588"/>
            </a:xfrm>
            <a:custGeom>
              <a:avLst/>
              <a:gdLst>
                <a:gd name="T0" fmla="*/ 75 w 136"/>
                <a:gd name="T1" fmla="*/ 25 h 159"/>
                <a:gd name="T2" fmla="*/ 117 w 136"/>
                <a:gd name="T3" fmla="*/ 17 h 159"/>
                <a:gd name="T4" fmla="*/ 125 w 136"/>
                <a:gd name="T5" fmla="*/ 49 h 159"/>
                <a:gd name="T6" fmla="*/ 112 w 136"/>
                <a:gd name="T7" fmla="*/ 67 h 159"/>
                <a:gd name="T8" fmla="*/ 121 w 136"/>
                <a:gd name="T9" fmla="*/ 84 h 159"/>
                <a:gd name="T10" fmla="*/ 114 w 136"/>
                <a:gd name="T11" fmla="*/ 97 h 159"/>
                <a:gd name="T12" fmla="*/ 96 w 136"/>
                <a:gd name="T13" fmla="*/ 100 h 159"/>
                <a:gd name="T14" fmla="*/ 90 w 136"/>
                <a:gd name="T15" fmla="*/ 108 h 159"/>
                <a:gd name="T16" fmla="*/ 92 w 136"/>
                <a:gd name="T17" fmla="*/ 130 h 159"/>
                <a:gd name="T18" fmla="*/ 85 w 136"/>
                <a:gd name="T19" fmla="*/ 141 h 159"/>
                <a:gd name="T20" fmla="*/ 88 w 136"/>
                <a:gd name="T21" fmla="*/ 149 h 159"/>
                <a:gd name="T22" fmla="*/ 85 w 136"/>
                <a:gd name="T23" fmla="*/ 159 h 159"/>
                <a:gd name="T24" fmla="*/ 76 w 136"/>
                <a:gd name="T25" fmla="*/ 148 h 159"/>
                <a:gd name="T26" fmla="*/ 69 w 136"/>
                <a:gd name="T27" fmla="*/ 128 h 159"/>
                <a:gd name="T28" fmla="*/ 56 w 136"/>
                <a:gd name="T29" fmla="*/ 121 h 159"/>
                <a:gd name="T30" fmla="*/ 42 w 136"/>
                <a:gd name="T31" fmla="*/ 119 h 159"/>
                <a:gd name="T32" fmla="*/ 27 w 136"/>
                <a:gd name="T33" fmla="*/ 121 h 159"/>
                <a:gd name="T34" fmla="*/ 13 w 136"/>
                <a:gd name="T35" fmla="*/ 121 h 159"/>
                <a:gd name="T36" fmla="*/ 6 w 136"/>
                <a:gd name="T37" fmla="*/ 112 h 159"/>
                <a:gd name="T38" fmla="*/ 22 w 136"/>
                <a:gd name="T39" fmla="*/ 114 h 159"/>
                <a:gd name="T40" fmla="*/ 27 w 136"/>
                <a:gd name="T41" fmla="*/ 116 h 159"/>
                <a:gd name="T42" fmla="*/ 9 w 136"/>
                <a:gd name="T43" fmla="*/ 111 h 159"/>
                <a:gd name="T44" fmla="*/ 15 w 136"/>
                <a:gd name="T45" fmla="*/ 103 h 159"/>
                <a:gd name="T46" fmla="*/ 25 w 136"/>
                <a:gd name="T47" fmla="*/ 111 h 159"/>
                <a:gd name="T48" fmla="*/ 22 w 136"/>
                <a:gd name="T49" fmla="*/ 105 h 159"/>
                <a:gd name="T50" fmla="*/ 20 w 136"/>
                <a:gd name="T51" fmla="*/ 102 h 159"/>
                <a:gd name="T52" fmla="*/ 20 w 136"/>
                <a:gd name="T53" fmla="*/ 96 h 159"/>
                <a:gd name="T54" fmla="*/ 32 w 136"/>
                <a:gd name="T55" fmla="*/ 104 h 159"/>
                <a:gd name="T56" fmla="*/ 48 w 136"/>
                <a:gd name="T57" fmla="*/ 100 h 159"/>
                <a:gd name="T58" fmla="*/ 30 w 136"/>
                <a:gd name="T59" fmla="*/ 95 h 159"/>
                <a:gd name="T60" fmla="*/ 37 w 136"/>
                <a:gd name="T61" fmla="*/ 73 h 159"/>
                <a:gd name="T62" fmla="*/ 58 w 136"/>
                <a:gd name="T63" fmla="*/ 37 h 159"/>
                <a:gd name="T64" fmla="*/ 67 w 136"/>
                <a:gd name="T65" fmla="*/ 52 h 159"/>
                <a:gd name="T66" fmla="*/ 61 w 136"/>
                <a:gd name="T67" fmla="*/ 64 h 159"/>
                <a:gd name="T68" fmla="*/ 67 w 136"/>
                <a:gd name="T69" fmla="*/ 74 h 159"/>
                <a:gd name="T70" fmla="*/ 66 w 136"/>
                <a:gd name="T71" fmla="*/ 66 h 159"/>
                <a:gd name="T72" fmla="*/ 85 w 136"/>
                <a:gd name="T73" fmla="*/ 65 h 159"/>
                <a:gd name="T74" fmla="*/ 77 w 136"/>
                <a:gd name="T75" fmla="*/ 51 h 159"/>
                <a:gd name="T76" fmla="*/ 71 w 136"/>
                <a:gd name="T77" fmla="*/ 41 h 159"/>
                <a:gd name="T78" fmla="*/ 134 w 136"/>
                <a:gd name="T79" fmla="*/ 0 h 159"/>
                <a:gd name="T80" fmla="*/ 118 w 136"/>
                <a:gd name="T81" fmla="*/ 6 h 159"/>
                <a:gd name="T82" fmla="*/ 111 w 136"/>
                <a:gd name="T83" fmla="*/ 8 h 159"/>
                <a:gd name="T84" fmla="*/ 112 w 136"/>
                <a:gd name="T85" fmla="*/ 9 h 159"/>
                <a:gd name="T86" fmla="*/ 96 w 136"/>
                <a:gd name="T87" fmla="*/ 12 h 159"/>
                <a:gd name="T88" fmla="*/ 98 w 136"/>
                <a:gd name="T89" fmla="*/ 13 h 159"/>
                <a:gd name="T90" fmla="*/ 93 w 136"/>
                <a:gd name="T91" fmla="*/ 13 h 159"/>
                <a:gd name="T92" fmla="*/ 91 w 136"/>
                <a:gd name="T93" fmla="*/ 13 h 159"/>
                <a:gd name="T94" fmla="*/ 81 w 136"/>
                <a:gd name="T95" fmla="*/ 14 h 159"/>
                <a:gd name="T96" fmla="*/ 78 w 136"/>
                <a:gd name="T97" fmla="*/ 14 h 159"/>
                <a:gd name="T98" fmla="*/ 56 w 136"/>
                <a:gd name="T99" fmla="*/ 22 h 159"/>
                <a:gd name="T100" fmla="*/ 60 w 136"/>
                <a:gd name="T101" fmla="*/ 18 h 159"/>
                <a:gd name="T102" fmla="*/ 54 w 136"/>
                <a:gd name="T103" fmla="*/ 25 h 159"/>
                <a:gd name="T104" fmla="*/ 22 w 136"/>
                <a:gd name="T105" fmla="*/ 94 h 159"/>
                <a:gd name="T106" fmla="*/ 29 w 136"/>
                <a:gd name="T107" fmla="*/ 101 h 159"/>
                <a:gd name="T108" fmla="*/ 30 w 136"/>
                <a:gd name="T109" fmla="*/ 97 h 159"/>
                <a:gd name="T110" fmla="*/ 20 w 136"/>
                <a:gd name="T111" fmla="*/ 94 h 159"/>
                <a:gd name="T112" fmla="*/ 76 w 136"/>
                <a:gd name="T113" fmla="*/ 74 h 159"/>
                <a:gd name="T114" fmla="*/ 74 w 136"/>
                <a:gd name="T115" fmla="*/ 7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159">
                  <a:moveTo>
                    <a:pt x="72" y="35"/>
                  </a:moveTo>
                  <a:cubicBezTo>
                    <a:pt x="71" y="33"/>
                    <a:pt x="71" y="33"/>
                    <a:pt x="71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7" y="23"/>
                    <a:pt x="78" y="22"/>
                  </a:cubicBezTo>
                  <a:cubicBezTo>
                    <a:pt x="79" y="22"/>
                    <a:pt x="83" y="20"/>
                    <a:pt x="83" y="20"/>
                  </a:cubicBezTo>
                  <a:cubicBezTo>
                    <a:pt x="83" y="20"/>
                    <a:pt x="87" y="18"/>
                    <a:pt x="88" y="18"/>
                  </a:cubicBezTo>
                  <a:cubicBezTo>
                    <a:pt x="89" y="18"/>
                    <a:pt x="96" y="17"/>
                    <a:pt x="96" y="17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5" y="17"/>
                    <a:pt x="107" y="17"/>
                  </a:cubicBezTo>
                  <a:cubicBezTo>
                    <a:pt x="107" y="17"/>
                    <a:pt x="109" y="18"/>
                    <a:pt x="110" y="18"/>
                  </a:cubicBezTo>
                  <a:cubicBezTo>
                    <a:pt x="111" y="18"/>
                    <a:pt x="113" y="17"/>
                    <a:pt x="113" y="17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6" y="26"/>
                    <a:pt x="125" y="28"/>
                    <a:pt x="125" y="29"/>
                  </a:cubicBezTo>
                  <a:cubicBezTo>
                    <a:pt x="126" y="29"/>
                    <a:pt x="129" y="30"/>
                    <a:pt x="129" y="30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1"/>
                    <a:pt x="129" y="35"/>
                    <a:pt x="129" y="36"/>
                  </a:cubicBezTo>
                  <a:cubicBezTo>
                    <a:pt x="129" y="37"/>
                    <a:pt x="129" y="43"/>
                    <a:pt x="129" y="43"/>
                  </a:cubicBezTo>
                  <a:cubicBezTo>
                    <a:pt x="129" y="43"/>
                    <a:pt x="126" y="49"/>
                    <a:pt x="125" y="49"/>
                  </a:cubicBezTo>
                  <a:cubicBezTo>
                    <a:pt x="124" y="50"/>
                    <a:pt x="125" y="54"/>
                    <a:pt x="125" y="54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63"/>
                    <a:pt x="123" y="62"/>
                  </a:cubicBezTo>
                  <a:cubicBezTo>
                    <a:pt x="122" y="62"/>
                    <a:pt x="117" y="60"/>
                    <a:pt x="117" y="60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3" y="69"/>
                    <a:pt x="114" y="70"/>
                  </a:cubicBezTo>
                  <a:cubicBezTo>
                    <a:pt x="114" y="71"/>
                    <a:pt x="117" y="71"/>
                    <a:pt x="117" y="7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4" y="76"/>
                    <a:pt x="124" y="76"/>
                    <a:pt x="124" y="76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80"/>
                    <a:pt x="123" y="81"/>
                  </a:cubicBezTo>
                  <a:cubicBezTo>
                    <a:pt x="123" y="82"/>
                    <a:pt x="124" y="83"/>
                    <a:pt x="123" y="83"/>
                  </a:cubicBezTo>
                  <a:cubicBezTo>
                    <a:pt x="123" y="83"/>
                    <a:pt x="121" y="84"/>
                    <a:pt x="121" y="84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18" y="87"/>
                    <a:pt x="117" y="87"/>
                  </a:cubicBezTo>
                  <a:cubicBezTo>
                    <a:pt x="116" y="88"/>
                    <a:pt x="116" y="88"/>
                    <a:pt x="116" y="89"/>
                  </a:cubicBezTo>
                  <a:cubicBezTo>
                    <a:pt x="116" y="89"/>
                    <a:pt x="112" y="88"/>
                    <a:pt x="112" y="88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1" y="100"/>
                    <a:pt x="111" y="100"/>
                    <a:pt x="111" y="100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5" y="101"/>
                    <a:pt x="105" y="101"/>
                    <a:pt x="105" y="101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99" y="101"/>
                    <a:pt x="99" y="101"/>
                    <a:pt x="99" y="101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6" y="106"/>
                    <a:pt x="87" y="106"/>
                  </a:cubicBezTo>
                  <a:cubicBezTo>
                    <a:pt x="88" y="106"/>
                    <a:pt x="90" y="108"/>
                    <a:pt x="90" y="108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5" y="127"/>
                    <a:pt x="94" y="128"/>
                  </a:cubicBezTo>
                  <a:cubicBezTo>
                    <a:pt x="94" y="128"/>
                    <a:pt x="92" y="130"/>
                    <a:pt x="92" y="130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9" y="135"/>
                    <a:pt x="89" y="138"/>
                    <a:pt x="90" y="138"/>
                  </a:cubicBezTo>
                  <a:cubicBezTo>
                    <a:pt x="90" y="138"/>
                    <a:pt x="92" y="136"/>
                    <a:pt x="92" y="136"/>
                  </a:cubicBezTo>
                  <a:cubicBezTo>
                    <a:pt x="92" y="136"/>
                    <a:pt x="94" y="138"/>
                    <a:pt x="93" y="139"/>
                  </a:cubicBezTo>
                  <a:cubicBezTo>
                    <a:pt x="93" y="139"/>
                    <a:pt x="89" y="139"/>
                    <a:pt x="89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87" y="139"/>
                    <a:pt x="86" y="141"/>
                    <a:pt x="85" y="141"/>
                  </a:cubicBezTo>
                  <a:cubicBezTo>
                    <a:pt x="85" y="142"/>
                    <a:pt x="85" y="143"/>
                    <a:pt x="85" y="143"/>
                  </a:cubicBezTo>
                  <a:cubicBezTo>
                    <a:pt x="83" y="141"/>
                    <a:pt x="83" y="141"/>
                    <a:pt x="83" y="141"/>
                  </a:cubicBezTo>
                  <a:cubicBezTo>
                    <a:pt x="82" y="142"/>
                    <a:pt x="82" y="142"/>
                    <a:pt x="82" y="142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5" y="146"/>
                    <a:pt x="85" y="146"/>
                  </a:cubicBezTo>
                  <a:cubicBezTo>
                    <a:pt x="85" y="146"/>
                    <a:pt x="87" y="147"/>
                    <a:pt x="87" y="147"/>
                  </a:cubicBezTo>
                  <a:cubicBezTo>
                    <a:pt x="87" y="147"/>
                    <a:pt x="86" y="148"/>
                    <a:pt x="87" y="148"/>
                  </a:cubicBezTo>
                  <a:cubicBezTo>
                    <a:pt x="87" y="149"/>
                    <a:pt x="87" y="149"/>
                    <a:pt x="88" y="149"/>
                  </a:cubicBezTo>
                  <a:cubicBezTo>
                    <a:pt x="89" y="150"/>
                    <a:pt x="89" y="150"/>
                    <a:pt x="89" y="150"/>
                  </a:cubicBezTo>
                  <a:cubicBezTo>
                    <a:pt x="89" y="150"/>
                    <a:pt x="89" y="152"/>
                    <a:pt x="89" y="153"/>
                  </a:cubicBezTo>
                  <a:cubicBezTo>
                    <a:pt x="88" y="153"/>
                    <a:pt x="88" y="154"/>
                    <a:pt x="88" y="154"/>
                  </a:cubicBezTo>
                  <a:cubicBezTo>
                    <a:pt x="87" y="154"/>
                    <a:pt x="87" y="154"/>
                    <a:pt x="87" y="154"/>
                  </a:cubicBezTo>
                  <a:cubicBezTo>
                    <a:pt x="86" y="155"/>
                    <a:pt x="86" y="156"/>
                    <a:pt x="86" y="156"/>
                  </a:cubicBezTo>
                  <a:cubicBezTo>
                    <a:pt x="86" y="156"/>
                    <a:pt x="85" y="156"/>
                    <a:pt x="85" y="156"/>
                  </a:cubicBezTo>
                  <a:cubicBezTo>
                    <a:pt x="85" y="157"/>
                    <a:pt x="86" y="158"/>
                    <a:pt x="86" y="159"/>
                  </a:cubicBezTo>
                  <a:cubicBezTo>
                    <a:pt x="86" y="159"/>
                    <a:pt x="86" y="159"/>
                    <a:pt x="85" y="159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85" y="159"/>
                    <a:pt x="83" y="157"/>
                    <a:pt x="83" y="157"/>
                  </a:cubicBezTo>
                  <a:cubicBezTo>
                    <a:pt x="82" y="157"/>
                    <a:pt x="81" y="158"/>
                    <a:pt x="79" y="158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3" y="154"/>
                    <a:pt x="73" y="152"/>
                    <a:pt x="73" y="151"/>
                  </a:cubicBezTo>
                  <a:cubicBezTo>
                    <a:pt x="73" y="151"/>
                    <a:pt x="74" y="150"/>
                    <a:pt x="74" y="150"/>
                  </a:cubicBezTo>
                  <a:cubicBezTo>
                    <a:pt x="75" y="150"/>
                    <a:pt x="76" y="148"/>
                    <a:pt x="76" y="148"/>
                  </a:cubicBezTo>
                  <a:cubicBezTo>
                    <a:pt x="76" y="148"/>
                    <a:pt x="77" y="146"/>
                    <a:pt x="78" y="145"/>
                  </a:cubicBezTo>
                  <a:cubicBezTo>
                    <a:pt x="78" y="145"/>
                    <a:pt x="79" y="142"/>
                    <a:pt x="79" y="142"/>
                  </a:cubicBezTo>
                  <a:cubicBezTo>
                    <a:pt x="79" y="141"/>
                    <a:pt x="80" y="140"/>
                    <a:pt x="80" y="140"/>
                  </a:cubicBezTo>
                  <a:cubicBezTo>
                    <a:pt x="80" y="140"/>
                    <a:pt x="82" y="138"/>
                    <a:pt x="82" y="137"/>
                  </a:cubicBezTo>
                  <a:cubicBezTo>
                    <a:pt x="82" y="136"/>
                    <a:pt x="81" y="136"/>
                    <a:pt x="80" y="136"/>
                  </a:cubicBezTo>
                  <a:cubicBezTo>
                    <a:pt x="80" y="136"/>
                    <a:pt x="77" y="135"/>
                    <a:pt x="76" y="134"/>
                  </a:cubicBezTo>
                  <a:cubicBezTo>
                    <a:pt x="75" y="134"/>
                    <a:pt x="73" y="133"/>
                    <a:pt x="71" y="133"/>
                  </a:cubicBezTo>
                  <a:cubicBezTo>
                    <a:pt x="69" y="132"/>
                    <a:pt x="70" y="132"/>
                    <a:pt x="71" y="130"/>
                  </a:cubicBezTo>
                  <a:cubicBezTo>
                    <a:pt x="71" y="129"/>
                    <a:pt x="69" y="129"/>
                    <a:pt x="69" y="128"/>
                  </a:cubicBezTo>
                  <a:cubicBezTo>
                    <a:pt x="69" y="128"/>
                    <a:pt x="68" y="129"/>
                    <a:pt x="67" y="130"/>
                  </a:cubicBezTo>
                  <a:cubicBezTo>
                    <a:pt x="66" y="130"/>
                    <a:pt x="65" y="129"/>
                    <a:pt x="64" y="129"/>
                  </a:cubicBezTo>
                  <a:cubicBezTo>
                    <a:pt x="64" y="129"/>
                    <a:pt x="61" y="129"/>
                    <a:pt x="61" y="129"/>
                  </a:cubicBezTo>
                  <a:cubicBezTo>
                    <a:pt x="61" y="129"/>
                    <a:pt x="61" y="128"/>
                    <a:pt x="61" y="127"/>
                  </a:cubicBezTo>
                  <a:cubicBezTo>
                    <a:pt x="61" y="126"/>
                    <a:pt x="60" y="126"/>
                    <a:pt x="60" y="126"/>
                  </a:cubicBezTo>
                  <a:cubicBezTo>
                    <a:pt x="60" y="126"/>
                    <a:pt x="58" y="126"/>
                    <a:pt x="58" y="125"/>
                  </a:cubicBezTo>
                  <a:cubicBezTo>
                    <a:pt x="57" y="125"/>
                    <a:pt x="58" y="125"/>
                    <a:pt x="58" y="124"/>
                  </a:cubicBezTo>
                  <a:cubicBezTo>
                    <a:pt x="58" y="123"/>
                    <a:pt x="58" y="124"/>
                    <a:pt x="57" y="124"/>
                  </a:cubicBezTo>
                  <a:cubicBezTo>
                    <a:pt x="56" y="124"/>
                    <a:pt x="56" y="121"/>
                    <a:pt x="56" y="121"/>
                  </a:cubicBezTo>
                  <a:cubicBezTo>
                    <a:pt x="56" y="121"/>
                    <a:pt x="55" y="119"/>
                    <a:pt x="55" y="118"/>
                  </a:cubicBezTo>
                  <a:cubicBezTo>
                    <a:pt x="54" y="116"/>
                    <a:pt x="54" y="118"/>
                    <a:pt x="54" y="118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2" y="121"/>
                    <a:pt x="51" y="121"/>
                    <a:pt x="48" y="120"/>
                  </a:cubicBezTo>
                  <a:cubicBezTo>
                    <a:pt x="46" y="119"/>
                    <a:pt x="47" y="119"/>
                    <a:pt x="47" y="119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9" y="117"/>
                    <a:pt x="47" y="116"/>
                    <a:pt x="46" y="116"/>
                  </a:cubicBezTo>
                  <a:cubicBezTo>
                    <a:pt x="45" y="115"/>
                    <a:pt x="45" y="115"/>
                    <a:pt x="44" y="117"/>
                  </a:cubicBezTo>
                  <a:cubicBezTo>
                    <a:pt x="43" y="118"/>
                    <a:pt x="43" y="118"/>
                    <a:pt x="42" y="119"/>
                  </a:cubicBezTo>
                  <a:cubicBezTo>
                    <a:pt x="41" y="120"/>
                    <a:pt x="41" y="120"/>
                    <a:pt x="39" y="120"/>
                  </a:cubicBezTo>
                  <a:cubicBezTo>
                    <a:pt x="38" y="120"/>
                    <a:pt x="38" y="119"/>
                    <a:pt x="37" y="119"/>
                  </a:cubicBezTo>
                  <a:cubicBezTo>
                    <a:pt x="37" y="118"/>
                    <a:pt x="37" y="118"/>
                    <a:pt x="36" y="117"/>
                  </a:cubicBezTo>
                  <a:cubicBezTo>
                    <a:pt x="36" y="116"/>
                    <a:pt x="35" y="116"/>
                    <a:pt x="35" y="116"/>
                  </a:cubicBezTo>
                  <a:cubicBezTo>
                    <a:pt x="35" y="116"/>
                    <a:pt x="33" y="117"/>
                    <a:pt x="33" y="118"/>
                  </a:cubicBezTo>
                  <a:cubicBezTo>
                    <a:pt x="32" y="118"/>
                    <a:pt x="33" y="119"/>
                    <a:pt x="33" y="120"/>
                  </a:cubicBezTo>
                  <a:cubicBezTo>
                    <a:pt x="34" y="121"/>
                    <a:pt x="33" y="122"/>
                    <a:pt x="33" y="122"/>
                  </a:cubicBezTo>
                  <a:cubicBezTo>
                    <a:pt x="33" y="122"/>
                    <a:pt x="31" y="122"/>
                    <a:pt x="30" y="122"/>
                  </a:cubicBezTo>
                  <a:cubicBezTo>
                    <a:pt x="29" y="122"/>
                    <a:pt x="28" y="122"/>
                    <a:pt x="27" y="121"/>
                  </a:cubicBezTo>
                  <a:cubicBezTo>
                    <a:pt x="25" y="120"/>
                    <a:pt x="26" y="122"/>
                    <a:pt x="26" y="123"/>
                  </a:cubicBezTo>
                  <a:cubicBezTo>
                    <a:pt x="26" y="123"/>
                    <a:pt x="24" y="125"/>
                    <a:pt x="24" y="125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2" y="125"/>
                    <a:pt x="20" y="124"/>
                    <a:pt x="20" y="124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5" y="120"/>
                    <a:pt x="5" y="120"/>
                    <a:pt x="5" y="120"/>
                  </a:cubicBezTo>
                  <a:cubicBezTo>
                    <a:pt x="5" y="120"/>
                    <a:pt x="3" y="121"/>
                    <a:pt x="2" y="121"/>
                  </a:cubicBezTo>
                  <a:cubicBezTo>
                    <a:pt x="2" y="120"/>
                    <a:pt x="0" y="116"/>
                    <a:pt x="0" y="116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4" y="112"/>
                    <a:pt x="4" y="112"/>
                  </a:cubicBezTo>
                  <a:cubicBezTo>
                    <a:pt x="4" y="112"/>
                    <a:pt x="6" y="112"/>
                    <a:pt x="6" y="112"/>
                  </a:cubicBezTo>
                  <a:cubicBezTo>
                    <a:pt x="6" y="112"/>
                    <a:pt x="7" y="112"/>
                    <a:pt x="7" y="113"/>
                  </a:cubicBezTo>
                  <a:cubicBezTo>
                    <a:pt x="8" y="113"/>
                    <a:pt x="10" y="115"/>
                    <a:pt x="11" y="115"/>
                  </a:cubicBezTo>
                  <a:cubicBezTo>
                    <a:pt x="11" y="115"/>
                    <a:pt x="13" y="116"/>
                    <a:pt x="13" y="116"/>
                  </a:cubicBezTo>
                  <a:cubicBezTo>
                    <a:pt x="14" y="116"/>
                    <a:pt x="16" y="117"/>
                    <a:pt x="16" y="117"/>
                  </a:cubicBezTo>
                  <a:cubicBezTo>
                    <a:pt x="16" y="117"/>
                    <a:pt x="18" y="117"/>
                    <a:pt x="18" y="117"/>
                  </a:cubicBezTo>
                  <a:cubicBezTo>
                    <a:pt x="18" y="117"/>
                    <a:pt x="20" y="116"/>
                    <a:pt x="20" y="116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1" y="115"/>
                    <a:pt x="21" y="114"/>
                    <a:pt x="21" y="114"/>
                  </a:cubicBezTo>
                  <a:cubicBezTo>
                    <a:pt x="21" y="114"/>
                    <a:pt x="22" y="114"/>
                    <a:pt x="22" y="114"/>
                  </a:cubicBezTo>
                  <a:cubicBezTo>
                    <a:pt x="22" y="115"/>
                    <a:pt x="23" y="116"/>
                    <a:pt x="23" y="116"/>
                  </a:cubicBezTo>
                  <a:cubicBezTo>
                    <a:pt x="23" y="116"/>
                    <a:pt x="24" y="117"/>
                    <a:pt x="24" y="117"/>
                  </a:cubicBezTo>
                  <a:cubicBezTo>
                    <a:pt x="25" y="118"/>
                    <a:pt x="26" y="118"/>
                    <a:pt x="26" y="118"/>
                  </a:cubicBezTo>
                  <a:cubicBezTo>
                    <a:pt x="26" y="118"/>
                    <a:pt x="27" y="117"/>
                    <a:pt x="27" y="117"/>
                  </a:cubicBezTo>
                  <a:cubicBezTo>
                    <a:pt x="27" y="117"/>
                    <a:pt x="28" y="118"/>
                    <a:pt x="28" y="117"/>
                  </a:cubicBezTo>
                  <a:cubicBezTo>
                    <a:pt x="28" y="117"/>
                    <a:pt x="29" y="117"/>
                    <a:pt x="29" y="117"/>
                  </a:cubicBezTo>
                  <a:cubicBezTo>
                    <a:pt x="29" y="117"/>
                    <a:pt x="30" y="116"/>
                    <a:pt x="29" y="116"/>
                  </a:cubicBezTo>
                  <a:cubicBezTo>
                    <a:pt x="29" y="116"/>
                    <a:pt x="29" y="115"/>
                    <a:pt x="29" y="116"/>
                  </a:cubicBezTo>
                  <a:cubicBezTo>
                    <a:pt x="28" y="116"/>
                    <a:pt x="28" y="116"/>
                    <a:pt x="27" y="116"/>
                  </a:cubicBezTo>
                  <a:cubicBezTo>
                    <a:pt x="26" y="116"/>
                    <a:pt x="24" y="115"/>
                    <a:pt x="24" y="115"/>
                  </a:cubicBezTo>
                  <a:cubicBezTo>
                    <a:pt x="24" y="114"/>
                    <a:pt x="23" y="114"/>
                    <a:pt x="23" y="113"/>
                  </a:cubicBezTo>
                  <a:cubicBezTo>
                    <a:pt x="22" y="113"/>
                    <a:pt x="22" y="112"/>
                    <a:pt x="21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12"/>
                    <a:pt x="19" y="113"/>
                    <a:pt x="19" y="114"/>
                  </a:cubicBezTo>
                  <a:cubicBezTo>
                    <a:pt x="19" y="114"/>
                    <a:pt x="20" y="115"/>
                    <a:pt x="18" y="114"/>
                  </a:cubicBezTo>
                  <a:cubicBezTo>
                    <a:pt x="16" y="114"/>
                    <a:pt x="14" y="114"/>
                    <a:pt x="14" y="114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0" y="111"/>
                    <a:pt x="9" y="111"/>
                  </a:cubicBezTo>
                  <a:cubicBezTo>
                    <a:pt x="9" y="111"/>
                    <a:pt x="7" y="110"/>
                    <a:pt x="7" y="109"/>
                  </a:cubicBezTo>
                  <a:cubicBezTo>
                    <a:pt x="7" y="109"/>
                    <a:pt x="6" y="108"/>
                    <a:pt x="6" y="107"/>
                  </a:cubicBezTo>
                  <a:cubicBezTo>
                    <a:pt x="6" y="107"/>
                    <a:pt x="5" y="107"/>
                    <a:pt x="5" y="106"/>
                  </a:cubicBezTo>
                  <a:cubicBezTo>
                    <a:pt x="5" y="106"/>
                    <a:pt x="4" y="105"/>
                    <a:pt x="4" y="105"/>
                  </a:cubicBezTo>
                  <a:cubicBezTo>
                    <a:pt x="4" y="105"/>
                    <a:pt x="4" y="104"/>
                    <a:pt x="5" y="103"/>
                  </a:cubicBezTo>
                  <a:cubicBezTo>
                    <a:pt x="7" y="103"/>
                    <a:pt x="7" y="103"/>
                    <a:pt x="8" y="103"/>
                  </a:cubicBezTo>
                  <a:cubicBezTo>
                    <a:pt x="9" y="103"/>
                    <a:pt x="8" y="103"/>
                    <a:pt x="10" y="103"/>
                  </a:cubicBezTo>
                  <a:cubicBezTo>
                    <a:pt x="12" y="103"/>
                    <a:pt x="11" y="103"/>
                    <a:pt x="12" y="103"/>
                  </a:cubicBezTo>
                  <a:cubicBezTo>
                    <a:pt x="13" y="103"/>
                    <a:pt x="15" y="103"/>
                    <a:pt x="15" y="103"/>
                  </a:cubicBezTo>
                  <a:cubicBezTo>
                    <a:pt x="15" y="103"/>
                    <a:pt x="13" y="102"/>
                    <a:pt x="16" y="103"/>
                  </a:cubicBezTo>
                  <a:cubicBezTo>
                    <a:pt x="16" y="103"/>
                    <a:pt x="20" y="104"/>
                    <a:pt x="19" y="106"/>
                  </a:cubicBezTo>
                  <a:cubicBezTo>
                    <a:pt x="19" y="106"/>
                    <a:pt x="18" y="107"/>
                    <a:pt x="18" y="107"/>
                  </a:cubicBezTo>
                  <a:cubicBezTo>
                    <a:pt x="18" y="107"/>
                    <a:pt x="20" y="108"/>
                    <a:pt x="20" y="108"/>
                  </a:cubicBezTo>
                  <a:cubicBezTo>
                    <a:pt x="20" y="108"/>
                    <a:pt x="21" y="107"/>
                    <a:pt x="21" y="107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24" y="110"/>
                    <a:pt x="26" y="110"/>
                    <a:pt x="26" y="110"/>
                  </a:cubicBezTo>
                  <a:cubicBezTo>
                    <a:pt x="25" y="111"/>
                    <a:pt x="24" y="109"/>
                    <a:pt x="25" y="111"/>
                  </a:cubicBezTo>
                  <a:cubicBezTo>
                    <a:pt x="26" y="113"/>
                    <a:pt x="27" y="114"/>
                    <a:pt x="27" y="114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3"/>
                    <a:pt x="29" y="113"/>
                  </a:cubicBezTo>
                  <a:cubicBezTo>
                    <a:pt x="29" y="114"/>
                    <a:pt x="31" y="114"/>
                    <a:pt x="32" y="114"/>
                  </a:cubicBezTo>
                  <a:cubicBezTo>
                    <a:pt x="32" y="114"/>
                    <a:pt x="32" y="113"/>
                    <a:pt x="31" y="111"/>
                  </a:cubicBezTo>
                  <a:cubicBezTo>
                    <a:pt x="30" y="110"/>
                    <a:pt x="29" y="109"/>
                    <a:pt x="29" y="109"/>
                  </a:cubicBezTo>
                  <a:cubicBezTo>
                    <a:pt x="28" y="109"/>
                    <a:pt x="29" y="110"/>
                    <a:pt x="27" y="109"/>
                  </a:cubicBezTo>
                  <a:cubicBezTo>
                    <a:pt x="25" y="108"/>
                    <a:pt x="25" y="109"/>
                    <a:pt x="24" y="108"/>
                  </a:cubicBezTo>
                  <a:cubicBezTo>
                    <a:pt x="23" y="106"/>
                    <a:pt x="22" y="106"/>
                    <a:pt x="22" y="105"/>
                  </a:cubicBezTo>
                  <a:cubicBezTo>
                    <a:pt x="22" y="105"/>
                    <a:pt x="23" y="105"/>
                    <a:pt x="24" y="104"/>
                  </a:cubicBezTo>
                  <a:cubicBezTo>
                    <a:pt x="25" y="104"/>
                    <a:pt x="23" y="103"/>
                    <a:pt x="25" y="104"/>
                  </a:cubicBezTo>
                  <a:cubicBezTo>
                    <a:pt x="28" y="105"/>
                    <a:pt x="28" y="105"/>
                    <a:pt x="29" y="105"/>
                  </a:cubicBezTo>
                  <a:cubicBezTo>
                    <a:pt x="29" y="105"/>
                    <a:pt x="31" y="105"/>
                    <a:pt x="29" y="104"/>
                  </a:cubicBezTo>
                  <a:cubicBezTo>
                    <a:pt x="27" y="104"/>
                    <a:pt x="26" y="103"/>
                    <a:pt x="26" y="103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4" y="103"/>
                    <a:pt x="24" y="103"/>
                    <a:pt x="23" y="103"/>
                  </a:cubicBezTo>
                  <a:cubicBezTo>
                    <a:pt x="22" y="103"/>
                    <a:pt x="22" y="104"/>
                    <a:pt x="22" y="103"/>
                  </a:cubicBezTo>
                  <a:cubicBezTo>
                    <a:pt x="21" y="103"/>
                    <a:pt x="20" y="103"/>
                    <a:pt x="20" y="102"/>
                  </a:cubicBezTo>
                  <a:cubicBezTo>
                    <a:pt x="19" y="102"/>
                    <a:pt x="18" y="101"/>
                    <a:pt x="18" y="101"/>
                  </a:cubicBezTo>
                  <a:cubicBezTo>
                    <a:pt x="18" y="100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6" y="99"/>
                    <a:pt x="15" y="99"/>
                    <a:pt x="14" y="99"/>
                  </a:cubicBezTo>
                  <a:cubicBezTo>
                    <a:pt x="14" y="99"/>
                    <a:pt x="13" y="99"/>
                    <a:pt x="13" y="99"/>
                  </a:cubicBezTo>
                  <a:cubicBezTo>
                    <a:pt x="13" y="98"/>
                    <a:pt x="13" y="98"/>
                    <a:pt x="13" y="97"/>
                  </a:cubicBezTo>
                  <a:cubicBezTo>
                    <a:pt x="13" y="97"/>
                    <a:pt x="13" y="96"/>
                    <a:pt x="14" y="96"/>
                  </a:cubicBezTo>
                  <a:cubicBezTo>
                    <a:pt x="15" y="96"/>
                    <a:pt x="16" y="96"/>
                    <a:pt x="17" y="96"/>
                  </a:cubicBezTo>
                  <a:cubicBezTo>
                    <a:pt x="18" y="96"/>
                    <a:pt x="19" y="96"/>
                    <a:pt x="20" y="96"/>
                  </a:cubicBezTo>
                  <a:cubicBezTo>
                    <a:pt x="20" y="96"/>
                    <a:pt x="21" y="97"/>
                    <a:pt x="21" y="97"/>
                  </a:cubicBezTo>
                  <a:cubicBezTo>
                    <a:pt x="22" y="98"/>
                    <a:pt x="23" y="98"/>
                    <a:pt x="23" y="98"/>
                  </a:cubicBezTo>
                  <a:cubicBezTo>
                    <a:pt x="23" y="99"/>
                    <a:pt x="23" y="99"/>
                    <a:pt x="24" y="99"/>
                  </a:cubicBezTo>
                  <a:cubicBezTo>
                    <a:pt x="24" y="100"/>
                    <a:pt x="25" y="100"/>
                    <a:pt x="25" y="100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31" y="104"/>
                    <a:pt x="31" y="104"/>
                  </a:cubicBezTo>
                  <a:cubicBezTo>
                    <a:pt x="31" y="104"/>
                    <a:pt x="31" y="104"/>
                    <a:pt x="32" y="104"/>
                  </a:cubicBezTo>
                  <a:cubicBezTo>
                    <a:pt x="33" y="104"/>
                    <a:pt x="33" y="103"/>
                    <a:pt x="33" y="103"/>
                  </a:cubicBezTo>
                  <a:cubicBezTo>
                    <a:pt x="33" y="103"/>
                    <a:pt x="34" y="103"/>
                    <a:pt x="34" y="103"/>
                  </a:cubicBezTo>
                  <a:cubicBezTo>
                    <a:pt x="34" y="103"/>
                    <a:pt x="37" y="101"/>
                    <a:pt x="37" y="101"/>
                  </a:cubicBezTo>
                  <a:cubicBezTo>
                    <a:pt x="37" y="102"/>
                    <a:pt x="38" y="102"/>
                    <a:pt x="39" y="102"/>
                  </a:cubicBezTo>
                  <a:cubicBezTo>
                    <a:pt x="39" y="102"/>
                    <a:pt x="42" y="104"/>
                    <a:pt x="42" y="104"/>
                  </a:cubicBezTo>
                  <a:cubicBezTo>
                    <a:pt x="42" y="103"/>
                    <a:pt x="42" y="102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8" y="100"/>
                    <a:pt x="48" y="100"/>
                  </a:cubicBezTo>
                  <a:cubicBezTo>
                    <a:pt x="47" y="100"/>
                    <a:pt x="46" y="100"/>
                    <a:pt x="46" y="100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1"/>
                    <a:pt x="41" y="102"/>
                    <a:pt x="41" y="102"/>
                  </a:cubicBezTo>
                  <a:cubicBezTo>
                    <a:pt x="40" y="102"/>
                    <a:pt x="39" y="101"/>
                    <a:pt x="39" y="101"/>
                  </a:cubicBezTo>
                  <a:cubicBezTo>
                    <a:pt x="38" y="100"/>
                    <a:pt x="36" y="99"/>
                    <a:pt x="36" y="99"/>
                  </a:cubicBezTo>
                  <a:cubicBezTo>
                    <a:pt x="35" y="99"/>
                    <a:pt x="36" y="99"/>
                    <a:pt x="34" y="98"/>
                  </a:cubicBezTo>
                  <a:cubicBezTo>
                    <a:pt x="32" y="97"/>
                    <a:pt x="31" y="96"/>
                    <a:pt x="31" y="96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95"/>
                    <a:pt x="30" y="94"/>
                    <a:pt x="29" y="94"/>
                  </a:cubicBezTo>
                  <a:cubicBezTo>
                    <a:pt x="28" y="93"/>
                    <a:pt x="25" y="92"/>
                    <a:pt x="25" y="92"/>
                  </a:cubicBezTo>
                  <a:cubicBezTo>
                    <a:pt x="25" y="92"/>
                    <a:pt x="25" y="91"/>
                    <a:pt x="25" y="91"/>
                  </a:cubicBezTo>
                  <a:cubicBezTo>
                    <a:pt x="25" y="91"/>
                    <a:pt x="25" y="88"/>
                    <a:pt x="25" y="88"/>
                  </a:cubicBezTo>
                  <a:cubicBezTo>
                    <a:pt x="25" y="87"/>
                    <a:pt x="24" y="85"/>
                    <a:pt x="24" y="85"/>
                  </a:cubicBezTo>
                  <a:cubicBezTo>
                    <a:pt x="24" y="85"/>
                    <a:pt x="26" y="84"/>
                    <a:pt x="26" y="84"/>
                  </a:cubicBezTo>
                  <a:cubicBezTo>
                    <a:pt x="27" y="84"/>
                    <a:pt x="28" y="85"/>
                    <a:pt x="28" y="85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4"/>
                    <a:pt x="52" y="35"/>
                  </a:cubicBezTo>
                  <a:cubicBezTo>
                    <a:pt x="52" y="35"/>
                    <a:pt x="53" y="37"/>
                    <a:pt x="53" y="3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8" y="37"/>
                    <a:pt x="62" y="39"/>
                    <a:pt x="62" y="39"/>
                  </a:cubicBezTo>
                  <a:cubicBezTo>
                    <a:pt x="62" y="39"/>
                    <a:pt x="62" y="41"/>
                    <a:pt x="62" y="42"/>
                  </a:cubicBezTo>
                  <a:cubicBezTo>
                    <a:pt x="62" y="42"/>
                    <a:pt x="64" y="44"/>
                    <a:pt x="63" y="45"/>
                  </a:cubicBezTo>
                  <a:cubicBezTo>
                    <a:pt x="63" y="45"/>
                    <a:pt x="62" y="47"/>
                    <a:pt x="62" y="47"/>
                  </a:cubicBezTo>
                  <a:cubicBezTo>
                    <a:pt x="62" y="47"/>
                    <a:pt x="63" y="48"/>
                    <a:pt x="63" y="48"/>
                  </a:cubicBezTo>
                  <a:cubicBezTo>
                    <a:pt x="64" y="48"/>
                    <a:pt x="64" y="48"/>
                    <a:pt x="65" y="48"/>
                  </a:cubicBezTo>
                  <a:cubicBezTo>
                    <a:pt x="66" y="48"/>
                    <a:pt x="67" y="49"/>
                    <a:pt x="67" y="49"/>
                  </a:cubicBezTo>
                  <a:cubicBezTo>
                    <a:pt x="67" y="49"/>
                    <a:pt x="67" y="50"/>
                    <a:pt x="67" y="50"/>
                  </a:cubicBezTo>
                  <a:cubicBezTo>
                    <a:pt x="67" y="50"/>
                    <a:pt x="67" y="52"/>
                    <a:pt x="67" y="52"/>
                  </a:cubicBezTo>
                  <a:cubicBezTo>
                    <a:pt x="67" y="53"/>
                    <a:pt x="65" y="53"/>
                    <a:pt x="65" y="53"/>
                  </a:cubicBezTo>
                  <a:cubicBezTo>
                    <a:pt x="65" y="53"/>
                    <a:pt x="65" y="54"/>
                    <a:pt x="65" y="54"/>
                  </a:cubicBezTo>
                  <a:cubicBezTo>
                    <a:pt x="64" y="55"/>
                    <a:pt x="63" y="56"/>
                    <a:pt x="62" y="56"/>
                  </a:cubicBezTo>
                  <a:cubicBezTo>
                    <a:pt x="62" y="56"/>
                    <a:pt x="60" y="54"/>
                    <a:pt x="60" y="54"/>
                  </a:cubicBezTo>
                  <a:cubicBezTo>
                    <a:pt x="60" y="54"/>
                    <a:pt x="59" y="55"/>
                    <a:pt x="59" y="55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8" y="68"/>
                    <a:pt x="57" y="68"/>
                  </a:cubicBezTo>
                  <a:cubicBezTo>
                    <a:pt x="57" y="68"/>
                    <a:pt x="56" y="67"/>
                    <a:pt x="56" y="68"/>
                  </a:cubicBezTo>
                  <a:cubicBezTo>
                    <a:pt x="57" y="69"/>
                    <a:pt x="57" y="70"/>
                    <a:pt x="58" y="70"/>
                  </a:cubicBezTo>
                  <a:cubicBezTo>
                    <a:pt x="59" y="70"/>
                    <a:pt x="61" y="70"/>
                    <a:pt x="61" y="70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4" y="73"/>
                    <a:pt x="65" y="73"/>
                  </a:cubicBezTo>
                  <a:cubicBezTo>
                    <a:pt x="65" y="73"/>
                    <a:pt x="67" y="74"/>
                    <a:pt x="67" y="74"/>
                  </a:cubicBezTo>
                  <a:cubicBezTo>
                    <a:pt x="67" y="74"/>
                    <a:pt x="67" y="74"/>
                    <a:pt x="68" y="75"/>
                  </a:cubicBezTo>
                  <a:cubicBezTo>
                    <a:pt x="69" y="75"/>
                    <a:pt x="71" y="76"/>
                    <a:pt x="71" y="76"/>
                  </a:cubicBezTo>
                  <a:cubicBezTo>
                    <a:pt x="71" y="76"/>
                    <a:pt x="71" y="75"/>
                    <a:pt x="70" y="75"/>
                  </a:cubicBezTo>
                  <a:cubicBezTo>
                    <a:pt x="70" y="75"/>
                    <a:pt x="69" y="72"/>
                    <a:pt x="67" y="72"/>
                  </a:cubicBezTo>
                  <a:cubicBezTo>
                    <a:pt x="66" y="71"/>
                    <a:pt x="65" y="71"/>
                    <a:pt x="64" y="71"/>
                  </a:cubicBezTo>
                  <a:cubicBezTo>
                    <a:pt x="63" y="71"/>
                    <a:pt x="61" y="70"/>
                    <a:pt x="61" y="70"/>
                  </a:cubicBezTo>
                  <a:cubicBezTo>
                    <a:pt x="61" y="69"/>
                    <a:pt x="60" y="68"/>
                    <a:pt x="61" y="68"/>
                  </a:cubicBezTo>
                  <a:cubicBezTo>
                    <a:pt x="61" y="67"/>
                    <a:pt x="61" y="66"/>
                    <a:pt x="63" y="66"/>
                  </a:cubicBezTo>
                  <a:cubicBezTo>
                    <a:pt x="64" y="66"/>
                    <a:pt x="65" y="67"/>
                    <a:pt x="66" y="66"/>
                  </a:cubicBezTo>
                  <a:cubicBezTo>
                    <a:pt x="67" y="66"/>
                    <a:pt x="69" y="63"/>
                    <a:pt x="69" y="63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8" y="58"/>
                    <a:pt x="78" y="58"/>
                  </a:cubicBezTo>
                  <a:cubicBezTo>
                    <a:pt x="78" y="58"/>
                    <a:pt x="79" y="58"/>
                    <a:pt x="80" y="59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2" y="60"/>
                    <a:pt x="84" y="61"/>
                    <a:pt x="84" y="61"/>
                  </a:cubicBezTo>
                  <a:cubicBezTo>
                    <a:pt x="84" y="61"/>
                    <a:pt x="84" y="61"/>
                    <a:pt x="85" y="62"/>
                  </a:cubicBezTo>
                  <a:cubicBezTo>
                    <a:pt x="85" y="62"/>
                    <a:pt x="86" y="63"/>
                    <a:pt x="85" y="65"/>
                  </a:cubicBezTo>
                  <a:cubicBezTo>
                    <a:pt x="85" y="66"/>
                    <a:pt x="85" y="67"/>
                    <a:pt x="85" y="67"/>
                  </a:cubicBezTo>
                  <a:cubicBezTo>
                    <a:pt x="85" y="67"/>
                    <a:pt x="86" y="66"/>
                    <a:pt x="86" y="65"/>
                  </a:cubicBezTo>
                  <a:cubicBezTo>
                    <a:pt x="86" y="63"/>
                    <a:pt x="86" y="62"/>
                    <a:pt x="86" y="61"/>
                  </a:cubicBezTo>
                  <a:cubicBezTo>
                    <a:pt x="86" y="60"/>
                    <a:pt x="85" y="59"/>
                    <a:pt x="85" y="59"/>
                  </a:cubicBezTo>
                  <a:cubicBezTo>
                    <a:pt x="85" y="59"/>
                    <a:pt x="83" y="60"/>
                    <a:pt x="81" y="59"/>
                  </a:cubicBezTo>
                  <a:cubicBezTo>
                    <a:pt x="80" y="58"/>
                    <a:pt x="80" y="57"/>
                    <a:pt x="79" y="57"/>
                  </a:cubicBezTo>
                  <a:cubicBezTo>
                    <a:pt x="79" y="57"/>
                    <a:pt x="78" y="56"/>
                    <a:pt x="77" y="56"/>
                  </a:cubicBezTo>
                  <a:cubicBezTo>
                    <a:pt x="77" y="56"/>
                    <a:pt x="77" y="55"/>
                    <a:pt x="77" y="54"/>
                  </a:cubicBezTo>
                  <a:cubicBezTo>
                    <a:pt x="77" y="53"/>
                    <a:pt x="77" y="52"/>
                    <a:pt x="77" y="51"/>
                  </a:cubicBezTo>
                  <a:cubicBezTo>
                    <a:pt x="77" y="51"/>
                    <a:pt x="76" y="50"/>
                    <a:pt x="77" y="49"/>
                  </a:cubicBezTo>
                  <a:cubicBezTo>
                    <a:pt x="78" y="48"/>
                    <a:pt x="78" y="48"/>
                    <a:pt x="79" y="48"/>
                  </a:cubicBezTo>
                  <a:cubicBezTo>
                    <a:pt x="79" y="47"/>
                    <a:pt x="81" y="46"/>
                    <a:pt x="80" y="46"/>
                  </a:cubicBezTo>
                  <a:cubicBezTo>
                    <a:pt x="80" y="45"/>
                    <a:pt x="79" y="45"/>
                    <a:pt x="78" y="45"/>
                  </a:cubicBezTo>
                  <a:cubicBezTo>
                    <a:pt x="77" y="45"/>
                    <a:pt x="78" y="46"/>
                    <a:pt x="77" y="46"/>
                  </a:cubicBezTo>
                  <a:cubicBezTo>
                    <a:pt x="75" y="46"/>
                    <a:pt x="75" y="45"/>
                    <a:pt x="74" y="44"/>
                  </a:cubicBezTo>
                  <a:cubicBezTo>
                    <a:pt x="74" y="43"/>
                    <a:pt x="74" y="43"/>
                    <a:pt x="73" y="44"/>
                  </a:cubicBezTo>
                  <a:cubicBezTo>
                    <a:pt x="72" y="44"/>
                    <a:pt x="71" y="43"/>
                    <a:pt x="71" y="43"/>
                  </a:cubicBezTo>
                  <a:cubicBezTo>
                    <a:pt x="71" y="43"/>
                    <a:pt x="70" y="42"/>
                    <a:pt x="71" y="41"/>
                  </a:cubicBezTo>
                  <a:cubicBezTo>
                    <a:pt x="71" y="41"/>
                    <a:pt x="72" y="39"/>
                    <a:pt x="72" y="39"/>
                  </a:cubicBezTo>
                  <a:cubicBezTo>
                    <a:pt x="72" y="39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lose/>
                  <a:moveTo>
                    <a:pt x="127" y="1"/>
                  </a:move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9" y="0"/>
                    <a:pt x="129" y="0"/>
                    <a:pt x="130" y="0"/>
                  </a:cubicBezTo>
                  <a:cubicBezTo>
                    <a:pt x="130" y="0"/>
                    <a:pt x="132" y="0"/>
                    <a:pt x="132" y="0"/>
                  </a:cubicBezTo>
                  <a:cubicBezTo>
                    <a:pt x="132" y="0"/>
                    <a:pt x="133" y="0"/>
                    <a:pt x="134" y="0"/>
                  </a:cubicBezTo>
                  <a:cubicBezTo>
                    <a:pt x="134" y="0"/>
                    <a:pt x="135" y="0"/>
                    <a:pt x="135" y="0"/>
                  </a:cubicBezTo>
                  <a:cubicBezTo>
                    <a:pt x="136" y="0"/>
                    <a:pt x="135" y="1"/>
                    <a:pt x="135" y="1"/>
                  </a:cubicBezTo>
                  <a:cubicBezTo>
                    <a:pt x="133" y="1"/>
                    <a:pt x="133" y="1"/>
                    <a:pt x="133" y="1"/>
                  </a:cubicBezTo>
                  <a:cubicBezTo>
                    <a:pt x="133" y="1"/>
                    <a:pt x="132" y="1"/>
                    <a:pt x="131" y="1"/>
                  </a:cubicBezTo>
                  <a:cubicBezTo>
                    <a:pt x="131" y="2"/>
                    <a:pt x="130" y="2"/>
                    <a:pt x="130" y="2"/>
                  </a:cubicBezTo>
                  <a:cubicBezTo>
                    <a:pt x="130" y="2"/>
                    <a:pt x="129" y="2"/>
                    <a:pt x="129" y="2"/>
                  </a:cubicBezTo>
                  <a:cubicBezTo>
                    <a:pt x="128" y="2"/>
                    <a:pt x="128" y="1"/>
                    <a:pt x="128" y="2"/>
                  </a:cubicBezTo>
                  <a:cubicBezTo>
                    <a:pt x="127" y="2"/>
                    <a:pt x="127" y="1"/>
                    <a:pt x="127" y="1"/>
                  </a:cubicBezTo>
                  <a:close/>
                  <a:moveTo>
                    <a:pt x="118" y="6"/>
                  </a:move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5"/>
                    <a:pt x="119" y="5"/>
                  </a:cubicBezTo>
                  <a:cubicBezTo>
                    <a:pt x="119" y="5"/>
                    <a:pt x="119" y="4"/>
                    <a:pt x="120" y="5"/>
                  </a:cubicBezTo>
                  <a:cubicBezTo>
                    <a:pt x="120" y="5"/>
                    <a:pt x="120" y="7"/>
                    <a:pt x="120" y="7"/>
                  </a:cubicBezTo>
                  <a:cubicBezTo>
                    <a:pt x="119" y="7"/>
                    <a:pt x="119" y="7"/>
                    <a:pt x="118" y="7"/>
                  </a:cubicBezTo>
                  <a:cubicBezTo>
                    <a:pt x="118" y="7"/>
                    <a:pt x="118" y="6"/>
                    <a:pt x="118" y="6"/>
                  </a:cubicBezTo>
                  <a:close/>
                  <a:moveTo>
                    <a:pt x="112" y="9"/>
                  </a:moveTo>
                  <a:cubicBezTo>
                    <a:pt x="112" y="9"/>
                    <a:pt x="112" y="9"/>
                    <a:pt x="112" y="9"/>
                  </a:cubicBezTo>
                  <a:cubicBezTo>
                    <a:pt x="112" y="9"/>
                    <a:pt x="111" y="8"/>
                    <a:pt x="111" y="8"/>
                  </a:cubicBezTo>
                  <a:cubicBezTo>
                    <a:pt x="111" y="8"/>
                    <a:pt x="111" y="7"/>
                    <a:pt x="112" y="7"/>
                  </a:cubicBezTo>
                  <a:cubicBezTo>
                    <a:pt x="112" y="7"/>
                    <a:pt x="113" y="7"/>
                    <a:pt x="113" y="7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4" y="7"/>
                    <a:pt x="115" y="6"/>
                    <a:pt x="115" y="6"/>
                  </a:cubicBezTo>
                  <a:cubicBezTo>
                    <a:pt x="115" y="6"/>
                    <a:pt x="116" y="8"/>
                    <a:pt x="116" y="8"/>
                  </a:cubicBezTo>
                  <a:cubicBezTo>
                    <a:pt x="116" y="8"/>
                    <a:pt x="116" y="8"/>
                    <a:pt x="115" y="8"/>
                  </a:cubicBezTo>
                  <a:cubicBezTo>
                    <a:pt x="115" y="8"/>
                    <a:pt x="114" y="9"/>
                    <a:pt x="114" y="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2" y="9"/>
                    <a:pt x="112" y="9"/>
                    <a:pt x="112" y="9"/>
                  </a:cubicBezTo>
                  <a:close/>
                  <a:moveTo>
                    <a:pt x="108" y="12"/>
                  </a:moveTo>
                  <a:cubicBezTo>
                    <a:pt x="108" y="12"/>
                    <a:pt x="108" y="12"/>
                    <a:pt x="108" y="12"/>
                  </a:cubicBezTo>
                  <a:cubicBezTo>
                    <a:pt x="108" y="11"/>
                    <a:pt x="107" y="11"/>
                    <a:pt x="107" y="11"/>
                  </a:cubicBezTo>
                  <a:cubicBezTo>
                    <a:pt x="107" y="11"/>
                    <a:pt x="106" y="10"/>
                    <a:pt x="106" y="10"/>
                  </a:cubicBezTo>
                  <a:cubicBezTo>
                    <a:pt x="106" y="10"/>
                    <a:pt x="106" y="9"/>
                    <a:pt x="107" y="9"/>
                  </a:cubicBezTo>
                  <a:cubicBezTo>
                    <a:pt x="107" y="9"/>
                    <a:pt x="107" y="9"/>
                    <a:pt x="107" y="10"/>
                  </a:cubicBezTo>
                  <a:cubicBezTo>
                    <a:pt x="108" y="10"/>
                    <a:pt x="108" y="11"/>
                    <a:pt x="108" y="11"/>
                  </a:cubicBezTo>
                  <a:cubicBezTo>
                    <a:pt x="108" y="12"/>
                    <a:pt x="108" y="12"/>
                    <a:pt x="108" y="12"/>
                  </a:cubicBezTo>
                  <a:close/>
                  <a:moveTo>
                    <a:pt x="96" y="12"/>
                  </a:move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7" y="12"/>
                  </a:cubicBezTo>
                  <a:cubicBezTo>
                    <a:pt x="98" y="11"/>
                    <a:pt x="98" y="10"/>
                    <a:pt x="99" y="11"/>
                  </a:cubicBezTo>
                  <a:cubicBezTo>
                    <a:pt x="100" y="11"/>
                    <a:pt x="102" y="12"/>
                    <a:pt x="102" y="12"/>
                  </a:cubicBezTo>
                  <a:cubicBezTo>
                    <a:pt x="102" y="12"/>
                    <a:pt x="102" y="11"/>
                    <a:pt x="102" y="11"/>
                  </a:cubicBezTo>
                  <a:cubicBezTo>
                    <a:pt x="103" y="11"/>
                    <a:pt x="103" y="12"/>
                    <a:pt x="103" y="12"/>
                  </a:cubicBezTo>
                  <a:cubicBezTo>
                    <a:pt x="103" y="12"/>
                    <a:pt x="102" y="12"/>
                    <a:pt x="102" y="12"/>
                  </a:cubicBezTo>
                  <a:cubicBezTo>
                    <a:pt x="101" y="13"/>
                    <a:pt x="101" y="13"/>
                    <a:pt x="100" y="13"/>
                  </a:cubicBezTo>
                  <a:cubicBezTo>
                    <a:pt x="99" y="13"/>
                    <a:pt x="99" y="12"/>
                    <a:pt x="98" y="13"/>
                  </a:cubicBezTo>
                  <a:cubicBezTo>
                    <a:pt x="98" y="13"/>
                    <a:pt x="98" y="14"/>
                    <a:pt x="97" y="14"/>
                  </a:cubicBezTo>
                  <a:cubicBezTo>
                    <a:pt x="97" y="14"/>
                    <a:pt x="96" y="14"/>
                    <a:pt x="96" y="14"/>
                  </a:cubicBezTo>
                  <a:cubicBezTo>
                    <a:pt x="96" y="13"/>
                    <a:pt x="96" y="12"/>
                    <a:pt x="96" y="12"/>
                  </a:cubicBezTo>
                  <a:close/>
                  <a:moveTo>
                    <a:pt x="93" y="13"/>
                  </a:moveTo>
                  <a:cubicBezTo>
                    <a:pt x="93" y="13"/>
                    <a:pt x="93" y="13"/>
                    <a:pt x="93" y="13"/>
                  </a:cubicBezTo>
                  <a:cubicBezTo>
                    <a:pt x="93" y="13"/>
                    <a:pt x="93" y="12"/>
                    <a:pt x="94" y="13"/>
                  </a:cubicBezTo>
                  <a:cubicBezTo>
                    <a:pt x="94" y="13"/>
                    <a:pt x="94" y="12"/>
                    <a:pt x="94" y="13"/>
                  </a:cubicBezTo>
                  <a:cubicBezTo>
                    <a:pt x="95" y="14"/>
                    <a:pt x="95" y="15"/>
                    <a:pt x="94" y="15"/>
                  </a:cubicBezTo>
                  <a:cubicBezTo>
                    <a:pt x="93" y="14"/>
                    <a:pt x="93" y="13"/>
                    <a:pt x="93" y="13"/>
                  </a:cubicBezTo>
                  <a:close/>
                  <a:moveTo>
                    <a:pt x="81" y="13"/>
                  </a:moveTo>
                  <a:cubicBezTo>
                    <a:pt x="81" y="13"/>
                    <a:pt x="81" y="13"/>
                    <a:pt x="81" y="13"/>
                  </a:cubicBezTo>
                  <a:cubicBezTo>
                    <a:pt x="81" y="13"/>
                    <a:pt x="81" y="12"/>
                    <a:pt x="82" y="12"/>
                  </a:cubicBezTo>
                  <a:cubicBezTo>
                    <a:pt x="82" y="12"/>
                    <a:pt x="82" y="12"/>
                    <a:pt x="83" y="12"/>
                  </a:cubicBezTo>
                  <a:cubicBezTo>
                    <a:pt x="83" y="13"/>
                    <a:pt x="84" y="13"/>
                    <a:pt x="84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6" y="13"/>
                    <a:pt x="86" y="12"/>
                    <a:pt x="87" y="13"/>
                  </a:cubicBezTo>
                  <a:cubicBezTo>
                    <a:pt x="88" y="13"/>
                    <a:pt x="88" y="13"/>
                    <a:pt x="89" y="13"/>
                  </a:cubicBezTo>
                  <a:cubicBezTo>
                    <a:pt x="89" y="13"/>
                    <a:pt x="91" y="13"/>
                    <a:pt x="91" y="13"/>
                  </a:cubicBezTo>
                  <a:cubicBezTo>
                    <a:pt x="91" y="13"/>
                    <a:pt x="91" y="14"/>
                    <a:pt x="91" y="14"/>
                  </a:cubicBezTo>
                  <a:cubicBezTo>
                    <a:pt x="90" y="14"/>
                    <a:pt x="90" y="14"/>
                    <a:pt x="89" y="14"/>
                  </a:cubicBezTo>
                  <a:cubicBezTo>
                    <a:pt x="89" y="14"/>
                    <a:pt x="90" y="14"/>
                    <a:pt x="88" y="14"/>
                  </a:cubicBezTo>
                  <a:cubicBezTo>
                    <a:pt x="87" y="14"/>
                    <a:pt x="87" y="14"/>
                    <a:pt x="86" y="14"/>
                  </a:cubicBezTo>
                  <a:cubicBezTo>
                    <a:pt x="86" y="14"/>
                    <a:pt x="86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4" y="14"/>
                    <a:pt x="87" y="13"/>
                    <a:pt x="84" y="1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4"/>
                    <a:pt x="81" y="14"/>
                  </a:cubicBezTo>
                  <a:cubicBezTo>
                    <a:pt x="81" y="14"/>
                    <a:pt x="81" y="13"/>
                    <a:pt x="81" y="13"/>
                  </a:cubicBezTo>
                  <a:close/>
                  <a:moveTo>
                    <a:pt x="6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71" y="16"/>
                    <a:pt x="71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4" y="14"/>
                    <a:pt x="74" y="14"/>
                  </a:cubicBezTo>
                  <a:cubicBezTo>
                    <a:pt x="75" y="14"/>
                    <a:pt x="76" y="13"/>
                    <a:pt x="76" y="13"/>
                  </a:cubicBezTo>
                  <a:cubicBezTo>
                    <a:pt x="76" y="13"/>
                    <a:pt x="78" y="14"/>
                    <a:pt x="78" y="14"/>
                  </a:cubicBezTo>
                  <a:cubicBezTo>
                    <a:pt x="79" y="14"/>
                    <a:pt x="79" y="13"/>
                    <a:pt x="79" y="13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0" y="14"/>
                    <a:pt x="69" y="14"/>
                  </a:cubicBezTo>
                  <a:cubicBezTo>
                    <a:pt x="68" y="13"/>
                    <a:pt x="67" y="14"/>
                    <a:pt x="67" y="14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7" y="16"/>
                    <a:pt x="67" y="16"/>
                  </a:cubicBezTo>
                  <a:cubicBezTo>
                    <a:pt x="67" y="17"/>
                    <a:pt x="68" y="16"/>
                    <a:pt x="6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2"/>
                    <a:pt x="58" y="22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60" y="20"/>
                    <a:pt x="61" y="20"/>
                  </a:cubicBezTo>
                  <a:cubicBezTo>
                    <a:pt x="61" y="20"/>
                    <a:pt x="63" y="19"/>
                    <a:pt x="63" y="19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0" y="18"/>
                    <a:pt x="60" y="18"/>
                  </a:cubicBezTo>
                  <a:cubicBezTo>
                    <a:pt x="60" y="18"/>
                    <a:pt x="58" y="20"/>
                    <a:pt x="58" y="20"/>
                  </a:cubicBezTo>
                  <a:cubicBezTo>
                    <a:pt x="58" y="20"/>
                    <a:pt x="56" y="22"/>
                    <a:pt x="56" y="22"/>
                  </a:cubicBezTo>
                  <a:close/>
                  <a:moveTo>
                    <a:pt x="55" y="32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7" y="30"/>
                    <a:pt x="57" y="29"/>
                  </a:cubicBezTo>
                  <a:cubicBezTo>
                    <a:pt x="57" y="29"/>
                    <a:pt x="57" y="27"/>
                    <a:pt x="57" y="27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4" y="25"/>
                    <a:pt x="54" y="25"/>
                  </a:cubicBezTo>
                  <a:cubicBezTo>
                    <a:pt x="54" y="26"/>
                    <a:pt x="53" y="26"/>
                    <a:pt x="52" y="27"/>
                  </a:cubicBezTo>
                  <a:cubicBezTo>
                    <a:pt x="51" y="28"/>
                    <a:pt x="51" y="29"/>
                    <a:pt x="51" y="30"/>
                  </a:cubicBezTo>
                  <a:cubicBezTo>
                    <a:pt x="51" y="30"/>
                    <a:pt x="50" y="31"/>
                    <a:pt x="50" y="32"/>
                  </a:cubicBezTo>
                  <a:cubicBezTo>
                    <a:pt x="50" y="33"/>
                    <a:pt x="51" y="33"/>
                    <a:pt x="52" y="33"/>
                  </a:cubicBezTo>
                  <a:cubicBezTo>
                    <a:pt x="53" y="33"/>
                    <a:pt x="52" y="33"/>
                    <a:pt x="52" y="33"/>
                  </a:cubicBezTo>
                  <a:cubicBezTo>
                    <a:pt x="55" y="32"/>
                    <a:pt x="55" y="32"/>
                    <a:pt x="55" y="32"/>
                  </a:cubicBezTo>
                  <a:close/>
                  <a:moveTo>
                    <a:pt x="21" y="94"/>
                  </a:moveTo>
                  <a:cubicBezTo>
                    <a:pt x="21" y="94"/>
                    <a:pt x="21" y="94"/>
                    <a:pt x="21" y="94"/>
                  </a:cubicBezTo>
                  <a:cubicBezTo>
                    <a:pt x="21" y="94"/>
                    <a:pt x="21" y="94"/>
                    <a:pt x="22" y="94"/>
                  </a:cubicBezTo>
                  <a:cubicBezTo>
                    <a:pt x="22" y="94"/>
                    <a:pt x="22" y="93"/>
                    <a:pt x="22" y="93"/>
                  </a:cubicBezTo>
                  <a:cubicBezTo>
                    <a:pt x="23" y="93"/>
                    <a:pt x="23" y="94"/>
                    <a:pt x="23" y="94"/>
                  </a:cubicBezTo>
                  <a:cubicBezTo>
                    <a:pt x="24" y="94"/>
                    <a:pt x="24" y="95"/>
                    <a:pt x="24" y="95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8"/>
                    <a:pt x="25" y="98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25" y="99"/>
                    <a:pt x="26" y="99"/>
                    <a:pt x="27" y="99"/>
                  </a:cubicBezTo>
                  <a:cubicBezTo>
                    <a:pt x="27" y="99"/>
                    <a:pt x="27" y="100"/>
                    <a:pt x="28" y="100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30" y="102"/>
                    <a:pt x="30" y="102"/>
                    <a:pt x="31" y="103"/>
                  </a:cubicBezTo>
                  <a:cubicBezTo>
                    <a:pt x="32" y="103"/>
                    <a:pt x="32" y="103"/>
                    <a:pt x="33" y="103"/>
                  </a:cubicBezTo>
                  <a:cubicBezTo>
                    <a:pt x="33" y="102"/>
                    <a:pt x="33" y="102"/>
                    <a:pt x="34" y="102"/>
                  </a:cubicBezTo>
                  <a:cubicBezTo>
                    <a:pt x="34" y="102"/>
                    <a:pt x="34" y="102"/>
                    <a:pt x="35" y="102"/>
                  </a:cubicBezTo>
                  <a:cubicBezTo>
                    <a:pt x="35" y="101"/>
                    <a:pt x="34" y="101"/>
                    <a:pt x="34" y="101"/>
                  </a:cubicBezTo>
                  <a:cubicBezTo>
                    <a:pt x="34" y="101"/>
                    <a:pt x="33" y="100"/>
                    <a:pt x="32" y="99"/>
                  </a:cubicBezTo>
                  <a:cubicBezTo>
                    <a:pt x="32" y="99"/>
                    <a:pt x="32" y="99"/>
                    <a:pt x="32" y="98"/>
                  </a:cubicBezTo>
                  <a:cubicBezTo>
                    <a:pt x="32" y="98"/>
                    <a:pt x="32" y="98"/>
                    <a:pt x="31" y="97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9" y="96"/>
                    <a:pt x="29" y="95"/>
                    <a:pt x="29" y="95"/>
                  </a:cubicBezTo>
                  <a:cubicBezTo>
                    <a:pt x="29" y="95"/>
                    <a:pt x="27" y="95"/>
                    <a:pt x="27" y="94"/>
                  </a:cubicBezTo>
                  <a:cubicBezTo>
                    <a:pt x="27" y="94"/>
                    <a:pt x="26" y="94"/>
                    <a:pt x="26" y="94"/>
                  </a:cubicBezTo>
                  <a:cubicBezTo>
                    <a:pt x="26" y="94"/>
                    <a:pt x="24" y="93"/>
                    <a:pt x="24" y="92"/>
                  </a:cubicBezTo>
                  <a:cubicBezTo>
                    <a:pt x="24" y="92"/>
                    <a:pt x="24" y="91"/>
                    <a:pt x="24" y="91"/>
                  </a:cubicBezTo>
                  <a:cubicBezTo>
                    <a:pt x="24" y="91"/>
                    <a:pt x="23" y="91"/>
                    <a:pt x="22" y="91"/>
                  </a:cubicBezTo>
                  <a:cubicBezTo>
                    <a:pt x="21" y="92"/>
                    <a:pt x="20" y="92"/>
                    <a:pt x="20" y="92"/>
                  </a:cubicBezTo>
                  <a:cubicBezTo>
                    <a:pt x="19" y="92"/>
                    <a:pt x="19" y="93"/>
                    <a:pt x="19" y="93"/>
                  </a:cubicBezTo>
                  <a:cubicBezTo>
                    <a:pt x="19" y="93"/>
                    <a:pt x="19" y="94"/>
                    <a:pt x="20" y="94"/>
                  </a:cubicBezTo>
                  <a:cubicBezTo>
                    <a:pt x="20" y="95"/>
                    <a:pt x="21" y="94"/>
                    <a:pt x="21" y="94"/>
                  </a:cubicBezTo>
                  <a:close/>
                  <a:moveTo>
                    <a:pt x="71" y="75"/>
                  </a:moveTo>
                  <a:cubicBezTo>
                    <a:pt x="71" y="75"/>
                    <a:pt x="71" y="75"/>
                    <a:pt x="71" y="75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1" y="76"/>
                    <a:pt x="71" y="76"/>
                    <a:pt x="72" y="76"/>
                  </a:cubicBezTo>
                  <a:cubicBezTo>
                    <a:pt x="72" y="75"/>
                    <a:pt x="72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4" y="76"/>
                    <a:pt x="75" y="74"/>
                    <a:pt x="75" y="74"/>
                  </a:cubicBezTo>
                  <a:cubicBezTo>
                    <a:pt x="75" y="74"/>
                    <a:pt x="75" y="74"/>
                    <a:pt x="76" y="74"/>
                  </a:cubicBezTo>
                  <a:cubicBezTo>
                    <a:pt x="76" y="74"/>
                    <a:pt x="77" y="74"/>
                    <a:pt x="77" y="73"/>
                  </a:cubicBezTo>
                  <a:cubicBezTo>
                    <a:pt x="77" y="73"/>
                    <a:pt x="77" y="73"/>
                    <a:pt x="78" y="73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9" y="71"/>
                    <a:pt x="80" y="71"/>
                    <a:pt x="80" y="71"/>
                  </a:cubicBezTo>
                  <a:cubicBezTo>
                    <a:pt x="81" y="70"/>
                    <a:pt x="81" y="70"/>
                    <a:pt x="81" y="69"/>
                  </a:cubicBezTo>
                  <a:cubicBezTo>
                    <a:pt x="81" y="69"/>
                    <a:pt x="80" y="69"/>
                    <a:pt x="80" y="70"/>
                  </a:cubicBezTo>
                  <a:cubicBezTo>
                    <a:pt x="79" y="70"/>
                    <a:pt x="78" y="70"/>
                    <a:pt x="78" y="70"/>
                  </a:cubicBezTo>
                  <a:cubicBezTo>
                    <a:pt x="78" y="71"/>
                    <a:pt x="77" y="71"/>
                    <a:pt x="77" y="71"/>
                  </a:cubicBezTo>
                  <a:cubicBezTo>
                    <a:pt x="76" y="71"/>
                    <a:pt x="75" y="72"/>
                    <a:pt x="74" y="72"/>
                  </a:cubicBezTo>
                  <a:cubicBezTo>
                    <a:pt x="74" y="72"/>
                    <a:pt x="74" y="73"/>
                    <a:pt x="73" y="74"/>
                  </a:cubicBezTo>
                  <a:cubicBezTo>
                    <a:pt x="73" y="74"/>
                    <a:pt x="73" y="74"/>
                    <a:pt x="73" y="75"/>
                  </a:cubicBezTo>
                  <a:cubicBezTo>
                    <a:pt x="72" y="75"/>
                    <a:pt x="71" y="75"/>
                    <a:pt x="71" y="75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0" name="Freeform 217"/>
            <p:cNvSpPr>
              <a:spLocks/>
            </p:cNvSpPr>
            <p:nvPr/>
          </p:nvSpPr>
          <p:spPr bwMode="auto">
            <a:xfrm>
              <a:off x="8054896" y="3267063"/>
              <a:ext cx="384801" cy="263158"/>
            </a:xfrm>
            <a:custGeom>
              <a:avLst/>
              <a:gdLst>
                <a:gd name="T0" fmla="*/ 4 w 169"/>
                <a:gd name="T1" fmla="*/ 28 h 119"/>
                <a:gd name="T2" fmla="*/ 17 w 169"/>
                <a:gd name="T3" fmla="*/ 23 h 119"/>
                <a:gd name="T4" fmla="*/ 24 w 169"/>
                <a:gd name="T5" fmla="*/ 19 h 119"/>
                <a:gd name="T6" fmla="*/ 29 w 169"/>
                <a:gd name="T7" fmla="*/ 16 h 119"/>
                <a:gd name="T8" fmla="*/ 32 w 169"/>
                <a:gd name="T9" fmla="*/ 14 h 119"/>
                <a:gd name="T10" fmla="*/ 38 w 169"/>
                <a:gd name="T11" fmla="*/ 12 h 119"/>
                <a:gd name="T12" fmla="*/ 44 w 169"/>
                <a:gd name="T13" fmla="*/ 11 h 119"/>
                <a:gd name="T14" fmla="*/ 48 w 169"/>
                <a:gd name="T15" fmla="*/ 8 h 119"/>
                <a:gd name="T16" fmla="*/ 56 w 169"/>
                <a:gd name="T17" fmla="*/ 7 h 119"/>
                <a:gd name="T18" fmla="*/ 55 w 169"/>
                <a:gd name="T19" fmla="*/ 2 h 119"/>
                <a:gd name="T20" fmla="*/ 63 w 169"/>
                <a:gd name="T21" fmla="*/ 0 h 119"/>
                <a:gd name="T22" fmla="*/ 69 w 169"/>
                <a:gd name="T23" fmla="*/ 4 h 119"/>
                <a:gd name="T24" fmla="*/ 73 w 169"/>
                <a:gd name="T25" fmla="*/ 8 h 119"/>
                <a:gd name="T26" fmla="*/ 72 w 169"/>
                <a:gd name="T27" fmla="*/ 11 h 119"/>
                <a:gd name="T28" fmla="*/ 78 w 169"/>
                <a:gd name="T29" fmla="*/ 12 h 119"/>
                <a:gd name="T30" fmla="*/ 85 w 169"/>
                <a:gd name="T31" fmla="*/ 10 h 119"/>
                <a:gd name="T32" fmla="*/ 88 w 169"/>
                <a:gd name="T33" fmla="*/ 13 h 119"/>
                <a:gd name="T34" fmla="*/ 95 w 169"/>
                <a:gd name="T35" fmla="*/ 16 h 119"/>
                <a:gd name="T36" fmla="*/ 95 w 169"/>
                <a:gd name="T37" fmla="*/ 21 h 119"/>
                <a:gd name="T38" fmla="*/ 91 w 169"/>
                <a:gd name="T39" fmla="*/ 27 h 119"/>
                <a:gd name="T40" fmla="*/ 95 w 169"/>
                <a:gd name="T41" fmla="*/ 34 h 119"/>
                <a:gd name="T42" fmla="*/ 106 w 169"/>
                <a:gd name="T43" fmla="*/ 41 h 119"/>
                <a:gd name="T44" fmla="*/ 116 w 169"/>
                <a:gd name="T45" fmla="*/ 45 h 119"/>
                <a:gd name="T46" fmla="*/ 123 w 169"/>
                <a:gd name="T47" fmla="*/ 47 h 119"/>
                <a:gd name="T48" fmla="*/ 123 w 169"/>
                <a:gd name="T49" fmla="*/ 53 h 119"/>
                <a:gd name="T50" fmla="*/ 119 w 169"/>
                <a:gd name="T51" fmla="*/ 59 h 119"/>
                <a:gd name="T52" fmla="*/ 110 w 169"/>
                <a:gd name="T53" fmla="*/ 64 h 119"/>
                <a:gd name="T54" fmla="*/ 119 w 169"/>
                <a:gd name="T55" fmla="*/ 66 h 119"/>
                <a:gd name="T56" fmla="*/ 125 w 169"/>
                <a:gd name="T57" fmla="*/ 71 h 119"/>
                <a:gd name="T58" fmla="*/ 140 w 169"/>
                <a:gd name="T59" fmla="*/ 76 h 119"/>
                <a:gd name="T60" fmla="*/ 147 w 169"/>
                <a:gd name="T61" fmla="*/ 76 h 119"/>
                <a:gd name="T62" fmla="*/ 158 w 169"/>
                <a:gd name="T63" fmla="*/ 75 h 119"/>
                <a:gd name="T64" fmla="*/ 155 w 169"/>
                <a:gd name="T65" fmla="*/ 83 h 119"/>
                <a:gd name="T66" fmla="*/ 156 w 169"/>
                <a:gd name="T67" fmla="*/ 87 h 119"/>
                <a:gd name="T68" fmla="*/ 164 w 169"/>
                <a:gd name="T69" fmla="*/ 93 h 119"/>
                <a:gd name="T70" fmla="*/ 158 w 169"/>
                <a:gd name="T71" fmla="*/ 96 h 119"/>
                <a:gd name="T72" fmla="*/ 164 w 169"/>
                <a:gd name="T73" fmla="*/ 101 h 119"/>
                <a:gd name="T74" fmla="*/ 167 w 169"/>
                <a:gd name="T75" fmla="*/ 111 h 119"/>
                <a:gd name="T76" fmla="*/ 162 w 169"/>
                <a:gd name="T77" fmla="*/ 114 h 119"/>
                <a:gd name="T78" fmla="*/ 154 w 169"/>
                <a:gd name="T79" fmla="*/ 119 h 119"/>
                <a:gd name="T80" fmla="*/ 142 w 169"/>
                <a:gd name="T81" fmla="*/ 107 h 119"/>
                <a:gd name="T82" fmla="*/ 138 w 169"/>
                <a:gd name="T83" fmla="*/ 98 h 119"/>
                <a:gd name="T84" fmla="*/ 129 w 169"/>
                <a:gd name="T85" fmla="*/ 97 h 119"/>
                <a:gd name="T86" fmla="*/ 126 w 169"/>
                <a:gd name="T87" fmla="*/ 85 h 119"/>
                <a:gd name="T88" fmla="*/ 114 w 169"/>
                <a:gd name="T89" fmla="*/ 91 h 119"/>
                <a:gd name="T90" fmla="*/ 101 w 169"/>
                <a:gd name="T91" fmla="*/ 90 h 119"/>
                <a:gd name="T92" fmla="*/ 96 w 169"/>
                <a:gd name="T93" fmla="*/ 86 h 119"/>
                <a:gd name="T94" fmla="*/ 88 w 169"/>
                <a:gd name="T95" fmla="*/ 84 h 119"/>
                <a:gd name="T96" fmla="*/ 76 w 169"/>
                <a:gd name="T97" fmla="*/ 88 h 119"/>
                <a:gd name="T98" fmla="*/ 69 w 169"/>
                <a:gd name="T99" fmla="*/ 84 h 119"/>
                <a:gd name="T100" fmla="*/ 56 w 169"/>
                <a:gd name="T101" fmla="*/ 80 h 119"/>
                <a:gd name="T102" fmla="*/ 41 w 169"/>
                <a:gd name="T103" fmla="*/ 83 h 119"/>
                <a:gd name="T104" fmla="*/ 30 w 169"/>
                <a:gd name="T105" fmla="*/ 83 h 119"/>
                <a:gd name="T106" fmla="*/ 26 w 169"/>
                <a:gd name="T107" fmla="*/ 77 h 119"/>
                <a:gd name="T108" fmla="*/ 20 w 169"/>
                <a:gd name="T109" fmla="*/ 71 h 119"/>
                <a:gd name="T110" fmla="*/ 15 w 169"/>
                <a:gd name="T111" fmla="*/ 61 h 119"/>
                <a:gd name="T112" fmla="*/ 18 w 169"/>
                <a:gd name="T113" fmla="*/ 46 h 119"/>
                <a:gd name="T114" fmla="*/ 13 w 169"/>
                <a:gd name="T115" fmla="*/ 37 h 119"/>
                <a:gd name="T116" fmla="*/ 2 w 169"/>
                <a:gd name="T117" fmla="*/ 3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" h="119">
                  <a:moveTo>
                    <a:pt x="2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6" y="28"/>
                    <a:pt x="7" y="27"/>
                  </a:cubicBezTo>
                  <a:cubicBezTo>
                    <a:pt x="9" y="27"/>
                    <a:pt x="15" y="25"/>
                    <a:pt x="15" y="2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9" y="21"/>
                    <a:pt x="19" y="21"/>
                  </a:cubicBezTo>
                  <a:cubicBezTo>
                    <a:pt x="20" y="21"/>
                    <a:pt x="22" y="21"/>
                    <a:pt x="23" y="20"/>
                  </a:cubicBezTo>
                  <a:cubicBezTo>
                    <a:pt x="23" y="20"/>
                    <a:pt x="24" y="19"/>
                    <a:pt x="24" y="19"/>
                  </a:cubicBezTo>
                  <a:cubicBezTo>
                    <a:pt x="24" y="19"/>
                    <a:pt x="24" y="18"/>
                    <a:pt x="25" y="18"/>
                  </a:cubicBezTo>
                  <a:cubicBezTo>
                    <a:pt x="25" y="18"/>
                    <a:pt x="26" y="18"/>
                    <a:pt x="27" y="17"/>
                  </a:cubicBezTo>
                  <a:cubicBezTo>
                    <a:pt x="28" y="17"/>
                    <a:pt x="28" y="17"/>
                    <a:pt x="29" y="16"/>
                  </a:cubicBezTo>
                  <a:cubicBezTo>
                    <a:pt x="29" y="16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4" y="14"/>
                    <a:pt x="35" y="14"/>
                  </a:cubicBezTo>
                  <a:cubicBezTo>
                    <a:pt x="35" y="14"/>
                    <a:pt x="37" y="13"/>
                    <a:pt x="37" y="13"/>
                  </a:cubicBezTo>
                  <a:cubicBezTo>
                    <a:pt x="37" y="13"/>
                    <a:pt x="37" y="12"/>
                    <a:pt x="38" y="12"/>
                  </a:cubicBezTo>
                  <a:cubicBezTo>
                    <a:pt x="39" y="12"/>
                    <a:pt x="40" y="12"/>
                    <a:pt x="41" y="12"/>
                  </a:cubicBezTo>
                  <a:cubicBezTo>
                    <a:pt x="41" y="12"/>
                    <a:pt x="43" y="12"/>
                    <a:pt x="43" y="12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1"/>
                    <a:pt x="44" y="10"/>
                    <a:pt x="45" y="11"/>
                  </a:cubicBezTo>
                  <a:cubicBezTo>
                    <a:pt x="46" y="11"/>
                    <a:pt x="45" y="12"/>
                    <a:pt x="46" y="11"/>
                  </a:cubicBezTo>
                  <a:cubicBezTo>
                    <a:pt x="47" y="10"/>
                    <a:pt x="48" y="8"/>
                    <a:pt x="48" y="8"/>
                  </a:cubicBezTo>
                  <a:cubicBezTo>
                    <a:pt x="48" y="8"/>
                    <a:pt x="47" y="8"/>
                    <a:pt x="49" y="8"/>
                  </a:cubicBezTo>
                  <a:cubicBezTo>
                    <a:pt x="51" y="8"/>
                    <a:pt x="51" y="8"/>
                    <a:pt x="53" y="8"/>
                  </a:cubicBezTo>
                  <a:cubicBezTo>
                    <a:pt x="54" y="8"/>
                    <a:pt x="56" y="7"/>
                    <a:pt x="56" y="7"/>
                  </a:cubicBezTo>
                  <a:cubicBezTo>
                    <a:pt x="57" y="7"/>
                    <a:pt x="58" y="6"/>
                    <a:pt x="58" y="6"/>
                  </a:cubicBezTo>
                  <a:cubicBezTo>
                    <a:pt x="58" y="5"/>
                    <a:pt x="54" y="3"/>
                    <a:pt x="54" y="3"/>
                  </a:cubicBezTo>
                  <a:cubicBezTo>
                    <a:pt x="54" y="3"/>
                    <a:pt x="52" y="2"/>
                    <a:pt x="55" y="2"/>
                  </a:cubicBezTo>
                  <a:cubicBezTo>
                    <a:pt x="58" y="3"/>
                    <a:pt x="59" y="3"/>
                    <a:pt x="59" y="3"/>
                  </a:cubicBezTo>
                  <a:cubicBezTo>
                    <a:pt x="60" y="3"/>
                    <a:pt x="60" y="2"/>
                    <a:pt x="61" y="2"/>
                  </a:cubicBezTo>
                  <a:cubicBezTo>
                    <a:pt x="62" y="1"/>
                    <a:pt x="63" y="0"/>
                    <a:pt x="63" y="0"/>
                  </a:cubicBezTo>
                  <a:cubicBezTo>
                    <a:pt x="64" y="0"/>
                    <a:pt x="66" y="2"/>
                    <a:pt x="66" y="2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70" y="3"/>
                    <a:pt x="71" y="4"/>
                  </a:cubicBezTo>
                  <a:cubicBezTo>
                    <a:pt x="72" y="4"/>
                    <a:pt x="74" y="6"/>
                    <a:pt x="74" y="6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9"/>
                    <a:pt x="69" y="11"/>
                    <a:pt x="70" y="11"/>
                  </a:cubicBezTo>
                  <a:cubicBezTo>
                    <a:pt x="70" y="11"/>
                    <a:pt x="71" y="12"/>
                    <a:pt x="72" y="11"/>
                  </a:cubicBezTo>
                  <a:cubicBezTo>
                    <a:pt x="73" y="11"/>
                    <a:pt x="73" y="10"/>
                    <a:pt x="73" y="10"/>
                  </a:cubicBezTo>
                  <a:cubicBezTo>
                    <a:pt x="73" y="10"/>
                    <a:pt x="76" y="10"/>
                    <a:pt x="76" y="11"/>
                  </a:cubicBezTo>
                  <a:cubicBezTo>
                    <a:pt x="76" y="11"/>
                    <a:pt x="78" y="12"/>
                    <a:pt x="78" y="12"/>
                  </a:cubicBezTo>
                  <a:cubicBezTo>
                    <a:pt x="79" y="11"/>
                    <a:pt x="80" y="11"/>
                    <a:pt x="81" y="11"/>
                  </a:cubicBezTo>
                  <a:cubicBezTo>
                    <a:pt x="81" y="11"/>
                    <a:pt x="82" y="12"/>
                    <a:pt x="83" y="12"/>
                  </a:cubicBezTo>
                  <a:cubicBezTo>
                    <a:pt x="84" y="12"/>
                    <a:pt x="85" y="10"/>
                    <a:pt x="85" y="10"/>
                  </a:cubicBezTo>
                  <a:cubicBezTo>
                    <a:pt x="85" y="10"/>
                    <a:pt x="86" y="10"/>
                    <a:pt x="86" y="11"/>
                  </a:cubicBezTo>
                  <a:cubicBezTo>
                    <a:pt x="87" y="11"/>
                    <a:pt x="86" y="11"/>
                    <a:pt x="87" y="12"/>
                  </a:cubicBezTo>
                  <a:cubicBezTo>
                    <a:pt x="87" y="13"/>
                    <a:pt x="87" y="13"/>
                    <a:pt x="88" y="13"/>
                  </a:cubicBezTo>
                  <a:cubicBezTo>
                    <a:pt x="89" y="14"/>
                    <a:pt x="91" y="14"/>
                    <a:pt x="91" y="15"/>
                  </a:cubicBezTo>
                  <a:cubicBezTo>
                    <a:pt x="91" y="15"/>
                    <a:pt x="92" y="17"/>
                    <a:pt x="93" y="17"/>
                  </a:cubicBezTo>
                  <a:cubicBezTo>
                    <a:pt x="94" y="16"/>
                    <a:pt x="94" y="16"/>
                    <a:pt x="95" y="16"/>
                  </a:cubicBezTo>
                  <a:cubicBezTo>
                    <a:pt x="96" y="17"/>
                    <a:pt x="98" y="16"/>
                    <a:pt x="98" y="17"/>
                  </a:cubicBezTo>
                  <a:cubicBezTo>
                    <a:pt x="97" y="18"/>
                    <a:pt x="97" y="19"/>
                    <a:pt x="97" y="20"/>
                  </a:cubicBezTo>
                  <a:cubicBezTo>
                    <a:pt x="97" y="20"/>
                    <a:pt x="96" y="21"/>
                    <a:pt x="95" y="21"/>
                  </a:cubicBezTo>
                  <a:cubicBezTo>
                    <a:pt x="94" y="21"/>
                    <a:pt x="93" y="22"/>
                    <a:pt x="93" y="22"/>
                  </a:cubicBezTo>
                  <a:cubicBezTo>
                    <a:pt x="93" y="23"/>
                    <a:pt x="92" y="24"/>
                    <a:pt x="92" y="25"/>
                  </a:cubicBezTo>
                  <a:cubicBezTo>
                    <a:pt x="91" y="26"/>
                    <a:pt x="91" y="27"/>
                    <a:pt x="91" y="27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9"/>
                    <a:pt x="93" y="33"/>
                    <a:pt x="93" y="33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4" y="41"/>
                    <a:pt x="106" y="41"/>
                  </a:cubicBezTo>
                  <a:cubicBezTo>
                    <a:pt x="108" y="42"/>
                    <a:pt x="110" y="42"/>
                    <a:pt x="110" y="42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5" y="45"/>
                    <a:pt x="116" y="45"/>
                  </a:cubicBezTo>
                  <a:cubicBezTo>
                    <a:pt x="116" y="46"/>
                    <a:pt x="119" y="46"/>
                    <a:pt x="119" y="46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6"/>
                    <a:pt x="122" y="45"/>
                    <a:pt x="123" y="47"/>
                  </a:cubicBezTo>
                  <a:cubicBezTo>
                    <a:pt x="123" y="48"/>
                    <a:pt x="124" y="50"/>
                    <a:pt x="124" y="50"/>
                  </a:cubicBezTo>
                  <a:cubicBezTo>
                    <a:pt x="124" y="50"/>
                    <a:pt x="124" y="51"/>
                    <a:pt x="124" y="52"/>
                  </a:cubicBezTo>
                  <a:cubicBezTo>
                    <a:pt x="123" y="52"/>
                    <a:pt x="123" y="52"/>
                    <a:pt x="123" y="53"/>
                  </a:cubicBezTo>
                  <a:cubicBezTo>
                    <a:pt x="123" y="53"/>
                    <a:pt x="123" y="57"/>
                    <a:pt x="123" y="57"/>
                  </a:cubicBezTo>
                  <a:cubicBezTo>
                    <a:pt x="123" y="57"/>
                    <a:pt x="123" y="58"/>
                    <a:pt x="122" y="58"/>
                  </a:cubicBezTo>
                  <a:cubicBezTo>
                    <a:pt x="120" y="59"/>
                    <a:pt x="120" y="59"/>
                    <a:pt x="119" y="59"/>
                  </a:cubicBezTo>
                  <a:cubicBezTo>
                    <a:pt x="117" y="59"/>
                    <a:pt x="114" y="60"/>
                    <a:pt x="113" y="61"/>
                  </a:cubicBezTo>
                  <a:cubicBezTo>
                    <a:pt x="113" y="61"/>
                    <a:pt x="111" y="61"/>
                    <a:pt x="111" y="61"/>
                  </a:cubicBezTo>
                  <a:cubicBezTo>
                    <a:pt x="111" y="62"/>
                    <a:pt x="110" y="64"/>
                    <a:pt x="110" y="64"/>
                  </a:cubicBezTo>
                  <a:cubicBezTo>
                    <a:pt x="110" y="64"/>
                    <a:pt x="110" y="66"/>
                    <a:pt x="112" y="66"/>
                  </a:cubicBezTo>
                  <a:cubicBezTo>
                    <a:pt x="115" y="66"/>
                    <a:pt x="115" y="66"/>
                    <a:pt x="116" y="66"/>
                  </a:cubicBezTo>
                  <a:cubicBezTo>
                    <a:pt x="117" y="66"/>
                    <a:pt x="117" y="65"/>
                    <a:pt x="119" y="66"/>
                  </a:cubicBezTo>
                  <a:cubicBezTo>
                    <a:pt x="120" y="66"/>
                    <a:pt x="121" y="68"/>
                    <a:pt x="121" y="68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31" y="71"/>
                    <a:pt x="131" y="71"/>
                    <a:pt x="131" y="71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0" y="76"/>
                    <a:pt x="140" y="79"/>
                    <a:pt x="141" y="79"/>
                  </a:cubicBezTo>
                  <a:cubicBezTo>
                    <a:pt x="143" y="79"/>
                    <a:pt x="144" y="78"/>
                    <a:pt x="144" y="78"/>
                  </a:cubicBezTo>
                  <a:cubicBezTo>
                    <a:pt x="144" y="78"/>
                    <a:pt x="146" y="76"/>
                    <a:pt x="147" y="76"/>
                  </a:cubicBezTo>
                  <a:cubicBezTo>
                    <a:pt x="149" y="75"/>
                    <a:pt x="148" y="74"/>
                    <a:pt x="150" y="75"/>
                  </a:cubicBezTo>
                  <a:cubicBezTo>
                    <a:pt x="152" y="77"/>
                    <a:pt x="156" y="75"/>
                    <a:pt x="156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3"/>
                    <a:pt x="155" y="83"/>
                    <a:pt x="155" y="83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4" y="84"/>
                    <a:pt x="154" y="85"/>
                    <a:pt x="154" y="86"/>
                  </a:cubicBezTo>
                  <a:cubicBezTo>
                    <a:pt x="155" y="86"/>
                    <a:pt x="156" y="87"/>
                    <a:pt x="156" y="87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3" y="90"/>
                    <a:pt x="163" y="90"/>
                    <a:pt x="163" y="90"/>
                  </a:cubicBezTo>
                  <a:cubicBezTo>
                    <a:pt x="163" y="90"/>
                    <a:pt x="163" y="93"/>
                    <a:pt x="164" y="93"/>
                  </a:cubicBezTo>
                  <a:cubicBezTo>
                    <a:pt x="165" y="93"/>
                    <a:pt x="167" y="94"/>
                    <a:pt x="167" y="94"/>
                  </a:cubicBezTo>
                  <a:cubicBezTo>
                    <a:pt x="167" y="94"/>
                    <a:pt x="163" y="97"/>
                    <a:pt x="162" y="97"/>
                  </a:cubicBezTo>
                  <a:cubicBezTo>
                    <a:pt x="161" y="97"/>
                    <a:pt x="158" y="96"/>
                    <a:pt x="158" y="9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63" y="100"/>
                    <a:pt x="163" y="100"/>
                    <a:pt x="163" y="100"/>
                  </a:cubicBezTo>
                  <a:cubicBezTo>
                    <a:pt x="163" y="100"/>
                    <a:pt x="163" y="100"/>
                    <a:pt x="164" y="101"/>
                  </a:cubicBezTo>
                  <a:cubicBezTo>
                    <a:pt x="164" y="102"/>
                    <a:pt x="165" y="103"/>
                    <a:pt x="165" y="103"/>
                  </a:cubicBezTo>
                  <a:cubicBezTo>
                    <a:pt x="165" y="103"/>
                    <a:pt x="169" y="102"/>
                    <a:pt x="169" y="106"/>
                  </a:cubicBezTo>
                  <a:cubicBezTo>
                    <a:pt x="168" y="107"/>
                    <a:pt x="167" y="110"/>
                    <a:pt x="167" y="111"/>
                  </a:cubicBezTo>
                  <a:cubicBezTo>
                    <a:pt x="168" y="111"/>
                    <a:pt x="168" y="112"/>
                    <a:pt x="168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58" y="116"/>
                    <a:pt x="158" y="116"/>
                    <a:pt x="158" y="116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4" y="119"/>
                    <a:pt x="154" y="119"/>
                    <a:pt x="154" y="119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7" y="98"/>
                    <a:pt x="135" y="98"/>
                  </a:cubicBezTo>
                  <a:cubicBezTo>
                    <a:pt x="134" y="98"/>
                    <a:pt x="131" y="97"/>
                    <a:pt x="131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9" y="92"/>
                    <a:pt x="128" y="88"/>
                    <a:pt x="127" y="88"/>
                  </a:cubicBezTo>
                  <a:cubicBezTo>
                    <a:pt x="127" y="87"/>
                    <a:pt x="126" y="85"/>
                    <a:pt x="126" y="85"/>
                  </a:cubicBezTo>
                  <a:cubicBezTo>
                    <a:pt x="126" y="85"/>
                    <a:pt x="123" y="86"/>
                    <a:pt x="121" y="86"/>
                  </a:cubicBezTo>
                  <a:cubicBezTo>
                    <a:pt x="120" y="87"/>
                    <a:pt x="118" y="88"/>
                    <a:pt x="117" y="89"/>
                  </a:cubicBezTo>
                  <a:cubicBezTo>
                    <a:pt x="116" y="90"/>
                    <a:pt x="114" y="91"/>
                    <a:pt x="114" y="9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8" y="92"/>
                    <a:pt x="97" y="91"/>
                  </a:cubicBezTo>
                  <a:cubicBezTo>
                    <a:pt x="97" y="89"/>
                    <a:pt x="96" y="86"/>
                    <a:pt x="96" y="86"/>
                  </a:cubicBezTo>
                  <a:cubicBezTo>
                    <a:pt x="96" y="86"/>
                    <a:pt x="95" y="85"/>
                    <a:pt x="94" y="85"/>
                  </a:cubicBezTo>
                  <a:cubicBezTo>
                    <a:pt x="93" y="85"/>
                    <a:pt x="91" y="84"/>
                    <a:pt x="91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80" y="90"/>
                    <a:pt x="80" y="90"/>
                    <a:pt x="80" y="90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5" y="86"/>
                    <a:pt x="74" y="87"/>
                  </a:cubicBezTo>
                  <a:cubicBezTo>
                    <a:pt x="73" y="87"/>
                    <a:pt x="70" y="86"/>
                    <a:pt x="70" y="86"/>
                  </a:cubicBezTo>
                  <a:cubicBezTo>
                    <a:pt x="70" y="86"/>
                    <a:pt x="69" y="85"/>
                    <a:pt x="69" y="84"/>
                  </a:cubicBezTo>
                  <a:cubicBezTo>
                    <a:pt x="69" y="83"/>
                    <a:pt x="66" y="81"/>
                    <a:pt x="66" y="81"/>
                  </a:cubicBezTo>
                  <a:cubicBezTo>
                    <a:pt x="66" y="81"/>
                    <a:pt x="62" y="79"/>
                    <a:pt x="61" y="79"/>
                  </a:cubicBezTo>
                  <a:cubicBezTo>
                    <a:pt x="60" y="80"/>
                    <a:pt x="57" y="80"/>
                    <a:pt x="56" y="80"/>
                  </a:cubicBezTo>
                  <a:cubicBezTo>
                    <a:pt x="54" y="80"/>
                    <a:pt x="49" y="79"/>
                    <a:pt x="49" y="79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2"/>
                    <a:pt x="43" y="82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4" y="83"/>
                    <a:pt x="33" y="83"/>
                  </a:cubicBezTo>
                  <a:cubicBezTo>
                    <a:pt x="32" y="83"/>
                    <a:pt x="32" y="83"/>
                    <a:pt x="30" y="83"/>
                  </a:cubicBezTo>
                  <a:cubicBezTo>
                    <a:pt x="28" y="83"/>
                    <a:pt x="23" y="83"/>
                    <a:pt x="23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7" y="78"/>
                    <a:pt x="26" y="77"/>
                  </a:cubicBezTo>
                  <a:cubicBezTo>
                    <a:pt x="25" y="76"/>
                    <a:pt x="25" y="75"/>
                    <a:pt x="24" y="75"/>
                  </a:cubicBezTo>
                  <a:cubicBezTo>
                    <a:pt x="23" y="74"/>
                    <a:pt x="20" y="72"/>
                    <a:pt x="20" y="72"/>
                  </a:cubicBezTo>
                  <a:cubicBezTo>
                    <a:pt x="20" y="72"/>
                    <a:pt x="20" y="72"/>
                    <a:pt x="20" y="71"/>
                  </a:cubicBezTo>
                  <a:cubicBezTo>
                    <a:pt x="19" y="70"/>
                    <a:pt x="18" y="67"/>
                    <a:pt x="18" y="67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4" y="63"/>
                    <a:pt x="15" y="61"/>
                  </a:cubicBezTo>
                  <a:cubicBezTo>
                    <a:pt x="16" y="59"/>
                    <a:pt x="18" y="54"/>
                    <a:pt x="18" y="54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5" y="43"/>
                    <a:pt x="14" y="41"/>
                  </a:cubicBezTo>
                  <a:cubicBezTo>
                    <a:pt x="14" y="38"/>
                    <a:pt x="14" y="38"/>
                    <a:pt x="13" y="37"/>
                  </a:cubicBezTo>
                  <a:cubicBezTo>
                    <a:pt x="12" y="35"/>
                    <a:pt x="8" y="34"/>
                    <a:pt x="8" y="34"/>
                  </a:cubicBezTo>
                  <a:cubicBezTo>
                    <a:pt x="3" y="34"/>
                    <a:pt x="3" y="34"/>
                    <a:pt x="3" y="34"/>
                  </a:cubicBezTo>
                  <a:lnTo>
                    <a:pt x="2" y="33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1" name="Freeform 219"/>
            <p:cNvSpPr>
              <a:spLocks/>
            </p:cNvSpPr>
            <p:nvPr/>
          </p:nvSpPr>
          <p:spPr bwMode="auto">
            <a:xfrm>
              <a:off x="5550394" y="2957026"/>
              <a:ext cx="547516" cy="376093"/>
            </a:xfrm>
            <a:custGeom>
              <a:avLst/>
              <a:gdLst>
                <a:gd name="T0" fmla="*/ 28 w 240"/>
                <a:gd name="T1" fmla="*/ 61 h 170"/>
                <a:gd name="T2" fmla="*/ 31 w 240"/>
                <a:gd name="T3" fmla="*/ 54 h 170"/>
                <a:gd name="T4" fmla="*/ 44 w 240"/>
                <a:gd name="T5" fmla="*/ 55 h 170"/>
                <a:gd name="T6" fmla="*/ 64 w 240"/>
                <a:gd name="T7" fmla="*/ 59 h 170"/>
                <a:gd name="T8" fmla="*/ 96 w 240"/>
                <a:gd name="T9" fmla="*/ 52 h 170"/>
                <a:gd name="T10" fmla="*/ 95 w 240"/>
                <a:gd name="T11" fmla="*/ 41 h 170"/>
                <a:gd name="T12" fmla="*/ 115 w 240"/>
                <a:gd name="T13" fmla="*/ 36 h 170"/>
                <a:gd name="T14" fmla="*/ 127 w 240"/>
                <a:gd name="T15" fmla="*/ 30 h 170"/>
                <a:gd name="T16" fmla="*/ 139 w 240"/>
                <a:gd name="T17" fmla="*/ 24 h 170"/>
                <a:gd name="T18" fmla="*/ 148 w 240"/>
                <a:gd name="T19" fmla="*/ 9 h 170"/>
                <a:gd name="T20" fmla="*/ 168 w 240"/>
                <a:gd name="T21" fmla="*/ 5 h 170"/>
                <a:gd name="T22" fmla="*/ 186 w 240"/>
                <a:gd name="T23" fmla="*/ 1 h 170"/>
                <a:gd name="T24" fmla="*/ 207 w 240"/>
                <a:gd name="T25" fmla="*/ 6 h 170"/>
                <a:gd name="T26" fmla="*/ 218 w 240"/>
                <a:gd name="T27" fmla="*/ 11 h 170"/>
                <a:gd name="T28" fmla="*/ 229 w 240"/>
                <a:gd name="T29" fmla="*/ 17 h 170"/>
                <a:gd name="T30" fmla="*/ 238 w 240"/>
                <a:gd name="T31" fmla="*/ 23 h 170"/>
                <a:gd name="T32" fmla="*/ 234 w 240"/>
                <a:gd name="T33" fmla="*/ 33 h 170"/>
                <a:gd name="T34" fmla="*/ 224 w 240"/>
                <a:gd name="T35" fmla="*/ 39 h 170"/>
                <a:gd name="T36" fmla="*/ 217 w 240"/>
                <a:gd name="T37" fmla="*/ 48 h 170"/>
                <a:gd name="T38" fmla="*/ 213 w 240"/>
                <a:gd name="T39" fmla="*/ 62 h 170"/>
                <a:gd name="T40" fmla="*/ 206 w 240"/>
                <a:gd name="T41" fmla="*/ 75 h 170"/>
                <a:gd name="T42" fmla="*/ 201 w 240"/>
                <a:gd name="T43" fmla="*/ 90 h 170"/>
                <a:gd name="T44" fmla="*/ 199 w 240"/>
                <a:gd name="T45" fmla="*/ 106 h 170"/>
                <a:gd name="T46" fmla="*/ 196 w 240"/>
                <a:gd name="T47" fmla="*/ 117 h 170"/>
                <a:gd name="T48" fmla="*/ 192 w 240"/>
                <a:gd name="T49" fmla="*/ 126 h 170"/>
                <a:gd name="T50" fmla="*/ 177 w 240"/>
                <a:gd name="T51" fmla="*/ 135 h 170"/>
                <a:gd name="T52" fmla="*/ 168 w 240"/>
                <a:gd name="T53" fmla="*/ 139 h 170"/>
                <a:gd name="T54" fmla="*/ 153 w 240"/>
                <a:gd name="T55" fmla="*/ 139 h 170"/>
                <a:gd name="T56" fmla="*/ 139 w 240"/>
                <a:gd name="T57" fmla="*/ 141 h 170"/>
                <a:gd name="T58" fmla="*/ 130 w 240"/>
                <a:gd name="T59" fmla="*/ 144 h 170"/>
                <a:gd name="T60" fmla="*/ 123 w 240"/>
                <a:gd name="T61" fmla="*/ 152 h 170"/>
                <a:gd name="T62" fmla="*/ 115 w 240"/>
                <a:gd name="T63" fmla="*/ 152 h 170"/>
                <a:gd name="T64" fmla="*/ 105 w 240"/>
                <a:gd name="T65" fmla="*/ 159 h 170"/>
                <a:gd name="T66" fmla="*/ 94 w 240"/>
                <a:gd name="T67" fmla="*/ 167 h 170"/>
                <a:gd name="T68" fmla="*/ 80 w 240"/>
                <a:gd name="T69" fmla="*/ 170 h 170"/>
                <a:gd name="T70" fmla="*/ 64 w 240"/>
                <a:gd name="T71" fmla="*/ 168 h 170"/>
                <a:gd name="T72" fmla="*/ 55 w 240"/>
                <a:gd name="T73" fmla="*/ 162 h 170"/>
                <a:gd name="T74" fmla="*/ 42 w 240"/>
                <a:gd name="T75" fmla="*/ 152 h 170"/>
                <a:gd name="T76" fmla="*/ 26 w 240"/>
                <a:gd name="T77" fmla="*/ 143 h 170"/>
                <a:gd name="T78" fmla="*/ 16 w 240"/>
                <a:gd name="T79" fmla="*/ 135 h 170"/>
                <a:gd name="T80" fmla="*/ 7 w 240"/>
                <a:gd name="T81" fmla="*/ 121 h 170"/>
                <a:gd name="T82" fmla="*/ 0 w 240"/>
                <a:gd name="T83" fmla="*/ 117 h 170"/>
                <a:gd name="T84" fmla="*/ 3 w 240"/>
                <a:gd name="T85" fmla="*/ 109 h 170"/>
                <a:gd name="T86" fmla="*/ 8 w 240"/>
                <a:gd name="T87" fmla="*/ 97 h 170"/>
                <a:gd name="T88" fmla="*/ 7 w 240"/>
                <a:gd name="T89" fmla="*/ 88 h 170"/>
                <a:gd name="T90" fmla="*/ 12 w 240"/>
                <a:gd name="T91" fmla="*/ 74 h 170"/>
                <a:gd name="T92" fmla="*/ 8 w 240"/>
                <a:gd name="T93" fmla="*/ 69 h 170"/>
                <a:gd name="T94" fmla="*/ 20 w 240"/>
                <a:gd name="T95" fmla="*/ 70 h 170"/>
                <a:gd name="T96" fmla="*/ 27 w 240"/>
                <a:gd name="T97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0" h="170">
                  <a:moveTo>
                    <a:pt x="28" y="61"/>
                  </a:move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90" y="57"/>
                    <a:pt x="91" y="56"/>
                  </a:cubicBezTo>
                  <a:cubicBezTo>
                    <a:pt x="92" y="55"/>
                    <a:pt x="98" y="54"/>
                    <a:pt x="96" y="52"/>
                  </a:cubicBezTo>
                  <a:cubicBezTo>
                    <a:pt x="94" y="51"/>
                    <a:pt x="90" y="48"/>
                    <a:pt x="90" y="48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94" y="9"/>
                    <a:pt x="194" y="9"/>
                    <a:pt x="194" y="9"/>
                  </a:cubicBezTo>
                  <a:cubicBezTo>
                    <a:pt x="202" y="9"/>
                    <a:pt x="202" y="9"/>
                    <a:pt x="202" y="9"/>
                  </a:cubicBezTo>
                  <a:cubicBezTo>
                    <a:pt x="207" y="6"/>
                    <a:pt x="207" y="6"/>
                    <a:pt x="207" y="6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23" y="10"/>
                    <a:pt x="223" y="10"/>
                    <a:pt x="223" y="10"/>
                  </a:cubicBezTo>
                  <a:cubicBezTo>
                    <a:pt x="226" y="14"/>
                    <a:pt x="226" y="14"/>
                    <a:pt x="226" y="14"/>
                  </a:cubicBezTo>
                  <a:cubicBezTo>
                    <a:pt x="229" y="17"/>
                    <a:pt x="229" y="17"/>
                    <a:pt x="229" y="17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38" y="23"/>
                    <a:pt x="238" y="23"/>
                    <a:pt x="238" y="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37" y="31"/>
                    <a:pt x="237" y="31"/>
                    <a:pt x="237" y="31"/>
                  </a:cubicBezTo>
                  <a:cubicBezTo>
                    <a:pt x="237" y="31"/>
                    <a:pt x="236" y="33"/>
                    <a:pt x="234" y="33"/>
                  </a:cubicBezTo>
                  <a:cubicBezTo>
                    <a:pt x="233" y="34"/>
                    <a:pt x="231" y="35"/>
                    <a:pt x="231" y="35"/>
                  </a:cubicBezTo>
                  <a:cubicBezTo>
                    <a:pt x="228" y="38"/>
                    <a:pt x="228" y="38"/>
                    <a:pt x="228" y="38"/>
                  </a:cubicBezTo>
                  <a:cubicBezTo>
                    <a:pt x="224" y="39"/>
                    <a:pt x="224" y="39"/>
                    <a:pt x="224" y="39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7" y="48"/>
                    <a:pt x="217" y="48"/>
                    <a:pt x="217" y="48"/>
                  </a:cubicBezTo>
                  <a:cubicBezTo>
                    <a:pt x="214" y="51"/>
                    <a:pt x="214" y="51"/>
                    <a:pt x="214" y="51"/>
                  </a:cubicBezTo>
                  <a:cubicBezTo>
                    <a:pt x="213" y="56"/>
                    <a:pt x="213" y="56"/>
                    <a:pt x="213" y="56"/>
                  </a:cubicBezTo>
                  <a:cubicBezTo>
                    <a:pt x="213" y="56"/>
                    <a:pt x="215" y="61"/>
                    <a:pt x="213" y="62"/>
                  </a:cubicBezTo>
                  <a:cubicBezTo>
                    <a:pt x="212" y="62"/>
                    <a:pt x="211" y="63"/>
                    <a:pt x="211" y="63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5" y="83"/>
                    <a:pt x="205" y="83"/>
                    <a:pt x="205" y="83"/>
                  </a:cubicBezTo>
                  <a:cubicBezTo>
                    <a:pt x="205" y="83"/>
                    <a:pt x="207" y="87"/>
                    <a:pt x="204" y="87"/>
                  </a:cubicBezTo>
                  <a:cubicBezTo>
                    <a:pt x="202" y="88"/>
                    <a:pt x="201" y="90"/>
                    <a:pt x="201" y="90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198" y="102"/>
                    <a:pt x="198" y="102"/>
                    <a:pt x="198" y="102"/>
                  </a:cubicBezTo>
                  <a:cubicBezTo>
                    <a:pt x="199" y="106"/>
                    <a:pt x="199" y="106"/>
                    <a:pt x="199" y="106"/>
                  </a:cubicBezTo>
                  <a:cubicBezTo>
                    <a:pt x="197" y="109"/>
                    <a:pt x="197" y="109"/>
                    <a:pt x="197" y="109"/>
                  </a:cubicBezTo>
                  <a:cubicBezTo>
                    <a:pt x="198" y="114"/>
                    <a:pt x="198" y="114"/>
                    <a:pt x="198" y="114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195" y="118"/>
                    <a:pt x="195" y="118"/>
                    <a:pt x="195" y="118"/>
                  </a:cubicBezTo>
                  <a:cubicBezTo>
                    <a:pt x="194" y="121"/>
                    <a:pt x="194" y="121"/>
                    <a:pt x="194" y="121"/>
                  </a:cubicBezTo>
                  <a:cubicBezTo>
                    <a:pt x="192" y="126"/>
                    <a:pt x="192" y="126"/>
                    <a:pt x="192" y="12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135"/>
                    <a:pt x="178" y="135"/>
                    <a:pt x="176" y="137"/>
                  </a:cubicBezTo>
                  <a:cubicBezTo>
                    <a:pt x="174" y="138"/>
                    <a:pt x="170" y="139"/>
                    <a:pt x="170" y="139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61" y="139"/>
                    <a:pt x="161" y="139"/>
                    <a:pt x="161" y="139"/>
                  </a:cubicBezTo>
                  <a:cubicBezTo>
                    <a:pt x="161" y="139"/>
                    <a:pt x="160" y="138"/>
                    <a:pt x="159" y="139"/>
                  </a:cubicBezTo>
                  <a:cubicBezTo>
                    <a:pt x="158" y="139"/>
                    <a:pt x="153" y="139"/>
                    <a:pt x="153" y="139"/>
                  </a:cubicBezTo>
                  <a:cubicBezTo>
                    <a:pt x="153" y="139"/>
                    <a:pt x="151" y="138"/>
                    <a:pt x="150" y="138"/>
                  </a:cubicBezTo>
                  <a:cubicBezTo>
                    <a:pt x="149" y="138"/>
                    <a:pt x="143" y="139"/>
                    <a:pt x="143" y="139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39" y="141"/>
                    <a:pt x="138" y="139"/>
                    <a:pt x="137" y="140"/>
                  </a:cubicBezTo>
                  <a:cubicBezTo>
                    <a:pt x="135" y="140"/>
                    <a:pt x="130" y="142"/>
                    <a:pt x="130" y="142"/>
                  </a:cubicBezTo>
                  <a:cubicBezTo>
                    <a:pt x="130" y="142"/>
                    <a:pt x="132" y="144"/>
                    <a:pt x="130" y="144"/>
                  </a:cubicBezTo>
                  <a:cubicBezTo>
                    <a:pt x="129" y="144"/>
                    <a:pt x="126" y="148"/>
                    <a:pt x="126" y="148"/>
                  </a:cubicBezTo>
                  <a:cubicBezTo>
                    <a:pt x="124" y="149"/>
                    <a:pt x="124" y="149"/>
                    <a:pt x="124" y="149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3" y="152"/>
                    <a:pt x="122" y="152"/>
                    <a:pt x="120" y="152"/>
                  </a:cubicBezTo>
                  <a:cubicBezTo>
                    <a:pt x="119" y="152"/>
                    <a:pt x="116" y="153"/>
                    <a:pt x="116" y="153"/>
                  </a:cubicBezTo>
                  <a:cubicBezTo>
                    <a:pt x="115" y="152"/>
                    <a:pt x="115" y="152"/>
                    <a:pt x="115" y="152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0" y="165"/>
                    <a:pt x="100" y="166"/>
                  </a:cubicBezTo>
                  <a:cubicBezTo>
                    <a:pt x="99" y="167"/>
                    <a:pt x="94" y="167"/>
                    <a:pt x="94" y="167"/>
                  </a:cubicBezTo>
                  <a:cubicBezTo>
                    <a:pt x="90" y="167"/>
                    <a:pt x="90" y="167"/>
                    <a:pt x="90" y="167"/>
                  </a:cubicBezTo>
                  <a:cubicBezTo>
                    <a:pt x="83" y="169"/>
                    <a:pt x="83" y="169"/>
                    <a:pt x="83" y="169"/>
                  </a:cubicBezTo>
                  <a:cubicBezTo>
                    <a:pt x="83" y="169"/>
                    <a:pt x="81" y="170"/>
                    <a:pt x="80" y="170"/>
                  </a:cubicBezTo>
                  <a:cubicBezTo>
                    <a:pt x="79" y="170"/>
                    <a:pt x="74" y="169"/>
                    <a:pt x="74" y="169"/>
                  </a:cubicBezTo>
                  <a:cubicBezTo>
                    <a:pt x="71" y="170"/>
                    <a:pt x="71" y="170"/>
                    <a:pt x="71" y="170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2" y="165"/>
                    <a:pt x="62" y="165"/>
                    <a:pt x="62" y="165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2" y="152"/>
                    <a:pt x="42" y="152"/>
                    <a:pt x="42" y="152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7" y="88"/>
                  </a:cubicBezTo>
                  <a:cubicBezTo>
                    <a:pt x="8" y="88"/>
                    <a:pt x="11" y="86"/>
                    <a:pt x="11" y="86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70"/>
                    <a:pt x="21" y="71"/>
                    <a:pt x="20" y="70"/>
                  </a:cubicBezTo>
                  <a:cubicBezTo>
                    <a:pt x="20" y="67"/>
                    <a:pt x="21" y="69"/>
                    <a:pt x="21" y="69"/>
                  </a:cubicBezTo>
                  <a:cubicBezTo>
                    <a:pt x="22" y="71"/>
                    <a:pt x="25" y="69"/>
                    <a:pt x="27" y="69"/>
                  </a:cubicBezTo>
                  <a:cubicBezTo>
                    <a:pt x="30" y="68"/>
                    <a:pt x="28" y="66"/>
                    <a:pt x="27" y="64"/>
                  </a:cubicBezTo>
                  <a:cubicBezTo>
                    <a:pt x="27" y="63"/>
                    <a:pt x="27" y="62"/>
                    <a:pt x="28" y="61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5991266" y="1973645"/>
              <a:ext cx="656360" cy="596634"/>
            </a:xfrm>
            <a:custGeom>
              <a:avLst/>
              <a:gdLst>
                <a:gd name="T0" fmla="*/ 83 w 288"/>
                <a:gd name="T1" fmla="*/ 55 h 270"/>
                <a:gd name="T2" fmla="*/ 75 w 288"/>
                <a:gd name="T3" fmla="*/ 45 h 270"/>
                <a:gd name="T4" fmla="*/ 82 w 288"/>
                <a:gd name="T5" fmla="*/ 27 h 270"/>
                <a:gd name="T6" fmla="*/ 101 w 288"/>
                <a:gd name="T7" fmla="*/ 24 h 270"/>
                <a:gd name="T8" fmla="*/ 107 w 288"/>
                <a:gd name="T9" fmla="*/ 4 h 270"/>
                <a:gd name="T10" fmla="*/ 121 w 288"/>
                <a:gd name="T11" fmla="*/ 2 h 270"/>
                <a:gd name="T12" fmla="*/ 136 w 288"/>
                <a:gd name="T13" fmla="*/ 5 h 270"/>
                <a:gd name="T14" fmla="*/ 153 w 288"/>
                <a:gd name="T15" fmla="*/ 7 h 270"/>
                <a:gd name="T16" fmla="*/ 166 w 288"/>
                <a:gd name="T17" fmla="*/ 4 h 270"/>
                <a:gd name="T18" fmla="*/ 189 w 288"/>
                <a:gd name="T19" fmla="*/ 5 h 270"/>
                <a:gd name="T20" fmla="*/ 200 w 288"/>
                <a:gd name="T21" fmla="*/ 6 h 270"/>
                <a:gd name="T22" fmla="*/ 202 w 288"/>
                <a:gd name="T23" fmla="*/ 24 h 270"/>
                <a:gd name="T24" fmla="*/ 210 w 288"/>
                <a:gd name="T25" fmla="*/ 39 h 270"/>
                <a:gd name="T26" fmla="*/ 222 w 288"/>
                <a:gd name="T27" fmla="*/ 53 h 270"/>
                <a:gd name="T28" fmla="*/ 228 w 288"/>
                <a:gd name="T29" fmla="*/ 65 h 270"/>
                <a:gd name="T30" fmla="*/ 251 w 288"/>
                <a:gd name="T31" fmla="*/ 80 h 270"/>
                <a:gd name="T32" fmla="*/ 263 w 288"/>
                <a:gd name="T33" fmla="*/ 85 h 270"/>
                <a:gd name="T34" fmla="*/ 275 w 288"/>
                <a:gd name="T35" fmla="*/ 92 h 270"/>
                <a:gd name="T36" fmla="*/ 288 w 288"/>
                <a:gd name="T37" fmla="*/ 104 h 270"/>
                <a:gd name="T38" fmla="*/ 274 w 288"/>
                <a:gd name="T39" fmla="*/ 121 h 270"/>
                <a:gd name="T40" fmla="*/ 252 w 288"/>
                <a:gd name="T41" fmla="*/ 124 h 270"/>
                <a:gd name="T42" fmla="*/ 259 w 288"/>
                <a:gd name="T43" fmla="*/ 138 h 270"/>
                <a:gd name="T44" fmla="*/ 264 w 288"/>
                <a:gd name="T45" fmla="*/ 151 h 270"/>
                <a:gd name="T46" fmla="*/ 271 w 288"/>
                <a:gd name="T47" fmla="*/ 164 h 270"/>
                <a:gd name="T48" fmla="*/ 276 w 288"/>
                <a:gd name="T49" fmla="*/ 170 h 270"/>
                <a:gd name="T50" fmla="*/ 269 w 288"/>
                <a:gd name="T51" fmla="*/ 182 h 270"/>
                <a:gd name="T52" fmla="*/ 249 w 288"/>
                <a:gd name="T53" fmla="*/ 211 h 270"/>
                <a:gd name="T54" fmla="*/ 260 w 288"/>
                <a:gd name="T55" fmla="*/ 230 h 270"/>
                <a:gd name="T56" fmla="*/ 240 w 288"/>
                <a:gd name="T57" fmla="*/ 225 h 270"/>
                <a:gd name="T58" fmla="*/ 222 w 288"/>
                <a:gd name="T59" fmla="*/ 234 h 270"/>
                <a:gd name="T60" fmla="*/ 207 w 288"/>
                <a:gd name="T61" fmla="*/ 228 h 270"/>
                <a:gd name="T62" fmla="*/ 188 w 288"/>
                <a:gd name="T63" fmla="*/ 235 h 270"/>
                <a:gd name="T64" fmla="*/ 171 w 288"/>
                <a:gd name="T65" fmla="*/ 242 h 270"/>
                <a:gd name="T66" fmla="*/ 154 w 288"/>
                <a:gd name="T67" fmla="*/ 242 h 270"/>
                <a:gd name="T68" fmla="*/ 129 w 288"/>
                <a:gd name="T69" fmla="*/ 240 h 270"/>
                <a:gd name="T70" fmla="*/ 87 w 288"/>
                <a:gd name="T71" fmla="*/ 242 h 270"/>
                <a:gd name="T72" fmla="*/ 56 w 288"/>
                <a:gd name="T73" fmla="*/ 249 h 270"/>
                <a:gd name="T74" fmla="*/ 51 w 288"/>
                <a:gd name="T75" fmla="*/ 253 h 270"/>
                <a:gd name="T76" fmla="*/ 44 w 288"/>
                <a:gd name="T77" fmla="*/ 266 h 270"/>
                <a:gd name="T78" fmla="*/ 27 w 288"/>
                <a:gd name="T79" fmla="*/ 270 h 270"/>
                <a:gd name="T80" fmla="*/ 25 w 288"/>
                <a:gd name="T81" fmla="*/ 249 h 270"/>
                <a:gd name="T82" fmla="*/ 8 w 288"/>
                <a:gd name="T83" fmla="*/ 237 h 270"/>
                <a:gd name="T84" fmla="*/ 21 w 288"/>
                <a:gd name="T85" fmla="*/ 216 h 270"/>
                <a:gd name="T86" fmla="*/ 22 w 288"/>
                <a:gd name="T87" fmla="*/ 194 h 270"/>
                <a:gd name="T88" fmla="*/ 13 w 288"/>
                <a:gd name="T89" fmla="*/ 175 h 270"/>
                <a:gd name="T90" fmla="*/ 9 w 288"/>
                <a:gd name="T91" fmla="*/ 145 h 270"/>
                <a:gd name="T92" fmla="*/ 36 w 288"/>
                <a:gd name="T93" fmla="*/ 136 h 270"/>
                <a:gd name="T94" fmla="*/ 47 w 288"/>
                <a:gd name="T95" fmla="*/ 127 h 270"/>
                <a:gd name="T96" fmla="*/ 59 w 288"/>
                <a:gd name="T97" fmla="*/ 116 h 270"/>
                <a:gd name="T98" fmla="*/ 67 w 288"/>
                <a:gd name="T99" fmla="*/ 115 h 270"/>
                <a:gd name="T100" fmla="*/ 61 w 288"/>
                <a:gd name="T101" fmla="*/ 103 h 270"/>
                <a:gd name="T102" fmla="*/ 60 w 288"/>
                <a:gd name="T103" fmla="*/ 82 h 270"/>
                <a:gd name="T104" fmla="*/ 73 w 288"/>
                <a:gd name="T105" fmla="*/ 6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8" h="270">
                  <a:moveTo>
                    <a:pt x="81" y="66"/>
                  </a:moveTo>
                  <a:cubicBezTo>
                    <a:pt x="80" y="61"/>
                    <a:pt x="80" y="61"/>
                    <a:pt x="80" y="61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2" y="36"/>
                    <a:pt x="75" y="34"/>
                  </a:cubicBezTo>
                  <a:cubicBezTo>
                    <a:pt x="79" y="33"/>
                    <a:pt x="81" y="33"/>
                    <a:pt x="81" y="33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4" y="24"/>
                    <a:pt x="88" y="24"/>
                  </a:cubicBezTo>
                  <a:cubicBezTo>
                    <a:pt x="92" y="24"/>
                    <a:pt x="93" y="24"/>
                    <a:pt x="93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5" y="4"/>
                    <a:pt x="116" y="4"/>
                  </a:cubicBezTo>
                  <a:cubicBezTo>
                    <a:pt x="117" y="4"/>
                    <a:pt x="118" y="5"/>
                    <a:pt x="119" y="4"/>
                  </a:cubicBezTo>
                  <a:cubicBezTo>
                    <a:pt x="120" y="4"/>
                    <a:pt x="121" y="2"/>
                    <a:pt x="121" y="2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31" y="5"/>
                    <a:pt x="131" y="5"/>
                    <a:pt x="131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52" y="1"/>
                    <a:pt x="152" y="1"/>
                    <a:pt x="152" y="1"/>
                  </a:cubicBezTo>
                  <a:cubicBezTo>
                    <a:pt x="153" y="7"/>
                    <a:pt x="153" y="7"/>
                    <a:pt x="153" y="7"/>
                  </a:cubicBezTo>
                  <a:cubicBezTo>
                    <a:pt x="153" y="10"/>
                    <a:pt x="153" y="10"/>
                    <a:pt x="153" y="10"/>
                  </a:cubicBezTo>
                  <a:cubicBezTo>
                    <a:pt x="153" y="10"/>
                    <a:pt x="155" y="13"/>
                    <a:pt x="157" y="12"/>
                  </a:cubicBezTo>
                  <a:cubicBezTo>
                    <a:pt x="158" y="12"/>
                    <a:pt x="162" y="11"/>
                    <a:pt x="163" y="9"/>
                  </a:cubicBezTo>
                  <a:cubicBezTo>
                    <a:pt x="163" y="7"/>
                    <a:pt x="164" y="5"/>
                    <a:pt x="166" y="4"/>
                  </a:cubicBezTo>
                  <a:cubicBezTo>
                    <a:pt x="168" y="4"/>
                    <a:pt x="167" y="3"/>
                    <a:pt x="170" y="2"/>
                  </a:cubicBezTo>
                  <a:cubicBezTo>
                    <a:pt x="174" y="1"/>
                    <a:pt x="177" y="0"/>
                    <a:pt x="177" y="0"/>
                  </a:cubicBezTo>
                  <a:cubicBezTo>
                    <a:pt x="186" y="2"/>
                    <a:pt x="186" y="2"/>
                    <a:pt x="186" y="2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5" y="6"/>
                    <a:pt x="195" y="6"/>
                    <a:pt x="195" y="6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200" y="6"/>
                    <a:pt x="200" y="6"/>
                    <a:pt x="200" y="6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202" y="24"/>
                    <a:pt x="202" y="24"/>
                    <a:pt x="202" y="24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10" y="39"/>
                    <a:pt x="210" y="39"/>
                    <a:pt x="210" y="39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14" y="49"/>
                    <a:pt x="214" y="49"/>
                    <a:pt x="214" y="49"/>
                  </a:cubicBezTo>
                  <a:cubicBezTo>
                    <a:pt x="218" y="53"/>
                    <a:pt x="218" y="53"/>
                    <a:pt x="218" y="53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22" y="58"/>
                    <a:pt x="222" y="58"/>
                    <a:pt x="222" y="58"/>
                  </a:cubicBezTo>
                  <a:cubicBezTo>
                    <a:pt x="222" y="58"/>
                    <a:pt x="220" y="61"/>
                    <a:pt x="223" y="61"/>
                  </a:cubicBezTo>
                  <a:cubicBezTo>
                    <a:pt x="226" y="62"/>
                    <a:pt x="227" y="62"/>
                    <a:pt x="227" y="62"/>
                  </a:cubicBezTo>
                  <a:cubicBezTo>
                    <a:pt x="228" y="65"/>
                    <a:pt x="228" y="65"/>
                    <a:pt x="228" y="65"/>
                  </a:cubicBezTo>
                  <a:cubicBezTo>
                    <a:pt x="233" y="72"/>
                    <a:pt x="233" y="72"/>
                    <a:pt x="233" y="72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9" y="76"/>
                    <a:pt x="249" y="76"/>
                    <a:pt x="249" y="76"/>
                  </a:cubicBezTo>
                  <a:cubicBezTo>
                    <a:pt x="251" y="80"/>
                    <a:pt x="251" y="80"/>
                    <a:pt x="251" y="80"/>
                  </a:cubicBezTo>
                  <a:cubicBezTo>
                    <a:pt x="252" y="89"/>
                    <a:pt x="252" y="89"/>
                    <a:pt x="252" y="89"/>
                  </a:cubicBezTo>
                  <a:cubicBezTo>
                    <a:pt x="257" y="89"/>
                    <a:pt x="257" y="89"/>
                    <a:pt x="257" y="89"/>
                  </a:cubicBezTo>
                  <a:cubicBezTo>
                    <a:pt x="260" y="86"/>
                    <a:pt x="260" y="86"/>
                    <a:pt x="260" y="86"/>
                  </a:cubicBezTo>
                  <a:cubicBezTo>
                    <a:pt x="263" y="85"/>
                    <a:pt x="263" y="85"/>
                    <a:pt x="263" y="85"/>
                  </a:cubicBezTo>
                  <a:cubicBezTo>
                    <a:pt x="267" y="86"/>
                    <a:pt x="267" y="86"/>
                    <a:pt x="267" y="86"/>
                  </a:cubicBezTo>
                  <a:cubicBezTo>
                    <a:pt x="272" y="87"/>
                    <a:pt x="272" y="87"/>
                    <a:pt x="272" y="87"/>
                  </a:cubicBezTo>
                  <a:cubicBezTo>
                    <a:pt x="277" y="87"/>
                    <a:pt x="277" y="87"/>
                    <a:pt x="277" y="87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9" y="95"/>
                    <a:pt x="279" y="95"/>
                    <a:pt x="279" y="95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88" y="98"/>
                    <a:pt x="288" y="98"/>
                    <a:pt x="288" y="98"/>
                  </a:cubicBezTo>
                  <a:cubicBezTo>
                    <a:pt x="288" y="104"/>
                    <a:pt x="288" y="104"/>
                    <a:pt x="288" y="104"/>
                  </a:cubicBezTo>
                  <a:cubicBezTo>
                    <a:pt x="286" y="107"/>
                    <a:pt x="286" y="107"/>
                    <a:pt x="286" y="107"/>
                  </a:cubicBezTo>
                  <a:cubicBezTo>
                    <a:pt x="282" y="108"/>
                    <a:pt x="282" y="108"/>
                    <a:pt x="282" y="108"/>
                  </a:cubicBezTo>
                  <a:cubicBezTo>
                    <a:pt x="282" y="108"/>
                    <a:pt x="284" y="113"/>
                    <a:pt x="282" y="114"/>
                  </a:cubicBezTo>
                  <a:cubicBezTo>
                    <a:pt x="281" y="115"/>
                    <a:pt x="274" y="121"/>
                    <a:pt x="274" y="121"/>
                  </a:cubicBezTo>
                  <a:cubicBezTo>
                    <a:pt x="267" y="123"/>
                    <a:pt x="267" y="123"/>
                    <a:pt x="267" y="123"/>
                  </a:cubicBezTo>
                  <a:cubicBezTo>
                    <a:pt x="261" y="121"/>
                    <a:pt x="261" y="121"/>
                    <a:pt x="261" y="121"/>
                  </a:cubicBezTo>
                  <a:cubicBezTo>
                    <a:pt x="261" y="121"/>
                    <a:pt x="260" y="120"/>
                    <a:pt x="256" y="121"/>
                  </a:cubicBezTo>
                  <a:cubicBezTo>
                    <a:pt x="252" y="123"/>
                    <a:pt x="252" y="124"/>
                    <a:pt x="252" y="124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50" y="134"/>
                    <a:pt x="250" y="134"/>
                    <a:pt x="250" y="134"/>
                  </a:cubicBezTo>
                  <a:cubicBezTo>
                    <a:pt x="254" y="137"/>
                    <a:pt x="254" y="137"/>
                    <a:pt x="254" y="137"/>
                  </a:cubicBezTo>
                  <a:cubicBezTo>
                    <a:pt x="259" y="138"/>
                    <a:pt x="259" y="138"/>
                    <a:pt x="259" y="138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4" y="145"/>
                    <a:pt x="264" y="145"/>
                    <a:pt x="264" y="145"/>
                  </a:cubicBezTo>
                  <a:cubicBezTo>
                    <a:pt x="262" y="149"/>
                    <a:pt x="262" y="149"/>
                    <a:pt x="262" y="149"/>
                  </a:cubicBezTo>
                  <a:cubicBezTo>
                    <a:pt x="264" y="151"/>
                    <a:pt x="264" y="151"/>
                    <a:pt x="264" y="151"/>
                  </a:cubicBezTo>
                  <a:cubicBezTo>
                    <a:pt x="268" y="153"/>
                    <a:pt x="268" y="153"/>
                    <a:pt x="268" y="153"/>
                  </a:cubicBezTo>
                  <a:cubicBezTo>
                    <a:pt x="266" y="155"/>
                    <a:pt x="266" y="155"/>
                    <a:pt x="266" y="155"/>
                  </a:cubicBezTo>
                  <a:cubicBezTo>
                    <a:pt x="269" y="161"/>
                    <a:pt x="269" y="161"/>
                    <a:pt x="269" y="161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69" y="166"/>
                    <a:pt x="269" y="166"/>
                    <a:pt x="269" y="166"/>
                  </a:cubicBezTo>
                  <a:cubicBezTo>
                    <a:pt x="272" y="167"/>
                    <a:pt x="272" y="167"/>
                    <a:pt x="272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70"/>
                    <a:pt x="276" y="170"/>
                    <a:pt x="276" y="170"/>
                  </a:cubicBezTo>
                  <a:cubicBezTo>
                    <a:pt x="283" y="174"/>
                    <a:pt x="283" y="174"/>
                    <a:pt x="283" y="174"/>
                  </a:cubicBezTo>
                  <a:cubicBezTo>
                    <a:pt x="281" y="174"/>
                    <a:pt x="281" y="174"/>
                    <a:pt x="281" y="174"/>
                  </a:cubicBezTo>
                  <a:cubicBezTo>
                    <a:pt x="273" y="176"/>
                    <a:pt x="273" y="176"/>
                    <a:pt x="273" y="176"/>
                  </a:cubicBezTo>
                  <a:cubicBezTo>
                    <a:pt x="269" y="182"/>
                    <a:pt x="269" y="182"/>
                    <a:pt x="269" y="182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5" y="194"/>
                    <a:pt x="255" y="194"/>
                    <a:pt x="255" y="194"/>
                  </a:cubicBezTo>
                  <a:cubicBezTo>
                    <a:pt x="252" y="202"/>
                    <a:pt x="252" y="202"/>
                    <a:pt x="252" y="202"/>
                  </a:cubicBezTo>
                  <a:cubicBezTo>
                    <a:pt x="249" y="211"/>
                    <a:pt x="249" y="211"/>
                    <a:pt x="249" y="211"/>
                  </a:cubicBezTo>
                  <a:cubicBezTo>
                    <a:pt x="251" y="216"/>
                    <a:pt x="251" y="216"/>
                    <a:pt x="251" y="216"/>
                  </a:cubicBezTo>
                  <a:cubicBezTo>
                    <a:pt x="254" y="223"/>
                    <a:pt x="254" y="223"/>
                    <a:pt x="254" y="223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46" y="227"/>
                    <a:pt x="246" y="227"/>
                    <a:pt x="246" y="227"/>
                  </a:cubicBezTo>
                  <a:cubicBezTo>
                    <a:pt x="240" y="225"/>
                    <a:pt x="240" y="225"/>
                    <a:pt x="240" y="225"/>
                  </a:cubicBezTo>
                  <a:cubicBezTo>
                    <a:pt x="233" y="228"/>
                    <a:pt x="233" y="228"/>
                    <a:pt x="233" y="228"/>
                  </a:cubicBezTo>
                  <a:cubicBezTo>
                    <a:pt x="226" y="230"/>
                    <a:pt x="226" y="230"/>
                    <a:pt x="226" y="230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222" y="234"/>
                    <a:pt x="222" y="234"/>
                    <a:pt x="222" y="234"/>
                  </a:cubicBezTo>
                  <a:cubicBezTo>
                    <a:pt x="216" y="237"/>
                    <a:pt x="216" y="237"/>
                    <a:pt x="216" y="237"/>
                  </a:cubicBezTo>
                  <a:cubicBezTo>
                    <a:pt x="216" y="237"/>
                    <a:pt x="214" y="235"/>
                    <a:pt x="213" y="234"/>
                  </a:cubicBezTo>
                  <a:cubicBezTo>
                    <a:pt x="212" y="233"/>
                    <a:pt x="209" y="231"/>
                    <a:pt x="209" y="231"/>
                  </a:cubicBezTo>
                  <a:cubicBezTo>
                    <a:pt x="209" y="231"/>
                    <a:pt x="208" y="229"/>
                    <a:pt x="207" y="228"/>
                  </a:cubicBezTo>
                  <a:cubicBezTo>
                    <a:pt x="206" y="228"/>
                    <a:pt x="200" y="232"/>
                    <a:pt x="200" y="232"/>
                  </a:cubicBezTo>
                  <a:cubicBezTo>
                    <a:pt x="200" y="232"/>
                    <a:pt x="195" y="235"/>
                    <a:pt x="195" y="236"/>
                  </a:cubicBezTo>
                  <a:cubicBezTo>
                    <a:pt x="196" y="236"/>
                    <a:pt x="195" y="241"/>
                    <a:pt x="195" y="241"/>
                  </a:cubicBezTo>
                  <a:cubicBezTo>
                    <a:pt x="188" y="235"/>
                    <a:pt x="188" y="235"/>
                    <a:pt x="188" y="235"/>
                  </a:cubicBezTo>
                  <a:cubicBezTo>
                    <a:pt x="183" y="239"/>
                    <a:pt x="183" y="239"/>
                    <a:pt x="183" y="239"/>
                  </a:cubicBezTo>
                  <a:cubicBezTo>
                    <a:pt x="179" y="236"/>
                    <a:pt x="179" y="236"/>
                    <a:pt x="179" y="236"/>
                  </a:cubicBezTo>
                  <a:cubicBezTo>
                    <a:pt x="177" y="235"/>
                    <a:pt x="177" y="235"/>
                    <a:pt x="177" y="235"/>
                  </a:cubicBezTo>
                  <a:cubicBezTo>
                    <a:pt x="171" y="242"/>
                    <a:pt x="171" y="242"/>
                    <a:pt x="171" y="242"/>
                  </a:cubicBezTo>
                  <a:cubicBezTo>
                    <a:pt x="167" y="240"/>
                    <a:pt x="167" y="240"/>
                    <a:pt x="167" y="240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60" y="243"/>
                    <a:pt x="160" y="243"/>
                    <a:pt x="160" y="243"/>
                  </a:cubicBezTo>
                  <a:cubicBezTo>
                    <a:pt x="160" y="243"/>
                    <a:pt x="155" y="242"/>
                    <a:pt x="154" y="242"/>
                  </a:cubicBezTo>
                  <a:cubicBezTo>
                    <a:pt x="153" y="242"/>
                    <a:pt x="150" y="246"/>
                    <a:pt x="150" y="246"/>
                  </a:cubicBezTo>
                  <a:cubicBezTo>
                    <a:pt x="145" y="242"/>
                    <a:pt x="145" y="242"/>
                    <a:pt x="145" y="242"/>
                  </a:cubicBezTo>
                  <a:cubicBezTo>
                    <a:pt x="141" y="239"/>
                    <a:pt x="141" y="239"/>
                    <a:pt x="141" y="239"/>
                  </a:cubicBezTo>
                  <a:cubicBezTo>
                    <a:pt x="141" y="239"/>
                    <a:pt x="130" y="240"/>
                    <a:pt x="129" y="240"/>
                  </a:cubicBezTo>
                  <a:cubicBezTo>
                    <a:pt x="128" y="240"/>
                    <a:pt x="121" y="239"/>
                    <a:pt x="121" y="239"/>
                  </a:cubicBezTo>
                  <a:cubicBezTo>
                    <a:pt x="112" y="241"/>
                    <a:pt x="112" y="241"/>
                    <a:pt x="112" y="241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87" y="242"/>
                    <a:pt x="87" y="242"/>
                    <a:pt x="87" y="242"/>
                  </a:cubicBezTo>
                  <a:cubicBezTo>
                    <a:pt x="78" y="242"/>
                    <a:pt x="78" y="242"/>
                    <a:pt x="78" y="242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64" y="248"/>
                    <a:pt x="64" y="248"/>
                    <a:pt x="64" y="248"/>
                  </a:cubicBezTo>
                  <a:cubicBezTo>
                    <a:pt x="56" y="249"/>
                    <a:pt x="56" y="249"/>
                    <a:pt x="56" y="249"/>
                  </a:cubicBezTo>
                  <a:cubicBezTo>
                    <a:pt x="55" y="249"/>
                    <a:pt x="55" y="249"/>
                    <a:pt x="55" y="249"/>
                  </a:cubicBezTo>
                  <a:cubicBezTo>
                    <a:pt x="54" y="250"/>
                    <a:pt x="54" y="250"/>
                    <a:pt x="54" y="250"/>
                  </a:cubicBezTo>
                  <a:cubicBezTo>
                    <a:pt x="51" y="252"/>
                    <a:pt x="51" y="252"/>
                    <a:pt x="51" y="252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8" y="260"/>
                    <a:pt x="48" y="260"/>
                    <a:pt x="48" y="260"/>
                  </a:cubicBezTo>
                  <a:cubicBezTo>
                    <a:pt x="47" y="262"/>
                    <a:pt x="45" y="264"/>
                    <a:pt x="44" y="266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44" y="266"/>
                    <a:pt x="41" y="265"/>
                    <a:pt x="41" y="267"/>
                  </a:cubicBezTo>
                  <a:cubicBezTo>
                    <a:pt x="41" y="268"/>
                    <a:pt x="41" y="268"/>
                    <a:pt x="41" y="268"/>
                  </a:cubicBezTo>
                  <a:cubicBezTo>
                    <a:pt x="38" y="269"/>
                    <a:pt x="33" y="267"/>
                    <a:pt x="33" y="267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69"/>
                    <a:pt x="25" y="265"/>
                    <a:pt x="25" y="265"/>
                  </a:cubicBezTo>
                  <a:cubicBezTo>
                    <a:pt x="25" y="265"/>
                    <a:pt x="26" y="258"/>
                    <a:pt x="26" y="258"/>
                  </a:cubicBezTo>
                  <a:cubicBezTo>
                    <a:pt x="26" y="257"/>
                    <a:pt x="25" y="249"/>
                    <a:pt x="25" y="249"/>
                  </a:cubicBezTo>
                  <a:cubicBezTo>
                    <a:pt x="25" y="245"/>
                    <a:pt x="25" y="245"/>
                    <a:pt x="25" y="245"/>
                  </a:cubicBezTo>
                  <a:cubicBezTo>
                    <a:pt x="19" y="241"/>
                    <a:pt x="19" y="241"/>
                    <a:pt x="19" y="241"/>
                  </a:cubicBezTo>
                  <a:cubicBezTo>
                    <a:pt x="19" y="241"/>
                    <a:pt x="12" y="240"/>
                    <a:pt x="10" y="240"/>
                  </a:cubicBezTo>
                  <a:cubicBezTo>
                    <a:pt x="9" y="240"/>
                    <a:pt x="8" y="237"/>
                    <a:pt x="8" y="237"/>
                  </a:cubicBezTo>
                  <a:cubicBezTo>
                    <a:pt x="9" y="234"/>
                    <a:pt x="9" y="234"/>
                    <a:pt x="9" y="234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7" y="218"/>
                    <a:pt x="17" y="218"/>
                    <a:pt x="17" y="218"/>
                  </a:cubicBezTo>
                  <a:cubicBezTo>
                    <a:pt x="21" y="216"/>
                    <a:pt x="21" y="216"/>
                    <a:pt x="21" y="216"/>
                  </a:cubicBezTo>
                  <a:cubicBezTo>
                    <a:pt x="21" y="216"/>
                    <a:pt x="25" y="210"/>
                    <a:pt x="26" y="209"/>
                  </a:cubicBezTo>
                  <a:cubicBezTo>
                    <a:pt x="27" y="209"/>
                    <a:pt x="26" y="204"/>
                    <a:pt x="25" y="204"/>
                  </a:cubicBezTo>
                  <a:cubicBezTo>
                    <a:pt x="25" y="203"/>
                    <a:pt x="25" y="200"/>
                    <a:pt x="25" y="199"/>
                  </a:cubicBezTo>
                  <a:cubicBezTo>
                    <a:pt x="25" y="197"/>
                    <a:pt x="22" y="194"/>
                    <a:pt x="22" y="194"/>
                  </a:cubicBezTo>
                  <a:cubicBezTo>
                    <a:pt x="21" y="186"/>
                    <a:pt x="21" y="186"/>
                    <a:pt x="21" y="186"/>
                  </a:cubicBezTo>
                  <a:cubicBezTo>
                    <a:pt x="19" y="184"/>
                    <a:pt x="19" y="184"/>
                    <a:pt x="19" y="184"/>
                  </a:cubicBezTo>
                  <a:cubicBezTo>
                    <a:pt x="19" y="183"/>
                    <a:pt x="19" y="183"/>
                    <a:pt x="19" y="18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4"/>
                    <a:pt x="2" y="154"/>
                    <a:pt x="1" y="15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2" y="141"/>
                    <a:pt x="32" y="141"/>
                    <a:pt x="32" y="141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1" y="136"/>
                    <a:pt x="41" y="136"/>
                    <a:pt x="41" y="136"/>
                  </a:cubicBezTo>
                  <a:cubicBezTo>
                    <a:pt x="39" y="129"/>
                    <a:pt x="39" y="129"/>
                    <a:pt x="39" y="129"/>
                  </a:cubicBezTo>
                  <a:cubicBezTo>
                    <a:pt x="39" y="129"/>
                    <a:pt x="40" y="126"/>
                    <a:pt x="41" y="127"/>
                  </a:cubicBezTo>
                  <a:cubicBezTo>
                    <a:pt x="43" y="127"/>
                    <a:pt x="47" y="127"/>
                    <a:pt x="47" y="127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7" y="115"/>
                    <a:pt x="67" y="115"/>
                    <a:pt x="67" y="115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0" y="112"/>
                    <a:pt x="60" y="112"/>
                    <a:pt x="60" y="112"/>
                  </a:cubicBezTo>
                  <a:cubicBezTo>
                    <a:pt x="60" y="112"/>
                    <a:pt x="58" y="113"/>
                    <a:pt x="58" y="111"/>
                  </a:cubicBezTo>
                  <a:cubicBezTo>
                    <a:pt x="59" y="108"/>
                    <a:pt x="61" y="103"/>
                    <a:pt x="61" y="103"/>
                  </a:cubicBezTo>
                  <a:cubicBezTo>
                    <a:pt x="60" y="97"/>
                    <a:pt x="60" y="97"/>
                    <a:pt x="60" y="97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3" y="65"/>
                    <a:pt x="73" y="65"/>
                    <a:pt x="73" y="65"/>
                  </a:cubicBezTo>
                  <a:lnTo>
                    <a:pt x="81" y="66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376066" y="2862204"/>
              <a:ext cx="354017" cy="336672"/>
            </a:xfrm>
            <a:custGeom>
              <a:avLst/>
              <a:gdLst>
                <a:gd name="T0" fmla="*/ 110 w 155"/>
                <a:gd name="T1" fmla="*/ 145 h 152"/>
                <a:gd name="T2" fmla="*/ 107 w 155"/>
                <a:gd name="T3" fmla="*/ 137 h 152"/>
                <a:gd name="T4" fmla="*/ 112 w 155"/>
                <a:gd name="T5" fmla="*/ 127 h 152"/>
                <a:gd name="T6" fmla="*/ 117 w 155"/>
                <a:gd name="T7" fmla="*/ 116 h 152"/>
                <a:gd name="T8" fmla="*/ 115 w 155"/>
                <a:gd name="T9" fmla="*/ 104 h 152"/>
                <a:gd name="T10" fmla="*/ 114 w 155"/>
                <a:gd name="T11" fmla="*/ 88 h 152"/>
                <a:gd name="T12" fmla="*/ 123 w 155"/>
                <a:gd name="T13" fmla="*/ 92 h 152"/>
                <a:gd name="T14" fmla="*/ 128 w 155"/>
                <a:gd name="T15" fmla="*/ 90 h 152"/>
                <a:gd name="T16" fmla="*/ 136 w 155"/>
                <a:gd name="T17" fmla="*/ 90 h 152"/>
                <a:gd name="T18" fmla="*/ 143 w 155"/>
                <a:gd name="T19" fmla="*/ 86 h 152"/>
                <a:gd name="T20" fmla="*/ 155 w 155"/>
                <a:gd name="T21" fmla="*/ 83 h 152"/>
                <a:gd name="T22" fmla="*/ 143 w 155"/>
                <a:gd name="T23" fmla="*/ 77 h 152"/>
                <a:gd name="T24" fmla="*/ 141 w 155"/>
                <a:gd name="T25" fmla="*/ 63 h 152"/>
                <a:gd name="T26" fmla="*/ 131 w 155"/>
                <a:gd name="T27" fmla="*/ 62 h 152"/>
                <a:gd name="T28" fmla="*/ 125 w 155"/>
                <a:gd name="T29" fmla="*/ 54 h 152"/>
                <a:gd name="T30" fmla="*/ 122 w 155"/>
                <a:gd name="T31" fmla="*/ 48 h 152"/>
                <a:gd name="T32" fmla="*/ 116 w 155"/>
                <a:gd name="T33" fmla="*/ 44 h 152"/>
                <a:gd name="T34" fmla="*/ 108 w 155"/>
                <a:gd name="T35" fmla="*/ 38 h 152"/>
                <a:gd name="T36" fmla="*/ 103 w 155"/>
                <a:gd name="T37" fmla="*/ 32 h 152"/>
                <a:gd name="T38" fmla="*/ 100 w 155"/>
                <a:gd name="T39" fmla="*/ 21 h 152"/>
                <a:gd name="T40" fmla="*/ 94 w 155"/>
                <a:gd name="T41" fmla="*/ 12 h 152"/>
                <a:gd name="T42" fmla="*/ 83 w 155"/>
                <a:gd name="T43" fmla="*/ 12 h 152"/>
                <a:gd name="T44" fmla="*/ 70 w 155"/>
                <a:gd name="T45" fmla="*/ 11 h 152"/>
                <a:gd name="T46" fmla="*/ 66 w 155"/>
                <a:gd name="T47" fmla="*/ 9 h 152"/>
                <a:gd name="T48" fmla="*/ 65 w 155"/>
                <a:gd name="T49" fmla="*/ 9 h 152"/>
                <a:gd name="T50" fmla="*/ 59 w 155"/>
                <a:gd name="T51" fmla="*/ 10 h 152"/>
                <a:gd name="T52" fmla="*/ 54 w 155"/>
                <a:gd name="T53" fmla="*/ 7 h 152"/>
                <a:gd name="T54" fmla="*/ 44 w 155"/>
                <a:gd name="T55" fmla="*/ 3 h 152"/>
                <a:gd name="T56" fmla="*/ 34 w 155"/>
                <a:gd name="T57" fmla="*/ 2 h 152"/>
                <a:gd name="T58" fmla="*/ 28 w 155"/>
                <a:gd name="T59" fmla="*/ 7 h 152"/>
                <a:gd name="T60" fmla="*/ 24 w 155"/>
                <a:gd name="T61" fmla="*/ 10 h 152"/>
                <a:gd name="T62" fmla="*/ 16 w 155"/>
                <a:gd name="T63" fmla="*/ 12 h 152"/>
                <a:gd name="T64" fmla="*/ 9 w 155"/>
                <a:gd name="T65" fmla="*/ 14 h 152"/>
                <a:gd name="T66" fmla="*/ 8 w 155"/>
                <a:gd name="T67" fmla="*/ 19 h 152"/>
                <a:gd name="T68" fmla="*/ 0 w 155"/>
                <a:gd name="T69" fmla="*/ 22 h 152"/>
                <a:gd name="T70" fmla="*/ 10 w 155"/>
                <a:gd name="T71" fmla="*/ 22 h 152"/>
                <a:gd name="T72" fmla="*/ 16 w 155"/>
                <a:gd name="T73" fmla="*/ 24 h 152"/>
                <a:gd name="T74" fmla="*/ 20 w 155"/>
                <a:gd name="T75" fmla="*/ 27 h 152"/>
                <a:gd name="T76" fmla="*/ 26 w 155"/>
                <a:gd name="T77" fmla="*/ 33 h 152"/>
                <a:gd name="T78" fmla="*/ 29 w 155"/>
                <a:gd name="T79" fmla="*/ 37 h 152"/>
                <a:gd name="T80" fmla="*/ 32 w 155"/>
                <a:gd name="T81" fmla="*/ 42 h 152"/>
                <a:gd name="T82" fmla="*/ 38 w 155"/>
                <a:gd name="T83" fmla="*/ 49 h 152"/>
                <a:gd name="T84" fmla="*/ 44 w 155"/>
                <a:gd name="T85" fmla="*/ 54 h 152"/>
                <a:gd name="T86" fmla="*/ 50 w 155"/>
                <a:gd name="T87" fmla="*/ 61 h 152"/>
                <a:gd name="T88" fmla="*/ 63 w 155"/>
                <a:gd name="T89" fmla="*/ 71 h 152"/>
                <a:gd name="T90" fmla="*/ 76 w 155"/>
                <a:gd name="T91" fmla="*/ 82 h 152"/>
                <a:gd name="T92" fmla="*/ 83 w 155"/>
                <a:gd name="T93" fmla="*/ 94 h 152"/>
                <a:gd name="T94" fmla="*/ 86 w 155"/>
                <a:gd name="T95" fmla="*/ 104 h 152"/>
                <a:gd name="T96" fmla="*/ 85 w 155"/>
                <a:gd name="T97" fmla="*/ 112 h 152"/>
                <a:gd name="T98" fmla="*/ 86 w 155"/>
                <a:gd name="T99" fmla="*/ 122 h 152"/>
                <a:gd name="T100" fmla="*/ 91 w 155"/>
                <a:gd name="T101" fmla="*/ 135 h 152"/>
                <a:gd name="T102" fmla="*/ 94 w 155"/>
                <a:gd name="T103" fmla="*/ 144 h 152"/>
                <a:gd name="T104" fmla="*/ 97 w 155"/>
                <a:gd name="T105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5" h="152">
                  <a:moveTo>
                    <a:pt x="99" y="152"/>
                  </a:moveTo>
                  <a:cubicBezTo>
                    <a:pt x="100" y="148"/>
                    <a:pt x="100" y="148"/>
                    <a:pt x="100" y="148"/>
                  </a:cubicBezTo>
                  <a:cubicBezTo>
                    <a:pt x="100" y="148"/>
                    <a:pt x="103" y="147"/>
                    <a:pt x="104" y="147"/>
                  </a:cubicBezTo>
                  <a:cubicBezTo>
                    <a:pt x="105" y="146"/>
                    <a:pt x="106" y="147"/>
                    <a:pt x="107" y="146"/>
                  </a:cubicBezTo>
                  <a:cubicBezTo>
                    <a:pt x="108" y="146"/>
                    <a:pt x="110" y="145"/>
                    <a:pt x="110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7" y="137"/>
                    <a:pt x="107" y="137"/>
                    <a:pt x="107" y="137"/>
                  </a:cubicBezTo>
                  <a:cubicBezTo>
                    <a:pt x="107" y="137"/>
                    <a:pt x="106" y="135"/>
                    <a:pt x="107" y="135"/>
                  </a:cubicBezTo>
                  <a:cubicBezTo>
                    <a:pt x="108" y="135"/>
                    <a:pt x="108" y="132"/>
                    <a:pt x="108" y="132"/>
                  </a:cubicBezTo>
                  <a:cubicBezTo>
                    <a:pt x="109" y="130"/>
                    <a:pt x="109" y="130"/>
                    <a:pt x="109" y="130"/>
                  </a:cubicBezTo>
                  <a:cubicBezTo>
                    <a:pt x="111" y="130"/>
                    <a:pt x="111" y="130"/>
                    <a:pt x="111" y="130"/>
                  </a:cubicBezTo>
                  <a:cubicBezTo>
                    <a:pt x="111" y="130"/>
                    <a:pt x="111" y="128"/>
                    <a:pt x="112" y="127"/>
                  </a:cubicBezTo>
                  <a:cubicBezTo>
                    <a:pt x="112" y="127"/>
                    <a:pt x="113" y="126"/>
                    <a:pt x="113" y="126"/>
                  </a:cubicBezTo>
                  <a:cubicBezTo>
                    <a:pt x="112" y="123"/>
                    <a:pt x="112" y="123"/>
                    <a:pt x="112" y="123"/>
                  </a:cubicBezTo>
                  <a:cubicBezTo>
                    <a:pt x="112" y="123"/>
                    <a:pt x="110" y="120"/>
                    <a:pt x="111" y="120"/>
                  </a:cubicBezTo>
                  <a:cubicBezTo>
                    <a:pt x="112" y="120"/>
                    <a:pt x="113" y="119"/>
                    <a:pt x="113" y="119"/>
                  </a:cubicBezTo>
                  <a:cubicBezTo>
                    <a:pt x="113" y="119"/>
                    <a:pt x="116" y="116"/>
                    <a:pt x="117" y="116"/>
                  </a:cubicBezTo>
                  <a:cubicBezTo>
                    <a:pt x="117" y="116"/>
                    <a:pt x="119" y="114"/>
                    <a:pt x="119" y="113"/>
                  </a:cubicBezTo>
                  <a:cubicBezTo>
                    <a:pt x="118" y="112"/>
                    <a:pt x="117" y="111"/>
                    <a:pt x="117" y="111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7"/>
                    <a:pt x="119" y="105"/>
                    <a:pt x="118" y="105"/>
                  </a:cubicBezTo>
                  <a:cubicBezTo>
                    <a:pt x="117" y="104"/>
                    <a:pt x="115" y="104"/>
                    <a:pt x="115" y="104"/>
                  </a:cubicBezTo>
                  <a:cubicBezTo>
                    <a:pt x="113" y="102"/>
                    <a:pt x="113" y="102"/>
                    <a:pt x="113" y="102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1" y="96"/>
                    <a:pt x="111" y="94"/>
                    <a:pt x="111" y="93"/>
                  </a:cubicBezTo>
                  <a:cubicBezTo>
                    <a:pt x="112" y="93"/>
                    <a:pt x="114" y="89"/>
                    <a:pt x="114" y="88"/>
                  </a:cubicBezTo>
                  <a:cubicBezTo>
                    <a:pt x="115" y="88"/>
                    <a:pt x="119" y="84"/>
                    <a:pt x="119" y="84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3"/>
                    <a:pt x="120" y="95"/>
                    <a:pt x="121" y="95"/>
                  </a:cubicBezTo>
                  <a:cubicBezTo>
                    <a:pt x="123" y="94"/>
                    <a:pt x="123" y="92"/>
                    <a:pt x="123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2" y="88"/>
                    <a:pt x="123" y="88"/>
                  </a:cubicBezTo>
                  <a:cubicBezTo>
                    <a:pt x="124" y="88"/>
                    <a:pt x="124" y="86"/>
                    <a:pt x="124" y="88"/>
                  </a:cubicBezTo>
                  <a:cubicBezTo>
                    <a:pt x="125" y="89"/>
                    <a:pt x="125" y="91"/>
                    <a:pt x="126" y="90"/>
                  </a:cubicBezTo>
                  <a:cubicBezTo>
                    <a:pt x="128" y="90"/>
                    <a:pt x="128" y="91"/>
                    <a:pt x="128" y="90"/>
                  </a:cubicBezTo>
                  <a:cubicBezTo>
                    <a:pt x="129" y="89"/>
                    <a:pt x="129" y="88"/>
                    <a:pt x="129" y="88"/>
                  </a:cubicBezTo>
                  <a:cubicBezTo>
                    <a:pt x="130" y="87"/>
                    <a:pt x="130" y="87"/>
                    <a:pt x="130" y="87"/>
                  </a:cubicBezTo>
                  <a:cubicBezTo>
                    <a:pt x="130" y="87"/>
                    <a:pt x="130" y="89"/>
                    <a:pt x="131" y="89"/>
                  </a:cubicBezTo>
                  <a:cubicBezTo>
                    <a:pt x="132" y="89"/>
                    <a:pt x="134" y="89"/>
                    <a:pt x="134" y="89"/>
                  </a:cubicBezTo>
                  <a:cubicBezTo>
                    <a:pt x="136" y="90"/>
                    <a:pt x="136" y="90"/>
                    <a:pt x="136" y="90"/>
                  </a:cubicBezTo>
                  <a:cubicBezTo>
                    <a:pt x="136" y="90"/>
                    <a:pt x="137" y="90"/>
                    <a:pt x="137" y="89"/>
                  </a:cubicBezTo>
                  <a:cubicBezTo>
                    <a:pt x="137" y="88"/>
                    <a:pt x="137" y="87"/>
                    <a:pt x="137" y="87"/>
                  </a:cubicBezTo>
                  <a:cubicBezTo>
                    <a:pt x="139" y="86"/>
                    <a:pt x="139" y="86"/>
                    <a:pt x="139" y="86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4" y="89"/>
                    <a:pt x="144" y="89"/>
                    <a:pt x="144" y="89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7" y="85"/>
                    <a:pt x="147" y="85"/>
                    <a:pt x="147" y="85"/>
                  </a:cubicBezTo>
                  <a:cubicBezTo>
                    <a:pt x="147" y="85"/>
                    <a:pt x="150" y="85"/>
                    <a:pt x="151" y="84"/>
                  </a:cubicBezTo>
                  <a:cubicBezTo>
                    <a:pt x="152" y="84"/>
                    <a:pt x="155" y="83"/>
                    <a:pt x="155" y="83"/>
                  </a:cubicBezTo>
                  <a:cubicBezTo>
                    <a:pt x="155" y="82"/>
                    <a:pt x="153" y="81"/>
                    <a:pt x="152" y="82"/>
                  </a:cubicBezTo>
                  <a:cubicBezTo>
                    <a:pt x="151" y="82"/>
                    <a:pt x="149" y="83"/>
                    <a:pt x="148" y="82"/>
                  </a:cubicBezTo>
                  <a:cubicBezTo>
                    <a:pt x="148" y="81"/>
                    <a:pt x="146" y="79"/>
                    <a:pt x="146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2" y="78"/>
                    <a:pt x="143" y="77"/>
                  </a:cubicBezTo>
                  <a:cubicBezTo>
                    <a:pt x="144" y="76"/>
                    <a:pt x="145" y="76"/>
                    <a:pt x="145" y="76"/>
                  </a:cubicBezTo>
                  <a:cubicBezTo>
                    <a:pt x="145" y="76"/>
                    <a:pt x="144" y="74"/>
                    <a:pt x="144" y="73"/>
                  </a:cubicBezTo>
                  <a:cubicBezTo>
                    <a:pt x="144" y="72"/>
                    <a:pt x="144" y="70"/>
                    <a:pt x="143" y="69"/>
                  </a:cubicBezTo>
                  <a:cubicBezTo>
                    <a:pt x="143" y="69"/>
                    <a:pt x="141" y="65"/>
                    <a:pt x="141" y="65"/>
                  </a:cubicBezTo>
                  <a:cubicBezTo>
                    <a:pt x="141" y="63"/>
                    <a:pt x="141" y="63"/>
                    <a:pt x="141" y="63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7" y="62"/>
                    <a:pt x="135" y="62"/>
                    <a:pt x="135" y="63"/>
                  </a:cubicBezTo>
                  <a:cubicBezTo>
                    <a:pt x="134" y="63"/>
                    <a:pt x="133" y="62"/>
                    <a:pt x="133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29" y="62"/>
                  </a:cubicBezTo>
                  <a:cubicBezTo>
                    <a:pt x="128" y="62"/>
                    <a:pt x="126" y="61"/>
                    <a:pt x="125" y="61"/>
                  </a:cubicBezTo>
                  <a:cubicBezTo>
                    <a:pt x="125" y="60"/>
                    <a:pt x="125" y="59"/>
                    <a:pt x="125" y="59"/>
                  </a:cubicBezTo>
                  <a:cubicBezTo>
                    <a:pt x="126" y="58"/>
                    <a:pt x="126" y="57"/>
                    <a:pt x="126" y="57"/>
                  </a:cubicBezTo>
                  <a:cubicBezTo>
                    <a:pt x="126" y="57"/>
                    <a:pt x="126" y="54"/>
                    <a:pt x="125" y="54"/>
                  </a:cubicBezTo>
                  <a:cubicBezTo>
                    <a:pt x="124" y="54"/>
                    <a:pt x="122" y="54"/>
                    <a:pt x="122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2" y="50"/>
                    <a:pt x="122" y="48"/>
                    <a:pt x="122" y="48"/>
                  </a:cubicBezTo>
                  <a:cubicBezTo>
                    <a:pt x="122" y="47"/>
                    <a:pt x="121" y="46"/>
                    <a:pt x="121" y="46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41"/>
                    <a:pt x="104" y="39"/>
                  </a:cubicBezTo>
                  <a:cubicBezTo>
                    <a:pt x="103" y="38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3" y="29"/>
                    <a:pt x="102" y="27"/>
                    <a:pt x="102" y="27"/>
                  </a:cubicBezTo>
                  <a:cubicBezTo>
                    <a:pt x="102" y="26"/>
                    <a:pt x="101" y="24"/>
                    <a:pt x="101" y="24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5"/>
                    <a:pt x="96" y="14"/>
                  </a:cubicBezTo>
                  <a:cubicBezTo>
                    <a:pt x="96" y="14"/>
                    <a:pt x="94" y="12"/>
                    <a:pt x="94" y="12"/>
                  </a:cubicBezTo>
                  <a:cubicBezTo>
                    <a:pt x="94" y="12"/>
                    <a:pt x="93" y="12"/>
                    <a:pt x="93" y="13"/>
                  </a:cubicBezTo>
                  <a:cubicBezTo>
                    <a:pt x="92" y="14"/>
                    <a:pt x="92" y="16"/>
                    <a:pt x="91" y="16"/>
                  </a:cubicBezTo>
                  <a:cubicBezTo>
                    <a:pt x="91" y="16"/>
                    <a:pt x="92" y="16"/>
                    <a:pt x="89" y="16"/>
                  </a:cubicBezTo>
                  <a:cubicBezTo>
                    <a:pt x="87" y="15"/>
                    <a:pt x="87" y="15"/>
                    <a:pt x="86" y="14"/>
                  </a:cubicBezTo>
                  <a:cubicBezTo>
                    <a:pt x="85" y="14"/>
                    <a:pt x="83" y="12"/>
                    <a:pt x="83" y="12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8"/>
                    <a:pt x="83" y="9"/>
                    <a:pt x="79" y="9"/>
                  </a:cubicBezTo>
                  <a:cubicBezTo>
                    <a:pt x="75" y="9"/>
                    <a:pt x="71" y="9"/>
                    <a:pt x="71" y="9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69" y="13"/>
                    <a:pt x="69" y="14"/>
                  </a:cubicBezTo>
                  <a:cubicBezTo>
                    <a:pt x="69" y="14"/>
                    <a:pt x="70" y="15"/>
                    <a:pt x="69" y="14"/>
                  </a:cubicBezTo>
                  <a:cubicBezTo>
                    <a:pt x="69" y="13"/>
                    <a:pt x="68" y="13"/>
                    <a:pt x="68" y="12"/>
                  </a:cubicBezTo>
                  <a:cubicBezTo>
                    <a:pt x="68" y="12"/>
                    <a:pt x="68" y="11"/>
                    <a:pt x="68" y="11"/>
                  </a:cubicBezTo>
                  <a:cubicBezTo>
                    <a:pt x="68" y="10"/>
                    <a:pt x="66" y="9"/>
                    <a:pt x="66" y="9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1"/>
                    <a:pt x="66" y="12"/>
                    <a:pt x="64" y="12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2"/>
                    <a:pt x="64" y="11"/>
                    <a:pt x="64" y="11"/>
                  </a:cubicBezTo>
                  <a:cubicBezTo>
                    <a:pt x="64" y="11"/>
                    <a:pt x="65" y="9"/>
                    <a:pt x="65" y="9"/>
                  </a:cubicBezTo>
                  <a:cubicBezTo>
                    <a:pt x="65" y="9"/>
                    <a:pt x="65" y="7"/>
                    <a:pt x="64" y="7"/>
                  </a:cubicBezTo>
                  <a:cubicBezTo>
                    <a:pt x="64" y="7"/>
                    <a:pt x="62" y="7"/>
                    <a:pt x="61" y="7"/>
                  </a:cubicBezTo>
                  <a:cubicBezTo>
                    <a:pt x="61" y="7"/>
                    <a:pt x="60" y="8"/>
                    <a:pt x="60" y="8"/>
                  </a:cubicBezTo>
                  <a:cubicBezTo>
                    <a:pt x="60" y="8"/>
                    <a:pt x="61" y="9"/>
                    <a:pt x="60" y="9"/>
                  </a:cubicBezTo>
                  <a:cubicBezTo>
                    <a:pt x="60" y="9"/>
                    <a:pt x="59" y="9"/>
                    <a:pt x="59" y="10"/>
                  </a:cubicBezTo>
                  <a:cubicBezTo>
                    <a:pt x="58" y="10"/>
                    <a:pt x="58" y="8"/>
                    <a:pt x="58" y="8"/>
                  </a:cubicBezTo>
                  <a:cubicBezTo>
                    <a:pt x="58" y="8"/>
                    <a:pt x="57" y="7"/>
                    <a:pt x="57" y="7"/>
                  </a:cubicBezTo>
                  <a:cubicBezTo>
                    <a:pt x="57" y="8"/>
                    <a:pt x="56" y="10"/>
                    <a:pt x="56" y="10"/>
                  </a:cubicBezTo>
                  <a:cubicBezTo>
                    <a:pt x="55" y="10"/>
                    <a:pt x="55" y="10"/>
                    <a:pt x="55" y="9"/>
                  </a:cubicBezTo>
                  <a:cubicBezTo>
                    <a:pt x="54" y="9"/>
                    <a:pt x="54" y="7"/>
                    <a:pt x="54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0" y="6"/>
                    <a:pt x="49" y="6"/>
                  </a:cubicBezTo>
                  <a:cubicBezTo>
                    <a:pt x="49" y="6"/>
                    <a:pt x="47" y="6"/>
                    <a:pt x="47" y="5"/>
                  </a:cubicBezTo>
                  <a:cubicBezTo>
                    <a:pt x="46" y="4"/>
                    <a:pt x="45" y="4"/>
                    <a:pt x="45" y="4"/>
                  </a:cubicBezTo>
                  <a:cubicBezTo>
                    <a:pt x="45" y="4"/>
                    <a:pt x="45" y="4"/>
                    <a:pt x="44" y="3"/>
                  </a:cubicBezTo>
                  <a:cubicBezTo>
                    <a:pt x="43" y="3"/>
                    <a:pt x="43" y="3"/>
                    <a:pt x="42" y="3"/>
                  </a:cubicBezTo>
                  <a:cubicBezTo>
                    <a:pt x="41" y="2"/>
                    <a:pt x="42" y="2"/>
                    <a:pt x="40" y="2"/>
                  </a:cubicBezTo>
                  <a:cubicBezTo>
                    <a:pt x="38" y="2"/>
                    <a:pt x="38" y="4"/>
                    <a:pt x="3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1"/>
                    <a:pt x="33" y="0"/>
                    <a:pt x="33" y="1"/>
                  </a:cubicBezTo>
                  <a:cubicBezTo>
                    <a:pt x="33" y="3"/>
                    <a:pt x="33" y="2"/>
                    <a:pt x="32" y="3"/>
                  </a:cubicBezTo>
                  <a:cubicBezTo>
                    <a:pt x="32" y="4"/>
                    <a:pt x="30" y="5"/>
                    <a:pt x="30" y="5"/>
                  </a:cubicBezTo>
                  <a:cubicBezTo>
                    <a:pt x="30" y="5"/>
                    <a:pt x="29" y="5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5" y="6"/>
                    <a:pt x="25" y="7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9"/>
                    <a:pt x="24" y="10"/>
                    <a:pt x="24" y="1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1" y="11"/>
                  </a:cubicBezTo>
                  <a:cubicBezTo>
                    <a:pt x="20" y="11"/>
                    <a:pt x="18" y="11"/>
                    <a:pt x="18" y="11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4" y="15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9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5"/>
                    <a:pt x="9" y="16"/>
                  </a:cubicBezTo>
                  <a:cubicBezTo>
                    <a:pt x="9" y="16"/>
                    <a:pt x="9" y="17"/>
                    <a:pt x="9" y="18"/>
                  </a:cubicBezTo>
                  <a:cubicBezTo>
                    <a:pt x="9" y="18"/>
                    <a:pt x="8" y="19"/>
                    <a:pt x="8" y="19"/>
                  </a:cubicBezTo>
                  <a:cubicBezTo>
                    <a:pt x="7" y="19"/>
                    <a:pt x="6" y="18"/>
                    <a:pt x="6" y="18"/>
                  </a:cubicBezTo>
                  <a:cubicBezTo>
                    <a:pt x="6" y="18"/>
                    <a:pt x="6" y="17"/>
                    <a:pt x="5" y="17"/>
                  </a:cubicBezTo>
                  <a:cubicBezTo>
                    <a:pt x="5" y="18"/>
                    <a:pt x="2" y="19"/>
                    <a:pt x="2" y="1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2"/>
                  </a:cubicBezTo>
                  <a:cubicBezTo>
                    <a:pt x="10" y="22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4"/>
                    <a:pt x="16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0" y="26"/>
                    <a:pt x="20" y="27"/>
                    <a:pt x="20" y="27"/>
                  </a:cubicBezTo>
                  <a:cubicBezTo>
                    <a:pt x="20" y="27"/>
                    <a:pt x="21" y="28"/>
                    <a:pt x="22" y="29"/>
                  </a:cubicBezTo>
                  <a:cubicBezTo>
                    <a:pt x="22" y="29"/>
                    <a:pt x="23" y="30"/>
                    <a:pt x="23" y="3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5"/>
                    <a:pt x="27" y="35"/>
                  </a:cubicBezTo>
                  <a:cubicBezTo>
                    <a:pt x="27" y="35"/>
                    <a:pt x="27" y="35"/>
                    <a:pt x="28" y="35"/>
                  </a:cubicBezTo>
                  <a:cubicBezTo>
                    <a:pt x="28" y="35"/>
                    <a:pt x="28" y="35"/>
                    <a:pt x="28" y="36"/>
                  </a:cubicBezTo>
                  <a:cubicBezTo>
                    <a:pt x="28" y="36"/>
                    <a:pt x="28" y="36"/>
                    <a:pt x="29" y="37"/>
                  </a:cubicBezTo>
                  <a:cubicBezTo>
                    <a:pt x="29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9"/>
                  </a:cubicBezTo>
                  <a:cubicBezTo>
                    <a:pt x="30" y="40"/>
                    <a:pt x="31" y="41"/>
                    <a:pt x="31" y="41"/>
                  </a:cubicBezTo>
                  <a:cubicBezTo>
                    <a:pt x="31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3" y="42"/>
                    <a:pt x="33" y="43"/>
                  </a:cubicBezTo>
                  <a:cubicBezTo>
                    <a:pt x="33" y="44"/>
                    <a:pt x="32" y="45"/>
                    <a:pt x="33" y="45"/>
                  </a:cubicBezTo>
                  <a:cubicBezTo>
                    <a:pt x="33" y="45"/>
                    <a:pt x="34" y="47"/>
                    <a:pt x="35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7" y="47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1"/>
                  </a:cubicBezTo>
                  <a:cubicBezTo>
                    <a:pt x="41" y="51"/>
                    <a:pt x="43" y="53"/>
                    <a:pt x="43" y="53"/>
                  </a:cubicBezTo>
                  <a:cubicBezTo>
                    <a:pt x="43" y="53"/>
                    <a:pt x="44" y="54"/>
                    <a:pt x="44" y="54"/>
                  </a:cubicBezTo>
                  <a:cubicBezTo>
                    <a:pt x="44" y="54"/>
                    <a:pt x="45" y="54"/>
                    <a:pt x="46" y="54"/>
                  </a:cubicBezTo>
                  <a:cubicBezTo>
                    <a:pt x="46" y="54"/>
                    <a:pt x="47" y="54"/>
                    <a:pt x="47" y="55"/>
                  </a:cubicBezTo>
                  <a:cubicBezTo>
                    <a:pt x="47" y="56"/>
                    <a:pt x="48" y="56"/>
                    <a:pt x="48" y="57"/>
                  </a:cubicBezTo>
                  <a:cubicBezTo>
                    <a:pt x="48" y="58"/>
                    <a:pt x="49" y="58"/>
                    <a:pt x="49" y="59"/>
                  </a:cubicBezTo>
                  <a:cubicBezTo>
                    <a:pt x="49" y="59"/>
                    <a:pt x="50" y="61"/>
                    <a:pt x="50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8" y="67"/>
                    <a:pt x="58" y="67"/>
                  </a:cubicBezTo>
                  <a:cubicBezTo>
                    <a:pt x="59" y="68"/>
                    <a:pt x="60" y="68"/>
                    <a:pt x="60" y="68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8" y="73"/>
                    <a:pt x="69" y="73"/>
                  </a:cubicBezTo>
                  <a:cubicBezTo>
                    <a:pt x="69" y="73"/>
                    <a:pt x="71" y="74"/>
                    <a:pt x="72" y="74"/>
                  </a:cubicBezTo>
                  <a:cubicBezTo>
                    <a:pt x="72" y="75"/>
                    <a:pt x="73" y="78"/>
                    <a:pt x="73" y="78"/>
                  </a:cubicBezTo>
                  <a:cubicBezTo>
                    <a:pt x="74" y="78"/>
                    <a:pt x="76" y="80"/>
                    <a:pt x="76" y="82"/>
                  </a:cubicBezTo>
                  <a:cubicBezTo>
                    <a:pt x="77" y="83"/>
                    <a:pt x="77" y="83"/>
                    <a:pt x="77" y="85"/>
                  </a:cubicBezTo>
                  <a:cubicBezTo>
                    <a:pt x="78" y="86"/>
                    <a:pt x="80" y="88"/>
                    <a:pt x="80" y="88"/>
                  </a:cubicBezTo>
                  <a:cubicBezTo>
                    <a:pt x="80" y="88"/>
                    <a:pt x="80" y="88"/>
                    <a:pt x="81" y="90"/>
                  </a:cubicBezTo>
                  <a:cubicBezTo>
                    <a:pt x="82" y="91"/>
                    <a:pt x="83" y="92"/>
                    <a:pt x="83" y="93"/>
                  </a:cubicBezTo>
                  <a:cubicBezTo>
                    <a:pt x="83" y="93"/>
                    <a:pt x="83" y="93"/>
                    <a:pt x="83" y="94"/>
                  </a:cubicBezTo>
                  <a:cubicBezTo>
                    <a:pt x="83" y="94"/>
                    <a:pt x="83" y="95"/>
                    <a:pt x="83" y="95"/>
                  </a:cubicBezTo>
                  <a:cubicBezTo>
                    <a:pt x="83" y="95"/>
                    <a:pt x="84" y="97"/>
                    <a:pt x="84" y="98"/>
                  </a:cubicBezTo>
                  <a:cubicBezTo>
                    <a:pt x="84" y="98"/>
                    <a:pt x="85" y="100"/>
                    <a:pt x="85" y="100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6"/>
                    <a:pt x="84" y="107"/>
                    <a:pt x="85" y="107"/>
                  </a:cubicBezTo>
                  <a:cubicBezTo>
                    <a:pt x="86" y="107"/>
                    <a:pt x="87" y="108"/>
                    <a:pt x="86" y="109"/>
                  </a:cubicBezTo>
                  <a:cubicBezTo>
                    <a:pt x="86" y="109"/>
                    <a:pt x="85" y="111"/>
                    <a:pt x="85" y="111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6" y="115"/>
                    <a:pt x="86" y="115"/>
                  </a:cubicBezTo>
                  <a:cubicBezTo>
                    <a:pt x="86" y="116"/>
                    <a:pt x="87" y="117"/>
                    <a:pt x="86" y="118"/>
                  </a:cubicBezTo>
                  <a:cubicBezTo>
                    <a:pt x="86" y="118"/>
                    <a:pt x="86" y="120"/>
                    <a:pt x="86" y="120"/>
                  </a:cubicBezTo>
                  <a:cubicBezTo>
                    <a:pt x="86" y="120"/>
                    <a:pt x="86" y="122"/>
                    <a:pt x="86" y="122"/>
                  </a:cubicBezTo>
                  <a:cubicBezTo>
                    <a:pt x="86" y="122"/>
                    <a:pt x="88" y="123"/>
                    <a:pt x="87" y="124"/>
                  </a:cubicBezTo>
                  <a:cubicBezTo>
                    <a:pt x="87" y="124"/>
                    <a:pt x="87" y="125"/>
                    <a:pt x="87" y="126"/>
                  </a:cubicBezTo>
                  <a:cubicBezTo>
                    <a:pt x="88" y="128"/>
                    <a:pt x="90" y="131"/>
                    <a:pt x="90" y="131"/>
                  </a:cubicBezTo>
                  <a:cubicBezTo>
                    <a:pt x="90" y="131"/>
                    <a:pt x="91" y="133"/>
                    <a:pt x="91" y="133"/>
                  </a:cubicBezTo>
                  <a:cubicBezTo>
                    <a:pt x="91" y="134"/>
                    <a:pt x="90" y="134"/>
                    <a:pt x="91" y="135"/>
                  </a:cubicBezTo>
                  <a:cubicBezTo>
                    <a:pt x="91" y="135"/>
                    <a:pt x="90" y="136"/>
                    <a:pt x="91" y="136"/>
                  </a:cubicBezTo>
                  <a:cubicBezTo>
                    <a:pt x="92" y="137"/>
                    <a:pt x="93" y="139"/>
                    <a:pt x="93" y="139"/>
                  </a:cubicBezTo>
                  <a:cubicBezTo>
                    <a:pt x="93" y="139"/>
                    <a:pt x="93" y="139"/>
                    <a:pt x="94" y="140"/>
                  </a:cubicBezTo>
                  <a:cubicBezTo>
                    <a:pt x="94" y="141"/>
                    <a:pt x="94" y="143"/>
                    <a:pt x="94" y="143"/>
                  </a:cubicBezTo>
                  <a:cubicBezTo>
                    <a:pt x="94" y="144"/>
                    <a:pt x="95" y="144"/>
                    <a:pt x="94" y="144"/>
                  </a:cubicBezTo>
                  <a:cubicBezTo>
                    <a:pt x="94" y="144"/>
                    <a:pt x="93" y="145"/>
                    <a:pt x="93" y="145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92" y="147"/>
                    <a:pt x="93" y="148"/>
                    <a:pt x="94" y="148"/>
                  </a:cubicBezTo>
                  <a:cubicBezTo>
                    <a:pt x="94" y="148"/>
                    <a:pt x="95" y="148"/>
                    <a:pt x="95" y="148"/>
                  </a:cubicBezTo>
                  <a:cubicBezTo>
                    <a:pt x="97" y="150"/>
                    <a:pt x="97" y="150"/>
                    <a:pt x="97" y="150"/>
                  </a:cubicBezTo>
                  <a:cubicBezTo>
                    <a:pt x="97" y="152"/>
                    <a:pt x="97" y="152"/>
                    <a:pt x="97" y="152"/>
                  </a:cubicBezTo>
                  <a:lnTo>
                    <a:pt x="99" y="152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4" name="Freeform 29"/>
            <p:cNvSpPr>
              <a:spLocks/>
            </p:cNvSpPr>
            <p:nvPr/>
          </p:nvSpPr>
          <p:spPr bwMode="auto">
            <a:xfrm>
              <a:off x="4446566" y="2676821"/>
              <a:ext cx="294647" cy="240785"/>
            </a:xfrm>
            <a:custGeom>
              <a:avLst/>
              <a:gdLst>
                <a:gd name="T0" fmla="*/ 27 w 129"/>
                <a:gd name="T1" fmla="*/ 5 h 109"/>
                <a:gd name="T2" fmla="*/ 33 w 129"/>
                <a:gd name="T3" fmla="*/ 7 h 109"/>
                <a:gd name="T4" fmla="*/ 40 w 129"/>
                <a:gd name="T5" fmla="*/ 5 h 109"/>
                <a:gd name="T6" fmla="*/ 57 w 129"/>
                <a:gd name="T7" fmla="*/ 8 h 109"/>
                <a:gd name="T8" fmla="*/ 64 w 129"/>
                <a:gd name="T9" fmla="*/ 7 h 109"/>
                <a:gd name="T10" fmla="*/ 66 w 129"/>
                <a:gd name="T11" fmla="*/ 1 h 109"/>
                <a:gd name="T12" fmla="*/ 70 w 129"/>
                <a:gd name="T13" fmla="*/ 5 h 109"/>
                <a:gd name="T14" fmla="*/ 77 w 129"/>
                <a:gd name="T15" fmla="*/ 1 h 109"/>
                <a:gd name="T16" fmla="*/ 79 w 129"/>
                <a:gd name="T17" fmla="*/ 5 h 109"/>
                <a:gd name="T18" fmla="*/ 86 w 129"/>
                <a:gd name="T19" fmla="*/ 3 h 109"/>
                <a:gd name="T20" fmla="*/ 89 w 129"/>
                <a:gd name="T21" fmla="*/ 9 h 109"/>
                <a:gd name="T22" fmla="*/ 92 w 129"/>
                <a:gd name="T23" fmla="*/ 12 h 109"/>
                <a:gd name="T24" fmla="*/ 98 w 129"/>
                <a:gd name="T25" fmla="*/ 15 h 109"/>
                <a:gd name="T26" fmla="*/ 102 w 129"/>
                <a:gd name="T27" fmla="*/ 18 h 109"/>
                <a:gd name="T28" fmla="*/ 113 w 129"/>
                <a:gd name="T29" fmla="*/ 22 h 109"/>
                <a:gd name="T30" fmla="*/ 109 w 129"/>
                <a:gd name="T31" fmla="*/ 30 h 109"/>
                <a:gd name="T32" fmla="*/ 104 w 129"/>
                <a:gd name="T33" fmla="*/ 36 h 109"/>
                <a:gd name="T34" fmla="*/ 105 w 129"/>
                <a:gd name="T35" fmla="*/ 43 h 109"/>
                <a:gd name="T36" fmla="*/ 114 w 129"/>
                <a:gd name="T37" fmla="*/ 42 h 109"/>
                <a:gd name="T38" fmla="*/ 120 w 129"/>
                <a:gd name="T39" fmla="*/ 46 h 109"/>
                <a:gd name="T40" fmla="*/ 124 w 129"/>
                <a:gd name="T41" fmla="*/ 50 h 109"/>
                <a:gd name="T42" fmla="*/ 124 w 129"/>
                <a:gd name="T43" fmla="*/ 57 h 109"/>
                <a:gd name="T44" fmla="*/ 129 w 129"/>
                <a:gd name="T45" fmla="*/ 61 h 109"/>
                <a:gd name="T46" fmla="*/ 127 w 129"/>
                <a:gd name="T47" fmla="*/ 67 h 109"/>
                <a:gd name="T48" fmla="*/ 123 w 129"/>
                <a:gd name="T49" fmla="*/ 70 h 109"/>
                <a:gd name="T50" fmla="*/ 120 w 129"/>
                <a:gd name="T51" fmla="*/ 74 h 109"/>
                <a:gd name="T52" fmla="*/ 117 w 129"/>
                <a:gd name="T53" fmla="*/ 75 h 109"/>
                <a:gd name="T54" fmla="*/ 112 w 129"/>
                <a:gd name="T55" fmla="*/ 77 h 109"/>
                <a:gd name="T56" fmla="*/ 109 w 129"/>
                <a:gd name="T57" fmla="*/ 82 h 109"/>
                <a:gd name="T58" fmla="*/ 105 w 129"/>
                <a:gd name="T59" fmla="*/ 88 h 109"/>
                <a:gd name="T60" fmla="*/ 106 w 129"/>
                <a:gd name="T61" fmla="*/ 92 h 109"/>
                <a:gd name="T62" fmla="*/ 107 w 129"/>
                <a:gd name="T63" fmla="*/ 96 h 109"/>
                <a:gd name="T64" fmla="*/ 110 w 129"/>
                <a:gd name="T65" fmla="*/ 101 h 109"/>
                <a:gd name="T66" fmla="*/ 107 w 129"/>
                <a:gd name="T67" fmla="*/ 107 h 109"/>
                <a:gd name="T68" fmla="*/ 103 w 129"/>
                <a:gd name="T69" fmla="*/ 108 h 109"/>
                <a:gd name="T70" fmla="*/ 96 w 129"/>
                <a:gd name="T71" fmla="*/ 109 h 109"/>
                <a:gd name="T72" fmla="*/ 93 w 129"/>
                <a:gd name="T73" fmla="*/ 104 h 109"/>
                <a:gd name="T74" fmla="*/ 90 w 129"/>
                <a:gd name="T75" fmla="*/ 101 h 109"/>
                <a:gd name="T76" fmla="*/ 85 w 129"/>
                <a:gd name="T77" fmla="*/ 97 h 109"/>
                <a:gd name="T78" fmla="*/ 79 w 129"/>
                <a:gd name="T79" fmla="*/ 94 h 109"/>
                <a:gd name="T80" fmla="*/ 74 w 129"/>
                <a:gd name="T81" fmla="*/ 89 h 109"/>
                <a:gd name="T82" fmla="*/ 74 w 129"/>
                <a:gd name="T83" fmla="*/ 81 h 109"/>
                <a:gd name="T84" fmla="*/ 74 w 129"/>
                <a:gd name="T85" fmla="*/ 73 h 109"/>
                <a:gd name="T86" fmla="*/ 69 w 129"/>
                <a:gd name="T87" fmla="*/ 78 h 109"/>
                <a:gd name="T88" fmla="*/ 63 w 129"/>
                <a:gd name="T89" fmla="*/ 82 h 109"/>
                <a:gd name="T90" fmla="*/ 55 w 129"/>
                <a:gd name="T91" fmla="*/ 82 h 109"/>
                <a:gd name="T92" fmla="*/ 51 w 129"/>
                <a:gd name="T93" fmla="*/ 77 h 109"/>
                <a:gd name="T94" fmla="*/ 52 w 129"/>
                <a:gd name="T95" fmla="*/ 73 h 109"/>
                <a:gd name="T96" fmla="*/ 53 w 129"/>
                <a:gd name="T97" fmla="*/ 66 h 109"/>
                <a:gd name="T98" fmla="*/ 49 w 129"/>
                <a:gd name="T99" fmla="*/ 62 h 109"/>
                <a:gd name="T100" fmla="*/ 42 w 129"/>
                <a:gd name="T101" fmla="*/ 61 h 109"/>
                <a:gd name="T102" fmla="*/ 35 w 129"/>
                <a:gd name="T103" fmla="*/ 60 h 109"/>
                <a:gd name="T104" fmla="*/ 33 w 129"/>
                <a:gd name="T105" fmla="*/ 52 h 109"/>
                <a:gd name="T106" fmla="*/ 27 w 129"/>
                <a:gd name="T107" fmla="*/ 51 h 109"/>
                <a:gd name="T108" fmla="*/ 23 w 129"/>
                <a:gd name="T109" fmla="*/ 46 h 109"/>
                <a:gd name="T110" fmla="*/ 19 w 129"/>
                <a:gd name="T111" fmla="*/ 37 h 109"/>
                <a:gd name="T112" fmla="*/ 11 w 129"/>
                <a:gd name="T113" fmla="*/ 37 h 109"/>
                <a:gd name="T114" fmla="*/ 6 w 129"/>
                <a:gd name="T115" fmla="*/ 35 h 109"/>
                <a:gd name="T116" fmla="*/ 2 w 129"/>
                <a:gd name="T117" fmla="*/ 29 h 109"/>
                <a:gd name="T118" fmla="*/ 0 w 129"/>
                <a:gd name="T119" fmla="*/ 2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" h="109">
                  <a:moveTo>
                    <a:pt x="1" y="18"/>
                  </a:moveTo>
                  <a:cubicBezTo>
                    <a:pt x="1" y="18"/>
                    <a:pt x="21" y="6"/>
                    <a:pt x="21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7"/>
                    <a:pt x="33" y="7"/>
                  </a:cubicBezTo>
                  <a:cubicBezTo>
                    <a:pt x="33" y="7"/>
                    <a:pt x="35" y="9"/>
                    <a:pt x="35" y="8"/>
                  </a:cubicBezTo>
                  <a:cubicBezTo>
                    <a:pt x="36" y="7"/>
                    <a:pt x="36" y="6"/>
                    <a:pt x="37" y="6"/>
                  </a:cubicBezTo>
                  <a:cubicBezTo>
                    <a:pt x="37" y="5"/>
                    <a:pt x="38" y="4"/>
                    <a:pt x="40" y="5"/>
                  </a:cubicBezTo>
                  <a:cubicBezTo>
                    <a:pt x="41" y="6"/>
                    <a:pt x="41" y="10"/>
                    <a:pt x="41" y="10"/>
                  </a:cubicBezTo>
                  <a:cubicBezTo>
                    <a:pt x="49" y="12"/>
                    <a:pt x="44" y="13"/>
                    <a:pt x="55" y="10"/>
                  </a:cubicBezTo>
                  <a:cubicBezTo>
                    <a:pt x="55" y="10"/>
                    <a:pt x="57" y="8"/>
                    <a:pt x="57" y="8"/>
                  </a:cubicBezTo>
                  <a:cubicBezTo>
                    <a:pt x="57" y="7"/>
                    <a:pt x="56" y="5"/>
                    <a:pt x="58" y="6"/>
                  </a:cubicBezTo>
                  <a:cubicBezTo>
                    <a:pt x="59" y="7"/>
                    <a:pt x="60" y="7"/>
                    <a:pt x="61" y="7"/>
                  </a:cubicBezTo>
                  <a:cubicBezTo>
                    <a:pt x="62" y="7"/>
                    <a:pt x="64" y="7"/>
                    <a:pt x="64" y="7"/>
                  </a:cubicBezTo>
                  <a:cubicBezTo>
                    <a:pt x="64" y="7"/>
                    <a:pt x="65" y="6"/>
                    <a:pt x="64" y="5"/>
                  </a:cubicBezTo>
                  <a:cubicBezTo>
                    <a:pt x="64" y="4"/>
                    <a:pt x="63" y="3"/>
                    <a:pt x="64" y="3"/>
                  </a:cubicBezTo>
                  <a:cubicBezTo>
                    <a:pt x="64" y="2"/>
                    <a:pt x="66" y="1"/>
                    <a:pt x="66" y="1"/>
                  </a:cubicBezTo>
                  <a:cubicBezTo>
                    <a:pt x="66" y="1"/>
                    <a:pt x="67" y="1"/>
                    <a:pt x="67" y="2"/>
                  </a:cubicBezTo>
                  <a:cubicBezTo>
                    <a:pt x="68" y="3"/>
                    <a:pt x="68" y="3"/>
                    <a:pt x="68" y="4"/>
                  </a:cubicBezTo>
                  <a:cubicBezTo>
                    <a:pt x="69" y="4"/>
                    <a:pt x="69" y="5"/>
                    <a:pt x="70" y="5"/>
                  </a:cubicBezTo>
                  <a:cubicBezTo>
                    <a:pt x="72" y="5"/>
                    <a:pt x="72" y="5"/>
                    <a:pt x="73" y="4"/>
                  </a:cubicBezTo>
                  <a:cubicBezTo>
                    <a:pt x="74" y="3"/>
                    <a:pt x="74" y="3"/>
                    <a:pt x="75" y="2"/>
                  </a:cubicBezTo>
                  <a:cubicBezTo>
                    <a:pt x="76" y="0"/>
                    <a:pt x="76" y="0"/>
                    <a:pt x="77" y="1"/>
                  </a:cubicBezTo>
                  <a:cubicBezTo>
                    <a:pt x="78" y="1"/>
                    <a:pt x="80" y="2"/>
                    <a:pt x="80" y="2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4"/>
                    <a:pt x="77" y="4"/>
                    <a:pt x="79" y="5"/>
                  </a:cubicBezTo>
                  <a:cubicBezTo>
                    <a:pt x="82" y="6"/>
                    <a:pt x="83" y="6"/>
                    <a:pt x="83" y="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1"/>
                    <a:pt x="86" y="3"/>
                  </a:cubicBezTo>
                  <a:cubicBezTo>
                    <a:pt x="86" y="4"/>
                    <a:pt x="87" y="6"/>
                    <a:pt x="87" y="6"/>
                  </a:cubicBezTo>
                  <a:cubicBezTo>
                    <a:pt x="87" y="6"/>
                    <a:pt x="87" y="9"/>
                    <a:pt x="88" y="9"/>
                  </a:cubicBezTo>
                  <a:cubicBezTo>
                    <a:pt x="89" y="9"/>
                    <a:pt x="89" y="8"/>
                    <a:pt x="89" y="9"/>
                  </a:cubicBezTo>
                  <a:cubicBezTo>
                    <a:pt x="89" y="10"/>
                    <a:pt x="88" y="10"/>
                    <a:pt x="89" y="10"/>
                  </a:cubicBezTo>
                  <a:cubicBezTo>
                    <a:pt x="89" y="11"/>
                    <a:pt x="91" y="11"/>
                    <a:pt x="91" y="11"/>
                  </a:cubicBezTo>
                  <a:cubicBezTo>
                    <a:pt x="91" y="11"/>
                    <a:pt x="92" y="11"/>
                    <a:pt x="92" y="12"/>
                  </a:cubicBezTo>
                  <a:cubicBezTo>
                    <a:pt x="92" y="13"/>
                    <a:pt x="92" y="14"/>
                    <a:pt x="92" y="14"/>
                  </a:cubicBezTo>
                  <a:cubicBezTo>
                    <a:pt x="92" y="14"/>
                    <a:pt x="95" y="14"/>
                    <a:pt x="95" y="14"/>
                  </a:cubicBezTo>
                  <a:cubicBezTo>
                    <a:pt x="96" y="14"/>
                    <a:pt x="97" y="15"/>
                    <a:pt x="98" y="15"/>
                  </a:cubicBezTo>
                  <a:cubicBezTo>
                    <a:pt x="99" y="14"/>
                    <a:pt x="100" y="13"/>
                    <a:pt x="100" y="13"/>
                  </a:cubicBezTo>
                  <a:cubicBezTo>
                    <a:pt x="100" y="14"/>
                    <a:pt x="102" y="14"/>
                    <a:pt x="102" y="15"/>
                  </a:cubicBezTo>
                  <a:cubicBezTo>
                    <a:pt x="101" y="17"/>
                    <a:pt x="100" y="17"/>
                    <a:pt x="102" y="18"/>
                  </a:cubicBezTo>
                  <a:cubicBezTo>
                    <a:pt x="104" y="18"/>
                    <a:pt x="106" y="19"/>
                    <a:pt x="107" y="19"/>
                  </a:cubicBezTo>
                  <a:cubicBezTo>
                    <a:pt x="108" y="20"/>
                    <a:pt x="111" y="21"/>
                    <a:pt x="111" y="21"/>
                  </a:cubicBezTo>
                  <a:cubicBezTo>
                    <a:pt x="112" y="21"/>
                    <a:pt x="113" y="21"/>
                    <a:pt x="113" y="22"/>
                  </a:cubicBezTo>
                  <a:cubicBezTo>
                    <a:pt x="113" y="23"/>
                    <a:pt x="111" y="25"/>
                    <a:pt x="111" y="25"/>
                  </a:cubicBezTo>
                  <a:cubicBezTo>
                    <a:pt x="111" y="25"/>
                    <a:pt x="110" y="26"/>
                    <a:pt x="110" y="27"/>
                  </a:cubicBezTo>
                  <a:cubicBezTo>
                    <a:pt x="110" y="27"/>
                    <a:pt x="109" y="30"/>
                    <a:pt x="109" y="30"/>
                  </a:cubicBezTo>
                  <a:cubicBezTo>
                    <a:pt x="108" y="31"/>
                    <a:pt x="107" y="33"/>
                    <a:pt x="107" y="33"/>
                  </a:cubicBezTo>
                  <a:cubicBezTo>
                    <a:pt x="107" y="33"/>
                    <a:pt x="106" y="35"/>
                    <a:pt x="105" y="35"/>
                  </a:cubicBezTo>
                  <a:cubicBezTo>
                    <a:pt x="105" y="35"/>
                    <a:pt x="104" y="36"/>
                    <a:pt x="104" y="36"/>
                  </a:cubicBezTo>
                  <a:cubicBezTo>
                    <a:pt x="104" y="37"/>
                    <a:pt x="104" y="39"/>
                    <a:pt x="104" y="39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10" y="43"/>
                  </a:cubicBezTo>
                  <a:cubicBezTo>
                    <a:pt x="112" y="43"/>
                    <a:pt x="113" y="42"/>
                    <a:pt x="114" y="42"/>
                  </a:cubicBezTo>
                  <a:cubicBezTo>
                    <a:pt x="114" y="42"/>
                    <a:pt x="116" y="44"/>
                    <a:pt x="116" y="44"/>
                  </a:cubicBezTo>
                  <a:cubicBezTo>
                    <a:pt x="116" y="44"/>
                    <a:pt x="117" y="45"/>
                    <a:pt x="117" y="45"/>
                  </a:cubicBezTo>
                  <a:cubicBezTo>
                    <a:pt x="118" y="45"/>
                    <a:pt x="120" y="46"/>
                    <a:pt x="120" y="46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0" y="49"/>
                    <a:pt x="122" y="49"/>
                    <a:pt x="122" y="49"/>
                  </a:cubicBezTo>
                  <a:cubicBezTo>
                    <a:pt x="123" y="49"/>
                    <a:pt x="124" y="50"/>
                    <a:pt x="124" y="50"/>
                  </a:cubicBezTo>
                  <a:cubicBezTo>
                    <a:pt x="124" y="50"/>
                    <a:pt x="124" y="53"/>
                    <a:pt x="123" y="53"/>
                  </a:cubicBezTo>
                  <a:cubicBezTo>
                    <a:pt x="123" y="54"/>
                    <a:pt x="122" y="55"/>
                    <a:pt x="122" y="55"/>
                  </a:cubicBezTo>
                  <a:cubicBezTo>
                    <a:pt x="122" y="55"/>
                    <a:pt x="123" y="57"/>
                    <a:pt x="124" y="57"/>
                  </a:cubicBezTo>
                  <a:cubicBezTo>
                    <a:pt x="124" y="57"/>
                    <a:pt x="126" y="57"/>
                    <a:pt x="126" y="57"/>
                  </a:cubicBezTo>
                  <a:cubicBezTo>
                    <a:pt x="127" y="57"/>
                    <a:pt x="128" y="59"/>
                    <a:pt x="128" y="59"/>
                  </a:cubicBezTo>
                  <a:cubicBezTo>
                    <a:pt x="128" y="59"/>
                    <a:pt x="129" y="60"/>
                    <a:pt x="129" y="61"/>
                  </a:cubicBezTo>
                  <a:cubicBezTo>
                    <a:pt x="129" y="62"/>
                    <a:pt x="128" y="64"/>
                    <a:pt x="128" y="64"/>
                  </a:cubicBezTo>
                  <a:cubicBezTo>
                    <a:pt x="128" y="64"/>
                    <a:pt x="128" y="65"/>
                    <a:pt x="128" y="66"/>
                  </a:cubicBezTo>
                  <a:cubicBezTo>
                    <a:pt x="128" y="66"/>
                    <a:pt x="127" y="67"/>
                    <a:pt x="127" y="67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25" y="67"/>
                    <a:pt x="125" y="70"/>
                    <a:pt x="124" y="70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2" y="70"/>
                    <a:pt x="121" y="71"/>
                    <a:pt x="121" y="71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19" y="74"/>
                  </a:cubicBezTo>
                  <a:cubicBezTo>
                    <a:pt x="119" y="74"/>
                    <a:pt x="119" y="74"/>
                    <a:pt x="118" y="74"/>
                  </a:cubicBezTo>
                  <a:cubicBezTo>
                    <a:pt x="118" y="75"/>
                    <a:pt x="117" y="75"/>
                    <a:pt x="117" y="75"/>
                  </a:cubicBezTo>
                  <a:cubicBezTo>
                    <a:pt x="117" y="75"/>
                    <a:pt x="116" y="74"/>
                    <a:pt x="115" y="74"/>
                  </a:cubicBezTo>
                  <a:cubicBezTo>
                    <a:pt x="115" y="74"/>
                    <a:pt x="114" y="74"/>
                    <a:pt x="114" y="75"/>
                  </a:cubicBezTo>
                  <a:cubicBezTo>
                    <a:pt x="113" y="76"/>
                    <a:pt x="113" y="77"/>
                    <a:pt x="112" y="77"/>
                  </a:cubicBezTo>
                  <a:cubicBezTo>
                    <a:pt x="112" y="77"/>
                    <a:pt x="111" y="78"/>
                    <a:pt x="111" y="78"/>
                  </a:cubicBezTo>
                  <a:cubicBezTo>
                    <a:pt x="111" y="78"/>
                    <a:pt x="111" y="80"/>
                    <a:pt x="110" y="80"/>
                  </a:cubicBezTo>
                  <a:cubicBezTo>
                    <a:pt x="110" y="81"/>
                    <a:pt x="109" y="82"/>
                    <a:pt x="109" y="82"/>
                  </a:cubicBezTo>
                  <a:cubicBezTo>
                    <a:pt x="109" y="82"/>
                    <a:pt x="109" y="83"/>
                    <a:pt x="109" y="83"/>
                  </a:cubicBezTo>
                  <a:cubicBezTo>
                    <a:pt x="109" y="84"/>
                    <a:pt x="109" y="85"/>
                    <a:pt x="108" y="86"/>
                  </a:cubicBezTo>
                  <a:cubicBezTo>
                    <a:pt x="107" y="86"/>
                    <a:pt x="105" y="88"/>
                    <a:pt x="105" y="88"/>
                  </a:cubicBezTo>
                  <a:cubicBezTo>
                    <a:pt x="105" y="88"/>
                    <a:pt x="105" y="88"/>
                    <a:pt x="105" y="89"/>
                  </a:cubicBezTo>
                  <a:cubicBezTo>
                    <a:pt x="106" y="89"/>
                    <a:pt x="106" y="90"/>
                    <a:pt x="106" y="90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5" y="93"/>
                    <a:pt x="105" y="94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09" y="98"/>
                    <a:pt x="110" y="100"/>
                    <a:pt x="110" y="101"/>
                  </a:cubicBezTo>
                  <a:cubicBezTo>
                    <a:pt x="110" y="101"/>
                    <a:pt x="110" y="103"/>
                    <a:pt x="110" y="103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7"/>
                    <a:pt x="106" y="107"/>
                    <a:pt x="106" y="107"/>
                  </a:cubicBezTo>
                  <a:cubicBezTo>
                    <a:pt x="105" y="107"/>
                    <a:pt x="104" y="107"/>
                    <a:pt x="104" y="107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6" y="109"/>
                    <a:pt x="96" y="109"/>
                    <a:pt x="96" y="109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90" y="101"/>
                    <a:pt x="90" y="101"/>
                    <a:pt x="90" y="101"/>
                  </a:cubicBezTo>
                  <a:cubicBezTo>
                    <a:pt x="90" y="101"/>
                    <a:pt x="89" y="99"/>
                    <a:pt x="89" y="99"/>
                  </a:cubicBezTo>
                  <a:cubicBezTo>
                    <a:pt x="88" y="99"/>
                    <a:pt x="87" y="99"/>
                    <a:pt x="87" y="99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7"/>
                    <a:pt x="85" y="96"/>
                    <a:pt x="84" y="95"/>
                  </a:cubicBezTo>
                  <a:cubicBezTo>
                    <a:pt x="83" y="95"/>
                    <a:pt x="83" y="94"/>
                    <a:pt x="82" y="94"/>
                  </a:cubicBezTo>
                  <a:cubicBezTo>
                    <a:pt x="81" y="94"/>
                    <a:pt x="79" y="94"/>
                    <a:pt x="79" y="94"/>
                  </a:cubicBezTo>
                  <a:cubicBezTo>
                    <a:pt x="79" y="94"/>
                    <a:pt x="78" y="92"/>
                    <a:pt x="77" y="92"/>
                  </a:cubicBezTo>
                  <a:cubicBezTo>
                    <a:pt x="77" y="92"/>
                    <a:pt x="73" y="92"/>
                    <a:pt x="73" y="92"/>
                  </a:cubicBezTo>
                  <a:cubicBezTo>
                    <a:pt x="73" y="92"/>
                    <a:pt x="74" y="89"/>
                    <a:pt x="74" y="89"/>
                  </a:cubicBezTo>
                  <a:cubicBezTo>
                    <a:pt x="74" y="88"/>
                    <a:pt x="74" y="85"/>
                    <a:pt x="74" y="85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84"/>
                    <a:pt x="73" y="83"/>
                    <a:pt x="74" y="81"/>
                  </a:cubicBezTo>
                  <a:cubicBezTo>
                    <a:pt x="75" y="79"/>
                    <a:pt x="74" y="80"/>
                    <a:pt x="75" y="78"/>
                  </a:cubicBezTo>
                  <a:cubicBezTo>
                    <a:pt x="76" y="75"/>
                    <a:pt x="76" y="74"/>
                    <a:pt x="76" y="7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3" y="72"/>
                    <a:pt x="72" y="73"/>
                  </a:cubicBezTo>
                  <a:cubicBezTo>
                    <a:pt x="72" y="75"/>
                    <a:pt x="71" y="75"/>
                    <a:pt x="71" y="75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81"/>
                    <a:pt x="70" y="82"/>
                    <a:pt x="67" y="82"/>
                  </a:cubicBezTo>
                  <a:cubicBezTo>
                    <a:pt x="65" y="82"/>
                    <a:pt x="63" y="82"/>
                    <a:pt x="63" y="82"/>
                  </a:cubicBezTo>
                  <a:cubicBezTo>
                    <a:pt x="63" y="82"/>
                    <a:pt x="65" y="84"/>
                    <a:pt x="63" y="84"/>
                  </a:cubicBezTo>
                  <a:cubicBezTo>
                    <a:pt x="60" y="84"/>
                    <a:pt x="57" y="84"/>
                    <a:pt x="57" y="8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2"/>
                    <a:pt x="51" y="80"/>
                  </a:cubicBezTo>
                  <a:cubicBezTo>
                    <a:pt x="51" y="79"/>
                    <a:pt x="50" y="77"/>
                    <a:pt x="51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1" y="73"/>
                    <a:pt x="51" y="72"/>
                  </a:cubicBezTo>
                  <a:cubicBezTo>
                    <a:pt x="51" y="71"/>
                    <a:pt x="52" y="69"/>
                    <a:pt x="52" y="69"/>
                  </a:cubicBezTo>
                  <a:cubicBezTo>
                    <a:pt x="53" y="68"/>
                    <a:pt x="53" y="66"/>
                    <a:pt x="53" y="6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0" y="67"/>
                    <a:pt x="50" y="65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1"/>
                    <a:pt x="46" y="61"/>
                    <a:pt x="45" y="62"/>
                  </a:cubicBezTo>
                  <a:cubicBezTo>
                    <a:pt x="45" y="62"/>
                    <a:pt x="42" y="61"/>
                    <a:pt x="42" y="61"/>
                  </a:cubicBezTo>
                  <a:cubicBezTo>
                    <a:pt x="42" y="61"/>
                    <a:pt x="39" y="61"/>
                    <a:pt x="39" y="61"/>
                  </a:cubicBezTo>
                  <a:cubicBezTo>
                    <a:pt x="38" y="61"/>
                    <a:pt x="37" y="63"/>
                    <a:pt x="37" y="63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4" y="55"/>
                    <a:pt x="34" y="54"/>
                  </a:cubicBezTo>
                  <a:cubicBezTo>
                    <a:pt x="34" y="54"/>
                    <a:pt x="33" y="52"/>
                    <a:pt x="33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28" y="51"/>
                    <a:pt x="27" y="51"/>
                  </a:cubicBezTo>
                  <a:cubicBezTo>
                    <a:pt x="26" y="51"/>
                    <a:pt x="26" y="51"/>
                    <a:pt x="25" y="51"/>
                  </a:cubicBezTo>
                  <a:cubicBezTo>
                    <a:pt x="25" y="51"/>
                    <a:pt x="23" y="49"/>
                    <a:pt x="23" y="49"/>
                  </a:cubicBezTo>
                  <a:cubicBezTo>
                    <a:pt x="23" y="48"/>
                    <a:pt x="23" y="47"/>
                    <a:pt x="23" y="46"/>
                  </a:cubicBezTo>
                  <a:cubicBezTo>
                    <a:pt x="22" y="45"/>
                    <a:pt x="21" y="43"/>
                    <a:pt x="21" y="42"/>
                  </a:cubicBezTo>
                  <a:cubicBezTo>
                    <a:pt x="21" y="42"/>
                    <a:pt x="22" y="40"/>
                    <a:pt x="22" y="40"/>
                  </a:cubicBezTo>
                  <a:cubicBezTo>
                    <a:pt x="21" y="39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5" y="37"/>
                    <a:pt x="14" y="37"/>
                  </a:cubicBezTo>
                  <a:cubicBezTo>
                    <a:pt x="13" y="37"/>
                    <a:pt x="11" y="36"/>
                    <a:pt x="11" y="37"/>
                  </a:cubicBezTo>
                  <a:cubicBezTo>
                    <a:pt x="11" y="37"/>
                    <a:pt x="12" y="39"/>
                    <a:pt x="11" y="39"/>
                  </a:cubicBezTo>
                  <a:cubicBezTo>
                    <a:pt x="10" y="39"/>
                    <a:pt x="8" y="39"/>
                    <a:pt x="7" y="38"/>
                  </a:cubicBezTo>
                  <a:cubicBezTo>
                    <a:pt x="6" y="37"/>
                    <a:pt x="6" y="36"/>
                    <a:pt x="6" y="35"/>
                  </a:cubicBezTo>
                  <a:cubicBezTo>
                    <a:pt x="5" y="35"/>
                    <a:pt x="5" y="33"/>
                    <a:pt x="4" y="33"/>
                  </a:cubicBezTo>
                  <a:cubicBezTo>
                    <a:pt x="3" y="33"/>
                    <a:pt x="2" y="33"/>
                    <a:pt x="2" y="32"/>
                  </a:cubicBezTo>
                  <a:cubicBezTo>
                    <a:pt x="2" y="32"/>
                    <a:pt x="2" y="29"/>
                    <a:pt x="2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4"/>
                    <a:pt x="1" y="24"/>
                  </a:cubicBezTo>
                  <a:cubicBezTo>
                    <a:pt x="1" y="23"/>
                    <a:pt x="0" y="22"/>
                    <a:pt x="0" y="22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1" y="18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5" name="Freeform 31"/>
            <p:cNvSpPr>
              <a:spLocks/>
            </p:cNvSpPr>
            <p:nvPr/>
          </p:nvSpPr>
          <p:spPr bwMode="auto">
            <a:xfrm>
              <a:off x="5187582" y="2730092"/>
              <a:ext cx="547516" cy="294055"/>
            </a:xfrm>
            <a:custGeom>
              <a:avLst/>
              <a:gdLst>
                <a:gd name="T0" fmla="*/ 56 w 240"/>
                <a:gd name="T1" fmla="*/ 20 h 133"/>
                <a:gd name="T2" fmla="*/ 62 w 240"/>
                <a:gd name="T3" fmla="*/ 12 h 133"/>
                <a:gd name="T4" fmla="*/ 73 w 240"/>
                <a:gd name="T5" fmla="*/ 5 h 133"/>
                <a:gd name="T6" fmla="*/ 85 w 240"/>
                <a:gd name="T7" fmla="*/ 3 h 133"/>
                <a:gd name="T8" fmla="*/ 87 w 240"/>
                <a:gd name="T9" fmla="*/ 11 h 133"/>
                <a:gd name="T10" fmla="*/ 93 w 240"/>
                <a:gd name="T11" fmla="*/ 10 h 133"/>
                <a:gd name="T12" fmla="*/ 99 w 240"/>
                <a:gd name="T13" fmla="*/ 6 h 133"/>
                <a:gd name="T14" fmla="*/ 103 w 240"/>
                <a:gd name="T15" fmla="*/ 3 h 133"/>
                <a:gd name="T16" fmla="*/ 110 w 240"/>
                <a:gd name="T17" fmla="*/ 10 h 133"/>
                <a:gd name="T18" fmla="*/ 118 w 240"/>
                <a:gd name="T19" fmla="*/ 12 h 133"/>
                <a:gd name="T20" fmla="*/ 126 w 240"/>
                <a:gd name="T21" fmla="*/ 15 h 133"/>
                <a:gd name="T22" fmla="*/ 133 w 240"/>
                <a:gd name="T23" fmla="*/ 17 h 133"/>
                <a:gd name="T24" fmla="*/ 142 w 240"/>
                <a:gd name="T25" fmla="*/ 18 h 133"/>
                <a:gd name="T26" fmla="*/ 146 w 240"/>
                <a:gd name="T27" fmla="*/ 25 h 133"/>
                <a:gd name="T28" fmla="*/ 146 w 240"/>
                <a:gd name="T29" fmla="*/ 31 h 133"/>
                <a:gd name="T30" fmla="*/ 154 w 240"/>
                <a:gd name="T31" fmla="*/ 38 h 133"/>
                <a:gd name="T32" fmla="*/ 164 w 240"/>
                <a:gd name="T33" fmla="*/ 44 h 133"/>
                <a:gd name="T34" fmla="*/ 169 w 240"/>
                <a:gd name="T35" fmla="*/ 31 h 133"/>
                <a:gd name="T36" fmla="*/ 176 w 240"/>
                <a:gd name="T37" fmla="*/ 28 h 133"/>
                <a:gd name="T38" fmla="*/ 194 w 240"/>
                <a:gd name="T39" fmla="*/ 29 h 133"/>
                <a:gd name="T40" fmla="*/ 193 w 240"/>
                <a:gd name="T41" fmla="*/ 39 h 133"/>
                <a:gd name="T42" fmla="*/ 203 w 240"/>
                <a:gd name="T43" fmla="*/ 46 h 133"/>
                <a:gd name="T44" fmla="*/ 213 w 240"/>
                <a:gd name="T45" fmla="*/ 45 h 133"/>
                <a:gd name="T46" fmla="*/ 228 w 240"/>
                <a:gd name="T47" fmla="*/ 54 h 133"/>
                <a:gd name="T48" fmla="*/ 237 w 240"/>
                <a:gd name="T49" fmla="*/ 60 h 133"/>
                <a:gd name="T50" fmla="*/ 236 w 240"/>
                <a:gd name="T51" fmla="*/ 68 h 133"/>
                <a:gd name="T52" fmla="*/ 229 w 240"/>
                <a:gd name="T53" fmla="*/ 70 h 133"/>
                <a:gd name="T54" fmla="*/ 223 w 240"/>
                <a:gd name="T55" fmla="*/ 78 h 133"/>
                <a:gd name="T56" fmla="*/ 216 w 240"/>
                <a:gd name="T57" fmla="*/ 85 h 133"/>
                <a:gd name="T58" fmla="*/ 215 w 240"/>
                <a:gd name="T59" fmla="*/ 97 h 133"/>
                <a:gd name="T60" fmla="*/ 208 w 240"/>
                <a:gd name="T61" fmla="*/ 104 h 133"/>
                <a:gd name="T62" fmla="*/ 203 w 240"/>
                <a:gd name="T63" fmla="*/ 109 h 133"/>
                <a:gd name="T64" fmla="*/ 198 w 240"/>
                <a:gd name="T65" fmla="*/ 111 h 133"/>
                <a:gd name="T66" fmla="*/ 193 w 240"/>
                <a:gd name="T67" fmla="*/ 111 h 133"/>
                <a:gd name="T68" fmla="*/ 189 w 240"/>
                <a:gd name="T69" fmla="*/ 110 h 133"/>
                <a:gd name="T70" fmla="*/ 184 w 240"/>
                <a:gd name="T71" fmla="*/ 111 h 133"/>
                <a:gd name="T72" fmla="*/ 181 w 240"/>
                <a:gd name="T73" fmla="*/ 115 h 133"/>
                <a:gd name="T74" fmla="*/ 179 w 240"/>
                <a:gd name="T75" fmla="*/ 121 h 133"/>
                <a:gd name="T76" fmla="*/ 177 w 240"/>
                <a:gd name="T77" fmla="*/ 123 h 133"/>
                <a:gd name="T78" fmla="*/ 163 w 240"/>
                <a:gd name="T79" fmla="*/ 115 h 133"/>
                <a:gd name="T80" fmla="*/ 147 w 240"/>
                <a:gd name="T81" fmla="*/ 118 h 133"/>
                <a:gd name="T82" fmla="*/ 134 w 240"/>
                <a:gd name="T83" fmla="*/ 112 h 133"/>
                <a:gd name="T84" fmla="*/ 119 w 240"/>
                <a:gd name="T85" fmla="*/ 110 h 133"/>
                <a:gd name="T86" fmla="*/ 106 w 240"/>
                <a:gd name="T87" fmla="*/ 108 h 133"/>
                <a:gd name="T88" fmla="*/ 104 w 240"/>
                <a:gd name="T89" fmla="*/ 121 h 133"/>
                <a:gd name="T90" fmla="*/ 97 w 240"/>
                <a:gd name="T91" fmla="*/ 131 h 133"/>
                <a:gd name="T92" fmla="*/ 86 w 240"/>
                <a:gd name="T93" fmla="*/ 131 h 133"/>
                <a:gd name="T94" fmla="*/ 74 w 240"/>
                <a:gd name="T95" fmla="*/ 131 h 133"/>
                <a:gd name="T96" fmla="*/ 63 w 240"/>
                <a:gd name="T97" fmla="*/ 122 h 133"/>
                <a:gd name="T98" fmla="*/ 55 w 240"/>
                <a:gd name="T99" fmla="*/ 114 h 133"/>
                <a:gd name="T100" fmla="*/ 45 w 240"/>
                <a:gd name="T101" fmla="*/ 107 h 133"/>
                <a:gd name="T102" fmla="*/ 39 w 240"/>
                <a:gd name="T103" fmla="*/ 100 h 133"/>
                <a:gd name="T104" fmla="*/ 24 w 240"/>
                <a:gd name="T105" fmla="*/ 93 h 133"/>
                <a:gd name="T106" fmla="*/ 17 w 240"/>
                <a:gd name="T107" fmla="*/ 79 h 133"/>
                <a:gd name="T108" fmla="*/ 16 w 240"/>
                <a:gd name="T109" fmla="*/ 66 h 133"/>
                <a:gd name="T110" fmla="*/ 4 w 240"/>
                <a:gd name="T111" fmla="*/ 55 h 133"/>
                <a:gd name="T112" fmla="*/ 5 w 240"/>
                <a:gd name="T113" fmla="*/ 44 h 133"/>
                <a:gd name="T114" fmla="*/ 10 w 240"/>
                <a:gd name="T115" fmla="*/ 45 h 133"/>
                <a:gd name="T116" fmla="*/ 23 w 240"/>
                <a:gd name="T117" fmla="*/ 38 h 133"/>
                <a:gd name="T118" fmla="*/ 35 w 240"/>
                <a:gd name="T119" fmla="*/ 3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0" h="133">
                  <a:moveTo>
                    <a:pt x="43" y="27"/>
                  </a:moveTo>
                  <a:cubicBezTo>
                    <a:pt x="44" y="27"/>
                    <a:pt x="50" y="22"/>
                    <a:pt x="50" y="2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2"/>
                    <a:pt x="62" y="12"/>
                  </a:cubicBezTo>
                  <a:cubicBezTo>
                    <a:pt x="65" y="12"/>
                    <a:pt x="74" y="10"/>
                    <a:pt x="74" y="10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1"/>
                    <a:pt x="73" y="1"/>
                  </a:cubicBezTo>
                  <a:cubicBezTo>
                    <a:pt x="74" y="0"/>
                    <a:pt x="78" y="0"/>
                    <a:pt x="80" y="0"/>
                  </a:cubicBezTo>
                  <a:cubicBezTo>
                    <a:pt x="82" y="1"/>
                    <a:pt x="84" y="2"/>
                    <a:pt x="85" y="3"/>
                  </a:cubicBezTo>
                  <a:cubicBezTo>
                    <a:pt x="85" y="4"/>
                    <a:pt x="85" y="3"/>
                    <a:pt x="85" y="5"/>
                  </a:cubicBezTo>
                  <a:cubicBezTo>
                    <a:pt x="85" y="7"/>
                    <a:pt x="85" y="9"/>
                    <a:pt x="85" y="9"/>
                  </a:cubicBezTo>
                  <a:cubicBezTo>
                    <a:pt x="85" y="9"/>
                    <a:pt x="86" y="10"/>
                    <a:pt x="87" y="11"/>
                  </a:cubicBezTo>
                  <a:cubicBezTo>
                    <a:pt x="89" y="11"/>
                    <a:pt x="91" y="13"/>
                    <a:pt x="91" y="12"/>
                  </a:cubicBezTo>
                  <a:cubicBezTo>
                    <a:pt x="91" y="12"/>
                    <a:pt x="92" y="11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2"/>
                    <a:pt x="94" y="11"/>
                    <a:pt x="95" y="11"/>
                  </a:cubicBezTo>
                  <a:cubicBezTo>
                    <a:pt x="96" y="11"/>
                    <a:pt x="100" y="9"/>
                    <a:pt x="100" y="9"/>
                  </a:cubicBezTo>
                  <a:cubicBezTo>
                    <a:pt x="100" y="9"/>
                    <a:pt x="99" y="6"/>
                    <a:pt x="99" y="6"/>
                  </a:cubicBezTo>
                  <a:cubicBezTo>
                    <a:pt x="99" y="5"/>
                    <a:pt x="99" y="4"/>
                    <a:pt x="99" y="3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3" y="3"/>
                    <a:pt x="103" y="3"/>
                  </a:cubicBezTo>
                  <a:cubicBezTo>
                    <a:pt x="103" y="3"/>
                    <a:pt x="105" y="4"/>
                    <a:pt x="106" y="4"/>
                  </a:cubicBezTo>
                  <a:cubicBezTo>
                    <a:pt x="108" y="4"/>
                    <a:pt x="107" y="6"/>
                    <a:pt x="107" y="6"/>
                  </a:cubicBezTo>
                  <a:cubicBezTo>
                    <a:pt x="107" y="6"/>
                    <a:pt x="108" y="9"/>
                    <a:pt x="110" y="10"/>
                  </a:cubicBezTo>
                  <a:cubicBezTo>
                    <a:pt x="112" y="11"/>
                    <a:pt x="112" y="12"/>
                    <a:pt x="112" y="13"/>
                  </a:cubicBezTo>
                  <a:cubicBezTo>
                    <a:pt x="113" y="13"/>
                    <a:pt x="115" y="13"/>
                    <a:pt x="115" y="13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20" y="13"/>
                    <a:pt x="121" y="15"/>
                  </a:cubicBezTo>
                  <a:cubicBezTo>
                    <a:pt x="121" y="16"/>
                    <a:pt x="124" y="16"/>
                    <a:pt x="125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6"/>
                    <a:pt x="129" y="20"/>
                    <a:pt x="132" y="17"/>
                  </a:cubicBezTo>
                  <a:cubicBezTo>
                    <a:pt x="135" y="14"/>
                    <a:pt x="133" y="17"/>
                    <a:pt x="133" y="17"/>
                  </a:cubicBezTo>
                  <a:cubicBezTo>
                    <a:pt x="133" y="17"/>
                    <a:pt x="135" y="20"/>
                    <a:pt x="136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145" y="17"/>
                    <a:pt x="148" y="17"/>
                    <a:pt x="147" y="22"/>
                  </a:cubicBezTo>
                  <a:cubicBezTo>
                    <a:pt x="147" y="26"/>
                    <a:pt x="146" y="25"/>
                    <a:pt x="146" y="25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6" y="31"/>
                  </a:cubicBezTo>
                  <a:cubicBezTo>
                    <a:pt x="147" y="31"/>
                    <a:pt x="148" y="35"/>
                    <a:pt x="14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1" y="36"/>
                    <a:pt x="152" y="37"/>
                    <a:pt x="154" y="38"/>
                  </a:cubicBezTo>
                  <a:cubicBezTo>
                    <a:pt x="155" y="39"/>
                    <a:pt x="156" y="41"/>
                    <a:pt x="156" y="41"/>
                  </a:cubicBezTo>
                  <a:cubicBezTo>
                    <a:pt x="156" y="41"/>
                    <a:pt x="157" y="45"/>
                    <a:pt x="158" y="46"/>
                  </a:cubicBezTo>
                  <a:cubicBezTo>
                    <a:pt x="158" y="48"/>
                    <a:pt x="164" y="44"/>
                    <a:pt x="164" y="4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69" y="31"/>
                    <a:pt x="169" y="31"/>
                    <a:pt x="169" y="31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7" y="27"/>
                    <a:pt x="171" y="28"/>
                    <a:pt x="172" y="27"/>
                  </a:cubicBezTo>
                  <a:cubicBezTo>
                    <a:pt x="173" y="27"/>
                    <a:pt x="176" y="28"/>
                    <a:pt x="176" y="28"/>
                  </a:cubicBezTo>
                  <a:cubicBezTo>
                    <a:pt x="187" y="33"/>
                    <a:pt x="187" y="33"/>
                    <a:pt x="187" y="33"/>
                  </a:cubicBezTo>
                  <a:cubicBezTo>
                    <a:pt x="187" y="33"/>
                    <a:pt x="190" y="32"/>
                    <a:pt x="192" y="32"/>
                  </a:cubicBezTo>
                  <a:cubicBezTo>
                    <a:pt x="194" y="31"/>
                    <a:pt x="194" y="29"/>
                    <a:pt x="194" y="29"/>
                  </a:cubicBezTo>
                  <a:cubicBezTo>
                    <a:pt x="194" y="29"/>
                    <a:pt x="195" y="30"/>
                    <a:pt x="197" y="32"/>
                  </a:cubicBezTo>
                  <a:cubicBezTo>
                    <a:pt x="198" y="35"/>
                    <a:pt x="196" y="34"/>
                    <a:pt x="196" y="35"/>
                  </a:cubicBezTo>
                  <a:cubicBezTo>
                    <a:pt x="195" y="36"/>
                    <a:pt x="193" y="39"/>
                    <a:pt x="193" y="39"/>
                  </a:cubicBezTo>
                  <a:cubicBezTo>
                    <a:pt x="193" y="39"/>
                    <a:pt x="194" y="41"/>
                    <a:pt x="196" y="41"/>
                  </a:cubicBezTo>
                  <a:cubicBezTo>
                    <a:pt x="197" y="41"/>
                    <a:pt x="196" y="42"/>
                    <a:pt x="198" y="44"/>
                  </a:cubicBezTo>
                  <a:cubicBezTo>
                    <a:pt x="199" y="45"/>
                    <a:pt x="203" y="46"/>
                    <a:pt x="203" y="46"/>
                  </a:cubicBezTo>
                  <a:cubicBezTo>
                    <a:pt x="206" y="46"/>
                    <a:pt x="206" y="46"/>
                    <a:pt x="206" y="46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12" y="44"/>
                    <a:pt x="213" y="45"/>
                  </a:cubicBezTo>
                  <a:cubicBezTo>
                    <a:pt x="214" y="46"/>
                    <a:pt x="219" y="48"/>
                    <a:pt x="219" y="48"/>
                  </a:cubicBezTo>
                  <a:cubicBezTo>
                    <a:pt x="227" y="46"/>
                    <a:pt x="227" y="46"/>
                    <a:pt x="227" y="46"/>
                  </a:cubicBezTo>
                  <a:cubicBezTo>
                    <a:pt x="228" y="54"/>
                    <a:pt x="228" y="54"/>
                    <a:pt x="228" y="54"/>
                  </a:cubicBezTo>
                  <a:cubicBezTo>
                    <a:pt x="228" y="54"/>
                    <a:pt x="230" y="54"/>
                    <a:pt x="232" y="57"/>
                  </a:cubicBezTo>
                  <a:cubicBezTo>
                    <a:pt x="234" y="59"/>
                    <a:pt x="233" y="57"/>
                    <a:pt x="233" y="57"/>
                  </a:cubicBezTo>
                  <a:cubicBezTo>
                    <a:pt x="233" y="57"/>
                    <a:pt x="237" y="59"/>
                    <a:pt x="237" y="60"/>
                  </a:cubicBezTo>
                  <a:cubicBezTo>
                    <a:pt x="237" y="62"/>
                    <a:pt x="238" y="64"/>
                    <a:pt x="238" y="64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39" y="68"/>
                    <a:pt x="237" y="68"/>
                    <a:pt x="236" y="68"/>
                  </a:cubicBezTo>
                  <a:cubicBezTo>
                    <a:pt x="236" y="68"/>
                    <a:pt x="235" y="69"/>
                    <a:pt x="234" y="69"/>
                  </a:cubicBezTo>
                  <a:cubicBezTo>
                    <a:pt x="233" y="69"/>
                    <a:pt x="232" y="69"/>
                    <a:pt x="232" y="69"/>
                  </a:cubicBezTo>
                  <a:cubicBezTo>
                    <a:pt x="229" y="70"/>
                    <a:pt x="229" y="70"/>
                    <a:pt x="229" y="70"/>
                  </a:cubicBezTo>
                  <a:cubicBezTo>
                    <a:pt x="227" y="72"/>
                    <a:pt x="227" y="72"/>
                    <a:pt x="227" y="72"/>
                  </a:cubicBezTo>
                  <a:cubicBezTo>
                    <a:pt x="225" y="74"/>
                    <a:pt x="225" y="74"/>
                    <a:pt x="225" y="74"/>
                  </a:cubicBezTo>
                  <a:cubicBezTo>
                    <a:pt x="223" y="78"/>
                    <a:pt x="223" y="78"/>
                    <a:pt x="223" y="78"/>
                  </a:cubicBezTo>
                  <a:cubicBezTo>
                    <a:pt x="223" y="80"/>
                    <a:pt x="223" y="80"/>
                    <a:pt x="223" y="80"/>
                  </a:cubicBezTo>
                  <a:cubicBezTo>
                    <a:pt x="220" y="83"/>
                    <a:pt x="220" y="83"/>
                    <a:pt x="220" y="83"/>
                  </a:cubicBezTo>
                  <a:cubicBezTo>
                    <a:pt x="220" y="83"/>
                    <a:pt x="217" y="85"/>
                    <a:pt x="216" y="85"/>
                  </a:cubicBezTo>
                  <a:cubicBezTo>
                    <a:pt x="215" y="85"/>
                    <a:pt x="215" y="89"/>
                    <a:pt x="215" y="89"/>
                  </a:cubicBezTo>
                  <a:cubicBezTo>
                    <a:pt x="216" y="92"/>
                    <a:pt x="216" y="92"/>
                    <a:pt x="216" y="92"/>
                  </a:cubicBezTo>
                  <a:cubicBezTo>
                    <a:pt x="215" y="97"/>
                    <a:pt x="215" y="97"/>
                    <a:pt x="215" y="97"/>
                  </a:cubicBezTo>
                  <a:cubicBezTo>
                    <a:pt x="210" y="99"/>
                    <a:pt x="210" y="99"/>
                    <a:pt x="210" y="99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8" y="104"/>
                    <a:pt x="208" y="104"/>
                    <a:pt x="208" y="104"/>
                  </a:cubicBezTo>
                  <a:cubicBezTo>
                    <a:pt x="208" y="104"/>
                    <a:pt x="206" y="105"/>
                    <a:pt x="206" y="105"/>
                  </a:cubicBezTo>
                  <a:cubicBezTo>
                    <a:pt x="205" y="104"/>
                    <a:pt x="205" y="107"/>
                    <a:pt x="205" y="107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02" y="109"/>
                    <a:pt x="202" y="109"/>
                    <a:pt x="202" y="109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199" y="111"/>
                    <a:pt x="198" y="111"/>
                  </a:cubicBezTo>
                  <a:cubicBezTo>
                    <a:pt x="198" y="112"/>
                    <a:pt x="197" y="111"/>
                    <a:pt x="197" y="111"/>
                  </a:cubicBezTo>
                  <a:cubicBezTo>
                    <a:pt x="197" y="111"/>
                    <a:pt x="195" y="110"/>
                    <a:pt x="194" y="110"/>
                  </a:cubicBezTo>
                  <a:cubicBezTo>
                    <a:pt x="194" y="110"/>
                    <a:pt x="194" y="111"/>
                    <a:pt x="193" y="111"/>
                  </a:cubicBezTo>
                  <a:cubicBezTo>
                    <a:pt x="193" y="111"/>
                    <a:pt x="193" y="111"/>
                    <a:pt x="192" y="112"/>
                  </a:cubicBezTo>
                  <a:cubicBezTo>
                    <a:pt x="192" y="112"/>
                    <a:pt x="191" y="111"/>
                    <a:pt x="190" y="111"/>
                  </a:cubicBezTo>
                  <a:cubicBezTo>
                    <a:pt x="189" y="111"/>
                    <a:pt x="189" y="110"/>
                    <a:pt x="189" y="110"/>
                  </a:cubicBezTo>
                  <a:cubicBezTo>
                    <a:pt x="188" y="110"/>
                    <a:pt x="187" y="110"/>
                    <a:pt x="187" y="110"/>
                  </a:cubicBezTo>
                  <a:cubicBezTo>
                    <a:pt x="186" y="110"/>
                    <a:pt x="185" y="110"/>
                    <a:pt x="185" y="110"/>
                  </a:cubicBezTo>
                  <a:cubicBezTo>
                    <a:pt x="185" y="110"/>
                    <a:pt x="184" y="111"/>
                    <a:pt x="184" y="111"/>
                  </a:cubicBezTo>
                  <a:cubicBezTo>
                    <a:pt x="182" y="112"/>
                    <a:pt x="182" y="112"/>
                    <a:pt x="182" y="112"/>
                  </a:cubicBezTo>
                  <a:cubicBezTo>
                    <a:pt x="182" y="112"/>
                    <a:pt x="182" y="113"/>
                    <a:pt x="182" y="114"/>
                  </a:cubicBezTo>
                  <a:cubicBezTo>
                    <a:pt x="182" y="114"/>
                    <a:pt x="182" y="115"/>
                    <a:pt x="181" y="115"/>
                  </a:cubicBezTo>
                  <a:cubicBezTo>
                    <a:pt x="181" y="115"/>
                    <a:pt x="180" y="117"/>
                    <a:pt x="180" y="117"/>
                  </a:cubicBezTo>
                  <a:cubicBezTo>
                    <a:pt x="180" y="117"/>
                    <a:pt x="180" y="120"/>
                    <a:pt x="179" y="120"/>
                  </a:cubicBezTo>
                  <a:cubicBezTo>
                    <a:pt x="179" y="120"/>
                    <a:pt x="179" y="121"/>
                    <a:pt x="179" y="121"/>
                  </a:cubicBezTo>
                  <a:cubicBezTo>
                    <a:pt x="179" y="123"/>
                    <a:pt x="179" y="123"/>
                    <a:pt x="179" y="123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117"/>
                    <a:pt x="172" y="118"/>
                    <a:pt x="169" y="118"/>
                  </a:cubicBezTo>
                  <a:cubicBezTo>
                    <a:pt x="166" y="117"/>
                    <a:pt x="164" y="115"/>
                    <a:pt x="163" y="115"/>
                  </a:cubicBezTo>
                  <a:cubicBezTo>
                    <a:pt x="163" y="114"/>
                    <a:pt x="159" y="115"/>
                    <a:pt x="159" y="115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47" y="118"/>
                    <a:pt x="147" y="118"/>
                    <a:pt x="147" y="118"/>
                  </a:cubicBezTo>
                  <a:cubicBezTo>
                    <a:pt x="143" y="116"/>
                    <a:pt x="143" y="116"/>
                    <a:pt x="143" y="116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34" y="112"/>
                    <a:pt x="134" y="112"/>
                    <a:pt x="134" y="112"/>
                  </a:cubicBezTo>
                  <a:cubicBezTo>
                    <a:pt x="134" y="112"/>
                    <a:pt x="130" y="112"/>
                    <a:pt x="129" y="112"/>
                  </a:cubicBezTo>
                  <a:cubicBezTo>
                    <a:pt x="128" y="112"/>
                    <a:pt x="124" y="111"/>
                    <a:pt x="124" y="111"/>
                  </a:cubicBezTo>
                  <a:cubicBezTo>
                    <a:pt x="124" y="111"/>
                    <a:pt x="120" y="110"/>
                    <a:pt x="119" y="110"/>
                  </a:cubicBezTo>
                  <a:cubicBezTo>
                    <a:pt x="118" y="110"/>
                    <a:pt x="116" y="110"/>
                    <a:pt x="116" y="110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111" y="109"/>
                    <a:pt x="108" y="107"/>
                    <a:pt x="106" y="108"/>
                  </a:cubicBezTo>
                  <a:cubicBezTo>
                    <a:pt x="105" y="108"/>
                    <a:pt x="106" y="111"/>
                    <a:pt x="106" y="111"/>
                  </a:cubicBezTo>
                  <a:cubicBezTo>
                    <a:pt x="106" y="111"/>
                    <a:pt x="105" y="116"/>
                    <a:pt x="106" y="117"/>
                  </a:cubicBezTo>
                  <a:cubicBezTo>
                    <a:pt x="106" y="119"/>
                    <a:pt x="104" y="121"/>
                    <a:pt x="104" y="121"/>
                  </a:cubicBezTo>
                  <a:cubicBezTo>
                    <a:pt x="101" y="122"/>
                    <a:pt x="101" y="122"/>
                    <a:pt x="101" y="122"/>
                  </a:cubicBezTo>
                  <a:cubicBezTo>
                    <a:pt x="101" y="122"/>
                    <a:pt x="99" y="125"/>
                    <a:pt x="98" y="125"/>
                  </a:cubicBezTo>
                  <a:cubicBezTo>
                    <a:pt x="97" y="125"/>
                    <a:pt x="97" y="131"/>
                    <a:pt x="97" y="131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89" y="129"/>
                    <a:pt x="89" y="129"/>
                    <a:pt x="89" y="129"/>
                  </a:cubicBezTo>
                  <a:cubicBezTo>
                    <a:pt x="86" y="131"/>
                    <a:pt x="86" y="131"/>
                    <a:pt x="86" y="131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85" y="133"/>
                    <a:pt x="80" y="132"/>
                    <a:pt x="80" y="132"/>
                  </a:cubicBezTo>
                  <a:cubicBezTo>
                    <a:pt x="79" y="132"/>
                    <a:pt x="74" y="131"/>
                    <a:pt x="74" y="131"/>
                  </a:cubicBezTo>
                  <a:cubicBezTo>
                    <a:pt x="74" y="131"/>
                    <a:pt x="71" y="128"/>
                    <a:pt x="70" y="127"/>
                  </a:cubicBezTo>
                  <a:cubicBezTo>
                    <a:pt x="69" y="126"/>
                    <a:pt x="65" y="124"/>
                    <a:pt x="64" y="123"/>
                  </a:cubicBezTo>
                  <a:cubicBezTo>
                    <a:pt x="63" y="123"/>
                    <a:pt x="63" y="122"/>
                    <a:pt x="63" y="122"/>
                  </a:cubicBezTo>
                  <a:cubicBezTo>
                    <a:pt x="61" y="120"/>
                    <a:pt x="62" y="120"/>
                    <a:pt x="60" y="119"/>
                  </a:cubicBezTo>
                  <a:cubicBezTo>
                    <a:pt x="58" y="118"/>
                    <a:pt x="56" y="118"/>
                    <a:pt x="56" y="117"/>
                  </a:cubicBezTo>
                  <a:cubicBezTo>
                    <a:pt x="56" y="116"/>
                    <a:pt x="57" y="114"/>
                    <a:pt x="55" y="114"/>
                  </a:cubicBezTo>
                  <a:cubicBezTo>
                    <a:pt x="52" y="115"/>
                    <a:pt x="51" y="116"/>
                    <a:pt x="50" y="115"/>
                  </a:cubicBezTo>
                  <a:cubicBezTo>
                    <a:pt x="48" y="113"/>
                    <a:pt x="48" y="113"/>
                    <a:pt x="47" y="111"/>
                  </a:cubicBezTo>
                  <a:cubicBezTo>
                    <a:pt x="47" y="109"/>
                    <a:pt x="47" y="107"/>
                    <a:pt x="45" y="107"/>
                  </a:cubicBezTo>
                  <a:cubicBezTo>
                    <a:pt x="43" y="107"/>
                    <a:pt x="42" y="106"/>
                    <a:pt x="42" y="106"/>
                  </a:cubicBezTo>
                  <a:cubicBezTo>
                    <a:pt x="42" y="106"/>
                    <a:pt x="41" y="107"/>
                    <a:pt x="40" y="105"/>
                  </a:cubicBezTo>
                  <a:cubicBezTo>
                    <a:pt x="39" y="102"/>
                    <a:pt x="42" y="104"/>
                    <a:pt x="39" y="100"/>
                  </a:cubicBezTo>
                  <a:cubicBezTo>
                    <a:pt x="35" y="97"/>
                    <a:pt x="36" y="98"/>
                    <a:pt x="34" y="96"/>
                  </a:cubicBezTo>
                  <a:cubicBezTo>
                    <a:pt x="32" y="94"/>
                    <a:pt x="26" y="96"/>
                    <a:pt x="26" y="96"/>
                  </a:cubicBezTo>
                  <a:cubicBezTo>
                    <a:pt x="26" y="96"/>
                    <a:pt x="26" y="95"/>
                    <a:pt x="24" y="93"/>
                  </a:cubicBezTo>
                  <a:cubicBezTo>
                    <a:pt x="22" y="91"/>
                    <a:pt x="23" y="92"/>
                    <a:pt x="21" y="90"/>
                  </a:cubicBezTo>
                  <a:cubicBezTo>
                    <a:pt x="19" y="87"/>
                    <a:pt x="19" y="88"/>
                    <a:pt x="19" y="85"/>
                  </a:cubicBezTo>
                  <a:cubicBezTo>
                    <a:pt x="18" y="82"/>
                    <a:pt x="19" y="81"/>
                    <a:pt x="17" y="79"/>
                  </a:cubicBezTo>
                  <a:cubicBezTo>
                    <a:pt x="15" y="77"/>
                    <a:pt x="14" y="75"/>
                    <a:pt x="14" y="75"/>
                  </a:cubicBezTo>
                  <a:cubicBezTo>
                    <a:pt x="14" y="75"/>
                    <a:pt x="12" y="73"/>
                    <a:pt x="14" y="70"/>
                  </a:cubicBezTo>
                  <a:cubicBezTo>
                    <a:pt x="16" y="68"/>
                    <a:pt x="16" y="68"/>
                    <a:pt x="16" y="66"/>
                  </a:cubicBezTo>
                  <a:cubicBezTo>
                    <a:pt x="16" y="65"/>
                    <a:pt x="17" y="63"/>
                    <a:pt x="14" y="61"/>
                  </a:cubicBezTo>
                  <a:cubicBezTo>
                    <a:pt x="11" y="59"/>
                    <a:pt x="11" y="59"/>
                    <a:pt x="8" y="57"/>
                  </a:cubicBezTo>
                  <a:cubicBezTo>
                    <a:pt x="6" y="56"/>
                    <a:pt x="5" y="56"/>
                    <a:pt x="4" y="55"/>
                  </a:cubicBezTo>
                  <a:cubicBezTo>
                    <a:pt x="3" y="54"/>
                    <a:pt x="1" y="47"/>
                    <a:pt x="1" y="4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7" y="40"/>
                  </a:cubicBezTo>
                  <a:cubicBezTo>
                    <a:pt x="19" y="40"/>
                    <a:pt x="22" y="38"/>
                    <a:pt x="23" y="38"/>
                  </a:cubicBezTo>
                  <a:cubicBezTo>
                    <a:pt x="25" y="38"/>
                    <a:pt x="28" y="39"/>
                    <a:pt x="29" y="39"/>
                  </a:cubicBezTo>
                  <a:cubicBezTo>
                    <a:pt x="31" y="38"/>
                    <a:pt x="32" y="38"/>
                    <a:pt x="32" y="36"/>
                  </a:cubicBezTo>
                  <a:cubicBezTo>
                    <a:pt x="33" y="35"/>
                    <a:pt x="31" y="33"/>
                    <a:pt x="35" y="32"/>
                  </a:cubicBezTo>
                  <a:cubicBezTo>
                    <a:pt x="38" y="30"/>
                    <a:pt x="39" y="30"/>
                    <a:pt x="39" y="30"/>
                  </a:cubicBezTo>
                  <a:lnTo>
                    <a:pt x="43" y="27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6" name="Freeform 33"/>
            <p:cNvSpPr>
              <a:spLocks noEditPoints="1"/>
            </p:cNvSpPr>
            <p:nvPr/>
          </p:nvSpPr>
          <p:spPr bwMode="auto">
            <a:xfrm>
              <a:off x="7687686" y="3123231"/>
              <a:ext cx="662956" cy="236523"/>
            </a:xfrm>
            <a:custGeom>
              <a:avLst/>
              <a:gdLst>
                <a:gd name="T0" fmla="*/ 233 w 291"/>
                <a:gd name="T1" fmla="*/ 67 h 107"/>
                <a:gd name="T2" fmla="*/ 238 w 291"/>
                <a:gd name="T3" fmla="*/ 67 h 107"/>
                <a:gd name="T4" fmla="*/ 239 w 291"/>
                <a:gd name="T5" fmla="*/ 67 h 107"/>
                <a:gd name="T6" fmla="*/ 240 w 291"/>
                <a:gd name="T7" fmla="*/ 67 h 107"/>
                <a:gd name="T8" fmla="*/ 240 w 291"/>
                <a:gd name="T9" fmla="*/ 68 h 107"/>
                <a:gd name="T10" fmla="*/ 241 w 291"/>
                <a:gd name="T11" fmla="*/ 68 h 107"/>
                <a:gd name="T12" fmla="*/ 242 w 291"/>
                <a:gd name="T13" fmla="*/ 67 h 107"/>
                <a:gd name="T14" fmla="*/ 243 w 291"/>
                <a:gd name="T15" fmla="*/ 67 h 107"/>
                <a:gd name="T16" fmla="*/ 244 w 291"/>
                <a:gd name="T17" fmla="*/ 67 h 107"/>
                <a:gd name="T18" fmla="*/ 245 w 291"/>
                <a:gd name="T19" fmla="*/ 67 h 107"/>
                <a:gd name="T20" fmla="*/ 247 w 291"/>
                <a:gd name="T21" fmla="*/ 67 h 107"/>
                <a:gd name="T22" fmla="*/ 248 w 291"/>
                <a:gd name="T23" fmla="*/ 67 h 107"/>
                <a:gd name="T24" fmla="*/ 249 w 291"/>
                <a:gd name="T25" fmla="*/ 66 h 107"/>
                <a:gd name="T26" fmla="*/ 250 w 291"/>
                <a:gd name="T27" fmla="*/ 66 h 107"/>
                <a:gd name="T28" fmla="*/ 250 w 291"/>
                <a:gd name="T29" fmla="*/ 66 h 107"/>
                <a:gd name="T30" fmla="*/ 267 w 291"/>
                <a:gd name="T31" fmla="*/ 71 h 107"/>
                <a:gd name="T32" fmla="*/ 268 w 291"/>
                <a:gd name="T33" fmla="*/ 71 h 107"/>
                <a:gd name="T34" fmla="*/ 268 w 291"/>
                <a:gd name="T35" fmla="*/ 71 h 107"/>
                <a:gd name="T36" fmla="*/ 268 w 291"/>
                <a:gd name="T37" fmla="*/ 71 h 107"/>
                <a:gd name="T38" fmla="*/ 233 w 291"/>
                <a:gd name="T39" fmla="*/ 67 h 107"/>
                <a:gd name="T40" fmla="*/ 269 w 291"/>
                <a:gd name="T41" fmla="*/ 71 h 107"/>
                <a:gd name="T42" fmla="*/ 269 w 291"/>
                <a:gd name="T43" fmla="*/ 71 h 107"/>
                <a:gd name="T44" fmla="*/ 270 w 291"/>
                <a:gd name="T45" fmla="*/ 71 h 107"/>
                <a:gd name="T46" fmla="*/ 270 w 291"/>
                <a:gd name="T47" fmla="*/ 70 h 107"/>
                <a:gd name="T48" fmla="*/ 271 w 291"/>
                <a:gd name="T49" fmla="*/ 70 h 107"/>
                <a:gd name="T50" fmla="*/ 271 w 291"/>
                <a:gd name="T51" fmla="*/ 70 h 107"/>
                <a:gd name="T52" fmla="*/ 271 w 291"/>
                <a:gd name="T53" fmla="*/ 70 h 107"/>
                <a:gd name="T54" fmla="*/ 272 w 291"/>
                <a:gd name="T55" fmla="*/ 69 h 107"/>
                <a:gd name="T56" fmla="*/ 272 w 291"/>
                <a:gd name="T57" fmla="*/ 69 h 107"/>
                <a:gd name="T58" fmla="*/ 273 w 291"/>
                <a:gd name="T59" fmla="*/ 69 h 107"/>
                <a:gd name="T60" fmla="*/ 273 w 291"/>
                <a:gd name="T61" fmla="*/ 69 h 107"/>
                <a:gd name="T62" fmla="*/ 273 w 291"/>
                <a:gd name="T63" fmla="*/ 69 h 107"/>
                <a:gd name="T64" fmla="*/ 273 w 291"/>
                <a:gd name="T65" fmla="*/ 69 h 107"/>
                <a:gd name="T66" fmla="*/ 274 w 291"/>
                <a:gd name="T67" fmla="*/ 69 h 107"/>
                <a:gd name="T68" fmla="*/ 274 w 291"/>
                <a:gd name="T69" fmla="*/ 69 h 107"/>
                <a:gd name="T70" fmla="*/ 274 w 291"/>
                <a:gd name="T71" fmla="*/ 69 h 107"/>
                <a:gd name="T72" fmla="*/ 275 w 291"/>
                <a:gd name="T73" fmla="*/ 69 h 107"/>
                <a:gd name="T74" fmla="*/ 289 w 291"/>
                <a:gd name="T75" fmla="*/ 72 h 107"/>
                <a:gd name="T76" fmla="*/ 272 w 291"/>
                <a:gd name="T77" fmla="*/ 47 h 107"/>
                <a:gd name="T78" fmla="*/ 266 w 291"/>
                <a:gd name="T79" fmla="*/ 27 h 107"/>
                <a:gd name="T80" fmla="*/ 235 w 291"/>
                <a:gd name="T81" fmla="*/ 11 h 107"/>
                <a:gd name="T82" fmla="*/ 197 w 291"/>
                <a:gd name="T83" fmla="*/ 0 h 107"/>
                <a:gd name="T84" fmla="*/ 173 w 291"/>
                <a:gd name="T85" fmla="*/ 17 h 107"/>
                <a:gd name="T86" fmla="*/ 157 w 291"/>
                <a:gd name="T87" fmla="*/ 16 h 107"/>
                <a:gd name="T88" fmla="*/ 111 w 291"/>
                <a:gd name="T89" fmla="*/ 2 h 107"/>
                <a:gd name="T90" fmla="*/ 68 w 291"/>
                <a:gd name="T91" fmla="*/ 11 h 107"/>
                <a:gd name="T92" fmla="*/ 40 w 291"/>
                <a:gd name="T93" fmla="*/ 10 h 107"/>
                <a:gd name="T94" fmla="*/ 1 w 291"/>
                <a:gd name="T95" fmla="*/ 10 h 107"/>
                <a:gd name="T96" fmla="*/ 18 w 291"/>
                <a:gd name="T97" fmla="*/ 27 h 107"/>
                <a:gd name="T98" fmla="*/ 44 w 291"/>
                <a:gd name="T99" fmla="*/ 31 h 107"/>
                <a:gd name="T100" fmla="*/ 70 w 291"/>
                <a:gd name="T101" fmla="*/ 48 h 107"/>
                <a:gd name="T102" fmla="*/ 83 w 291"/>
                <a:gd name="T103" fmla="*/ 100 h 107"/>
                <a:gd name="T104" fmla="*/ 124 w 291"/>
                <a:gd name="T105" fmla="*/ 91 h 107"/>
                <a:gd name="T106" fmla="*/ 153 w 291"/>
                <a:gd name="T107" fmla="*/ 102 h 107"/>
                <a:gd name="T108" fmla="*/ 163 w 291"/>
                <a:gd name="T109" fmla="*/ 98 h 107"/>
                <a:gd name="T110" fmla="*/ 184 w 291"/>
                <a:gd name="T111" fmla="*/ 85 h 107"/>
                <a:gd name="T112" fmla="*/ 193 w 291"/>
                <a:gd name="T113" fmla="*/ 79 h 107"/>
                <a:gd name="T114" fmla="*/ 206 w 291"/>
                <a:gd name="T115" fmla="*/ 76 h 107"/>
                <a:gd name="T116" fmla="*/ 215 w 291"/>
                <a:gd name="T117" fmla="*/ 68 h 107"/>
                <a:gd name="T118" fmla="*/ 230 w 291"/>
                <a:gd name="T119" fmla="*/ 6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1" h="107">
                  <a:moveTo>
                    <a:pt x="231" y="69"/>
                  </a:moveTo>
                  <a:cubicBezTo>
                    <a:pt x="232" y="69"/>
                    <a:pt x="232" y="69"/>
                    <a:pt x="232" y="69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31" y="68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5" y="67"/>
                    <a:pt x="237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9" y="67"/>
                    <a:pt x="249" y="67"/>
                    <a:pt x="249" y="67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2" y="70"/>
                    <a:pt x="252" y="70"/>
                    <a:pt x="252" y="70"/>
                  </a:cubicBezTo>
                  <a:cubicBezTo>
                    <a:pt x="252" y="70"/>
                    <a:pt x="263" y="72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31" y="69"/>
                    <a:pt x="231" y="69"/>
                    <a:pt x="231" y="69"/>
                  </a:cubicBezTo>
                  <a:close/>
                  <a:moveTo>
                    <a:pt x="233" y="67"/>
                  </a:move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2" y="70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6" y="69"/>
                    <a:pt x="276" y="69"/>
                    <a:pt x="278" y="70"/>
                  </a:cubicBezTo>
                  <a:cubicBezTo>
                    <a:pt x="280" y="71"/>
                    <a:pt x="283" y="72"/>
                    <a:pt x="285" y="72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90" y="69"/>
                    <a:pt x="290" y="69"/>
                    <a:pt x="290" y="69"/>
                  </a:cubicBezTo>
                  <a:cubicBezTo>
                    <a:pt x="291" y="71"/>
                    <a:pt x="289" y="61"/>
                    <a:pt x="290" y="58"/>
                  </a:cubicBezTo>
                  <a:cubicBezTo>
                    <a:pt x="289" y="57"/>
                    <a:pt x="288" y="56"/>
                    <a:pt x="288" y="55"/>
                  </a:cubicBezTo>
                  <a:cubicBezTo>
                    <a:pt x="287" y="54"/>
                    <a:pt x="282" y="54"/>
                    <a:pt x="282" y="54"/>
                  </a:cubicBezTo>
                  <a:cubicBezTo>
                    <a:pt x="278" y="53"/>
                    <a:pt x="278" y="53"/>
                    <a:pt x="278" y="53"/>
                  </a:cubicBezTo>
                  <a:cubicBezTo>
                    <a:pt x="275" y="52"/>
                    <a:pt x="275" y="52"/>
                    <a:pt x="275" y="52"/>
                  </a:cubicBezTo>
                  <a:cubicBezTo>
                    <a:pt x="272" y="47"/>
                    <a:pt x="272" y="47"/>
                    <a:pt x="272" y="47"/>
                  </a:cubicBezTo>
                  <a:cubicBezTo>
                    <a:pt x="269" y="45"/>
                    <a:pt x="269" y="45"/>
                    <a:pt x="269" y="45"/>
                  </a:cubicBezTo>
                  <a:cubicBezTo>
                    <a:pt x="266" y="41"/>
                    <a:pt x="266" y="41"/>
                    <a:pt x="266" y="41"/>
                  </a:cubicBezTo>
                  <a:cubicBezTo>
                    <a:pt x="267" y="39"/>
                    <a:pt x="267" y="39"/>
                    <a:pt x="267" y="39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0" y="35"/>
                    <a:pt x="271" y="35"/>
                    <a:pt x="272" y="33"/>
                  </a:cubicBezTo>
                  <a:cubicBezTo>
                    <a:pt x="274" y="30"/>
                    <a:pt x="272" y="30"/>
                    <a:pt x="272" y="30"/>
                  </a:cubicBezTo>
                  <a:cubicBezTo>
                    <a:pt x="272" y="30"/>
                    <a:pt x="268" y="28"/>
                    <a:pt x="266" y="27"/>
                  </a:cubicBezTo>
                  <a:cubicBezTo>
                    <a:pt x="264" y="26"/>
                    <a:pt x="261" y="29"/>
                    <a:pt x="261" y="29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46" y="24"/>
                    <a:pt x="246" y="24"/>
                    <a:pt x="246" y="24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5" y="20"/>
                    <a:pt x="235" y="12"/>
                    <a:pt x="235" y="11"/>
                  </a:cubicBezTo>
                  <a:cubicBezTo>
                    <a:pt x="235" y="9"/>
                    <a:pt x="235" y="6"/>
                    <a:pt x="235" y="6"/>
                  </a:cubicBezTo>
                  <a:cubicBezTo>
                    <a:pt x="235" y="6"/>
                    <a:pt x="229" y="5"/>
                    <a:pt x="226" y="6"/>
                  </a:cubicBezTo>
                  <a:cubicBezTo>
                    <a:pt x="224" y="7"/>
                    <a:pt x="221" y="6"/>
                    <a:pt x="221" y="6"/>
                  </a:cubicBezTo>
                  <a:cubicBezTo>
                    <a:pt x="221" y="6"/>
                    <a:pt x="213" y="5"/>
                    <a:pt x="212" y="3"/>
                  </a:cubicBezTo>
                  <a:cubicBezTo>
                    <a:pt x="212" y="1"/>
                    <a:pt x="212" y="2"/>
                    <a:pt x="211" y="2"/>
                  </a:cubicBezTo>
                  <a:cubicBezTo>
                    <a:pt x="209" y="2"/>
                    <a:pt x="203" y="2"/>
                    <a:pt x="203" y="2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7" y="9"/>
                    <a:pt x="197" y="9"/>
                    <a:pt x="197" y="9"/>
                  </a:cubicBezTo>
                  <a:cubicBezTo>
                    <a:pt x="196" y="7"/>
                    <a:pt x="196" y="7"/>
                    <a:pt x="196" y="7"/>
                  </a:cubicBezTo>
                  <a:cubicBezTo>
                    <a:pt x="186" y="6"/>
                    <a:pt x="186" y="6"/>
                    <a:pt x="186" y="6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0" y="18"/>
                    <a:pt x="168" y="18"/>
                  </a:cubicBezTo>
                  <a:cubicBezTo>
                    <a:pt x="168" y="19"/>
                    <a:pt x="167" y="21"/>
                    <a:pt x="167" y="22"/>
                  </a:cubicBezTo>
                  <a:cubicBezTo>
                    <a:pt x="166" y="23"/>
                    <a:pt x="164" y="23"/>
                    <a:pt x="164" y="23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32" y="11"/>
                    <a:pt x="132" y="11"/>
                    <a:pt x="132" y="11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97" y="4"/>
                    <a:pt x="94" y="4"/>
                  </a:cubicBezTo>
                  <a:cubicBezTo>
                    <a:pt x="92" y="5"/>
                    <a:pt x="88" y="6"/>
                    <a:pt x="87" y="7"/>
                  </a:cubicBezTo>
                  <a:cubicBezTo>
                    <a:pt x="86" y="7"/>
                    <a:pt x="84" y="10"/>
                    <a:pt x="83" y="10"/>
                  </a:cubicBezTo>
                  <a:cubicBezTo>
                    <a:pt x="81" y="11"/>
                    <a:pt x="79" y="10"/>
                    <a:pt x="77" y="10"/>
                  </a:cubicBezTo>
                  <a:cubicBezTo>
                    <a:pt x="76" y="11"/>
                    <a:pt x="75" y="12"/>
                    <a:pt x="73" y="12"/>
                  </a:cubicBezTo>
                  <a:cubicBezTo>
                    <a:pt x="71" y="12"/>
                    <a:pt x="70" y="11"/>
                    <a:pt x="68" y="11"/>
                  </a:cubicBezTo>
                  <a:cubicBezTo>
                    <a:pt x="67" y="12"/>
                    <a:pt x="66" y="13"/>
                    <a:pt x="64" y="13"/>
                  </a:cubicBezTo>
                  <a:cubicBezTo>
                    <a:pt x="62" y="13"/>
                    <a:pt x="61" y="11"/>
                    <a:pt x="61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4" y="10"/>
                    <a:pt x="51" y="10"/>
                  </a:cubicBezTo>
                  <a:cubicBezTo>
                    <a:pt x="49" y="9"/>
                    <a:pt x="47" y="8"/>
                    <a:pt x="45" y="9"/>
                  </a:cubicBezTo>
                  <a:cubicBezTo>
                    <a:pt x="43" y="9"/>
                    <a:pt x="40" y="10"/>
                    <a:pt x="40" y="1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0" y="6"/>
                    <a:pt x="6" y="7"/>
                  </a:cubicBezTo>
                  <a:cubicBezTo>
                    <a:pt x="5" y="7"/>
                    <a:pt x="2" y="10"/>
                    <a:pt x="1" y="10"/>
                  </a:cubicBezTo>
                  <a:cubicBezTo>
                    <a:pt x="0" y="11"/>
                    <a:pt x="1" y="11"/>
                    <a:pt x="2" y="14"/>
                  </a:cubicBezTo>
                  <a:cubicBezTo>
                    <a:pt x="2" y="16"/>
                    <a:pt x="1" y="20"/>
                    <a:pt x="1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6" y="30"/>
                    <a:pt x="17" y="29"/>
                  </a:cubicBezTo>
                  <a:cubicBezTo>
                    <a:pt x="18" y="29"/>
                    <a:pt x="17" y="28"/>
                    <a:pt x="18" y="27"/>
                  </a:cubicBezTo>
                  <a:cubicBezTo>
                    <a:pt x="18" y="27"/>
                    <a:pt x="19" y="29"/>
                    <a:pt x="21" y="29"/>
                  </a:cubicBezTo>
                  <a:cubicBezTo>
                    <a:pt x="21" y="29"/>
                    <a:pt x="23" y="28"/>
                    <a:pt x="24" y="28"/>
                  </a:cubicBezTo>
                  <a:cubicBezTo>
                    <a:pt x="26" y="29"/>
                    <a:pt x="27" y="30"/>
                    <a:pt x="28" y="30"/>
                  </a:cubicBezTo>
                  <a:cubicBezTo>
                    <a:pt x="29" y="30"/>
                    <a:pt x="31" y="29"/>
                    <a:pt x="31" y="29"/>
                  </a:cubicBezTo>
                  <a:cubicBezTo>
                    <a:pt x="33" y="28"/>
                    <a:pt x="36" y="27"/>
                    <a:pt x="39" y="30"/>
                  </a:cubicBezTo>
                  <a:cubicBezTo>
                    <a:pt x="41" y="32"/>
                    <a:pt x="40" y="33"/>
                    <a:pt x="42" y="33"/>
                  </a:cubicBezTo>
                  <a:cubicBezTo>
                    <a:pt x="43" y="33"/>
                    <a:pt x="43" y="31"/>
                    <a:pt x="44" y="31"/>
                  </a:cubicBezTo>
                  <a:cubicBezTo>
                    <a:pt x="46" y="31"/>
                    <a:pt x="46" y="32"/>
                    <a:pt x="47" y="33"/>
                  </a:cubicBezTo>
                  <a:cubicBezTo>
                    <a:pt x="49" y="35"/>
                    <a:pt x="49" y="37"/>
                    <a:pt x="51" y="38"/>
                  </a:cubicBezTo>
                  <a:cubicBezTo>
                    <a:pt x="51" y="39"/>
                    <a:pt x="52" y="40"/>
                    <a:pt x="54" y="40"/>
                  </a:cubicBezTo>
                  <a:cubicBezTo>
                    <a:pt x="54" y="40"/>
                    <a:pt x="55" y="39"/>
                    <a:pt x="55" y="39"/>
                  </a:cubicBezTo>
                  <a:cubicBezTo>
                    <a:pt x="57" y="39"/>
                    <a:pt x="59" y="39"/>
                    <a:pt x="60" y="40"/>
                  </a:cubicBezTo>
                  <a:cubicBezTo>
                    <a:pt x="64" y="40"/>
                    <a:pt x="65" y="40"/>
                    <a:pt x="66" y="41"/>
                  </a:cubicBezTo>
                  <a:cubicBezTo>
                    <a:pt x="67" y="43"/>
                    <a:pt x="69" y="46"/>
                    <a:pt x="70" y="48"/>
                  </a:cubicBezTo>
                  <a:cubicBezTo>
                    <a:pt x="71" y="50"/>
                    <a:pt x="72" y="54"/>
                    <a:pt x="73" y="55"/>
                  </a:cubicBezTo>
                  <a:cubicBezTo>
                    <a:pt x="74" y="57"/>
                    <a:pt x="77" y="58"/>
                    <a:pt x="78" y="60"/>
                  </a:cubicBezTo>
                  <a:cubicBezTo>
                    <a:pt x="79" y="61"/>
                    <a:pt x="81" y="67"/>
                    <a:pt x="82" y="69"/>
                  </a:cubicBezTo>
                  <a:cubicBezTo>
                    <a:pt x="82" y="71"/>
                    <a:pt x="85" y="74"/>
                    <a:pt x="86" y="78"/>
                  </a:cubicBezTo>
                  <a:cubicBezTo>
                    <a:pt x="88" y="82"/>
                    <a:pt x="88" y="85"/>
                    <a:pt x="88" y="85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85" y="98"/>
                    <a:pt x="83" y="100"/>
                  </a:cubicBezTo>
                  <a:cubicBezTo>
                    <a:pt x="81" y="102"/>
                    <a:pt x="84" y="105"/>
                    <a:pt x="87" y="106"/>
                  </a:cubicBezTo>
                  <a:cubicBezTo>
                    <a:pt x="90" y="107"/>
                    <a:pt x="98" y="103"/>
                    <a:pt x="98" y="103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00"/>
                    <a:pt x="120" y="99"/>
                    <a:pt x="122" y="98"/>
                  </a:cubicBezTo>
                  <a:cubicBezTo>
                    <a:pt x="125" y="96"/>
                    <a:pt x="125" y="94"/>
                    <a:pt x="125" y="94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30" y="88"/>
                    <a:pt x="133" y="87"/>
                  </a:cubicBezTo>
                  <a:cubicBezTo>
                    <a:pt x="135" y="86"/>
                    <a:pt x="137" y="88"/>
                    <a:pt x="137" y="88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4" y="95"/>
                    <a:pt x="144" y="95"/>
                    <a:pt x="144" y="95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52" y="99"/>
                    <a:pt x="153" y="100"/>
                  </a:cubicBezTo>
                  <a:cubicBezTo>
                    <a:pt x="153" y="102"/>
                    <a:pt x="153" y="102"/>
                    <a:pt x="153" y="102"/>
                  </a:cubicBezTo>
                  <a:cubicBezTo>
                    <a:pt x="159" y="102"/>
                    <a:pt x="159" y="102"/>
                    <a:pt x="159" y="102"/>
                  </a:cubicBezTo>
                  <a:cubicBezTo>
                    <a:pt x="164" y="100"/>
                    <a:pt x="164" y="100"/>
                    <a:pt x="164" y="100"/>
                  </a:cubicBezTo>
                  <a:cubicBezTo>
                    <a:pt x="169" y="103"/>
                    <a:pt x="169" y="103"/>
                    <a:pt x="169" y="103"/>
                  </a:cubicBezTo>
                  <a:cubicBezTo>
                    <a:pt x="174" y="101"/>
                    <a:pt x="174" y="101"/>
                    <a:pt x="174" y="101"/>
                  </a:cubicBezTo>
                  <a:cubicBezTo>
                    <a:pt x="173" y="100"/>
                    <a:pt x="169" y="99"/>
                    <a:pt x="169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3" y="98"/>
                    <a:pt x="163" y="98"/>
                    <a:pt x="163" y="98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165" y="93"/>
                    <a:pt x="165" y="93"/>
                    <a:pt x="165" y="93"/>
                  </a:cubicBezTo>
                  <a:cubicBezTo>
                    <a:pt x="165" y="93"/>
                    <a:pt x="167" y="93"/>
                    <a:pt x="168" y="92"/>
                  </a:cubicBezTo>
                  <a:cubicBezTo>
                    <a:pt x="170" y="92"/>
                    <a:pt x="176" y="90"/>
                    <a:pt x="176" y="90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78" y="88"/>
                    <a:pt x="180" y="86"/>
                    <a:pt x="180" y="86"/>
                  </a:cubicBezTo>
                  <a:cubicBezTo>
                    <a:pt x="181" y="86"/>
                    <a:pt x="183" y="86"/>
                    <a:pt x="184" y="85"/>
                  </a:cubicBezTo>
                  <a:cubicBezTo>
                    <a:pt x="184" y="85"/>
                    <a:pt x="185" y="84"/>
                    <a:pt x="185" y="84"/>
                  </a:cubicBezTo>
                  <a:cubicBezTo>
                    <a:pt x="185" y="84"/>
                    <a:pt x="185" y="83"/>
                    <a:pt x="186" y="83"/>
                  </a:cubicBezTo>
                  <a:cubicBezTo>
                    <a:pt x="186" y="83"/>
                    <a:pt x="187" y="83"/>
                    <a:pt x="188" y="82"/>
                  </a:cubicBezTo>
                  <a:cubicBezTo>
                    <a:pt x="189" y="82"/>
                    <a:pt x="189" y="82"/>
                    <a:pt x="190" y="81"/>
                  </a:cubicBezTo>
                  <a:cubicBezTo>
                    <a:pt x="190" y="81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2" y="78"/>
                    <a:pt x="193" y="79"/>
                    <a:pt x="193" y="79"/>
                  </a:cubicBezTo>
                  <a:cubicBezTo>
                    <a:pt x="193" y="79"/>
                    <a:pt x="195" y="79"/>
                    <a:pt x="196" y="79"/>
                  </a:cubicBezTo>
                  <a:cubicBezTo>
                    <a:pt x="196" y="79"/>
                    <a:pt x="198" y="78"/>
                    <a:pt x="198" y="78"/>
                  </a:cubicBezTo>
                  <a:cubicBezTo>
                    <a:pt x="198" y="78"/>
                    <a:pt x="198" y="77"/>
                    <a:pt x="199" y="77"/>
                  </a:cubicBezTo>
                  <a:cubicBezTo>
                    <a:pt x="200" y="77"/>
                    <a:pt x="201" y="77"/>
                    <a:pt x="202" y="77"/>
                  </a:cubicBezTo>
                  <a:cubicBezTo>
                    <a:pt x="202" y="77"/>
                    <a:pt x="204" y="77"/>
                    <a:pt x="204" y="77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06" y="76"/>
                    <a:pt x="205" y="75"/>
                    <a:pt x="206" y="76"/>
                  </a:cubicBezTo>
                  <a:cubicBezTo>
                    <a:pt x="207" y="76"/>
                    <a:pt x="206" y="77"/>
                    <a:pt x="207" y="76"/>
                  </a:cubicBezTo>
                  <a:cubicBezTo>
                    <a:pt x="208" y="75"/>
                    <a:pt x="209" y="73"/>
                    <a:pt x="209" y="73"/>
                  </a:cubicBezTo>
                  <a:cubicBezTo>
                    <a:pt x="209" y="73"/>
                    <a:pt x="208" y="73"/>
                    <a:pt x="210" y="73"/>
                  </a:cubicBezTo>
                  <a:cubicBezTo>
                    <a:pt x="212" y="73"/>
                    <a:pt x="212" y="73"/>
                    <a:pt x="214" y="73"/>
                  </a:cubicBezTo>
                  <a:cubicBezTo>
                    <a:pt x="215" y="73"/>
                    <a:pt x="217" y="72"/>
                    <a:pt x="217" y="72"/>
                  </a:cubicBezTo>
                  <a:cubicBezTo>
                    <a:pt x="218" y="72"/>
                    <a:pt x="219" y="71"/>
                    <a:pt x="219" y="71"/>
                  </a:cubicBezTo>
                  <a:cubicBezTo>
                    <a:pt x="219" y="70"/>
                    <a:pt x="215" y="68"/>
                    <a:pt x="215" y="68"/>
                  </a:cubicBezTo>
                  <a:cubicBezTo>
                    <a:pt x="215" y="68"/>
                    <a:pt x="213" y="67"/>
                    <a:pt x="216" y="67"/>
                  </a:cubicBezTo>
                  <a:cubicBezTo>
                    <a:pt x="219" y="68"/>
                    <a:pt x="220" y="68"/>
                    <a:pt x="220" y="68"/>
                  </a:cubicBezTo>
                  <a:cubicBezTo>
                    <a:pt x="221" y="68"/>
                    <a:pt x="221" y="67"/>
                    <a:pt x="222" y="67"/>
                  </a:cubicBezTo>
                  <a:cubicBezTo>
                    <a:pt x="223" y="66"/>
                    <a:pt x="224" y="65"/>
                    <a:pt x="224" y="65"/>
                  </a:cubicBezTo>
                  <a:cubicBezTo>
                    <a:pt x="225" y="65"/>
                    <a:pt x="227" y="67"/>
                    <a:pt x="227" y="67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30" y="69"/>
                    <a:pt x="231" y="69"/>
                    <a:pt x="231" y="69"/>
                  </a:cubicBezTo>
                  <a:cubicBezTo>
                    <a:pt x="269" y="71"/>
                    <a:pt x="269" y="71"/>
                    <a:pt x="269" y="71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7" name="Freeform 41"/>
            <p:cNvSpPr>
              <a:spLocks/>
            </p:cNvSpPr>
            <p:nvPr/>
          </p:nvSpPr>
          <p:spPr bwMode="auto">
            <a:xfrm>
              <a:off x="5769181" y="1991757"/>
              <a:ext cx="413386" cy="308971"/>
            </a:xfrm>
            <a:custGeom>
              <a:avLst/>
              <a:gdLst>
                <a:gd name="T0" fmla="*/ 24 w 181"/>
                <a:gd name="T1" fmla="*/ 22 h 140"/>
                <a:gd name="T2" fmla="*/ 34 w 181"/>
                <a:gd name="T3" fmla="*/ 20 h 140"/>
                <a:gd name="T4" fmla="*/ 48 w 181"/>
                <a:gd name="T5" fmla="*/ 17 h 140"/>
                <a:gd name="T6" fmla="*/ 55 w 181"/>
                <a:gd name="T7" fmla="*/ 16 h 140"/>
                <a:gd name="T8" fmla="*/ 62 w 181"/>
                <a:gd name="T9" fmla="*/ 15 h 140"/>
                <a:gd name="T10" fmla="*/ 73 w 181"/>
                <a:gd name="T11" fmla="*/ 13 h 140"/>
                <a:gd name="T12" fmla="*/ 81 w 181"/>
                <a:gd name="T13" fmla="*/ 13 h 140"/>
                <a:gd name="T14" fmla="*/ 92 w 181"/>
                <a:gd name="T15" fmla="*/ 15 h 140"/>
                <a:gd name="T16" fmla="*/ 101 w 181"/>
                <a:gd name="T17" fmla="*/ 12 h 140"/>
                <a:gd name="T18" fmla="*/ 105 w 181"/>
                <a:gd name="T19" fmla="*/ 3 h 140"/>
                <a:gd name="T20" fmla="*/ 112 w 181"/>
                <a:gd name="T21" fmla="*/ 6 h 140"/>
                <a:gd name="T22" fmla="*/ 117 w 181"/>
                <a:gd name="T23" fmla="*/ 10 h 140"/>
                <a:gd name="T24" fmla="*/ 128 w 181"/>
                <a:gd name="T25" fmla="*/ 11 h 140"/>
                <a:gd name="T26" fmla="*/ 135 w 181"/>
                <a:gd name="T27" fmla="*/ 10 h 140"/>
                <a:gd name="T28" fmla="*/ 139 w 181"/>
                <a:gd name="T29" fmla="*/ 14 h 140"/>
                <a:gd name="T30" fmla="*/ 146 w 181"/>
                <a:gd name="T31" fmla="*/ 17 h 140"/>
                <a:gd name="T32" fmla="*/ 153 w 181"/>
                <a:gd name="T33" fmla="*/ 22 h 140"/>
                <a:gd name="T34" fmla="*/ 158 w 181"/>
                <a:gd name="T35" fmla="*/ 27 h 140"/>
                <a:gd name="T36" fmla="*/ 167 w 181"/>
                <a:gd name="T37" fmla="*/ 28 h 140"/>
                <a:gd name="T38" fmla="*/ 170 w 181"/>
                <a:gd name="T39" fmla="*/ 28 h 140"/>
                <a:gd name="T40" fmla="*/ 172 w 181"/>
                <a:gd name="T41" fmla="*/ 37 h 140"/>
                <a:gd name="T42" fmla="*/ 170 w 181"/>
                <a:gd name="T43" fmla="*/ 47 h 140"/>
                <a:gd name="T44" fmla="*/ 180 w 181"/>
                <a:gd name="T45" fmla="*/ 47 h 140"/>
                <a:gd name="T46" fmla="*/ 177 w 181"/>
                <a:gd name="T47" fmla="*/ 53 h 140"/>
                <a:gd name="T48" fmla="*/ 170 w 181"/>
                <a:gd name="T49" fmla="*/ 57 h 140"/>
                <a:gd name="T50" fmla="*/ 167 w 181"/>
                <a:gd name="T51" fmla="*/ 67 h 140"/>
                <a:gd name="T52" fmla="*/ 157 w 181"/>
                <a:gd name="T53" fmla="*/ 74 h 140"/>
                <a:gd name="T54" fmla="*/ 156 w 181"/>
                <a:gd name="T55" fmla="*/ 82 h 140"/>
                <a:gd name="T56" fmla="*/ 158 w 181"/>
                <a:gd name="T57" fmla="*/ 95 h 140"/>
                <a:gd name="T58" fmla="*/ 157 w 181"/>
                <a:gd name="T59" fmla="*/ 104 h 140"/>
                <a:gd name="T60" fmla="*/ 164 w 181"/>
                <a:gd name="T61" fmla="*/ 107 h 140"/>
                <a:gd name="T62" fmla="*/ 157 w 181"/>
                <a:gd name="T63" fmla="*/ 114 h 140"/>
                <a:gd name="T64" fmla="*/ 156 w 181"/>
                <a:gd name="T65" fmla="*/ 108 h 140"/>
                <a:gd name="T66" fmla="*/ 146 w 181"/>
                <a:gd name="T67" fmla="*/ 113 h 140"/>
                <a:gd name="T68" fmla="*/ 144 w 181"/>
                <a:gd name="T69" fmla="*/ 119 h 140"/>
                <a:gd name="T70" fmla="*/ 136 w 181"/>
                <a:gd name="T71" fmla="*/ 121 h 140"/>
                <a:gd name="T72" fmla="*/ 133 w 181"/>
                <a:gd name="T73" fmla="*/ 128 h 140"/>
                <a:gd name="T74" fmla="*/ 122 w 181"/>
                <a:gd name="T75" fmla="*/ 134 h 140"/>
                <a:gd name="T76" fmla="*/ 106 w 181"/>
                <a:gd name="T77" fmla="*/ 137 h 140"/>
                <a:gd name="T78" fmla="*/ 97 w 181"/>
                <a:gd name="T79" fmla="*/ 140 h 140"/>
                <a:gd name="T80" fmla="*/ 93 w 181"/>
                <a:gd name="T81" fmla="*/ 131 h 140"/>
                <a:gd name="T82" fmla="*/ 79 w 181"/>
                <a:gd name="T83" fmla="*/ 124 h 140"/>
                <a:gd name="T84" fmla="*/ 73 w 181"/>
                <a:gd name="T85" fmla="*/ 121 h 140"/>
                <a:gd name="T86" fmla="*/ 69 w 181"/>
                <a:gd name="T87" fmla="*/ 121 h 140"/>
                <a:gd name="T88" fmla="*/ 66 w 181"/>
                <a:gd name="T89" fmla="*/ 107 h 140"/>
                <a:gd name="T90" fmla="*/ 68 w 181"/>
                <a:gd name="T91" fmla="*/ 97 h 140"/>
                <a:gd name="T92" fmla="*/ 61 w 181"/>
                <a:gd name="T93" fmla="*/ 90 h 140"/>
                <a:gd name="T94" fmla="*/ 56 w 181"/>
                <a:gd name="T95" fmla="*/ 86 h 140"/>
                <a:gd name="T96" fmla="*/ 45 w 181"/>
                <a:gd name="T97" fmla="*/ 89 h 140"/>
                <a:gd name="T98" fmla="*/ 31 w 181"/>
                <a:gd name="T99" fmla="*/ 90 h 140"/>
                <a:gd name="T100" fmla="*/ 22 w 181"/>
                <a:gd name="T101" fmla="*/ 86 h 140"/>
                <a:gd name="T102" fmla="*/ 13 w 181"/>
                <a:gd name="T103" fmla="*/ 79 h 140"/>
                <a:gd name="T104" fmla="*/ 11 w 181"/>
                <a:gd name="T105" fmla="*/ 69 h 140"/>
                <a:gd name="T106" fmla="*/ 4 w 181"/>
                <a:gd name="T107" fmla="*/ 60 h 140"/>
                <a:gd name="T108" fmla="*/ 1 w 181"/>
                <a:gd name="T109" fmla="*/ 49 h 140"/>
                <a:gd name="T110" fmla="*/ 1 w 181"/>
                <a:gd name="T111" fmla="*/ 42 h 140"/>
                <a:gd name="T112" fmla="*/ 7 w 181"/>
                <a:gd name="T113" fmla="*/ 35 h 140"/>
                <a:gd name="T114" fmla="*/ 12 w 181"/>
                <a:gd name="T115" fmla="*/ 31 h 140"/>
                <a:gd name="T116" fmla="*/ 18 w 181"/>
                <a:gd name="T117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1" h="140">
                  <a:moveTo>
                    <a:pt x="18" y="26"/>
                  </a:moveTo>
                  <a:cubicBezTo>
                    <a:pt x="24" y="22"/>
                    <a:pt x="24" y="22"/>
                    <a:pt x="24" y="2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9" y="18"/>
                    <a:pt x="40" y="18"/>
                  </a:cubicBezTo>
                  <a:cubicBezTo>
                    <a:pt x="41" y="18"/>
                    <a:pt x="48" y="17"/>
                    <a:pt x="48" y="17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4"/>
                    <a:pt x="55" y="15"/>
                    <a:pt x="55" y="16"/>
                  </a:cubicBezTo>
                  <a:cubicBezTo>
                    <a:pt x="56" y="17"/>
                    <a:pt x="59" y="20"/>
                    <a:pt x="60" y="20"/>
                  </a:cubicBezTo>
                  <a:cubicBezTo>
                    <a:pt x="61" y="19"/>
                    <a:pt x="62" y="15"/>
                    <a:pt x="62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2"/>
                    <a:pt x="74" y="12"/>
                  </a:cubicBezTo>
                  <a:cubicBezTo>
                    <a:pt x="75" y="13"/>
                    <a:pt x="81" y="13"/>
                    <a:pt x="81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91" y="15"/>
                    <a:pt x="92" y="15"/>
                  </a:cubicBezTo>
                  <a:cubicBezTo>
                    <a:pt x="92" y="14"/>
                    <a:pt x="95" y="10"/>
                    <a:pt x="95" y="10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5" y="3"/>
                    <a:pt x="105" y="3"/>
                  </a:cubicBezTo>
                  <a:cubicBezTo>
                    <a:pt x="106" y="3"/>
                    <a:pt x="110" y="0"/>
                    <a:pt x="110" y="0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6" y="17"/>
                    <a:pt x="146" y="17"/>
                    <a:pt x="146" y="17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3" y="22"/>
                    <a:pt x="153" y="22"/>
                    <a:pt x="153" y="22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62" y="27"/>
                    <a:pt x="162" y="27"/>
                    <a:pt x="162" y="27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47"/>
                    <a:pt x="170" y="47"/>
                    <a:pt x="170" y="47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80" y="47"/>
                    <a:pt x="180" y="47"/>
                    <a:pt x="180" y="47"/>
                  </a:cubicBezTo>
                  <a:cubicBezTo>
                    <a:pt x="181" y="51"/>
                    <a:pt x="181" y="51"/>
                    <a:pt x="181" y="51"/>
                  </a:cubicBezTo>
                  <a:cubicBezTo>
                    <a:pt x="177" y="53"/>
                    <a:pt x="177" y="53"/>
                    <a:pt x="177" y="53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67"/>
                    <a:pt x="167" y="67"/>
                    <a:pt x="167" y="67"/>
                  </a:cubicBezTo>
                  <a:cubicBezTo>
                    <a:pt x="159" y="70"/>
                    <a:pt x="159" y="70"/>
                    <a:pt x="159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7" y="89"/>
                    <a:pt x="157" y="89"/>
                    <a:pt x="157" y="89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5"/>
                    <a:pt x="156" y="100"/>
                    <a:pt x="155" y="103"/>
                  </a:cubicBezTo>
                  <a:cubicBezTo>
                    <a:pt x="155" y="105"/>
                    <a:pt x="157" y="104"/>
                    <a:pt x="157" y="104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4" y="107"/>
                    <a:pt x="164" y="107"/>
                    <a:pt x="164" y="107"/>
                  </a:cubicBezTo>
                  <a:cubicBezTo>
                    <a:pt x="162" y="113"/>
                    <a:pt x="162" y="113"/>
                    <a:pt x="162" y="113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44" y="119"/>
                    <a:pt x="144" y="119"/>
                    <a:pt x="144" y="119"/>
                  </a:cubicBezTo>
                  <a:cubicBezTo>
                    <a:pt x="144" y="119"/>
                    <a:pt x="140" y="119"/>
                    <a:pt x="138" y="119"/>
                  </a:cubicBezTo>
                  <a:cubicBezTo>
                    <a:pt x="137" y="118"/>
                    <a:pt x="136" y="121"/>
                    <a:pt x="136" y="121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6" y="134"/>
                    <a:pt x="96" y="134"/>
                    <a:pt x="96" y="134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93" y="131"/>
                    <a:pt x="90" y="125"/>
                    <a:pt x="90" y="124"/>
                  </a:cubicBezTo>
                  <a:cubicBezTo>
                    <a:pt x="90" y="124"/>
                    <a:pt x="79" y="124"/>
                    <a:pt x="79" y="124"/>
                  </a:cubicBezTo>
                  <a:cubicBezTo>
                    <a:pt x="79" y="124"/>
                    <a:pt x="77" y="121"/>
                    <a:pt x="76" y="119"/>
                  </a:cubicBezTo>
                  <a:cubicBezTo>
                    <a:pt x="76" y="118"/>
                    <a:pt x="73" y="121"/>
                    <a:pt x="73" y="121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66" y="117"/>
                    <a:pt x="66" y="117"/>
                    <a:pt x="66" y="11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7"/>
                    <a:pt x="66" y="96"/>
                    <a:pt x="65" y="94"/>
                  </a:cubicBezTo>
                  <a:cubicBezTo>
                    <a:pt x="63" y="92"/>
                    <a:pt x="61" y="90"/>
                    <a:pt x="61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0" y="43"/>
                    <a:pt x="1" y="42"/>
                  </a:cubicBezTo>
                  <a:cubicBezTo>
                    <a:pt x="3" y="42"/>
                    <a:pt x="6" y="41"/>
                    <a:pt x="6" y="4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4" y="26"/>
                    <a:pt x="14" y="26"/>
                    <a:pt x="14" y="26"/>
                  </a:cubicBezTo>
                  <a:lnTo>
                    <a:pt x="18" y="26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8" name="Freeform 53"/>
            <p:cNvSpPr>
              <a:spLocks noEditPoints="1"/>
            </p:cNvSpPr>
            <p:nvPr/>
          </p:nvSpPr>
          <p:spPr bwMode="auto">
            <a:xfrm>
              <a:off x="5766982" y="1595422"/>
              <a:ext cx="401292" cy="265289"/>
            </a:xfrm>
            <a:custGeom>
              <a:avLst/>
              <a:gdLst>
                <a:gd name="T0" fmla="*/ 39 w 176"/>
                <a:gd name="T1" fmla="*/ 45 h 120"/>
                <a:gd name="T2" fmla="*/ 46 w 176"/>
                <a:gd name="T3" fmla="*/ 36 h 120"/>
                <a:gd name="T4" fmla="*/ 51 w 176"/>
                <a:gd name="T5" fmla="*/ 29 h 120"/>
                <a:gd name="T6" fmla="*/ 59 w 176"/>
                <a:gd name="T7" fmla="*/ 23 h 120"/>
                <a:gd name="T8" fmla="*/ 69 w 176"/>
                <a:gd name="T9" fmla="*/ 17 h 120"/>
                <a:gd name="T10" fmla="*/ 81 w 176"/>
                <a:gd name="T11" fmla="*/ 15 h 120"/>
                <a:gd name="T12" fmla="*/ 89 w 176"/>
                <a:gd name="T13" fmla="*/ 6 h 120"/>
                <a:gd name="T14" fmla="*/ 97 w 176"/>
                <a:gd name="T15" fmla="*/ 7 h 120"/>
                <a:gd name="T16" fmla="*/ 109 w 176"/>
                <a:gd name="T17" fmla="*/ 4 h 120"/>
                <a:gd name="T18" fmla="*/ 128 w 176"/>
                <a:gd name="T19" fmla="*/ 7 h 120"/>
                <a:gd name="T20" fmla="*/ 154 w 176"/>
                <a:gd name="T21" fmla="*/ 3 h 120"/>
                <a:gd name="T22" fmla="*/ 157 w 176"/>
                <a:gd name="T23" fmla="*/ 15 h 120"/>
                <a:gd name="T24" fmla="*/ 162 w 176"/>
                <a:gd name="T25" fmla="*/ 70 h 120"/>
                <a:gd name="T26" fmla="*/ 171 w 176"/>
                <a:gd name="T27" fmla="*/ 80 h 120"/>
                <a:gd name="T28" fmla="*/ 168 w 176"/>
                <a:gd name="T29" fmla="*/ 90 h 120"/>
                <a:gd name="T30" fmla="*/ 165 w 176"/>
                <a:gd name="T31" fmla="*/ 105 h 120"/>
                <a:gd name="T32" fmla="*/ 146 w 176"/>
                <a:gd name="T33" fmla="*/ 109 h 120"/>
                <a:gd name="T34" fmla="*/ 124 w 176"/>
                <a:gd name="T35" fmla="*/ 99 h 120"/>
                <a:gd name="T36" fmla="*/ 102 w 176"/>
                <a:gd name="T37" fmla="*/ 94 h 120"/>
                <a:gd name="T38" fmla="*/ 78 w 176"/>
                <a:gd name="T39" fmla="*/ 107 h 120"/>
                <a:gd name="T40" fmla="*/ 77 w 176"/>
                <a:gd name="T41" fmla="*/ 87 h 120"/>
                <a:gd name="T42" fmla="*/ 71 w 176"/>
                <a:gd name="T43" fmla="*/ 83 h 120"/>
                <a:gd name="T44" fmla="*/ 61 w 176"/>
                <a:gd name="T45" fmla="*/ 86 h 120"/>
                <a:gd name="T46" fmla="*/ 48 w 176"/>
                <a:gd name="T47" fmla="*/ 75 h 120"/>
                <a:gd name="T48" fmla="*/ 48 w 176"/>
                <a:gd name="T49" fmla="*/ 67 h 120"/>
                <a:gd name="T50" fmla="*/ 53 w 176"/>
                <a:gd name="T51" fmla="*/ 62 h 120"/>
                <a:gd name="T52" fmla="*/ 42 w 176"/>
                <a:gd name="T53" fmla="*/ 59 h 120"/>
                <a:gd name="T54" fmla="*/ 45 w 176"/>
                <a:gd name="T55" fmla="*/ 51 h 120"/>
                <a:gd name="T56" fmla="*/ 23 w 176"/>
                <a:gd name="T57" fmla="*/ 103 h 120"/>
                <a:gd name="T58" fmla="*/ 22 w 176"/>
                <a:gd name="T59" fmla="*/ 105 h 120"/>
                <a:gd name="T60" fmla="*/ 64 w 176"/>
                <a:gd name="T61" fmla="*/ 98 h 120"/>
                <a:gd name="T62" fmla="*/ 9 w 176"/>
                <a:gd name="T63" fmla="*/ 91 h 120"/>
                <a:gd name="T64" fmla="*/ 4 w 176"/>
                <a:gd name="T65" fmla="*/ 87 h 120"/>
                <a:gd name="T66" fmla="*/ 3 w 176"/>
                <a:gd name="T67" fmla="*/ 91 h 120"/>
                <a:gd name="T68" fmla="*/ 5 w 176"/>
                <a:gd name="T69" fmla="*/ 98 h 120"/>
                <a:gd name="T70" fmla="*/ 10 w 176"/>
                <a:gd name="T71" fmla="*/ 103 h 120"/>
                <a:gd name="T72" fmla="*/ 14 w 176"/>
                <a:gd name="T73" fmla="*/ 110 h 120"/>
                <a:gd name="T74" fmla="*/ 13 w 176"/>
                <a:gd name="T75" fmla="*/ 119 h 120"/>
                <a:gd name="T76" fmla="*/ 17 w 176"/>
                <a:gd name="T77" fmla="*/ 109 h 120"/>
                <a:gd name="T78" fmla="*/ 23 w 176"/>
                <a:gd name="T79" fmla="*/ 99 h 120"/>
                <a:gd name="T80" fmla="*/ 29 w 176"/>
                <a:gd name="T81" fmla="*/ 97 h 120"/>
                <a:gd name="T82" fmla="*/ 33 w 176"/>
                <a:gd name="T83" fmla="*/ 89 h 120"/>
                <a:gd name="T84" fmla="*/ 37 w 176"/>
                <a:gd name="T85" fmla="*/ 84 h 120"/>
                <a:gd name="T86" fmla="*/ 41 w 176"/>
                <a:gd name="T87" fmla="*/ 81 h 120"/>
                <a:gd name="T88" fmla="*/ 28 w 176"/>
                <a:gd name="T89" fmla="*/ 77 h 120"/>
                <a:gd name="T90" fmla="*/ 19 w 176"/>
                <a:gd name="T91" fmla="*/ 81 h 120"/>
                <a:gd name="T92" fmla="*/ 12 w 176"/>
                <a:gd name="T93" fmla="*/ 86 h 120"/>
                <a:gd name="T94" fmla="*/ 35 w 176"/>
                <a:gd name="T95" fmla="*/ 76 h 120"/>
                <a:gd name="T96" fmla="*/ 43 w 176"/>
                <a:gd name="T97" fmla="*/ 76 h 120"/>
                <a:gd name="T98" fmla="*/ 36 w 176"/>
                <a:gd name="T99" fmla="*/ 75 h 120"/>
                <a:gd name="T100" fmla="*/ 27 w 176"/>
                <a:gd name="T101" fmla="*/ 59 h 120"/>
                <a:gd name="T102" fmla="*/ 27 w 176"/>
                <a:gd name="T103" fmla="*/ 65 h 120"/>
                <a:gd name="T104" fmla="*/ 22 w 176"/>
                <a:gd name="T105" fmla="*/ 70 h 120"/>
                <a:gd name="T106" fmla="*/ 14 w 176"/>
                <a:gd name="T107" fmla="*/ 68 h 120"/>
                <a:gd name="T108" fmla="*/ 3 w 176"/>
                <a:gd name="T109" fmla="*/ 64 h 120"/>
                <a:gd name="T110" fmla="*/ 16 w 176"/>
                <a:gd name="T111" fmla="*/ 54 h 120"/>
                <a:gd name="T112" fmla="*/ 36 w 176"/>
                <a:gd name="T113" fmla="*/ 52 h 120"/>
                <a:gd name="T114" fmla="*/ 33 w 176"/>
                <a:gd name="T115" fmla="*/ 57 h 120"/>
                <a:gd name="T116" fmla="*/ 36 w 176"/>
                <a:gd name="T117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6" h="120">
                  <a:moveTo>
                    <a:pt x="39" y="52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9" y="41"/>
                    <a:pt x="40" y="41"/>
                  </a:cubicBezTo>
                  <a:cubicBezTo>
                    <a:pt x="40" y="40"/>
                    <a:pt x="43" y="40"/>
                    <a:pt x="43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4" y="36"/>
                    <a:pt x="46" y="36"/>
                  </a:cubicBezTo>
                  <a:cubicBezTo>
                    <a:pt x="47" y="36"/>
                    <a:pt x="49" y="36"/>
                    <a:pt x="50" y="36"/>
                  </a:cubicBezTo>
                  <a:cubicBezTo>
                    <a:pt x="51" y="36"/>
                    <a:pt x="52" y="35"/>
                    <a:pt x="52" y="35"/>
                  </a:cubicBezTo>
                  <a:cubicBezTo>
                    <a:pt x="54" y="35"/>
                    <a:pt x="55" y="36"/>
                    <a:pt x="54" y="35"/>
                  </a:cubicBezTo>
                  <a:cubicBezTo>
                    <a:pt x="54" y="35"/>
                    <a:pt x="54" y="34"/>
                    <a:pt x="53" y="33"/>
                  </a:cubicBezTo>
                  <a:cubicBezTo>
                    <a:pt x="52" y="32"/>
                    <a:pt x="49" y="30"/>
                    <a:pt x="51" y="29"/>
                  </a:cubicBezTo>
                  <a:cubicBezTo>
                    <a:pt x="52" y="28"/>
                    <a:pt x="53" y="28"/>
                    <a:pt x="54" y="29"/>
                  </a:cubicBezTo>
                  <a:cubicBezTo>
                    <a:pt x="55" y="29"/>
                    <a:pt x="56" y="31"/>
                    <a:pt x="56" y="31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9" y="27"/>
                    <a:pt x="60" y="26"/>
                  </a:cubicBezTo>
                  <a:cubicBezTo>
                    <a:pt x="60" y="25"/>
                    <a:pt x="59" y="23"/>
                    <a:pt x="59" y="23"/>
                  </a:cubicBezTo>
                  <a:cubicBezTo>
                    <a:pt x="59" y="23"/>
                    <a:pt x="59" y="23"/>
                    <a:pt x="62" y="23"/>
                  </a:cubicBezTo>
                  <a:cubicBezTo>
                    <a:pt x="65" y="22"/>
                    <a:pt x="64" y="22"/>
                    <a:pt x="66" y="22"/>
                  </a:cubicBezTo>
                  <a:cubicBezTo>
                    <a:pt x="67" y="22"/>
                    <a:pt x="70" y="22"/>
                    <a:pt x="70" y="22"/>
                  </a:cubicBezTo>
                  <a:cubicBezTo>
                    <a:pt x="70" y="22"/>
                    <a:pt x="72" y="21"/>
                    <a:pt x="71" y="20"/>
                  </a:cubicBezTo>
                  <a:cubicBezTo>
                    <a:pt x="71" y="19"/>
                    <a:pt x="69" y="17"/>
                    <a:pt x="69" y="17"/>
                  </a:cubicBezTo>
                  <a:cubicBezTo>
                    <a:pt x="69" y="17"/>
                    <a:pt x="70" y="14"/>
                    <a:pt x="70" y="15"/>
                  </a:cubicBezTo>
                  <a:cubicBezTo>
                    <a:pt x="70" y="17"/>
                    <a:pt x="73" y="19"/>
                    <a:pt x="73" y="19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4" y="15"/>
                    <a:pt x="86" y="15"/>
                  </a:cubicBezTo>
                  <a:cubicBezTo>
                    <a:pt x="87" y="15"/>
                    <a:pt x="90" y="14"/>
                    <a:pt x="90" y="14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5"/>
                    <a:pt x="89" y="6"/>
                  </a:cubicBezTo>
                  <a:cubicBezTo>
                    <a:pt x="90" y="7"/>
                    <a:pt x="90" y="9"/>
                    <a:pt x="91" y="9"/>
                  </a:cubicBezTo>
                  <a:cubicBezTo>
                    <a:pt x="92" y="9"/>
                    <a:pt x="93" y="10"/>
                    <a:pt x="94" y="9"/>
                  </a:cubicBezTo>
                  <a:cubicBezTo>
                    <a:pt x="94" y="8"/>
                    <a:pt x="94" y="5"/>
                    <a:pt x="94" y="5"/>
                  </a:cubicBezTo>
                  <a:cubicBezTo>
                    <a:pt x="94" y="5"/>
                    <a:pt x="93" y="4"/>
                    <a:pt x="94" y="4"/>
                  </a:cubicBezTo>
                  <a:cubicBezTo>
                    <a:pt x="95" y="5"/>
                    <a:pt x="97" y="7"/>
                    <a:pt x="97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6"/>
                    <a:pt x="106" y="5"/>
                    <a:pt x="107" y="5"/>
                  </a:cubicBezTo>
                  <a:cubicBezTo>
                    <a:pt x="108" y="5"/>
                    <a:pt x="108" y="4"/>
                    <a:pt x="109" y="4"/>
                  </a:cubicBezTo>
                  <a:cubicBezTo>
                    <a:pt x="110" y="4"/>
                    <a:pt x="112" y="5"/>
                    <a:pt x="112" y="5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119" y="3"/>
                    <a:pt x="119" y="3"/>
                    <a:pt x="119" y="3"/>
                  </a:cubicBezTo>
                  <a:cubicBezTo>
                    <a:pt x="124" y="5"/>
                    <a:pt x="124" y="5"/>
                    <a:pt x="124" y="5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7"/>
                    <a:pt x="137" y="5"/>
                    <a:pt x="138" y="5"/>
                  </a:cubicBezTo>
                  <a:cubicBezTo>
                    <a:pt x="140" y="4"/>
                    <a:pt x="144" y="4"/>
                    <a:pt x="144" y="4"/>
                  </a:cubicBezTo>
                  <a:cubicBezTo>
                    <a:pt x="144" y="4"/>
                    <a:pt x="145" y="4"/>
                    <a:pt x="147" y="4"/>
                  </a:cubicBezTo>
                  <a:cubicBezTo>
                    <a:pt x="149" y="3"/>
                    <a:pt x="154" y="3"/>
                    <a:pt x="154" y="3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6" y="25"/>
                    <a:pt x="153" y="30"/>
                    <a:pt x="152" y="36"/>
                  </a:cubicBezTo>
                  <a:cubicBezTo>
                    <a:pt x="151" y="39"/>
                    <a:pt x="149" y="40"/>
                    <a:pt x="152" y="45"/>
                  </a:cubicBezTo>
                  <a:cubicBezTo>
                    <a:pt x="154" y="47"/>
                    <a:pt x="154" y="54"/>
                    <a:pt x="158" y="58"/>
                  </a:cubicBezTo>
                  <a:cubicBezTo>
                    <a:pt x="160" y="60"/>
                    <a:pt x="158" y="65"/>
                    <a:pt x="161" y="67"/>
                  </a:cubicBezTo>
                  <a:cubicBezTo>
                    <a:pt x="161" y="67"/>
                    <a:pt x="161" y="68"/>
                    <a:pt x="162" y="70"/>
                  </a:cubicBezTo>
                  <a:cubicBezTo>
                    <a:pt x="164" y="72"/>
                    <a:pt x="164" y="71"/>
                    <a:pt x="165" y="72"/>
                  </a:cubicBezTo>
                  <a:cubicBezTo>
                    <a:pt x="165" y="72"/>
                    <a:pt x="167" y="73"/>
                    <a:pt x="168" y="74"/>
                  </a:cubicBezTo>
                  <a:cubicBezTo>
                    <a:pt x="169" y="75"/>
                    <a:pt x="169" y="77"/>
                    <a:pt x="169" y="78"/>
                  </a:cubicBezTo>
                  <a:cubicBezTo>
                    <a:pt x="169" y="79"/>
                    <a:pt x="170" y="80"/>
                    <a:pt x="170" y="80"/>
                  </a:cubicBezTo>
                  <a:cubicBezTo>
                    <a:pt x="170" y="80"/>
                    <a:pt x="171" y="79"/>
                    <a:pt x="171" y="80"/>
                  </a:cubicBezTo>
                  <a:cubicBezTo>
                    <a:pt x="171" y="81"/>
                    <a:pt x="170" y="79"/>
                    <a:pt x="171" y="81"/>
                  </a:cubicBezTo>
                  <a:cubicBezTo>
                    <a:pt x="173" y="83"/>
                    <a:pt x="176" y="83"/>
                    <a:pt x="176" y="83"/>
                  </a:cubicBezTo>
                  <a:cubicBezTo>
                    <a:pt x="175" y="87"/>
                    <a:pt x="175" y="87"/>
                    <a:pt x="175" y="87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3" y="88"/>
                    <a:pt x="168" y="88"/>
                    <a:pt x="168" y="90"/>
                  </a:cubicBezTo>
                  <a:cubicBezTo>
                    <a:pt x="168" y="91"/>
                    <a:pt x="168" y="95"/>
                    <a:pt x="168" y="95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7" y="102"/>
                    <a:pt x="167" y="103"/>
                  </a:cubicBezTo>
                  <a:cubicBezTo>
                    <a:pt x="167" y="104"/>
                    <a:pt x="168" y="104"/>
                    <a:pt x="168" y="104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153" y="103"/>
                    <a:pt x="153" y="103"/>
                    <a:pt x="153" y="103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9" y="106"/>
                    <a:pt x="148" y="108"/>
                    <a:pt x="146" y="109"/>
                  </a:cubicBezTo>
                  <a:cubicBezTo>
                    <a:pt x="145" y="110"/>
                    <a:pt x="144" y="111"/>
                    <a:pt x="143" y="111"/>
                  </a:cubicBezTo>
                  <a:cubicBezTo>
                    <a:pt x="141" y="112"/>
                    <a:pt x="139" y="110"/>
                    <a:pt x="139" y="110"/>
                  </a:cubicBezTo>
                  <a:cubicBezTo>
                    <a:pt x="136" y="109"/>
                    <a:pt x="136" y="109"/>
                    <a:pt x="136" y="109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3" y="103"/>
                    <a:pt x="83" y="103"/>
                    <a:pt x="83" y="103"/>
                  </a:cubicBezTo>
                  <a:cubicBezTo>
                    <a:pt x="83" y="103"/>
                    <a:pt x="80" y="106"/>
                    <a:pt x="78" y="107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3"/>
                    <a:pt x="78" y="101"/>
                  </a:cubicBezTo>
                  <a:cubicBezTo>
                    <a:pt x="79" y="100"/>
                    <a:pt x="79" y="98"/>
                    <a:pt x="79" y="97"/>
                  </a:cubicBezTo>
                  <a:cubicBezTo>
                    <a:pt x="79" y="96"/>
                    <a:pt x="79" y="94"/>
                    <a:pt x="78" y="92"/>
                  </a:cubicBezTo>
                  <a:cubicBezTo>
                    <a:pt x="78" y="90"/>
                    <a:pt x="77" y="87"/>
                    <a:pt x="77" y="87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2" y="85"/>
                    <a:pt x="72" y="86"/>
                  </a:cubicBezTo>
                  <a:cubicBezTo>
                    <a:pt x="71" y="87"/>
                    <a:pt x="69" y="87"/>
                    <a:pt x="69" y="87"/>
                  </a:cubicBezTo>
                  <a:cubicBezTo>
                    <a:pt x="68" y="88"/>
                    <a:pt x="68" y="91"/>
                    <a:pt x="68" y="91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7"/>
                    <a:pt x="62" y="87"/>
                    <a:pt x="61" y="86"/>
                  </a:cubicBezTo>
                  <a:cubicBezTo>
                    <a:pt x="60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ubicBezTo>
                    <a:pt x="55" y="86"/>
                    <a:pt x="55" y="86"/>
                    <a:pt x="54" y="84"/>
                  </a:cubicBezTo>
                  <a:cubicBezTo>
                    <a:pt x="53" y="82"/>
                    <a:pt x="50" y="77"/>
                    <a:pt x="50" y="77"/>
                  </a:cubicBezTo>
                  <a:cubicBezTo>
                    <a:pt x="50" y="77"/>
                    <a:pt x="49" y="75"/>
                    <a:pt x="48" y="75"/>
                  </a:cubicBezTo>
                  <a:cubicBezTo>
                    <a:pt x="48" y="75"/>
                    <a:pt x="47" y="77"/>
                    <a:pt x="47" y="77"/>
                  </a:cubicBezTo>
                  <a:cubicBezTo>
                    <a:pt x="46" y="77"/>
                    <a:pt x="46" y="75"/>
                    <a:pt x="46" y="74"/>
                  </a:cubicBezTo>
                  <a:cubicBezTo>
                    <a:pt x="46" y="73"/>
                    <a:pt x="46" y="72"/>
                    <a:pt x="46" y="70"/>
                  </a:cubicBezTo>
                  <a:cubicBezTo>
                    <a:pt x="46" y="68"/>
                    <a:pt x="45" y="66"/>
                    <a:pt x="46" y="66"/>
                  </a:cubicBezTo>
                  <a:cubicBezTo>
                    <a:pt x="46" y="66"/>
                    <a:pt x="47" y="67"/>
                    <a:pt x="48" y="67"/>
                  </a:cubicBezTo>
                  <a:cubicBezTo>
                    <a:pt x="49" y="67"/>
                    <a:pt x="49" y="65"/>
                    <a:pt x="49" y="65"/>
                  </a:cubicBezTo>
                  <a:cubicBezTo>
                    <a:pt x="50" y="65"/>
                    <a:pt x="51" y="66"/>
                    <a:pt x="51" y="66"/>
                  </a:cubicBezTo>
                  <a:cubicBezTo>
                    <a:pt x="52" y="66"/>
                    <a:pt x="53" y="66"/>
                    <a:pt x="53" y="66"/>
                  </a:cubicBezTo>
                  <a:cubicBezTo>
                    <a:pt x="54" y="65"/>
                    <a:pt x="54" y="65"/>
                    <a:pt x="54" y="64"/>
                  </a:cubicBezTo>
                  <a:cubicBezTo>
                    <a:pt x="54" y="63"/>
                    <a:pt x="53" y="62"/>
                    <a:pt x="53" y="62"/>
                  </a:cubicBezTo>
                  <a:cubicBezTo>
                    <a:pt x="52" y="62"/>
                    <a:pt x="46" y="65"/>
                    <a:pt x="46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23" y="103"/>
                  </a:move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5" y="103"/>
                    <a:pt x="25" y="103"/>
                  </a:cubicBezTo>
                  <a:cubicBezTo>
                    <a:pt x="25" y="103"/>
                    <a:pt x="26" y="104"/>
                    <a:pt x="25" y="104"/>
                  </a:cubicBezTo>
                  <a:cubicBezTo>
                    <a:pt x="25" y="105"/>
                    <a:pt x="26" y="105"/>
                    <a:pt x="25" y="105"/>
                  </a:cubicBezTo>
                  <a:cubicBezTo>
                    <a:pt x="24" y="105"/>
                    <a:pt x="22" y="106"/>
                    <a:pt x="22" y="105"/>
                  </a:cubicBezTo>
                  <a:cubicBezTo>
                    <a:pt x="22" y="105"/>
                    <a:pt x="23" y="104"/>
                    <a:pt x="23" y="104"/>
                  </a:cubicBezTo>
                  <a:cubicBezTo>
                    <a:pt x="23" y="103"/>
                    <a:pt x="23" y="103"/>
                    <a:pt x="23" y="103"/>
                  </a:cubicBezTo>
                  <a:close/>
                  <a:moveTo>
                    <a:pt x="64" y="95"/>
                  </a:move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3" y="98"/>
                    <a:pt x="64" y="98"/>
                  </a:cubicBezTo>
                  <a:cubicBezTo>
                    <a:pt x="64" y="98"/>
                    <a:pt x="65" y="98"/>
                    <a:pt x="66" y="98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6"/>
                    <a:pt x="67" y="95"/>
                    <a:pt x="67" y="95"/>
                  </a:cubicBezTo>
                  <a:cubicBezTo>
                    <a:pt x="64" y="95"/>
                    <a:pt x="64" y="95"/>
                    <a:pt x="64" y="95"/>
                  </a:cubicBezTo>
                  <a:close/>
                  <a:moveTo>
                    <a:pt x="9" y="91"/>
                  </a:moveTo>
                  <a:cubicBezTo>
                    <a:pt x="9" y="91"/>
                    <a:pt x="9" y="91"/>
                    <a:pt x="9" y="91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7" y="89"/>
                    <a:pt x="7" y="88"/>
                  </a:cubicBezTo>
                  <a:cubicBezTo>
                    <a:pt x="7" y="88"/>
                    <a:pt x="5" y="87"/>
                    <a:pt x="5" y="87"/>
                  </a:cubicBezTo>
                  <a:cubicBezTo>
                    <a:pt x="5" y="87"/>
                    <a:pt x="4" y="87"/>
                    <a:pt x="4" y="87"/>
                  </a:cubicBezTo>
                  <a:cubicBezTo>
                    <a:pt x="3" y="87"/>
                    <a:pt x="3" y="88"/>
                    <a:pt x="3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88"/>
                    <a:pt x="1" y="88"/>
                    <a:pt x="1" y="88"/>
                  </a:cubicBezTo>
                  <a:cubicBezTo>
                    <a:pt x="0" y="89"/>
                    <a:pt x="1" y="90"/>
                    <a:pt x="1" y="90"/>
                  </a:cubicBezTo>
                  <a:cubicBezTo>
                    <a:pt x="1" y="90"/>
                    <a:pt x="2" y="90"/>
                    <a:pt x="3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4" y="91"/>
                    <a:pt x="6" y="93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5" y="98"/>
                    <a:pt x="5" y="98"/>
                  </a:cubicBezTo>
                  <a:cubicBezTo>
                    <a:pt x="6" y="98"/>
                    <a:pt x="4" y="99"/>
                    <a:pt x="4" y="99"/>
                  </a:cubicBezTo>
                  <a:cubicBezTo>
                    <a:pt x="4" y="99"/>
                    <a:pt x="4" y="101"/>
                    <a:pt x="4" y="101"/>
                  </a:cubicBezTo>
                  <a:cubicBezTo>
                    <a:pt x="4" y="101"/>
                    <a:pt x="5" y="102"/>
                    <a:pt x="7" y="102"/>
                  </a:cubicBezTo>
                  <a:cubicBezTo>
                    <a:pt x="9" y="103"/>
                    <a:pt x="9" y="102"/>
                    <a:pt x="9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3" y="110"/>
                    <a:pt x="12" y="110"/>
                  </a:cubicBezTo>
                  <a:cubicBezTo>
                    <a:pt x="12" y="111"/>
                    <a:pt x="12" y="112"/>
                    <a:pt x="11" y="112"/>
                  </a:cubicBezTo>
                  <a:cubicBezTo>
                    <a:pt x="11" y="112"/>
                    <a:pt x="11" y="114"/>
                    <a:pt x="10" y="115"/>
                  </a:cubicBezTo>
                  <a:cubicBezTo>
                    <a:pt x="10" y="116"/>
                    <a:pt x="11" y="117"/>
                    <a:pt x="11" y="118"/>
                  </a:cubicBezTo>
                  <a:cubicBezTo>
                    <a:pt x="11" y="120"/>
                    <a:pt x="12" y="119"/>
                    <a:pt x="13" y="119"/>
                  </a:cubicBezTo>
                  <a:cubicBezTo>
                    <a:pt x="13" y="119"/>
                    <a:pt x="14" y="118"/>
                    <a:pt x="14" y="118"/>
                  </a:cubicBezTo>
                  <a:cubicBezTo>
                    <a:pt x="15" y="118"/>
                    <a:pt x="16" y="116"/>
                    <a:pt x="17" y="115"/>
                  </a:cubicBezTo>
                  <a:cubicBezTo>
                    <a:pt x="17" y="114"/>
                    <a:pt x="17" y="113"/>
                    <a:pt x="17" y="113"/>
                  </a:cubicBezTo>
                  <a:cubicBezTo>
                    <a:pt x="16" y="112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4" y="99"/>
                    <a:pt x="25" y="98"/>
                  </a:cubicBezTo>
                  <a:cubicBezTo>
                    <a:pt x="27" y="98"/>
                    <a:pt x="26" y="99"/>
                    <a:pt x="27" y="99"/>
                  </a:cubicBezTo>
                  <a:cubicBezTo>
                    <a:pt x="27" y="100"/>
                    <a:pt x="28" y="100"/>
                    <a:pt x="29" y="100"/>
                  </a:cubicBezTo>
                  <a:cubicBezTo>
                    <a:pt x="29" y="100"/>
                    <a:pt x="30" y="98"/>
                    <a:pt x="30" y="98"/>
                  </a:cubicBezTo>
                  <a:cubicBezTo>
                    <a:pt x="30" y="97"/>
                    <a:pt x="29" y="97"/>
                    <a:pt x="29" y="97"/>
                  </a:cubicBezTo>
                  <a:cubicBezTo>
                    <a:pt x="28" y="95"/>
                    <a:pt x="28" y="95"/>
                    <a:pt x="28" y="95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5" y="89"/>
                    <a:pt x="36" y="89"/>
                  </a:cubicBezTo>
                  <a:cubicBezTo>
                    <a:pt x="36" y="89"/>
                    <a:pt x="36" y="88"/>
                    <a:pt x="36" y="88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7" y="86"/>
                    <a:pt x="38" y="85"/>
                  </a:cubicBezTo>
                  <a:cubicBezTo>
                    <a:pt x="38" y="85"/>
                    <a:pt x="37" y="84"/>
                    <a:pt x="37" y="84"/>
                  </a:cubicBezTo>
                  <a:cubicBezTo>
                    <a:pt x="37" y="83"/>
                    <a:pt x="38" y="82"/>
                    <a:pt x="38" y="82"/>
                  </a:cubicBezTo>
                  <a:cubicBezTo>
                    <a:pt x="38" y="82"/>
                    <a:pt x="40" y="84"/>
                    <a:pt x="41" y="84"/>
                  </a:cubicBezTo>
                  <a:cubicBezTo>
                    <a:pt x="42" y="85"/>
                    <a:pt x="42" y="84"/>
                    <a:pt x="43" y="84"/>
                  </a:cubicBezTo>
                  <a:cubicBezTo>
                    <a:pt x="43" y="83"/>
                    <a:pt x="42" y="82"/>
                    <a:pt x="42" y="82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4" y="78"/>
                    <a:pt x="31" y="78"/>
                    <a:pt x="31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28" y="77"/>
                    <a:pt x="28" y="77"/>
                  </a:cubicBezTo>
                  <a:cubicBezTo>
                    <a:pt x="27" y="77"/>
                    <a:pt x="26" y="78"/>
                    <a:pt x="25" y="79"/>
                  </a:cubicBezTo>
                  <a:cubicBezTo>
                    <a:pt x="25" y="79"/>
                    <a:pt x="24" y="80"/>
                    <a:pt x="23" y="80"/>
                  </a:cubicBezTo>
                  <a:cubicBezTo>
                    <a:pt x="23" y="80"/>
                    <a:pt x="22" y="78"/>
                    <a:pt x="22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19" y="80"/>
                    <a:pt x="19" y="81"/>
                  </a:cubicBezTo>
                  <a:cubicBezTo>
                    <a:pt x="19" y="81"/>
                    <a:pt x="17" y="81"/>
                    <a:pt x="16" y="81"/>
                  </a:cubicBezTo>
                  <a:cubicBezTo>
                    <a:pt x="15" y="82"/>
                    <a:pt x="14" y="82"/>
                    <a:pt x="13" y="83"/>
                  </a:cubicBezTo>
                  <a:cubicBezTo>
                    <a:pt x="12" y="83"/>
                    <a:pt x="14" y="84"/>
                    <a:pt x="14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9" y="91"/>
                    <a:pt x="9" y="91"/>
                  </a:cubicBezTo>
                  <a:close/>
                  <a:moveTo>
                    <a:pt x="35" y="76"/>
                  </a:move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7" y="78"/>
                    <a:pt x="39" y="78"/>
                  </a:cubicBezTo>
                  <a:cubicBezTo>
                    <a:pt x="42" y="78"/>
                    <a:pt x="42" y="80"/>
                    <a:pt x="44" y="78"/>
                  </a:cubicBezTo>
                  <a:cubicBezTo>
                    <a:pt x="44" y="77"/>
                    <a:pt x="44" y="77"/>
                    <a:pt x="43" y="76"/>
                  </a:cubicBezTo>
                  <a:cubicBezTo>
                    <a:pt x="43" y="75"/>
                    <a:pt x="42" y="75"/>
                    <a:pt x="42" y="74"/>
                  </a:cubicBezTo>
                  <a:cubicBezTo>
                    <a:pt x="42" y="74"/>
                    <a:pt x="42" y="74"/>
                    <a:pt x="40" y="72"/>
                  </a:cubicBezTo>
                  <a:cubicBezTo>
                    <a:pt x="39" y="71"/>
                    <a:pt x="39" y="72"/>
                    <a:pt x="38" y="72"/>
                  </a:cubicBezTo>
                  <a:cubicBezTo>
                    <a:pt x="37" y="72"/>
                    <a:pt x="36" y="72"/>
                    <a:pt x="35" y="72"/>
                  </a:cubicBezTo>
                  <a:cubicBezTo>
                    <a:pt x="34" y="73"/>
                    <a:pt x="36" y="74"/>
                    <a:pt x="36" y="75"/>
                  </a:cubicBezTo>
                  <a:cubicBezTo>
                    <a:pt x="36" y="75"/>
                    <a:pt x="35" y="76"/>
                    <a:pt x="35" y="76"/>
                  </a:cubicBezTo>
                  <a:close/>
                  <a:moveTo>
                    <a:pt x="22" y="57"/>
                  </a:moveTo>
                  <a:cubicBezTo>
                    <a:pt x="22" y="57"/>
                    <a:pt x="22" y="57"/>
                    <a:pt x="22" y="57"/>
                  </a:cubicBezTo>
                  <a:cubicBezTo>
                    <a:pt x="22" y="56"/>
                    <a:pt x="24" y="56"/>
                    <a:pt x="25" y="57"/>
                  </a:cubicBezTo>
                  <a:cubicBezTo>
                    <a:pt x="25" y="57"/>
                    <a:pt x="27" y="58"/>
                    <a:pt x="27" y="59"/>
                  </a:cubicBezTo>
                  <a:cubicBezTo>
                    <a:pt x="27" y="59"/>
                    <a:pt x="28" y="59"/>
                    <a:pt x="28" y="60"/>
                  </a:cubicBezTo>
                  <a:cubicBezTo>
                    <a:pt x="28" y="60"/>
                    <a:pt x="29" y="61"/>
                    <a:pt x="29" y="62"/>
                  </a:cubicBezTo>
                  <a:cubicBezTo>
                    <a:pt x="30" y="63"/>
                    <a:pt x="31" y="64"/>
                    <a:pt x="31" y="64"/>
                  </a:cubicBezTo>
                  <a:cubicBezTo>
                    <a:pt x="31" y="64"/>
                    <a:pt x="32" y="65"/>
                    <a:pt x="31" y="65"/>
                  </a:cubicBezTo>
                  <a:cubicBezTo>
                    <a:pt x="30" y="65"/>
                    <a:pt x="27" y="65"/>
                    <a:pt x="27" y="65"/>
                  </a:cubicBezTo>
                  <a:cubicBezTo>
                    <a:pt x="27" y="65"/>
                    <a:pt x="26" y="66"/>
                    <a:pt x="26" y="66"/>
                  </a:cubicBezTo>
                  <a:cubicBezTo>
                    <a:pt x="26" y="67"/>
                    <a:pt x="28" y="68"/>
                    <a:pt x="27" y="68"/>
                  </a:cubicBezTo>
                  <a:cubicBezTo>
                    <a:pt x="26" y="69"/>
                    <a:pt x="26" y="69"/>
                    <a:pt x="25" y="69"/>
                  </a:cubicBezTo>
                  <a:cubicBezTo>
                    <a:pt x="24" y="68"/>
                    <a:pt x="23" y="66"/>
                    <a:pt x="23" y="66"/>
                  </a:cubicBezTo>
                  <a:cubicBezTo>
                    <a:pt x="22" y="67"/>
                    <a:pt x="22" y="70"/>
                    <a:pt x="22" y="70"/>
                  </a:cubicBezTo>
                  <a:cubicBezTo>
                    <a:pt x="22" y="71"/>
                    <a:pt x="23" y="72"/>
                    <a:pt x="22" y="73"/>
                  </a:cubicBezTo>
                  <a:cubicBezTo>
                    <a:pt x="22" y="73"/>
                    <a:pt x="19" y="74"/>
                    <a:pt x="19" y="74"/>
                  </a:cubicBezTo>
                  <a:cubicBezTo>
                    <a:pt x="19" y="74"/>
                    <a:pt x="18" y="74"/>
                    <a:pt x="18" y="74"/>
                  </a:cubicBezTo>
                  <a:cubicBezTo>
                    <a:pt x="17" y="74"/>
                    <a:pt x="15" y="72"/>
                    <a:pt x="14" y="71"/>
                  </a:cubicBezTo>
                  <a:cubicBezTo>
                    <a:pt x="14" y="70"/>
                    <a:pt x="14" y="68"/>
                    <a:pt x="14" y="68"/>
                  </a:cubicBezTo>
                  <a:cubicBezTo>
                    <a:pt x="13" y="67"/>
                    <a:pt x="12" y="66"/>
                    <a:pt x="12" y="66"/>
                  </a:cubicBezTo>
                  <a:cubicBezTo>
                    <a:pt x="12" y="66"/>
                    <a:pt x="13" y="65"/>
                    <a:pt x="11" y="66"/>
                  </a:cubicBezTo>
                  <a:cubicBezTo>
                    <a:pt x="8" y="66"/>
                    <a:pt x="9" y="67"/>
                    <a:pt x="8" y="67"/>
                  </a:cubicBezTo>
                  <a:cubicBezTo>
                    <a:pt x="7" y="66"/>
                    <a:pt x="7" y="65"/>
                    <a:pt x="5" y="65"/>
                  </a:cubicBezTo>
                  <a:cubicBezTo>
                    <a:pt x="4" y="65"/>
                    <a:pt x="3" y="64"/>
                    <a:pt x="3" y="64"/>
                  </a:cubicBezTo>
                  <a:cubicBezTo>
                    <a:pt x="3" y="64"/>
                    <a:pt x="6" y="62"/>
                    <a:pt x="7" y="62"/>
                  </a:cubicBezTo>
                  <a:cubicBezTo>
                    <a:pt x="8" y="62"/>
                    <a:pt x="7" y="62"/>
                    <a:pt x="9" y="62"/>
                  </a:cubicBezTo>
                  <a:cubicBezTo>
                    <a:pt x="12" y="61"/>
                    <a:pt x="13" y="63"/>
                    <a:pt x="13" y="61"/>
                  </a:cubicBezTo>
                  <a:cubicBezTo>
                    <a:pt x="14" y="59"/>
                    <a:pt x="14" y="58"/>
                    <a:pt x="15" y="57"/>
                  </a:cubicBezTo>
                  <a:cubicBezTo>
                    <a:pt x="15" y="56"/>
                    <a:pt x="16" y="54"/>
                    <a:pt x="16" y="54"/>
                  </a:cubicBezTo>
                  <a:cubicBezTo>
                    <a:pt x="16" y="53"/>
                    <a:pt x="19" y="53"/>
                    <a:pt x="19" y="53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20" y="57"/>
                    <a:pt x="21" y="57"/>
                  </a:cubicBezTo>
                  <a:cubicBezTo>
                    <a:pt x="22" y="57"/>
                    <a:pt x="22" y="57"/>
                    <a:pt x="22" y="57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4" y="56"/>
                    <a:pt x="35" y="56"/>
                  </a:cubicBezTo>
                  <a:cubicBezTo>
                    <a:pt x="36" y="56"/>
                    <a:pt x="38" y="56"/>
                    <a:pt x="38" y="5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2"/>
                    <a:pt x="38" y="52"/>
                    <a:pt x="38" y="52"/>
                  </a:cubicBezTo>
                  <a:lnTo>
                    <a:pt x="36" y="52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9" name="Freeform 195"/>
            <p:cNvSpPr>
              <a:spLocks/>
            </p:cNvSpPr>
            <p:nvPr/>
          </p:nvSpPr>
          <p:spPr bwMode="auto">
            <a:xfrm>
              <a:off x="6144086" y="3377866"/>
              <a:ext cx="556312" cy="405924"/>
            </a:xfrm>
            <a:custGeom>
              <a:avLst/>
              <a:gdLst>
                <a:gd name="T0" fmla="*/ 7 w 244"/>
                <a:gd name="T1" fmla="*/ 36 h 184"/>
                <a:gd name="T2" fmla="*/ 21 w 244"/>
                <a:gd name="T3" fmla="*/ 52 h 184"/>
                <a:gd name="T4" fmla="*/ 77 w 244"/>
                <a:gd name="T5" fmla="*/ 49 h 184"/>
                <a:gd name="T6" fmla="*/ 144 w 244"/>
                <a:gd name="T7" fmla="*/ 21 h 184"/>
                <a:gd name="T8" fmla="*/ 203 w 244"/>
                <a:gd name="T9" fmla="*/ 3 h 184"/>
                <a:gd name="T10" fmla="*/ 238 w 244"/>
                <a:gd name="T11" fmla="*/ 8 h 184"/>
                <a:gd name="T12" fmla="*/ 241 w 244"/>
                <a:gd name="T13" fmla="*/ 22 h 184"/>
                <a:gd name="T14" fmla="*/ 232 w 244"/>
                <a:gd name="T15" fmla="*/ 27 h 184"/>
                <a:gd name="T16" fmla="*/ 225 w 244"/>
                <a:gd name="T17" fmla="*/ 36 h 184"/>
                <a:gd name="T18" fmla="*/ 225 w 244"/>
                <a:gd name="T19" fmla="*/ 56 h 184"/>
                <a:gd name="T20" fmla="*/ 222 w 244"/>
                <a:gd name="T21" fmla="*/ 69 h 184"/>
                <a:gd name="T22" fmla="*/ 220 w 244"/>
                <a:gd name="T23" fmla="*/ 76 h 184"/>
                <a:gd name="T24" fmla="*/ 216 w 244"/>
                <a:gd name="T25" fmla="*/ 83 h 184"/>
                <a:gd name="T26" fmla="*/ 232 w 244"/>
                <a:gd name="T27" fmla="*/ 92 h 184"/>
                <a:gd name="T28" fmla="*/ 244 w 244"/>
                <a:gd name="T29" fmla="*/ 102 h 184"/>
                <a:gd name="T30" fmla="*/ 231 w 244"/>
                <a:gd name="T31" fmla="*/ 108 h 184"/>
                <a:gd name="T32" fmla="*/ 211 w 244"/>
                <a:gd name="T33" fmla="*/ 106 h 184"/>
                <a:gd name="T34" fmla="*/ 201 w 244"/>
                <a:gd name="T35" fmla="*/ 115 h 184"/>
                <a:gd name="T36" fmla="*/ 188 w 244"/>
                <a:gd name="T37" fmla="*/ 126 h 184"/>
                <a:gd name="T38" fmla="*/ 181 w 244"/>
                <a:gd name="T39" fmla="*/ 135 h 184"/>
                <a:gd name="T40" fmla="*/ 179 w 244"/>
                <a:gd name="T41" fmla="*/ 147 h 184"/>
                <a:gd name="T42" fmla="*/ 174 w 244"/>
                <a:gd name="T43" fmla="*/ 158 h 184"/>
                <a:gd name="T44" fmla="*/ 155 w 244"/>
                <a:gd name="T45" fmla="*/ 165 h 184"/>
                <a:gd name="T46" fmla="*/ 139 w 244"/>
                <a:gd name="T47" fmla="*/ 167 h 184"/>
                <a:gd name="T48" fmla="*/ 116 w 244"/>
                <a:gd name="T49" fmla="*/ 164 h 184"/>
                <a:gd name="T50" fmla="*/ 104 w 244"/>
                <a:gd name="T51" fmla="*/ 163 h 184"/>
                <a:gd name="T52" fmla="*/ 92 w 244"/>
                <a:gd name="T53" fmla="*/ 169 h 184"/>
                <a:gd name="T54" fmla="*/ 70 w 244"/>
                <a:gd name="T55" fmla="*/ 177 h 184"/>
                <a:gd name="T56" fmla="*/ 57 w 244"/>
                <a:gd name="T57" fmla="*/ 184 h 184"/>
                <a:gd name="T58" fmla="*/ 51 w 244"/>
                <a:gd name="T59" fmla="*/ 183 h 184"/>
                <a:gd name="T60" fmla="*/ 48 w 244"/>
                <a:gd name="T61" fmla="*/ 172 h 184"/>
                <a:gd name="T62" fmla="*/ 50 w 244"/>
                <a:gd name="T63" fmla="*/ 165 h 184"/>
                <a:gd name="T64" fmla="*/ 24 w 244"/>
                <a:gd name="T65" fmla="*/ 143 h 184"/>
                <a:gd name="T66" fmla="*/ 21 w 244"/>
                <a:gd name="T67" fmla="*/ 138 h 184"/>
                <a:gd name="T68" fmla="*/ 20 w 244"/>
                <a:gd name="T69" fmla="*/ 133 h 184"/>
                <a:gd name="T70" fmla="*/ 20 w 244"/>
                <a:gd name="T71" fmla="*/ 125 h 184"/>
                <a:gd name="T72" fmla="*/ 16 w 244"/>
                <a:gd name="T73" fmla="*/ 113 h 184"/>
                <a:gd name="T74" fmla="*/ 19 w 244"/>
                <a:gd name="T75" fmla="*/ 106 h 184"/>
                <a:gd name="T76" fmla="*/ 25 w 244"/>
                <a:gd name="T77" fmla="*/ 99 h 184"/>
                <a:gd name="T78" fmla="*/ 33 w 244"/>
                <a:gd name="T79" fmla="*/ 84 h 184"/>
                <a:gd name="T80" fmla="*/ 21 w 244"/>
                <a:gd name="T81" fmla="*/ 77 h 184"/>
                <a:gd name="T82" fmla="*/ 11 w 244"/>
                <a:gd name="T83" fmla="*/ 73 h 184"/>
                <a:gd name="T84" fmla="*/ 2 w 244"/>
                <a:gd name="T85" fmla="*/ 60 h 184"/>
                <a:gd name="T86" fmla="*/ 1 w 244"/>
                <a:gd name="T87" fmla="*/ 47 h 184"/>
                <a:gd name="T88" fmla="*/ 7 w 244"/>
                <a:gd name="T89" fmla="*/ 3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84">
                  <a:moveTo>
                    <a:pt x="7" y="38"/>
                  </a:move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14" y="34"/>
                    <a:pt x="20" y="38"/>
                    <a:pt x="23" y="38"/>
                  </a:cubicBezTo>
                  <a:cubicBezTo>
                    <a:pt x="29" y="39"/>
                    <a:pt x="16" y="46"/>
                    <a:pt x="18" y="46"/>
                  </a:cubicBezTo>
                  <a:cubicBezTo>
                    <a:pt x="20" y="45"/>
                    <a:pt x="18" y="51"/>
                    <a:pt x="21" y="52"/>
                  </a:cubicBezTo>
                  <a:cubicBezTo>
                    <a:pt x="26" y="53"/>
                    <a:pt x="30" y="49"/>
                    <a:pt x="36" y="49"/>
                  </a:cubicBezTo>
                  <a:cubicBezTo>
                    <a:pt x="41" y="48"/>
                    <a:pt x="47" y="51"/>
                    <a:pt x="49" y="49"/>
                  </a:cubicBezTo>
                  <a:cubicBezTo>
                    <a:pt x="53" y="44"/>
                    <a:pt x="69" y="54"/>
                    <a:pt x="77" y="49"/>
                  </a:cubicBezTo>
                  <a:cubicBezTo>
                    <a:pt x="82" y="45"/>
                    <a:pt x="102" y="43"/>
                    <a:pt x="109" y="43"/>
                  </a:cubicBezTo>
                  <a:cubicBezTo>
                    <a:pt x="127" y="42"/>
                    <a:pt x="128" y="42"/>
                    <a:pt x="136" y="37"/>
                  </a:cubicBezTo>
                  <a:cubicBezTo>
                    <a:pt x="136" y="37"/>
                    <a:pt x="141" y="26"/>
                    <a:pt x="144" y="21"/>
                  </a:cubicBezTo>
                  <a:cubicBezTo>
                    <a:pt x="146" y="17"/>
                    <a:pt x="152" y="15"/>
                    <a:pt x="158" y="11"/>
                  </a:cubicBezTo>
                  <a:cubicBezTo>
                    <a:pt x="163" y="7"/>
                    <a:pt x="176" y="3"/>
                    <a:pt x="179" y="2"/>
                  </a:cubicBezTo>
                  <a:cubicBezTo>
                    <a:pt x="182" y="2"/>
                    <a:pt x="203" y="3"/>
                    <a:pt x="203" y="3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0"/>
                    <a:pt x="216" y="8"/>
                    <a:pt x="219" y="9"/>
                  </a:cubicBezTo>
                  <a:cubicBezTo>
                    <a:pt x="228" y="10"/>
                    <a:pt x="235" y="10"/>
                    <a:pt x="238" y="8"/>
                  </a:cubicBezTo>
                  <a:cubicBezTo>
                    <a:pt x="239" y="8"/>
                    <a:pt x="239" y="10"/>
                    <a:pt x="240" y="11"/>
                  </a:cubicBezTo>
                  <a:cubicBezTo>
                    <a:pt x="241" y="13"/>
                    <a:pt x="242" y="17"/>
                    <a:pt x="242" y="17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3"/>
                    <a:pt x="240" y="23"/>
                    <a:pt x="240" y="23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5" y="26"/>
                    <a:pt x="233" y="26"/>
                    <a:pt x="232" y="27"/>
                  </a:cubicBezTo>
                  <a:cubicBezTo>
                    <a:pt x="231" y="27"/>
                    <a:pt x="229" y="28"/>
                    <a:pt x="229" y="28"/>
                  </a:cubicBezTo>
                  <a:cubicBezTo>
                    <a:pt x="229" y="28"/>
                    <a:pt x="227" y="30"/>
                    <a:pt x="227" y="31"/>
                  </a:cubicBezTo>
                  <a:cubicBezTo>
                    <a:pt x="226" y="33"/>
                    <a:pt x="225" y="36"/>
                    <a:pt x="225" y="36"/>
                  </a:cubicBezTo>
                  <a:cubicBezTo>
                    <a:pt x="223" y="41"/>
                    <a:pt x="223" y="41"/>
                    <a:pt x="223" y="41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5" y="56"/>
                    <a:pt x="225" y="56"/>
                    <a:pt x="225" y="56"/>
                  </a:cubicBezTo>
                  <a:cubicBezTo>
                    <a:pt x="227" y="65"/>
                    <a:pt x="227" y="65"/>
                    <a:pt x="227" y="65"/>
                  </a:cubicBezTo>
                  <a:cubicBezTo>
                    <a:pt x="227" y="65"/>
                    <a:pt x="224" y="68"/>
                    <a:pt x="223" y="68"/>
                  </a:cubicBezTo>
                  <a:cubicBezTo>
                    <a:pt x="223" y="68"/>
                    <a:pt x="222" y="69"/>
                    <a:pt x="222" y="69"/>
                  </a:cubicBezTo>
                  <a:cubicBezTo>
                    <a:pt x="222" y="71"/>
                    <a:pt x="222" y="71"/>
                    <a:pt x="222" y="71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20" y="76"/>
                    <a:pt x="220" y="76"/>
                    <a:pt x="220" y="76"/>
                  </a:cubicBezTo>
                  <a:cubicBezTo>
                    <a:pt x="220" y="76"/>
                    <a:pt x="219" y="78"/>
                    <a:pt x="218" y="78"/>
                  </a:cubicBezTo>
                  <a:cubicBezTo>
                    <a:pt x="217" y="79"/>
                    <a:pt x="215" y="81"/>
                    <a:pt x="215" y="81"/>
                  </a:cubicBezTo>
                  <a:cubicBezTo>
                    <a:pt x="216" y="83"/>
                    <a:pt x="216" y="83"/>
                    <a:pt x="216" y="83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7"/>
                    <a:pt x="227" y="87"/>
                    <a:pt x="227" y="87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5" y="97"/>
                    <a:pt x="235" y="97"/>
                    <a:pt x="235" y="97"/>
                  </a:cubicBezTo>
                  <a:cubicBezTo>
                    <a:pt x="240" y="99"/>
                    <a:pt x="240" y="99"/>
                    <a:pt x="240" y="99"/>
                  </a:cubicBezTo>
                  <a:cubicBezTo>
                    <a:pt x="240" y="99"/>
                    <a:pt x="244" y="102"/>
                    <a:pt x="244" y="102"/>
                  </a:cubicBezTo>
                  <a:cubicBezTo>
                    <a:pt x="243" y="103"/>
                    <a:pt x="238" y="105"/>
                    <a:pt x="238" y="105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35" y="107"/>
                    <a:pt x="233" y="107"/>
                    <a:pt x="231" y="108"/>
                  </a:cubicBezTo>
                  <a:cubicBezTo>
                    <a:pt x="230" y="109"/>
                    <a:pt x="224" y="112"/>
                    <a:pt x="224" y="112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4" y="110"/>
                    <a:pt x="204" y="110"/>
                    <a:pt x="204" y="110"/>
                  </a:cubicBezTo>
                  <a:cubicBezTo>
                    <a:pt x="201" y="115"/>
                    <a:pt x="201" y="115"/>
                    <a:pt x="201" y="115"/>
                  </a:cubicBezTo>
                  <a:cubicBezTo>
                    <a:pt x="201" y="115"/>
                    <a:pt x="194" y="117"/>
                    <a:pt x="192" y="118"/>
                  </a:cubicBezTo>
                  <a:cubicBezTo>
                    <a:pt x="191" y="119"/>
                    <a:pt x="187" y="122"/>
                    <a:pt x="187" y="122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29"/>
                    <a:pt x="181" y="130"/>
                    <a:pt x="180" y="132"/>
                  </a:cubicBezTo>
                  <a:cubicBezTo>
                    <a:pt x="180" y="134"/>
                    <a:pt x="181" y="135"/>
                    <a:pt x="181" y="135"/>
                  </a:cubicBezTo>
                  <a:cubicBezTo>
                    <a:pt x="179" y="135"/>
                    <a:pt x="176" y="136"/>
                    <a:pt x="175" y="137"/>
                  </a:cubicBezTo>
                  <a:cubicBezTo>
                    <a:pt x="174" y="137"/>
                    <a:pt x="174" y="139"/>
                    <a:pt x="175" y="141"/>
                  </a:cubicBezTo>
                  <a:cubicBezTo>
                    <a:pt x="175" y="142"/>
                    <a:pt x="177" y="144"/>
                    <a:pt x="179" y="147"/>
                  </a:cubicBezTo>
                  <a:cubicBezTo>
                    <a:pt x="180" y="150"/>
                    <a:pt x="181" y="150"/>
                    <a:pt x="181" y="151"/>
                  </a:cubicBezTo>
                  <a:cubicBezTo>
                    <a:pt x="181" y="152"/>
                    <a:pt x="180" y="155"/>
                    <a:pt x="179" y="156"/>
                  </a:cubicBezTo>
                  <a:cubicBezTo>
                    <a:pt x="177" y="158"/>
                    <a:pt x="175" y="158"/>
                    <a:pt x="174" y="158"/>
                  </a:cubicBezTo>
                  <a:cubicBezTo>
                    <a:pt x="173" y="159"/>
                    <a:pt x="170" y="161"/>
                    <a:pt x="169" y="161"/>
                  </a:cubicBezTo>
                  <a:cubicBezTo>
                    <a:pt x="168" y="162"/>
                    <a:pt x="163" y="163"/>
                    <a:pt x="162" y="163"/>
                  </a:cubicBezTo>
                  <a:cubicBezTo>
                    <a:pt x="161" y="163"/>
                    <a:pt x="155" y="165"/>
                    <a:pt x="155" y="165"/>
                  </a:cubicBezTo>
                  <a:cubicBezTo>
                    <a:pt x="150" y="167"/>
                    <a:pt x="150" y="167"/>
                    <a:pt x="150" y="167"/>
                  </a:cubicBezTo>
                  <a:cubicBezTo>
                    <a:pt x="147" y="169"/>
                    <a:pt x="147" y="169"/>
                    <a:pt x="147" y="169"/>
                  </a:cubicBezTo>
                  <a:cubicBezTo>
                    <a:pt x="139" y="167"/>
                    <a:pt x="139" y="167"/>
                    <a:pt x="139" y="167"/>
                  </a:cubicBezTo>
                  <a:cubicBezTo>
                    <a:pt x="129" y="164"/>
                    <a:pt x="129" y="164"/>
                    <a:pt x="129" y="164"/>
                  </a:cubicBezTo>
                  <a:cubicBezTo>
                    <a:pt x="129" y="164"/>
                    <a:pt x="124" y="168"/>
                    <a:pt x="123" y="168"/>
                  </a:cubicBezTo>
                  <a:cubicBezTo>
                    <a:pt x="122" y="168"/>
                    <a:pt x="116" y="164"/>
                    <a:pt x="116" y="164"/>
                  </a:cubicBezTo>
                  <a:cubicBezTo>
                    <a:pt x="113" y="159"/>
                    <a:pt x="113" y="159"/>
                    <a:pt x="113" y="159"/>
                  </a:cubicBezTo>
                  <a:cubicBezTo>
                    <a:pt x="113" y="159"/>
                    <a:pt x="107" y="160"/>
                    <a:pt x="106" y="160"/>
                  </a:cubicBezTo>
                  <a:cubicBezTo>
                    <a:pt x="105" y="160"/>
                    <a:pt x="104" y="162"/>
                    <a:pt x="104" y="163"/>
                  </a:cubicBezTo>
                  <a:cubicBezTo>
                    <a:pt x="103" y="163"/>
                    <a:pt x="101" y="163"/>
                    <a:pt x="99" y="163"/>
                  </a:cubicBezTo>
                  <a:cubicBezTo>
                    <a:pt x="96" y="163"/>
                    <a:pt x="94" y="165"/>
                    <a:pt x="94" y="165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69"/>
                    <a:pt x="87" y="171"/>
                    <a:pt x="87" y="171"/>
                  </a:cubicBezTo>
                  <a:cubicBezTo>
                    <a:pt x="86" y="172"/>
                    <a:pt x="77" y="175"/>
                    <a:pt x="77" y="175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70" y="177"/>
                    <a:pt x="68" y="178"/>
                    <a:pt x="67" y="177"/>
                  </a:cubicBezTo>
                  <a:cubicBezTo>
                    <a:pt x="66" y="177"/>
                    <a:pt x="63" y="180"/>
                    <a:pt x="63" y="180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1" y="184"/>
                    <a:pt x="51" y="183"/>
                    <a:pt x="51" y="183"/>
                  </a:cubicBezTo>
                  <a:cubicBezTo>
                    <a:pt x="51" y="183"/>
                    <a:pt x="51" y="183"/>
                    <a:pt x="51" y="183"/>
                  </a:cubicBezTo>
                  <a:cubicBezTo>
                    <a:pt x="51" y="182"/>
                    <a:pt x="51" y="182"/>
                    <a:pt x="51" y="182"/>
                  </a:cubicBezTo>
                  <a:cubicBezTo>
                    <a:pt x="51" y="181"/>
                    <a:pt x="50" y="180"/>
                    <a:pt x="50" y="178"/>
                  </a:cubicBezTo>
                  <a:cubicBezTo>
                    <a:pt x="49" y="176"/>
                    <a:pt x="48" y="174"/>
                    <a:pt x="48" y="172"/>
                  </a:cubicBezTo>
                  <a:cubicBezTo>
                    <a:pt x="48" y="171"/>
                    <a:pt x="49" y="170"/>
                    <a:pt x="49" y="169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50" y="168"/>
                    <a:pt x="50" y="167"/>
                    <a:pt x="50" y="165"/>
                  </a:cubicBezTo>
                  <a:cubicBezTo>
                    <a:pt x="49" y="161"/>
                    <a:pt x="45" y="161"/>
                    <a:pt x="44" y="157"/>
                  </a:cubicBezTo>
                  <a:cubicBezTo>
                    <a:pt x="43" y="154"/>
                    <a:pt x="39" y="151"/>
                    <a:pt x="39" y="150"/>
                  </a:cubicBezTo>
                  <a:cubicBezTo>
                    <a:pt x="32" y="146"/>
                    <a:pt x="28" y="147"/>
                    <a:pt x="24" y="143"/>
                  </a:cubicBezTo>
                  <a:cubicBezTo>
                    <a:pt x="23" y="142"/>
                    <a:pt x="22" y="141"/>
                    <a:pt x="22" y="140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2" y="139"/>
                    <a:pt x="21" y="138"/>
                  </a:cubicBezTo>
                  <a:cubicBezTo>
                    <a:pt x="20" y="137"/>
                    <a:pt x="19" y="136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9" y="135"/>
                    <a:pt x="20" y="133"/>
                    <a:pt x="20" y="133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5"/>
                    <a:pt x="20" y="125"/>
                  </a:cubicBezTo>
                  <a:cubicBezTo>
                    <a:pt x="20" y="124"/>
                    <a:pt x="17" y="123"/>
                    <a:pt x="17" y="123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6" y="108"/>
                    <a:pt x="17" y="107"/>
                  </a:cubicBezTo>
                  <a:cubicBezTo>
                    <a:pt x="17" y="107"/>
                    <a:pt x="18" y="106"/>
                    <a:pt x="19" y="106"/>
                  </a:cubicBezTo>
                  <a:cubicBezTo>
                    <a:pt x="20" y="105"/>
                    <a:pt x="22" y="105"/>
                    <a:pt x="23" y="105"/>
                  </a:cubicBezTo>
                  <a:cubicBezTo>
                    <a:pt x="24" y="105"/>
                    <a:pt x="26" y="103"/>
                    <a:pt x="26" y="103"/>
                  </a:cubicBezTo>
                  <a:cubicBezTo>
                    <a:pt x="26" y="103"/>
                    <a:pt x="26" y="100"/>
                    <a:pt x="25" y="99"/>
                  </a:cubicBezTo>
                  <a:cubicBezTo>
                    <a:pt x="25" y="97"/>
                    <a:pt x="27" y="95"/>
                    <a:pt x="27" y="95"/>
                  </a:cubicBezTo>
                  <a:cubicBezTo>
                    <a:pt x="27" y="95"/>
                    <a:pt x="30" y="91"/>
                    <a:pt x="31" y="90"/>
                  </a:cubicBezTo>
                  <a:cubicBezTo>
                    <a:pt x="32" y="89"/>
                    <a:pt x="33" y="84"/>
                    <a:pt x="33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1" y="77"/>
                    <a:pt x="21" y="77"/>
                  </a:cubicBezTo>
                  <a:cubicBezTo>
                    <a:pt x="21" y="76"/>
                    <a:pt x="19" y="76"/>
                    <a:pt x="19" y="76"/>
                  </a:cubicBezTo>
                  <a:cubicBezTo>
                    <a:pt x="19" y="76"/>
                    <a:pt x="15" y="74"/>
                    <a:pt x="15" y="74"/>
                  </a:cubicBezTo>
                  <a:cubicBezTo>
                    <a:pt x="14" y="74"/>
                    <a:pt x="11" y="73"/>
                    <a:pt x="11" y="73"/>
                  </a:cubicBezTo>
                  <a:cubicBezTo>
                    <a:pt x="11" y="73"/>
                    <a:pt x="7" y="68"/>
                    <a:pt x="6" y="66"/>
                  </a:cubicBezTo>
                  <a:cubicBezTo>
                    <a:pt x="5" y="64"/>
                    <a:pt x="4" y="63"/>
                    <a:pt x="4" y="63"/>
                  </a:cubicBezTo>
                  <a:cubicBezTo>
                    <a:pt x="4" y="63"/>
                    <a:pt x="3" y="61"/>
                    <a:pt x="2" y="60"/>
                  </a:cubicBezTo>
                  <a:cubicBezTo>
                    <a:pt x="1" y="59"/>
                    <a:pt x="1" y="57"/>
                    <a:pt x="1" y="57"/>
                  </a:cubicBezTo>
                  <a:cubicBezTo>
                    <a:pt x="1" y="57"/>
                    <a:pt x="2" y="54"/>
                    <a:pt x="1" y="52"/>
                  </a:cubicBezTo>
                  <a:cubicBezTo>
                    <a:pt x="1" y="51"/>
                    <a:pt x="0" y="47"/>
                    <a:pt x="1" y="47"/>
                  </a:cubicBezTo>
                  <a:cubicBezTo>
                    <a:pt x="2" y="45"/>
                    <a:pt x="3" y="43"/>
                    <a:pt x="5" y="42"/>
                  </a:cubicBezTo>
                  <a:cubicBezTo>
                    <a:pt x="6" y="42"/>
                    <a:pt x="6" y="42"/>
                    <a:pt x="7" y="42"/>
                  </a:cubicBezTo>
                  <a:cubicBezTo>
                    <a:pt x="8" y="42"/>
                    <a:pt x="7" y="39"/>
                    <a:pt x="7" y="39"/>
                  </a:cubicBezTo>
                  <a:lnTo>
                    <a:pt x="7" y="38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0" name="Freeform 212"/>
            <p:cNvSpPr>
              <a:spLocks noEditPoints="1"/>
            </p:cNvSpPr>
            <p:nvPr/>
          </p:nvSpPr>
          <p:spPr bwMode="auto">
            <a:xfrm>
              <a:off x="8212115" y="3121100"/>
              <a:ext cx="622278" cy="493289"/>
            </a:xfrm>
            <a:custGeom>
              <a:avLst/>
              <a:gdLst>
                <a:gd name="T0" fmla="*/ 3 w 273"/>
                <a:gd name="T1" fmla="*/ 68 h 223"/>
                <a:gd name="T2" fmla="*/ 41 w 273"/>
                <a:gd name="T3" fmla="*/ 71 h 223"/>
                <a:gd name="T4" fmla="*/ 60 w 273"/>
                <a:gd name="T5" fmla="*/ 70 h 223"/>
                <a:gd name="T6" fmla="*/ 73 w 273"/>
                <a:gd name="T7" fmla="*/ 54 h 223"/>
                <a:gd name="T8" fmla="*/ 49 w 273"/>
                <a:gd name="T9" fmla="*/ 36 h 223"/>
                <a:gd name="T10" fmla="*/ 65 w 273"/>
                <a:gd name="T11" fmla="*/ 28 h 223"/>
                <a:gd name="T12" fmla="*/ 87 w 273"/>
                <a:gd name="T13" fmla="*/ 33 h 223"/>
                <a:gd name="T14" fmla="*/ 101 w 273"/>
                <a:gd name="T15" fmla="*/ 44 h 223"/>
                <a:gd name="T16" fmla="*/ 128 w 273"/>
                <a:gd name="T17" fmla="*/ 54 h 223"/>
                <a:gd name="T18" fmla="*/ 145 w 273"/>
                <a:gd name="T19" fmla="*/ 30 h 223"/>
                <a:gd name="T20" fmla="*/ 161 w 273"/>
                <a:gd name="T21" fmla="*/ 0 h 223"/>
                <a:gd name="T22" fmla="*/ 202 w 273"/>
                <a:gd name="T23" fmla="*/ 43 h 223"/>
                <a:gd name="T24" fmla="*/ 227 w 273"/>
                <a:gd name="T25" fmla="*/ 63 h 223"/>
                <a:gd name="T26" fmla="*/ 260 w 273"/>
                <a:gd name="T27" fmla="*/ 65 h 223"/>
                <a:gd name="T28" fmla="*/ 262 w 273"/>
                <a:gd name="T29" fmla="*/ 72 h 223"/>
                <a:gd name="T30" fmla="*/ 240 w 273"/>
                <a:gd name="T31" fmla="*/ 85 h 223"/>
                <a:gd name="T32" fmla="*/ 233 w 273"/>
                <a:gd name="T33" fmla="*/ 106 h 223"/>
                <a:gd name="T34" fmla="*/ 236 w 273"/>
                <a:gd name="T35" fmla="*/ 125 h 223"/>
                <a:gd name="T36" fmla="*/ 243 w 273"/>
                <a:gd name="T37" fmla="*/ 148 h 223"/>
                <a:gd name="T38" fmla="*/ 237 w 273"/>
                <a:gd name="T39" fmla="*/ 172 h 223"/>
                <a:gd name="T40" fmla="*/ 229 w 273"/>
                <a:gd name="T41" fmla="*/ 161 h 223"/>
                <a:gd name="T42" fmla="*/ 223 w 273"/>
                <a:gd name="T43" fmla="*/ 178 h 223"/>
                <a:gd name="T44" fmla="*/ 230 w 273"/>
                <a:gd name="T45" fmla="*/ 201 h 223"/>
                <a:gd name="T46" fmla="*/ 211 w 273"/>
                <a:gd name="T47" fmla="*/ 207 h 223"/>
                <a:gd name="T48" fmla="*/ 195 w 273"/>
                <a:gd name="T49" fmla="*/ 200 h 223"/>
                <a:gd name="T50" fmla="*/ 193 w 273"/>
                <a:gd name="T51" fmla="*/ 177 h 223"/>
                <a:gd name="T52" fmla="*/ 189 w 273"/>
                <a:gd name="T53" fmla="*/ 154 h 223"/>
                <a:gd name="T54" fmla="*/ 152 w 273"/>
                <a:gd name="T55" fmla="*/ 156 h 223"/>
                <a:gd name="T56" fmla="*/ 123 w 273"/>
                <a:gd name="T57" fmla="*/ 193 h 223"/>
                <a:gd name="T58" fmla="*/ 98 w 273"/>
                <a:gd name="T59" fmla="*/ 195 h 223"/>
                <a:gd name="T60" fmla="*/ 96 w 273"/>
                <a:gd name="T61" fmla="*/ 182 h 223"/>
                <a:gd name="T62" fmla="*/ 98 w 273"/>
                <a:gd name="T63" fmla="*/ 169 h 223"/>
                <a:gd name="T64" fmla="*/ 89 w 273"/>
                <a:gd name="T65" fmla="*/ 162 h 223"/>
                <a:gd name="T66" fmla="*/ 91 w 273"/>
                <a:gd name="T67" fmla="*/ 154 h 223"/>
                <a:gd name="T68" fmla="*/ 89 w 273"/>
                <a:gd name="T69" fmla="*/ 147 h 223"/>
                <a:gd name="T70" fmla="*/ 78 w 273"/>
                <a:gd name="T71" fmla="*/ 142 h 223"/>
                <a:gd name="T72" fmla="*/ 62 w 273"/>
                <a:gd name="T73" fmla="*/ 137 h 223"/>
                <a:gd name="T74" fmla="*/ 47 w 273"/>
                <a:gd name="T75" fmla="*/ 132 h 223"/>
                <a:gd name="T76" fmla="*/ 50 w 273"/>
                <a:gd name="T77" fmla="*/ 125 h 223"/>
                <a:gd name="T78" fmla="*/ 55 w 273"/>
                <a:gd name="T79" fmla="*/ 116 h 223"/>
                <a:gd name="T80" fmla="*/ 44 w 273"/>
                <a:gd name="T81" fmla="*/ 111 h 223"/>
                <a:gd name="T82" fmla="*/ 26 w 273"/>
                <a:gd name="T83" fmla="*/ 100 h 223"/>
                <a:gd name="T84" fmla="*/ 24 w 273"/>
                <a:gd name="T85" fmla="*/ 88 h 223"/>
                <a:gd name="T86" fmla="*/ 24 w 273"/>
                <a:gd name="T87" fmla="*/ 83 h 223"/>
                <a:gd name="T88" fmla="*/ 16 w 273"/>
                <a:gd name="T89" fmla="*/ 76 h 223"/>
                <a:gd name="T90" fmla="*/ 4 w 273"/>
                <a:gd name="T91" fmla="*/ 76 h 223"/>
                <a:gd name="T92" fmla="*/ 10 w 273"/>
                <a:gd name="T93" fmla="*/ 182 h 223"/>
                <a:gd name="T94" fmla="*/ 26 w 273"/>
                <a:gd name="T95" fmla="*/ 198 h 223"/>
                <a:gd name="T96" fmla="*/ 44 w 273"/>
                <a:gd name="T97" fmla="*/ 209 h 223"/>
                <a:gd name="T98" fmla="*/ 76 w 273"/>
                <a:gd name="T99" fmla="*/ 223 h 223"/>
                <a:gd name="T100" fmla="*/ 78 w 273"/>
                <a:gd name="T101" fmla="*/ 204 h 223"/>
                <a:gd name="T102" fmla="*/ 69 w 273"/>
                <a:gd name="T103" fmla="*/ 195 h 223"/>
                <a:gd name="T104" fmla="*/ 61 w 273"/>
                <a:gd name="T105" fmla="*/ 180 h 223"/>
                <a:gd name="T106" fmla="*/ 34 w 273"/>
                <a:gd name="T107" fmla="*/ 186 h 223"/>
                <a:gd name="T108" fmla="*/ 18 w 273"/>
                <a:gd name="T109" fmla="*/ 18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223">
                  <a:moveTo>
                    <a:pt x="0" y="75"/>
                  </a:moveTo>
                  <a:cubicBezTo>
                    <a:pt x="1" y="75"/>
                    <a:pt x="3" y="74"/>
                    <a:pt x="4" y="74"/>
                  </a:cubicBezTo>
                  <a:cubicBezTo>
                    <a:pt x="4" y="73"/>
                    <a:pt x="5" y="73"/>
                    <a:pt x="5" y="72"/>
                  </a:cubicBezTo>
                  <a:cubicBezTo>
                    <a:pt x="5" y="72"/>
                    <a:pt x="2" y="71"/>
                    <a:pt x="1" y="69"/>
                  </a:cubicBezTo>
                  <a:cubicBezTo>
                    <a:pt x="1" y="69"/>
                    <a:pt x="3" y="68"/>
                    <a:pt x="3" y="68"/>
                  </a:cubicBezTo>
                  <a:cubicBezTo>
                    <a:pt x="3" y="68"/>
                    <a:pt x="9" y="69"/>
                    <a:pt x="11" y="69"/>
                  </a:cubicBezTo>
                  <a:cubicBezTo>
                    <a:pt x="13" y="69"/>
                    <a:pt x="20" y="67"/>
                    <a:pt x="20" y="67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2" y="71"/>
                    <a:pt x="33" y="71"/>
                    <a:pt x="37" y="72"/>
                  </a:cubicBezTo>
                  <a:cubicBezTo>
                    <a:pt x="39" y="73"/>
                    <a:pt x="39" y="72"/>
                    <a:pt x="41" y="71"/>
                  </a:cubicBezTo>
                  <a:cubicBezTo>
                    <a:pt x="42" y="70"/>
                    <a:pt x="44" y="69"/>
                    <a:pt x="45" y="70"/>
                  </a:cubicBezTo>
                  <a:cubicBezTo>
                    <a:pt x="46" y="70"/>
                    <a:pt x="46" y="70"/>
                    <a:pt x="48" y="71"/>
                  </a:cubicBezTo>
                  <a:cubicBezTo>
                    <a:pt x="50" y="72"/>
                    <a:pt x="53" y="73"/>
                    <a:pt x="55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2" y="72"/>
                    <a:pt x="58" y="59"/>
                    <a:pt x="60" y="59"/>
                  </a:cubicBezTo>
                  <a:cubicBezTo>
                    <a:pt x="63" y="58"/>
                    <a:pt x="64" y="61"/>
                    <a:pt x="68" y="60"/>
                  </a:cubicBezTo>
                  <a:cubicBezTo>
                    <a:pt x="72" y="58"/>
                    <a:pt x="78" y="66"/>
                    <a:pt x="79" y="62"/>
                  </a:cubicBezTo>
                  <a:cubicBezTo>
                    <a:pt x="80" y="59"/>
                    <a:pt x="86" y="63"/>
                    <a:pt x="81" y="59"/>
                  </a:cubicBezTo>
                  <a:cubicBezTo>
                    <a:pt x="75" y="54"/>
                    <a:pt x="77" y="55"/>
                    <a:pt x="73" y="54"/>
                  </a:cubicBezTo>
                  <a:cubicBezTo>
                    <a:pt x="69" y="52"/>
                    <a:pt x="66" y="51"/>
                    <a:pt x="64" y="50"/>
                  </a:cubicBezTo>
                  <a:cubicBezTo>
                    <a:pt x="62" y="50"/>
                    <a:pt x="63" y="50"/>
                    <a:pt x="60" y="48"/>
                  </a:cubicBezTo>
                  <a:cubicBezTo>
                    <a:pt x="57" y="46"/>
                    <a:pt x="54" y="44"/>
                    <a:pt x="54" y="44"/>
                  </a:cubicBezTo>
                  <a:cubicBezTo>
                    <a:pt x="54" y="44"/>
                    <a:pt x="51" y="43"/>
                    <a:pt x="51" y="41"/>
                  </a:cubicBezTo>
                  <a:cubicBezTo>
                    <a:pt x="50" y="39"/>
                    <a:pt x="49" y="36"/>
                    <a:pt x="49" y="36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4" y="23"/>
                    <a:pt x="59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4" y="29"/>
                    <a:pt x="65" y="28"/>
                  </a:cubicBezTo>
                  <a:cubicBezTo>
                    <a:pt x="67" y="28"/>
                    <a:pt x="68" y="26"/>
                    <a:pt x="69" y="25"/>
                  </a:cubicBezTo>
                  <a:cubicBezTo>
                    <a:pt x="70" y="24"/>
                    <a:pt x="73" y="21"/>
                    <a:pt x="74" y="22"/>
                  </a:cubicBezTo>
                  <a:cubicBezTo>
                    <a:pt x="74" y="24"/>
                    <a:pt x="71" y="27"/>
                    <a:pt x="75" y="27"/>
                  </a:cubicBezTo>
                  <a:cubicBezTo>
                    <a:pt x="79" y="27"/>
                    <a:pt x="78" y="29"/>
                    <a:pt x="81" y="30"/>
                  </a:cubicBezTo>
                  <a:cubicBezTo>
                    <a:pt x="84" y="30"/>
                    <a:pt x="87" y="32"/>
                    <a:pt x="87" y="33"/>
                  </a:cubicBezTo>
                  <a:cubicBezTo>
                    <a:pt x="87" y="34"/>
                    <a:pt x="87" y="35"/>
                    <a:pt x="88" y="36"/>
                  </a:cubicBezTo>
                  <a:cubicBezTo>
                    <a:pt x="90" y="37"/>
                    <a:pt x="91" y="36"/>
                    <a:pt x="93" y="36"/>
                  </a:cubicBezTo>
                  <a:cubicBezTo>
                    <a:pt x="95" y="36"/>
                    <a:pt x="95" y="34"/>
                    <a:pt x="96" y="36"/>
                  </a:cubicBezTo>
                  <a:cubicBezTo>
                    <a:pt x="96" y="38"/>
                    <a:pt x="97" y="39"/>
                    <a:pt x="97" y="39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2" y="48"/>
                    <a:pt x="106" y="50"/>
                  </a:cubicBezTo>
                  <a:cubicBezTo>
                    <a:pt x="110" y="51"/>
                    <a:pt x="113" y="51"/>
                    <a:pt x="113" y="51"/>
                  </a:cubicBezTo>
                  <a:cubicBezTo>
                    <a:pt x="113" y="51"/>
                    <a:pt x="113" y="51"/>
                    <a:pt x="117" y="52"/>
                  </a:cubicBezTo>
                  <a:cubicBezTo>
                    <a:pt x="121" y="53"/>
                    <a:pt x="124" y="55"/>
                    <a:pt x="128" y="54"/>
                  </a:cubicBezTo>
                  <a:cubicBezTo>
                    <a:pt x="133" y="54"/>
                    <a:pt x="137" y="49"/>
                    <a:pt x="137" y="49"/>
                  </a:cubicBezTo>
                  <a:cubicBezTo>
                    <a:pt x="137" y="49"/>
                    <a:pt x="139" y="46"/>
                    <a:pt x="138" y="44"/>
                  </a:cubicBezTo>
                  <a:cubicBezTo>
                    <a:pt x="138" y="42"/>
                    <a:pt x="140" y="38"/>
                    <a:pt x="142" y="37"/>
                  </a:cubicBezTo>
                  <a:cubicBezTo>
                    <a:pt x="144" y="36"/>
                    <a:pt x="141" y="35"/>
                    <a:pt x="142" y="33"/>
                  </a:cubicBezTo>
                  <a:cubicBezTo>
                    <a:pt x="143" y="32"/>
                    <a:pt x="144" y="31"/>
                    <a:pt x="145" y="30"/>
                  </a:cubicBezTo>
                  <a:cubicBezTo>
                    <a:pt x="147" y="29"/>
                    <a:pt x="153" y="23"/>
                    <a:pt x="153" y="23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18"/>
                    <a:pt x="155" y="12"/>
                    <a:pt x="156" y="11"/>
                  </a:cubicBezTo>
                  <a:cubicBezTo>
                    <a:pt x="157" y="10"/>
                    <a:pt x="160" y="2"/>
                    <a:pt x="160" y="2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1" y="0"/>
                    <a:pt x="181" y="18"/>
                    <a:pt x="182" y="18"/>
                  </a:cubicBezTo>
                  <a:cubicBezTo>
                    <a:pt x="183" y="18"/>
                    <a:pt x="191" y="23"/>
                    <a:pt x="192" y="25"/>
                  </a:cubicBezTo>
                  <a:cubicBezTo>
                    <a:pt x="193" y="26"/>
                    <a:pt x="199" y="34"/>
                    <a:pt x="199" y="34"/>
                  </a:cubicBezTo>
                  <a:cubicBezTo>
                    <a:pt x="200" y="38"/>
                    <a:pt x="200" y="38"/>
                    <a:pt x="200" y="38"/>
                  </a:cubicBezTo>
                  <a:cubicBezTo>
                    <a:pt x="200" y="38"/>
                    <a:pt x="200" y="41"/>
                    <a:pt x="202" y="43"/>
                  </a:cubicBezTo>
                  <a:cubicBezTo>
                    <a:pt x="204" y="44"/>
                    <a:pt x="208" y="48"/>
                    <a:pt x="210" y="49"/>
                  </a:cubicBezTo>
                  <a:cubicBezTo>
                    <a:pt x="212" y="49"/>
                    <a:pt x="220" y="54"/>
                    <a:pt x="220" y="54"/>
                  </a:cubicBezTo>
                  <a:cubicBezTo>
                    <a:pt x="220" y="54"/>
                    <a:pt x="221" y="51"/>
                    <a:pt x="222" y="53"/>
                  </a:cubicBezTo>
                  <a:cubicBezTo>
                    <a:pt x="223" y="55"/>
                    <a:pt x="224" y="58"/>
                    <a:pt x="224" y="59"/>
                  </a:cubicBezTo>
                  <a:cubicBezTo>
                    <a:pt x="224" y="60"/>
                    <a:pt x="225" y="64"/>
                    <a:pt x="227" y="63"/>
                  </a:cubicBezTo>
                  <a:cubicBezTo>
                    <a:pt x="229" y="63"/>
                    <a:pt x="235" y="63"/>
                    <a:pt x="235" y="63"/>
                  </a:cubicBezTo>
                  <a:cubicBezTo>
                    <a:pt x="235" y="63"/>
                    <a:pt x="236" y="65"/>
                    <a:pt x="239" y="65"/>
                  </a:cubicBezTo>
                  <a:cubicBezTo>
                    <a:pt x="242" y="65"/>
                    <a:pt x="243" y="64"/>
                    <a:pt x="245" y="63"/>
                  </a:cubicBezTo>
                  <a:cubicBezTo>
                    <a:pt x="246" y="63"/>
                    <a:pt x="254" y="62"/>
                    <a:pt x="254" y="62"/>
                  </a:cubicBezTo>
                  <a:cubicBezTo>
                    <a:pt x="260" y="65"/>
                    <a:pt x="260" y="65"/>
                    <a:pt x="260" y="65"/>
                  </a:cubicBezTo>
                  <a:cubicBezTo>
                    <a:pt x="266" y="67"/>
                    <a:pt x="266" y="67"/>
                    <a:pt x="266" y="67"/>
                  </a:cubicBezTo>
                  <a:cubicBezTo>
                    <a:pt x="271" y="72"/>
                    <a:pt x="271" y="72"/>
                    <a:pt x="271" y="72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67" y="71"/>
                    <a:pt x="266" y="71"/>
                  </a:cubicBezTo>
                  <a:cubicBezTo>
                    <a:pt x="265" y="72"/>
                    <a:pt x="263" y="72"/>
                    <a:pt x="262" y="72"/>
                  </a:cubicBezTo>
                  <a:cubicBezTo>
                    <a:pt x="260" y="73"/>
                    <a:pt x="255" y="74"/>
                    <a:pt x="255" y="74"/>
                  </a:cubicBezTo>
                  <a:cubicBezTo>
                    <a:pt x="252" y="76"/>
                    <a:pt x="252" y="76"/>
                    <a:pt x="252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5" y="81"/>
                    <a:pt x="245" y="81"/>
                    <a:pt x="245" y="81"/>
                  </a:cubicBezTo>
                  <a:cubicBezTo>
                    <a:pt x="240" y="85"/>
                    <a:pt x="240" y="85"/>
                    <a:pt x="240" y="85"/>
                  </a:cubicBezTo>
                  <a:cubicBezTo>
                    <a:pt x="234" y="90"/>
                    <a:pt x="234" y="90"/>
                    <a:pt x="234" y="90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31" y="97"/>
                    <a:pt x="235" y="100"/>
                    <a:pt x="234" y="100"/>
                  </a:cubicBezTo>
                  <a:cubicBezTo>
                    <a:pt x="233" y="101"/>
                    <a:pt x="231" y="103"/>
                    <a:pt x="231" y="103"/>
                  </a:cubicBezTo>
                  <a:cubicBezTo>
                    <a:pt x="233" y="106"/>
                    <a:pt x="233" y="106"/>
                    <a:pt x="233" y="106"/>
                  </a:cubicBezTo>
                  <a:cubicBezTo>
                    <a:pt x="232" y="110"/>
                    <a:pt x="232" y="110"/>
                    <a:pt x="232" y="110"/>
                  </a:cubicBezTo>
                  <a:cubicBezTo>
                    <a:pt x="236" y="114"/>
                    <a:pt x="236" y="114"/>
                    <a:pt x="236" y="114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6" y="121"/>
                    <a:pt x="236" y="121"/>
                    <a:pt x="236" y="121"/>
                  </a:cubicBezTo>
                  <a:cubicBezTo>
                    <a:pt x="236" y="121"/>
                    <a:pt x="240" y="121"/>
                    <a:pt x="236" y="125"/>
                  </a:cubicBezTo>
                  <a:cubicBezTo>
                    <a:pt x="233" y="128"/>
                    <a:pt x="232" y="129"/>
                    <a:pt x="232" y="130"/>
                  </a:cubicBezTo>
                  <a:cubicBezTo>
                    <a:pt x="233" y="132"/>
                    <a:pt x="234" y="136"/>
                    <a:pt x="234" y="136"/>
                  </a:cubicBezTo>
                  <a:cubicBezTo>
                    <a:pt x="234" y="136"/>
                    <a:pt x="233" y="139"/>
                    <a:pt x="235" y="141"/>
                  </a:cubicBezTo>
                  <a:cubicBezTo>
                    <a:pt x="236" y="142"/>
                    <a:pt x="241" y="144"/>
                    <a:pt x="241" y="144"/>
                  </a:cubicBezTo>
                  <a:cubicBezTo>
                    <a:pt x="241" y="144"/>
                    <a:pt x="243" y="147"/>
                    <a:pt x="243" y="148"/>
                  </a:cubicBezTo>
                  <a:cubicBezTo>
                    <a:pt x="242" y="149"/>
                    <a:pt x="236" y="150"/>
                    <a:pt x="236" y="150"/>
                  </a:cubicBezTo>
                  <a:cubicBezTo>
                    <a:pt x="236" y="150"/>
                    <a:pt x="236" y="153"/>
                    <a:pt x="236" y="154"/>
                  </a:cubicBezTo>
                  <a:cubicBezTo>
                    <a:pt x="236" y="155"/>
                    <a:pt x="237" y="160"/>
                    <a:pt x="237" y="16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9" y="166"/>
                    <a:pt x="239" y="170"/>
                    <a:pt x="237" y="172"/>
                  </a:cubicBezTo>
                  <a:cubicBezTo>
                    <a:pt x="234" y="174"/>
                    <a:pt x="233" y="175"/>
                    <a:pt x="231" y="173"/>
                  </a:cubicBezTo>
                  <a:cubicBezTo>
                    <a:pt x="235" y="169"/>
                    <a:pt x="235" y="169"/>
                    <a:pt x="235" y="169"/>
                  </a:cubicBezTo>
                  <a:cubicBezTo>
                    <a:pt x="234" y="165"/>
                    <a:pt x="234" y="165"/>
                    <a:pt x="234" y="165"/>
                  </a:cubicBezTo>
                  <a:cubicBezTo>
                    <a:pt x="231" y="166"/>
                    <a:pt x="231" y="166"/>
                    <a:pt x="231" y="166"/>
                  </a:cubicBezTo>
                  <a:cubicBezTo>
                    <a:pt x="229" y="161"/>
                    <a:pt x="229" y="161"/>
                    <a:pt x="229" y="161"/>
                  </a:cubicBezTo>
                  <a:cubicBezTo>
                    <a:pt x="225" y="162"/>
                    <a:pt x="225" y="162"/>
                    <a:pt x="225" y="162"/>
                  </a:cubicBezTo>
                  <a:cubicBezTo>
                    <a:pt x="223" y="168"/>
                    <a:pt x="223" y="168"/>
                    <a:pt x="223" y="168"/>
                  </a:cubicBezTo>
                  <a:cubicBezTo>
                    <a:pt x="225" y="174"/>
                    <a:pt x="225" y="174"/>
                    <a:pt x="225" y="174"/>
                  </a:cubicBezTo>
                  <a:cubicBezTo>
                    <a:pt x="226" y="177"/>
                    <a:pt x="226" y="177"/>
                    <a:pt x="226" y="177"/>
                  </a:cubicBezTo>
                  <a:cubicBezTo>
                    <a:pt x="226" y="177"/>
                    <a:pt x="224" y="177"/>
                    <a:pt x="223" y="178"/>
                  </a:cubicBezTo>
                  <a:cubicBezTo>
                    <a:pt x="223" y="178"/>
                    <a:pt x="221" y="179"/>
                    <a:pt x="222" y="180"/>
                  </a:cubicBezTo>
                  <a:cubicBezTo>
                    <a:pt x="223" y="181"/>
                    <a:pt x="224" y="183"/>
                    <a:pt x="224" y="183"/>
                  </a:cubicBezTo>
                  <a:cubicBezTo>
                    <a:pt x="224" y="184"/>
                    <a:pt x="225" y="188"/>
                    <a:pt x="225" y="188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30" y="200"/>
                    <a:pt x="230" y="201"/>
                  </a:cubicBezTo>
                  <a:cubicBezTo>
                    <a:pt x="230" y="201"/>
                    <a:pt x="232" y="209"/>
                    <a:pt x="232" y="209"/>
                  </a:cubicBezTo>
                  <a:cubicBezTo>
                    <a:pt x="232" y="209"/>
                    <a:pt x="227" y="214"/>
                    <a:pt x="226" y="215"/>
                  </a:cubicBezTo>
                  <a:cubicBezTo>
                    <a:pt x="224" y="216"/>
                    <a:pt x="224" y="218"/>
                    <a:pt x="223" y="217"/>
                  </a:cubicBezTo>
                  <a:cubicBezTo>
                    <a:pt x="222" y="216"/>
                    <a:pt x="220" y="214"/>
                    <a:pt x="218" y="213"/>
                  </a:cubicBezTo>
                  <a:cubicBezTo>
                    <a:pt x="217" y="212"/>
                    <a:pt x="212" y="208"/>
                    <a:pt x="211" y="207"/>
                  </a:cubicBezTo>
                  <a:cubicBezTo>
                    <a:pt x="210" y="206"/>
                    <a:pt x="208" y="205"/>
                    <a:pt x="208" y="205"/>
                  </a:cubicBezTo>
                  <a:cubicBezTo>
                    <a:pt x="208" y="205"/>
                    <a:pt x="207" y="207"/>
                    <a:pt x="206" y="207"/>
                  </a:cubicBezTo>
                  <a:cubicBezTo>
                    <a:pt x="205" y="207"/>
                    <a:pt x="203" y="206"/>
                    <a:pt x="203" y="206"/>
                  </a:cubicBezTo>
                  <a:cubicBezTo>
                    <a:pt x="202" y="206"/>
                    <a:pt x="200" y="205"/>
                    <a:pt x="199" y="204"/>
                  </a:cubicBezTo>
                  <a:cubicBezTo>
                    <a:pt x="197" y="202"/>
                    <a:pt x="196" y="200"/>
                    <a:pt x="195" y="200"/>
                  </a:cubicBezTo>
                  <a:cubicBezTo>
                    <a:pt x="195" y="200"/>
                    <a:pt x="195" y="199"/>
                    <a:pt x="191" y="199"/>
                  </a:cubicBezTo>
                  <a:cubicBezTo>
                    <a:pt x="187" y="200"/>
                    <a:pt x="179" y="200"/>
                    <a:pt x="184" y="194"/>
                  </a:cubicBezTo>
                  <a:cubicBezTo>
                    <a:pt x="185" y="192"/>
                    <a:pt x="183" y="189"/>
                    <a:pt x="189" y="186"/>
                  </a:cubicBezTo>
                  <a:cubicBezTo>
                    <a:pt x="189" y="186"/>
                    <a:pt x="194" y="184"/>
                    <a:pt x="195" y="182"/>
                  </a:cubicBezTo>
                  <a:cubicBezTo>
                    <a:pt x="197" y="180"/>
                    <a:pt x="193" y="177"/>
                    <a:pt x="193" y="177"/>
                  </a:cubicBezTo>
                  <a:cubicBezTo>
                    <a:pt x="192" y="177"/>
                    <a:pt x="191" y="177"/>
                    <a:pt x="189" y="176"/>
                  </a:cubicBezTo>
                  <a:cubicBezTo>
                    <a:pt x="188" y="176"/>
                    <a:pt x="183" y="173"/>
                    <a:pt x="183" y="172"/>
                  </a:cubicBezTo>
                  <a:cubicBezTo>
                    <a:pt x="182" y="170"/>
                    <a:pt x="182" y="169"/>
                    <a:pt x="183" y="165"/>
                  </a:cubicBezTo>
                  <a:cubicBezTo>
                    <a:pt x="184" y="161"/>
                    <a:pt x="185" y="163"/>
                    <a:pt x="187" y="161"/>
                  </a:cubicBezTo>
                  <a:cubicBezTo>
                    <a:pt x="190" y="158"/>
                    <a:pt x="192" y="156"/>
                    <a:pt x="189" y="154"/>
                  </a:cubicBezTo>
                  <a:cubicBezTo>
                    <a:pt x="186" y="153"/>
                    <a:pt x="185" y="154"/>
                    <a:pt x="179" y="150"/>
                  </a:cubicBezTo>
                  <a:cubicBezTo>
                    <a:pt x="173" y="146"/>
                    <a:pt x="171" y="144"/>
                    <a:pt x="170" y="144"/>
                  </a:cubicBezTo>
                  <a:cubicBezTo>
                    <a:pt x="169" y="143"/>
                    <a:pt x="168" y="142"/>
                    <a:pt x="166" y="143"/>
                  </a:cubicBezTo>
                  <a:cubicBezTo>
                    <a:pt x="165" y="144"/>
                    <a:pt x="160" y="149"/>
                    <a:pt x="159" y="150"/>
                  </a:cubicBezTo>
                  <a:cubicBezTo>
                    <a:pt x="158" y="151"/>
                    <a:pt x="152" y="156"/>
                    <a:pt x="152" y="156"/>
                  </a:cubicBezTo>
                  <a:cubicBezTo>
                    <a:pt x="151" y="157"/>
                    <a:pt x="141" y="164"/>
                    <a:pt x="141" y="164"/>
                  </a:cubicBezTo>
                  <a:cubicBezTo>
                    <a:pt x="141" y="164"/>
                    <a:pt x="138" y="172"/>
                    <a:pt x="136" y="175"/>
                  </a:cubicBezTo>
                  <a:cubicBezTo>
                    <a:pt x="135" y="178"/>
                    <a:pt x="129" y="182"/>
                    <a:pt x="129" y="184"/>
                  </a:cubicBezTo>
                  <a:cubicBezTo>
                    <a:pt x="129" y="185"/>
                    <a:pt x="129" y="188"/>
                    <a:pt x="128" y="189"/>
                  </a:cubicBezTo>
                  <a:cubicBezTo>
                    <a:pt x="128" y="189"/>
                    <a:pt x="125" y="193"/>
                    <a:pt x="123" y="193"/>
                  </a:cubicBezTo>
                  <a:cubicBezTo>
                    <a:pt x="122" y="194"/>
                    <a:pt x="116" y="195"/>
                    <a:pt x="116" y="197"/>
                  </a:cubicBezTo>
                  <a:cubicBezTo>
                    <a:pt x="116" y="199"/>
                    <a:pt x="119" y="199"/>
                    <a:pt x="116" y="203"/>
                  </a:cubicBezTo>
                  <a:cubicBezTo>
                    <a:pt x="113" y="206"/>
                    <a:pt x="110" y="220"/>
                    <a:pt x="107" y="208"/>
                  </a:cubicBezTo>
                  <a:cubicBezTo>
                    <a:pt x="105" y="200"/>
                    <a:pt x="105" y="199"/>
                    <a:pt x="103" y="198"/>
                  </a:cubicBezTo>
                  <a:cubicBezTo>
                    <a:pt x="100" y="196"/>
                    <a:pt x="98" y="195"/>
                    <a:pt x="98" y="195"/>
                  </a:cubicBezTo>
                  <a:cubicBezTo>
                    <a:pt x="98" y="195"/>
                    <a:pt x="96" y="192"/>
                    <a:pt x="100" y="191"/>
                  </a:cubicBezTo>
                  <a:cubicBezTo>
                    <a:pt x="104" y="191"/>
                    <a:pt x="105" y="193"/>
                    <a:pt x="107" y="191"/>
                  </a:cubicBezTo>
                  <a:cubicBezTo>
                    <a:pt x="110" y="189"/>
                    <a:pt x="111" y="188"/>
                    <a:pt x="107" y="187"/>
                  </a:cubicBezTo>
                  <a:cubicBezTo>
                    <a:pt x="103" y="186"/>
                    <a:pt x="105" y="188"/>
                    <a:pt x="101" y="186"/>
                  </a:cubicBezTo>
                  <a:cubicBezTo>
                    <a:pt x="98" y="183"/>
                    <a:pt x="97" y="183"/>
                    <a:pt x="96" y="182"/>
                  </a:cubicBezTo>
                  <a:cubicBezTo>
                    <a:pt x="96" y="181"/>
                    <a:pt x="96" y="181"/>
                    <a:pt x="97" y="180"/>
                  </a:cubicBezTo>
                  <a:cubicBezTo>
                    <a:pt x="99" y="177"/>
                    <a:pt x="99" y="177"/>
                    <a:pt x="99" y="177"/>
                  </a:cubicBezTo>
                  <a:cubicBezTo>
                    <a:pt x="99" y="177"/>
                    <a:pt x="99" y="177"/>
                    <a:pt x="98" y="177"/>
                  </a:cubicBezTo>
                  <a:cubicBezTo>
                    <a:pt x="98" y="175"/>
                    <a:pt x="100" y="173"/>
                    <a:pt x="100" y="171"/>
                  </a:cubicBezTo>
                  <a:cubicBezTo>
                    <a:pt x="100" y="170"/>
                    <a:pt x="99" y="169"/>
                    <a:pt x="98" y="169"/>
                  </a:cubicBezTo>
                  <a:cubicBezTo>
                    <a:pt x="97" y="169"/>
                    <a:pt x="98" y="169"/>
                    <a:pt x="96" y="169"/>
                  </a:cubicBezTo>
                  <a:cubicBezTo>
                    <a:pt x="96" y="168"/>
                    <a:pt x="95" y="168"/>
                    <a:pt x="95" y="167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89" y="162"/>
                    <a:pt x="89" y="162"/>
                    <a:pt x="89" y="162"/>
                  </a:cubicBezTo>
                  <a:cubicBezTo>
                    <a:pt x="89" y="162"/>
                    <a:pt x="92" y="163"/>
                    <a:pt x="93" y="163"/>
                  </a:cubicBezTo>
                  <a:cubicBezTo>
                    <a:pt x="94" y="163"/>
                    <a:pt x="98" y="160"/>
                    <a:pt x="98" y="160"/>
                  </a:cubicBezTo>
                  <a:cubicBezTo>
                    <a:pt x="98" y="160"/>
                    <a:pt x="96" y="159"/>
                    <a:pt x="95" y="159"/>
                  </a:cubicBezTo>
                  <a:cubicBezTo>
                    <a:pt x="94" y="159"/>
                    <a:pt x="94" y="156"/>
                    <a:pt x="94" y="156"/>
                  </a:cubicBezTo>
                  <a:cubicBezTo>
                    <a:pt x="91" y="154"/>
                    <a:pt x="91" y="154"/>
                    <a:pt x="91" y="154"/>
                  </a:cubicBezTo>
                  <a:cubicBezTo>
                    <a:pt x="87" y="153"/>
                    <a:pt x="87" y="153"/>
                    <a:pt x="87" y="153"/>
                  </a:cubicBezTo>
                  <a:cubicBezTo>
                    <a:pt x="87" y="153"/>
                    <a:pt x="86" y="152"/>
                    <a:pt x="85" y="152"/>
                  </a:cubicBezTo>
                  <a:cubicBezTo>
                    <a:pt x="85" y="151"/>
                    <a:pt x="85" y="150"/>
                    <a:pt x="85" y="150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1"/>
                    <a:pt x="89" y="141"/>
                    <a:pt x="89" y="141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1"/>
                    <a:pt x="83" y="143"/>
                    <a:pt x="81" y="141"/>
                  </a:cubicBezTo>
                  <a:cubicBezTo>
                    <a:pt x="79" y="140"/>
                    <a:pt x="80" y="141"/>
                    <a:pt x="78" y="142"/>
                  </a:cubicBezTo>
                  <a:cubicBezTo>
                    <a:pt x="77" y="142"/>
                    <a:pt x="75" y="144"/>
                    <a:pt x="75" y="144"/>
                  </a:cubicBezTo>
                  <a:cubicBezTo>
                    <a:pt x="75" y="144"/>
                    <a:pt x="74" y="145"/>
                    <a:pt x="72" y="145"/>
                  </a:cubicBezTo>
                  <a:cubicBezTo>
                    <a:pt x="71" y="145"/>
                    <a:pt x="71" y="142"/>
                    <a:pt x="71" y="142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54" y="136"/>
                    <a:pt x="54" y="136"/>
                    <a:pt x="54" y="136"/>
                  </a:cubicBezTo>
                  <a:cubicBezTo>
                    <a:pt x="52" y="134"/>
                    <a:pt x="52" y="134"/>
                    <a:pt x="52" y="134"/>
                  </a:cubicBezTo>
                  <a:cubicBezTo>
                    <a:pt x="52" y="134"/>
                    <a:pt x="51" y="132"/>
                    <a:pt x="50" y="132"/>
                  </a:cubicBezTo>
                  <a:cubicBezTo>
                    <a:pt x="48" y="131"/>
                    <a:pt x="48" y="132"/>
                    <a:pt x="47" y="132"/>
                  </a:cubicBezTo>
                  <a:cubicBezTo>
                    <a:pt x="46" y="132"/>
                    <a:pt x="46" y="132"/>
                    <a:pt x="43" y="132"/>
                  </a:cubicBezTo>
                  <a:cubicBezTo>
                    <a:pt x="41" y="132"/>
                    <a:pt x="41" y="130"/>
                    <a:pt x="41" y="130"/>
                  </a:cubicBezTo>
                  <a:cubicBezTo>
                    <a:pt x="41" y="130"/>
                    <a:pt x="42" y="128"/>
                    <a:pt x="42" y="127"/>
                  </a:cubicBezTo>
                  <a:cubicBezTo>
                    <a:pt x="42" y="127"/>
                    <a:pt x="44" y="127"/>
                    <a:pt x="44" y="127"/>
                  </a:cubicBezTo>
                  <a:cubicBezTo>
                    <a:pt x="45" y="126"/>
                    <a:pt x="48" y="125"/>
                    <a:pt x="50" y="125"/>
                  </a:cubicBezTo>
                  <a:cubicBezTo>
                    <a:pt x="51" y="125"/>
                    <a:pt x="51" y="125"/>
                    <a:pt x="53" y="124"/>
                  </a:cubicBezTo>
                  <a:cubicBezTo>
                    <a:pt x="54" y="124"/>
                    <a:pt x="54" y="123"/>
                    <a:pt x="54" y="123"/>
                  </a:cubicBezTo>
                  <a:cubicBezTo>
                    <a:pt x="54" y="123"/>
                    <a:pt x="54" y="119"/>
                    <a:pt x="54" y="119"/>
                  </a:cubicBezTo>
                  <a:cubicBezTo>
                    <a:pt x="54" y="118"/>
                    <a:pt x="54" y="118"/>
                    <a:pt x="55" y="118"/>
                  </a:cubicBezTo>
                  <a:cubicBezTo>
                    <a:pt x="55" y="117"/>
                    <a:pt x="55" y="116"/>
                    <a:pt x="55" y="116"/>
                  </a:cubicBezTo>
                  <a:cubicBezTo>
                    <a:pt x="55" y="116"/>
                    <a:pt x="54" y="114"/>
                    <a:pt x="54" y="113"/>
                  </a:cubicBezTo>
                  <a:cubicBezTo>
                    <a:pt x="53" y="111"/>
                    <a:pt x="52" y="112"/>
                    <a:pt x="52" y="112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50" y="112"/>
                    <a:pt x="47" y="112"/>
                    <a:pt x="47" y="111"/>
                  </a:cubicBezTo>
                  <a:cubicBezTo>
                    <a:pt x="46" y="111"/>
                    <a:pt x="44" y="111"/>
                    <a:pt x="44" y="111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39" y="108"/>
                    <a:pt x="37" y="108"/>
                  </a:cubicBezTo>
                  <a:cubicBezTo>
                    <a:pt x="35" y="107"/>
                    <a:pt x="33" y="106"/>
                    <a:pt x="33" y="106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1" y="95"/>
                    <a:pt x="21" y="94"/>
                  </a:cubicBezTo>
                  <a:cubicBezTo>
                    <a:pt x="21" y="94"/>
                    <a:pt x="21" y="94"/>
                    <a:pt x="22" y="93"/>
                  </a:cubicBezTo>
                  <a:cubicBezTo>
                    <a:pt x="22" y="93"/>
                    <a:pt x="22" y="92"/>
                    <a:pt x="23" y="91"/>
                  </a:cubicBezTo>
                  <a:cubicBezTo>
                    <a:pt x="23" y="90"/>
                    <a:pt x="24" y="89"/>
                    <a:pt x="24" y="88"/>
                  </a:cubicBezTo>
                  <a:cubicBezTo>
                    <a:pt x="24" y="88"/>
                    <a:pt x="25" y="87"/>
                    <a:pt x="26" y="87"/>
                  </a:cubicBezTo>
                  <a:cubicBezTo>
                    <a:pt x="27" y="87"/>
                    <a:pt x="28" y="86"/>
                    <a:pt x="28" y="86"/>
                  </a:cubicBezTo>
                  <a:cubicBezTo>
                    <a:pt x="28" y="85"/>
                    <a:pt x="28" y="84"/>
                    <a:pt x="29" y="83"/>
                  </a:cubicBezTo>
                  <a:cubicBezTo>
                    <a:pt x="29" y="82"/>
                    <a:pt x="27" y="83"/>
                    <a:pt x="26" y="82"/>
                  </a:cubicBezTo>
                  <a:cubicBezTo>
                    <a:pt x="25" y="82"/>
                    <a:pt x="25" y="82"/>
                    <a:pt x="24" y="83"/>
                  </a:cubicBezTo>
                  <a:cubicBezTo>
                    <a:pt x="23" y="83"/>
                    <a:pt x="22" y="81"/>
                    <a:pt x="22" y="81"/>
                  </a:cubicBezTo>
                  <a:cubicBezTo>
                    <a:pt x="22" y="80"/>
                    <a:pt x="20" y="80"/>
                    <a:pt x="19" y="79"/>
                  </a:cubicBezTo>
                  <a:cubicBezTo>
                    <a:pt x="18" y="79"/>
                    <a:pt x="18" y="79"/>
                    <a:pt x="18" y="78"/>
                  </a:cubicBezTo>
                  <a:cubicBezTo>
                    <a:pt x="17" y="77"/>
                    <a:pt x="18" y="77"/>
                    <a:pt x="17" y="77"/>
                  </a:cubicBezTo>
                  <a:cubicBezTo>
                    <a:pt x="17" y="76"/>
                    <a:pt x="16" y="76"/>
                    <a:pt x="16" y="76"/>
                  </a:cubicBezTo>
                  <a:cubicBezTo>
                    <a:pt x="16" y="76"/>
                    <a:pt x="15" y="78"/>
                    <a:pt x="14" y="78"/>
                  </a:cubicBezTo>
                  <a:cubicBezTo>
                    <a:pt x="13" y="78"/>
                    <a:pt x="12" y="77"/>
                    <a:pt x="12" y="77"/>
                  </a:cubicBezTo>
                  <a:cubicBezTo>
                    <a:pt x="11" y="77"/>
                    <a:pt x="10" y="77"/>
                    <a:pt x="9" y="78"/>
                  </a:cubicBezTo>
                  <a:cubicBezTo>
                    <a:pt x="9" y="78"/>
                    <a:pt x="7" y="77"/>
                    <a:pt x="7" y="77"/>
                  </a:cubicBezTo>
                  <a:cubicBezTo>
                    <a:pt x="7" y="76"/>
                    <a:pt x="4" y="76"/>
                    <a:pt x="4" y="76"/>
                  </a:cubicBezTo>
                  <a:cubicBezTo>
                    <a:pt x="4" y="76"/>
                    <a:pt x="4" y="77"/>
                    <a:pt x="3" y="77"/>
                  </a:cubicBezTo>
                  <a:cubicBezTo>
                    <a:pt x="2" y="78"/>
                    <a:pt x="1" y="77"/>
                    <a:pt x="1" y="77"/>
                  </a:cubicBezTo>
                  <a:cubicBezTo>
                    <a:pt x="0" y="77"/>
                    <a:pt x="0" y="76"/>
                    <a:pt x="0" y="75"/>
                  </a:cubicBezTo>
                  <a:close/>
                  <a:moveTo>
                    <a:pt x="10" y="182"/>
                  </a:moveTo>
                  <a:cubicBezTo>
                    <a:pt x="10" y="182"/>
                    <a:pt x="10" y="182"/>
                    <a:pt x="10" y="182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16" y="187"/>
                    <a:pt x="16" y="187"/>
                    <a:pt x="16" y="187"/>
                  </a:cubicBez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2" y="195"/>
                    <a:pt x="22" y="196"/>
                  </a:cubicBezTo>
                  <a:cubicBezTo>
                    <a:pt x="22" y="198"/>
                    <a:pt x="25" y="198"/>
                    <a:pt x="26" y="198"/>
                  </a:cubicBezTo>
                  <a:cubicBezTo>
                    <a:pt x="26" y="198"/>
                    <a:pt x="30" y="199"/>
                    <a:pt x="30" y="199"/>
                  </a:cubicBezTo>
                  <a:cubicBezTo>
                    <a:pt x="30" y="199"/>
                    <a:pt x="32" y="201"/>
                    <a:pt x="33" y="202"/>
                  </a:cubicBezTo>
                  <a:cubicBezTo>
                    <a:pt x="33" y="203"/>
                    <a:pt x="33" y="205"/>
                    <a:pt x="33" y="205"/>
                  </a:cubicBezTo>
                  <a:cubicBezTo>
                    <a:pt x="37" y="209"/>
                    <a:pt x="37" y="209"/>
                    <a:pt x="37" y="209"/>
                  </a:cubicBezTo>
                  <a:cubicBezTo>
                    <a:pt x="44" y="209"/>
                    <a:pt x="44" y="209"/>
                    <a:pt x="44" y="209"/>
                  </a:cubicBezTo>
                  <a:cubicBezTo>
                    <a:pt x="44" y="209"/>
                    <a:pt x="51" y="215"/>
                    <a:pt x="52" y="216"/>
                  </a:cubicBezTo>
                  <a:cubicBezTo>
                    <a:pt x="52" y="217"/>
                    <a:pt x="56" y="221"/>
                    <a:pt x="56" y="221"/>
                  </a:cubicBezTo>
                  <a:cubicBezTo>
                    <a:pt x="56" y="221"/>
                    <a:pt x="63" y="221"/>
                    <a:pt x="64" y="221"/>
                  </a:cubicBezTo>
                  <a:cubicBezTo>
                    <a:pt x="64" y="221"/>
                    <a:pt x="71" y="221"/>
                    <a:pt x="71" y="221"/>
                  </a:cubicBezTo>
                  <a:cubicBezTo>
                    <a:pt x="76" y="223"/>
                    <a:pt x="76" y="223"/>
                    <a:pt x="76" y="223"/>
                  </a:cubicBezTo>
                  <a:cubicBezTo>
                    <a:pt x="81" y="222"/>
                    <a:pt x="81" y="222"/>
                    <a:pt x="81" y="222"/>
                  </a:cubicBezTo>
                  <a:cubicBezTo>
                    <a:pt x="92" y="219"/>
                    <a:pt x="92" y="219"/>
                    <a:pt x="92" y="219"/>
                  </a:cubicBezTo>
                  <a:cubicBezTo>
                    <a:pt x="92" y="219"/>
                    <a:pt x="89" y="217"/>
                    <a:pt x="89" y="217"/>
                  </a:cubicBezTo>
                  <a:cubicBezTo>
                    <a:pt x="89" y="216"/>
                    <a:pt x="85" y="211"/>
                    <a:pt x="85" y="211"/>
                  </a:cubicBezTo>
                  <a:cubicBezTo>
                    <a:pt x="85" y="211"/>
                    <a:pt x="79" y="204"/>
                    <a:pt x="78" y="204"/>
                  </a:cubicBezTo>
                  <a:cubicBezTo>
                    <a:pt x="78" y="203"/>
                    <a:pt x="77" y="202"/>
                    <a:pt x="77" y="201"/>
                  </a:cubicBezTo>
                  <a:cubicBezTo>
                    <a:pt x="77" y="199"/>
                    <a:pt x="78" y="198"/>
                    <a:pt x="78" y="197"/>
                  </a:cubicBezTo>
                  <a:cubicBezTo>
                    <a:pt x="79" y="196"/>
                    <a:pt x="79" y="194"/>
                    <a:pt x="79" y="194"/>
                  </a:cubicBezTo>
                  <a:cubicBezTo>
                    <a:pt x="79" y="194"/>
                    <a:pt x="76" y="194"/>
                    <a:pt x="74" y="194"/>
                  </a:cubicBezTo>
                  <a:cubicBezTo>
                    <a:pt x="73" y="194"/>
                    <a:pt x="71" y="195"/>
                    <a:pt x="69" y="195"/>
                  </a:cubicBezTo>
                  <a:cubicBezTo>
                    <a:pt x="68" y="195"/>
                    <a:pt x="66" y="194"/>
                    <a:pt x="66" y="194"/>
                  </a:cubicBezTo>
                  <a:cubicBezTo>
                    <a:pt x="65" y="194"/>
                    <a:pt x="65" y="191"/>
                    <a:pt x="65" y="191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5" y="184"/>
                    <a:pt x="65" y="184"/>
                    <a:pt x="65" y="18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61" y="180"/>
                    <a:pt x="54" y="183"/>
                    <a:pt x="53" y="183"/>
                  </a:cubicBezTo>
                  <a:cubicBezTo>
                    <a:pt x="52" y="183"/>
                    <a:pt x="48" y="188"/>
                    <a:pt x="47" y="188"/>
                  </a:cubicBezTo>
                  <a:cubicBezTo>
                    <a:pt x="47" y="188"/>
                    <a:pt x="44" y="185"/>
                    <a:pt x="44" y="185"/>
                  </a:cubicBezTo>
                  <a:cubicBezTo>
                    <a:pt x="36" y="183"/>
                    <a:pt x="36" y="183"/>
                    <a:pt x="36" y="183"/>
                  </a:cubicBezTo>
                  <a:cubicBezTo>
                    <a:pt x="36" y="183"/>
                    <a:pt x="35" y="185"/>
                    <a:pt x="34" y="186"/>
                  </a:cubicBezTo>
                  <a:cubicBezTo>
                    <a:pt x="33" y="187"/>
                    <a:pt x="32" y="186"/>
                    <a:pt x="32" y="185"/>
                  </a:cubicBezTo>
                  <a:cubicBezTo>
                    <a:pt x="31" y="183"/>
                    <a:pt x="33" y="180"/>
                    <a:pt x="33" y="180"/>
                  </a:cubicBezTo>
                  <a:cubicBezTo>
                    <a:pt x="27" y="177"/>
                    <a:pt x="27" y="177"/>
                    <a:pt x="27" y="177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8" y="180"/>
                    <a:pt x="11" y="181"/>
                    <a:pt x="10" y="182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1" name="Freeform 221"/>
            <p:cNvSpPr>
              <a:spLocks noEditPoints="1"/>
            </p:cNvSpPr>
            <p:nvPr/>
          </p:nvSpPr>
          <p:spPr bwMode="auto">
            <a:xfrm>
              <a:off x="4983088" y="2966615"/>
              <a:ext cx="635471" cy="313233"/>
            </a:xfrm>
            <a:custGeom>
              <a:avLst/>
              <a:gdLst>
                <a:gd name="T0" fmla="*/ 196 w 279"/>
                <a:gd name="T1" fmla="*/ 4 h 142"/>
                <a:gd name="T2" fmla="*/ 219 w 279"/>
                <a:gd name="T3" fmla="*/ 5 h 142"/>
                <a:gd name="T4" fmla="*/ 249 w 279"/>
                <a:gd name="T5" fmla="*/ 8 h 142"/>
                <a:gd name="T6" fmla="*/ 268 w 279"/>
                <a:gd name="T7" fmla="*/ 17 h 142"/>
                <a:gd name="T8" fmla="*/ 266 w 279"/>
                <a:gd name="T9" fmla="*/ 29 h 142"/>
                <a:gd name="T10" fmla="*/ 271 w 279"/>
                <a:gd name="T11" fmla="*/ 39 h 142"/>
                <a:gd name="T12" fmla="*/ 277 w 279"/>
                <a:gd name="T13" fmla="*/ 56 h 142"/>
                <a:gd name="T14" fmla="*/ 259 w 279"/>
                <a:gd name="T15" fmla="*/ 63 h 142"/>
                <a:gd name="T16" fmla="*/ 260 w 279"/>
                <a:gd name="T17" fmla="*/ 82 h 142"/>
                <a:gd name="T18" fmla="*/ 255 w 279"/>
                <a:gd name="T19" fmla="*/ 104 h 142"/>
                <a:gd name="T20" fmla="*/ 238 w 279"/>
                <a:gd name="T21" fmla="*/ 121 h 142"/>
                <a:gd name="T22" fmla="*/ 206 w 279"/>
                <a:gd name="T23" fmla="*/ 128 h 142"/>
                <a:gd name="T24" fmla="*/ 191 w 279"/>
                <a:gd name="T25" fmla="*/ 142 h 142"/>
                <a:gd name="T26" fmla="*/ 146 w 279"/>
                <a:gd name="T27" fmla="*/ 138 h 142"/>
                <a:gd name="T28" fmla="*/ 104 w 279"/>
                <a:gd name="T29" fmla="*/ 126 h 142"/>
                <a:gd name="T30" fmla="*/ 94 w 279"/>
                <a:gd name="T31" fmla="*/ 112 h 142"/>
                <a:gd name="T32" fmla="*/ 60 w 279"/>
                <a:gd name="T33" fmla="*/ 121 h 142"/>
                <a:gd name="T34" fmla="*/ 39 w 279"/>
                <a:gd name="T35" fmla="*/ 126 h 142"/>
                <a:gd name="T36" fmla="*/ 37 w 279"/>
                <a:gd name="T37" fmla="*/ 118 h 142"/>
                <a:gd name="T38" fmla="*/ 31 w 279"/>
                <a:gd name="T39" fmla="*/ 120 h 142"/>
                <a:gd name="T40" fmla="*/ 26 w 279"/>
                <a:gd name="T41" fmla="*/ 124 h 142"/>
                <a:gd name="T42" fmla="*/ 17 w 279"/>
                <a:gd name="T43" fmla="*/ 120 h 142"/>
                <a:gd name="T44" fmla="*/ 2 w 279"/>
                <a:gd name="T45" fmla="*/ 114 h 142"/>
                <a:gd name="T46" fmla="*/ 2 w 279"/>
                <a:gd name="T47" fmla="*/ 113 h 142"/>
                <a:gd name="T48" fmla="*/ 4 w 279"/>
                <a:gd name="T49" fmla="*/ 113 h 142"/>
                <a:gd name="T50" fmla="*/ 5 w 279"/>
                <a:gd name="T51" fmla="*/ 112 h 142"/>
                <a:gd name="T52" fmla="*/ 4 w 279"/>
                <a:gd name="T53" fmla="*/ 111 h 142"/>
                <a:gd name="T54" fmla="*/ 4 w 279"/>
                <a:gd name="T55" fmla="*/ 110 h 142"/>
                <a:gd name="T56" fmla="*/ 3 w 279"/>
                <a:gd name="T57" fmla="*/ 109 h 142"/>
                <a:gd name="T58" fmla="*/ 3 w 279"/>
                <a:gd name="T59" fmla="*/ 108 h 142"/>
                <a:gd name="T60" fmla="*/ 2 w 279"/>
                <a:gd name="T61" fmla="*/ 106 h 142"/>
                <a:gd name="T62" fmla="*/ 2 w 279"/>
                <a:gd name="T63" fmla="*/ 104 h 142"/>
                <a:gd name="T64" fmla="*/ 7 w 279"/>
                <a:gd name="T65" fmla="*/ 94 h 142"/>
                <a:gd name="T66" fmla="*/ 6 w 279"/>
                <a:gd name="T67" fmla="*/ 91 h 142"/>
                <a:gd name="T68" fmla="*/ 6 w 279"/>
                <a:gd name="T69" fmla="*/ 91 h 142"/>
                <a:gd name="T70" fmla="*/ 6 w 279"/>
                <a:gd name="T71" fmla="*/ 90 h 142"/>
                <a:gd name="T72" fmla="*/ 6 w 279"/>
                <a:gd name="T73" fmla="*/ 90 h 142"/>
                <a:gd name="T74" fmla="*/ 23 w 279"/>
                <a:gd name="T75" fmla="*/ 94 h 142"/>
                <a:gd name="T76" fmla="*/ 32 w 279"/>
                <a:gd name="T77" fmla="*/ 101 h 142"/>
                <a:gd name="T78" fmla="*/ 38 w 279"/>
                <a:gd name="T79" fmla="*/ 88 h 142"/>
                <a:gd name="T80" fmla="*/ 55 w 279"/>
                <a:gd name="T81" fmla="*/ 95 h 142"/>
                <a:gd name="T82" fmla="*/ 73 w 279"/>
                <a:gd name="T83" fmla="*/ 88 h 142"/>
                <a:gd name="T84" fmla="*/ 95 w 279"/>
                <a:gd name="T85" fmla="*/ 82 h 142"/>
                <a:gd name="T86" fmla="*/ 110 w 279"/>
                <a:gd name="T87" fmla="*/ 80 h 142"/>
                <a:gd name="T88" fmla="*/ 123 w 279"/>
                <a:gd name="T89" fmla="*/ 85 h 142"/>
                <a:gd name="T90" fmla="*/ 130 w 279"/>
                <a:gd name="T91" fmla="*/ 76 h 142"/>
                <a:gd name="T92" fmla="*/ 123 w 279"/>
                <a:gd name="T93" fmla="*/ 62 h 142"/>
                <a:gd name="T94" fmla="*/ 126 w 279"/>
                <a:gd name="T95" fmla="*/ 48 h 142"/>
                <a:gd name="T96" fmla="*/ 141 w 279"/>
                <a:gd name="T97" fmla="*/ 38 h 142"/>
                <a:gd name="T98" fmla="*/ 152 w 279"/>
                <a:gd name="T99" fmla="*/ 29 h 142"/>
                <a:gd name="T100" fmla="*/ 160 w 279"/>
                <a:gd name="T101" fmla="*/ 20 h 142"/>
                <a:gd name="T102" fmla="*/ 183 w 279"/>
                <a:gd name="T103" fmla="*/ 25 h 142"/>
                <a:gd name="T104" fmla="*/ 1 w 279"/>
                <a:gd name="T105" fmla="*/ 114 h 142"/>
                <a:gd name="T106" fmla="*/ 1 w 279"/>
                <a:gd name="T107" fmla="*/ 114 h 142"/>
                <a:gd name="T108" fmla="*/ 2 w 279"/>
                <a:gd name="T109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142">
                  <a:moveTo>
                    <a:pt x="187" y="24"/>
                  </a:moveTo>
                  <a:cubicBezTo>
                    <a:pt x="187" y="24"/>
                    <a:pt x="187" y="18"/>
                    <a:pt x="188" y="18"/>
                  </a:cubicBezTo>
                  <a:cubicBezTo>
                    <a:pt x="189" y="18"/>
                    <a:pt x="191" y="15"/>
                    <a:pt x="191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6" y="12"/>
                    <a:pt x="196" y="10"/>
                  </a:cubicBezTo>
                  <a:cubicBezTo>
                    <a:pt x="195" y="9"/>
                    <a:pt x="196" y="4"/>
                    <a:pt x="196" y="4"/>
                  </a:cubicBezTo>
                  <a:cubicBezTo>
                    <a:pt x="196" y="4"/>
                    <a:pt x="195" y="1"/>
                    <a:pt x="196" y="1"/>
                  </a:cubicBezTo>
                  <a:cubicBezTo>
                    <a:pt x="198" y="0"/>
                    <a:pt x="201" y="2"/>
                    <a:pt x="201" y="2"/>
                  </a:cubicBezTo>
                  <a:cubicBezTo>
                    <a:pt x="206" y="3"/>
                    <a:pt x="206" y="3"/>
                    <a:pt x="206" y="3"/>
                  </a:cubicBezTo>
                  <a:cubicBezTo>
                    <a:pt x="206" y="3"/>
                    <a:pt x="208" y="3"/>
                    <a:pt x="209" y="3"/>
                  </a:cubicBezTo>
                  <a:cubicBezTo>
                    <a:pt x="210" y="3"/>
                    <a:pt x="214" y="4"/>
                    <a:pt x="214" y="4"/>
                  </a:cubicBezTo>
                  <a:cubicBezTo>
                    <a:pt x="214" y="4"/>
                    <a:pt x="218" y="5"/>
                    <a:pt x="219" y="5"/>
                  </a:cubicBezTo>
                  <a:cubicBezTo>
                    <a:pt x="220" y="5"/>
                    <a:pt x="224" y="5"/>
                    <a:pt x="224" y="5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33" y="9"/>
                    <a:pt x="233" y="9"/>
                    <a:pt x="233" y="9"/>
                  </a:cubicBezTo>
                  <a:cubicBezTo>
                    <a:pt x="237" y="11"/>
                    <a:pt x="237" y="11"/>
                    <a:pt x="237" y="11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53" y="7"/>
                    <a:pt x="253" y="8"/>
                  </a:cubicBezTo>
                  <a:cubicBezTo>
                    <a:pt x="254" y="8"/>
                    <a:pt x="256" y="10"/>
                    <a:pt x="259" y="11"/>
                  </a:cubicBezTo>
                  <a:cubicBezTo>
                    <a:pt x="262" y="11"/>
                    <a:pt x="265" y="10"/>
                    <a:pt x="265" y="10"/>
                  </a:cubicBezTo>
                  <a:cubicBezTo>
                    <a:pt x="267" y="16"/>
                    <a:pt x="267" y="16"/>
                    <a:pt x="267" y="16"/>
                  </a:cubicBezTo>
                  <a:cubicBezTo>
                    <a:pt x="269" y="17"/>
                    <a:pt x="269" y="17"/>
                    <a:pt x="269" y="17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8" y="20"/>
                    <a:pt x="268" y="20"/>
                    <a:pt x="268" y="20"/>
                  </a:cubicBezTo>
                  <a:cubicBezTo>
                    <a:pt x="269" y="21"/>
                    <a:pt x="269" y="21"/>
                    <a:pt x="269" y="21"/>
                  </a:cubicBezTo>
                  <a:cubicBezTo>
                    <a:pt x="269" y="21"/>
                    <a:pt x="268" y="23"/>
                    <a:pt x="268" y="23"/>
                  </a:cubicBezTo>
                  <a:cubicBezTo>
                    <a:pt x="268" y="23"/>
                    <a:pt x="268" y="25"/>
                    <a:pt x="268" y="25"/>
                  </a:cubicBezTo>
                  <a:cubicBezTo>
                    <a:pt x="266" y="27"/>
                    <a:pt x="266" y="27"/>
                    <a:pt x="266" y="27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32"/>
                    <a:pt x="266" y="32"/>
                  </a:cubicBezTo>
                  <a:cubicBezTo>
                    <a:pt x="266" y="32"/>
                    <a:pt x="267" y="33"/>
                    <a:pt x="268" y="33"/>
                  </a:cubicBezTo>
                  <a:cubicBezTo>
                    <a:pt x="268" y="33"/>
                    <a:pt x="268" y="34"/>
                    <a:pt x="268" y="34"/>
                  </a:cubicBezTo>
                  <a:cubicBezTo>
                    <a:pt x="268" y="34"/>
                    <a:pt x="269" y="35"/>
                    <a:pt x="270" y="36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70" y="36"/>
                    <a:pt x="271" y="38"/>
                    <a:pt x="271" y="39"/>
                  </a:cubicBezTo>
                  <a:cubicBezTo>
                    <a:pt x="272" y="40"/>
                    <a:pt x="272" y="41"/>
                    <a:pt x="272" y="41"/>
                  </a:cubicBezTo>
                  <a:cubicBezTo>
                    <a:pt x="272" y="41"/>
                    <a:pt x="273" y="43"/>
                    <a:pt x="274" y="43"/>
                  </a:cubicBezTo>
                  <a:cubicBezTo>
                    <a:pt x="274" y="43"/>
                    <a:pt x="275" y="43"/>
                    <a:pt x="276" y="43"/>
                  </a:cubicBezTo>
                  <a:cubicBezTo>
                    <a:pt x="276" y="43"/>
                    <a:pt x="277" y="43"/>
                    <a:pt x="277" y="43"/>
                  </a:cubicBezTo>
                  <a:cubicBezTo>
                    <a:pt x="277" y="44"/>
                    <a:pt x="276" y="50"/>
                    <a:pt x="276" y="50"/>
                  </a:cubicBezTo>
                  <a:cubicBezTo>
                    <a:pt x="277" y="56"/>
                    <a:pt x="277" y="56"/>
                    <a:pt x="277" y="56"/>
                  </a:cubicBezTo>
                  <a:cubicBezTo>
                    <a:pt x="277" y="56"/>
                    <a:pt x="276" y="59"/>
                    <a:pt x="276" y="60"/>
                  </a:cubicBezTo>
                  <a:cubicBezTo>
                    <a:pt x="277" y="62"/>
                    <a:pt x="279" y="64"/>
                    <a:pt x="276" y="65"/>
                  </a:cubicBezTo>
                  <a:cubicBezTo>
                    <a:pt x="274" y="65"/>
                    <a:pt x="271" y="67"/>
                    <a:pt x="270" y="65"/>
                  </a:cubicBezTo>
                  <a:cubicBezTo>
                    <a:pt x="270" y="65"/>
                    <a:pt x="269" y="63"/>
                    <a:pt x="269" y="66"/>
                  </a:cubicBezTo>
                  <a:cubicBezTo>
                    <a:pt x="270" y="67"/>
                    <a:pt x="267" y="66"/>
                    <a:pt x="267" y="66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70"/>
                    <a:pt x="261" y="70"/>
                    <a:pt x="261" y="70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60" y="82"/>
                    <a:pt x="257" y="84"/>
                    <a:pt x="256" y="84"/>
                  </a:cubicBezTo>
                  <a:cubicBezTo>
                    <a:pt x="255" y="84"/>
                    <a:pt x="254" y="85"/>
                    <a:pt x="254" y="85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3"/>
                    <a:pt x="257" y="93"/>
                    <a:pt x="257" y="93"/>
                  </a:cubicBezTo>
                  <a:cubicBezTo>
                    <a:pt x="258" y="99"/>
                    <a:pt x="258" y="99"/>
                    <a:pt x="258" y="99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2" y="105"/>
                    <a:pt x="252" y="105"/>
                    <a:pt x="252" y="105"/>
                  </a:cubicBezTo>
                  <a:cubicBezTo>
                    <a:pt x="249" y="112"/>
                    <a:pt x="249" y="112"/>
                    <a:pt x="249" y="112"/>
                  </a:cubicBezTo>
                  <a:cubicBezTo>
                    <a:pt x="244" y="115"/>
                    <a:pt x="244" y="115"/>
                    <a:pt x="244" y="115"/>
                  </a:cubicBezTo>
                  <a:cubicBezTo>
                    <a:pt x="243" y="119"/>
                    <a:pt x="243" y="119"/>
                    <a:pt x="243" y="119"/>
                  </a:cubicBezTo>
                  <a:cubicBezTo>
                    <a:pt x="244" y="125"/>
                    <a:pt x="244" y="125"/>
                    <a:pt x="244" y="125"/>
                  </a:cubicBezTo>
                  <a:cubicBezTo>
                    <a:pt x="238" y="121"/>
                    <a:pt x="238" y="121"/>
                    <a:pt x="238" y="121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0" y="124"/>
                    <a:pt x="230" y="124"/>
                    <a:pt x="230" y="124"/>
                  </a:cubicBezTo>
                  <a:cubicBezTo>
                    <a:pt x="224" y="128"/>
                    <a:pt x="224" y="128"/>
                    <a:pt x="224" y="128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00" y="136"/>
                    <a:pt x="200" y="136"/>
                    <a:pt x="200" y="136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4" y="140"/>
                    <a:pt x="194" y="140"/>
                    <a:pt x="194" y="140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89" y="142"/>
                    <a:pt x="189" y="142"/>
                    <a:pt x="189" y="142"/>
                  </a:cubicBezTo>
                  <a:cubicBezTo>
                    <a:pt x="180" y="142"/>
                    <a:pt x="180" y="142"/>
                    <a:pt x="180" y="142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61" y="138"/>
                    <a:pt x="161" y="138"/>
                    <a:pt x="161" y="138"/>
                  </a:cubicBezTo>
                  <a:cubicBezTo>
                    <a:pt x="154" y="139"/>
                    <a:pt x="154" y="139"/>
                    <a:pt x="154" y="139"/>
                  </a:cubicBezTo>
                  <a:cubicBezTo>
                    <a:pt x="154" y="139"/>
                    <a:pt x="149" y="138"/>
                    <a:pt x="146" y="138"/>
                  </a:cubicBezTo>
                  <a:cubicBezTo>
                    <a:pt x="142" y="138"/>
                    <a:pt x="134" y="136"/>
                    <a:pt x="134" y="136"/>
                  </a:cubicBezTo>
                  <a:cubicBezTo>
                    <a:pt x="124" y="133"/>
                    <a:pt x="124" y="133"/>
                    <a:pt x="124" y="133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9" y="132"/>
                    <a:pt x="108" y="130"/>
                    <a:pt x="107" y="129"/>
                  </a:cubicBezTo>
                  <a:cubicBezTo>
                    <a:pt x="107" y="128"/>
                    <a:pt x="104" y="126"/>
                    <a:pt x="104" y="126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100" y="111"/>
                    <a:pt x="96" y="112"/>
                    <a:pt x="94" y="112"/>
                  </a:cubicBezTo>
                  <a:cubicBezTo>
                    <a:pt x="93" y="113"/>
                    <a:pt x="87" y="114"/>
                    <a:pt x="87" y="114"/>
                  </a:cubicBezTo>
                  <a:cubicBezTo>
                    <a:pt x="85" y="115"/>
                    <a:pt x="85" y="115"/>
                    <a:pt x="85" y="115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69" y="116"/>
                    <a:pt x="69" y="116"/>
                    <a:pt x="69" y="116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7" y="129"/>
                    <a:pt x="57" y="129"/>
                    <a:pt x="57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5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0"/>
                  </a:cubicBezTo>
                  <a:cubicBezTo>
                    <a:pt x="39" y="120"/>
                    <a:pt x="38" y="119"/>
                    <a:pt x="38" y="119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6" y="116"/>
                    <a:pt x="36" y="116"/>
                  </a:cubicBezTo>
                  <a:cubicBezTo>
                    <a:pt x="35" y="117"/>
                    <a:pt x="34" y="117"/>
                    <a:pt x="34" y="117"/>
                  </a:cubicBezTo>
                  <a:cubicBezTo>
                    <a:pt x="34" y="117"/>
                    <a:pt x="34" y="119"/>
                    <a:pt x="34" y="119"/>
                  </a:cubicBezTo>
                  <a:cubicBezTo>
                    <a:pt x="33" y="120"/>
                    <a:pt x="32" y="120"/>
                    <a:pt x="32" y="120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0" y="122"/>
                    <a:pt x="30" y="122"/>
                    <a:pt x="30" y="122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8" y="123"/>
                    <a:pt x="28" y="124"/>
                  </a:cubicBezTo>
                  <a:cubicBezTo>
                    <a:pt x="28" y="124"/>
                    <a:pt x="27" y="124"/>
                    <a:pt x="26" y="124"/>
                  </a:cubicBezTo>
                  <a:cubicBezTo>
                    <a:pt x="26" y="124"/>
                    <a:pt x="24" y="124"/>
                    <a:pt x="24" y="124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6" y="114"/>
                    <a:pt x="6" y="114"/>
                    <a:pt x="6" y="114"/>
                  </a:cubicBezTo>
                  <a:cubicBezTo>
                    <a:pt x="6" y="114"/>
                    <a:pt x="2" y="114"/>
                    <a:pt x="2" y="114"/>
                  </a:cubicBezTo>
                  <a:cubicBezTo>
                    <a:pt x="2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5" y="113"/>
                  </a:cubicBezTo>
                  <a:cubicBezTo>
                    <a:pt x="5" y="113"/>
                    <a:pt x="5" y="113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4" y="11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4" y="112"/>
                    <a:pt x="4" y="112"/>
                    <a:pt x="4" y="111"/>
                  </a:cubicBezTo>
                  <a:cubicBezTo>
                    <a:pt x="4" y="111"/>
                    <a:pt x="5" y="111"/>
                    <a:pt x="5" y="111"/>
                  </a:cubicBezTo>
                  <a:cubicBezTo>
                    <a:pt x="5" y="111"/>
                    <a:pt x="5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0"/>
                    <a:pt x="4" y="111"/>
                    <a:pt x="4" y="111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7"/>
                    <a:pt x="3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2" y="107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0"/>
                    <a:pt x="5" y="100"/>
                  </a:cubicBezTo>
                  <a:cubicBezTo>
                    <a:pt x="5" y="99"/>
                    <a:pt x="5" y="98"/>
                    <a:pt x="5" y="98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8" y="96"/>
                    <a:pt x="8" y="96"/>
                  </a:cubicBezTo>
                  <a:cubicBezTo>
                    <a:pt x="8" y="95"/>
                    <a:pt x="7" y="94"/>
                    <a:pt x="7" y="94"/>
                  </a:cubicBezTo>
                  <a:cubicBezTo>
                    <a:pt x="7" y="93"/>
                    <a:pt x="8" y="92"/>
                    <a:pt x="8" y="92"/>
                  </a:cubicBezTo>
                  <a:cubicBezTo>
                    <a:pt x="7" y="92"/>
                    <a:pt x="7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8" y="88"/>
                    <a:pt x="10" y="86"/>
                    <a:pt x="10" y="86"/>
                  </a:cubicBezTo>
                  <a:cubicBezTo>
                    <a:pt x="10" y="86"/>
                    <a:pt x="12" y="85"/>
                    <a:pt x="14" y="86"/>
                  </a:cubicBezTo>
                  <a:cubicBezTo>
                    <a:pt x="15" y="87"/>
                    <a:pt x="17" y="89"/>
                    <a:pt x="18" y="90"/>
                  </a:cubicBezTo>
                  <a:cubicBezTo>
                    <a:pt x="18" y="90"/>
                    <a:pt x="19" y="91"/>
                    <a:pt x="20" y="91"/>
                  </a:cubicBezTo>
                  <a:cubicBezTo>
                    <a:pt x="21" y="91"/>
                    <a:pt x="22" y="92"/>
                    <a:pt x="22" y="92"/>
                  </a:cubicBezTo>
                  <a:cubicBezTo>
                    <a:pt x="22" y="93"/>
                    <a:pt x="23" y="92"/>
                    <a:pt x="23" y="94"/>
                  </a:cubicBezTo>
                  <a:cubicBezTo>
                    <a:pt x="22" y="96"/>
                    <a:pt x="22" y="98"/>
                    <a:pt x="23" y="98"/>
                  </a:cubicBezTo>
                  <a:cubicBezTo>
                    <a:pt x="25" y="97"/>
                    <a:pt x="26" y="96"/>
                    <a:pt x="26" y="97"/>
                  </a:cubicBezTo>
                  <a:cubicBezTo>
                    <a:pt x="26" y="98"/>
                    <a:pt x="27" y="97"/>
                    <a:pt x="26" y="99"/>
                  </a:cubicBezTo>
                  <a:cubicBezTo>
                    <a:pt x="26" y="101"/>
                    <a:pt x="25" y="102"/>
                    <a:pt x="26" y="102"/>
                  </a:cubicBezTo>
                  <a:cubicBezTo>
                    <a:pt x="28" y="103"/>
                    <a:pt x="30" y="104"/>
                    <a:pt x="31" y="103"/>
                  </a:cubicBezTo>
                  <a:cubicBezTo>
                    <a:pt x="32" y="101"/>
                    <a:pt x="31" y="103"/>
                    <a:pt x="32" y="101"/>
                  </a:cubicBezTo>
                  <a:cubicBezTo>
                    <a:pt x="33" y="98"/>
                    <a:pt x="33" y="99"/>
                    <a:pt x="34" y="98"/>
                  </a:cubicBezTo>
                  <a:cubicBezTo>
                    <a:pt x="34" y="96"/>
                    <a:pt x="34" y="97"/>
                    <a:pt x="35" y="95"/>
                  </a:cubicBezTo>
                  <a:cubicBezTo>
                    <a:pt x="35" y="93"/>
                    <a:pt x="36" y="94"/>
                    <a:pt x="35" y="93"/>
                  </a:cubicBezTo>
                  <a:cubicBezTo>
                    <a:pt x="35" y="93"/>
                    <a:pt x="35" y="92"/>
                    <a:pt x="34" y="91"/>
                  </a:cubicBezTo>
                  <a:cubicBezTo>
                    <a:pt x="34" y="89"/>
                    <a:pt x="32" y="90"/>
                    <a:pt x="35" y="89"/>
                  </a:cubicBezTo>
                  <a:cubicBezTo>
                    <a:pt x="37" y="88"/>
                    <a:pt x="38" y="88"/>
                    <a:pt x="38" y="88"/>
                  </a:cubicBezTo>
                  <a:cubicBezTo>
                    <a:pt x="38" y="87"/>
                    <a:pt x="41" y="87"/>
                    <a:pt x="41" y="87"/>
                  </a:cubicBezTo>
                  <a:cubicBezTo>
                    <a:pt x="41" y="87"/>
                    <a:pt x="44" y="87"/>
                    <a:pt x="44" y="87"/>
                  </a:cubicBezTo>
                  <a:cubicBezTo>
                    <a:pt x="45" y="87"/>
                    <a:pt x="49" y="87"/>
                    <a:pt x="49" y="88"/>
                  </a:cubicBezTo>
                  <a:cubicBezTo>
                    <a:pt x="49" y="89"/>
                    <a:pt x="51" y="89"/>
                    <a:pt x="51" y="89"/>
                  </a:cubicBezTo>
                  <a:cubicBezTo>
                    <a:pt x="51" y="89"/>
                    <a:pt x="53" y="89"/>
                    <a:pt x="54" y="91"/>
                  </a:cubicBezTo>
                  <a:cubicBezTo>
                    <a:pt x="54" y="94"/>
                    <a:pt x="54" y="96"/>
                    <a:pt x="55" y="95"/>
                  </a:cubicBezTo>
                  <a:cubicBezTo>
                    <a:pt x="56" y="95"/>
                    <a:pt x="58" y="97"/>
                    <a:pt x="58" y="96"/>
                  </a:cubicBezTo>
                  <a:cubicBezTo>
                    <a:pt x="59" y="95"/>
                    <a:pt x="60" y="94"/>
                    <a:pt x="61" y="94"/>
                  </a:cubicBezTo>
                  <a:cubicBezTo>
                    <a:pt x="62" y="94"/>
                    <a:pt x="60" y="93"/>
                    <a:pt x="63" y="93"/>
                  </a:cubicBezTo>
                  <a:cubicBezTo>
                    <a:pt x="67" y="94"/>
                    <a:pt x="66" y="95"/>
                    <a:pt x="68" y="93"/>
                  </a:cubicBezTo>
                  <a:cubicBezTo>
                    <a:pt x="69" y="91"/>
                    <a:pt x="69" y="91"/>
                    <a:pt x="71" y="90"/>
                  </a:cubicBezTo>
                  <a:cubicBezTo>
                    <a:pt x="72" y="89"/>
                    <a:pt x="72" y="89"/>
                    <a:pt x="73" y="88"/>
                  </a:cubicBezTo>
                  <a:cubicBezTo>
                    <a:pt x="73" y="88"/>
                    <a:pt x="77" y="88"/>
                    <a:pt x="77" y="88"/>
                  </a:cubicBezTo>
                  <a:cubicBezTo>
                    <a:pt x="78" y="87"/>
                    <a:pt x="79" y="85"/>
                    <a:pt x="80" y="85"/>
                  </a:cubicBezTo>
                  <a:cubicBezTo>
                    <a:pt x="80" y="85"/>
                    <a:pt x="84" y="85"/>
                    <a:pt x="85" y="85"/>
                  </a:cubicBezTo>
                  <a:cubicBezTo>
                    <a:pt x="86" y="85"/>
                    <a:pt x="88" y="85"/>
                    <a:pt x="89" y="84"/>
                  </a:cubicBezTo>
                  <a:cubicBezTo>
                    <a:pt x="89" y="83"/>
                    <a:pt x="89" y="83"/>
                    <a:pt x="90" y="82"/>
                  </a:cubicBezTo>
                  <a:cubicBezTo>
                    <a:pt x="92" y="82"/>
                    <a:pt x="93" y="82"/>
                    <a:pt x="95" y="82"/>
                  </a:cubicBezTo>
                  <a:cubicBezTo>
                    <a:pt x="97" y="82"/>
                    <a:pt x="97" y="82"/>
                    <a:pt x="98" y="82"/>
                  </a:cubicBezTo>
                  <a:cubicBezTo>
                    <a:pt x="99" y="82"/>
                    <a:pt x="100" y="84"/>
                    <a:pt x="100" y="81"/>
                  </a:cubicBezTo>
                  <a:cubicBezTo>
                    <a:pt x="99" y="78"/>
                    <a:pt x="98" y="78"/>
                    <a:pt x="99" y="77"/>
                  </a:cubicBezTo>
                  <a:cubicBezTo>
                    <a:pt x="101" y="77"/>
                    <a:pt x="103" y="77"/>
                    <a:pt x="103" y="77"/>
                  </a:cubicBezTo>
                  <a:cubicBezTo>
                    <a:pt x="104" y="77"/>
                    <a:pt x="108" y="78"/>
                    <a:pt x="109" y="78"/>
                  </a:cubicBezTo>
                  <a:cubicBezTo>
                    <a:pt x="109" y="78"/>
                    <a:pt x="110" y="80"/>
                    <a:pt x="110" y="80"/>
                  </a:cubicBezTo>
                  <a:cubicBezTo>
                    <a:pt x="111" y="80"/>
                    <a:pt x="112" y="81"/>
                    <a:pt x="113" y="80"/>
                  </a:cubicBezTo>
                  <a:cubicBezTo>
                    <a:pt x="113" y="80"/>
                    <a:pt x="114" y="78"/>
                    <a:pt x="115" y="78"/>
                  </a:cubicBezTo>
                  <a:cubicBezTo>
                    <a:pt x="116" y="78"/>
                    <a:pt x="119" y="78"/>
                    <a:pt x="119" y="78"/>
                  </a:cubicBezTo>
                  <a:cubicBezTo>
                    <a:pt x="119" y="78"/>
                    <a:pt x="123" y="79"/>
                    <a:pt x="123" y="79"/>
                  </a:cubicBezTo>
                  <a:cubicBezTo>
                    <a:pt x="123" y="79"/>
                    <a:pt x="122" y="81"/>
                    <a:pt x="122" y="82"/>
                  </a:cubicBezTo>
                  <a:cubicBezTo>
                    <a:pt x="122" y="83"/>
                    <a:pt x="122" y="84"/>
                    <a:pt x="123" y="85"/>
                  </a:cubicBezTo>
                  <a:cubicBezTo>
                    <a:pt x="123" y="85"/>
                    <a:pt x="125" y="87"/>
                    <a:pt x="125" y="87"/>
                  </a:cubicBezTo>
                  <a:cubicBezTo>
                    <a:pt x="125" y="87"/>
                    <a:pt x="130" y="89"/>
                    <a:pt x="130" y="89"/>
                  </a:cubicBezTo>
                  <a:cubicBezTo>
                    <a:pt x="130" y="89"/>
                    <a:pt x="131" y="90"/>
                    <a:pt x="131" y="86"/>
                  </a:cubicBezTo>
                  <a:cubicBezTo>
                    <a:pt x="131" y="82"/>
                    <a:pt x="131" y="81"/>
                    <a:pt x="131" y="81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7"/>
                    <a:pt x="131" y="76"/>
                    <a:pt x="130" y="76"/>
                  </a:cubicBezTo>
                  <a:cubicBezTo>
                    <a:pt x="130" y="76"/>
                    <a:pt x="129" y="76"/>
                    <a:pt x="129" y="76"/>
                  </a:cubicBezTo>
                  <a:cubicBezTo>
                    <a:pt x="129" y="76"/>
                    <a:pt x="125" y="75"/>
                    <a:pt x="124" y="75"/>
                  </a:cubicBezTo>
                  <a:cubicBezTo>
                    <a:pt x="123" y="75"/>
                    <a:pt x="124" y="73"/>
                    <a:pt x="124" y="72"/>
                  </a:cubicBezTo>
                  <a:cubicBezTo>
                    <a:pt x="124" y="72"/>
                    <a:pt x="126" y="70"/>
                    <a:pt x="126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3" y="50"/>
                    <a:pt x="126" y="48"/>
                    <a:pt x="126" y="48"/>
                  </a:cubicBezTo>
                  <a:cubicBezTo>
                    <a:pt x="126" y="48"/>
                    <a:pt x="126" y="48"/>
                    <a:pt x="127" y="48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34" y="44"/>
                    <a:pt x="134" y="44"/>
                  </a:cubicBezTo>
                  <a:cubicBezTo>
                    <a:pt x="134" y="44"/>
                    <a:pt x="135" y="43"/>
                    <a:pt x="135" y="43"/>
                  </a:cubicBezTo>
                  <a:cubicBezTo>
                    <a:pt x="136" y="43"/>
                    <a:pt x="136" y="43"/>
                    <a:pt x="136" y="43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0"/>
                    <a:pt x="142" y="28"/>
                    <a:pt x="142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9" y="29"/>
                    <a:pt x="150" y="30"/>
                  </a:cubicBezTo>
                  <a:cubicBezTo>
                    <a:pt x="151" y="30"/>
                    <a:pt x="152" y="29"/>
                    <a:pt x="152" y="29"/>
                  </a:cubicBezTo>
                  <a:cubicBezTo>
                    <a:pt x="153" y="29"/>
                    <a:pt x="154" y="27"/>
                    <a:pt x="154" y="27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4" y="16"/>
                    <a:pt x="158" y="19"/>
                    <a:pt x="160" y="20"/>
                  </a:cubicBezTo>
                  <a:cubicBezTo>
                    <a:pt x="161" y="21"/>
                    <a:pt x="164" y="24"/>
                    <a:pt x="164" y="24"/>
                  </a:cubicBezTo>
                  <a:cubicBezTo>
                    <a:pt x="164" y="24"/>
                    <a:pt x="169" y="25"/>
                    <a:pt x="170" y="25"/>
                  </a:cubicBezTo>
                  <a:cubicBezTo>
                    <a:pt x="170" y="25"/>
                    <a:pt x="175" y="26"/>
                    <a:pt x="175" y="26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7" y="24"/>
                    <a:pt x="187" y="24"/>
                    <a:pt x="187" y="24"/>
                  </a:cubicBezTo>
                  <a:close/>
                  <a:moveTo>
                    <a:pt x="5" y="91"/>
                  </a:move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2" y="113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0" y="114"/>
                    <a:pt x="0" y="114"/>
                    <a:pt x="0" y="114"/>
                  </a:cubicBezTo>
                  <a:lnTo>
                    <a:pt x="1" y="114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auto">
            <a:xfrm>
              <a:off x="3808896" y="2714111"/>
              <a:ext cx="1185186" cy="1190072"/>
            </a:xfrm>
            <a:custGeom>
              <a:avLst/>
              <a:gdLst>
                <a:gd name="T0" fmla="*/ 269 w 520"/>
                <a:gd name="T1" fmla="*/ 424 h 538"/>
                <a:gd name="T2" fmla="*/ 326 w 520"/>
                <a:gd name="T3" fmla="*/ 423 h 538"/>
                <a:gd name="T4" fmla="*/ 401 w 520"/>
                <a:gd name="T5" fmla="*/ 437 h 538"/>
                <a:gd name="T6" fmla="*/ 432 w 520"/>
                <a:gd name="T7" fmla="*/ 408 h 538"/>
                <a:gd name="T8" fmla="*/ 434 w 520"/>
                <a:gd name="T9" fmla="*/ 407 h 538"/>
                <a:gd name="T10" fmla="*/ 435 w 520"/>
                <a:gd name="T11" fmla="*/ 406 h 538"/>
                <a:gd name="T12" fmla="*/ 436 w 520"/>
                <a:gd name="T13" fmla="*/ 406 h 538"/>
                <a:gd name="T14" fmla="*/ 421 w 520"/>
                <a:gd name="T15" fmla="*/ 359 h 538"/>
                <a:gd name="T16" fmla="*/ 425 w 520"/>
                <a:gd name="T17" fmla="*/ 310 h 538"/>
                <a:gd name="T18" fmla="*/ 418 w 520"/>
                <a:gd name="T19" fmla="*/ 279 h 538"/>
                <a:gd name="T20" fmla="*/ 414 w 520"/>
                <a:gd name="T21" fmla="*/ 263 h 538"/>
                <a:gd name="T22" fmla="*/ 395 w 520"/>
                <a:gd name="T23" fmla="*/ 272 h 538"/>
                <a:gd name="T24" fmla="*/ 384 w 520"/>
                <a:gd name="T25" fmla="*/ 274 h 538"/>
                <a:gd name="T26" fmla="*/ 389 w 520"/>
                <a:gd name="T27" fmla="*/ 259 h 538"/>
                <a:gd name="T28" fmla="*/ 402 w 520"/>
                <a:gd name="T29" fmla="*/ 242 h 538"/>
                <a:gd name="T30" fmla="*/ 411 w 520"/>
                <a:gd name="T31" fmla="*/ 230 h 538"/>
                <a:gd name="T32" fmla="*/ 424 w 520"/>
                <a:gd name="T33" fmla="*/ 215 h 538"/>
                <a:gd name="T34" fmla="*/ 422 w 520"/>
                <a:gd name="T35" fmla="*/ 208 h 538"/>
                <a:gd name="T36" fmla="*/ 434 w 520"/>
                <a:gd name="T37" fmla="*/ 208 h 538"/>
                <a:gd name="T38" fmla="*/ 443 w 520"/>
                <a:gd name="T39" fmla="*/ 202 h 538"/>
                <a:gd name="T40" fmla="*/ 451 w 520"/>
                <a:gd name="T41" fmla="*/ 160 h 538"/>
                <a:gd name="T42" fmla="*/ 430 w 520"/>
                <a:gd name="T43" fmla="*/ 116 h 538"/>
                <a:gd name="T44" fmla="*/ 401 w 520"/>
                <a:gd name="T45" fmla="*/ 94 h 538"/>
                <a:gd name="T46" fmla="*/ 391 w 520"/>
                <a:gd name="T47" fmla="*/ 95 h 538"/>
                <a:gd name="T48" fmla="*/ 383 w 520"/>
                <a:gd name="T49" fmla="*/ 91 h 538"/>
                <a:gd name="T50" fmla="*/ 367 w 520"/>
                <a:gd name="T51" fmla="*/ 82 h 538"/>
                <a:gd name="T52" fmla="*/ 355 w 520"/>
                <a:gd name="T53" fmla="*/ 61 h 538"/>
                <a:gd name="T54" fmla="*/ 335 w 520"/>
                <a:gd name="T55" fmla="*/ 65 h 538"/>
                <a:gd name="T56" fmla="*/ 330 w 520"/>
                <a:gd name="T57" fmla="*/ 48 h 538"/>
                <a:gd name="T58" fmla="*/ 311 w 520"/>
                <a:gd name="T59" fmla="*/ 35 h 538"/>
                <a:gd name="T60" fmla="*/ 291 w 520"/>
                <a:gd name="T61" fmla="*/ 20 h 538"/>
                <a:gd name="T62" fmla="*/ 281 w 520"/>
                <a:gd name="T63" fmla="*/ 1 h 538"/>
                <a:gd name="T64" fmla="*/ 229 w 520"/>
                <a:gd name="T65" fmla="*/ 53 h 538"/>
                <a:gd name="T66" fmla="*/ 145 w 520"/>
                <a:gd name="T67" fmla="*/ 76 h 538"/>
                <a:gd name="T68" fmla="*/ 117 w 520"/>
                <a:gd name="T69" fmla="*/ 65 h 538"/>
                <a:gd name="T70" fmla="*/ 107 w 520"/>
                <a:gd name="T71" fmla="*/ 111 h 538"/>
                <a:gd name="T72" fmla="*/ 46 w 520"/>
                <a:gd name="T73" fmla="*/ 99 h 538"/>
                <a:gd name="T74" fmla="*/ 16 w 520"/>
                <a:gd name="T75" fmla="*/ 117 h 538"/>
                <a:gd name="T76" fmla="*/ 19 w 520"/>
                <a:gd name="T77" fmla="*/ 145 h 538"/>
                <a:gd name="T78" fmla="*/ 58 w 520"/>
                <a:gd name="T79" fmla="*/ 167 h 538"/>
                <a:gd name="T80" fmla="*/ 91 w 520"/>
                <a:gd name="T81" fmla="*/ 200 h 538"/>
                <a:gd name="T82" fmla="*/ 95 w 520"/>
                <a:gd name="T83" fmla="*/ 228 h 538"/>
                <a:gd name="T84" fmla="*/ 109 w 520"/>
                <a:gd name="T85" fmla="*/ 250 h 538"/>
                <a:gd name="T86" fmla="*/ 109 w 520"/>
                <a:gd name="T87" fmla="*/ 265 h 538"/>
                <a:gd name="T88" fmla="*/ 114 w 520"/>
                <a:gd name="T89" fmla="*/ 284 h 538"/>
                <a:gd name="T90" fmla="*/ 92 w 520"/>
                <a:gd name="T91" fmla="*/ 371 h 538"/>
                <a:gd name="T92" fmla="*/ 159 w 520"/>
                <a:gd name="T93" fmla="*/ 443 h 538"/>
                <a:gd name="T94" fmla="*/ 193 w 520"/>
                <a:gd name="T95" fmla="*/ 453 h 538"/>
                <a:gd name="T96" fmla="*/ 197 w 520"/>
                <a:gd name="T97" fmla="*/ 450 h 538"/>
                <a:gd name="T98" fmla="*/ 203 w 520"/>
                <a:gd name="T99" fmla="*/ 453 h 538"/>
                <a:gd name="T100" fmla="*/ 208 w 520"/>
                <a:gd name="T101" fmla="*/ 456 h 538"/>
                <a:gd name="T102" fmla="*/ 203 w 520"/>
                <a:gd name="T103" fmla="*/ 460 h 538"/>
                <a:gd name="T104" fmla="*/ 198 w 520"/>
                <a:gd name="T105" fmla="*/ 462 h 538"/>
                <a:gd name="T106" fmla="*/ 243 w 520"/>
                <a:gd name="T107" fmla="*/ 471 h 538"/>
                <a:gd name="T108" fmla="*/ 193 w 520"/>
                <a:gd name="T109" fmla="*/ 458 h 538"/>
                <a:gd name="T110" fmla="*/ 449 w 520"/>
                <a:gd name="T111" fmla="*/ 200 h 538"/>
                <a:gd name="T112" fmla="*/ 511 w 520"/>
                <a:gd name="T113" fmla="*/ 523 h 538"/>
                <a:gd name="T114" fmla="*/ 517 w 520"/>
                <a:gd name="T115" fmla="*/ 468 h 538"/>
                <a:gd name="T116" fmla="*/ 485 w 520"/>
                <a:gd name="T117" fmla="*/ 478 h 538"/>
                <a:gd name="T118" fmla="*/ 493 w 520"/>
                <a:gd name="T119" fmla="*/ 52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0" h="538">
                  <a:moveTo>
                    <a:pt x="259" y="471"/>
                  </a:moveTo>
                  <a:cubicBezTo>
                    <a:pt x="261" y="468"/>
                    <a:pt x="261" y="468"/>
                    <a:pt x="261" y="468"/>
                  </a:cubicBezTo>
                  <a:cubicBezTo>
                    <a:pt x="261" y="468"/>
                    <a:pt x="261" y="462"/>
                    <a:pt x="259" y="461"/>
                  </a:cubicBezTo>
                  <a:cubicBezTo>
                    <a:pt x="258" y="460"/>
                    <a:pt x="257" y="459"/>
                    <a:pt x="257" y="459"/>
                  </a:cubicBezTo>
                  <a:cubicBezTo>
                    <a:pt x="257" y="459"/>
                    <a:pt x="257" y="455"/>
                    <a:pt x="257" y="453"/>
                  </a:cubicBezTo>
                  <a:cubicBezTo>
                    <a:pt x="257" y="452"/>
                    <a:pt x="257" y="448"/>
                    <a:pt x="257" y="447"/>
                  </a:cubicBezTo>
                  <a:cubicBezTo>
                    <a:pt x="257" y="446"/>
                    <a:pt x="258" y="442"/>
                    <a:pt x="258" y="441"/>
                  </a:cubicBezTo>
                  <a:cubicBezTo>
                    <a:pt x="258" y="441"/>
                    <a:pt x="257" y="441"/>
                    <a:pt x="259" y="439"/>
                  </a:cubicBezTo>
                  <a:cubicBezTo>
                    <a:pt x="261" y="436"/>
                    <a:pt x="261" y="434"/>
                    <a:pt x="261" y="434"/>
                  </a:cubicBezTo>
                  <a:cubicBezTo>
                    <a:pt x="265" y="429"/>
                    <a:pt x="265" y="429"/>
                    <a:pt x="265" y="429"/>
                  </a:cubicBezTo>
                  <a:cubicBezTo>
                    <a:pt x="265" y="429"/>
                    <a:pt x="268" y="424"/>
                    <a:pt x="269" y="424"/>
                  </a:cubicBezTo>
                  <a:cubicBezTo>
                    <a:pt x="270" y="425"/>
                    <a:pt x="274" y="424"/>
                    <a:pt x="275" y="424"/>
                  </a:cubicBezTo>
                  <a:cubicBezTo>
                    <a:pt x="276" y="424"/>
                    <a:pt x="280" y="428"/>
                    <a:pt x="282" y="424"/>
                  </a:cubicBezTo>
                  <a:cubicBezTo>
                    <a:pt x="284" y="421"/>
                    <a:pt x="285" y="419"/>
                    <a:pt x="285" y="418"/>
                  </a:cubicBezTo>
                  <a:cubicBezTo>
                    <a:pt x="286" y="417"/>
                    <a:pt x="287" y="414"/>
                    <a:pt x="290" y="414"/>
                  </a:cubicBezTo>
                  <a:cubicBezTo>
                    <a:pt x="293" y="413"/>
                    <a:pt x="300" y="413"/>
                    <a:pt x="300" y="413"/>
                  </a:cubicBezTo>
                  <a:cubicBezTo>
                    <a:pt x="303" y="414"/>
                    <a:pt x="303" y="414"/>
                    <a:pt x="303" y="414"/>
                  </a:cubicBezTo>
                  <a:cubicBezTo>
                    <a:pt x="311" y="417"/>
                    <a:pt x="311" y="417"/>
                    <a:pt x="311" y="417"/>
                  </a:cubicBezTo>
                  <a:cubicBezTo>
                    <a:pt x="311" y="417"/>
                    <a:pt x="314" y="417"/>
                    <a:pt x="316" y="417"/>
                  </a:cubicBezTo>
                  <a:cubicBezTo>
                    <a:pt x="317" y="417"/>
                    <a:pt x="318" y="417"/>
                    <a:pt x="318" y="417"/>
                  </a:cubicBezTo>
                  <a:cubicBezTo>
                    <a:pt x="321" y="421"/>
                    <a:pt x="321" y="421"/>
                    <a:pt x="321" y="421"/>
                  </a:cubicBezTo>
                  <a:cubicBezTo>
                    <a:pt x="321" y="421"/>
                    <a:pt x="325" y="423"/>
                    <a:pt x="326" y="423"/>
                  </a:cubicBezTo>
                  <a:cubicBezTo>
                    <a:pt x="327" y="423"/>
                    <a:pt x="335" y="421"/>
                    <a:pt x="335" y="421"/>
                  </a:cubicBezTo>
                  <a:cubicBezTo>
                    <a:pt x="335" y="421"/>
                    <a:pt x="338" y="420"/>
                    <a:pt x="339" y="421"/>
                  </a:cubicBezTo>
                  <a:cubicBezTo>
                    <a:pt x="340" y="422"/>
                    <a:pt x="343" y="423"/>
                    <a:pt x="344" y="424"/>
                  </a:cubicBezTo>
                  <a:cubicBezTo>
                    <a:pt x="344" y="425"/>
                    <a:pt x="352" y="429"/>
                    <a:pt x="354" y="430"/>
                  </a:cubicBezTo>
                  <a:cubicBezTo>
                    <a:pt x="355" y="431"/>
                    <a:pt x="359" y="430"/>
                    <a:pt x="359" y="430"/>
                  </a:cubicBezTo>
                  <a:cubicBezTo>
                    <a:pt x="361" y="435"/>
                    <a:pt x="361" y="435"/>
                    <a:pt x="361" y="435"/>
                  </a:cubicBezTo>
                  <a:cubicBezTo>
                    <a:pt x="371" y="438"/>
                    <a:pt x="371" y="438"/>
                    <a:pt x="371" y="438"/>
                  </a:cubicBezTo>
                  <a:cubicBezTo>
                    <a:pt x="375" y="438"/>
                    <a:pt x="375" y="438"/>
                    <a:pt x="375" y="438"/>
                  </a:cubicBezTo>
                  <a:cubicBezTo>
                    <a:pt x="389" y="443"/>
                    <a:pt x="389" y="443"/>
                    <a:pt x="389" y="443"/>
                  </a:cubicBezTo>
                  <a:cubicBezTo>
                    <a:pt x="398" y="436"/>
                    <a:pt x="398" y="436"/>
                    <a:pt x="398" y="436"/>
                  </a:cubicBezTo>
                  <a:cubicBezTo>
                    <a:pt x="398" y="436"/>
                    <a:pt x="400" y="437"/>
                    <a:pt x="401" y="437"/>
                  </a:cubicBezTo>
                  <a:cubicBezTo>
                    <a:pt x="402" y="437"/>
                    <a:pt x="404" y="429"/>
                    <a:pt x="404" y="429"/>
                  </a:cubicBezTo>
                  <a:cubicBezTo>
                    <a:pt x="404" y="429"/>
                    <a:pt x="404" y="427"/>
                    <a:pt x="405" y="427"/>
                  </a:cubicBezTo>
                  <a:cubicBezTo>
                    <a:pt x="407" y="427"/>
                    <a:pt x="414" y="424"/>
                    <a:pt x="414" y="424"/>
                  </a:cubicBezTo>
                  <a:cubicBezTo>
                    <a:pt x="414" y="423"/>
                    <a:pt x="413" y="419"/>
                    <a:pt x="416" y="418"/>
                  </a:cubicBezTo>
                  <a:cubicBezTo>
                    <a:pt x="418" y="417"/>
                    <a:pt x="422" y="414"/>
                    <a:pt x="422" y="414"/>
                  </a:cubicBezTo>
                  <a:cubicBezTo>
                    <a:pt x="423" y="413"/>
                    <a:pt x="421" y="411"/>
                    <a:pt x="424" y="410"/>
                  </a:cubicBezTo>
                  <a:cubicBezTo>
                    <a:pt x="426" y="410"/>
                    <a:pt x="429" y="409"/>
                    <a:pt x="431" y="409"/>
                  </a:cubicBezTo>
                  <a:cubicBezTo>
                    <a:pt x="431" y="409"/>
                    <a:pt x="431" y="409"/>
                    <a:pt x="431" y="409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7" y="405"/>
                    <a:pt x="438" y="405"/>
                    <a:pt x="438" y="405"/>
                  </a:cubicBezTo>
                  <a:cubicBezTo>
                    <a:pt x="444" y="400"/>
                    <a:pt x="444" y="400"/>
                    <a:pt x="444" y="400"/>
                  </a:cubicBezTo>
                  <a:cubicBezTo>
                    <a:pt x="447" y="389"/>
                    <a:pt x="447" y="389"/>
                    <a:pt x="447" y="389"/>
                  </a:cubicBezTo>
                  <a:cubicBezTo>
                    <a:pt x="443" y="386"/>
                    <a:pt x="443" y="386"/>
                    <a:pt x="443" y="386"/>
                  </a:cubicBezTo>
                  <a:cubicBezTo>
                    <a:pt x="434" y="386"/>
                    <a:pt x="434" y="386"/>
                    <a:pt x="434" y="386"/>
                  </a:cubicBezTo>
                  <a:cubicBezTo>
                    <a:pt x="424" y="382"/>
                    <a:pt x="424" y="382"/>
                    <a:pt x="424" y="382"/>
                  </a:cubicBezTo>
                  <a:cubicBezTo>
                    <a:pt x="419" y="374"/>
                    <a:pt x="419" y="374"/>
                    <a:pt x="419" y="374"/>
                  </a:cubicBezTo>
                  <a:cubicBezTo>
                    <a:pt x="416" y="374"/>
                    <a:pt x="416" y="374"/>
                    <a:pt x="416" y="374"/>
                  </a:cubicBezTo>
                  <a:cubicBezTo>
                    <a:pt x="415" y="367"/>
                    <a:pt x="413" y="370"/>
                    <a:pt x="417" y="365"/>
                  </a:cubicBezTo>
                  <a:cubicBezTo>
                    <a:pt x="421" y="359"/>
                    <a:pt x="421" y="359"/>
                    <a:pt x="421" y="359"/>
                  </a:cubicBezTo>
                  <a:cubicBezTo>
                    <a:pt x="420" y="349"/>
                    <a:pt x="420" y="349"/>
                    <a:pt x="420" y="349"/>
                  </a:cubicBezTo>
                  <a:cubicBezTo>
                    <a:pt x="417" y="346"/>
                    <a:pt x="417" y="346"/>
                    <a:pt x="417" y="346"/>
                  </a:cubicBezTo>
                  <a:cubicBezTo>
                    <a:pt x="412" y="343"/>
                    <a:pt x="412" y="343"/>
                    <a:pt x="412" y="343"/>
                  </a:cubicBezTo>
                  <a:cubicBezTo>
                    <a:pt x="412" y="343"/>
                    <a:pt x="409" y="339"/>
                    <a:pt x="408" y="338"/>
                  </a:cubicBezTo>
                  <a:cubicBezTo>
                    <a:pt x="408" y="338"/>
                    <a:pt x="408" y="336"/>
                    <a:pt x="408" y="336"/>
                  </a:cubicBezTo>
                  <a:cubicBezTo>
                    <a:pt x="407" y="335"/>
                    <a:pt x="411" y="335"/>
                    <a:pt x="411" y="335"/>
                  </a:cubicBezTo>
                  <a:cubicBezTo>
                    <a:pt x="412" y="335"/>
                    <a:pt x="415" y="334"/>
                    <a:pt x="416" y="334"/>
                  </a:cubicBezTo>
                  <a:cubicBezTo>
                    <a:pt x="417" y="334"/>
                    <a:pt x="421" y="330"/>
                    <a:pt x="421" y="330"/>
                  </a:cubicBezTo>
                  <a:cubicBezTo>
                    <a:pt x="421" y="330"/>
                    <a:pt x="423" y="326"/>
                    <a:pt x="425" y="325"/>
                  </a:cubicBezTo>
                  <a:cubicBezTo>
                    <a:pt x="426" y="324"/>
                    <a:pt x="428" y="316"/>
                    <a:pt x="428" y="315"/>
                  </a:cubicBezTo>
                  <a:cubicBezTo>
                    <a:pt x="428" y="315"/>
                    <a:pt x="426" y="310"/>
                    <a:pt x="425" y="310"/>
                  </a:cubicBezTo>
                  <a:cubicBezTo>
                    <a:pt x="416" y="306"/>
                    <a:pt x="418" y="304"/>
                    <a:pt x="414" y="302"/>
                  </a:cubicBezTo>
                  <a:cubicBezTo>
                    <a:pt x="414" y="297"/>
                    <a:pt x="414" y="297"/>
                    <a:pt x="414" y="297"/>
                  </a:cubicBezTo>
                  <a:cubicBezTo>
                    <a:pt x="419" y="293"/>
                    <a:pt x="419" y="293"/>
                    <a:pt x="419" y="293"/>
                  </a:cubicBezTo>
                  <a:cubicBezTo>
                    <a:pt x="420" y="292"/>
                    <a:pt x="422" y="291"/>
                    <a:pt x="423" y="291"/>
                  </a:cubicBezTo>
                  <a:cubicBezTo>
                    <a:pt x="424" y="289"/>
                    <a:pt x="424" y="289"/>
                    <a:pt x="424" y="289"/>
                  </a:cubicBezTo>
                  <a:cubicBezTo>
                    <a:pt x="424" y="289"/>
                    <a:pt x="422" y="287"/>
                    <a:pt x="422" y="287"/>
                  </a:cubicBezTo>
                  <a:cubicBezTo>
                    <a:pt x="422" y="287"/>
                    <a:pt x="421" y="286"/>
                    <a:pt x="420" y="286"/>
                  </a:cubicBezTo>
                  <a:cubicBezTo>
                    <a:pt x="420" y="286"/>
                    <a:pt x="419" y="285"/>
                    <a:pt x="419" y="285"/>
                  </a:cubicBezTo>
                  <a:cubicBezTo>
                    <a:pt x="419" y="285"/>
                    <a:pt x="418" y="284"/>
                    <a:pt x="417" y="284"/>
                  </a:cubicBezTo>
                  <a:cubicBezTo>
                    <a:pt x="416" y="284"/>
                    <a:pt x="417" y="282"/>
                    <a:pt x="418" y="282"/>
                  </a:cubicBezTo>
                  <a:cubicBezTo>
                    <a:pt x="418" y="281"/>
                    <a:pt x="418" y="279"/>
                    <a:pt x="418" y="279"/>
                  </a:cubicBezTo>
                  <a:cubicBezTo>
                    <a:pt x="418" y="279"/>
                    <a:pt x="415" y="279"/>
                    <a:pt x="414" y="279"/>
                  </a:cubicBezTo>
                  <a:cubicBezTo>
                    <a:pt x="414" y="278"/>
                    <a:pt x="414" y="278"/>
                    <a:pt x="414" y="278"/>
                  </a:cubicBezTo>
                  <a:cubicBezTo>
                    <a:pt x="414" y="278"/>
                    <a:pt x="415" y="275"/>
                    <a:pt x="416" y="275"/>
                  </a:cubicBezTo>
                  <a:cubicBezTo>
                    <a:pt x="416" y="274"/>
                    <a:pt x="416" y="273"/>
                    <a:pt x="416" y="273"/>
                  </a:cubicBezTo>
                  <a:cubicBezTo>
                    <a:pt x="416" y="273"/>
                    <a:pt x="416" y="272"/>
                    <a:pt x="416" y="270"/>
                  </a:cubicBezTo>
                  <a:cubicBezTo>
                    <a:pt x="417" y="269"/>
                    <a:pt x="416" y="269"/>
                    <a:pt x="416" y="269"/>
                  </a:cubicBezTo>
                  <a:cubicBezTo>
                    <a:pt x="416" y="269"/>
                    <a:pt x="415" y="268"/>
                    <a:pt x="414" y="268"/>
                  </a:cubicBezTo>
                  <a:cubicBezTo>
                    <a:pt x="414" y="268"/>
                    <a:pt x="414" y="268"/>
                    <a:pt x="415" y="267"/>
                  </a:cubicBezTo>
                  <a:cubicBezTo>
                    <a:pt x="416" y="265"/>
                    <a:pt x="416" y="266"/>
                    <a:pt x="416" y="266"/>
                  </a:cubicBezTo>
                  <a:cubicBezTo>
                    <a:pt x="416" y="264"/>
                    <a:pt x="416" y="264"/>
                    <a:pt x="416" y="264"/>
                  </a:cubicBezTo>
                  <a:cubicBezTo>
                    <a:pt x="414" y="263"/>
                    <a:pt x="414" y="263"/>
                    <a:pt x="414" y="263"/>
                  </a:cubicBezTo>
                  <a:cubicBezTo>
                    <a:pt x="411" y="261"/>
                    <a:pt x="411" y="261"/>
                    <a:pt x="411" y="261"/>
                  </a:cubicBezTo>
                  <a:cubicBezTo>
                    <a:pt x="411" y="261"/>
                    <a:pt x="407" y="261"/>
                    <a:pt x="407" y="261"/>
                  </a:cubicBezTo>
                  <a:cubicBezTo>
                    <a:pt x="407" y="261"/>
                    <a:pt x="404" y="261"/>
                    <a:pt x="404" y="261"/>
                  </a:cubicBezTo>
                  <a:cubicBezTo>
                    <a:pt x="402" y="262"/>
                    <a:pt x="402" y="262"/>
                    <a:pt x="402" y="262"/>
                  </a:cubicBezTo>
                  <a:cubicBezTo>
                    <a:pt x="401" y="263"/>
                    <a:pt x="401" y="263"/>
                    <a:pt x="401" y="263"/>
                  </a:cubicBezTo>
                  <a:cubicBezTo>
                    <a:pt x="398" y="264"/>
                    <a:pt x="398" y="264"/>
                    <a:pt x="398" y="264"/>
                  </a:cubicBezTo>
                  <a:cubicBezTo>
                    <a:pt x="395" y="265"/>
                    <a:pt x="395" y="265"/>
                    <a:pt x="395" y="265"/>
                  </a:cubicBezTo>
                  <a:cubicBezTo>
                    <a:pt x="395" y="265"/>
                    <a:pt x="394" y="267"/>
                    <a:pt x="393" y="268"/>
                  </a:cubicBezTo>
                  <a:cubicBezTo>
                    <a:pt x="393" y="268"/>
                    <a:pt x="393" y="269"/>
                    <a:pt x="393" y="269"/>
                  </a:cubicBezTo>
                  <a:cubicBezTo>
                    <a:pt x="395" y="270"/>
                    <a:pt x="395" y="270"/>
                    <a:pt x="395" y="270"/>
                  </a:cubicBezTo>
                  <a:cubicBezTo>
                    <a:pt x="395" y="272"/>
                    <a:pt x="395" y="272"/>
                    <a:pt x="395" y="272"/>
                  </a:cubicBezTo>
                  <a:cubicBezTo>
                    <a:pt x="396" y="272"/>
                    <a:pt x="396" y="272"/>
                    <a:pt x="396" y="272"/>
                  </a:cubicBezTo>
                  <a:cubicBezTo>
                    <a:pt x="395" y="274"/>
                    <a:pt x="395" y="274"/>
                    <a:pt x="395" y="274"/>
                  </a:cubicBezTo>
                  <a:cubicBezTo>
                    <a:pt x="395" y="274"/>
                    <a:pt x="394" y="274"/>
                    <a:pt x="393" y="275"/>
                  </a:cubicBezTo>
                  <a:cubicBezTo>
                    <a:pt x="392" y="276"/>
                    <a:pt x="392" y="277"/>
                    <a:pt x="392" y="277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387" y="277"/>
                    <a:pt x="387" y="277"/>
                    <a:pt x="387" y="277"/>
                  </a:cubicBezTo>
                  <a:cubicBezTo>
                    <a:pt x="385" y="278"/>
                    <a:pt x="385" y="278"/>
                    <a:pt x="385" y="278"/>
                  </a:cubicBezTo>
                  <a:cubicBezTo>
                    <a:pt x="384" y="278"/>
                    <a:pt x="384" y="278"/>
                    <a:pt x="384" y="278"/>
                  </a:cubicBezTo>
                  <a:cubicBezTo>
                    <a:pt x="384" y="276"/>
                    <a:pt x="384" y="276"/>
                    <a:pt x="384" y="276"/>
                  </a:cubicBezTo>
                  <a:cubicBezTo>
                    <a:pt x="383" y="275"/>
                    <a:pt x="383" y="275"/>
                    <a:pt x="383" y="275"/>
                  </a:cubicBezTo>
                  <a:cubicBezTo>
                    <a:pt x="384" y="274"/>
                    <a:pt x="384" y="274"/>
                    <a:pt x="384" y="274"/>
                  </a:cubicBezTo>
                  <a:cubicBezTo>
                    <a:pt x="384" y="274"/>
                    <a:pt x="385" y="273"/>
                    <a:pt x="385" y="273"/>
                  </a:cubicBezTo>
                  <a:cubicBezTo>
                    <a:pt x="386" y="273"/>
                    <a:pt x="387" y="272"/>
                    <a:pt x="387" y="272"/>
                  </a:cubicBezTo>
                  <a:cubicBezTo>
                    <a:pt x="389" y="272"/>
                    <a:pt x="389" y="272"/>
                    <a:pt x="389" y="272"/>
                  </a:cubicBezTo>
                  <a:cubicBezTo>
                    <a:pt x="389" y="270"/>
                    <a:pt x="389" y="270"/>
                    <a:pt x="389" y="270"/>
                  </a:cubicBezTo>
                  <a:cubicBezTo>
                    <a:pt x="390" y="268"/>
                    <a:pt x="390" y="268"/>
                    <a:pt x="390" y="268"/>
                  </a:cubicBezTo>
                  <a:cubicBezTo>
                    <a:pt x="390" y="265"/>
                    <a:pt x="390" y="265"/>
                    <a:pt x="390" y="265"/>
                  </a:cubicBezTo>
                  <a:cubicBezTo>
                    <a:pt x="389" y="264"/>
                    <a:pt x="389" y="264"/>
                    <a:pt x="389" y="264"/>
                  </a:cubicBezTo>
                  <a:cubicBezTo>
                    <a:pt x="388" y="263"/>
                    <a:pt x="388" y="263"/>
                    <a:pt x="388" y="263"/>
                  </a:cubicBezTo>
                  <a:cubicBezTo>
                    <a:pt x="388" y="262"/>
                    <a:pt x="388" y="262"/>
                    <a:pt x="388" y="262"/>
                  </a:cubicBezTo>
                  <a:cubicBezTo>
                    <a:pt x="388" y="260"/>
                    <a:pt x="388" y="260"/>
                    <a:pt x="388" y="260"/>
                  </a:cubicBezTo>
                  <a:cubicBezTo>
                    <a:pt x="389" y="259"/>
                    <a:pt x="389" y="259"/>
                    <a:pt x="389" y="259"/>
                  </a:cubicBezTo>
                  <a:cubicBezTo>
                    <a:pt x="389" y="259"/>
                    <a:pt x="390" y="258"/>
                    <a:pt x="390" y="257"/>
                  </a:cubicBezTo>
                  <a:cubicBezTo>
                    <a:pt x="390" y="257"/>
                    <a:pt x="390" y="255"/>
                    <a:pt x="390" y="255"/>
                  </a:cubicBezTo>
                  <a:cubicBezTo>
                    <a:pt x="390" y="255"/>
                    <a:pt x="390" y="254"/>
                    <a:pt x="390" y="254"/>
                  </a:cubicBezTo>
                  <a:cubicBezTo>
                    <a:pt x="394" y="250"/>
                    <a:pt x="394" y="250"/>
                    <a:pt x="394" y="250"/>
                  </a:cubicBezTo>
                  <a:cubicBezTo>
                    <a:pt x="396" y="248"/>
                    <a:pt x="396" y="248"/>
                    <a:pt x="396" y="248"/>
                  </a:cubicBezTo>
                  <a:cubicBezTo>
                    <a:pt x="396" y="248"/>
                    <a:pt x="398" y="248"/>
                    <a:pt x="398" y="247"/>
                  </a:cubicBezTo>
                  <a:cubicBezTo>
                    <a:pt x="398" y="247"/>
                    <a:pt x="400" y="247"/>
                    <a:pt x="400" y="247"/>
                  </a:cubicBezTo>
                  <a:cubicBezTo>
                    <a:pt x="400" y="247"/>
                    <a:pt x="401" y="246"/>
                    <a:pt x="401" y="246"/>
                  </a:cubicBezTo>
                  <a:cubicBezTo>
                    <a:pt x="402" y="245"/>
                    <a:pt x="402" y="244"/>
                    <a:pt x="402" y="244"/>
                  </a:cubicBezTo>
                  <a:cubicBezTo>
                    <a:pt x="402" y="244"/>
                    <a:pt x="402" y="243"/>
                    <a:pt x="402" y="243"/>
                  </a:cubicBezTo>
                  <a:cubicBezTo>
                    <a:pt x="402" y="243"/>
                    <a:pt x="402" y="242"/>
                    <a:pt x="402" y="242"/>
                  </a:cubicBezTo>
                  <a:cubicBezTo>
                    <a:pt x="402" y="242"/>
                    <a:pt x="402" y="241"/>
                    <a:pt x="402" y="241"/>
                  </a:cubicBezTo>
                  <a:cubicBezTo>
                    <a:pt x="402" y="240"/>
                    <a:pt x="403" y="240"/>
                    <a:pt x="403" y="240"/>
                  </a:cubicBezTo>
                  <a:cubicBezTo>
                    <a:pt x="403" y="238"/>
                    <a:pt x="403" y="238"/>
                    <a:pt x="403" y="238"/>
                  </a:cubicBezTo>
                  <a:cubicBezTo>
                    <a:pt x="403" y="238"/>
                    <a:pt x="402" y="237"/>
                    <a:pt x="402" y="236"/>
                  </a:cubicBezTo>
                  <a:cubicBezTo>
                    <a:pt x="402" y="236"/>
                    <a:pt x="402" y="236"/>
                    <a:pt x="402" y="235"/>
                  </a:cubicBezTo>
                  <a:cubicBezTo>
                    <a:pt x="403" y="234"/>
                    <a:pt x="404" y="234"/>
                    <a:pt x="404" y="234"/>
                  </a:cubicBezTo>
                  <a:cubicBezTo>
                    <a:pt x="406" y="234"/>
                    <a:pt x="406" y="234"/>
                    <a:pt x="406" y="234"/>
                  </a:cubicBezTo>
                  <a:cubicBezTo>
                    <a:pt x="406" y="234"/>
                    <a:pt x="407" y="233"/>
                    <a:pt x="408" y="233"/>
                  </a:cubicBezTo>
                  <a:cubicBezTo>
                    <a:pt x="408" y="233"/>
                    <a:pt x="409" y="232"/>
                    <a:pt x="409" y="232"/>
                  </a:cubicBezTo>
                  <a:cubicBezTo>
                    <a:pt x="410" y="230"/>
                    <a:pt x="410" y="230"/>
                    <a:pt x="410" y="230"/>
                  </a:cubicBezTo>
                  <a:cubicBezTo>
                    <a:pt x="411" y="230"/>
                    <a:pt x="411" y="230"/>
                    <a:pt x="411" y="230"/>
                  </a:cubicBezTo>
                  <a:cubicBezTo>
                    <a:pt x="412" y="229"/>
                    <a:pt x="412" y="229"/>
                    <a:pt x="412" y="229"/>
                  </a:cubicBezTo>
                  <a:cubicBezTo>
                    <a:pt x="412" y="227"/>
                    <a:pt x="412" y="227"/>
                    <a:pt x="412" y="227"/>
                  </a:cubicBezTo>
                  <a:cubicBezTo>
                    <a:pt x="414" y="226"/>
                    <a:pt x="414" y="226"/>
                    <a:pt x="414" y="226"/>
                  </a:cubicBezTo>
                  <a:cubicBezTo>
                    <a:pt x="414" y="225"/>
                    <a:pt x="414" y="225"/>
                    <a:pt x="414" y="225"/>
                  </a:cubicBezTo>
                  <a:cubicBezTo>
                    <a:pt x="415" y="224"/>
                    <a:pt x="415" y="224"/>
                    <a:pt x="415" y="224"/>
                  </a:cubicBezTo>
                  <a:cubicBezTo>
                    <a:pt x="416" y="224"/>
                    <a:pt x="416" y="224"/>
                    <a:pt x="416" y="224"/>
                  </a:cubicBezTo>
                  <a:cubicBezTo>
                    <a:pt x="418" y="222"/>
                    <a:pt x="418" y="222"/>
                    <a:pt x="418" y="222"/>
                  </a:cubicBezTo>
                  <a:cubicBezTo>
                    <a:pt x="420" y="221"/>
                    <a:pt x="420" y="221"/>
                    <a:pt x="420" y="221"/>
                  </a:cubicBezTo>
                  <a:cubicBezTo>
                    <a:pt x="420" y="221"/>
                    <a:pt x="421" y="219"/>
                    <a:pt x="421" y="218"/>
                  </a:cubicBezTo>
                  <a:cubicBezTo>
                    <a:pt x="421" y="217"/>
                    <a:pt x="421" y="217"/>
                    <a:pt x="422" y="216"/>
                  </a:cubicBezTo>
                  <a:cubicBezTo>
                    <a:pt x="422" y="216"/>
                    <a:pt x="423" y="216"/>
                    <a:pt x="424" y="215"/>
                  </a:cubicBezTo>
                  <a:cubicBezTo>
                    <a:pt x="424" y="215"/>
                    <a:pt x="424" y="214"/>
                    <a:pt x="424" y="214"/>
                  </a:cubicBezTo>
                  <a:cubicBezTo>
                    <a:pt x="425" y="214"/>
                    <a:pt x="425" y="214"/>
                    <a:pt x="425" y="214"/>
                  </a:cubicBezTo>
                  <a:cubicBezTo>
                    <a:pt x="425" y="212"/>
                    <a:pt x="425" y="212"/>
                    <a:pt x="425" y="212"/>
                  </a:cubicBezTo>
                  <a:cubicBezTo>
                    <a:pt x="425" y="211"/>
                    <a:pt x="425" y="211"/>
                    <a:pt x="425" y="211"/>
                  </a:cubicBezTo>
                  <a:cubicBezTo>
                    <a:pt x="425" y="211"/>
                    <a:pt x="423" y="212"/>
                    <a:pt x="423" y="212"/>
                  </a:cubicBezTo>
                  <a:cubicBezTo>
                    <a:pt x="423" y="212"/>
                    <a:pt x="422" y="212"/>
                    <a:pt x="421" y="212"/>
                  </a:cubicBezTo>
                  <a:cubicBezTo>
                    <a:pt x="421" y="212"/>
                    <a:pt x="420" y="212"/>
                    <a:pt x="419" y="212"/>
                  </a:cubicBezTo>
                  <a:cubicBezTo>
                    <a:pt x="418" y="211"/>
                    <a:pt x="419" y="211"/>
                    <a:pt x="419" y="211"/>
                  </a:cubicBezTo>
                  <a:cubicBezTo>
                    <a:pt x="419" y="211"/>
                    <a:pt x="420" y="211"/>
                    <a:pt x="420" y="210"/>
                  </a:cubicBezTo>
                  <a:cubicBezTo>
                    <a:pt x="420" y="210"/>
                    <a:pt x="421" y="208"/>
                    <a:pt x="421" y="208"/>
                  </a:cubicBezTo>
                  <a:cubicBezTo>
                    <a:pt x="422" y="208"/>
                    <a:pt x="422" y="208"/>
                    <a:pt x="422" y="208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4" y="207"/>
                    <a:pt x="424" y="207"/>
                  </a:cubicBezTo>
                  <a:cubicBezTo>
                    <a:pt x="424" y="207"/>
                    <a:pt x="423" y="206"/>
                    <a:pt x="423" y="206"/>
                  </a:cubicBezTo>
                  <a:cubicBezTo>
                    <a:pt x="423" y="204"/>
                    <a:pt x="423" y="204"/>
                    <a:pt x="423" y="204"/>
                  </a:cubicBezTo>
                  <a:cubicBezTo>
                    <a:pt x="425" y="205"/>
                    <a:pt x="425" y="205"/>
                    <a:pt x="425" y="205"/>
                  </a:cubicBezTo>
                  <a:cubicBezTo>
                    <a:pt x="428" y="205"/>
                    <a:pt x="428" y="205"/>
                    <a:pt x="428" y="205"/>
                  </a:cubicBezTo>
                  <a:cubicBezTo>
                    <a:pt x="429" y="204"/>
                    <a:pt x="429" y="204"/>
                    <a:pt x="429" y="204"/>
                  </a:cubicBezTo>
                  <a:cubicBezTo>
                    <a:pt x="429" y="204"/>
                    <a:pt x="430" y="206"/>
                    <a:pt x="430" y="206"/>
                  </a:cubicBezTo>
                  <a:cubicBezTo>
                    <a:pt x="430" y="207"/>
                    <a:pt x="430" y="208"/>
                    <a:pt x="431" y="208"/>
                  </a:cubicBezTo>
                  <a:cubicBezTo>
                    <a:pt x="431" y="208"/>
                    <a:pt x="433" y="209"/>
                    <a:pt x="433" y="209"/>
                  </a:cubicBezTo>
                  <a:cubicBezTo>
                    <a:pt x="433" y="209"/>
                    <a:pt x="433" y="208"/>
                    <a:pt x="434" y="208"/>
                  </a:cubicBezTo>
                  <a:cubicBezTo>
                    <a:pt x="434" y="208"/>
                    <a:pt x="435" y="208"/>
                    <a:pt x="435" y="208"/>
                  </a:cubicBezTo>
                  <a:cubicBezTo>
                    <a:pt x="436" y="208"/>
                    <a:pt x="437" y="208"/>
                    <a:pt x="437" y="208"/>
                  </a:cubicBezTo>
                  <a:cubicBezTo>
                    <a:pt x="437" y="208"/>
                    <a:pt x="438" y="208"/>
                    <a:pt x="439" y="208"/>
                  </a:cubicBezTo>
                  <a:cubicBezTo>
                    <a:pt x="439" y="207"/>
                    <a:pt x="439" y="207"/>
                    <a:pt x="439" y="207"/>
                  </a:cubicBezTo>
                  <a:cubicBezTo>
                    <a:pt x="439" y="207"/>
                    <a:pt x="439" y="206"/>
                    <a:pt x="439" y="206"/>
                  </a:cubicBezTo>
                  <a:cubicBezTo>
                    <a:pt x="439" y="206"/>
                    <a:pt x="440" y="204"/>
                    <a:pt x="440" y="204"/>
                  </a:cubicBezTo>
                  <a:cubicBezTo>
                    <a:pt x="440" y="204"/>
                    <a:pt x="441" y="204"/>
                    <a:pt x="441" y="204"/>
                  </a:cubicBezTo>
                  <a:cubicBezTo>
                    <a:pt x="441" y="204"/>
                    <a:pt x="442" y="204"/>
                    <a:pt x="442" y="204"/>
                  </a:cubicBezTo>
                  <a:cubicBezTo>
                    <a:pt x="442" y="204"/>
                    <a:pt x="442" y="203"/>
                    <a:pt x="442" y="203"/>
                  </a:cubicBezTo>
                  <a:cubicBezTo>
                    <a:pt x="442" y="203"/>
                    <a:pt x="442" y="202"/>
                    <a:pt x="442" y="202"/>
                  </a:cubicBezTo>
                  <a:cubicBezTo>
                    <a:pt x="442" y="202"/>
                    <a:pt x="443" y="202"/>
                    <a:pt x="443" y="202"/>
                  </a:cubicBezTo>
                  <a:cubicBezTo>
                    <a:pt x="443" y="200"/>
                    <a:pt x="443" y="200"/>
                    <a:pt x="443" y="200"/>
                  </a:cubicBezTo>
                  <a:cubicBezTo>
                    <a:pt x="443" y="200"/>
                    <a:pt x="445" y="200"/>
                    <a:pt x="445" y="200"/>
                  </a:cubicBezTo>
                  <a:cubicBezTo>
                    <a:pt x="446" y="200"/>
                    <a:pt x="445" y="200"/>
                    <a:pt x="445" y="200"/>
                  </a:cubicBezTo>
                  <a:cubicBezTo>
                    <a:pt x="448" y="199"/>
                    <a:pt x="448" y="199"/>
                    <a:pt x="448" y="199"/>
                  </a:cubicBezTo>
                  <a:cubicBezTo>
                    <a:pt x="448" y="199"/>
                    <a:pt x="448" y="199"/>
                    <a:pt x="448" y="200"/>
                  </a:cubicBezTo>
                  <a:cubicBezTo>
                    <a:pt x="446" y="197"/>
                    <a:pt x="443" y="193"/>
                    <a:pt x="443" y="193"/>
                  </a:cubicBezTo>
                  <a:cubicBezTo>
                    <a:pt x="445" y="189"/>
                    <a:pt x="445" y="189"/>
                    <a:pt x="445" y="189"/>
                  </a:cubicBezTo>
                  <a:cubicBezTo>
                    <a:pt x="445" y="189"/>
                    <a:pt x="446" y="182"/>
                    <a:pt x="446" y="180"/>
                  </a:cubicBezTo>
                  <a:cubicBezTo>
                    <a:pt x="446" y="179"/>
                    <a:pt x="446" y="173"/>
                    <a:pt x="446" y="173"/>
                  </a:cubicBezTo>
                  <a:cubicBezTo>
                    <a:pt x="446" y="173"/>
                    <a:pt x="442" y="172"/>
                    <a:pt x="445" y="169"/>
                  </a:cubicBezTo>
                  <a:cubicBezTo>
                    <a:pt x="448" y="165"/>
                    <a:pt x="451" y="160"/>
                    <a:pt x="451" y="160"/>
                  </a:cubicBezTo>
                  <a:cubicBezTo>
                    <a:pt x="451" y="150"/>
                    <a:pt x="451" y="150"/>
                    <a:pt x="451" y="150"/>
                  </a:cubicBezTo>
                  <a:cubicBezTo>
                    <a:pt x="451" y="150"/>
                    <a:pt x="448" y="147"/>
                    <a:pt x="452" y="145"/>
                  </a:cubicBezTo>
                  <a:cubicBezTo>
                    <a:pt x="456" y="142"/>
                    <a:pt x="463" y="133"/>
                    <a:pt x="463" y="133"/>
                  </a:cubicBezTo>
                  <a:cubicBezTo>
                    <a:pt x="470" y="125"/>
                    <a:pt x="470" y="125"/>
                    <a:pt x="470" y="125"/>
                  </a:cubicBezTo>
                  <a:cubicBezTo>
                    <a:pt x="458" y="122"/>
                    <a:pt x="458" y="122"/>
                    <a:pt x="458" y="122"/>
                  </a:cubicBezTo>
                  <a:cubicBezTo>
                    <a:pt x="451" y="121"/>
                    <a:pt x="451" y="121"/>
                    <a:pt x="451" y="121"/>
                  </a:cubicBezTo>
                  <a:cubicBezTo>
                    <a:pt x="446" y="118"/>
                    <a:pt x="446" y="118"/>
                    <a:pt x="446" y="118"/>
                  </a:cubicBezTo>
                  <a:cubicBezTo>
                    <a:pt x="443" y="113"/>
                    <a:pt x="443" y="113"/>
                    <a:pt x="443" y="113"/>
                  </a:cubicBezTo>
                  <a:cubicBezTo>
                    <a:pt x="440" y="115"/>
                    <a:pt x="440" y="115"/>
                    <a:pt x="440" y="115"/>
                  </a:cubicBezTo>
                  <a:cubicBezTo>
                    <a:pt x="437" y="117"/>
                    <a:pt x="437" y="117"/>
                    <a:pt x="437" y="117"/>
                  </a:cubicBezTo>
                  <a:cubicBezTo>
                    <a:pt x="430" y="116"/>
                    <a:pt x="430" y="116"/>
                    <a:pt x="430" y="116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1" y="114"/>
                    <a:pt x="421" y="114"/>
                    <a:pt x="421" y="114"/>
                  </a:cubicBezTo>
                  <a:cubicBezTo>
                    <a:pt x="417" y="111"/>
                    <a:pt x="417" y="111"/>
                    <a:pt x="417" y="111"/>
                  </a:cubicBezTo>
                  <a:cubicBezTo>
                    <a:pt x="414" y="106"/>
                    <a:pt x="414" y="106"/>
                    <a:pt x="414" y="106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08" y="97"/>
                    <a:pt x="408" y="97"/>
                    <a:pt x="408" y="97"/>
                  </a:cubicBezTo>
                  <a:cubicBezTo>
                    <a:pt x="406" y="97"/>
                    <a:pt x="406" y="97"/>
                    <a:pt x="406" y="97"/>
                  </a:cubicBezTo>
                  <a:cubicBezTo>
                    <a:pt x="406" y="98"/>
                    <a:pt x="405" y="98"/>
                    <a:pt x="405" y="98"/>
                  </a:cubicBezTo>
                  <a:cubicBezTo>
                    <a:pt x="405" y="98"/>
                    <a:pt x="402" y="97"/>
                    <a:pt x="402" y="97"/>
                  </a:cubicBezTo>
                  <a:cubicBezTo>
                    <a:pt x="402" y="95"/>
                    <a:pt x="402" y="95"/>
                    <a:pt x="402" y="95"/>
                  </a:cubicBezTo>
                  <a:cubicBezTo>
                    <a:pt x="401" y="94"/>
                    <a:pt x="401" y="94"/>
                    <a:pt x="401" y="94"/>
                  </a:cubicBezTo>
                  <a:cubicBezTo>
                    <a:pt x="399" y="94"/>
                    <a:pt x="399" y="94"/>
                    <a:pt x="399" y="94"/>
                  </a:cubicBezTo>
                  <a:cubicBezTo>
                    <a:pt x="397" y="95"/>
                    <a:pt x="397" y="95"/>
                    <a:pt x="397" y="95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5" y="97"/>
                    <a:pt x="395" y="97"/>
                    <a:pt x="395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3" y="97"/>
                    <a:pt x="393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91" y="95"/>
                    <a:pt x="391" y="95"/>
                    <a:pt x="391" y="95"/>
                  </a:cubicBezTo>
                  <a:cubicBezTo>
                    <a:pt x="389" y="94"/>
                    <a:pt x="389" y="94"/>
                    <a:pt x="389" y="94"/>
                  </a:cubicBezTo>
                  <a:cubicBezTo>
                    <a:pt x="388" y="94"/>
                    <a:pt x="388" y="94"/>
                    <a:pt x="388" y="94"/>
                  </a:cubicBezTo>
                  <a:cubicBezTo>
                    <a:pt x="388" y="94"/>
                    <a:pt x="387" y="93"/>
                    <a:pt x="387" y="93"/>
                  </a:cubicBezTo>
                  <a:cubicBezTo>
                    <a:pt x="386" y="93"/>
                    <a:pt x="386" y="92"/>
                    <a:pt x="386" y="92"/>
                  </a:cubicBezTo>
                  <a:cubicBezTo>
                    <a:pt x="385" y="91"/>
                    <a:pt x="385" y="91"/>
                    <a:pt x="385" y="91"/>
                  </a:cubicBezTo>
                  <a:cubicBezTo>
                    <a:pt x="387" y="91"/>
                    <a:pt x="387" y="91"/>
                    <a:pt x="387" y="91"/>
                  </a:cubicBezTo>
                  <a:cubicBezTo>
                    <a:pt x="387" y="91"/>
                    <a:pt x="387" y="90"/>
                    <a:pt x="387" y="90"/>
                  </a:cubicBezTo>
                  <a:cubicBezTo>
                    <a:pt x="387" y="90"/>
                    <a:pt x="387" y="90"/>
                    <a:pt x="387" y="90"/>
                  </a:cubicBezTo>
                  <a:cubicBezTo>
                    <a:pt x="387" y="90"/>
                    <a:pt x="386" y="90"/>
                    <a:pt x="386" y="90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3" y="91"/>
                    <a:pt x="383" y="91"/>
                    <a:pt x="383" y="91"/>
                  </a:cubicBezTo>
                  <a:cubicBezTo>
                    <a:pt x="381" y="91"/>
                    <a:pt x="381" y="91"/>
                    <a:pt x="381" y="91"/>
                  </a:cubicBezTo>
                  <a:cubicBezTo>
                    <a:pt x="379" y="92"/>
                    <a:pt x="379" y="92"/>
                    <a:pt x="379" y="92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75" y="90"/>
                    <a:pt x="375" y="90"/>
                    <a:pt x="375" y="90"/>
                  </a:cubicBezTo>
                  <a:cubicBezTo>
                    <a:pt x="374" y="88"/>
                    <a:pt x="374" y="88"/>
                    <a:pt x="374" y="88"/>
                  </a:cubicBezTo>
                  <a:cubicBezTo>
                    <a:pt x="373" y="87"/>
                    <a:pt x="373" y="87"/>
                    <a:pt x="373" y="87"/>
                  </a:cubicBezTo>
                  <a:cubicBezTo>
                    <a:pt x="372" y="87"/>
                    <a:pt x="372" y="87"/>
                    <a:pt x="372" y="87"/>
                  </a:cubicBezTo>
                  <a:cubicBezTo>
                    <a:pt x="369" y="86"/>
                    <a:pt x="369" y="86"/>
                    <a:pt x="369" y="86"/>
                  </a:cubicBezTo>
                  <a:cubicBezTo>
                    <a:pt x="370" y="84"/>
                    <a:pt x="370" y="84"/>
                    <a:pt x="370" y="84"/>
                  </a:cubicBezTo>
                  <a:cubicBezTo>
                    <a:pt x="370" y="84"/>
                    <a:pt x="369" y="82"/>
                    <a:pt x="369" y="82"/>
                  </a:cubicBezTo>
                  <a:cubicBezTo>
                    <a:pt x="368" y="82"/>
                    <a:pt x="367" y="82"/>
                    <a:pt x="367" y="82"/>
                  </a:cubicBezTo>
                  <a:cubicBezTo>
                    <a:pt x="365" y="80"/>
                    <a:pt x="365" y="80"/>
                    <a:pt x="365" y="80"/>
                  </a:cubicBezTo>
                  <a:cubicBezTo>
                    <a:pt x="365" y="80"/>
                    <a:pt x="365" y="79"/>
                    <a:pt x="364" y="78"/>
                  </a:cubicBezTo>
                  <a:cubicBezTo>
                    <a:pt x="363" y="78"/>
                    <a:pt x="363" y="77"/>
                    <a:pt x="362" y="77"/>
                  </a:cubicBezTo>
                  <a:cubicBezTo>
                    <a:pt x="361" y="77"/>
                    <a:pt x="359" y="77"/>
                    <a:pt x="359" y="77"/>
                  </a:cubicBezTo>
                  <a:cubicBezTo>
                    <a:pt x="359" y="77"/>
                    <a:pt x="358" y="75"/>
                    <a:pt x="357" y="75"/>
                  </a:cubicBezTo>
                  <a:cubicBezTo>
                    <a:pt x="357" y="75"/>
                    <a:pt x="353" y="75"/>
                    <a:pt x="353" y="75"/>
                  </a:cubicBezTo>
                  <a:cubicBezTo>
                    <a:pt x="353" y="75"/>
                    <a:pt x="354" y="72"/>
                    <a:pt x="354" y="72"/>
                  </a:cubicBezTo>
                  <a:cubicBezTo>
                    <a:pt x="354" y="71"/>
                    <a:pt x="354" y="68"/>
                    <a:pt x="354" y="68"/>
                  </a:cubicBezTo>
                  <a:cubicBezTo>
                    <a:pt x="354" y="67"/>
                    <a:pt x="354" y="67"/>
                    <a:pt x="354" y="67"/>
                  </a:cubicBezTo>
                  <a:cubicBezTo>
                    <a:pt x="354" y="67"/>
                    <a:pt x="353" y="66"/>
                    <a:pt x="354" y="64"/>
                  </a:cubicBezTo>
                  <a:cubicBezTo>
                    <a:pt x="355" y="62"/>
                    <a:pt x="354" y="63"/>
                    <a:pt x="355" y="61"/>
                  </a:cubicBezTo>
                  <a:cubicBezTo>
                    <a:pt x="356" y="58"/>
                    <a:pt x="356" y="57"/>
                    <a:pt x="356" y="57"/>
                  </a:cubicBezTo>
                  <a:cubicBezTo>
                    <a:pt x="354" y="56"/>
                    <a:pt x="354" y="56"/>
                    <a:pt x="354" y="56"/>
                  </a:cubicBezTo>
                  <a:cubicBezTo>
                    <a:pt x="354" y="56"/>
                    <a:pt x="353" y="55"/>
                    <a:pt x="352" y="56"/>
                  </a:cubicBezTo>
                  <a:cubicBezTo>
                    <a:pt x="352" y="58"/>
                    <a:pt x="351" y="58"/>
                    <a:pt x="351" y="58"/>
                  </a:cubicBezTo>
                  <a:cubicBezTo>
                    <a:pt x="349" y="61"/>
                    <a:pt x="349" y="61"/>
                    <a:pt x="349" y="61"/>
                  </a:cubicBezTo>
                  <a:cubicBezTo>
                    <a:pt x="349" y="64"/>
                    <a:pt x="349" y="64"/>
                    <a:pt x="349" y="64"/>
                  </a:cubicBezTo>
                  <a:cubicBezTo>
                    <a:pt x="349" y="64"/>
                    <a:pt x="350" y="65"/>
                    <a:pt x="347" y="65"/>
                  </a:cubicBezTo>
                  <a:cubicBezTo>
                    <a:pt x="345" y="65"/>
                    <a:pt x="343" y="65"/>
                    <a:pt x="343" y="65"/>
                  </a:cubicBezTo>
                  <a:cubicBezTo>
                    <a:pt x="343" y="65"/>
                    <a:pt x="345" y="67"/>
                    <a:pt x="342" y="67"/>
                  </a:cubicBezTo>
                  <a:cubicBezTo>
                    <a:pt x="340" y="67"/>
                    <a:pt x="337" y="67"/>
                    <a:pt x="337" y="67"/>
                  </a:cubicBezTo>
                  <a:cubicBezTo>
                    <a:pt x="335" y="65"/>
                    <a:pt x="335" y="65"/>
                    <a:pt x="335" y="65"/>
                  </a:cubicBezTo>
                  <a:cubicBezTo>
                    <a:pt x="331" y="66"/>
                    <a:pt x="331" y="66"/>
                    <a:pt x="331" y="66"/>
                  </a:cubicBezTo>
                  <a:cubicBezTo>
                    <a:pt x="331" y="66"/>
                    <a:pt x="331" y="65"/>
                    <a:pt x="331" y="63"/>
                  </a:cubicBezTo>
                  <a:cubicBezTo>
                    <a:pt x="331" y="62"/>
                    <a:pt x="330" y="60"/>
                    <a:pt x="331" y="60"/>
                  </a:cubicBezTo>
                  <a:cubicBezTo>
                    <a:pt x="332" y="60"/>
                    <a:pt x="333" y="59"/>
                    <a:pt x="333" y="59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1" y="56"/>
                    <a:pt x="331" y="55"/>
                  </a:cubicBezTo>
                  <a:cubicBezTo>
                    <a:pt x="331" y="54"/>
                    <a:pt x="332" y="52"/>
                    <a:pt x="332" y="52"/>
                  </a:cubicBezTo>
                  <a:cubicBezTo>
                    <a:pt x="333" y="51"/>
                    <a:pt x="333" y="49"/>
                    <a:pt x="333" y="49"/>
                  </a:cubicBezTo>
                  <a:cubicBezTo>
                    <a:pt x="332" y="49"/>
                    <a:pt x="332" y="49"/>
                    <a:pt x="332" y="49"/>
                  </a:cubicBezTo>
                  <a:cubicBezTo>
                    <a:pt x="332" y="49"/>
                    <a:pt x="330" y="50"/>
                    <a:pt x="330" y="48"/>
                  </a:cubicBezTo>
                  <a:cubicBezTo>
                    <a:pt x="330" y="47"/>
                    <a:pt x="329" y="45"/>
                    <a:pt x="329" y="45"/>
                  </a:cubicBezTo>
                  <a:cubicBezTo>
                    <a:pt x="329" y="45"/>
                    <a:pt x="327" y="44"/>
                    <a:pt x="327" y="44"/>
                  </a:cubicBezTo>
                  <a:cubicBezTo>
                    <a:pt x="326" y="44"/>
                    <a:pt x="326" y="44"/>
                    <a:pt x="325" y="45"/>
                  </a:cubicBezTo>
                  <a:cubicBezTo>
                    <a:pt x="325" y="45"/>
                    <a:pt x="322" y="44"/>
                    <a:pt x="322" y="44"/>
                  </a:cubicBezTo>
                  <a:cubicBezTo>
                    <a:pt x="322" y="44"/>
                    <a:pt x="319" y="44"/>
                    <a:pt x="319" y="44"/>
                  </a:cubicBezTo>
                  <a:cubicBezTo>
                    <a:pt x="318" y="44"/>
                    <a:pt x="317" y="46"/>
                    <a:pt x="317" y="46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16" y="40"/>
                    <a:pt x="316" y="40"/>
                    <a:pt x="316" y="40"/>
                  </a:cubicBezTo>
                  <a:cubicBezTo>
                    <a:pt x="316" y="40"/>
                    <a:pt x="314" y="38"/>
                    <a:pt x="314" y="37"/>
                  </a:cubicBezTo>
                  <a:cubicBezTo>
                    <a:pt x="314" y="37"/>
                    <a:pt x="313" y="35"/>
                    <a:pt x="313" y="35"/>
                  </a:cubicBezTo>
                  <a:cubicBezTo>
                    <a:pt x="311" y="35"/>
                    <a:pt x="311" y="35"/>
                    <a:pt x="311" y="35"/>
                  </a:cubicBezTo>
                  <a:cubicBezTo>
                    <a:pt x="310" y="34"/>
                    <a:pt x="310" y="34"/>
                    <a:pt x="310" y="34"/>
                  </a:cubicBezTo>
                  <a:cubicBezTo>
                    <a:pt x="310" y="34"/>
                    <a:pt x="308" y="34"/>
                    <a:pt x="307" y="34"/>
                  </a:cubicBezTo>
                  <a:cubicBezTo>
                    <a:pt x="306" y="34"/>
                    <a:pt x="306" y="34"/>
                    <a:pt x="305" y="34"/>
                  </a:cubicBezTo>
                  <a:cubicBezTo>
                    <a:pt x="305" y="34"/>
                    <a:pt x="303" y="32"/>
                    <a:pt x="303" y="32"/>
                  </a:cubicBezTo>
                  <a:cubicBezTo>
                    <a:pt x="303" y="31"/>
                    <a:pt x="303" y="30"/>
                    <a:pt x="303" y="29"/>
                  </a:cubicBezTo>
                  <a:cubicBezTo>
                    <a:pt x="302" y="28"/>
                    <a:pt x="301" y="26"/>
                    <a:pt x="301" y="25"/>
                  </a:cubicBezTo>
                  <a:cubicBezTo>
                    <a:pt x="301" y="25"/>
                    <a:pt x="302" y="23"/>
                    <a:pt x="302" y="23"/>
                  </a:cubicBezTo>
                  <a:cubicBezTo>
                    <a:pt x="301" y="22"/>
                    <a:pt x="299" y="20"/>
                    <a:pt x="299" y="20"/>
                  </a:cubicBezTo>
                  <a:cubicBezTo>
                    <a:pt x="298" y="18"/>
                    <a:pt x="298" y="18"/>
                    <a:pt x="298" y="18"/>
                  </a:cubicBezTo>
                  <a:cubicBezTo>
                    <a:pt x="298" y="18"/>
                    <a:pt x="295" y="20"/>
                    <a:pt x="294" y="20"/>
                  </a:cubicBezTo>
                  <a:cubicBezTo>
                    <a:pt x="293" y="20"/>
                    <a:pt x="291" y="19"/>
                    <a:pt x="291" y="20"/>
                  </a:cubicBezTo>
                  <a:cubicBezTo>
                    <a:pt x="291" y="20"/>
                    <a:pt x="292" y="22"/>
                    <a:pt x="291" y="22"/>
                  </a:cubicBezTo>
                  <a:cubicBezTo>
                    <a:pt x="290" y="22"/>
                    <a:pt x="288" y="22"/>
                    <a:pt x="287" y="21"/>
                  </a:cubicBezTo>
                  <a:cubicBezTo>
                    <a:pt x="286" y="20"/>
                    <a:pt x="286" y="19"/>
                    <a:pt x="286" y="18"/>
                  </a:cubicBezTo>
                  <a:cubicBezTo>
                    <a:pt x="285" y="18"/>
                    <a:pt x="285" y="16"/>
                    <a:pt x="284" y="16"/>
                  </a:cubicBezTo>
                  <a:cubicBezTo>
                    <a:pt x="283" y="16"/>
                    <a:pt x="282" y="16"/>
                    <a:pt x="282" y="15"/>
                  </a:cubicBezTo>
                  <a:cubicBezTo>
                    <a:pt x="282" y="15"/>
                    <a:pt x="282" y="12"/>
                    <a:pt x="282" y="12"/>
                  </a:cubicBezTo>
                  <a:cubicBezTo>
                    <a:pt x="282" y="10"/>
                    <a:pt x="282" y="10"/>
                    <a:pt x="282" y="10"/>
                  </a:cubicBezTo>
                  <a:cubicBezTo>
                    <a:pt x="282" y="10"/>
                    <a:pt x="282" y="7"/>
                    <a:pt x="281" y="7"/>
                  </a:cubicBezTo>
                  <a:cubicBezTo>
                    <a:pt x="281" y="6"/>
                    <a:pt x="280" y="5"/>
                    <a:pt x="280" y="5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1" y="1"/>
                    <a:pt x="281" y="0"/>
                    <a:pt x="282" y="0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4" y="23"/>
                    <a:pt x="244" y="23"/>
                    <a:pt x="244" y="23"/>
                  </a:cubicBezTo>
                  <a:cubicBezTo>
                    <a:pt x="241" y="28"/>
                    <a:pt x="241" y="28"/>
                    <a:pt x="241" y="28"/>
                  </a:cubicBezTo>
                  <a:cubicBezTo>
                    <a:pt x="241" y="34"/>
                    <a:pt x="241" y="34"/>
                    <a:pt x="241" y="34"/>
                  </a:cubicBezTo>
                  <a:cubicBezTo>
                    <a:pt x="241" y="43"/>
                    <a:pt x="241" y="43"/>
                    <a:pt x="241" y="43"/>
                  </a:cubicBezTo>
                  <a:cubicBezTo>
                    <a:pt x="236" y="46"/>
                    <a:pt x="236" y="46"/>
                    <a:pt x="236" y="46"/>
                  </a:cubicBezTo>
                  <a:cubicBezTo>
                    <a:pt x="229" y="53"/>
                    <a:pt x="229" y="53"/>
                    <a:pt x="229" y="53"/>
                  </a:cubicBezTo>
                  <a:cubicBezTo>
                    <a:pt x="219" y="57"/>
                    <a:pt x="219" y="57"/>
                    <a:pt x="219" y="57"/>
                  </a:cubicBezTo>
                  <a:cubicBezTo>
                    <a:pt x="206" y="60"/>
                    <a:pt x="206" y="60"/>
                    <a:pt x="206" y="60"/>
                  </a:cubicBezTo>
                  <a:cubicBezTo>
                    <a:pt x="196" y="63"/>
                    <a:pt x="196" y="63"/>
                    <a:pt x="196" y="63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5" y="75"/>
                    <a:pt x="185" y="75"/>
                    <a:pt x="185" y="75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77" y="87"/>
                    <a:pt x="177" y="87"/>
                    <a:pt x="177" y="87"/>
                  </a:cubicBezTo>
                  <a:cubicBezTo>
                    <a:pt x="177" y="87"/>
                    <a:pt x="174" y="89"/>
                    <a:pt x="172" y="88"/>
                  </a:cubicBezTo>
                  <a:cubicBezTo>
                    <a:pt x="169" y="88"/>
                    <a:pt x="163" y="86"/>
                    <a:pt x="163" y="86"/>
                  </a:cubicBezTo>
                  <a:cubicBezTo>
                    <a:pt x="163" y="86"/>
                    <a:pt x="156" y="82"/>
                    <a:pt x="153" y="82"/>
                  </a:cubicBezTo>
                  <a:cubicBezTo>
                    <a:pt x="150" y="81"/>
                    <a:pt x="145" y="76"/>
                    <a:pt x="145" y="76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0" y="80"/>
                    <a:pt x="137" y="77"/>
                    <a:pt x="137" y="75"/>
                  </a:cubicBezTo>
                  <a:cubicBezTo>
                    <a:pt x="137" y="74"/>
                    <a:pt x="137" y="74"/>
                    <a:pt x="137" y="72"/>
                  </a:cubicBezTo>
                  <a:cubicBezTo>
                    <a:pt x="137" y="69"/>
                    <a:pt x="137" y="64"/>
                    <a:pt x="137" y="64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23" y="60"/>
                    <a:pt x="123" y="60"/>
                    <a:pt x="123" y="60"/>
                  </a:cubicBezTo>
                  <a:cubicBezTo>
                    <a:pt x="123" y="60"/>
                    <a:pt x="123" y="62"/>
                    <a:pt x="121" y="60"/>
                  </a:cubicBezTo>
                  <a:cubicBezTo>
                    <a:pt x="118" y="58"/>
                    <a:pt x="118" y="54"/>
                    <a:pt x="118" y="54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10" y="59"/>
                    <a:pt x="110" y="59"/>
                    <a:pt x="110" y="59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0" y="84"/>
                    <a:pt x="121" y="84"/>
                    <a:pt x="121" y="87"/>
                  </a:cubicBezTo>
                  <a:cubicBezTo>
                    <a:pt x="121" y="89"/>
                    <a:pt x="120" y="99"/>
                    <a:pt x="120" y="99"/>
                  </a:cubicBezTo>
                  <a:cubicBezTo>
                    <a:pt x="120" y="107"/>
                    <a:pt x="120" y="107"/>
                    <a:pt x="120" y="107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15"/>
                    <a:pt x="118" y="118"/>
                    <a:pt x="116" y="118"/>
                  </a:cubicBezTo>
                  <a:cubicBezTo>
                    <a:pt x="114" y="118"/>
                    <a:pt x="109" y="116"/>
                    <a:pt x="109" y="116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88" y="111"/>
                    <a:pt x="88" y="111"/>
                    <a:pt x="88" y="111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3"/>
                    <a:pt x="2" y="113"/>
                    <a:pt x="4" y="113"/>
                  </a:cubicBezTo>
                  <a:cubicBezTo>
                    <a:pt x="5" y="113"/>
                    <a:pt x="14" y="114"/>
                    <a:pt x="14" y="114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2" y="127"/>
                    <a:pt x="2" y="129"/>
                  </a:cubicBezTo>
                  <a:cubicBezTo>
                    <a:pt x="1" y="131"/>
                    <a:pt x="5" y="132"/>
                    <a:pt x="5" y="132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9" y="145"/>
                    <a:pt x="19" y="145"/>
                    <a:pt x="19" y="145"/>
                  </a:cubicBezTo>
                  <a:cubicBezTo>
                    <a:pt x="19" y="145"/>
                    <a:pt x="20" y="143"/>
                    <a:pt x="23" y="142"/>
                  </a:cubicBezTo>
                  <a:cubicBezTo>
                    <a:pt x="25" y="142"/>
                    <a:pt x="28" y="142"/>
                    <a:pt x="28" y="142"/>
                  </a:cubicBezTo>
                  <a:cubicBezTo>
                    <a:pt x="28" y="142"/>
                    <a:pt x="28" y="141"/>
                    <a:pt x="30" y="146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7" y="152"/>
                    <a:pt x="41" y="154"/>
                    <a:pt x="43" y="155"/>
                  </a:cubicBezTo>
                  <a:cubicBezTo>
                    <a:pt x="45" y="156"/>
                    <a:pt x="49" y="160"/>
                    <a:pt x="49" y="160"/>
                  </a:cubicBezTo>
                  <a:cubicBezTo>
                    <a:pt x="51" y="161"/>
                    <a:pt x="51" y="161"/>
                    <a:pt x="51" y="161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51" y="166"/>
                    <a:pt x="55" y="167"/>
                    <a:pt x="58" y="167"/>
                  </a:cubicBezTo>
                  <a:cubicBezTo>
                    <a:pt x="61" y="167"/>
                    <a:pt x="68" y="166"/>
                    <a:pt x="68" y="16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2" y="170"/>
                    <a:pt x="81" y="173"/>
                    <a:pt x="81" y="173"/>
                  </a:cubicBezTo>
                  <a:cubicBezTo>
                    <a:pt x="78" y="177"/>
                    <a:pt x="78" y="177"/>
                    <a:pt x="78" y="177"/>
                  </a:cubicBezTo>
                  <a:cubicBezTo>
                    <a:pt x="75" y="180"/>
                    <a:pt x="75" y="180"/>
                    <a:pt x="75" y="180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74" y="183"/>
                    <a:pt x="75" y="183"/>
                    <a:pt x="79" y="184"/>
                  </a:cubicBezTo>
                  <a:cubicBezTo>
                    <a:pt x="83" y="185"/>
                    <a:pt x="86" y="187"/>
                    <a:pt x="86" y="187"/>
                  </a:cubicBezTo>
                  <a:cubicBezTo>
                    <a:pt x="84" y="192"/>
                    <a:pt x="84" y="192"/>
                    <a:pt x="84" y="192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89" y="196"/>
                    <a:pt x="91" y="199"/>
                    <a:pt x="91" y="200"/>
                  </a:cubicBezTo>
                  <a:cubicBezTo>
                    <a:pt x="90" y="201"/>
                    <a:pt x="90" y="203"/>
                    <a:pt x="90" y="203"/>
                  </a:cubicBezTo>
                  <a:cubicBezTo>
                    <a:pt x="87" y="202"/>
                    <a:pt x="87" y="202"/>
                    <a:pt x="87" y="202"/>
                  </a:cubicBezTo>
                  <a:cubicBezTo>
                    <a:pt x="87" y="202"/>
                    <a:pt x="87" y="204"/>
                    <a:pt x="86" y="202"/>
                  </a:cubicBezTo>
                  <a:cubicBezTo>
                    <a:pt x="84" y="200"/>
                    <a:pt x="83" y="198"/>
                    <a:pt x="83" y="198"/>
                  </a:cubicBezTo>
                  <a:cubicBezTo>
                    <a:pt x="82" y="202"/>
                    <a:pt x="82" y="202"/>
                    <a:pt x="82" y="202"/>
                  </a:cubicBezTo>
                  <a:cubicBezTo>
                    <a:pt x="82" y="202"/>
                    <a:pt x="83" y="206"/>
                    <a:pt x="84" y="207"/>
                  </a:cubicBezTo>
                  <a:cubicBezTo>
                    <a:pt x="86" y="207"/>
                    <a:pt x="86" y="206"/>
                    <a:pt x="86" y="209"/>
                  </a:cubicBezTo>
                  <a:cubicBezTo>
                    <a:pt x="86" y="211"/>
                    <a:pt x="87" y="216"/>
                    <a:pt x="88" y="217"/>
                  </a:cubicBezTo>
                  <a:cubicBezTo>
                    <a:pt x="89" y="219"/>
                    <a:pt x="89" y="224"/>
                    <a:pt x="90" y="225"/>
                  </a:cubicBezTo>
                  <a:cubicBezTo>
                    <a:pt x="92" y="225"/>
                    <a:pt x="93" y="226"/>
                    <a:pt x="93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101" y="233"/>
                    <a:pt x="101" y="233"/>
                    <a:pt x="101" y="233"/>
                  </a:cubicBezTo>
                  <a:cubicBezTo>
                    <a:pt x="101" y="233"/>
                    <a:pt x="105" y="236"/>
                    <a:pt x="107" y="237"/>
                  </a:cubicBezTo>
                  <a:cubicBezTo>
                    <a:pt x="109" y="238"/>
                    <a:pt x="110" y="238"/>
                    <a:pt x="110" y="238"/>
                  </a:cubicBezTo>
                  <a:cubicBezTo>
                    <a:pt x="115" y="243"/>
                    <a:pt x="115" y="243"/>
                    <a:pt x="115" y="243"/>
                  </a:cubicBezTo>
                  <a:cubicBezTo>
                    <a:pt x="115" y="243"/>
                    <a:pt x="118" y="248"/>
                    <a:pt x="117" y="248"/>
                  </a:cubicBezTo>
                  <a:cubicBezTo>
                    <a:pt x="116" y="248"/>
                    <a:pt x="117" y="249"/>
                    <a:pt x="115" y="249"/>
                  </a:cubicBezTo>
                  <a:cubicBezTo>
                    <a:pt x="112" y="249"/>
                    <a:pt x="113" y="251"/>
                    <a:pt x="111" y="249"/>
                  </a:cubicBezTo>
                  <a:cubicBezTo>
                    <a:pt x="108" y="247"/>
                    <a:pt x="106" y="244"/>
                    <a:pt x="103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3" y="254"/>
                    <a:pt x="113" y="254"/>
                    <a:pt x="113" y="254"/>
                  </a:cubicBezTo>
                  <a:cubicBezTo>
                    <a:pt x="114" y="254"/>
                    <a:pt x="114" y="254"/>
                    <a:pt x="114" y="254"/>
                  </a:cubicBezTo>
                  <a:cubicBezTo>
                    <a:pt x="114" y="254"/>
                    <a:pt x="115" y="256"/>
                    <a:pt x="115" y="257"/>
                  </a:cubicBezTo>
                  <a:cubicBezTo>
                    <a:pt x="115" y="258"/>
                    <a:pt x="114" y="261"/>
                    <a:pt x="113" y="262"/>
                  </a:cubicBezTo>
                  <a:cubicBezTo>
                    <a:pt x="113" y="264"/>
                    <a:pt x="113" y="266"/>
                    <a:pt x="113" y="266"/>
                  </a:cubicBezTo>
                  <a:cubicBezTo>
                    <a:pt x="110" y="259"/>
                    <a:pt x="110" y="259"/>
                    <a:pt x="110" y="259"/>
                  </a:cubicBezTo>
                  <a:cubicBezTo>
                    <a:pt x="110" y="259"/>
                    <a:pt x="111" y="257"/>
                    <a:pt x="109" y="256"/>
                  </a:cubicBezTo>
                  <a:cubicBezTo>
                    <a:pt x="107" y="256"/>
                    <a:pt x="105" y="257"/>
                    <a:pt x="105" y="257"/>
                  </a:cubicBezTo>
                  <a:cubicBezTo>
                    <a:pt x="105" y="257"/>
                    <a:pt x="104" y="259"/>
                    <a:pt x="105" y="260"/>
                  </a:cubicBezTo>
                  <a:cubicBezTo>
                    <a:pt x="107" y="261"/>
                    <a:pt x="108" y="262"/>
                    <a:pt x="108" y="263"/>
                  </a:cubicBezTo>
                  <a:cubicBezTo>
                    <a:pt x="109" y="264"/>
                    <a:pt x="109" y="265"/>
                    <a:pt x="109" y="265"/>
                  </a:cubicBezTo>
                  <a:cubicBezTo>
                    <a:pt x="109" y="265"/>
                    <a:pt x="111" y="265"/>
                    <a:pt x="111" y="267"/>
                  </a:cubicBezTo>
                  <a:cubicBezTo>
                    <a:pt x="111" y="270"/>
                    <a:pt x="110" y="273"/>
                    <a:pt x="110" y="273"/>
                  </a:cubicBezTo>
                  <a:cubicBezTo>
                    <a:pt x="110" y="273"/>
                    <a:pt x="108" y="273"/>
                    <a:pt x="111" y="275"/>
                  </a:cubicBezTo>
                  <a:cubicBezTo>
                    <a:pt x="114" y="277"/>
                    <a:pt x="115" y="278"/>
                    <a:pt x="116" y="279"/>
                  </a:cubicBezTo>
                  <a:cubicBezTo>
                    <a:pt x="117" y="280"/>
                    <a:pt x="121" y="285"/>
                    <a:pt x="121" y="285"/>
                  </a:cubicBezTo>
                  <a:cubicBezTo>
                    <a:pt x="124" y="289"/>
                    <a:pt x="124" y="289"/>
                    <a:pt x="124" y="289"/>
                  </a:cubicBezTo>
                  <a:cubicBezTo>
                    <a:pt x="124" y="289"/>
                    <a:pt x="124" y="291"/>
                    <a:pt x="124" y="291"/>
                  </a:cubicBezTo>
                  <a:cubicBezTo>
                    <a:pt x="123" y="291"/>
                    <a:pt x="121" y="291"/>
                    <a:pt x="121" y="291"/>
                  </a:cubicBezTo>
                  <a:cubicBezTo>
                    <a:pt x="121" y="291"/>
                    <a:pt x="120" y="291"/>
                    <a:pt x="119" y="290"/>
                  </a:cubicBezTo>
                  <a:cubicBezTo>
                    <a:pt x="118" y="288"/>
                    <a:pt x="116" y="285"/>
                    <a:pt x="116" y="285"/>
                  </a:cubicBezTo>
                  <a:cubicBezTo>
                    <a:pt x="114" y="284"/>
                    <a:pt x="114" y="284"/>
                    <a:pt x="114" y="284"/>
                  </a:cubicBezTo>
                  <a:cubicBezTo>
                    <a:pt x="112" y="285"/>
                    <a:pt x="112" y="285"/>
                    <a:pt x="112" y="285"/>
                  </a:cubicBezTo>
                  <a:cubicBezTo>
                    <a:pt x="112" y="285"/>
                    <a:pt x="110" y="289"/>
                    <a:pt x="110" y="289"/>
                  </a:cubicBezTo>
                  <a:cubicBezTo>
                    <a:pt x="110" y="290"/>
                    <a:pt x="107" y="296"/>
                    <a:pt x="107" y="296"/>
                  </a:cubicBezTo>
                  <a:cubicBezTo>
                    <a:pt x="105" y="308"/>
                    <a:pt x="105" y="308"/>
                    <a:pt x="105" y="308"/>
                  </a:cubicBezTo>
                  <a:cubicBezTo>
                    <a:pt x="105" y="308"/>
                    <a:pt x="105" y="322"/>
                    <a:pt x="104" y="323"/>
                  </a:cubicBezTo>
                  <a:cubicBezTo>
                    <a:pt x="104" y="324"/>
                    <a:pt x="100" y="334"/>
                    <a:pt x="100" y="334"/>
                  </a:cubicBezTo>
                  <a:cubicBezTo>
                    <a:pt x="100" y="334"/>
                    <a:pt x="100" y="335"/>
                    <a:pt x="100" y="338"/>
                  </a:cubicBezTo>
                  <a:cubicBezTo>
                    <a:pt x="99" y="341"/>
                    <a:pt x="98" y="346"/>
                    <a:pt x="98" y="346"/>
                  </a:cubicBezTo>
                  <a:cubicBezTo>
                    <a:pt x="98" y="346"/>
                    <a:pt x="97" y="350"/>
                    <a:pt x="97" y="352"/>
                  </a:cubicBezTo>
                  <a:cubicBezTo>
                    <a:pt x="96" y="354"/>
                    <a:pt x="93" y="362"/>
                    <a:pt x="93" y="362"/>
                  </a:cubicBezTo>
                  <a:cubicBezTo>
                    <a:pt x="92" y="371"/>
                    <a:pt x="92" y="371"/>
                    <a:pt x="92" y="371"/>
                  </a:cubicBezTo>
                  <a:cubicBezTo>
                    <a:pt x="84" y="388"/>
                    <a:pt x="84" y="388"/>
                    <a:pt x="84" y="388"/>
                  </a:cubicBezTo>
                  <a:cubicBezTo>
                    <a:pt x="78" y="393"/>
                    <a:pt x="78" y="393"/>
                    <a:pt x="78" y="393"/>
                  </a:cubicBezTo>
                  <a:cubicBezTo>
                    <a:pt x="75" y="395"/>
                    <a:pt x="75" y="395"/>
                    <a:pt x="75" y="395"/>
                  </a:cubicBezTo>
                  <a:cubicBezTo>
                    <a:pt x="78" y="396"/>
                    <a:pt x="80" y="397"/>
                    <a:pt x="81" y="400"/>
                  </a:cubicBezTo>
                  <a:cubicBezTo>
                    <a:pt x="83" y="405"/>
                    <a:pt x="87" y="413"/>
                    <a:pt x="87" y="413"/>
                  </a:cubicBezTo>
                  <a:cubicBezTo>
                    <a:pt x="100" y="418"/>
                    <a:pt x="100" y="418"/>
                    <a:pt x="100" y="418"/>
                  </a:cubicBezTo>
                  <a:cubicBezTo>
                    <a:pt x="100" y="418"/>
                    <a:pt x="107" y="424"/>
                    <a:pt x="108" y="426"/>
                  </a:cubicBezTo>
                  <a:cubicBezTo>
                    <a:pt x="109" y="427"/>
                    <a:pt x="124" y="432"/>
                    <a:pt x="124" y="432"/>
                  </a:cubicBezTo>
                  <a:cubicBezTo>
                    <a:pt x="134" y="441"/>
                    <a:pt x="134" y="441"/>
                    <a:pt x="134" y="441"/>
                  </a:cubicBezTo>
                  <a:cubicBezTo>
                    <a:pt x="149" y="441"/>
                    <a:pt x="149" y="441"/>
                    <a:pt x="149" y="441"/>
                  </a:cubicBezTo>
                  <a:cubicBezTo>
                    <a:pt x="159" y="443"/>
                    <a:pt x="159" y="443"/>
                    <a:pt x="159" y="443"/>
                  </a:cubicBezTo>
                  <a:cubicBezTo>
                    <a:pt x="164" y="437"/>
                    <a:pt x="164" y="437"/>
                    <a:pt x="164" y="437"/>
                  </a:cubicBezTo>
                  <a:cubicBezTo>
                    <a:pt x="164" y="437"/>
                    <a:pt x="189" y="449"/>
                    <a:pt x="190" y="449"/>
                  </a:cubicBezTo>
                  <a:cubicBezTo>
                    <a:pt x="191" y="449"/>
                    <a:pt x="191" y="452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3" y="455"/>
                    <a:pt x="193" y="455"/>
                    <a:pt x="193" y="455"/>
                  </a:cubicBezTo>
                  <a:cubicBezTo>
                    <a:pt x="193" y="455"/>
                    <a:pt x="192" y="454"/>
                    <a:pt x="192" y="454"/>
                  </a:cubicBezTo>
                  <a:cubicBezTo>
                    <a:pt x="192" y="453"/>
                    <a:pt x="192" y="453"/>
                    <a:pt x="192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4" y="453"/>
                    <a:pt x="194" y="453"/>
                    <a:pt x="194" y="453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1"/>
                    <a:pt x="194" y="451"/>
                    <a:pt x="194" y="451"/>
                  </a:cubicBezTo>
                  <a:cubicBezTo>
                    <a:pt x="194" y="451"/>
                    <a:pt x="195" y="451"/>
                    <a:pt x="195" y="450"/>
                  </a:cubicBezTo>
                  <a:cubicBezTo>
                    <a:pt x="195" y="450"/>
                    <a:pt x="195" y="450"/>
                    <a:pt x="195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9" y="450"/>
                    <a:pt x="199" y="450"/>
                  </a:cubicBezTo>
                  <a:cubicBezTo>
                    <a:pt x="199" y="450"/>
                    <a:pt x="199" y="451"/>
                    <a:pt x="199" y="451"/>
                  </a:cubicBezTo>
                  <a:cubicBezTo>
                    <a:pt x="199" y="451"/>
                    <a:pt x="199" y="451"/>
                    <a:pt x="199" y="451"/>
                  </a:cubicBezTo>
                  <a:cubicBezTo>
                    <a:pt x="199" y="451"/>
                    <a:pt x="200" y="451"/>
                    <a:pt x="200" y="451"/>
                  </a:cubicBezTo>
                  <a:cubicBezTo>
                    <a:pt x="200" y="451"/>
                    <a:pt x="200" y="452"/>
                    <a:pt x="200" y="452"/>
                  </a:cubicBezTo>
                  <a:cubicBezTo>
                    <a:pt x="200" y="452"/>
                    <a:pt x="201" y="452"/>
                    <a:pt x="201" y="452"/>
                  </a:cubicBezTo>
                  <a:cubicBezTo>
                    <a:pt x="201" y="452"/>
                    <a:pt x="202" y="452"/>
                    <a:pt x="202" y="452"/>
                  </a:cubicBezTo>
                  <a:cubicBezTo>
                    <a:pt x="202" y="452"/>
                    <a:pt x="202" y="452"/>
                    <a:pt x="202" y="453"/>
                  </a:cubicBezTo>
                  <a:cubicBezTo>
                    <a:pt x="203" y="453"/>
                    <a:pt x="203" y="453"/>
                    <a:pt x="203" y="453"/>
                  </a:cubicBezTo>
                  <a:cubicBezTo>
                    <a:pt x="203" y="452"/>
                    <a:pt x="204" y="452"/>
                    <a:pt x="204" y="452"/>
                  </a:cubicBezTo>
                  <a:cubicBezTo>
                    <a:pt x="204" y="453"/>
                    <a:pt x="204" y="453"/>
                    <a:pt x="204" y="453"/>
                  </a:cubicBezTo>
                  <a:cubicBezTo>
                    <a:pt x="205" y="453"/>
                    <a:pt x="205" y="453"/>
                    <a:pt x="205" y="453"/>
                  </a:cubicBezTo>
                  <a:cubicBezTo>
                    <a:pt x="206" y="453"/>
                    <a:pt x="206" y="453"/>
                    <a:pt x="206" y="453"/>
                  </a:cubicBezTo>
                  <a:cubicBezTo>
                    <a:pt x="206" y="454"/>
                    <a:pt x="206" y="454"/>
                    <a:pt x="206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5"/>
                    <a:pt x="205" y="455"/>
                    <a:pt x="205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8" y="456"/>
                    <a:pt x="208" y="456"/>
                    <a:pt x="208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6" y="456"/>
                    <a:pt x="206" y="456"/>
                  </a:cubicBezTo>
                  <a:cubicBezTo>
                    <a:pt x="206" y="456"/>
                    <a:pt x="205" y="456"/>
                    <a:pt x="205" y="456"/>
                  </a:cubicBezTo>
                  <a:cubicBezTo>
                    <a:pt x="205" y="457"/>
                    <a:pt x="205" y="457"/>
                    <a:pt x="205" y="457"/>
                  </a:cubicBezTo>
                  <a:cubicBezTo>
                    <a:pt x="205" y="459"/>
                    <a:pt x="205" y="459"/>
                    <a:pt x="205" y="459"/>
                  </a:cubicBezTo>
                  <a:cubicBezTo>
                    <a:pt x="204" y="459"/>
                    <a:pt x="204" y="459"/>
                    <a:pt x="204" y="459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3" y="460"/>
                  </a:cubicBezTo>
                  <a:cubicBezTo>
                    <a:pt x="203" y="460"/>
                    <a:pt x="203" y="460"/>
                    <a:pt x="203" y="460"/>
                  </a:cubicBezTo>
                  <a:cubicBezTo>
                    <a:pt x="202" y="459"/>
                    <a:pt x="202" y="459"/>
                    <a:pt x="202" y="459"/>
                  </a:cubicBezTo>
                  <a:cubicBezTo>
                    <a:pt x="202" y="460"/>
                    <a:pt x="202" y="460"/>
                    <a:pt x="202" y="460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1" y="461"/>
                    <a:pt x="201" y="461"/>
                    <a:pt x="201" y="461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7" y="461"/>
                    <a:pt x="197" y="461"/>
                    <a:pt x="197" y="461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210" y="465"/>
                    <a:pt x="210" y="465"/>
                    <a:pt x="210" y="465"/>
                  </a:cubicBezTo>
                  <a:cubicBezTo>
                    <a:pt x="213" y="466"/>
                    <a:pt x="213" y="468"/>
                    <a:pt x="216" y="470"/>
                  </a:cubicBezTo>
                  <a:cubicBezTo>
                    <a:pt x="224" y="467"/>
                    <a:pt x="224" y="467"/>
                    <a:pt x="224" y="467"/>
                  </a:cubicBezTo>
                  <a:cubicBezTo>
                    <a:pt x="234" y="474"/>
                    <a:pt x="234" y="474"/>
                    <a:pt x="234" y="474"/>
                  </a:cubicBezTo>
                  <a:cubicBezTo>
                    <a:pt x="243" y="471"/>
                    <a:pt x="243" y="471"/>
                    <a:pt x="243" y="471"/>
                  </a:cubicBezTo>
                  <a:cubicBezTo>
                    <a:pt x="252" y="471"/>
                    <a:pt x="252" y="471"/>
                    <a:pt x="252" y="471"/>
                  </a:cubicBezTo>
                  <a:cubicBezTo>
                    <a:pt x="252" y="470"/>
                    <a:pt x="256" y="470"/>
                    <a:pt x="259" y="471"/>
                  </a:cubicBezTo>
                  <a:cubicBezTo>
                    <a:pt x="259" y="471"/>
                    <a:pt x="259" y="471"/>
                    <a:pt x="259" y="471"/>
                  </a:cubicBezTo>
                  <a:close/>
                  <a:moveTo>
                    <a:pt x="192" y="456"/>
                  </a:move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3" y="456"/>
                    <a:pt x="193" y="456"/>
                  </a:cubicBezTo>
                  <a:cubicBezTo>
                    <a:pt x="193" y="456"/>
                    <a:pt x="193" y="457"/>
                    <a:pt x="193" y="457"/>
                  </a:cubicBezTo>
                  <a:cubicBezTo>
                    <a:pt x="193" y="457"/>
                    <a:pt x="193" y="457"/>
                    <a:pt x="193" y="457"/>
                  </a:cubicBezTo>
                  <a:cubicBezTo>
                    <a:pt x="193" y="457"/>
                    <a:pt x="193" y="457"/>
                    <a:pt x="194" y="458"/>
                  </a:cubicBezTo>
                  <a:cubicBezTo>
                    <a:pt x="194" y="458"/>
                    <a:pt x="193" y="458"/>
                    <a:pt x="193" y="458"/>
                  </a:cubicBezTo>
                  <a:cubicBezTo>
                    <a:pt x="193" y="458"/>
                    <a:pt x="193" y="458"/>
                    <a:pt x="193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6"/>
                    <a:pt x="192" y="456"/>
                    <a:pt x="192" y="456"/>
                  </a:cubicBezTo>
                  <a:close/>
                  <a:moveTo>
                    <a:pt x="450" y="202"/>
                  </a:moveTo>
                  <a:cubicBezTo>
                    <a:pt x="450" y="202"/>
                    <a:pt x="450" y="202"/>
                    <a:pt x="450" y="202"/>
                  </a:cubicBezTo>
                  <a:cubicBezTo>
                    <a:pt x="449" y="202"/>
                    <a:pt x="449" y="202"/>
                    <a:pt x="449" y="202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9" y="201"/>
                    <a:pt x="449" y="200"/>
                    <a:pt x="449" y="200"/>
                  </a:cubicBezTo>
                  <a:cubicBezTo>
                    <a:pt x="449" y="201"/>
                    <a:pt x="450" y="201"/>
                    <a:pt x="450" y="202"/>
                  </a:cubicBezTo>
                  <a:close/>
                  <a:moveTo>
                    <a:pt x="493" y="520"/>
                  </a:moveTo>
                  <a:cubicBezTo>
                    <a:pt x="493" y="520"/>
                    <a:pt x="493" y="520"/>
                    <a:pt x="493" y="520"/>
                  </a:cubicBezTo>
                  <a:cubicBezTo>
                    <a:pt x="491" y="524"/>
                    <a:pt x="491" y="524"/>
                    <a:pt x="491" y="524"/>
                  </a:cubicBezTo>
                  <a:cubicBezTo>
                    <a:pt x="489" y="527"/>
                    <a:pt x="489" y="527"/>
                    <a:pt x="489" y="527"/>
                  </a:cubicBezTo>
                  <a:cubicBezTo>
                    <a:pt x="494" y="529"/>
                    <a:pt x="494" y="529"/>
                    <a:pt x="494" y="529"/>
                  </a:cubicBezTo>
                  <a:cubicBezTo>
                    <a:pt x="497" y="533"/>
                    <a:pt x="497" y="533"/>
                    <a:pt x="497" y="533"/>
                  </a:cubicBezTo>
                  <a:cubicBezTo>
                    <a:pt x="497" y="533"/>
                    <a:pt x="499" y="536"/>
                    <a:pt x="501" y="536"/>
                  </a:cubicBezTo>
                  <a:cubicBezTo>
                    <a:pt x="503" y="536"/>
                    <a:pt x="506" y="538"/>
                    <a:pt x="506" y="538"/>
                  </a:cubicBezTo>
                  <a:cubicBezTo>
                    <a:pt x="506" y="538"/>
                    <a:pt x="508" y="535"/>
                    <a:pt x="508" y="531"/>
                  </a:cubicBezTo>
                  <a:cubicBezTo>
                    <a:pt x="509" y="528"/>
                    <a:pt x="505" y="524"/>
                    <a:pt x="511" y="523"/>
                  </a:cubicBezTo>
                  <a:cubicBezTo>
                    <a:pt x="517" y="523"/>
                    <a:pt x="513" y="516"/>
                    <a:pt x="513" y="516"/>
                  </a:cubicBezTo>
                  <a:cubicBezTo>
                    <a:pt x="513" y="511"/>
                    <a:pt x="513" y="511"/>
                    <a:pt x="513" y="511"/>
                  </a:cubicBezTo>
                  <a:cubicBezTo>
                    <a:pt x="512" y="505"/>
                    <a:pt x="512" y="505"/>
                    <a:pt x="512" y="505"/>
                  </a:cubicBezTo>
                  <a:cubicBezTo>
                    <a:pt x="513" y="503"/>
                    <a:pt x="513" y="503"/>
                    <a:pt x="513" y="503"/>
                  </a:cubicBezTo>
                  <a:cubicBezTo>
                    <a:pt x="516" y="499"/>
                    <a:pt x="516" y="499"/>
                    <a:pt x="516" y="499"/>
                  </a:cubicBezTo>
                  <a:cubicBezTo>
                    <a:pt x="519" y="496"/>
                    <a:pt x="519" y="496"/>
                    <a:pt x="519" y="496"/>
                  </a:cubicBezTo>
                  <a:cubicBezTo>
                    <a:pt x="519" y="496"/>
                    <a:pt x="520" y="493"/>
                    <a:pt x="520" y="491"/>
                  </a:cubicBezTo>
                  <a:cubicBezTo>
                    <a:pt x="519" y="490"/>
                    <a:pt x="516" y="485"/>
                    <a:pt x="516" y="485"/>
                  </a:cubicBezTo>
                  <a:cubicBezTo>
                    <a:pt x="519" y="473"/>
                    <a:pt x="519" y="473"/>
                    <a:pt x="519" y="473"/>
                  </a:cubicBezTo>
                  <a:cubicBezTo>
                    <a:pt x="518" y="471"/>
                    <a:pt x="518" y="471"/>
                    <a:pt x="518" y="471"/>
                  </a:cubicBezTo>
                  <a:cubicBezTo>
                    <a:pt x="517" y="468"/>
                    <a:pt x="517" y="468"/>
                    <a:pt x="517" y="468"/>
                  </a:cubicBezTo>
                  <a:cubicBezTo>
                    <a:pt x="515" y="459"/>
                    <a:pt x="515" y="459"/>
                    <a:pt x="515" y="459"/>
                  </a:cubicBezTo>
                  <a:cubicBezTo>
                    <a:pt x="515" y="447"/>
                    <a:pt x="515" y="447"/>
                    <a:pt x="515" y="447"/>
                  </a:cubicBezTo>
                  <a:cubicBezTo>
                    <a:pt x="509" y="449"/>
                    <a:pt x="509" y="449"/>
                    <a:pt x="509" y="449"/>
                  </a:cubicBezTo>
                  <a:cubicBezTo>
                    <a:pt x="511" y="454"/>
                    <a:pt x="511" y="454"/>
                    <a:pt x="511" y="454"/>
                  </a:cubicBezTo>
                  <a:cubicBezTo>
                    <a:pt x="509" y="463"/>
                    <a:pt x="509" y="463"/>
                    <a:pt x="509" y="463"/>
                  </a:cubicBezTo>
                  <a:cubicBezTo>
                    <a:pt x="504" y="464"/>
                    <a:pt x="504" y="464"/>
                    <a:pt x="504" y="464"/>
                  </a:cubicBezTo>
                  <a:cubicBezTo>
                    <a:pt x="502" y="465"/>
                    <a:pt x="502" y="465"/>
                    <a:pt x="502" y="465"/>
                  </a:cubicBezTo>
                  <a:cubicBezTo>
                    <a:pt x="499" y="468"/>
                    <a:pt x="499" y="468"/>
                    <a:pt x="499" y="468"/>
                  </a:cubicBezTo>
                  <a:cubicBezTo>
                    <a:pt x="494" y="469"/>
                    <a:pt x="494" y="469"/>
                    <a:pt x="494" y="469"/>
                  </a:cubicBezTo>
                  <a:cubicBezTo>
                    <a:pt x="489" y="473"/>
                    <a:pt x="489" y="473"/>
                    <a:pt x="489" y="473"/>
                  </a:cubicBezTo>
                  <a:cubicBezTo>
                    <a:pt x="485" y="478"/>
                    <a:pt x="485" y="478"/>
                    <a:pt x="485" y="478"/>
                  </a:cubicBezTo>
                  <a:cubicBezTo>
                    <a:pt x="482" y="481"/>
                    <a:pt x="482" y="481"/>
                    <a:pt x="482" y="481"/>
                  </a:cubicBezTo>
                  <a:cubicBezTo>
                    <a:pt x="482" y="481"/>
                    <a:pt x="482" y="483"/>
                    <a:pt x="484" y="485"/>
                  </a:cubicBezTo>
                  <a:cubicBezTo>
                    <a:pt x="486" y="488"/>
                    <a:pt x="481" y="498"/>
                    <a:pt x="481" y="498"/>
                  </a:cubicBezTo>
                  <a:cubicBezTo>
                    <a:pt x="485" y="498"/>
                    <a:pt x="485" y="498"/>
                    <a:pt x="485" y="498"/>
                  </a:cubicBezTo>
                  <a:cubicBezTo>
                    <a:pt x="486" y="503"/>
                    <a:pt x="486" y="503"/>
                    <a:pt x="486" y="503"/>
                  </a:cubicBezTo>
                  <a:cubicBezTo>
                    <a:pt x="483" y="508"/>
                    <a:pt x="483" y="508"/>
                    <a:pt x="483" y="508"/>
                  </a:cubicBezTo>
                  <a:cubicBezTo>
                    <a:pt x="486" y="510"/>
                    <a:pt x="486" y="510"/>
                    <a:pt x="486" y="510"/>
                  </a:cubicBezTo>
                  <a:cubicBezTo>
                    <a:pt x="489" y="510"/>
                    <a:pt x="489" y="510"/>
                    <a:pt x="489" y="510"/>
                  </a:cubicBezTo>
                  <a:cubicBezTo>
                    <a:pt x="486" y="516"/>
                    <a:pt x="486" y="516"/>
                    <a:pt x="486" y="516"/>
                  </a:cubicBezTo>
                  <a:cubicBezTo>
                    <a:pt x="486" y="518"/>
                    <a:pt x="486" y="518"/>
                    <a:pt x="486" y="518"/>
                  </a:cubicBezTo>
                  <a:lnTo>
                    <a:pt x="493" y="520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3" name="Freeform 13"/>
            <p:cNvSpPr>
              <a:spLocks/>
            </p:cNvSpPr>
            <p:nvPr/>
          </p:nvSpPr>
          <p:spPr bwMode="auto">
            <a:xfrm>
              <a:off x="2979926" y="1055254"/>
              <a:ext cx="543119" cy="437887"/>
            </a:xfrm>
            <a:custGeom>
              <a:avLst/>
              <a:gdLst>
                <a:gd name="T0" fmla="*/ 46 w 238"/>
                <a:gd name="T1" fmla="*/ 78 h 198"/>
                <a:gd name="T2" fmla="*/ 30 w 238"/>
                <a:gd name="T3" fmla="*/ 73 h 198"/>
                <a:gd name="T4" fmla="*/ 10 w 238"/>
                <a:gd name="T5" fmla="*/ 70 h 198"/>
                <a:gd name="T6" fmla="*/ 13 w 238"/>
                <a:gd name="T7" fmla="*/ 76 h 198"/>
                <a:gd name="T8" fmla="*/ 34 w 238"/>
                <a:gd name="T9" fmla="*/ 91 h 198"/>
                <a:gd name="T10" fmla="*/ 35 w 238"/>
                <a:gd name="T11" fmla="*/ 107 h 198"/>
                <a:gd name="T12" fmla="*/ 34 w 238"/>
                <a:gd name="T13" fmla="*/ 113 h 198"/>
                <a:gd name="T14" fmla="*/ 25 w 238"/>
                <a:gd name="T15" fmla="*/ 127 h 198"/>
                <a:gd name="T16" fmla="*/ 9 w 238"/>
                <a:gd name="T17" fmla="*/ 124 h 198"/>
                <a:gd name="T18" fmla="*/ 20 w 238"/>
                <a:gd name="T19" fmla="*/ 138 h 198"/>
                <a:gd name="T20" fmla="*/ 48 w 238"/>
                <a:gd name="T21" fmla="*/ 162 h 198"/>
                <a:gd name="T22" fmla="*/ 85 w 238"/>
                <a:gd name="T23" fmla="*/ 195 h 198"/>
                <a:gd name="T24" fmla="*/ 131 w 238"/>
                <a:gd name="T25" fmla="*/ 189 h 198"/>
                <a:gd name="T26" fmla="*/ 164 w 238"/>
                <a:gd name="T27" fmla="*/ 181 h 198"/>
                <a:gd name="T28" fmla="*/ 194 w 238"/>
                <a:gd name="T29" fmla="*/ 178 h 198"/>
                <a:gd name="T30" fmla="*/ 212 w 238"/>
                <a:gd name="T31" fmla="*/ 165 h 198"/>
                <a:gd name="T32" fmla="*/ 226 w 238"/>
                <a:gd name="T33" fmla="*/ 157 h 198"/>
                <a:gd name="T34" fmla="*/ 230 w 238"/>
                <a:gd name="T35" fmla="*/ 148 h 198"/>
                <a:gd name="T36" fmla="*/ 235 w 238"/>
                <a:gd name="T37" fmla="*/ 133 h 198"/>
                <a:gd name="T38" fmla="*/ 227 w 238"/>
                <a:gd name="T39" fmla="*/ 109 h 198"/>
                <a:gd name="T40" fmla="*/ 224 w 238"/>
                <a:gd name="T41" fmla="*/ 92 h 198"/>
                <a:gd name="T42" fmla="*/ 228 w 238"/>
                <a:gd name="T43" fmla="*/ 76 h 198"/>
                <a:gd name="T44" fmla="*/ 210 w 238"/>
                <a:gd name="T45" fmla="*/ 76 h 198"/>
                <a:gd name="T46" fmla="*/ 206 w 238"/>
                <a:gd name="T47" fmla="*/ 58 h 198"/>
                <a:gd name="T48" fmla="*/ 192 w 238"/>
                <a:gd name="T49" fmla="*/ 68 h 198"/>
                <a:gd name="T50" fmla="*/ 173 w 238"/>
                <a:gd name="T51" fmla="*/ 66 h 198"/>
                <a:gd name="T52" fmla="*/ 160 w 238"/>
                <a:gd name="T53" fmla="*/ 64 h 198"/>
                <a:gd name="T54" fmla="*/ 147 w 238"/>
                <a:gd name="T55" fmla="*/ 80 h 198"/>
                <a:gd name="T56" fmla="*/ 141 w 238"/>
                <a:gd name="T57" fmla="*/ 54 h 198"/>
                <a:gd name="T58" fmla="*/ 128 w 238"/>
                <a:gd name="T59" fmla="*/ 53 h 198"/>
                <a:gd name="T60" fmla="*/ 119 w 238"/>
                <a:gd name="T61" fmla="*/ 67 h 198"/>
                <a:gd name="T62" fmla="*/ 109 w 238"/>
                <a:gd name="T63" fmla="*/ 43 h 198"/>
                <a:gd name="T64" fmla="*/ 96 w 238"/>
                <a:gd name="T65" fmla="*/ 67 h 198"/>
                <a:gd name="T66" fmla="*/ 80 w 238"/>
                <a:gd name="T67" fmla="*/ 67 h 198"/>
                <a:gd name="T68" fmla="*/ 71 w 238"/>
                <a:gd name="T69" fmla="*/ 75 h 198"/>
                <a:gd name="T70" fmla="*/ 75 w 238"/>
                <a:gd name="T71" fmla="*/ 59 h 198"/>
                <a:gd name="T72" fmla="*/ 78 w 238"/>
                <a:gd name="T73" fmla="*/ 52 h 198"/>
                <a:gd name="T74" fmla="*/ 83 w 238"/>
                <a:gd name="T75" fmla="*/ 39 h 198"/>
                <a:gd name="T76" fmla="*/ 80 w 238"/>
                <a:gd name="T77" fmla="*/ 29 h 198"/>
                <a:gd name="T78" fmla="*/ 74 w 238"/>
                <a:gd name="T79" fmla="*/ 7 h 198"/>
                <a:gd name="T80" fmla="*/ 63 w 238"/>
                <a:gd name="T81" fmla="*/ 1 h 198"/>
                <a:gd name="T82" fmla="*/ 61 w 238"/>
                <a:gd name="T83" fmla="*/ 8 h 198"/>
                <a:gd name="T84" fmla="*/ 67 w 238"/>
                <a:gd name="T85" fmla="*/ 12 h 198"/>
                <a:gd name="T86" fmla="*/ 57 w 238"/>
                <a:gd name="T87" fmla="*/ 12 h 198"/>
                <a:gd name="T88" fmla="*/ 62 w 238"/>
                <a:gd name="T89" fmla="*/ 33 h 198"/>
                <a:gd name="T90" fmla="*/ 59 w 238"/>
                <a:gd name="T91" fmla="*/ 28 h 198"/>
                <a:gd name="T92" fmla="*/ 55 w 238"/>
                <a:gd name="T93" fmla="*/ 24 h 198"/>
                <a:gd name="T94" fmla="*/ 53 w 238"/>
                <a:gd name="T95" fmla="*/ 15 h 198"/>
                <a:gd name="T96" fmla="*/ 43 w 238"/>
                <a:gd name="T97" fmla="*/ 9 h 198"/>
                <a:gd name="T98" fmla="*/ 36 w 238"/>
                <a:gd name="T99" fmla="*/ 18 h 198"/>
                <a:gd name="T100" fmla="*/ 32 w 238"/>
                <a:gd name="T101" fmla="*/ 26 h 198"/>
                <a:gd name="T102" fmla="*/ 31 w 238"/>
                <a:gd name="T103" fmla="*/ 30 h 198"/>
                <a:gd name="T104" fmla="*/ 23 w 238"/>
                <a:gd name="T105" fmla="*/ 28 h 198"/>
                <a:gd name="T106" fmla="*/ 23 w 238"/>
                <a:gd name="T107" fmla="*/ 36 h 198"/>
                <a:gd name="T108" fmla="*/ 11 w 238"/>
                <a:gd name="T109" fmla="*/ 29 h 198"/>
                <a:gd name="T110" fmla="*/ 20 w 238"/>
                <a:gd name="T111" fmla="*/ 44 h 198"/>
                <a:gd name="T112" fmla="*/ 36 w 238"/>
                <a:gd name="T113" fmla="*/ 46 h 198"/>
                <a:gd name="T114" fmla="*/ 44 w 238"/>
                <a:gd name="T115" fmla="*/ 46 h 198"/>
                <a:gd name="T116" fmla="*/ 53 w 238"/>
                <a:gd name="T117" fmla="*/ 52 h 198"/>
                <a:gd name="T118" fmla="*/ 59 w 238"/>
                <a:gd name="T119" fmla="*/ 59 h 198"/>
                <a:gd name="T120" fmla="*/ 47 w 238"/>
                <a:gd name="T121" fmla="*/ 65 h 198"/>
                <a:gd name="T122" fmla="*/ 46 w 238"/>
                <a:gd name="T123" fmla="*/ 73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198">
                  <a:moveTo>
                    <a:pt x="48" y="74"/>
                  </a:moveTo>
                  <a:cubicBezTo>
                    <a:pt x="52" y="77"/>
                    <a:pt x="52" y="77"/>
                    <a:pt x="52" y="77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1" y="73"/>
                    <a:pt x="30" y="73"/>
                  </a:cubicBezTo>
                  <a:cubicBezTo>
                    <a:pt x="29" y="73"/>
                    <a:pt x="28" y="73"/>
                    <a:pt x="28" y="73"/>
                  </a:cubicBezTo>
                  <a:cubicBezTo>
                    <a:pt x="27" y="72"/>
                    <a:pt x="26" y="71"/>
                    <a:pt x="25" y="71"/>
                  </a:cubicBezTo>
                  <a:cubicBezTo>
                    <a:pt x="24" y="70"/>
                    <a:pt x="23" y="69"/>
                    <a:pt x="23" y="69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17" y="70"/>
                    <a:pt x="17" y="70"/>
                    <a:pt x="17" y="70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0" y="70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2" y="67"/>
                    <a:pt x="2" y="68"/>
                  </a:cubicBezTo>
                  <a:cubicBezTo>
                    <a:pt x="2" y="70"/>
                    <a:pt x="0" y="71"/>
                    <a:pt x="0" y="72"/>
                  </a:cubicBezTo>
                  <a:cubicBezTo>
                    <a:pt x="1" y="73"/>
                    <a:pt x="2" y="73"/>
                    <a:pt x="3" y="75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4" y="78"/>
                    <a:pt x="15" y="80"/>
                    <a:pt x="16" y="79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20" y="83"/>
                    <a:pt x="22" y="83"/>
                  </a:cubicBezTo>
                  <a:cubicBezTo>
                    <a:pt x="23" y="84"/>
                    <a:pt x="24" y="84"/>
                    <a:pt x="24" y="84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0" y="86"/>
                    <a:pt x="33" y="85"/>
                    <a:pt x="33" y="86"/>
                  </a:cubicBezTo>
                  <a:cubicBezTo>
                    <a:pt x="33" y="87"/>
                    <a:pt x="35" y="88"/>
                    <a:pt x="34" y="89"/>
                  </a:cubicBezTo>
                  <a:cubicBezTo>
                    <a:pt x="34" y="89"/>
                    <a:pt x="34" y="90"/>
                    <a:pt x="34" y="91"/>
                  </a:cubicBezTo>
                  <a:cubicBezTo>
                    <a:pt x="34" y="92"/>
                    <a:pt x="34" y="93"/>
                    <a:pt x="34" y="93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100"/>
                    <a:pt x="30" y="100"/>
                  </a:cubicBezTo>
                  <a:cubicBezTo>
                    <a:pt x="30" y="101"/>
                    <a:pt x="29" y="104"/>
                    <a:pt x="29" y="104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3" y="102"/>
                    <a:pt x="33" y="103"/>
                  </a:cubicBezTo>
                  <a:cubicBezTo>
                    <a:pt x="32" y="105"/>
                    <a:pt x="31" y="106"/>
                    <a:pt x="31" y="106"/>
                  </a:cubicBezTo>
                  <a:cubicBezTo>
                    <a:pt x="31" y="106"/>
                    <a:pt x="32" y="109"/>
                    <a:pt x="33" y="108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7" y="106"/>
                    <a:pt x="37" y="106"/>
                    <a:pt x="37" y="106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40" y="105"/>
                    <a:pt x="40" y="105"/>
                    <a:pt x="41" y="104"/>
                  </a:cubicBezTo>
                  <a:cubicBezTo>
                    <a:pt x="43" y="104"/>
                    <a:pt x="46" y="104"/>
                    <a:pt x="46" y="104"/>
                  </a:cubicBezTo>
                  <a:cubicBezTo>
                    <a:pt x="46" y="104"/>
                    <a:pt x="47" y="107"/>
                    <a:pt x="46" y="107"/>
                  </a:cubicBezTo>
                  <a:cubicBezTo>
                    <a:pt x="45" y="107"/>
                    <a:pt x="41" y="106"/>
                    <a:pt x="41" y="106"/>
                  </a:cubicBezTo>
                  <a:cubicBezTo>
                    <a:pt x="39" y="107"/>
                    <a:pt x="39" y="107"/>
                    <a:pt x="39" y="107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5" y="110"/>
                    <a:pt x="35" y="110"/>
                    <a:pt x="35" y="110"/>
                  </a:cubicBezTo>
                  <a:cubicBezTo>
                    <a:pt x="35" y="110"/>
                    <a:pt x="33" y="113"/>
                    <a:pt x="34" y="113"/>
                  </a:cubicBezTo>
                  <a:cubicBezTo>
                    <a:pt x="35" y="114"/>
                    <a:pt x="32" y="115"/>
                    <a:pt x="32" y="115"/>
                  </a:cubicBezTo>
                  <a:cubicBezTo>
                    <a:pt x="31" y="115"/>
                    <a:pt x="31" y="115"/>
                    <a:pt x="31" y="115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31" y="116"/>
                    <a:pt x="31" y="116"/>
                    <a:pt x="32" y="117"/>
                  </a:cubicBezTo>
                  <a:cubicBezTo>
                    <a:pt x="33" y="117"/>
                    <a:pt x="36" y="117"/>
                    <a:pt x="36" y="117"/>
                  </a:cubicBezTo>
                  <a:cubicBezTo>
                    <a:pt x="36" y="117"/>
                    <a:pt x="38" y="116"/>
                    <a:pt x="37" y="117"/>
                  </a:cubicBezTo>
                  <a:cubicBezTo>
                    <a:pt x="37" y="118"/>
                    <a:pt x="36" y="121"/>
                    <a:pt x="36" y="121"/>
                  </a:cubicBezTo>
                  <a:cubicBezTo>
                    <a:pt x="36" y="121"/>
                    <a:pt x="35" y="122"/>
                    <a:pt x="32" y="122"/>
                  </a:cubicBezTo>
                  <a:cubicBezTo>
                    <a:pt x="30" y="123"/>
                    <a:pt x="27" y="124"/>
                    <a:pt x="27" y="124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127"/>
                    <a:pt x="26" y="128"/>
                    <a:pt x="23" y="128"/>
                  </a:cubicBezTo>
                  <a:cubicBezTo>
                    <a:pt x="21" y="128"/>
                    <a:pt x="19" y="128"/>
                    <a:pt x="19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5" y="129"/>
                    <a:pt x="15" y="129"/>
                  </a:cubicBezTo>
                  <a:cubicBezTo>
                    <a:pt x="14" y="128"/>
                    <a:pt x="13" y="127"/>
                    <a:pt x="13" y="127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0" y="121"/>
                    <a:pt x="10" y="122"/>
                  </a:cubicBezTo>
                  <a:cubicBezTo>
                    <a:pt x="9" y="122"/>
                    <a:pt x="9" y="124"/>
                    <a:pt x="9" y="124"/>
                  </a:cubicBezTo>
                  <a:cubicBezTo>
                    <a:pt x="7" y="127"/>
                    <a:pt x="7" y="127"/>
                    <a:pt x="7" y="127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6" y="131"/>
                    <a:pt x="6" y="131"/>
                    <a:pt x="6" y="131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3"/>
                    <a:pt x="4" y="133"/>
                    <a:pt x="5" y="134"/>
                  </a:cubicBezTo>
                  <a:cubicBezTo>
                    <a:pt x="6" y="134"/>
                    <a:pt x="10" y="136"/>
                    <a:pt x="10" y="136"/>
                  </a:cubicBezTo>
                  <a:cubicBezTo>
                    <a:pt x="10" y="136"/>
                    <a:pt x="11" y="135"/>
                    <a:pt x="13" y="137"/>
                  </a:cubicBezTo>
                  <a:cubicBezTo>
                    <a:pt x="14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20" y="138"/>
                    <a:pt x="20" y="138"/>
                    <a:pt x="20" y="138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7" y="141"/>
                    <a:pt x="27" y="141"/>
                    <a:pt x="27" y="141"/>
                  </a:cubicBezTo>
                  <a:cubicBezTo>
                    <a:pt x="27" y="141"/>
                    <a:pt x="28" y="143"/>
                    <a:pt x="28" y="144"/>
                  </a:cubicBezTo>
                  <a:cubicBezTo>
                    <a:pt x="29" y="144"/>
                    <a:pt x="31" y="147"/>
                    <a:pt x="31" y="147"/>
                  </a:cubicBezTo>
                  <a:cubicBezTo>
                    <a:pt x="31" y="147"/>
                    <a:pt x="31" y="145"/>
                    <a:pt x="33" y="146"/>
                  </a:cubicBezTo>
                  <a:cubicBezTo>
                    <a:pt x="36" y="146"/>
                    <a:pt x="37" y="146"/>
                    <a:pt x="37" y="146"/>
                  </a:cubicBezTo>
                  <a:cubicBezTo>
                    <a:pt x="37" y="146"/>
                    <a:pt x="39" y="146"/>
                    <a:pt x="40" y="147"/>
                  </a:cubicBezTo>
                  <a:cubicBezTo>
                    <a:pt x="41" y="148"/>
                    <a:pt x="44" y="153"/>
                    <a:pt x="44" y="153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162"/>
                    <a:pt x="48" y="163"/>
                    <a:pt x="50" y="164"/>
                  </a:cubicBezTo>
                  <a:cubicBezTo>
                    <a:pt x="52" y="166"/>
                    <a:pt x="53" y="168"/>
                    <a:pt x="53" y="168"/>
                  </a:cubicBezTo>
                  <a:cubicBezTo>
                    <a:pt x="53" y="168"/>
                    <a:pt x="53" y="169"/>
                    <a:pt x="54" y="170"/>
                  </a:cubicBezTo>
                  <a:cubicBezTo>
                    <a:pt x="55" y="172"/>
                    <a:pt x="57" y="174"/>
                    <a:pt x="57" y="174"/>
                  </a:cubicBezTo>
                  <a:cubicBezTo>
                    <a:pt x="57" y="174"/>
                    <a:pt x="57" y="175"/>
                    <a:pt x="58" y="176"/>
                  </a:cubicBezTo>
                  <a:cubicBezTo>
                    <a:pt x="60" y="177"/>
                    <a:pt x="62" y="177"/>
                    <a:pt x="63" y="178"/>
                  </a:cubicBezTo>
                  <a:cubicBezTo>
                    <a:pt x="65" y="180"/>
                    <a:pt x="67" y="182"/>
                    <a:pt x="67" y="182"/>
                  </a:cubicBezTo>
                  <a:cubicBezTo>
                    <a:pt x="67" y="182"/>
                    <a:pt x="72" y="187"/>
                    <a:pt x="74" y="189"/>
                  </a:cubicBezTo>
                  <a:cubicBezTo>
                    <a:pt x="76" y="191"/>
                    <a:pt x="78" y="193"/>
                    <a:pt x="79" y="193"/>
                  </a:cubicBezTo>
                  <a:cubicBezTo>
                    <a:pt x="80" y="194"/>
                    <a:pt x="85" y="195"/>
                    <a:pt x="85" y="195"/>
                  </a:cubicBezTo>
                  <a:cubicBezTo>
                    <a:pt x="85" y="195"/>
                    <a:pt x="88" y="198"/>
                    <a:pt x="89" y="197"/>
                  </a:cubicBezTo>
                  <a:cubicBezTo>
                    <a:pt x="91" y="197"/>
                    <a:pt x="87" y="196"/>
                    <a:pt x="93" y="196"/>
                  </a:cubicBezTo>
                  <a:cubicBezTo>
                    <a:pt x="99" y="196"/>
                    <a:pt x="103" y="198"/>
                    <a:pt x="103" y="198"/>
                  </a:cubicBezTo>
                  <a:cubicBezTo>
                    <a:pt x="107" y="195"/>
                    <a:pt x="107" y="195"/>
                    <a:pt x="107" y="195"/>
                  </a:cubicBezTo>
                  <a:cubicBezTo>
                    <a:pt x="107" y="195"/>
                    <a:pt x="106" y="197"/>
                    <a:pt x="107" y="194"/>
                  </a:cubicBezTo>
                  <a:cubicBezTo>
                    <a:pt x="108" y="192"/>
                    <a:pt x="109" y="190"/>
                    <a:pt x="109" y="190"/>
                  </a:cubicBezTo>
                  <a:cubicBezTo>
                    <a:pt x="109" y="190"/>
                    <a:pt x="108" y="188"/>
                    <a:pt x="111" y="188"/>
                  </a:cubicBezTo>
                  <a:cubicBezTo>
                    <a:pt x="113" y="188"/>
                    <a:pt x="119" y="187"/>
                    <a:pt x="120" y="187"/>
                  </a:cubicBezTo>
                  <a:cubicBezTo>
                    <a:pt x="121" y="187"/>
                    <a:pt x="121" y="188"/>
                    <a:pt x="122" y="187"/>
                  </a:cubicBezTo>
                  <a:cubicBezTo>
                    <a:pt x="122" y="186"/>
                    <a:pt x="131" y="189"/>
                    <a:pt x="131" y="189"/>
                  </a:cubicBezTo>
                  <a:cubicBezTo>
                    <a:pt x="132" y="187"/>
                    <a:pt x="132" y="187"/>
                    <a:pt x="132" y="187"/>
                  </a:cubicBezTo>
                  <a:cubicBezTo>
                    <a:pt x="134" y="186"/>
                    <a:pt x="134" y="186"/>
                    <a:pt x="134" y="186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140" y="190"/>
                    <a:pt x="140" y="190"/>
                    <a:pt x="140" y="190"/>
                  </a:cubicBezTo>
                  <a:cubicBezTo>
                    <a:pt x="140" y="190"/>
                    <a:pt x="143" y="189"/>
                    <a:pt x="145" y="189"/>
                  </a:cubicBezTo>
                  <a:cubicBezTo>
                    <a:pt x="146" y="189"/>
                    <a:pt x="150" y="187"/>
                    <a:pt x="150" y="187"/>
                  </a:cubicBezTo>
                  <a:cubicBezTo>
                    <a:pt x="150" y="187"/>
                    <a:pt x="151" y="185"/>
                    <a:pt x="152" y="185"/>
                  </a:cubicBezTo>
                  <a:cubicBezTo>
                    <a:pt x="153" y="184"/>
                    <a:pt x="156" y="184"/>
                    <a:pt x="157" y="184"/>
                  </a:cubicBezTo>
                  <a:cubicBezTo>
                    <a:pt x="159" y="184"/>
                    <a:pt x="162" y="183"/>
                    <a:pt x="162" y="183"/>
                  </a:cubicBezTo>
                  <a:cubicBezTo>
                    <a:pt x="164" y="181"/>
                    <a:pt x="164" y="181"/>
                    <a:pt x="164" y="181"/>
                  </a:cubicBezTo>
                  <a:cubicBezTo>
                    <a:pt x="164" y="181"/>
                    <a:pt x="165" y="180"/>
                    <a:pt x="167" y="180"/>
                  </a:cubicBezTo>
                  <a:cubicBezTo>
                    <a:pt x="168" y="181"/>
                    <a:pt x="172" y="181"/>
                    <a:pt x="172" y="181"/>
                  </a:cubicBezTo>
                  <a:cubicBezTo>
                    <a:pt x="175" y="179"/>
                    <a:pt x="175" y="179"/>
                    <a:pt x="175" y="179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78" y="177"/>
                    <a:pt x="179" y="178"/>
                  </a:cubicBezTo>
                  <a:cubicBezTo>
                    <a:pt x="180" y="179"/>
                    <a:pt x="182" y="181"/>
                    <a:pt x="182" y="181"/>
                  </a:cubicBezTo>
                  <a:cubicBezTo>
                    <a:pt x="186" y="182"/>
                    <a:pt x="186" y="182"/>
                    <a:pt x="186" y="182"/>
                  </a:cubicBezTo>
                  <a:cubicBezTo>
                    <a:pt x="189" y="181"/>
                    <a:pt x="189" y="181"/>
                    <a:pt x="189" y="181"/>
                  </a:cubicBezTo>
                  <a:cubicBezTo>
                    <a:pt x="191" y="179"/>
                    <a:pt x="191" y="179"/>
                    <a:pt x="191" y="179"/>
                  </a:cubicBezTo>
                  <a:cubicBezTo>
                    <a:pt x="191" y="179"/>
                    <a:pt x="191" y="178"/>
                    <a:pt x="194" y="178"/>
                  </a:cubicBezTo>
                  <a:cubicBezTo>
                    <a:pt x="197" y="178"/>
                    <a:pt x="198" y="178"/>
                    <a:pt x="198" y="178"/>
                  </a:cubicBezTo>
                  <a:cubicBezTo>
                    <a:pt x="198" y="178"/>
                    <a:pt x="201" y="178"/>
                    <a:pt x="201" y="177"/>
                  </a:cubicBezTo>
                  <a:cubicBezTo>
                    <a:pt x="201" y="176"/>
                    <a:pt x="201" y="174"/>
                    <a:pt x="202" y="173"/>
                  </a:cubicBezTo>
                  <a:cubicBezTo>
                    <a:pt x="202" y="172"/>
                    <a:pt x="206" y="168"/>
                    <a:pt x="206" y="168"/>
                  </a:cubicBezTo>
                  <a:cubicBezTo>
                    <a:pt x="208" y="167"/>
                    <a:pt x="208" y="167"/>
                    <a:pt x="208" y="167"/>
                  </a:cubicBezTo>
                  <a:cubicBezTo>
                    <a:pt x="207" y="164"/>
                    <a:pt x="207" y="164"/>
                    <a:pt x="207" y="164"/>
                  </a:cubicBezTo>
                  <a:cubicBezTo>
                    <a:pt x="208" y="162"/>
                    <a:pt x="208" y="162"/>
                    <a:pt x="208" y="162"/>
                  </a:cubicBezTo>
                  <a:cubicBezTo>
                    <a:pt x="208" y="162"/>
                    <a:pt x="211" y="161"/>
                    <a:pt x="210" y="163"/>
                  </a:cubicBezTo>
                  <a:cubicBezTo>
                    <a:pt x="209" y="165"/>
                    <a:pt x="210" y="166"/>
                    <a:pt x="210" y="166"/>
                  </a:cubicBezTo>
                  <a:cubicBezTo>
                    <a:pt x="210" y="166"/>
                    <a:pt x="211" y="165"/>
                    <a:pt x="212" y="165"/>
                  </a:cubicBezTo>
                  <a:cubicBezTo>
                    <a:pt x="214" y="165"/>
                    <a:pt x="214" y="164"/>
                    <a:pt x="215" y="164"/>
                  </a:cubicBezTo>
                  <a:cubicBezTo>
                    <a:pt x="217" y="165"/>
                    <a:pt x="218" y="164"/>
                    <a:pt x="218" y="164"/>
                  </a:cubicBezTo>
                  <a:cubicBezTo>
                    <a:pt x="218" y="164"/>
                    <a:pt x="217" y="162"/>
                    <a:pt x="218" y="162"/>
                  </a:cubicBezTo>
                  <a:cubicBezTo>
                    <a:pt x="219" y="163"/>
                    <a:pt x="221" y="163"/>
                    <a:pt x="221" y="163"/>
                  </a:cubicBezTo>
                  <a:cubicBezTo>
                    <a:pt x="221" y="163"/>
                    <a:pt x="222" y="163"/>
                    <a:pt x="222" y="162"/>
                  </a:cubicBezTo>
                  <a:cubicBezTo>
                    <a:pt x="222" y="162"/>
                    <a:pt x="219" y="160"/>
                    <a:pt x="220" y="160"/>
                  </a:cubicBezTo>
                  <a:cubicBezTo>
                    <a:pt x="221" y="161"/>
                    <a:pt x="223" y="160"/>
                    <a:pt x="223" y="160"/>
                  </a:cubicBezTo>
                  <a:cubicBezTo>
                    <a:pt x="223" y="160"/>
                    <a:pt x="226" y="161"/>
                    <a:pt x="223" y="159"/>
                  </a:cubicBezTo>
                  <a:cubicBezTo>
                    <a:pt x="221" y="156"/>
                    <a:pt x="224" y="156"/>
                    <a:pt x="224" y="156"/>
                  </a:cubicBezTo>
                  <a:cubicBezTo>
                    <a:pt x="224" y="156"/>
                    <a:pt x="227" y="157"/>
                    <a:pt x="226" y="157"/>
                  </a:cubicBezTo>
                  <a:cubicBezTo>
                    <a:pt x="225" y="156"/>
                    <a:pt x="221" y="151"/>
                    <a:pt x="221" y="151"/>
                  </a:cubicBezTo>
                  <a:cubicBezTo>
                    <a:pt x="221" y="150"/>
                    <a:pt x="221" y="150"/>
                    <a:pt x="221" y="150"/>
                  </a:cubicBezTo>
                  <a:cubicBezTo>
                    <a:pt x="221" y="148"/>
                    <a:pt x="221" y="148"/>
                    <a:pt x="221" y="148"/>
                  </a:cubicBezTo>
                  <a:cubicBezTo>
                    <a:pt x="221" y="148"/>
                    <a:pt x="223" y="149"/>
                    <a:pt x="224" y="150"/>
                  </a:cubicBezTo>
                  <a:cubicBezTo>
                    <a:pt x="224" y="150"/>
                    <a:pt x="224" y="150"/>
                    <a:pt x="225" y="151"/>
                  </a:cubicBezTo>
                  <a:cubicBezTo>
                    <a:pt x="227" y="152"/>
                    <a:pt x="226" y="154"/>
                    <a:pt x="227" y="154"/>
                  </a:cubicBezTo>
                  <a:cubicBezTo>
                    <a:pt x="228" y="155"/>
                    <a:pt x="231" y="154"/>
                    <a:pt x="231" y="154"/>
                  </a:cubicBezTo>
                  <a:cubicBezTo>
                    <a:pt x="233" y="151"/>
                    <a:pt x="233" y="151"/>
                    <a:pt x="233" y="151"/>
                  </a:cubicBezTo>
                  <a:cubicBezTo>
                    <a:pt x="233" y="151"/>
                    <a:pt x="237" y="147"/>
                    <a:pt x="236" y="147"/>
                  </a:cubicBezTo>
                  <a:cubicBezTo>
                    <a:pt x="235" y="146"/>
                    <a:pt x="230" y="148"/>
                    <a:pt x="230" y="148"/>
                  </a:cubicBezTo>
                  <a:cubicBezTo>
                    <a:pt x="232" y="144"/>
                    <a:pt x="232" y="144"/>
                    <a:pt x="232" y="144"/>
                  </a:cubicBezTo>
                  <a:cubicBezTo>
                    <a:pt x="229" y="143"/>
                    <a:pt x="229" y="143"/>
                    <a:pt x="229" y="143"/>
                  </a:cubicBezTo>
                  <a:cubicBezTo>
                    <a:pt x="228" y="142"/>
                    <a:pt x="228" y="142"/>
                    <a:pt x="228" y="142"/>
                  </a:cubicBezTo>
                  <a:cubicBezTo>
                    <a:pt x="228" y="142"/>
                    <a:pt x="231" y="142"/>
                    <a:pt x="231" y="142"/>
                  </a:cubicBezTo>
                  <a:cubicBezTo>
                    <a:pt x="232" y="142"/>
                    <a:pt x="234" y="141"/>
                    <a:pt x="234" y="141"/>
                  </a:cubicBezTo>
                  <a:cubicBezTo>
                    <a:pt x="234" y="139"/>
                    <a:pt x="234" y="139"/>
                    <a:pt x="234" y="139"/>
                  </a:cubicBezTo>
                  <a:cubicBezTo>
                    <a:pt x="231" y="137"/>
                    <a:pt x="231" y="137"/>
                    <a:pt x="231" y="137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5" y="133"/>
                    <a:pt x="235" y="133"/>
                    <a:pt x="235" y="133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5"/>
                    <a:pt x="237" y="125"/>
                    <a:pt x="237" y="125"/>
                  </a:cubicBezTo>
                  <a:cubicBezTo>
                    <a:pt x="235" y="125"/>
                    <a:pt x="235" y="125"/>
                    <a:pt x="235" y="125"/>
                  </a:cubicBezTo>
                  <a:cubicBezTo>
                    <a:pt x="235" y="121"/>
                    <a:pt x="235" y="121"/>
                    <a:pt x="235" y="121"/>
                  </a:cubicBezTo>
                  <a:cubicBezTo>
                    <a:pt x="231" y="119"/>
                    <a:pt x="231" y="119"/>
                    <a:pt x="231" y="119"/>
                  </a:cubicBezTo>
                  <a:cubicBezTo>
                    <a:pt x="231" y="119"/>
                    <a:pt x="228" y="117"/>
                    <a:pt x="228" y="116"/>
                  </a:cubicBezTo>
                  <a:cubicBezTo>
                    <a:pt x="228" y="116"/>
                    <a:pt x="228" y="114"/>
                    <a:pt x="227" y="115"/>
                  </a:cubicBezTo>
                  <a:cubicBezTo>
                    <a:pt x="226" y="115"/>
                    <a:pt x="225" y="114"/>
                    <a:pt x="225" y="114"/>
                  </a:cubicBezTo>
                  <a:cubicBezTo>
                    <a:pt x="225" y="114"/>
                    <a:pt x="225" y="111"/>
                    <a:pt x="225" y="111"/>
                  </a:cubicBezTo>
                  <a:cubicBezTo>
                    <a:pt x="225" y="111"/>
                    <a:pt x="227" y="110"/>
                    <a:pt x="227" y="109"/>
                  </a:cubicBezTo>
                  <a:cubicBezTo>
                    <a:pt x="228" y="108"/>
                    <a:pt x="227" y="106"/>
                    <a:pt x="227" y="106"/>
                  </a:cubicBezTo>
                  <a:cubicBezTo>
                    <a:pt x="226" y="106"/>
                    <a:pt x="224" y="107"/>
                    <a:pt x="224" y="107"/>
                  </a:cubicBezTo>
                  <a:cubicBezTo>
                    <a:pt x="218" y="108"/>
                    <a:pt x="218" y="108"/>
                    <a:pt x="218" y="108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6" y="107"/>
                    <a:pt x="217" y="107"/>
                    <a:pt x="217" y="106"/>
                  </a:cubicBezTo>
                  <a:cubicBezTo>
                    <a:pt x="218" y="105"/>
                    <a:pt x="218" y="104"/>
                    <a:pt x="219" y="103"/>
                  </a:cubicBezTo>
                  <a:cubicBezTo>
                    <a:pt x="220" y="102"/>
                    <a:pt x="220" y="103"/>
                    <a:pt x="221" y="101"/>
                  </a:cubicBezTo>
                  <a:cubicBezTo>
                    <a:pt x="223" y="100"/>
                    <a:pt x="225" y="98"/>
                    <a:pt x="225" y="98"/>
                  </a:cubicBezTo>
                  <a:cubicBezTo>
                    <a:pt x="225" y="95"/>
                    <a:pt x="225" y="95"/>
                    <a:pt x="225" y="95"/>
                  </a:cubicBezTo>
                  <a:cubicBezTo>
                    <a:pt x="224" y="92"/>
                    <a:pt x="224" y="92"/>
                    <a:pt x="224" y="92"/>
                  </a:cubicBezTo>
                  <a:cubicBezTo>
                    <a:pt x="224" y="92"/>
                    <a:pt x="223" y="91"/>
                    <a:pt x="222" y="91"/>
                  </a:cubicBezTo>
                  <a:cubicBezTo>
                    <a:pt x="221" y="91"/>
                    <a:pt x="222" y="93"/>
                    <a:pt x="220" y="91"/>
                  </a:cubicBezTo>
                  <a:cubicBezTo>
                    <a:pt x="219" y="90"/>
                    <a:pt x="219" y="90"/>
                    <a:pt x="218" y="88"/>
                  </a:cubicBezTo>
                  <a:cubicBezTo>
                    <a:pt x="217" y="87"/>
                    <a:pt x="217" y="85"/>
                    <a:pt x="217" y="85"/>
                  </a:cubicBezTo>
                  <a:cubicBezTo>
                    <a:pt x="217" y="85"/>
                    <a:pt x="215" y="84"/>
                    <a:pt x="216" y="84"/>
                  </a:cubicBezTo>
                  <a:cubicBezTo>
                    <a:pt x="218" y="84"/>
                    <a:pt x="219" y="85"/>
                    <a:pt x="220" y="84"/>
                  </a:cubicBezTo>
                  <a:cubicBezTo>
                    <a:pt x="221" y="83"/>
                    <a:pt x="221" y="84"/>
                    <a:pt x="221" y="83"/>
                  </a:cubicBezTo>
                  <a:cubicBezTo>
                    <a:pt x="221" y="82"/>
                    <a:pt x="222" y="79"/>
                    <a:pt x="222" y="79"/>
                  </a:cubicBezTo>
                  <a:cubicBezTo>
                    <a:pt x="222" y="78"/>
                    <a:pt x="222" y="78"/>
                    <a:pt x="224" y="77"/>
                  </a:cubicBezTo>
                  <a:cubicBezTo>
                    <a:pt x="227" y="76"/>
                    <a:pt x="226" y="76"/>
                    <a:pt x="228" y="76"/>
                  </a:cubicBezTo>
                  <a:cubicBezTo>
                    <a:pt x="229" y="75"/>
                    <a:pt x="230" y="74"/>
                    <a:pt x="229" y="74"/>
                  </a:cubicBezTo>
                  <a:cubicBezTo>
                    <a:pt x="229" y="73"/>
                    <a:pt x="227" y="73"/>
                    <a:pt x="227" y="73"/>
                  </a:cubicBezTo>
                  <a:cubicBezTo>
                    <a:pt x="226" y="72"/>
                    <a:pt x="224" y="74"/>
                    <a:pt x="224" y="74"/>
                  </a:cubicBezTo>
                  <a:cubicBezTo>
                    <a:pt x="224" y="74"/>
                    <a:pt x="222" y="75"/>
                    <a:pt x="221" y="76"/>
                  </a:cubicBezTo>
                  <a:cubicBezTo>
                    <a:pt x="220" y="77"/>
                    <a:pt x="219" y="76"/>
                    <a:pt x="218" y="76"/>
                  </a:cubicBezTo>
                  <a:cubicBezTo>
                    <a:pt x="217" y="76"/>
                    <a:pt x="217" y="76"/>
                    <a:pt x="217" y="76"/>
                  </a:cubicBezTo>
                  <a:cubicBezTo>
                    <a:pt x="217" y="76"/>
                    <a:pt x="215" y="75"/>
                    <a:pt x="214" y="77"/>
                  </a:cubicBezTo>
                  <a:cubicBezTo>
                    <a:pt x="214" y="79"/>
                    <a:pt x="212" y="81"/>
                    <a:pt x="212" y="81"/>
                  </a:cubicBezTo>
                  <a:cubicBezTo>
                    <a:pt x="212" y="81"/>
                    <a:pt x="211" y="82"/>
                    <a:pt x="211" y="80"/>
                  </a:cubicBezTo>
                  <a:cubicBezTo>
                    <a:pt x="211" y="79"/>
                    <a:pt x="210" y="76"/>
                    <a:pt x="210" y="76"/>
                  </a:cubicBezTo>
                  <a:cubicBezTo>
                    <a:pt x="210" y="76"/>
                    <a:pt x="210" y="76"/>
                    <a:pt x="210" y="76"/>
                  </a:cubicBezTo>
                  <a:cubicBezTo>
                    <a:pt x="209" y="76"/>
                    <a:pt x="206" y="75"/>
                    <a:pt x="206" y="75"/>
                  </a:cubicBezTo>
                  <a:cubicBezTo>
                    <a:pt x="206" y="75"/>
                    <a:pt x="207" y="75"/>
                    <a:pt x="207" y="73"/>
                  </a:cubicBezTo>
                  <a:cubicBezTo>
                    <a:pt x="206" y="72"/>
                    <a:pt x="206" y="71"/>
                    <a:pt x="206" y="71"/>
                  </a:cubicBezTo>
                  <a:cubicBezTo>
                    <a:pt x="207" y="71"/>
                    <a:pt x="208" y="71"/>
                    <a:pt x="208" y="71"/>
                  </a:cubicBezTo>
                  <a:cubicBezTo>
                    <a:pt x="209" y="71"/>
                    <a:pt x="209" y="71"/>
                    <a:pt x="209" y="69"/>
                  </a:cubicBezTo>
                  <a:cubicBezTo>
                    <a:pt x="209" y="66"/>
                    <a:pt x="208" y="65"/>
                    <a:pt x="208" y="65"/>
                  </a:cubicBezTo>
                  <a:cubicBezTo>
                    <a:pt x="208" y="65"/>
                    <a:pt x="207" y="64"/>
                    <a:pt x="207" y="64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07" y="60"/>
                    <a:pt x="207" y="59"/>
                    <a:pt x="206" y="58"/>
                  </a:cubicBezTo>
                  <a:cubicBezTo>
                    <a:pt x="205" y="57"/>
                    <a:pt x="205" y="56"/>
                    <a:pt x="204" y="57"/>
                  </a:cubicBezTo>
                  <a:cubicBezTo>
                    <a:pt x="204" y="57"/>
                    <a:pt x="203" y="58"/>
                    <a:pt x="202" y="58"/>
                  </a:cubicBezTo>
                  <a:cubicBezTo>
                    <a:pt x="201" y="57"/>
                    <a:pt x="199" y="56"/>
                    <a:pt x="199" y="56"/>
                  </a:cubicBezTo>
                  <a:cubicBezTo>
                    <a:pt x="195" y="54"/>
                    <a:pt x="195" y="54"/>
                    <a:pt x="195" y="54"/>
                  </a:cubicBezTo>
                  <a:cubicBezTo>
                    <a:pt x="195" y="54"/>
                    <a:pt x="195" y="54"/>
                    <a:pt x="194" y="55"/>
                  </a:cubicBezTo>
                  <a:cubicBezTo>
                    <a:pt x="194" y="56"/>
                    <a:pt x="193" y="55"/>
                    <a:pt x="193" y="57"/>
                  </a:cubicBezTo>
                  <a:cubicBezTo>
                    <a:pt x="194" y="58"/>
                    <a:pt x="194" y="59"/>
                    <a:pt x="194" y="60"/>
                  </a:cubicBezTo>
                  <a:cubicBezTo>
                    <a:pt x="193" y="61"/>
                    <a:pt x="193" y="62"/>
                    <a:pt x="193" y="64"/>
                  </a:cubicBezTo>
                  <a:cubicBezTo>
                    <a:pt x="192" y="65"/>
                    <a:pt x="191" y="65"/>
                    <a:pt x="191" y="66"/>
                  </a:cubicBezTo>
                  <a:cubicBezTo>
                    <a:pt x="191" y="67"/>
                    <a:pt x="192" y="67"/>
                    <a:pt x="192" y="68"/>
                  </a:cubicBezTo>
                  <a:cubicBezTo>
                    <a:pt x="192" y="68"/>
                    <a:pt x="191" y="70"/>
                    <a:pt x="190" y="70"/>
                  </a:cubicBezTo>
                  <a:cubicBezTo>
                    <a:pt x="190" y="71"/>
                    <a:pt x="189" y="72"/>
                    <a:pt x="188" y="72"/>
                  </a:cubicBezTo>
                  <a:cubicBezTo>
                    <a:pt x="188" y="71"/>
                    <a:pt x="187" y="71"/>
                    <a:pt x="186" y="71"/>
                  </a:cubicBezTo>
                  <a:cubicBezTo>
                    <a:pt x="185" y="71"/>
                    <a:pt x="184" y="72"/>
                    <a:pt x="184" y="72"/>
                  </a:cubicBezTo>
                  <a:cubicBezTo>
                    <a:pt x="184" y="72"/>
                    <a:pt x="183" y="73"/>
                    <a:pt x="182" y="72"/>
                  </a:cubicBezTo>
                  <a:cubicBezTo>
                    <a:pt x="180" y="71"/>
                    <a:pt x="179" y="70"/>
                    <a:pt x="179" y="70"/>
                  </a:cubicBezTo>
                  <a:cubicBezTo>
                    <a:pt x="179" y="68"/>
                    <a:pt x="179" y="68"/>
                    <a:pt x="179" y="68"/>
                  </a:cubicBezTo>
                  <a:cubicBezTo>
                    <a:pt x="179" y="68"/>
                    <a:pt x="183" y="69"/>
                    <a:pt x="178" y="66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74" y="64"/>
                    <a:pt x="174" y="65"/>
                    <a:pt x="173" y="66"/>
                  </a:cubicBezTo>
                  <a:cubicBezTo>
                    <a:pt x="172" y="66"/>
                    <a:pt x="172" y="67"/>
                    <a:pt x="172" y="67"/>
                  </a:cubicBezTo>
                  <a:cubicBezTo>
                    <a:pt x="171" y="69"/>
                    <a:pt x="171" y="69"/>
                    <a:pt x="171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68" y="72"/>
                    <a:pt x="168" y="72"/>
                    <a:pt x="168" y="72"/>
                  </a:cubicBezTo>
                  <a:cubicBezTo>
                    <a:pt x="168" y="72"/>
                    <a:pt x="167" y="73"/>
                    <a:pt x="166" y="73"/>
                  </a:cubicBezTo>
                  <a:cubicBezTo>
                    <a:pt x="166" y="73"/>
                    <a:pt x="165" y="73"/>
                    <a:pt x="165" y="73"/>
                  </a:cubicBezTo>
                  <a:cubicBezTo>
                    <a:pt x="164" y="73"/>
                    <a:pt x="163" y="73"/>
                    <a:pt x="163" y="72"/>
                  </a:cubicBezTo>
                  <a:cubicBezTo>
                    <a:pt x="162" y="72"/>
                    <a:pt x="162" y="72"/>
                    <a:pt x="162" y="71"/>
                  </a:cubicBezTo>
                  <a:cubicBezTo>
                    <a:pt x="162" y="70"/>
                    <a:pt x="162" y="68"/>
                    <a:pt x="161" y="67"/>
                  </a:cubicBezTo>
                  <a:cubicBezTo>
                    <a:pt x="161" y="66"/>
                    <a:pt x="161" y="66"/>
                    <a:pt x="160" y="64"/>
                  </a:cubicBezTo>
                  <a:cubicBezTo>
                    <a:pt x="159" y="63"/>
                    <a:pt x="158" y="61"/>
                    <a:pt x="158" y="61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3" y="58"/>
                    <a:pt x="154" y="57"/>
                    <a:pt x="152" y="57"/>
                  </a:cubicBezTo>
                  <a:cubicBezTo>
                    <a:pt x="151" y="58"/>
                    <a:pt x="149" y="60"/>
                    <a:pt x="149" y="60"/>
                  </a:cubicBezTo>
                  <a:cubicBezTo>
                    <a:pt x="149" y="60"/>
                    <a:pt x="149" y="62"/>
                    <a:pt x="149" y="63"/>
                  </a:cubicBezTo>
                  <a:cubicBezTo>
                    <a:pt x="149" y="63"/>
                    <a:pt x="148" y="64"/>
                    <a:pt x="148" y="65"/>
                  </a:cubicBezTo>
                  <a:cubicBezTo>
                    <a:pt x="149" y="67"/>
                    <a:pt x="150" y="69"/>
                    <a:pt x="149" y="70"/>
                  </a:cubicBezTo>
                  <a:cubicBezTo>
                    <a:pt x="149" y="70"/>
                    <a:pt x="148" y="72"/>
                    <a:pt x="148" y="74"/>
                  </a:cubicBezTo>
                  <a:cubicBezTo>
                    <a:pt x="148" y="76"/>
                    <a:pt x="149" y="78"/>
                    <a:pt x="148" y="78"/>
                  </a:cubicBezTo>
                  <a:cubicBezTo>
                    <a:pt x="147" y="79"/>
                    <a:pt x="147" y="80"/>
                    <a:pt x="147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79"/>
                    <a:pt x="147" y="76"/>
                  </a:cubicBezTo>
                  <a:cubicBezTo>
                    <a:pt x="147" y="73"/>
                    <a:pt x="146" y="72"/>
                    <a:pt x="146" y="71"/>
                  </a:cubicBezTo>
                  <a:cubicBezTo>
                    <a:pt x="145" y="71"/>
                    <a:pt x="145" y="71"/>
                    <a:pt x="145" y="70"/>
                  </a:cubicBezTo>
                  <a:cubicBezTo>
                    <a:pt x="145" y="69"/>
                    <a:pt x="145" y="68"/>
                    <a:pt x="145" y="68"/>
                  </a:cubicBezTo>
                  <a:cubicBezTo>
                    <a:pt x="145" y="68"/>
                    <a:pt x="143" y="66"/>
                    <a:pt x="143" y="65"/>
                  </a:cubicBezTo>
                  <a:cubicBezTo>
                    <a:pt x="143" y="64"/>
                    <a:pt x="144" y="63"/>
                    <a:pt x="144" y="61"/>
                  </a:cubicBezTo>
                  <a:cubicBezTo>
                    <a:pt x="144" y="58"/>
                    <a:pt x="145" y="58"/>
                    <a:pt x="144" y="57"/>
                  </a:cubicBezTo>
                  <a:cubicBezTo>
                    <a:pt x="143" y="56"/>
                    <a:pt x="144" y="55"/>
                    <a:pt x="143" y="54"/>
                  </a:cubicBezTo>
                  <a:cubicBezTo>
                    <a:pt x="142" y="54"/>
                    <a:pt x="142" y="55"/>
                    <a:pt x="141" y="54"/>
                  </a:cubicBezTo>
                  <a:cubicBezTo>
                    <a:pt x="141" y="54"/>
                    <a:pt x="141" y="55"/>
                    <a:pt x="141" y="55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2" y="53"/>
                    <a:pt x="143" y="49"/>
                    <a:pt x="142" y="51"/>
                  </a:cubicBezTo>
                  <a:cubicBezTo>
                    <a:pt x="141" y="52"/>
                    <a:pt x="138" y="53"/>
                    <a:pt x="138" y="52"/>
                  </a:cubicBezTo>
                  <a:cubicBezTo>
                    <a:pt x="139" y="51"/>
                    <a:pt x="138" y="50"/>
                    <a:pt x="138" y="50"/>
                  </a:cubicBezTo>
                  <a:cubicBezTo>
                    <a:pt x="138" y="50"/>
                    <a:pt x="134" y="50"/>
                    <a:pt x="134" y="50"/>
                  </a:cubicBezTo>
                  <a:cubicBezTo>
                    <a:pt x="134" y="50"/>
                    <a:pt x="134" y="49"/>
                    <a:pt x="134" y="51"/>
                  </a:cubicBezTo>
                  <a:cubicBezTo>
                    <a:pt x="134" y="52"/>
                    <a:pt x="135" y="54"/>
                    <a:pt x="133" y="54"/>
                  </a:cubicBezTo>
                  <a:cubicBezTo>
                    <a:pt x="131" y="55"/>
                    <a:pt x="130" y="55"/>
                    <a:pt x="130" y="55"/>
                  </a:cubicBezTo>
                  <a:cubicBezTo>
                    <a:pt x="130" y="54"/>
                    <a:pt x="128" y="53"/>
                    <a:pt x="128" y="53"/>
                  </a:cubicBezTo>
                  <a:cubicBezTo>
                    <a:pt x="128" y="53"/>
                    <a:pt x="127" y="53"/>
                    <a:pt x="126" y="53"/>
                  </a:cubicBezTo>
                  <a:cubicBezTo>
                    <a:pt x="126" y="54"/>
                    <a:pt x="124" y="54"/>
                    <a:pt x="124" y="54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3" y="57"/>
                    <a:pt x="123" y="57"/>
                  </a:cubicBezTo>
                  <a:cubicBezTo>
                    <a:pt x="122" y="58"/>
                    <a:pt x="121" y="58"/>
                    <a:pt x="122" y="59"/>
                  </a:cubicBezTo>
                  <a:cubicBezTo>
                    <a:pt x="122" y="59"/>
                    <a:pt x="122" y="59"/>
                    <a:pt x="122" y="61"/>
                  </a:cubicBezTo>
                  <a:cubicBezTo>
                    <a:pt x="122" y="62"/>
                    <a:pt x="122" y="62"/>
                    <a:pt x="122" y="63"/>
                  </a:cubicBezTo>
                  <a:cubicBezTo>
                    <a:pt x="121" y="64"/>
                    <a:pt x="121" y="65"/>
                    <a:pt x="120" y="66"/>
                  </a:cubicBezTo>
                  <a:cubicBezTo>
                    <a:pt x="120" y="66"/>
                    <a:pt x="119" y="67"/>
                    <a:pt x="119" y="67"/>
                  </a:cubicBezTo>
                  <a:cubicBezTo>
                    <a:pt x="118" y="68"/>
                    <a:pt x="118" y="68"/>
                    <a:pt x="117" y="68"/>
                  </a:cubicBezTo>
                  <a:cubicBezTo>
                    <a:pt x="116" y="68"/>
                    <a:pt x="116" y="69"/>
                    <a:pt x="116" y="68"/>
                  </a:cubicBezTo>
                  <a:cubicBezTo>
                    <a:pt x="116" y="66"/>
                    <a:pt x="116" y="65"/>
                    <a:pt x="116" y="63"/>
                  </a:cubicBezTo>
                  <a:cubicBezTo>
                    <a:pt x="116" y="62"/>
                    <a:pt x="117" y="62"/>
                    <a:pt x="115" y="60"/>
                  </a:cubicBezTo>
                  <a:cubicBezTo>
                    <a:pt x="114" y="58"/>
                    <a:pt x="113" y="58"/>
                    <a:pt x="113" y="57"/>
                  </a:cubicBezTo>
                  <a:cubicBezTo>
                    <a:pt x="113" y="57"/>
                    <a:pt x="113" y="56"/>
                    <a:pt x="113" y="55"/>
                  </a:cubicBezTo>
                  <a:cubicBezTo>
                    <a:pt x="113" y="54"/>
                    <a:pt x="113" y="56"/>
                    <a:pt x="113" y="52"/>
                  </a:cubicBezTo>
                  <a:cubicBezTo>
                    <a:pt x="114" y="49"/>
                    <a:pt x="113" y="48"/>
                    <a:pt x="113" y="48"/>
                  </a:cubicBezTo>
                  <a:cubicBezTo>
                    <a:pt x="113" y="48"/>
                    <a:pt x="114" y="43"/>
                    <a:pt x="114" y="43"/>
                  </a:cubicBezTo>
                  <a:cubicBezTo>
                    <a:pt x="113" y="43"/>
                    <a:pt x="110" y="43"/>
                    <a:pt x="109" y="43"/>
                  </a:cubicBezTo>
                  <a:cubicBezTo>
                    <a:pt x="108" y="43"/>
                    <a:pt x="108" y="43"/>
                    <a:pt x="107" y="43"/>
                  </a:cubicBezTo>
                  <a:cubicBezTo>
                    <a:pt x="107" y="44"/>
                    <a:pt x="106" y="43"/>
                    <a:pt x="106" y="45"/>
                  </a:cubicBezTo>
                  <a:cubicBezTo>
                    <a:pt x="105" y="47"/>
                    <a:pt x="104" y="47"/>
                    <a:pt x="104" y="49"/>
                  </a:cubicBezTo>
                  <a:cubicBezTo>
                    <a:pt x="104" y="50"/>
                    <a:pt x="104" y="52"/>
                    <a:pt x="104" y="52"/>
                  </a:cubicBezTo>
                  <a:cubicBezTo>
                    <a:pt x="104" y="53"/>
                    <a:pt x="103" y="54"/>
                    <a:pt x="103" y="54"/>
                  </a:cubicBezTo>
                  <a:cubicBezTo>
                    <a:pt x="103" y="54"/>
                    <a:pt x="103" y="55"/>
                    <a:pt x="103" y="57"/>
                  </a:cubicBezTo>
                  <a:cubicBezTo>
                    <a:pt x="102" y="59"/>
                    <a:pt x="102" y="60"/>
                    <a:pt x="102" y="61"/>
                  </a:cubicBezTo>
                  <a:cubicBezTo>
                    <a:pt x="102" y="61"/>
                    <a:pt x="102" y="61"/>
                    <a:pt x="101" y="62"/>
                  </a:cubicBezTo>
                  <a:cubicBezTo>
                    <a:pt x="100" y="63"/>
                    <a:pt x="98" y="66"/>
                    <a:pt x="97" y="66"/>
                  </a:cubicBezTo>
                  <a:cubicBezTo>
                    <a:pt x="97" y="66"/>
                    <a:pt x="97" y="66"/>
                    <a:pt x="96" y="67"/>
                  </a:cubicBezTo>
                  <a:cubicBezTo>
                    <a:pt x="96" y="67"/>
                    <a:pt x="94" y="70"/>
                    <a:pt x="93" y="70"/>
                  </a:cubicBezTo>
                  <a:cubicBezTo>
                    <a:pt x="92" y="71"/>
                    <a:pt x="93" y="71"/>
                    <a:pt x="92" y="71"/>
                  </a:cubicBezTo>
                  <a:cubicBezTo>
                    <a:pt x="92" y="70"/>
                    <a:pt x="91" y="70"/>
                    <a:pt x="91" y="69"/>
                  </a:cubicBezTo>
                  <a:cubicBezTo>
                    <a:pt x="91" y="67"/>
                    <a:pt x="91" y="67"/>
                    <a:pt x="92" y="65"/>
                  </a:cubicBezTo>
                  <a:cubicBezTo>
                    <a:pt x="92" y="64"/>
                    <a:pt x="93" y="62"/>
                    <a:pt x="93" y="62"/>
                  </a:cubicBezTo>
                  <a:cubicBezTo>
                    <a:pt x="93" y="62"/>
                    <a:pt x="94" y="61"/>
                    <a:pt x="93" y="61"/>
                  </a:cubicBezTo>
                  <a:cubicBezTo>
                    <a:pt x="92" y="61"/>
                    <a:pt x="91" y="61"/>
                    <a:pt x="90" y="61"/>
                  </a:cubicBezTo>
                  <a:cubicBezTo>
                    <a:pt x="88" y="61"/>
                    <a:pt x="86" y="62"/>
                    <a:pt x="85" y="63"/>
                  </a:cubicBezTo>
                  <a:cubicBezTo>
                    <a:pt x="84" y="63"/>
                    <a:pt x="84" y="64"/>
                    <a:pt x="82" y="66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70"/>
                    <a:pt x="79" y="68"/>
                    <a:pt x="79" y="68"/>
                  </a:cubicBezTo>
                  <a:cubicBezTo>
                    <a:pt x="79" y="68"/>
                    <a:pt x="78" y="68"/>
                    <a:pt x="78" y="69"/>
                  </a:cubicBezTo>
                  <a:cubicBezTo>
                    <a:pt x="78" y="69"/>
                    <a:pt x="77" y="70"/>
                    <a:pt x="77" y="70"/>
                  </a:cubicBezTo>
                  <a:cubicBezTo>
                    <a:pt x="76" y="71"/>
                    <a:pt x="76" y="72"/>
                    <a:pt x="76" y="73"/>
                  </a:cubicBezTo>
                  <a:cubicBezTo>
                    <a:pt x="75" y="74"/>
                    <a:pt x="75" y="76"/>
                    <a:pt x="74" y="76"/>
                  </a:cubicBezTo>
                  <a:cubicBezTo>
                    <a:pt x="74" y="76"/>
                    <a:pt x="74" y="77"/>
                    <a:pt x="74" y="77"/>
                  </a:cubicBezTo>
                  <a:cubicBezTo>
                    <a:pt x="73" y="77"/>
                    <a:pt x="72" y="78"/>
                    <a:pt x="72" y="78"/>
                  </a:cubicBezTo>
                  <a:cubicBezTo>
                    <a:pt x="72" y="79"/>
                    <a:pt x="71" y="77"/>
                    <a:pt x="71" y="75"/>
                  </a:cubicBezTo>
                  <a:cubicBezTo>
                    <a:pt x="72" y="74"/>
                    <a:pt x="72" y="74"/>
                    <a:pt x="72" y="73"/>
                  </a:cubicBezTo>
                  <a:cubicBezTo>
                    <a:pt x="73" y="73"/>
                    <a:pt x="73" y="71"/>
                    <a:pt x="74" y="71"/>
                  </a:cubicBezTo>
                  <a:cubicBezTo>
                    <a:pt x="74" y="71"/>
                    <a:pt x="74" y="72"/>
                    <a:pt x="74" y="70"/>
                  </a:cubicBezTo>
                  <a:cubicBezTo>
                    <a:pt x="75" y="68"/>
                    <a:pt x="75" y="67"/>
                    <a:pt x="75" y="67"/>
                  </a:cubicBezTo>
                  <a:cubicBezTo>
                    <a:pt x="75" y="67"/>
                    <a:pt x="75" y="67"/>
                    <a:pt x="75" y="66"/>
                  </a:cubicBezTo>
                  <a:cubicBezTo>
                    <a:pt x="74" y="65"/>
                    <a:pt x="74" y="66"/>
                    <a:pt x="74" y="65"/>
                  </a:cubicBezTo>
                  <a:cubicBezTo>
                    <a:pt x="75" y="64"/>
                    <a:pt x="75" y="63"/>
                    <a:pt x="75" y="62"/>
                  </a:cubicBezTo>
                  <a:cubicBezTo>
                    <a:pt x="76" y="62"/>
                    <a:pt x="76" y="61"/>
                    <a:pt x="76" y="61"/>
                  </a:cubicBezTo>
                  <a:cubicBezTo>
                    <a:pt x="76" y="61"/>
                    <a:pt x="76" y="61"/>
                    <a:pt x="76" y="60"/>
                  </a:cubicBezTo>
                  <a:cubicBezTo>
                    <a:pt x="76" y="60"/>
                    <a:pt x="75" y="59"/>
                    <a:pt x="75" y="59"/>
                  </a:cubicBezTo>
                  <a:cubicBezTo>
                    <a:pt x="75" y="59"/>
                    <a:pt x="75" y="58"/>
                    <a:pt x="75" y="58"/>
                  </a:cubicBezTo>
                  <a:cubicBezTo>
                    <a:pt x="75" y="58"/>
                    <a:pt x="76" y="57"/>
                    <a:pt x="76" y="56"/>
                  </a:cubicBezTo>
                  <a:cubicBezTo>
                    <a:pt x="75" y="56"/>
                    <a:pt x="75" y="55"/>
                    <a:pt x="74" y="54"/>
                  </a:cubicBezTo>
                  <a:cubicBezTo>
                    <a:pt x="73" y="54"/>
                    <a:pt x="73" y="54"/>
                    <a:pt x="73" y="53"/>
                  </a:cubicBezTo>
                  <a:cubicBezTo>
                    <a:pt x="73" y="53"/>
                    <a:pt x="71" y="52"/>
                    <a:pt x="71" y="52"/>
                  </a:cubicBezTo>
                  <a:cubicBezTo>
                    <a:pt x="71" y="52"/>
                    <a:pt x="72" y="50"/>
                    <a:pt x="72" y="50"/>
                  </a:cubicBezTo>
                  <a:cubicBezTo>
                    <a:pt x="72" y="50"/>
                    <a:pt x="72" y="49"/>
                    <a:pt x="73" y="49"/>
                  </a:cubicBezTo>
                  <a:cubicBezTo>
                    <a:pt x="73" y="50"/>
                    <a:pt x="73" y="51"/>
                    <a:pt x="73" y="51"/>
                  </a:cubicBezTo>
                  <a:cubicBezTo>
                    <a:pt x="73" y="52"/>
                    <a:pt x="76" y="53"/>
                    <a:pt x="76" y="53"/>
                  </a:cubicBezTo>
                  <a:cubicBezTo>
                    <a:pt x="76" y="53"/>
                    <a:pt x="78" y="52"/>
                    <a:pt x="78" y="52"/>
                  </a:cubicBezTo>
                  <a:cubicBezTo>
                    <a:pt x="79" y="52"/>
                    <a:pt x="79" y="50"/>
                    <a:pt x="79" y="50"/>
                  </a:cubicBezTo>
                  <a:cubicBezTo>
                    <a:pt x="79" y="50"/>
                    <a:pt x="78" y="50"/>
                    <a:pt x="79" y="49"/>
                  </a:cubicBezTo>
                  <a:cubicBezTo>
                    <a:pt x="80" y="49"/>
                    <a:pt x="82" y="48"/>
                    <a:pt x="82" y="48"/>
                  </a:cubicBezTo>
                  <a:cubicBezTo>
                    <a:pt x="82" y="47"/>
                    <a:pt x="83" y="47"/>
                    <a:pt x="83" y="47"/>
                  </a:cubicBezTo>
                  <a:cubicBezTo>
                    <a:pt x="83" y="47"/>
                    <a:pt x="84" y="46"/>
                    <a:pt x="84" y="46"/>
                  </a:cubicBezTo>
                  <a:cubicBezTo>
                    <a:pt x="84" y="45"/>
                    <a:pt x="85" y="45"/>
                    <a:pt x="84" y="44"/>
                  </a:cubicBezTo>
                  <a:cubicBezTo>
                    <a:pt x="84" y="44"/>
                    <a:pt x="84" y="43"/>
                    <a:pt x="84" y="42"/>
                  </a:cubicBezTo>
                  <a:cubicBezTo>
                    <a:pt x="84" y="42"/>
                    <a:pt x="86" y="43"/>
                    <a:pt x="84" y="41"/>
                  </a:cubicBezTo>
                  <a:cubicBezTo>
                    <a:pt x="82" y="40"/>
                    <a:pt x="80" y="39"/>
                    <a:pt x="81" y="39"/>
                  </a:cubicBezTo>
                  <a:cubicBezTo>
                    <a:pt x="82" y="39"/>
                    <a:pt x="83" y="39"/>
                    <a:pt x="83" y="39"/>
                  </a:cubicBezTo>
                  <a:cubicBezTo>
                    <a:pt x="84" y="39"/>
                    <a:pt x="85" y="40"/>
                    <a:pt x="85" y="39"/>
                  </a:cubicBezTo>
                  <a:cubicBezTo>
                    <a:pt x="86" y="39"/>
                    <a:pt x="86" y="39"/>
                    <a:pt x="86" y="38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4" y="36"/>
                    <a:pt x="84" y="36"/>
                    <a:pt x="83" y="36"/>
                  </a:cubicBezTo>
                  <a:cubicBezTo>
                    <a:pt x="83" y="36"/>
                    <a:pt x="82" y="37"/>
                    <a:pt x="83" y="35"/>
                  </a:cubicBezTo>
                  <a:cubicBezTo>
                    <a:pt x="83" y="33"/>
                    <a:pt x="83" y="33"/>
                    <a:pt x="83" y="32"/>
                  </a:cubicBezTo>
                  <a:cubicBezTo>
                    <a:pt x="83" y="32"/>
                    <a:pt x="85" y="32"/>
                    <a:pt x="83" y="32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1" y="31"/>
                    <a:pt x="82" y="31"/>
                    <a:pt x="80" y="31"/>
                  </a:cubicBezTo>
                  <a:cubicBezTo>
                    <a:pt x="79" y="31"/>
                    <a:pt x="80" y="29"/>
                    <a:pt x="80" y="29"/>
                  </a:cubicBezTo>
                  <a:cubicBezTo>
                    <a:pt x="80" y="28"/>
                    <a:pt x="81" y="24"/>
                    <a:pt x="81" y="24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79" y="21"/>
                    <a:pt x="79" y="21"/>
                  </a:cubicBezTo>
                  <a:cubicBezTo>
                    <a:pt x="79" y="20"/>
                    <a:pt x="79" y="19"/>
                    <a:pt x="78" y="19"/>
                  </a:cubicBezTo>
                  <a:cubicBezTo>
                    <a:pt x="78" y="19"/>
                    <a:pt x="77" y="18"/>
                    <a:pt x="77" y="18"/>
                  </a:cubicBezTo>
                  <a:cubicBezTo>
                    <a:pt x="77" y="18"/>
                    <a:pt x="76" y="18"/>
                    <a:pt x="76" y="17"/>
                  </a:cubicBezTo>
                  <a:cubicBezTo>
                    <a:pt x="76" y="16"/>
                    <a:pt x="76" y="15"/>
                    <a:pt x="76" y="15"/>
                  </a:cubicBezTo>
                  <a:cubicBezTo>
                    <a:pt x="76" y="14"/>
                    <a:pt x="76" y="13"/>
                    <a:pt x="76" y="13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3"/>
                    <a:pt x="71" y="3"/>
                    <a:pt x="71" y="4"/>
                  </a:cubicBezTo>
                  <a:cubicBezTo>
                    <a:pt x="71" y="4"/>
                    <a:pt x="71" y="5"/>
                    <a:pt x="70" y="5"/>
                  </a:cubicBezTo>
                  <a:cubicBezTo>
                    <a:pt x="69" y="5"/>
                    <a:pt x="68" y="4"/>
                    <a:pt x="68" y="4"/>
                  </a:cubicBezTo>
                  <a:cubicBezTo>
                    <a:pt x="68" y="4"/>
                    <a:pt x="68" y="3"/>
                    <a:pt x="68" y="2"/>
                  </a:cubicBezTo>
                  <a:cubicBezTo>
                    <a:pt x="67" y="2"/>
                    <a:pt x="64" y="0"/>
                    <a:pt x="64" y="0"/>
                  </a:cubicBezTo>
                  <a:cubicBezTo>
                    <a:pt x="64" y="0"/>
                    <a:pt x="64" y="0"/>
                    <a:pt x="64" y="1"/>
                  </a:cubicBezTo>
                  <a:cubicBezTo>
                    <a:pt x="64" y="1"/>
                    <a:pt x="63" y="2"/>
                    <a:pt x="63" y="1"/>
                  </a:cubicBezTo>
                  <a:cubicBezTo>
                    <a:pt x="62" y="1"/>
                    <a:pt x="60" y="0"/>
                    <a:pt x="60" y="0"/>
                  </a:cubicBezTo>
                  <a:cubicBezTo>
                    <a:pt x="60" y="0"/>
                    <a:pt x="60" y="1"/>
                    <a:pt x="60" y="1"/>
                  </a:cubicBezTo>
                  <a:cubicBezTo>
                    <a:pt x="60" y="2"/>
                    <a:pt x="61" y="3"/>
                    <a:pt x="61" y="3"/>
                  </a:cubicBezTo>
                  <a:cubicBezTo>
                    <a:pt x="60" y="3"/>
                    <a:pt x="59" y="3"/>
                    <a:pt x="59" y="3"/>
                  </a:cubicBezTo>
                  <a:cubicBezTo>
                    <a:pt x="59" y="3"/>
                    <a:pt x="59" y="3"/>
                    <a:pt x="58" y="3"/>
                  </a:cubicBezTo>
                  <a:cubicBezTo>
                    <a:pt x="58" y="2"/>
                    <a:pt x="57" y="2"/>
                    <a:pt x="57" y="2"/>
                  </a:cubicBezTo>
                  <a:cubicBezTo>
                    <a:pt x="57" y="3"/>
                    <a:pt x="56" y="3"/>
                    <a:pt x="56" y="5"/>
                  </a:cubicBezTo>
                  <a:cubicBezTo>
                    <a:pt x="57" y="6"/>
                    <a:pt x="56" y="6"/>
                    <a:pt x="57" y="7"/>
                  </a:cubicBezTo>
                  <a:cubicBezTo>
                    <a:pt x="58" y="7"/>
                    <a:pt x="58" y="7"/>
                    <a:pt x="59" y="8"/>
                  </a:cubicBezTo>
                  <a:cubicBezTo>
                    <a:pt x="60" y="8"/>
                    <a:pt x="60" y="8"/>
                    <a:pt x="61" y="8"/>
                  </a:cubicBezTo>
                  <a:cubicBezTo>
                    <a:pt x="61" y="8"/>
                    <a:pt x="62" y="8"/>
                    <a:pt x="63" y="8"/>
                  </a:cubicBezTo>
                  <a:cubicBezTo>
                    <a:pt x="63" y="8"/>
                    <a:pt x="64" y="7"/>
                    <a:pt x="64" y="7"/>
                  </a:cubicBezTo>
                  <a:cubicBezTo>
                    <a:pt x="64" y="7"/>
                    <a:pt x="64" y="8"/>
                    <a:pt x="64" y="8"/>
                  </a:cubicBezTo>
                  <a:cubicBezTo>
                    <a:pt x="64" y="8"/>
                    <a:pt x="63" y="8"/>
                    <a:pt x="64" y="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1"/>
                    <a:pt x="65" y="11"/>
                  </a:cubicBezTo>
                  <a:cubicBezTo>
                    <a:pt x="65" y="12"/>
                    <a:pt x="65" y="12"/>
                    <a:pt x="66" y="12"/>
                  </a:cubicBezTo>
                  <a:cubicBezTo>
                    <a:pt x="67" y="13"/>
                    <a:pt x="67" y="12"/>
                    <a:pt x="67" y="12"/>
                  </a:cubicBezTo>
                  <a:cubicBezTo>
                    <a:pt x="67" y="12"/>
                    <a:pt x="69" y="14"/>
                    <a:pt x="68" y="14"/>
                  </a:cubicBezTo>
                  <a:cubicBezTo>
                    <a:pt x="68" y="14"/>
                    <a:pt x="67" y="13"/>
                    <a:pt x="68" y="14"/>
                  </a:cubicBezTo>
                  <a:cubicBezTo>
                    <a:pt x="69" y="15"/>
                    <a:pt x="70" y="15"/>
                    <a:pt x="70" y="15"/>
                  </a:cubicBezTo>
                  <a:cubicBezTo>
                    <a:pt x="70" y="15"/>
                    <a:pt x="69" y="16"/>
                    <a:pt x="67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5" y="14"/>
                    <a:pt x="65" y="14"/>
                  </a:cubicBezTo>
                  <a:cubicBezTo>
                    <a:pt x="64" y="13"/>
                    <a:pt x="64" y="12"/>
                    <a:pt x="64" y="12"/>
                  </a:cubicBezTo>
                  <a:cubicBezTo>
                    <a:pt x="64" y="12"/>
                    <a:pt x="63" y="11"/>
                    <a:pt x="62" y="11"/>
                  </a:cubicBezTo>
                  <a:cubicBezTo>
                    <a:pt x="61" y="10"/>
                    <a:pt x="60" y="11"/>
                    <a:pt x="59" y="11"/>
                  </a:cubicBezTo>
                  <a:cubicBezTo>
                    <a:pt x="59" y="11"/>
                    <a:pt x="58" y="12"/>
                    <a:pt x="57" y="12"/>
                  </a:cubicBezTo>
                  <a:cubicBezTo>
                    <a:pt x="57" y="12"/>
                    <a:pt x="57" y="13"/>
                    <a:pt x="57" y="14"/>
                  </a:cubicBezTo>
                  <a:cubicBezTo>
                    <a:pt x="58" y="15"/>
                    <a:pt x="60" y="19"/>
                    <a:pt x="60" y="19"/>
                  </a:cubicBezTo>
                  <a:cubicBezTo>
                    <a:pt x="60" y="19"/>
                    <a:pt x="62" y="21"/>
                    <a:pt x="62" y="21"/>
                  </a:cubicBezTo>
                  <a:cubicBezTo>
                    <a:pt x="62" y="21"/>
                    <a:pt x="63" y="23"/>
                    <a:pt x="63" y="23"/>
                  </a:cubicBezTo>
                  <a:cubicBezTo>
                    <a:pt x="63" y="23"/>
                    <a:pt x="63" y="23"/>
                    <a:pt x="64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5"/>
                    <a:pt x="63" y="26"/>
                    <a:pt x="63" y="27"/>
                  </a:cubicBezTo>
                  <a:cubicBezTo>
                    <a:pt x="63" y="27"/>
                    <a:pt x="63" y="26"/>
                    <a:pt x="63" y="27"/>
                  </a:cubicBezTo>
                  <a:cubicBezTo>
                    <a:pt x="63" y="29"/>
                    <a:pt x="63" y="31"/>
                    <a:pt x="63" y="31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0" y="34"/>
                    <a:pt x="61" y="33"/>
                    <a:pt x="61" y="33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0"/>
                    <a:pt x="61" y="29"/>
                    <a:pt x="60" y="29"/>
                  </a:cubicBezTo>
                  <a:cubicBezTo>
                    <a:pt x="60" y="28"/>
                    <a:pt x="60" y="29"/>
                    <a:pt x="59" y="29"/>
                  </a:cubicBezTo>
                  <a:cubicBezTo>
                    <a:pt x="59" y="29"/>
                    <a:pt x="58" y="31"/>
                    <a:pt x="58" y="31"/>
                  </a:cubicBezTo>
                  <a:cubicBezTo>
                    <a:pt x="58" y="31"/>
                    <a:pt x="57" y="31"/>
                    <a:pt x="58" y="30"/>
                  </a:cubicBezTo>
                  <a:cubicBezTo>
                    <a:pt x="58" y="30"/>
                    <a:pt x="58" y="28"/>
                    <a:pt x="59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7"/>
                    <a:pt x="60" y="27"/>
                    <a:pt x="60" y="26"/>
                  </a:cubicBezTo>
                  <a:cubicBezTo>
                    <a:pt x="60" y="25"/>
                    <a:pt x="60" y="25"/>
                    <a:pt x="60" y="24"/>
                  </a:cubicBezTo>
                  <a:cubicBezTo>
                    <a:pt x="59" y="24"/>
                    <a:pt x="59" y="23"/>
                    <a:pt x="59" y="22"/>
                  </a:cubicBezTo>
                  <a:cubicBezTo>
                    <a:pt x="58" y="22"/>
                    <a:pt x="57" y="23"/>
                    <a:pt x="57" y="23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6" y="25"/>
                    <a:pt x="56" y="25"/>
                    <a:pt x="55" y="26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5" y="25"/>
                    <a:pt x="55" y="25"/>
                  </a:cubicBezTo>
                  <a:cubicBezTo>
                    <a:pt x="55" y="25"/>
                    <a:pt x="56" y="24"/>
                    <a:pt x="55" y="24"/>
                  </a:cubicBezTo>
                  <a:cubicBezTo>
                    <a:pt x="55" y="24"/>
                    <a:pt x="55" y="24"/>
                    <a:pt x="55" y="23"/>
                  </a:cubicBezTo>
                  <a:cubicBezTo>
                    <a:pt x="55" y="23"/>
                    <a:pt x="55" y="22"/>
                    <a:pt x="55" y="22"/>
                  </a:cubicBezTo>
                  <a:cubicBezTo>
                    <a:pt x="55" y="22"/>
                    <a:pt x="56" y="22"/>
                    <a:pt x="55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3" y="22"/>
                    <a:pt x="53" y="22"/>
                  </a:cubicBezTo>
                  <a:cubicBezTo>
                    <a:pt x="53" y="21"/>
                    <a:pt x="54" y="21"/>
                    <a:pt x="54" y="21"/>
                  </a:cubicBezTo>
                  <a:cubicBezTo>
                    <a:pt x="54" y="20"/>
                    <a:pt x="55" y="19"/>
                    <a:pt x="55" y="19"/>
                  </a:cubicBezTo>
                  <a:cubicBezTo>
                    <a:pt x="55" y="19"/>
                    <a:pt x="54" y="18"/>
                    <a:pt x="54" y="18"/>
                  </a:cubicBezTo>
                  <a:cubicBezTo>
                    <a:pt x="53" y="17"/>
                    <a:pt x="53" y="16"/>
                    <a:pt x="53" y="16"/>
                  </a:cubicBezTo>
                  <a:cubicBezTo>
                    <a:pt x="53" y="16"/>
                    <a:pt x="53" y="18"/>
                    <a:pt x="53" y="1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0"/>
                    <a:pt x="50" y="10"/>
                  </a:cubicBezTo>
                  <a:cubicBezTo>
                    <a:pt x="50" y="9"/>
                    <a:pt x="48" y="8"/>
                    <a:pt x="48" y="8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6"/>
                    <a:pt x="48" y="6"/>
                  </a:cubicBezTo>
                  <a:cubicBezTo>
                    <a:pt x="47" y="6"/>
                    <a:pt x="46" y="5"/>
                    <a:pt x="46" y="6"/>
                  </a:cubicBezTo>
                  <a:cubicBezTo>
                    <a:pt x="46" y="7"/>
                    <a:pt x="46" y="7"/>
                    <a:pt x="46" y="8"/>
                  </a:cubicBezTo>
                  <a:cubicBezTo>
                    <a:pt x="45" y="8"/>
                    <a:pt x="43" y="8"/>
                    <a:pt x="43" y="8"/>
                  </a:cubicBezTo>
                  <a:cubicBezTo>
                    <a:pt x="43" y="8"/>
                    <a:pt x="43" y="9"/>
                    <a:pt x="43" y="9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9"/>
                    <a:pt x="41" y="10"/>
                  </a:cubicBezTo>
                  <a:cubicBezTo>
                    <a:pt x="42" y="11"/>
                    <a:pt x="42" y="12"/>
                    <a:pt x="42" y="13"/>
                  </a:cubicBezTo>
                  <a:cubicBezTo>
                    <a:pt x="42" y="13"/>
                    <a:pt x="44" y="14"/>
                    <a:pt x="43" y="14"/>
                  </a:cubicBezTo>
                  <a:cubicBezTo>
                    <a:pt x="43" y="14"/>
                    <a:pt x="41" y="14"/>
                    <a:pt x="41" y="14"/>
                  </a:cubicBezTo>
                  <a:cubicBezTo>
                    <a:pt x="41" y="14"/>
                    <a:pt x="40" y="13"/>
                    <a:pt x="40" y="12"/>
                  </a:cubicBezTo>
                  <a:cubicBezTo>
                    <a:pt x="40" y="12"/>
                    <a:pt x="39" y="11"/>
                    <a:pt x="38" y="11"/>
                  </a:cubicBezTo>
                  <a:cubicBezTo>
                    <a:pt x="38" y="11"/>
                    <a:pt x="37" y="11"/>
                    <a:pt x="36" y="12"/>
                  </a:cubicBezTo>
                  <a:cubicBezTo>
                    <a:pt x="36" y="13"/>
                    <a:pt x="36" y="12"/>
                    <a:pt x="36" y="14"/>
                  </a:cubicBezTo>
                  <a:cubicBezTo>
                    <a:pt x="36" y="16"/>
                    <a:pt x="36" y="18"/>
                    <a:pt x="36" y="18"/>
                  </a:cubicBezTo>
                  <a:cubicBezTo>
                    <a:pt x="36" y="18"/>
                    <a:pt x="37" y="19"/>
                    <a:pt x="38" y="20"/>
                  </a:cubicBezTo>
                  <a:cubicBezTo>
                    <a:pt x="38" y="20"/>
                    <a:pt x="39" y="23"/>
                    <a:pt x="39" y="23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35" y="23"/>
                    <a:pt x="35" y="22"/>
                  </a:cubicBezTo>
                  <a:cubicBezTo>
                    <a:pt x="35" y="21"/>
                    <a:pt x="35" y="19"/>
                    <a:pt x="34" y="19"/>
                  </a:cubicBezTo>
                  <a:cubicBezTo>
                    <a:pt x="34" y="19"/>
                    <a:pt x="34" y="18"/>
                    <a:pt x="33" y="19"/>
                  </a:cubicBezTo>
                  <a:cubicBezTo>
                    <a:pt x="32" y="19"/>
                    <a:pt x="32" y="19"/>
                    <a:pt x="31" y="19"/>
                  </a:cubicBezTo>
                  <a:cubicBezTo>
                    <a:pt x="31" y="20"/>
                    <a:pt x="31" y="21"/>
                    <a:pt x="31" y="21"/>
                  </a:cubicBezTo>
                  <a:cubicBezTo>
                    <a:pt x="31" y="21"/>
                    <a:pt x="31" y="22"/>
                    <a:pt x="31" y="23"/>
                  </a:cubicBezTo>
                  <a:cubicBezTo>
                    <a:pt x="32" y="25"/>
                    <a:pt x="32" y="25"/>
                    <a:pt x="32" y="26"/>
                  </a:cubicBezTo>
                  <a:cubicBezTo>
                    <a:pt x="33" y="27"/>
                    <a:pt x="34" y="27"/>
                    <a:pt x="34" y="28"/>
                  </a:cubicBezTo>
                  <a:cubicBezTo>
                    <a:pt x="34" y="28"/>
                    <a:pt x="35" y="29"/>
                    <a:pt x="35" y="29"/>
                  </a:cubicBezTo>
                  <a:cubicBezTo>
                    <a:pt x="35" y="29"/>
                    <a:pt x="34" y="31"/>
                    <a:pt x="34" y="31"/>
                  </a:cubicBezTo>
                  <a:cubicBezTo>
                    <a:pt x="34" y="32"/>
                    <a:pt x="33" y="33"/>
                    <a:pt x="33" y="33"/>
                  </a:cubicBezTo>
                  <a:cubicBezTo>
                    <a:pt x="33" y="33"/>
                    <a:pt x="35" y="34"/>
                    <a:pt x="35" y="34"/>
                  </a:cubicBezTo>
                  <a:cubicBezTo>
                    <a:pt x="35" y="34"/>
                    <a:pt x="36" y="35"/>
                    <a:pt x="35" y="36"/>
                  </a:cubicBezTo>
                  <a:cubicBezTo>
                    <a:pt x="34" y="36"/>
                    <a:pt x="34" y="36"/>
                    <a:pt x="33" y="36"/>
                  </a:cubicBezTo>
                  <a:cubicBezTo>
                    <a:pt x="33" y="35"/>
                    <a:pt x="32" y="36"/>
                    <a:pt x="32" y="34"/>
                  </a:cubicBezTo>
                  <a:cubicBezTo>
                    <a:pt x="33" y="33"/>
                    <a:pt x="33" y="32"/>
                    <a:pt x="33" y="32"/>
                  </a:cubicBezTo>
                  <a:cubicBezTo>
                    <a:pt x="32" y="32"/>
                    <a:pt x="31" y="30"/>
                    <a:pt x="31" y="30"/>
                  </a:cubicBezTo>
                  <a:cubicBezTo>
                    <a:pt x="31" y="30"/>
                    <a:pt x="33" y="33"/>
                    <a:pt x="30" y="28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7" y="22"/>
                    <a:pt x="27" y="22"/>
                  </a:cubicBezTo>
                  <a:cubicBezTo>
                    <a:pt x="27" y="22"/>
                    <a:pt x="26" y="21"/>
                    <a:pt x="26" y="21"/>
                  </a:cubicBezTo>
                  <a:cubicBezTo>
                    <a:pt x="26" y="21"/>
                    <a:pt x="24" y="21"/>
                    <a:pt x="24" y="21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3" y="23"/>
                    <a:pt x="23" y="25"/>
                    <a:pt x="23" y="25"/>
                  </a:cubicBezTo>
                  <a:cubicBezTo>
                    <a:pt x="22" y="25"/>
                    <a:pt x="22" y="27"/>
                    <a:pt x="22" y="27"/>
                  </a:cubicBezTo>
                  <a:cubicBezTo>
                    <a:pt x="22" y="27"/>
                    <a:pt x="23" y="27"/>
                    <a:pt x="23" y="28"/>
                  </a:cubicBezTo>
                  <a:cubicBezTo>
                    <a:pt x="24" y="29"/>
                    <a:pt x="24" y="30"/>
                    <a:pt x="24" y="30"/>
                  </a:cubicBezTo>
                  <a:cubicBezTo>
                    <a:pt x="24" y="30"/>
                    <a:pt x="23" y="29"/>
                    <a:pt x="23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2"/>
                    <a:pt x="21" y="32"/>
                  </a:cubicBezTo>
                  <a:cubicBezTo>
                    <a:pt x="21" y="32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3" y="35"/>
                    <a:pt x="23" y="35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2" y="36"/>
                    <a:pt x="23" y="37"/>
                    <a:pt x="22" y="36"/>
                  </a:cubicBezTo>
                  <a:cubicBezTo>
                    <a:pt x="21" y="35"/>
                    <a:pt x="21" y="36"/>
                    <a:pt x="20" y="3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1" y="32"/>
                    <a:pt x="19" y="31"/>
                  </a:cubicBezTo>
                  <a:cubicBezTo>
                    <a:pt x="18" y="29"/>
                    <a:pt x="18" y="28"/>
                    <a:pt x="18" y="28"/>
                  </a:cubicBezTo>
                  <a:cubicBezTo>
                    <a:pt x="18" y="28"/>
                    <a:pt x="17" y="27"/>
                    <a:pt x="16" y="27"/>
                  </a:cubicBezTo>
                  <a:cubicBezTo>
                    <a:pt x="16" y="28"/>
                    <a:pt x="16" y="28"/>
                    <a:pt x="15" y="28"/>
                  </a:cubicBezTo>
                  <a:cubicBezTo>
                    <a:pt x="14" y="29"/>
                    <a:pt x="14" y="29"/>
                    <a:pt x="13" y="29"/>
                  </a:cubicBezTo>
                  <a:cubicBezTo>
                    <a:pt x="13" y="29"/>
                    <a:pt x="11" y="29"/>
                    <a:pt x="11" y="29"/>
                  </a:cubicBezTo>
                  <a:cubicBezTo>
                    <a:pt x="11" y="29"/>
                    <a:pt x="11" y="29"/>
                    <a:pt x="9" y="30"/>
                  </a:cubicBezTo>
                  <a:cubicBezTo>
                    <a:pt x="8" y="32"/>
                    <a:pt x="7" y="32"/>
                    <a:pt x="8" y="32"/>
                  </a:cubicBezTo>
                  <a:cubicBezTo>
                    <a:pt x="9" y="33"/>
                    <a:pt x="11" y="33"/>
                    <a:pt x="11" y="33"/>
                  </a:cubicBezTo>
                  <a:cubicBezTo>
                    <a:pt x="11" y="33"/>
                    <a:pt x="12" y="33"/>
                    <a:pt x="13" y="34"/>
                  </a:cubicBezTo>
                  <a:cubicBezTo>
                    <a:pt x="14" y="34"/>
                    <a:pt x="16" y="36"/>
                    <a:pt x="16" y="36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40"/>
                    <a:pt x="18" y="40"/>
                  </a:cubicBezTo>
                  <a:cubicBezTo>
                    <a:pt x="18" y="40"/>
                    <a:pt x="18" y="40"/>
                    <a:pt x="18" y="41"/>
                  </a:cubicBezTo>
                  <a:cubicBezTo>
                    <a:pt x="18" y="41"/>
                    <a:pt x="18" y="42"/>
                    <a:pt x="18" y="42"/>
                  </a:cubicBezTo>
                  <a:cubicBezTo>
                    <a:pt x="18" y="42"/>
                    <a:pt x="19" y="43"/>
                    <a:pt x="20" y="44"/>
                  </a:cubicBezTo>
                  <a:cubicBezTo>
                    <a:pt x="21" y="44"/>
                    <a:pt x="21" y="44"/>
                    <a:pt x="22" y="44"/>
                  </a:cubicBezTo>
                  <a:cubicBezTo>
                    <a:pt x="23" y="44"/>
                    <a:pt x="22" y="44"/>
                    <a:pt x="23" y="44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8" y="43"/>
                    <a:pt x="27" y="44"/>
                    <a:pt x="28" y="44"/>
                  </a:cubicBezTo>
                  <a:cubicBezTo>
                    <a:pt x="28" y="43"/>
                    <a:pt x="30" y="43"/>
                    <a:pt x="30" y="43"/>
                  </a:cubicBezTo>
                  <a:cubicBezTo>
                    <a:pt x="31" y="43"/>
                    <a:pt x="31" y="42"/>
                    <a:pt x="32" y="43"/>
                  </a:cubicBezTo>
                  <a:cubicBezTo>
                    <a:pt x="32" y="44"/>
                    <a:pt x="32" y="44"/>
                    <a:pt x="32" y="45"/>
                  </a:cubicBezTo>
                  <a:cubicBezTo>
                    <a:pt x="33" y="45"/>
                    <a:pt x="34" y="46"/>
                    <a:pt x="34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5"/>
                    <a:pt x="37" y="45"/>
                  </a:cubicBezTo>
                  <a:cubicBezTo>
                    <a:pt x="37" y="44"/>
                    <a:pt x="38" y="43"/>
                    <a:pt x="38" y="43"/>
                  </a:cubicBezTo>
                  <a:cubicBezTo>
                    <a:pt x="38" y="43"/>
                    <a:pt x="37" y="43"/>
                    <a:pt x="38" y="44"/>
                  </a:cubicBezTo>
                  <a:cubicBezTo>
                    <a:pt x="39" y="44"/>
                    <a:pt x="39" y="44"/>
                    <a:pt x="40" y="45"/>
                  </a:cubicBezTo>
                  <a:cubicBezTo>
                    <a:pt x="40" y="45"/>
                    <a:pt x="42" y="44"/>
                    <a:pt x="42" y="44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2" y="45"/>
                    <a:pt x="43" y="45"/>
                  </a:cubicBezTo>
                  <a:cubicBezTo>
                    <a:pt x="43" y="45"/>
                    <a:pt x="42" y="45"/>
                    <a:pt x="43" y="45"/>
                  </a:cubicBezTo>
                  <a:cubicBezTo>
                    <a:pt x="44" y="45"/>
                    <a:pt x="45" y="44"/>
                    <a:pt x="45" y="44"/>
                  </a:cubicBezTo>
                  <a:cubicBezTo>
                    <a:pt x="45" y="44"/>
                    <a:pt x="44" y="45"/>
                    <a:pt x="44" y="46"/>
                  </a:cubicBezTo>
                  <a:cubicBezTo>
                    <a:pt x="44" y="46"/>
                    <a:pt x="44" y="47"/>
                    <a:pt x="44" y="47"/>
                  </a:cubicBezTo>
                  <a:cubicBezTo>
                    <a:pt x="44" y="47"/>
                    <a:pt x="44" y="48"/>
                    <a:pt x="45" y="49"/>
                  </a:cubicBezTo>
                  <a:cubicBezTo>
                    <a:pt x="46" y="49"/>
                    <a:pt x="47" y="49"/>
                    <a:pt x="47" y="49"/>
                  </a:cubicBezTo>
                  <a:cubicBezTo>
                    <a:pt x="47" y="49"/>
                    <a:pt x="49" y="49"/>
                    <a:pt x="49" y="49"/>
                  </a:cubicBezTo>
                  <a:cubicBezTo>
                    <a:pt x="49" y="50"/>
                    <a:pt x="49" y="49"/>
                    <a:pt x="49" y="50"/>
                  </a:cubicBezTo>
                  <a:cubicBezTo>
                    <a:pt x="49" y="50"/>
                    <a:pt x="50" y="49"/>
                    <a:pt x="50" y="49"/>
                  </a:cubicBezTo>
                  <a:cubicBezTo>
                    <a:pt x="51" y="49"/>
                    <a:pt x="52" y="49"/>
                    <a:pt x="52" y="49"/>
                  </a:cubicBezTo>
                  <a:cubicBezTo>
                    <a:pt x="52" y="50"/>
                    <a:pt x="51" y="51"/>
                    <a:pt x="51" y="51"/>
                  </a:cubicBezTo>
                  <a:cubicBezTo>
                    <a:pt x="51" y="51"/>
                    <a:pt x="51" y="51"/>
                    <a:pt x="51" y="52"/>
                  </a:cubicBezTo>
                  <a:cubicBezTo>
                    <a:pt x="51" y="52"/>
                    <a:pt x="53" y="52"/>
                    <a:pt x="53" y="52"/>
                  </a:cubicBezTo>
                  <a:cubicBezTo>
                    <a:pt x="53" y="52"/>
                    <a:pt x="53" y="51"/>
                    <a:pt x="54" y="52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3"/>
                    <a:pt x="53" y="52"/>
                    <a:pt x="53" y="54"/>
                  </a:cubicBezTo>
                  <a:cubicBezTo>
                    <a:pt x="52" y="55"/>
                    <a:pt x="53" y="56"/>
                    <a:pt x="53" y="56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5" y="58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7" y="57"/>
                    <a:pt x="57" y="57"/>
                    <a:pt x="58" y="57"/>
                  </a:cubicBezTo>
                  <a:cubicBezTo>
                    <a:pt x="58" y="57"/>
                    <a:pt x="59" y="58"/>
                    <a:pt x="59" y="58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9"/>
                    <a:pt x="59" y="60"/>
                    <a:pt x="59" y="60"/>
                  </a:cubicBezTo>
                  <a:cubicBezTo>
                    <a:pt x="60" y="61"/>
                    <a:pt x="61" y="61"/>
                    <a:pt x="61" y="61"/>
                  </a:cubicBezTo>
                  <a:cubicBezTo>
                    <a:pt x="61" y="61"/>
                    <a:pt x="61" y="61"/>
                    <a:pt x="61" y="62"/>
                  </a:cubicBezTo>
                  <a:cubicBezTo>
                    <a:pt x="62" y="63"/>
                    <a:pt x="64" y="64"/>
                    <a:pt x="64" y="64"/>
                  </a:cubicBezTo>
                  <a:cubicBezTo>
                    <a:pt x="64" y="64"/>
                    <a:pt x="61" y="63"/>
                    <a:pt x="61" y="63"/>
                  </a:cubicBezTo>
                  <a:cubicBezTo>
                    <a:pt x="60" y="63"/>
                    <a:pt x="58" y="63"/>
                    <a:pt x="58" y="63"/>
                  </a:cubicBezTo>
                  <a:cubicBezTo>
                    <a:pt x="57" y="63"/>
                    <a:pt x="55" y="63"/>
                    <a:pt x="55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0" y="65"/>
                    <a:pt x="49" y="65"/>
                  </a:cubicBezTo>
                  <a:cubicBezTo>
                    <a:pt x="49" y="65"/>
                    <a:pt x="48" y="65"/>
                    <a:pt x="47" y="65"/>
                  </a:cubicBezTo>
                  <a:cubicBezTo>
                    <a:pt x="47" y="66"/>
                    <a:pt x="46" y="66"/>
                    <a:pt x="45" y="66"/>
                  </a:cubicBezTo>
                  <a:cubicBezTo>
                    <a:pt x="45" y="66"/>
                    <a:pt x="43" y="66"/>
                    <a:pt x="42" y="66"/>
                  </a:cubicBezTo>
                  <a:cubicBezTo>
                    <a:pt x="42" y="66"/>
                    <a:pt x="41" y="66"/>
                    <a:pt x="41" y="66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2" y="69"/>
                    <a:pt x="43" y="70"/>
                    <a:pt x="43" y="70"/>
                  </a:cubicBezTo>
                  <a:cubicBezTo>
                    <a:pt x="43" y="70"/>
                    <a:pt x="44" y="71"/>
                    <a:pt x="45" y="72"/>
                  </a:cubicBezTo>
                  <a:cubicBezTo>
                    <a:pt x="45" y="72"/>
                    <a:pt x="46" y="73"/>
                    <a:pt x="46" y="73"/>
                  </a:cubicBezTo>
                  <a:lnTo>
                    <a:pt x="48" y="74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4" name="Freeform 19"/>
            <p:cNvSpPr>
              <a:spLocks/>
            </p:cNvSpPr>
            <p:nvPr/>
          </p:nvSpPr>
          <p:spPr bwMode="auto">
            <a:xfrm>
              <a:off x="5322812" y="2251719"/>
              <a:ext cx="802584" cy="653101"/>
            </a:xfrm>
            <a:custGeom>
              <a:avLst/>
              <a:gdLst>
                <a:gd name="T0" fmla="*/ 194 w 352"/>
                <a:gd name="T1" fmla="*/ 16 h 295"/>
                <a:gd name="T2" fmla="*/ 260 w 352"/>
                <a:gd name="T3" fmla="*/ 5 h 295"/>
                <a:gd name="T4" fmla="*/ 289 w 352"/>
                <a:gd name="T5" fmla="*/ 13 h 295"/>
                <a:gd name="T6" fmla="*/ 314 w 352"/>
                <a:gd name="T7" fmla="*/ 60 h 295"/>
                <a:gd name="T8" fmla="*/ 314 w 352"/>
                <a:gd name="T9" fmla="*/ 90 h 295"/>
                <a:gd name="T10" fmla="*/ 303 w 352"/>
                <a:gd name="T11" fmla="*/ 114 h 295"/>
                <a:gd name="T12" fmla="*/ 318 w 352"/>
                <a:gd name="T13" fmla="*/ 139 h 295"/>
                <a:gd name="T14" fmla="*/ 326 w 352"/>
                <a:gd name="T15" fmla="*/ 158 h 295"/>
                <a:gd name="T16" fmla="*/ 344 w 352"/>
                <a:gd name="T17" fmla="*/ 175 h 295"/>
                <a:gd name="T18" fmla="*/ 346 w 352"/>
                <a:gd name="T19" fmla="*/ 189 h 295"/>
                <a:gd name="T20" fmla="*/ 344 w 352"/>
                <a:gd name="T21" fmla="*/ 210 h 295"/>
                <a:gd name="T22" fmla="*/ 327 w 352"/>
                <a:gd name="T23" fmla="*/ 235 h 295"/>
                <a:gd name="T24" fmla="*/ 317 w 352"/>
                <a:gd name="T25" fmla="*/ 269 h 295"/>
                <a:gd name="T26" fmla="*/ 322 w 352"/>
                <a:gd name="T27" fmla="*/ 280 h 295"/>
                <a:gd name="T28" fmla="*/ 315 w 352"/>
                <a:gd name="T29" fmla="*/ 285 h 295"/>
                <a:gd name="T30" fmla="*/ 309 w 352"/>
                <a:gd name="T31" fmla="*/ 283 h 295"/>
                <a:gd name="T32" fmla="*/ 302 w 352"/>
                <a:gd name="T33" fmla="*/ 282 h 295"/>
                <a:gd name="T34" fmla="*/ 296 w 352"/>
                <a:gd name="T35" fmla="*/ 280 h 295"/>
                <a:gd name="T36" fmla="*/ 290 w 352"/>
                <a:gd name="T37" fmla="*/ 275 h 295"/>
                <a:gd name="T38" fmla="*/ 283 w 352"/>
                <a:gd name="T39" fmla="*/ 272 h 295"/>
                <a:gd name="T40" fmla="*/ 276 w 352"/>
                <a:gd name="T41" fmla="*/ 271 h 295"/>
                <a:gd name="T42" fmla="*/ 267 w 352"/>
                <a:gd name="T43" fmla="*/ 273 h 295"/>
                <a:gd name="T44" fmla="*/ 262 w 352"/>
                <a:gd name="T45" fmla="*/ 275 h 295"/>
                <a:gd name="T46" fmla="*/ 256 w 352"/>
                <a:gd name="T47" fmla="*/ 279 h 295"/>
                <a:gd name="T48" fmla="*/ 250 w 352"/>
                <a:gd name="T49" fmla="*/ 282 h 295"/>
                <a:gd name="T50" fmla="*/ 245 w 352"/>
                <a:gd name="T51" fmla="*/ 277 h 295"/>
                <a:gd name="T52" fmla="*/ 240 w 352"/>
                <a:gd name="T53" fmla="*/ 280 h 295"/>
                <a:gd name="T54" fmla="*/ 235 w 352"/>
                <a:gd name="T55" fmla="*/ 281 h 295"/>
                <a:gd name="T56" fmla="*/ 230 w 352"/>
                <a:gd name="T57" fmla="*/ 284 h 295"/>
                <a:gd name="T58" fmla="*/ 225 w 352"/>
                <a:gd name="T59" fmla="*/ 289 h 295"/>
                <a:gd name="T60" fmla="*/ 223 w 352"/>
                <a:gd name="T61" fmla="*/ 294 h 295"/>
                <a:gd name="T62" fmla="*/ 216 w 352"/>
                <a:gd name="T63" fmla="*/ 295 h 295"/>
                <a:gd name="T64" fmla="*/ 215 w 352"/>
                <a:gd name="T65" fmla="*/ 288 h 295"/>
                <a:gd name="T66" fmla="*/ 207 w 352"/>
                <a:gd name="T67" fmla="*/ 283 h 295"/>
                <a:gd name="T68" fmla="*/ 195 w 352"/>
                <a:gd name="T69" fmla="*/ 279 h 295"/>
                <a:gd name="T70" fmla="*/ 185 w 352"/>
                <a:gd name="T71" fmla="*/ 289 h 295"/>
                <a:gd name="T72" fmla="*/ 181 w 352"/>
                <a:gd name="T73" fmla="*/ 283 h 295"/>
                <a:gd name="T74" fmla="*/ 169 w 352"/>
                <a:gd name="T75" fmla="*/ 270 h 295"/>
                <a:gd name="T76" fmla="*/ 147 w 352"/>
                <a:gd name="T77" fmla="*/ 262 h 295"/>
                <a:gd name="T78" fmla="*/ 137 w 352"/>
                <a:gd name="T79" fmla="*/ 251 h 295"/>
                <a:gd name="T80" fmla="*/ 117 w 352"/>
                <a:gd name="T81" fmla="*/ 244 h 295"/>
                <a:gd name="T82" fmla="*/ 106 w 352"/>
                <a:gd name="T83" fmla="*/ 255 h 295"/>
                <a:gd name="T84" fmla="*/ 92 w 352"/>
                <a:gd name="T85" fmla="*/ 252 h 295"/>
                <a:gd name="T86" fmla="*/ 87 w 352"/>
                <a:gd name="T87" fmla="*/ 241 h 295"/>
                <a:gd name="T88" fmla="*/ 77 w 352"/>
                <a:gd name="T89" fmla="*/ 236 h 295"/>
                <a:gd name="T90" fmla="*/ 66 w 352"/>
                <a:gd name="T91" fmla="*/ 231 h 295"/>
                <a:gd name="T92" fmla="*/ 51 w 352"/>
                <a:gd name="T93" fmla="*/ 226 h 295"/>
                <a:gd name="T94" fmla="*/ 40 w 352"/>
                <a:gd name="T95" fmla="*/ 222 h 295"/>
                <a:gd name="T96" fmla="*/ 38 w 352"/>
                <a:gd name="T97" fmla="*/ 218 h 295"/>
                <a:gd name="T98" fmla="*/ 35 w 352"/>
                <a:gd name="T99" fmla="*/ 198 h 295"/>
                <a:gd name="T100" fmla="*/ 28 w 352"/>
                <a:gd name="T101" fmla="*/ 184 h 295"/>
                <a:gd name="T102" fmla="*/ 24 w 352"/>
                <a:gd name="T103" fmla="*/ 164 h 295"/>
                <a:gd name="T104" fmla="*/ 20 w 352"/>
                <a:gd name="T105" fmla="*/ 139 h 295"/>
                <a:gd name="T106" fmla="*/ 4 w 352"/>
                <a:gd name="T107" fmla="*/ 113 h 295"/>
                <a:gd name="T108" fmla="*/ 4 w 352"/>
                <a:gd name="T109" fmla="*/ 80 h 295"/>
                <a:gd name="T110" fmla="*/ 6 w 352"/>
                <a:gd name="T111" fmla="*/ 63 h 295"/>
                <a:gd name="T112" fmla="*/ 45 w 352"/>
                <a:gd name="T113" fmla="*/ 45 h 295"/>
                <a:gd name="T114" fmla="*/ 64 w 352"/>
                <a:gd name="T115" fmla="*/ 32 h 295"/>
                <a:gd name="T116" fmla="*/ 89 w 352"/>
                <a:gd name="T117" fmla="*/ 12 h 295"/>
                <a:gd name="T118" fmla="*/ 121 w 352"/>
                <a:gd name="T119" fmla="*/ 2 h 295"/>
                <a:gd name="T120" fmla="*/ 132 w 352"/>
                <a:gd name="T121" fmla="*/ 14 h 295"/>
                <a:gd name="T122" fmla="*/ 151 w 352"/>
                <a:gd name="T123" fmla="*/ 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2" h="295">
                  <a:moveTo>
                    <a:pt x="155" y="23"/>
                  </a:moveTo>
                  <a:cubicBezTo>
                    <a:pt x="157" y="23"/>
                    <a:pt x="166" y="16"/>
                    <a:pt x="166" y="16"/>
                  </a:cubicBezTo>
                  <a:cubicBezTo>
                    <a:pt x="166" y="16"/>
                    <a:pt x="171" y="18"/>
                    <a:pt x="174" y="17"/>
                  </a:cubicBezTo>
                  <a:cubicBezTo>
                    <a:pt x="177" y="17"/>
                    <a:pt x="187" y="16"/>
                    <a:pt x="187" y="16"/>
                  </a:cubicBezTo>
                  <a:cubicBezTo>
                    <a:pt x="187" y="16"/>
                    <a:pt x="192" y="16"/>
                    <a:pt x="194" y="16"/>
                  </a:cubicBezTo>
                  <a:cubicBezTo>
                    <a:pt x="196" y="16"/>
                    <a:pt x="205" y="15"/>
                    <a:pt x="207" y="15"/>
                  </a:cubicBezTo>
                  <a:cubicBezTo>
                    <a:pt x="209" y="15"/>
                    <a:pt x="215" y="14"/>
                    <a:pt x="216" y="13"/>
                  </a:cubicBezTo>
                  <a:cubicBezTo>
                    <a:pt x="218" y="13"/>
                    <a:pt x="230" y="12"/>
                    <a:pt x="231" y="12"/>
                  </a:cubicBezTo>
                  <a:cubicBezTo>
                    <a:pt x="233" y="12"/>
                    <a:pt x="252" y="10"/>
                    <a:pt x="252" y="10"/>
                  </a:cubicBezTo>
                  <a:cubicBezTo>
                    <a:pt x="260" y="5"/>
                    <a:pt x="260" y="5"/>
                    <a:pt x="260" y="5"/>
                  </a:cubicBezTo>
                  <a:cubicBezTo>
                    <a:pt x="269" y="3"/>
                    <a:pt x="269" y="3"/>
                    <a:pt x="269" y="3"/>
                  </a:cubicBezTo>
                  <a:cubicBezTo>
                    <a:pt x="269" y="3"/>
                    <a:pt x="272" y="0"/>
                    <a:pt x="272" y="1"/>
                  </a:cubicBezTo>
                  <a:cubicBezTo>
                    <a:pt x="273" y="3"/>
                    <a:pt x="275" y="6"/>
                    <a:pt x="275" y="6"/>
                  </a:cubicBezTo>
                  <a:cubicBezTo>
                    <a:pt x="275" y="6"/>
                    <a:pt x="286" y="6"/>
                    <a:pt x="286" y="6"/>
                  </a:cubicBezTo>
                  <a:cubicBezTo>
                    <a:pt x="286" y="7"/>
                    <a:pt x="289" y="13"/>
                    <a:pt x="289" y="13"/>
                  </a:cubicBezTo>
                  <a:cubicBezTo>
                    <a:pt x="292" y="16"/>
                    <a:pt x="292" y="16"/>
                    <a:pt x="292" y="16"/>
                  </a:cubicBezTo>
                  <a:cubicBezTo>
                    <a:pt x="292" y="16"/>
                    <a:pt x="293" y="21"/>
                    <a:pt x="293" y="24"/>
                  </a:cubicBezTo>
                  <a:cubicBezTo>
                    <a:pt x="294" y="26"/>
                    <a:pt x="301" y="38"/>
                    <a:pt x="301" y="38"/>
                  </a:cubicBezTo>
                  <a:cubicBezTo>
                    <a:pt x="306" y="49"/>
                    <a:pt x="306" y="49"/>
                    <a:pt x="306" y="49"/>
                  </a:cubicBezTo>
                  <a:cubicBezTo>
                    <a:pt x="314" y="60"/>
                    <a:pt x="314" y="60"/>
                    <a:pt x="314" y="60"/>
                  </a:cubicBezTo>
                  <a:cubicBezTo>
                    <a:pt x="315" y="68"/>
                    <a:pt x="315" y="68"/>
                    <a:pt x="315" y="68"/>
                  </a:cubicBezTo>
                  <a:cubicBezTo>
                    <a:pt x="315" y="68"/>
                    <a:pt x="318" y="71"/>
                    <a:pt x="318" y="73"/>
                  </a:cubicBezTo>
                  <a:cubicBezTo>
                    <a:pt x="318" y="74"/>
                    <a:pt x="318" y="77"/>
                    <a:pt x="318" y="78"/>
                  </a:cubicBezTo>
                  <a:cubicBezTo>
                    <a:pt x="319" y="78"/>
                    <a:pt x="320" y="83"/>
                    <a:pt x="319" y="83"/>
                  </a:cubicBezTo>
                  <a:cubicBezTo>
                    <a:pt x="318" y="84"/>
                    <a:pt x="314" y="90"/>
                    <a:pt x="314" y="90"/>
                  </a:cubicBezTo>
                  <a:cubicBezTo>
                    <a:pt x="310" y="92"/>
                    <a:pt x="310" y="92"/>
                    <a:pt x="310" y="92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1" y="111"/>
                    <a:pt x="301" y="111"/>
                    <a:pt x="301" y="111"/>
                  </a:cubicBezTo>
                  <a:cubicBezTo>
                    <a:pt x="301" y="111"/>
                    <a:pt x="302" y="114"/>
                    <a:pt x="303" y="114"/>
                  </a:cubicBezTo>
                  <a:cubicBezTo>
                    <a:pt x="305" y="114"/>
                    <a:pt x="312" y="115"/>
                    <a:pt x="312" y="115"/>
                  </a:cubicBezTo>
                  <a:cubicBezTo>
                    <a:pt x="318" y="119"/>
                    <a:pt x="318" y="119"/>
                    <a:pt x="318" y="119"/>
                  </a:cubicBezTo>
                  <a:cubicBezTo>
                    <a:pt x="318" y="123"/>
                    <a:pt x="318" y="123"/>
                    <a:pt x="318" y="123"/>
                  </a:cubicBezTo>
                  <a:cubicBezTo>
                    <a:pt x="318" y="123"/>
                    <a:pt x="319" y="131"/>
                    <a:pt x="319" y="132"/>
                  </a:cubicBezTo>
                  <a:cubicBezTo>
                    <a:pt x="319" y="132"/>
                    <a:pt x="318" y="139"/>
                    <a:pt x="318" y="139"/>
                  </a:cubicBezTo>
                  <a:cubicBezTo>
                    <a:pt x="318" y="139"/>
                    <a:pt x="320" y="143"/>
                    <a:pt x="320" y="144"/>
                  </a:cubicBezTo>
                  <a:cubicBezTo>
                    <a:pt x="321" y="145"/>
                    <a:pt x="323" y="147"/>
                    <a:pt x="323" y="148"/>
                  </a:cubicBezTo>
                  <a:cubicBezTo>
                    <a:pt x="324" y="148"/>
                    <a:pt x="324" y="149"/>
                    <a:pt x="324" y="149"/>
                  </a:cubicBezTo>
                  <a:cubicBezTo>
                    <a:pt x="326" y="154"/>
                    <a:pt x="326" y="154"/>
                    <a:pt x="326" y="154"/>
                  </a:cubicBezTo>
                  <a:cubicBezTo>
                    <a:pt x="326" y="158"/>
                    <a:pt x="326" y="158"/>
                    <a:pt x="326" y="158"/>
                  </a:cubicBezTo>
                  <a:cubicBezTo>
                    <a:pt x="326" y="158"/>
                    <a:pt x="326" y="161"/>
                    <a:pt x="328" y="161"/>
                  </a:cubicBezTo>
                  <a:cubicBezTo>
                    <a:pt x="330" y="161"/>
                    <a:pt x="331" y="162"/>
                    <a:pt x="331" y="164"/>
                  </a:cubicBezTo>
                  <a:cubicBezTo>
                    <a:pt x="331" y="166"/>
                    <a:pt x="336" y="168"/>
                    <a:pt x="336" y="168"/>
                  </a:cubicBezTo>
                  <a:cubicBezTo>
                    <a:pt x="336" y="168"/>
                    <a:pt x="336" y="172"/>
                    <a:pt x="337" y="173"/>
                  </a:cubicBezTo>
                  <a:cubicBezTo>
                    <a:pt x="339" y="174"/>
                    <a:pt x="341" y="175"/>
                    <a:pt x="344" y="175"/>
                  </a:cubicBezTo>
                  <a:cubicBezTo>
                    <a:pt x="347" y="176"/>
                    <a:pt x="346" y="180"/>
                    <a:pt x="348" y="181"/>
                  </a:cubicBezTo>
                  <a:cubicBezTo>
                    <a:pt x="350" y="182"/>
                    <a:pt x="352" y="184"/>
                    <a:pt x="350" y="184"/>
                  </a:cubicBezTo>
                  <a:cubicBezTo>
                    <a:pt x="349" y="185"/>
                    <a:pt x="346" y="185"/>
                    <a:pt x="346" y="185"/>
                  </a:cubicBezTo>
                  <a:cubicBezTo>
                    <a:pt x="346" y="185"/>
                    <a:pt x="345" y="186"/>
                    <a:pt x="345" y="188"/>
                  </a:cubicBezTo>
                  <a:cubicBezTo>
                    <a:pt x="346" y="189"/>
                    <a:pt x="346" y="189"/>
                    <a:pt x="346" y="189"/>
                  </a:cubicBezTo>
                  <a:cubicBezTo>
                    <a:pt x="350" y="194"/>
                    <a:pt x="350" y="194"/>
                    <a:pt x="350" y="194"/>
                  </a:cubicBezTo>
                  <a:cubicBezTo>
                    <a:pt x="350" y="200"/>
                    <a:pt x="350" y="200"/>
                    <a:pt x="350" y="200"/>
                  </a:cubicBezTo>
                  <a:cubicBezTo>
                    <a:pt x="350" y="200"/>
                    <a:pt x="350" y="202"/>
                    <a:pt x="350" y="204"/>
                  </a:cubicBezTo>
                  <a:cubicBezTo>
                    <a:pt x="350" y="205"/>
                    <a:pt x="349" y="207"/>
                    <a:pt x="347" y="207"/>
                  </a:cubicBezTo>
                  <a:cubicBezTo>
                    <a:pt x="345" y="207"/>
                    <a:pt x="345" y="210"/>
                    <a:pt x="344" y="210"/>
                  </a:cubicBezTo>
                  <a:cubicBezTo>
                    <a:pt x="343" y="211"/>
                    <a:pt x="341" y="208"/>
                    <a:pt x="340" y="211"/>
                  </a:cubicBezTo>
                  <a:cubicBezTo>
                    <a:pt x="339" y="215"/>
                    <a:pt x="337" y="218"/>
                    <a:pt x="337" y="219"/>
                  </a:cubicBezTo>
                  <a:cubicBezTo>
                    <a:pt x="336" y="220"/>
                    <a:pt x="333" y="221"/>
                    <a:pt x="333" y="223"/>
                  </a:cubicBezTo>
                  <a:cubicBezTo>
                    <a:pt x="332" y="225"/>
                    <a:pt x="332" y="223"/>
                    <a:pt x="330" y="228"/>
                  </a:cubicBezTo>
                  <a:cubicBezTo>
                    <a:pt x="328" y="233"/>
                    <a:pt x="327" y="235"/>
                    <a:pt x="327" y="235"/>
                  </a:cubicBezTo>
                  <a:cubicBezTo>
                    <a:pt x="318" y="247"/>
                    <a:pt x="318" y="247"/>
                    <a:pt x="318" y="247"/>
                  </a:cubicBezTo>
                  <a:cubicBezTo>
                    <a:pt x="318" y="247"/>
                    <a:pt x="313" y="255"/>
                    <a:pt x="313" y="256"/>
                  </a:cubicBezTo>
                  <a:cubicBezTo>
                    <a:pt x="313" y="257"/>
                    <a:pt x="313" y="261"/>
                    <a:pt x="313" y="261"/>
                  </a:cubicBezTo>
                  <a:cubicBezTo>
                    <a:pt x="317" y="265"/>
                    <a:pt x="317" y="265"/>
                    <a:pt x="317" y="265"/>
                  </a:cubicBezTo>
                  <a:cubicBezTo>
                    <a:pt x="317" y="269"/>
                    <a:pt x="317" y="269"/>
                    <a:pt x="317" y="269"/>
                  </a:cubicBezTo>
                  <a:cubicBezTo>
                    <a:pt x="317" y="269"/>
                    <a:pt x="317" y="272"/>
                    <a:pt x="318" y="273"/>
                  </a:cubicBezTo>
                  <a:cubicBezTo>
                    <a:pt x="319" y="273"/>
                    <a:pt x="319" y="273"/>
                    <a:pt x="319" y="273"/>
                  </a:cubicBezTo>
                  <a:cubicBezTo>
                    <a:pt x="318" y="276"/>
                    <a:pt x="318" y="276"/>
                    <a:pt x="318" y="276"/>
                  </a:cubicBezTo>
                  <a:cubicBezTo>
                    <a:pt x="318" y="276"/>
                    <a:pt x="319" y="279"/>
                    <a:pt x="320" y="279"/>
                  </a:cubicBezTo>
                  <a:cubicBezTo>
                    <a:pt x="320" y="279"/>
                    <a:pt x="322" y="280"/>
                    <a:pt x="322" y="280"/>
                  </a:cubicBezTo>
                  <a:cubicBezTo>
                    <a:pt x="322" y="280"/>
                    <a:pt x="324" y="282"/>
                    <a:pt x="324" y="282"/>
                  </a:cubicBezTo>
                  <a:cubicBezTo>
                    <a:pt x="325" y="283"/>
                    <a:pt x="324" y="285"/>
                    <a:pt x="324" y="285"/>
                  </a:cubicBezTo>
                  <a:cubicBezTo>
                    <a:pt x="324" y="285"/>
                    <a:pt x="324" y="286"/>
                    <a:pt x="323" y="286"/>
                  </a:cubicBezTo>
                  <a:cubicBezTo>
                    <a:pt x="322" y="286"/>
                    <a:pt x="322" y="286"/>
                    <a:pt x="320" y="286"/>
                  </a:cubicBezTo>
                  <a:cubicBezTo>
                    <a:pt x="319" y="285"/>
                    <a:pt x="316" y="285"/>
                    <a:pt x="315" y="285"/>
                  </a:cubicBezTo>
                  <a:cubicBezTo>
                    <a:pt x="314" y="285"/>
                    <a:pt x="314" y="285"/>
                    <a:pt x="314" y="285"/>
                  </a:cubicBezTo>
                  <a:cubicBezTo>
                    <a:pt x="313" y="285"/>
                    <a:pt x="313" y="285"/>
                    <a:pt x="312" y="286"/>
                  </a:cubicBezTo>
                  <a:cubicBezTo>
                    <a:pt x="312" y="285"/>
                    <a:pt x="312" y="285"/>
                    <a:pt x="312" y="285"/>
                  </a:cubicBezTo>
                  <a:cubicBezTo>
                    <a:pt x="312" y="284"/>
                    <a:pt x="312" y="283"/>
                    <a:pt x="312" y="283"/>
                  </a:cubicBezTo>
                  <a:cubicBezTo>
                    <a:pt x="312" y="283"/>
                    <a:pt x="309" y="283"/>
                    <a:pt x="309" y="283"/>
                  </a:cubicBezTo>
                  <a:cubicBezTo>
                    <a:pt x="308" y="283"/>
                    <a:pt x="307" y="283"/>
                    <a:pt x="307" y="283"/>
                  </a:cubicBezTo>
                  <a:cubicBezTo>
                    <a:pt x="307" y="283"/>
                    <a:pt x="305" y="282"/>
                    <a:pt x="305" y="282"/>
                  </a:cubicBezTo>
                  <a:cubicBezTo>
                    <a:pt x="305" y="282"/>
                    <a:pt x="304" y="282"/>
                    <a:pt x="304" y="282"/>
                  </a:cubicBezTo>
                  <a:cubicBezTo>
                    <a:pt x="304" y="281"/>
                    <a:pt x="303" y="282"/>
                    <a:pt x="303" y="282"/>
                  </a:cubicBezTo>
                  <a:cubicBezTo>
                    <a:pt x="302" y="282"/>
                    <a:pt x="302" y="282"/>
                    <a:pt x="302" y="282"/>
                  </a:cubicBezTo>
                  <a:cubicBezTo>
                    <a:pt x="300" y="282"/>
                    <a:pt x="300" y="282"/>
                    <a:pt x="300" y="282"/>
                  </a:cubicBezTo>
                  <a:cubicBezTo>
                    <a:pt x="300" y="282"/>
                    <a:pt x="300" y="281"/>
                    <a:pt x="300" y="281"/>
                  </a:cubicBezTo>
                  <a:cubicBezTo>
                    <a:pt x="300" y="280"/>
                    <a:pt x="299" y="281"/>
                    <a:pt x="299" y="281"/>
                  </a:cubicBezTo>
                  <a:cubicBezTo>
                    <a:pt x="299" y="281"/>
                    <a:pt x="297" y="281"/>
                    <a:pt x="297" y="281"/>
                  </a:cubicBezTo>
                  <a:cubicBezTo>
                    <a:pt x="297" y="280"/>
                    <a:pt x="296" y="280"/>
                    <a:pt x="296" y="280"/>
                  </a:cubicBezTo>
                  <a:cubicBezTo>
                    <a:pt x="296" y="280"/>
                    <a:pt x="293" y="280"/>
                    <a:pt x="292" y="280"/>
                  </a:cubicBezTo>
                  <a:cubicBezTo>
                    <a:pt x="292" y="279"/>
                    <a:pt x="292" y="279"/>
                    <a:pt x="292" y="279"/>
                  </a:cubicBezTo>
                  <a:cubicBezTo>
                    <a:pt x="292" y="279"/>
                    <a:pt x="292" y="278"/>
                    <a:pt x="292" y="277"/>
                  </a:cubicBezTo>
                  <a:cubicBezTo>
                    <a:pt x="292" y="277"/>
                    <a:pt x="291" y="277"/>
                    <a:pt x="291" y="276"/>
                  </a:cubicBezTo>
                  <a:cubicBezTo>
                    <a:pt x="291" y="276"/>
                    <a:pt x="290" y="275"/>
                    <a:pt x="290" y="275"/>
                  </a:cubicBezTo>
                  <a:cubicBezTo>
                    <a:pt x="290" y="274"/>
                    <a:pt x="289" y="274"/>
                    <a:pt x="289" y="273"/>
                  </a:cubicBezTo>
                  <a:cubicBezTo>
                    <a:pt x="289" y="273"/>
                    <a:pt x="288" y="274"/>
                    <a:pt x="288" y="274"/>
                  </a:cubicBezTo>
                  <a:cubicBezTo>
                    <a:pt x="287" y="274"/>
                    <a:pt x="286" y="273"/>
                    <a:pt x="286" y="273"/>
                  </a:cubicBezTo>
                  <a:cubicBezTo>
                    <a:pt x="285" y="272"/>
                    <a:pt x="285" y="272"/>
                    <a:pt x="285" y="272"/>
                  </a:cubicBezTo>
                  <a:cubicBezTo>
                    <a:pt x="285" y="272"/>
                    <a:pt x="284" y="272"/>
                    <a:pt x="283" y="272"/>
                  </a:cubicBezTo>
                  <a:cubicBezTo>
                    <a:pt x="283" y="272"/>
                    <a:pt x="283" y="274"/>
                    <a:pt x="283" y="274"/>
                  </a:cubicBezTo>
                  <a:cubicBezTo>
                    <a:pt x="283" y="274"/>
                    <a:pt x="282" y="274"/>
                    <a:pt x="281" y="273"/>
                  </a:cubicBezTo>
                  <a:cubicBezTo>
                    <a:pt x="281" y="273"/>
                    <a:pt x="280" y="272"/>
                    <a:pt x="279" y="272"/>
                  </a:cubicBezTo>
                  <a:cubicBezTo>
                    <a:pt x="279" y="272"/>
                    <a:pt x="278" y="272"/>
                    <a:pt x="277" y="271"/>
                  </a:cubicBezTo>
                  <a:cubicBezTo>
                    <a:pt x="277" y="271"/>
                    <a:pt x="276" y="271"/>
                    <a:pt x="276" y="271"/>
                  </a:cubicBezTo>
                  <a:cubicBezTo>
                    <a:pt x="276" y="271"/>
                    <a:pt x="272" y="272"/>
                    <a:pt x="272" y="272"/>
                  </a:cubicBezTo>
                  <a:cubicBezTo>
                    <a:pt x="272" y="272"/>
                    <a:pt x="272" y="273"/>
                    <a:pt x="271" y="273"/>
                  </a:cubicBezTo>
                  <a:cubicBezTo>
                    <a:pt x="271" y="274"/>
                    <a:pt x="270" y="273"/>
                    <a:pt x="270" y="273"/>
                  </a:cubicBezTo>
                  <a:cubicBezTo>
                    <a:pt x="270" y="273"/>
                    <a:pt x="269" y="273"/>
                    <a:pt x="268" y="273"/>
                  </a:cubicBezTo>
                  <a:cubicBezTo>
                    <a:pt x="268" y="273"/>
                    <a:pt x="267" y="273"/>
                    <a:pt x="267" y="273"/>
                  </a:cubicBezTo>
                  <a:cubicBezTo>
                    <a:pt x="267" y="273"/>
                    <a:pt x="266" y="272"/>
                    <a:pt x="265" y="272"/>
                  </a:cubicBezTo>
                  <a:cubicBezTo>
                    <a:pt x="265" y="272"/>
                    <a:pt x="264" y="272"/>
                    <a:pt x="264" y="272"/>
                  </a:cubicBezTo>
                  <a:cubicBezTo>
                    <a:pt x="264" y="272"/>
                    <a:pt x="263" y="273"/>
                    <a:pt x="263" y="273"/>
                  </a:cubicBezTo>
                  <a:cubicBezTo>
                    <a:pt x="262" y="274"/>
                    <a:pt x="262" y="274"/>
                    <a:pt x="262" y="274"/>
                  </a:cubicBezTo>
                  <a:cubicBezTo>
                    <a:pt x="262" y="275"/>
                    <a:pt x="262" y="275"/>
                    <a:pt x="262" y="275"/>
                  </a:cubicBezTo>
                  <a:cubicBezTo>
                    <a:pt x="260" y="274"/>
                    <a:pt x="260" y="274"/>
                    <a:pt x="260" y="274"/>
                  </a:cubicBezTo>
                  <a:cubicBezTo>
                    <a:pt x="260" y="274"/>
                    <a:pt x="259" y="274"/>
                    <a:pt x="258" y="274"/>
                  </a:cubicBezTo>
                  <a:cubicBezTo>
                    <a:pt x="256" y="275"/>
                    <a:pt x="257" y="276"/>
                    <a:pt x="257" y="276"/>
                  </a:cubicBezTo>
                  <a:cubicBezTo>
                    <a:pt x="258" y="276"/>
                    <a:pt x="259" y="278"/>
                    <a:pt x="259" y="278"/>
                  </a:cubicBezTo>
                  <a:cubicBezTo>
                    <a:pt x="259" y="278"/>
                    <a:pt x="256" y="279"/>
                    <a:pt x="256" y="279"/>
                  </a:cubicBezTo>
                  <a:cubicBezTo>
                    <a:pt x="255" y="280"/>
                    <a:pt x="255" y="280"/>
                    <a:pt x="255" y="281"/>
                  </a:cubicBezTo>
                  <a:cubicBezTo>
                    <a:pt x="255" y="281"/>
                    <a:pt x="254" y="282"/>
                    <a:pt x="254" y="283"/>
                  </a:cubicBezTo>
                  <a:cubicBezTo>
                    <a:pt x="254" y="283"/>
                    <a:pt x="253" y="282"/>
                    <a:pt x="252" y="282"/>
                  </a:cubicBezTo>
                  <a:cubicBezTo>
                    <a:pt x="251" y="282"/>
                    <a:pt x="251" y="281"/>
                    <a:pt x="251" y="281"/>
                  </a:cubicBezTo>
                  <a:cubicBezTo>
                    <a:pt x="250" y="282"/>
                    <a:pt x="250" y="282"/>
                    <a:pt x="250" y="282"/>
                  </a:cubicBezTo>
                  <a:cubicBezTo>
                    <a:pt x="249" y="282"/>
                    <a:pt x="249" y="282"/>
                    <a:pt x="249" y="282"/>
                  </a:cubicBezTo>
                  <a:cubicBezTo>
                    <a:pt x="249" y="282"/>
                    <a:pt x="248" y="281"/>
                    <a:pt x="248" y="280"/>
                  </a:cubicBezTo>
                  <a:cubicBezTo>
                    <a:pt x="248" y="280"/>
                    <a:pt x="248" y="280"/>
                    <a:pt x="248" y="280"/>
                  </a:cubicBezTo>
                  <a:cubicBezTo>
                    <a:pt x="247" y="280"/>
                    <a:pt x="246" y="280"/>
                    <a:pt x="246" y="279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45" y="277"/>
                    <a:pt x="243" y="278"/>
                    <a:pt x="243" y="279"/>
                  </a:cubicBezTo>
                  <a:cubicBezTo>
                    <a:pt x="242" y="279"/>
                    <a:pt x="243" y="279"/>
                    <a:pt x="242" y="278"/>
                  </a:cubicBezTo>
                  <a:cubicBezTo>
                    <a:pt x="241" y="278"/>
                    <a:pt x="241" y="279"/>
                    <a:pt x="241" y="279"/>
                  </a:cubicBezTo>
                  <a:cubicBezTo>
                    <a:pt x="241" y="279"/>
                    <a:pt x="241" y="279"/>
                    <a:pt x="241" y="279"/>
                  </a:cubicBezTo>
                  <a:cubicBezTo>
                    <a:pt x="241" y="280"/>
                    <a:pt x="240" y="280"/>
                    <a:pt x="240" y="280"/>
                  </a:cubicBezTo>
                  <a:cubicBezTo>
                    <a:pt x="240" y="281"/>
                    <a:pt x="239" y="280"/>
                    <a:pt x="239" y="280"/>
                  </a:cubicBezTo>
                  <a:cubicBezTo>
                    <a:pt x="238" y="280"/>
                    <a:pt x="237" y="280"/>
                    <a:pt x="237" y="280"/>
                  </a:cubicBezTo>
                  <a:cubicBezTo>
                    <a:pt x="237" y="280"/>
                    <a:pt x="237" y="279"/>
                    <a:pt x="237" y="279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5" y="280"/>
                    <a:pt x="235" y="281"/>
                    <a:pt x="235" y="281"/>
                  </a:cubicBezTo>
                  <a:cubicBezTo>
                    <a:pt x="235" y="281"/>
                    <a:pt x="234" y="281"/>
                    <a:pt x="233" y="282"/>
                  </a:cubicBezTo>
                  <a:cubicBezTo>
                    <a:pt x="231" y="282"/>
                    <a:pt x="232" y="281"/>
                    <a:pt x="231" y="282"/>
                  </a:cubicBezTo>
                  <a:cubicBezTo>
                    <a:pt x="231" y="282"/>
                    <a:pt x="231" y="282"/>
                    <a:pt x="231" y="283"/>
                  </a:cubicBezTo>
                  <a:cubicBezTo>
                    <a:pt x="231" y="283"/>
                    <a:pt x="232" y="283"/>
                    <a:pt x="231" y="284"/>
                  </a:cubicBezTo>
                  <a:cubicBezTo>
                    <a:pt x="230" y="285"/>
                    <a:pt x="230" y="284"/>
                    <a:pt x="230" y="284"/>
                  </a:cubicBezTo>
                  <a:cubicBezTo>
                    <a:pt x="229" y="284"/>
                    <a:pt x="228" y="285"/>
                    <a:pt x="228" y="285"/>
                  </a:cubicBezTo>
                  <a:cubicBezTo>
                    <a:pt x="228" y="285"/>
                    <a:pt x="228" y="286"/>
                    <a:pt x="228" y="286"/>
                  </a:cubicBezTo>
                  <a:cubicBezTo>
                    <a:pt x="228" y="286"/>
                    <a:pt x="227" y="286"/>
                    <a:pt x="226" y="286"/>
                  </a:cubicBezTo>
                  <a:cubicBezTo>
                    <a:pt x="225" y="286"/>
                    <a:pt x="226" y="287"/>
                    <a:pt x="226" y="287"/>
                  </a:cubicBezTo>
                  <a:cubicBezTo>
                    <a:pt x="226" y="287"/>
                    <a:pt x="226" y="288"/>
                    <a:pt x="225" y="289"/>
                  </a:cubicBezTo>
                  <a:cubicBezTo>
                    <a:pt x="225" y="289"/>
                    <a:pt x="225" y="290"/>
                    <a:pt x="225" y="291"/>
                  </a:cubicBezTo>
                  <a:cubicBezTo>
                    <a:pt x="225" y="291"/>
                    <a:pt x="225" y="291"/>
                    <a:pt x="225" y="293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5" y="294"/>
                    <a:pt x="224" y="294"/>
                    <a:pt x="224" y="294"/>
                  </a:cubicBezTo>
                  <a:cubicBezTo>
                    <a:pt x="224" y="293"/>
                    <a:pt x="223" y="294"/>
                    <a:pt x="223" y="294"/>
                  </a:cubicBezTo>
                  <a:cubicBezTo>
                    <a:pt x="223" y="294"/>
                    <a:pt x="222" y="293"/>
                    <a:pt x="222" y="292"/>
                  </a:cubicBezTo>
                  <a:cubicBezTo>
                    <a:pt x="222" y="292"/>
                    <a:pt x="221" y="292"/>
                    <a:pt x="221" y="292"/>
                  </a:cubicBezTo>
                  <a:cubicBezTo>
                    <a:pt x="221" y="292"/>
                    <a:pt x="219" y="293"/>
                    <a:pt x="219" y="293"/>
                  </a:cubicBezTo>
                  <a:cubicBezTo>
                    <a:pt x="219" y="293"/>
                    <a:pt x="219" y="294"/>
                    <a:pt x="219" y="294"/>
                  </a:cubicBezTo>
                  <a:cubicBezTo>
                    <a:pt x="218" y="294"/>
                    <a:pt x="216" y="295"/>
                    <a:pt x="216" y="295"/>
                  </a:cubicBezTo>
                  <a:cubicBezTo>
                    <a:pt x="216" y="295"/>
                    <a:pt x="215" y="295"/>
                    <a:pt x="215" y="295"/>
                  </a:cubicBezTo>
                  <a:cubicBezTo>
                    <a:pt x="214" y="294"/>
                    <a:pt x="214" y="294"/>
                    <a:pt x="214" y="294"/>
                  </a:cubicBezTo>
                  <a:cubicBezTo>
                    <a:pt x="214" y="293"/>
                    <a:pt x="214" y="293"/>
                    <a:pt x="214" y="293"/>
                  </a:cubicBezTo>
                  <a:cubicBezTo>
                    <a:pt x="216" y="291"/>
                    <a:pt x="216" y="291"/>
                    <a:pt x="216" y="291"/>
                  </a:cubicBezTo>
                  <a:cubicBezTo>
                    <a:pt x="215" y="288"/>
                    <a:pt x="215" y="288"/>
                    <a:pt x="215" y="288"/>
                  </a:cubicBezTo>
                  <a:cubicBezTo>
                    <a:pt x="213" y="286"/>
                    <a:pt x="213" y="286"/>
                    <a:pt x="213" y="286"/>
                  </a:cubicBezTo>
                  <a:cubicBezTo>
                    <a:pt x="213" y="285"/>
                    <a:pt x="213" y="285"/>
                    <a:pt x="213" y="285"/>
                  </a:cubicBezTo>
                  <a:cubicBezTo>
                    <a:pt x="210" y="285"/>
                    <a:pt x="210" y="285"/>
                    <a:pt x="210" y="285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07" y="283"/>
                    <a:pt x="207" y="283"/>
                    <a:pt x="207" y="283"/>
                  </a:cubicBezTo>
                  <a:cubicBezTo>
                    <a:pt x="204" y="281"/>
                    <a:pt x="204" y="281"/>
                    <a:pt x="204" y="281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9" y="275"/>
                    <a:pt x="197" y="277"/>
                    <a:pt x="197" y="278"/>
                  </a:cubicBezTo>
                  <a:cubicBezTo>
                    <a:pt x="197" y="279"/>
                    <a:pt x="195" y="279"/>
                    <a:pt x="195" y="279"/>
                  </a:cubicBezTo>
                  <a:cubicBezTo>
                    <a:pt x="193" y="282"/>
                    <a:pt x="193" y="282"/>
                    <a:pt x="193" y="282"/>
                  </a:cubicBezTo>
                  <a:cubicBezTo>
                    <a:pt x="193" y="282"/>
                    <a:pt x="193" y="286"/>
                    <a:pt x="193" y="287"/>
                  </a:cubicBezTo>
                  <a:cubicBezTo>
                    <a:pt x="193" y="288"/>
                    <a:pt x="191" y="286"/>
                    <a:pt x="191" y="286"/>
                  </a:cubicBezTo>
                  <a:cubicBezTo>
                    <a:pt x="191" y="286"/>
                    <a:pt x="189" y="287"/>
                    <a:pt x="188" y="288"/>
                  </a:cubicBezTo>
                  <a:cubicBezTo>
                    <a:pt x="187" y="289"/>
                    <a:pt x="185" y="289"/>
                    <a:pt x="185" y="289"/>
                  </a:cubicBezTo>
                  <a:cubicBezTo>
                    <a:pt x="185" y="289"/>
                    <a:pt x="184" y="287"/>
                    <a:pt x="183" y="286"/>
                  </a:cubicBezTo>
                  <a:cubicBezTo>
                    <a:pt x="183" y="286"/>
                    <a:pt x="183" y="285"/>
                    <a:pt x="183" y="283"/>
                  </a:cubicBezTo>
                  <a:cubicBezTo>
                    <a:pt x="183" y="282"/>
                    <a:pt x="181" y="284"/>
                    <a:pt x="181" y="284"/>
                  </a:cubicBezTo>
                  <a:cubicBezTo>
                    <a:pt x="181" y="284"/>
                    <a:pt x="181" y="284"/>
                    <a:pt x="181" y="284"/>
                  </a:cubicBezTo>
                  <a:cubicBezTo>
                    <a:pt x="181" y="283"/>
                    <a:pt x="181" y="283"/>
                    <a:pt x="181" y="283"/>
                  </a:cubicBezTo>
                  <a:cubicBezTo>
                    <a:pt x="180" y="281"/>
                    <a:pt x="179" y="280"/>
                    <a:pt x="179" y="280"/>
                  </a:cubicBezTo>
                  <a:cubicBezTo>
                    <a:pt x="179" y="280"/>
                    <a:pt x="178" y="278"/>
                    <a:pt x="178" y="276"/>
                  </a:cubicBezTo>
                  <a:cubicBezTo>
                    <a:pt x="178" y="275"/>
                    <a:pt x="174" y="273"/>
                    <a:pt x="174" y="273"/>
                  </a:cubicBezTo>
                  <a:cubicBezTo>
                    <a:pt x="174" y="273"/>
                    <a:pt x="175" y="275"/>
                    <a:pt x="173" y="273"/>
                  </a:cubicBezTo>
                  <a:cubicBezTo>
                    <a:pt x="171" y="270"/>
                    <a:pt x="169" y="270"/>
                    <a:pt x="169" y="270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60" y="264"/>
                    <a:pt x="160" y="264"/>
                    <a:pt x="160" y="264"/>
                  </a:cubicBezTo>
                  <a:cubicBezTo>
                    <a:pt x="160" y="264"/>
                    <a:pt x="155" y="262"/>
                    <a:pt x="154" y="261"/>
                  </a:cubicBezTo>
                  <a:cubicBezTo>
                    <a:pt x="153" y="260"/>
                    <a:pt x="150" y="259"/>
                    <a:pt x="150" y="259"/>
                  </a:cubicBezTo>
                  <a:cubicBezTo>
                    <a:pt x="147" y="262"/>
                    <a:pt x="147" y="262"/>
                    <a:pt x="147" y="262"/>
                  </a:cubicBezTo>
                  <a:cubicBezTo>
                    <a:pt x="144" y="262"/>
                    <a:pt x="144" y="262"/>
                    <a:pt x="144" y="262"/>
                  </a:cubicBezTo>
                  <a:cubicBezTo>
                    <a:pt x="144" y="262"/>
                    <a:pt x="140" y="261"/>
                    <a:pt x="139" y="260"/>
                  </a:cubicBezTo>
                  <a:cubicBezTo>
                    <a:pt x="137" y="258"/>
                    <a:pt x="138" y="257"/>
                    <a:pt x="137" y="257"/>
                  </a:cubicBezTo>
                  <a:cubicBezTo>
                    <a:pt x="135" y="257"/>
                    <a:pt x="134" y="255"/>
                    <a:pt x="134" y="255"/>
                  </a:cubicBezTo>
                  <a:cubicBezTo>
                    <a:pt x="134" y="255"/>
                    <a:pt x="136" y="252"/>
                    <a:pt x="137" y="251"/>
                  </a:cubicBezTo>
                  <a:cubicBezTo>
                    <a:pt x="137" y="250"/>
                    <a:pt x="139" y="251"/>
                    <a:pt x="138" y="248"/>
                  </a:cubicBezTo>
                  <a:cubicBezTo>
                    <a:pt x="136" y="246"/>
                    <a:pt x="135" y="245"/>
                    <a:pt x="135" y="245"/>
                  </a:cubicBezTo>
                  <a:cubicBezTo>
                    <a:pt x="135" y="245"/>
                    <a:pt x="135" y="247"/>
                    <a:pt x="133" y="248"/>
                  </a:cubicBezTo>
                  <a:cubicBezTo>
                    <a:pt x="131" y="248"/>
                    <a:pt x="128" y="249"/>
                    <a:pt x="128" y="249"/>
                  </a:cubicBezTo>
                  <a:cubicBezTo>
                    <a:pt x="117" y="244"/>
                    <a:pt x="117" y="244"/>
                    <a:pt x="117" y="244"/>
                  </a:cubicBezTo>
                  <a:cubicBezTo>
                    <a:pt x="117" y="244"/>
                    <a:pt x="114" y="243"/>
                    <a:pt x="113" y="243"/>
                  </a:cubicBezTo>
                  <a:cubicBezTo>
                    <a:pt x="112" y="244"/>
                    <a:pt x="108" y="243"/>
                    <a:pt x="108" y="243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60"/>
                    <a:pt x="105" y="260"/>
                    <a:pt x="105" y="260"/>
                  </a:cubicBezTo>
                  <a:cubicBezTo>
                    <a:pt x="105" y="260"/>
                    <a:pt x="99" y="264"/>
                    <a:pt x="99" y="262"/>
                  </a:cubicBezTo>
                  <a:cubicBezTo>
                    <a:pt x="98" y="261"/>
                    <a:pt x="97" y="257"/>
                    <a:pt x="97" y="257"/>
                  </a:cubicBezTo>
                  <a:cubicBezTo>
                    <a:pt x="97" y="257"/>
                    <a:pt x="96" y="255"/>
                    <a:pt x="95" y="254"/>
                  </a:cubicBezTo>
                  <a:cubicBezTo>
                    <a:pt x="93" y="253"/>
                    <a:pt x="92" y="252"/>
                    <a:pt x="92" y="252"/>
                  </a:cubicBezTo>
                  <a:cubicBezTo>
                    <a:pt x="89" y="251"/>
                    <a:pt x="89" y="251"/>
                    <a:pt x="89" y="251"/>
                  </a:cubicBezTo>
                  <a:cubicBezTo>
                    <a:pt x="89" y="251"/>
                    <a:pt x="88" y="247"/>
                    <a:pt x="87" y="247"/>
                  </a:cubicBezTo>
                  <a:cubicBezTo>
                    <a:pt x="86" y="247"/>
                    <a:pt x="85" y="247"/>
                    <a:pt x="85" y="247"/>
                  </a:cubicBezTo>
                  <a:cubicBezTo>
                    <a:pt x="85" y="244"/>
                    <a:pt x="85" y="244"/>
                    <a:pt x="85" y="244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41"/>
                    <a:pt x="88" y="242"/>
                    <a:pt x="88" y="238"/>
                  </a:cubicBezTo>
                  <a:cubicBezTo>
                    <a:pt x="89" y="233"/>
                    <a:pt x="86" y="233"/>
                    <a:pt x="86" y="233"/>
                  </a:cubicBezTo>
                  <a:cubicBezTo>
                    <a:pt x="83" y="234"/>
                    <a:pt x="83" y="234"/>
                    <a:pt x="83" y="234"/>
                  </a:cubicBezTo>
                  <a:cubicBezTo>
                    <a:pt x="79" y="236"/>
                    <a:pt x="79" y="236"/>
                    <a:pt x="79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76" y="236"/>
                    <a:pt x="74" y="233"/>
                    <a:pt x="74" y="233"/>
                  </a:cubicBezTo>
                  <a:cubicBezTo>
                    <a:pt x="74" y="233"/>
                    <a:pt x="76" y="230"/>
                    <a:pt x="73" y="233"/>
                  </a:cubicBezTo>
                  <a:cubicBezTo>
                    <a:pt x="70" y="236"/>
                    <a:pt x="68" y="232"/>
                    <a:pt x="68" y="232"/>
                  </a:cubicBezTo>
                  <a:cubicBezTo>
                    <a:pt x="67" y="231"/>
                    <a:pt x="67" y="231"/>
                    <a:pt x="67" y="231"/>
                  </a:cubicBezTo>
                  <a:cubicBezTo>
                    <a:pt x="67" y="231"/>
                    <a:pt x="67" y="231"/>
                    <a:pt x="66" y="231"/>
                  </a:cubicBezTo>
                  <a:cubicBezTo>
                    <a:pt x="65" y="232"/>
                    <a:pt x="62" y="232"/>
                    <a:pt x="62" y="231"/>
                  </a:cubicBezTo>
                  <a:cubicBezTo>
                    <a:pt x="61" y="229"/>
                    <a:pt x="59" y="228"/>
                    <a:pt x="59" y="228"/>
                  </a:cubicBezTo>
                  <a:cubicBezTo>
                    <a:pt x="56" y="229"/>
                    <a:pt x="56" y="229"/>
                    <a:pt x="56" y="229"/>
                  </a:cubicBezTo>
                  <a:cubicBezTo>
                    <a:pt x="56" y="229"/>
                    <a:pt x="54" y="229"/>
                    <a:pt x="53" y="229"/>
                  </a:cubicBezTo>
                  <a:cubicBezTo>
                    <a:pt x="53" y="228"/>
                    <a:pt x="53" y="227"/>
                    <a:pt x="51" y="226"/>
                  </a:cubicBezTo>
                  <a:cubicBezTo>
                    <a:pt x="49" y="225"/>
                    <a:pt x="48" y="222"/>
                    <a:pt x="48" y="222"/>
                  </a:cubicBezTo>
                  <a:cubicBezTo>
                    <a:pt x="48" y="222"/>
                    <a:pt x="49" y="220"/>
                    <a:pt x="47" y="220"/>
                  </a:cubicBezTo>
                  <a:cubicBezTo>
                    <a:pt x="46" y="220"/>
                    <a:pt x="44" y="219"/>
                    <a:pt x="44" y="219"/>
                  </a:cubicBezTo>
                  <a:cubicBezTo>
                    <a:pt x="44" y="219"/>
                    <a:pt x="41" y="217"/>
                    <a:pt x="41" y="218"/>
                  </a:cubicBezTo>
                  <a:cubicBezTo>
                    <a:pt x="40" y="219"/>
                    <a:pt x="40" y="221"/>
                    <a:pt x="40" y="222"/>
                  </a:cubicBezTo>
                  <a:cubicBezTo>
                    <a:pt x="40" y="222"/>
                    <a:pt x="41" y="225"/>
                    <a:pt x="41" y="225"/>
                  </a:cubicBezTo>
                  <a:cubicBezTo>
                    <a:pt x="41" y="225"/>
                    <a:pt x="37" y="227"/>
                    <a:pt x="36" y="227"/>
                  </a:cubicBezTo>
                  <a:cubicBezTo>
                    <a:pt x="35" y="227"/>
                    <a:pt x="34" y="228"/>
                    <a:pt x="34" y="226"/>
                  </a:cubicBezTo>
                  <a:cubicBezTo>
                    <a:pt x="34" y="225"/>
                    <a:pt x="36" y="220"/>
                    <a:pt x="36" y="220"/>
                  </a:cubicBezTo>
                  <a:cubicBezTo>
                    <a:pt x="37" y="219"/>
                    <a:pt x="38" y="218"/>
                    <a:pt x="38" y="218"/>
                  </a:cubicBezTo>
                  <a:cubicBezTo>
                    <a:pt x="38" y="218"/>
                    <a:pt x="37" y="216"/>
                    <a:pt x="37" y="215"/>
                  </a:cubicBezTo>
                  <a:cubicBezTo>
                    <a:pt x="37" y="214"/>
                    <a:pt x="36" y="214"/>
                    <a:pt x="38" y="211"/>
                  </a:cubicBezTo>
                  <a:cubicBezTo>
                    <a:pt x="41" y="208"/>
                    <a:pt x="41" y="206"/>
                    <a:pt x="41" y="206"/>
                  </a:cubicBezTo>
                  <a:cubicBezTo>
                    <a:pt x="41" y="206"/>
                    <a:pt x="39" y="203"/>
                    <a:pt x="38" y="202"/>
                  </a:cubicBezTo>
                  <a:cubicBezTo>
                    <a:pt x="38" y="202"/>
                    <a:pt x="35" y="198"/>
                    <a:pt x="35" y="198"/>
                  </a:cubicBezTo>
                  <a:cubicBezTo>
                    <a:pt x="35" y="197"/>
                    <a:pt x="35" y="195"/>
                    <a:pt x="35" y="195"/>
                  </a:cubicBezTo>
                  <a:cubicBezTo>
                    <a:pt x="35" y="195"/>
                    <a:pt x="33" y="193"/>
                    <a:pt x="32" y="193"/>
                  </a:cubicBezTo>
                  <a:cubicBezTo>
                    <a:pt x="31" y="193"/>
                    <a:pt x="28" y="192"/>
                    <a:pt x="28" y="192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8" y="184"/>
                    <a:pt x="28" y="184"/>
                    <a:pt x="28" y="184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3" y="176"/>
                    <a:pt x="23" y="176"/>
                    <a:pt x="23" y="176"/>
                  </a:cubicBezTo>
                  <a:cubicBezTo>
                    <a:pt x="23" y="176"/>
                    <a:pt x="24" y="174"/>
                    <a:pt x="24" y="172"/>
                  </a:cubicBezTo>
                  <a:cubicBezTo>
                    <a:pt x="25" y="171"/>
                    <a:pt x="26" y="168"/>
                    <a:pt x="26" y="168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4"/>
                    <a:pt x="23" y="163"/>
                    <a:pt x="24" y="162"/>
                  </a:cubicBezTo>
                  <a:cubicBezTo>
                    <a:pt x="24" y="161"/>
                    <a:pt x="23" y="155"/>
                    <a:pt x="23" y="155"/>
                  </a:cubicBezTo>
                  <a:cubicBezTo>
                    <a:pt x="23" y="155"/>
                    <a:pt x="22" y="149"/>
                    <a:pt x="21" y="150"/>
                  </a:cubicBezTo>
                  <a:cubicBezTo>
                    <a:pt x="19" y="150"/>
                    <a:pt x="18" y="146"/>
                    <a:pt x="18" y="146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1" y="134"/>
                    <a:pt x="18" y="132"/>
                  </a:cubicBezTo>
                  <a:cubicBezTo>
                    <a:pt x="15" y="131"/>
                    <a:pt x="9" y="128"/>
                    <a:pt x="8" y="127"/>
                  </a:cubicBezTo>
                  <a:cubicBezTo>
                    <a:pt x="8" y="127"/>
                    <a:pt x="5" y="124"/>
                    <a:pt x="4" y="123"/>
                  </a:cubicBezTo>
                  <a:cubicBezTo>
                    <a:pt x="3" y="123"/>
                    <a:pt x="2" y="122"/>
                    <a:pt x="2" y="122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10" y="91"/>
                    <a:pt x="7" y="87"/>
                  </a:cubicBezTo>
                  <a:cubicBezTo>
                    <a:pt x="5" y="84"/>
                    <a:pt x="4" y="80"/>
                    <a:pt x="4" y="80"/>
                  </a:cubicBezTo>
                  <a:cubicBezTo>
                    <a:pt x="4" y="79"/>
                    <a:pt x="3" y="75"/>
                    <a:pt x="2" y="74"/>
                  </a:cubicBezTo>
                  <a:cubicBezTo>
                    <a:pt x="2" y="73"/>
                    <a:pt x="2" y="72"/>
                    <a:pt x="2" y="70"/>
                  </a:cubicBezTo>
                  <a:cubicBezTo>
                    <a:pt x="3" y="69"/>
                    <a:pt x="0" y="66"/>
                    <a:pt x="0" y="66"/>
                  </a:cubicBezTo>
                  <a:cubicBezTo>
                    <a:pt x="0" y="66"/>
                    <a:pt x="1" y="64"/>
                    <a:pt x="2" y="64"/>
                  </a:cubicBezTo>
                  <a:cubicBezTo>
                    <a:pt x="3" y="64"/>
                    <a:pt x="4" y="63"/>
                    <a:pt x="6" y="63"/>
                  </a:cubicBezTo>
                  <a:cubicBezTo>
                    <a:pt x="8" y="63"/>
                    <a:pt x="9" y="61"/>
                    <a:pt x="11" y="61"/>
                  </a:cubicBezTo>
                  <a:cubicBezTo>
                    <a:pt x="12" y="60"/>
                    <a:pt x="12" y="58"/>
                    <a:pt x="13" y="58"/>
                  </a:cubicBezTo>
                  <a:cubicBezTo>
                    <a:pt x="15" y="57"/>
                    <a:pt x="17" y="58"/>
                    <a:pt x="20" y="56"/>
                  </a:cubicBezTo>
                  <a:cubicBezTo>
                    <a:pt x="23" y="55"/>
                    <a:pt x="23" y="54"/>
                    <a:pt x="25" y="52"/>
                  </a:cubicBezTo>
                  <a:cubicBezTo>
                    <a:pt x="26" y="51"/>
                    <a:pt x="45" y="45"/>
                    <a:pt x="45" y="45"/>
                  </a:cubicBezTo>
                  <a:cubicBezTo>
                    <a:pt x="45" y="45"/>
                    <a:pt x="50" y="42"/>
                    <a:pt x="52" y="42"/>
                  </a:cubicBezTo>
                  <a:cubicBezTo>
                    <a:pt x="53" y="41"/>
                    <a:pt x="53" y="40"/>
                    <a:pt x="55" y="40"/>
                  </a:cubicBezTo>
                  <a:cubicBezTo>
                    <a:pt x="56" y="41"/>
                    <a:pt x="60" y="41"/>
                    <a:pt x="60" y="41"/>
                  </a:cubicBezTo>
                  <a:cubicBezTo>
                    <a:pt x="60" y="41"/>
                    <a:pt x="61" y="38"/>
                    <a:pt x="62" y="37"/>
                  </a:cubicBezTo>
                  <a:cubicBezTo>
                    <a:pt x="63" y="35"/>
                    <a:pt x="64" y="33"/>
                    <a:pt x="64" y="32"/>
                  </a:cubicBezTo>
                  <a:cubicBezTo>
                    <a:pt x="65" y="30"/>
                    <a:pt x="66" y="29"/>
                    <a:pt x="67" y="28"/>
                  </a:cubicBezTo>
                  <a:cubicBezTo>
                    <a:pt x="68" y="26"/>
                    <a:pt x="69" y="25"/>
                    <a:pt x="69" y="25"/>
                  </a:cubicBezTo>
                  <a:cubicBezTo>
                    <a:pt x="70" y="25"/>
                    <a:pt x="76" y="22"/>
                    <a:pt x="77" y="22"/>
                  </a:cubicBezTo>
                  <a:cubicBezTo>
                    <a:pt x="78" y="21"/>
                    <a:pt x="86" y="18"/>
                    <a:pt x="86" y="17"/>
                  </a:cubicBezTo>
                  <a:cubicBezTo>
                    <a:pt x="86" y="17"/>
                    <a:pt x="89" y="13"/>
                    <a:pt x="89" y="12"/>
                  </a:cubicBezTo>
                  <a:cubicBezTo>
                    <a:pt x="89" y="11"/>
                    <a:pt x="93" y="10"/>
                    <a:pt x="93" y="10"/>
                  </a:cubicBezTo>
                  <a:cubicBezTo>
                    <a:pt x="94" y="10"/>
                    <a:pt x="94" y="10"/>
                    <a:pt x="95" y="9"/>
                  </a:cubicBezTo>
                  <a:cubicBezTo>
                    <a:pt x="97" y="9"/>
                    <a:pt x="106" y="5"/>
                    <a:pt x="106" y="5"/>
                  </a:cubicBezTo>
                  <a:cubicBezTo>
                    <a:pt x="106" y="5"/>
                    <a:pt x="114" y="2"/>
                    <a:pt x="114" y="2"/>
                  </a:cubicBezTo>
                  <a:cubicBezTo>
                    <a:pt x="115" y="3"/>
                    <a:pt x="120" y="2"/>
                    <a:pt x="121" y="2"/>
                  </a:cubicBezTo>
                  <a:cubicBezTo>
                    <a:pt x="121" y="3"/>
                    <a:pt x="127" y="2"/>
                    <a:pt x="127" y="2"/>
                  </a:cubicBezTo>
                  <a:cubicBezTo>
                    <a:pt x="127" y="2"/>
                    <a:pt x="129" y="3"/>
                    <a:pt x="129" y="4"/>
                  </a:cubicBezTo>
                  <a:cubicBezTo>
                    <a:pt x="129" y="5"/>
                    <a:pt x="127" y="6"/>
                    <a:pt x="128" y="7"/>
                  </a:cubicBezTo>
                  <a:cubicBezTo>
                    <a:pt x="129" y="8"/>
                    <a:pt x="133" y="11"/>
                    <a:pt x="133" y="11"/>
                  </a:cubicBezTo>
                  <a:cubicBezTo>
                    <a:pt x="133" y="11"/>
                    <a:pt x="132" y="14"/>
                    <a:pt x="132" y="14"/>
                  </a:cubicBezTo>
                  <a:cubicBezTo>
                    <a:pt x="132" y="15"/>
                    <a:pt x="133" y="16"/>
                    <a:pt x="134" y="18"/>
                  </a:cubicBezTo>
                  <a:cubicBezTo>
                    <a:pt x="135" y="19"/>
                    <a:pt x="137" y="21"/>
                    <a:pt x="137" y="21"/>
                  </a:cubicBezTo>
                  <a:cubicBezTo>
                    <a:pt x="137" y="21"/>
                    <a:pt x="136" y="22"/>
                    <a:pt x="140" y="24"/>
                  </a:cubicBezTo>
                  <a:cubicBezTo>
                    <a:pt x="144" y="26"/>
                    <a:pt x="147" y="24"/>
                    <a:pt x="147" y="24"/>
                  </a:cubicBezTo>
                  <a:cubicBezTo>
                    <a:pt x="147" y="24"/>
                    <a:pt x="150" y="24"/>
                    <a:pt x="151" y="24"/>
                  </a:cubicBezTo>
                  <a:cubicBezTo>
                    <a:pt x="152" y="24"/>
                    <a:pt x="155" y="23"/>
                    <a:pt x="155" y="23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5" name="Freeform 39"/>
            <p:cNvSpPr>
              <a:spLocks/>
            </p:cNvSpPr>
            <p:nvPr/>
          </p:nvSpPr>
          <p:spPr bwMode="auto">
            <a:xfrm>
              <a:off x="3482366" y="2092972"/>
              <a:ext cx="378204" cy="415513"/>
            </a:xfrm>
            <a:custGeom>
              <a:avLst/>
              <a:gdLst>
                <a:gd name="T0" fmla="*/ 115 w 166"/>
                <a:gd name="T1" fmla="*/ 170 h 188"/>
                <a:gd name="T2" fmla="*/ 92 w 166"/>
                <a:gd name="T3" fmla="*/ 176 h 188"/>
                <a:gd name="T4" fmla="*/ 71 w 166"/>
                <a:gd name="T5" fmla="*/ 177 h 188"/>
                <a:gd name="T6" fmla="*/ 50 w 166"/>
                <a:gd name="T7" fmla="*/ 188 h 188"/>
                <a:gd name="T8" fmla="*/ 19 w 166"/>
                <a:gd name="T9" fmla="*/ 183 h 188"/>
                <a:gd name="T10" fmla="*/ 18 w 166"/>
                <a:gd name="T11" fmla="*/ 180 h 188"/>
                <a:gd name="T12" fmla="*/ 22 w 166"/>
                <a:gd name="T13" fmla="*/ 175 h 188"/>
                <a:gd name="T14" fmla="*/ 9 w 166"/>
                <a:gd name="T15" fmla="*/ 171 h 188"/>
                <a:gd name="T16" fmla="*/ 21 w 166"/>
                <a:gd name="T17" fmla="*/ 165 h 188"/>
                <a:gd name="T18" fmla="*/ 7 w 166"/>
                <a:gd name="T19" fmla="*/ 161 h 188"/>
                <a:gd name="T20" fmla="*/ 5 w 166"/>
                <a:gd name="T21" fmla="*/ 157 h 188"/>
                <a:gd name="T22" fmla="*/ 18 w 166"/>
                <a:gd name="T23" fmla="*/ 152 h 188"/>
                <a:gd name="T24" fmla="*/ 20 w 166"/>
                <a:gd name="T25" fmla="*/ 148 h 188"/>
                <a:gd name="T26" fmla="*/ 3 w 166"/>
                <a:gd name="T27" fmla="*/ 144 h 188"/>
                <a:gd name="T28" fmla="*/ 15 w 166"/>
                <a:gd name="T29" fmla="*/ 138 h 188"/>
                <a:gd name="T30" fmla="*/ 23 w 166"/>
                <a:gd name="T31" fmla="*/ 144 h 188"/>
                <a:gd name="T32" fmla="*/ 27 w 166"/>
                <a:gd name="T33" fmla="*/ 134 h 188"/>
                <a:gd name="T34" fmla="*/ 40 w 166"/>
                <a:gd name="T35" fmla="*/ 130 h 188"/>
                <a:gd name="T36" fmla="*/ 56 w 166"/>
                <a:gd name="T37" fmla="*/ 131 h 188"/>
                <a:gd name="T38" fmla="*/ 54 w 166"/>
                <a:gd name="T39" fmla="*/ 129 h 188"/>
                <a:gd name="T40" fmla="*/ 38 w 166"/>
                <a:gd name="T41" fmla="*/ 127 h 188"/>
                <a:gd name="T42" fmla="*/ 36 w 166"/>
                <a:gd name="T43" fmla="*/ 123 h 188"/>
                <a:gd name="T44" fmla="*/ 49 w 166"/>
                <a:gd name="T45" fmla="*/ 112 h 188"/>
                <a:gd name="T46" fmla="*/ 62 w 166"/>
                <a:gd name="T47" fmla="*/ 104 h 188"/>
                <a:gd name="T48" fmla="*/ 64 w 166"/>
                <a:gd name="T49" fmla="*/ 97 h 188"/>
                <a:gd name="T50" fmla="*/ 44 w 166"/>
                <a:gd name="T51" fmla="*/ 94 h 188"/>
                <a:gd name="T52" fmla="*/ 45 w 166"/>
                <a:gd name="T53" fmla="*/ 89 h 188"/>
                <a:gd name="T54" fmla="*/ 38 w 166"/>
                <a:gd name="T55" fmla="*/ 84 h 188"/>
                <a:gd name="T56" fmla="*/ 36 w 166"/>
                <a:gd name="T57" fmla="*/ 78 h 188"/>
                <a:gd name="T58" fmla="*/ 39 w 166"/>
                <a:gd name="T59" fmla="*/ 71 h 188"/>
                <a:gd name="T60" fmla="*/ 48 w 166"/>
                <a:gd name="T61" fmla="*/ 64 h 188"/>
                <a:gd name="T62" fmla="*/ 48 w 166"/>
                <a:gd name="T63" fmla="*/ 59 h 188"/>
                <a:gd name="T64" fmla="*/ 39 w 166"/>
                <a:gd name="T65" fmla="*/ 49 h 188"/>
                <a:gd name="T66" fmla="*/ 49 w 166"/>
                <a:gd name="T67" fmla="*/ 45 h 188"/>
                <a:gd name="T68" fmla="*/ 45 w 166"/>
                <a:gd name="T69" fmla="*/ 45 h 188"/>
                <a:gd name="T70" fmla="*/ 56 w 166"/>
                <a:gd name="T71" fmla="*/ 38 h 188"/>
                <a:gd name="T72" fmla="*/ 70 w 166"/>
                <a:gd name="T73" fmla="*/ 40 h 188"/>
                <a:gd name="T74" fmla="*/ 81 w 166"/>
                <a:gd name="T75" fmla="*/ 45 h 188"/>
                <a:gd name="T76" fmla="*/ 92 w 166"/>
                <a:gd name="T77" fmla="*/ 48 h 188"/>
                <a:gd name="T78" fmla="*/ 107 w 166"/>
                <a:gd name="T79" fmla="*/ 39 h 188"/>
                <a:gd name="T80" fmla="*/ 98 w 166"/>
                <a:gd name="T81" fmla="*/ 31 h 188"/>
                <a:gd name="T82" fmla="*/ 102 w 166"/>
                <a:gd name="T83" fmla="*/ 20 h 188"/>
                <a:gd name="T84" fmla="*/ 107 w 166"/>
                <a:gd name="T85" fmla="*/ 12 h 188"/>
                <a:gd name="T86" fmla="*/ 121 w 166"/>
                <a:gd name="T87" fmla="*/ 6 h 188"/>
                <a:gd name="T88" fmla="*/ 135 w 166"/>
                <a:gd name="T89" fmla="*/ 4 h 188"/>
                <a:gd name="T90" fmla="*/ 134 w 166"/>
                <a:gd name="T91" fmla="*/ 16 h 188"/>
                <a:gd name="T92" fmla="*/ 137 w 166"/>
                <a:gd name="T93" fmla="*/ 7 h 188"/>
                <a:gd name="T94" fmla="*/ 144 w 166"/>
                <a:gd name="T95" fmla="*/ 3 h 188"/>
                <a:gd name="T96" fmla="*/ 156 w 166"/>
                <a:gd name="T97" fmla="*/ 11 h 188"/>
                <a:gd name="T98" fmla="*/ 137 w 166"/>
                <a:gd name="T99" fmla="*/ 27 h 188"/>
                <a:gd name="T100" fmla="*/ 115 w 166"/>
                <a:gd name="T101" fmla="*/ 42 h 188"/>
                <a:gd name="T102" fmla="*/ 135 w 166"/>
                <a:gd name="T103" fmla="*/ 64 h 188"/>
                <a:gd name="T104" fmla="*/ 161 w 166"/>
                <a:gd name="T105" fmla="*/ 76 h 188"/>
                <a:gd name="T106" fmla="*/ 157 w 166"/>
                <a:gd name="T107" fmla="*/ 86 h 188"/>
                <a:gd name="T108" fmla="*/ 158 w 166"/>
                <a:gd name="T109" fmla="*/ 112 h 188"/>
                <a:gd name="T110" fmla="*/ 157 w 166"/>
                <a:gd name="T111" fmla="*/ 129 h 188"/>
                <a:gd name="T112" fmla="*/ 146 w 166"/>
                <a:gd name="T113" fmla="*/ 151 h 188"/>
                <a:gd name="T114" fmla="*/ 134 w 166"/>
                <a:gd name="T115" fmla="*/ 165 h 188"/>
                <a:gd name="T116" fmla="*/ 132 w 166"/>
                <a:gd name="T117" fmla="*/ 17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6" h="188">
                  <a:moveTo>
                    <a:pt x="132" y="174"/>
                  </a:move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6" y="171"/>
                    <a:pt x="125" y="171"/>
                  </a:cubicBezTo>
                  <a:cubicBezTo>
                    <a:pt x="124" y="171"/>
                    <a:pt x="122" y="170"/>
                    <a:pt x="122" y="170"/>
                  </a:cubicBezTo>
                  <a:cubicBezTo>
                    <a:pt x="121" y="172"/>
                    <a:pt x="121" y="172"/>
                    <a:pt x="121" y="172"/>
                  </a:cubicBezTo>
                  <a:cubicBezTo>
                    <a:pt x="121" y="172"/>
                    <a:pt x="120" y="173"/>
                    <a:pt x="119" y="173"/>
                  </a:cubicBezTo>
                  <a:cubicBezTo>
                    <a:pt x="119" y="173"/>
                    <a:pt x="118" y="172"/>
                    <a:pt x="118" y="172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15" y="170"/>
                    <a:pt x="115" y="170"/>
                    <a:pt x="115" y="170"/>
                  </a:cubicBezTo>
                  <a:cubicBezTo>
                    <a:pt x="115" y="170"/>
                    <a:pt x="115" y="173"/>
                    <a:pt x="114" y="173"/>
                  </a:cubicBezTo>
                  <a:cubicBezTo>
                    <a:pt x="113" y="172"/>
                    <a:pt x="112" y="172"/>
                    <a:pt x="110" y="172"/>
                  </a:cubicBezTo>
                  <a:cubicBezTo>
                    <a:pt x="108" y="171"/>
                    <a:pt x="104" y="172"/>
                    <a:pt x="104" y="172"/>
                  </a:cubicBezTo>
                  <a:cubicBezTo>
                    <a:pt x="102" y="171"/>
                    <a:pt x="102" y="171"/>
                    <a:pt x="102" y="17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95" y="171"/>
                    <a:pt x="95" y="171"/>
                    <a:pt x="95" y="171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5" y="175"/>
                    <a:pt x="85" y="175"/>
                    <a:pt x="85" y="175"/>
                  </a:cubicBezTo>
                  <a:cubicBezTo>
                    <a:pt x="79" y="179"/>
                    <a:pt x="79" y="179"/>
                    <a:pt x="79" y="179"/>
                  </a:cubicBezTo>
                  <a:cubicBezTo>
                    <a:pt x="80" y="181"/>
                    <a:pt x="80" y="181"/>
                    <a:pt x="80" y="181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2" y="181"/>
                    <a:pt x="72" y="181"/>
                    <a:pt x="72" y="181"/>
                  </a:cubicBezTo>
                  <a:cubicBezTo>
                    <a:pt x="72" y="181"/>
                    <a:pt x="70" y="180"/>
                    <a:pt x="70" y="179"/>
                  </a:cubicBezTo>
                  <a:cubicBezTo>
                    <a:pt x="71" y="178"/>
                    <a:pt x="71" y="177"/>
                    <a:pt x="71" y="177"/>
                  </a:cubicBezTo>
                  <a:cubicBezTo>
                    <a:pt x="71" y="177"/>
                    <a:pt x="69" y="176"/>
                    <a:pt x="69" y="177"/>
                  </a:cubicBezTo>
                  <a:cubicBezTo>
                    <a:pt x="69" y="179"/>
                    <a:pt x="68" y="181"/>
                    <a:pt x="68" y="181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1" y="184"/>
                    <a:pt x="61" y="184"/>
                    <a:pt x="61" y="184"/>
                  </a:cubicBezTo>
                  <a:cubicBezTo>
                    <a:pt x="60" y="183"/>
                    <a:pt x="60" y="183"/>
                    <a:pt x="60" y="183"/>
                  </a:cubicBezTo>
                  <a:cubicBezTo>
                    <a:pt x="60" y="186"/>
                    <a:pt x="60" y="186"/>
                    <a:pt x="60" y="186"/>
                  </a:cubicBezTo>
                  <a:cubicBezTo>
                    <a:pt x="55" y="186"/>
                    <a:pt x="55" y="186"/>
                    <a:pt x="55" y="186"/>
                  </a:cubicBezTo>
                  <a:cubicBezTo>
                    <a:pt x="52" y="186"/>
                    <a:pt x="52" y="186"/>
                    <a:pt x="52" y="186"/>
                  </a:cubicBezTo>
                  <a:cubicBezTo>
                    <a:pt x="50" y="188"/>
                    <a:pt x="50" y="188"/>
                    <a:pt x="50" y="188"/>
                  </a:cubicBezTo>
                  <a:cubicBezTo>
                    <a:pt x="47" y="187"/>
                    <a:pt x="47" y="187"/>
                    <a:pt x="47" y="187"/>
                  </a:cubicBezTo>
                  <a:cubicBezTo>
                    <a:pt x="42" y="188"/>
                    <a:pt x="42" y="188"/>
                    <a:pt x="42" y="188"/>
                  </a:cubicBezTo>
                  <a:cubicBezTo>
                    <a:pt x="41" y="186"/>
                    <a:pt x="41" y="186"/>
                    <a:pt x="41" y="186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1" y="187"/>
                    <a:pt x="31" y="187"/>
                    <a:pt x="31" y="187"/>
                  </a:cubicBezTo>
                  <a:cubicBezTo>
                    <a:pt x="30" y="185"/>
                    <a:pt x="30" y="185"/>
                    <a:pt x="30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85"/>
                    <a:pt x="27" y="185"/>
                    <a:pt x="26" y="185"/>
                  </a:cubicBezTo>
                  <a:cubicBezTo>
                    <a:pt x="25" y="185"/>
                    <a:pt x="19" y="183"/>
                    <a:pt x="19" y="183"/>
                  </a:cubicBezTo>
                  <a:cubicBezTo>
                    <a:pt x="17" y="185"/>
                    <a:pt x="17" y="185"/>
                    <a:pt x="17" y="185"/>
                  </a:cubicBezTo>
                  <a:cubicBezTo>
                    <a:pt x="17" y="185"/>
                    <a:pt x="14" y="185"/>
                    <a:pt x="14" y="184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16" y="182"/>
                    <a:pt x="17" y="182"/>
                    <a:pt x="19" y="181"/>
                  </a:cubicBezTo>
                  <a:cubicBezTo>
                    <a:pt x="21" y="181"/>
                    <a:pt x="22" y="181"/>
                    <a:pt x="22" y="181"/>
                  </a:cubicBezTo>
                  <a:cubicBezTo>
                    <a:pt x="23" y="180"/>
                    <a:pt x="23" y="180"/>
                    <a:pt x="23" y="180"/>
                  </a:cubicBezTo>
                  <a:cubicBezTo>
                    <a:pt x="23" y="179"/>
                    <a:pt x="24" y="178"/>
                    <a:pt x="22" y="179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0" y="180"/>
                    <a:pt x="19" y="180"/>
                    <a:pt x="18" y="180"/>
                  </a:cubicBezTo>
                  <a:cubicBezTo>
                    <a:pt x="18" y="180"/>
                    <a:pt x="16" y="180"/>
                    <a:pt x="16" y="180"/>
                  </a:cubicBezTo>
                  <a:cubicBezTo>
                    <a:pt x="16" y="180"/>
                    <a:pt x="15" y="179"/>
                    <a:pt x="16" y="179"/>
                  </a:cubicBezTo>
                  <a:cubicBezTo>
                    <a:pt x="17" y="178"/>
                    <a:pt x="17" y="178"/>
                    <a:pt x="18" y="178"/>
                  </a:cubicBezTo>
                  <a:cubicBezTo>
                    <a:pt x="20" y="178"/>
                    <a:pt x="21" y="177"/>
                    <a:pt x="23" y="177"/>
                  </a:cubicBezTo>
                  <a:cubicBezTo>
                    <a:pt x="25" y="177"/>
                    <a:pt x="26" y="177"/>
                    <a:pt x="26" y="177"/>
                  </a:cubicBezTo>
                  <a:cubicBezTo>
                    <a:pt x="27" y="176"/>
                    <a:pt x="28" y="176"/>
                    <a:pt x="28" y="175"/>
                  </a:cubicBezTo>
                  <a:cubicBezTo>
                    <a:pt x="28" y="174"/>
                    <a:pt x="27" y="173"/>
                    <a:pt x="27" y="173"/>
                  </a:cubicBezTo>
                  <a:cubicBezTo>
                    <a:pt x="27" y="173"/>
                    <a:pt x="26" y="173"/>
                    <a:pt x="25" y="174"/>
                  </a:cubicBezTo>
                  <a:cubicBezTo>
                    <a:pt x="24" y="174"/>
                    <a:pt x="23" y="175"/>
                    <a:pt x="22" y="175"/>
                  </a:cubicBezTo>
                  <a:cubicBezTo>
                    <a:pt x="22" y="175"/>
                    <a:pt x="22" y="175"/>
                    <a:pt x="21" y="175"/>
                  </a:cubicBezTo>
                  <a:cubicBezTo>
                    <a:pt x="20" y="175"/>
                    <a:pt x="18" y="174"/>
                    <a:pt x="18" y="174"/>
                  </a:cubicBezTo>
                  <a:cubicBezTo>
                    <a:pt x="17" y="174"/>
                    <a:pt x="16" y="174"/>
                    <a:pt x="15" y="174"/>
                  </a:cubicBezTo>
                  <a:cubicBezTo>
                    <a:pt x="14" y="174"/>
                    <a:pt x="15" y="174"/>
                    <a:pt x="13" y="174"/>
                  </a:cubicBezTo>
                  <a:cubicBezTo>
                    <a:pt x="11" y="175"/>
                    <a:pt x="12" y="175"/>
                    <a:pt x="9" y="175"/>
                  </a:cubicBezTo>
                  <a:cubicBezTo>
                    <a:pt x="7" y="175"/>
                    <a:pt x="4" y="174"/>
                    <a:pt x="4" y="174"/>
                  </a:cubicBezTo>
                  <a:cubicBezTo>
                    <a:pt x="4" y="174"/>
                    <a:pt x="2" y="175"/>
                    <a:pt x="3" y="174"/>
                  </a:cubicBezTo>
                  <a:cubicBezTo>
                    <a:pt x="5" y="173"/>
                    <a:pt x="7" y="173"/>
                    <a:pt x="8" y="172"/>
                  </a:cubicBezTo>
                  <a:cubicBezTo>
                    <a:pt x="9" y="172"/>
                    <a:pt x="10" y="172"/>
                    <a:pt x="9" y="171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1"/>
                    <a:pt x="12" y="170"/>
                    <a:pt x="12" y="170"/>
                  </a:cubicBezTo>
                  <a:cubicBezTo>
                    <a:pt x="14" y="169"/>
                    <a:pt x="14" y="169"/>
                    <a:pt x="14" y="169"/>
                  </a:cubicBezTo>
                  <a:cubicBezTo>
                    <a:pt x="14" y="169"/>
                    <a:pt x="14" y="168"/>
                    <a:pt x="16" y="168"/>
                  </a:cubicBezTo>
                  <a:cubicBezTo>
                    <a:pt x="18" y="168"/>
                    <a:pt x="18" y="168"/>
                    <a:pt x="18" y="167"/>
                  </a:cubicBezTo>
                  <a:cubicBezTo>
                    <a:pt x="19" y="167"/>
                    <a:pt x="18" y="167"/>
                    <a:pt x="19" y="167"/>
                  </a:cubicBezTo>
                  <a:cubicBezTo>
                    <a:pt x="21" y="167"/>
                    <a:pt x="21" y="166"/>
                    <a:pt x="22" y="166"/>
                  </a:cubicBezTo>
                  <a:cubicBezTo>
                    <a:pt x="24" y="166"/>
                    <a:pt x="25" y="165"/>
                    <a:pt x="24" y="165"/>
                  </a:cubicBezTo>
                  <a:cubicBezTo>
                    <a:pt x="23" y="165"/>
                    <a:pt x="23" y="165"/>
                    <a:pt x="21" y="165"/>
                  </a:cubicBezTo>
                  <a:cubicBezTo>
                    <a:pt x="20" y="166"/>
                    <a:pt x="19" y="165"/>
                    <a:pt x="19" y="166"/>
                  </a:cubicBezTo>
                  <a:cubicBezTo>
                    <a:pt x="18" y="166"/>
                    <a:pt x="16" y="166"/>
                    <a:pt x="16" y="166"/>
                  </a:cubicBezTo>
                  <a:cubicBezTo>
                    <a:pt x="15" y="165"/>
                    <a:pt x="15" y="165"/>
                    <a:pt x="14" y="166"/>
                  </a:cubicBezTo>
                  <a:cubicBezTo>
                    <a:pt x="13" y="166"/>
                    <a:pt x="14" y="167"/>
                    <a:pt x="12" y="167"/>
                  </a:cubicBezTo>
                  <a:cubicBezTo>
                    <a:pt x="11" y="167"/>
                    <a:pt x="10" y="166"/>
                    <a:pt x="10" y="166"/>
                  </a:cubicBezTo>
                  <a:cubicBezTo>
                    <a:pt x="10" y="166"/>
                    <a:pt x="7" y="166"/>
                    <a:pt x="7" y="165"/>
                  </a:cubicBezTo>
                  <a:cubicBezTo>
                    <a:pt x="7" y="165"/>
                    <a:pt x="7" y="163"/>
                    <a:pt x="7" y="163"/>
                  </a:cubicBezTo>
                  <a:cubicBezTo>
                    <a:pt x="7" y="162"/>
                    <a:pt x="8" y="162"/>
                    <a:pt x="8" y="162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7" y="161"/>
                    <a:pt x="6" y="161"/>
                  </a:cubicBezTo>
                  <a:cubicBezTo>
                    <a:pt x="6" y="161"/>
                    <a:pt x="4" y="162"/>
                    <a:pt x="4" y="162"/>
                  </a:cubicBezTo>
                  <a:cubicBezTo>
                    <a:pt x="4" y="162"/>
                    <a:pt x="4" y="162"/>
                    <a:pt x="3" y="162"/>
                  </a:cubicBezTo>
                  <a:cubicBezTo>
                    <a:pt x="3" y="162"/>
                    <a:pt x="2" y="162"/>
                    <a:pt x="2" y="162"/>
                  </a:cubicBezTo>
                  <a:cubicBezTo>
                    <a:pt x="2" y="162"/>
                    <a:pt x="2" y="161"/>
                    <a:pt x="2" y="160"/>
                  </a:cubicBezTo>
                  <a:cubicBezTo>
                    <a:pt x="2" y="160"/>
                    <a:pt x="2" y="159"/>
                    <a:pt x="2" y="159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2" y="158"/>
                    <a:pt x="0" y="158"/>
                    <a:pt x="2" y="157"/>
                  </a:cubicBezTo>
                  <a:cubicBezTo>
                    <a:pt x="4" y="157"/>
                    <a:pt x="4" y="157"/>
                    <a:pt x="5" y="157"/>
                  </a:cubicBezTo>
                  <a:cubicBezTo>
                    <a:pt x="5" y="157"/>
                    <a:pt x="6" y="157"/>
                    <a:pt x="6" y="157"/>
                  </a:cubicBezTo>
                  <a:cubicBezTo>
                    <a:pt x="6" y="157"/>
                    <a:pt x="7" y="156"/>
                    <a:pt x="7" y="156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6" y="154"/>
                    <a:pt x="6" y="154"/>
                    <a:pt x="7" y="154"/>
                  </a:cubicBezTo>
                  <a:cubicBezTo>
                    <a:pt x="8" y="154"/>
                    <a:pt x="8" y="153"/>
                    <a:pt x="9" y="153"/>
                  </a:cubicBezTo>
                  <a:cubicBezTo>
                    <a:pt x="9" y="153"/>
                    <a:pt x="10" y="153"/>
                    <a:pt x="11" y="153"/>
                  </a:cubicBezTo>
                  <a:cubicBezTo>
                    <a:pt x="11" y="153"/>
                    <a:pt x="11" y="152"/>
                    <a:pt x="13" y="152"/>
                  </a:cubicBezTo>
                  <a:cubicBezTo>
                    <a:pt x="14" y="152"/>
                    <a:pt x="15" y="152"/>
                    <a:pt x="16" y="152"/>
                  </a:cubicBezTo>
                  <a:cubicBezTo>
                    <a:pt x="16" y="152"/>
                    <a:pt x="18" y="152"/>
                    <a:pt x="18" y="152"/>
                  </a:cubicBezTo>
                  <a:cubicBezTo>
                    <a:pt x="18" y="152"/>
                    <a:pt x="20" y="151"/>
                    <a:pt x="20" y="151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150"/>
                    <a:pt x="21" y="150"/>
                    <a:pt x="22" y="150"/>
                  </a:cubicBezTo>
                  <a:cubicBezTo>
                    <a:pt x="23" y="150"/>
                    <a:pt x="23" y="150"/>
                    <a:pt x="24" y="150"/>
                  </a:cubicBezTo>
                  <a:cubicBezTo>
                    <a:pt x="24" y="150"/>
                    <a:pt x="25" y="150"/>
                    <a:pt x="25" y="150"/>
                  </a:cubicBezTo>
                  <a:cubicBezTo>
                    <a:pt x="25" y="149"/>
                    <a:pt x="25" y="149"/>
                    <a:pt x="25" y="148"/>
                  </a:cubicBezTo>
                  <a:cubicBezTo>
                    <a:pt x="24" y="148"/>
                    <a:pt x="24" y="148"/>
                    <a:pt x="23" y="148"/>
                  </a:cubicBezTo>
                  <a:cubicBezTo>
                    <a:pt x="22" y="149"/>
                    <a:pt x="21" y="149"/>
                    <a:pt x="21" y="148"/>
                  </a:cubicBezTo>
                  <a:cubicBezTo>
                    <a:pt x="21" y="148"/>
                    <a:pt x="21" y="148"/>
                    <a:pt x="20" y="148"/>
                  </a:cubicBezTo>
                  <a:cubicBezTo>
                    <a:pt x="19" y="148"/>
                    <a:pt x="18" y="148"/>
                    <a:pt x="18" y="148"/>
                  </a:cubicBezTo>
                  <a:cubicBezTo>
                    <a:pt x="18" y="148"/>
                    <a:pt x="17" y="148"/>
                    <a:pt x="16" y="148"/>
                  </a:cubicBezTo>
                  <a:cubicBezTo>
                    <a:pt x="14" y="147"/>
                    <a:pt x="14" y="147"/>
                    <a:pt x="13" y="147"/>
                  </a:cubicBezTo>
                  <a:cubicBezTo>
                    <a:pt x="12" y="147"/>
                    <a:pt x="11" y="147"/>
                    <a:pt x="11" y="147"/>
                  </a:cubicBezTo>
                  <a:cubicBezTo>
                    <a:pt x="11" y="147"/>
                    <a:pt x="13" y="147"/>
                    <a:pt x="10" y="146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5" y="145"/>
                    <a:pt x="5" y="146"/>
                    <a:pt x="4" y="145"/>
                  </a:cubicBezTo>
                  <a:cubicBezTo>
                    <a:pt x="4" y="145"/>
                    <a:pt x="3" y="144"/>
                    <a:pt x="3" y="144"/>
                  </a:cubicBezTo>
                  <a:cubicBezTo>
                    <a:pt x="3" y="143"/>
                    <a:pt x="3" y="143"/>
                    <a:pt x="4" y="142"/>
                  </a:cubicBezTo>
                  <a:cubicBezTo>
                    <a:pt x="4" y="142"/>
                    <a:pt x="6" y="141"/>
                    <a:pt x="6" y="141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3"/>
                    <a:pt x="7" y="142"/>
                  </a:cubicBezTo>
                  <a:cubicBezTo>
                    <a:pt x="7" y="142"/>
                    <a:pt x="8" y="140"/>
                    <a:pt x="8" y="140"/>
                  </a:cubicBezTo>
                  <a:cubicBezTo>
                    <a:pt x="8" y="140"/>
                    <a:pt x="7" y="140"/>
                    <a:pt x="8" y="139"/>
                  </a:cubicBezTo>
                  <a:cubicBezTo>
                    <a:pt x="9" y="139"/>
                    <a:pt x="9" y="139"/>
                    <a:pt x="10" y="139"/>
                  </a:cubicBezTo>
                  <a:cubicBezTo>
                    <a:pt x="10" y="139"/>
                    <a:pt x="12" y="139"/>
                    <a:pt x="13" y="139"/>
                  </a:cubicBezTo>
                  <a:cubicBezTo>
                    <a:pt x="13" y="138"/>
                    <a:pt x="15" y="138"/>
                    <a:pt x="15" y="138"/>
                  </a:cubicBezTo>
                  <a:cubicBezTo>
                    <a:pt x="15" y="138"/>
                    <a:pt x="16" y="139"/>
                    <a:pt x="15" y="140"/>
                  </a:cubicBezTo>
                  <a:cubicBezTo>
                    <a:pt x="15" y="140"/>
                    <a:pt x="14" y="140"/>
                    <a:pt x="15" y="141"/>
                  </a:cubicBezTo>
                  <a:cubicBezTo>
                    <a:pt x="16" y="141"/>
                    <a:pt x="17" y="141"/>
                    <a:pt x="17" y="141"/>
                  </a:cubicBezTo>
                  <a:cubicBezTo>
                    <a:pt x="17" y="141"/>
                    <a:pt x="18" y="140"/>
                    <a:pt x="18" y="140"/>
                  </a:cubicBezTo>
                  <a:cubicBezTo>
                    <a:pt x="19" y="140"/>
                    <a:pt x="18" y="139"/>
                    <a:pt x="19" y="139"/>
                  </a:cubicBezTo>
                  <a:cubicBezTo>
                    <a:pt x="20" y="140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2"/>
                  </a:cubicBezTo>
                  <a:cubicBezTo>
                    <a:pt x="21" y="142"/>
                    <a:pt x="22" y="142"/>
                    <a:pt x="22" y="143"/>
                  </a:cubicBezTo>
                  <a:cubicBezTo>
                    <a:pt x="22" y="143"/>
                    <a:pt x="21" y="143"/>
                    <a:pt x="23" y="144"/>
                  </a:cubicBezTo>
                  <a:cubicBezTo>
                    <a:pt x="24" y="144"/>
                    <a:pt x="25" y="144"/>
                    <a:pt x="25" y="144"/>
                  </a:cubicBezTo>
                  <a:cubicBezTo>
                    <a:pt x="25" y="144"/>
                    <a:pt x="26" y="144"/>
                    <a:pt x="26" y="143"/>
                  </a:cubicBezTo>
                  <a:cubicBezTo>
                    <a:pt x="25" y="142"/>
                    <a:pt x="25" y="141"/>
                    <a:pt x="25" y="141"/>
                  </a:cubicBezTo>
                  <a:cubicBezTo>
                    <a:pt x="25" y="141"/>
                    <a:pt x="26" y="140"/>
                    <a:pt x="26" y="140"/>
                  </a:cubicBezTo>
                  <a:cubicBezTo>
                    <a:pt x="26" y="139"/>
                    <a:pt x="26" y="137"/>
                    <a:pt x="26" y="137"/>
                  </a:cubicBezTo>
                  <a:cubicBezTo>
                    <a:pt x="26" y="137"/>
                    <a:pt x="27" y="136"/>
                    <a:pt x="26" y="136"/>
                  </a:cubicBezTo>
                  <a:cubicBezTo>
                    <a:pt x="25" y="136"/>
                    <a:pt x="25" y="135"/>
                    <a:pt x="25" y="135"/>
                  </a:cubicBezTo>
                  <a:cubicBezTo>
                    <a:pt x="24" y="135"/>
                    <a:pt x="24" y="134"/>
                    <a:pt x="24" y="134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1" y="133"/>
                    <a:pt x="32" y="134"/>
                    <a:pt x="32" y="133"/>
                  </a:cubicBezTo>
                  <a:cubicBezTo>
                    <a:pt x="32" y="133"/>
                    <a:pt x="33" y="132"/>
                    <a:pt x="33" y="132"/>
                  </a:cubicBezTo>
                  <a:cubicBezTo>
                    <a:pt x="35" y="132"/>
                    <a:pt x="35" y="132"/>
                    <a:pt x="35" y="132"/>
                  </a:cubicBezTo>
                  <a:cubicBezTo>
                    <a:pt x="35" y="132"/>
                    <a:pt x="34" y="131"/>
                    <a:pt x="34" y="131"/>
                  </a:cubicBezTo>
                  <a:cubicBezTo>
                    <a:pt x="35" y="131"/>
                    <a:pt x="35" y="129"/>
                    <a:pt x="35" y="129"/>
                  </a:cubicBezTo>
                  <a:cubicBezTo>
                    <a:pt x="35" y="129"/>
                    <a:pt x="36" y="128"/>
                    <a:pt x="37" y="129"/>
                  </a:cubicBezTo>
                  <a:cubicBezTo>
                    <a:pt x="37" y="129"/>
                    <a:pt x="39" y="129"/>
                    <a:pt x="40" y="130"/>
                  </a:cubicBezTo>
                  <a:cubicBezTo>
                    <a:pt x="40" y="130"/>
                    <a:pt x="41" y="130"/>
                    <a:pt x="41" y="130"/>
                  </a:cubicBezTo>
                  <a:cubicBezTo>
                    <a:pt x="43" y="130"/>
                    <a:pt x="43" y="130"/>
                    <a:pt x="43" y="130"/>
                  </a:cubicBezTo>
                  <a:cubicBezTo>
                    <a:pt x="43" y="130"/>
                    <a:pt x="45" y="131"/>
                    <a:pt x="45" y="131"/>
                  </a:cubicBezTo>
                  <a:cubicBezTo>
                    <a:pt x="45" y="131"/>
                    <a:pt x="47" y="132"/>
                    <a:pt x="48" y="132"/>
                  </a:cubicBezTo>
                  <a:cubicBezTo>
                    <a:pt x="48" y="132"/>
                    <a:pt x="49" y="131"/>
                    <a:pt x="49" y="131"/>
                  </a:cubicBezTo>
                  <a:cubicBezTo>
                    <a:pt x="49" y="131"/>
                    <a:pt x="49" y="130"/>
                    <a:pt x="50" y="131"/>
                  </a:cubicBezTo>
                  <a:cubicBezTo>
                    <a:pt x="51" y="131"/>
                    <a:pt x="52" y="131"/>
                    <a:pt x="53" y="131"/>
                  </a:cubicBezTo>
                  <a:cubicBezTo>
                    <a:pt x="53" y="130"/>
                    <a:pt x="53" y="130"/>
                    <a:pt x="54" y="130"/>
                  </a:cubicBezTo>
                  <a:cubicBezTo>
                    <a:pt x="55" y="131"/>
                    <a:pt x="56" y="131"/>
                    <a:pt x="56" y="131"/>
                  </a:cubicBezTo>
                  <a:cubicBezTo>
                    <a:pt x="57" y="131"/>
                    <a:pt x="59" y="130"/>
                    <a:pt x="59" y="130"/>
                  </a:cubicBezTo>
                  <a:cubicBezTo>
                    <a:pt x="59" y="130"/>
                    <a:pt x="58" y="129"/>
                    <a:pt x="59" y="130"/>
                  </a:cubicBezTo>
                  <a:cubicBezTo>
                    <a:pt x="60" y="130"/>
                    <a:pt x="61" y="129"/>
                    <a:pt x="61" y="129"/>
                  </a:cubicBezTo>
                  <a:cubicBezTo>
                    <a:pt x="59" y="128"/>
                    <a:pt x="59" y="128"/>
                    <a:pt x="59" y="128"/>
                  </a:cubicBezTo>
                  <a:cubicBezTo>
                    <a:pt x="59" y="128"/>
                    <a:pt x="60" y="126"/>
                    <a:pt x="60" y="126"/>
                  </a:cubicBezTo>
                  <a:cubicBezTo>
                    <a:pt x="60" y="126"/>
                    <a:pt x="59" y="125"/>
                    <a:pt x="59" y="125"/>
                  </a:cubicBezTo>
                  <a:cubicBezTo>
                    <a:pt x="59" y="125"/>
                    <a:pt x="58" y="125"/>
                    <a:pt x="58" y="126"/>
                  </a:cubicBezTo>
                  <a:cubicBezTo>
                    <a:pt x="58" y="127"/>
                    <a:pt x="57" y="128"/>
                    <a:pt x="56" y="128"/>
                  </a:cubicBezTo>
                  <a:cubicBezTo>
                    <a:pt x="56" y="128"/>
                    <a:pt x="55" y="129"/>
                    <a:pt x="54" y="129"/>
                  </a:cubicBezTo>
                  <a:cubicBezTo>
                    <a:pt x="54" y="129"/>
                    <a:pt x="53" y="130"/>
                    <a:pt x="53" y="130"/>
                  </a:cubicBezTo>
                  <a:cubicBezTo>
                    <a:pt x="53" y="130"/>
                    <a:pt x="53" y="131"/>
                    <a:pt x="51" y="130"/>
                  </a:cubicBezTo>
                  <a:cubicBezTo>
                    <a:pt x="50" y="129"/>
                    <a:pt x="49" y="129"/>
                    <a:pt x="49" y="129"/>
                  </a:cubicBezTo>
                  <a:cubicBezTo>
                    <a:pt x="49" y="129"/>
                    <a:pt x="49" y="128"/>
                    <a:pt x="48" y="129"/>
                  </a:cubicBezTo>
                  <a:cubicBezTo>
                    <a:pt x="46" y="129"/>
                    <a:pt x="47" y="130"/>
                    <a:pt x="46" y="129"/>
                  </a:cubicBezTo>
                  <a:cubicBezTo>
                    <a:pt x="45" y="129"/>
                    <a:pt x="42" y="129"/>
                    <a:pt x="42" y="128"/>
                  </a:cubicBezTo>
                  <a:cubicBezTo>
                    <a:pt x="42" y="128"/>
                    <a:pt x="41" y="127"/>
                    <a:pt x="41" y="127"/>
                  </a:cubicBezTo>
                  <a:cubicBezTo>
                    <a:pt x="41" y="127"/>
                    <a:pt x="41" y="125"/>
                    <a:pt x="41" y="125"/>
                  </a:cubicBezTo>
                  <a:cubicBezTo>
                    <a:pt x="40" y="126"/>
                    <a:pt x="39" y="127"/>
                    <a:pt x="38" y="127"/>
                  </a:cubicBezTo>
                  <a:cubicBezTo>
                    <a:pt x="38" y="127"/>
                    <a:pt x="36" y="127"/>
                    <a:pt x="35" y="127"/>
                  </a:cubicBezTo>
                  <a:cubicBezTo>
                    <a:pt x="35" y="127"/>
                    <a:pt x="35" y="127"/>
                    <a:pt x="34" y="127"/>
                  </a:cubicBezTo>
                  <a:cubicBezTo>
                    <a:pt x="33" y="127"/>
                    <a:pt x="32" y="128"/>
                    <a:pt x="31" y="128"/>
                  </a:cubicBezTo>
                  <a:cubicBezTo>
                    <a:pt x="30" y="128"/>
                    <a:pt x="30" y="127"/>
                    <a:pt x="29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5"/>
                    <a:pt x="30" y="125"/>
                  </a:cubicBezTo>
                  <a:cubicBezTo>
                    <a:pt x="31" y="124"/>
                    <a:pt x="30" y="124"/>
                    <a:pt x="32" y="124"/>
                  </a:cubicBezTo>
                  <a:cubicBezTo>
                    <a:pt x="34" y="124"/>
                    <a:pt x="35" y="124"/>
                    <a:pt x="36" y="123"/>
                  </a:cubicBezTo>
                  <a:cubicBezTo>
                    <a:pt x="37" y="122"/>
                    <a:pt x="37" y="121"/>
                    <a:pt x="38" y="121"/>
                  </a:cubicBezTo>
                  <a:cubicBezTo>
                    <a:pt x="39" y="120"/>
                    <a:pt x="39" y="119"/>
                    <a:pt x="40" y="120"/>
                  </a:cubicBezTo>
                  <a:cubicBezTo>
                    <a:pt x="42" y="120"/>
                    <a:pt x="44" y="120"/>
                    <a:pt x="44" y="120"/>
                  </a:cubicBezTo>
                  <a:cubicBezTo>
                    <a:pt x="44" y="120"/>
                    <a:pt x="44" y="119"/>
                    <a:pt x="44" y="118"/>
                  </a:cubicBezTo>
                  <a:cubicBezTo>
                    <a:pt x="44" y="118"/>
                    <a:pt x="44" y="118"/>
                    <a:pt x="44" y="117"/>
                  </a:cubicBezTo>
                  <a:cubicBezTo>
                    <a:pt x="45" y="117"/>
                    <a:pt x="45" y="116"/>
                    <a:pt x="45" y="116"/>
                  </a:cubicBezTo>
                  <a:cubicBezTo>
                    <a:pt x="46" y="116"/>
                    <a:pt x="46" y="115"/>
                    <a:pt x="47" y="115"/>
                  </a:cubicBezTo>
                  <a:cubicBezTo>
                    <a:pt x="47" y="114"/>
                    <a:pt x="48" y="114"/>
                    <a:pt x="48" y="113"/>
                  </a:cubicBezTo>
                  <a:cubicBezTo>
                    <a:pt x="49" y="113"/>
                    <a:pt x="49" y="112"/>
                    <a:pt x="49" y="112"/>
                  </a:cubicBezTo>
                  <a:cubicBezTo>
                    <a:pt x="49" y="112"/>
                    <a:pt x="46" y="111"/>
                    <a:pt x="46" y="111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2" y="105"/>
                    <a:pt x="52" y="105"/>
                  </a:cubicBezTo>
                  <a:cubicBezTo>
                    <a:pt x="53" y="105"/>
                    <a:pt x="54" y="104"/>
                    <a:pt x="54" y="104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5" y="102"/>
                    <a:pt x="55" y="101"/>
                    <a:pt x="56" y="102"/>
                  </a:cubicBezTo>
                  <a:cubicBezTo>
                    <a:pt x="57" y="102"/>
                    <a:pt x="57" y="103"/>
                    <a:pt x="58" y="103"/>
                  </a:cubicBezTo>
                  <a:cubicBezTo>
                    <a:pt x="59" y="104"/>
                    <a:pt x="62" y="104"/>
                    <a:pt x="62" y="104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6" y="101"/>
                    <a:pt x="68" y="101"/>
                    <a:pt x="68" y="101"/>
                  </a:cubicBezTo>
                  <a:cubicBezTo>
                    <a:pt x="67" y="101"/>
                    <a:pt x="65" y="99"/>
                    <a:pt x="65" y="99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0" y="97"/>
                    <a:pt x="59" y="97"/>
                  </a:cubicBezTo>
                  <a:cubicBezTo>
                    <a:pt x="58" y="96"/>
                    <a:pt x="58" y="96"/>
                    <a:pt x="57" y="96"/>
                  </a:cubicBezTo>
                  <a:cubicBezTo>
                    <a:pt x="56" y="96"/>
                    <a:pt x="55" y="96"/>
                    <a:pt x="54" y="96"/>
                  </a:cubicBezTo>
                  <a:cubicBezTo>
                    <a:pt x="53" y="96"/>
                    <a:pt x="52" y="96"/>
                    <a:pt x="51" y="96"/>
                  </a:cubicBezTo>
                  <a:cubicBezTo>
                    <a:pt x="51" y="96"/>
                    <a:pt x="50" y="96"/>
                    <a:pt x="49" y="96"/>
                  </a:cubicBezTo>
                  <a:cubicBezTo>
                    <a:pt x="49" y="95"/>
                    <a:pt x="50" y="94"/>
                    <a:pt x="49" y="94"/>
                  </a:cubicBezTo>
                  <a:cubicBezTo>
                    <a:pt x="48" y="94"/>
                    <a:pt x="47" y="92"/>
                    <a:pt x="46" y="93"/>
                  </a:cubicBezTo>
                  <a:cubicBezTo>
                    <a:pt x="46" y="93"/>
                    <a:pt x="46" y="93"/>
                    <a:pt x="45" y="93"/>
                  </a:cubicBezTo>
                  <a:cubicBezTo>
                    <a:pt x="45" y="94"/>
                    <a:pt x="44" y="94"/>
                    <a:pt x="44" y="94"/>
                  </a:cubicBezTo>
                  <a:cubicBezTo>
                    <a:pt x="43" y="93"/>
                    <a:pt x="43" y="94"/>
                    <a:pt x="44" y="93"/>
                  </a:cubicBezTo>
                  <a:cubicBezTo>
                    <a:pt x="44" y="92"/>
                    <a:pt x="43" y="90"/>
                    <a:pt x="44" y="90"/>
                  </a:cubicBezTo>
                  <a:cubicBezTo>
                    <a:pt x="45" y="91"/>
                    <a:pt x="45" y="91"/>
                    <a:pt x="46" y="91"/>
                  </a:cubicBezTo>
                  <a:cubicBezTo>
                    <a:pt x="46" y="91"/>
                    <a:pt x="47" y="91"/>
                    <a:pt x="47" y="91"/>
                  </a:cubicBezTo>
                  <a:cubicBezTo>
                    <a:pt x="47" y="90"/>
                    <a:pt x="48" y="88"/>
                    <a:pt x="48" y="88"/>
                  </a:cubicBezTo>
                  <a:cubicBezTo>
                    <a:pt x="48" y="88"/>
                    <a:pt x="51" y="89"/>
                    <a:pt x="50" y="88"/>
                  </a:cubicBezTo>
                  <a:cubicBezTo>
                    <a:pt x="49" y="87"/>
                    <a:pt x="47" y="86"/>
                    <a:pt x="47" y="86"/>
                  </a:cubicBezTo>
                  <a:cubicBezTo>
                    <a:pt x="47" y="86"/>
                    <a:pt x="46" y="86"/>
                    <a:pt x="46" y="87"/>
                  </a:cubicBezTo>
                  <a:cubicBezTo>
                    <a:pt x="45" y="88"/>
                    <a:pt x="46" y="88"/>
                    <a:pt x="45" y="89"/>
                  </a:cubicBezTo>
                  <a:cubicBezTo>
                    <a:pt x="44" y="89"/>
                    <a:pt x="44" y="89"/>
                    <a:pt x="43" y="89"/>
                  </a:cubicBezTo>
                  <a:cubicBezTo>
                    <a:pt x="43" y="89"/>
                    <a:pt x="43" y="89"/>
                    <a:pt x="42" y="89"/>
                  </a:cubicBezTo>
                  <a:cubicBezTo>
                    <a:pt x="42" y="89"/>
                    <a:pt x="40" y="89"/>
                    <a:pt x="40" y="88"/>
                  </a:cubicBezTo>
                  <a:cubicBezTo>
                    <a:pt x="40" y="88"/>
                    <a:pt x="40" y="88"/>
                    <a:pt x="40" y="87"/>
                  </a:cubicBezTo>
                  <a:cubicBezTo>
                    <a:pt x="40" y="86"/>
                    <a:pt x="40" y="85"/>
                    <a:pt x="42" y="85"/>
                  </a:cubicBezTo>
                  <a:cubicBezTo>
                    <a:pt x="43" y="85"/>
                    <a:pt x="43" y="86"/>
                    <a:pt x="43" y="85"/>
                  </a:cubicBezTo>
                  <a:cubicBezTo>
                    <a:pt x="43" y="85"/>
                    <a:pt x="43" y="84"/>
                    <a:pt x="42" y="84"/>
                  </a:cubicBezTo>
                  <a:cubicBezTo>
                    <a:pt x="42" y="83"/>
                    <a:pt x="42" y="83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9" y="84"/>
                    <a:pt x="37" y="84"/>
                  </a:cubicBezTo>
                  <a:cubicBezTo>
                    <a:pt x="36" y="83"/>
                    <a:pt x="37" y="83"/>
                    <a:pt x="36" y="82"/>
                  </a:cubicBezTo>
                  <a:cubicBezTo>
                    <a:pt x="36" y="81"/>
                    <a:pt x="36" y="81"/>
                    <a:pt x="35" y="81"/>
                  </a:cubicBezTo>
                  <a:cubicBezTo>
                    <a:pt x="35" y="81"/>
                    <a:pt x="35" y="81"/>
                    <a:pt x="34" y="81"/>
                  </a:cubicBezTo>
                  <a:cubicBezTo>
                    <a:pt x="33" y="80"/>
                    <a:pt x="32" y="80"/>
                    <a:pt x="32" y="79"/>
                  </a:cubicBezTo>
                  <a:cubicBezTo>
                    <a:pt x="32" y="78"/>
                    <a:pt x="32" y="77"/>
                    <a:pt x="33" y="78"/>
                  </a:cubicBezTo>
                  <a:cubicBezTo>
                    <a:pt x="34" y="78"/>
                    <a:pt x="33" y="77"/>
                    <a:pt x="34" y="78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7" y="79"/>
                    <a:pt x="36" y="78"/>
                  </a:cubicBezTo>
                  <a:cubicBezTo>
                    <a:pt x="36" y="77"/>
                    <a:pt x="35" y="76"/>
                    <a:pt x="35" y="76"/>
                  </a:cubicBezTo>
                  <a:cubicBezTo>
                    <a:pt x="35" y="76"/>
                    <a:pt x="34" y="76"/>
                    <a:pt x="34" y="75"/>
                  </a:cubicBezTo>
                  <a:cubicBezTo>
                    <a:pt x="34" y="74"/>
                    <a:pt x="34" y="74"/>
                    <a:pt x="33" y="73"/>
                  </a:cubicBezTo>
                  <a:cubicBezTo>
                    <a:pt x="33" y="73"/>
                    <a:pt x="34" y="73"/>
                    <a:pt x="34" y="73"/>
                  </a:cubicBezTo>
                  <a:cubicBezTo>
                    <a:pt x="35" y="73"/>
                    <a:pt x="34" y="73"/>
                    <a:pt x="35" y="73"/>
                  </a:cubicBezTo>
                  <a:cubicBezTo>
                    <a:pt x="37" y="73"/>
                    <a:pt x="36" y="73"/>
                    <a:pt x="37" y="73"/>
                  </a:cubicBezTo>
                  <a:cubicBezTo>
                    <a:pt x="37" y="73"/>
                    <a:pt x="38" y="73"/>
                    <a:pt x="38" y="73"/>
                  </a:cubicBezTo>
                  <a:cubicBezTo>
                    <a:pt x="38" y="74"/>
                    <a:pt x="39" y="72"/>
                    <a:pt x="39" y="72"/>
                  </a:cubicBezTo>
                  <a:cubicBezTo>
                    <a:pt x="39" y="72"/>
                    <a:pt x="38" y="71"/>
                    <a:pt x="39" y="71"/>
                  </a:cubicBezTo>
                  <a:cubicBezTo>
                    <a:pt x="40" y="71"/>
                    <a:pt x="40" y="72"/>
                    <a:pt x="41" y="72"/>
                  </a:cubicBezTo>
                  <a:cubicBezTo>
                    <a:pt x="43" y="72"/>
                    <a:pt x="43" y="73"/>
                    <a:pt x="44" y="73"/>
                  </a:cubicBezTo>
                  <a:cubicBezTo>
                    <a:pt x="44" y="72"/>
                    <a:pt x="45" y="73"/>
                    <a:pt x="45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3" y="70"/>
                    <a:pt x="43" y="71"/>
                    <a:pt x="43" y="69"/>
                  </a:cubicBezTo>
                  <a:cubicBezTo>
                    <a:pt x="44" y="68"/>
                    <a:pt x="44" y="67"/>
                    <a:pt x="44" y="67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7" y="64"/>
                    <a:pt x="48" y="64"/>
                  </a:cubicBezTo>
                  <a:cubicBezTo>
                    <a:pt x="50" y="64"/>
                    <a:pt x="51" y="65"/>
                    <a:pt x="52" y="65"/>
                  </a:cubicBezTo>
                  <a:cubicBezTo>
                    <a:pt x="54" y="65"/>
                    <a:pt x="55" y="65"/>
                    <a:pt x="55" y="65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64"/>
                    <a:pt x="54" y="64"/>
                    <a:pt x="54" y="63"/>
                  </a:cubicBezTo>
                  <a:cubicBezTo>
                    <a:pt x="55" y="63"/>
                    <a:pt x="55" y="63"/>
                    <a:pt x="56" y="63"/>
                  </a:cubicBezTo>
                  <a:cubicBezTo>
                    <a:pt x="56" y="63"/>
                    <a:pt x="57" y="61"/>
                    <a:pt x="57" y="61"/>
                  </a:cubicBezTo>
                  <a:cubicBezTo>
                    <a:pt x="56" y="60"/>
                    <a:pt x="56" y="60"/>
                    <a:pt x="55" y="59"/>
                  </a:cubicBezTo>
                  <a:cubicBezTo>
                    <a:pt x="53" y="59"/>
                    <a:pt x="50" y="59"/>
                    <a:pt x="50" y="59"/>
                  </a:cubicBezTo>
                  <a:cubicBezTo>
                    <a:pt x="50" y="59"/>
                    <a:pt x="49" y="59"/>
                    <a:pt x="48" y="59"/>
                  </a:cubicBezTo>
                  <a:cubicBezTo>
                    <a:pt x="47" y="59"/>
                    <a:pt x="45" y="59"/>
                    <a:pt x="45" y="58"/>
                  </a:cubicBezTo>
                  <a:cubicBezTo>
                    <a:pt x="44" y="58"/>
                    <a:pt x="44" y="58"/>
                    <a:pt x="44" y="56"/>
                  </a:cubicBezTo>
                  <a:cubicBezTo>
                    <a:pt x="44" y="55"/>
                    <a:pt x="43" y="55"/>
                    <a:pt x="43" y="5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4" y="53"/>
                    <a:pt x="43" y="52"/>
                    <a:pt x="43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0" y="51"/>
                  </a:cubicBezTo>
                  <a:cubicBezTo>
                    <a:pt x="38" y="51"/>
                    <a:pt x="37" y="50"/>
                    <a:pt x="37" y="50"/>
                  </a:cubicBezTo>
                  <a:cubicBezTo>
                    <a:pt x="37" y="49"/>
                    <a:pt x="37" y="49"/>
                    <a:pt x="39" y="49"/>
                  </a:cubicBezTo>
                  <a:cubicBezTo>
                    <a:pt x="40" y="49"/>
                    <a:pt x="41" y="49"/>
                    <a:pt x="42" y="49"/>
                  </a:cubicBezTo>
                  <a:cubicBezTo>
                    <a:pt x="43" y="50"/>
                    <a:pt x="45" y="49"/>
                    <a:pt x="45" y="49"/>
                  </a:cubicBezTo>
                  <a:cubicBezTo>
                    <a:pt x="45" y="49"/>
                    <a:pt x="44" y="49"/>
                    <a:pt x="46" y="50"/>
                  </a:cubicBezTo>
                  <a:cubicBezTo>
                    <a:pt x="48" y="51"/>
                    <a:pt x="47" y="51"/>
                    <a:pt x="48" y="51"/>
                  </a:cubicBezTo>
                  <a:cubicBezTo>
                    <a:pt x="49" y="51"/>
                    <a:pt x="50" y="50"/>
                    <a:pt x="49" y="50"/>
                  </a:cubicBezTo>
                  <a:cubicBezTo>
                    <a:pt x="49" y="49"/>
                    <a:pt x="50" y="49"/>
                    <a:pt x="49" y="4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7"/>
                  </a:cubicBezTo>
                  <a:cubicBezTo>
                    <a:pt x="48" y="46"/>
                    <a:pt x="49" y="45"/>
                    <a:pt x="49" y="45"/>
                  </a:cubicBezTo>
                  <a:cubicBezTo>
                    <a:pt x="50" y="45"/>
                    <a:pt x="50" y="45"/>
                    <a:pt x="50" y="44"/>
                  </a:cubicBezTo>
                  <a:cubicBezTo>
                    <a:pt x="50" y="44"/>
                    <a:pt x="50" y="43"/>
                    <a:pt x="50" y="43"/>
                  </a:cubicBezTo>
                  <a:cubicBezTo>
                    <a:pt x="50" y="42"/>
                    <a:pt x="51" y="41"/>
                    <a:pt x="51" y="41"/>
                  </a:cubicBezTo>
                  <a:cubicBezTo>
                    <a:pt x="51" y="41"/>
                    <a:pt x="50" y="40"/>
                    <a:pt x="50" y="40"/>
                  </a:cubicBezTo>
                  <a:cubicBezTo>
                    <a:pt x="50" y="40"/>
                    <a:pt x="48" y="40"/>
                    <a:pt x="48" y="41"/>
                  </a:cubicBezTo>
                  <a:cubicBezTo>
                    <a:pt x="48" y="41"/>
                    <a:pt x="48" y="41"/>
                    <a:pt x="48" y="42"/>
                  </a:cubicBezTo>
                  <a:cubicBezTo>
                    <a:pt x="47" y="42"/>
                    <a:pt x="47" y="42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4"/>
                    <a:pt x="45" y="45"/>
                    <a:pt x="45" y="45"/>
                  </a:cubicBezTo>
                  <a:cubicBezTo>
                    <a:pt x="45" y="45"/>
                    <a:pt x="44" y="43"/>
                    <a:pt x="44" y="42"/>
                  </a:cubicBezTo>
                  <a:cubicBezTo>
                    <a:pt x="44" y="42"/>
                    <a:pt x="45" y="41"/>
                    <a:pt x="46" y="41"/>
                  </a:cubicBezTo>
                  <a:cubicBezTo>
                    <a:pt x="47" y="41"/>
                    <a:pt x="47" y="41"/>
                    <a:pt x="47" y="40"/>
                  </a:cubicBezTo>
                  <a:cubicBezTo>
                    <a:pt x="47" y="40"/>
                    <a:pt x="47" y="40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7"/>
                    <a:pt x="49" y="36"/>
                    <a:pt x="50" y="36"/>
                  </a:cubicBezTo>
                  <a:cubicBezTo>
                    <a:pt x="50" y="36"/>
                    <a:pt x="49" y="34"/>
                    <a:pt x="51" y="36"/>
                  </a:cubicBezTo>
                  <a:cubicBezTo>
                    <a:pt x="52" y="37"/>
                    <a:pt x="52" y="37"/>
                    <a:pt x="53" y="38"/>
                  </a:cubicBezTo>
                  <a:cubicBezTo>
                    <a:pt x="54" y="38"/>
                    <a:pt x="56" y="39"/>
                    <a:pt x="56" y="38"/>
                  </a:cubicBezTo>
                  <a:cubicBezTo>
                    <a:pt x="56" y="38"/>
                    <a:pt x="56" y="37"/>
                    <a:pt x="56" y="36"/>
                  </a:cubicBezTo>
                  <a:cubicBezTo>
                    <a:pt x="56" y="36"/>
                    <a:pt x="55" y="36"/>
                    <a:pt x="56" y="35"/>
                  </a:cubicBezTo>
                  <a:cubicBezTo>
                    <a:pt x="56" y="35"/>
                    <a:pt x="56" y="35"/>
                    <a:pt x="57" y="35"/>
                  </a:cubicBezTo>
                  <a:cubicBezTo>
                    <a:pt x="59" y="36"/>
                    <a:pt x="58" y="36"/>
                    <a:pt x="59" y="37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2" y="38"/>
                    <a:pt x="62" y="38"/>
                    <a:pt x="63" y="38"/>
                  </a:cubicBezTo>
                  <a:cubicBezTo>
                    <a:pt x="64" y="38"/>
                    <a:pt x="63" y="37"/>
                    <a:pt x="65" y="39"/>
                  </a:cubicBezTo>
                  <a:cubicBezTo>
                    <a:pt x="66" y="40"/>
                    <a:pt x="66" y="40"/>
                    <a:pt x="67" y="40"/>
                  </a:cubicBezTo>
                  <a:cubicBezTo>
                    <a:pt x="68" y="41"/>
                    <a:pt x="70" y="40"/>
                    <a:pt x="70" y="40"/>
                  </a:cubicBezTo>
                  <a:cubicBezTo>
                    <a:pt x="70" y="40"/>
                    <a:pt x="70" y="39"/>
                    <a:pt x="71" y="41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6"/>
                  </a:cubicBezTo>
                  <a:cubicBezTo>
                    <a:pt x="74" y="46"/>
                    <a:pt x="74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7" y="46"/>
                    <a:pt x="77" y="46"/>
                  </a:cubicBezTo>
                  <a:cubicBezTo>
                    <a:pt x="77" y="46"/>
                    <a:pt x="79" y="45"/>
                    <a:pt x="79" y="45"/>
                  </a:cubicBezTo>
                  <a:cubicBezTo>
                    <a:pt x="79" y="45"/>
                    <a:pt x="79" y="44"/>
                    <a:pt x="81" y="45"/>
                  </a:cubicBezTo>
                  <a:cubicBezTo>
                    <a:pt x="82" y="45"/>
                    <a:pt x="84" y="46"/>
                    <a:pt x="84" y="46"/>
                  </a:cubicBezTo>
                  <a:cubicBezTo>
                    <a:pt x="84" y="46"/>
                    <a:pt x="84" y="47"/>
                    <a:pt x="84" y="47"/>
                  </a:cubicBezTo>
                  <a:cubicBezTo>
                    <a:pt x="85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50"/>
                    <a:pt x="91" y="52"/>
                    <a:pt x="91" y="52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0" y="48"/>
                    <a:pt x="92" y="48"/>
                  </a:cubicBezTo>
                  <a:cubicBezTo>
                    <a:pt x="94" y="48"/>
                    <a:pt x="95" y="47"/>
                    <a:pt x="95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4"/>
                    <a:pt x="92" y="44"/>
                  </a:cubicBezTo>
                  <a:cubicBezTo>
                    <a:pt x="93" y="44"/>
                    <a:pt x="94" y="42"/>
                    <a:pt x="96" y="42"/>
                  </a:cubicBezTo>
                  <a:cubicBezTo>
                    <a:pt x="98" y="42"/>
                    <a:pt x="100" y="41"/>
                    <a:pt x="100" y="41"/>
                  </a:cubicBezTo>
                  <a:cubicBezTo>
                    <a:pt x="100" y="41"/>
                    <a:pt x="100" y="40"/>
                    <a:pt x="102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7" y="40"/>
                    <a:pt x="107" y="40"/>
                    <a:pt x="107" y="39"/>
                  </a:cubicBezTo>
                  <a:cubicBezTo>
                    <a:pt x="107" y="38"/>
                    <a:pt x="106" y="38"/>
                    <a:pt x="108" y="37"/>
                  </a:cubicBezTo>
                  <a:cubicBezTo>
                    <a:pt x="109" y="37"/>
                    <a:pt x="110" y="36"/>
                    <a:pt x="110" y="36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7" y="34"/>
                    <a:pt x="107" y="32"/>
                    <a:pt x="106" y="32"/>
                  </a:cubicBezTo>
                  <a:cubicBezTo>
                    <a:pt x="105" y="32"/>
                    <a:pt x="102" y="34"/>
                    <a:pt x="102" y="34"/>
                  </a:cubicBezTo>
                  <a:cubicBezTo>
                    <a:pt x="102" y="34"/>
                    <a:pt x="102" y="33"/>
                    <a:pt x="101" y="33"/>
                  </a:cubicBezTo>
                  <a:cubicBezTo>
                    <a:pt x="101" y="32"/>
                    <a:pt x="101" y="32"/>
                    <a:pt x="100" y="32"/>
                  </a:cubicBezTo>
                  <a:cubicBezTo>
                    <a:pt x="99" y="32"/>
                    <a:pt x="100" y="32"/>
                    <a:pt x="98" y="31"/>
                  </a:cubicBezTo>
                  <a:cubicBezTo>
                    <a:pt x="96" y="30"/>
                    <a:pt x="95" y="28"/>
                    <a:pt x="95" y="28"/>
                  </a:cubicBezTo>
                  <a:cubicBezTo>
                    <a:pt x="95" y="28"/>
                    <a:pt x="96" y="28"/>
                    <a:pt x="94" y="28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6"/>
                    <a:pt x="92" y="26"/>
                    <a:pt x="94" y="25"/>
                  </a:cubicBezTo>
                  <a:cubicBezTo>
                    <a:pt x="95" y="24"/>
                    <a:pt x="94" y="24"/>
                    <a:pt x="96" y="23"/>
                  </a:cubicBezTo>
                  <a:cubicBezTo>
                    <a:pt x="97" y="22"/>
                    <a:pt x="96" y="21"/>
                    <a:pt x="98" y="22"/>
                  </a:cubicBezTo>
                  <a:cubicBezTo>
                    <a:pt x="101" y="23"/>
                    <a:pt x="101" y="23"/>
                    <a:pt x="102" y="24"/>
                  </a:cubicBezTo>
                  <a:cubicBezTo>
                    <a:pt x="103" y="24"/>
                    <a:pt x="107" y="24"/>
                    <a:pt x="105" y="23"/>
                  </a:cubicBezTo>
                  <a:cubicBezTo>
                    <a:pt x="104" y="22"/>
                    <a:pt x="102" y="21"/>
                    <a:pt x="102" y="20"/>
                  </a:cubicBezTo>
                  <a:cubicBezTo>
                    <a:pt x="102" y="20"/>
                    <a:pt x="100" y="20"/>
                    <a:pt x="102" y="20"/>
                  </a:cubicBezTo>
                  <a:cubicBezTo>
                    <a:pt x="103" y="20"/>
                    <a:pt x="104" y="19"/>
                    <a:pt x="105" y="20"/>
                  </a:cubicBezTo>
                  <a:cubicBezTo>
                    <a:pt x="105" y="20"/>
                    <a:pt x="103" y="20"/>
                    <a:pt x="106" y="20"/>
                  </a:cubicBezTo>
                  <a:cubicBezTo>
                    <a:pt x="109" y="20"/>
                    <a:pt x="110" y="20"/>
                    <a:pt x="108" y="19"/>
                  </a:cubicBezTo>
                  <a:cubicBezTo>
                    <a:pt x="107" y="18"/>
                    <a:pt x="107" y="18"/>
                    <a:pt x="106" y="17"/>
                  </a:cubicBezTo>
                  <a:cubicBezTo>
                    <a:pt x="106" y="16"/>
                    <a:pt x="105" y="16"/>
                    <a:pt x="106" y="16"/>
                  </a:cubicBezTo>
                  <a:cubicBezTo>
                    <a:pt x="106" y="15"/>
                    <a:pt x="106" y="16"/>
                    <a:pt x="107" y="15"/>
                  </a:cubicBezTo>
                  <a:cubicBezTo>
                    <a:pt x="107" y="14"/>
                    <a:pt x="107" y="13"/>
                    <a:pt x="107" y="13"/>
                  </a:cubicBezTo>
                  <a:cubicBezTo>
                    <a:pt x="107" y="13"/>
                    <a:pt x="106" y="13"/>
                    <a:pt x="107" y="12"/>
                  </a:cubicBezTo>
                  <a:cubicBezTo>
                    <a:pt x="109" y="10"/>
                    <a:pt x="109" y="10"/>
                    <a:pt x="110" y="10"/>
                  </a:cubicBezTo>
                  <a:cubicBezTo>
                    <a:pt x="110" y="10"/>
                    <a:pt x="111" y="9"/>
                    <a:pt x="112" y="9"/>
                  </a:cubicBezTo>
                  <a:cubicBezTo>
                    <a:pt x="112" y="8"/>
                    <a:pt x="113" y="6"/>
                    <a:pt x="113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7" y="6"/>
                    <a:pt x="117" y="6"/>
                  </a:cubicBezTo>
                  <a:cubicBezTo>
                    <a:pt x="117" y="7"/>
                    <a:pt x="117" y="5"/>
                    <a:pt x="117" y="5"/>
                  </a:cubicBezTo>
                  <a:cubicBezTo>
                    <a:pt x="117" y="5"/>
                    <a:pt x="118" y="5"/>
                    <a:pt x="118" y="5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20" y="7"/>
                    <a:pt x="121" y="6"/>
                    <a:pt x="121" y="6"/>
                  </a:cubicBezTo>
                  <a:cubicBezTo>
                    <a:pt x="121" y="6"/>
                    <a:pt x="122" y="5"/>
                    <a:pt x="123" y="5"/>
                  </a:cubicBezTo>
                  <a:cubicBezTo>
                    <a:pt x="124" y="5"/>
                    <a:pt x="125" y="5"/>
                    <a:pt x="125" y="5"/>
                  </a:cubicBezTo>
                  <a:cubicBezTo>
                    <a:pt x="125" y="6"/>
                    <a:pt x="125" y="6"/>
                    <a:pt x="125" y="7"/>
                  </a:cubicBezTo>
                  <a:cubicBezTo>
                    <a:pt x="126" y="7"/>
                    <a:pt x="127" y="8"/>
                    <a:pt x="127" y="8"/>
                  </a:cubicBezTo>
                  <a:cubicBezTo>
                    <a:pt x="127" y="8"/>
                    <a:pt x="129" y="8"/>
                    <a:pt x="129" y="7"/>
                  </a:cubicBezTo>
                  <a:cubicBezTo>
                    <a:pt x="129" y="7"/>
                    <a:pt x="128" y="7"/>
                    <a:pt x="130" y="6"/>
                  </a:cubicBezTo>
                  <a:cubicBezTo>
                    <a:pt x="132" y="4"/>
                    <a:pt x="133" y="4"/>
                    <a:pt x="133" y="4"/>
                  </a:cubicBezTo>
                  <a:cubicBezTo>
                    <a:pt x="133" y="4"/>
                    <a:pt x="133" y="3"/>
                    <a:pt x="134" y="3"/>
                  </a:cubicBezTo>
                  <a:cubicBezTo>
                    <a:pt x="135" y="4"/>
                    <a:pt x="135" y="3"/>
                    <a:pt x="135" y="4"/>
                  </a:cubicBezTo>
                  <a:cubicBezTo>
                    <a:pt x="135" y="4"/>
                    <a:pt x="136" y="5"/>
                    <a:pt x="136" y="5"/>
                  </a:cubicBezTo>
                  <a:cubicBezTo>
                    <a:pt x="136" y="5"/>
                    <a:pt x="136" y="8"/>
                    <a:pt x="136" y="8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10"/>
                    <a:pt x="136" y="10"/>
                  </a:cubicBezTo>
                  <a:cubicBezTo>
                    <a:pt x="136" y="11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6" y="14"/>
                    <a:pt x="136" y="13"/>
                    <a:pt x="136" y="14"/>
                  </a:cubicBezTo>
                  <a:cubicBezTo>
                    <a:pt x="135" y="15"/>
                    <a:pt x="136" y="15"/>
                    <a:pt x="135" y="16"/>
                  </a:cubicBezTo>
                  <a:cubicBezTo>
                    <a:pt x="135" y="16"/>
                    <a:pt x="134" y="16"/>
                    <a:pt x="134" y="16"/>
                  </a:cubicBezTo>
                  <a:cubicBezTo>
                    <a:pt x="134" y="16"/>
                    <a:pt x="135" y="17"/>
                    <a:pt x="135" y="17"/>
                  </a:cubicBezTo>
                  <a:cubicBezTo>
                    <a:pt x="135" y="17"/>
                    <a:pt x="135" y="17"/>
                    <a:pt x="136" y="17"/>
                  </a:cubicBezTo>
                  <a:cubicBezTo>
                    <a:pt x="136" y="17"/>
                    <a:pt x="136" y="16"/>
                    <a:pt x="137" y="16"/>
                  </a:cubicBezTo>
                  <a:cubicBezTo>
                    <a:pt x="137" y="17"/>
                    <a:pt x="137" y="15"/>
                    <a:pt x="137" y="15"/>
                  </a:cubicBezTo>
                  <a:cubicBezTo>
                    <a:pt x="137" y="15"/>
                    <a:pt x="137" y="15"/>
                    <a:pt x="138" y="14"/>
                  </a:cubicBezTo>
                  <a:cubicBezTo>
                    <a:pt x="138" y="14"/>
                    <a:pt x="139" y="13"/>
                    <a:pt x="139" y="12"/>
                  </a:cubicBezTo>
                  <a:cubicBezTo>
                    <a:pt x="139" y="12"/>
                    <a:pt x="138" y="11"/>
                    <a:pt x="138" y="11"/>
                  </a:cubicBezTo>
                  <a:cubicBezTo>
                    <a:pt x="138" y="11"/>
                    <a:pt x="137" y="9"/>
                    <a:pt x="137" y="8"/>
                  </a:cubicBezTo>
                  <a:cubicBezTo>
                    <a:pt x="137" y="8"/>
                    <a:pt x="137" y="8"/>
                    <a:pt x="137" y="7"/>
                  </a:cubicBezTo>
                  <a:cubicBezTo>
                    <a:pt x="138" y="7"/>
                    <a:pt x="138" y="6"/>
                    <a:pt x="138" y="6"/>
                  </a:cubicBezTo>
                  <a:cubicBezTo>
                    <a:pt x="139" y="5"/>
                    <a:pt x="140" y="4"/>
                    <a:pt x="140" y="4"/>
                  </a:cubicBezTo>
                  <a:cubicBezTo>
                    <a:pt x="140" y="4"/>
                    <a:pt x="142" y="4"/>
                    <a:pt x="143" y="4"/>
                  </a:cubicBezTo>
                  <a:cubicBezTo>
                    <a:pt x="143" y="4"/>
                    <a:pt x="142" y="3"/>
                    <a:pt x="144" y="4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6"/>
                    <a:pt x="144" y="6"/>
                    <a:pt x="146" y="6"/>
                  </a:cubicBezTo>
                  <a:cubicBezTo>
                    <a:pt x="147" y="6"/>
                    <a:pt x="148" y="6"/>
                    <a:pt x="147" y="6"/>
                  </a:cubicBezTo>
                  <a:cubicBezTo>
                    <a:pt x="146" y="5"/>
                    <a:pt x="146" y="4"/>
                    <a:pt x="145" y="4"/>
                  </a:cubicBezTo>
                  <a:cubicBezTo>
                    <a:pt x="145" y="4"/>
                    <a:pt x="144" y="3"/>
                    <a:pt x="144" y="3"/>
                  </a:cubicBezTo>
                  <a:cubicBezTo>
                    <a:pt x="144" y="2"/>
                    <a:pt x="144" y="0"/>
                    <a:pt x="145" y="1"/>
                  </a:cubicBezTo>
                  <a:cubicBezTo>
                    <a:pt x="146" y="1"/>
                    <a:pt x="145" y="0"/>
                    <a:pt x="146" y="1"/>
                  </a:cubicBezTo>
                  <a:cubicBezTo>
                    <a:pt x="148" y="3"/>
                    <a:pt x="149" y="4"/>
                    <a:pt x="149" y="4"/>
                  </a:cubicBezTo>
                  <a:cubicBezTo>
                    <a:pt x="149" y="5"/>
                    <a:pt x="150" y="5"/>
                    <a:pt x="150" y="5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1" y="7"/>
                    <a:pt x="152" y="8"/>
                    <a:pt x="152" y="8"/>
                  </a:cubicBezTo>
                  <a:cubicBezTo>
                    <a:pt x="152" y="8"/>
                    <a:pt x="152" y="8"/>
                    <a:pt x="153" y="8"/>
                  </a:cubicBezTo>
                  <a:cubicBezTo>
                    <a:pt x="153" y="9"/>
                    <a:pt x="155" y="10"/>
                    <a:pt x="155" y="10"/>
                  </a:cubicBezTo>
                  <a:cubicBezTo>
                    <a:pt x="155" y="10"/>
                    <a:pt x="156" y="11"/>
                    <a:pt x="156" y="11"/>
                  </a:cubicBezTo>
                  <a:cubicBezTo>
                    <a:pt x="155" y="12"/>
                    <a:pt x="155" y="13"/>
                    <a:pt x="155" y="13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1" y="20"/>
                    <a:pt x="151" y="21"/>
                    <a:pt x="151" y="21"/>
                  </a:cubicBezTo>
                  <a:cubicBezTo>
                    <a:pt x="151" y="21"/>
                    <a:pt x="150" y="22"/>
                    <a:pt x="148" y="22"/>
                  </a:cubicBezTo>
                  <a:cubicBezTo>
                    <a:pt x="146" y="21"/>
                    <a:pt x="144" y="23"/>
                    <a:pt x="144" y="23"/>
                  </a:cubicBezTo>
                  <a:cubicBezTo>
                    <a:pt x="144" y="23"/>
                    <a:pt x="139" y="22"/>
                    <a:pt x="138" y="22"/>
                  </a:cubicBezTo>
                  <a:cubicBezTo>
                    <a:pt x="137" y="22"/>
                    <a:pt x="137" y="26"/>
                    <a:pt x="137" y="27"/>
                  </a:cubicBezTo>
                  <a:cubicBezTo>
                    <a:pt x="137" y="28"/>
                    <a:pt x="135" y="29"/>
                    <a:pt x="132" y="29"/>
                  </a:cubicBezTo>
                  <a:cubicBezTo>
                    <a:pt x="129" y="30"/>
                    <a:pt x="131" y="30"/>
                    <a:pt x="130" y="33"/>
                  </a:cubicBezTo>
                  <a:cubicBezTo>
                    <a:pt x="129" y="37"/>
                    <a:pt x="128" y="34"/>
                    <a:pt x="126" y="33"/>
                  </a:cubicBezTo>
                  <a:cubicBezTo>
                    <a:pt x="124" y="33"/>
                    <a:pt x="124" y="33"/>
                    <a:pt x="121" y="33"/>
                  </a:cubicBezTo>
                  <a:cubicBezTo>
                    <a:pt x="118" y="34"/>
                    <a:pt x="120" y="36"/>
                    <a:pt x="120" y="36"/>
                  </a:cubicBezTo>
                  <a:cubicBezTo>
                    <a:pt x="120" y="36"/>
                    <a:pt x="122" y="38"/>
                    <a:pt x="123" y="38"/>
                  </a:cubicBezTo>
                  <a:cubicBezTo>
                    <a:pt x="125" y="39"/>
                    <a:pt x="123" y="41"/>
                    <a:pt x="123" y="41"/>
                  </a:cubicBezTo>
                  <a:cubicBezTo>
                    <a:pt x="123" y="41"/>
                    <a:pt x="122" y="43"/>
                    <a:pt x="121" y="43"/>
                  </a:cubicBezTo>
                  <a:cubicBezTo>
                    <a:pt x="120" y="42"/>
                    <a:pt x="115" y="42"/>
                    <a:pt x="115" y="42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1" y="49"/>
                    <a:pt x="114" y="53"/>
                  </a:cubicBezTo>
                  <a:cubicBezTo>
                    <a:pt x="117" y="57"/>
                    <a:pt x="114" y="54"/>
                    <a:pt x="114" y="54"/>
                  </a:cubicBezTo>
                  <a:cubicBezTo>
                    <a:pt x="114" y="54"/>
                    <a:pt x="115" y="57"/>
                    <a:pt x="115" y="59"/>
                  </a:cubicBezTo>
                  <a:cubicBezTo>
                    <a:pt x="115" y="61"/>
                    <a:pt x="115" y="60"/>
                    <a:pt x="116" y="60"/>
                  </a:cubicBezTo>
                  <a:cubicBezTo>
                    <a:pt x="117" y="60"/>
                    <a:pt x="119" y="60"/>
                    <a:pt x="119" y="60"/>
                  </a:cubicBezTo>
                  <a:cubicBezTo>
                    <a:pt x="119" y="60"/>
                    <a:pt x="123" y="66"/>
                    <a:pt x="123" y="66"/>
                  </a:cubicBezTo>
                  <a:cubicBezTo>
                    <a:pt x="124" y="66"/>
                    <a:pt x="129" y="65"/>
                    <a:pt x="129" y="65"/>
                  </a:cubicBezTo>
                  <a:cubicBezTo>
                    <a:pt x="129" y="65"/>
                    <a:pt x="133" y="64"/>
                    <a:pt x="135" y="64"/>
                  </a:cubicBezTo>
                  <a:cubicBezTo>
                    <a:pt x="137" y="63"/>
                    <a:pt x="135" y="61"/>
                    <a:pt x="135" y="61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50" y="70"/>
                    <a:pt x="150" y="70"/>
                    <a:pt x="150" y="70"/>
                  </a:cubicBezTo>
                  <a:cubicBezTo>
                    <a:pt x="151" y="75"/>
                    <a:pt x="151" y="75"/>
                    <a:pt x="151" y="75"/>
                  </a:cubicBezTo>
                  <a:cubicBezTo>
                    <a:pt x="151" y="75"/>
                    <a:pt x="156" y="76"/>
                    <a:pt x="157" y="77"/>
                  </a:cubicBezTo>
                  <a:cubicBezTo>
                    <a:pt x="158" y="77"/>
                    <a:pt x="161" y="76"/>
                    <a:pt x="161" y="76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66" y="80"/>
                    <a:pt x="166" y="80"/>
                    <a:pt x="166" y="80"/>
                  </a:cubicBezTo>
                  <a:cubicBezTo>
                    <a:pt x="166" y="81"/>
                    <a:pt x="166" y="81"/>
                    <a:pt x="166" y="81"/>
                  </a:cubicBezTo>
                  <a:cubicBezTo>
                    <a:pt x="166" y="81"/>
                    <a:pt x="166" y="83"/>
                    <a:pt x="165" y="83"/>
                  </a:cubicBezTo>
                  <a:cubicBezTo>
                    <a:pt x="163" y="82"/>
                    <a:pt x="162" y="82"/>
                    <a:pt x="162" y="82"/>
                  </a:cubicBezTo>
                  <a:cubicBezTo>
                    <a:pt x="159" y="80"/>
                    <a:pt x="159" y="80"/>
                    <a:pt x="159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5"/>
                    <a:pt x="159" y="95"/>
                    <a:pt x="159" y="95"/>
                  </a:cubicBezTo>
                  <a:cubicBezTo>
                    <a:pt x="157" y="98"/>
                    <a:pt x="157" y="98"/>
                    <a:pt x="157" y="98"/>
                  </a:cubicBezTo>
                  <a:cubicBezTo>
                    <a:pt x="157" y="98"/>
                    <a:pt x="158" y="100"/>
                    <a:pt x="158" y="101"/>
                  </a:cubicBezTo>
                  <a:cubicBezTo>
                    <a:pt x="158" y="101"/>
                    <a:pt x="160" y="103"/>
                    <a:pt x="160" y="103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158" y="112"/>
                    <a:pt x="158" y="112"/>
                    <a:pt x="158" y="112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4"/>
                    <a:pt x="160" y="115"/>
                    <a:pt x="159" y="115"/>
                  </a:cubicBezTo>
                  <a:cubicBezTo>
                    <a:pt x="158" y="115"/>
                    <a:pt x="156" y="115"/>
                    <a:pt x="156" y="115"/>
                  </a:cubicBezTo>
                  <a:cubicBezTo>
                    <a:pt x="156" y="115"/>
                    <a:pt x="156" y="116"/>
                    <a:pt x="156" y="117"/>
                  </a:cubicBezTo>
                  <a:cubicBezTo>
                    <a:pt x="156" y="117"/>
                    <a:pt x="157" y="119"/>
                    <a:pt x="157" y="119"/>
                  </a:cubicBezTo>
                  <a:cubicBezTo>
                    <a:pt x="157" y="119"/>
                    <a:pt x="158" y="119"/>
                    <a:pt x="158" y="120"/>
                  </a:cubicBezTo>
                  <a:cubicBezTo>
                    <a:pt x="158" y="121"/>
                    <a:pt x="157" y="123"/>
                    <a:pt x="157" y="123"/>
                  </a:cubicBezTo>
                  <a:cubicBezTo>
                    <a:pt x="157" y="123"/>
                    <a:pt x="156" y="127"/>
                    <a:pt x="156" y="127"/>
                  </a:cubicBezTo>
                  <a:cubicBezTo>
                    <a:pt x="157" y="127"/>
                    <a:pt x="157" y="129"/>
                    <a:pt x="157" y="129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1" y="143"/>
                    <a:pt x="151" y="144"/>
                  </a:cubicBezTo>
                  <a:cubicBezTo>
                    <a:pt x="151" y="144"/>
                    <a:pt x="150" y="145"/>
                    <a:pt x="150" y="146"/>
                  </a:cubicBezTo>
                  <a:cubicBezTo>
                    <a:pt x="150" y="147"/>
                    <a:pt x="149" y="148"/>
                    <a:pt x="149" y="148"/>
                  </a:cubicBezTo>
                  <a:cubicBezTo>
                    <a:pt x="148" y="149"/>
                    <a:pt x="146" y="151"/>
                    <a:pt x="146" y="151"/>
                  </a:cubicBezTo>
                  <a:cubicBezTo>
                    <a:pt x="145" y="153"/>
                    <a:pt x="145" y="153"/>
                    <a:pt x="145" y="153"/>
                  </a:cubicBezTo>
                  <a:cubicBezTo>
                    <a:pt x="145" y="153"/>
                    <a:pt x="146" y="155"/>
                    <a:pt x="146" y="155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4" y="158"/>
                    <a:pt x="144" y="158"/>
                    <a:pt x="144" y="158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39" y="162"/>
                    <a:pt x="139" y="163"/>
                    <a:pt x="138" y="164"/>
                  </a:cubicBezTo>
                  <a:cubicBezTo>
                    <a:pt x="138" y="166"/>
                    <a:pt x="137" y="166"/>
                    <a:pt x="137" y="166"/>
                  </a:cubicBezTo>
                  <a:cubicBezTo>
                    <a:pt x="137" y="166"/>
                    <a:pt x="136" y="166"/>
                    <a:pt x="135" y="166"/>
                  </a:cubicBezTo>
                  <a:cubicBezTo>
                    <a:pt x="135" y="166"/>
                    <a:pt x="134" y="165"/>
                    <a:pt x="134" y="165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34" y="167"/>
                    <a:pt x="134" y="168"/>
                    <a:pt x="135" y="168"/>
                  </a:cubicBezTo>
                  <a:cubicBezTo>
                    <a:pt x="136" y="169"/>
                    <a:pt x="136" y="170"/>
                    <a:pt x="137" y="170"/>
                  </a:cubicBezTo>
                  <a:cubicBezTo>
                    <a:pt x="137" y="171"/>
                    <a:pt x="138" y="172"/>
                    <a:pt x="138" y="172"/>
                  </a:cubicBezTo>
                  <a:cubicBezTo>
                    <a:pt x="136" y="174"/>
                    <a:pt x="136" y="174"/>
                    <a:pt x="136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4" y="175"/>
                    <a:pt x="134" y="175"/>
                    <a:pt x="134" y="175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33" y="174"/>
                    <a:pt x="132" y="174"/>
                    <a:pt x="132" y="174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6" name="Freeform 45"/>
            <p:cNvSpPr>
              <a:spLocks/>
            </p:cNvSpPr>
            <p:nvPr/>
          </p:nvSpPr>
          <p:spPr bwMode="auto">
            <a:xfrm>
              <a:off x="3117355" y="3610127"/>
              <a:ext cx="405690" cy="613681"/>
            </a:xfrm>
            <a:custGeom>
              <a:avLst/>
              <a:gdLst>
                <a:gd name="T0" fmla="*/ 84 w 178"/>
                <a:gd name="T1" fmla="*/ 3 h 278"/>
                <a:gd name="T2" fmla="*/ 97 w 178"/>
                <a:gd name="T3" fmla="*/ 2 h 278"/>
                <a:gd name="T4" fmla="*/ 107 w 178"/>
                <a:gd name="T5" fmla="*/ 5 h 278"/>
                <a:gd name="T6" fmla="*/ 102 w 178"/>
                <a:gd name="T7" fmla="*/ 16 h 278"/>
                <a:gd name="T8" fmla="*/ 113 w 178"/>
                <a:gd name="T9" fmla="*/ 16 h 278"/>
                <a:gd name="T10" fmla="*/ 119 w 178"/>
                <a:gd name="T11" fmla="*/ 18 h 278"/>
                <a:gd name="T12" fmla="*/ 126 w 178"/>
                <a:gd name="T13" fmla="*/ 24 h 278"/>
                <a:gd name="T14" fmla="*/ 134 w 178"/>
                <a:gd name="T15" fmla="*/ 25 h 278"/>
                <a:gd name="T16" fmla="*/ 145 w 178"/>
                <a:gd name="T17" fmla="*/ 19 h 278"/>
                <a:gd name="T18" fmla="*/ 154 w 178"/>
                <a:gd name="T19" fmla="*/ 24 h 278"/>
                <a:gd name="T20" fmla="*/ 164 w 178"/>
                <a:gd name="T21" fmla="*/ 27 h 278"/>
                <a:gd name="T22" fmla="*/ 167 w 178"/>
                <a:gd name="T23" fmla="*/ 34 h 278"/>
                <a:gd name="T24" fmla="*/ 165 w 178"/>
                <a:gd name="T25" fmla="*/ 42 h 278"/>
                <a:gd name="T26" fmla="*/ 178 w 178"/>
                <a:gd name="T27" fmla="*/ 50 h 278"/>
                <a:gd name="T28" fmla="*/ 168 w 178"/>
                <a:gd name="T29" fmla="*/ 59 h 278"/>
                <a:gd name="T30" fmla="*/ 156 w 178"/>
                <a:gd name="T31" fmla="*/ 65 h 278"/>
                <a:gd name="T32" fmla="*/ 144 w 178"/>
                <a:gd name="T33" fmla="*/ 74 h 278"/>
                <a:gd name="T34" fmla="*/ 142 w 178"/>
                <a:gd name="T35" fmla="*/ 81 h 278"/>
                <a:gd name="T36" fmla="*/ 141 w 178"/>
                <a:gd name="T37" fmla="*/ 92 h 278"/>
                <a:gd name="T38" fmla="*/ 137 w 178"/>
                <a:gd name="T39" fmla="*/ 103 h 278"/>
                <a:gd name="T40" fmla="*/ 135 w 178"/>
                <a:gd name="T41" fmla="*/ 112 h 278"/>
                <a:gd name="T42" fmla="*/ 126 w 178"/>
                <a:gd name="T43" fmla="*/ 117 h 278"/>
                <a:gd name="T44" fmla="*/ 130 w 178"/>
                <a:gd name="T45" fmla="*/ 128 h 278"/>
                <a:gd name="T46" fmla="*/ 123 w 178"/>
                <a:gd name="T47" fmla="*/ 137 h 278"/>
                <a:gd name="T48" fmla="*/ 120 w 178"/>
                <a:gd name="T49" fmla="*/ 144 h 278"/>
                <a:gd name="T50" fmla="*/ 111 w 178"/>
                <a:gd name="T51" fmla="*/ 143 h 278"/>
                <a:gd name="T52" fmla="*/ 102 w 178"/>
                <a:gd name="T53" fmla="*/ 141 h 278"/>
                <a:gd name="T54" fmla="*/ 102 w 178"/>
                <a:gd name="T55" fmla="*/ 149 h 278"/>
                <a:gd name="T56" fmla="*/ 103 w 178"/>
                <a:gd name="T57" fmla="*/ 157 h 278"/>
                <a:gd name="T58" fmla="*/ 104 w 178"/>
                <a:gd name="T59" fmla="*/ 166 h 278"/>
                <a:gd name="T60" fmla="*/ 107 w 178"/>
                <a:gd name="T61" fmla="*/ 174 h 278"/>
                <a:gd name="T62" fmla="*/ 114 w 178"/>
                <a:gd name="T63" fmla="*/ 180 h 278"/>
                <a:gd name="T64" fmla="*/ 106 w 178"/>
                <a:gd name="T65" fmla="*/ 189 h 278"/>
                <a:gd name="T66" fmla="*/ 96 w 178"/>
                <a:gd name="T67" fmla="*/ 196 h 278"/>
                <a:gd name="T68" fmla="*/ 93 w 178"/>
                <a:gd name="T69" fmla="*/ 205 h 278"/>
                <a:gd name="T70" fmla="*/ 94 w 178"/>
                <a:gd name="T71" fmla="*/ 214 h 278"/>
                <a:gd name="T72" fmla="*/ 100 w 178"/>
                <a:gd name="T73" fmla="*/ 224 h 278"/>
                <a:gd name="T74" fmla="*/ 100 w 178"/>
                <a:gd name="T75" fmla="*/ 233 h 278"/>
                <a:gd name="T76" fmla="*/ 91 w 178"/>
                <a:gd name="T77" fmla="*/ 233 h 278"/>
                <a:gd name="T78" fmla="*/ 80 w 178"/>
                <a:gd name="T79" fmla="*/ 243 h 278"/>
                <a:gd name="T80" fmla="*/ 71 w 178"/>
                <a:gd name="T81" fmla="*/ 254 h 278"/>
                <a:gd name="T82" fmla="*/ 71 w 178"/>
                <a:gd name="T83" fmla="*/ 268 h 278"/>
                <a:gd name="T84" fmla="*/ 62 w 178"/>
                <a:gd name="T85" fmla="*/ 275 h 278"/>
                <a:gd name="T86" fmla="*/ 40 w 178"/>
                <a:gd name="T87" fmla="*/ 274 h 278"/>
                <a:gd name="T88" fmla="*/ 26 w 178"/>
                <a:gd name="T89" fmla="*/ 268 h 278"/>
                <a:gd name="T90" fmla="*/ 11 w 178"/>
                <a:gd name="T91" fmla="*/ 265 h 278"/>
                <a:gd name="T92" fmla="*/ 4 w 178"/>
                <a:gd name="T93" fmla="*/ 261 h 278"/>
                <a:gd name="T94" fmla="*/ 14 w 178"/>
                <a:gd name="T95" fmla="*/ 247 h 278"/>
                <a:gd name="T96" fmla="*/ 21 w 178"/>
                <a:gd name="T97" fmla="*/ 225 h 278"/>
                <a:gd name="T98" fmla="*/ 28 w 178"/>
                <a:gd name="T99" fmla="*/ 199 h 278"/>
                <a:gd name="T100" fmla="*/ 25 w 178"/>
                <a:gd name="T101" fmla="*/ 188 h 278"/>
                <a:gd name="T102" fmla="*/ 11 w 178"/>
                <a:gd name="T103" fmla="*/ 188 h 278"/>
                <a:gd name="T104" fmla="*/ 14 w 178"/>
                <a:gd name="T105" fmla="*/ 174 h 278"/>
                <a:gd name="T106" fmla="*/ 4 w 178"/>
                <a:gd name="T107" fmla="*/ 171 h 278"/>
                <a:gd name="T108" fmla="*/ 11 w 178"/>
                <a:gd name="T109" fmla="*/ 157 h 278"/>
                <a:gd name="T110" fmla="*/ 18 w 178"/>
                <a:gd name="T111" fmla="*/ 143 h 278"/>
                <a:gd name="T112" fmla="*/ 22 w 178"/>
                <a:gd name="T113" fmla="*/ 135 h 278"/>
                <a:gd name="T114" fmla="*/ 32 w 178"/>
                <a:gd name="T115" fmla="*/ 129 h 278"/>
                <a:gd name="T116" fmla="*/ 49 w 178"/>
                <a:gd name="T117" fmla="*/ 98 h 278"/>
                <a:gd name="T118" fmla="*/ 71 w 178"/>
                <a:gd name="T119" fmla="*/ 55 h 278"/>
                <a:gd name="T120" fmla="*/ 70 w 178"/>
                <a:gd name="T121" fmla="*/ 32 h 278"/>
                <a:gd name="T122" fmla="*/ 72 w 178"/>
                <a:gd name="T123" fmla="*/ 1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278">
                  <a:moveTo>
                    <a:pt x="74" y="9"/>
                  </a:moveTo>
                  <a:cubicBezTo>
                    <a:pt x="74" y="9"/>
                    <a:pt x="78" y="6"/>
                    <a:pt x="78" y="6"/>
                  </a:cubicBezTo>
                  <a:cubicBezTo>
                    <a:pt x="78" y="6"/>
                    <a:pt x="79" y="5"/>
                    <a:pt x="79" y="5"/>
                  </a:cubicBezTo>
                  <a:cubicBezTo>
                    <a:pt x="80" y="5"/>
                    <a:pt x="81" y="5"/>
                    <a:pt x="82" y="5"/>
                  </a:cubicBezTo>
                  <a:cubicBezTo>
                    <a:pt x="82" y="5"/>
                    <a:pt x="83" y="4"/>
                    <a:pt x="83" y="4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8" y="2"/>
                    <a:pt x="88" y="2"/>
                    <a:pt x="88" y="2"/>
                  </a:cubicBezTo>
                  <a:cubicBezTo>
                    <a:pt x="88" y="2"/>
                    <a:pt x="89" y="2"/>
                    <a:pt x="89" y="2"/>
                  </a:cubicBezTo>
                  <a:cubicBezTo>
                    <a:pt x="89" y="2"/>
                    <a:pt x="93" y="1"/>
                    <a:pt x="93" y="1"/>
                  </a:cubicBezTo>
                  <a:cubicBezTo>
                    <a:pt x="93" y="1"/>
                    <a:pt x="94" y="2"/>
                    <a:pt x="95" y="2"/>
                  </a:cubicBezTo>
                  <a:cubicBezTo>
                    <a:pt x="95" y="2"/>
                    <a:pt x="97" y="2"/>
                    <a:pt x="97" y="2"/>
                  </a:cubicBezTo>
                  <a:cubicBezTo>
                    <a:pt x="98" y="2"/>
                    <a:pt x="100" y="1"/>
                    <a:pt x="100" y="1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4"/>
                    <a:pt x="105" y="4"/>
                  </a:cubicBezTo>
                  <a:cubicBezTo>
                    <a:pt x="105" y="4"/>
                    <a:pt x="105" y="5"/>
                    <a:pt x="106" y="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6"/>
                    <a:pt x="107" y="9"/>
                    <a:pt x="107" y="9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10"/>
                    <a:pt x="103" y="10"/>
                    <a:pt x="103" y="11"/>
                  </a:cubicBezTo>
                  <a:cubicBezTo>
                    <a:pt x="103" y="11"/>
                    <a:pt x="101" y="12"/>
                    <a:pt x="101" y="12"/>
                  </a:cubicBezTo>
                  <a:cubicBezTo>
                    <a:pt x="101" y="13"/>
                    <a:pt x="100" y="13"/>
                    <a:pt x="101" y="14"/>
                  </a:cubicBezTo>
                  <a:cubicBezTo>
                    <a:pt x="101" y="15"/>
                    <a:pt x="102" y="16"/>
                    <a:pt x="102" y="16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9"/>
                    <a:pt x="103" y="19"/>
                  </a:cubicBezTo>
                  <a:cubicBezTo>
                    <a:pt x="103" y="20"/>
                    <a:pt x="104" y="19"/>
                    <a:pt x="105" y="19"/>
                  </a:cubicBezTo>
                  <a:cubicBezTo>
                    <a:pt x="107" y="19"/>
                    <a:pt x="108" y="18"/>
                    <a:pt x="109" y="18"/>
                  </a:cubicBezTo>
                  <a:cubicBezTo>
                    <a:pt x="109" y="18"/>
                    <a:pt x="110" y="18"/>
                    <a:pt x="110" y="18"/>
                  </a:cubicBezTo>
                  <a:cubicBezTo>
                    <a:pt x="111" y="17"/>
                    <a:pt x="113" y="16"/>
                    <a:pt x="113" y="16"/>
                  </a:cubicBezTo>
                  <a:cubicBezTo>
                    <a:pt x="113" y="16"/>
                    <a:pt x="113" y="14"/>
                    <a:pt x="114" y="15"/>
                  </a:cubicBezTo>
                  <a:cubicBezTo>
                    <a:pt x="114" y="15"/>
                    <a:pt x="114" y="17"/>
                    <a:pt x="114" y="17"/>
                  </a:cubicBezTo>
                  <a:cubicBezTo>
                    <a:pt x="114" y="17"/>
                    <a:pt x="113" y="19"/>
                    <a:pt x="113" y="19"/>
                  </a:cubicBezTo>
                  <a:cubicBezTo>
                    <a:pt x="114" y="20"/>
                    <a:pt x="115" y="19"/>
                    <a:pt x="115" y="19"/>
                  </a:cubicBezTo>
                  <a:cubicBezTo>
                    <a:pt x="116" y="18"/>
                    <a:pt x="117" y="18"/>
                    <a:pt x="117" y="18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8"/>
                    <a:pt x="121" y="18"/>
                    <a:pt x="121" y="18"/>
                  </a:cubicBezTo>
                  <a:cubicBezTo>
                    <a:pt x="121" y="18"/>
                    <a:pt x="122" y="19"/>
                    <a:pt x="123" y="19"/>
                  </a:cubicBezTo>
                  <a:cubicBezTo>
                    <a:pt x="123" y="20"/>
                    <a:pt x="126" y="21"/>
                    <a:pt x="126" y="21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3"/>
                    <a:pt x="124" y="25"/>
                    <a:pt x="125" y="25"/>
                  </a:cubicBezTo>
                  <a:cubicBezTo>
                    <a:pt x="125" y="25"/>
                    <a:pt x="126" y="24"/>
                    <a:pt x="126" y="24"/>
                  </a:cubicBezTo>
                  <a:cubicBezTo>
                    <a:pt x="127" y="24"/>
                    <a:pt x="128" y="23"/>
                    <a:pt x="128" y="23"/>
                  </a:cubicBezTo>
                  <a:cubicBezTo>
                    <a:pt x="128" y="23"/>
                    <a:pt x="128" y="22"/>
                    <a:pt x="128" y="22"/>
                  </a:cubicBezTo>
                  <a:cubicBezTo>
                    <a:pt x="128" y="23"/>
                    <a:pt x="130" y="24"/>
                    <a:pt x="130" y="24"/>
                  </a:cubicBezTo>
                  <a:cubicBezTo>
                    <a:pt x="130" y="24"/>
                    <a:pt x="131" y="26"/>
                    <a:pt x="131" y="26"/>
                  </a:cubicBezTo>
                  <a:cubicBezTo>
                    <a:pt x="131" y="26"/>
                    <a:pt x="133" y="25"/>
                    <a:pt x="133" y="25"/>
                  </a:cubicBezTo>
                  <a:cubicBezTo>
                    <a:pt x="133" y="25"/>
                    <a:pt x="133" y="25"/>
                    <a:pt x="134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6" y="26"/>
                    <a:pt x="139" y="26"/>
                    <a:pt x="139" y="26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5" y="19"/>
                    <a:pt x="145" y="19"/>
                  </a:cubicBezTo>
                  <a:cubicBezTo>
                    <a:pt x="145" y="19"/>
                    <a:pt x="146" y="19"/>
                    <a:pt x="146" y="20"/>
                  </a:cubicBezTo>
                  <a:cubicBezTo>
                    <a:pt x="146" y="20"/>
                    <a:pt x="148" y="22"/>
                    <a:pt x="148" y="22"/>
                  </a:cubicBezTo>
                  <a:cubicBezTo>
                    <a:pt x="148" y="22"/>
                    <a:pt x="150" y="22"/>
                    <a:pt x="150" y="22"/>
                  </a:cubicBezTo>
                  <a:cubicBezTo>
                    <a:pt x="151" y="22"/>
                    <a:pt x="151" y="21"/>
                    <a:pt x="152" y="22"/>
                  </a:cubicBezTo>
                  <a:cubicBezTo>
                    <a:pt x="152" y="23"/>
                    <a:pt x="152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5" y="25"/>
                    <a:pt x="157" y="25"/>
                    <a:pt x="157" y="25"/>
                  </a:cubicBezTo>
                  <a:cubicBezTo>
                    <a:pt x="158" y="23"/>
                    <a:pt x="158" y="23"/>
                    <a:pt x="158" y="23"/>
                  </a:cubicBezTo>
                  <a:cubicBezTo>
                    <a:pt x="158" y="23"/>
                    <a:pt x="158" y="22"/>
                    <a:pt x="159" y="23"/>
                  </a:cubicBezTo>
                  <a:cubicBezTo>
                    <a:pt x="160" y="23"/>
                    <a:pt x="160" y="25"/>
                    <a:pt x="160" y="25"/>
                  </a:cubicBezTo>
                  <a:cubicBezTo>
                    <a:pt x="160" y="25"/>
                    <a:pt x="161" y="26"/>
                    <a:pt x="161" y="26"/>
                  </a:cubicBezTo>
                  <a:cubicBezTo>
                    <a:pt x="161" y="26"/>
                    <a:pt x="164" y="27"/>
                    <a:pt x="164" y="27"/>
                  </a:cubicBezTo>
                  <a:cubicBezTo>
                    <a:pt x="164" y="27"/>
                    <a:pt x="166" y="26"/>
                    <a:pt x="166" y="26"/>
                  </a:cubicBezTo>
                  <a:cubicBezTo>
                    <a:pt x="167" y="26"/>
                    <a:pt x="167" y="28"/>
                    <a:pt x="167" y="28"/>
                  </a:cubicBezTo>
                  <a:cubicBezTo>
                    <a:pt x="167" y="28"/>
                    <a:pt x="167" y="29"/>
                    <a:pt x="167" y="29"/>
                  </a:cubicBezTo>
                  <a:cubicBezTo>
                    <a:pt x="166" y="30"/>
                    <a:pt x="166" y="30"/>
                    <a:pt x="167" y="30"/>
                  </a:cubicBezTo>
                  <a:cubicBezTo>
                    <a:pt x="167" y="31"/>
                    <a:pt x="168" y="32"/>
                    <a:pt x="168" y="32"/>
                  </a:cubicBezTo>
                  <a:cubicBezTo>
                    <a:pt x="168" y="32"/>
                    <a:pt x="167" y="34"/>
                    <a:pt x="167" y="34"/>
                  </a:cubicBezTo>
                  <a:cubicBezTo>
                    <a:pt x="167" y="35"/>
                    <a:pt x="166" y="36"/>
                    <a:pt x="166" y="36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5" y="40"/>
                    <a:pt x="165" y="40"/>
                  </a:cubicBezTo>
                  <a:cubicBezTo>
                    <a:pt x="164" y="40"/>
                    <a:pt x="165" y="42"/>
                    <a:pt x="165" y="42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6" y="43"/>
                    <a:pt x="168" y="42"/>
                    <a:pt x="168" y="42"/>
                  </a:cubicBezTo>
                  <a:cubicBezTo>
                    <a:pt x="168" y="42"/>
                    <a:pt x="171" y="43"/>
                    <a:pt x="171" y="43"/>
                  </a:cubicBezTo>
                  <a:cubicBezTo>
                    <a:pt x="171" y="43"/>
                    <a:pt x="173" y="44"/>
                    <a:pt x="173" y="45"/>
                  </a:cubicBezTo>
                  <a:cubicBezTo>
                    <a:pt x="174" y="45"/>
                    <a:pt x="176" y="47"/>
                    <a:pt x="176" y="47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74" y="55"/>
                    <a:pt x="174" y="55"/>
                    <a:pt x="174" y="55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1" y="58"/>
                    <a:pt x="171" y="58"/>
                  </a:cubicBezTo>
                  <a:cubicBezTo>
                    <a:pt x="171" y="58"/>
                    <a:pt x="169" y="59"/>
                    <a:pt x="169" y="59"/>
                  </a:cubicBezTo>
                  <a:cubicBezTo>
                    <a:pt x="168" y="59"/>
                    <a:pt x="168" y="59"/>
                    <a:pt x="168" y="59"/>
                  </a:cubicBezTo>
                  <a:cubicBezTo>
                    <a:pt x="165" y="62"/>
                    <a:pt x="165" y="62"/>
                    <a:pt x="165" y="62"/>
                  </a:cubicBezTo>
                  <a:cubicBezTo>
                    <a:pt x="163" y="63"/>
                    <a:pt x="163" y="63"/>
                    <a:pt x="163" y="63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6" y="65"/>
                    <a:pt x="156" y="65"/>
                    <a:pt x="156" y="65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49" y="69"/>
                    <a:pt x="149" y="69"/>
                    <a:pt x="149" y="69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8" y="72"/>
                    <a:pt x="146" y="72"/>
                    <a:pt x="146" y="73"/>
                  </a:cubicBezTo>
                  <a:cubicBezTo>
                    <a:pt x="145" y="73"/>
                    <a:pt x="144" y="74"/>
                    <a:pt x="144" y="74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6"/>
                    <a:pt x="142" y="78"/>
                    <a:pt x="142" y="78"/>
                  </a:cubicBezTo>
                  <a:cubicBezTo>
                    <a:pt x="142" y="79"/>
                    <a:pt x="142" y="81"/>
                    <a:pt x="142" y="81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5"/>
                    <a:pt x="143" y="85"/>
                  </a:cubicBezTo>
                  <a:cubicBezTo>
                    <a:pt x="143" y="85"/>
                    <a:pt x="141" y="86"/>
                    <a:pt x="141" y="86"/>
                  </a:cubicBezTo>
                  <a:cubicBezTo>
                    <a:pt x="141" y="87"/>
                    <a:pt x="141" y="87"/>
                    <a:pt x="141" y="87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92"/>
                    <a:pt x="141" y="92"/>
                  </a:cubicBezTo>
                  <a:cubicBezTo>
                    <a:pt x="141" y="93"/>
                    <a:pt x="140" y="95"/>
                    <a:pt x="140" y="95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9" y="99"/>
                    <a:pt x="139" y="99"/>
                    <a:pt x="139" y="9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33" y="114"/>
                    <a:pt x="133" y="114"/>
                    <a:pt x="133" y="114"/>
                  </a:cubicBezTo>
                  <a:cubicBezTo>
                    <a:pt x="131" y="114"/>
                    <a:pt x="131" y="114"/>
                    <a:pt x="131" y="114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6" y="119"/>
                    <a:pt x="126" y="120"/>
                    <a:pt x="126" y="120"/>
                  </a:cubicBezTo>
                  <a:cubicBezTo>
                    <a:pt x="127" y="120"/>
                    <a:pt x="127" y="121"/>
                    <a:pt x="127" y="121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130" y="128"/>
                    <a:pt x="130" y="128"/>
                    <a:pt x="130" y="128"/>
                  </a:cubicBezTo>
                  <a:cubicBezTo>
                    <a:pt x="130" y="128"/>
                    <a:pt x="129" y="130"/>
                    <a:pt x="129" y="130"/>
                  </a:cubicBezTo>
                  <a:cubicBezTo>
                    <a:pt x="129" y="130"/>
                    <a:pt x="128" y="132"/>
                    <a:pt x="128" y="132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23" y="138"/>
                    <a:pt x="123" y="138"/>
                    <a:pt x="123" y="138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1" y="143"/>
                    <a:pt x="121" y="143"/>
                    <a:pt x="121" y="143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0" y="144"/>
                    <a:pt x="119" y="144"/>
                    <a:pt x="119" y="144"/>
                  </a:cubicBezTo>
                  <a:cubicBezTo>
                    <a:pt x="118" y="144"/>
                    <a:pt x="117" y="145"/>
                    <a:pt x="117" y="145"/>
                  </a:cubicBezTo>
                  <a:cubicBezTo>
                    <a:pt x="117" y="145"/>
                    <a:pt x="115" y="145"/>
                    <a:pt x="115" y="144"/>
                  </a:cubicBezTo>
                  <a:cubicBezTo>
                    <a:pt x="115" y="144"/>
                    <a:pt x="114" y="145"/>
                    <a:pt x="113" y="144"/>
                  </a:cubicBezTo>
                  <a:cubicBezTo>
                    <a:pt x="113" y="144"/>
                    <a:pt x="112" y="143"/>
                    <a:pt x="112" y="143"/>
                  </a:cubicBezTo>
                  <a:cubicBezTo>
                    <a:pt x="111" y="143"/>
                    <a:pt x="111" y="143"/>
                    <a:pt x="111" y="143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4" y="143"/>
                    <a:pt x="104" y="143"/>
                    <a:pt x="104" y="143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8" y="141"/>
                    <a:pt x="98" y="142"/>
                    <a:pt x="99" y="143"/>
                  </a:cubicBezTo>
                  <a:cubicBezTo>
                    <a:pt x="99" y="143"/>
                    <a:pt x="100" y="145"/>
                    <a:pt x="100" y="145"/>
                  </a:cubicBezTo>
                  <a:cubicBezTo>
                    <a:pt x="100" y="145"/>
                    <a:pt x="100" y="147"/>
                    <a:pt x="100" y="147"/>
                  </a:cubicBezTo>
                  <a:cubicBezTo>
                    <a:pt x="100" y="147"/>
                    <a:pt x="102" y="149"/>
                    <a:pt x="102" y="149"/>
                  </a:cubicBezTo>
                  <a:cubicBezTo>
                    <a:pt x="102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3" y="152"/>
                    <a:pt x="105" y="153"/>
                    <a:pt x="105" y="153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4" y="156"/>
                    <a:pt x="104" y="156"/>
                    <a:pt x="104" y="156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5" y="163"/>
                    <a:pt x="105" y="163"/>
                    <a:pt x="105" y="163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68"/>
                    <a:pt x="105" y="168"/>
                    <a:pt x="105" y="168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8" y="170"/>
                    <a:pt x="108" y="170"/>
                    <a:pt x="108" y="170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7" y="173"/>
                    <a:pt x="107" y="173"/>
                    <a:pt x="107" y="173"/>
                  </a:cubicBezTo>
                  <a:cubicBezTo>
                    <a:pt x="107" y="173"/>
                    <a:pt x="107" y="174"/>
                    <a:pt x="107" y="174"/>
                  </a:cubicBezTo>
                  <a:cubicBezTo>
                    <a:pt x="108" y="174"/>
                    <a:pt x="109" y="175"/>
                    <a:pt x="109" y="175"/>
                  </a:cubicBezTo>
                  <a:cubicBezTo>
                    <a:pt x="111" y="174"/>
                    <a:pt x="111" y="174"/>
                    <a:pt x="111" y="174"/>
                  </a:cubicBezTo>
                  <a:cubicBezTo>
                    <a:pt x="111" y="174"/>
                    <a:pt x="112" y="174"/>
                    <a:pt x="112" y="174"/>
                  </a:cubicBezTo>
                  <a:cubicBezTo>
                    <a:pt x="112" y="175"/>
                    <a:pt x="113" y="177"/>
                    <a:pt x="113" y="177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114" y="180"/>
                    <a:pt x="114" y="180"/>
                    <a:pt x="114" y="180"/>
                  </a:cubicBezTo>
                  <a:cubicBezTo>
                    <a:pt x="112" y="182"/>
                    <a:pt x="112" y="182"/>
                    <a:pt x="112" y="182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09" y="185"/>
                    <a:pt x="109" y="185"/>
                    <a:pt x="109" y="185"/>
                  </a:cubicBezTo>
                  <a:cubicBezTo>
                    <a:pt x="109" y="187"/>
                    <a:pt x="109" y="187"/>
                    <a:pt x="109" y="187"/>
                  </a:cubicBezTo>
                  <a:cubicBezTo>
                    <a:pt x="108" y="188"/>
                    <a:pt x="108" y="188"/>
                    <a:pt x="108" y="188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04" y="190"/>
                    <a:pt x="104" y="190"/>
                    <a:pt x="104" y="190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102" y="191"/>
                    <a:pt x="102" y="191"/>
                    <a:pt x="102" y="191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96" y="196"/>
                    <a:pt x="96" y="196"/>
                    <a:pt x="96" y="196"/>
                  </a:cubicBezTo>
                  <a:cubicBezTo>
                    <a:pt x="96" y="196"/>
                    <a:pt x="96" y="198"/>
                    <a:pt x="96" y="198"/>
                  </a:cubicBezTo>
                  <a:cubicBezTo>
                    <a:pt x="96" y="198"/>
                    <a:pt x="97" y="199"/>
                    <a:pt x="97" y="199"/>
                  </a:cubicBezTo>
                  <a:cubicBezTo>
                    <a:pt x="97" y="199"/>
                    <a:pt x="95" y="201"/>
                    <a:pt x="95" y="201"/>
                  </a:cubicBezTo>
                  <a:cubicBezTo>
                    <a:pt x="95" y="201"/>
                    <a:pt x="93" y="202"/>
                    <a:pt x="93" y="202"/>
                  </a:cubicBezTo>
                  <a:cubicBezTo>
                    <a:pt x="92" y="204"/>
                    <a:pt x="92" y="204"/>
                    <a:pt x="92" y="204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1" y="208"/>
                    <a:pt x="91" y="208"/>
                    <a:pt x="91" y="208"/>
                  </a:cubicBezTo>
                  <a:cubicBezTo>
                    <a:pt x="92" y="209"/>
                    <a:pt x="92" y="209"/>
                    <a:pt x="92" y="209"/>
                  </a:cubicBezTo>
                  <a:cubicBezTo>
                    <a:pt x="92" y="209"/>
                    <a:pt x="93" y="212"/>
                    <a:pt x="93" y="212"/>
                  </a:cubicBezTo>
                  <a:cubicBezTo>
                    <a:pt x="93" y="213"/>
                    <a:pt x="94" y="214"/>
                    <a:pt x="94" y="214"/>
                  </a:cubicBezTo>
                  <a:cubicBezTo>
                    <a:pt x="94" y="214"/>
                    <a:pt x="95" y="215"/>
                    <a:pt x="95" y="215"/>
                  </a:cubicBezTo>
                  <a:cubicBezTo>
                    <a:pt x="95" y="216"/>
                    <a:pt x="95" y="217"/>
                    <a:pt x="95" y="218"/>
                  </a:cubicBezTo>
                  <a:cubicBezTo>
                    <a:pt x="95" y="219"/>
                    <a:pt x="96" y="221"/>
                    <a:pt x="96" y="221"/>
                  </a:cubicBezTo>
                  <a:cubicBezTo>
                    <a:pt x="97" y="223"/>
                    <a:pt x="97" y="223"/>
                    <a:pt x="97" y="223"/>
                  </a:cubicBezTo>
                  <a:cubicBezTo>
                    <a:pt x="97" y="223"/>
                    <a:pt x="97" y="224"/>
                    <a:pt x="97" y="224"/>
                  </a:cubicBezTo>
                  <a:cubicBezTo>
                    <a:pt x="98" y="224"/>
                    <a:pt x="100" y="224"/>
                    <a:pt x="100" y="224"/>
                  </a:cubicBezTo>
                  <a:cubicBezTo>
                    <a:pt x="100" y="224"/>
                    <a:pt x="102" y="224"/>
                    <a:pt x="102" y="224"/>
                  </a:cubicBezTo>
                  <a:cubicBezTo>
                    <a:pt x="102" y="224"/>
                    <a:pt x="103" y="223"/>
                    <a:pt x="104" y="224"/>
                  </a:cubicBezTo>
                  <a:cubicBezTo>
                    <a:pt x="104" y="224"/>
                    <a:pt x="104" y="225"/>
                    <a:pt x="104" y="225"/>
                  </a:cubicBezTo>
                  <a:cubicBezTo>
                    <a:pt x="104" y="225"/>
                    <a:pt x="104" y="226"/>
                    <a:pt x="104" y="226"/>
                  </a:cubicBezTo>
                  <a:cubicBezTo>
                    <a:pt x="100" y="230"/>
                    <a:pt x="100" y="230"/>
                    <a:pt x="100" y="230"/>
                  </a:cubicBezTo>
                  <a:cubicBezTo>
                    <a:pt x="100" y="233"/>
                    <a:pt x="100" y="233"/>
                    <a:pt x="100" y="233"/>
                  </a:cubicBezTo>
                  <a:cubicBezTo>
                    <a:pt x="100" y="233"/>
                    <a:pt x="99" y="233"/>
                    <a:pt x="99" y="233"/>
                  </a:cubicBezTo>
                  <a:cubicBezTo>
                    <a:pt x="98" y="233"/>
                    <a:pt x="97" y="233"/>
                    <a:pt x="97" y="233"/>
                  </a:cubicBezTo>
                  <a:cubicBezTo>
                    <a:pt x="95" y="231"/>
                    <a:pt x="95" y="231"/>
                    <a:pt x="95" y="231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93" y="233"/>
                    <a:pt x="91" y="233"/>
                    <a:pt x="91" y="233"/>
                  </a:cubicBezTo>
                  <a:cubicBezTo>
                    <a:pt x="91" y="233"/>
                    <a:pt x="88" y="233"/>
                    <a:pt x="88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6" y="238"/>
                    <a:pt x="86" y="238"/>
                    <a:pt x="86" y="238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2" y="241"/>
                    <a:pt x="82" y="241"/>
                    <a:pt x="82" y="241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77" y="244"/>
                    <a:pt x="77" y="244"/>
                    <a:pt x="77" y="244"/>
                  </a:cubicBezTo>
                  <a:cubicBezTo>
                    <a:pt x="77" y="244"/>
                    <a:pt x="76" y="245"/>
                    <a:pt x="76" y="245"/>
                  </a:cubicBezTo>
                  <a:cubicBezTo>
                    <a:pt x="76" y="246"/>
                    <a:pt x="75" y="249"/>
                    <a:pt x="75" y="249"/>
                  </a:cubicBezTo>
                  <a:cubicBezTo>
                    <a:pt x="75" y="249"/>
                    <a:pt x="73" y="250"/>
                    <a:pt x="73" y="251"/>
                  </a:cubicBezTo>
                  <a:cubicBezTo>
                    <a:pt x="73" y="251"/>
                    <a:pt x="71" y="252"/>
                    <a:pt x="71" y="252"/>
                  </a:cubicBezTo>
                  <a:cubicBezTo>
                    <a:pt x="71" y="252"/>
                    <a:pt x="71" y="254"/>
                    <a:pt x="71" y="254"/>
                  </a:cubicBezTo>
                  <a:cubicBezTo>
                    <a:pt x="71" y="254"/>
                    <a:pt x="72" y="256"/>
                    <a:pt x="72" y="25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3" y="263"/>
                    <a:pt x="73" y="263"/>
                    <a:pt x="73" y="263"/>
                  </a:cubicBezTo>
                  <a:cubicBezTo>
                    <a:pt x="72" y="265"/>
                    <a:pt x="72" y="265"/>
                    <a:pt x="72" y="265"/>
                  </a:cubicBezTo>
                  <a:cubicBezTo>
                    <a:pt x="71" y="268"/>
                    <a:pt x="71" y="268"/>
                    <a:pt x="71" y="268"/>
                  </a:cubicBezTo>
                  <a:cubicBezTo>
                    <a:pt x="71" y="269"/>
                    <a:pt x="71" y="269"/>
                    <a:pt x="71" y="269"/>
                  </a:cubicBezTo>
                  <a:cubicBezTo>
                    <a:pt x="71" y="271"/>
                    <a:pt x="71" y="271"/>
                    <a:pt x="71" y="271"/>
                  </a:cubicBezTo>
                  <a:cubicBezTo>
                    <a:pt x="71" y="275"/>
                    <a:pt x="71" y="275"/>
                    <a:pt x="71" y="275"/>
                  </a:cubicBezTo>
                  <a:cubicBezTo>
                    <a:pt x="68" y="274"/>
                    <a:pt x="68" y="274"/>
                    <a:pt x="68" y="274"/>
                  </a:cubicBezTo>
                  <a:cubicBezTo>
                    <a:pt x="65" y="274"/>
                    <a:pt x="65" y="274"/>
                    <a:pt x="65" y="274"/>
                  </a:cubicBezTo>
                  <a:cubicBezTo>
                    <a:pt x="62" y="275"/>
                    <a:pt x="62" y="275"/>
                    <a:pt x="62" y="275"/>
                  </a:cubicBezTo>
                  <a:cubicBezTo>
                    <a:pt x="58" y="277"/>
                    <a:pt x="58" y="277"/>
                    <a:pt x="58" y="277"/>
                  </a:cubicBezTo>
                  <a:cubicBezTo>
                    <a:pt x="52" y="278"/>
                    <a:pt x="52" y="278"/>
                    <a:pt x="52" y="278"/>
                  </a:cubicBezTo>
                  <a:cubicBezTo>
                    <a:pt x="47" y="278"/>
                    <a:pt x="47" y="278"/>
                    <a:pt x="47" y="278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42" y="276"/>
                    <a:pt x="42" y="276"/>
                    <a:pt x="42" y="276"/>
                  </a:cubicBezTo>
                  <a:cubicBezTo>
                    <a:pt x="40" y="274"/>
                    <a:pt x="40" y="274"/>
                    <a:pt x="40" y="274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4" y="271"/>
                    <a:pt x="34" y="271"/>
                    <a:pt x="34" y="271"/>
                  </a:cubicBezTo>
                  <a:cubicBezTo>
                    <a:pt x="32" y="270"/>
                    <a:pt x="32" y="270"/>
                    <a:pt x="32" y="270"/>
                  </a:cubicBezTo>
                  <a:cubicBezTo>
                    <a:pt x="30" y="269"/>
                    <a:pt x="30" y="269"/>
                    <a:pt x="30" y="269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26" y="268"/>
                    <a:pt x="26" y="268"/>
                    <a:pt x="26" y="268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18" y="264"/>
                    <a:pt x="18" y="264"/>
                    <a:pt x="18" y="264"/>
                  </a:cubicBezTo>
                  <a:cubicBezTo>
                    <a:pt x="16" y="265"/>
                    <a:pt x="16" y="265"/>
                    <a:pt x="16" y="265"/>
                  </a:cubicBezTo>
                  <a:cubicBezTo>
                    <a:pt x="16" y="266"/>
                    <a:pt x="16" y="266"/>
                    <a:pt x="16" y="266"/>
                  </a:cubicBezTo>
                  <a:cubicBezTo>
                    <a:pt x="13" y="265"/>
                    <a:pt x="13" y="265"/>
                    <a:pt x="13" y="265"/>
                  </a:cubicBezTo>
                  <a:cubicBezTo>
                    <a:pt x="11" y="265"/>
                    <a:pt x="11" y="265"/>
                    <a:pt x="11" y="265"/>
                  </a:cubicBezTo>
                  <a:cubicBezTo>
                    <a:pt x="9" y="265"/>
                    <a:pt x="9" y="265"/>
                    <a:pt x="9" y="265"/>
                  </a:cubicBezTo>
                  <a:cubicBezTo>
                    <a:pt x="5" y="266"/>
                    <a:pt x="5" y="266"/>
                    <a:pt x="5" y="266"/>
                  </a:cubicBezTo>
                  <a:cubicBezTo>
                    <a:pt x="2" y="267"/>
                    <a:pt x="2" y="267"/>
                    <a:pt x="2" y="267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" y="264"/>
                    <a:pt x="2" y="264"/>
                    <a:pt x="2" y="264"/>
                  </a:cubicBezTo>
                  <a:cubicBezTo>
                    <a:pt x="4" y="261"/>
                    <a:pt x="4" y="261"/>
                    <a:pt x="4" y="261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7" y="257"/>
                    <a:pt x="7" y="257"/>
                    <a:pt x="7" y="257"/>
                  </a:cubicBezTo>
                  <a:cubicBezTo>
                    <a:pt x="10" y="255"/>
                    <a:pt x="10" y="255"/>
                    <a:pt x="10" y="255"/>
                  </a:cubicBezTo>
                  <a:cubicBezTo>
                    <a:pt x="10" y="252"/>
                    <a:pt x="10" y="252"/>
                    <a:pt x="10" y="252"/>
                  </a:cubicBezTo>
                  <a:cubicBezTo>
                    <a:pt x="12" y="248"/>
                    <a:pt x="12" y="248"/>
                    <a:pt x="12" y="248"/>
                  </a:cubicBezTo>
                  <a:cubicBezTo>
                    <a:pt x="12" y="248"/>
                    <a:pt x="14" y="248"/>
                    <a:pt x="14" y="247"/>
                  </a:cubicBezTo>
                  <a:cubicBezTo>
                    <a:pt x="15" y="245"/>
                    <a:pt x="15" y="244"/>
                    <a:pt x="16" y="243"/>
                  </a:cubicBezTo>
                  <a:cubicBezTo>
                    <a:pt x="16" y="242"/>
                    <a:pt x="17" y="242"/>
                    <a:pt x="17" y="241"/>
                  </a:cubicBezTo>
                  <a:cubicBezTo>
                    <a:pt x="17" y="240"/>
                    <a:pt x="16" y="237"/>
                    <a:pt x="16" y="237"/>
                  </a:cubicBezTo>
                  <a:cubicBezTo>
                    <a:pt x="16" y="237"/>
                    <a:pt x="18" y="233"/>
                    <a:pt x="18" y="233"/>
                  </a:cubicBezTo>
                  <a:cubicBezTo>
                    <a:pt x="19" y="232"/>
                    <a:pt x="19" y="228"/>
                    <a:pt x="19" y="228"/>
                  </a:cubicBezTo>
                  <a:cubicBezTo>
                    <a:pt x="19" y="228"/>
                    <a:pt x="20" y="226"/>
                    <a:pt x="21" y="225"/>
                  </a:cubicBezTo>
                  <a:cubicBezTo>
                    <a:pt x="21" y="224"/>
                    <a:pt x="21" y="221"/>
                    <a:pt x="21" y="221"/>
                  </a:cubicBezTo>
                  <a:cubicBezTo>
                    <a:pt x="19" y="218"/>
                    <a:pt x="19" y="218"/>
                    <a:pt x="19" y="218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24" y="209"/>
                    <a:pt x="24" y="209"/>
                    <a:pt x="24" y="209"/>
                  </a:cubicBezTo>
                  <a:cubicBezTo>
                    <a:pt x="27" y="204"/>
                    <a:pt x="27" y="204"/>
                    <a:pt x="27" y="204"/>
                  </a:cubicBezTo>
                  <a:cubicBezTo>
                    <a:pt x="28" y="199"/>
                    <a:pt x="28" y="199"/>
                    <a:pt x="28" y="199"/>
                  </a:cubicBezTo>
                  <a:cubicBezTo>
                    <a:pt x="28" y="199"/>
                    <a:pt x="28" y="197"/>
                    <a:pt x="28" y="196"/>
                  </a:cubicBezTo>
                  <a:cubicBezTo>
                    <a:pt x="28" y="196"/>
                    <a:pt x="28" y="194"/>
                    <a:pt x="28" y="194"/>
                  </a:cubicBezTo>
                  <a:cubicBezTo>
                    <a:pt x="28" y="194"/>
                    <a:pt x="28" y="192"/>
                    <a:pt x="28" y="192"/>
                  </a:cubicBezTo>
                  <a:cubicBezTo>
                    <a:pt x="28" y="192"/>
                    <a:pt x="27" y="190"/>
                    <a:pt x="27" y="190"/>
                  </a:cubicBezTo>
                  <a:cubicBezTo>
                    <a:pt x="26" y="187"/>
                    <a:pt x="26" y="187"/>
                    <a:pt x="26" y="187"/>
                  </a:cubicBezTo>
                  <a:cubicBezTo>
                    <a:pt x="25" y="188"/>
                    <a:pt x="25" y="188"/>
                    <a:pt x="25" y="188"/>
                  </a:cubicBezTo>
                  <a:cubicBezTo>
                    <a:pt x="25" y="188"/>
                    <a:pt x="24" y="189"/>
                    <a:pt x="23" y="188"/>
                  </a:cubicBezTo>
                  <a:cubicBezTo>
                    <a:pt x="23" y="188"/>
                    <a:pt x="19" y="188"/>
                    <a:pt x="19" y="188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14" y="188"/>
                    <a:pt x="13" y="189"/>
                    <a:pt x="12" y="189"/>
                  </a:cubicBezTo>
                  <a:cubicBezTo>
                    <a:pt x="12" y="189"/>
                    <a:pt x="11" y="189"/>
                    <a:pt x="11" y="188"/>
                  </a:cubicBezTo>
                  <a:cubicBezTo>
                    <a:pt x="11" y="188"/>
                    <a:pt x="14" y="185"/>
                    <a:pt x="14" y="185"/>
                  </a:cubicBezTo>
                  <a:cubicBezTo>
                    <a:pt x="14" y="185"/>
                    <a:pt x="14" y="185"/>
                    <a:pt x="14" y="184"/>
                  </a:cubicBezTo>
                  <a:cubicBezTo>
                    <a:pt x="14" y="183"/>
                    <a:pt x="14" y="181"/>
                    <a:pt x="14" y="181"/>
                  </a:cubicBezTo>
                  <a:cubicBezTo>
                    <a:pt x="14" y="180"/>
                    <a:pt x="13" y="177"/>
                    <a:pt x="13" y="177"/>
                  </a:cubicBezTo>
                  <a:cubicBezTo>
                    <a:pt x="13" y="177"/>
                    <a:pt x="12" y="176"/>
                    <a:pt x="13" y="175"/>
                  </a:cubicBezTo>
                  <a:cubicBezTo>
                    <a:pt x="13" y="174"/>
                    <a:pt x="14" y="174"/>
                    <a:pt x="14" y="174"/>
                  </a:cubicBezTo>
                  <a:cubicBezTo>
                    <a:pt x="12" y="173"/>
                    <a:pt x="12" y="173"/>
                    <a:pt x="12" y="173"/>
                  </a:cubicBezTo>
                  <a:cubicBezTo>
                    <a:pt x="12" y="173"/>
                    <a:pt x="12" y="173"/>
                    <a:pt x="11" y="173"/>
                  </a:cubicBezTo>
                  <a:cubicBezTo>
                    <a:pt x="10" y="174"/>
                    <a:pt x="9" y="174"/>
                    <a:pt x="9" y="174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72"/>
                    <a:pt x="7" y="173"/>
                    <a:pt x="7" y="172"/>
                  </a:cubicBezTo>
                  <a:cubicBezTo>
                    <a:pt x="6" y="172"/>
                    <a:pt x="4" y="171"/>
                    <a:pt x="4" y="171"/>
                  </a:cubicBezTo>
                  <a:cubicBezTo>
                    <a:pt x="4" y="171"/>
                    <a:pt x="4" y="169"/>
                    <a:pt x="4" y="169"/>
                  </a:cubicBezTo>
                  <a:cubicBezTo>
                    <a:pt x="5" y="168"/>
                    <a:pt x="5" y="168"/>
                    <a:pt x="5" y="167"/>
                  </a:cubicBezTo>
                  <a:cubicBezTo>
                    <a:pt x="5" y="166"/>
                    <a:pt x="5" y="165"/>
                    <a:pt x="6" y="164"/>
                  </a:cubicBezTo>
                  <a:cubicBezTo>
                    <a:pt x="6" y="163"/>
                    <a:pt x="7" y="162"/>
                    <a:pt x="8" y="162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1" y="155"/>
                    <a:pt x="11" y="155"/>
                  </a:cubicBezTo>
                  <a:cubicBezTo>
                    <a:pt x="11" y="155"/>
                    <a:pt x="12" y="153"/>
                    <a:pt x="12" y="152"/>
                  </a:cubicBezTo>
                  <a:cubicBezTo>
                    <a:pt x="12" y="152"/>
                    <a:pt x="13" y="150"/>
                    <a:pt x="13" y="150"/>
                  </a:cubicBezTo>
                  <a:cubicBezTo>
                    <a:pt x="13" y="150"/>
                    <a:pt x="14" y="149"/>
                    <a:pt x="14" y="148"/>
                  </a:cubicBezTo>
                  <a:cubicBezTo>
                    <a:pt x="15" y="148"/>
                    <a:pt x="17" y="146"/>
                    <a:pt x="17" y="146"/>
                  </a:cubicBezTo>
                  <a:cubicBezTo>
                    <a:pt x="17" y="146"/>
                    <a:pt x="18" y="143"/>
                    <a:pt x="18" y="143"/>
                  </a:cubicBezTo>
                  <a:cubicBezTo>
                    <a:pt x="18" y="143"/>
                    <a:pt x="19" y="140"/>
                    <a:pt x="19" y="140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6"/>
                    <a:pt x="20" y="136"/>
                  </a:cubicBezTo>
                  <a:cubicBezTo>
                    <a:pt x="21" y="136"/>
                    <a:pt x="22" y="135"/>
                    <a:pt x="22" y="135"/>
                  </a:cubicBezTo>
                  <a:cubicBezTo>
                    <a:pt x="23" y="135"/>
                    <a:pt x="25" y="134"/>
                    <a:pt x="25" y="134"/>
                  </a:cubicBezTo>
                  <a:cubicBezTo>
                    <a:pt x="25" y="133"/>
                    <a:pt x="26" y="133"/>
                    <a:pt x="26" y="133"/>
                  </a:cubicBezTo>
                  <a:cubicBezTo>
                    <a:pt x="27" y="133"/>
                    <a:pt x="29" y="132"/>
                    <a:pt x="29" y="132"/>
                  </a:cubicBezTo>
                  <a:cubicBezTo>
                    <a:pt x="29" y="132"/>
                    <a:pt x="30" y="131"/>
                    <a:pt x="30" y="131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33" y="128"/>
                    <a:pt x="33" y="127"/>
                  </a:cubicBezTo>
                  <a:cubicBezTo>
                    <a:pt x="33" y="127"/>
                    <a:pt x="34" y="125"/>
                    <a:pt x="34" y="125"/>
                  </a:cubicBezTo>
                  <a:cubicBezTo>
                    <a:pt x="34" y="124"/>
                    <a:pt x="37" y="121"/>
                    <a:pt x="37" y="121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1"/>
                    <a:pt x="73" y="11"/>
                    <a:pt x="73" y="11"/>
                  </a:cubicBezTo>
                  <a:lnTo>
                    <a:pt x="74" y="9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7" name="Freeform 78"/>
            <p:cNvSpPr>
              <a:spLocks noEditPoints="1"/>
            </p:cNvSpPr>
            <p:nvPr/>
          </p:nvSpPr>
          <p:spPr bwMode="auto">
            <a:xfrm>
              <a:off x="4704932" y="2283682"/>
              <a:ext cx="711331" cy="913063"/>
            </a:xfrm>
            <a:custGeom>
              <a:avLst/>
              <a:gdLst>
                <a:gd name="T0" fmla="*/ 264 w 312"/>
                <a:gd name="T1" fmla="*/ 340 h 413"/>
                <a:gd name="T2" fmla="*/ 240 w 312"/>
                <a:gd name="T3" fmla="*/ 363 h 413"/>
                <a:gd name="T4" fmla="*/ 252 w 312"/>
                <a:gd name="T5" fmla="*/ 385 h 413"/>
                <a:gd name="T6" fmla="*/ 237 w 312"/>
                <a:gd name="T7" fmla="*/ 387 h 413"/>
                <a:gd name="T8" fmla="*/ 211 w 312"/>
                <a:gd name="T9" fmla="*/ 393 h 413"/>
                <a:gd name="T10" fmla="*/ 177 w 312"/>
                <a:gd name="T11" fmla="*/ 404 h 413"/>
                <a:gd name="T12" fmla="*/ 157 w 312"/>
                <a:gd name="T13" fmla="*/ 404 h 413"/>
                <a:gd name="T14" fmla="*/ 142 w 312"/>
                <a:gd name="T15" fmla="*/ 400 h 413"/>
                <a:gd name="T16" fmla="*/ 121 w 312"/>
                <a:gd name="T17" fmla="*/ 394 h 413"/>
                <a:gd name="T18" fmla="*/ 101 w 312"/>
                <a:gd name="T19" fmla="*/ 391 h 413"/>
                <a:gd name="T20" fmla="*/ 94 w 312"/>
                <a:gd name="T21" fmla="*/ 388 h 413"/>
                <a:gd name="T22" fmla="*/ 89 w 312"/>
                <a:gd name="T23" fmla="*/ 383 h 413"/>
                <a:gd name="T24" fmla="*/ 90 w 312"/>
                <a:gd name="T25" fmla="*/ 393 h 413"/>
                <a:gd name="T26" fmla="*/ 73 w 312"/>
                <a:gd name="T27" fmla="*/ 396 h 413"/>
                <a:gd name="T28" fmla="*/ 57 w 312"/>
                <a:gd name="T29" fmla="*/ 396 h 413"/>
                <a:gd name="T30" fmla="*/ 53 w 312"/>
                <a:gd name="T31" fmla="*/ 368 h 413"/>
                <a:gd name="T32" fmla="*/ 50 w 312"/>
                <a:gd name="T33" fmla="*/ 308 h 413"/>
                <a:gd name="T34" fmla="*/ 13 w 312"/>
                <a:gd name="T35" fmla="*/ 292 h 413"/>
                <a:gd name="T36" fmla="*/ 6 w 312"/>
                <a:gd name="T37" fmla="*/ 262 h 413"/>
                <a:gd name="T38" fmla="*/ 12 w 312"/>
                <a:gd name="T39" fmla="*/ 245 h 413"/>
                <a:gd name="T40" fmla="*/ 11 w 312"/>
                <a:gd name="T41" fmla="*/ 228 h 413"/>
                <a:gd name="T42" fmla="*/ 5 w 312"/>
                <a:gd name="T43" fmla="*/ 217 h 413"/>
                <a:gd name="T44" fmla="*/ 1 w 312"/>
                <a:gd name="T45" fmla="*/ 207 h 413"/>
                <a:gd name="T46" fmla="*/ 7 w 312"/>
                <a:gd name="T47" fmla="*/ 198 h 413"/>
                <a:gd name="T48" fmla="*/ 9 w 312"/>
                <a:gd name="T49" fmla="*/ 175 h 413"/>
                <a:gd name="T50" fmla="*/ 12 w 312"/>
                <a:gd name="T51" fmla="*/ 161 h 413"/>
                <a:gd name="T52" fmla="*/ 32 w 312"/>
                <a:gd name="T53" fmla="*/ 160 h 413"/>
                <a:gd name="T54" fmla="*/ 41 w 312"/>
                <a:gd name="T55" fmla="*/ 146 h 413"/>
                <a:gd name="T56" fmla="*/ 33 w 312"/>
                <a:gd name="T57" fmla="*/ 128 h 413"/>
                <a:gd name="T58" fmla="*/ 47 w 312"/>
                <a:gd name="T59" fmla="*/ 94 h 413"/>
                <a:gd name="T60" fmla="*/ 49 w 312"/>
                <a:gd name="T61" fmla="*/ 65 h 413"/>
                <a:gd name="T62" fmla="*/ 78 w 312"/>
                <a:gd name="T63" fmla="*/ 80 h 413"/>
                <a:gd name="T64" fmla="*/ 93 w 312"/>
                <a:gd name="T65" fmla="*/ 74 h 413"/>
                <a:gd name="T66" fmla="*/ 114 w 312"/>
                <a:gd name="T67" fmla="*/ 57 h 413"/>
                <a:gd name="T68" fmla="*/ 102 w 312"/>
                <a:gd name="T69" fmla="*/ 41 h 413"/>
                <a:gd name="T70" fmla="*/ 104 w 312"/>
                <a:gd name="T71" fmla="*/ 25 h 413"/>
                <a:gd name="T72" fmla="*/ 95 w 312"/>
                <a:gd name="T73" fmla="*/ 12 h 413"/>
                <a:gd name="T74" fmla="*/ 119 w 312"/>
                <a:gd name="T75" fmla="*/ 5 h 413"/>
                <a:gd name="T76" fmla="*/ 136 w 312"/>
                <a:gd name="T77" fmla="*/ 25 h 413"/>
                <a:gd name="T78" fmla="*/ 163 w 312"/>
                <a:gd name="T79" fmla="*/ 35 h 413"/>
                <a:gd name="T80" fmla="*/ 176 w 312"/>
                <a:gd name="T81" fmla="*/ 25 h 413"/>
                <a:gd name="T82" fmla="*/ 162 w 312"/>
                <a:gd name="T83" fmla="*/ 46 h 413"/>
                <a:gd name="T84" fmla="*/ 182 w 312"/>
                <a:gd name="T85" fmla="*/ 53 h 413"/>
                <a:gd name="T86" fmla="*/ 212 w 312"/>
                <a:gd name="T87" fmla="*/ 30 h 413"/>
                <a:gd name="T88" fmla="*/ 221 w 312"/>
                <a:gd name="T89" fmla="*/ 28 h 413"/>
                <a:gd name="T90" fmla="*/ 236 w 312"/>
                <a:gd name="T91" fmla="*/ 18 h 413"/>
                <a:gd name="T92" fmla="*/ 242 w 312"/>
                <a:gd name="T93" fmla="*/ 21 h 413"/>
                <a:gd name="T94" fmla="*/ 253 w 312"/>
                <a:gd name="T95" fmla="*/ 29 h 413"/>
                <a:gd name="T96" fmla="*/ 262 w 312"/>
                <a:gd name="T97" fmla="*/ 42 h 413"/>
                <a:gd name="T98" fmla="*/ 273 w 312"/>
                <a:gd name="T99" fmla="*/ 58 h 413"/>
                <a:gd name="T100" fmla="*/ 279 w 312"/>
                <a:gd name="T101" fmla="*/ 113 h 413"/>
                <a:gd name="T102" fmla="*/ 294 w 312"/>
                <a:gd name="T103" fmla="*/ 162 h 413"/>
                <a:gd name="T104" fmla="*/ 309 w 312"/>
                <a:gd name="T105" fmla="*/ 197 h 413"/>
                <a:gd name="T106" fmla="*/ 297 w 312"/>
                <a:gd name="T107" fmla="*/ 205 h 413"/>
                <a:gd name="T108" fmla="*/ 262 w 312"/>
                <a:gd name="T109" fmla="*/ 224 h 413"/>
                <a:gd name="T110" fmla="*/ 219 w 312"/>
                <a:gd name="T111" fmla="*/ 253 h 413"/>
                <a:gd name="T112" fmla="*/ 226 w 312"/>
                <a:gd name="T113" fmla="*/ 277 h 413"/>
                <a:gd name="T114" fmla="*/ 257 w 312"/>
                <a:gd name="T115" fmla="*/ 309 h 413"/>
                <a:gd name="T116" fmla="*/ 55 w 312"/>
                <a:gd name="T117" fmla="*/ 394 h 413"/>
                <a:gd name="T118" fmla="*/ 312 w 312"/>
                <a:gd name="T119" fmla="*/ 204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2" h="413">
                  <a:moveTo>
                    <a:pt x="275" y="325"/>
                  </a:moveTo>
                  <a:cubicBezTo>
                    <a:pt x="275" y="325"/>
                    <a:pt x="275" y="325"/>
                    <a:pt x="275" y="325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6" y="333"/>
                    <a:pt x="276" y="333"/>
                    <a:pt x="276" y="333"/>
                  </a:cubicBezTo>
                  <a:cubicBezTo>
                    <a:pt x="276" y="336"/>
                    <a:pt x="276" y="336"/>
                    <a:pt x="276" y="336"/>
                  </a:cubicBezTo>
                  <a:cubicBezTo>
                    <a:pt x="276" y="336"/>
                    <a:pt x="275" y="338"/>
                    <a:pt x="274" y="338"/>
                  </a:cubicBezTo>
                  <a:cubicBezTo>
                    <a:pt x="274" y="338"/>
                    <a:pt x="273" y="339"/>
                    <a:pt x="272" y="339"/>
                  </a:cubicBezTo>
                  <a:cubicBezTo>
                    <a:pt x="271" y="338"/>
                    <a:pt x="270" y="337"/>
                    <a:pt x="270" y="337"/>
                  </a:cubicBezTo>
                  <a:cubicBezTo>
                    <a:pt x="264" y="337"/>
                    <a:pt x="264" y="337"/>
                    <a:pt x="264" y="337"/>
                  </a:cubicBezTo>
                  <a:cubicBezTo>
                    <a:pt x="264" y="337"/>
                    <a:pt x="264" y="339"/>
                    <a:pt x="264" y="340"/>
                  </a:cubicBezTo>
                  <a:cubicBezTo>
                    <a:pt x="263" y="342"/>
                    <a:pt x="263" y="342"/>
                    <a:pt x="263" y="342"/>
                  </a:cubicBezTo>
                  <a:cubicBezTo>
                    <a:pt x="263" y="347"/>
                    <a:pt x="263" y="347"/>
                    <a:pt x="263" y="347"/>
                  </a:cubicBezTo>
                  <a:cubicBezTo>
                    <a:pt x="258" y="352"/>
                    <a:pt x="258" y="352"/>
                    <a:pt x="258" y="352"/>
                  </a:cubicBezTo>
                  <a:cubicBezTo>
                    <a:pt x="257" y="352"/>
                    <a:pt x="257" y="352"/>
                    <a:pt x="257" y="352"/>
                  </a:cubicBezTo>
                  <a:cubicBezTo>
                    <a:pt x="257" y="352"/>
                    <a:pt x="256" y="353"/>
                    <a:pt x="256" y="353"/>
                  </a:cubicBezTo>
                  <a:cubicBezTo>
                    <a:pt x="256" y="353"/>
                    <a:pt x="251" y="355"/>
                    <a:pt x="251" y="355"/>
                  </a:cubicBezTo>
                  <a:cubicBezTo>
                    <a:pt x="249" y="357"/>
                    <a:pt x="249" y="357"/>
                    <a:pt x="249" y="357"/>
                  </a:cubicBezTo>
                  <a:cubicBezTo>
                    <a:pt x="248" y="357"/>
                    <a:pt x="248" y="357"/>
                    <a:pt x="248" y="357"/>
                  </a:cubicBezTo>
                  <a:cubicBezTo>
                    <a:pt x="248" y="357"/>
                    <a:pt x="245" y="359"/>
                    <a:pt x="243" y="361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2" y="368"/>
                    <a:pt x="242" y="368"/>
                    <a:pt x="242" y="368"/>
                  </a:cubicBezTo>
                  <a:cubicBezTo>
                    <a:pt x="245" y="371"/>
                    <a:pt x="245" y="371"/>
                    <a:pt x="245" y="371"/>
                  </a:cubicBezTo>
                  <a:cubicBezTo>
                    <a:pt x="248" y="376"/>
                    <a:pt x="248" y="376"/>
                    <a:pt x="248" y="376"/>
                  </a:cubicBezTo>
                  <a:cubicBezTo>
                    <a:pt x="248" y="379"/>
                    <a:pt x="248" y="379"/>
                    <a:pt x="248" y="379"/>
                  </a:cubicBezTo>
                  <a:cubicBezTo>
                    <a:pt x="248" y="379"/>
                    <a:pt x="246" y="381"/>
                    <a:pt x="246" y="381"/>
                  </a:cubicBezTo>
                  <a:cubicBezTo>
                    <a:pt x="246" y="382"/>
                    <a:pt x="245" y="384"/>
                    <a:pt x="246" y="384"/>
                  </a:cubicBezTo>
                  <a:cubicBezTo>
                    <a:pt x="247" y="384"/>
                    <a:pt x="251" y="385"/>
                    <a:pt x="251" y="385"/>
                  </a:cubicBezTo>
                  <a:cubicBezTo>
                    <a:pt x="251" y="385"/>
                    <a:pt x="252" y="385"/>
                    <a:pt x="252" y="385"/>
                  </a:cubicBezTo>
                  <a:cubicBezTo>
                    <a:pt x="253" y="385"/>
                    <a:pt x="253" y="386"/>
                    <a:pt x="253" y="386"/>
                  </a:cubicBezTo>
                  <a:cubicBezTo>
                    <a:pt x="253" y="390"/>
                    <a:pt x="253" y="390"/>
                    <a:pt x="253" y="390"/>
                  </a:cubicBezTo>
                  <a:cubicBezTo>
                    <a:pt x="253" y="390"/>
                    <a:pt x="253" y="391"/>
                    <a:pt x="253" y="395"/>
                  </a:cubicBezTo>
                  <a:cubicBezTo>
                    <a:pt x="253" y="399"/>
                    <a:pt x="252" y="398"/>
                    <a:pt x="252" y="398"/>
                  </a:cubicBezTo>
                  <a:cubicBezTo>
                    <a:pt x="252" y="398"/>
                    <a:pt x="247" y="396"/>
                    <a:pt x="247" y="396"/>
                  </a:cubicBezTo>
                  <a:cubicBezTo>
                    <a:pt x="247" y="396"/>
                    <a:pt x="245" y="394"/>
                    <a:pt x="245" y="394"/>
                  </a:cubicBezTo>
                  <a:cubicBezTo>
                    <a:pt x="244" y="393"/>
                    <a:pt x="244" y="392"/>
                    <a:pt x="244" y="391"/>
                  </a:cubicBezTo>
                  <a:cubicBezTo>
                    <a:pt x="244" y="390"/>
                    <a:pt x="245" y="388"/>
                    <a:pt x="245" y="388"/>
                  </a:cubicBezTo>
                  <a:cubicBezTo>
                    <a:pt x="245" y="388"/>
                    <a:pt x="241" y="387"/>
                    <a:pt x="241" y="387"/>
                  </a:cubicBezTo>
                  <a:cubicBezTo>
                    <a:pt x="241" y="387"/>
                    <a:pt x="238" y="387"/>
                    <a:pt x="237" y="387"/>
                  </a:cubicBezTo>
                  <a:cubicBezTo>
                    <a:pt x="236" y="387"/>
                    <a:pt x="235" y="389"/>
                    <a:pt x="235" y="389"/>
                  </a:cubicBezTo>
                  <a:cubicBezTo>
                    <a:pt x="234" y="390"/>
                    <a:pt x="233" y="389"/>
                    <a:pt x="232" y="389"/>
                  </a:cubicBezTo>
                  <a:cubicBezTo>
                    <a:pt x="232" y="389"/>
                    <a:pt x="231" y="387"/>
                    <a:pt x="231" y="387"/>
                  </a:cubicBezTo>
                  <a:cubicBezTo>
                    <a:pt x="230" y="387"/>
                    <a:pt x="226" y="386"/>
                    <a:pt x="225" y="386"/>
                  </a:cubicBezTo>
                  <a:cubicBezTo>
                    <a:pt x="225" y="386"/>
                    <a:pt x="223" y="386"/>
                    <a:pt x="221" y="386"/>
                  </a:cubicBezTo>
                  <a:cubicBezTo>
                    <a:pt x="220" y="387"/>
                    <a:pt x="221" y="387"/>
                    <a:pt x="222" y="390"/>
                  </a:cubicBezTo>
                  <a:cubicBezTo>
                    <a:pt x="222" y="393"/>
                    <a:pt x="221" y="391"/>
                    <a:pt x="220" y="391"/>
                  </a:cubicBezTo>
                  <a:cubicBezTo>
                    <a:pt x="219" y="391"/>
                    <a:pt x="219" y="391"/>
                    <a:pt x="217" y="391"/>
                  </a:cubicBezTo>
                  <a:cubicBezTo>
                    <a:pt x="215" y="391"/>
                    <a:pt x="214" y="391"/>
                    <a:pt x="212" y="391"/>
                  </a:cubicBezTo>
                  <a:cubicBezTo>
                    <a:pt x="211" y="392"/>
                    <a:pt x="211" y="392"/>
                    <a:pt x="211" y="393"/>
                  </a:cubicBezTo>
                  <a:cubicBezTo>
                    <a:pt x="210" y="394"/>
                    <a:pt x="208" y="394"/>
                    <a:pt x="207" y="394"/>
                  </a:cubicBezTo>
                  <a:cubicBezTo>
                    <a:pt x="206" y="394"/>
                    <a:pt x="202" y="394"/>
                    <a:pt x="202" y="394"/>
                  </a:cubicBezTo>
                  <a:cubicBezTo>
                    <a:pt x="201" y="394"/>
                    <a:pt x="200" y="396"/>
                    <a:pt x="199" y="397"/>
                  </a:cubicBezTo>
                  <a:cubicBezTo>
                    <a:pt x="199" y="397"/>
                    <a:pt x="195" y="397"/>
                    <a:pt x="195" y="397"/>
                  </a:cubicBezTo>
                  <a:cubicBezTo>
                    <a:pt x="194" y="398"/>
                    <a:pt x="194" y="398"/>
                    <a:pt x="193" y="399"/>
                  </a:cubicBezTo>
                  <a:cubicBezTo>
                    <a:pt x="191" y="400"/>
                    <a:pt x="191" y="400"/>
                    <a:pt x="190" y="402"/>
                  </a:cubicBezTo>
                  <a:cubicBezTo>
                    <a:pt x="188" y="404"/>
                    <a:pt x="189" y="403"/>
                    <a:pt x="185" y="402"/>
                  </a:cubicBezTo>
                  <a:cubicBezTo>
                    <a:pt x="182" y="402"/>
                    <a:pt x="184" y="403"/>
                    <a:pt x="183" y="403"/>
                  </a:cubicBezTo>
                  <a:cubicBezTo>
                    <a:pt x="182" y="403"/>
                    <a:pt x="181" y="404"/>
                    <a:pt x="180" y="405"/>
                  </a:cubicBezTo>
                  <a:cubicBezTo>
                    <a:pt x="180" y="406"/>
                    <a:pt x="178" y="404"/>
                    <a:pt x="177" y="404"/>
                  </a:cubicBezTo>
                  <a:cubicBezTo>
                    <a:pt x="176" y="405"/>
                    <a:pt x="176" y="403"/>
                    <a:pt x="176" y="400"/>
                  </a:cubicBezTo>
                  <a:cubicBezTo>
                    <a:pt x="175" y="398"/>
                    <a:pt x="173" y="398"/>
                    <a:pt x="173" y="398"/>
                  </a:cubicBezTo>
                  <a:cubicBezTo>
                    <a:pt x="173" y="398"/>
                    <a:pt x="171" y="398"/>
                    <a:pt x="171" y="397"/>
                  </a:cubicBezTo>
                  <a:cubicBezTo>
                    <a:pt x="171" y="396"/>
                    <a:pt x="167" y="396"/>
                    <a:pt x="166" y="396"/>
                  </a:cubicBezTo>
                  <a:cubicBezTo>
                    <a:pt x="166" y="396"/>
                    <a:pt x="163" y="396"/>
                    <a:pt x="163" y="396"/>
                  </a:cubicBezTo>
                  <a:cubicBezTo>
                    <a:pt x="163" y="396"/>
                    <a:pt x="160" y="396"/>
                    <a:pt x="160" y="397"/>
                  </a:cubicBezTo>
                  <a:cubicBezTo>
                    <a:pt x="160" y="397"/>
                    <a:pt x="159" y="397"/>
                    <a:pt x="157" y="398"/>
                  </a:cubicBezTo>
                  <a:cubicBezTo>
                    <a:pt x="154" y="399"/>
                    <a:pt x="156" y="398"/>
                    <a:pt x="156" y="400"/>
                  </a:cubicBezTo>
                  <a:cubicBezTo>
                    <a:pt x="157" y="401"/>
                    <a:pt x="157" y="402"/>
                    <a:pt x="157" y="402"/>
                  </a:cubicBezTo>
                  <a:cubicBezTo>
                    <a:pt x="158" y="403"/>
                    <a:pt x="157" y="402"/>
                    <a:pt x="157" y="404"/>
                  </a:cubicBezTo>
                  <a:cubicBezTo>
                    <a:pt x="156" y="406"/>
                    <a:pt x="156" y="405"/>
                    <a:pt x="156" y="407"/>
                  </a:cubicBezTo>
                  <a:cubicBezTo>
                    <a:pt x="155" y="408"/>
                    <a:pt x="155" y="407"/>
                    <a:pt x="154" y="410"/>
                  </a:cubicBezTo>
                  <a:cubicBezTo>
                    <a:pt x="153" y="412"/>
                    <a:pt x="154" y="410"/>
                    <a:pt x="153" y="412"/>
                  </a:cubicBezTo>
                  <a:cubicBezTo>
                    <a:pt x="152" y="413"/>
                    <a:pt x="150" y="412"/>
                    <a:pt x="148" y="411"/>
                  </a:cubicBezTo>
                  <a:cubicBezTo>
                    <a:pt x="147" y="411"/>
                    <a:pt x="148" y="410"/>
                    <a:pt x="148" y="408"/>
                  </a:cubicBezTo>
                  <a:cubicBezTo>
                    <a:pt x="149" y="406"/>
                    <a:pt x="148" y="407"/>
                    <a:pt x="148" y="406"/>
                  </a:cubicBezTo>
                  <a:cubicBezTo>
                    <a:pt x="148" y="405"/>
                    <a:pt x="147" y="406"/>
                    <a:pt x="145" y="407"/>
                  </a:cubicBezTo>
                  <a:cubicBezTo>
                    <a:pt x="144" y="407"/>
                    <a:pt x="144" y="405"/>
                    <a:pt x="145" y="403"/>
                  </a:cubicBezTo>
                  <a:cubicBezTo>
                    <a:pt x="145" y="401"/>
                    <a:pt x="144" y="402"/>
                    <a:pt x="144" y="401"/>
                  </a:cubicBezTo>
                  <a:cubicBezTo>
                    <a:pt x="144" y="401"/>
                    <a:pt x="143" y="400"/>
                    <a:pt x="142" y="400"/>
                  </a:cubicBezTo>
                  <a:cubicBezTo>
                    <a:pt x="141" y="400"/>
                    <a:pt x="140" y="399"/>
                    <a:pt x="140" y="399"/>
                  </a:cubicBezTo>
                  <a:cubicBezTo>
                    <a:pt x="139" y="398"/>
                    <a:pt x="137" y="396"/>
                    <a:pt x="136" y="395"/>
                  </a:cubicBezTo>
                  <a:cubicBezTo>
                    <a:pt x="134" y="394"/>
                    <a:pt x="132" y="395"/>
                    <a:pt x="132" y="395"/>
                  </a:cubicBezTo>
                  <a:cubicBezTo>
                    <a:pt x="132" y="395"/>
                    <a:pt x="130" y="397"/>
                    <a:pt x="128" y="399"/>
                  </a:cubicBezTo>
                  <a:cubicBezTo>
                    <a:pt x="128" y="399"/>
                    <a:pt x="128" y="400"/>
                    <a:pt x="128" y="400"/>
                  </a:cubicBezTo>
                  <a:cubicBezTo>
                    <a:pt x="127" y="400"/>
                    <a:pt x="127" y="400"/>
                    <a:pt x="127" y="399"/>
                  </a:cubicBezTo>
                  <a:cubicBezTo>
                    <a:pt x="127" y="399"/>
                    <a:pt x="126" y="398"/>
                    <a:pt x="126" y="398"/>
                  </a:cubicBezTo>
                  <a:cubicBezTo>
                    <a:pt x="126" y="398"/>
                    <a:pt x="126" y="396"/>
                    <a:pt x="125" y="396"/>
                  </a:cubicBezTo>
                  <a:cubicBezTo>
                    <a:pt x="125" y="396"/>
                    <a:pt x="124" y="396"/>
                    <a:pt x="123" y="395"/>
                  </a:cubicBezTo>
                  <a:cubicBezTo>
                    <a:pt x="122" y="395"/>
                    <a:pt x="121" y="394"/>
                    <a:pt x="121" y="394"/>
                  </a:cubicBezTo>
                  <a:cubicBezTo>
                    <a:pt x="120" y="394"/>
                    <a:pt x="118" y="392"/>
                    <a:pt x="118" y="392"/>
                  </a:cubicBezTo>
                  <a:cubicBezTo>
                    <a:pt x="118" y="392"/>
                    <a:pt x="118" y="392"/>
                    <a:pt x="117" y="392"/>
                  </a:cubicBezTo>
                  <a:cubicBezTo>
                    <a:pt x="117" y="392"/>
                    <a:pt x="116" y="391"/>
                    <a:pt x="116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4" y="391"/>
                    <a:pt x="114" y="391"/>
                    <a:pt x="113" y="390"/>
                  </a:cubicBezTo>
                  <a:cubicBezTo>
                    <a:pt x="111" y="390"/>
                    <a:pt x="112" y="390"/>
                    <a:pt x="110" y="390"/>
                  </a:cubicBezTo>
                  <a:cubicBezTo>
                    <a:pt x="109" y="390"/>
                    <a:pt x="108" y="390"/>
                    <a:pt x="108" y="390"/>
                  </a:cubicBezTo>
                  <a:cubicBezTo>
                    <a:pt x="108" y="390"/>
                    <a:pt x="107" y="389"/>
                    <a:pt x="105" y="389"/>
                  </a:cubicBezTo>
                  <a:cubicBezTo>
                    <a:pt x="104" y="390"/>
                    <a:pt x="102" y="391"/>
                    <a:pt x="101" y="391"/>
                  </a:cubicBezTo>
                  <a:cubicBezTo>
                    <a:pt x="101" y="391"/>
                    <a:pt x="100" y="390"/>
                    <a:pt x="100" y="390"/>
                  </a:cubicBezTo>
                  <a:cubicBezTo>
                    <a:pt x="100" y="390"/>
                    <a:pt x="100" y="389"/>
                    <a:pt x="100" y="389"/>
                  </a:cubicBezTo>
                  <a:cubicBezTo>
                    <a:pt x="100" y="389"/>
                    <a:pt x="99" y="388"/>
                    <a:pt x="98" y="387"/>
                  </a:cubicBezTo>
                  <a:cubicBezTo>
                    <a:pt x="98" y="387"/>
                    <a:pt x="97" y="387"/>
                    <a:pt x="97" y="387"/>
                  </a:cubicBezTo>
                  <a:cubicBezTo>
                    <a:pt x="97" y="387"/>
                    <a:pt x="97" y="387"/>
                    <a:pt x="97" y="388"/>
                  </a:cubicBezTo>
                  <a:cubicBezTo>
                    <a:pt x="97" y="389"/>
                    <a:pt x="99" y="389"/>
                    <a:pt x="97" y="389"/>
                  </a:cubicBezTo>
                  <a:cubicBezTo>
                    <a:pt x="96" y="388"/>
                    <a:pt x="95" y="388"/>
                    <a:pt x="95" y="388"/>
                  </a:cubicBezTo>
                  <a:cubicBezTo>
                    <a:pt x="92" y="389"/>
                    <a:pt x="92" y="389"/>
                    <a:pt x="92" y="389"/>
                  </a:cubicBezTo>
                  <a:cubicBezTo>
                    <a:pt x="93" y="388"/>
                    <a:pt x="93" y="388"/>
                    <a:pt x="93" y="388"/>
                  </a:cubicBezTo>
                  <a:cubicBezTo>
                    <a:pt x="93" y="388"/>
                    <a:pt x="94" y="388"/>
                    <a:pt x="94" y="388"/>
                  </a:cubicBezTo>
                  <a:cubicBezTo>
                    <a:pt x="94" y="387"/>
                    <a:pt x="94" y="387"/>
                    <a:pt x="94" y="387"/>
                  </a:cubicBezTo>
                  <a:cubicBezTo>
                    <a:pt x="94" y="387"/>
                    <a:pt x="94" y="386"/>
                    <a:pt x="94" y="386"/>
                  </a:cubicBezTo>
                  <a:cubicBezTo>
                    <a:pt x="95" y="386"/>
                    <a:pt x="96" y="385"/>
                    <a:pt x="95" y="385"/>
                  </a:cubicBezTo>
                  <a:cubicBezTo>
                    <a:pt x="94" y="385"/>
                    <a:pt x="93" y="385"/>
                    <a:pt x="93" y="385"/>
                  </a:cubicBezTo>
                  <a:cubicBezTo>
                    <a:pt x="93" y="384"/>
                    <a:pt x="93" y="384"/>
                    <a:pt x="93" y="384"/>
                  </a:cubicBezTo>
                  <a:cubicBezTo>
                    <a:pt x="93" y="384"/>
                    <a:pt x="92" y="383"/>
                    <a:pt x="92" y="383"/>
                  </a:cubicBezTo>
                  <a:cubicBezTo>
                    <a:pt x="92" y="384"/>
                    <a:pt x="92" y="385"/>
                    <a:pt x="92" y="385"/>
                  </a:cubicBezTo>
                  <a:cubicBezTo>
                    <a:pt x="91" y="385"/>
                    <a:pt x="91" y="385"/>
                    <a:pt x="91" y="384"/>
                  </a:cubicBezTo>
                  <a:cubicBezTo>
                    <a:pt x="91" y="383"/>
                    <a:pt x="91" y="383"/>
                    <a:pt x="91" y="383"/>
                  </a:cubicBezTo>
                  <a:cubicBezTo>
                    <a:pt x="90" y="383"/>
                    <a:pt x="89" y="383"/>
                    <a:pt x="89" y="383"/>
                  </a:cubicBezTo>
                  <a:cubicBezTo>
                    <a:pt x="89" y="383"/>
                    <a:pt x="90" y="384"/>
                    <a:pt x="88" y="384"/>
                  </a:cubicBezTo>
                  <a:cubicBezTo>
                    <a:pt x="87" y="384"/>
                    <a:pt x="86" y="385"/>
                    <a:pt x="85" y="385"/>
                  </a:cubicBezTo>
                  <a:cubicBezTo>
                    <a:pt x="84" y="386"/>
                    <a:pt x="84" y="387"/>
                    <a:pt x="84" y="387"/>
                  </a:cubicBezTo>
                  <a:cubicBezTo>
                    <a:pt x="84" y="388"/>
                    <a:pt x="82" y="388"/>
                    <a:pt x="82" y="389"/>
                  </a:cubicBezTo>
                  <a:cubicBezTo>
                    <a:pt x="83" y="389"/>
                    <a:pt x="82" y="389"/>
                    <a:pt x="84" y="390"/>
                  </a:cubicBezTo>
                  <a:cubicBezTo>
                    <a:pt x="85" y="390"/>
                    <a:pt x="85" y="390"/>
                    <a:pt x="86" y="390"/>
                  </a:cubicBezTo>
                  <a:cubicBezTo>
                    <a:pt x="87" y="391"/>
                    <a:pt x="88" y="390"/>
                    <a:pt x="88" y="390"/>
                  </a:cubicBezTo>
                  <a:cubicBezTo>
                    <a:pt x="88" y="390"/>
                    <a:pt x="88" y="390"/>
                    <a:pt x="89" y="391"/>
                  </a:cubicBezTo>
                  <a:cubicBezTo>
                    <a:pt x="89" y="391"/>
                    <a:pt x="90" y="390"/>
                    <a:pt x="90" y="391"/>
                  </a:cubicBezTo>
                  <a:cubicBezTo>
                    <a:pt x="90" y="392"/>
                    <a:pt x="91" y="393"/>
                    <a:pt x="90" y="393"/>
                  </a:cubicBezTo>
                  <a:cubicBezTo>
                    <a:pt x="89" y="393"/>
                    <a:pt x="88" y="394"/>
                    <a:pt x="88" y="393"/>
                  </a:cubicBezTo>
                  <a:cubicBezTo>
                    <a:pt x="88" y="393"/>
                    <a:pt x="88" y="392"/>
                    <a:pt x="87" y="392"/>
                  </a:cubicBezTo>
                  <a:cubicBezTo>
                    <a:pt x="87" y="392"/>
                    <a:pt x="86" y="392"/>
                    <a:pt x="86" y="392"/>
                  </a:cubicBezTo>
                  <a:cubicBezTo>
                    <a:pt x="85" y="394"/>
                    <a:pt x="85" y="394"/>
                    <a:pt x="85" y="394"/>
                  </a:cubicBezTo>
                  <a:cubicBezTo>
                    <a:pt x="85" y="394"/>
                    <a:pt x="85" y="395"/>
                    <a:pt x="84" y="395"/>
                  </a:cubicBezTo>
                  <a:cubicBezTo>
                    <a:pt x="83" y="395"/>
                    <a:pt x="84" y="395"/>
                    <a:pt x="82" y="395"/>
                  </a:cubicBezTo>
                  <a:cubicBezTo>
                    <a:pt x="80" y="395"/>
                    <a:pt x="80" y="394"/>
                    <a:pt x="79" y="394"/>
                  </a:cubicBezTo>
                  <a:cubicBezTo>
                    <a:pt x="79" y="394"/>
                    <a:pt x="79" y="394"/>
                    <a:pt x="78" y="394"/>
                  </a:cubicBezTo>
                  <a:cubicBezTo>
                    <a:pt x="78" y="394"/>
                    <a:pt x="76" y="392"/>
                    <a:pt x="75" y="394"/>
                  </a:cubicBezTo>
                  <a:cubicBezTo>
                    <a:pt x="74" y="395"/>
                    <a:pt x="73" y="396"/>
                    <a:pt x="73" y="396"/>
                  </a:cubicBezTo>
                  <a:cubicBezTo>
                    <a:pt x="70" y="396"/>
                    <a:pt x="70" y="396"/>
                    <a:pt x="70" y="396"/>
                  </a:cubicBezTo>
                  <a:cubicBezTo>
                    <a:pt x="70" y="396"/>
                    <a:pt x="69" y="396"/>
                    <a:pt x="68" y="396"/>
                  </a:cubicBezTo>
                  <a:cubicBezTo>
                    <a:pt x="67" y="396"/>
                    <a:pt x="66" y="396"/>
                    <a:pt x="66" y="396"/>
                  </a:cubicBezTo>
                  <a:cubicBezTo>
                    <a:pt x="65" y="397"/>
                    <a:pt x="64" y="394"/>
                    <a:pt x="64" y="394"/>
                  </a:cubicBezTo>
                  <a:cubicBezTo>
                    <a:pt x="64" y="394"/>
                    <a:pt x="65" y="392"/>
                    <a:pt x="62" y="394"/>
                  </a:cubicBezTo>
                  <a:cubicBezTo>
                    <a:pt x="59" y="396"/>
                    <a:pt x="58" y="396"/>
                    <a:pt x="58" y="396"/>
                  </a:cubicBezTo>
                  <a:cubicBezTo>
                    <a:pt x="58" y="396"/>
                    <a:pt x="57" y="396"/>
                    <a:pt x="57" y="397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6" y="396"/>
                    <a:pt x="56" y="396"/>
                    <a:pt x="56" y="395"/>
                  </a:cubicBezTo>
                  <a:cubicBezTo>
                    <a:pt x="56" y="395"/>
                    <a:pt x="56" y="395"/>
                    <a:pt x="56" y="395"/>
                  </a:cubicBezTo>
                  <a:cubicBezTo>
                    <a:pt x="56" y="395"/>
                    <a:pt x="55" y="395"/>
                    <a:pt x="55" y="394"/>
                  </a:cubicBezTo>
                  <a:cubicBezTo>
                    <a:pt x="53" y="392"/>
                    <a:pt x="50" y="388"/>
                    <a:pt x="50" y="388"/>
                  </a:cubicBezTo>
                  <a:cubicBezTo>
                    <a:pt x="52" y="384"/>
                    <a:pt x="52" y="384"/>
                    <a:pt x="52" y="384"/>
                  </a:cubicBezTo>
                  <a:cubicBezTo>
                    <a:pt x="52" y="384"/>
                    <a:pt x="53" y="377"/>
                    <a:pt x="53" y="375"/>
                  </a:cubicBezTo>
                  <a:cubicBezTo>
                    <a:pt x="53" y="374"/>
                    <a:pt x="53" y="368"/>
                    <a:pt x="53" y="368"/>
                  </a:cubicBezTo>
                  <a:cubicBezTo>
                    <a:pt x="53" y="368"/>
                    <a:pt x="49" y="367"/>
                    <a:pt x="52" y="364"/>
                  </a:cubicBezTo>
                  <a:cubicBezTo>
                    <a:pt x="55" y="360"/>
                    <a:pt x="58" y="355"/>
                    <a:pt x="58" y="355"/>
                  </a:cubicBezTo>
                  <a:cubicBezTo>
                    <a:pt x="58" y="345"/>
                    <a:pt x="58" y="345"/>
                    <a:pt x="58" y="345"/>
                  </a:cubicBezTo>
                  <a:cubicBezTo>
                    <a:pt x="58" y="345"/>
                    <a:pt x="55" y="342"/>
                    <a:pt x="59" y="340"/>
                  </a:cubicBezTo>
                  <a:cubicBezTo>
                    <a:pt x="63" y="337"/>
                    <a:pt x="70" y="328"/>
                    <a:pt x="70" y="328"/>
                  </a:cubicBezTo>
                  <a:cubicBezTo>
                    <a:pt x="77" y="320"/>
                    <a:pt x="77" y="320"/>
                    <a:pt x="77" y="320"/>
                  </a:cubicBezTo>
                  <a:cubicBezTo>
                    <a:pt x="65" y="317"/>
                    <a:pt x="65" y="317"/>
                    <a:pt x="65" y="317"/>
                  </a:cubicBezTo>
                  <a:cubicBezTo>
                    <a:pt x="58" y="316"/>
                    <a:pt x="58" y="316"/>
                    <a:pt x="58" y="316"/>
                  </a:cubicBezTo>
                  <a:cubicBezTo>
                    <a:pt x="53" y="313"/>
                    <a:pt x="53" y="313"/>
                    <a:pt x="53" y="313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47" y="310"/>
                    <a:pt x="47" y="310"/>
                    <a:pt x="47" y="310"/>
                  </a:cubicBezTo>
                  <a:cubicBezTo>
                    <a:pt x="44" y="312"/>
                    <a:pt x="44" y="312"/>
                    <a:pt x="44" y="312"/>
                  </a:cubicBezTo>
                  <a:cubicBezTo>
                    <a:pt x="37" y="311"/>
                    <a:pt x="37" y="311"/>
                    <a:pt x="37" y="311"/>
                  </a:cubicBezTo>
                  <a:cubicBezTo>
                    <a:pt x="32" y="306"/>
                    <a:pt x="32" y="306"/>
                    <a:pt x="32" y="306"/>
                  </a:cubicBezTo>
                  <a:cubicBezTo>
                    <a:pt x="28" y="309"/>
                    <a:pt x="28" y="309"/>
                    <a:pt x="28" y="309"/>
                  </a:cubicBezTo>
                  <a:cubicBezTo>
                    <a:pt x="24" y="306"/>
                    <a:pt x="24" y="306"/>
                    <a:pt x="24" y="306"/>
                  </a:cubicBezTo>
                  <a:cubicBezTo>
                    <a:pt x="21" y="301"/>
                    <a:pt x="21" y="301"/>
                    <a:pt x="21" y="301"/>
                  </a:cubicBezTo>
                  <a:cubicBezTo>
                    <a:pt x="20" y="297"/>
                    <a:pt x="20" y="297"/>
                    <a:pt x="20" y="297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3" y="292"/>
                    <a:pt x="13" y="292"/>
                    <a:pt x="13" y="292"/>
                  </a:cubicBezTo>
                  <a:cubicBezTo>
                    <a:pt x="13" y="291"/>
                    <a:pt x="13" y="291"/>
                    <a:pt x="13" y="291"/>
                  </a:cubicBezTo>
                  <a:cubicBezTo>
                    <a:pt x="12" y="285"/>
                    <a:pt x="12" y="285"/>
                    <a:pt x="12" y="285"/>
                  </a:cubicBezTo>
                  <a:cubicBezTo>
                    <a:pt x="15" y="283"/>
                    <a:pt x="15" y="283"/>
                    <a:pt x="15" y="283"/>
                  </a:cubicBezTo>
                  <a:cubicBezTo>
                    <a:pt x="17" y="280"/>
                    <a:pt x="17" y="280"/>
                    <a:pt x="17" y="280"/>
                  </a:cubicBezTo>
                  <a:cubicBezTo>
                    <a:pt x="19" y="277"/>
                    <a:pt x="19" y="277"/>
                    <a:pt x="19" y="277"/>
                  </a:cubicBezTo>
                  <a:cubicBezTo>
                    <a:pt x="18" y="273"/>
                    <a:pt x="18" y="273"/>
                    <a:pt x="18" y="273"/>
                  </a:cubicBezTo>
                  <a:cubicBezTo>
                    <a:pt x="18" y="273"/>
                    <a:pt x="14" y="273"/>
                    <a:pt x="13" y="272"/>
                  </a:cubicBezTo>
                  <a:cubicBezTo>
                    <a:pt x="12" y="272"/>
                    <a:pt x="9" y="270"/>
                    <a:pt x="9" y="270"/>
                  </a:cubicBezTo>
                  <a:cubicBezTo>
                    <a:pt x="8" y="265"/>
                    <a:pt x="8" y="265"/>
                    <a:pt x="8" y="265"/>
                  </a:cubicBezTo>
                  <a:cubicBezTo>
                    <a:pt x="6" y="262"/>
                    <a:pt x="6" y="262"/>
                    <a:pt x="6" y="262"/>
                  </a:cubicBezTo>
                  <a:cubicBezTo>
                    <a:pt x="5" y="257"/>
                    <a:pt x="5" y="257"/>
                    <a:pt x="5" y="257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7" y="252"/>
                    <a:pt x="7" y="252"/>
                    <a:pt x="7" y="252"/>
                  </a:cubicBezTo>
                  <a:cubicBezTo>
                    <a:pt x="8" y="250"/>
                    <a:pt x="8" y="250"/>
                    <a:pt x="8" y="250"/>
                  </a:cubicBezTo>
                  <a:cubicBezTo>
                    <a:pt x="8" y="249"/>
                    <a:pt x="8" y="249"/>
                    <a:pt x="8" y="249"/>
                  </a:cubicBezTo>
                  <a:cubicBezTo>
                    <a:pt x="8" y="249"/>
                    <a:pt x="9" y="248"/>
                    <a:pt x="10" y="248"/>
                  </a:cubicBezTo>
                  <a:cubicBezTo>
                    <a:pt x="10" y="248"/>
                    <a:pt x="11" y="248"/>
                    <a:pt x="11" y="248"/>
                  </a:cubicBezTo>
                  <a:cubicBezTo>
                    <a:pt x="12" y="248"/>
                    <a:pt x="12" y="245"/>
                    <a:pt x="12" y="245"/>
                  </a:cubicBezTo>
                  <a:cubicBezTo>
                    <a:pt x="14" y="245"/>
                    <a:pt x="14" y="245"/>
                    <a:pt x="14" y="245"/>
                  </a:cubicBezTo>
                  <a:cubicBezTo>
                    <a:pt x="14" y="245"/>
                    <a:pt x="15" y="244"/>
                    <a:pt x="15" y="244"/>
                  </a:cubicBezTo>
                  <a:cubicBezTo>
                    <a:pt x="15" y="243"/>
                    <a:pt x="15" y="242"/>
                    <a:pt x="15" y="242"/>
                  </a:cubicBezTo>
                  <a:cubicBezTo>
                    <a:pt x="15" y="242"/>
                    <a:pt x="16" y="240"/>
                    <a:pt x="16" y="239"/>
                  </a:cubicBezTo>
                  <a:cubicBezTo>
                    <a:pt x="16" y="238"/>
                    <a:pt x="15" y="237"/>
                    <a:pt x="15" y="237"/>
                  </a:cubicBezTo>
                  <a:cubicBezTo>
                    <a:pt x="15" y="237"/>
                    <a:pt x="14" y="235"/>
                    <a:pt x="13" y="235"/>
                  </a:cubicBezTo>
                  <a:cubicBezTo>
                    <a:pt x="13" y="235"/>
                    <a:pt x="11" y="235"/>
                    <a:pt x="11" y="235"/>
                  </a:cubicBezTo>
                  <a:cubicBezTo>
                    <a:pt x="10" y="235"/>
                    <a:pt x="9" y="233"/>
                    <a:pt x="9" y="233"/>
                  </a:cubicBezTo>
                  <a:cubicBezTo>
                    <a:pt x="9" y="233"/>
                    <a:pt x="10" y="232"/>
                    <a:pt x="10" y="231"/>
                  </a:cubicBezTo>
                  <a:cubicBezTo>
                    <a:pt x="11" y="231"/>
                    <a:pt x="11" y="228"/>
                    <a:pt x="11" y="228"/>
                  </a:cubicBezTo>
                  <a:cubicBezTo>
                    <a:pt x="11" y="228"/>
                    <a:pt x="10" y="227"/>
                    <a:pt x="9" y="227"/>
                  </a:cubicBezTo>
                  <a:cubicBezTo>
                    <a:pt x="9" y="227"/>
                    <a:pt x="7" y="227"/>
                    <a:pt x="7" y="227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7" y="224"/>
                    <a:pt x="5" y="223"/>
                    <a:pt x="4" y="223"/>
                  </a:cubicBezTo>
                  <a:cubicBezTo>
                    <a:pt x="4" y="223"/>
                    <a:pt x="4" y="222"/>
                    <a:pt x="3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1"/>
                    <a:pt x="3" y="220"/>
                    <a:pt x="3" y="219"/>
                  </a:cubicBezTo>
                  <a:cubicBezTo>
                    <a:pt x="3" y="219"/>
                    <a:pt x="4" y="219"/>
                    <a:pt x="4" y="219"/>
                  </a:cubicBezTo>
                  <a:cubicBezTo>
                    <a:pt x="4" y="219"/>
                    <a:pt x="4" y="218"/>
                    <a:pt x="5" y="217"/>
                  </a:cubicBezTo>
                  <a:cubicBezTo>
                    <a:pt x="5" y="217"/>
                    <a:pt x="5" y="217"/>
                    <a:pt x="6" y="217"/>
                  </a:cubicBezTo>
                  <a:cubicBezTo>
                    <a:pt x="6" y="217"/>
                    <a:pt x="6" y="216"/>
                    <a:pt x="7" y="216"/>
                  </a:cubicBezTo>
                  <a:cubicBezTo>
                    <a:pt x="7" y="215"/>
                    <a:pt x="7" y="213"/>
                    <a:pt x="7" y="213"/>
                  </a:cubicBezTo>
                  <a:cubicBezTo>
                    <a:pt x="7" y="213"/>
                    <a:pt x="7" y="213"/>
                    <a:pt x="6" y="212"/>
                  </a:cubicBezTo>
                  <a:cubicBezTo>
                    <a:pt x="5" y="212"/>
                    <a:pt x="5" y="212"/>
                    <a:pt x="5" y="211"/>
                  </a:cubicBezTo>
                  <a:cubicBezTo>
                    <a:pt x="4" y="211"/>
                    <a:pt x="5" y="210"/>
                    <a:pt x="5" y="210"/>
                  </a:cubicBezTo>
                  <a:cubicBezTo>
                    <a:pt x="5" y="210"/>
                    <a:pt x="3" y="209"/>
                    <a:pt x="3" y="209"/>
                  </a:cubicBezTo>
                  <a:cubicBezTo>
                    <a:pt x="3" y="209"/>
                    <a:pt x="1" y="209"/>
                    <a:pt x="1" y="209"/>
                  </a:cubicBezTo>
                  <a:cubicBezTo>
                    <a:pt x="1" y="209"/>
                    <a:pt x="1" y="209"/>
                    <a:pt x="1" y="209"/>
                  </a:cubicBezTo>
                  <a:cubicBezTo>
                    <a:pt x="1" y="207"/>
                    <a:pt x="1" y="207"/>
                    <a:pt x="1" y="20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204"/>
                    <a:pt x="1" y="204"/>
                    <a:pt x="1" y="204"/>
                  </a:cubicBezTo>
                  <a:cubicBezTo>
                    <a:pt x="3" y="206"/>
                    <a:pt x="3" y="206"/>
                    <a:pt x="3" y="206"/>
                  </a:cubicBezTo>
                  <a:cubicBezTo>
                    <a:pt x="3" y="206"/>
                    <a:pt x="3" y="205"/>
                    <a:pt x="3" y="204"/>
                  </a:cubicBezTo>
                  <a:cubicBezTo>
                    <a:pt x="4" y="204"/>
                    <a:pt x="5" y="202"/>
                    <a:pt x="5" y="202"/>
                  </a:cubicBezTo>
                  <a:cubicBezTo>
                    <a:pt x="7" y="202"/>
                    <a:pt x="7" y="202"/>
                    <a:pt x="7" y="202"/>
                  </a:cubicBezTo>
                  <a:cubicBezTo>
                    <a:pt x="7" y="202"/>
                    <a:pt x="11" y="202"/>
                    <a:pt x="11" y="202"/>
                  </a:cubicBezTo>
                  <a:cubicBezTo>
                    <a:pt x="12" y="201"/>
                    <a:pt x="10" y="199"/>
                    <a:pt x="10" y="199"/>
                  </a:cubicBezTo>
                  <a:cubicBezTo>
                    <a:pt x="10" y="199"/>
                    <a:pt x="8" y="201"/>
                    <a:pt x="8" y="201"/>
                  </a:cubicBezTo>
                  <a:cubicBezTo>
                    <a:pt x="7" y="201"/>
                    <a:pt x="7" y="198"/>
                    <a:pt x="7" y="198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10" y="193"/>
                    <a:pt x="10" y="193"/>
                    <a:pt x="10" y="193"/>
                  </a:cubicBezTo>
                  <a:cubicBezTo>
                    <a:pt x="10" y="193"/>
                    <a:pt x="12" y="191"/>
                    <a:pt x="12" y="191"/>
                  </a:cubicBezTo>
                  <a:cubicBezTo>
                    <a:pt x="13" y="190"/>
                    <a:pt x="12" y="188"/>
                    <a:pt x="12" y="188"/>
                  </a:cubicBezTo>
                  <a:cubicBezTo>
                    <a:pt x="13" y="185"/>
                    <a:pt x="13" y="185"/>
                    <a:pt x="13" y="185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1" y="179"/>
                    <a:pt x="11" y="179"/>
                    <a:pt x="11" y="179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5"/>
                    <a:pt x="9" y="175"/>
                    <a:pt x="9" y="17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1"/>
                    <a:pt x="8" y="171"/>
                    <a:pt x="8" y="171"/>
                  </a:cubicBezTo>
                  <a:cubicBezTo>
                    <a:pt x="8" y="171"/>
                    <a:pt x="6" y="169"/>
                    <a:pt x="5" y="169"/>
                  </a:cubicBezTo>
                  <a:cubicBezTo>
                    <a:pt x="4" y="169"/>
                    <a:pt x="5" y="168"/>
                    <a:pt x="5" y="168"/>
                  </a:cubicBezTo>
                  <a:cubicBezTo>
                    <a:pt x="5" y="166"/>
                    <a:pt x="5" y="166"/>
                    <a:pt x="5" y="166"/>
                  </a:cubicBezTo>
                  <a:cubicBezTo>
                    <a:pt x="5" y="163"/>
                    <a:pt x="5" y="163"/>
                    <a:pt x="5" y="163"/>
                  </a:cubicBezTo>
                  <a:cubicBezTo>
                    <a:pt x="10" y="164"/>
                    <a:pt x="10" y="164"/>
                    <a:pt x="10" y="164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3" y="159"/>
                    <a:pt x="33" y="159"/>
                    <a:pt x="33" y="159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151"/>
                    <a:pt x="34" y="152"/>
                    <a:pt x="34" y="152"/>
                  </a:cubicBezTo>
                  <a:cubicBezTo>
                    <a:pt x="34" y="151"/>
                    <a:pt x="34" y="151"/>
                    <a:pt x="35" y="150"/>
                  </a:cubicBezTo>
                  <a:cubicBezTo>
                    <a:pt x="36" y="150"/>
                    <a:pt x="38" y="149"/>
                    <a:pt x="38" y="14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41" y="146"/>
                    <a:pt x="41" y="146"/>
                  </a:cubicBezTo>
                  <a:cubicBezTo>
                    <a:pt x="42" y="146"/>
                    <a:pt x="41" y="145"/>
                    <a:pt x="41" y="144"/>
                  </a:cubicBezTo>
                  <a:cubicBezTo>
                    <a:pt x="41" y="143"/>
                    <a:pt x="41" y="141"/>
                    <a:pt x="41" y="141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35"/>
                    <a:pt x="40" y="135"/>
                    <a:pt x="40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5" y="134"/>
                    <a:pt x="32" y="134"/>
                    <a:pt x="32" y="133"/>
                  </a:cubicBezTo>
                  <a:cubicBezTo>
                    <a:pt x="31" y="132"/>
                    <a:pt x="30" y="130"/>
                    <a:pt x="30" y="130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40" y="125"/>
                    <a:pt x="41" y="125"/>
                  </a:cubicBezTo>
                  <a:cubicBezTo>
                    <a:pt x="42" y="126"/>
                    <a:pt x="42" y="122"/>
                    <a:pt x="42" y="122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2" y="113"/>
                    <a:pt x="43" y="112"/>
                  </a:cubicBezTo>
                  <a:cubicBezTo>
                    <a:pt x="44" y="112"/>
                    <a:pt x="47" y="106"/>
                    <a:pt x="47" y="106"/>
                  </a:cubicBezTo>
                  <a:cubicBezTo>
                    <a:pt x="47" y="106"/>
                    <a:pt x="47" y="100"/>
                    <a:pt x="47" y="99"/>
                  </a:cubicBezTo>
                  <a:cubicBezTo>
                    <a:pt x="47" y="98"/>
                    <a:pt x="47" y="94"/>
                    <a:pt x="47" y="94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7" y="93"/>
                    <a:pt x="44" y="92"/>
                    <a:pt x="43" y="92"/>
                  </a:cubicBezTo>
                  <a:cubicBezTo>
                    <a:pt x="43" y="91"/>
                    <a:pt x="44" y="89"/>
                    <a:pt x="44" y="89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40" y="85"/>
                    <a:pt x="41" y="80"/>
                    <a:pt x="42" y="80"/>
                  </a:cubicBezTo>
                  <a:cubicBezTo>
                    <a:pt x="43" y="79"/>
                    <a:pt x="45" y="77"/>
                    <a:pt x="45" y="77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5" y="67"/>
                    <a:pt x="45" y="67"/>
                    <a:pt x="45" y="67"/>
                  </a:cubicBezTo>
                  <a:cubicBezTo>
                    <a:pt x="45" y="67"/>
                    <a:pt x="49" y="65"/>
                    <a:pt x="49" y="65"/>
                  </a:cubicBezTo>
                  <a:cubicBezTo>
                    <a:pt x="50" y="65"/>
                    <a:pt x="56" y="65"/>
                    <a:pt x="56" y="65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5" y="66"/>
                    <a:pt x="75" y="67"/>
                  </a:cubicBezTo>
                  <a:cubicBezTo>
                    <a:pt x="75" y="67"/>
                    <a:pt x="77" y="69"/>
                    <a:pt x="77" y="70"/>
                  </a:cubicBezTo>
                  <a:cubicBezTo>
                    <a:pt x="76" y="70"/>
                    <a:pt x="78" y="73"/>
                    <a:pt x="78" y="73"/>
                  </a:cubicBezTo>
                  <a:cubicBezTo>
                    <a:pt x="78" y="73"/>
                    <a:pt x="77" y="75"/>
                    <a:pt x="77" y="76"/>
                  </a:cubicBezTo>
                  <a:cubicBezTo>
                    <a:pt x="77" y="76"/>
                    <a:pt x="78" y="80"/>
                    <a:pt x="78" y="80"/>
                  </a:cubicBezTo>
                  <a:cubicBezTo>
                    <a:pt x="78" y="81"/>
                    <a:pt x="80" y="82"/>
                    <a:pt x="80" y="82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3" y="71"/>
                    <a:pt x="84" y="72"/>
                  </a:cubicBezTo>
                  <a:cubicBezTo>
                    <a:pt x="85" y="72"/>
                    <a:pt x="88" y="75"/>
                    <a:pt x="88" y="75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6"/>
                    <a:pt x="93" y="74"/>
                    <a:pt x="93" y="74"/>
                  </a:cubicBezTo>
                  <a:cubicBezTo>
                    <a:pt x="93" y="74"/>
                    <a:pt x="90" y="70"/>
                    <a:pt x="90" y="70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4" y="57"/>
                    <a:pt x="114" y="57"/>
                  </a:cubicBezTo>
                  <a:cubicBezTo>
                    <a:pt x="113" y="57"/>
                    <a:pt x="111" y="55"/>
                    <a:pt x="111" y="55"/>
                  </a:cubicBezTo>
                  <a:cubicBezTo>
                    <a:pt x="111" y="55"/>
                    <a:pt x="110" y="57"/>
                    <a:pt x="110" y="57"/>
                  </a:cubicBezTo>
                  <a:cubicBezTo>
                    <a:pt x="109" y="58"/>
                    <a:pt x="106" y="58"/>
                    <a:pt x="106" y="57"/>
                  </a:cubicBezTo>
                  <a:cubicBezTo>
                    <a:pt x="105" y="57"/>
                    <a:pt x="104" y="54"/>
                    <a:pt x="104" y="54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4"/>
                    <a:pt x="104" y="43"/>
                  </a:cubicBezTo>
                  <a:cubicBezTo>
                    <a:pt x="105" y="43"/>
                    <a:pt x="105" y="41"/>
                    <a:pt x="105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1" y="41"/>
                    <a:pt x="101" y="39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4" y="25"/>
                    <a:pt x="103" y="26"/>
                    <a:pt x="103" y="26"/>
                  </a:cubicBezTo>
                  <a:cubicBezTo>
                    <a:pt x="102" y="26"/>
                    <a:pt x="100" y="26"/>
                    <a:pt x="100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104" y="2"/>
                    <a:pt x="105" y="2"/>
                  </a:cubicBezTo>
                  <a:cubicBezTo>
                    <a:pt x="106" y="2"/>
                    <a:pt x="108" y="3"/>
                    <a:pt x="108" y="3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6"/>
                    <a:pt x="116" y="6"/>
                    <a:pt x="116" y="6"/>
                  </a:cubicBezTo>
                  <a:cubicBezTo>
                    <a:pt x="117" y="6"/>
                    <a:pt x="119" y="5"/>
                    <a:pt x="119" y="5"/>
                  </a:cubicBezTo>
                  <a:cubicBezTo>
                    <a:pt x="119" y="5"/>
                    <a:pt x="122" y="3"/>
                    <a:pt x="123" y="3"/>
                  </a:cubicBezTo>
                  <a:cubicBezTo>
                    <a:pt x="123" y="2"/>
                    <a:pt x="124" y="2"/>
                    <a:pt x="124" y="2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8" y="15"/>
                    <a:pt x="138" y="15"/>
                    <a:pt x="138" y="15"/>
                  </a:cubicBezTo>
                  <a:cubicBezTo>
                    <a:pt x="138" y="15"/>
                    <a:pt x="138" y="18"/>
                    <a:pt x="138" y="18"/>
                  </a:cubicBezTo>
                  <a:cubicBezTo>
                    <a:pt x="137" y="18"/>
                    <a:pt x="136" y="22"/>
                    <a:pt x="136" y="22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5" y="31"/>
                    <a:pt x="165" y="31"/>
                    <a:pt x="165" y="31"/>
                  </a:cubicBezTo>
                  <a:cubicBezTo>
                    <a:pt x="168" y="31"/>
                    <a:pt x="168" y="31"/>
                    <a:pt x="168" y="31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1" y="29"/>
                    <a:pt x="171" y="29"/>
                    <a:pt x="171" y="29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68" y="23"/>
                    <a:pt x="170" y="21"/>
                    <a:pt x="170" y="21"/>
                  </a:cubicBezTo>
                  <a:cubicBezTo>
                    <a:pt x="171" y="21"/>
                    <a:pt x="175" y="22"/>
                    <a:pt x="175" y="22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7" y="28"/>
                    <a:pt x="177" y="28"/>
                    <a:pt x="177" y="28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2" y="39"/>
                    <a:pt x="172" y="39"/>
                    <a:pt x="172" y="39"/>
                  </a:cubicBezTo>
                  <a:cubicBezTo>
                    <a:pt x="172" y="39"/>
                    <a:pt x="172" y="41"/>
                    <a:pt x="171" y="41"/>
                  </a:cubicBezTo>
                  <a:cubicBezTo>
                    <a:pt x="170" y="42"/>
                    <a:pt x="168" y="42"/>
                    <a:pt x="168" y="42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5" y="46"/>
                    <a:pt x="165" y="46"/>
                    <a:pt x="165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1" y="47"/>
                    <a:pt x="161" y="47"/>
                    <a:pt x="161" y="47"/>
                  </a:cubicBezTo>
                  <a:cubicBezTo>
                    <a:pt x="162" y="50"/>
                    <a:pt x="162" y="50"/>
                    <a:pt x="162" y="50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73" y="49"/>
                    <a:pt x="173" y="49"/>
                    <a:pt x="173" y="49"/>
                  </a:cubicBezTo>
                  <a:cubicBezTo>
                    <a:pt x="177" y="51"/>
                    <a:pt x="177" y="51"/>
                    <a:pt x="177" y="51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53"/>
                    <a:pt x="182" y="53"/>
                    <a:pt x="182" y="53"/>
                  </a:cubicBezTo>
                  <a:cubicBezTo>
                    <a:pt x="182" y="53"/>
                    <a:pt x="183" y="50"/>
                    <a:pt x="183" y="50"/>
                  </a:cubicBezTo>
                  <a:cubicBezTo>
                    <a:pt x="183" y="50"/>
                    <a:pt x="184" y="48"/>
                    <a:pt x="185" y="48"/>
                  </a:cubicBezTo>
                  <a:cubicBezTo>
                    <a:pt x="186" y="48"/>
                    <a:pt x="187" y="46"/>
                    <a:pt x="188" y="46"/>
                  </a:cubicBezTo>
                  <a:cubicBezTo>
                    <a:pt x="188" y="45"/>
                    <a:pt x="189" y="43"/>
                    <a:pt x="189" y="43"/>
                  </a:cubicBezTo>
                  <a:cubicBezTo>
                    <a:pt x="189" y="43"/>
                    <a:pt x="191" y="42"/>
                    <a:pt x="192" y="42"/>
                  </a:cubicBezTo>
                  <a:cubicBezTo>
                    <a:pt x="193" y="42"/>
                    <a:pt x="199" y="41"/>
                    <a:pt x="199" y="41"/>
                  </a:cubicBezTo>
                  <a:cubicBezTo>
                    <a:pt x="199" y="41"/>
                    <a:pt x="203" y="40"/>
                    <a:pt x="204" y="39"/>
                  </a:cubicBezTo>
                  <a:cubicBezTo>
                    <a:pt x="204" y="39"/>
                    <a:pt x="208" y="36"/>
                    <a:pt x="208" y="36"/>
                  </a:cubicBezTo>
                  <a:cubicBezTo>
                    <a:pt x="209" y="33"/>
                    <a:pt x="209" y="33"/>
                    <a:pt x="209" y="3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3" y="30"/>
                    <a:pt x="213" y="29"/>
                  </a:cubicBezTo>
                  <a:cubicBezTo>
                    <a:pt x="213" y="28"/>
                    <a:pt x="214" y="25"/>
                    <a:pt x="214" y="25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24"/>
                    <a:pt x="218" y="25"/>
                    <a:pt x="218" y="26"/>
                  </a:cubicBezTo>
                  <a:cubicBezTo>
                    <a:pt x="218" y="26"/>
                    <a:pt x="217" y="28"/>
                    <a:pt x="217" y="28"/>
                  </a:cubicBezTo>
                  <a:cubicBezTo>
                    <a:pt x="217" y="28"/>
                    <a:pt x="215" y="29"/>
                    <a:pt x="214" y="30"/>
                  </a:cubicBezTo>
                  <a:cubicBezTo>
                    <a:pt x="214" y="30"/>
                    <a:pt x="214" y="32"/>
                    <a:pt x="214" y="32"/>
                  </a:cubicBezTo>
                  <a:cubicBezTo>
                    <a:pt x="216" y="30"/>
                    <a:pt x="216" y="30"/>
                    <a:pt x="216" y="30"/>
                  </a:cubicBezTo>
                  <a:cubicBezTo>
                    <a:pt x="216" y="30"/>
                    <a:pt x="217" y="29"/>
                    <a:pt x="217" y="29"/>
                  </a:cubicBezTo>
                  <a:cubicBezTo>
                    <a:pt x="217" y="29"/>
                    <a:pt x="221" y="28"/>
                    <a:pt x="221" y="28"/>
                  </a:cubicBezTo>
                  <a:cubicBezTo>
                    <a:pt x="221" y="28"/>
                    <a:pt x="223" y="29"/>
                    <a:pt x="223" y="29"/>
                  </a:cubicBezTo>
                  <a:cubicBezTo>
                    <a:pt x="223" y="29"/>
                    <a:pt x="225" y="30"/>
                    <a:pt x="225" y="30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6"/>
                    <a:pt x="230" y="26"/>
                  </a:cubicBezTo>
                  <a:cubicBezTo>
                    <a:pt x="231" y="25"/>
                    <a:pt x="233" y="24"/>
                    <a:pt x="233" y="24"/>
                  </a:cubicBezTo>
                  <a:cubicBezTo>
                    <a:pt x="233" y="24"/>
                    <a:pt x="233" y="22"/>
                    <a:pt x="233" y="21"/>
                  </a:cubicBezTo>
                  <a:cubicBezTo>
                    <a:pt x="233" y="21"/>
                    <a:pt x="234" y="19"/>
                    <a:pt x="234" y="19"/>
                  </a:cubicBezTo>
                  <a:cubicBezTo>
                    <a:pt x="234" y="19"/>
                    <a:pt x="234" y="19"/>
                    <a:pt x="234" y="19"/>
                  </a:cubicBezTo>
                  <a:cubicBezTo>
                    <a:pt x="234" y="19"/>
                    <a:pt x="236" y="18"/>
                    <a:pt x="236" y="18"/>
                  </a:cubicBezTo>
                  <a:cubicBezTo>
                    <a:pt x="236" y="18"/>
                    <a:pt x="237" y="15"/>
                    <a:pt x="237" y="15"/>
                  </a:cubicBezTo>
                  <a:cubicBezTo>
                    <a:pt x="237" y="15"/>
                    <a:pt x="237" y="14"/>
                    <a:pt x="238" y="14"/>
                  </a:cubicBezTo>
                  <a:cubicBezTo>
                    <a:pt x="238" y="14"/>
                    <a:pt x="240" y="12"/>
                    <a:pt x="240" y="12"/>
                  </a:cubicBezTo>
                  <a:cubicBezTo>
                    <a:pt x="241" y="11"/>
                    <a:pt x="241" y="11"/>
                    <a:pt x="242" y="11"/>
                  </a:cubicBezTo>
                  <a:cubicBezTo>
                    <a:pt x="242" y="11"/>
                    <a:pt x="243" y="13"/>
                    <a:pt x="243" y="13"/>
                  </a:cubicBezTo>
                  <a:cubicBezTo>
                    <a:pt x="243" y="13"/>
                    <a:pt x="243" y="14"/>
                    <a:pt x="242" y="15"/>
                  </a:cubicBezTo>
                  <a:cubicBezTo>
                    <a:pt x="241" y="15"/>
                    <a:pt x="240" y="16"/>
                    <a:pt x="240" y="16"/>
                  </a:cubicBezTo>
                  <a:cubicBezTo>
                    <a:pt x="240" y="16"/>
                    <a:pt x="242" y="18"/>
                    <a:pt x="242" y="18"/>
                  </a:cubicBezTo>
                  <a:cubicBezTo>
                    <a:pt x="242" y="18"/>
                    <a:pt x="243" y="19"/>
                    <a:pt x="243" y="19"/>
                  </a:cubicBezTo>
                  <a:cubicBezTo>
                    <a:pt x="243" y="20"/>
                    <a:pt x="242" y="21"/>
                    <a:pt x="242" y="21"/>
                  </a:cubicBezTo>
                  <a:cubicBezTo>
                    <a:pt x="243" y="21"/>
                    <a:pt x="246" y="20"/>
                    <a:pt x="246" y="20"/>
                  </a:cubicBezTo>
                  <a:cubicBezTo>
                    <a:pt x="246" y="20"/>
                    <a:pt x="246" y="18"/>
                    <a:pt x="246" y="18"/>
                  </a:cubicBezTo>
                  <a:cubicBezTo>
                    <a:pt x="246" y="18"/>
                    <a:pt x="248" y="16"/>
                    <a:pt x="248" y="16"/>
                  </a:cubicBezTo>
                  <a:cubicBezTo>
                    <a:pt x="249" y="16"/>
                    <a:pt x="251" y="17"/>
                    <a:pt x="251" y="17"/>
                  </a:cubicBezTo>
                  <a:cubicBezTo>
                    <a:pt x="251" y="17"/>
                    <a:pt x="251" y="18"/>
                    <a:pt x="251" y="19"/>
                  </a:cubicBezTo>
                  <a:cubicBezTo>
                    <a:pt x="250" y="19"/>
                    <a:pt x="248" y="21"/>
                    <a:pt x="248" y="21"/>
                  </a:cubicBezTo>
                  <a:cubicBezTo>
                    <a:pt x="248" y="22"/>
                    <a:pt x="247" y="22"/>
                    <a:pt x="248" y="22"/>
                  </a:cubicBezTo>
                  <a:cubicBezTo>
                    <a:pt x="248" y="23"/>
                    <a:pt x="250" y="25"/>
                    <a:pt x="250" y="25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3" y="27"/>
                    <a:pt x="253" y="28"/>
                    <a:pt x="253" y="29"/>
                  </a:cubicBezTo>
                  <a:cubicBezTo>
                    <a:pt x="253" y="29"/>
                    <a:pt x="248" y="29"/>
                    <a:pt x="248" y="29"/>
                  </a:cubicBezTo>
                  <a:cubicBezTo>
                    <a:pt x="248" y="29"/>
                    <a:pt x="248" y="29"/>
                    <a:pt x="247" y="30"/>
                  </a:cubicBezTo>
                  <a:cubicBezTo>
                    <a:pt x="247" y="30"/>
                    <a:pt x="246" y="31"/>
                    <a:pt x="244" y="32"/>
                  </a:cubicBezTo>
                  <a:cubicBezTo>
                    <a:pt x="242" y="32"/>
                    <a:pt x="242" y="32"/>
                    <a:pt x="242" y="33"/>
                  </a:cubicBezTo>
                  <a:cubicBezTo>
                    <a:pt x="242" y="34"/>
                    <a:pt x="241" y="35"/>
                    <a:pt x="242" y="36"/>
                  </a:cubicBezTo>
                  <a:cubicBezTo>
                    <a:pt x="243" y="37"/>
                    <a:pt x="245" y="38"/>
                    <a:pt x="245" y="38"/>
                  </a:cubicBezTo>
                  <a:cubicBezTo>
                    <a:pt x="245" y="38"/>
                    <a:pt x="250" y="40"/>
                    <a:pt x="250" y="39"/>
                  </a:cubicBezTo>
                  <a:cubicBezTo>
                    <a:pt x="250" y="39"/>
                    <a:pt x="257" y="39"/>
                    <a:pt x="257" y="39"/>
                  </a:cubicBezTo>
                  <a:cubicBezTo>
                    <a:pt x="260" y="39"/>
                    <a:pt x="260" y="39"/>
                    <a:pt x="260" y="39"/>
                  </a:cubicBezTo>
                  <a:cubicBezTo>
                    <a:pt x="260" y="39"/>
                    <a:pt x="261" y="41"/>
                    <a:pt x="262" y="42"/>
                  </a:cubicBezTo>
                  <a:cubicBezTo>
                    <a:pt x="262" y="42"/>
                    <a:pt x="266" y="45"/>
                    <a:pt x="266" y="45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9" y="49"/>
                    <a:pt x="269" y="49"/>
                    <a:pt x="269" y="49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5" y="53"/>
                    <a:pt x="265" y="53"/>
                    <a:pt x="265" y="53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59" y="55"/>
                    <a:pt x="259" y="55"/>
                    <a:pt x="259" y="55"/>
                  </a:cubicBezTo>
                  <a:cubicBezTo>
                    <a:pt x="259" y="55"/>
                    <a:pt x="261" y="57"/>
                    <a:pt x="262" y="57"/>
                  </a:cubicBezTo>
                  <a:cubicBezTo>
                    <a:pt x="263" y="57"/>
                    <a:pt x="264" y="58"/>
                    <a:pt x="264" y="58"/>
                  </a:cubicBezTo>
                  <a:cubicBezTo>
                    <a:pt x="265" y="58"/>
                    <a:pt x="269" y="58"/>
                    <a:pt x="273" y="58"/>
                  </a:cubicBezTo>
                  <a:cubicBezTo>
                    <a:pt x="273" y="59"/>
                    <a:pt x="273" y="59"/>
                    <a:pt x="273" y="60"/>
                  </a:cubicBezTo>
                  <a:cubicBezTo>
                    <a:pt x="274" y="61"/>
                    <a:pt x="275" y="65"/>
                    <a:pt x="275" y="66"/>
                  </a:cubicBezTo>
                  <a:cubicBezTo>
                    <a:pt x="275" y="66"/>
                    <a:pt x="276" y="70"/>
                    <a:pt x="278" y="73"/>
                  </a:cubicBezTo>
                  <a:cubicBezTo>
                    <a:pt x="281" y="77"/>
                    <a:pt x="280" y="78"/>
                    <a:pt x="280" y="78"/>
                  </a:cubicBezTo>
                  <a:cubicBezTo>
                    <a:pt x="280" y="87"/>
                    <a:pt x="280" y="87"/>
                    <a:pt x="280" y="87"/>
                  </a:cubicBezTo>
                  <a:cubicBezTo>
                    <a:pt x="280" y="95"/>
                    <a:pt x="280" y="95"/>
                    <a:pt x="280" y="95"/>
                  </a:cubicBezTo>
                  <a:cubicBezTo>
                    <a:pt x="275" y="99"/>
                    <a:pt x="275" y="99"/>
                    <a:pt x="275" y="99"/>
                  </a:cubicBezTo>
                  <a:cubicBezTo>
                    <a:pt x="273" y="108"/>
                    <a:pt x="273" y="108"/>
                    <a:pt x="273" y="108"/>
                  </a:cubicBezTo>
                  <a:cubicBezTo>
                    <a:pt x="273" y="108"/>
                    <a:pt x="274" y="109"/>
                    <a:pt x="275" y="109"/>
                  </a:cubicBezTo>
                  <a:cubicBezTo>
                    <a:pt x="276" y="110"/>
                    <a:pt x="279" y="113"/>
                    <a:pt x="279" y="113"/>
                  </a:cubicBezTo>
                  <a:cubicBezTo>
                    <a:pt x="280" y="114"/>
                    <a:pt x="286" y="117"/>
                    <a:pt x="289" y="118"/>
                  </a:cubicBezTo>
                  <a:cubicBezTo>
                    <a:pt x="292" y="120"/>
                    <a:pt x="291" y="125"/>
                    <a:pt x="291" y="125"/>
                  </a:cubicBezTo>
                  <a:cubicBezTo>
                    <a:pt x="289" y="132"/>
                    <a:pt x="289" y="132"/>
                    <a:pt x="289" y="132"/>
                  </a:cubicBezTo>
                  <a:cubicBezTo>
                    <a:pt x="289" y="132"/>
                    <a:pt x="290" y="136"/>
                    <a:pt x="292" y="136"/>
                  </a:cubicBezTo>
                  <a:cubicBezTo>
                    <a:pt x="293" y="135"/>
                    <a:pt x="294" y="141"/>
                    <a:pt x="294" y="141"/>
                  </a:cubicBezTo>
                  <a:cubicBezTo>
                    <a:pt x="294" y="141"/>
                    <a:pt x="295" y="147"/>
                    <a:pt x="295" y="148"/>
                  </a:cubicBezTo>
                  <a:cubicBezTo>
                    <a:pt x="294" y="149"/>
                    <a:pt x="295" y="150"/>
                    <a:pt x="295" y="150"/>
                  </a:cubicBezTo>
                  <a:cubicBezTo>
                    <a:pt x="297" y="154"/>
                    <a:pt x="297" y="154"/>
                    <a:pt x="297" y="154"/>
                  </a:cubicBezTo>
                  <a:cubicBezTo>
                    <a:pt x="297" y="154"/>
                    <a:pt x="296" y="157"/>
                    <a:pt x="295" y="158"/>
                  </a:cubicBezTo>
                  <a:cubicBezTo>
                    <a:pt x="295" y="160"/>
                    <a:pt x="294" y="162"/>
                    <a:pt x="294" y="162"/>
                  </a:cubicBezTo>
                  <a:cubicBezTo>
                    <a:pt x="295" y="165"/>
                    <a:pt x="295" y="165"/>
                    <a:pt x="295" y="165"/>
                  </a:cubicBezTo>
                  <a:cubicBezTo>
                    <a:pt x="299" y="170"/>
                    <a:pt x="299" y="170"/>
                    <a:pt x="299" y="170"/>
                  </a:cubicBezTo>
                  <a:cubicBezTo>
                    <a:pt x="299" y="175"/>
                    <a:pt x="299" y="175"/>
                    <a:pt x="299" y="175"/>
                  </a:cubicBezTo>
                  <a:cubicBezTo>
                    <a:pt x="299" y="178"/>
                    <a:pt x="299" y="178"/>
                    <a:pt x="299" y="178"/>
                  </a:cubicBezTo>
                  <a:cubicBezTo>
                    <a:pt x="299" y="178"/>
                    <a:pt x="302" y="179"/>
                    <a:pt x="303" y="179"/>
                  </a:cubicBezTo>
                  <a:cubicBezTo>
                    <a:pt x="304" y="179"/>
                    <a:pt x="306" y="181"/>
                    <a:pt x="306" y="181"/>
                  </a:cubicBezTo>
                  <a:cubicBezTo>
                    <a:pt x="306" y="181"/>
                    <a:pt x="306" y="183"/>
                    <a:pt x="306" y="184"/>
                  </a:cubicBezTo>
                  <a:cubicBezTo>
                    <a:pt x="306" y="184"/>
                    <a:pt x="309" y="188"/>
                    <a:pt x="309" y="188"/>
                  </a:cubicBezTo>
                  <a:cubicBezTo>
                    <a:pt x="310" y="189"/>
                    <a:pt x="312" y="192"/>
                    <a:pt x="312" y="192"/>
                  </a:cubicBezTo>
                  <a:cubicBezTo>
                    <a:pt x="312" y="192"/>
                    <a:pt x="312" y="194"/>
                    <a:pt x="309" y="197"/>
                  </a:cubicBezTo>
                  <a:cubicBezTo>
                    <a:pt x="307" y="200"/>
                    <a:pt x="308" y="200"/>
                    <a:pt x="308" y="201"/>
                  </a:cubicBezTo>
                  <a:cubicBezTo>
                    <a:pt x="308" y="202"/>
                    <a:pt x="309" y="204"/>
                    <a:pt x="309" y="204"/>
                  </a:cubicBezTo>
                  <a:cubicBezTo>
                    <a:pt x="309" y="204"/>
                    <a:pt x="308" y="205"/>
                    <a:pt x="307" y="206"/>
                  </a:cubicBezTo>
                  <a:cubicBezTo>
                    <a:pt x="307" y="206"/>
                    <a:pt x="306" y="208"/>
                    <a:pt x="306" y="210"/>
                  </a:cubicBezTo>
                  <a:cubicBezTo>
                    <a:pt x="302" y="213"/>
                    <a:pt x="302" y="213"/>
                    <a:pt x="302" y="213"/>
                  </a:cubicBezTo>
                  <a:cubicBezTo>
                    <a:pt x="302" y="213"/>
                    <a:pt x="302" y="213"/>
                    <a:pt x="301" y="214"/>
                  </a:cubicBezTo>
                  <a:cubicBezTo>
                    <a:pt x="301" y="213"/>
                    <a:pt x="300" y="213"/>
                    <a:pt x="299" y="213"/>
                  </a:cubicBezTo>
                  <a:cubicBezTo>
                    <a:pt x="298" y="212"/>
                    <a:pt x="297" y="211"/>
                    <a:pt x="297" y="211"/>
                  </a:cubicBezTo>
                  <a:cubicBezTo>
                    <a:pt x="297" y="211"/>
                    <a:pt x="297" y="209"/>
                    <a:pt x="297" y="207"/>
                  </a:cubicBezTo>
                  <a:cubicBezTo>
                    <a:pt x="297" y="205"/>
                    <a:pt x="297" y="206"/>
                    <a:pt x="297" y="205"/>
                  </a:cubicBezTo>
                  <a:cubicBezTo>
                    <a:pt x="296" y="204"/>
                    <a:pt x="294" y="203"/>
                    <a:pt x="292" y="202"/>
                  </a:cubicBezTo>
                  <a:cubicBezTo>
                    <a:pt x="290" y="202"/>
                    <a:pt x="286" y="202"/>
                    <a:pt x="285" y="203"/>
                  </a:cubicBezTo>
                  <a:cubicBezTo>
                    <a:pt x="285" y="203"/>
                    <a:pt x="285" y="207"/>
                    <a:pt x="285" y="207"/>
                  </a:cubicBezTo>
                  <a:cubicBezTo>
                    <a:pt x="287" y="210"/>
                    <a:pt x="287" y="210"/>
                    <a:pt x="287" y="21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286" y="212"/>
                    <a:pt x="277" y="214"/>
                    <a:pt x="274" y="214"/>
                  </a:cubicBezTo>
                  <a:cubicBezTo>
                    <a:pt x="271" y="214"/>
                    <a:pt x="272" y="216"/>
                    <a:pt x="272" y="216"/>
                  </a:cubicBezTo>
                  <a:cubicBezTo>
                    <a:pt x="270" y="220"/>
                    <a:pt x="270" y="220"/>
                    <a:pt x="270" y="220"/>
                  </a:cubicBezTo>
                  <a:cubicBezTo>
                    <a:pt x="268" y="222"/>
                    <a:pt x="268" y="222"/>
                    <a:pt x="268" y="222"/>
                  </a:cubicBezTo>
                  <a:cubicBezTo>
                    <a:pt x="262" y="224"/>
                    <a:pt x="262" y="224"/>
                    <a:pt x="262" y="224"/>
                  </a:cubicBezTo>
                  <a:cubicBezTo>
                    <a:pt x="262" y="224"/>
                    <a:pt x="256" y="229"/>
                    <a:pt x="255" y="229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51" y="232"/>
                    <a:pt x="250" y="232"/>
                    <a:pt x="247" y="234"/>
                  </a:cubicBezTo>
                  <a:cubicBezTo>
                    <a:pt x="243" y="235"/>
                    <a:pt x="245" y="237"/>
                    <a:pt x="244" y="238"/>
                  </a:cubicBezTo>
                  <a:cubicBezTo>
                    <a:pt x="244" y="240"/>
                    <a:pt x="243" y="240"/>
                    <a:pt x="241" y="241"/>
                  </a:cubicBezTo>
                  <a:cubicBezTo>
                    <a:pt x="240" y="241"/>
                    <a:pt x="237" y="240"/>
                    <a:pt x="235" y="240"/>
                  </a:cubicBezTo>
                  <a:cubicBezTo>
                    <a:pt x="234" y="240"/>
                    <a:pt x="231" y="242"/>
                    <a:pt x="229" y="242"/>
                  </a:cubicBezTo>
                  <a:cubicBezTo>
                    <a:pt x="226" y="242"/>
                    <a:pt x="226" y="242"/>
                    <a:pt x="226" y="242"/>
                  </a:cubicBezTo>
                  <a:cubicBezTo>
                    <a:pt x="222" y="247"/>
                    <a:pt x="222" y="247"/>
                    <a:pt x="222" y="247"/>
                  </a:cubicBezTo>
                  <a:cubicBezTo>
                    <a:pt x="219" y="253"/>
                    <a:pt x="219" y="253"/>
                    <a:pt x="219" y="253"/>
                  </a:cubicBezTo>
                  <a:cubicBezTo>
                    <a:pt x="218" y="250"/>
                    <a:pt x="218" y="250"/>
                    <a:pt x="218" y="250"/>
                  </a:cubicBezTo>
                  <a:cubicBezTo>
                    <a:pt x="217" y="246"/>
                    <a:pt x="217" y="246"/>
                    <a:pt x="217" y="246"/>
                  </a:cubicBezTo>
                  <a:cubicBezTo>
                    <a:pt x="212" y="246"/>
                    <a:pt x="212" y="246"/>
                    <a:pt x="212" y="246"/>
                  </a:cubicBezTo>
                  <a:cubicBezTo>
                    <a:pt x="213" y="249"/>
                    <a:pt x="213" y="249"/>
                    <a:pt x="213" y="249"/>
                  </a:cubicBezTo>
                  <a:cubicBezTo>
                    <a:pt x="213" y="249"/>
                    <a:pt x="215" y="256"/>
                    <a:pt x="216" y="257"/>
                  </a:cubicBezTo>
                  <a:cubicBezTo>
                    <a:pt x="217" y="258"/>
                    <a:pt x="218" y="258"/>
                    <a:pt x="220" y="259"/>
                  </a:cubicBezTo>
                  <a:cubicBezTo>
                    <a:pt x="223" y="261"/>
                    <a:pt x="223" y="261"/>
                    <a:pt x="226" y="263"/>
                  </a:cubicBezTo>
                  <a:cubicBezTo>
                    <a:pt x="229" y="265"/>
                    <a:pt x="228" y="267"/>
                    <a:pt x="228" y="268"/>
                  </a:cubicBezTo>
                  <a:cubicBezTo>
                    <a:pt x="228" y="270"/>
                    <a:pt x="228" y="270"/>
                    <a:pt x="226" y="272"/>
                  </a:cubicBezTo>
                  <a:cubicBezTo>
                    <a:pt x="224" y="275"/>
                    <a:pt x="226" y="277"/>
                    <a:pt x="226" y="277"/>
                  </a:cubicBezTo>
                  <a:cubicBezTo>
                    <a:pt x="226" y="277"/>
                    <a:pt x="227" y="279"/>
                    <a:pt x="229" y="281"/>
                  </a:cubicBezTo>
                  <a:cubicBezTo>
                    <a:pt x="231" y="283"/>
                    <a:pt x="230" y="284"/>
                    <a:pt x="231" y="287"/>
                  </a:cubicBezTo>
                  <a:cubicBezTo>
                    <a:pt x="231" y="290"/>
                    <a:pt x="231" y="289"/>
                    <a:pt x="233" y="292"/>
                  </a:cubicBezTo>
                  <a:cubicBezTo>
                    <a:pt x="235" y="294"/>
                    <a:pt x="234" y="293"/>
                    <a:pt x="236" y="295"/>
                  </a:cubicBezTo>
                  <a:cubicBezTo>
                    <a:pt x="238" y="297"/>
                    <a:pt x="238" y="298"/>
                    <a:pt x="238" y="298"/>
                  </a:cubicBezTo>
                  <a:cubicBezTo>
                    <a:pt x="238" y="298"/>
                    <a:pt x="244" y="296"/>
                    <a:pt x="246" y="298"/>
                  </a:cubicBezTo>
                  <a:cubicBezTo>
                    <a:pt x="248" y="300"/>
                    <a:pt x="247" y="299"/>
                    <a:pt x="251" y="302"/>
                  </a:cubicBezTo>
                  <a:cubicBezTo>
                    <a:pt x="254" y="306"/>
                    <a:pt x="251" y="304"/>
                    <a:pt x="252" y="307"/>
                  </a:cubicBezTo>
                  <a:cubicBezTo>
                    <a:pt x="253" y="309"/>
                    <a:pt x="254" y="308"/>
                    <a:pt x="254" y="308"/>
                  </a:cubicBezTo>
                  <a:cubicBezTo>
                    <a:pt x="254" y="308"/>
                    <a:pt x="255" y="309"/>
                    <a:pt x="257" y="309"/>
                  </a:cubicBezTo>
                  <a:cubicBezTo>
                    <a:pt x="259" y="309"/>
                    <a:pt x="259" y="311"/>
                    <a:pt x="259" y="313"/>
                  </a:cubicBezTo>
                  <a:cubicBezTo>
                    <a:pt x="260" y="315"/>
                    <a:pt x="260" y="315"/>
                    <a:pt x="262" y="317"/>
                  </a:cubicBezTo>
                  <a:cubicBezTo>
                    <a:pt x="263" y="318"/>
                    <a:pt x="264" y="317"/>
                    <a:pt x="267" y="316"/>
                  </a:cubicBezTo>
                  <a:cubicBezTo>
                    <a:pt x="269" y="316"/>
                    <a:pt x="268" y="318"/>
                    <a:pt x="268" y="319"/>
                  </a:cubicBezTo>
                  <a:cubicBezTo>
                    <a:pt x="268" y="320"/>
                    <a:pt x="270" y="320"/>
                    <a:pt x="272" y="321"/>
                  </a:cubicBezTo>
                  <a:cubicBezTo>
                    <a:pt x="274" y="322"/>
                    <a:pt x="273" y="322"/>
                    <a:pt x="275" y="324"/>
                  </a:cubicBezTo>
                  <a:cubicBezTo>
                    <a:pt x="275" y="324"/>
                    <a:pt x="275" y="324"/>
                    <a:pt x="275" y="325"/>
                  </a:cubicBezTo>
                  <a:close/>
                  <a:moveTo>
                    <a:pt x="55" y="394"/>
                  </a:move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lose/>
                  <a:moveTo>
                    <a:pt x="128" y="400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lose/>
                  <a:moveTo>
                    <a:pt x="312" y="204"/>
                  </a:move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8" name="Freeform 80"/>
            <p:cNvSpPr>
              <a:spLocks noEditPoints="1"/>
            </p:cNvSpPr>
            <p:nvPr/>
          </p:nvSpPr>
          <p:spPr bwMode="auto">
            <a:xfrm>
              <a:off x="4736816" y="3211661"/>
              <a:ext cx="1121419" cy="1240147"/>
            </a:xfrm>
            <a:custGeom>
              <a:avLst/>
              <a:gdLst>
                <a:gd name="T0" fmla="*/ 372 w 492"/>
                <a:gd name="T1" fmla="*/ 536 h 561"/>
                <a:gd name="T2" fmla="*/ 338 w 492"/>
                <a:gd name="T3" fmla="*/ 556 h 561"/>
                <a:gd name="T4" fmla="*/ 272 w 492"/>
                <a:gd name="T5" fmla="*/ 521 h 561"/>
                <a:gd name="T6" fmla="*/ 260 w 492"/>
                <a:gd name="T7" fmla="*/ 489 h 561"/>
                <a:gd name="T8" fmla="*/ 318 w 492"/>
                <a:gd name="T9" fmla="*/ 489 h 561"/>
                <a:gd name="T10" fmla="*/ 376 w 492"/>
                <a:gd name="T11" fmla="*/ 476 h 561"/>
                <a:gd name="T12" fmla="*/ 403 w 492"/>
                <a:gd name="T13" fmla="*/ 478 h 561"/>
                <a:gd name="T14" fmla="*/ 442 w 492"/>
                <a:gd name="T15" fmla="*/ 422 h 561"/>
                <a:gd name="T16" fmla="*/ 411 w 492"/>
                <a:gd name="T17" fmla="*/ 385 h 561"/>
                <a:gd name="T18" fmla="*/ 455 w 492"/>
                <a:gd name="T19" fmla="*/ 350 h 561"/>
                <a:gd name="T20" fmla="*/ 490 w 492"/>
                <a:gd name="T21" fmla="*/ 351 h 561"/>
                <a:gd name="T22" fmla="*/ 379 w 492"/>
                <a:gd name="T23" fmla="*/ 295 h 561"/>
                <a:gd name="T24" fmla="*/ 340 w 492"/>
                <a:gd name="T25" fmla="*/ 271 h 561"/>
                <a:gd name="T26" fmla="*/ 275 w 492"/>
                <a:gd name="T27" fmla="*/ 186 h 561"/>
                <a:gd name="T28" fmla="*/ 218 w 492"/>
                <a:gd name="T29" fmla="*/ 109 h 561"/>
                <a:gd name="T30" fmla="*/ 247 w 492"/>
                <a:gd name="T31" fmla="*/ 78 h 561"/>
                <a:gd name="T32" fmla="*/ 267 w 492"/>
                <a:gd name="T33" fmla="*/ 63 h 561"/>
                <a:gd name="T34" fmla="*/ 262 w 492"/>
                <a:gd name="T35" fmla="*/ 56 h 561"/>
                <a:gd name="T36" fmla="*/ 258 w 492"/>
                <a:gd name="T37" fmla="*/ 46 h 561"/>
                <a:gd name="T38" fmla="*/ 267 w 492"/>
                <a:gd name="T39" fmla="*/ 30 h 561"/>
                <a:gd name="T40" fmla="*/ 212 w 492"/>
                <a:gd name="T41" fmla="*/ 15 h 561"/>
                <a:gd name="T42" fmla="*/ 185 w 492"/>
                <a:gd name="T43" fmla="*/ 4 h 561"/>
                <a:gd name="T44" fmla="*/ 148 w 492"/>
                <a:gd name="T45" fmla="*/ 15 h 561"/>
                <a:gd name="T46" fmla="*/ 148 w 492"/>
                <a:gd name="T47" fmla="*/ 26 h 561"/>
                <a:gd name="T48" fmla="*/ 139 w 492"/>
                <a:gd name="T49" fmla="*/ 27 h 561"/>
                <a:gd name="T50" fmla="*/ 132 w 492"/>
                <a:gd name="T51" fmla="*/ 34 h 561"/>
                <a:gd name="T52" fmla="*/ 136 w 492"/>
                <a:gd name="T53" fmla="*/ 46 h 561"/>
                <a:gd name="T54" fmla="*/ 129 w 492"/>
                <a:gd name="T55" fmla="*/ 40 h 561"/>
                <a:gd name="T56" fmla="*/ 114 w 492"/>
                <a:gd name="T57" fmla="*/ 45 h 561"/>
                <a:gd name="T58" fmla="*/ 104 w 492"/>
                <a:gd name="T59" fmla="*/ 34 h 561"/>
                <a:gd name="T60" fmla="*/ 101 w 492"/>
                <a:gd name="T61" fmla="*/ 47 h 561"/>
                <a:gd name="T62" fmla="*/ 94 w 492"/>
                <a:gd name="T63" fmla="*/ 61 h 561"/>
                <a:gd name="T64" fmla="*/ 89 w 492"/>
                <a:gd name="T65" fmla="*/ 71 h 561"/>
                <a:gd name="T66" fmla="*/ 87 w 492"/>
                <a:gd name="T67" fmla="*/ 58 h 561"/>
                <a:gd name="T68" fmla="*/ 73 w 492"/>
                <a:gd name="T69" fmla="*/ 51 h 561"/>
                <a:gd name="T70" fmla="*/ 65 w 492"/>
                <a:gd name="T71" fmla="*/ 39 h 561"/>
                <a:gd name="T72" fmla="*/ 58 w 492"/>
                <a:gd name="T73" fmla="*/ 51 h 561"/>
                <a:gd name="T74" fmla="*/ 50 w 492"/>
                <a:gd name="T75" fmla="*/ 63 h 561"/>
                <a:gd name="T76" fmla="*/ 35 w 492"/>
                <a:gd name="T77" fmla="*/ 63 h 561"/>
                <a:gd name="T78" fmla="*/ 19 w 492"/>
                <a:gd name="T79" fmla="*/ 69 h 561"/>
                <a:gd name="T80" fmla="*/ 18 w 492"/>
                <a:gd name="T81" fmla="*/ 100 h 561"/>
                <a:gd name="T82" fmla="*/ 14 w 492"/>
                <a:gd name="T83" fmla="*/ 134 h 561"/>
                <a:gd name="T84" fmla="*/ 31 w 492"/>
                <a:gd name="T85" fmla="*/ 180 h 561"/>
                <a:gd name="T86" fmla="*/ 86 w 492"/>
                <a:gd name="T87" fmla="*/ 147 h 561"/>
                <a:gd name="T88" fmla="*/ 139 w 492"/>
                <a:gd name="T89" fmla="*/ 179 h 561"/>
                <a:gd name="T90" fmla="*/ 162 w 492"/>
                <a:gd name="T91" fmla="*/ 237 h 561"/>
                <a:gd name="T92" fmla="*/ 207 w 492"/>
                <a:gd name="T93" fmla="*/ 276 h 561"/>
                <a:gd name="T94" fmla="*/ 251 w 492"/>
                <a:gd name="T95" fmla="*/ 307 h 561"/>
                <a:gd name="T96" fmla="*/ 289 w 492"/>
                <a:gd name="T97" fmla="*/ 317 h 561"/>
                <a:gd name="T98" fmla="*/ 334 w 492"/>
                <a:gd name="T99" fmla="*/ 346 h 561"/>
                <a:gd name="T100" fmla="*/ 357 w 492"/>
                <a:gd name="T101" fmla="*/ 374 h 561"/>
                <a:gd name="T102" fmla="*/ 395 w 492"/>
                <a:gd name="T103" fmla="*/ 418 h 561"/>
                <a:gd name="T104" fmla="*/ 390 w 492"/>
                <a:gd name="T105" fmla="*/ 463 h 561"/>
                <a:gd name="T106" fmla="*/ 75 w 492"/>
                <a:gd name="T107" fmla="*/ 342 h 561"/>
                <a:gd name="T108" fmla="*/ 126 w 492"/>
                <a:gd name="T109" fmla="*/ 355 h 561"/>
                <a:gd name="T110" fmla="*/ 113 w 492"/>
                <a:gd name="T111" fmla="*/ 441 h 561"/>
                <a:gd name="T112" fmla="*/ 71 w 492"/>
                <a:gd name="T113" fmla="*/ 446 h 561"/>
                <a:gd name="T114" fmla="*/ 73 w 492"/>
                <a:gd name="T115" fmla="*/ 395 h 561"/>
                <a:gd name="T116" fmla="*/ 57 w 492"/>
                <a:gd name="T117" fmla="*/ 35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2" h="561">
                  <a:moveTo>
                    <a:pt x="376" y="476"/>
                  </a:moveTo>
                  <a:cubicBezTo>
                    <a:pt x="377" y="483"/>
                    <a:pt x="377" y="483"/>
                    <a:pt x="377" y="483"/>
                  </a:cubicBezTo>
                  <a:cubicBezTo>
                    <a:pt x="377" y="483"/>
                    <a:pt x="371" y="493"/>
                    <a:pt x="371" y="494"/>
                  </a:cubicBezTo>
                  <a:cubicBezTo>
                    <a:pt x="371" y="495"/>
                    <a:pt x="369" y="499"/>
                    <a:pt x="367" y="502"/>
                  </a:cubicBezTo>
                  <a:cubicBezTo>
                    <a:pt x="366" y="504"/>
                    <a:pt x="360" y="512"/>
                    <a:pt x="360" y="512"/>
                  </a:cubicBezTo>
                  <a:cubicBezTo>
                    <a:pt x="360" y="512"/>
                    <a:pt x="360" y="515"/>
                    <a:pt x="362" y="517"/>
                  </a:cubicBezTo>
                  <a:cubicBezTo>
                    <a:pt x="363" y="519"/>
                    <a:pt x="366" y="522"/>
                    <a:pt x="366" y="525"/>
                  </a:cubicBezTo>
                  <a:cubicBezTo>
                    <a:pt x="366" y="527"/>
                    <a:pt x="371" y="530"/>
                    <a:pt x="371" y="530"/>
                  </a:cubicBezTo>
                  <a:cubicBezTo>
                    <a:pt x="372" y="536"/>
                    <a:pt x="372" y="536"/>
                    <a:pt x="372" y="536"/>
                  </a:cubicBezTo>
                  <a:cubicBezTo>
                    <a:pt x="372" y="536"/>
                    <a:pt x="375" y="539"/>
                    <a:pt x="375" y="540"/>
                  </a:cubicBezTo>
                  <a:cubicBezTo>
                    <a:pt x="374" y="541"/>
                    <a:pt x="369" y="546"/>
                    <a:pt x="369" y="546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9" y="555"/>
                    <a:pt x="368" y="558"/>
                  </a:cubicBezTo>
                  <a:cubicBezTo>
                    <a:pt x="367" y="560"/>
                    <a:pt x="367" y="560"/>
                    <a:pt x="366" y="560"/>
                  </a:cubicBezTo>
                  <a:cubicBezTo>
                    <a:pt x="365" y="561"/>
                    <a:pt x="355" y="560"/>
                    <a:pt x="355" y="560"/>
                  </a:cubicBezTo>
                  <a:cubicBezTo>
                    <a:pt x="345" y="558"/>
                    <a:pt x="345" y="558"/>
                    <a:pt x="345" y="558"/>
                  </a:cubicBezTo>
                  <a:cubicBezTo>
                    <a:pt x="345" y="558"/>
                    <a:pt x="340" y="557"/>
                    <a:pt x="338" y="556"/>
                  </a:cubicBezTo>
                  <a:cubicBezTo>
                    <a:pt x="337" y="555"/>
                    <a:pt x="335" y="554"/>
                    <a:pt x="335" y="554"/>
                  </a:cubicBezTo>
                  <a:cubicBezTo>
                    <a:pt x="332" y="545"/>
                    <a:pt x="332" y="545"/>
                    <a:pt x="332" y="545"/>
                  </a:cubicBezTo>
                  <a:cubicBezTo>
                    <a:pt x="324" y="544"/>
                    <a:pt x="324" y="544"/>
                    <a:pt x="324" y="544"/>
                  </a:cubicBezTo>
                  <a:cubicBezTo>
                    <a:pt x="304" y="541"/>
                    <a:pt x="304" y="541"/>
                    <a:pt x="304" y="541"/>
                  </a:cubicBezTo>
                  <a:cubicBezTo>
                    <a:pt x="304" y="541"/>
                    <a:pt x="297" y="535"/>
                    <a:pt x="296" y="534"/>
                  </a:cubicBezTo>
                  <a:cubicBezTo>
                    <a:pt x="294" y="533"/>
                    <a:pt x="292" y="530"/>
                    <a:pt x="292" y="530"/>
                  </a:cubicBezTo>
                  <a:cubicBezTo>
                    <a:pt x="288" y="529"/>
                    <a:pt x="288" y="529"/>
                    <a:pt x="288" y="529"/>
                  </a:cubicBezTo>
                  <a:cubicBezTo>
                    <a:pt x="280" y="521"/>
                    <a:pt x="280" y="521"/>
                    <a:pt x="280" y="521"/>
                  </a:cubicBezTo>
                  <a:cubicBezTo>
                    <a:pt x="272" y="521"/>
                    <a:pt x="272" y="521"/>
                    <a:pt x="272" y="521"/>
                  </a:cubicBezTo>
                  <a:cubicBezTo>
                    <a:pt x="266" y="517"/>
                    <a:pt x="266" y="517"/>
                    <a:pt x="266" y="517"/>
                  </a:cubicBezTo>
                  <a:cubicBezTo>
                    <a:pt x="259" y="517"/>
                    <a:pt x="259" y="517"/>
                    <a:pt x="259" y="517"/>
                  </a:cubicBezTo>
                  <a:cubicBezTo>
                    <a:pt x="259" y="517"/>
                    <a:pt x="254" y="516"/>
                    <a:pt x="254" y="515"/>
                  </a:cubicBezTo>
                  <a:cubicBezTo>
                    <a:pt x="253" y="513"/>
                    <a:pt x="247" y="510"/>
                    <a:pt x="247" y="510"/>
                  </a:cubicBezTo>
                  <a:cubicBezTo>
                    <a:pt x="247" y="510"/>
                    <a:pt x="247" y="504"/>
                    <a:pt x="247" y="503"/>
                  </a:cubicBezTo>
                  <a:cubicBezTo>
                    <a:pt x="247" y="502"/>
                    <a:pt x="248" y="492"/>
                    <a:pt x="248" y="492"/>
                  </a:cubicBezTo>
                  <a:cubicBezTo>
                    <a:pt x="252" y="487"/>
                    <a:pt x="252" y="487"/>
                    <a:pt x="252" y="487"/>
                  </a:cubicBezTo>
                  <a:cubicBezTo>
                    <a:pt x="258" y="485"/>
                    <a:pt x="258" y="485"/>
                    <a:pt x="258" y="485"/>
                  </a:cubicBezTo>
                  <a:cubicBezTo>
                    <a:pt x="260" y="489"/>
                    <a:pt x="260" y="489"/>
                    <a:pt x="260" y="489"/>
                  </a:cubicBezTo>
                  <a:cubicBezTo>
                    <a:pt x="267" y="492"/>
                    <a:pt x="267" y="492"/>
                    <a:pt x="267" y="492"/>
                  </a:cubicBezTo>
                  <a:cubicBezTo>
                    <a:pt x="271" y="489"/>
                    <a:pt x="271" y="489"/>
                    <a:pt x="271" y="489"/>
                  </a:cubicBezTo>
                  <a:cubicBezTo>
                    <a:pt x="273" y="483"/>
                    <a:pt x="273" y="483"/>
                    <a:pt x="273" y="483"/>
                  </a:cubicBezTo>
                  <a:cubicBezTo>
                    <a:pt x="279" y="481"/>
                    <a:pt x="279" y="481"/>
                    <a:pt x="279" y="481"/>
                  </a:cubicBezTo>
                  <a:cubicBezTo>
                    <a:pt x="286" y="484"/>
                    <a:pt x="286" y="484"/>
                    <a:pt x="286" y="484"/>
                  </a:cubicBezTo>
                  <a:cubicBezTo>
                    <a:pt x="291" y="489"/>
                    <a:pt x="291" y="489"/>
                    <a:pt x="291" y="489"/>
                  </a:cubicBezTo>
                  <a:cubicBezTo>
                    <a:pt x="301" y="492"/>
                    <a:pt x="301" y="492"/>
                    <a:pt x="301" y="492"/>
                  </a:cubicBezTo>
                  <a:cubicBezTo>
                    <a:pt x="310" y="490"/>
                    <a:pt x="310" y="490"/>
                    <a:pt x="310" y="490"/>
                  </a:cubicBezTo>
                  <a:cubicBezTo>
                    <a:pt x="318" y="489"/>
                    <a:pt x="318" y="489"/>
                    <a:pt x="318" y="489"/>
                  </a:cubicBezTo>
                  <a:cubicBezTo>
                    <a:pt x="318" y="489"/>
                    <a:pt x="322" y="489"/>
                    <a:pt x="324" y="489"/>
                  </a:cubicBezTo>
                  <a:cubicBezTo>
                    <a:pt x="325" y="488"/>
                    <a:pt x="331" y="486"/>
                    <a:pt x="331" y="486"/>
                  </a:cubicBezTo>
                  <a:cubicBezTo>
                    <a:pt x="341" y="483"/>
                    <a:pt x="341" y="483"/>
                    <a:pt x="341" y="483"/>
                  </a:cubicBezTo>
                  <a:cubicBezTo>
                    <a:pt x="347" y="475"/>
                    <a:pt x="347" y="475"/>
                    <a:pt x="347" y="475"/>
                  </a:cubicBezTo>
                  <a:cubicBezTo>
                    <a:pt x="355" y="478"/>
                    <a:pt x="355" y="478"/>
                    <a:pt x="355" y="478"/>
                  </a:cubicBezTo>
                  <a:cubicBezTo>
                    <a:pt x="362" y="479"/>
                    <a:pt x="362" y="479"/>
                    <a:pt x="362" y="479"/>
                  </a:cubicBezTo>
                  <a:cubicBezTo>
                    <a:pt x="365" y="474"/>
                    <a:pt x="365" y="474"/>
                    <a:pt x="365" y="474"/>
                  </a:cubicBezTo>
                  <a:cubicBezTo>
                    <a:pt x="372" y="470"/>
                    <a:pt x="372" y="470"/>
                    <a:pt x="372" y="470"/>
                  </a:cubicBezTo>
                  <a:cubicBezTo>
                    <a:pt x="376" y="476"/>
                    <a:pt x="376" y="476"/>
                    <a:pt x="376" y="476"/>
                  </a:cubicBezTo>
                  <a:close/>
                  <a:moveTo>
                    <a:pt x="388" y="469"/>
                  </a:moveTo>
                  <a:cubicBezTo>
                    <a:pt x="388" y="469"/>
                    <a:pt x="388" y="469"/>
                    <a:pt x="388" y="469"/>
                  </a:cubicBezTo>
                  <a:cubicBezTo>
                    <a:pt x="384" y="473"/>
                    <a:pt x="384" y="473"/>
                    <a:pt x="384" y="473"/>
                  </a:cubicBezTo>
                  <a:cubicBezTo>
                    <a:pt x="380" y="476"/>
                    <a:pt x="380" y="476"/>
                    <a:pt x="380" y="476"/>
                  </a:cubicBezTo>
                  <a:cubicBezTo>
                    <a:pt x="380" y="476"/>
                    <a:pt x="381" y="480"/>
                    <a:pt x="381" y="482"/>
                  </a:cubicBezTo>
                  <a:cubicBezTo>
                    <a:pt x="382" y="484"/>
                    <a:pt x="385" y="489"/>
                    <a:pt x="385" y="489"/>
                  </a:cubicBezTo>
                  <a:cubicBezTo>
                    <a:pt x="395" y="489"/>
                    <a:pt x="395" y="489"/>
                    <a:pt x="395" y="489"/>
                  </a:cubicBezTo>
                  <a:cubicBezTo>
                    <a:pt x="402" y="485"/>
                    <a:pt x="402" y="485"/>
                    <a:pt x="402" y="485"/>
                  </a:cubicBezTo>
                  <a:cubicBezTo>
                    <a:pt x="403" y="478"/>
                    <a:pt x="403" y="478"/>
                    <a:pt x="403" y="478"/>
                  </a:cubicBezTo>
                  <a:cubicBezTo>
                    <a:pt x="406" y="471"/>
                    <a:pt x="406" y="471"/>
                    <a:pt x="406" y="471"/>
                  </a:cubicBezTo>
                  <a:cubicBezTo>
                    <a:pt x="412" y="467"/>
                    <a:pt x="412" y="467"/>
                    <a:pt x="412" y="467"/>
                  </a:cubicBezTo>
                  <a:cubicBezTo>
                    <a:pt x="417" y="462"/>
                    <a:pt x="417" y="462"/>
                    <a:pt x="417" y="462"/>
                  </a:cubicBezTo>
                  <a:cubicBezTo>
                    <a:pt x="420" y="457"/>
                    <a:pt x="420" y="457"/>
                    <a:pt x="420" y="457"/>
                  </a:cubicBezTo>
                  <a:cubicBezTo>
                    <a:pt x="421" y="444"/>
                    <a:pt x="421" y="444"/>
                    <a:pt x="421" y="444"/>
                  </a:cubicBezTo>
                  <a:cubicBezTo>
                    <a:pt x="424" y="434"/>
                    <a:pt x="424" y="434"/>
                    <a:pt x="424" y="434"/>
                  </a:cubicBezTo>
                  <a:cubicBezTo>
                    <a:pt x="440" y="428"/>
                    <a:pt x="440" y="428"/>
                    <a:pt x="440" y="428"/>
                  </a:cubicBezTo>
                  <a:cubicBezTo>
                    <a:pt x="443" y="426"/>
                    <a:pt x="443" y="426"/>
                    <a:pt x="443" y="426"/>
                  </a:cubicBezTo>
                  <a:cubicBezTo>
                    <a:pt x="443" y="426"/>
                    <a:pt x="443" y="424"/>
                    <a:pt x="442" y="422"/>
                  </a:cubicBezTo>
                  <a:cubicBezTo>
                    <a:pt x="442" y="421"/>
                    <a:pt x="439" y="418"/>
                    <a:pt x="439" y="418"/>
                  </a:cubicBezTo>
                  <a:cubicBezTo>
                    <a:pt x="439" y="418"/>
                    <a:pt x="440" y="415"/>
                    <a:pt x="440" y="414"/>
                  </a:cubicBezTo>
                  <a:cubicBezTo>
                    <a:pt x="440" y="413"/>
                    <a:pt x="439" y="406"/>
                    <a:pt x="439" y="406"/>
                  </a:cubicBezTo>
                  <a:cubicBezTo>
                    <a:pt x="437" y="399"/>
                    <a:pt x="437" y="399"/>
                    <a:pt x="437" y="399"/>
                  </a:cubicBezTo>
                  <a:cubicBezTo>
                    <a:pt x="437" y="399"/>
                    <a:pt x="435" y="399"/>
                    <a:pt x="432" y="397"/>
                  </a:cubicBezTo>
                  <a:cubicBezTo>
                    <a:pt x="429" y="396"/>
                    <a:pt x="424" y="393"/>
                    <a:pt x="424" y="393"/>
                  </a:cubicBezTo>
                  <a:cubicBezTo>
                    <a:pt x="419" y="391"/>
                    <a:pt x="419" y="391"/>
                    <a:pt x="419" y="391"/>
                  </a:cubicBezTo>
                  <a:cubicBezTo>
                    <a:pt x="413" y="390"/>
                    <a:pt x="413" y="390"/>
                    <a:pt x="413" y="390"/>
                  </a:cubicBezTo>
                  <a:cubicBezTo>
                    <a:pt x="411" y="385"/>
                    <a:pt x="411" y="385"/>
                    <a:pt x="411" y="385"/>
                  </a:cubicBezTo>
                  <a:cubicBezTo>
                    <a:pt x="415" y="371"/>
                    <a:pt x="415" y="371"/>
                    <a:pt x="415" y="371"/>
                  </a:cubicBezTo>
                  <a:cubicBezTo>
                    <a:pt x="412" y="364"/>
                    <a:pt x="412" y="364"/>
                    <a:pt x="412" y="364"/>
                  </a:cubicBezTo>
                  <a:cubicBezTo>
                    <a:pt x="421" y="354"/>
                    <a:pt x="421" y="354"/>
                    <a:pt x="421" y="354"/>
                  </a:cubicBezTo>
                  <a:cubicBezTo>
                    <a:pt x="425" y="347"/>
                    <a:pt x="425" y="347"/>
                    <a:pt x="425" y="347"/>
                  </a:cubicBezTo>
                  <a:cubicBezTo>
                    <a:pt x="430" y="343"/>
                    <a:pt x="430" y="343"/>
                    <a:pt x="430" y="343"/>
                  </a:cubicBezTo>
                  <a:cubicBezTo>
                    <a:pt x="438" y="345"/>
                    <a:pt x="438" y="345"/>
                    <a:pt x="438" y="345"/>
                  </a:cubicBezTo>
                  <a:cubicBezTo>
                    <a:pt x="441" y="349"/>
                    <a:pt x="441" y="349"/>
                    <a:pt x="441" y="349"/>
                  </a:cubicBezTo>
                  <a:cubicBezTo>
                    <a:pt x="446" y="350"/>
                    <a:pt x="446" y="350"/>
                    <a:pt x="446" y="350"/>
                  </a:cubicBezTo>
                  <a:cubicBezTo>
                    <a:pt x="455" y="350"/>
                    <a:pt x="455" y="350"/>
                    <a:pt x="455" y="350"/>
                  </a:cubicBezTo>
                  <a:cubicBezTo>
                    <a:pt x="465" y="352"/>
                    <a:pt x="465" y="352"/>
                    <a:pt x="465" y="352"/>
                  </a:cubicBezTo>
                  <a:cubicBezTo>
                    <a:pt x="469" y="358"/>
                    <a:pt x="469" y="358"/>
                    <a:pt x="469" y="358"/>
                  </a:cubicBezTo>
                  <a:cubicBezTo>
                    <a:pt x="473" y="365"/>
                    <a:pt x="473" y="365"/>
                    <a:pt x="473" y="365"/>
                  </a:cubicBezTo>
                  <a:cubicBezTo>
                    <a:pt x="473" y="365"/>
                    <a:pt x="475" y="368"/>
                    <a:pt x="476" y="369"/>
                  </a:cubicBezTo>
                  <a:cubicBezTo>
                    <a:pt x="476" y="369"/>
                    <a:pt x="480" y="372"/>
                    <a:pt x="481" y="372"/>
                  </a:cubicBezTo>
                  <a:cubicBezTo>
                    <a:pt x="482" y="373"/>
                    <a:pt x="488" y="374"/>
                    <a:pt x="488" y="374"/>
                  </a:cubicBezTo>
                  <a:cubicBezTo>
                    <a:pt x="488" y="374"/>
                    <a:pt x="488" y="367"/>
                    <a:pt x="489" y="365"/>
                  </a:cubicBezTo>
                  <a:cubicBezTo>
                    <a:pt x="490" y="364"/>
                    <a:pt x="492" y="360"/>
                    <a:pt x="492" y="359"/>
                  </a:cubicBezTo>
                  <a:cubicBezTo>
                    <a:pt x="492" y="358"/>
                    <a:pt x="490" y="351"/>
                    <a:pt x="490" y="351"/>
                  </a:cubicBezTo>
                  <a:cubicBezTo>
                    <a:pt x="483" y="343"/>
                    <a:pt x="483" y="343"/>
                    <a:pt x="483" y="343"/>
                  </a:cubicBezTo>
                  <a:cubicBezTo>
                    <a:pt x="476" y="338"/>
                    <a:pt x="476" y="338"/>
                    <a:pt x="476" y="338"/>
                  </a:cubicBezTo>
                  <a:cubicBezTo>
                    <a:pt x="459" y="327"/>
                    <a:pt x="459" y="327"/>
                    <a:pt x="459" y="327"/>
                  </a:cubicBezTo>
                  <a:cubicBezTo>
                    <a:pt x="435" y="319"/>
                    <a:pt x="435" y="319"/>
                    <a:pt x="435" y="319"/>
                  </a:cubicBezTo>
                  <a:cubicBezTo>
                    <a:pt x="419" y="309"/>
                    <a:pt x="419" y="309"/>
                    <a:pt x="419" y="309"/>
                  </a:cubicBezTo>
                  <a:cubicBezTo>
                    <a:pt x="406" y="306"/>
                    <a:pt x="406" y="306"/>
                    <a:pt x="406" y="306"/>
                  </a:cubicBezTo>
                  <a:cubicBezTo>
                    <a:pt x="406" y="306"/>
                    <a:pt x="392" y="299"/>
                    <a:pt x="391" y="299"/>
                  </a:cubicBezTo>
                  <a:cubicBezTo>
                    <a:pt x="390" y="299"/>
                    <a:pt x="387" y="298"/>
                    <a:pt x="387" y="298"/>
                  </a:cubicBezTo>
                  <a:cubicBezTo>
                    <a:pt x="387" y="298"/>
                    <a:pt x="379" y="296"/>
                    <a:pt x="379" y="295"/>
                  </a:cubicBezTo>
                  <a:cubicBezTo>
                    <a:pt x="378" y="294"/>
                    <a:pt x="377" y="291"/>
                    <a:pt x="376" y="290"/>
                  </a:cubicBezTo>
                  <a:cubicBezTo>
                    <a:pt x="376" y="289"/>
                    <a:pt x="377" y="286"/>
                    <a:pt x="377" y="286"/>
                  </a:cubicBezTo>
                  <a:cubicBezTo>
                    <a:pt x="381" y="282"/>
                    <a:pt x="381" y="282"/>
                    <a:pt x="381" y="282"/>
                  </a:cubicBezTo>
                  <a:cubicBezTo>
                    <a:pt x="381" y="282"/>
                    <a:pt x="385" y="278"/>
                    <a:pt x="385" y="277"/>
                  </a:cubicBezTo>
                  <a:cubicBezTo>
                    <a:pt x="385" y="276"/>
                    <a:pt x="386" y="270"/>
                    <a:pt x="386" y="270"/>
                  </a:cubicBezTo>
                  <a:cubicBezTo>
                    <a:pt x="381" y="268"/>
                    <a:pt x="381" y="268"/>
                    <a:pt x="381" y="268"/>
                  </a:cubicBezTo>
                  <a:cubicBezTo>
                    <a:pt x="369" y="269"/>
                    <a:pt x="369" y="269"/>
                    <a:pt x="369" y="269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40" y="271"/>
                    <a:pt x="340" y="271"/>
                    <a:pt x="340" y="271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16" y="254"/>
                    <a:pt x="316" y="254"/>
                    <a:pt x="316" y="254"/>
                  </a:cubicBezTo>
                  <a:cubicBezTo>
                    <a:pt x="309" y="250"/>
                    <a:pt x="309" y="250"/>
                    <a:pt x="309" y="250"/>
                  </a:cubicBezTo>
                  <a:cubicBezTo>
                    <a:pt x="299" y="239"/>
                    <a:pt x="299" y="239"/>
                    <a:pt x="299" y="239"/>
                  </a:cubicBezTo>
                  <a:cubicBezTo>
                    <a:pt x="294" y="232"/>
                    <a:pt x="294" y="232"/>
                    <a:pt x="294" y="232"/>
                  </a:cubicBezTo>
                  <a:cubicBezTo>
                    <a:pt x="294" y="232"/>
                    <a:pt x="291" y="222"/>
                    <a:pt x="290" y="218"/>
                  </a:cubicBezTo>
                  <a:cubicBezTo>
                    <a:pt x="289" y="215"/>
                    <a:pt x="281" y="204"/>
                    <a:pt x="281" y="204"/>
                  </a:cubicBezTo>
                  <a:cubicBezTo>
                    <a:pt x="281" y="204"/>
                    <a:pt x="277" y="195"/>
                    <a:pt x="277" y="194"/>
                  </a:cubicBezTo>
                  <a:cubicBezTo>
                    <a:pt x="277" y="193"/>
                    <a:pt x="275" y="186"/>
                    <a:pt x="275" y="186"/>
                  </a:cubicBezTo>
                  <a:cubicBezTo>
                    <a:pt x="262" y="180"/>
                    <a:pt x="262" y="180"/>
                    <a:pt x="262" y="180"/>
                  </a:cubicBezTo>
                  <a:cubicBezTo>
                    <a:pt x="245" y="170"/>
                    <a:pt x="245" y="170"/>
                    <a:pt x="245" y="170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3"/>
                    <a:pt x="224" y="113"/>
                    <a:pt x="224" y="113"/>
                  </a:cubicBezTo>
                  <a:cubicBezTo>
                    <a:pt x="218" y="109"/>
                    <a:pt x="218" y="109"/>
                    <a:pt x="218" y="109"/>
                  </a:cubicBezTo>
                  <a:cubicBezTo>
                    <a:pt x="218" y="103"/>
                    <a:pt x="218" y="103"/>
                    <a:pt x="218" y="103"/>
                  </a:cubicBezTo>
                  <a:cubicBezTo>
                    <a:pt x="215" y="101"/>
                    <a:pt x="215" y="101"/>
                    <a:pt x="215" y="101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9" y="92"/>
                    <a:pt x="222" y="88"/>
                    <a:pt x="226" y="88"/>
                  </a:cubicBezTo>
                  <a:cubicBezTo>
                    <a:pt x="230" y="88"/>
                    <a:pt x="233" y="84"/>
                    <a:pt x="233" y="84"/>
                  </a:cubicBezTo>
                  <a:cubicBezTo>
                    <a:pt x="233" y="84"/>
                    <a:pt x="236" y="81"/>
                    <a:pt x="237" y="81"/>
                  </a:cubicBezTo>
                  <a:cubicBezTo>
                    <a:pt x="239" y="81"/>
                    <a:pt x="241" y="80"/>
                    <a:pt x="243" y="79"/>
                  </a:cubicBezTo>
                  <a:cubicBezTo>
                    <a:pt x="244" y="79"/>
                    <a:pt x="247" y="78"/>
                    <a:pt x="247" y="78"/>
                  </a:cubicBezTo>
                  <a:cubicBezTo>
                    <a:pt x="247" y="77"/>
                    <a:pt x="248" y="70"/>
                    <a:pt x="249" y="70"/>
                  </a:cubicBezTo>
                  <a:cubicBezTo>
                    <a:pt x="250" y="70"/>
                    <a:pt x="252" y="74"/>
                    <a:pt x="255" y="74"/>
                  </a:cubicBezTo>
                  <a:cubicBezTo>
                    <a:pt x="256" y="74"/>
                    <a:pt x="258" y="76"/>
                    <a:pt x="259" y="75"/>
                  </a:cubicBezTo>
                  <a:cubicBezTo>
                    <a:pt x="261" y="74"/>
                    <a:pt x="262" y="71"/>
                    <a:pt x="262" y="71"/>
                  </a:cubicBezTo>
                  <a:cubicBezTo>
                    <a:pt x="263" y="70"/>
                    <a:pt x="264" y="69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5" y="67"/>
                    <a:pt x="265" y="67"/>
                  </a:cubicBezTo>
                  <a:cubicBezTo>
                    <a:pt x="265" y="66"/>
                    <a:pt x="265" y="66"/>
                    <a:pt x="266" y="65"/>
                  </a:cubicBezTo>
                  <a:cubicBezTo>
                    <a:pt x="266" y="64"/>
                    <a:pt x="266" y="64"/>
                    <a:pt x="267" y="63"/>
                  </a:cubicBezTo>
                  <a:cubicBezTo>
                    <a:pt x="267" y="63"/>
                    <a:pt x="267" y="61"/>
                    <a:pt x="267" y="61"/>
                  </a:cubicBezTo>
                  <a:cubicBezTo>
                    <a:pt x="267" y="61"/>
                    <a:pt x="268" y="60"/>
                    <a:pt x="267" y="60"/>
                  </a:cubicBezTo>
                  <a:cubicBezTo>
                    <a:pt x="267" y="59"/>
                    <a:pt x="266" y="58"/>
                    <a:pt x="266" y="58"/>
                  </a:cubicBezTo>
                  <a:cubicBezTo>
                    <a:pt x="266" y="58"/>
                    <a:pt x="266" y="58"/>
                    <a:pt x="265" y="58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3" y="60"/>
                    <a:pt x="263" y="60"/>
                    <a:pt x="263" y="60"/>
                  </a:cubicBezTo>
                  <a:cubicBezTo>
                    <a:pt x="263" y="60"/>
                    <a:pt x="262" y="58"/>
                    <a:pt x="262" y="58"/>
                  </a:cubicBezTo>
                  <a:cubicBezTo>
                    <a:pt x="261" y="58"/>
                    <a:pt x="261" y="58"/>
                    <a:pt x="261" y="57"/>
                  </a:cubicBezTo>
                  <a:cubicBezTo>
                    <a:pt x="261" y="57"/>
                    <a:pt x="262" y="56"/>
                    <a:pt x="262" y="56"/>
                  </a:cubicBezTo>
                  <a:cubicBezTo>
                    <a:pt x="262" y="56"/>
                    <a:pt x="261" y="55"/>
                    <a:pt x="261" y="55"/>
                  </a:cubicBezTo>
                  <a:cubicBezTo>
                    <a:pt x="261" y="55"/>
                    <a:pt x="262" y="53"/>
                    <a:pt x="263" y="53"/>
                  </a:cubicBezTo>
                  <a:cubicBezTo>
                    <a:pt x="264" y="52"/>
                    <a:pt x="266" y="50"/>
                    <a:pt x="266" y="50"/>
                  </a:cubicBezTo>
                  <a:cubicBezTo>
                    <a:pt x="267" y="48"/>
                    <a:pt x="267" y="48"/>
                    <a:pt x="267" y="48"/>
                  </a:cubicBezTo>
                  <a:cubicBezTo>
                    <a:pt x="266" y="47"/>
                    <a:pt x="266" y="47"/>
                    <a:pt x="266" y="47"/>
                  </a:cubicBezTo>
                  <a:cubicBezTo>
                    <a:pt x="266" y="47"/>
                    <a:pt x="265" y="48"/>
                    <a:pt x="265" y="48"/>
                  </a:cubicBezTo>
                  <a:cubicBezTo>
                    <a:pt x="263" y="47"/>
                    <a:pt x="263" y="47"/>
                    <a:pt x="263" y="47"/>
                  </a:cubicBezTo>
                  <a:cubicBezTo>
                    <a:pt x="261" y="46"/>
                    <a:pt x="261" y="46"/>
                    <a:pt x="261" y="46"/>
                  </a:cubicBezTo>
                  <a:cubicBezTo>
                    <a:pt x="258" y="46"/>
                    <a:pt x="258" y="46"/>
                    <a:pt x="258" y="46"/>
                  </a:cubicBezTo>
                  <a:cubicBezTo>
                    <a:pt x="256" y="44"/>
                    <a:pt x="256" y="44"/>
                    <a:pt x="256" y="44"/>
                  </a:cubicBezTo>
                  <a:cubicBezTo>
                    <a:pt x="257" y="42"/>
                    <a:pt x="257" y="42"/>
                    <a:pt x="257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9" y="38"/>
                    <a:pt x="259" y="38"/>
                  </a:cubicBezTo>
                  <a:cubicBezTo>
                    <a:pt x="260" y="37"/>
                    <a:pt x="262" y="36"/>
                    <a:pt x="262" y="36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3" y="34"/>
                    <a:pt x="264" y="33"/>
                    <a:pt x="265" y="33"/>
                  </a:cubicBezTo>
                  <a:cubicBezTo>
                    <a:pt x="266" y="33"/>
                    <a:pt x="266" y="34"/>
                    <a:pt x="266" y="33"/>
                  </a:cubicBezTo>
                  <a:cubicBezTo>
                    <a:pt x="267" y="33"/>
                    <a:pt x="267" y="31"/>
                    <a:pt x="267" y="30"/>
                  </a:cubicBezTo>
                  <a:cubicBezTo>
                    <a:pt x="267" y="27"/>
                    <a:pt x="267" y="27"/>
                    <a:pt x="267" y="27"/>
                  </a:cubicBezTo>
                  <a:cubicBezTo>
                    <a:pt x="262" y="28"/>
                    <a:pt x="262" y="28"/>
                    <a:pt x="262" y="28"/>
                  </a:cubicBezTo>
                  <a:cubicBezTo>
                    <a:pt x="262" y="28"/>
                    <a:pt x="257" y="27"/>
                    <a:pt x="254" y="27"/>
                  </a:cubicBezTo>
                  <a:cubicBezTo>
                    <a:pt x="250" y="27"/>
                    <a:pt x="242" y="25"/>
                    <a:pt x="242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26" y="22"/>
                    <a:pt x="226" y="22"/>
                    <a:pt x="226" y="22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21"/>
                    <a:pt x="216" y="19"/>
                    <a:pt x="215" y="18"/>
                  </a:cubicBezTo>
                  <a:cubicBezTo>
                    <a:pt x="215" y="17"/>
                    <a:pt x="212" y="15"/>
                    <a:pt x="212" y="15"/>
                  </a:cubicBezTo>
                  <a:cubicBezTo>
                    <a:pt x="212" y="13"/>
                    <a:pt x="212" y="13"/>
                    <a:pt x="212" y="13"/>
                  </a:cubicBezTo>
                  <a:cubicBezTo>
                    <a:pt x="210" y="8"/>
                    <a:pt x="210" y="8"/>
                    <a:pt x="210" y="8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8" y="0"/>
                    <a:pt x="204" y="1"/>
                    <a:pt x="202" y="1"/>
                  </a:cubicBezTo>
                  <a:cubicBezTo>
                    <a:pt x="201" y="2"/>
                    <a:pt x="195" y="3"/>
                    <a:pt x="195" y="3"/>
                  </a:cubicBezTo>
                  <a:cubicBezTo>
                    <a:pt x="193" y="4"/>
                    <a:pt x="193" y="4"/>
                    <a:pt x="193" y="4"/>
                  </a:cubicBezTo>
                  <a:cubicBezTo>
                    <a:pt x="185" y="4"/>
                    <a:pt x="185" y="4"/>
                    <a:pt x="185" y="4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8" y="10"/>
                    <a:pt x="168" y="10"/>
                    <a:pt x="168" y="10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48" y="15"/>
                    <a:pt x="148" y="15"/>
                    <a:pt x="148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5"/>
                    <a:pt x="145" y="16"/>
                    <a:pt x="145" y="16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5" y="19"/>
                    <a:pt x="145" y="19"/>
                    <a:pt x="145" y="19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1"/>
                    <a:pt x="145" y="22"/>
                    <a:pt x="144" y="23"/>
                  </a:cubicBezTo>
                  <a:cubicBezTo>
                    <a:pt x="143" y="23"/>
                    <a:pt x="145" y="25"/>
                    <a:pt x="145" y="25"/>
                  </a:cubicBezTo>
                  <a:cubicBezTo>
                    <a:pt x="145" y="25"/>
                    <a:pt x="146" y="25"/>
                    <a:pt x="148" y="26"/>
                  </a:cubicBezTo>
                  <a:cubicBezTo>
                    <a:pt x="149" y="27"/>
                    <a:pt x="148" y="27"/>
                    <a:pt x="148" y="27"/>
                  </a:cubicBezTo>
                  <a:cubicBezTo>
                    <a:pt x="148" y="28"/>
                    <a:pt x="148" y="29"/>
                    <a:pt x="147" y="29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3" y="31"/>
                    <a:pt x="143" y="30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39" y="28"/>
                    <a:pt x="139" y="28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8" y="26"/>
                    <a:pt x="138" y="26"/>
                  </a:cubicBezTo>
                  <a:cubicBezTo>
                    <a:pt x="137" y="26"/>
                    <a:pt x="137" y="27"/>
                    <a:pt x="137" y="27"/>
                  </a:cubicBezTo>
                  <a:cubicBezTo>
                    <a:pt x="136" y="27"/>
                    <a:pt x="135" y="27"/>
                    <a:pt x="134" y="27"/>
                  </a:cubicBezTo>
                  <a:cubicBezTo>
                    <a:pt x="134" y="27"/>
                    <a:pt x="134" y="28"/>
                    <a:pt x="133" y="28"/>
                  </a:cubicBezTo>
                  <a:cubicBezTo>
                    <a:pt x="133" y="29"/>
                    <a:pt x="133" y="29"/>
                    <a:pt x="133" y="30"/>
                  </a:cubicBezTo>
                  <a:cubicBezTo>
                    <a:pt x="132" y="30"/>
                    <a:pt x="132" y="31"/>
                    <a:pt x="132" y="31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3" y="38"/>
                    <a:pt x="134" y="37"/>
                    <a:pt x="134" y="37"/>
                  </a:cubicBezTo>
                  <a:cubicBezTo>
                    <a:pt x="134" y="37"/>
                    <a:pt x="135" y="38"/>
                    <a:pt x="135" y="39"/>
                  </a:cubicBezTo>
                  <a:cubicBezTo>
                    <a:pt x="136" y="39"/>
                    <a:pt x="135" y="40"/>
                    <a:pt x="135" y="40"/>
                  </a:cubicBezTo>
                  <a:cubicBezTo>
                    <a:pt x="135" y="40"/>
                    <a:pt x="134" y="41"/>
                    <a:pt x="134" y="41"/>
                  </a:cubicBezTo>
                  <a:cubicBezTo>
                    <a:pt x="133" y="41"/>
                    <a:pt x="133" y="41"/>
                    <a:pt x="134" y="42"/>
                  </a:cubicBezTo>
                  <a:cubicBezTo>
                    <a:pt x="134" y="43"/>
                    <a:pt x="135" y="43"/>
                    <a:pt x="135" y="43"/>
                  </a:cubicBezTo>
                  <a:cubicBezTo>
                    <a:pt x="136" y="43"/>
                    <a:pt x="136" y="46"/>
                    <a:pt x="136" y="46"/>
                  </a:cubicBezTo>
                  <a:cubicBezTo>
                    <a:pt x="136" y="47"/>
                    <a:pt x="135" y="48"/>
                    <a:pt x="135" y="48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34" y="48"/>
                    <a:pt x="134" y="48"/>
                    <a:pt x="134" y="49"/>
                  </a:cubicBezTo>
                  <a:cubicBezTo>
                    <a:pt x="134" y="49"/>
                    <a:pt x="132" y="49"/>
                    <a:pt x="132" y="49"/>
                  </a:cubicBezTo>
                  <a:cubicBezTo>
                    <a:pt x="132" y="49"/>
                    <a:pt x="133" y="47"/>
                    <a:pt x="132" y="47"/>
                  </a:cubicBezTo>
                  <a:cubicBezTo>
                    <a:pt x="132" y="46"/>
                    <a:pt x="131" y="46"/>
                    <a:pt x="130" y="45"/>
                  </a:cubicBezTo>
                  <a:cubicBezTo>
                    <a:pt x="129" y="43"/>
                    <a:pt x="130" y="43"/>
                    <a:pt x="130" y="43"/>
                  </a:cubicBezTo>
                  <a:cubicBezTo>
                    <a:pt x="130" y="43"/>
                    <a:pt x="130" y="43"/>
                    <a:pt x="129" y="42"/>
                  </a:cubicBezTo>
                  <a:cubicBezTo>
                    <a:pt x="129" y="41"/>
                    <a:pt x="129" y="40"/>
                    <a:pt x="129" y="40"/>
                  </a:cubicBezTo>
                  <a:cubicBezTo>
                    <a:pt x="129" y="40"/>
                    <a:pt x="127" y="40"/>
                    <a:pt x="126" y="40"/>
                  </a:cubicBezTo>
                  <a:cubicBezTo>
                    <a:pt x="124" y="40"/>
                    <a:pt x="125" y="41"/>
                    <a:pt x="125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2" y="42"/>
                    <a:pt x="122" y="42"/>
                  </a:cubicBezTo>
                  <a:cubicBezTo>
                    <a:pt x="121" y="43"/>
                    <a:pt x="121" y="42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8" y="43"/>
                    <a:pt x="119" y="44"/>
                  </a:cubicBezTo>
                  <a:cubicBezTo>
                    <a:pt x="119" y="45"/>
                    <a:pt x="119" y="45"/>
                    <a:pt x="118" y="45"/>
                  </a:cubicBezTo>
                  <a:cubicBezTo>
                    <a:pt x="118" y="46"/>
                    <a:pt x="116" y="45"/>
                    <a:pt x="114" y="45"/>
                  </a:cubicBezTo>
                  <a:cubicBezTo>
                    <a:pt x="111" y="45"/>
                    <a:pt x="113" y="44"/>
                    <a:pt x="112" y="44"/>
                  </a:cubicBezTo>
                  <a:cubicBezTo>
                    <a:pt x="112" y="43"/>
                    <a:pt x="110" y="43"/>
                    <a:pt x="110" y="42"/>
                  </a:cubicBezTo>
                  <a:cubicBezTo>
                    <a:pt x="110" y="40"/>
                    <a:pt x="110" y="40"/>
                    <a:pt x="110" y="39"/>
                  </a:cubicBezTo>
                  <a:cubicBezTo>
                    <a:pt x="110" y="38"/>
                    <a:pt x="109" y="37"/>
                    <a:pt x="109" y="37"/>
                  </a:cubicBezTo>
                  <a:cubicBezTo>
                    <a:pt x="108" y="36"/>
                    <a:pt x="109" y="35"/>
                    <a:pt x="110" y="35"/>
                  </a:cubicBezTo>
                  <a:cubicBezTo>
                    <a:pt x="110" y="34"/>
                    <a:pt x="109" y="34"/>
                    <a:pt x="109" y="34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5" y="34"/>
                    <a:pt x="104" y="34"/>
                  </a:cubicBezTo>
                  <a:cubicBezTo>
                    <a:pt x="104" y="33"/>
                    <a:pt x="103" y="34"/>
                    <a:pt x="103" y="34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2"/>
                    <a:pt x="102" y="43"/>
                  </a:cubicBezTo>
                  <a:cubicBezTo>
                    <a:pt x="102" y="43"/>
                    <a:pt x="102" y="44"/>
                    <a:pt x="102" y="44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5"/>
                    <a:pt x="101" y="46"/>
                    <a:pt x="101" y="47"/>
                  </a:cubicBezTo>
                  <a:cubicBezTo>
                    <a:pt x="101" y="47"/>
                    <a:pt x="101" y="48"/>
                    <a:pt x="101" y="49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99" y="51"/>
                    <a:pt x="99" y="52"/>
                  </a:cubicBezTo>
                  <a:cubicBezTo>
                    <a:pt x="99" y="52"/>
                    <a:pt x="97" y="52"/>
                    <a:pt x="97" y="52"/>
                  </a:cubicBezTo>
                  <a:cubicBezTo>
                    <a:pt x="97" y="52"/>
                    <a:pt x="96" y="54"/>
                    <a:pt x="95" y="54"/>
                  </a:cubicBezTo>
                  <a:cubicBezTo>
                    <a:pt x="95" y="54"/>
                    <a:pt x="95" y="56"/>
                    <a:pt x="95" y="57"/>
                  </a:cubicBezTo>
                  <a:cubicBezTo>
                    <a:pt x="95" y="57"/>
                    <a:pt x="95" y="58"/>
                    <a:pt x="95" y="58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4" y="61"/>
                    <a:pt x="94" y="61"/>
                  </a:cubicBezTo>
                  <a:cubicBezTo>
                    <a:pt x="94" y="62"/>
                    <a:pt x="93" y="62"/>
                    <a:pt x="93" y="62"/>
                  </a:cubicBezTo>
                  <a:cubicBezTo>
                    <a:pt x="92" y="63"/>
                    <a:pt x="93" y="63"/>
                    <a:pt x="93" y="64"/>
                  </a:cubicBezTo>
                  <a:cubicBezTo>
                    <a:pt x="92" y="65"/>
                    <a:pt x="93" y="65"/>
                    <a:pt x="93" y="65"/>
                  </a:cubicBezTo>
                  <a:cubicBezTo>
                    <a:pt x="93" y="66"/>
                    <a:pt x="96" y="67"/>
                    <a:pt x="96" y="67"/>
                  </a:cubicBezTo>
                  <a:cubicBezTo>
                    <a:pt x="96" y="67"/>
                    <a:pt x="96" y="67"/>
                    <a:pt x="95" y="68"/>
                  </a:cubicBezTo>
                  <a:cubicBezTo>
                    <a:pt x="93" y="69"/>
                    <a:pt x="94" y="71"/>
                    <a:pt x="94" y="71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2" y="71"/>
                    <a:pt x="91" y="71"/>
                  </a:cubicBezTo>
                  <a:cubicBezTo>
                    <a:pt x="91" y="71"/>
                    <a:pt x="91" y="71"/>
                    <a:pt x="89" y="71"/>
                  </a:cubicBezTo>
                  <a:cubicBezTo>
                    <a:pt x="87" y="71"/>
                    <a:pt x="89" y="70"/>
                    <a:pt x="89" y="70"/>
                  </a:cubicBezTo>
                  <a:cubicBezTo>
                    <a:pt x="89" y="70"/>
                    <a:pt x="89" y="68"/>
                    <a:pt x="89" y="67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7"/>
                    <a:pt x="89" y="66"/>
                    <a:pt x="88" y="65"/>
                  </a:cubicBezTo>
                  <a:cubicBezTo>
                    <a:pt x="88" y="64"/>
                    <a:pt x="87" y="64"/>
                    <a:pt x="87" y="64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5" y="60"/>
                    <a:pt x="86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7" y="58"/>
                  </a:cubicBezTo>
                  <a:cubicBezTo>
                    <a:pt x="87" y="57"/>
                    <a:pt x="86" y="57"/>
                    <a:pt x="86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2" y="57"/>
                    <a:pt x="82" y="56"/>
                  </a:cubicBezTo>
                  <a:cubicBezTo>
                    <a:pt x="81" y="56"/>
                    <a:pt x="79" y="56"/>
                    <a:pt x="79" y="55"/>
                  </a:cubicBezTo>
                  <a:cubicBezTo>
                    <a:pt x="79" y="55"/>
                    <a:pt x="78" y="55"/>
                    <a:pt x="77" y="55"/>
                  </a:cubicBezTo>
                  <a:cubicBezTo>
                    <a:pt x="77" y="55"/>
                    <a:pt x="76" y="55"/>
                    <a:pt x="76" y="55"/>
                  </a:cubicBezTo>
                  <a:cubicBezTo>
                    <a:pt x="75" y="54"/>
                    <a:pt x="74" y="53"/>
                    <a:pt x="74" y="53"/>
                  </a:cubicBezTo>
                  <a:cubicBezTo>
                    <a:pt x="74" y="52"/>
                    <a:pt x="73" y="51"/>
                    <a:pt x="73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1" y="49"/>
                    <a:pt x="70" y="49"/>
                  </a:cubicBezTo>
                  <a:cubicBezTo>
                    <a:pt x="70" y="49"/>
                    <a:pt x="70" y="48"/>
                    <a:pt x="70" y="48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6"/>
                    <a:pt x="69" y="45"/>
                  </a:cubicBezTo>
                  <a:cubicBezTo>
                    <a:pt x="69" y="45"/>
                    <a:pt x="70" y="43"/>
                    <a:pt x="70" y="43"/>
                  </a:cubicBezTo>
                  <a:cubicBezTo>
                    <a:pt x="70" y="43"/>
                    <a:pt x="69" y="41"/>
                    <a:pt x="69" y="40"/>
                  </a:cubicBezTo>
                  <a:cubicBezTo>
                    <a:pt x="69" y="39"/>
                    <a:pt x="70" y="37"/>
                    <a:pt x="70" y="37"/>
                  </a:cubicBezTo>
                  <a:cubicBezTo>
                    <a:pt x="70" y="37"/>
                    <a:pt x="66" y="38"/>
                    <a:pt x="65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1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1" y="44"/>
                    <a:pt x="60" y="44"/>
                  </a:cubicBezTo>
                  <a:cubicBezTo>
                    <a:pt x="60" y="45"/>
                    <a:pt x="60" y="45"/>
                    <a:pt x="59" y="45"/>
                  </a:cubicBezTo>
                  <a:cubicBezTo>
                    <a:pt x="58" y="45"/>
                    <a:pt x="57" y="46"/>
                    <a:pt x="57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4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60"/>
                  </a:cubicBezTo>
                  <a:cubicBezTo>
                    <a:pt x="54" y="60"/>
                    <a:pt x="54" y="61"/>
                    <a:pt x="53" y="6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3"/>
                    <a:pt x="51" y="63"/>
                    <a:pt x="50" y="63"/>
                  </a:cubicBezTo>
                  <a:cubicBezTo>
                    <a:pt x="49" y="63"/>
                    <a:pt x="49" y="64"/>
                    <a:pt x="48" y="64"/>
                  </a:cubicBezTo>
                  <a:cubicBezTo>
                    <a:pt x="46" y="64"/>
                    <a:pt x="47" y="65"/>
                    <a:pt x="47" y="66"/>
                  </a:cubicBezTo>
                  <a:cubicBezTo>
                    <a:pt x="47" y="66"/>
                    <a:pt x="47" y="66"/>
                    <a:pt x="47" y="67"/>
                  </a:cubicBezTo>
                  <a:cubicBezTo>
                    <a:pt x="46" y="67"/>
                    <a:pt x="44" y="67"/>
                    <a:pt x="44" y="66"/>
                  </a:cubicBezTo>
                  <a:cubicBezTo>
                    <a:pt x="43" y="66"/>
                    <a:pt x="43" y="66"/>
                    <a:pt x="42" y="66"/>
                  </a:cubicBezTo>
                  <a:cubicBezTo>
                    <a:pt x="42" y="67"/>
                    <a:pt x="41" y="65"/>
                    <a:pt x="41" y="65"/>
                  </a:cubicBezTo>
                  <a:cubicBezTo>
                    <a:pt x="41" y="65"/>
                    <a:pt x="40" y="64"/>
                    <a:pt x="40" y="64"/>
                  </a:cubicBezTo>
                  <a:cubicBezTo>
                    <a:pt x="40" y="63"/>
                    <a:pt x="38" y="64"/>
                    <a:pt x="38" y="64"/>
                  </a:cubicBezTo>
                  <a:cubicBezTo>
                    <a:pt x="37" y="63"/>
                    <a:pt x="35" y="63"/>
                    <a:pt x="35" y="63"/>
                  </a:cubicBezTo>
                  <a:cubicBezTo>
                    <a:pt x="34" y="63"/>
                    <a:pt x="35" y="64"/>
                    <a:pt x="35" y="64"/>
                  </a:cubicBezTo>
                  <a:cubicBezTo>
                    <a:pt x="35" y="64"/>
                    <a:pt x="34" y="64"/>
                    <a:pt x="33" y="64"/>
                  </a:cubicBezTo>
                  <a:cubicBezTo>
                    <a:pt x="32" y="64"/>
                    <a:pt x="32" y="65"/>
                    <a:pt x="32" y="65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29" y="67"/>
                    <a:pt x="28" y="67"/>
                  </a:cubicBezTo>
                  <a:cubicBezTo>
                    <a:pt x="27" y="67"/>
                    <a:pt x="26" y="66"/>
                    <a:pt x="25" y="66"/>
                  </a:cubicBezTo>
                  <a:cubicBezTo>
                    <a:pt x="24" y="66"/>
                    <a:pt x="23" y="67"/>
                    <a:pt x="23" y="67"/>
                  </a:cubicBezTo>
                  <a:cubicBezTo>
                    <a:pt x="23" y="67"/>
                    <a:pt x="21" y="68"/>
                    <a:pt x="21" y="68"/>
                  </a:cubicBezTo>
                  <a:cubicBezTo>
                    <a:pt x="21" y="68"/>
                    <a:pt x="20" y="69"/>
                    <a:pt x="19" y="69"/>
                  </a:cubicBezTo>
                  <a:cubicBezTo>
                    <a:pt x="18" y="69"/>
                    <a:pt x="18" y="68"/>
                    <a:pt x="18" y="68"/>
                  </a:cubicBezTo>
                  <a:cubicBezTo>
                    <a:pt x="18" y="68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11" y="79"/>
                    <a:pt x="9" y="81"/>
                    <a:pt x="18" y="85"/>
                  </a:cubicBezTo>
                  <a:cubicBezTo>
                    <a:pt x="19" y="85"/>
                    <a:pt x="21" y="90"/>
                    <a:pt x="21" y="90"/>
                  </a:cubicBezTo>
                  <a:cubicBezTo>
                    <a:pt x="21" y="91"/>
                    <a:pt x="19" y="99"/>
                    <a:pt x="18" y="100"/>
                  </a:cubicBezTo>
                  <a:cubicBezTo>
                    <a:pt x="16" y="101"/>
                    <a:pt x="14" y="105"/>
                    <a:pt x="14" y="105"/>
                  </a:cubicBezTo>
                  <a:cubicBezTo>
                    <a:pt x="14" y="105"/>
                    <a:pt x="10" y="109"/>
                    <a:pt x="9" y="109"/>
                  </a:cubicBezTo>
                  <a:cubicBezTo>
                    <a:pt x="8" y="109"/>
                    <a:pt x="5" y="110"/>
                    <a:pt x="4" y="110"/>
                  </a:cubicBezTo>
                  <a:cubicBezTo>
                    <a:pt x="4" y="110"/>
                    <a:pt x="0" y="110"/>
                    <a:pt x="1" y="111"/>
                  </a:cubicBezTo>
                  <a:cubicBezTo>
                    <a:pt x="1" y="111"/>
                    <a:pt x="1" y="113"/>
                    <a:pt x="1" y="113"/>
                  </a:cubicBezTo>
                  <a:cubicBezTo>
                    <a:pt x="2" y="114"/>
                    <a:pt x="5" y="118"/>
                    <a:pt x="5" y="118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6" y="145"/>
                    <a:pt x="8" y="142"/>
                    <a:pt x="9" y="149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7" y="157"/>
                    <a:pt x="17" y="157"/>
                    <a:pt x="17" y="157"/>
                  </a:cubicBezTo>
                  <a:cubicBezTo>
                    <a:pt x="27" y="161"/>
                    <a:pt x="27" y="161"/>
                    <a:pt x="27" y="161"/>
                  </a:cubicBezTo>
                  <a:cubicBezTo>
                    <a:pt x="36" y="161"/>
                    <a:pt x="36" y="161"/>
                    <a:pt x="36" y="161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1" y="180"/>
                    <a:pt x="31" y="180"/>
                    <a:pt x="31" y="180"/>
                  </a:cubicBezTo>
                  <a:cubicBezTo>
                    <a:pt x="31" y="180"/>
                    <a:pt x="31" y="180"/>
                    <a:pt x="30" y="180"/>
                  </a:cubicBezTo>
                  <a:cubicBezTo>
                    <a:pt x="30" y="180"/>
                    <a:pt x="31" y="181"/>
                    <a:pt x="34" y="182"/>
                  </a:cubicBezTo>
                  <a:cubicBezTo>
                    <a:pt x="36" y="182"/>
                    <a:pt x="36" y="184"/>
                    <a:pt x="39" y="183"/>
                  </a:cubicBezTo>
                  <a:cubicBezTo>
                    <a:pt x="42" y="182"/>
                    <a:pt x="46" y="181"/>
                    <a:pt x="47" y="180"/>
                  </a:cubicBezTo>
                  <a:cubicBezTo>
                    <a:pt x="48" y="178"/>
                    <a:pt x="50" y="177"/>
                    <a:pt x="51" y="176"/>
                  </a:cubicBezTo>
                  <a:cubicBezTo>
                    <a:pt x="52" y="174"/>
                    <a:pt x="58" y="167"/>
                    <a:pt x="59" y="167"/>
                  </a:cubicBezTo>
                  <a:cubicBezTo>
                    <a:pt x="59" y="167"/>
                    <a:pt x="65" y="159"/>
                    <a:pt x="66" y="158"/>
                  </a:cubicBezTo>
                  <a:cubicBezTo>
                    <a:pt x="67" y="157"/>
                    <a:pt x="75" y="151"/>
                    <a:pt x="75" y="151"/>
                  </a:cubicBezTo>
                  <a:cubicBezTo>
                    <a:pt x="86" y="147"/>
                    <a:pt x="86" y="147"/>
                    <a:pt x="86" y="147"/>
                  </a:cubicBezTo>
                  <a:cubicBezTo>
                    <a:pt x="86" y="147"/>
                    <a:pt x="91" y="152"/>
                    <a:pt x="92" y="153"/>
                  </a:cubicBezTo>
                  <a:cubicBezTo>
                    <a:pt x="93" y="153"/>
                    <a:pt x="104" y="158"/>
                    <a:pt x="104" y="158"/>
                  </a:cubicBezTo>
                  <a:cubicBezTo>
                    <a:pt x="104" y="158"/>
                    <a:pt x="111" y="161"/>
                    <a:pt x="112" y="162"/>
                  </a:cubicBezTo>
                  <a:cubicBezTo>
                    <a:pt x="112" y="163"/>
                    <a:pt x="118" y="168"/>
                    <a:pt x="118" y="168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29" y="169"/>
                    <a:pt x="129" y="169"/>
                    <a:pt x="129" y="169"/>
                  </a:cubicBezTo>
                  <a:cubicBezTo>
                    <a:pt x="136" y="173"/>
                    <a:pt x="136" y="173"/>
                    <a:pt x="136" y="173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9" y="179"/>
                    <a:pt x="141" y="187"/>
                    <a:pt x="141" y="190"/>
                  </a:cubicBezTo>
                  <a:cubicBezTo>
                    <a:pt x="141" y="193"/>
                    <a:pt x="142" y="198"/>
                    <a:pt x="142" y="198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51" y="202"/>
                    <a:pt x="151" y="211"/>
                    <a:pt x="151" y="212"/>
                  </a:cubicBezTo>
                  <a:cubicBezTo>
                    <a:pt x="151" y="214"/>
                    <a:pt x="152" y="217"/>
                    <a:pt x="152" y="220"/>
                  </a:cubicBezTo>
                  <a:cubicBezTo>
                    <a:pt x="152" y="223"/>
                    <a:pt x="152" y="226"/>
                    <a:pt x="152" y="226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61" y="232"/>
                    <a:pt x="161" y="232"/>
                    <a:pt x="161" y="232"/>
                  </a:cubicBezTo>
                  <a:cubicBezTo>
                    <a:pt x="162" y="237"/>
                    <a:pt x="162" y="237"/>
                    <a:pt x="162" y="237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72" y="246"/>
                    <a:pt x="172" y="246"/>
                    <a:pt x="172" y="246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7" y="255"/>
                    <a:pt x="177" y="255"/>
                    <a:pt x="177" y="255"/>
                  </a:cubicBezTo>
                  <a:cubicBezTo>
                    <a:pt x="177" y="255"/>
                    <a:pt x="177" y="257"/>
                    <a:pt x="179" y="257"/>
                  </a:cubicBezTo>
                  <a:cubicBezTo>
                    <a:pt x="181" y="257"/>
                    <a:pt x="188" y="256"/>
                    <a:pt x="188" y="256"/>
                  </a:cubicBezTo>
                  <a:cubicBezTo>
                    <a:pt x="195" y="262"/>
                    <a:pt x="195" y="262"/>
                    <a:pt x="195" y="262"/>
                  </a:cubicBezTo>
                  <a:cubicBezTo>
                    <a:pt x="203" y="269"/>
                    <a:pt x="203" y="269"/>
                    <a:pt x="203" y="269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4" y="290"/>
                    <a:pt x="224" y="290"/>
                    <a:pt x="224" y="290"/>
                  </a:cubicBezTo>
                  <a:cubicBezTo>
                    <a:pt x="231" y="297"/>
                    <a:pt x="231" y="297"/>
                    <a:pt x="231" y="297"/>
                  </a:cubicBezTo>
                  <a:cubicBezTo>
                    <a:pt x="235" y="299"/>
                    <a:pt x="235" y="299"/>
                    <a:pt x="235" y="299"/>
                  </a:cubicBezTo>
                  <a:cubicBezTo>
                    <a:pt x="237" y="303"/>
                    <a:pt x="237" y="303"/>
                    <a:pt x="237" y="303"/>
                  </a:cubicBezTo>
                  <a:cubicBezTo>
                    <a:pt x="241" y="305"/>
                    <a:pt x="241" y="305"/>
                    <a:pt x="241" y="305"/>
                  </a:cubicBezTo>
                  <a:cubicBezTo>
                    <a:pt x="245" y="306"/>
                    <a:pt x="245" y="306"/>
                    <a:pt x="245" y="306"/>
                  </a:cubicBezTo>
                  <a:cubicBezTo>
                    <a:pt x="251" y="307"/>
                    <a:pt x="251" y="307"/>
                    <a:pt x="251" y="307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1"/>
                    <a:pt x="257" y="313"/>
                    <a:pt x="257" y="314"/>
                  </a:cubicBezTo>
                  <a:cubicBezTo>
                    <a:pt x="257" y="316"/>
                    <a:pt x="255" y="317"/>
                    <a:pt x="258" y="317"/>
                  </a:cubicBezTo>
                  <a:cubicBezTo>
                    <a:pt x="261" y="317"/>
                    <a:pt x="264" y="316"/>
                    <a:pt x="264" y="316"/>
                  </a:cubicBezTo>
                  <a:cubicBezTo>
                    <a:pt x="270" y="315"/>
                    <a:pt x="270" y="315"/>
                    <a:pt x="270" y="315"/>
                  </a:cubicBezTo>
                  <a:cubicBezTo>
                    <a:pt x="274" y="315"/>
                    <a:pt x="274" y="315"/>
                    <a:pt x="274" y="315"/>
                  </a:cubicBezTo>
                  <a:cubicBezTo>
                    <a:pt x="278" y="315"/>
                    <a:pt x="278" y="315"/>
                    <a:pt x="278" y="315"/>
                  </a:cubicBezTo>
                  <a:cubicBezTo>
                    <a:pt x="285" y="314"/>
                    <a:pt x="285" y="314"/>
                    <a:pt x="285" y="314"/>
                  </a:cubicBezTo>
                  <a:cubicBezTo>
                    <a:pt x="289" y="317"/>
                    <a:pt x="289" y="317"/>
                    <a:pt x="289" y="317"/>
                  </a:cubicBezTo>
                  <a:cubicBezTo>
                    <a:pt x="300" y="330"/>
                    <a:pt x="300" y="330"/>
                    <a:pt x="300" y="330"/>
                  </a:cubicBezTo>
                  <a:cubicBezTo>
                    <a:pt x="300" y="330"/>
                    <a:pt x="303" y="335"/>
                    <a:pt x="303" y="337"/>
                  </a:cubicBezTo>
                  <a:cubicBezTo>
                    <a:pt x="303" y="338"/>
                    <a:pt x="307" y="337"/>
                    <a:pt x="308" y="337"/>
                  </a:cubicBezTo>
                  <a:cubicBezTo>
                    <a:pt x="309" y="337"/>
                    <a:pt x="317" y="337"/>
                    <a:pt x="317" y="337"/>
                  </a:cubicBezTo>
                  <a:cubicBezTo>
                    <a:pt x="323" y="341"/>
                    <a:pt x="323" y="341"/>
                    <a:pt x="323" y="341"/>
                  </a:cubicBezTo>
                  <a:cubicBezTo>
                    <a:pt x="319" y="346"/>
                    <a:pt x="319" y="346"/>
                    <a:pt x="319" y="346"/>
                  </a:cubicBezTo>
                  <a:cubicBezTo>
                    <a:pt x="325" y="349"/>
                    <a:pt x="325" y="349"/>
                    <a:pt x="325" y="349"/>
                  </a:cubicBezTo>
                  <a:cubicBezTo>
                    <a:pt x="328" y="345"/>
                    <a:pt x="328" y="345"/>
                    <a:pt x="328" y="345"/>
                  </a:cubicBezTo>
                  <a:cubicBezTo>
                    <a:pt x="334" y="346"/>
                    <a:pt x="334" y="346"/>
                    <a:pt x="334" y="346"/>
                  </a:cubicBezTo>
                  <a:cubicBezTo>
                    <a:pt x="339" y="350"/>
                    <a:pt x="339" y="350"/>
                    <a:pt x="339" y="350"/>
                  </a:cubicBezTo>
                  <a:cubicBezTo>
                    <a:pt x="340" y="353"/>
                    <a:pt x="340" y="353"/>
                    <a:pt x="340" y="353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42" y="360"/>
                    <a:pt x="342" y="360"/>
                    <a:pt x="342" y="360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44" y="367"/>
                    <a:pt x="344" y="367"/>
                    <a:pt x="344" y="367"/>
                  </a:cubicBezTo>
                  <a:cubicBezTo>
                    <a:pt x="349" y="369"/>
                    <a:pt x="349" y="369"/>
                    <a:pt x="349" y="369"/>
                  </a:cubicBezTo>
                  <a:cubicBezTo>
                    <a:pt x="354" y="372"/>
                    <a:pt x="354" y="372"/>
                    <a:pt x="354" y="372"/>
                  </a:cubicBezTo>
                  <a:cubicBezTo>
                    <a:pt x="357" y="374"/>
                    <a:pt x="357" y="374"/>
                    <a:pt x="357" y="374"/>
                  </a:cubicBezTo>
                  <a:cubicBezTo>
                    <a:pt x="361" y="374"/>
                    <a:pt x="361" y="374"/>
                    <a:pt x="361" y="374"/>
                  </a:cubicBezTo>
                  <a:cubicBezTo>
                    <a:pt x="367" y="373"/>
                    <a:pt x="367" y="373"/>
                    <a:pt x="367" y="373"/>
                  </a:cubicBezTo>
                  <a:cubicBezTo>
                    <a:pt x="374" y="374"/>
                    <a:pt x="374" y="374"/>
                    <a:pt x="374" y="374"/>
                  </a:cubicBezTo>
                  <a:cubicBezTo>
                    <a:pt x="380" y="384"/>
                    <a:pt x="380" y="384"/>
                    <a:pt x="380" y="384"/>
                  </a:cubicBezTo>
                  <a:cubicBezTo>
                    <a:pt x="383" y="393"/>
                    <a:pt x="383" y="393"/>
                    <a:pt x="383" y="393"/>
                  </a:cubicBezTo>
                  <a:cubicBezTo>
                    <a:pt x="387" y="401"/>
                    <a:pt x="387" y="401"/>
                    <a:pt x="387" y="401"/>
                  </a:cubicBezTo>
                  <a:cubicBezTo>
                    <a:pt x="390" y="406"/>
                    <a:pt x="390" y="406"/>
                    <a:pt x="390" y="406"/>
                  </a:cubicBezTo>
                  <a:cubicBezTo>
                    <a:pt x="392" y="414"/>
                    <a:pt x="392" y="414"/>
                    <a:pt x="392" y="414"/>
                  </a:cubicBezTo>
                  <a:cubicBezTo>
                    <a:pt x="395" y="418"/>
                    <a:pt x="395" y="418"/>
                    <a:pt x="395" y="418"/>
                  </a:cubicBezTo>
                  <a:cubicBezTo>
                    <a:pt x="400" y="428"/>
                    <a:pt x="400" y="428"/>
                    <a:pt x="400" y="428"/>
                  </a:cubicBezTo>
                  <a:cubicBezTo>
                    <a:pt x="402" y="432"/>
                    <a:pt x="402" y="432"/>
                    <a:pt x="402" y="432"/>
                  </a:cubicBezTo>
                  <a:cubicBezTo>
                    <a:pt x="400" y="437"/>
                    <a:pt x="400" y="437"/>
                    <a:pt x="400" y="437"/>
                  </a:cubicBezTo>
                  <a:cubicBezTo>
                    <a:pt x="400" y="437"/>
                    <a:pt x="398" y="442"/>
                    <a:pt x="397" y="442"/>
                  </a:cubicBezTo>
                  <a:cubicBezTo>
                    <a:pt x="397" y="443"/>
                    <a:pt x="394" y="444"/>
                    <a:pt x="393" y="444"/>
                  </a:cubicBezTo>
                  <a:cubicBezTo>
                    <a:pt x="392" y="445"/>
                    <a:pt x="391" y="445"/>
                    <a:pt x="390" y="446"/>
                  </a:cubicBezTo>
                  <a:cubicBezTo>
                    <a:pt x="389" y="447"/>
                    <a:pt x="388" y="450"/>
                    <a:pt x="388" y="450"/>
                  </a:cubicBezTo>
                  <a:cubicBezTo>
                    <a:pt x="391" y="456"/>
                    <a:pt x="391" y="456"/>
                    <a:pt x="391" y="456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388" y="469"/>
                    <a:pt x="388" y="469"/>
                    <a:pt x="388" y="469"/>
                  </a:cubicBezTo>
                  <a:close/>
                  <a:moveTo>
                    <a:pt x="57" y="345"/>
                  </a:moveTo>
                  <a:cubicBezTo>
                    <a:pt x="57" y="345"/>
                    <a:pt x="57" y="345"/>
                    <a:pt x="57" y="345"/>
                  </a:cubicBezTo>
                  <a:cubicBezTo>
                    <a:pt x="60" y="335"/>
                    <a:pt x="60" y="335"/>
                    <a:pt x="60" y="335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3" y="336"/>
                    <a:pt x="63" y="336"/>
                    <a:pt x="63" y="336"/>
                  </a:cubicBezTo>
                  <a:cubicBezTo>
                    <a:pt x="62" y="342"/>
                    <a:pt x="62" y="342"/>
                    <a:pt x="62" y="342"/>
                  </a:cubicBezTo>
                  <a:cubicBezTo>
                    <a:pt x="62" y="342"/>
                    <a:pt x="70" y="345"/>
                    <a:pt x="71" y="345"/>
                  </a:cubicBezTo>
                  <a:cubicBezTo>
                    <a:pt x="72" y="345"/>
                    <a:pt x="73" y="343"/>
                    <a:pt x="75" y="342"/>
                  </a:cubicBezTo>
                  <a:cubicBezTo>
                    <a:pt x="76" y="341"/>
                    <a:pt x="83" y="341"/>
                    <a:pt x="83" y="341"/>
                  </a:cubicBezTo>
                  <a:cubicBezTo>
                    <a:pt x="83" y="341"/>
                    <a:pt x="84" y="338"/>
                    <a:pt x="85" y="336"/>
                  </a:cubicBezTo>
                  <a:cubicBezTo>
                    <a:pt x="86" y="334"/>
                    <a:pt x="91" y="329"/>
                    <a:pt x="92" y="328"/>
                  </a:cubicBezTo>
                  <a:cubicBezTo>
                    <a:pt x="93" y="328"/>
                    <a:pt x="95" y="326"/>
                    <a:pt x="96" y="326"/>
                  </a:cubicBezTo>
                  <a:cubicBezTo>
                    <a:pt x="97" y="325"/>
                    <a:pt x="102" y="323"/>
                    <a:pt x="102" y="323"/>
                  </a:cubicBezTo>
                  <a:cubicBezTo>
                    <a:pt x="115" y="328"/>
                    <a:pt x="115" y="328"/>
                    <a:pt x="115" y="328"/>
                  </a:cubicBezTo>
                  <a:cubicBezTo>
                    <a:pt x="117" y="336"/>
                    <a:pt x="117" y="336"/>
                    <a:pt x="117" y="336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26" y="355"/>
                    <a:pt x="126" y="355"/>
                    <a:pt x="126" y="355"/>
                  </a:cubicBezTo>
                  <a:cubicBezTo>
                    <a:pt x="126" y="355"/>
                    <a:pt x="129" y="358"/>
                    <a:pt x="128" y="361"/>
                  </a:cubicBezTo>
                  <a:cubicBezTo>
                    <a:pt x="127" y="365"/>
                    <a:pt x="121" y="375"/>
                    <a:pt x="121" y="375"/>
                  </a:cubicBezTo>
                  <a:cubicBezTo>
                    <a:pt x="121" y="381"/>
                    <a:pt x="121" y="381"/>
                    <a:pt x="121" y="381"/>
                  </a:cubicBezTo>
                  <a:cubicBezTo>
                    <a:pt x="125" y="389"/>
                    <a:pt x="125" y="389"/>
                    <a:pt x="125" y="389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22" y="415"/>
                    <a:pt x="122" y="415"/>
                    <a:pt x="122" y="415"/>
                  </a:cubicBezTo>
                  <a:cubicBezTo>
                    <a:pt x="120" y="430"/>
                    <a:pt x="120" y="430"/>
                    <a:pt x="120" y="430"/>
                  </a:cubicBezTo>
                  <a:cubicBezTo>
                    <a:pt x="119" y="438"/>
                    <a:pt x="119" y="438"/>
                    <a:pt x="119" y="438"/>
                  </a:cubicBezTo>
                  <a:cubicBezTo>
                    <a:pt x="119" y="438"/>
                    <a:pt x="115" y="442"/>
                    <a:pt x="113" y="441"/>
                  </a:cubicBezTo>
                  <a:cubicBezTo>
                    <a:pt x="111" y="440"/>
                    <a:pt x="101" y="433"/>
                    <a:pt x="101" y="433"/>
                  </a:cubicBezTo>
                  <a:cubicBezTo>
                    <a:pt x="97" y="432"/>
                    <a:pt x="97" y="432"/>
                    <a:pt x="97" y="432"/>
                  </a:cubicBezTo>
                  <a:cubicBezTo>
                    <a:pt x="94" y="439"/>
                    <a:pt x="94" y="439"/>
                    <a:pt x="94" y="439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0" y="453"/>
                    <a:pt x="90" y="453"/>
                    <a:pt x="90" y="453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79" y="451"/>
                    <a:pt x="79" y="451"/>
                    <a:pt x="79" y="451"/>
                  </a:cubicBezTo>
                  <a:cubicBezTo>
                    <a:pt x="73" y="443"/>
                    <a:pt x="73" y="443"/>
                    <a:pt x="73" y="443"/>
                  </a:cubicBezTo>
                  <a:cubicBezTo>
                    <a:pt x="73" y="443"/>
                    <a:pt x="73" y="445"/>
                    <a:pt x="71" y="446"/>
                  </a:cubicBezTo>
                  <a:cubicBezTo>
                    <a:pt x="69" y="446"/>
                    <a:pt x="66" y="445"/>
                    <a:pt x="66" y="445"/>
                  </a:cubicBezTo>
                  <a:cubicBezTo>
                    <a:pt x="68" y="439"/>
                    <a:pt x="68" y="439"/>
                    <a:pt x="68" y="439"/>
                  </a:cubicBezTo>
                  <a:cubicBezTo>
                    <a:pt x="66" y="432"/>
                    <a:pt x="66" y="432"/>
                    <a:pt x="66" y="432"/>
                  </a:cubicBezTo>
                  <a:cubicBezTo>
                    <a:pt x="68" y="425"/>
                    <a:pt x="68" y="425"/>
                    <a:pt x="68" y="425"/>
                  </a:cubicBezTo>
                  <a:cubicBezTo>
                    <a:pt x="68" y="415"/>
                    <a:pt x="68" y="415"/>
                    <a:pt x="68" y="415"/>
                  </a:cubicBezTo>
                  <a:cubicBezTo>
                    <a:pt x="70" y="411"/>
                    <a:pt x="70" y="411"/>
                    <a:pt x="70" y="411"/>
                  </a:cubicBezTo>
                  <a:cubicBezTo>
                    <a:pt x="71" y="406"/>
                    <a:pt x="71" y="406"/>
                    <a:pt x="71" y="406"/>
                  </a:cubicBezTo>
                  <a:cubicBezTo>
                    <a:pt x="74" y="400"/>
                    <a:pt x="74" y="400"/>
                    <a:pt x="74" y="400"/>
                  </a:cubicBezTo>
                  <a:cubicBezTo>
                    <a:pt x="73" y="395"/>
                    <a:pt x="73" y="395"/>
                    <a:pt x="73" y="395"/>
                  </a:cubicBezTo>
                  <a:cubicBezTo>
                    <a:pt x="71" y="396"/>
                    <a:pt x="71" y="396"/>
                    <a:pt x="71" y="396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5" y="390"/>
                    <a:pt x="67" y="388"/>
                    <a:pt x="69" y="386"/>
                  </a:cubicBezTo>
                  <a:cubicBezTo>
                    <a:pt x="71" y="384"/>
                    <a:pt x="71" y="383"/>
                    <a:pt x="71" y="381"/>
                  </a:cubicBezTo>
                  <a:cubicBezTo>
                    <a:pt x="71" y="379"/>
                    <a:pt x="70" y="374"/>
                    <a:pt x="69" y="374"/>
                  </a:cubicBezTo>
                  <a:cubicBezTo>
                    <a:pt x="68" y="373"/>
                    <a:pt x="66" y="371"/>
                    <a:pt x="66" y="371"/>
                  </a:cubicBezTo>
                  <a:cubicBezTo>
                    <a:pt x="66" y="365"/>
                    <a:pt x="66" y="365"/>
                    <a:pt x="66" y="365"/>
                  </a:cubicBezTo>
                  <a:cubicBezTo>
                    <a:pt x="66" y="365"/>
                    <a:pt x="65" y="362"/>
                    <a:pt x="64" y="362"/>
                  </a:cubicBezTo>
                  <a:cubicBezTo>
                    <a:pt x="62" y="361"/>
                    <a:pt x="57" y="358"/>
                    <a:pt x="57" y="358"/>
                  </a:cubicBezTo>
                  <a:cubicBezTo>
                    <a:pt x="58" y="351"/>
                    <a:pt x="58" y="351"/>
                    <a:pt x="58" y="351"/>
                  </a:cubicBezTo>
                  <a:cubicBezTo>
                    <a:pt x="56" y="349"/>
                    <a:pt x="56" y="349"/>
                    <a:pt x="56" y="349"/>
                  </a:cubicBezTo>
                  <a:lnTo>
                    <a:pt x="57" y="345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9" name="Freeform 86"/>
            <p:cNvSpPr>
              <a:spLocks/>
            </p:cNvSpPr>
            <p:nvPr/>
          </p:nvSpPr>
          <p:spPr bwMode="auto">
            <a:xfrm>
              <a:off x="5904411" y="2909082"/>
              <a:ext cx="841064" cy="588111"/>
            </a:xfrm>
            <a:custGeom>
              <a:avLst/>
              <a:gdLst>
                <a:gd name="T0" fmla="*/ 59 w 369"/>
                <a:gd name="T1" fmla="*/ 73 h 266"/>
                <a:gd name="T2" fmla="*/ 59 w 369"/>
                <a:gd name="T3" fmla="*/ 83 h 266"/>
                <a:gd name="T4" fmla="*/ 59 w 369"/>
                <a:gd name="T5" fmla="*/ 83 h 266"/>
                <a:gd name="T6" fmla="*/ 58 w 369"/>
                <a:gd name="T7" fmla="*/ 84 h 266"/>
                <a:gd name="T8" fmla="*/ 58 w 369"/>
                <a:gd name="T9" fmla="*/ 84 h 266"/>
                <a:gd name="T10" fmla="*/ 56 w 369"/>
                <a:gd name="T11" fmla="*/ 84 h 266"/>
                <a:gd name="T12" fmla="*/ 56 w 369"/>
                <a:gd name="T13" fmla="*/ 85 h 266"/>
                <a:gd name="T14" fmla="*/ 56 w 369"/>
                <a:gd name="T15" fmla="*/ 85 h 266"/>
                <a:gd name="T16" fmla="*/ 56 w 369"/>
                <a:gd name="T17" fmla="*/ 85 h 266"/>
                <a:gd name="T18" fmla="*/ 51 w 369"/>
                <a:gd name="T19" fmla="*/ 97 h 266"/>
                <a:gd name="T20" fmla="*/ 50 w 369"/>
                <a:gd name="T21" fmla="*/ 106 h 266"/>
                <a:gd name="T22" fmla="*/ 50 w 369"/>
                <a:gd name="T23" fmla="*/ 106 h 266"/>
                <a:gd name="T24" fmla="*/ 50 w 369"/>
                <a:gd name="T25" fmla="*/ 106 h 266"/>
                <a:gd name="T26" fmla="*/ 50 w 369"/>
                <a:gd name="T27" fmla="*/ 107 h 266"/>
                <a:gd name="T28" fmla="*/ 50 w 369"/>
                <a:gd name="T29" fmla="*/ 107 h 266"/>
                <a:gd name="T30" fmla="*/ 50 w 369"/>
                <a:gd name="T31" fmla="*/ 107 h 266"/>
                <a:gd name="T32" fmla="*/ 50 w 369"/>
                <a:gd name="T33" fmla="*/ 108 h 266"/>
                <a:gd name="T34" fmla="*/ 49 w 369"/>
                <a:gd name="T35" fmla="*/ 109 h 266"/>
                <a:gd name="T36" fmla="*/ 42 w 369"/>
                <a:gd name="T37" fmla="*/ 131 h 266"/>
                <a:gd name="T38" fmla="*/ 26 w 369"/>
                <a:gd name="T39" fmla="*/ 154 h 266"/>
                <a:gd name="T40" fmla="*/ 6 w 369"/>
                <a:gd name="T41" fmla="*/ 161 h 266"/>
                <a:gd name="T42" fmla="*/ 2 w 369"/>
                <a:gd name="T43" fmla="*/ 161 h 266"/>
                <a:gd name="T44" fmla="*/ 1 w 369"/>
                <a:gd name="T45" fmla="*/ 161 h 266"/>
                <a:gd name="T46" fmla="*/ 0 w 369"/>
                <a:gd name="T47" fmla="*/ 161 h 266"/>
                <a:gd name="T48" fmla="*/ 0 w 369"/>
                <a:gd name="T49" fmla="*/ 161 h 266"/>
                <a:gd name="T50" fmla="*/ 14 w 369"/>
                <a:gd name="T51" fmla="*/ 169 h 266"/>
                <a:gd name="T52" fmla="*/ 28 w 369"/>
                <a:gd name="T53" fmla="*/ 190 h 266"/>
                <a:gd name="T54" fmla="*/ 52 w 369"/>
                <a:gd name="T55" fmla="*/ 201 h 266"/>
                <a:gd name="T56" fmla="*/ 64 w 369"/>
                <a:gd name="T57" fmla="*/ 216 h 266"/>
                <a:gd name="T58" fmla="*/ 69 w 369"/>
                <a:gd name="T59" fmla="*/ 229 h 266"/>
                <a:gd name="T60" fmla="*/ 90 w 369"/>
                <a:gd name="T61" fmla="*/ 232 h 266"/>
                <a:gd name="T62" fmla="*/ 113 w 369"/>
                <a:gd name="T63" fmla="*/ 227 h 266"/>
                <a:gd name="T64" fmla="*/ 107 w 369"/>
                <a:gd name="T65" fmla="*/ 240 h 266"/>
                <a:gd name="T66" fmla="*/ 128 w 369"/>
                <a:gd name="T67" fmla="*/ 250 h 266"/>
                <a:gd name="T68" fmla="*/ 241 w 369"/>
                <a:gd name="T69" fmla="*/ 249 h 266"/>
                <a:gd name="T70" fmla="*/ 346 w 369"/>
                <a:gd name="T71" fmla="*/ 215 h 266"/>
                <a:gd name="T72" fmla="*/ 361 w 369"/>
                <a:gd name="T73" fmla="*/ 123 h 266"/>
                <a:gd name="T74" fmla="*/ 350 w 369"/>
                <a:gd name="T75" fmla="*/ 120 h 266"/>
                <a:gd name="T76" fmla="*/ 302 w 369"/>
                <a:gd name="T77" fmla="*/ 127 h 266"/>
                <a:gd name="T78" fmla="*/ 300 w 369"/>
                <a:gd name="T79" fmla="*/ 118 h 266"/>
                <a:gd name="T80" fmla="*/ 293 w 369"/>
                <a:gd name="T81" fmla="*/ 101 h 266"/>
                <a:gd name="T82" fmla="*/ 293 w 369"/>
                <a:gd name="T83" fmla="*/ 88 h 266"/>
                <a:gd name="T84" fmla="*/ 290 w 369"/>
                <a:gd name="T85" fmla="*/ 74 h 266"/>
                <a:gd name="T86" fmla="*/ 280 w 369"/>
                <a:gd name="T87" fmla="*/ 57 h 266"/>
                <a:gd name="T88" fmla="*/ 264 w 369"/>
                <a:gd name="T89" fmla="*/ 44 h 266"/>
                <a:gd name="T90" fmla="*/ 251 w 369"/>
                <a:gd name="T91" fmla="*/ 33 h 266"/>
                <a:gd name="T92" fmla="*/ 242 w 369"/>
                <a:gd name="T93" fmla="*/ 26 h 266"/>
                <a:gd name="T94" fmla="*/ 237 w 369"/>
                <a:gd name="T95" fmla="*/ 17 h 266"/>
                <a:gd name="T96" fmla="*/ 232 w 369"/>
                <a:gd name="T97" fmla="*/ 11 h 266"/>
                <a:gd name="T98" fmla="*/ 224 w 369"/>
                <a:gd name="T99" fmla="*/ 5 h 266"/>
                <a:gd name="T100" fmla="*/ 217 w 369"/>
                <a:gd name="T101" fmla="*/ 1 h 266"/>
                <a:gd name="T102" fmla="*/ 199 w 369"/>
                <a:gd name="T103" fmla="*/ 7 h 266"/>
                <a:gd name="T104" fmla="*/ 150 w 369"/>
                <a:gd name="T105" fmla="*/ 40 h 266"/>
                <a:gd name="T106" fmla="*/ 110 w 369"/>
                <a:gd name="T107" fmla="*/ 38 h 266"/>
                <a:gd name="T108" fmla="*/ 85 w 369"/>
                <a:gd name="T109" fmla="*/ 50 h 266"/>
                <a:gd name="T110" fmla="*/ 81 w 369"/>
                <a:gd name="T111" fmla="*/ 54 h 266"/>
                <a:gd name="T112" fmla="*/ 81 w 369"/>
                <a:gd name="T113" fmla="*/ 54 h 266"/>
                <a:gd name="T114" fmla="*/ 77 w 369"/>
                <a:gd name="T115" fmla="*/ 56 h 266"/>
                <a:gd name="T116" fmla="*/ 77 w 369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9" h="266">
                  <a:moveTo>
                    <a:pt x="69" y="61"/>
                  </a:moveTo>
                  <a:cubicBezTo>
                    <a:pt x="69" y="61"/>
                    <a:pt x="69" y="61"/>
                    <a:pt x="69" y="6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9" y="82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9"/>
                    <a:pt x="50" y="109"/>
                    <a:pt x="49" y="109"/>
                  </a:cubicBezTo>
                  <a:cubicBezTo>
                    <a:pt x="47" y="110"/>
                    <a:pt x="46" y="112"/>
                    <a:pt x="46" y="112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2" y="131"/>
                    <a:pt x="42" y="131"/>
                    <a:pt x="42" y="131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39" y="143"/>
                    <a:pt x="39" y="143"/>
                    <a:pt x="39" y="143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29" y="155"/>
                    <a:pt x="29" y="155"/>
                    <a:pt x="29" y="155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3" y="157"/>
                    <a:pt x="21" y="159"/>
                  </a:cubicBezTo>
                  <a:cubicBezTo>
                    <a:pt x="19" y="160"/>
                    <a:pt x="15" y="161"/>
                    <a:pt x="15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5" y="160"/>
                    <a:pt x="4" y="161"/>
                  </a:cubicBezTo>
                  <a:cubicBezTo>
                    <a:pt x="4" y="161"/>
                    <a:pt x="3" y="161"/>
                    <a:pt x="3" y="161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1" y="162"/>
                    <a:pt x="2" y="162"/>
                  </a:cubicBezTo>
                  <a:cubicBezTo>
                    <a:pt x="4" y="163"/>
                    <a:pt x="5" y="166"/>
                    <a:pt x="6" y="166"/>
                  </a:cubicBezTo>
                  <a:cubicBezTo>
                    <a:pt x="8" y="167"/>
                    <a:pt x="10" y="167"/>
                    <a:pt x="11" y="167"/>
                  </a:cubicBezTo>
                  <a:cubicBezTo>
                    <a:pt x="12" y="168"/>
                    <a:pt x="14" y="169"/>
                    <a:pt x="14" y="169"/>
                  </a:cubicBezTo>
                  <a:cubicBezTo>
                    <a:pt x="14" y="169"/>
                    <a:pt x="19" y="174"/>
                    <a:pt x="20" y="174"/>
                  </a:cubicBezTo>
                  <a:cubicBezTo>
                    <a:pt x="21" y="174"/>
                    <a:pt x="21" y="174"/>
                    <a:pt x="22" y="176"/>
                  </a:cubicBezTo>
                  <a:cubicBezTo>
                    <a:pt x="23" y="177"/>
                    <a:pt x="26" y="176"/>
                    <a:pt x="26" y="176"/>
                  </a:cubicBezTo>
                  <a:cubicBezTo>
                    <a:pt x="26" y="176"/>
                    <a:pt x="27" y="179"/>
                    <a:pt x="26" y="180"/>
                  </a:cubicBezTo>
                  <a:cubicBezTo>
                    <a:pt x="26" y="181"/>
                    <a:pt x="26" y="184"/>
                    <a:pt x="26" y="184"/>
                  </a:cubicBezTo>
                  <a:cubicBezTo>
                    <a:pt x="26" y="184"/>
                    <a:pt x="26" y="185"/>
                    <a:pt x="26" y="186"/>
                  </a:cubicBezTo>
                  <a:cubicBezTo>
                    <a:pt x="27" y="188"/>
                    <a:pt x="28" y="188"/>
                    <a:pt x="28" y="190"/>
                  </a:cubicBezTo>
                  <a:cubicBezTo>
                    <a:pt x="29" y="191"/>
                    <a:pt x="28" y="191"/>
                    <a:pt x="29" y="192"/>
                  </a:cubicBezTo>
                  <a:cubicBezTo>
                    <a:pt x="30" y="193"/>
                    <a:pt x="31" y="195"/>
                    <a:pt x="32" y="195"/>
                  </a:cubicBezTo>
                  <a:cubicBezTo>
                    <a:pt x="33" y="195"/>
                    <a:pt x="34" y="195"/>
                    <a:pt x="37" y="196"/>
                  </a:cubicBezTo>
                  <a:cubicBezTo>
                    <a:pt x="40" y="198"/>
                    <a:pt x="41" y="198"/>
                    <a:pt x="42" y="199"/>
                  </a:cubicBezTo>
                  <a:cubicBezTo>
                    <a:pt x="44" y="200"/>
                    <a:pt x="43" y="199"/>
                    <a:pt x="46" y="200"/>
                  </a:cubicBezTo>
                  <a:cubicBezTo>
                    <a:pt x="50" y="201"/>
                    <a:pt x="49" y="200"/>
                    <a:pt x="50" y="201"/>
                  </a:cubicBezTo>
                  <a:cubicBezTo>
                    <a:pt x="51" y="201"/>
                    <a:pt x="50" y="200"/>
                    <a:pt x="52" y="201"/>
                  </a:cubicBezTo>
                  <a:cubicBezTo>
                    <a:pt x="55" y="201"/>
                    <a:pt x="57" y="202"/>
                    <a:pt x="57" y="202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5" y="208"/>
                    <a:pt x="55" y="208"/>
                    <a:pt x="55" y="208"/>
                  </a:cubicBezTo>
                  <a:cubicBezTo>
                    <a:pt x="55" y="211"/>
                    <a:pt x="55" y="211"/>
                    <a:pt x="55" y="211"/>
                  </a:cubicBezTo>
                  <a:cubicBezTo>
                    <a:pt x="55" y="211"/>
                    <a:pt x="53" y="211"/>
                    <a:pt x="55" y="212"/>
                  </a:cubicBezTo>
                  <a:cubicBezTo>
                    <a:pt x="57" y="213"/>
                    <a:pt x="61" y="214"/>
                    <a:pt x="61" y="214"/>
                  </a:cubicBezTo>
                  <a:cubicBezTo>
                    <a:pt x="64" y="216"/>
                    <a:pt x="64" y="216"/>
                    <a:pt x="64" y="216"/>
                  </a:cubicBezTo>
                  <a:cubicBezTo>
                    <a:pt x="64" y="216"/>
                    <a:pt x="62" y="219"/>
                    <a:pt x="61" y="220"/>
                  </a:cubicBezTo>
                  <a:cubicBezTo>
                    <a:pt x="60" y="220"/>
                    <a:pt x="57" y="220"/>
                    <a:pt x="57" y="220"/>
                  </a:cubicBezTo>
                  <a:cubicBezTo>
                    <a:pt x="57" y="220"/>
                    <a:pt x="56" y="223"/>
                    <a:pt x="58" y="223"/>
                  </a:cubicBezTo>
                  <a:cubicBezTo>
                    <a:pt x="59" y="224"/>
                    <a:pt x="61" y="224"/>
                    <a:pt x="62" y="224"/>
                  </a:cubicBezTo>
                  <a:cubicBezTo>
                    <a:pt x="63" y="224"/>
                    <a:pt x="65" y="225"/>
                    <a:pt x="65" y="225"/>
                  </a:cubicBezTo>
                  <a:cubicBezTo>
                    <a:pt x="65" y="225"/>
                    <a:pt x="66" y="225"/>
                    <a:pt x="67" y="226"/>
                  </a:cubicBezTo>
                  <a:cubicBezTo>
                    <a:pt x="67" y="228"/>
                    <a:pt x="68" y="229"/>
                    <a:pt x="69" y="229"/>
                  </a:cubicBezTo>
                  <a:cubicBezTo>
                    <a:pt x="70" y="229"/>
                    <a:pt x="72" y="229"/>
                    <a:pt x="73" y="229"/>
                  </a:cubicBezTo>
                  <a:cubicBezTo>
                    <a:pt x="74" y="229"/>
                    <a:pt x="74" y="228"/>
                    <a:pt x="75" y="228"/>
                  </a:cubicBezTo>
                  <a:cubicBezTo>
                    <a:pt x="76" y="229"/>
                    <a:pt x="82" y="228"/>
                    <a:pt x="82" y="228"/>
                  </a:cubicBezTo>
                  <a:cubicBezTo>
                    <a:pt x="82" y="228"/>
                    <a:pt x="82" y="228"/>
                    <a:pt x="83" y="230"/>
                  </a:cubicBezTo>
                  <a:cubicBezTo>
                    <a:pt x="85" y="233"/>
                    <a:pt x="88" y="234"/>
                    <a:pt x="88" y="234"/>
                  </a:cubicBezTo>
                  <a:cubicBezTo>
                    <a:pt x="88" y="234"/>
                    <a:pt x="89" y="235"/>
                    <a:pt x="89" y="234"/>
                  </a:cubicBezTo>
                  <a:cubicBezTo>
                    <a:pt x="89" y="233"/>
                    <a:pt x="90" y="232"/>
                    <a:pt x="90" y="232"/>
                  </a:cubicBezTo>
                  <a:cubicBezTo>
                    <a:pt x="90" y="232"/>
                    <a:pt x="92" y="229"/>
                    <a:pt x="92" y="228"/>
                  </a:cubicBezTo>
                  <a:cubicBezTo>
                    <a:pt x="93" y="227"/>
                    <a:pt x="94" y="224"/>
                    <a:pt x="95" y="224"/>
                  </a:cubicBezTo>
                  <a:cubicBezTo>
                    <a:pt x="96" y="223"/>
                    <a:pt x="99" y="221"/>
                    <a:pt x="99" y="221"/>
                  </a:cubicBezTo>
                  <a:cubicBezTo>
                    <a:pt x="99" y="221"/>
                    <a:pt x="99" y="220"/>
                    <a:pt x="101" y="221"/>
                  </a:cubicBezTo>
                  <a:cubicBezTo>
                    <a:pt x="102" y="223"/>
                    <a:pt x="105" y="225"/>
                    <a:pt x="105" y="225"/>
                  </a:cubicBezTo>
                  <a:cubicBezTo>
                    <a:pt x="110" y="225"/>
                    <a:pt x="110" y="225"/>
                    <a:pt x="110" y="225"/>
                  </a:cubicBezTo>
                  <a:cubicBezTo>
                    <a:pt x="110" y="225"/>
                    <a:pt x="113" y="226"/>
                    <a:pt x="113" y="227"/>
                  </a:cubicBezTo>
                  <a:cubicBezTo>
                    <a:pt x="113" y="228"/>
                    <a:pt x="112" y="228"/>
                    <a:pt x="110" y="229"/>
                  </a:cubicBezTo>
                  <a:cubicBezTo>
                    <a:pt x="109" y="229"/>
                    <a:pt x="106" y="226"/>
                    <a:pt x="106" y="227"/>
                  </a:cubicBezTo>
                  <a:cubicBezTo>
                    <a:pt x="105" y="228"/>
                    <a:pt x="105" y="230"/>
                    <a:pt x="105" y="230"/>
                  </a:cubicBezTo>
                  <a:cubicBezTo>
                    <a:pt x="101" y="232"/>
                    <a:pt x="101" y="232"/>
                    <a:pt x="101" y="232"/>
                  </a:cubicBezTo>
                  <a:cubicBezTo>
                    <a:pt x="102" y="234"/>
                    <a:pt x="102" y="234"/>
                    <a:pt x="102" y="234"/>
                  </a:cubicBezTo>
                  <a:cubicBezTo>
                    <a:pt x="102" y="234"/>
                    <a:pt x="107" y="236"/>
                    <a:pt x="107" y="237"/>
                  </a:cubicBezTo>
                  <a:cubicBezTo>
                    <a:pt x="107" y="238"/>
                    <a:pt x="107" y="240"/>
                    <a:pt x="107" y="240"/>
                  </a:cubicBezTo>
                  <a:cubicBezTo>
                    <a:pt x="110" y="241"/>
                    <a:pt x="110" y="241"/>
                    <a:pt x="110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9" y="246"/>
                    <a:pt x="125" y="250"/>
                    <a:pt x="128" y="250"/>
                  </a:cubicBezTo>
                  <a:cubicBezTo>
                    <a:pt x="134" y="251"/>
                    <a:pt x="121" y="258"/>
                    <a:pt x="123" y="258"/>
                  </a:cubicBezTo>
                  <a:cubicBezTo>
                    <a:pt x="125" y="257"/>
                    <a:pt x="123" y="263"/>
                    <a:pt x="126" y="264"/>
                  </a:cubicBezTo>
                  <a:cubicBezTo>
                    <a:pt x="131" y="265"/>
                    <a:pt x="135" y="261"/>
                    <a:pt x="141" y="261"/>
                  </a:cubicBezTo>
                  <a:cubicBezTo>
                    <a:pt x="146" y="260"/>
                    <a:pt x="152" y="263"/>
                    <a:pt x="154" y="261"/>
                  </a:cubicBezTo>
                  <a:cubicBezTo>
                    <a:pt x="158" y="256"/>
                    <a:pt x="174" y="266"/>
                    <a:pt x="182" y="261"/>
                  </a:cubicBezTo>
                  <a:cubicBezTo>
                    <a:pt x="187" y="257"/>
                    <a:pt x="207" y="255"/>
                    <a:pt x="214" y="255"/>
                  </a:cubicBezTo>
                  <a:cubicBezTo>
                    <a:pt x="232" y="254"/>
                    <a:pt x="233" y="254"/>
                    <a:pt x="241" y="249"/>
                  </a:cubicBezTo>
                  <a:cubicBezTo>
                    <a:pt x="241" y="249"/>
                    <a:pt x="246" y="238"/>
                    <a:pt x="249" y="233"/>
                  </a:cubicBezTo>
                  <a:cubicBezTo>
                    <a:pt x="251" y="229"/>
                    <a:pt x="257" y="227"/>
                    <a:pt x="263" y="223"/>
                  </a:cubicBezTo>
                  <a:cubicBezTo>
                    <a:pt x="268" y="219"/>
                    <a:pt x="281" y="215"/>
                    <a:pt x="284" y="214"/>
                  </a:cubicBezTo>
                  <a:cubicBezTo>
                    <a:pt x="287" y="214"/>
                    <a:pt x="308" y="215"/>
                    <a:pt x="308" y="215"/>
                  </a:cubicBezTo>
                  <a:cubicBezTo>
                    <a:pt x="319" y="212"/>
                    <a:pt x="319" y="212"/>
                    <a:pt x="319" y="212"/>
                  </a:cubicBezTo>
                  <a:cubicBezTo>
                    <a:pt x="319" y="212"/>
                    <a:pt x="321" y="220"/>
                    <a:pt x="324" y="221"/>
                  </a:cubicBezTo>
                  <a:cubicBezTo>
                    <a:pt x="337" y="223"/>
                    <a:pt x="345" y="222"/>
                    <a:pt x="346" y="215"/>
                  </a:cubicBezTo>
                  <a:cubicBezTo>
                    <a:pt x="347" y="210"/>
                    <a:pt x="342" y="201"/>
                    <a:pt x="341" y="194"/>
                  </a:cubicBezTo>
                  <a:cubicBezTo>
                    <a:pt x="340" y="186"/>
                    <a:pt x="344" y="178"/>
                    <a:pt x="344" y="171"/>
                  </a:cubicBezTo>
                  <a:cubicBezTo>
                    <a:pt x="344" y="170"/>
                    <a:pt x="342" y="168"/>
                    <a:pt x="348" y="160"/>
                  </a:cubicBezTo>
                  <a:cubicBezTo>
                    <a:pt x="353" y="152"/>
                    <a:pt x="367" y="156"/>
                    <a:pt x="369" y="151"/>
                  </a:cubicBezTo>
                  <a:cubicBezTo>
                    <a:pt x="363" y="123"/>
                    <a:pt x="363" y="123"/>
                    <a:pt x="363" y="123"/>
                  </a:cubicBezTo>
                  <a:cubicBezTo>
                    <a:pt x="362" y="123"/>
                    <a:pt x="362" y="123"/>
                    <a:pt x="362" y="123"/>
                  </a:cubicBezTo>
                  <a:cubicBezTo>
                    <a:pt x="361" y="123"/>
                    <a:pt x="361" y="123"/>
                    <a:pt x="361" y="123"/>
                  </a:cubicBezTo>
                  <a:cubicBezTo>
                    <a:pt x="359" y="122"/>
                    <a:pt x="359" y="122"/>
                    <a:pt x="359" y="122"/>
                  </a:cubicBezTo>
                  <a:cubicBezTo>
                    <a:pt x="357" y="122"/>
                    <a:pt x="357" y="122"/>
                    <a:pt x="357" y="122"/>
                  </a:cubicBezTo>
                  <a:cubicBezTo>
                    <a:pt x="355" y="121"/>
                    <a:pt x="355" y="121"/>
                    <a:pt x="355" y="121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0" y="120"/>
                    <a:pt x="350" y="120"/>
                    <a:pt x="350" y="120"/>
                  </a:cubicBezTo>
                  <a:cubicBezTo>
                    <a:pt x="343" y="119"/>
                    <a:pt x="334" y="135"/>
                    <a:pt x="334" y="135"/>
                  </a:cubicBezTo>
                  <a:cubicBezTo>
                    <a:pt x="330" y="142"/>
                    <a:pt x="330" y="142"/>
                    <a:pt x="330" y="142"/>
                  </a:cubicBezTo>
                  <a:cubicBezTo>
                    <a:pt x="320" y="140"/>
                    <a:pt x="310" y="139"/>
                    <a:pt x="303" y="131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2" y="127"/>
                    <a:pt x="302" y="127"/>
                    <a:pt x="302" y="127"/>
                  </a:cubicBezTo>
                  <a:cubicBezTo>
                    <a:pt x="302" y="127"/>
                    <a:pt x="301" y="127"/>
                    <a:pt x="301" y="127"/>
                  </a:cubicBezTo>
                  <a:cubicBezTo>
                    <a:pt x="300" y="127"/>
                    <a:pt x="299" y="126"/>
                    <a:pt x="299" y="126"/>
                  </a:cubicBezTo>
                  <a:cubicBezTo>
                    <a:pt x="300" y="124"/>
                    <a:pt x="300" y="124"/>
                    <a:pt x="300" y="124"/>
                  </a:cubicBezTo>
                  <a:cubicBezTo>
                    <a:pt x="300" y="124"/>
                    <a:pt x="301" y="123"/>
                    <a:pt x="301" y="123"/>
                  </a:cubicBezTo>
                  <a:cubicBezTo>
                    <a:pt x="302" y="123"/>
                    <a:pt x="301" y="123"/>
                    <a:pt x="301" y="122"/>
                  </a:cubicBezTo>
                  <a:cubicBezTo>
                    <a:pt x="301" y="122"/>
                    <a:pt x="301" y="120"/>
                    <a:pt x="301" y="119"/>
                  </a:cubicBezTo>
                  <a:cubicBezTo>
                    <a:pt x="300" y="118"/>
                    <a:pt x="300" y="118"/>
                    <a:pt x="300" y="118"/>
                  </a:cubicBezTo>
                  <a:cubicBezTo>
                    <a:pt x="300" y="118"/>
                    <a:pt x="299" y="116"/>
                    <a:pt x="298" y="115"/>
                  </a:cubicBezTo>
                  <a:cubicBezTo>
                    <a:pt x="297" y="115"/>
                    <a:pt x="298" y="114"/>
                    <a:pt x="298" y="114"/>
                  </a:cubicBezTo>
                  <a:cubicBezTo>
                    <a:pt x="297" y="113"/>
                    <a:pt x="298" y="113"/>
                    <a:pt x="298" y="112"/>
                  </a:cubicBezTo>
                  <a:cubicBezTo>
                    <a:pt x="298" y="112"/>
                    <a:pt x="297" y="110"/>
                    <a:pt x="297" y="110"/>
                  </a:cubicBezTo>
                  <a:cubicBezTo>
                    <a:pt x="297" y="110"/>
                    <a:pt x="295" y="107"/>
                    <a:pt x="294" y="105"/>
                  </a:cubicBezTo>
                  <a:cubicBezTo>
                    <a:pt x="294" y="104"/>
                    <a:pt x="294" y="103"/>
                    <a:pt x="294" y="103"/>
                  </a:cubicBezTo>
                  <a:cubicBezTo>
                    <a:pt x="295" y="102"/>
                    <a:pt x="293" y="101"/>
                    <a:pt x="293" y="101"/>
                  </a:cubicBezTo>
                  <a:cubicBezTo>
                    <a:pt x="293" y="101"/>
                    <a:pt x="293" y="99"/>
                    <a:pt x="293" y="99"/>
                  </a:cubicBezTo>
                  <a:cubicBezTo>
                    <a:pt x="293" y="99"/>
                    <a:pt x="293" y="97"/>
                    <a:pt x="293" y="97"/>
                  </a:cubicBezTo>
                  <a:cubicBezTo>
                    <a:pt x="294" y="96"/>
                    <a:pt x="293" y="95"/>
                    <a:pt x="293" y="94"/>
                  </a:cubicBezTo>
                  <a:cubicBezTo>
                    <a:pt x="293" y="94"/>
                    <a:pt x="291" y="93"/>
                    <a:pt x="291" y="93"/>
                  </a:cubicBezTo>
                  <a:cubicBezTo>
                    <a:pt x="292" y="91"/>
                    <a:pt x="292" y="91"/>
                    <a:pt x="292" y="91"/>
                  </a:cubicBezTo>
                  <a:cubicBezTo>
                    <a:pt x="292" y="90"/>
                    <a:pt x="292" y="90"/>
                    <a:pt x="292" y="90"/>
                  </a:cubicBezTo>
                  <a:cubicBezTo>
                    <a:pt x="292" y="90"/>
                    <a:pt x="293" y="88"/>
                    <a:pt x="293" y="88"/>
                  </a:cubicBezTo>
                  <a:cubicBezTo>
                    <a:pt x="294" y="87"/>
                    <a:pt x="293" y="86"/>
                    <a:pt x="292" y="86"/>
                  </a:cubicBezTo>
                  <a:cubicBezTo>
                    <a:pt x="291" y="86"/>
                    <a:pt x="292" y="85"/>
                    <a:pt x="292" y="85"/>
                  </a:cubicBezTo>
                  <a:cubicBezTo>
                    <a:pt x="293" y="83"/>
                    <a:pt x="293" y="83"/>
                    <a:pt x="293" y="83"/>
                  </a:cubicBezTo>
                  <a:cubicBezTo>
                    <a:pt x="292" y="80"/>
                    <a:pt x="292" y="80"/>
                    <a:pt x="292" y="80"/>
                  </a:cubicBezTo>
                  <a:cubicBezTo>
                    <a:pt x="292" y="79"/>
                    <a:pt x="292" y="79"/>
                    <a:pt x="292" y="79"/>
                  </a:cubicBezTo>
                  <a:cubicBezTo>
                    <a:pt x="292" y="79"/>
                    <a:pt x="291" y="77"/>
                    <a:pt x="291" y="77"/>
                  </a:cubicBezTo>
                  <a:cubicBezTo>
                    <a:pt x="291" y="76"/>
                    <a:pt x="290" y="74"/>
                    <a:pt x="290" y="74"/>
                  </a:cubicBezTo>
                  <a:cubicBezTo>
                    <a:pt x="290" y="74"/>
                    <a:pt x="290" y="73"/>
                    <a:pt x="290" y="73"/>
                  </a:cubicBezTo>
                  <a:cubicBezTo>
                    <a:pt x="290" y="72"/>
                    <a:pt x="290" y="72"/>
                    <a:pt x="290" y="72"/>
                  </a:cubicBezTo>
                  <a:cubicBezTo>
                    <a:pt x="290" y="71"/>
                    <a:pt x="289" y="70"/>
                    <a:pt x="288" y="69"/>
                  </a:cubicBezTo>
                  <a:cubicBezTo>
                    <a:pt x="287" y="67"/>
                    <a:pt x="287" y="67"/>
                    <a:pt x="287" y="67"/>
                  </a:cubicBezTo>
                  <a:cubicBezTo>
                    <a:pt x="287" y="67"/>
                    <a:pt x="285" y="65"/>
                    <a:pt x="284" y="64"/>
                  </a:cubicBezTo>
                  <a:cubicBezTo>
                    <a:pt x="284" y="62"/>
                    <a:pt x="284" y="62"/>
                    <a:pt x="283" y="61"/>
                  </a:cubicBezTo>
                  <a:cubicBezTo>
                    <a:pt x="283" y="59"/>
                    <a:pt x="281" y="57"/>
                    <a:pt x="280" y="57"/>
                  </a:cubicBezTo>
                  <a:cubicBezTo>
                    <a:pt x="280" y="57"/>
                    <a:pt x="279" y="54"/>
                    <a:pt x="279" y="53"/>
                  </a:cubicBezTo>
                  <a:cubicBezTo>
                    <a:pt x="278" y="53"/>
                    <a:pt x="276" y="52"/>
                    <a:pt x="276" y="52"/>
                  </a:cubicBezTo>
                  <a:cubicBezTo>
                    <a:pt x="275" y="52"/>
                    <a:pt x="273" y="51"/>
                    <a:pt x="273" y="51"/>
                  </a:cubicBezTo>
                  <a:cubicBezTo>
                    <a:pt x="270" y="50"/>
                    <a:pt x="270" y="50"/>
                    <a:pt x="270" y="50"/>
                  </a:cubicBezTo>
                  <a:cubicBezTo>
                    <a:pt x="267" y="47"/>
                    <a:pt x="267" y="47"/>
                    <a:pt x="267" y="47"/>
                  </a:cubicBezTo>
                  <a:cubicBezTo>
                    <a:pt x="267" y="47"/>
                    <a:pt x="266" y="47"/>
                    <a:pt x="265" y="46"/>
                  </a:cubicBezTo>
                  <a:cubicBezTo>
                    <a:pt x="265" y="46"/>
                    <a:pt x="264" y="44"/>
                    <a:pt x="264" y="44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6" y="38"/>
                    <a:pt x="256" y="38"/>
                  </a:cubicBezTo>
                  <a:cubicBezTo>
                    <a:pt x="256" y="37"/>
                    <a:pt x="255" y="37"/>
                    <a:pt x="255" y="36"/>
                  </a:cubicBezTo>
                  <a:cubicBezTo>
                    <a:pt x="255" y="35"/>
                    <a:pt x="254" y="35"/>
                    <a:pt x="254" y="34"/>
                  </a:cubicBezTo>
                  <a:cubicBezTo>
                    <a:pt x="254" y="33"/>
                    <a:pt x="253" y="33"/>
                    <a:pt x="253" y="33"/>
                  </a:cubicBezTo>
                  <a:cubicBezTo>
                    <a:pt x="252" y="33"/>
                    <a:pt x="251" y="33"/>
                    <a:pt x="251" y="33"/>
                  </a:cubicBezTo>
                  <a:cubicBezTo>
                    <a:pt x="251" y="33"/>
                    <a:pt x="250" y="32"/>
                    <a:pt x="250" y="32"/>
                  </a:cubicBezTo>
                  <a:cubicBezTo>
                    <a:pt x="250" y="32"/>
                    <a:pt x="248" y="30"/>
                    <a:pt x="247" y="30"/>
                  </a:cubicBezTo>
                  <a:cubicBezTo>
                    <a:pt x="247" y="29"/>
                    <a:pt x="247" y="29"/>
                    <a:pt x="247" y="29"/>
                  </a:cubicBezTo>
                  <a:cubicBezTo>
                    <a:pt x="247" y="29"/>
                    <a:pt x="247" y="29"/>
                    <a:pt x="246" y="29"/>
                  </a:cubicBezTo>
                  <a:cubicBezTo>
                    <a:pt x="245" y="29"/>
                    <a:pt x="245" y="29"/>
                    <a:pt x="245" y="28"/>
                  </a:cubicBezTo>
                  <a:cubicBezTo>
                    <a:pt x="244" y="28"/>
                    <a:pt x="244" y="26"/>
                    <a:pt x="243" y="26"/>
                  </a:cubicBezTo>
                  <a:cubicBezTo>
                    <a:pt x="243" y="26"/>
                    <a:pt x="243" y="26"/>
                    <a:pt x="242" y="26"/>
                  </a:cubicBezTo>
                  <a:cubicBezTo>
                    <a:pt x="241" y="26"/>
                    <a:pt x="240" y="24"/>
                    <a:pt x="240" y="24"/>
                  </a:cubicBezTo>
                  <a:cubicBezTo>
                    <a:pt x="239" y="24"/>
                    <a:pt x="240" y="23"/>
                    <a:pt x="240" y="22"/>
                  </a:cubicBezTo>
                  <a:cubicBezTo>
                    <a:pt x="240" y="21"/>
                    <a:pt x="239" y="21"/>
                    <a:pt x="239" y="21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39" y="21"/>
                    <a:pt x="238" y="21"/>
                    <a:pt x="238" y="20"/>
                  </a:cubicBezTo>
                  <a:cubicBezTo>
                    <a:pt x="238" y="20"/>
                    <a:pt x="237" y="19"/>
                    <a:pt x="237" y="1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237" y="17"/>
                    <a:pt x="236" y="16"/>
                    <a:pt x="236" y="16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3" y="14"/>
                    <a:pt x="233" y="13"/>
                    <a:pt x="233" y="12"/>
                  </a:cubicBezTo>
                  <a:cubicBezTo>
                    <a:pt x="233" y="12"/>
                    <a:pt x="233" y="12"/>
                    <a:pt x="233" y="12"/>
                  </a:cubicBezTo>
                  <a:cubicBezTo>
                    <a:pt x="232" y="11"/>
                    <a:pt x="232" y="11"/>
                    <a:pt x="232" y="11"/>
                  </a:cubicBezTo>
                  <a:cubicBezTo>
                    <a:pt x="231" y="10"/>
                    <a:pt x="231" y="10"/>
                    <a:pt x="231" y="10"/>
                  </a:cubicBezTo>
                  <a:cubicBezTo>
                    <a:pt x="230" y="9"/>
                    <a:pt x="230" y="9"/>
                    <a:pt x="230" y="9"/>
                  </a:cubicBezTo>
                  <a:cubicBezTo>
                    <a:pt x="230" y="9"/>
                    <a:pt x="229" y="8"/>
                    <a:pt x="229" y="8"/>
                  </a:cubicBezTo>
                  <a:cubicBezTo>
                    <a:pt x="228" y="7"/>
                    <a:pt x="227" y="6"/>
                    <a:pt x="227" y="6"/>
                  </a:cubicBezTo>
                  <a:cubicBezTo>
                    <a:pt x="227" y="6"/>
                    <a:pt x="227" y="5"/>
                    <a:pt x="227" y="5"/>
                  </a:cubicBezTo>
                  <a:cubicBezTo>
                    <a:pt x="227" y="5"/>
                    <a:pt x="226" y="5"/>
                    <a:pt x="226" y="5"/>
                  </a:cubicBezTo>
                  <a:cubicBezTo>
                    <a:pt x="224" y="5"/>
                    <a:pt x="224" y="5"/>
                    <a:pt x="224" y="5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4" y="3"/>
                    <a:pt x="223" y="3"/>
                  </a:cubicBezTo>
                  <a:cubicBezTo>
                    <a:pt x="222" y="3"/>
                    <a:pt x="222" y="2"/>
                    <a:pt x="222" y="2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7" y="1"/>
                    <a:pt x="217" y="1"/>
                  </a:cubicBezTo>
                  <a:cubicBezTo>
                    <a:pt x="217" y="0"/>
                    <a:pt x="216" y="0"/>
                    <a:pt x="216" y="0"/>
                  </a:cubicBezTo>
                  <a:cubicBezTo>
                    <a:pt x="215" y="1"/>
                    <a:pt x="215" y="1"/>
                    <a:pt x="215" y="1"/>
                  </a:cubicBezTo>
                  <a:cubicBezTo>
                    <a:pt x="213" y="1"/>
                    <a:pt x="213" y="1"/>
                    <a:pt x="213" y="1"/>
                  </a:cubicBezTo>
                  <a:cubicBezTo>
                    <a:pt x="212" y="1"/>
                    <a:pt x="212" y="1"/>
                    <a:pt x="212" y="1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8" y="1"/>
                    <a:pt x="207" y="1"/>
                    <a:pt x="207" y="1"/>
                  </a:cubicBezTo>
                  <a:cubicBezTo>
                    <a:pt x="204" y="2"/>
                    <a:pt x="199" y="5"/>
                    <a:pt x="199" y="7"/>
                  </a:cubicBezTo>
                  <a:cubicBezTo>
                    <a:pt x="198" y="9"/>
                    <a:pt x="199" y="14"/>
                    <a:pt x="197" y="15"/>
                  </a:cubicBezTo>
                  <a:cubicBezTo>
                    <a:pt x="194" y="15"/>
                    <a:pt x="191" y="20"/>
                    <a:pt x="190" y="20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74" y="28"/>
                    <a:pt x="170" y="28"/>
                  </a:cubicBezTo>
                  <a:cubicBezTo>
                    <a:pt x="166" y="29"/>
                    <a:pt x="163" y="32"/>
                    <a:pt x="163" y="32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02" y="39"/>
                    <a:pt x="100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5" y="38"/>
                    <a:pt x="93" y="36"/>
                    <a:pt x="93" y="36"/>
                  </a:cubicBezTo>
                  <a:cubicBezTo>
                    <a:pt x="93" y="36"/>
                    <a:pt x="89" y="37"/>
                    <a:pt x="88" y="38"/>
                  </a:cubicBezTo>
                  <a:cubicBezTo>
                    <a:pt x="87" y="39"/>
                    <a:pt x="83" y="44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0" y="55"/>
                    <a:pt x="79" y="55"/>
                  </a:cubicBezTo>
                  <a:cubicBezTo>
                    <a:pt x="79" y="56"/>
                    <a:pt x="78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9" y="61"/>
                    <a:pt x="69" y="61"/>
                    <a:pt x="69" y="61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0" name="Freeform 90"/>
            <p:cNvSpPr>
              <a:spLocks/>
            </p:cNvSpPr>
            <p:nvPr/>
          </p:nvSpPr>
          <p:spPr bwMode="auto">
            <a:xfrm>
              <a:off x="6015453" y="2278355"/>
              <a:ext cx="1400674" cy="943961"/>
            </a:xfrm>
            <a:custGeom>
              <a:avLst/>
              <a:gdLst>
                <a:gd name="T0" fmla="*/ 166 w 614"/>
                <a:gd name="T1" fmla="*/ 283 h 427"/>
                <a:gd name="T2" fmla="*/ 173 w 614"/>
                <a:gd name="T3" fmla="*/ 277 h 427"/>
                <a:gd name="T4" fmla="*/ 185 w 614"/>
                <a:gd name="T5" fmla="*/ 270 h 427"/>
                <a:gd name="T6" fmla="*/ 195 w 614"/>
                <a:gd name="T7" fmla="*/ 267 h 427"/>
                <a:gd name="T8" fmla="*/ 207 w 614"/>
                <a:gd name="T9" fmla="*/ 270 h 427"/>
                <a:gd name="T10" fmla="*/ 208 w 614"/>
                <a:gd name="T11" fmla="*/ 270 h 427"/>
                <a:gd name="T12" fmla="*/ 208 w 614"/>
                <a:gd name="T13" fmla="*/ 270 h 427"/>
                <a:gd name="T14" fmla="*/ 209 w 614"/>
                <a:gd name="T15" fmla="*/ 270 h 427"/>
                <a:gd name="T16" fmla="*/ 210 w 614"/>
                <a:gd name="T17" fmla="*/ 270 h 427"/>
                <a:gd name="T18" fmla="*/ 210 w 614"/>
                <a:gd name="T19" fmla="*/ 270 h 427"/>
                <a:gd name="T20" fmla="*/ 211 w 614"/>
                <a:gd name="T21" fmla="*/ 270 h 427"/>
                <a:gd name="T22" fmla="*/ 213 w 614"/>
                <a:gd name="T23" fmla="*/ 273 h 427"/>
                <a:gd name="T24" fmla="*/ 223 w 614"/>
                <a:gd name="T25" fmla="*/ 273 h 427"/>
                <a:gd name="T26" fmla="*/ 227 w 614"/>
                <a:gd name="T27" fmla="*/ 278 h 427"/>
                <a:gd name="T28" fmla="*/ 249 w 614"/>
                <a:gd name="T29" fmla="*/ 280 h 427"/>
                <a:gd name="T30" fmla="*/ 259 w 614"/>
                <a:gd name="T31" fmla="*/ 288 h 427"/>
                <a:gd name="T32" fmla="*/ 268 w 614"/>
                <a:gd name="T33" fmla="*/ 305 h 427"/>
                <a:gd name="T34" fmla="*/ 280 w 614"/>
                <a:gd name="T35" fmla="*/ 312 h 427"/>
                <a:gd name="T36" fmla="*/ 287 w 614"/>
                <a:gd name="T37" fmla="*/ 326 h 427"/>
                <a:gd name="T38" fmla="*/ 302 w 614"/>
                <a:gd name="T39" fmla="*/ 337 h 427"/>
                <a:gd name="T40" fmla="*/ 305 w 614"/>
                <a:gd name="T41" fmla="*/ 349 h 427"/>
                <a:gd name="T42" fmla="*/ 292 w 614"/>
                <a:gd name="T43" fmla="*/ 353 h 427"/>
                <a:gd name="T44" fmla="*/ 281 w 614"/>
                <a:gd name="T45" fmla="*/ 356 h 427"/>
                <a:gd name="T46" fmla="*/ 271 w 614"/>
                <a:gd name="T47" fmla="*/ 366 h 427"/>
                <a:gd name="T48" fmla="*/ 270 w 614"/>
                <a:gd name="T49" fmla="*/ 387 h 427"/>
                <a:gd name="T50" fmla="*/ 268 w 614"/>
                <a:gd name="T51" fmla="*/ 405 h 427"/>
                <a:gd name="T52" fmla="*/ 255 w 614"/>
                <a:gd name="T53" fmla="*/ 414 h 427"/>
                <a:gd name="T54" fmla="*/ 314 w 614"/>
                <a:gd name="T55" fmla="*/ 376 h 427"/>
                <a:gd name="T56" fmla="*/ 377 w 614"/>
                <a:gd name="T57" fmla="*/ 333 h 427"/>
                <a:gd name="T58" fmla="*/ 407 w 614"/>
                <a:gd name="T59" fmla="*/ 375 h 427"/>
                <a:gd name="T60" fmla="*/ 478 w 614"/>
                <a:gd name="T61" fmla="*/ 393 h 427"/>
                <a:gd name="T62" fmla="*/ 548 w 614"/>
                <a:gd name="T63" fmla="*/ 335 h 427"/>
                <a:gd name="T64" fmla="*/ 481 w 614"/>
                <a:gd name="T65" fmla="*/ 326 h 427"/>
                <a:gd name="T66" fmla="*/ 450 w 614"/>
                <a:gd name="T67" fmla="*/ 310 h 427"/>
                <a:gd name="T68" fmla="*/ 518 w 614"/>
                <a:gd name="T69" fmla="*/ 261 h 427"/>
                <a:gd name="T70" fmla="*/ 572 w 614"/>
                <a:gd name="T71" fmla="*/ 207 h 427"/>
                <a:gd name="T72" fmla="*/ 606 w 614"/>
                <a:gd name="T73" fmla="*/ 147 h 427"/>
                <a:gd name="T74" fmla="*/ 586 w 614"/>
                <a:gd name="T75" fmla="*/ 102 h 427"/>
                <a:gd name="T76" fmla="*/ 567 w 614"/>
                <a:gd name="T77" fmla="*/ 72 h 427"/>
                <a:gd name="T78" fmla="*/ 512 w 614"/>
                <a:gd name="T79" fmla="*/ 67 h 427"/>
                <a:gd name="T80" fmla="*/ 472 w 614"/>
                <a:gd name="T81" fmla="*/ 70 h 427"/>
                <a:gd name="T82" fmla="*/ 436 w 614"/>
                <a:gd name="T83" fmla="*/ 77 h 427"/>
                <a:gd name="T84" fmla="*/ 386 w 614"/>
                <a:gd name="T85" fmla="*/ 51 h 427"/>
                <a:gd name="T86" fmla="*/ 361 w 614"/>
                <a:gd name="T87" fmla="*/ 26 h 427"/>
                <a:gd name="T88" fmla="*/ 307 w 614"/>
                <a:gd name="T89" fmla="*/ 17 h 427"/>
                <a:gd name="T90" fmla="*/ 258 w 614"/>
                <a:gd name="T91" fmla="*/ 44 h 427"/>
                <a:gd name="T92" fmla="*/ 243 w 614"/>
                <a:gd name="T93" fmla="*/ 94 h 427"/>
                <a:gd name="T94" fmla="*/ 202 w 614"/>
                <a:gd name="T95" fmla="*/ 96 h 427"/>
                <a:gd name="T96" fmla="*/ 166 w 614"/>
                <a:gd name="T97" fmla="*/ 97 h 427"/>
                <a:gd name="T98" fmla="*/ 118 w 614"/>
                <a:gd name="T99" fmla="*/ 102 h 427"/>
                <a:gd name="T100" fmla="*/ 44 w 614"/>
                <a:gd name="T101" fmla="*/ 111 h 427"/>
                <a:gd name="T102" fmla="*/ 30 w 614"/>
                <a:gd name="T103" fmla="*/ 130 h 427"/>
                <a:gd name="T104" fmla="*/ 27 w 614"/>
                <a:gd name="T105" fmla="*/ 152 h 427"/>
                <a:gd name="T106" fmla="*/ 46 w 614"/>
                <a:gd name="T107" fmla="*/ 182 h 427"/>
                <a:gd name="T108" fmla="*/ 33 w 614"/>
                <a:gd name="T109" fmla="*/ 207 h 427"/>
                <a:gd name="T110" fmla="*/ 14 w 614"/>
                <a:gd name="T111" fmla="*/ 261 h 427"/>
                <a:gd name="T112" fmla="*/ 15 w 614"/>
                <a:gd name="T113" fmla="*/ 273 h 427"/>
                <a:gd name="T114" fmla="*/ 6 w 614"/>
                <a:gd name="T115" fmla="*/ 282 h 427"/>
                <a:gd name="T116" fmla="*/ 1 w 614"/>
                <a:gd name="T117" fmla="*/ 297 h 427"/>
                <a:gd name="T118" fmla="*/ 0 w 614"/>
                <a:gd name="T119" fmla="*/ 311 h 427"/>
                <a:gd name="T120" fmla="*/ 22 w 614"/>
                <a:gd name="T121" fmla="*/ 321 h 427"/>
                <a:gd name="T122" fmla="*/ 61 w 614"/>
                <a:gd name="T123" fmla="*/ 323 h 427"/>
                <a:gd name="T124" fmla="*/ 114 w 614"/>
                <a:gd name="T125" fmla="*/ 3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4" h="427">
                  <a:moveTo>
                    <a:pt x="141" y="305"/>
                  </a:moveTo>
                  <a:cubicBezTo>
                    <a:pt x="142" y="305"/>
                    <a:pt x="145" y="300"/>
                    <a:pt x="148" y="300"/>
                  </a:cubicBezTo>
                  <a:cubicBezTo>
                    <a:pt x="150" y="299"/>
                    <a:pt x="149" y="294"/>
                    <a:pt x="150" y="292"/>
                  </a:cubicBezTo>
                  <a:cubicBezTo>
                    <a:pt x="151" y="290"/>
                    <a:pt x="156" y="286"/>
                    <a:pt x="159" y="285"/>
                  </a:cubicBezTo>
                  <a:cubicBezTo>
                    <a:pt x="160" y="285"/>
                    <a:pt x="160" y="285"/>
                    <a:pt x="160" y="285"/>
                  </a:cubicBezTo>
                  <a:cubicBezTo>
                    <a:pt x="160" y="283"/>
                    <a:pt x="160" y="283"/>
                    <a:pt x="160" y="283"/>
                  </a:cubicBezTo>
                  <a:cubicBezTo>
                    <a:pt x="160" y="283"/>
                    <a:pt x="163" y="282"/>
                    <a:pt x="163" y="281"/>
                  </a:cubicBezTo>
                  <a:cubicBezTo>
                    <a:pt x="164" y="281"/>
                    <a:pt x="164" y="282"/>
                    <a:pt x="164" y="282"/>
                  </a:cubicBezTo>
                  <a:cubicBezTo>
                    <a:pt x="164" y="282"/>
                    <a:pt x="165" y="283"/>
                    <a:pt x="166" y="283"/>
                  </a:cubicBezTo>
                  <a:cubicBezTo>
                    <a:pt x="166" y="283"/>
                    <a:pt x="167" y="282"/>
                    <a:pt x="167" y="282"/>
                  </a:cubicBezTo>
                  <a:cubicBezTo>
                    <a:pt x="167" y="281"/>
                    <a:pt x="167" y="280"/>
                    <a:pt x="167" y="280"/>
                  </a:cubicBezTo>
                  <a:cubicBezTo>
                    <a:pt x="166" y="279"/>
                    <a:pt x="166" y="278"/>
                    <a:pt x="166" y="278"/>
                  </a:cubicBezTo>
                  <a:cubicBezTo>
                    <a:pt x="166" y="278"/>
                    <a:pt x="166" y="278"/>
                    <a:pt x="166" y="278"/>
                  </a:cubicBezTo>
                  <a:cubicBezTo>
                    <a:pt x="166" y="278"/>
                    <a:pt x="167" y="278"/>
                    <a:pt x="167" y="278"/>
                  </a:cubicBezTo>
                  <a:cubicBezTo>
                    <a:pt x="167" y="278"/>
                    <a:pt x="168" y="277"/>
                    <a:pt x="168" y="277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0" y="278"/>
                    <a:pt x="171" y="278"/>
                    <a:pt x="171" y="278"/>
                  </a:cubicBezTo>
                  <a:cubicBezTo>
                    <a:pt x="172" y="279"/>
                    <a:pt x="173" y="277"/>
                    <a:pt x="173" y="277"/>
                  </a:cubicBezTo>
                  <a:cubicBezTo>
                    <a:pt x="174" y="276"/>
                    <a:pt x="174" y="276"/>
                    <a:pt x="174" y="276"/>
                  </a:cubicBezTo>
                  <a:cubicBezTo>
                    <a:pt x="174" y="276"/>
                    <a:pt x="174" y="276"/>
                    <a:pt x="174" y="275"/>
                  </a:cubicBezTo>
                  <a:cubicBezTo>
                    <a:pt x="174" y="275"/>
                    <a:pt x="175" y="275"/>
                    <a:pt x="176" y="275"/>
                  </a:cubicBezTo>
                  <a:cubicBezTo>
                    <a:pt x="176" y="275"/>
                    <a:pt x="178" y="275"/>
                    <a:pt x="179" y="275"/>
                  </a:cubicBezTo>
                  <a:cubicBezTo>
                    <a:pt x="180" y="275"/>
                    <a:pt x="180" y="275"/>
                    <a:pt x="180" y="275"/>
                  </a:cubicBezTo>
                  <a:cubicBezTo>
                    <a:pt x="182" y="274"/>
                    <a:pt x="182" y="274"/>
                    <a:pt x="182" y="274"/>
                  </a:cubicBezTo>
                  <a:cubicBezTo>
                    <a:pt x="182" y="274"/>
                    <a:pt x="183" y="273"/>
                    <a:pt x="183" y="273"/>
                  </a:cubicBezTo>
                  <a:cubicBezTo>
                    <a:pt x="183" y="272"/>
                    <a:pt x="183" y="271"/>
                    <a:pt x="183" y="271"/>
                  </a:cubicBezTo>
                  <a:cubicBezTo>
                    <a:pt x="183" y="270"/>
                    <a:pt x="185" y="270"/>
                    <a:pt x="185" y="270"/>
                  </a:cubicBezTo>
                  <a:cubicBezTo>
                    <a:pt x="185" y="270"/>
                    <a:pt x="185" y="270"/>
                    <a:pt x="185" y="270"/>
                  </a:cubicBezTo>
                  <a:cubicBezTo>
                    <a:pt x="186" y="270"/>
                    <a:pt x="186" y="271"/>
                    <a:pt x="186" y="271"/>
                  </a:cubicBezTo>
                  <a:cubicBezTo>
                    <a:pt x="186" y="271"/>
                    <a:pt x="187" y="270"/>
                    <a:pt x="187" y="270"/>
                  </a:cubicBezTo>
                  <a:cubicBezTo>
                    <a:pt x="187" y="269"/>
                    <a:pt x="188" y="269"/>
                    <a:pt x="188" y="269"/>
                  </a:cubicBezTo>
                  <a:cubicBezTo>
                    <a:pt x="188" y="269"/>
                    <a:pt x="190" y="268"/>
                    <a:pt x="190" y="267"/>
                  </a:cubicBezTo>
                  <a:cubicBezTo>
                    <a:pt x="191" y="266"/>
                    <a:pt x="191" y="267"/>
                    <a:pt x="191" y="265"/>
                  </a:cubicBezTo>
                  <a:cubicBezTo>
                    <a:pt x="191" y="264"/>
                    <a:pt x="192" y="265"/>
                    <a:pt x="192" y="266"/>
                  </a:cubicBezTo>
                  <a:cubicBezTo>
                    <a:pt x="192" y="266"/>
                    <a:pt x="192" y="266"/>
                    <a:pt x="193" y="267"/>
                  </a:cubicBezTo>
                  <a:cubicBezTo>
                    <a:pt x="193" y="267"/>
                    <a:pt x="193" y="267"/>
                    <a:pt x="195" y="267"/>
                  </a:cubicBezTo>
                  <a:cubicBezTo>
                    <a:pt x="196" y="268"/>
                    <a:pt x="196" y="266"/>
                    <a:pt x="198" y="266"/>
                  </a:cubicBezTo>
                  <a:cubicBezTo>
                    <a:pt x="200" y="266"/>
                    <a:pt x="199" y="266"/>
                    <a:pt x="200" y="267"/>
                  </a:cubicBezTo>
                  <a:cubicBezTo>
                    <a:pt x="201" y="267"/>
                    <a:pt x="201" y="267"/>
                    <a:pt x="202" y="26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03" y="268"/>
                    <a:pt x="204" y="268"/>
                    <a:pt x="205" y="269"/>
                  </a:cubicBezTo>
                  <a:cubicBezTo>
                    <a:pt x="205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2" y="271"/>
                    <a:pt x="212" y="271"/>
                    <a:pt x="212" y="271"/>
                  </a:cubicBezTo>
                  <a:cubicBezTo>
                    <a:pt x="212" y="271"/>
                    <a:pt x="212" y="273"/>
                    <a:pt x="213" y="273"/>
                  </a:cubicBezTo>
                  <a:cubicBezTo>
                    <a:pt x="213" y="274"/>
                    <a:pt x="213" y="274"/>
                    <a:pt x="214" y="274"/>
                  </a:cubicBezTo>
                  <a:cubicBezTo>
                    <a:pt x="214" y="274"/>
                    <a:pt x="215" y="272"/>
                    <a:pt x="215" y="271"/>
                  </a:cubicBezTo>
                  <a:cubicBezTo>
                    <a:pt x="215" y="271"/>
                    <a:pt x="216" y="272"/>
                    <a:pt x="216" y="272"/>
                  </a:cubicBezTo>
                  <a:cubicBezTo>
                    <a:pt x="216" y="272"/>
                    <a:pt x="216" y="274"/>
                    <a:pt x="217" y="274"/>
                  </a:cubicBezTo>
                  <a:cubicBezTo>
                    <a:pt x="217" y="273"/>
                    <a:pt x="218" y="273"/>
                    <a:pt x="218" y="273"/>
                  </a:cubicBezTo>
                  <a:cubicBezTo>
                    <a:pt x="219" y="273"/>
                    <a:pt x="218" y="272"/>
                    <a:pt x="218" y="272"/>
                  </a:cubicBezTo>
                  <a:cubicBezTo>
                    <a:pt x="218" y="272"/>
                    <a:pt x="219" y="271"/>
                    <a:pt x="219" y="271"/>
                  </a:cubicBezTo>
                  <a:cubicBezTo>
                    <a:pt x="220" y="271"/>
                    <a:pt x="222" y="271"/>
                    <a:pt x="222" y="271"/>
                  </a:cubicBezTo>
                  <a:cubicBezTo>
                    <a:pt x="223" y="271"/>
                    <a:pt x="223" y="273"/>
                    <a:pt x="223" y="273"/>
                  </a:cubicBezTo>
                  <a:cubicBezTo>
                    <a:pt x="223" y="273"/>
                    <a:pt x="222" y="275"/>
                    <a:pt x="222" y="275"/>
                  </a:cubicBezTo>
                  <a:cubicBezTo>
                    <a:pt x="222" y="275"/>
                    <a:pt x="221" y="276"/>
                    <a:pt x="221" y="277"/>
                  </a:cubicBezTo>
                  <a:cubicBezTo>
                    <a:pt x="221" y="277"/>
                    <a:pt x="221" y="277"/>
                    <a:pt x="222" y="276"/>
                  </a:cubicBezTo>
                  <a:cubicBezTo>
                    <a:pt x="224" y="276"/>
                    <a:pt x="223" y="275"/>
                    <a:pt x="223" y="275"/>
                  </a:cubicBezTo>
                  <a:cubicBezTo>
                    <a:pt x="224" y="273"/>
                    <a:pt x="224" y="273"/>
                    <a:pt x="224" y="273"/>
                  </a:cubicBezTo>
                  <a:cubicBezTo>
                    <a:pt x="224" y="273"/>
                    <a:pt x="226" y="274"/>
                    <a:pt x="226" y="275"/>
                  </a:cubicBezTo>
                  <a:cubicBezTo>
                    <a:pt x="226" y="275"/>
                    <a:pt x="226" y="276"/>
                    <a:pt x="226" y="276"/>
                  </a:cubicBezTo>
                  <a:cubicBezTo>
                    <a:pt x="226" y="277"/>
                    <a:pt x="227" y="277"/>
                    <a:pt x="227" y="278"/>
                  </a:cubicBezTo>
                  <a:cubicBezTo>
                    <a:pt x="228" y="279"/>
                    <a:pt x="227" y="278"/>
                    <a:pt x="227" y="278"/>
                  </a:cubicBezTo>
                  <a:cubicBezTo>
                    <a:pt x="227" y="277"/>
                    <a:pt x="228" y="275"/>
                    <a:pt x="228" y="275"/>
                  </a:cubicBezTo>
                  <a:cubicBezTo>
                    <a:pt x="229" y="273"/>
                    <a:pt x="229" y="273"/>
                    <a:pt x="229" y="273"/>
                  </a:cubicBezTo>
                  <a:cubicBezTo>
                    <a:pt x="229" y="273"/>
                    <a:pt x="233" y="273"/>
                    <a:pt x="237" y="273"/>
                  </a:cubicBezTo>
                  <a:cubicBezTo>
                    <a:pt x="241" y="273"/>
                    <a:pt x="238" y="272"/>
                    <a:pt x="238" y="272"/>
                  </a:cubicBezTo>
                  <a:cubicBezTo>
                    <a:pt x="240" y="272"/>
                    <a:pt x="240" y="272"/>
                    <a:pt x="240" y="272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1" y="276"/>
                    <a:pt x="243" y="278"/>
                    <a:pt x="244" y="278"/>
                  </a:cubicBezTo>
                  <a:cubicBezTo>
                    <a:pt x="245" y="279"/>
                    <a:pt x="245" y="279"/>
                    <a:pt x="247" y="280"/>
                  </a:cubicBezTo>
                  <a:cubicBezTo>
                    <a:pt x="250" y="280"/>
                    <a:pt x="249" y="280"/>
                    <a:pt x="249" y="280"/>
                  </a:cubicBezTo>
                  <a:cubicBezTo>
                    <a:pt x="250" y="280"/>
                    <a:pt x="250" y="278"/>
                    <a:pt x="251" y="277"/>
                  </a:cubicBezTo>
                  <a:cubicBezTo>
                    <a:pt x="251" y="276"/>
                    <a:pt x="252" y="276"/>
                    <a:pt x="252" y="276"/>
                  </a:cubicBezTo>
                  <a:cubicBezTo>
                    <a:pt x="252" y="276"/>
                    <a:pt x="254" y="278"/>
                    <a:pt x="254" y="278"/>
                  </a:cubicBezTo>
                  <a:cubicBezTo>
                    <a:pt x="255" y="279"/>
                    <a:pt x="255" y="280"/>
                    <a:pt x="255" y="280"/>
                  </a:cubicBezTo>
                  <a:cubicBezTo>
                    <a:pt x="258" y="281"/>
                    <a:pt x="258" y="281"/>
                    <a:pt x="258" y="281"/>
                  </a:cubicBezTo>
                  <a:cubicBezTo>
                    <a:pt x="258" y="282"/>
                    <a:pt x="258" y="282"/>
                    <a:pt x="258" y="282"/>
                  </a:cubicBezTo>
                  <a:cubicBezTo>
                    <a:pt x="258" y="285"/>
                    <a:pt x="258" y="285"/>
                    <a:pt x="258" y="285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60" y="290"/>
                    <a:pt x="260" y="291"/>
                  </a:cubicBezTo>
                  <a:cubicBezTo>
                    <a:pt x="260" y="291"/>
                    <a:pt x="261" y="293"/>
                    <a:pt x="261" y="293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8"/>
                    <a:pt x="260" y="298"/>
                    <a:pt x="260" y="298"/>
                  </a:cubicBezTo>
                  <a:cubicBezTo>
                    <a:pt x="261" y="299"/>
                    <a:pt x="261" y="299"/>
                    <a:pt x="261" y="299"/>
                  </a:cubicBezTo>
                  <a:cubicBezTo>
                    <a:pt x="261" y="299"/>
                    <a:pt x="261" y="302"/>
                    <a:pt x="262" y="303"/>
                  </a:cubicBezTo>
                  <a:cubicBezTo>
                    <a:pt x="263" y="305"/>
                    <a:pt x="264" y="302"/>
                    <a:pt x="264" y="302"/>
                  </a:cubicBezTo>
                  <a:cubicBezTo>
                    <a:pt x="266" y="302"/>
                    <a:pt x="266" y="302"/>
                    <a:pt x="266" y="302"/>
                  </a:cubicBezTo>
                  <a:cubicBezTo>
                    <a:pt x="268" y="305"/>
                    <a:pt x="268" y="305"/>
                    <a:pt x="268" y="305"/>
                  </a:cubicBezTo>
                  <a:cubicBezTo>
                    <a:pt x="269" y="305"/>
                    <a:pt x="269" y="305"/>
                    <a:pt x="269" y="305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2" y="309"/>
                    <a:pt x="272" y="309"/>
                    <a:pt x="272" y="309"/>
                  </a:cubicBezTo>
                  <a:cubicBezTo>
                    <a:pt x="274" y="308"/>
                    <a:pt x="274" y="308"/>
                    <a:pt x="274" y="308"/>
                  </a:cubicBezTo>
                  <a:cubicBezTo>
                    <a:pt x="275" y="305"/>
                    <a:pt x="275" y="305"/>
                    <a:pt x="275" y="305"/>
                  </a:cubicBezTo>
                  <a:cubicBezTo>
                    <a:pt x="277" y="306"/>
                    <a:pt x="277" y="306"/>
                    <a:pt x="277" y="306"/>
                  </a:cubicBezTo>
                  <a:cubicBezTo>
                    <a:pt x="279" y="306"/>
                    <a:pt x="279" y="306"/>
                    <a:pt x="279" y="306"/>
                  </a:cubicBezTo>
                  <a:cubicBezTo>
                    <a:pt x="279" y="310"/>
                    <a:pt x="279" y="310"/>
                    <a:pt x="279" y="310"/>
                  </a:cubicBezTo>
                  <a:cubicBezTo>
                    <a:pt x="279" y="310"/>
                    <a:pt x="280" y="311"/>
                    <a:pt x="280" y="312"/>
                  </a:cubicBezTo>
                  <a:cubicBezTo>
                    <a:pt x="280" y="312"/>
                    <a:pt x="280" y="314"/>
                    <a:pt x="280" y="314"/>
                  </a:cubicBezTo>
                  <a:cubicBezTo>
                    <a:pt x="281" y="316"/>
                    <a:pt x="281" y="316"/>
                    <a:pt x="281" y="316"/>
                  </a:cubicBezTo>
                  <a:cubicBezTo>
                    <a:pt x="278" y="317"/>
                    <a:pt x="278" y="317"/>
                    <a:pt x="278" y="317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80" y="318"/>
                    <a:pt x="282" y="318"/>
                    <a:pt x="283" y="318"/>
                  </a:cubicBezTo>
                  <a:cubicBezTo>
                    <a:pt x="284" y="318"/>
                    <a:pt x="284" y="321"/>
                    <a:pt x="284" y="321"/>
                  </a:cubicBezTo>
                  <a:cubicBezTo>
                    <a:pt x="284" y="321"/>
                    <a:pt x="284" y="322"/>
                    <a:pt x="283" y="323"/>
                  </a:cubicBezTo>
                  <a:cubicBezTo>
                    <a:pt x="283" y="323"/>
                    <a:pt x="283" y="324"/>
                    <a:pt x="283" y="325"/>
                  </a:cubicBezTo>
                  <a:cubicBezTo>
                    <a:pt x="284" y="325"/>
                    <a:pt x="286" y="326"/>
                    <a:pt x="287" y="326"/>
                  </a:cubicBezTo>
                  <a:cubicBezTo>
                    <a:pt x="289" y="326"/>
                    <a:pt x="289" y="326"/>
                    <a:pt x="289" y="326"/>
                  </a:cubicBezTo>
                  <a:cubicBezTo>
                    <a:pt x="291" y="326"/>
                    <a:pt x="291" y="326"/>
                    <a:pt x="291" y="326"/>
                  </a:cubicBezTo>
                  <a:cubicBezTo>
                    <a:pt x="291" y="326"/>
                    <a:pt x="292" y="327"/>
                    <a:pt x="293" y="327"/>
                  </a:cubicBezTo>
                  <a:cubicBezTo>
                    <a:pt x="293" y="326"/>
                    <a:pt x="295" y="326"/>
                    <a:pt x="295" y="326"/>
                  </a:cubicBezTo>
                  <a:cubicBezTo>
                    <a:pt x="297" y="328"/>
                    <a:pt x="297" y="328"/>
                    <a:pt x="297" y="328"/>
                  </a:cubicBezTo>
                  <a:cubicBezTo>
                    <a:pt x="299" y="327"/>
                    <a:pt x="299" y="327"/>
                    <a:pt x="299" y="327"/>
                  </a:cubicBezTo>
                  <a:cubicBezTo>
                    <a:pt x="299" y="329"/>
                    <a:pt x="299" y="329"/>
                    <a:pt x="299" y="329"/>
                  </a:cubicBezTo>
                  <a:cubicBezTo>
                    <a:pt x="299" y="329"/>
                    <a:pt x="301" y="333"/>
                    <a:pt x="301" y="333"/>
                  </a:cubicBezTo>
                  <a:cubicBezTo>
                    <a:pt x="302" y="334"/>
                    <a:pt x="302" y="336"/>
                    <a:pt x="302" y="337"/>
                  </a:cubicBezTo>
                  <a:cubicBezTo>
                    <a:pt x="302" y="338"/>
                    <a:pt x="303" y="340"/>
                    <a:pt x="303" y="340"/>
                  </a:cubicBezTo>
                  <a:cubicBezTo>
                    <a:pt x="303" y="340"/>
                    <a:pt x="302" y="340"/>
                    <a:pt x="301" y="341"/>
                  </a:cubicBezTo>
                  <a:cubicBezTo>
                    <a:pt x="300" y="342"/>
                    <a:pt x="302" y="343"/>
                    <a:pt x="302" y="343"/>
                  </a:cubicBezTo>
                  <a:cubicBezTo>
                    <a:pt x="304" y="343"/>
                    <a:pt x="304" y="343"/>
                    <a:pt x="304" y="343"/>
                  </a:cubicBezTo>
                  <a:cubicBezTo>
                    <a:pt x="304" y="343"/>
                    <a:pt x="306" y="345"/>
                    <a:pt x="306" y="346"/>
                  </a:cubicBezTo>
                  <a:cubicBezTo>
                    <a:pt x="307" y="347"/>
                    <a:pt x="309" y="346"/>
                    <a:pt x="310" y="346"/>
                  </a:cubicBezTo>
                  <a:cubicBezTo>
                    <a:pt x="311" y="345"/>
                    <a:pt x="313" y="346"/>
                    <a:pt x="313" y="347"/>
                  </a:cubicBezTo>
                  <a:cubicBezTo>
                    <a:pt x="313" y="347"/>
                    <a:pt x="310" y="348"/>
                    <a:pt x="309" y="348"/>
                  </a:cubicBezTo>
                  <a:cubicBezTo>
                    <a:pt x="308" y="349"/>
                    <a:pt x="305" y="349"/>
                    <a:pt x="305" y="349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02" y="353"/>
                    <a:pt x="302" y="353"/>
                    <a:pt x="302" y="353"/>
                  </a:cubicBezTo>
                  <a:cubicBezTo>
                    <a:pt x="301" y="350"/>
                    <a:pt x="301" y="350"/>
                    <a:pt x="301" y="350"/>
                  </a:cubicBezTo>
                  <a:cubicBezTo>
                    <a:pt x="297" y="347"/>
                    <a:pt x="297" y="347"/>
                    <a:pt x="297" y="347"/>
                  </a:cubicBezTo>
                  <a:cubicBezTo>
                    <a:pt x="297" y="350"/>
                    <a:pt x="297" y="350"/>
                    <a:pt x="297" y="350"/>
                  </a:cubicBezTo>
                  <a:cubicBezTo>
                    <a:pt x="295" y="351"/>
                    <a:pt x="295" y="351"/>
                    <a:pt x="295" y="351"/>
                  </a:cubicBezTo>
                  <a:cubicBezTo>
                    <a:pt x="295" y="351"/>
                    <a:pt x="295" y="352"/>
                    <a:pt x="295" y="353"/>
                  </a:cubicBezTo>
                  <a:cubicBezTo>
                    <a:pt x="295" y="354"/>
                    <a:pt x="294" y="354"/>
                    <a:pt x="294" y="354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2" y="353"/>
                    <a:pt x="290" y="353"/>
                    <a:pt x="289" y="353"/>
                  </a:cubicBezTo>
                  <a:cubicBezTo>
                    <a:pt x="288" y="353"/>
                    <a:pt x="288" y="351"/>
                    <a:pt x="288" y="351"/>
                  </a:cubicBezTo>
                  <a:cubicBezTo>
                    <a:pt x="287" y="352"/>
                    <a:pt x="287" y="352"/>
                    <a:pt x="287" y="352"/>
                  </a:cubicBezTo>
                  <a:cubicBezTo>
                    <a:pt x="287" y="352"/>
                    <a:pt x="287" y="353"/>
                    <a:pt x="286" y="354"/>
                  </a:cubicBezTo>
                  <a:cubicBezTo>
                    <a:pt x="286" y="355"/>
                    <a:pt x="286" y="354"/>
                    <a:pt x="284" y="354"/>
                  </a:cubicBezTo>
                  <a:cubicBezTo>
                    <a:pt x="283" y="355"/>
                    <a:pt x="283" y="353"/>
                    <a:pt x="282" y="352"/>
                  </a:cubicBezTo>
                  <a:cubicBezTo>
                    <a:pt x="282" y="350"/>
                    <a:pt x="282" y="352"/>
                    <a:pt x="281" y="352"/>
                  </a:cubicBezTo>
                  <a:cubicBezTo>
                    <a:pt x="280" y="352"/>
                    <a:pt x="282" y="355"/>
                    <a:pt x="282" y="355"/>
                  </a:cubicBezTo>
                  <a:cubicBezTo>
                    <a:pt x="281" y="356"/>
                    <a:pt x="281" y="356"/>
                    <a:pt x="281" y="356"/>
                  </a:cubicBezTo>
                  <a:cubicBezTo>
                    <a:pt x="281" y="356"/>
                    <a:pt x="281" y="358"/>
                    <a:pt x="279" y="359"/>
                  </a:cubicBezTo>
                  <a:cubicBezTo>
                    <a:pt x="278" y="359"/>
                    <a:pt x="279" y="357"/>
                    <a:pt x="279" y="357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7" y="348"/>
                    <a:pt x="273" y="352"/>
                    <a:pt x="272" y="352"/>
                  </a:cubicBezTo>
                  <a:cubicBezTo>
                    <a:pt x="272" y="353"/>
                    <a:pt x="270" y="357"/>
                    <a:pt x="269" y="357"/>
                  </a:cubicBezTo>
                  <a:cubicBezTo>
                    <a:pt x="269" y="358"/>
                    <a:pt x="269" y="360"/>
                    <a:pt x="269" y="360"/>
                  </a:cubicBezTo>
                  <a:cubicBezTo>
                    <a:pt x="271" y="363"/>
                    <a:pt x="271" y="363"/>
                    <a:pt x="271" y="363"/>
                  </a:cubicBezTo>
                  <a:cubicBezTo>
                    <a:pt x="271" y="366"/>
                    <a:pt x="271" y="366"/>
                    <a:pt x="271" y="366"/>
                  </a:cubicBezTo>
                  <a:cubicBezTo>
                    <a:pt x="273" y="368"/>
                    <a:pt x="273" y="368"/>
                    <a:pt x="273" y="368"/>
                  </a:cubicBezTo>
                  <a:cubicBezTo>
                    <a:pt x="273" y="368"/>
                    <a:pt x="275" y="368"/>
                    <a:pt x="276" y="369"/>
                  </a:cubicBezTo>
                  <a:cubicBezTo>
                    <a:pt x="277" y="369"/>
                    <a:pt x="276" y="371"/>
                    <a:pt x="276" y="371"/>
                  </a:cubicBezTo>
                  <a:cubicBezTo>
                    <a:pt x="275" y="375"/>
                    <a:pt x="275" y="375"/>
                    <a:pt x="275" y="375"/>
                  </a:cubicBezTo>
                  <a:cubicBezTo>
                    <a:pt x="275" y="375"/>
                    <a:pt x="276" y="376"/>
                    <a:pt x="277" y="377"/>
                  </a:cubicBezTo>
                  <a:cubicBezTo>
                    <a:pt x="277" y="378"/>
                    <a:pt x="275" y="380"/>
                    <a:pt x="275" y="380"/>
                  </a:cubicBezTo>
                  <a:cubicBezTo>
                    <a:pt x="274" y="380"/>
                    <a:pt x="271" y="383"/>
                    <a:pt x="271" y="383"/>
                  </a:cubicBezTo>
                  <a:cubicBezTo>
                    <a:pt x="271" y="383"/>
                    <a:pt x="270" y="384"/>
                    <a:pt x="269" y="384"/>
                  </a:cubicBezTo>
                  <a:cubicBezTo>
                    <a:pt x="268" y="384"/>
                    <a:pt x="270" y="387"/>
                    <a:pt x="270" y="387"/>
                  </a:cubicBezTo>
                  <a:cubicBezTo>
                    <a:pt x="271" y="390"/>
                    <a:pt x="271" y="390"/>
                    <a:pt x="271" y="390"/>
                  </a:cubicBezTo>
                  <a:cubicBezTo>
                    <a:pt x="271" y="390"/>
                    <a:pt x="270" y="391"/>
                    <a:pt x="270" y="391"/>
                  </a:cubicBezTo>
                  <a:cubicBezTo>
                    <a:pt x="269" y="392"/>
                    <a:pt x="269" y="394"/>
                    <a:pt x="269" y="394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6" y="396"/>
                    <a:pt x="266" y="396"/>
                    <a:pt x="266" y="396"/>
                  </a:cubicBezTo>
                  <a:cubicBezTo>
                    <a:pt x="266" y="396"/>
                    <a:pt x="266" y="399"/>
                    <a:pt x="265" y="399"/>
                  </a:cubicBezTo>
                  <a:cubicBezTo>
                    <a:pt x="264" y="399"/>
                    <a:pt x="265" y="401"/>
                    <a:pt x="265" y="401"/>
                  </a:cubicBezTo>
                  <a:cubicBezTo>
                    <a:pt x="264" y="403"/>
                    <a:pt x="264" y="403"/>
                    <a:pt x="264" y="403"/>
                  </a:cubicBezTo>
                  <a:cubicBezTo>
                    <a:pt x="268" y="405"/>
                    <a:pt x="268" y="405"/>
                    <a:pt x="268" y="405"/>
                  </a:cubicBezTo>
                  <a:cubicBezTo>
                    <a:pt x="267" y="407"/>
                    <a:pt x="267" y="407"/>
                    <a:pt x="267" y="407"/>
                  </a:cubicBezTo>
                  <a:cubicBezTo>
                    <a:pt x="267" y="409"/>
                    <a:pt x="267" y="409"/>
                    <a:pt x="267" y="409"/>
                  </a:cubicBezTo>
                  <a:cubicBezTo>
                    <a:pt x="268" y="409"/>
                    <a:pt x="268" y="409"/>
                    <a:pt x="268" y="409"/>
                  </a:cubicBezTo>
                  <a:cubicBezTo>
                    <a:pt x="268" y="409"/>
                    <a:pt x="266" y="410"/>
                    <a:pt x="265" y="410"/>
                  </a:cubicBezTo>
                  <a:cubicBezTo>
                    <a:pt x="264" y="411"/>
                    <a:pt x="263" y="410"/>
                    <a:pt x="262" y="411"/>
                  </a:cubicBezTo>
                  <a:cubicBezTo>
                    <a:pt x="261" y="411"/>
                    <a:pt x="258" y="412"/>
                    <a:pt x="258" y="412"/>
                  </a:cubicBezTo>
                  <a:cubicBezTo>
                    <a:pt x="257" y="416"/>
                    <a:pt x="257" y="416"/>
                    <a:pt x="257" y="416"/>
                  </a:cubicBezTo>
                  <a:cubicBezTo>
                    <a:pt x="255" y="416"/>
                    <a:pt x="255" y="416"/>
                    <a:pt x="255" y="416"/>
                  </a:cubicBezTo>
                  <a:cubicBezTo>
                    <a:pt x="255" y="414"/>
                    <a:pt x="255" y="414"/>
                    <a:pt x="255" y="414"/>
                  </a:cubicBezTo>
                  <a:cubicBezTo>
                    <a:pt x="254" y="413"/>
                    <a:pt x="254" y="413"/>
                    <a:pt x="254" y="413"/>
                  </a:cubicBezTo>
                  <a:cubicBezTo>
                    <a:pt x="254" y="415"/>
                    <a:pt x="254" y="416"/>
                    <a:pt x="254" y="416"/>
                  </a:cubicBezTo>
                  <a:cubicBezTo>
                    <a:pt x="264" y="423"/>
                    <a:pt x="264" y="423"/>
                    <a:pt x="264" y="423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85" y="420"/>
                    <a:pt x="285" y="420"/>
                    <a:pt x="285" y="420"/>
                  </a:cubicBezTo>
                  <a:cubicBezTo>
                    <a:pt x="285" y="420"/>
                    <a:pt x="294" y="404"/>
                    <a:pt x="301" y="405"/>
                  </a:cubicBezTo>
                  <a:cubicBezTo>
                    <a:pt x="306" y="406"/>
                    <a:pt x="313" y="408"/>
                    <a:pt x="314" y="408"/>
                  </a:cubicBezTo>
                  <a:cubicBezTo>
                    <a:pt x="313" y="402"/>
                    <a:pt x="302" y="392"/>
                    <a:pt x="304" y="390"/>
                  </a:cubicBezTo>
                  <a:cubicBezTo>
                    <a:pt x="306" y="387"/>
                    <a:pt x="311" y="380"/>
                    <a:pt x="314" y="376"/>
                  </a:cubicBezTo>
                  <a:cubicBezTo>
                    <a:pt x="316" y="372"/>
                    <a:pt x="326" y="369"/>
                    <a:pt x="326" y="369"/>
                  </a:cubicBezTo>
                  <a:cubicBezTo>
                    <a:pt x="334" y="354"/>
                    <a:pt x="334" y="354"/>
                    <a:pt x="334" y="354"/>
                  </a:cubicBezTo>
                  <a:cubicBezTo>
                    <a:pt x="332" y="331"/>
                    <a:pt x="330" y="325"/>
                    <a:pt x="354" y="322"/>
                  </a:cubicBezTo>
                  <a:cubicBezTo>
                    <a:pt x="358" y="321"/>
                    <a:pt x="363" y="318"/>
                    <a:pt x="363" y="318"/>
                  </a:cubicBezTo>
                  <a:cubicBezTo>
                    <a:pt x="371" y="315"/>
                    <a:pt x="371" y="315"/>
                    <a:pt x="371" y="315"/>
                  </a:cubicBezTo>
                  <a:cubicBezTo>
                    <a:pt x="386" y="313"/>
                    <a:pt x="386" y="313"/>
                    <a:pt x="386" y="313"/>
                  </a:cubicBezTo>
                  <a:cubicBezTo>
                    <a:pt x="374" y="320"/>
                    <a:pt x="374" y="320"/>
                    <a:pt x="374" y="320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77" y="333"/>
                    <a:pt x="377" y="333"/>
                    <a:pt x="377" y="333"/>
                  </a:cubicBezTo>
                  <a:cubicBezTo>
                    <a:pt x="377" y="333"/>
                    <a:pt x="377" y="342"/>
                    <a:pt x="383" y="340"/>
                  </a:cubicBezTo>
                  <a:cubicBezTo>
                    <a:pt x="388" y="338"/>
                    <a:pt x="400" y="333"/>
                    <a:pt x="402" y="333"/>
                  </a:cubicBezTo>
                  <a:cubicBezTo>
                    <a:pt x="404" y="332"/>
                    <a:pt x="415" y="329"/>
                    <a:pt x="418" y="329"/>
                  </a:cubicBezTo>
                  <a:cubicBezTo>
                    <a:pt x="421" y="329"/>
                    <a:pt x="437" y="327"/>
                    <a:pt x="437" y="327"/>
                  </a:cubicBezTo>
                  <a:cubicBezTo>
                    <a:pt x="439" y="336"/>
                    <a:pt x="439" y="336"/>
                    <a:pt x="439" y="336"/>
                  </a:cubicBezTo>
                  <a:cubicBezTo>
                    <a:pt x="432" y="345"/>
                    <a:pt x="432" y="345"/>
                    <a:pt x="432" y="345"/>
                  </a:cubicBezTo>
                  <a:cubicBezTo>
                    <a:pt x="423" y="354"/>
                    <a:pt x="423" y="354"/>
                    <a:pt x="423" y="354"/>
                  </a:cubicBezTo>
                  <a:cubicBezTo>
                    <a:pt x="409" y="367"/>
                    <a:pt x="409" y="367"/>
                    <a:pt x="409" y="367"/>
                  </a:cubicBezTo>
                  <a:cubicBezTo>
                    <a:pt x="409" y="367"/>
                    <a:pt x="405" y="374"/>
                    <a:pt x="407" y="375"/>
                  </a:cubicBezTo>
                  <a:cubicBezTo>
                    <a:pt x="409" y="376"/>
                    <a:pt x="424" y="374"/>
                    <a:pt x="424" y="374"/>
                  </a:cubicBezTo>
                  <a:cubicBezTo>
                    <a:pt x="441" y="375"/>
                    <a:pt x="441" y="375"/>
                    <a:pt x="441" y="375"/>
                  </a:cubicBezTo>
                  <a:cubicBezTo>
                    <a:pt x="441" y="375"/>
                    <a:pt x="444" y="376"/>
                    <a:pt x="446" y="382"/>
                  </a:cubicBezTo>
                  <a:cubicBezTo>
                    <a:pt x="449" y="389"/>
                    <a:pt x="451" y="392"/>
                    <a:pt x="452" y="394"/>
                  </a:cubicBezTo>
                  <a:cubicBezTo>
                    <a:pt x="454" y="397"/>
                    <a:pt x="458" y="403"/>
                    <a:pt x="458" y="403"/>
                  </a:cubicBezTo>
                  <a:cubicBezTo>
                    <a:pt x="458" y="403"/>
                    <a:pt x="454" y="407"/>
                    <a:pt x="459" y="406"/>
                  </a:cubicBezTo>
                  <a:cubicBezTo>
                    <a:pt x="465" y="406"/>
                    <a:pt x="469" y="405"/>
                    <a:pt x="469" y="405"/>
                  </a:cubicBezTo>
                  <a:cubicBezTo>
                    <a:pt x="469" y="405"/>
                    <a:pt x="470" y="399"/>
                    <a:pt x="472" y="397"/>
                  </a:cubicBezTo>
                  <a:cubicBezTo>
                    <a:pt x="475" y="396"/>
                    <a:pt x="478" y="393"/>
                    <a:pt x="478" y="393"/>
                  </a:cubicBezTo>
                  <a:cubicBezTo>
                    <a:pt x="478" y="393"/>
                    <a:pt x="477" y="387"/>
                    <a:pt x="480" y="385"/>
                  </a:cubicBezTo>
                  <a:cubicBezTo>
                    <a:pt x="483" y="384"/>
                    <a:pt x="487" y="383"/>
                    <a:pt x="491" y="382"/>
                  </a:cubicBezTo>
                  <a:cubicBezTo>
                    <a:pt x="495" y="380"/>
                    <a:pt x="499" y="373"/>
                    <a:pt x="499" y="373"/>
                  </a:cubicBezTo>
                  <a:cubicBezTo>
                    <a:pt x="504" y="369"/>
                    <a:pt x="504" y="369"/>
                    <a:pt x="504" y="369"/>
                  </a:cubicBezTo>
                  <a:cubicBezTo>
                    <a:pt x="516" y="365"/>
                    <a:pt x="516" y="365"/>
                    <a:pt x="516" y="365"/>
                  </a:cubicBezTo>
                  <a:cubicBezTo>
                    <a:pt x="515" y="355"/>
                    <a:pt x="515" y="355"/>
                    <a:pt x="515" y="355"/>
                  </a:cubicBezTo>
                  <a:cubicBezTo>
                    <a:pt x="515" y="355"/>
                    <a:pt x="516" y="353"/>
                    <a:pt x="519" y="353"/>
                  </a:cubicBezTo>
                  <a:cubicBezTo>
                    <a:pt x="521" y="352"/>
                    <a:pt x="542" y="345"/>
                    <a:pt x="542" y="345"/>
                  </a:cubicBezTo>
                  <a:cubicBezTo>
                    <a:pt x="548" y="335"/>
                    <a:pt x="548" y="335"/>
                    <a:pt x="548" y="335"/>
                  </a:cubicBezTo>
                  <a:cubicBezTo>
                    <a:pt x="548" y="325"/>
                    <a:pt x="548" y="325"/>
                    <a:pt x="548" y="325"/>
                  </a:cubicBezTo>
                  <a:cubicBezTo>
                    <a:pt x="548" y="325"/>
                    <a:pt x="550" y="319"/>
                    <a:pt x="546" y="319"/>
                  </a:cubicBezTo>
                  <a:cubicBezTo>
                    <a:pt x="542" y="319"/>
                    <a:pt x="532" y="329"/>
                    <a:pt x="532" y="329"/>
                  </a:cubicBezTo>
                  <a:cubicBezTo>
                    <a:pt x="521" y="330"/>
                    <a:pt x="521" y="330"/>
                    <a:pt x="521" y="330"/>
                  </a:cubicBezTo>
                  <a:cubicBezTo>
                    <a:pt x="521" y="330"/>
                    <a:pt x="516" y="339"/>
                    <a:pt x="514" y="339"/>
                  </a:cubicBezTo>
                  <a:cubicBezTo>
                    <a:pt x="512" y="340"/>
                    <a:pt x="506" y="342"/>
                    <a:pt x="504" y="341"/>
                  </a:cubicBezTo>
                  <a:cubicBezTo>
                    <a:pt x="502" y="341"/>
                    <a:pt x="505" y="352"/>
                    <a:pt x="498" y="339"/>
                  </a:cubicBezTo>
                  <a:cubicBezTo>
                    <a:pt x="491" y="326"/>
                    <a:pt x="488" y="326"/>
                    <a:pt x="488" y="326"/>
                  </a:cubicBezTo>
                  <a:cubicBezTo>
                    <a:pt x="481" y="326"/>
                    <a:pt x="481" y="326"/>
                    <a:pt x="481" y="326"/>
                  </a:cubicBezTo>
                  <a:cubicBezTo>
                    <a:pt x="481" y="326"/>
                    <a:pt x="475" y="329"/>
                    <a:pt x="474" y="327"/>
                  </a:cubicBezTo>
                  <a:cubicBezTo>
                    <a:pt x="474" y="325"/>
                    <a:pt x="471" y="319"/>
                    <a:pt x="471" y="319"/>
                  </a:cubicBezTo>
                  <a:cubicBezTo>
                    <a:pt x="461" y="319"/>
                    <a:pt x="461" y="319"/>
                    <a:pt x="461" y="319"/>
                  </a:cubicBezTo>
                  <a:cubicBezTo>
                    <a:pt x="457" y="321"/>
                    <a:pt x="457" y="321"/>
                    <a:pt x="457" y="321"/>
                  </a:cubicBezTo>
                  <a:cubicBezTo>
                    <a:pt x="442" y="320"/>
                    <a:pt x="442" y="320"/>
                    <a:pt x="442" y="320"/>
                  </a:cubicBezTo>
                  <a:cubicBezTo>
                    <a:pt x="436" y="316"/>
                    <a:pt x="436" y="316"/>
                    <a:pt x="436" y="316"/>
                  </a:cubicBezTo>
                  <a:cubicBezTo>
                    <a:pt x="444" y="312"/>
                    <a:pt x="444" y="312"/>
                    <a:pt x="444" y="312"/>
                  </a:cubicBezTo>
                  <a:cubicBezTo>
                    <a:pt x="444" y="312"/>
                    <a:pt x="447" y="315"/>
                    <a:pt x="448" y="315"/>
                  </a:cubicBezTo>
                  <a:cubicBezTo>
                    <a:pt x="450" y="314"/>
                    <a:pt x="448" y="311"/>
                    <a:pt x="450" y="310"/>
                  </a:cubicBezTo>
                  <a:cubicBezTo>
                    <a:pt x="453" y="309"/>
                    <a:pt x="456" y="306"/>
                    <a:pt x="459" y="308"/>
                  </a:cubicBezTo>
                  <a:cubicBezTo>
                    <a:pt x="462" y="309"/>
                    <a:pt x="459" y="315"/>
                    <a:pt x="464" y="311"/>
                  </a:cubicBezTo>
                  <a:cubicBezTo>
                    <a:pt x="469" y="307"/>
                    <a:pt x="474" y="308"/>
                    <a:pt x="474" y="308"/>
                  </a:cubicBezTo>
                  <a:cubicBezTo>
                    <a:pt x="480" y="298"/>
                    <a:pt x="480" y="298"/>
                    <a:pt x="480" y="298"/>
                  </a:cubicBezTo>
                  <a:cubicBezTo>
                    <a:pt x="484" y="289"/>
                    <a:pt x="484" y="289"/>
                    <a:pt x="484" y="289"/>
                  </a:cubicBezTo>
                  <a:cubicBezTo>
                    <a:pt x="484" y="289"/>
                    <a:pt x="486" y="290"/>
                    <a:pt x="488" y="291"/>
                  </a:cubicBezTo>
                  <a:cubicBezTo>
                    <a:pt x="491" y="291"/>
                    <a:pt x="498" y="279"/>
                    <a:pt x="498" y="279"/>
                  </a:cubicBezTo>
                  <a:cubicBezTo>
                    <a:pt x="498" y="279"/>
                    <a:pt x="499" y="267"/>
                    <a:pt x="501" y="267"/>
                  </a:cubicBezTo>
                  <a:cubicBezTo>
                    <a:pt x="503" y="266"/>
                    <a:pt x="518" y="261"/>
                    <a:pt x="518" y="261"/>
                  </a:cubicBezTo>
                  <a:cubicBezTo>
                    <a:pt x="528" y="255"/>
                    <a:pt x="528" y="255"/>
                    <a:pt x="528" y="255"/>
                  </a:cubicBezTo>
                  <a:cubicBezTo>
                    <a:pt x="528" y="255"/>
                    <a:pt x="533" y="248"/>
                    <a:pt x="535" y="247"/>
                  </a:cubicBezTo>
                  <a:cubicBezTo>
                    <a:pt x="537" y="247"/>
                    <a:pt x="539" y="243"/>
                    <a:pt x="541" y="238"/>
                  </a:cubicBezTo>
                  <a:cubicBezTo>
                    <a:pt x="544" y="234"/>
                    <a:pt x="546" y="231"/>
                    <a:pt x="546" y="231"/>
                  </a:cubicBezTo>
                  <a:cubicBezTo>
                    <a:pt x="546" y="231"/>
                    <a:pt x="558" y="228"/>
                    <a:pt x="557" y="227"/>
                  </a:cubicBezTo>
                  <a:cubicBezTo>
                    <a:pt x="557" y="225"/>
                    <a:pt x="552" y="221"/>
                    <a:pt x="558" y="221"/>
                  </a:cubicBezTo>
                  <a:cubicBezTo>
                    <a:pt x="564" y="221"/>
                    <a:pt x="564" y="221"/>
                    <a:pt x="567" y="219"/>
                  </a:cubicBezTo>
                  <a:cubicBezTo>
                    <a:pt x="569" y="218"/>
                    <a:pt x="568" y="217"/>
                    <a:pt x="569" y="214"/>
                  </a:cubicBezTo>
                  <a:cubicBezTo>
                    <a:pt x="571" y="212"/>
                    <a:pt x="572" y="209"/>
                    <a:pt x="572" y="207"/>
                  </a:cubicBezTo>
                  <a:cubicBezTo>
                    <a:pt x="571" y="205"/>
                    <a:pt x="566" y="197"/>
                    <a:pt x="566" y="195"/>
                  </a:cubicBezTo>
                  <a:cubicBezTo>
                    <a:pt x="565" y="192"/>
                    <a:pt x="566" y="186"/>
                    <a:pt x="566" y="186"/>
                  </a:cubicBezTo>
                  <a:cubicBezTo>
                    <a:pt x="566" y="186"/>
                    <a:pt x="569" y="185"/>
                    <a:pt x="572" y="184"/>
                  </a:cubicBezTo>
                  <a:cubicBezTo>
                    <a:pt x="574" y="182"/>
                    <a:pt x="578" y="175"/>
                    <a:pt x="578" y="175"/>
                  </a:cubicBezTo>
                  <a:cubicBezTo>
                    <a:pt x="579" y="170"/>
                    <a:pt x="579" y="170"/>
                    <a:pt x="579" y="170"/>
                  </a:cubicBezTo>
                  <a:cubicBezTo>
                    <a:pt x="579" y="170"/>
                    <a:pt x="583" y="167"/>
                    <a:pt x="584" y="167"/>
                  </a:cubicBezTo>
                  <a:cubicBezTo>
                    <a:pt x="586" y="166"/>
                    <a:pt x="602" y="160"/>
                    <a:pt x="603" y="160"/>
                  </a:cubicBezTo>
                  <a:cubicBezTo>
                    <a:pt x="604" y="160"/>
                    <a:pt x="614" y="161"/>
                    <a:pt x="611" y="156"/>
                  </a:cubicBezTo>
                  <a:cubicBezTo>
                    <a:pt x="608" y="152"/>
                    <a:pt x="607" y="150"/>
                    <a:pt x="606" y="147"/>
                  </a:cubicBezTo>
                  <a:cubicBezTo>
                    <a:pt x="605" y="144"/>
                    <a:pt x="605" y="137"/>
                    <a:pt x="605" y="136"/>
                  </a:cubicBezTo>
                  <a:cubicBezTo>
                    <a:pt x="606" y="135"/>
                    <a:pt x="614" y="132"/>
                    <a:pt x="605" y="131"/>
                  </a:cubicBezTo>
                  <a:cubicBezTo>
                    <a:pt x="596" y="130"/>
                    <a:pt x="603" y="127"/>
                    <a:pt x="601" y="125"/>
                  </a:cubicBezTo>
                  <a:cubicBezTo>
                    <a:pt x="598" y="123"/>
                    <a:pt x="592" y="119"/>
                    <a:pt x="592" y="119"/>
                  </a:cubicBezTo>
                  <a:cubicBezTo>
                    <a:pt x="589" y="119"/>
                    <a:pt x="589" y="119"/>
                    <a:pt x="589" y="119"/>
                  </a:cubicBezTo>
                  <a:cubicBezTo>
                    <a:pt x="590" y="109"/>
                    <a:pt x="590" y="109"/>
                    <a:pt x="590" y="109"/>
                  </a:cubicBezTo>
                  <a:cubicBezTo>
                    <a:pt x="590" y="109"/>
                    <a:pt x="593" y="105"/>
                    <a:pt x="594" y="105"/>
                  </a:cubicBezTo>
                  <a:cubicBezTo>
                    <a:pt x="595" y="104"/>
                    <a:pt x="596" y="100"/>
                    <a:pt x="594" y="100"/>
                  </a:cubicBezTo>
                  <a:cubicBezTo>
                    <a:pt x="592" y="101"/>
                    <a:pt x="586" y="102"/>
                    <a:pt x="586" y="102"/>
                  </a:cubicBezTo>
                  <a:cubicBezTo>
                    <a:pt x="586" y="102"/>
                    <a:pt x="581" y="102"/>
                    <a:pt x="582" y="100"/>
                  </a:cubicBezTo>
                  <a:cubicBezTo>
                    <a:pt x="582" y="97"/>
                    <a:pt x="584" y="97"/>
                    <a:pt x="587" y="94"/>
                  </a:cubicBezTo>
                  <a:cubicBezTo>
                    <a:pt x="590" y="91"/>
                    <a:pt x="591" y="89"/>
                    <a:pt x="591" y="89"/>
                  </a:cubicBezTo>
                  <a:cubicBezTo>
                    <a:pt x="590" y="83"/>
                    <a:pt x="590" y="83"/>
                    <a:pt x="590" y="83"/>
                  </a:cubicBezTo>
                  <a:cubicBezTo>
                    <a:pt x="590" y="83"/>
                    <a:pt x="590" y="79"/>
                    <a:pt x="589" y="79"/>
                  </a:cubicBezTo>
                  <a:cubicBezTo>
                    <a:pt x="589" y="78"/>
                    <a:pt x="583" y="66"/>
                    <a:pt x="583" y="66"/>
                  </a:cubicBezTo>
                  <a:cubicBezTo>
                    <a:pt x="583" y="66"/>
                    <a:pt x="577" y="64"/>
                    <a:pt x="576" y="66"/>
                  </a:cubicBezTo>
                  <a:cubicBezTo>
                    <a:pt x="576" y="68"/>
                    <a:pt x="574" y="72"/>
                    <a:pt x="574" y="72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63" y="69"/>
                    <a:pt x="563" y="69"/>
                    <a:pt x="563" y="69"/>
                  </a:cubicBezTo>
                  <a:cubicBezTo>
                    <a:pt x="555" y="67"/>
                    <a:pt x="555" y="67"/>
                    <a:pt x="555" y="67"/>
                  </a:cubicBezTo>
                  <a:cubicBezTo>
                    <a:pt x="555" y="67"/>
                    <a:pt x="554" y="68"/>
                    <a:pt x="553" y="69"/>
                  </a:cubicBezTo>
                  <a:cubicBezTo>
                    <a:pt x="553" y="70"/>
                    <a:pt x="545" y="65"/>
                    <a:pt x="545" y="65"/>
                  </a:cubicBezTo>
                  <a:cubicBezTo>
                    <a:pt x="545" y="65"/>
                    <a:pt x="542" y="69"/>
                    <a:pt x="541" y="70"/>
                  </a:cubicBezTo>
                  <a:cubicBezTo>
                    <a:pt x="541" y="70"/>
                    <a:pt x="533" y="68"/>
                    <a:pt x="533" y="68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8" y="70"/>
                    <a:pt x="518" y="70"/>
                    <a:pt x="518" y="70"/>
                  </a:cubicBezTo>
                  <a:cubicBezTo>
                    <a:pt x="512" y="67"/>
                    <a:pt x="512" y="67"/>
                    <a:pt x="512" y="67"/>
                  </a:cubicBezTo>
                  <a:cubicBezTo>
                    <a:pt x="510" y="70"/>
                    <a:pt x="510" y="70"/>
                    <a:pt x="510" y="70"/>
                  </a:cubicBezTo>
                  <a:cubicBezTo>
                    <a:pt x="511" y="75"/>
                    <a:pt x="511" y="75"/>
                    <a:pt x="511" y="75"/>
                  </a:cubicBezTo>
                  <a:cubicBezTo>
                    <a:pt x="506" y="78"/>
                    <a:pt x="506" y="78"/>
                    <a:pt x="506" y="78"/>
                  </a:cubicBezTo>
                  <a:cubicBezTo>
                    <a:pt x="500" y="74"/>
                    <a:pt x="500" y="74"/>
                    <a:pt x="500" y="74"/>
                  </a:cubicBezTo>
                  <a:cubicBezTo>
                    <a:pt x="495" y="73"/>
                    <a:pt x="495" y="73"/>
                    <a:pt x="495" y="73"/>
                  </a:cubicBezTo>
                  <a:cubicBezTo>
                    <a:pt x="488" y="66"/>
                    <a:pt x="488" y="66"/>
                    <a:pt x="488" y="66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476" y="61"/>
                    <a:pt x="476" y="61"/>
                    <a:pt x="476" y="61"/>
                  </a:cubicBezTo>
                  <a:cubicBezTo>
                    <a:pt x="476" y="61"/>
                    <a:pt x="473" y="69"/>
                    <a:pt x="472" y="70"/>
                  </a:cubicBezTo>
                  <a:cubicBezTo>
                    <a:pt x="471" y="70"/>
                    <a:pt x="466" y="72"/>
                    <a:pt x="465" y="72"/>
                  </a:cubicBezTo>
                  <a:cubicBezTo>
                    <a:pt x="463" y="73"/>
                    <a:pt x="462" y="78"/>
                    <a:pt x="462" y="78"/>
                  </a:cubicBezTo>
                  <a:cubicBezTo>
                    <a:pt x="457" y="81"/>
                    <a:pt x="457" y="81"/>
                    <a:pt x="457" y="81"/>
                  </a:cubicBezTo>
                  <a:cubicBezTo>
                    <a:pt x="457" y="81"/>
                    <a:pt x="454" y="79"/>
                    <a:pt x="452" y="79"/>
                  </a:cubicBezTo>
                  <a:cubicBezTo>
                    <a:pt x="451" y="79"/>
                    <a:pt x="450" y="80"/>
                    <a:pt x="450" y="80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7" y="83"/>
                    <a:pt x="444" y="81"/>
                  </a:cubicBezTo>
                  <a:cubicBezTo>
                    <a:pt x="442" y="80"/>
                    <a:pt x="439" y="78"/>
                    <a:pt x="439" y="78"/>
                  </a:cubicBezTo>
                  <a:cubicBezTo>
                    <a:pt x="436" y="77"/>
                    <a:pt x="436" y="77"/>
                    <a:pt x="436" y="77"/>
                  </a:cubicBezTo>
                  <a:cubicBezTo>
                    <a:pt x="436" y="77"/>
                    <a:pt x="427" y="81"/>
                    <a:pt x="426" y="82"/>
                  </a:cubicBezTo>
                  <a:cubicBezTo>
                    <a:pt x="426" y="83"/>
                    <a:pt x="424" y="86"/>
                    <a:pt x="424" y="86"/>
                  </a:cubicBezTo>
                  <a:cubicBezTo>
                    <a:pt x="419" y="82"/>
                    <a:pt x="419" y="82"/>
                    <a:pt x="419" y="82"/>
                  </a:cubicBezTo>
                  <a:cubicBezTo>
                    <a:pt x="413" y="78"/>
                    <a:pt x="413" y="78"/>
                    <a:pt x="413" y="78"/>
                  </a:cubicBezTo>
                  <a:cubicBezTo>
                    <a:pt x="412" y="71"/>
                    <a:pt x="412" y="71"/>
                    <a:pt x="412" y="7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399" y="51"/>
                    <a:pt x="399" y="51"/>
                    <a:pt x="399" y="51"/>
                  </a:cubicBezTo>
                  <a:cubicBezTo>
                    <a:pt x="391" y="45"/>
                    <a:pt x="391" y="45"/>
                    <a:pt x="391" y="45"/>
                  </a:cubicBezTo>
                  <a:cubicBezTo>
                    <a:pt x="386" y="51"/>
                    <a:pt x="386" y="51"/>
                    <a:pt x="386" y="51"/>
                  </a:cubicBezTo>
                  <a:cubicBezTo>
                    <a:pt x="378" y="50"/>
                    <a:pt x="378" y="50"/>
                    <a:pt x="378" y="50"/>
                  </a:cubicBezTo>
                  <a:cubicBezTo>
                    <a:pt x="370" y="52"/>
                    <a:pt x="370" y="52"/>
                    <a:pt x="370" y="52"/>
                  </a:cubicBezTo>
                  <a:cubicBezTo>
                    <a:pt x="370" y="52"/>
                    <a:pt x="365" y="57"/>
                    <a:pt x="365" y="55"/>
                  </a:cubicBezTo>
                  <a:cubicBezTo>
                    <a:pt x="364" y="53"/>
                    <a:pt x="366" y="49"/>
                    <a:pt x="366" y="47"/>
                  </a:cubicBezTo>
                  <a:cubicBezTo>
                    <a:pt x="365" y="46"/>
                    <a:pt x="360" y="49"/>
                    <a:pt x="361" y="45"/>
                  </a:cubicBezTo>
                  <a:cubicBezTo>
                    <a:pt x="362" y="43"/>
                    <a:pt x="361" y="40"/>
                    <a:pt x="360" y="39"/>
                  </a:cubicBezTo>
                  <a:cubicBezTo>
                    <a:pt x="358" y="37"/>
                    <a:pt x="352" y="37"/>
                    <a:pt x="354" y="33"/>
                  </a:cubicBezTo>
                  <a:cubicBezTo>
                    <a:pt x="356" y="30"/>
                    <a:pt x="361" y="28"/>
                    <a:pt x="361" y="28"/>
                  </a:cubicBezTo>
                  <a:cubicBezTo>
                    <a:pt x="361" y="26"/>
                    <a:pt x="361" y="26"/>
                    <a:pt x="361" y="26"/>
                  </a:cubicBezTo>
                  <a:cubicBezTo>
                    <a:pt x="357" y="22"/>
                    <a:pt x="357" y="22"/>
                    <a:pt x="357" y="22"/>
                  </a:cubicBezTo>
                  <a:cubicBezTo>
                    <a:pt x="346" y="17"/>
                    <a:pt x="346" y="17"/>
                    <a:pt x="346" y="17"/>
                  </a:cubicBezTo>
                  <a:cubicBezTo>
                    <a:pt x="346" y="17"/>
                    <a:pt x="345" y="11"/>
                    <a:pt x="343" y="11"/>
                  </a:cubicBezTo>
                  <a:cubicBezTo>
                    <a:pt x="342" y="10"/>
                    <a:pt x="339" y="7"/>
                    <a:pt x="339" y="7"/>
                  </a:cubicBezTo>
                  <a:cubicBezTo>
                    <a:pt x="339" y="7"/>
                    <a:pt x="336" y="3"/>
                    <a:pt x="332" y="2"/>
                  </a:cubicBezTo>
                  <a:cubicBezTo>
                    <a:pt x="328" y="0"/>
                    <a:pt x="325" y="9"/>
                    <a:pt x="325" y="9"/>
                  </a:cubicBezTo>
                  <a:cubicBezTo>
                    <a:pt x="321" y="5"/>
                    <a:pt x="321" y="5"/>
                    <a:pt x="321" y="5"/>
                  </a:cubicBezTo>
                  <a:cubicBezTo>
                    <a:pt x="313" y="8"/>
                    <a:pt x="313" y="8"/>
                    <a:pt x="313" y="8"/>
                  </a:cubicBezTo>
                  <a:cubicBezTo>
                    <a:pt x="307" y="17"/>
                    <a:pt x="307" y="17"/>
                    <a:pt x="307" y="17"/>
                  </a:cubicBezTo>
                  <a:cubicBezTo>
                    <a:pt x="303" y="18"/>
                    <a:pt x="303" y="18"/>
                    <a:pt x="303" y="18"/>
                  </a:cubicBezTo>
                  <a:cubicBezTo>
                    <a:pt x="297" y="19"/>
                    <a:pt x="297" y="19"/>
                    <a:pt x="297" y="19"/>
                  </a:cubicBezTo>
                  <a:cubicBezTo>
                    <a:pt x="288" y="21"/>
                    <a:pt x="288" y="21"/>
                    <a:pt x="288" y="21"/>
                  </a:cubicBezTo>
                  <a:cubicBezTo>
                    <a:pt x="286" y="27"/>
                    <a:pt x="286" y="27"/>
                    <a:pt x="286" y="27"/>
                  </a:cubicBezTo>
                  <a:cubicBezTo>
                    <a:pt x="287" y="33"/>
                    <a:pt x="287" y="33"/>
                    <a:pt x="287" y="33"/>
                  </a:cubicBezTo>
                  <a:cubicBezTo>
                    <a:pt x="282" y="37"/>
                    <a:pt x="282" y="37"/>
                    <a:pt x="282" y="37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58" y="44"/>
                    <a:pt x="258" y="44"/>
                    <a:pt x="258" y="44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4" y="56"/>
                    <a:pt x="244" y="56"/>
                    <a:pt x="244" y="56"/>
                  </a:cubicBezTo>
                  <a:cubicBezTo>
                    <a:pt x="241" y="64"/>
                    <a:pt x="241" y="64"/>
                    <a:pt x="241" y="64"/>
                  </a:cubicBezTo>
                  <a:cubicBezTo>
                    <a:pt x="238" y="73"/>
                    <a:pt x="238" y="73"/>
                    <a:pt x="238" y="73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3" y="85"/>
                    <a:pt x="243" y="85"/>
                    <a:pt x="243" y="85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2" y="90"/>
                    <a:pt x="222" y="90"/>
                    <a:pt x="222" y="90"/>
                  </a:cubicBezTo>
                  <a:cubicBezTo>
                    <a:pt x="215" y="92"/>
                    <a:pt x="215" y="92"/>
                    <a:pt x="215" y="92"/>
                  </a:cubicBezTo>
                  <a:cubicBezTo>
                    <a:pt x="213" y="92"/>
                    <a:pt x="213" y="92"/>
                    <a:pt x="213" y="92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99"/>
                    <a:pt x="203" y="97"/>
                    <a:pt x="202" y="96"/>
                  </a:cubicBezTo>
                  <a:cubicBezTo>
                    <a:pt x="201" y="95"/>
                    <a:pt x="198" y="93"/>
                    <a:pt x="198" y="93"/>
                  </a:cubicBezTo>
                  <a:cubicBezTo>
                    <a:pt x="198" y="93"/>
                    <a:pt x="197" y="91"/>
                    <a:pt x="196" y="90"/>
                  </a:cubicBezTo>
                  <a:cubicBezTo>
                    <a:pt x="195" y="90"/>
                    <a:pt x="189" y="94"/>
                    <a:pt x="189" y="94"/>
                  </a:cubicBezTo>
                  <a:cubicBezTo>
                    <a:pt x="189" y="94"/>
                    <a:pt x="184" y="97"/>
                    <a:pt x="184" y="98"/>
                  </a:cubicBezTo>
                  <a:cubicBezTo>
                    <a:pt x="185" y="98"/>
                    <a:pt x="184" y="103"/>
                    <a:pt x="184" y="103"/>
                  </a:cubicBezTo>
                  <a:cubicBezTo>
                    <a:pt x="177" y="97"/>
                    <a:pt x="177" y="97"/>
                    <a:pt x="177" y="97"/>
                  </a:cubicBezTo>
                  <a:cubicBezTo>
                    <a:pt x="172" y="101"/>
                    <a:pt x="172" y="101"/>
                    <a:pt x="172" y="101"/>
                  </a:cubicBezTo>
                  <a:cubicBezTo>
                    <a:pt x="168" y="98"/>
                    <a:pt x="168" y="98"/>
                    <a:pt x="168" y="98"/>
                  </a:cubicBezTo>
                  <a:cubicBezTo>
                    <a:pt x="166" y="97"/>
                    <a:pt x="166" y="97"/>
                    <a:pt x="166" y="97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5"/>
                    <a:pt x="144" y="104"/>
                    <a:pt x="143" y="104"/>
                  </a:cubicBezTo>
                  <a:cubicBezTo>
                    <a:pt x="142" y="104"/>
                    <a:pt x="139" y="108"/>
                    <a:pt x="139" y="108"/>
                  </a:cubicBezTo>
                  <a:cubicBezTo>
                    <a:pt x="134" y="104"/>
                    <a:pt x="134" y="104"/>
                    <a:pt x="134" y="104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1"/>
                    <a:pt x="119" y="102"/>
                    <a:pt x="118" y="102"/>
                  </a:cubicBezTo>
                  <a:cubicBezTo>
                    <a:pt x="117" y="102"/>
                    <a:pt x="110" y="101"/>
                    <a:pt x="110" y="101"/>
                  </a:cubicBezTo>
                  <a:cubicBezTo>
                    <a:pt x="101" y="103"/>
                    <a:pt x="101" y="103"/>
                    <a:pt x="101" y="103"/>
                  </a:cubicBezTo>
                  <a:cubicBezTo>
                    <a:pt x="88" y="103"/>
                    <a:pt x="88" y="103"/>
                    <a:pt x="88" y="103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0" y="114"/>
                    <a:pt x="40" y="114"/>
                    <a:pt x="40" y="114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6" y="124"/>
                    <a:pt x="34" y="126"/>
                    <a:pt x="33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3" y="128"/>
                    <a:pt x="30" y="127"/>
                    <a:pt x="30" y="129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1"/>
                    <a:pt x="22" y="129"/>
                    <a:pt x="22" y="129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3"/>
                    <a:pt x="17" y="134"/>
                    <a:pt x="18" y="134"/>
                  </a:cubicBezTo>
                  <a:cubicBezTo>
                    <a:pt x="19" y="135"/>
                    <a:pt x="19" y="135"/>
                    <a:pt x="19" y="136"/>
                  </a:cubicBezTo>
                  <a:cubicBezTo>
                    <a:pt x="20" y="136"/>
                    <a:pt x="20" y="137"/>
                    <a:pt x="20" y="137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2" y="149"/>
                    <a:pt x="24" y="149"/>
                  </a:cubicBezTo>
                  <a:cubicBezTo>
                    <a:pt x="26" y="149"/>
                    <a:pt x="27" y="150"/>
                    <a:pt x="27" y="152"/>
                  </a:cubicBezTo>
                  <a:cubicBezTo>
                    <a:pt x="27" y="154"/>
                    <a:pt x="32" y="156"/>
                    <a:pt x="32" y="156"/>
                  </a:cubicBezTo>
                  <a:cubicBezTo>
                    <a:pt x="32" y="156"/>
                    <a:pt x="32" y="160"/>
                    <a:pt x="33" y="161"/>
                  </a:cubicBezTo>
                  <a:cubicBezTo>
                    <a:pt x="35" y="162"/>
                    <a:pt x="37" y="163"/>
                    <a:pt x="40" y="163"/>
                  </a:cubicBezTo>
                  <a:cubicBezTo>
                    <a:pt x="43" y="164"/>
                    <a:pt x="42" y="168"/>
                    <a:pt x="44" y="169"/>
                  </a:cubicBezTo>
                  <a:cubicBezTo>
                    <a:pt x="46" y="170"/>
                    <a:pt x="48" y="172"/>
                    <a:pt x="46" y="172"/>
                  </a:cubicBezTo>
                  <a:cubicBezTo>
                    <a:pt x="45" y="173"/>
                    <a:pt x="42" y="173"/>
                    <a:pt x="42" y="173"/>
                  </a:cubicBezTo>
                  <a:cubicBezTo>
                    <a:pt x="42" y="173"/>
                    <a:pt x="41" y="174"/>
                    <a:pt x="41" y="176"/>
                  </a:cubicBezTo>
                  <a:cubicBezTo>
                    <a:pt x="42" y="177"/>
                    <a:pt x="42" y="177"/>
                    <a:pt x="42" y="177"/>
                  </a:cubicBezTo>
                  <a:cubicBezTo>
                    <a:pt x="46" y="182"/>
                    <a:pt x="46" y="182"/>
                    <a:pt x="46" y="182"/>
                  </a:cubicBezTo>
                  <a:cubicBezTo>
                    <a:pt x="46" y="188"/>
                    <a:pt x="46" y="188"/>
                    <a:pt x="46" y="188"/>
                  </a:cubicBezTo>
                  <a:cubicBezTo>
                    <a:pt x="46" y="188"/>
                    <a:pt x="46" y="190"/>
                    <a:pt x="46" y="192"/>
                  </a:cubicBezTo>
                  <a:cubicBezTo>
                    <a:pt x="46" y="193"/>
                    <a:pt x="45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1" y="196"/>
                    <a:pt x="41" y="198"/>
                    <a:pt x="40" y="198"/>
                  </a:cubicBezTo>
                  <a:cubicBezTo>
                    <a:pt x="39" y="199"/>
                    <a:pt x="37" y="196"/>
                    <a:pt x="36" y="199"/>
                  </a:cubicBezTo>
                  <a:cubicBezTo>
                    <a:pt x="35" y="203"/>
                    <a:pt x="33" y="206"/>
                    <a:pt x="33" y="207"/>
                  </a:cubicBezTo>
                  <a:cubicBezTo>
                    <a:pt x="32" y="208"/>
                    <a:pt x="29" y="209"/>
                    <a:pt x="29" y="211"/>
                  </a:cubicBezTo>
                  <a:cubicBezTo>
                    <a:pt x="28" y="213"/>
                    <a:pt x="28" y="211"/>
                    <a:pt x="26" y="216"/>
                  </a:cubicBezTo>
                  <a:cubicBezTo>
                    <a:pt x="24" y="221"/>
                    <a:pt x="23" y="223"/>
                    <a:pt x="23" y="223"/>
                  </a:cubicBezTo>
                  <a:cubicBezTo>
                    <a:pt x="14" y="235"/>
                    <a:pt x="14" y="235"/>
                    <a:pt x="14" y="235"/>
                  </a:cubicBezTo>
                  <a:cubicBezTo>
                    <a:pt x="14" y="235"/>
                    <a:pt x="9" y="243"/>
                    <a:pt x="9" y="244"/>
                  </a:cubicBezTo>
                  <a:cubicBezTo>
                    <a:pt x="9" y="245"/>
                    <a:pt x="9" y="249"/>
                    <a:pt x="9" y="249"/>
                  </a:cubicBezTo>
                  <a:cubicBezTo>
                    <a:pt x="13" y="253"/>
                    <a:pt x="13" y="253"/>
                    <a:pt x="13" y="253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7"/>
                    <a:pt x="13" y="260"/>
                    <a:pt x="14" y="261"/>
                  </a:cubicBezTo>
                  <a:cubicBezTo>
                    <a:pt x="15" y="261"/>
                    <a:pt x="15" y="261"/>
                    <a:pt x="15" y="261"/>
                  </a:cubicBezTo>
                  <a:cubicBezTo>
                    <a:pt x="14" y="264"/>
                    <a:pt x="14" y="264"/>
                    <a:pt x="14" y="264"/>
                  </a:cubicBezTo>
                  <a:cubicBezTo>
                    <a:pt x="14" y="264"/>
                    <a:pt x="15" y="267"/>
                    <a:pt x="16" y="267"/>
                  </a:cubicBezTo>
                  <a:cubicBezTo>
                    <a:pt x="16" y="267"/>
                    <a:pt x="18" y="268"/>
                    <a:pt x="18" y="268"/>
                  </a:cubicBezTo>
                  <a:cubicBezTo>
                    <a:pt x="18" y="268"/>
                    <a:pt x="20" y="270"/>
                    <a:pt x="20" y="270"/>
                  </a:cubicBezTo>
                  <a:cubicBezTo>
                    <a:pt x="21" y="271"/>
                    <a:pt x="20" y="273"/>
                    <a:pt x="20" y="273"/>
                  </a:cubicBezTo>
                  <a:cubicBezTo>
                    <a:pt x="20" y="273"/>
                    <a:pt x="20" y="274"/>
                    <a:pt x="19" y="274"/>
                  </a:cubicBezTo>
                  <a:cubicBezTo>
                    <a:pt x="18" y="274"/>
                    <a:pt x="18" y="274"/>
                    <a:pt x="16" y="274"/>
                  </a:cubicBezTo>
                  <a:cubicBezTo>
                    <a:pt x="16" y="273"/>
                    <a:pt x="16" y="273"/>
                    <a:pt x="15" y="273"/>
                  </a:cubicBezTo>
                  <a:cubicBezTo>
                    <a:pt x="13" y="273"/>
                    <a:pt x="13" y="273"/>
                    <a:pt x="13" y="273"/>
                  </a:cubicBezTo>
                  <a:cubicBezTo>
                    <a:pt x="12" y="273"/>
                    <a:pt x="12" y="273"/>
                    <a:pt x="11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9" y="273"/>
                    <a:pt x="9" y="273"/>
                    <a:pt x="8" y="274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75"/>
                    <a:pt x="7" y="276"/>
                    <a:pt x="7" y="277"/>
                  </a:cubicBezTo>
                  <a:cubicBezTo>
                    <a:pt x="6" y="277"/>
                    <a:pt x="6" y="279"/>
                    <a:pt x="6" y="279"/>
                  </a:cubicBezTo>
                  <a:cubicBezTo>
                    <a:pt x="6" y="279"/>
                    <a:pt x="6" y="280"/>
                    <a:pt x="6" y="280"/>
                  </a:cubicBezTo>
                  <a:cubicBezTo>
                    <a:pt x="6" y="280"/>
                    <a:pt x="6" y="282"/>
                    <a:pt x="6" y="282"/>
                  </a:cubicBezTo>
                  <a:cubicBezTo>
                    <a:pt x="5" y="284"/>
                    <a:pt x="5" y="284"/>
                    <a:pt x="5" y="284"/>
                  </a:cubicBezTo>
                  <a:cubicBezTo>
                    <a:pt x="5" y="284"/>
                    <a:pt x="4" y="285"/>
                    <a:pt x="5" y="286"/>
                  </a:cubicBezTo>
                  <a:cubicBezTo>
                    <a:pt x="5" y="286"/>
                    <a:pt x="5" y="287"/>
                    <a:pt x="5" y="287"/>
                  </a:cubicBezTo>
                  <a:cubicBezTo>
                    <a:pt x="6" y="288"/>
                    <a:pt x="6" y="288"/>
                    <a:pt x="6" y="288"/>
                  </a:cubicBezTo>
                  <a:cubicBezTo>
                    <a:pt x="4" y="290"/>
                    <a:pt x="4" y="290"/>
                    <a:pt x="4" y="290"/>
                  </a:cubicBezTo>
                  <a:cubicBezTo>
                    <a:pt x="4" y="292"/>
                    <a:pt x="4" y="292"/>
                    <a:pt x="4" y="292"/>
                  </a:cubicBezTo>
                  <a:cubicBezTo>
                    <a:pt x="4" y="292"/>
                    <a:pt x="5" y="293"/>
                    <a:pt x="4" y="294"/>
                  </a:cubicBezTo>
                  <a:cubicBezTo>
                    <a:pt x="4" y="294"/>
                    <a:pt x="3" y="295"/>
                    <a:pt x="3" y="295"/>
                  </a:cubicBezTo>
                  <a:cubicBezTo>
                    <a:pt x="3" y="295"/>
                    <a:pt x="1" y="297"/>
                    <a:pt x="1" y="297"/>
                  </a:cubicBezTo>
                  <a:cubicBezTo>
                    <a:pt x="1" y="297"/>
                    <a:pt x="1" y="298"/>
                    <a:pt x="1" y="298"/>
                  </a:cubicBezTo>
                  <a:cubicBezTo>
                    <a:pt x="1" y="298"/>
                    <a:pt x="0" y="300"/>
                    <a:pt x="0" y="300"/>
                  </a:cubicBezTo>
                  <a:cubicBezTo>
                    <a:pt x="0" y="300"/>
                    <a:pt x="0" y="303"/>
                    <a:pt x="0" y="303"/>
                  </a:cubicBezTo>
                  <a:cubicBezTo>
                    <a:pt x="0" y="303"/>
                    <a:pt x="1" y="304"/>
                    <a:pt x="1" y="304"/>
                  </a:cubicBezTo>
                  <a:cubicBezTo>
                    <a:pt x="1" y="304"/>
                    <a:pt x="1" y="305"/>
                    <a:pt x="1" y="306"/>
                  </a:cubicBezTo>
                  <a:cubicBezTo>
                    <a:pt x="0" y="306"/>
                    <a:pt x="1" y="307"/>
                    <a:pt x="1" y="308"/>
                  </a:cubicBezTo>
                  <a:cubicBezTo>
                    <a:pt x="1" y="308"/>
                    <a:pt x="1" y="309"/>
                    <a:pt x="1" y="309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2" y="314"/>
                    <a:pt x="2" y="314"/>
                    <a:pt x="2" y="314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8" y="311"/>
                    <a:pt x="8" y="311"/>
                    <a:pt x="8" y="311"/>
                  </a:cubicBezTo>
                  <a:cubicBezTo>
                    <a:pt x="11" y="314"/>
                    <a:pt x="11" y="314"/>
                    <a:pt x="11" y="314"/>
                  </a:cubicBezTo>
                  <a:cubicBezTo>
                    <a:pt x="14" y="317"/>
                    <a:pt x="14" y="317"/>
                    <a:pt x="14" y="317"/>
                  </a:cubicBezTo>
                  <a:cubicBezTo>
                    <a:pt x="19" y="317"/>
                    <a:pt x="19" y="317"/>
                    <a:pt x="19" y="317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5" y="324"/>
                    <a:pt x="25" y="324"/>
                    <a:pt x="25" y="324"/>
                  </a:cubicBezTo>
                  <a:cubicBezTo>
                    <a:pt x="30" y="323"/>
                    <a:pt x="30" y="323"/>
                    <a:pt x="30" y="323"/>
                  </a:cubicBezTo>
                  <a:cubicBezTo>
                    <a:pt x="35" y="326"/>
                    <a:pt x="35" y="326"/>
                    <a:pt x="35" y="326"/>
                  </a:cubicBezTo>
                  <a:cubicBezTo>
                    <a:pt x="34" y="329"/>
                    <a:pt x="34" y="329"/>
                    <a:pt x="34" y="329"/>
                  </a:cubicBezTo>
                  <a:cubicBezTo>
                    <a:pt x="34" y="329"/>
                    <a:pt x="38" y="324"/>
                    <a:pt x="39" y="323"/>
                  </a:cubicBezTo>
                  <a:cubicBezTo>
                    <a:pt x="40" y="322"/>
                    <a:pt x="44" y="321"/>
                    <a:pt x="44" y="321"/>
                  </a:cubicBezTo>
                  <a:cubicBezTo>
                    <a:pt x="44" y="321"/>
                    <a:pt x="46" y="323"/>
                    <a:pt x="48" y="324"/>
                  </a:cubicBezTo>
                  <a:cubicBezTo>
                    <a:pt x="51" y="324"/>
                    <a:pt x="51" y="324"/>
                    <a:pt x="51" y="324"/>
                  </a:cubicBezTo>
                  <a:cubicBezTo>
                    <a:pt x="53" y="324"/>
                    <a:pt x="61" y="323"/>
                    <a:pt x="61" y="323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78" y="321"/>
                    <a:pt x="78" y="321"/>
                    <a:pt x="78" y="321"/>
                  </a:cubicBezTo>
                  <a:cubicBezTo>
                    <a:pt x="90" y="322"/>
                    <a:pt x="90" y="322"/>
                    <a:pt x="90" y="322"/>
                  </a:cubicBezTo>
                  <a:cubicBezTo>
                    <a:pt x="92" y="321"/>
                    <a:pt x="92" y="321"/>
                    <a:pt x="92" y="321"/>
                  </a:cubicBezTo>
                  <a:cubicBezTo>
                    <a:pt x="93" y="322"/>
                    <a:pt x="93" y="322"/>
                    <a:pt x="93" y="322"/>
                  </a:cubicBezTo>
                  <a:cubicBezTo>
                    <a:pt x="97" y="321"/>
                    <a:pt x="97" y="321"/>
                    <a:pt x="97" y="321"/>
                  </a:cubicBezTo>
                  <a:cubicBezTo>
                    <a:pt x="101" y="325"/>
                    <a:pt x="101" y="325"/>
                    <a:pt x="101" y="325"/>
                  </a:cubicBezTo>
                  <a:cubicBezTo>
                    <a:pt x="109" y="324"/>
                    <a:pt x="109" y="324"/>
                    <a:pt x="109" y="324"/>
                  </a:cubicBezTo>
                  <a:cubicBezTo>
                    <a:pt x="114" y="317"/>
                    <a:pt x="114" y="317"/>
                    <a:pt x="114" y="317"/>
                  </a:cubicBezTo>
                  <a:cubicBezTo>
                    <a:pt x="114" y="317"/>
                    <a:pt x="117" y="314"/>
                    <a:pt x="121" y="313"/>
                  </a:cubicBezTo>
                  <a:cubicBezTo>
                    <a:pt x="125" y="313"/>
                    <a:pt x="132" y="310"/>
                    <a:pt x="132" y="310"/>
                  </a:cubicBezTo>
                  <a:lnTo>
                    <a:pt x="141" y="305"/>
                  </a:lnTo>
                  <a:close/>
                </a:path>
              </a:pathLst>
            </a:custGeom>
            <a:solidFill>
              <a:schemeClr val="accent1"/>
            </a:solidFill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1" name="Freeform 92"/>
            <p:cNvSpPr>
              <a:spLocks noEditPoints="1"/>
            </p:cNvSpPr>
            <p:nvPr/>
          </p:nvSpPr>
          <p:spPr bwMode="auto">
            <a:xfrm>
              <a:off x="5078738" y="538527"/>
              <a:ext cx="643167" cy="1694015"/>
            </a:xfrm>
            <a:custGeom>
              <a:avLst/>
              <a:gdLst>
                <a:gd name="T0" fmla="*/ 246 w 282"/>
                <a:gd name="T1" fmla="*/ 59 h 766"/>
                <a:gd name="T2" fmla="*/ 210 w 282"/>
                <a:gd name="T3" fmla="*/ 30 h 766"/>
                <a:gd name="T4" fmla="*/ 183 w 282"/>
                <a:gd name="T5" fmla="*/ 8 h 766"/>
                <a:gd name="T6" fmla="*/ 167 w 282"/>
                <a:gd name="T7" fmla="*/ 32 h 766"/>
                <a:gd name="T8" fmla="*/ 123 w 282"/>
                <a:gd name="T9" fmla="*/ 69 h 766"/>
                <a:gd name="T10" fmla="*/ 100 w 282"/>
                <a:gd name="T11" fmla="*/ 111 h 766"/>
                <a:gd name="T12" fmla="*/ 65 w 282"/>
                <a:gd name="T13" fmla="*/ 180 h 766"/>
                <a:gd name="T14" fmla="*/ 52 w 282"/>
                <a:gd name="T15" fmla="*/ 265 h 766"/>
                <a:gd name="T16" fmla="*/ 15 w 282"/>
                <a:gd name="T17" fmla="*/ 333 h 766"/>
                <a:gd name="T18" fmla="*/ 25 w 282"/>
                <a:gd name="T19" fmla="*/ 418 h 766"/>
                <a:gd name="T20" fmla="*/ 27 w 282"/>
                <a:gd name="T21" fmla="*/ 466 h 766"/>
                <a:gd name="T22" fmla="*/ 29 w 282"/>
                <a:gd name="T23" fmla="*/ 515 h 766"/>
                <a:gd name="T24" fmla="*/ 13 w 282"/>
                <a:gd name="T25" fmla="*/ 535 h 766"/>
                <a:gd name="T26" fmla="*/ 8 w 282"/>
                <a:gd name="T27" fmla="*/ 567 h 766"/>
                <a:gd name="T28" fmla="*/ 10 w 282"/>
                <a:gd name="T29" fmla="*/ 603 h 766"/>
                <a:gd name="T30" fmla="*/ 12 w 282"/>
                <a:gd name="T31" fmla="*/ 616 h 766"/>
                <a:gd name="T32" fmla="*/ 19 w 282"/>
                <a:gd name="T33" fmla="*/ 636 h 766"/>
                <a:gd name="T34" fmla="*/ 25 w 282"/>
                <a:gd name="T35" fmla="*/ 655 h 766"/>
                <a:gd name="T36" fmla="*/ 46 w 282"/>
                <a:gd name="T37" fmla="*/ 685 h 766"/>
                <a:gd name="T38" fmla="*/ 50 w 282"/>
                <a:gd name="T39" fmla="*/ 705 h 766"/>
                <a:gd name="T40" fmla="*/ 60 w 282"/>
                <a:gd name="T41" fmla="*/ 739 h 766"/>
                <a:gd name="T42" fmla="*/ 64 w 282"/>
                <a:gd name="T43" fmla="*/ 764 h 766"/>
                <a:gd name="T44" fmla="*/ 93 w 282"/>
                <a:gd name="T45" fmla="*/ 758 h 766"/>
                <a:gd name="T46" fmla="*/ 107 w 282"/>
                <a:gd name="T47" fmla="*/ 752 h 766"/>
                <a:gd name="T48" fmla="*/ 114 w 282"/>
                <a:gd name="T49" fmla="*/ 729 h 766"/>
                <a:gd name="T50" fmla="*/ 122 w 282"/>
                <a:gd name="T51" fmla="*/ 717 h 766"/>
                <a:gd name="T52" fmla="*/ 158 w 282"/>
                <a:gd name="T53" fmla="*/ 688 h 766"/>
                <a:gd name="T54" fmla="*/ 165 w 282"/>
                <a:gd name="T55" fmla="*/ 629 h 766"/>
                <a:gd name="T56" fmla="*/ 163 w 282"/>
                <a:gd name="T57" fmla="*/ 590 h 766"/>
                <a:gd name="T58" fmla="*/ 182 w 282"/>
                <a:gd name="T59" fmla="*/ 559 h 766"/>
                <a:gd name="T60" fmla="*/ 191 w 282"/>
                <a:gd name="T61" fmla="*/ 558 h 766"/>
                <a:gd name="T62" fmla="*/ 205 w 282"/>
                <a:gd name="T63" fmla="*/ 541 h 766"/>
                <a:gd name="T64" fmla="*/ 207 w 282"/>
                <a:gd name="T65" fmla="*/ 514 h 766"/>
                <a:gd name="T66" fmla="*/ 199 w 282"/>
                <a:gd name="T67" fmla="*/ 493 h 766"/>
                <a:gd name="T68" fmla="*/ 180 w 282"/>
                <a:gd name="T69" fmla="*/ 467 h 766"/>
                <a:gd name="T70" fmla="*/ 161 w 282"/>
                <a:gd name="T71" fmla="*/ 459 h 766"/>
                <a:gd name="T72" fmla="*/ 151 w 282"/>
                <a:gd name="T73" fmla="*/ 424 h 766"/>
                <a:gd name="T74" fmla="*/ 157 w 282"/>
                <a:gd name="T75" fmla="*/ 407 h 766"/>
                <a:gd name="T76" fmla="*/ 154 w 282"/>
                <a:gd name="T77" fmla="*/ 369 h 766"/>
                <a:gd name="T78" fmla="*/ 168 w 282"/>
                <a:gd name="T79" fmla="*/ 350 h 766"/>
                <a:gd name="T80" fmla="*/ 182 w 282"/>
                <a:gd name="T81" fmla="*/ 325 h 766"/>
                <a:gd name="T82" fmla="*/ 196 w 282"/>
                <a:gd name="T83" fmla="*/ 307 h 766"/>
                <a:gd name="T84" fmla="*/ 210 w 282"/>
                <a:gd name="T85" fmla="*/ 295 h 766"/>
                <a:gd name="T86" fmla="*/ 225 w 282"/>
                <a:gd name="T87" fmla="*/ 266 h 766"/>
                <a:gd name="T88" fmla="*/ 229 w 282"/>
                <a:gd name="T89" fmla="*/ 238 h 766"/>
                <a:gd name="T90" fmla="*/ 225 w 282"/>
                <a:gd name="T91" fmla="*/ 219 h 766"/>
                <a:gd name="T92" fmla="*/ 229 w 282"/>
                <a:gd name="T93" fmla="*/ 198 h 766"/>
                <a:gd name="T94" fmla="*/ 242 w 282"/>
                <a:gd name="T95" fmla="*/ 187 h 766"/>
                <a:gd name="T96" fmla="*/ 258 w 282"/>
                <a:gd name="T97" fmla="*/ 170 h 766"/>
                <a:gd name="T98" fmla="*/ 269 w 282"/>
                <a:gd name="T99" fmla="*/ 173 h 766"/>
                <a:gd name="T100" fmla="*/ 275 w 282"/>
                <a:gd name="T101" fmla="*/ 169 h 766"/>
                <a:gd name="T102" fmla="*/ 279 w 282"/>
                <a:gd name="T103" fmla="*/ 165 h 766"/>
                <a:gd name="T104" fmla="*/ 266 w 282"/>
                <a:gd name="T105" fmla="*/ 119 h 766"/>
                <a:gd name="T106" fmla="*/ 164 w 282"/>
                <a:gd name="T107" fmla="*/ 699 h 766"/>
                <a:gd name="T108" fmla="*/ 174 w 282"/>
                <a:gd name="T109" fmla="*/ 650 h 766"/>
                <a:gd name="T110" fmla="*/ 175 w 282"/>
                <a:gd name="T111" fmla="*/ 673 h 766"/>
                <a:gd name="T112" fmla="*/ 165 w 282"/>
                <a:gd name="T113" fmla="*/ 710 h 766"/>
                <a:gd name="T114" fmla="*/ 210 w 282"/>
                <a:gd name="T115" fmla="*/ 625 h 766"/>
                <a:gd name="T116" fmla="*/ 229 w 282"/>
                <a:gd name="T117" fmla="*/ 607 h 766"/>
                <a:gd name="T118" fmla="*/ 224 w 282"/>
                <a:gd name="T119" fmla="*/ 631 h 766"/>
                <a:gd name="T120" fmla="*/ 216 w 282"/>
                <a:gd name="T121" fmla="*/ 66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2" h="766">
                  <a:moveTo>
                    <a:pt x="255" y="88"/>
                  </a:moveTo>
                  <a:cubicBezTo>
                    <a:pt x="255" y="87"/>
                    <a:pt x="255" y="87"/>
                    <a:pt x="255" y="87"/>
                  </a:cubicBezTo>
                  <a:cubicBezTo>
                    <a:pt x="255" y="87"/>
                    <a:pt x="253" y="83"/>
                    <a:pt x="254" y="81"/>
                  </a:cubicBezTo>
                  <a:cubicBezTo>
                    <a:pt x="254" y="81"/>
                    <a:pt x="254" y="81"/>
                    <a:pt x="254" y="80"/>
                  </a:cubicBezTo>
                  <a:cubicBezTo>
                    <a:pt x="254" y="79"/>
                    <a:pt x="254" y="79"/>
                    <a:pt x="254" y="79"/>
                  </a:cubicBezTo>
                  <a:cubicBezTo>
                    <a:pt x="250" y="80"/>
                    <a:pt x="250" y="80"/>
                    <a:pt x="250" y="80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8" y="53"/>
                    <a:pt x="248" y="53"/>
                    <a:pt x="248" y="53"/>
                  </a:cubicBezTo>
                  <a:cubicBezTo>
                    <a:pt x="242" y="50"/>
                    <a:pt x="242" y="50"/>
                    <a:pt x="242" y="50"/>
                  </a:cubicBezTo>
                  <a:cubicBezTo>
                    <a:pt x="238" y="44"/>
                    <a:pt x="238" y="44"/>
                    <a:pt x="238" y="44"/>
                  </a:cubicBezTo>
                  <a:cubicBezTo>
                    <a:pt x="238" y="44"/>
                    <a:pt x="237" y="46"/>
                    <a:pt x="236" y="45"/>
                  </a:cubicBezTo>
                  <a:cubicBezTo>
                    <a:pt x="235" y="44"/>
                    <a:pt x="230" y="36"/>
                    <a:pt x="230" y="36"/>
                  </a:cubicBezTo>
                  <a:cubicBezTo>
                    <a:pt x="221" y="33"/>
                    <a:pt x="221" y="33"/>
                    <a:pt x="221" y="33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1" y="32"/>
                    <a:pt x="210" y="30"/>
                  </a:cubicBezTo>
                  <a:cubicBezTo>
                    <a:pt x="209" y="28"/>
                    <a:pt x="207" y="26"/>
                    <a:pt x="207" y="26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0" y="23"/>
                    <a:pt x="200" y="23"/>
                    <a:pt x="200" y="23"/>
                  </a:cubicBezTo>
                  <a:cubicBezTo>
                    <a:pt x="200" y="23"/>
                    <a:pt x="199" y="23"/>
                    <a:pt x="198" y="23"/>
                  </a:cubicBezTo>
                  <a:cubicBezTo>
                    <a:pt x="197" y="22"/>
                    <a:pt x="195" y="21"/>
                    <a:pt x="195" y="21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88" y="14"/>
                    <a:pt x="188" y="14"/>
                    <a:pt x="188" y="14"/>
                  </a:cubicBezTo>
                  <a:cubicBezTo>
                    <a:pt x="183" y="12"/>
                    <a:pt x="183" y="12"/>
                    <a:pt x="183" y="12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5" y="2"/>
                    <a:pt x="176" y="2"/>
                  </a:cubicBezTo>
                  <a:cubicBezTo>
                    <a:pt x="177" y="1"/>
                    <a:pt x="180" y="1"/>
                    <a:pt x="18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5"/>
                    <a:pt x="166" y="6"/>
                    <a:pt x="166" y="7"/>
                  </a:cubicBezTo>
                  <a:cubicBezTo>
                    <a:pt x="167" y="8"/>
                    <a:pt x="169" y="17"/>
                    <a:pt x="170" y="19"/>
                  </a:cubicBezTo>
                  <a:cubicBezTo>
                    <a:pt x="171" y="20"/>
                    <a:pt x="171" y="27"/>
                    <a:pt x="167" y="32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67" y="41"/>
                    <a:pt x="167" y="41"/>
                    <a:pt x="167" y="41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42"/>
                    <a:pt x="155" y="41"/>
                    <a:pt x="154" y="40"/>
                  </a:cubicBezTo>
                  <a:cubicBezTo>
                    <a:pt x="153" y="39"/>
                    <a:pt x="148" y="37"/>
                    <a:pt x="147" y="37"/>
                  </a:cubicBezTo>
                  <a:cubicBezTo>
                    <a:pt x="145" y="38"/>
                    <a:pt x="131" y="37"/>
                    <a:pt x="131" y="37"/>
                  </a:cubicBezTo>
                  <a:cubicBezTo>
                    <a:pt x="128" y="41"/>
                    <a:pt x="129" y="62"/>
                    <a:pt x="130" y="65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05" y="76"/>
                    <a:pt x="105" y="78"/>
                  </a:cubicBezTo>
                  <a:cubicBezTo>
                    <a:pt x="105" y="79"/>
                    <a:pt x="103" y="83"/>
                    <a:pt x="103" y="83"/>
                  </a:cubicBezTo>
                  <a:cubicBezTo>
                    <a:pt x="103" y="84"/>
                    <a:pt x="103" y="91"/>
                    <a:pt x="103" y="91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104"/>
                    <a:pt x="95" y="104"/>
                    <a:pt x="95" y="104"/>
                  </a:cubicBezTo>
                  <a:cubicBezTo>
                    <a:pt x="95" y="104"/>
                    <a:pt x="98" y="110"/>
                    <a:pt x="100" y="111"/>
                  </a:cubicBezTo>
                  <a:cubicBezTo>
                    <a:pt x="101" y="113"/>
                    <a:pt x="103" y="121"/>
                    <a:pt x="103" y="121"/>
                  </a:cubicBezTo>
                  <a:cubicBezTo>
                    <a:pt x="103" y="121"/>
                    <a:pt x="100" y="128"/>
                    <a:pt x="99" y="130"/>
                  </a:cubicBezTo>
                  <a:cubicBezTo>
                    <a:pt x="98" y="132"/>
                    <a:pt x="90" y="142"/>
                    <a:pt x="90" y="142"/>
                  </a:cubicBezTo>
                  <a:cubicBezTo>
                    <a:pt x="85" y="155"/>
                    <a:pt x="85" y="155"/>
                    <a:pt x="85" y="155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68" y="177"/>
                    <a:pt x="68" y="177"/>
                    <a:pt x="68" y="177"/>
                  </a:cubicBezTo>
                  <a:cubicBezTo>
                    <a:pt x="65" y="180"/>
                    <a:pt x="65" y="180"/>
                    <a:pt x="65" y="180"/>
                  </a:cubicBezTo>
                  <a:cubicBezTo>
                    <a:pt x="70" y="197"/>
                    <a:pt x="70" y="197"/>
                    <a:pt x="70" y="197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7" y="212"/>
                    <a:pt x="65" y="218"/>
                    <a:pt x="66" y="219"/>
                  </a:cubicBezTo>
                  <a:cubicBezTo>
                    <a:pt x="67" y="221"/>
                    <a:pt x="68" y="225"/>
                    <a:pt x="68" y="225"/>
                  </a:cubicBezTo>
                  <a:cubicBezTo>
                    <a:pt x="64" y="228"/>
                    <a:pt x="64" y="228"/>
                    <a:pt x="64" y="228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2" y="265"/>
                    <a:pt x="52" y="265"/>
                    <a:pt x="52" y="265"/>
                  </a:cubicBezTo>
                  <a:cubicBezTo>
                    <a:pt x="61" y="267"/>
                    <a:pt x="61" y="267"/>
                    <a:pt x="61" y="267"/>
                  </a:cubicBezTo>
                  <a:cubicBezTo>
                    <a:pt x="62" y="283"/>
                    <a:pt x="62" y="283"/>
                    <a:pt x="62" y="283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58" y="292"/>
                    <a:pt x="58" y="292"/>
                    <a:pt x="58" y="292"/>
                  </a:cubicBezTo>
                  <a:cubicBezTo>
                    <a:pt x="34" y="293"/>
                    <a:pt x="34" y="293"/>
                    <a:pt x="34" y="293"/>
                  </a:cubicBezTo>
                  <a:cubicBezTo>
                    <a:pt x="21" y="310"/>
                    <a:pt x="21" y="310"/>
                    <a:pt x="21" y="310"/>
                  </a:cubicBezTo>
                  <a:cubicBezTo>
                    <a:pt x="19" y="320"/>
                    <a:pt x="19" y="320"/>
                    <a:pt x="19" y="320"/>
                  </a:cubicBezTo>
                  <a:cubicBezTo>
                    <a:pt x="18" y="327"/>
                    <a:pt x="18" y="327"/>
                    <a:pt x="18" y="327"/>
                  </a:cubicBezTo>
                  <a:cubicBezTo>
                    <a:pt x="18" y="327"/>
                    <a:pt x="15" y="331"/>
                    <a:pt x="15" y="333"/>
                  </a:cubicBezTo>
                  <a:cubicBezTo>
                    <a:pt x="15" y="334"/>
                    <a:pt x="15" y="340"/>
                    <a:pt x="15" y="340"/>
                  </a:cubicBezTo>
                  <a:cubicBezTo>
                    <a:pt x="19" y="348"/>
                    <a:pt x="19" y="348"/>
                    <a:pt x="19" y="348"/>
                  </a:cubicBezTo>
                  <a:cubicBezTo>
                    <a:pt x="19" y="354"/>
                    <a:pt x="19" y="354"/>
                    <a:pt x="19" y="354"/>
                  </a:cubicBezTo>
                  <a:cubicBezTo>
                    <a:pt x="17" y="357"/>
                    <a:pt x="17" y="357"/>
                    <a:pt x="17" y="357"/>
                  </a:cubicBezTo>
                  <a:cubicBezTo>
                    <a:pt x="18" y="364"/>
                    <a:pt x="18" y="364"/>
                    <a:pt x="18" y="364"/>
                  </a:cubicBezTo>
                  <a:cubicBezTo>
                    <a:pt x="18" y="364"/>
                    <a:pt x="19" y="366"/>
                    <a:pt x="18" y="367"/>
                  </a:cubicBezTo>
                  <a:cubicBezTo>
                    <a:pt x="16" y="369"/>
                    <a:pt x="16" y="371"/>
                    <a:pt x="17" y="373"/>
                  </a:cubicBezTo>
                  <a:cubicBezTo>
                    <a:pt x="17" y="374"/>
                    <a:pt x="24" y="387"/>
                    <a:pt x="24" y="387"/>
                  </a:cubicBezTo>
                  <a:cubicBezTo>
                    <a:pt x="25" y="418"/>
                    <a:pt x="25" y="418"/>
                    <a:pt x="25" y="418"/>
                  </a:cubicBezTo>
                  <a:cubicBezTo>
                    <a:pt x="28" y="426"/>
                    <a:pt x="28" y="426"/>
                    <a:pt x="28" y="426"/>
                  </a:cubicBezTo>
                  <a:cubicBezTo>
                    <a:pt x="35" y="431"/>
                    <a:pt x="35" y="431"/>
                    <a:pt x="35" y="431"/>
                  </a:cubicBezTo>
                  <a:cubicBezTo>
                    <a:pt x="41" y="436"/>
                    <a:pt x="41" y="436"/>
                    <a:pt x="41" y="436"/>
                  </a:cubicBezTo>
                  <a:cubicBezTo>
                    <a:pt x="42" y="445"/>
                    <a:pt x="42" y="445"/>
                    <a:pt x="42" y="445"/>
                  </a:cubicBezTo>
                  <a:cubicBezTo>
                    <a:pt x="42" y="445"/>
                    <a:pt x="40" y="452"/>
                    <a:pt x="40" y="453"/>
                  </a:cubicBezTo>
                  <a:cubicBezTo>
                    <a:pt x="41" y="454"/>
                    <a:pt x="35" y="454"/>
                    <a:pt x="35" y="454"/>
                  </a:cubicBezTo>
                  <a:cubicBezTo>
                    <a:pt x="30" y="455"/>
                    <a:pt x="30" y="455"/>
                    <a:pt x="30" y="455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7" y="466"/>
                    <a:pt x="27" y="466"/>
                    <a:pt x="27" y="466"/>
                  </a:cubicBezTo>
                  <a:cubicBezTo>
                    <a:pt x="30" y="475"/>
                    <a:pt x="30" y="475"/>
                    <a:pt x="30" y="475"/>
                  </a:cubicBezTo>
                  <a:cubicBezTo>
                    <a:pt x="36" y="482"/>
                    <a:pt x="36" y="482"/>
                    <a:pt x="36" y="482"/>
                  </a:cubicBezTo>
                  <a:cubicBezTo>
                    <a:pt x="38" y="488"/>
                    <a:pt x="38" y="488"/>
                    <a:pt x="38" y="488"/>
                  </a:cubicBezTo>
                  <a:cubicBezTo>
                    <a:pt x="35" y="494"/>
                    <a:pt x="35" y="494"/>
                    <a:pt x="35" y="494"/>
                  </a:cubicBezTo>
                  <a:cubicBezTo>
                    <a:pt x="33" y="497"/>
                    <a:pt x="33" y="497"/>
                    <a:pt x="33" y="497"/>
                  </a:cubicBezTo>
                  <a:cubicBezTo>
                    <a:pt x="35" y="502"/>
                    <a:pt x="35" y="502"/>
                    <a:pt x="35" y="502"/>
                  </a:cubicBezTo>
                  <a:cubicBezTo>
                    <a:pt x="35" y="507"/>
                    <a:pt x="35" y="507"/>
                    <a:pt x="35" y="507"/>
                  </a:cubicBezTo>
                  <a:cubicBezTo>
                    <a:pt x="35" y="507"/>
                    <a:pt x="33" y="510"/>
                    <a:pt x="33" y="511"/>
                  </a:cubicBezTo>
                  <a:cubicBezTo>
                    <a:pt x="33" y="512"/>
                    <a:pt x="29" y="515"/>
                    <a:pt x="29" y="515"/>
                  </a:cubicBezTo>
                  <a:cubicBezTo>
                    <a:pt x="26" y="518"/>
                    <a:pt x="26" y="518"/>
                    <a:pt x="26" y="518"/>
                  </a:cubicBezTo>
                  <a:cubicBezTo>
                    <a:pt x="23" y="519"/>
                    <a:pt x="23" y="519"/>
                    <a:pt x="23" y="519"/>
                  </a:cubicBezTo>
                  <a:cubicBezTo>
                    <a:pt x="23" y="519"/>
                    <a:pt x="21" y="518"/>
                    <a:pt x="20" y="519"/>
                  </a:cubicBezTo>
                  <a:cubicBezTo>
                    <a:pt x="20" y="519"/>
                    <a:pt x="18" y="521"/>
                    <a:pt x="18" y="521"/>
                  </a:cubicBezTo>
                  <a:cubicBezTo>
                    <a:pt x="18" y="524"/>
                    <a:pt x="18" y="524"/>
                    <a:pt x="18" y="524"/>
                  </a:cubicBezTo>
                  <a:cubicBezTo>
                    <a:pt x="20" y="526"/>
                    <a:pt x="20" y="526"/>
                    <a:pt x="20" y="526"/>
                  </a:cubicBezTo>
                  <a:cubicBezTo>
                    <a:pt x="19" y="531"/>
                    <a:pt x="19" y="531"/>
                    <a:pt x="19" y="531"/>
                  </a:cubicBezTo>
                  <a:cubicBezTo>
                    <a:pt x="16" y="534"/>
                    <a:pt x="16" y="534"/>
                    <a:pt x="16" y="534"/>
                  </a:cubicBezTo>
                  <a:cubicBezTo>
                    <a:pt x="13" y="535"/>
                    <a:pt x="13" y="535"/>
                    <a:pt x="13" y="535"/>
                  </a:cubicBezTo>
                  <a:cubicBezTo>
                    <a:pt x="15" y="541"/>
                    <a:pt x="15" y="541"/>
                    <a:pt x="15" y="541"/>
                  </a:cubicBezTo>
                  <a:cubicBezTo>
                    <a:pt x="19" y="548"/>
                    <a:pt x="19" y="548"/>
                    <a:pt x="19" y="548"/>
                  </a:cubicBezTo>
                  <a:cubicBezTo>
                    <a:pt x="19" y="554"/>
                    <a:pt x="19" y="554"/>
                    <a:pt x="19" y="554"/>
                  </a:cubicBezTo>
                  <a:cubicBezTo>
                    <a:pt x="16" y="560"/>
                    <a:pt x="16" y="560"/>
                    <a:pt x="16" y="560"/>
                  </a:cubicBezTo>
                  <a:cubicBezTo>
                    <a:pt x="15" y="567"/>
                    <a:pt x="15" y="567"/>
                    <a:pt x="15" y="567"/>
                  </a:cubicBezTo>
                  <a:cubicBezTo>
                    <a:pt x="14" y="573"/>
                    <a:pt x="14" y="573"/>
                    <a:pt x="14" y="573"/>
                  </a:cubicBezTo>
                  <a:cubicBezTo>
                    <a:pt x="12" y="574"/>
                    <a:pt x="12" y="574"/>
                    <a:pt x="12" y="574"/>
                  </a:cubicBezTo>
                  <a:cubicBezTo>
                    <a:pt x="9" y="574"/>
                    <a:pt x="9" y="574"/>
                    <a:pt x="9" y="574"/>
                  </a:cubicBezTo>
                  <a:cubicBezTo>
                    <a:pt x="9" y="574"/>
                    <a:pt x="9" y="568"/>
                    <a:pt x="8" y="567"/>
                  </a:cubicBezTo>
                  <a:cubicBezTo>
                    <a:pt x="8" y="567"/>
                    <a:pt x="1" y="561"/>
                    <a:pt x="1" y="561"/>
                  </a:cubicBezTo>
                  <a:cubicBezTo>
                    <a:pt x="1" y="567"/>
                    <a:pt x="1" y="567"/>
                    <a:pt x="1" y="567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74"/>
                    <a:pt x="1" y="578"/>
                    <a:pt x="2" y="579"/>
                  </a:cubicBezTo>
                  <a:cubicBezTo>
                    <a:pt x="3" y="580"/>
                    <a:pt x="4" y="587"/>
                    <a:pt x="4" y="587"/>
                  </a:cubicBezTo>
                  <a:cubicBezTo>
                    <a:pt x="3" y="594"/>
                    <a:pt x="3" y="594"/>
                    <a:pt x="3" y="594"/>
                  </a:cubicBezTo>
                  <a:cubicBezTo>
                    <a:pt x="3" y="594"/>
                    <a:pt x="5" y="599"/>
                    <a:pt x="5" y="599"/>
                  </a:cubicBezTo>
                  <a:cubicBezTo>
                    <a:pt x="5" y="600"/>
                    <a:pt x="6" y="604"/>
                    <a:pt x="6" y="604"/>
                  </a:cubicBezTo>
                  <a:cubicBezTo>
                    <a:pt x="10" y="603"/>
                    <a:pt x="10" y="603"/>
                    <a:pt x="10" y="603"/>
                  </a:cubicBezTo>
                  <a:cubicBezTo>
                    <a:pt x="9" y="600"/>
                    <a:pt x="9" y="600"/>
                    <a:pt x="9" y="600"/>
                  </a:cubicBezTo>
                  <a:cubicBezTo>
                    <a:pt x="12" y="604"/>
                    <a:pt x="12" y="604"/>
                    <a:pt x="12" y="604"/>
                  </a:cubicBezTo>
                  <a:cubicBezTo>
                    <a:pt x="12" y="604"/>
                    <a:pt x="10" y="605"/>
                    <a:pt x="12" y="604"/>
                  </a:cubicBezTo>
                  <a:cubicBezTo>
                    <a:pt x="13" y="604"/>
                    <a:pt x="15" y="602"/>
                    <a:pt x="15" y="602"/>
                  </a:cubicBezTo>
                  <a:cubicBezTo>
                    <a:pt x="14" y="605"/>
                    <a:pt x="14" y="605"/>
                    <a:pt x="14" y="605"/>
                  </a:cubicBezTo>
                  <a:cubicBezTo>
                    <a:pt x="12" y="609"/>
                    <a:pt x="12" y="609"/>
                    <a:pt x="12" y="609"/>
                  </a:cubicBezTo>
                  <a:cubicBezTo>
                    <a:pt x="13" y="610"/>
                    <a:pt x="13" y="610"/>
                    <a:pt x="13" y="610"/>
                  </a:cubicBezTo>
                  <a:cubicBezTo>
                    <a:pt x="16" y="611"/>
                    <a:pt x="16" y="611"/>
                    <a:pt x="16" y="611"/>
                  </a:cubicBezTo>
                  <a:cubicBezTo>
                    <a:pt x="12" y="616"/>
                    <a:pt x="12" y="616"/>
                    <a:pt x="12" y="616"/>
                  </a:cubicBezTo>
                  <a:cubicBezTo>
                    <a:pt x="12" y="616"/>
                    <a:pt x="14" y="619"/>
                    <a:pt x="15" y="620"/>
                  </a:cubicBezTo>
                  <a:cubicBezTo>
                    <a:pt x="15" y="620"/>
                    <a:pt x="19" y="617"/>
                    <a:pt x="19" y="617"/>
                  </a:cubicBezTo>
                  <a:cubicBezTo>
                    <a:pt x="19" y="617"/>
                    <a:pt x="19" y="618"/>
                    <a:pt x="19" y="619"/>
                  </a:cubicBezTo>
                  <a:cubicBezTo>
                    <a:pt x="19" y="619"/>
                    <a:pt x="16" y="622"/>
                    <a:pt x="16" y="624"/>
                  </a:cubicBezTo>
                  <a:cubicBezTo>
                    <a:pt x="17" y="625"/>
                    <a:pt x="22" y="623"/>
                    <a:pt x="21" y="624"/>
                  </a:cubicBezTo>
                  <a:cubicBezTo>
                    <a:pt x="20" y="625"/>
                    <a:pt x="20" y="627"/>
                    <a:pt x="20" y="627"/>
                  </a:cubicBezTo>
                  <a:cubicBezTo>
                    <a:pt x="20" y="627"/>
                    <a:pt x="17" y="630"/>
                    <a:pt x="19" y="631"/>
                  </a:cubicBezTo>
                  <a:cubicBezTo>
                    <a:pt x="20" y="632"/>
                    <a:pt x="23" y="633"/>
                    <a:pt x="22" y="633"/>
                  </a:cubicBezTo>
                  <a:cubicBezTo>
                    <a:pt x="22" y="634"/>
                    <a:pt x="19" y="636"/>
                    <a:pt x="19" y="636"/>
                  </a:cubicBezTo>
                  <a:cubicBezTo>
                    <a:pt x="19" y="636"/>
                    <a:pt x="18" y="638"/>
                    <a:pt x="19" y="639"/>
                  </a:cubicBezTo>
                  <a:cubicBezTo>
                    <a:pt x="20" y="640"/>
                    <a:pt x="23" y="640"/>
                    <a:pt x="23" y="640"/>
                  </a:cubicBezTo>
                  <a:cubicBezTo>
                    <a:pt x="23" y="640"/>
                    <a:pt x="23" y="638"/>
                    <a:pt x="23" y="639"/>
                  </a:cubicBezTo>
                  <a:cubicBezTo>
                    <a:pt x="23" y="640"/>
                    <a:pt x="22" y="642"/>
                    <a:pt x="22" y="642"/>
                  </a:cubicBezTo>
                  <a:cubicBezTo>
                    <a:pt x="22" y="642"/>
                    <a:pt x="21" y="644"/>
                    <a:pt x="22" y="645"/>
                  </a:cubicBezTo>
                  <a:cubicBezTo>
                    <a:pt x="23" y="645"/>
                    <a:pt x="25" y="645"/>
                    <a:pt x="25" y="645"/>
                  </a:cubicBezTo>
                  <a:cubicBezTo>
                    <a:pt x="25" y="645"/>
                    <a:pt x="25" y="646"/>
                    <a:pt x="25" y="648"/>
                  </a:cubicBezTo>
                  <a:cubicBezTo>
                    <a:pt x="25" y="649"/>
                    <a:pt x="25" y="652"/>
                    <a:pt x="25" y="652"/>
                  </a:cubicBezTo>
                  <a:cubicBezTo>
                    <a:pt x="25" y="653"/>
                    <a:pt x="25" y="655"/>
                    <a:pt x="25" y="655"/>
                  </a:cubicBezTo>
                  <a:cubicBezTo>
                    <a:pt x="25" y="655"/>
                    <a:pt x="24" y="656"/>
                    <a:pt x="27" y="656"/>
                  </a:cubicBezTo>
                  <a:cubicBezTo>
                    <a:pt x="29" y="656"/>
                    <a:pt x="29" y="655"/>
                    <a:pt x="30" y="655"/>
                  </a:cubicBezTo>
                  <a:cubicBezTo>
                    <a:pt x="31" y="655"/>
                    <a:pt x="31" y="656"/>
                    <a:pt x="32" y="657"/>
                  </a:cubicBezTo>
                  <a:cubicBezTo>
                    <a:pt x="32" y="659"/>
                    <a:pt x="32" y="660"/>
                    <a:pt x="32" y="661"/>
                  </a:cubicBezTo>
                  <a:cubicBezTo>
                    <a:pt x="33" y="662"/>
                    <a:pt x="37" y="672"/>
                    <a:pt x="37" y="672"/>
                  </a:cubicBezTo>
                  <a:cubicBezTo>
                    <a:pt x="37" y="672"/>
                    <a:pt x="38" y="676"/>
                    <a:pt x="39" y="677"/>
                  </a:cubicBezTo>
                  <a:cubicBezTo>
                    <a:pt x="39" y="678"/>
                    <a:pt x="40" y="679"/>
                    <a:pt x="41" y="680"/>
                  </a:cubicBezTo>
                  <a:cubicBezTo>
                    <a:pt x="41" y="680"/>
                    <a:pt x="43" y="683"/>
                    <a:pt x="43" y="683"/>
                  </a:cubicBezTo>
                  <a:cubicBezTo>
                    <a:pt x="46" y="685"/>
                    <a:pt x="46" y="685"/>
                    <a:pt x="46" y="685"/>
                  </a:cubicBezTo>
                  <a:cubicBezTo>
                    <a:pt x="50" y="692"/>
                    <a:pt x="50" y="692"/>
                    <a:pt x="50" y="692"/>
                  </a:cubicBezTo>
                  <a:cubicBezTo>
                    <a:pt x="50" y="692"/>
                    <a:pt x="53" y="695"/>
                    <a:pt x="53" y="695"/>
                  </a:cubicBezTo>
                  <a:cubicBezTo>
                    <a:pt x="54" y="695"/>
                    <a:pt x="56" y="693"/>
                    <a:pt x="56" y="693"/>
                  </a:cubicBezTo>
                  <a:cubicBezTo>
                    <a:pt x="56" y="693"/>
                    <a:pt x="59" y="694"/>
                    <a:pt x="59" y="695"/>
                  </a:cubicBezTo>
                  <a:cubicBezTo>
                    <a:pt x="58" y="695"/>
                    <a:pt x="57" y="699"/>
                    <a:pt x="57" y="700"/>
                  </a:cubicBezTo>
                  <a:cubicBezTo>
                    <a:pt x="58" y="701"/>
                    <a:pt x="58" y="703"/>
                    <a:pt x="58" y="703"/>
                  </a:cubicBezTo>
                  <a:cubicBezTo>
                    <a:pt x="56" y="704"/>
                    <a:pt x="56" y="704"/>
                    <a:pt x="56" y="704"/>
                  </a:cubicBezTo>
                  <a:cubicBezTo>
                    <a:pt x="54" y="705"/>
                    <a:pt x="54" y="705"/>
                    <a:pt x="54" y="705"/>
                  </a:cubicBezTo>
                  <a:cubicBezTo>
                    <a:pt x="50" y="705"/>
                    <a:pt x="50" y="705"/>
                    <a:pt x="50" y="705"/>
                  </a:cubicBezTo>
                  <a:cubicBezTo>
                    <a:pt x="49" y="709"/>
                    <a:pt x="49" y="709"/>
                    <a:pt x="49" y="709"/>
                  </a:cubicBezTo>
                  <a:cubicBezTo>
                    <a:pt x="53" y="711"/>
                    <a:pt x="53" y="711"/>
                    <a:pt x="53" y="711"/>
                  </a:cubicBezTo>
                  <a:cubicBezTo>
                    <a:pt x="53" y="711"/>
                    <a:pt x="55" y="713"/>
                    <a:pt x="56" y="713"/>
                  </a:cubicBezTo>
                  <a:cubicBezTo>
                    <a:pt x="56" y="714"/>
                    <a:pt x="56" y="718"/>
                    <a:pt x="56" y="718"/>
                  </a:cubicBezTo>
                  <a:cubicBezTo>
                    <a:pt x="55" y="718"/>
                    <a:pt x="51" y="718"/>
                    <a:pt x="51" y="718"/>
                  </a:cubicBezTo>
                  <a:cubicBezTo>
                    <a:pt x="51" y="718"/>
                    <a:pt x="49" y="721"/>
                    <a:pt x="49" y="721"/>
                  </a:cubicBezTo>
                  <a:cubicBezTo>
                    <a:pt x="49" y="722"/>
                    <a:pt x="48" y="722"/>
                    <a:pt x="50" y="725"/>
                  </a:cubicBezTo>
                  <a:cubicBezTo>
                    <a:pt x="51" y="727"/>
                    <a:pt x="56" y="733"/>
                    <a:pt x="56" y="733"/>
                  </a:cubicBezTo>
                  <a:cubicBezTo>
                    <a:pt x="56" y="733"/>
                    <a:pt x="60" y="739"/>
                    <a:pt x="60" y="739"/>
                  </a:cubicBezTo>
                  <a:cubicBezTo>
                    <a:pt x="60" y="740"/>
                    <a:pt x="63" y="744"/>
                    <a:pt x="63" y="744"/>
                  </a:cubicBezTo>
                  <a:cubicBezTo>
                    <a:pt x="64" y="744"/>
                    <a:pt x="64" y="748"/>
                    <a:pt x="64" y="748"/>
                  </a:cubicBezTo>
                  <a:cubicBezTo>
                    <a:pt x="63" y="750"/>
                    <a:pt x="63" y="750"/>
                    <a:pt x="63" y="750"/>
                  </a:cubicBezTo>
                  <a:cubicBezTo>
                    <a:pt x="62" y="753"/>
                    <a:pt x="62" y="753"/>
                    <a:pt x="62" y="753"/>
                  </a:cubicBezTo>
                  <a:cubicBezTo>
                    <a:pt x="61" y="756"/>
                    <a:pt x="61" y="756"/>
                    <a:pt x="61" y="756"/>
                  </a:cubicBezTo>
                  <a:cubicBezTo>
                    <a:pt x="62" y="758"/>
                    <a:pt x="62" y="758"/>
                    <a:pt x="62" y="758"/>
                  </a:cubicBezTo>
                  <a:cubicBezTo>
                    <a:pt x="61" y="760"/>
                    <a:pt x="61" y="760"/>
                    <a:pt x="61" y="760"/>
                  </a:cubicBezTo>
                  <a:cubicBezTo>
                    <a:pt x="59" y="763"/>
                    <a:pt x="59" y="763"/>
                    <a:pt x="59" y="763"/>
                  </a:cubicBezTo>
                  <a:cubicBezTo>
                    <a:pt x="64" y="764"/>
                    <a:pt x="64" y="764"/>
                    <a:pt x="64" y="764"/>
                  </a:cubicBezTo>
                  <a:cubicBezTo>
                    <a:pt x="70" y="763"/>
                    <a:pt x="70" y="763"/>
                    <a:pt x="70" y="763"/>
                  </a:cubicBezTo>
                  <a:cubicBezTo>
                    <a:pt x="70" y="763"/>
                    <a:pt x="71" y="765"/>
                    <a:pt x="71" y="765"/>
                  </a:cubicBezTo>
                  <a:cubicBezTo>
                    <a:pt x="72" y="766"/>
                    <a:pt x="77" y="765"/>
                    <a:pt x="77" y="765"/>
                  </a:cubicBezTo>
                  <a:cubicBezTo>
                    <a:pt x="81" y="763"/>
                    <a:pt x="81" y="763"/>
                    <a:pt x="81" y="763"/>
                  </a:cubicBezTo>
                  <a:cubicBezTo>
                    <a:pt x="84" y="761"/>
                    <a:pt x="84" y="761"/>
                    <a:pt x="84" y="761"/>
                  </a:cubicBezTo>
                  <a:cubicBezTo>
                    <a:pt x="84" y="759"/>
                    <a:pt x="84" y="759"/>
                    <a:pt x="84" y="759"/>
                  </a:cubicBezTo>
                  <a:cubicBezTo>
                    <a:pt x="84" y="759"/>
                    <a:pt x="86" y="756"/>
                    <a:pt x="86" y="756"/>
                  </a:cubicBezTo>
                  <a:cubicBezTo>
                    <a:pt x="87" y="756"/>
                    <a:pt x="90" y="757"/>
                    <a:pt x="90" y="757"/>
                  </a:cubicBezTo>
                  <a:cubicBezTo>
                    <a:pt x="90" y="757"/>
                    <a:pt x="93" y="757"/>
                    <a:pt x="93" y="758"/>
                  </a:cubicBezTo>
                  <a:cubicBezTo>
                    <a:pt x="93" y="759"/>
                    <a:pt x="95" y="760"/>
                    <a:pt x="95" y="760"/>
                  </a:cubicBezTo>
                  <a:cubicBezTo>
                    <a:pt x="98" y="760"/>
                    <a:pt x="98" y="760"/>
                    <a:pt x="98" y="760"/>
                  </a:cubicBezTo>
                  <a:cubicBezTo>
                    <a:pt x="101" y="759"/>
                    <a:pt x="101" y="759"/>
                    <a:pt x="101" y="759"/>
                  </a:cubicBezTo>
                  <a:cubicBezTo>
                    <a:pt x="105" y="758"/>
                    <a:pt x="105" y="758"/>
                    <a:pt x="105" y="758"/>
                  </a:cubicBezTo>
                  <a:cubicBezTo>
                    <a:pt x="105" y="758"/>
                    <a:pt x="104" y="756"/>
                    <a:pt x="105" y="756"/>
                  </a:cubicBezTo>
                  <a:cubicBezTo>
                    <a:pt x="106" y="756"/>
                    <a:pt x="109" y="756"/>
                    <a:pt x="109" y="756"/>
                  </a:cubicBezTo>
                  <a:cubicBezTo>
                    <a:pt x="109" y="756"/>
                    <a:pt x="110" y="758"/>
                    <a:pt x="111" y="758"/>
                  </a:cubicBezTo>
                  <a:cubicBezTo>
                    <a:pt x="111" y="758"/>
                    <a:pt x="113" y="756"/>
                    <a:pt x="112" y="755"/>
                  </a:cubicBezTo>
                  <a:cubicBezTo>
                    <a:pt x="111" y="754"/>
                    <a:pt x="107" y="752"/>
                    <a:pt x="107" y="752"/>
                  </a:cubicBezTo>
                  <a:cubicBezTo>
                    <a:pt x="107" y="752"/>
                    <a:pt x="105" y="749"/>
                    <a:pt x="105" y="748"/>
                  </a:cubicBezTo>
                  <a:cubicBezTo>
                    <a:pt x="104" y="747"/>
                    <a:pt x="104" y="744"/>
                    <a:pt x="103" y="743"/>
                  </a:cubicBezTo>
                  <a:cubicBezTo>
                    <a:pt x="102" y="743"/>
                    <a:pt x="101" y="742"/>
                    <a:pt x="101" y="740"/>
                  </a:cubicBezTo>
                  <a:cubicBezTo>
                    <a:pt x="102" y="737"/>
                    <a:pt x="102" y="736"/>
                    <a:pt x="102" y="736"/>
                  </a:cubicBezTo>
                  <a:cubicBezTo>
                    <a:pt x="102" y="735"/>
                    <a:pt x="102" y="731"/>
                    <a:pt x="102" y="731"/>
                  </a:cubicBezTo>
                  <a:cubicBezTo>
                    <a:pt x="102" y="731"/>
                    <a:pt x="101" y="729"/>
                    <a:pt x="104" y="727"/>
                  </a:cubicBezTo>
                  <a:cubicBezTo>
                    <a:pt x="107" y="725"/>
                    <a:pt x="107" y="723"/>
                    <a:pt x="108" y="724"/>
                  </a:cubicBezTo>
                  <a:cubicBezTo>
                    <a:pt x="109" y="725"/>
                    <a:pt x="111" y="727"/>
                    <a:pt x="112" y="727"/>
                  </a:cubicBezTo>
                  <a:cubicBezTo>
                    <a:pt x="112" y="728"/>
                    <a:pt x="113" y="728"/>
                    <a:pt x="114" y="729"/>
                  </a:cubicBezTo>
                  <a:cubicBezTo>
                    <a:pt x="114" y="730"/>
                    <a:pt x="113" y="731"/>
                    <a:pt x="115" y="731"/>
                  </a:cubicBezTo>
                  <a:cubicBezTo>
                    <a:pt x="116" y="731"/>
                    <a:pt x="118" y="731"/>
                    <a:pt x="118" y="731"/>
                  </a:cubicBezTo>
                  <a:cubicBezTo>
                    <a:pt x="118" y="731"/>
                    <a:pt x="119" y="731"/>
                    <a:pt x="119" y="730"/>
                  </a:cubicBezTo>
                  <a:cubicBezTo>
                    <a:pt x="119" y="729"/>
                    <a:pt x="119" y="726"/>
                    <a:pt x="118" y="726"/>
                  </a:cubicBezTo>
                  <a:cubicBezTo>
                    <a:pt x="117" y="725"/>
                    <a:pt x="116" y="724"/>
                    <a:pt x="116" y="724"/>
                  </a:cubicBezTo>
                  <a:cubicBezTo>
                    <a:pt x="116" y="724"/>
                    <a:pt x="118" y="723"/>
                    <a:pt x="115" y="722"/>
                  </a:cubicBezTo>
                  <a:cubicBezTo>
                    <a:pt x="112" y="720"/>
                    <a:pt x="112" y="719"/>
                    <a:pt x="113" y="718"/>
                  </a:cubicBezTo>
                  <a:cubicBezTo>
                    <a:pt x="115" y="717"/>
                    <a:pt x="119" y="718"/>
                    <a:pt x="119" y="718"/>
                  </a:cubicBezTo>
                  <a:cubicBezTo>
                    <a:pt x="122" y="717"/>
                    <a:pt x="122" y="717"/>
                    <a:pt x="122" y="717"/>
                  </a:cubicBezTo>
                  <a:cubicBezTo>
                    <a:pt x="122" y="717"/>
                    <a:pt x="124" y="715"/>
                    <a:pt x="126" y="716"/>
                  </a:cubicBezTo>
                  <a:cubicBezTo>
                    <a:pt x="127" y="717"/>
                    <a:pt x="131" y="716"/>
                    <a:pt x="131" y="716"/>
                  </a:cubicBezTo>
                  <a:cubicBezTo>
                    <a:pt x="136" y="717"/>
                    <a:pt x="136" y="717"/>
                    <a:pt x="136" y="717"/>
                  </a:cubicBezTo>
                  <a:cubicBezTo>
                    <a:pt x="138" y="715"/>
                    <a:pt x="138" y="715"/>
                    <a:pt x="138" y="715"/>
                  </a:cubicBezTo>
                  <a:cubicBezTo>
                    <a:pt x="143" y="717"/>
                    <a:pt x="143" y="717"/>
                    <a:pt x="143" y="717"/>
                  </a:cubicBezTo>
                  <a:cubicBezTo>
                    <a:pt x="143" y="717"/>
                    <a:pt x="142" y="717"/>
                    <a:pt x="145" y="718"/>
                  </a:cubicBezTo>
                  <a:cubicBezTo>
                    <a:pt x="147" y="718"/>
                    <a:pt x="150" y="716"/>
                    <a:pt x="150" y="715"/>
                  </a:cubicBezTo>
                  <a:cubicBezTo>
                    <a:pt x="151" y="715"/>
                    <a:pt x="155" y="708"/>
                    <a:pt x="155" y="708"/>
                  </a:cubicBezTo>
                  <a:cubicBezTo>
                    <a:pt x="158" y="688"/>
                    <a:pt x="158" y="688"/>
                    <a:pt x="158" y="688"/>
                  </a:cubicBezTo>
                  <a:cubicBezTo>
                    <a:pt x="158" y="688"/>
                    <a:pt x="162" y="685"/>
                    <a:pt x="161" y="685"/>
                  </a:cubicBezTo>
                  <a:cubicBezTo>
                    <a:pt x="161" y="684"/>
                    <a:pt x="161" y="677"/>
                    <a:pt x="161" y="676"/>
                  </a:cubicBezTo>
                  <a:cubicBezTo>
                    <a:pt x="161" y="675"/>
                    <a:pt x="163" y="668"/>
                    <a:pt x="163" y="668"/>
                  </a:cubicBezTo>
                  <a:cubicBezTo>
                    <a:pt x="163" y="668"/>
                    <a:pt x="167" y="665"/>
                    <a:pt x="165" y="662"/>
                  </a:cubicBezTo>
                  <a:cubicBezTo>
                    <a:pt x="164" y="659"/>
                    <a:pt x="163" y="654"/>
                    <a:pt x="163" y="654"/>
                  </a:cubicBezTo>
                  <a:cubicBezTo>
                    <a:pt x="163" y="654"/>
                    <a:pt x="162" y="649"/>
                    <a:pt x="162" y="648"/>
                  </a:cubicBezTo>
                  <a:cubicBezTo>
                    <a:pt x="162" y="647"/>
                    <a:pt x="166" y="642"/>
                    <a:pt x="166" y="642"/>
                  </a:cubicBezTo>
                  <a:cubicBezTo>
                    <a:pt x="163" y="633"/>
                    <a:pt x="163" y="633"/>
                    <a:pt x="163" y="633"/>
                  </a:cubicBezTo>
                  <a:cubicBezTo>
                    <a:pt x="163" y="633"/>
                    <a:pt x="165" y="630"/>
                    <a:pt x="165" y="629"/>
                  </a:cubicBezTo>
                  <a:cubicBezTo>
                    <a:pt x="165" y="628"/>
                    <a:pt x="163" y="619"/>
                    <a:pt x="163" y="619"/>
                  </a:cubicBezTo>
                  <a:cubicBezTo>
                    <a:pt x="163" y="617"/>
                    <a:pt x="163" y="617"/>
                    <a:pt x="163" y="617"/>
                  </a:cubicBezTo>
                  <a:cubicBezTo>
                    <a:pt x="163" y="617"/>
                    <a:pt x="166" y="612"/>
                    <a:pt x="165" y="611"/>
                  </a:cubicBezTo>
                  <a:cubicBezTo>
                    <a:pt x="165" y="610"/>
                    <a:pt x="165" y="605"/>
                    <a:pt x="165" y="605"/>
                  </a:cubicBezTo>
                  <a:cubicBezTo>
                    <a:pt x="163" y="599"/>
                    <a:pt x="163" y="599"/>
                    <a:pt x="163" y="599"/>
                  </a:cubicBezTo>
                  <a:cubicBezTo>
                    <a:pt x="163" y="599"/>
                    <a:pt x="165" y="598"/>
                    <a:pt x="164" y="597"/>
                  </a:cubicBezTo>
                  <a:cubicBezTo>
                    <a:pt x="163" y="595"/>
                    <a:pt x="162" y="594"/>
                    <a:pt x="162" y="594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3" y="590"/>
                    <a:pt x="163" y="590"/>
                    <a:pt x="163" y="590"/>
                  </a:cubicBezTo>
                  <a:cubicBezTo>
                    <a:pt x="165" y="588"/>
                    <a:pt x="165" y="588"/>
                    <a:pt x="165" y="588"/>
                  </a:cubicBezTo>
                  <a:cubicBezTo>
                    <a:pt x="164" y="582"/>
                    <a:pt x="164" y="582"/>
                    <a:pt x="164" y="582"/>
                  </a:cubicBezTo>
                  <a:cubicBezTo>
                    <a:pt x="160" y="581"/>
                    <a:pt x="160" y="581"/>
                    <a:pt x="160" y="581"/>
                  </a:cubicBezTo>
                  <a:cubicBezTo>
                    <a:pt x="160" y="581"/>
                    <a:pt x="160" y="579"/>
                    <a:pt x="161" y="579"/>
                  </a:cubicBezTo>
                  <a:cubicBezTo>
                    <a:pt x="163" y="578"/>
                    <a:pt x="170" y="575"/>
                    <a:pt x="170" y="575"/>
                  </a:cubicBezTo>
                  <a:cubicBezTo>
                    <a:pt x="170" y="575"/>
                    <a:pt x="172" y="572"/>
                    <a:pt x="173" y="572"/>
                  </a:cubicBezTo>
                  <a:cubicBezTo>
                    <a:pt x="173" y="571"/>
                    <a:pt x="181" y="566"/>
                    <a:pt x="181" y="566"/>
                  </a:cubicBezTo>
                  <a:cubicBezTo>
                    <a:pt x="181" y="566"/>
                    <a:pt x="181" y="563"/>
                    <a:pt x="181" y="562"/>
                  </a:cubicBezTo>
                  <a:cubicBezTo>
                    <a:pt x="182" y="562"/>
                    <a:pt x="182" y="561"/>
                    <a:pt x="182" y="559"/>
                  </a:cubicBezTo>
                  <a:cubicBezTo>
                    <a:pt x="183" y="559"/>
                    <a:pt x="181" y="550"/>
                    <a:pt x="181" y="547"/>
                  </a:cubicBezTo>
                  <a:cubicBezTo>
                    <a:pt x="182" y="545"/>
                    <a:pt x="184" y="549"/>
                    <a:pt x="184" y="549"/>
                  </a:cubicBezTo>
                  <a:cubicBezTo>
                    <a:pt x="185" y="552"/>
                    <a:pt x="185" y="552"/>
                    <a:pt x="185" y="552"/>
                  </a:cubicBezTo>
                  <a:cubicBezTo>
                    <a:pt x="185" y="558"/>
                    <a:pt x="185" y="558"/>
                    <a:pt x="185" y="558"/>
                  </a:cubicBezTo>
                  <a:cubicBezTo>
                    <a:pt x="188" y="559"/>
                    <a:pt x="188" y="559"/>
                    <a:pt x="188" y="559"/>
                  </a:cubicBezTo>
                  <a:cubicBezTo>
                    <a:pt x="189" y="562"/>
                    <a:pt x="189" y="562"/>
                    <a:pt x="189" y="562"/>
                  </a:cubicBezTo>
                  <a:cubicBezTo>
                    <a:pt x="189" y="562"/>
                    <a:pt x="188" y="565"/>
                    <a:pt x="189" y="565"/>
                  </a:cubicBezTo>
                  <a:cubicBezTo>
                    <a:pt x="190" y="564"/>
                    <a:pt x="190" y="564"/>
                    <a:pt x="190" y="564"/>
                  </a:cubicBezTo>
                  <a:cubicBezTo>
                    <a:pt x="191" y="558"/>
                    <a:pt x="191" y="558"/>
                    <a:pt x="191" y="558"/>
                  </a:cubicBezTo>
                  <a:cubicBezTo>
                    <a:pt x="191" y="558"/>
                    <a:pt x="195" y="558"/>
                    <a:pt x="194" y="556"/>
                  </a:cubicBezTo>
                  <a:cubicBezTo>
                    <a:pt x="194" y="555"/>
                    <a:pt x="193" y="553"/>
                    <a:pt x="194" y="553"/>
                  </a:cubicBezTo>
                  <a:cubicBezTo>
                    <a:pt x="200" y="552"/>
                    <a:pt x="198" y="552"/>
                    <a:pt x="201" y="550"/>
                  </a:cubicBezTo>
                  <a:cubicBezTo>
                    <a:pt x="201" y="550"/>
                    <a:pt x="203" y="546"/>
                    <a:pt x="203" y="546"/>
                  </a:cubicBezTo>
                  <a:cubicBezTo>
                    <a:pt x="203" y="545"/>
                    <a:pt x="204" y="543"/>
                    <a:pt x="204" y="543"/>
                  </a:cubicBezTo>
                  <a:cubicBezTo>
                    <a:pt x="202" y="542"/>
                    <a:pt x="202" y="542"/>
                    <a:pt x="202" y="542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1" y="539"/>
                    <a:pt x="202" y="537"/>
                    <a:pt x="203" y="538"/>
                  </a:cubicBezTo>
                  <a:cubicBezTo>
                    <a:pt x="203" y="539"/>
                    <a:pt x="204" y="541"/>
                    <a:pt x="205" y="541"/>
                  </a:cubicBezTo>
                  <a:cubicBezTo>
                    <a:pt x="206" y="541"/>
                    <a:pt x="209" y="538"/>
                    <a:pt x="209" y="538"/>
                  </a:cubicBezTo>
                  <a:cubicBezTo>
                    <a:pt x="209" y="535"/>
                    <a:pt x="202" y="531"/>
                    <a:pt x="200" y="530"/>
                  </a:cubicBezTo>
                  <a:cubicBezTo>
                    <a:pt x="200" y="526"/>
                    <a:pt x="210" y="521"/>
                    <a:pt x="210" y="520"/>
                  </a:cubicBezTo>
                  <a:cubicBezTo>
                    <a:pt x="211" y="519"/>
                    <a:pt x="211" y="519"/>
                    <a:pt x="211" y="518"/>
                  </a:cubicBezTo>
                  <a:cubicBezTo>
                    <a:pt x="211" y="517"/>
                    <a:pt x="210" y="516"/>
                    <a:pt x="209" y="517"/>
                  </a:cubicBezTo>
                  <a:cubicBezTo>
                    <a:pt x="209" y="517"/>
                    <a:pt x="208" y="519"/>
                    <a:pt x="207" y="519"/>
                  </a:cubicBezTo>
                  <a:cubicBezTo>
                    <a:pt x="207" y="519"/>
                    <a:pt x="205" y="519"/>
                    <a:pt x="205" y="519"/>
                  </a:cubicBezTo>
                  <a:cubicBezTo>
                    <a:pt x="205" y="519"/>
                    <a:pt x="204" y="517"/>
                    <a:pt x="205" y="516"/>
                  </a:cubicBezTo>
                  <a:cubicBezTo>
                    <a:pt x="206" y="515"/>
                    <a:pt x="205" y="515"/>
                    <a:pt x="207" y="514"/>
                  </a:cubicBezTo>
                  <a:cubicBezTo>
                    <a:pt x="208" y="513"/>
                    <a:pt x="209" y="513"/>
                    <a:pt x="210" y="513"/>
                  </a:cubicBezTo>
                  <a:cubicBezTo>
                    <a:pt x="210" y="512"/>
                    <a:pt x="211" y="511"/>
                    <a:pt x="212" y="511"/>
                  </a:cubicBezTo>
                  <a:cubicBezTo>
                    <a:pt x="213" y="511"/>
                    <a:pt x="218" y="508"/>
                    <a:pt x="218" y="508"/>
                  </a:cubicBezTo>
                  <a:cubicBezTo>
                    <a:pt x="219" y="506"/>
                    <a:pt x="219" y="506"/>
                    <a:pt x="219" y="506"/>
                  </a:cubicBezTo>
                  <a:cubicBezTo>
                    <a:pt x="219" y="506"/>
                    <a:pt x="216" y="503"/>
                    <a:pt x="216" y="503"/>
                  </a:cubicBezTo>
                  <a:cubicBezTo>
                    <a:pt x="216" y="503"/>
                    <a:pt x="211" y="499"/>
                    <a:pt x="211" y="499"/>
                  </a:cubicBezTo>
                  <a:cubicBezTo>
                    <a:pt x="211" y="499"/>
                    <a:pt x="209" y="499"/>
                    <a:pt x="209" y="498"/>
                  </a:cubicBezTo>
                  <a:cubicBezTo>
                    <a:pt x="209" y="498"/>
                    <a:pt x="207" y="496"/>
                    <a:pt x="207" y="496"/>
                  </a:cubicBezTo>
                  <a:cubicBezTo>
                    <a:pt x="205" y="491"/>
                    <a:pt x="203" y="495"/>
                    <a:pt x="199" y="493"/>
                  </a:cubicBezTo>
                  <a:cubicBezTo>
                    <a:pt x="199" y="493"/>
                    <a:pt x="197" y="489"/>
                    <a:pt x="197" y="489"/>
                  </a:cubicBezTo>
                  <a:cubicBezTo>
                    <a:pt x="197" y="489"/>
                    <a:pt x="199" y="489"/>
                    <a:pt x="199" y="488"/>
                  </a:cubicBezTo>
                  <a:cubicBezTo>
                    <a:pt x="199" y="486"/>
                    <a:pt x="197" y="484"/>
                    <a:pt x="197" y="484"/>
                  </a:cubicBezTo>
                  <a:cubicBezTo>
                    <a:pt x="195" y="482"/>
                    <a:pt x="195" y="482"/>
                    <a:pt x="195" y="482"/>
                  </a:cubicBezTo>
                  <a:cubicBezTo>
                    <a:pt x="191" y="478"/>
                    <a:pt x="192" y="487"/>
                    <a:pt x="189" y="479"/>
                  </a:cubicBezTo>
                  <a:cubicBezTo>
                    <a:pt x="189" y="479"/>
                    <a:pt x="188" y="479"/>
                    <a:pt x="187" y="477"/>
                  </a:cubicBezTo>
                  <a:cubicBezTo>
                    <a:pt x="186" y="476"/>
                    <a:pt x="183" y="473"/>
                    <a:pt x="183" y="473"/>
                  </a:cubicBezTo>
                  <a:cubicBezTo>
                    <a:pt x="183" y="473"/>
                    <a:pt x="182" y="470"/>
                    <a:pt x="182" y="470"/>
                  </a:cubicBezTo>
                  <a:cubicBezTo>
                    <a:pt x="181" y="470"/>
                    <a:pt x="180" y="467"/>
                    <a:pt x="180" y="467"/>
                  </a:cubicBezTo>
                  <a:cubicBezTo>
                    <a:pt x="175" y="470"/>
                    <a:pt x="175" y="470"/>
                    <a:pt x="175" y="470"/>
                  </a:cubicBezTo>
                  <a:cubicBezTo>
                    <a:pt x="172" y="473"/>
                    <a:pt x="172" y="473"/>
                    <a:pt x="172" y="473"/>
                  </a:cubicBezTo>
                  <a:cubicBezTo>
                    <a:pt x="172" y="473"/>
                    <a:pt x="171" y="471"/>
                    <a:pt x="171" y="471"/>
                  </a:cubicBezTo>
                  <a:cubicBezTo>
                    <a:pt x="171" y="471"/>
                    <a:pt x="171" y="467"/>
                    <a:pt x="171" y="467"/>
                  </a:cubicBezTo>
                  <a:cubicBezTo>
                    <a:pt x="171" y="467"/>
                    <a:pt x="168" y="466"/>
                    <a:pt x="167" y="466"/>
                  </a:cubicBezTo>
                  <a:cubicBezTo>
                    <a:pt x="167" y="466"/>
                    <a:pt x="164" y="466"/>
                    <a:pt x="164" y="466"/>
                  </a:cubicBezTo>
                  <a:cubicBezTo>
                    <a:pt x="160" y="465"/>
                    <a:pt x="160" y="465"/>
                    <a:pt x="160" y="465"/>
                  </a:cubicBezTo>
                  <a:cubicBezTo>
                    <a:pt x="160" y="462"/>
                    <a:pt x="160" y="462"/>
                    <a:pt x="160" y="462"/>
                  </a:cubicBezTo>
                  <a:cubicBezTo>
                    <a:pt x="160" y="462"/>
                    <a:pt x="162" y="460"/>
                    <a:pt x="161" y="459"/>
                  </a:cubicBezTo>
                  <a:cubicBezTo>
                    <a:pt x="161" y="458"/>
                    <a:pt x="158" y="456"/>
                    <a:pt x="158" y="456"/>
                  </a:cubicBezTo>
                  <a:cubicBezTo>
                    <a:pt x="158" y="454"/>
                    <a:pt x="158" y="454"/>
                    <a:pt x="158" y="454"/>
                  </a:cubicBezTo>
                  <a:cubicBezTo>
                    <a:pt x="155" y="450"/>
                    <a:pt x="155" y="450"/>
                    <a:pt x="155" y="450"/>
                  </a:cubicBezTo>
                  <a:cubicBezTo>
                    <a:pt x="155" y="450"/>
                    <a:pt x="157" y="447"/>
                    <a:pt x="157" y="447"/>
                  </a:cubicBezTo>
                  <a:cubicBezTo>
                    <a:pt x="157" y="446"/>
                    <a:pt x="153" y="437"/>
                    <a:pt x="153" y="437"/>
                  </a:cubicBezTo>
                  <a:cubicBezTo>
                    <a:pt x="153" y="437"/>
                    <a:pt x="155" y="433"/>
                    <a:pt x="155" y="432"/>
                  </a:cubicBezTo>
                  <a:cubicBezTo>
                    <a:pt x="155" y="432"/>
                    <a:pt x="153" y="428"/>
                    <a:pt x="153" y="428"/>
                  </a:cubicBezTo>
                  <a:cubicBezTo>
                    <a:pt x="151" y="428"/>
                    <a:pt x="151" y="428"/>
                    <a:pt x="151" y="428"/>
                  </a:cubicBezTo>
                  <a:cubicBezTo>
                    <a:pt x="151" y="424"/>
                    <a:pt x="151" y="424"/>
                    <a:pt x="151" y="424"/>
                  </a:cubicBezTo>
                  <a:cubicBezTo>
                    <a:pt x="152" y="421"/>
                    <a:pt x="152" y="421"/>
                    <a:pt x="152" y="421"/>
                  </a:cubicBezTo>
                  <a:cubicBezTo>
                    <a:pt x="150" y="419"/>
                    <a:pt x="150" y="419"/>
                    <a:pt x="150" y="419"/>
                  </a:cubicBezTo>
                  <a:cubicBezTo>
                    <a:pt x="150" y="419"/>
                    <a:pt x="151" y="417"/>
                    <a:pt x="152" y="417"/>
                  </a:cubicBezTo>
                  <a:cubicBezTo>
                    <a:pt x="152" y="417"/>
                    <a:pt x="152" y="413"/>
                    <a:pt x="152" y="413"/>
                  </a:cubicBezTo>
                  <a:cubicBezTo>
                    <a:pt x="152" y="413"/>
                    <a:pt x="153" y="411"/>
                    <a:pt x="154" y="411"/>
                  </a:cubicBezTo>
                  <a:cubicBezTo>
                    <a:pt x="154" y="411"/>
                    <a:pt x="157" y="413"/>
                    <a:pt x="157" y="413"/>
                  </a:cubicBezTo>
                  <a:cubicBezTo>
                    <a:pt x="157" y="413"/>
                    <a:pt x="160" y="414"/>
                    <a:pt x="160" y="413"/>
                  </a:cubicBezTo>
                  <a:cubicBezTo>
                    <a:pt x="160" y="413"/>
                    <a:pt x="159" y="410"/>
                    <a:pt x="159" y="410"/>
                  </a:cubicBezTo>
                  <a:cubicBezTo>
                    <a:pt x="159" y="409"/>
                    <a:pt x="157" y="407"/>
                    <a:pt x="157" y="407"/>
                  </a:cubicBezTo>
                  <a:cubicBezTo>
                    <a:pt x="156" y="406"/>
                    <a:pt x="156" y="401"/>
                    <a:pt x="156" y="401"/>
                  </a:cubicBezTo>
                  <a:cubicBezTo>
                    <a:pt x="156" y="401"/>
                    <a:pt x="154" y="397"/>
                    <a:pt x="155" y="397"/>
                  </a:cubicBezTo>
                  <a:cubicBezTo>
                    <a:pt x="155" y="397"/>
                    <a:pt x="156" y="395"/>
                    <a:pt x="156" y="395"/>
                  </a:cubicBezTo>
                  <a:cubicBezTo>
                    <a:pt x="157" y="388"/>
                    <a:pt x="157" y="388"/>
                    <a:pt x="157" y="388"/>
                  </a:cubicBezTo>
                  <a:cubicBezTo>
                    <a:pt x="158" y="382"/>
                    <a:pt x="158" y="382"/>
                    <a:pt x="158" y="382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54" y="377"/>
                    <a:pt x="154" y="377"/>
                    <a:pt x="154" y="377"/>
                  </a:cubicBezTo>
                  <a:cubicBezTo>
                    <a:pt x="152" y="375"/>
                    <a:pt x="152" y="375"/>
                    <a:pt x="152" y="375"/>
                  </a:cubicBezTo>
                  <a:cubicBezTo>
                    <a:pt x="154" y="369"/>
                    <a:pt x="154" y="369"/>
                    <a:pt x="154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60" y="366"/>
                    <a:pt x="160" y="366"/>
                    <a:pt x="160" y="366"/>
                  </a:cubicBezTo>
                  <a:cubicBezTo>
                    <a:pt x="160" y="366"/>
                    <a:pt x="163" y="364"/>
                    <a:pt x="163" y="363"/>
                  </a:cubicBezTo>
                  <a:cubicBezTo>
                    <a:pt x="163" y="363"/>
                    <a:pt x="164" y="359"/>
                    <a:pt x="164" y="359"/>
                  </a:cubicBezTo>
                  <a:cubicBezTo>
                    <a:pt x="163" y="356"/>
                    <a:pt x="163" y="356"/>
                    <a:pt x="163" y="356"/>
                  </a:cubicBezTo>
                  <a:cubicBezTo>
                    <a:pt x="165" y="357"/>
                    <a:pt x="165" y="357"/>
                    <a:pt x="165" y="357"/>
                  </a:cubicBezTo>
                  <a:cubicBezTo>
                    <a:pt x="165" y="354"/>
                    <a:pt x="165" y="354"/>
                    <a:pt x="165" y="354"/>
                  </a:cubicBezTo>
                  <a:cubicBezTo>
                    <a:pt x="165" y="354"/>
                    <a:pt x="166" y="351"/>
                    <a:pt x="166" y="351"/>
                  </a:cubicBezTo>
                  <a:cubicBezTo>
                    <a:pt x="167" y="351"/>
                    <a:pt x="168" y="350"/>
                    <a:pt x="168" y="350"/>
                  </a:cubicBezTo>
                  <a:cubicBezTo>
                    <a:pt x="168" y="350"/>
                    <a:pt x="170" y="346"/>
                    <a:pt x="170" y="346"/>
                  </a:cubicBezTo>
                  <a:cubicBezTo>
                    <a:pt x="170" y="346"/>
                    <a:pt x="171" y="347"/>
                    <a:pt x="172" y="346"/>
                  </a:cubicBezTo>
                  <a:cubicBezTo>
                    <a:pt x="173" y="345"/>
                    <a:pt x="173" y="345"/>
                    <a:pt x="173" y="344"/>
                  </a:cubicBezTo>
                  <a:cubicBezTo>
                    <a:pt x="174" y="342"/>
                    <a:pt x="176" y="338"/>
                    <a:pt x="176" y="338"/>
                  </a:cubicBezTo>
                  <a:cubicBezTo>
                    <a:pt x="176" y="338"/>
                    <a:pt x="176" y="337"/>
                    <a:pt x="176" y="336"/>
                  </a:cubicBezTo>
                  <a:cubicBezTo>
                    <a:pt x="177" y="336"/>
                    <a:pt x="179" y="336"/>
                    <a:pt x="179" y="335"/>
                  </a:cubicBezTo>
                  <a:cubicBezTo>
                    <a:pt x="178" y="334"/>
                    <a:pt x="176" y="331"/>
                    <a:pt x="176" y="331"/>
                  </a:cubicBezTo>
                  <a:cubicBezTo>
                    <a:pt x="179" y="328"/>
                    <a:pt x="179" y="328"/>
                    <a:pt x="179" y="328"/>
                  </a:cubicBezTo>
                  <a:cubicBezTo>
                    <a:pt x="179" y="328"/>
                    <a:pt x="182" y="325"/>
                    <a:pt x="182" y="325"/>
                  </a:cubicBezTo>
                  <a:cubicBezTo>
                    <a:pt x="182" y="326"/>
                    <a:pt x="183" y="326"/>
                    <a:pt x="184" y="325"/>
                  </a:cubicBezTo>
                  <a:cubicBezTo>
                    <a:pt x="184" y="325"/>
                    <a:pt x="185" y="324"/>
                    <a:pt x="186" y="323"/>
                  </a:cubicBezTo>
                  <a:cubicBezTo>
                    <a:pt x="186" y="323"/>
                    <a:pt x="187" y="322"/>
                    <a:pt x="188" y="322"/>
                  </a:cubicBezTo>
                  <a:cubicBezTo>
                    <a:pt x="188" y="321"/>
                    <a:pt x="189" y="319"/>
                    <a:pt x="189" y="318"/>
                  </a:cubicBezTo>
                  <a:cubicBezTo>
                    <a:pt x="189" y="318"/>
                    <a:pt x="191" y="313"/>
                    <a:pt x="191" y="313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4" y="307"/>
                    <a:pt x="194" y="307"/>
                    <a:pt x="194" y="307"/>
                  </a:cubicBezTo>
                  <a:cubicBezTo>
                    <a:pt x="194" y="307"/>
                    <a:pt x="196" y="306"/>
                    <a:pt x="196" y="307"/>
                  </a:cubicBezTo>
                  <a:cubicBezTo>
                    <a:pt x="196" y="307"/>
                    <a:pt x="195" y="309"/>
                    <a:pt x="195" y="309"/>
                  </a:cubicBezTo>
                  <a:cubicBezTo>
                    <a:pt x="198" y="309"/>
                    <a:pt x="198" y="309"/>
                    <a:pt x="198" y="309"/>
                  </a:cubicBezTo>
                  <a:cubicBezTo>
                    <a:pt x="198" y="309"/>
                    <a:pt x="198" y="307"/>
                    <a:pt x="198" y="308"/>
                  </a:cubicBezTo>
                  <a:cubicBezTo>
                    <a:pt x="199" y="308"/>
                    <a:pt x="200" y="309"/>
                    <a:pt x="200" y="309"/>
                  </a:cubicBezTo>
                  <a:cubicBezTo>
                    <a:pt x="200" y="308"/>
                    <a:pt x="201" y="306"/>
                    <a:pt x="201" y="306"/>
                  </a:cubicBezTo>
                  <a:cubicBezTo>
                    <a:pt x="201" y="303"/>
                    <a:pt x="201" y="303"/>
                    <a:pt x="201" y="303"/>
                  </a:cubicBezTo>
                  <a:cubicBezTo>
                    <a:pt x="201" y="303"/>
                    <a:pt x="203" y="301"/>
                    <a:pt x="204" y="300"/>
                  </a:cubicBezTo>
                  <a:cubicBezTo>
                    <a:pt x="204" y="299"/>
                    <a:pt x="207" y="296"/>
                    <a:pt x="207" y="296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5"/>
                    <a:pt x="211" y="294"/>
                    <a:pt x="212" y="294"/>
                  </a:cubicBezTo>
                  <a:cubicBezTo>
                    <a:pt x="212" y="294"/>
                    <a:pt x="215" y="290"/>
                    <a:pt x="215" y="290"/>
                  </a:cubicBezTo>
                  <a:cubicBezTo>
                    <a:pt x="215" y="290"/>
                    <a:pt x="215" y="289"/>
                    <a:pt x="216" y="288"/>
                  </a:cubicBezTo>
                  <a:cubicBezTo>
                    <a:pt x="216" y="287"/>
                    <a:pt x="218" y="287"/>
                    <a:pt x="218" y="286"/>
                  </a:cubicBezTo>
                  <a:cubicBezTo>
                    <a:pt x="219" y="286"/>
                    <a:pt x="221" y="281"/>
                    <a:pt x="221" y="281"/>
                  </a:cubicBezTo>
                  <a:cubicBezTo>
                    <a:pt x="221" y="281"/>
                    <a:pt x="222" y="281"/>
                    <a:pt x="222" y="280"/>
                  </a:cubicBezTo>
                  <a:cubicBezTo>
                    <a:pt x="222" y="278"/>
                    <a:pt x="223" y="276"/>
                    <a:pt x="223" y="276"/>
                  </a:cubicBezTo>
                  <a:cubicBezTo>
                    <a:pt x="225" y="272"/>
                    <a:pt x="225" y="272"/>
                    <a:pt x="225" y="272"/>
                  </a:cubicBezTo>
                  <a:cubicBezTo>
                    <a:pt x="225" y="266"/>
                    <a:pt x="225" y="266"/>
                    <a:pt x="225" y="266"/>
                  </a:cubicBezTo>
                  <a:cubicBezTo>
                    <a:pt x="227" y="261"/>
                    <a:pt x="227" y="261"/>
                    <a:pt x="227" y="261"/>
                  </a:cubicBezTo>
                  <a:cubicBezTo>
                    <a:pt x="227" y="261"/>
                    <a:pt x="228" y="260"/>
                    <a:pt x="228" y="259"/>
                  </a:cubicBezTo>
                  <a:cubicBezTo>
                    <a:pt x="229" y="259"/>
                    <a:pt x="230" y="256"/>
                    <a:pt x="230" y="256"/>
                  </a:cubicBezTo>
                  <a:cubicBezTo>
                    <a:pt x="230" y="256"/>
                    <a:pt x="233" y="252"/>
                    <a:pt x="233" y="252"/>
                  </a:cubicBezTo>
                  <a:cubicBezTo>
                    <a:pt x="233" y="252"/>
                    <a:pt x="234" y="249"/>
                    <a:pt x="234" y="248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5" y="245"/>
                    <a:pt x="235" y="245"/>
                    <a:pt x="235" y="245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29" y="238"/>
                    <a:pt x="229" y="238"/>
                    <a:pt x="229" y="238"/>
                  </a:cubicBezTo>
                  <a:cubicBezTo>
                    <a:pt x="226" y="238"/>
                    <a:pt x="226" y="238"/>
                    <a:pt x="226" y="238"/>
                  </a:cubicBezTo>
                  <a:cubicBezTo>
                    <a:pt x="224" y="236"/>
                    <a:pt x="224" y="236"/>
                    <a:pt x="224" y="236"/>
                  </a:cubicBezTo>
                  <a:cubicBezTo>
                    <a:pt x="225" y="234"/>
                    <a:pt x="225" y="234"/>
                    <a:pt x="225" y="234"/>
                  </a:cubicBezTo>
                  <a:cubicBezTo>
                    <a:pt x="223" y="231"/>
                    <a:pt x="223" y="231"/>
                    <a:pt x="223" y="231"/>
                  </a:cubicBezTo>
                  <a:cubicBezTo>
                    <a:pt x="222" y="229"/>
                    <a:pt x="222" y="229"/>
                    <a:pt x="222" y="229"/>
                  </a:cubicBezTo>
                  <a:cubicBezTo>
                    <a:pt x="220" y="227"/>
                    <a:pt x="220" y="227"/>
                    <a:pt x="220" y="227"/>
                  </a:cubicBezTo>
                  <a:cubicBezTo>
                    <a:pt x="220" y="227"/>
                    <a:pt x="222" y="224"/>
                    <a:pt x="222" y="224"/>
                  </a:cubicBezTo>
                  <a:cubicBezTo>
                    <a:pt x="222" y="224"/>
                    <a:pt x="223" y="223"/>
                    <a:pt x="223" y="222"/>
                  </a:cubicBezTo>
                  <a:cubicBezTo>
                    <a:pt x="223" y="222"/>
                    <a:pt x="225" y="219"/>
                    <a:pt x="225" y="219"/>
                  </a:cubicBezTo>
                  <a:cubicBezTo>
                    <a:pt x="225" y="219"/>
                    <a:pt x="227" y="216"/>
                    <a:pt x="227" y="216"/>
                  </a:cubicBezTo>
                  <a:cubicBezTo>
                    <a:pt x="227" y="216"/>
                    <a:pt x="228" y="215"/>
                    <a:pt x="228" y="214"/>
                  </a:cubicBezTo>
                  <a:cubicBezTo>
                    <a:pt x="228" y="213"/>
                    <a:pt x="227" y="209"/>
                    <a:pt x="227" y="209"/>
                  </a:cubicBezTo>
                  <a:cubicBezTo>
                    <a:pt x="227" y="209"/>
                    <a:pt x="227" y="206"/>
                    <a:pt x="228" y="206"/>
                  </a:cubicBezTo>
                  <a:cubicBezTo>
                    <a:pt x="228" y="205"/>
                    <a:pt x="229" y="204"/>
                    <a:pt x="229" y="204"/>
                  </a:cubicBezTo>
                  <a:cubicBezTo>
                    <a:pt x="229" y="204"/>
                    <a:pt x="230" y="204"/>
                    <a:pt x="231" y="205"/>
                  </a:cubicBezTo>
                  <a:cubicBezTo>
                    <a:pt x="232" y="205"/>
                    <a:pt x="232" y="203"/>
                    <a:pt x="232" y="203"/>
                  </a:cubicBezTo>
                  <a:cubicBezTo>
                    <a:pt x="232" y="203"/>
                    <a:pt x="232" y="200"/>
                    <a:pt x="231" y="200"/>
                  </a:cubicBezTo>
                  <a:cubicBezTo>
                    <a:pt x="230" y="200"/>
                    <a:pt x="229" y="198"/>
                    <a:pt x="229" y="198"/>
                  </a:cubicBezTo>
                  <a:cubicBezTo>
                    <a:pt x="229" y="198"/>
                    <a:pt x="230" y="197"/>
                    <a:pt x="230" y="197"/>
                  </a:cubicBezTo>
                  <a:cubicBezTo>
                    <a:pt x="230" y="196"/>
                    <a:pt x="232" y="195"/>
                    <a:pt x="232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4" y="191"/>
                    <a:pt x="234" y="191"/>
                    <a:pt x="234" y="191"/>
                  </a:cubicBezTo>
                  <a:cubicBezTo>
                    <a:pt x="234" y="188"/>
                    <a:pt x="234" y="188"/>
                    <a:pt x="234" y="188"/>
                  </a:cubicBezTo>
                  <a:cubicBezTo>
                    <a:pt x="234" y="188"/>
                    <a:pt x="238" y="189"/>
                    <a:pt x="238" y="189"/>
                  </a:cubicBezTo>
                  <a:cubicBezTo>
                    <a:pt x="238" y="190"/>
                    <a:pt x="239" y="192"/>
                    <a:pt x="240" y="192"/>
                  </a:cubicBezTo>
                  <a:cubicBezTo>
                    <a:pt x="240" y="191"/>
                    <a:pt x="240" y="189"/>
                    <a:pt x="240" y="189"/>
                  </a:cubicBezTo>
                  <a:cubicBezTo>
                    <a:pt x="240" y="189"/>
                    <a:pt x="241" y="186"/>
                    <a:pt x="242" y="187"/>
                  </a:cubicBezTo>
                  <a:cubicBezTo>
                    <a:pt x="244" y="188"/>
                    <a:pt x="245" y="186"/>
                    <a:pt x="246" y="186"/>
                  </a:cubicBezTo>
                  <a:cubicBezTo>
                    <a:pt x="246" y="185"/>
                    <a:pt x="247" y="183"/>
                    <a:pt x="247" y="183"/>
                  </a:cubicBezTo>
                  <a:cubicBezTo>
                    <a:pt x="247" y="183"/>
                    <a:pt x="248" y="180"/>
                    <a:pt x="247" y="179"/>
                  </a:cubicBezTo>
                  <a:cubicBezTo>
                    <a:pt x="246" y="179"/>
                    <a:pt x="245" y="179"/>
                    <a:pt x="245" y="178"/>
                  </a:cubicBezTo>
                  <a:cubicBezTo>
                    <a:pt x="245" y="178"/>
                    <a:pt x="246" y="176"/>
                    <a:pt x="247" y="176"/>
                  </a:cubicBezTo>
                  <a:cubicBezTo>
                    <a:pt x="248" y="176"/>
                    <a:pt x="248" y="176"/>
                    <a:pt x="250" y="175"/>
                  </a:cubicBezTo>
                  <a:cubicBezTo>
                    <a:pt x="251" y="174"/>
                    <a:pt x="251" y="173"/>
                    <a:pt x="251" y="173"/>
                  </a:cubicBezTo>
                  <a:cubicBezTo>
                    <a:pt x="251" y="173"/>
                    <a:pt x="254" y="172"/>
                    <a:pt x="254" y="172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58" y="168"/>
                    <a:pt x="258" y="168"/>
                    <a:pt x="258" y="168"/>
                  </a:cubicBezTo>
                  <a:cubicBezTo>
                    <a:pt x="258" y="168"/>
                    <a:pt x="260" y="168"/>
                    <a:pt x="260" y="168"/>
                  </a:cubicBezTo>
                  <a:cubicBezTo>
                    <a:pt x="261" y="168"/>
                    <a:pt x="262" y="169"/>
                    <a:pt x="262" y="169"/>
                  </a:cubicBezTo>
                  <a:cubicBezTo>
                    <a:pt x="262" y="169"/>
                    <a:pt x="264" y="169"/>
                    <a:pt x="264" y="169"/>
                  </a:cubicBezTo>
                  <a:cubicBezTo>
                    <a:pt x="264" y="168"/>
                    <a:pt x="263" y="167"/>
                    <a:pt x="264" y="167"/>
                  </a:cubicBezTo>
                  <a:cubicBezTo>
                    <a:pt x="265" y="168"/>
                    <a:pt x="265" y="168"/>
                    <a:pt x="265" y="169"/>
                  </a:cubicBezTo>
                  <a:cubicBezTo>
                    <a:pt x="266" y="169"/>
                    <a:pt x="266" y="169"/>
                    <a:pt x="266" y="169"/>
                  </a:cubicBezTo>
                  <a:cubicBezTo>
                    <a:pt x="267" y="169"/>
                    <a:pt x="268" y="170"/>
                    <a:pt x="269" y="171"/>
                  </a:cubicBezTo>
                  <a:cubicBezTo>
                    <a:pt x="269" y="171"/>
                    <a:pt x="269" y="172"/>
                    <a:pt x="269" y="173"/>
                  </a:cubicBezTo>
                  <a:cubicBezTo>
                    <a:pt x="269" y="174"/>
                    <a:pt x="269" y="174"/>
                    <a:pt x="269" y="175"/>
                  </a:cubicBezTo>
                  <a:cubicBezTo>
                    <a:pt x="269" y="176"/>
                    <a:pt x="269" y="176"/>
                    <a:pt x="269" y="176"/>
                  </a:cubicBezTo>
                  <a:cubicBezTo>
                    <a:pt x="269" y="176"/>
                    <a:pt x="272" y="178"/>
                    <a:pt x="272" y="177"/>
                  </a:cubicBezTo>
                  <a:cubicBezTo>
                    <a:pt x="272" y="176"/>
                    <a:pt x="272" y="177"/>
                    <a:pt x="272" y="175"/>
                  </a:cubicBezTo>
                  <a:cubicBezTo>
                    <a:pt x="271" y="174"/>
                    <a:pt x="272" y="173"/>
                    <a:pt x="272" y="172"/>
                  </a:cubicBezTo>
                  <a:cubicBezTo>
                    <a:pt x="271" y="171"/>
                    <a:pt x="270" y="169"/>
                    <a:pt x="270" y="168"/>
                  </a:cubicBezTo>
                  <a:cubicBezTo>
                    <a:pt x="270" y="168"/>
                    <a:pt x="271" y="167"/>
                    <a:pt x="272" y="167"/>
                  </a:cubicBezTo>
                  <a:cubicBezTo>
                    <a:pt x="273" y="167"/>
                    <a:pt x="272" y="166"/>
                    <a:pt x="273" y="167"/>
                  </a:cubicBezTo>
                  <a:cubicBezTo>
                    <a:pt x="274" y="168"/>
                    <a:pt x="274" y="169"/>
                    <a:pt x="275" y="169"/>
                  </a:cubicBezTo>
                  <a:cubicBezTo>
                    <a:pt x="276" y="169"/>
                    <a:pt x="276" y="169"/>
                    <a:pt x="276" y="169"/>
                  </a:cubicBezTo>
                  <a:cubicBezTo>
                    <a:pt x="276" y="170"/>
                    <a:pt x="277" y="171"/>
                    <a:pt x="277" y="172"/>
                  </a:cubicBezTo>
                  <a:cubicBezTo>
                    <a:pt x="277" y="173"/>
                    <a:pt x="277" y="173"/>
                    <a:pt x="277" y="174"/>
                  </a:cubicBezTo>
                  <a:cubicBezTo>
                    <a:pt x="277" y="174"/>
                    <a:pt x="279" y="177"/>
                    <a:pt x="279" y="177"/>
                  </a:cubicBezTo>
                  <a:cubicBezTo>
                    <a:pt x="279" y="177"/>
                    <a:pt x="281" y="175"/>
                    <a:pt x="281" y="175"/>
                  </a:cubicBezTo>
                  <a:cubicBezTo>
                    <a:pt x="281" y="174"/>
                    <a:pt x="281" y="173"/>
                    <a:pt x="281" y="173"/>
                  </a:cubicBezTo>
                  <a:cubicBezTo>
                    <a:pt x="281" y="172"/>
                    <a:pt x="281" y="171"/>
                    <a:pt x="281" y="171"/>
                  </a:cubicBezTo>
                  <a:cubicBezTo>
                    <a:pt x="281" y="170"/>
                    <a:pt x="278" y="167"/>
                    <a:pt x="278" y="167"/>
                  </a:cubicBezTo>
                  <a:cubicBezTo>
                    <a:pt x="278" y="167"/>
                    <a:pt x="278" y="166"/>
                    <a:pt x="279" y="165"/>
                  </a:cubicBezTo>
                  <a:cubicBezTo>
                    <a:pt x="279" y="165"/>
                    <a:pt x="280" y="164"/>
                    <a:pt x="282" y="163"/>
                  </a:cubicBezTo>
                  <a:cubicBezTo>
                    <a:pt x="276" y="150"/>
                    <a:pt x="276" y="150"/>
                    <a:pt x="276" y="150"/>
                  </a:cubicBezTo>
                  <a:cubicBezTo>
                    <a:pt x="270" y="147"/>
                    <a:pt x="270" y="147"/>
                    <a:pt x="270" y="147"/>
                  </a:cubicBezTo>
                  <a:cubicBezTo>
                    <a:pt x="266" y="143"/>
                    <a:pt x="266" y="143"/>
                    <a:pt x="266" y="143"/>
                  </a:cubicBezTo>
                  <a:cubicBezTo>
                    <a:pt x="266" y="138"/>
                    <a:pt x="266" y="138"/>
                    <a:pt x="266" y="138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3" y="134"/>
                    <a:pt x="264" y="131"/>
                    <a:pt x="264" y="130"/>
                  </a:cubicBezTo>
                  <a:cubicBezTo>
                    <a:pt x="265" y="129"/>
                    <a:pt x="267" y="124"/>
                    <a:pt x="267" y="124"/>
                  </a:cubicBezTo>
                  <a:cubicBezTo>
                    <a:pt x="267" y="124"/>
                    <a:pt x="266" y="120"/>
                    <a:pt x="266" y="119"/>
                  </a:cubicBezTo>
                  <a:cubicBezTo>
                    <a:pt x="266" y="118"/>
                    <a:pt x="267" y="113"/>
                    <a:pt x="267" y="113"/>
                  </a:cubicBezTo>
                  <a:cubicBezTo>
                    <a:pt x="266" y="108"/>
                    <a:pt x="266" y="108"/>
                    <a:pt x="266" y="108"/>
                  </a:cubicBezTo>
                  <a:cubicBezTo>
                    <a:pt x="254" y="94"/>
                    <a:pt x="254" y="94"/>
                    <a:pt x="254" y="94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lose/>
                  <a:moveTo>
                    <a:pt x="165" y="710"/>
                  </a:moveTo>
                  <a:cubicBezTo>
                    <a:pt x="165" y="710"/>
                    <a:pt x="165" y="710"/>
                    <a:pt x="165" y="710"/>
                  </a:cubicBezTo>
                  <a:cubicBezTo>
                    <a:pt x="166" y="702"/>
                    <a:pt x="166" y="702"/>
                    <a:pt x="166" y="702"/>
                  </a:cubicBezTo>
                  <a:cubicBezTo>
                    <a:pt x="166" y="702"/>
                    <a:pt x="164" y="699"/>
                    <a:pt x="164" y="699"/>
                  </a:cubicBezTo>
                  <a:cubicBezTo>
                    <a:pt x="164" y="698"/>
                    <a:pt x="163" y="696"/>
                    <a:pt x="163" y="693"/>
                  </a:cubicBezTo>
                  <a:cubicBezTo>
                    <a:pt x="164" y="690"/>
                    <a:pt x="164" y="689"/>
                    <a:pt x="165" y="687"/>
                  </a:cubicBezTo>
                  <a:cubicBezTo>
                    <a:pt x="165" y="685"/>
                    <a:pt x="167" y="684"/>
                    <a:pt x="167" y="682"/>
                  </a:cubicBezTo>
                  <a:cubicBezTo>
                    <a:pt x="167" y="679"/>
                    <a:pt x="167" y="678"/>
                    <a:pt x="168" y="676"/>
                  </a:cubicBezTo>
                  <a:cubicBezTo>
                    <a:pt x="168" y="674"/>
                    <a:pt x="169" y="672"/>
                    <a:pt x="170" y="672"/>
                  </a:cubicBezTo>
                  <a:cubicBezTo>
                    <a:pt x="170" y="671"/>
                    <a:pt x="172" y="667"/>
                    <a:pt x="172" y="667"/>
                  </a:cubicBezTo>
                  <a:cubicBezTo>
                    <a:pt x="173" y="662"/>
                    <a:pt x="173" y="662"/>
                    <a:pt x="173" y="662"/>
                  </a:cubicBezTo>
                  <a:cubicBezTo>
                    <a:pt x="173" y="662"/>
                    <a:pt x="175" y="657"/>
                    <a:pt x="175" y="656"/>
                  </a:cubicBezTo>
                  <a:cubicBezTo>
                    <a:pt x="175" y="655"/>
                    <a:pt x="174" y="651"/>
                    <a:pt x="174" y="650"/>
                  </a:cubicBezTo>
                  <a:cubicBezTo>
                    <a:pt x="175" y="649"/>
                    <a:pt x="177" y="647"/>
                    <a:pt x="177" y="647"/>
                  </a:cubicBezTo>
                  <a:cubicBezTo>
                    <a:pt x="180" y="647"/>
                    <a:pt x="180" y="647"/>
                    <a:pt x="180" y="647"/>
                  </a:cubicBezTo>
                  <a:cubicBezTo>
                    <a:pt x="180" y="647"/>
                    <a:pt x="180" y="650"/>
                    <a:pt x="179" y="651"/>
                  </a:cubicBezTo>
                  <a:cubicBezTo>
                    <a:pt x="178" y="651"/>
                    <a:pt x="177" y="652"/>
                    <a:pt x="177" y="652"/>
                  </a:cubicBezTo>
                  <a:cubicBezTo>
                    <a:pt x="177" y="653"/>
                    <a:pt x="179" y="655"/>
                    <a:pt x="179" y="655"/>
                  </a:cubicBezTo>
                  <a:cubicBezTo>
                    <a:pt x="179" y="659"/>
                    <a:pt x="179" y="659"/>
                    <a:pt x="179" y="659"/>
                  </a:cubicBezTo>
                  <a:cubicBezTo>
                    <a:pt x="177" y="663"/>
                    <a:pt x="177" y="663"/>
                    <a:pt x="177" y="663"/>
                  </a:cubicBezTo>
                  <a:cubicBezTo>
                    <a:pt x="175" y="668"/>
                    <a:pt x="175" y="668"/>
                    <a:pt x="175" y="668"/>
                  </a:cubicBezTo>
                  <a:cubicBezTo>
                    <a:pt x="175" y="673"/>
                    <a:pt x="175" y="673"/>
                    <a:pt x="175" y="673"/>
                  </a:cubicBezTo>
                  <a:cubicBezTo>
                    <a:pt x="174" y="676"/>
                    <a:pt x="174" y="676"/>
                    <a:pt x="174" y="676"/>
                  </a:cubicBezTo>
                  <a:cubicBezTo>
                    <a:pt x="173" y="679"/>
                    <a:pt x="173" y="679"/>
                    <a:pt x="173" y="679"/>
                  </a:cubicBezTo>
                  <a:cubicBezTo>
                    <a:pt x="171" y="685"/>
                    <a:pt x="171" y="685"/>
                    <a:pt x="171" y="685"/>
                  </a:cubicBezTo>
                  <a:cubicBezTo>
                    <a:pt x="172" y="690"/>
                    <a:pt x="172" y="690"/>
                    <a:pt x="172" y="690"/>
                  </a:cubicBezTo>
                  <a:cubicBezTo>
                    <a:pt x="169" y="696"/>
                    <a:pt x="169" y="696"/>
                    <a:pt x="169" y="696"/>
                  </a:cubicBezTo>
                  <a:cubicBezTo>
                    <a:pt x="169" y="696"/>
                    <a:pt x="169" y="699"/>
                    <a:pt x="169" y="700"/>
                  </a:cubicBezTo>
                  <a:cubicBezTo>
                    <a:pt x="169" y="701"/>
                    <a:pt x="169" y="707"/>
                    <a:pt x="169" y="707"/>
                  </a:cubicBezTo>
                  <a:cubicBezTo>
                    <a:pt x="169" y="707"/>
                    <a:pt x="169" y="710"/>
                    <a:pt x="168" y="710"/>
                  </a:cubicBezTo>
                  <a:cubicBezTo>
                    <a:pt x="167" y="710"/>
                    <a:pt x="165" y="710"/>
                    <a:pt x="165" y="710"/>
                  </a:cubicBezTo>
                  <a:close/>
                  <a:moveTo>
                    <a:pt x="206" y="649"/>
                  </a:moveTo>
                  <a:cubicBezTo>
                    <a:pt x="206" y="649"/>
                    <a:pt x="206" y="649"/>
                    <a:pt x="206" y="649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8" y="646"/>
                    <a:pt x="208" y="646"/>
                    <a:pt x="208" y="646"/>
                  </a:cubicBezTo>
                  <a:cubicBezTo>
                    <a:pt x="208" y="646"/>
                    <a:pt x="207" y="642"/>
                    <a:pt x="207" y="641"/>
                  </a:cubicBezTo>
                  <a:cubicBezTo>
                    <a:pt x="207" y="640"/>
                    <a:pt x="206" y="641"/>
                    <a:pt x="205" y="639"/>
                  </a:cubicBezTo>
                  <a:cubicBezTo>
                    <a:pt x="204" y="638"/>
                    <a:pt x="204" y="635"/>
                    <a:pt x="204" y="635"/>
                  </a:cubicBezTo>
                  <a:cubicBezTo>
                    <a:pt x="204" y="634"/>
                    <a:pt x="205" y="631"/>
                    <a:pt x="205" y="631"/>
                  </a:cubicBezTo>
                  <a:cubicBezTo>
                    <a:pt x="205" y="631"/>
                    <a:pt x="208" y="627"/>
                    <a:pt x="210" y="625"/>
                  </a:cubicBezTo>
                  <a:cubicBezTo>
                    <a:pt x="213" y="622"/>
                    <a:pt x="212" y="622"/>
                    <a:pt x="212" y="620"/>
                  </a:cubicBezTo>
                  <a:cubicBezTo>
                    <a:pt x="211" y="619"/>
                    <a:pt x="213" y="618"/>
                    <a:pt x="213" y="618"/>
                  </a:cubicBezTo>
                  <a:cubicBezTo>
                    <a:pt x="216" y="615"/>
                    <a:pt x="216" y="615"/>
                    <a:pt x="216" y="615"/>
                  </a:cubicBezTo>
                  <a:cubicBezTo>
                    <a:pt x="218" y="610"/>
                    <a:pt x="218" y="610"/>
                    <a:pt x="218" y="610"/>
                  </a:cubicBezTo>
                  <a:cubicBezTo>
                    <a:pt x="218" y="610"/>
                    <a:pt x="221" y="613"/>
                    <a:pt x="221" y="613"/>
                  </a:cubicBezTo>
                  <a:cubicBezTo>
                    <a:pt x="222" y="613"/>
                    <a:pt x="222" y="612"/>
                    <a:pt x="222" y="611"/>
                  </a:cubicBezTo>
                  <a:cubicBezTo>
                    <a:pt x="222" y="610"/>
                    <a:pt x="224" y="610"/>
                    <a:pt x="224" y="610"/>
                  </a:cubicBezTo>
                  <a:cubicBezTo>
                    <a:pt x="225" y="610"/>
                    <a:pt x="228" y="609"/>
                    <a:pt x="228" y="609"/>
                  </a:cubicBezTo>
                  <a:cubicBezTo>
                    <a:pt x="229" y="607"/>
                    <a:pt x="229" y="607"/>
                    <a:pt x="229" y="607"/>
                  </a:cubicBezTo>
                  <a:cubicBezTo>
                    <a:pt x="229" y="607"/>
                    <a:pt x="233" y="606"/>
                    <a:pt x="235" y="607"/>
                  </a:cubicBezTo>
                  <a:cubicBezTo>
                    <a:pt x="236" y="608"/>
                    <a:pt x="234" y="608"/>
                    <a:pt x="234" y="609"/>
                  </a:cubicBezTo>
                  <a:cubicBezTo>
                    <a:pt x="234" y="610"/>
                    <a:pt x="234" y="610"/>
                    <a:pt x="234" y="611"/>
                  </a:cubicBezTo>
                  <a:cubicBezTo>
                    <a:pt x="234" y="612"/>
                    <a:pt x="233" y="613"/>
                    <a:pt x="230" y="613"/>
                  </a:cubicBezTo>
                  <a:cubicBezTo>
                    <a:pt x="227" y="614"/>
                    <a:pt x="229" y="616"/>
                    <a:pt x="229" y="616"/>
                  </a:cubicBezTo>
                  <a:cubicBezTo>
                    <a:pt x="229" y="616"/>
                    <a:pt x="229" y="620"/>
                    <a:pt x="229" y="620"/>
                  </a:cubicBezTo>
                  <a:cubicBezTo>
                    <a:pt x="228" y="621"/>
                    <a:pt x="226" y="623"/>
                    <a:pt x="224" y="623"/>
                  </a:cubicBezTo>
                  <a:cubicBezTo>
                    <a:pt x="223" y="624"/>
                    <a:pt x="223" y="626"/>
                    <a:pt x="223" y="626"/>
                  </a:cubicBezTo>
                  <a:cubicBezTo>
                    <a:pt x="223" y="627"/>
                    <a:pt x="224" y="629"/>
                    <a:pt x="224" y="631"/>
                  </a:cubicBezTo>
                  <a:cubicBezTo>
                    <a:pt x="224" y="632"/>
                    <a:pt x="224" y="632"/>
                    <a:pt x="225" y="634"/>
                  </a:cubicBezTo>
                  <a:cubicBezTo>
                    <a:pt x="225" y="635"/>
                    <a:pt x="227" y="635"/>
                    <a:pt x="228" y="635"/>
                  </a:cubicBezTo>
                  <a:cubicBezTo>
                    <a:pt x="228" y="636"/>
                    <a:pt x="230" y="638"/>
                    <a:pt x="229" y="639"/>
                  </a:cubicBezTo>
                  <a:cubicBezTo>
                    <a:pt x="228" y="640"/>
                    <a:pt x="227" y="641"/>
                    <a:pt x="226" y="641"/>
                  </a:cubicBezTo>
                  <a:cubicBezTo>
                    <a:pt x="226" y="642"/>
                    <a:pt x="224" y="645"/>
                    <a:pt x="224" y="645"/>
                  </a:cubicBezTo>
                  <a:cubicBezTo>
                    <a:pt x="224" y="645"/>
                    <a:pt x="225" y="647"/>
                    <a:pt x="224" y="649"/>
                  </a:cubicBezTo>
                  <a:cubicBezTo>
                    <a:pt x="224" y="651"/>
                    <a:pt x="222" y="650"/>
                    <a:pt x="221" y="651"/>
                  </a:cubicBezTo>
                  <a:cubicBezTo>
                    <a:pt x="221" y="651"/>
                    <a:pt x="218" y="654"/>
                    <a:pt x="218" y="654"/>
                  </a:cubicBezTo>
                  <a:cubicBezTo>
                    <a:pt x="217" y="654"/>
                    <a:pt x="216" y="658"/>
                    <a:pt x="216" y="660"/>
                  </a:cubicBezTo>
                  <a:cubicBezTo>
                    <a:pt x="216" y="661"/>
                    <a:pt x="216" y="663"/>
                    <a:pt x="216" y="664"/>
                  </a:cubicBezTo>
                  <a:cubicBezTo>
                    <a:pt x="216" y="665"/>
                    <a:pt x="216" y="664"/>
                    <a:pt x="214" y="667"/>
                  </a:cubicBezTo>
                  <a:cubicBezTo>
                    <a:pt x="211" y="670"/>
                    <a:pt x="212" y="668"/>
                    <a:pt x="209" y="667"/>
                  </a:cubicBezTo>
                  <a:cubicBezTo>
                    <a:pt x="205" y="667"/>
                    <a:pt x="209" y="666"/>
                    <a:pt x="210" y="664"/>
                  </a:cubicBezTo>
                  <a:cubicBezTo>
                    <a:pt x="211" y="662"/>
                    <a:pt x="212" y="660"/>
                    <a:pt x="212" y="660"/>
                  </a:cubicBezTo>
                  <a:cubicBezTo>
                    <a:pt x="211" y="656"/>
                    <a:pt x="211" y="656"/>
                    <a:pt x="211" y="656"/>
                  </a:cubicBezTo>
                  <a:cubicBezTo>
                    <a:pt x="209" y="653"/>
                    <a:pt x="209" y="653"/>
                    <a:pt x="209" y="653"/>
                  </a:cubicBezTo>
                  <a:lnTo>
                    <a:pt x="206" y="649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2" name="Freeform 96"/>
            <p:cNvSpPr>
              <a:spLocks noEditPoints="1"/>
            </p:cNvSpPr>
            <p:nvPr/>
          </p:nvSpPr>
          <p:spPr bwMode="auto">
            <a:xfrm>
              <a:off x="4686242" y="235948"/>
              <a:ext cx="1226964" cy="1680165"/>
            </a:xfrm>
            <a:custGeom>
              <a:avLst/>
              <a:gdLst>
                <a:gd name="T0" fmla="*/ 383 w 538"/>
                <a:gd name="T1" fmla="*/ 61 h 760"/>
                <a:gd name="T2" fmla="*/ 367 w 538"/>
                <a:gd name="T3" fmla="*/ 127 h 760"/>
                <a:gd name="T4" fmla="*/ 435 w 538"/>
                <a:gd name="T5" fmla="*/ 150 h 760"/>
                <a:gd name="T6" fmla="*/ 438 w 538"/>
                <a:gd name="T7" fmla="*/ 149 h 760"/>
                <a:gd name="T8" fmla="*/ 438 w 538"/>
                <a:gd name="T9" fmla="*/ 148 h 760"/>
                <a:gd name="T10" fmla="*/ 443 w 538"/>
                <a:gd name="T11" fmla="*/ 86 h 760"/>
                <a:gd name="T12" fmla="*/ 500 w 538"/>
                <a:gd name="T13" fmla="*/ 70 h 760"/>
                <a:gd name="T14" fmla="*/ 509 w 538"/>
                <a:gd name="T15" fmla="*/ 106 h 760"/>
                <a:gd name="T16" fmla="*/ 499 w 538"/>
                <a:gd name="T17" fmla="*/ 50 h 760"/>
                <a:gd name="T18" fmla="*/ 468 w 538"/>
                <a:gd name="T19" fmla="*/ 9 h 760"/>
                <a:gd name="T20" fmla="*/ 444 w 538"/>
                <a:gd name="T21" fmla="*/ 21 h 760"/>
                <a:gd name="T22" fmla="*/ 425 w 538"/>
                <a:gd name="T23" fmla="*/ 23 h 760"/>
                <a:gd name="T24" fmla="*/ 400 w 538"/>
                <a:gd name="T25" fmla="*/ 33 h 760"/>
                <a:gd name="T26" fmla="*/ 377 w 538"/>
                <a:gd name="T27" fmla="*/ 69 h 760"/>
                <a:gd name="T28" fmla="*/ 361 w 538"/>
                <a:gd name="T29" fmla="*/ 85 h 760"/>
                <a:gd name="T30" fmla="*/ 328 w 538"/>
                <a:gd name="T31" fmla="*/ 96 h 760"/>
                <a:gd name="T32" fmla="*/ 298 w 538"/>
                <a:gd name="T33" fmla="*/ 115 h 760"/>
                <a:gd name="T34" fmla="*/ 281 w 538"/>
                <a:gd name="T35" fmla="*/ 161 h 760"/>
                <a:gd name="T36" fmla="*/ 241 w 538"/>
                <a:gd name="T37" fmla="*/ 187 h 760"/>
                <a:gd name="T38" fmla="*/ 235 w 538"/>
                <a:gd name="T39" fmla="*/ 201 h 760"/>
                <a:gd name="T40" fmla="*/ 241 w 538"/>
                <a:gd name="T41" fmla="*/ 223 h 760"/>
                <a:gd name="T42" fmla="*/ 235 w 538"/>
                <a:gd name="T43" fmla="*/ 256 h 760"/>
                <a:gd name="T44" fmla="*/ 219 w 538"/>
                <a:gd name="T45" fmla="*/ 306 h 760"/>
                <a:gd name="T46" fmla="*/ 193 w 538"/>
                <a:gd name="T47" fmla="*/ 362 h 760"/>
                <a:gd name="T48" fmla="*/ 174 w 538"/>
                <a:gd name="T49" fmla="*/ 390 h 760"/>
                <a:gd name="T50" fmla="*/ 145 w 538"/>
                <a:gd name="T51" fmla="*/ 436 h 760"/>
                <a:gd name="T52" fmla="*/ 139 w 538"/>
                <a:gd name="T53" fmla="*/ 456 h 760"/>
                <a:gd name="T54" fmla="*/ 97 w 538"/>
                <a:gd name="T55" fmla="*/ 474 h 760"/>
                <a:gd name="T56" fmla="*/ 59 w 538"/>
                <a:gd name="T57" fmla="*/ 500 h 760"/>
                <a:gd name="T58" fmla="*/ 24 w 538"/>
                <a:gd name="T59" fmla="*/ 527 h 760"/>
                <a:gd name="T60" fmla="*/ 14 w 538"/>
                <a:gd name="T61" fmla="*/ 551 h 760"/>
                <a:gd name="T62" fmla="*/ 4 w 538"/>
                <a:gd name="T63" fmla="*/ 599 h 760"/>
                <a:gd name="T64" fmla="*/ 13 w 538"/>
                <a:gd name="T65" fmla="*/ 650 h 760"/>
                <a:gd name="T66" fmla="*/ 22 w 538"/>
                <a:gd name="T67" fmla="*/ 686 h 760"/>
                <a:gd name="T68" fmla="*/ 33 w 538"/>
                <a:gd name="T69" fmla="*/ 742 h 760"/>
                <a:gd name="T70" fmla="*/ 96 w 538"/>
                <a:gd name="T71" fmla="*/ 747 h 760"/>
                <a:gd name="T72" fmla="*/ 173 w 538"/>
                <a:gd name="T73" fmla="*/ 704 h 760"/>
                <a:gd name="T74" fmla="*/ 188 w 538"/>
                <a:gd name="T75" fmla="*/ 671 h 760"/>
                <a:gd name="T76" fmla="*/ 193 w 538"/>
                <a:gd name="T77" fmla="*/ 655 h 760"/>
                <a:gd name="T78" fmla="*/ 193 w 538"/>
                <a:gd name="T79" fmla="*/ 655 h 760"/>
                <a:gd name="T80" fmla="*/ 207 w 538"/>
                <a:gd name="T81" fmla="*/ 644 h 760"/>
                <a:gd name="T82" fmla="*/ 212 w 538"/>
                <a:gd name="T83" fmla="*/ 590 h 760"/>
                <a:gd name="T84" fmla="*/ 213 w 538"/>
                <a:gd name="T85" fmla="*/ 589 h 760"/>
                <a:gd name="T86" fmla="*/ 213 w 538"/>
                <a:gd name="T87" fmla="*/ 586 h 760"/>
                <a:gd name="T88" fmla="*/ 213 w 538"/>
                <a:gd name="T89" fmla="*/ 584 h 760"/>
                <a:gd name="T90" fmla="*/ 214 w 538"/>
                <a:gd name="T91" fmla="*/ 582 h 760"/>
                <a:gd name="T92" fmla="*/ 189 w 538"/>
                <a:gd name="T93" fmla="*/ 510 h 760"/>
                <a:gd name="T94" fmla="*/ 231 w 538"/>
                <a:gd name="T95" fmla="*/ 427 h 760"/>
                <a:gd name="T96" fmla="*/ 240 w 538"/>
                <a:gd name="T97" fmla="*/ 314 h 760"/>
                <a:gd name="T98" fmla="*/ 275 w 538"/>
                <a:gd name="T99" fmla="*/ 228 h 760"/>
                <a:gd name="T100" fmla="*/ 275 w 538"/>
                <a:gd name="T101" fmla="*/ 220 h 760"/>
                <a:gd name="T102" fmla="*/ 275 w 538"/>
                <a:gd name="T103" fmla="*/ 218 h 760"/>
                <a:gd name="T104" fmla="*/ 276 w 538"/>
                <a:gd name="T105" fmla="*/ 217 h 760"/>
                <a:gd name="T106" fmla="*/ 277 w 538"/>
                <a:gd name="T107" fmla="*/ 215 h 760"/>
                <a:gd name="T108" fmla="*/ 302 w 538"/>
                <a:gd name="T109" fmla="*/ 202 h 760"/>
                <a:gd name="T110" fmla="*/ 342 w 538"/>
                <a:gd name="T111" fmla="*/ 142 h 760"/>
                <a:gd name="T112" fmla="*/ 360 w 538"/>
                <a:gd name="T113" fmla="*/ 125 h 760"/>
                <a:gd name="T114" fmla="*/ 361 w 538"/>
                <a:gd name="T115" fmla="*/ 125 h 760"/>
                <a:gd name="T116" fmla="*/ 363 w 538"/>
                <a:gd name="T117" fmla="*/ 125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8" h="760">
                  <a:moveTo>
                    <a:pt x="370" y="57"/>
                  </a:moveTo>
                  <a:cubicBezTo>
                    <a:pt x="368" y="57"/>
                    <a:pt x="365" y="58"/>
                    <a:pt x="365" y="56"/>
                  </a:cubicBezTo>
                  <a:cubicBezTo>
                    <a:pt x="365" y="55"/>
                    <a:pt x="362" y="52"/>
                    <a:pt x="362" y="52"/>
                  </a:cubicBezTo>
                  <a:cubicBezTo>
                    <a:pt x="362" y="51"/>
                    <a:pt x="360" y="49"/>
                    <a:pt x="363" y="48"/>
                  </a:cubicBezTo>
                  <a:cubicBezTo>
                    <a:pt x="365" y="46"/>
                    <a:pt x="372" y="43"/>
                    <a:pt x="373" y="43"/>
                  </a:cubicBezTo>
                  <a:cubicBezTo>
                    <a:pt x="373" y="43"/>
                    <a:pt x="376" y="38"/>
                    <a:pt x="377" y="37"/>
                  </a:cubicBezTo>
                  <a:cubicBezTo>
                    <a:pt x="378" y="37"/>
                    <a:pt x="384" y="37"/>
                    <a:pt x="384" y="37"/>
                  </a:cubicBezTo>
                  <a:cubicBezTo>
                    <a:pt x="384" y="37"/>
                    <a:pt x="385" y="38"/>
                    <a:pt x="387" y="38"/>
                  </a:cubicBezTo>
                  <a:cubicBezTo>
                    <a:pt x="389" y="39"/>
                    <a:pt x="393" y="36"/>
                    <a:pt x="391" y="39"/>
                  </a:cubicBezTo>
                  <a:cubicBezTo>
                    <a:pt x="388" y="41"/>
                    <a:pt x="387" y="42"/>
                    <a:pt x="386" y="42"/>
                  </a:cubicBezTo>
                  <a:cubicBezTo>
                    <a:pt x="385" y="43"/>
                    <a:pt x="380" y="47"/>
                    <a:pt x="380" y="49"/>
                  </a:cubicBezTo>
                  <a:cubicBezTo>
                    <a:pt x="379" y="51"/>
                    <a:pt x="380" y="51"/>
                    <a:pt x="379" y="52"/>
                  </a:cubicBezTo>
                  <a:cubicBezTo>
                    <a:pt x="377" y="53"/>
                    <a:pt x="371" y="56"/>
                    <a:pt x="370" y="57"/>
                  </a:cubicBezTo>
                  <a:close/>
                  <a:moveTo>
                    <a:pt x="383" y="61"/>
                  </a:moveTo>
                  <a:cubicBezTo>
                    <a:pt x="383" y="61"/>
                    <a:pt x="383" y="61"/>
                    <a:pt x="383" y="61"/>
                  </a:cubicBezTo>
                  <a:cubicBezTo>
                    <a:pt x="383" y="61"/>
                    <a:pt x="386" y="62"/>
                    <a:pt x="386" y="61"/>
                  </a:cubicBezTo>
                  <a:cubicBezTo>
                    <a:pt x="386" y="61"/>
                    <a:pt x="387" y="59"/>
                    <a:pt x="387" y="56"/>
                  </a:cubicBezTo>
                  <a:cubicBezTo>
                    <a:pt x="388" y="53"/>
                    <a:pt x="390" y="53"/>
                    <a:pt x="391" y="52"/>
                  </a:cubicBezTo>
                  <a:cubicBezTo>
                    <a:pt x="392" y="51"/>
                    <a:pt x="391" y="51"/>
                    <a:pt x="392" y="49"/>
                  </a:cubicBezTo>
                  <a:cubicBezTo>
                    <a:pt x="392" y="47"/>
                    <a:pt x="391" y="47"/>
                    <a:pt x="389" y="46"/>
                  </a:cubicBezTo>
                  <a:cubicBezTo>
                    <a:pt x="386" y="46"/>
                    <a:pt x="386" y="48"/>
                    <a:pt x="384" y="48"/>
                  </a:cubicBezTo>
                  <a:cubicBezTo>
                    <a:pt x="383" y="49"/>
                    <a:pt x="383" y="51"/>
                    <a:pt x="384" y="52"/>
                  </a:cubicBezTo>
                  <a:cubicBezTo>
                    <a:pt x="384" y="53"/>
                    <a:pt x="382" y="54"/>
                    <a:pt x="380" y="55"/>
                  </a:cubicBezTo>
                  <a:cubicBezTo>
                    <a:pt x="378" y="57"/>
                    <a:pt x="378" y="59"/>
                    <a:pt x="378" y="59"/>
                  </a:cubicBezTo>
                  <a:cubicBezTo>
                    <a:pt x="383" y="61"/>
                    <a:pt x="383" y="61"/>
                    <a:pt x="383" y="61"/>
                  </a:cubicBezTo>
                  <a:close/>
                  <a:moveTo>
                    <a:pt x="363" y="126"/>
                  </a:moveTo>
                  <a:cubicBezTo>
                    <a:pt x="363" y="126"/>
                    <a:pt x="363" y="126"/>
                    <a:pt x="363" y="126"/>
                  </a:cubicBezTo>
                  <a:cubicBezTo>
                    <a:pt x="367" y="127"/>
                    <a:pt x="367" y="127"/>
                    <a:pt x="367" y="127"/>
                  </a:cubicBezTo>
                  <a:cubicBezTo>
                    <a:pt x="374" y="135"/>
                    <a:pt x="374" y="135"/>
                    <a:pt x="374" y="135"/>
                  </a:cubicBezTo>
                  <a:cubicBezTo>
                    <a:pt x="380" y="142"/>
                    <a:pt x="380" y="142"/>
                    <a:pt x="380" y="142"/>
                  </a:cubicBezTo>
                  <a:cubicBezTo>
                    <a:pt x="380" y="142"/>
                    <a:pt x="389" y="149"/>
                    <a:pt x="391" y="150"/>
                  </a:cubicBezTo>
                  <a:cubicBezTo>
                    <a:pt x="393" y="151"/>
                    <a:pt x="404" y="153"/>
                    <a:pt x="405" y="154"/>
                  </a:cubicBezTo>
                  <a:cubicBezTo>
                    <a:pt x="408" y="150"/>
                    <a:pt x="408" y="150"/>
                    <a:pt x="408" y="150"/>
                  </a:cubicBezTo>
                  <a:cubicBezTo>
                    <a:pt x="412" y="147"/>
                    <a:pt x="412" y="147"/>
                    <a:pt x="412" y="147"/>
                  </a:cubicBezTo>
                  <a:cubicBezTo>
                    <a:pt x="411" y="145"/>
                    <a:pt x="411" y="145"/>
                    <a:pt x="411" y="145"/>
                  </a:cubicBezTo>
                  <a:cubicBezTo>
                    <a:pt x="416" y="142"/>
                    <a:pt x="416" y="142"/>
                    <a:pt x="416" y="142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30" y="147"/>
                    <a:pt x="430" y="147"/>
                    <a:pt x="430" y="147"/>
                  </a:cubicBezTo>
                  <a:cubicBezTo>
                    <a:pt x="434" y="150"/>
                    <a:pt x="434" y="150"/>
                    <a:pt x="434" y="150"/>
                  </a:cubicBezTo>
                  <a:cubicBezTo>
                    <a:pt x="434" y="150"/>
                    <a:pt x="434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7"/>
                    <a:pt x="438" y="147"/>
                    <a:pt x="438" y="147"/>
                  </a:cubicBezTo>
                  <a:cubicBezTo>
                    <a:pt x="438" y="146"/>
                    <a:pt x="438" y="140"/>
                    <a:pt x="438" y="140"/>
                  </a:cubicBezTo>
                  <a:cubicBezTo>
                    <a:pt x="438" y="140"/>
                    <a:pt x="435" y="138"/>
                    <a:pt x="438" y="136"/>
                  </a:cubicBezTo>
                  <a:cubicBezTo>
                    <a:pt x="441" y="133"/>
                    <a:pt x="445" y="130"/>
                    <a:pt x="445" y="130"/>
                  </a:cubicBezTo>
                  <a:cubicBezTo>
                    <a:pt x="445" y="130"/>
                    <a:pt x="447" y="129"/>
                    <a:pt x="447" y="126"/>
                  </a:cubicBezTo>
                  <a:cubicBezTo>
                    <a:pt x="447" y="123"/>
                    <a:pt x="445" y="115"/>
                    <a:pt x="445" y="115"/>
                  </a:cubicBezTo>
                  <a:cubicBezTo>
                    <a:pt x="445" y="115"/>
                    <a:pt x="443" y="110"/>
                    <a:pt x="443" y="108"/>
                  </a:cubicBezTo>
                  <a:cubicBezTo>
                    <a:pt x="445" y="96"/>
                    <a:pt x="440" y="88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5" y="85"/>
                    <a:pt x="445" y="85"/>
                    <a:pt x="445" y="85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8" y="82"/>
                    <a:pt x="448" y="82"/>
                  </a:cubicBezTo>
                  <a:cubicBezTo>
                    <a:pt x="448" y="77"/>
                    <a:pt x="442" y="72"/>
                    <a:pt x="449" y="71"/>
                  </a:cubicBezTo>
                  <a:cubicBezTo>
                    <a:pt x="452" y="69"/>
                    <a:pt x="452" y="69"/>
                    <a:pt x="452" y="69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63" y="63"/>
                    <a:pt x="463" y="63"/>
                    <a:pt x="463" y="63"/>
                  </a:cubicBezTo>
                  <a:cubicBezTo>
                    <a:pt x="467" y="59"/>
                    <a:pt x="467" y="59"/>
                    <a:pt x="467" y="59"/>
                  </a:cubicBezTo>
                  <a:cubicBezTo>
                    <a:pt x="470" y="59"/>
                    <a:pt x="474" y="58"/>
                    <a:pt x="476" y="59"/>
                  </a:cubicBezTo>
                  <a:cubicBezTo>
                    <a:pt x="478" y="62"/>
                    <a:pt x="478" y="64"/>
                    <a:pt x="482" y="65"/>
                  </a:cubicBezTo>
                  <a:cubicBezTo>
                    <a:pt x="494" y="69"/>
                    <a:pt x="494" y="69"/>
                    <a:pt x="494" y="69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4"/>
                    <a:pt x="503" y="76"/>
                    <a:pt x="504" y="77"/>
                  </a:cubicBezTo>
                  <a:cubicBezTo>
                    <a:pt x="504" y="79"/>
                    <a:pt x="505" y="82"/>
                    <a:pt x="505" y="82"/>
                  </a:cubicBezTo>
                  <a:cubicBezTo>
                    <a:pt x="505" y="82"/>
                    <a:pt x="504" y="85"/>
                    <a:pt x="504" y="87"/>
                  </a:cubicBezTo>
                  <a:cubicBezTo>
                    <a:pt x="503" y="88"/>
                    <a:pt x="503" y="91"/>
                    <a:pt x="503" y="92"/>
                  </a:cubicBezTo>
                  <a:cubicBezTo>
                    <a:pt x="503" y="93"/>
                    <a:pt x="503" y="94"/>
                    <a:pt x="503" y="95"/>
                  </a:cubicBezTo>
                  <a:cubicBezTo>
                    <a:pt x="503" y="97"/>
                    <a:pt x="504" y="100"/>
                    <a:pt x="505" y="101"/>
                  </a:cubicBezTo>
                  <a:cubicBezTo>
                    <a:pt x="505" y="102"/>
                    <a:pt x="510" y="105"/>
                    <a:pt x="510" y="105"/>
                  </a:cubicBezTo>
                  <a:cubicBezTo>
                    <a:pt x="510" y="105"/>
                    <a:pt x="510" y="105"/>
                    <a:pt x="509" y="106"/>
                  </a:cubicBezTo>
                  <a:cubicBezTo>
                    <a:pt x="509" y="106"/>
                    <a:pt x="509" y="107"/>
                    <a:pt x="510" y="107"/>
                  </a:cubicBezTo>
                  <a:cubicBezTo>
                    <a:pt x="512" y="107"/>
                    <a:pt x="515" y="106"/>
                    <a:pt x="515" y="106"/>
                  </a:cubicBezTo>
                  <a:cubicBezTo>
                    <a:pt x="515" y="106"/>
                    <a:pt x="515" y="97"/>
                    <a:pt x="514" y="94"/>
                  </a:cubicBezTo>
                  <a:cubicBezTo>
                    <a:pt x="513" y="90"/>
                    <a:pt x="518" y="86"/>
                    <a:pt x="518" y="86"/>
                  </a:cubicBezTo>
                  <a:cubicBezTo>
                    <a:pt x="525" y="79"/>
                    <a:pt x="525" y="79"/>
                    <a:pt x="525" y="79"/>
                  </a:cubicBezTo>
                  <a:cubicBezTo>
                    <a:pt x="524" y="71"/>
                    <a:pt x="524" y="71"/>
                    <a:pt x="524" y="71"/>
                  </a:cubicBezTo>
                  <a:cubicBezTo>
                    <a:pt x="532" y="72"/>
                    <a:pt x="532" y="72"/>
                    <a:pt x="532" y="72"/>
                  </a:cubicBezTo>
                  <a:cubicBezTo>
                    <a:pt x="532" y="72"/>
                    <a:pt x="538" y="69"/>
                    <a:pt x="536" y="65"/>
                  </a:cubicBezTo>
                  <a:cubicBezTo>
                    <a:pt x="534" y="60"/>
                    <a:pt x="532" y="52"/>
                    <a:pt x="530" y="54"/>
                  </a:cubicBezTo>
                  <a:cubicBezTo>
                    <a:pt x="527" y="56"/>
                    <a:pt x="522" y="62"/>
                    <a:pt x="522" y="62"/>
                  </a:cubicBezTo>
                  <a:cubicBezTo>
                    <a:pt x="521" y="52"/>
                    <a:pt x="521" y="52"/>
                    <a:pt x="521" y="52"/>
                  </a:cubicBezTo>
                  <a:cubicBezTo>
                    <a:pt x="513" y="55"/>
                    <a:pt x="513" y="55"/>
                    <a:pt x="513" y="55"/>
                  </a:cubicBezTo>
                  <a:cubicBezTo>
                    <a:pt x="505" y="53"/>
                    <a:pt x="505" y="53"/>
                    <a:pt x="505" y="53"/>
                  </a:cubicBezTo>
                  <a:cubicBezTo>
                    <a:pt x="505" y="53"/>
                    <a:pt x="502" y="49"/>
                    <a:pt x="499" y="50"/>
                  </a:cubicBezTo>
                  <a:cubicBezTo>
                    <a:pt x="496" y="50"/>
                    <a:pt x="491" y="50"/>
                    <a:pt x="491" y="50"/>
                  </a:cubicBezTo>
                  <a:cubicBezTo>
                    <a:pt x="491" y="50"/>
                    <a:pt x="487" y="47"/>
                    <a:pt x="489" y="46"/>
                  </a:cubicBezTo>
                  <a:cubicBezTo>
                    <a:pt x="492" y="46"/>
                    <a:pt x="498" y="47"/>
                    <a:pt x="501" y="46"/>
                  </a:cubicBezTo>
                  <a:cubicBezTo>
                    <a:pt x="503" y="46"/>
                    <a:pt x="519" y="42"/>
                    <a:pt x="519" y="42"/>
                  </a:cubicBezTo>
                  <a:cubicBezTo>
                    <a:pt x="520" y="35"/>
                    <a:pt x="520" y="35"/>
                    <a:pt x="520" y="35"/>
                  </a:cubicBezTo>
                  <a:cubicBezTo>
                    <a:pt x="527" y="29"/>
                    <a:pt x="527" y="29"/>
                    <a:pt x="527" y="29"/>
                  </a:cubicBezTo>
                  <a:cubicBezTo>
                    <a:pt x="515" y="20"/>
                    <a:pt x="515" y="20"/>
                    <a:pt x="515" y="20"/>
                  </a:cubicBezTo>
                  <a:cubicBezTo>
                    <a:pt x="510" y="12"/>
                    <a:pt x="510" y="12"/>
                    <a:pt x="510" y="12"/>
                  </a:cubicBezTo>
                  <a:cubicBezTo>
                    <a:pt x="510" y="12"/>
                    <a:pt x="509" y="9"/>
                    <a:pt x="507" y="9"/>
                  </a:cubicBezTo>
                  <a:cubicBezTo>
                    <a:pt x="504" y="9"/>
                    <a:pt x="496" y="13"/>
                    <a:pt x="496" y="13"/>
                  </a:cubicBezTo>
                  <a:cubicBezTo>
                    <a:pt x="490" y="9"/>
                    <a:pt x="490" y="9"/>
                    <a:pt x="490" y="9"/>
                  </a:cubicBezTo>
                  <a:cubicBezTo>
                    <a:pt x="481" y="10"/>
                    <a:pt x="481" y="10"/>
                    <a:pt x="481" y="10"/>
                  </a:cubicBezTo>
                  <a:cubicBezTo>
                    <a:pt x="468" y="6"/>
                    <a:pt x="468" y="6"/>
                    <a:pt x="468" y="6"/>
                  </a:cubicBezTo>
                  <a:cubicBezTo>
                    <a:pt x="468" y="9"/>
                    <a:pt x="468" y="9"/>
                    <a:pt x="468" y="9"/>
                  </a:cubicBezTo>
                  <a:cubicBezTo>
                    <a:pt x="468" y="9"/>
                    <a:pt x="464" y="8"/>
                    <a:pt x="463" y="6"/>
                  </a:cubicBezTo>
                  <a:cubicBezTo>
                    <a:pt x="463" y="4"/>
                    <a:pt x="463" y="2"/>
                    <a:pt x="463" y="2"/>
                  </a:cubicBezTo>
                  <a:cubicBezTo>
                    <a:pt x="458" y="3"/>
                    <a:pt x="458" y="3"/>
                    <a:pt x="458" y="3"/>
                  </a:cubicBezTo>
                  <a:cubicBezTo>
                    <a:pt x="456" y="3"/>
                    <a:pt x="456" y="3"/>
                    <a:pt x="456" y="3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47" y="6"/>
                    <a:pt x="447" y="6"/>
                    <a:pt x="447" y="6"/>
                  </a:cubicBezTo>
                  <a:cubicBezTo>
                    <a:pt x="451" y="13"/>
                    <a:pt x="451" y="13"/>
                    <a:pt x="451" y="13"/>
                  </a:cubicBezTo>
                  <a:cubicBezTo>
                    <a:pt x="447" y="21"/>
                    <a:pt x="447" y="21"/>
                    <a:pt x="447" y="21"/>
                  </a:cubicBezTo>
                  <a:cubicBezTo>
                    <a:pt x="450" y="26"/>
                    <a:pt x="450" y="26"/>
                    <a:pt x="450" y="26"/>
                  </a:cubicBezTo>
                  <a:cubicBezTo>
                    <a:pt x="450" y="33"/>
                    <a:pt x="450" y="33"/>
                    <a:pt x="450" y="33"/>
                  </a:cubicBezTo>
                  <a:cubicBezTo>
                    <a:pt x="446" y="41"/>
                    <a:pt x="446" y="41"/>
                    <a:pt x="446" y="41"/>
                  </a:cubicBezTo>
                  <a:cubicBezTo>
                    <a:pt x="440" y="36"/>
                    <a:pt x="440" y="36"/>
                    <a:pt x="440" y="36"/>
                  </a:cubicBezTo>
                  <a:cubicBezTo>
                    <a:pt x="441" y="29"/>
                    <a:pt x="441" y="29"/>
                    <a:pt x="441" y="29"/>
                  </a:cubicBezTo>
                  <a:cubicBezTo>
                    <a:pt x="444" y="21"/>
                    <a:pt x="444" y="21"/>
                    <a:pt x="444" y="21"/>
                  </a:cubicBezTo>
                  <a:cubicBezTo>
                    <a:pt x="440" y="13"/>
                    <a:pt x="440" y="13"/>
                    <a:pt x="440" y="13"/>
                  </a:cubicBezTo>
                  <a:cubicBezTo>
                    <a:pt x="432" y="20"/>
                    <a:pt x="432" y="20"/>
                    <a:pt x="432" y="20"/>
                  </a:cubicBezTo>
                  <a:cubicBezTo>
                    <a:pt x="432" y="30"/>
                    <a:pt x="432" y="30"/>
                    <a:pt x="432" y="30"/>
                  </a:cubicBezTo>
                  <a:cubicBezTo>
                    <a:pt x="428" y="37"/>
                    <a:pt x="428" y="37"/>
                    <a:pt x="428" y="37"/>
                  </a:cubicBezTo>
                  <a:cubicBezTo>
                    <a:pt x="428" y="46"/>
                    <a:pt x="428" y="46"/>
                    <a:pt x="428" y="46"/>
                  </a:cubicBezTo>
                  <a:cubicBezTo>
                    <a:pt x="426" y="53"/>
                    <a:pt x="426" y="53"/>
                    <a:pt x="426" y="53"/>
                  </a:cubicBezTo>
                  <a:cubicBezTo>
                    <a:pt x="425" y="62"/>
                    <a:pt x="425" y="62"/>
                    <a:pt x="425" y="62"/>
                  </a:cubicBezTo>
                  <a:cubicBezTo>
                    <a:pt x="425" y="62"/>
                    <a:pt x="425" y="64"/>
                    <a:pt x="423" y="64"/>
                  </a:cubicBezTo>
                  <a:cubicBezTo>
                    <a:pt x="421" y="65"/>
                    <a:pt x="417" y="63"/>
                    <a:pt x="417" y="63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9" y="43"/>
                    <a:pt x="419" y="43"/>
                    <a:pt x="419" y="43"/>
                  </a:cubicBezTo>
                  <a:cubicBezTo>
                    <a:pt x="422" y="37"/>
                    <a:pt x="422" y="37"/>
                    <a:pt x="422" y="37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26" y="29"/>
                    <a:pt x="426" y="24"/>
                    <a:pt x="425" y="23"/>
                  </a:cubicBezTo>
                  <a:cubicBezTo>
                    <a:pt x="425" y="23"/>
                    <a:pt x="423" y="22"/>
                    <a:pt x="424" y="22"/>
                  </a:cubicBezTo>
                  <a:cubicBezTo>
                    <a:pt x="424" y="21"/>
                    <a:pt x="428" y="17"/>
                    <a:pt x="428" y="17"/>
                  </a:cubicBezTo>
                  <a:cubicBezTo>
                    <a:pt x="428" y="17"/>
                    <a:pt x="428" y="14"/>
                    <a:pt x="425" y="12"/>
                  </a:cubicBezTo>
                  <a:cubicBezTo>
                    <a:pt x="423" y="11"/>
                    <a:pt x="421" y="9"/>
                    <a:pt x="419" y="10"/>
                  </a:cubicBezTo>
                  <a:cubicBezTo>
                    <a:pt x="418" y="11"/>
                    <a:pt x="413" y="13"/>
                    <a:pt x="413" y="14"/>
                  </a:cubicBezTo>
                  <a:cubicBezTo>
                    <a:pt x="412" y="15"/>
                    <a:pt x="413" y="17"/>
                    <a:pt x="414" y="18"/>
                  </a:cubicBezTo>
                  <a:cubicBezTo>
                    <a:pt x="415" y="18"/>
                    <a:pt x="416" y="19"/>
                    <a:pt x="417" y="19"/>
                  </a:cubicBezTo>
                  <a:cubicBezTo>
                    <a:pt x="417" y="20"/>
                    <a:pt x="418" y="23"/>
                    <a:pt x="417" y="24"/>
                  </a:cubicBezTo>
                  <a:cubicBezTo>
                    <a:pt x="416" y="25"/>
                    <a:pt x="417" y="28"/>
                    <a:pt x="414" y="27"/>
                  </a:cubicBezTo>
                  <a:cubicBezTo>
                    <a:pt x="412" y="26"/>
                    <a:pt x="406" y="22"/>
                    <a:pt x="406" y="22"/>
                  </a:cubicBezTo>
                  <a:cubicBezTo>
                    <a:pt x="405" y="22"/>
                    <a:pt x="406" y="18"/>
                    <a:pt x="404" y="22"/>
                  </a:cubicBezTo>
                  <a:cubicBezTo>
                    <a:pt x="402" y="25"/>
                    <a:pt x="401" y="26"/>
                    <a:pt x="402" y="28"/>
                  </a:cubicBezTo>
                  <a:cubicBezTo>
                    <a:pt x="403" y="30"/>
                    <a:pt x="404" y="30"/>
                    <a:pt x="404" y="31"/>
                  </a:cubicBezTo>
                  <a:cubicBezTo>
                    <a:pt x="404" y="32"/>
                    <a:pt x="400" y="32"/>
                    <a:pt x="400" y="33"/>
                  </a:cubicBezTo>
                  <a:cubicBezTo>
                    <a:pt x="400" y="34"/>
                    <a:pt x="399" y="35"/>
                    <a:pt x="401" y="37"/>
                  </a:cubicBezTo>
                  <a:cubicBezTo>
                    <a:pt x="403" y="38"/>
                    <a:pt x="405" y="39"/>
                    <a:pt x="405" y="39"/>
                  </a:cubicBezTo>
                  <a:cubicBezTo>
                    <a:pt x="405" y="39"/>
                    <a:pt x="407" y="42"/>
                    <a:pt x="406" y="42"/>
                  </a:cubicBezTo>
                  <a:cubicBezTo>
                    <a:pt x="406" y="43"/>
                    <a:pt x="400" y="42"/>
                    <a:pt x="400" y="43"/>
                  </a:cubicBezTo>
                  <a:cubicBezTo>
                    <a:pt x="400" y="44"/>
                    <a:pt x="400" y="46"/>
                    <a:pt x="400" y="47"/>
                  </a:cubicBezTo>
                  <a:cubicBezTo>
                    <a:pt x="400" y="48"/>
                    <a:pt x="400" y="50"/>
                    <a:pt x="400" y="50"/>
                  </a:cubicBezTo>
                  <a:cubicBezTo>
                    <a:pt x="400" y="51"/>
                    <a:pt x="396" y="51"/>
                    <a:pt x="395" y="52"/>
                  </a:cubicBezTo>
                  <a:cubicBezTo>
                    <a:pt x="393" y="53"/>
                    <a:pt x="392" y="56"/>
                    <a:pt x="392" y="58"/>
                  </a:cubicBezTo>
                  <a:cubicBezTo>
                    <a:pt x="391" y="60"/>
                    <a:pt x="391" y="62"/>
                    <a:pt x="391" y="63"/>
                  </a:cubicBezTo>
                  <a:cubicBezTo>
                    <a:pt x="391" y="64"/>
                    <a:pt x="389" y="66"/>
                    <a:pt x="389" y="66"/>
                  </a:cubicBezTo>
                  <a:cubicBezTo>
                    <a:pt x="389" y="66"/>
                    <a:pt x="389" y="67"/>
                    <a:pt x="387" y="66"/>
                  </a:cubicBezTo>
                  <a:cubicBezTo>
                    <a:pt x="385" y="66"/>
                    <a:pt x="378" y="62"/>
                    <a:pt x="377" y="62"/>
                  </a:cubicBezTo>
                  <a:cubicBezTo>
                    <a:pt x="375" y="62"/>
                    <a:pt x="373" y="63"/>
                    <a:pt x="373" y="65"/>
                  </a:cubicBezTo>
                  <a:cubicBezTo>
                    <a:pt x="373" y="66"/>
                    <a:pt x="376" y="69"/>
                    <a:pt x="377" y="69"/>
                  </a:cubicBezTo>
                  <a:cubicBezTo>
                    <a:pt x="377" y="69"/>
                    <a:pt x="382" y="70"/>
                    <a:pt x="383" y="71"/>
                  </a:cubicBezTo>
                  <a:cubicBezTo>
                    <a:pt x="383" y="72"/>
                    <a:pt x="383" y="79"/>
                    <a:pt x="383" y="79"/>
                  </a:cubicBezTo>
                  <a:cubicBezTo>
                    <a:pt x="383" y="79"/>
                    <a:pt x="387" y="87"/>
                    <a:pt x="380" y="80"/>
                  </a:cubicBezTo>
                  <a:cubicBezTo>
                    <a:pt x="372" y="73"/>
                    <a:pt x="372" y="72"/>
                    <a:pt x="371" y="71"/>
                  </a:cubicBezTo>
                  <a:cubicBezTo>
                    <a:pt x="370" y="71"/>
                    <a:pt x="363" y="69"/>
                    <a:pt x="363" y="69"/>
                  </a:cubicBezTo>
                  <a:cubicBezTo>
                    <a:pt x="363" y="69"/>
                    <a:pt x="362" y="66"/>
                    <a:pt x="361" y="69"/>
                  </a:cubicBezTo>
                  <a:cubicBezTo>
                    <a:pt x="360" y="71"/>
                    <a:pt x="363" y="76"/>
                    <a:pt x="363" y="76"/>
                  </a:cubicBezTo>
                  <a:cubicBezTo>
                    <a:pt x="362" y="75"/>
                    <a:pt x="362" y="75"/>
                    <a:pt x="362" y="75"/>
                  </a:cubicBezTo>
                  <a:cubicBezTo>
                    <a:pt x="362" y="75"/>
                    <a:pt x="359" y="73"/>
                    <a:pt x="357" y="72"/>
                  </a:cubicBezTo>
                  <a:cubicBezTo>
                    <a:pt x="356" y="70"/>
                    <a:pt x="353" y="72"/>
                    <a:pt x="353" y="72"/>
                  </a:cubicBezTo>
                  <a:cubicBezTo>
                    <a:pt x="353" y="72"/>
                    <a:pt x="352" y="73"/>
                    <a:pt x="350" y="75"/>
                  </a:cubicBezTo>
                  <a:cubicBezTo>
                    <a:pt x="349" y="76"/>
                    <a:pt x="345" y="72"/>
                    <a:pt x="349" y="77"/>
                  </a:cubicBezTo>
                  <a:cubicBezTo>
                    <a:pt x="352" y="81"/>
                    <a:pt x="355" y="82"/>
                    <a:pt x="356" y="83"/>
                  </a:cubicBezTo>
                  <a:cubicBezTo>
                    <a:pt x="356" y="83"/>
                    <a:pt x="360" y="84"/>
                    <a:pt x="361" y="85"/>
                  </a:cubicBezTo>
                  <a:cubicBezTo>
                    <a:pt x="362" y="86"/>
                    <a:pt x="362" y="89"/>
                    <a:pt x="362" y="90"/>
                  </a:cubicBezTo>
                  <a:cubicBezTo>
                    <a:pt x="362" y="90"/>
                    <a:pt x="365" y="94"/>
                    <a:pt x="360" y="91"/>
                  </a:cubicBezTo>
                  <a:cubicBezTo>
                    <a:pt x="355" y="87"/>
                    <a:pt x="355" y="86"/>
                    <a:pt x="353" y="86"/>
                  </a:cubicBezTo>
                  <a:cubicBezTo>
                    <a:pt x="352" y="86"/>
                    <a:pt x="350" y="88"/>
                    <a:pt x="350" y="88"/>
                  </a:cubicBezTo>
                  <a:cubicBezTo>
                    <a:pt x="350" y="88"/>
                    <a:pt x="344" y="87"/>
                    <a:pt x="344" y="84"/>
                  </a:cubicBezTo>
                  <a:cubicBezTo>
                    <a:pt x="343" y="81"/>
                    <a:pt x="345" y="76"/>
                    <a:pt x="341" y="77"/>
                  </a:cubicBezTo>
                  <a:cubicBezTo>
                    <a:pt x="336" y="77"/>
                    <a:pt x="335" y="79"/>
                    <a:pt x="335" y="80"/>
                  </a:cubicBezTo>
                  <a:cubicBezTo>
                    <a:pt x="335" y="81"/>
                    <a:pt x="332" y="82"/>
                    <a:pt x="335" y="85"/>
                  </a:cubicBezTo>
                  <a:cubicBezTo>
                    <a:pt x="338" y="88"/>
                    <a:pt x="340" y="90"/>
                    <a:pt x="341" y="90"/>
                  </a:cubicBezTo>
                  <a:cubicBezTo>
                    <a:pt x="341" y="90"/>
                    <a:pt x="347" y="90"/>
                    <a:pt x="344" y="91"/>
                  </a:cubicBezTo>
                  <a:cubicBezTo>
                    <a:pt x="342" y="93"/>
                    <a:pt x="338" y="93"/>
                    <a:pt x="337" y="93"/>
                  </a:cubicBezTo>
                  <a:cubicBezTo>
                    <a:pt x="336" y="93"/>
                    <a:pt x="337" y="92"/>
                    <a:pt x="336" y="93"/>
                  </a:cubicBezTo>
                  <a:cubicBezTo>
                    <a:pt x="334" y="94"/>
                    <a:pt x="329" y="99"/>
                    <a:pt x="329" y="99"/>
                  </a:cubicBezTo>
                  <a:cubicBezTo>
                    <a:pt x="329" y="99"/>
                    <a:pt x="328" y="97"/>
                    <a:pt x="328" y="96"/>
                  </a:cubicBezTo>
                  <a:cubicBezTo>
                    <a:pt x="328" y="95"/>
                    <a:pt x="332" y="93"/>
                    <a:pt x="332" y="91"/>
                  </a:cubicBezTo>
                  <a:cubicBezTo>
                    <a:pt x="332" y="89"/>
                    <a:pt x="330" y="82"/>
                    <a:pt x="330" y="82"/>
                  </a:cubicBezTo>
                  <a:cubicBezTo>
                    <a:pt x="330" y="82"/>
                    <a:pt x="326" y="80"/>
                    <a:pt x="326" y="80"/>
                  </a:cubicBezTo>
                  <a:cubicBezTo>
                    <a:pt x="325" y="79"/>
                    <a:pt x="322" y="77"/>
                    <a:pt x="321" y="78"/>
                  </a:cubicBezTo>
                  <a:cubicBezTo>
                    <a:pt x="320" y="79"/>
                    <a:pt x="318" y="82"/>
                    <a:pt x="320" y="84"/>
                  </a:cubicBezTo>
                  <a:cubicBezTo>
                    <a:pt x="322" y="87"/>
                    <a:pt x="324" y="89"/>
                    <a:pt x="323" y="89"/>
                  </a:cubicBezTo>
                  <a:cubicBezTo>
                    <a:pt x="321" y="90"/>
                    <a:pt x="320" y="91"/>
                    <a:pt x="319" y="90"/>
                  </a:cubicBezTo>
                  <a:cubicBezTo>
                    <a:pt x="318" y="90"/>
                    <a:pt x="316" y="88"/>
                    <a:pt x="313" y="89"/>
                  </a:cubicBezTo>
                  <a:cubicBezTo>
                    <a:pt x="310" y="90"/>
                    <a:pt x="307" y="96"/>
                    <a:pt x="307" y="96"/>
                  </a:cubicBezTo>
                  <a:cubicBezTo>
                    <a:pt x="307" y="96"/>
                    <a:pt x="310" y="102"/>
                    <a:pt x="311" y="103"/>
                  </a:cubicBezTo>
                  <a:cubicBezTo>
                    <a:pt x="312" y="103"/>
                    <a:pt x="313" y="105"/>
                    <a:pt x="313" y="107"/>
                  </a:cubicBezTo>
                  <a:cubicBezTo>
                    <a:pt x="312" y="109"/>
                    <a:pt x="313" y="106"/>
                    <a:pt x="311" y="107"/>
                  </a:cubicBezTo>
                  <a:cubicBezTo>
                    <a:pt x="308" y="108"/>
                    <a:pt x="307" y="109"/>
                    <a:pt x="305" y="109"/>
                  </a:cubicBezTo>
                  <a:cubicBezTo>
                    <a:pt x="303" y="109"/>
                    <a:pt x="298" y="115"/>
                    <a:pt x="298" y="115"/>
                  </a:cubicBezTo>
                  <a:cubicBezTo>
                    <a:pt x="301" y="119"/>
                    <a:pt x="301" y="119"/>
                    <a:pt x="301" y="119"/>
                  </a:cubicBezTo>
                  <a:cubicBezTo>
                    <a:pt x="301" y="119"/>
                    <a:pt x="293" y="122"/>
                    <a:pt x="291" y="123"/>
                  </a:cubicBezTo>
                  <a:cubicBezTo>
                    <a:pt x="290" y="123"/>
                    <a:pt x="294" y="122"/>
                    <a:pt x="289" y="123"/>
                  </a:cubicBezTo>
                  <a:cubicBezTo>
                    <a:pt x="285" y="125"/>
                    <a:pt x="282" y="129"/>
                    <a:pt x="281" y="131"/>
                  </a:cubicBezTo>
                  <a:cubicBezTo>
                    <a:pt x="281" y="132"/>
                    <a:pt x="277" y="132"/>
                    <a:pt x="277" y="135"/>
                  </a:cubicBezTo>
                  <a:cubicBezTo>
                    <a:pt x="277" y="137"/>
                    <a:pt x="278" y="141"/>
                    <a:pt x="277" y="142"/>
                  </a:cubicBezTo>
                  <a:cubicBezTo>
                    <a:pt x="277" y="143"/>
                    <a:pt x="277" y="143"/>
                    <a:pt x="277" y="145"/>
                  </a:cubicBezTo>
                  <a:cubicBezTo>
                    <a:pt x="277" y="147"/>
                    <a:pt x="276" y="149"/>
                    <a:pt x="279" y="149"/>
                  </a:cubicBezTo>
                  <a:cubicBezTo>
                    <a:pt x="282" y="149"/>
                    <a:pt x="286" y="147"/>
                    <a:pt x="287" y="146"/>
                  </a:cubicBezTo>
                  <a:cubicBezTo>
                    <a:pt x="287" y="145"/>
                    <a:pt x="288" y="141"/>
                    <a:pt x="289" y="143"/>
                  </a:cubicBezTo>
                  <a:cubicBezTo>
                    <a:pt x="291" y="144"/>
                    <a:pt x="291" y="148"/>
                    <a:pt x="291" y="148"/>
                  </a:cubicBezTo>
                  <a:cubicBezTo>
                    <a:pt x="291" y="148"/>
                    <a:pt x="291" y="152"/>
                    <a:pt x="291" y="153"/>
                  </a:cubicBezTo>
                  <a:cubicBezTo>
                    <a:pt x="290" y="155"/>
                    <a:pt x="297" y="153"/>
                    <a:pt x="290" y="156"/>
                  </a:cubicBezTo>
                  <a:cubicBezTo>
                    <a:pt x="283" y="160"/>
                    <a:pt x="281" y="160"/>
                    <a:pt x="281" y="161"/>
                  </a:cubicBezTo>
                  <a:cubicBezTo>
                    <a:pt x="281" y="163"/>
                    <a:pt x="285" y="168"/>
                    <a:pt x="280" y="166"/>
                  </a:cubicBezTo>
                  <a:cubicBezTo>
                    <a:pt x="275" y="165"/>
                    <a:pt x="275" y="166"/>
                    <a:pt x="275" y="165"/>
                  </a:cubicBezTo>
                  <a:cubicBezTo>
                    <a:pt x="274" y="164"/>
                    <a:pt x="276" y="170"/>
                    <a:pt x="270" y="161"/>
                  </a:cubicBezTo>
                  <a:cubicBezTo>
                    <a:pt x="264" y="152"/>
                    <a:pt x="264" y="153"/>
                    <a:pt x="264" y="151"/>
                  </a:cubicBezTo>
                  <a:cubicBezTo>
                    <a:pt x="264" y="149"/>
                    <a:pt x="263" y="142"/>
                    <a:pt x="263" y="142"/>
                  </a:cubicBezTo>
                  <a:cubicBezTo>
                    <a:pt x="263" y="142"/>
                    <a:pt x="262" y="135"/>
                    <a:pt x="259" y="138"/>
                  </a:cubicBezTo>
                  <a:cubicBezTo>
                    <a:pt x="255" y="141"/>
                    <a:pt x="255" y="146"/>
                    <a:pt x="255" y="146"/>
                  </a:cubicBezTo>
                  <a:cubicBezTo>
                    <a:pt x="255" y="146"/>
                    <a:pt x="250" y="151"/>
                    <a:pt x="249" y="152"/>
                  </a:cubicBezTo>
                  <a:cubicBezTo>
                    <a:pt x="248" y="152"/>
                    <a:pt x="246" y="152"/>
                    <a:pt x="243" y="154"/>
                  </a:cubicBezTo>
                  <a:cubicBezTo>
                    <a:pt x="241" y="157"/>
                    <a:pt x="234" y="167"/>
                    <a:pt x="234" y="167"/>
                  </a:cubicBezTo>
                  <a:cubicBezTo>
                    <a:pt x="234" y="167"/>
                    <a:pt x="230" y="174"/>
                    <a:pt x="231" y="176"/>
                  </a:cubicBezTo>
                  <a:cubicBezTo>
                    <a:pt x="232" y="178"/>
                    <a:pt x="235" y="181"/>
                    <a:pt x="235" y="181"/>
                  </a:cubicBezTo>
                  <a:cubicBezTo>
                    <a:pt x="235" y="181"/>
                    <a:pt x="236" y="180"/>
                    <a:pt x="236" y="183"/>
                  </a:cubicBezTo>
                  <a:cubicBezTo>
                    <a:pt x="236" y="186"/>
                    <a:pt x="241" y="187"/>
                    <a:pt x="241" y="187"/>
                  </a:cubicBezTo>
                  <a:cubicBezTo>
                    <a:pt x="241" y="187"/>
                    <a:pt x="243" y="188"/>
                    <a:pt x="241" y="190"/>
                  </a:cubicBezTo>
                  <a:cubicBezTo>
                    <a:pt x="238" y="192"/>
                    <a:pt x="230" y="193"/>
                    <a:pt x="230" y="193"/>
                  </a:cubicBezTo>
                  <a:cubicBezTo>
                    <a:pt x="222" y="193"/>
                    <a:pt x="222" y="193"/>
                    <a:pt x="222" y="193"/>
                  </a:cubicBezTo>
                  <a:cubicBezTo>
                    <a:pt x="222" y="193"/>
                    <a:pt x="218" y="198"/>
                    <a:pt x="217" y="198"/>
                  </a:cubicBezTo>
                  <a:cubicBezTo>
                    <a:pt x="215" y="199"/>
                    <a:pt x="212" y="201"/>
                    <a:pt x="211" y="204"/>
                  </a:cubicBezTo>
                  <a:cubicBezTo>
                    <a:pt x="211" y="206"/>
                    <a:pt x="202" y="214"/>
                    <a:pt x="202" y="214"/>
                  </a:cubicBezTo>
                  <a:cubicBezTo>
                    <a:pt x="202" y="214"/>
                    <a:pt x="202" y="217"/>
                    <a:pt x="202" y="218"/>
                  </a:cubicBezTo>
                  <a:cubicBezTo>
                    <a:pt x="202" y="219"/>
                    <a:pt x="198" y="221"/>
                    <a:pt x="200" y="222"/>
                  </a:cubicBezTo>
                  <a:cubicBezTo>
                    <a:pt x="202" y="223"/>
                    <a:pt x="205" y="224"/>
                    <a:pt x="207" y="220"/>
                  </a:cubicBezTo>
                  <a:cubicBezTo>
                    <a:pt x="209" y="217"/>
                    <a:pt x="209" y="212"/>
                    <a:pt x="209" y="212"/>
                  </a:cubicBezTo>
                  <a:cubicBezTo>
                    <a:pt x="209" y="212"/>
                    <a:pt x="211" y="210"/>
                    <a:pt x="213" y="210"/>
                  </a:cubicBezTo>
                  <a:cubicBezTo>
                    <a:pt x="216" y="210"/>
                    <a:pt x="219" y="207"/>
                    <a:pt x="222" y="206"/>
                  </a:cubicBezTo>
                  <a:cubicBezTo>
                    <a:pt x="225" y="206"/>
                    <a:pt x="229" y="201"/>
                    <a:pt x="230" y="201"/>
                  </a:cubicBezTo>
                  <a:cubicBezTo>
                    <a:pt x="232" y="201"/>
                    <a:pt x="231" y="202"/>
                    <a:pt x="235" y="201"/>
                  </a:cubicBezTo>
                  <a:cubicBezTo>
                    <a:pt x="239" y="201"/>
                    <a:pt x="243" y="201"/>
                    <a:pt x="244" y="200"/>
                  </a:cubicBezTo>
                  <a:cubicBezTo>
                    <a:pt x="246" y="199"/>
                    <a:pt x="254" y="204"/>
                    <a:pt x="255" y="205"/>
                  </a:cubicBezTo>
                  <a:cubicBezTo>
                    <a:pt x="255" y="206"/>
                    <a:pt x="248" y="207"/>
                    <a:pt x="251" y="209"/>
                  </a:cubicBezTo>
                  <a:cubicBezTo>
                    <a:pt x="255" y="211"/>
                    <a:pt x="255" y="212"/>
                    <a:pt x="256" y="212"/>
                  </a:cubicBezTo>
                  <a:cubicBezTo>
                    <a:pt x="257" y="212"/>
                    <a:pt x="259" y="211"/>
                    <a:pt x="262" y="210"/>
                  </a:cubicBezTo>
                  <a:cubicBezTo>
                    <a:pt x="264" y="208"/>
                    <a:pt x="260" y="205"/>
                    <a:pt x="266" y="207"/>
                  </a:cubicBezTo>
                  <a:cubicBezTo>
                    <a:pt x="271" y="209"/>
                    <a:pt x="271" y="211"/>
                    <a:pt x="271" y="211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66" y="214"/>
                    <a:pt x="266" y="214"/>
                    <a:pt x="266" y="214"/>
                  </a:cubicBezTo>
                  <a:cubicBezTo>
                    <a:pt x="260" y="213"/>
                    <a:pt x="260" y="213"/>
                    <a:pt x="260" y="213"/>
                  </a:cubicBezTo>
                  <a:cubicBezTo>
                    <a:pt x="256" y="215"/>
                    <a:pt x="256" y="215"/>
                    <a:pt x="256" y="215"/>
                  </a:cubicBezTo>
                  <a:cubicBezTo>
                    <a:pt x="256" y="215"/>
                    <a:pt x="255" y="216"/>
                    <a:pt x="254" y="216"/>
                  </a:cubicBezTo>
                  <a:cubicBezTo>
                    <a:pt x="254" y="216"/>
                    <a:pt x="245" y="217"/>
                    <a:pt x="245" y="217"/>
                  </a:cubicBezTo>
                  <a:cubicBezTo>
                    <a:pt x="241" y="223"/>
                    <a:pt x="241" y="223"/>
                    <a:pt x="241" y="223"/>
                  </a:cubicBezTo>
                  <a:cubicBezTo>
                    <a:pt x="241" y="223"/>
                    <a:pt x="244" y="227"/>
                    <a:pt x="244" y="227"/>
                  </a:cubicBezTo>
                  <a:cubicBezTo>
                    <a:pt x="245" y="227"/>
                    <a:pt x="251" y="225"/>
                    <a:pt x="251" y="226"/>
                  </a:cubicBezTo>
                  <a:cubicBezTo>
                    <a:pt x="252" y="226"/>
                    <a:pt x="253" y="228"/>
                    <a:pt x="252" y="229"/>
                  </a:cubicBezTo>
                  <a:cubicBezTo>
                    <a:pt x="252" y="230"/>
                    <a:pt x="248" y="233"/>
                    <a:pt x="248" y="233"/>
                  </a:cubicBezTo>
                  <a:cubicBezTo>
                    <a:pt x="246" y="237"/>
                    <a:pt x="246" y="237"/>
                    <a:pt x="246" y="237"/>
                  </a:cubicBezTo>
                  <a:cubicBezTo>
                    <a:pt x="246" y="237"/>
                    <a:pt x="250" y="238"/>
                    <a:pt x="251" y="238"/>
                  </a:cubicBezTo>
                  <a:cubicBezTo>
                    <a:pt x="251" y="238"/>
                    <a:pt x="257" y="238"/>
                    <a:pt x="256" y="239"/>
                  </a:cubicBezTo>
                  <a:cubicBezTo>
                    <a:pt x="256" y="239"/>
                    <a:pt x="247" y="240"/>
                    <a:pt x="247" y="240"/>
                  </a:cubicBezTo>
                  <a:cubicBezTo>
                    <a:pt x="247" y="240"/>
                    <a:pt x="239" y="239"/>
                    <a:pt x="240" y="239"/>
                  </a:cubicBezTo>
                  <a:cubicBezTo>
                    <a:pt x="240" y="240"/>
                    <a:pt x="239" y="242"/>
                    <a:pt x="239" y="243"/>
                  </a:cubicBezTo>
                  <a:cubicBezTo>
                    <a:pt x="239" y="243"/>
                    <a:pt x="237" y="246"/>
                    <a:pt x="237" y="246"/>
                  </a:cubicBezTo>
                  <a:cubicBezTo>
                    <a:pt x="236" y="246"/>
                    <a:pt x="234" y="246"/>
                    <a:pt x="233" y="247"/>
                  </a:cubicBezTo>
                  <a:cubicBezTo>
                    <a:pt x="233" y="248"/>
                    <a:pt x="232" y="250"/>
                    <a:pt x="232" y="252"/>
                  </a:cubicBezTo>
                  <a:cubicBezTo>
                    <a:pt x="232" y="253"/>
                    <a:pt x="235" y="256"/>
                    <a:pt x="235" y="256"/>
                  </a:cubicBezTo>
                  <a:cubicBezTo>
                    <a:pt x="234" y="258"/>
                    <a:pt x="234" y="258"/>
                    <a:pt x="234" y="258"/>
                  </a:cubicBezTo>
                  <a:cubicBezTo>
                    <a:pt x="230" y="262"/>
                    <a:pt x="230" y="262"/>
                    <a:pt x="230" y="262"/>
                  </a:cubicBezTo>
                  <a:cubicBezTo>
                    <a:pt x="230" y="262"/>
                    <a:pt x="228" y="263"/>
                    <a:pt x="228" y="264"/>
                  </a:cubicBezTo>
                  <a:cubicBezTo>
                    <a:pt x="229" y="264"/>
                    <a:pt x="225" y="266"/>
                    <a:pt x="225" y="266"/>
                  </a:cubicBezTo>
                  <a:cubicBezTo>
                    <a:pt x="218" y="270"/>
                    <a:pt x="218" y="270"/>
                    <a:pt x="218" y="270"/>
                  </a:cubicBezTo>
                  <a:cubicBezTo>
                    <a:pt x="218" y="270"/>
                    <a:pt x="219" y="273"/>
                    <a:pt x="219" y="274"/>
                  </a:cubicBezTo>
                  <a:cubicBezTo>
                    <a:pt x="219" y="274"/>
                    <a:pt x="222" y="276"/>
                    <a:pt x="220" y="278"/>
                  </a:cubicBezTo>
                  <a:cubicBezTo>
                    <a:pt x="218" y="279"/>
                    <a:pt x="216" y="280"/>
                    <a:pt x="215" y="281"/>
                  </a:cubicBezTo>
                  <a:cubicBezTo>
                    <a:pt x="215" y="281"/>
                    <a:pt x="213" y="282"/>
                    <a:pt x="213" y="285"/>
                  </a:cubicBezTo>
                  <a:cubicBezTo>
                    <a:pt x="214" y="287"/>
                    <a:pt x="212" y="290"/>
                    <a:pt x="211" y="290"/>
                  </a:cubicBezTo>
                  <a:cubicBezTo>
                    <a:pt x="211" y="290"/>
                    <a:pt x="209" y="291"/>
                    <a:pt x="209" y="294"/>
                  </a:cubicBezTo>
                  <a:cubicBezTo>
                    <a:pt x="210" y="296"/>
                    <a:pt x="209" y="303"/>
                    <a:pt x="209" y="303"/>
                  </a:cubicBezTo>
                  <a:cubicBezTo>
                    <a:pt x="209" y="303"/>
                    <a:pt x="212" y="307"/>
                    <a:pt x="213" y="307"/>
                  </a:cubicBezTo>
                  <a:cubicBezTo>
                    <a:pt x="213" y="307"/>
                    <a:pt x="218" y="305"/>
                    <a:pt x="219" y="306"/>
                  </a:cubicBezTo>
                  <a:cubicBezTo>
                    <a:pt x="221" y="306"/>
                    <a:pt x="224" y="308"/>
                    <a:pt x="224" y="308"/>
                  </a:cubicBezTo>
                  <a:cubicBezTo>
                    <a:pt x="224" y="308"/>
                    <a:pt x="223" y="313"/>
                    <a:pt x="222" y="314"/>
                  </a:cubicBezTo>
                  <a:cubicBezTo>
                    <a:pt x="221" y="314"/>
                    <a:pt x="215" y="315"/>
                    <a:pt x="215" y="315"/>
                  </a:cubicBezTo>
                  <a:cubicBezTo>
                    <a:pt x="215" y="315"/>
                    <a:pt x="212" y="313"/>
                    <a:pt x="211" y="313"/>
                  </a:cubicBezTo>
                  <a:cubicBezTo>
                    <a:pt x="210" y="314"/>
                    <a:pt x="205" y="319"/>
                    <a:pt x="205" y="319"/>
                  </a:cubicBezTo>
                  <a:cubicBezTo>
                    <a:pt x="205" y="319"/>
                    <a:pt x="205" y="322"/>
                    <a:pt x="204" y="322"/>
                  </a:cubicBezTo>
                  <a:cubicBezTo>
                    <a:pt x="202" y="323"/>
                    <a:pt x="201" y="321"/>
                    <a:pt x="201" y="323"/>
                  </a:cubicBezTo>
                  <a:cubicBezTo>
                    <a:pt x="201" y="324"/>
                    <a:pt x="201" y="327"/>
                    <a:pt x="201" y="328"/>
                  </a:cubicBezTo>
                  <a:cubicBezTo>
                    <a:pt x="201" y="330"/>
                    <a:pt x="201" y="333"/>
                    <a:pt x="201" y="333"/>
                  </a:cubicBezTo>
                  <a:cubicBezTo>
                    <a:pt x="201" y="333"/>
                    <a:pt x="199" y="337"/>
                    <a:pt x="198" y="339"/>
                  </a:cubicBezTo>
                  <a:cubicBezTo>
                    <a:pt x="197" y="341"/>
                    <a:pt x="195" y="346"/>
                    <a:pt x="195" y="347"/>
                  </a:cubicBezTo>
                  <a:cubicBezTo>
                    <a:pt x="196" y="348"/>
                    <a:pt x="198" y="353"/>
                    <a:pt x="198" y="353"/>
                  </a:cubicBezTo>
                  <a:cubicBezTo>
                    <a:pt x="191" y="357"/>
                    <a:pt x="191" y="357"/>
                    <a:pt x="191" y="357"/>
                  </a:cubicBezTo>
                  <a:cubicBezTo>
                    <a:pt x="193" y="362"/>
                    <a:pt x="193" y="362"/>
                    <a:pt x="193" y="362"/>
                  </a:cubicBezTo>
                  <a:cubicBezTo>
                    <a:pt x="193" y="362"/>
                    <a:pt x="194" y="362"/>
                    <a:pt x="194" y="363"/>
                  </a:cubicBezTo>
                  <a:cubicBezTo>
                    <a:pt x="194" y="365"/>
                    <a:pt x="189" y="368"/>
                    <a:pt x="189" y="368"/>
                  </a:cubicBezTo>
                  <a:cubicBezTo>
                    <a:pt x="189" y="368"/>
                    <a:pt x="189" y="373"/>
                    <a:pt x="189" y="374"/>
                  </a:cubicBezTo>
                  <a:cubicBezTo>
                    <a:pt x="189" y="375"/>
                    <a:pt x="184" y="371"/>
                    <a:pt x="184" y="371"/>
                  </a:cubicBezTo>
                  <a:cubicBezTo>
                    <a:pt x="180" y="372"/>
                    <a:pt x="180" y="372"/>
                    <a:pt x="180" y="372"/>
                  </a:cubicBezTo>
                  <a:cubicBezTo>
                    <a:pt x="180" y="376"/>
                    <a:pt x="180" y="376"/>
                    <a:pt x="180" y="376"/>
                  </a:cubicBezTo>
                  <a:cubicBezTo>
                    <a:pt x="178" y="380"/>
                    <a:pt x="178" y="380"/>
                    <a:pt x="178" y="380"/>
                  </a:cubicBezTo>
                  <a:cubicBezTo>
                    <a:pt x="171" y="380"/>
                    <a:pt x="171" y="380"/>
                    <a:pt x="171" y="380"/>
                  </a:cubicBezTo>
                  <a:cubicBezTo>
                    <a:pt x="171" y="380"/>
                    <a:pt x="165" y="384"/>
                    <a:pt x="165" y="384"/>
                  </a:cubicBezTo>
                  <a:cubicBezTo>
                    <a:pt x="166" y="385"/>
                    <a:pt x="163" y="388"/>
                    <a:pt x="166" y="388"/>
                  </a:cubicBezTo>
                  <a:cubicBezTo>
                    <a:pt x="168" y="388"/>
                    <a:pt x="169" y="388"/>
                    <a:pt x="170" y="388"/>
                  </a:cubicBezTo>
                  <a:cubicBezTo>
                    <a:pt x="172" y="387"/>
                    <a:pt x="176" y="385"/>
                    <a:pt x="177" y="385"/>
                  </a:cubicBezTo>
                  <a:cubicBezTo>
                    <a:pt x="178" y="385"/>
                    <a:pt x="181" y="385"/>
                    <a:pt x="179" y="387"/>
                  </a:cubicBezTo>
                  <a:cubicBezTo>
                    <a:pt x="177" y="389"/>
                    <a:pt x="175" y="389"/>
                    <a:pt x="174" y="390"/>
                  </a:cubicBezTo>
                  <a:cubicBezTo>
                    <a:pt x="172" y="391"/>
                    <a:pt x="169" y="391"/>
                    <a:pt x="169" y="394"/>
                  </a:cubicBezTo>
                  <a:cubicBezTo>
                    <a:pt x="169" y="397"/>
                    <a:pt x="168" y="400"/>
                    <a:pt x="168" y="400"/>
                  </a:cubicBezTo>
                  <a:cubicBezTo>
                    <a:pt x="175" y="398"/>
                    <a:pt x="175" y="398"/>
                    <a:pt x="175" y="398"/>
                  </a:cubicBezTo>
                  <a:cubicBezTo>
                    <a:pt x="175" y="398"/>
                    <a:pt x="177" y="397"/>
                    <a:pt x="177" y="400"/>
                  </a:cubicBezTo>
                  <a:cubicBezTo>
                    <a:pt x="178" y="404"/>
                    <a:pt x="175" y="405"/>
                    <a:pt x="173" y="405"/>
                  </a:cubicBezTo>
                  <a:cubicBezTo>
                    <a:pt x="172" y="405"/>
                    <a:pt x="167" y="401"/>
                    <a:pt x="167" y="401"/>
                  </a:cubicBezTo>
                  <a:cubicBezTo>
                    <a:pt x="163" y="404"/>
                    <a:pt x="163" y="404"/>
                    <a:pt x="163" y="404"/>
                  </a:cubicBezTo>
                  <a:cubicBezTo>
                    <a:pt x="163" y="404"/>
                    <a:pt x="162" y="403"/>
                    <a:pt x="158" y="406"/>
                  </a:cubicBezTo>
                  <a:cubicBezTo>
                    <a:pt x="154" y="410"/>
                    <a:pt x="152" y="415"/>
                    <a:pt x="152" y="416"/>
                  </a:cubicBezTo>
                  <a:cubicBezTo>
                    <a:pt x="152" y="417"/>
                    <a:pt x="152" y="419"/>
                    <a:pt x="149" y="421"/>
                  </a:cubicBezTo>
                  <a:cubicBezTo>
                    <a:pt x="147" y="422"/>
                    <a:pt x="144" y="425"/>
                    <a:pt x="144" y="425"/>
                  </a:cubicBezTo>
                  <a:cubicBezTo>
                    <a:pt x="144" y="425"/>
                    <a:pt x="143" y="428"/>
                    <a:pt x="142" y="430"/>
                  </a:cubicBezTo>
                  <a:cubicBezTo>
                    <a:pt x="141" y="432"/>
                    <a:pt x="141" y="432"/>
                    <a:pt x="141" y="432"/>
                  </a:cubicBezTo>
                  <a:cubicBezTo>
                    <a:pt x="145" y="436"/>
                    <a:pt x="145" y="436"/>
                    <a:pt x="145" y="436"/>
                  </a:cubicBezTo>
                  <a:cubicBezTo>
                    <a:pt x="138" y="440"/>
                    <a:pt x="138" y="440"/>
                    <a:pt x="138" y="440"/>
                  </a:cubicBezTo>
                  <a:cubicBezTo>
                    <a:pt x="135" y="442"/>
                    <a:pt x="135" y="442"/>
                    <a:pt x="135" y="442"/>
                  </a:cubicBezTo>
                  <a:cubicBezTo>
                    <a:pt x="135" y="442"/>
                    <a:pt x="129" y="448"/>
                    <a:pt x="133" y="449"/>
                  </a:cubicBezTo>
                  <a:cubicBezTo>
                    <a:pt x="138" y="450"/>
                    <a:pt x="141" y="450"/>
                    <a:pt x="141" y="450"/>
                  </a:cubicBezTo>
                  <a:cubicBezTo>
                    <a:pt x="141" y="450"/>
                    <a:pt x="140" y="456"/>
                    <a:pt x="141" y="456"/>
                  </a:cubicBezTo>
                  <a:cubicBezTo>
                    <a:pt x="142" y="456"/>
                    <a:pt x="151" y="456"/>
                    <a:pt x="151" y="456"/>
                  </a:cubicBezTo>
                  <a:cubicBezTo>
                    <a:pt x="156" y="452"/>
                    <a:pt x="156" y="452"/>
                    <a:pt x="156" y="452"/>
                  </a:cubicBezTo>
                  <a:cubicBezTo>
                    <a:pt x="159" y="450"/>
                    <a:pt x="159" y="450"/>
                    <a:pt x="159" y="450"/>
                  </a:cubicBezTo>
                  <a:cubicBezTo>
                    <a:pt x="161" y="454"/>
                    <a:pt x="161" y="454"/>
                    <a:pt x="161" y="454"/>
                  </a:cubicBezTo>
                  <a:cubicBezTo>
                    <a:pt x="161" y="454"/>
                    <a:pt x="159" y="457"/>
                    <a:pt x="157" y="457"/>
                  </a:cubicBezTo>
                  <a:cubicBezTo>
                    <a:pt x="154" y="457"/>
                    <a:pt x="155" y="457"/>
                    <a:pt x="153" y="459"/>
                  </a:cubicBezTo>
                  <a:cubicBezTo>
                    <a:pt x="150" y="462"/>
                    <a:pt x="149" y="463"/>
                    <a:pt x="147" y="463"/>
                  </a:cubicBezTo>
                  <a:cubicBezTo>
                    <a:pt x="146" y="463"/>
                    <a:pt x="144" y="466"/>
                    <a:pt x="142" y="462"/>
                  </a:cubicBezTo>
                  <a:cubicBezTo>
                    <a:pt x="141" y="459"/>
                    <a:pt x="139" y="456"/>
                    <a:pt x="139" y="456"/>
                  </a:cubicBezTo>
                  <a:cubicBezTo>
                    <a:pt x="130" y="452"/>
                    <a:pt x="130" y="452"/>
                    <a:pt x="130" y="452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8" y="453"/>
                    <a:pt x="127" y="457"/>
                    <a:pt x="126" y="457"/>
                  </a:cubicBezTo>
                  <a:cubicBezTo>
                    <a:pt x="125" y="457"/>
                    <a:pt x="119" y="457"/>
                    <a:pt x="117" y="457"/>
                  </a:cubicBezTo>
                  <a:cubicBezTo>
                    <a:pt x="116" y="457"/>
                    <a:pt x="114" y="457"/>
                    <a:pt x="114" y="456"/>
                  </a:cubicBezTo>
                  <a:cubicBezTo>
                    <a:pt x="113" y="454"/>
                    <a:pt x="114" y="454"/>
                    <a:pt x="113" y="453"/>
                  </a:cubicBezTo>
                  <a:cubicBezTo>
                    <a:pt x="112" y="452"/>
                    <a:pt x="110" y="448"/>
                    <a:pt x="108" y="449"/>
                  </a:cubicBezTo>
                  <a:cubicBezTo>
                    <a:pt x="107" y="449"/>
                    <a:pt x="102" y="451"/>
                    <a:pt x="102" y="451"/>
                  </a:cubicBezTo>
                  <a:cubicBezTo>
                    <a:pt x="101" y="459"/>
                    <a:pt x="101" y="459"/>
                    <a:pt x="101" y="459"/>
                  </a:cubicBezTo>
                  <a:cubicBezTo>
                    <a:pt x="101" y="459"/>
                    <a:pt x="98" y="459"/>
                    <a:pt x="99" y="461"/>
                  </a:cubicBezTo>
                  <a:cubicBezTo>
                    <a:pt x="99" y="463"/>
                    <a:pt x="103" y="465"/>
                    <a:pt x="103" y="465"/>
                  </a:cubicBezTo>
                  <a:cubicBezTo>
                    <a:pt x="103" y="465"/>
                    <a:pt x="105" y="467"/>
                    <a:pt x="105" y="468"/>
                  </a:cubicBezTo>
                  <a:cubicBezTo>
                    <a:pt x="106" y="470"/>
                    <a:pt x="103" y="472"/>
                    <a:pt x="103" y="472"/>
                  </a:cubicBezTo>
                  <a:cubicBezTo>
                    <a:pt x="103" y="472"/>
                    <a:pt x="98" y="472"/>
                    <a:pt x="97" y="474"/>
                  </a:cubicBezTo>
                  <a:cubicBezTo>
                    <a:pt x="97" y="475"/>
                    <a:pt x="98" y="478"/>
                    <a:pt x="97" y="478"/>
                  </a:cubicBezTo>
                  <a:cubicBezTo>
                    <a:pt x="96" y="479"/>
                    <a:pt x="95" y="481"/>
                    <a:pt x="95" y="482"/>
                  </a:cubicBezTo>
                  <a:cubicBezTo>
                    <a:pt x="95" y="482"/>
                    <a:pt x="97" y="487"/>
                    <a:pt x="97" y="487"/>
                  </a:cubicBezTo>
                  <a:cubicBezTo>
                    <a:pt x="97" y="487"/>
                    <a:pt x="97" y="491"/>
                    <a:pt x="95" y="489"/>
                  </a:cubicBezTo>
                  <a:cubicBezTo>
                    <a:pt x="93" y="487"/>
                    <a:pt x="87" y="484"/>
                    <a:pt x="87" y="484"/>
                  </a:cubicBezTo>
                  <a:cubicBezTo>
                    <a:pt x="83" y="481"/>
                    <a:pt x="83" y="481"/>
                    <a:pt x="83" y="481"/>
                  </a:cubicBezTo>
                  <a:cubicBezTo>
                    <a:pt x="83" y="481"/>
                    <a:pt x="79" y="484"/>
                    <a:pt x="78" y="484"/>
                  </a:cubicBezTo>
                  <a:cubicBezTo>
                    <a:pt x="78" y="485"/>
                    <a:pt x="71" y="484"/>
                    <a:pt x="69" y="485"/>
                  </a:cubicBezTo>
                  <a:cubicBezTo>
                    <a:pt x="68" y="486"/>
                    <a:pt x="68" y="487"/>
                    <a:pt x="67" y="489"/>
                  </a:cubicBezTo>
                  <a:cubicBezTo>
                    <a:pt x="65" y="491"/>
                    <a:pt x="62" y="491"/>
                    <a:pt x="65" y="494"/>
                  </a:cubicBezTo>
                  <a:cubicBezTo>
                    <a:pt x="67" y="497"/>
                    <a:pt x="72" y="498"/>
                    <a:pt x="72" y="498"/>
                  </a:cubicBezTo>
                  <a:cubicBezTo>
                    <a:pt x="72" y="498"/>
                    <a:pt x="74" y="499"/>
                    <a:pt x="72" y="502"/>
                  </a:cubicBezTo>
                  <a:cubicBezTo>
                    <a:pt x="70" y="506"/>
                    <a:pt x="66" y="503"/>
                    <a:pt x="65" y="503"/>
                  </a:cubicBezTo>
                  <a:cubicBezTo>
                    <a:pt x="64" y="502"/>
                    <a:pt x="60" y="499"/>
                    <a:pt x="59" y="500"/>
                  </a:cubicBezTo>
                  <a:cubicBezTo>
                    <a:pt x="58" y="501"/>
                    <a:pt x="55" y="506"/>
                    <a:pt x="55" y="506"/>
                  </a:cubicBezTo>
                  <a:cubicBezTo>
                    <a:pt x="55" y="506"/>
                    <a:pt x="52" y="507"/>
                    <a:pt x="51" y="506"/>
                  </a:cubicBezTo>
                  <a:cubicBezTo>
                    <a:pt x="50" y="506"/>
                    <a:pt x="47" y="501"/>
                    <a:pt x="46" y="502"/>
                  </a:cubicBezTo>
                  <a:cubicBezTo>
                    <a:pt x="45" y="503"/>
                    <a:pt x="44" y="505"/>
                    <a:pt x="44" y="506"/>
                  </a:cubicBezTo>
                  <a:cubicBezTo>
                    <a:pt x="44" y="507"/>
                    <a:pt x="46" y="509"/>
                    <a:pt x="45" y="510"/>
                  </a:cubicBezTo>
                  <a:cubicBezTo>
                    <a:pt x="45" y="511"/>
                    <a:pt x="40" y="512"/>
                    <a:pt x="39" y="513"/>
                  </a:cubicBezTo>
                  <a:cubicBezTo>
                    <a:pt x="39" y="514"/>
                    <a:pt x="39" y="512"/>
                    <a:pt x="37" y="516"/>
                  </a:cubicBezTo>
                  <a:cubicBezTo>
                    <a:pt x="36" y="520"/>
                    <a:pt x="37" y="520"/>
                    <a:pt x="36" y="520"/>
                  </a:cubicBezTo>
                  <a:cubicBezTo>
                    <a:pt x="34" y="521"/>
                    <a:pt x="30" y="518"/>
                    <a:pt x="30" y="518"/>
                  </a:cubicBezTo>
                  <a:cubicBezTo>
                    <a:pt x="30" y="518"/>
                    <a:pt x="27" y="515"/>
                    <a:pt x="27" y="518"/>
                  </a:cubicBezTo>
                  <a:cubicBezTo>
                    <a:pt x="27" y="522"/>
                    <a:pt x="26" y="526"/>
                    <a:pt x="26" y="526"/>
                  </a:cubicBezTo>
                  <a:cubicBezTo>
                    <a:pt x="29" y="528"/>
                    <a:pt x="29" y="528"/>
                    <a:pt x="29" y="528"/>
                  </a:cubicBezTo>
                  <a:cubicBezTo>
                    <a:pt x="29" y="528"/>
                    <a:pt x="28" y="530"/>
                    <a:pt x="27" y="530"/>
                  </a:cubicBezTo>
                  <a:cubicBezTo>
                    <a:pt x="27" y="530"/>
                    <a:pt x="25" y="529"/>
                    <a:pt x="24" y="527"/>
                  </a:cubicBezTo>
                  <a:cubicBezTo>
                    <a:pt x="23" y="526"/>
                    <a:pt x="24" y="526"/>
                    <a:pt x="21" y="525"/>
                  </a:cubicBezTo>
                  <a:cubicBezTo>
                    <a:pt x="18" y="524"/>
                    <a:pt x="16" y="522"/>
                    <a:pt x="16" y="524"/>
                  </a:cubicBezTo>
                  <a:cubicBezTo>
                    <a:pt x="16" y="525"/>
                    <a:pt x="15" y="527"/>
                    <a:pt x="16" y="528"/>
                  </a:cubicBezTo>
                  <a:cubicBezTo>
                    <a:pt x="17" y="530"/>
                    <a:pt x="19" y="532"/>
                    <a:pt x="19" y="532"/>
                  </a:cubicBezTo>
                  <a:cubicBezTo>
                    <a:pt x="20" y="532"/>
                    <a:pt x="20" y="532"/>
                    <a:pt x="20" y="532"/>
                  </a:cubicBezTo>
                  <a:cubicBezTo>
                    <a:pt x="20" y="532"/>
                    <a:pt x="19" y="535"/>
                    <a:pt x="18" y="535"/>
                  </a:cubicBezTo>
                  <a:cubicBezTo>
                    <a:pt x="17" y="536"/>
                    <a:pt x="16" y="534"/>
                    <a:pt x="15" y="534"/>
                  </a:cubicBezTo>
                  <a:cubicBezTo>
                    <a:pt x="15" y="534"/>
                    <a:pt x="12" y="536"/>
                    <a:pt x="12" y="536"/>
                  </a:cubicBezTo>
                  <a:cubicBezTo>
                    <a:pt x="12" y="536"/>
                    <a:pt x="13" y="538"/>
                    <a:pt x="13" y="539"/>
                  </a:cubicBezTo>
                  <a:cubicBezTo>
                    <a:pt x="13" y="540"/>
                    <a:pt x="10" y="541"/>
                    <a:pt x="10" y="542"/>
                  </a:cubicBezTo>
                  <a:cubicBezTo>
                    <a:pt x="9" y="542"/>
                    <a:pt x="8" y="543"/>
                    <a:pt x="8" y="544"/>
                  </a:cubicBezTo>
                  <a:cubicBezTo>
                    <a:pt x="8" y="545"/>
                    <a:pt x="9" y="548"/>
                    <a:pt x="10" y="547"/>
                  </a:cubicBezTo>
                  <a:cubicBezTo>
                    <a:pt x="11" y="547"/>
                    <a:pt x="16" y="548"/>
                    <a:pt x="16" y="548"/>
                  </a:cubicBezTo>
                  <a:cubicBezTo>
                    <a:pt x="16" y="548"/>
                    <a:pt x="15" y="550"/>
                    <a:pt x="14" y="551"/>
                  </a:cubicBezTo>
                  <a:cubicBezTo>
                    <a:pt x="13" y="551"/>
                    <a:pt x="12" y="553"/>
                    <a:pt x="11" y="554"/>
                  </a:cubicBezTo>
                  <a:cubicBezTo>
                    <a:pt x="10" y="556"/>
                    <a:pt x="12" y="560"/>
                    <a:pt x="14" y="561"/>
                  </a:cubicBezTo>
                  <a:cubicBezTo>
                    <a:pt x="17" y="562"/>
                    <a:pt x="20" y="562"/>
                    <a:pt x="20" y="564"/>
                  </a:cubicBezTo>
                  <a:cubicBezTo>
                    <a:pt x="19" y="565"/>
                    <a:pt x="14" y="569"/>
                    <a:pt x="13" y="570"/>
                  </a:cubicBezTo>
                  <a:cubicBezTo>
                    <a:pt x="12" y="570"/>
                    <a:pt x="10" y="571"/>
                    <a:pt x="10" y="573"/>
                  </a:cubicBezTo>
                  <a:cubicBezTo>
                    <a:pt x="10" y="575"/>
                    <a:pt x="10" y="576"/>
                    <a:pt x="8" y="577"/>
                  </a:cubicBezTo>
                  <a:cubicBezTo>
                    <a:pt x="6" y="578"/>
                    <a:pt x="5" y="577"/>
                    <a:pt x="5" y="580"/>
                  </a:cubicBezTo>
                  <a:cubicBezTo>
                    <a:pt x="5" y="582"/>
                    <a:pt x="6" y="583"/>
                    <a:pt x="7" y="583"/>
                  </a:cubicBezTo>
                  <a:cubicBezTo>
                    <a:pt x="8" y="583"/>
                    <a:pt x="8" y="583"/>
                    <a:pt x="8" y="583"/>
                  </a:cubicBezTo>
                  <a:cubicBezTo>
                    <a:pt x="16" y="582"/>
                    <a:pt x="16" y="582"/>
                    <a:pt x="16" y="582"/>
                  </a:cubicBezTo>
                  <a:cubicBezTo>
                    <a:pt x="16" y="582"/>
                    <a:pt x="15" y="585"/>
                    <a:pt x="15" y="586"/>
                  </a:cubicBezTo>
                  <a:cubicBezTo>
                    <a:pt x="15" y="587"/>
                    <a:pt x="9" y="593"/>
                    <a:pt x="9" y="593"/>
                  </a:cubicBezTo>
                  <a:cubicBezTo>
                    <a:pt x="9" y="593"/>
                    <a:pt x="10" y="596"/>
                    <a:pt x="9" y="596"/>
                  </a:cubicBezTo>
                  <a:cubicBezTo>
                    <a:pt x="7" y="597"/>
                    <a:pt x="5" y="598"/>
                    <a:pt x="4" y="599"/>
                  </a:cubicBezTo>
                  <a:cubicBezTo>
                    <a:pt x="4" y="600"/>
                    <a:pt x="4" y="602"/>
                    <a:pt x="4" y="603"/>
                  </a:cubicBezTo>
                  <a:cubicBezTo>
                    <a:pt x="5" y="605"/>
                    <a:pt x="7" y="608"/>
                    <a:pt x="7" y="609"/>
                  </a:cubicBezTo>
                  <a:cubicBezTo>
                    <a:pt x="8" y="610"/>
                    <a:pt x="6" y="612"/>
                    <a:pt x="6" y="612"/>
                  </a:cubicBezTo>
                  <a:cubicBezTo>
                    <a:pt x="4" y="620"/>
                    <a:pt x="4" y="620"/>
                    <a:pt x="4" y="620"/>
                  </a:cubicBezTo>
                  <a:cubicBezTo>
                    <a:pt x="4" y="620"/>
                    <a:pt x="4" y="624"/>
                    <a:pt x="4" y="625"/>
                  </a:cubicBezTo>
                  <a:cubicBezTo>
                    <a:pt x="4" y="626"/>
                    <a:pt x="0" y="627"/>
                    <a:pt x="2" y="630"/>
                  </a:cubicBezTo>
                  <a:cubicBezTo>
                    <a:pt x="4" y="632"/>
                    <a:pt x="5" y="633"/>
                    <a:pt x="6" y="634"/>
                  </a:cubicBezTo>
                  <a:cubicBezTo>
                    <a:pt x="8" y="634"/>
                    <a:pt x="13" y="634"/>
                    <a:pt x="13" y="635"/>
                  </a:cubicBezTo>
                  <a:cubicBezTo>
                    <a:pt x="13" y="635"/>
                    <a:pt x="13" y="636"/>
                    <a:pt x="10" y="637"/>
                  </a:cubicBezTo>
                  <a:cubicBezTo>
                    <a:pt x="8" y="637"/>
                    <a:pt x="6" y="636"/>
                    <a:pt x="6" y="638"/>
                  </a:cubicBezTo>
                  <a:cubicBezTo>
                    <a:pt x="5" y="639"/>
                    <a:pt x="1" y="645"/>
                    <a:pt x="1" y="645"/>
                  </a:cubicBezTo>
                  <a:cubicBezTo>
                    <a:pt x="6" y="651"/>
                    <a:pt x="6" y="651"/>
                    <a:pt x="6" y="651"/>
                  </a:cubicBezTo>
                  <a:cubicBezTo>
                    <a:pt x="6" y="651"/>
                    <a:pt x="8" y="649"/>
                    <a:pt x="9" y="649"/>
                  </a:cubicBezTo>
                  <a:cubicBezTo>
                    <a:pt x="10" y="648"/>
                    <a:pt x="13" y="649"/>
                    <a:pt x="13" y="650"/>
                  </a:cubicBezTo>
                  <a:cubicBezTo>
                    <a:pt x="13" y="650"/>
                    <a:pt x="11" y="653"/>
                    <a:pt x="10" y="653"/>
                  </a:cubicBezTo>
                  <a:cubicBezTo>
                    <a:pt x="10" y="654"/>
                    <a:pt x="7" y="655"/>
                    <a:pt x="7" y="656"/>
                  </a:cubicBezTo>
                  <a:cubicBezTo>
                    <a:pt x="7" y="656"/>
                    <a:pt x="10" y="660"/>
                    <a:pt x="10" y="660"/>
                  </a:cubicBezTo>
                  <a:cubicBezTo>
                    <a:pt x="10" y="660"/>
                    <a:pt x="12" y="660"/>
                    <a:pt x="12" y="662"/>
                  </a:cubicBezTo>
                  <a:cubicBezTo>
                    <a:pt x="12" y="663"/>
                    <a:pt x="8" y="665"/>
                    <a:pt x="8" y="665"/>
                  </a:cubicBezTo>
                  <a:cubicBezTo>
                    <a:pt x="9" y="668"/>
                    <a:pt x="9" y="668"/>
                    <a:pt x="9" y="668"/>
                  </a:cubicBezTo>
                  <a:cubicBezTo>
                    <a:pt x="6" y="674"/>
                    <a:pt x="6" y="674"/>
                    <a:pt x="6" y="674"/>
                  </a:cubicBezTo>
                  <a:cubicBezTo>
                    <a:pt x="11" y="677"/>
                    <a:pt x="11" y="677"/>
                    <a:pt x="11" y="677"/>
                  </a:cubicBezTo>
                  <a:cubicBezTo>
                    <a:pt x="11" y="677"/>
                    <a:pt x="15" y="677"/>
                    <a:pt x="14" y="680"/>
                  </a:cubicBezTo>
                  <a:cubicBezTo>
                    <a:pt x="12" y="682"/>
                    <a:pt x="9" y="684"/>
                    <a:pt x="9" y="685"/>
                  </a:cubicBezTo>
                  <a:cubicBezTo>
                    <a:pt x="9" y="687"/>
                    <a:pt x="8" y="689"/>
                    <a:pt x="10" y="690"/>
                  </a:cubicBezTo>
                  <a:cubicBezTo>
                    <a:pt x="12" y="690"/>
                    <a:pt x="12" y="691"/>
                    <a:pt x="13" y="690"/>
                  </a:cubicBezTo>
                  <a:cubicBezTo>
                    <a:pt x="15" y="689"/>
                    <a:pt x="17" y="688"/>
                    <a:pt x="17" y="688"/>
                  </a:cubicBezTo>
                  <a:cubicBezTo>
                    <a:pt x="17" y="688"/>
                    <a:pt x="20" y="686"/>
                    <a:pt x="22" y="686"/>
                  </a:cubicBezTo>
                  <a:cubicBezTo>
                    <a:pt x="23" y="686"/>
                    <a:pt x="25" y="687"/>
                    <a:pt x="26" y="688"/>
                  </a:cubicBezTo>
                  <a:cubicBezTo>
                    <a:pt x="26" y="689"/>
                    <a:pt x="26" y="690"/>
                    <a:pt x="27" y="691"/>
                  </a:cubicBezTo>
                  <a:cubicBezTo>
                    <a:pt x="28" y="691"/>
                    <a:pt x="26" y="696"/>
                    <a:pt x="26" y="696"/>
                  </a:cubicBezTo>
                  <a:cubicBezTo>
                    <a:pt x="23" y="700"/>
                    <a:pt x="23" y="700"/>
                    <a:pt x="23" y="700"/>
                  </a:cubicBezTo>
                  <a:cubicBezTo>
                    <a:pt x="23" y="700"/>
                    <a:pt x="26" y="704"/>
                    <a:pt x="25" y="704"/>
                  </a:cubicBezTo>
                  <a:cubicBezTo>
                    <a:pt x="25" y="704"/>
                    <a:pt x="20" y="705"/>
                    <a:pt x="19" y="705"/>
                  </a:cubicBezTo>
                  <a:cubicBezTo>
                    <a:pt x="18" y="705"/>
                    <a:pt x="17" y="704"/>
                    <a:pt x="17" y="706"/>
                  </a:cubicBezTo>
                  <a:cubicBezTo>
                    <a:pt x="16" y="708"/>
                    <a:pt x="13" y="713"/>
                    <a:pt x="13" y="713"/>
                  </a:cubicBezTo>
                  <a:cubicBezTo>
                    <a:pt x="13" y="713"/>
                    <a:pt x="12" y="715"/>
                    <a:pt x="13" y="717"/>
                  </a:cubicBezTo>
                  <a:cubicBezTo>
                    <a:pt x="14" y="719"/>
                    <a:pt x="18" y="726"/>
                    <a:pt x="18" y="726"/>
                  </a:cubicBezTo>
                  <a:cubicBezTo>
                    <a:pt x="18" y="727"/>
                    <a:pt x="20" y="730"/>
                    <a:pt x="23" y="732"/>
                  </a:cubicBezTo>
                  <a:cubicBezTo>
                    <a:pt x="26" y="734"/>
                    <a:pt x="28" y="734"/>
                    <a:pt x="28" y="736"/>
                  </a:cubicBezTo>
                  <a:cubicBezTo>
                    <a:pt x="29" y="738"/>
                    <a:pt x="29" y="738"/>
                    <a:pt x="29" y="738"/>
                  </a:cubicBezTo>
                  <a:cubicBezTo>
                    <a:pt x="33" y="742"/>
                    <a:pt x="33" y="742"/>
                    <a:pt x="33" y="742"/>
                  </a:cubicBezTo>
                  <a:cubicBezTo>
                    <a:pt x="33" y="742"/>
                    <a:pt x="35" y="743"/>
                    <a:pt x="38" y="743"/>
                  </a:cubicBezTo>
                  <a:cubicBezTo>
                    <a:pt x="41" y="744"/>
                    <a:pt x="45" y="744"/>
                    <a:pt x="45" y="745"/>
                  </a:cubicBezTo>
                  <a:cubicBezTo>
                    <a:pt x="46" y="745"/>
                    <a:pt x="42" y="748"/>
                    <a:pt x="42" y="748"/>
                  </a:cubicBezTo>
                  <a:cubicBezTo>
                    <a:pt x="42" y="748"/>
                    <a:pt x="37" y="752"/>
                    <a:pt x="39" y="753"/>
                  </a:cubicBezTo>
                  <a:cubicBezTo>
                    <a:pt x="41" y="754"/>
                    <a:pt x="55" y="757"/>
                    <a:pt x="55" y="757"/>
                  </a:cubicBezTo>
                  <a:cubicBezTo>
                    <a:pt x="55" y="757"/>
                    <a:pt x="57" y="758"/>
                    <a:pt x="57" y="759"/>
                  </a:cubicBezTo>
                  <a:cubicBezTo>
                    <a:pt x="57" y="760"/>
                    <a:pt x="60" y="758"/>
                    <a:pt x="60" y="758"/>
                  </a:cubicBezTo>
                  <a:cubicBezTo>
                    <a:pt x="61" y="757"/>
                    <a:pt x="65" y="759"/>
                    <a:pt x="66" y="759"/>
                  </a:cubicBezTo>
                  <a:cubicBezTo>
                    <a:pt x="66" y="759"/>
                    <a:pt x="72" y="758"/>
                    <a:pt x="72" y="758"/>
                  </a:cubicBezTo>
                  <a:cubicBezTo>
                    <a:pt x="77" y="756"/>
                    <a:pt x="77" y="756"/>
                    <a:pt x="77" y="756"/>
                  </a:cubicBezTo>
                  <a:cubicBezTo>
                    <a:pt x="77" y="756"/>
                    <a:pt x="80" y="751"/>
                    <a:pt x="82" y="752"/>
                  </a:cubicBezTo>
                  <a:cubicBezTo>
                    <a:pt x="85" y="753"/>
                    <a:pt x="84" y="755"/>
                    <a:pt x="86" y="755"/>
                  </a:cubicBezTo>
                  <a:cubicBezTo>
                    <a:pt x="87" y="755"/>
                    <a:pt x="89" y="755"/>
                    <a:pt x="91" y="752"/>
                  </a:cubicBezTo>
                  <a:cubicBezTo>
                    <a:pt x="93" y="750"/>
                    <a:pt x="95" y="748"/>
                    <a:pt x="96" y="747"/>
                  </a:cubicBezTo>
                  <a:cubicBezTo>
                    <a:pt x="97" y="747"/>
                    <a:pt x="109" y="740"/>
                    <a:pt x="109" y="740"/>
                  </a:cubicBezTo>
                  <a:cubicBezTo>
                    <a:pt x="117" y="726"/>
                    <a:pt x="117" y="726"/>
                    <a:pt x="117" y="726"/>
                  </a:cubicBezTo>
                  <a:cubicBezTo>
                    <a:pt x="120" y="716"/>
                    <a:pt x="120" y="716"/>
                    <a:pt x="120" y="716"/>
                  </a:cubicBezTo>
                  <a:cubicBezTo>
                    <a:pt x="120" y="716"/>
                    <a:pt x="124" y="711"/>
                    <a:pt x="127" y="711"/>
                  </a:cubicBezTo>
                  <a:cubicBezTo>
                    <a:pt x="129" y="711"/>
                    <a:pt x="136" y="708"/>
                    <a:pt x="135" y="706"/>
                  </a:cubicBezTo>
                  <a:cubicBezTo>
                    <a:pt x="135" y="703"/>
                    <a:pt x="138" y="702"/>
                    <a:pt x="138" y="706"/>
                  </a:cubicBezTo>
                  <a:cubicBezTo>
                    <a:pt x="139" y="710"/>
                    <a:pt x="138" y="714"/>
                    <a:pt x="140" y="712"/>
                  </a:cubicBezTo>
                  <a:cubicBezTo>
                    <a:pt x="143" y="710"/>
                    <a:pt x="148" y="704"/>
                    <a:pt x="148" y="704"/>
                  </a:cubicBezTo>
                  <a:cubicBezTo>
                    <a:pt x="148" y="704"/>
                    <a:pt x="151" y="701"/>
                    <a:pt x="153" y="700"/>
                  </a:cubicBezTo>
                  <a:cubicBezTo>
                    <a:pt x="155" y="700"/>
                    <a:pt x="158" y="693"/>
                    <a:pt x="158" y="693"/>
                  </a:cubicBezTo>
                  <a:cubicBezTo>
                    <a:pt x="158" y="693"/>
                    <a:pt x="162" y="690"/>
                    <a:pt x="164" y="693"/>
                  </a:cubicBezTo>
                  <a:cubicBezTo>
                    <a:pt x="165" y="697"/>
                    <a:pt x="169" y="702"/>
                    <a:pt x="169" y="704"/>
                  </a:cubicBezTo>
                  <a:cubicBezTo>
                    <a:pt x="169" y="704"/>
                    <a:pt x="171" y="705"/>
                    <a:pt x="173" y="706"/>
                  </a:cubicBezTo>
                  <a:cubicBezTo>
                    <a:pt x="173" y="704"/>
                    <a:pt x="173" y="704"/>
                    <a:pt x="173" y="704"/>
                  </a:cubicBezTo>
                  <a:cubicBezTo>
                    <a:pt x="173" y="698"/>
                    <a:pt x="173" y="698"/>
                    <a:pt x="173" y="698"/>
                  </a:cubicBezTo>
                  <a:cubicBezTo>
                    <a:pt x="173" y="698"/>
                    <a:pt x="180" y="704"/>
                    <a:pt x="180" y="704"/>
                  </a:cubicBezTo>
                  <a:cubicBezTo>
                    <a:pt x="181" y="705"/>
                    <a:pt x="181" y="711"/>
                    <a:pt x="181" y="711"/>
                  </a:cubicBezTo>
                  <a:cubicBezTo>
                    <a:pt x="183" y="711"/>
                    <a:pt x="183" y="711"/>
                    <a:pt x="183" y="711"/>
                  </a:cubicBezTo>
                  <a:cubicBezTo>
                    <a:pt x="183" y="710"/>
                    <a:pt x="183" y="710"/>
                    <a:pt x="183" y="710"/>
                  </a:cubicBezTo>
                  <a:cubicBezTo>
                    <a:pt x="185" y="711"/>
                    <a:pt x="185" y="711"/>
                    <a:pt x="185" y="711"/>
                  </a:cubicBezTo>
                  <a:cubicBezTo>
                    <a:pt x="186" y="710"/>
                    <a:pt x="186" y="710"/>
                    <a:pt x="186" y="710"/>
                  </a:cubicBezTo>
                  <a:cubicBezTo>
                    <a:pt x="187" y="704"/>
                    <a:pt x="187" y="704"/>
                    <a:pt x="187" y="704"/>
                  </a:cubicBezTo>
                  <a:cubicBezTo>
                    <a:pt x="188" y="697"/>
                    <a:pt x="188" y="697"/>
                    <a:pt x="188" y="697"/>
                  </a:cubicBezTo>
                  <a:cubicBezTo>
                    <a:pt x="191" y="691"/>
                    <a:pt x="191" y="691"/>
                    <a:pt x="191" y="691"/>
                  </a:cubicBezTo>
                  <a:cubicBezTo>
                    <a:pt x="191" y="685"/>
                    <a:pt x="191" y="685"/>
                    <a:pt x="191" y="685"/>
                  </a:cubicBezTo>
                  <a:cubicBezTo>
                    <a:pt x="187" y="678"/>
                    <a:pt x="187" y="678"/>
                    <a:pt x="187" y="678"/>
                  </a:cubicBezTo>
                  <a:cubicBezTo>
                    <a:pt x="185" y="672"/>
                    <a:pt x="185" y="672"/>
                    <a:pt x="185" y="672"/>
                  </a:cubicBezTo>
                  <a:cubicBezTo>
                    <a:pt x="188" y="671"/>
                    <a:pt x="188" y="671"/>
                    <a:pt x="188" y="671"/>
                  </a:cubicBezTo>
                  <a:cubicBezTo>
                    <a:pt x="188" y="670"/>
                    <a:pt x="188" y="670"/>
                    <a:pt x="188" y="670"/>
                  </a:cubicBezTo>
                  <a:cubicBezTo>
                    <a:pt x="189" y="670"/>
                    <a:pt x="189" y="670"/>
                    <a:pt x="189" y="670"/>
                  </a:cubicBezTo>
                  <a:cubicBezTo>
                    <a:pt x="191" y="668"/>
                    <a:pt x="191" y="668"/>
                    <a:pt x="191" y="668"/>
                  </a:cubicBezTo>
                  <a:cubicBezTo>
                    <a:pt x="192" y="663"/>
                    <a:pt x="192" y="663"/>
                    <a:pt x="192" y="663"/>
                  </a:cubicBezTo>
                  <a:cubicBezTo>
                    <a:pt x="190" y="661"/>
                    <a:pt x="190" y="661"/>
                    <a:pt x="190" y="661"/>
                  </a:cubicBezTo>
                  <a:cubicBezTo>
                    <a:pt x="190" y="658"/>
                    <a:pt x="190" y="658"/>
                    <a:pt x="190" y="658"/>
                  </a:cubicBezTo>
                  <a:cubicBezTo>
                    <a:pt x="190" y="658"/>
                    <a:pt x="192" y="656"/>
                    <a:pt x="192" y="656"/>
                  </a:cubicBezTo>
                  <a:cubicBezTo>
                    <a:pt x="192" y="656"/>
                    <a:pt x="192" y="656"/>
                    <a:pt x="192" y="656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5" y="654"/>
                    <a:pt x="195" y="654"/>
                  </a:cubicBezTo>
                  <a:cubicBezTo>
                    <a:pt x="196" y="654"/>
                    <a:pt x="198" y="654"/>
                    <a:pt x="198" y="654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1" y="652"/>
                    <a:pt x="201" y="652"/>
                    <a:pt x="201" y="652"/>
                  </a:cubicBezTo>
                  <a:cubicBezTo>
                    <a:pt x="201" y="652"/>
                    <a:pt x="205" y="649"/>
                    <a:pt x="205" y="648"/>
                  </a:cubicBezTo>
                  <a:cubicBezTo>
                    <a:pt x="205" y="647"/>
                    <a:pt x="207" y="644"/>
                    <a:pt x="207" y="644"/>
                  </a:cubicBezTo>
                  <a:cubicBezTo>
                    <a:pt x="207" y="639"/>
                    <a:pt x="207" y="639"/>
                    <a:pt x="207" y="639"/>
                  </a:cubicBezTo>
                  <a:cubicBezTo>
                    <a:pt x="205" y="634"/>
                    <a:pt x="205" y="634"/>
                    <a:pt x="205" y="634"/>
                  </a:cubicBezTo>
                  <a:cubicBezTo>
                    <a:pt x="207" y="631"/>
                    <a:pt x="207" y="631"/>
                    <a:pt x="207" y="631"/>
                  </a:cubicBezTo>
                  <a:cubicBezTo>
                    <a:pt x="210" y="625"/>
                    <a:pt x="210" y="625"/>
                    <a:pt x="210" y="625"/>
                  </a:cubicBezTo>
                  <a:cubicBezTo>
                    <a:pt x="208" y="619"/>
                    <a:pt x="208" y="619"/>
                    <a:pt x="208" y="619"/>
                  </a:cubicBezTo>
                  <a:cubicBezTo>
                    <a:pt x="202" y="612"/>
                    <a:pt x="202" y="612"/>
                    <a:pt x="202" y="612"/>
                  </a:cubicBezTo>
                  <a:cubicBezTo>
                    <a:pt x="199" y="603"/>
                    <a:pt x="199" y="603"/>
                    <a:pt x="199" y="603"/>
                  </a:cubicBezTo>
                  <a:cubicBezTo>
                    <a:pt x="197" y="597"/>
                    <a:pt x="197" y="597"/>
                    <a:pt x="197" y="597"/>
                  </a:cubicBezTo>
                  <a:cubicBezTo>
                    <a:pt x="202" y="592"/>
                    <a:pt x="202" y="592"/>
                    <a:pt x="202" y="592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4" y="591"/>
                    <a:pt x="204" y="591"/>
                    <a:pt x="204" y="591"/>
                  </a:cubicBezTo>
                  <a:cubicBezTo>
                    <a:pt x="207" y="591"/>
                    <a:pt x="207" y="591"/>
                    <a:pt x="207" y="591"/>
                  </a:cubicBezTo>
                  <a:cubicBezTo>
                    <a:pt x="207" y="591"/>
                    <a:pt x="212" y="591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3" y="573"/>
                    <a:pt x="213" y="573"/>
                    <a:pt x="213" y="573"/>
                  </a:cubicBezTo>
                  <a:cubicBezTo>
                    <a:pt x="207" y="568"/>
                    <a:pt x="207" y="568"/>
                    <a:pt x="207" y="568"/>
                  </a:cubicBezTo>
                  <a:cubicBezTo>
                    <a:pt x="200" y="563"/>
                    <a:pt x="200" y="563"/>
                    <a:pt x="200" y="563"/>
                  </a:cubicBezTo>
                  <a:cubicBezTo>
                    <a:pt x="197" y="555"/>
                    <a:pt x="197" y="555"/>
                    <a:pt x="197" y="555"/>
                  </a:cubicBezTo>
                  <a:cubicBezTo>
                    <a:pt x="196" y="524"/>
                    <a:pt x="196" y="524"/>
                    <a:pt x="196" y="524"/>
                  </a:cubicBezTo>
                  <a:cubicBezTo>
                    <a:pt x="196" y="524"/>
                    <a:pt x="189" y="511"/>
                    <a:pt x="189" y="510"/>
                  </a:cubicBezTo>
                  <a:cubicBezTo>
                    <a:pt x="188" y="508"/>
                    <a:pt x="188" y="506"/>
                    <a:pt x="190" y="504"/>
                  </a:cubicBezTo>
                  <a:cubicBezTo>
                    <a:pt x="191" y="503"/>
                    <a:pt x="190" y="501"/>
                    <a:pt x="190" y="501"/>
                  </a:cubicBezTo>
                  <a:cubicBezTo>
                    <a:pt x="189" y="494"/>
                    <a:pt x="189" y="494"/>
                    <a:pt x="189" y="494"/>
                  </a:cubicBezTo>
                  <a:cubicBezTo>
                    <a:pt x="191" y="491"/>
                    <a:pt x="191" y="491"/>
                    <a:pt x="191" y="491"/>
                  </a:cubicBezTo>
                  <a:cubicBezTo>
                    <a:pt x="191" y="485"/>
                    <a:pt x="191" y="485"/>
                    <a:pt x="191" y="485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87" y="477"/>
                    <a:pt x="187" y="471"/>
                    <a:pt x="187" y="470"/>
                  </a:cubicBezTo>
                  <a:cubicBezTo>
                    <a:pt x="187" y="468"/>
                    <a:pt x="190" y="464"/>
                    <a:pt x="190" y="464"/>
                  </a:cubicBezTo>
                  <a:cubicBezTo>
                    <a:pt x="191" y="457"/>
                    <a:pt x="191" y="457"/>
                    <a:pt x="191" y="457"/>
                  </a:cubicBezTo>
                  <a:cubicBezTo>
                    <a:pt x="193" y="447"/>
                    <a:pt x="193" y="447"/>
                    <a:pt x="193" y="447"/>
                  </a:cubicBezTo>
                  <a:cubicBezTo>
                    <a:pt x="206" y="430"/>
                    <a:pt x="206" y="430"/>
                    <a:pt x="206" y="430"/>
                  </a:cubicBezTo>
                  <a:cubicBezTo>
                    <a:pt x="209" y="430"/>
                    <a:pt x="209" y="430"/>
                    <a:pt x="209" y="430"/>
                  </a:cubicBezTo>
                  <a:cubicBezTo>
                    <a:pt x="230" y="429"/>
                    <a:pt x="230" y="429"/>
                    <a:pt x="230" y="429"/>
                  </a:cubicBezTo>
                  <a:cubicBezTo>
                    <a:pt x="231" y="427"/>
                    <a:pt x="231" y="427"/>
                    <a:pt x="231" y="427"/>
                  </a:cubicBezTo>
                  <a:cubicBezTo>
                    <a:pt x="232" y="426"/>
                    <a:pt x="232" y="426"/>
                    <a:pt x="232" y="426"/>
                  </a:cubicBezTo>
                  <a:cubicBezTo>
                    <a:pt x="234" y="420"/>
                    <a:pt x="234" y="420"/>
                    <a:pt x="234" y="420"/>
                  </a:cubicBezTo>
                  <a:cubicBezTo>
                    <a:pt x="233" y="404"/>
                    <a:pt x="233" y="404"/>
                    <a:pt x="233" y="404"/>
                  </a:cubicBezTo>
                  <a:cubicBezTo>
                    <a:pt x="224" y="402"/>
                    <a:pt x="224" y="402"/>
                    <a:pt x="224" y="402"/>
                  </a:cubicBezTo>
                  <a:cubicBezTo>
                    <a:pt x="222" y="397"/>
                    <a:pt x="222" y="397"/>
                    <a:pt x="222" y="397"/>
                  </a:cubicBezTo>
                  <a:cubicBezTo>
                    <a:pt x="237" y="371"/>
                    <a:pt x="237" y="371"/>
                    <a:pt x="237" y="371"/>
                  </a:cubicBezTo>
                  <a:cubicBezTo>
                    <a:pt x="236" y="365"/>
                    <a:pt x="236" y="365"/>
                    <a:pt x="236" y="365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0" y="362"/>
                    <a:pt x="239" y="358"/>
                    <a:pt x="238" y="356"/>
                  </a:cubicBezTo>
                  <a:cubicBezTo>
                    <a:pt x="237" y="355"/>
                    <a:pt x="239" y="349"/>
                    <a:pt x="239" y="349"/>
                  </a:cubicBezTo>
                  <a:cubicBezTo>
                    <a:pt x="240" y="342"/>
                    <a:pt x="240" y="342"/>
                    <a:pt x="240" y="34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37" y="317"/>
                    <a:pt x="237" y="317"/>
                    <a:pt x="237" y="317"/>
                  </a:cubicBezTo>
                  <a:cubicBezTo>
                    <a:pt x="240" y="314"/>
                    <a:pt x="240" y="314"/>
                    <a:pt x="240" y="314"/>
                  </a:cubicBezTo>
                  <a:cubicBezTo>
                    <a:pt x="244" y="314"/>
                    <a:pt x="244" y="314"/>
                    <a:pt x="244" y="314"/>
                  </a:cubicBezTo>
                  <a:cubicBezTo>
                    <a:pt x="245" y="314"/>
                    <a:pt x="247" y="313"/>
                    <a:pt x="249" y="313"/>
                  </a:cubicBezTo>
                  <a:cubicBezTo>
                    <a:pt x="251" y="312"/>
                    <a:pt x="252" y="311"/>
                    <a:pt x="255" y="308"/>
                  </a:cubicBezTo>
                  <a:cubicBezTo>
                    <a:pt x="256" y="306"/>
                    <a:pt x="256" y="306"/>
                    <a:pt x="256" y="306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7" y="292"/>
                    <a:pt x="257" y="292"/>
                    <a:pt x="257" y="292"/>
                  </a:cubicBezTo>
                  <a:cubicBezTo>
                    <a:pt x="262" y="279"/>
                    <a:pt x="262" y="279"/>
                    <a:pt x="262" y="279"/>
                  </a:cubicBezTo>
                  <a:cubicBezTo>
                    <a:pt x="262" y="279"/>
                    <a:pt x="270" y="269"/>
                    <a:pt x="271" y="267"/>
                  </a:cubicBezTo>
                  <a:cubicBezTo>
                    <a:pt x="272" y="265"/>
                    <a:pt x="275" y="258"/>
                    <a:pt x="275" y="258"/>
                  </a:cubicBezTo>
                  <a:cubicBezTo>
                    <a:pt x="275" y="258"/>
                    <a:pt x="273" y="250"/>
                    <a:pt x="272" y="248"/>
                  </a:cubicBezTo>
                  <a:cubicBezTo>
                    <a:pt x="270" y="247"/>
                    <a:pt x="267" y="241"/>
                    <a:pt x="267" y="241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73" y="232"/>
                    <a:pt x="273" y="232"/>
                    <a:pt x="273" y="232"/>
                  </a:cubicBezTo>
                  <a:cubicBezTo>
                    <a:pt x="275" y="228"/>
                    <a:pt x="275" y="228"/>
                    <a:pt x="275" y="228"/>
                  </a:cubicBezTo>
                  <a:cubicBezTo>
                    <a:pt x="275" y="228"/>
                    <a:pt x="275" y="221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3"/>
                    <a:pt x="281" y="209"/>
                    <a:pt x="281" y="209"/>
                  </a:cubicBezTo>
                  <a:cubicBezTo>
                    <a:pt x="285" y="201"/>
                    <a:pt x="285" y="201"/>
                    <a:pt x="285" y="201"/>
                  </a:cubicBezTo>
                  <a:cubicBezTo>
                    <a:pt x="295" y="206"/>
                    <a:pt x="295" y="206"/>
                    <a:pt x="295" y="206"/>
                  </a:cubicBezTo>
                  <a:cubicBezTo>
                    <a:pt x="300" y="206"/>
                    <a:pt x="300" y="206"/>
                    <a:pt x="300" y="206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01" y="199"/>
                    <a:pt x="300" y="178"/>
                    <a:pt x="303" y="174"/>
                  </a:cubicBezTo>
                  <a:cubicBezTo>
                    <a:pt x="303" y="174"/>
                    <a:pt x="317" y="175"/>
                    <a:pt x="319" y="174"/>
                  </a:cubicBezTo>
                  <a:cubicBezTo>
                    <a:pt x="320" y="174"/>
                    <a:pt x="325" y="176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7" y="178"/>
                    <a:pt x="328" y="178"/>
                    <a:pt x="329" y="178"/>
                  </a:cubicBezTo>
                  <a:cubicBezTo>
                    <a:pt x="331" y="179"/>
                    <a:pt x="333" y="179"/>
                    <a:pt x="333" y="179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9" y="169"/>
                    <a:pt x="339" y="169"/>
                    <a:pt x="339" y="169"/>
                  </a:cubicBezTo>
                  <a:cubicBezTo>
                    <a:pt x="343" y="164"/>
                    <a:pt x="343" y="157"/>
                    <a:pt x="342" y="156"/>
                  </a:cubicBezTo>
                  <a:cubicBezTo>
                    <a:pt x="341" y="154"/>
                    <a:pt x="339" y="145"/>
                    <a:pt x="338" y="144"/>
                  </a:cubicBezTo>
                  <a:cubicBezTo>
                    <a:pt x="338" y="143"/>
                    <a:pt x="340" y="142"/>
                    <a:pt x="340" y="142"/>
                  </a:cubicBezTo>
                  <a:cubicBezTo>
                    <a:pt x="342" y="142"/>
                    <a:pt x="342" y="142"/>
                    <a:pt x="342" y="142"/>
                  </a:cubicBezTo>
                  <a:cubicBezTo>
                    <a:pt x="342" y="142"/>
                    <a:pt x="343" y="141"/>
                    <a:pt x="344" y="141"/>
                  </a:cubicBezTo>
                  <a:cubicBezTo>
                    <a:pt x="349" y="137"/>
                    <a:pt x="349" y="137"/>
                    <a:pt x="349" y="137"/>
                  </a:cubicBezTo>
                  <a:cubicBezTo>
                    <a:pt x="354" y="138"/>
                    <a:pt x="354" y="138"/>
                    <a:pt x="354" y="138"/>
                  </a:cubicBezTo>
                  <a:cubicBezTo>
                    <a:pt x="354" y="138"/>
                    <a:pt x="354" y="137"/>
                    <a:pt x="355" y="137"/>
                  </a:cubicBezTo>
                  <a:cubicBezTo>
                    <a:pt x="356" y="137"/>
                    <a:pt x="356" y="136"/>
                    <a:pt x="356" y="136"/>
                  </a:cubicBezTo>
                  <a:cubicBezTo>
                    <a:pt x="356" y="136"/>
                    <a:pt x="353" y="130"/>
                    <a:pt x="355" y="127"/>
                  </a:cubicBezTo>
                  <a:cubicBezTo>
                    <a:pt x="356" y="125"/>
                    <a:pt x="357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3" name="Freeform 102"/>
            <p:cNvSpPr>
              <a:spLocks noEditPoints="1"/>
            </p:cNvSpPr>
            <p:nvPr/>
          </p:nvSpPr>
          <p:spPr bwMode="auto">
            <a:xfrm>
              <a:off x="5828550" y="-33603"/>
              <a:ext cx="3373052" cy="3300666"/>
            </a:xfrm>
            <a:custGeom>
              <a:avLst/>
              <a:gdLst>
                <a:gd name="T0" fmla="*/ 395 w 1479"/>
                <a:gd name="T1" fmla="*/ 1054 h 1493"/>
                <a:gd name="T2" fmla="*/ 339 w 1479"/>
                <a:gd name="T3" fmla="*/ 1061 h 1493"/>
                <a:gd name="T4" fmla="*/ 359 w 1479"/>
                <a:gd name="T5" fmla="*/ 1012 h 1493"/>
                <a:gd name="T6" fmla="*/ 298 w 1479"/>
                <a:gd name="T7" fmla="*/ 970 h 1493"/>
                <a:gd name="T8" fmla="*/ 266 w 1479"/>
                <a:gd name="T9" fmla="*/ 914 h 1493"/>
                <a:gd name="T10" fmla="*/ 197 w 1479"/>
                <a:gd name="T11" fmla="*/ 908 h 1493"/>
                <a:gd name="T12" fmla="*/ 159 w 1479"/>
                <a:gd name="T13" fmla="*/ 875 h 1493"/>
                <a:gd name="T14" fmla="*/ 149 w 1479"/>
                <a:gd name="T15" fmla="*/ 820 h 1493"/>
                <a:gd name="T16" fmla="*/ 130 w 1479"/>
                <a:gd name="T17" fmla="*/ 737 h 1493"/>
                <a:gd name="T18" fmla="*/ 185 w 1479"/>
                <a:gd name="T19" fmla="*/ 696 h 1493"/>
                <a:gd name="T20" fmla="*/ 122 w 1479"/>
                <a:gd name="T21" fmla="*/ 671 h 1493"/>
                <a:gd name="T22" fmla="*/ 160 w 1479"/>
                <a:gd name="T23" fmla="*/ 558 h 1493"/>
                <a:gd name="T24" fmla="*/ 101 w 1479"/>
                <a:gd name="T25" fmla="*/ 459 h 1493"/>
                <a:gd name="T26" fmla="*/ 76 w 1479"/>
                <a:gd name="T27" fmla="*/ 383 h 1493"/>
                <a:gd name="T28" fmla="*/ 12 w 1479"/>
                <a:gd name="T29" fmla="*/ 272 h 1493"/>
                <a:gd name="T30" fmla="*/ 0 w 1479"/>
                <a:gd name="T31" fmla="*/ 237 h 1493"/>
                <a:gd name="T32" fmla="*/ 0 w 1479"/>
                <a:gd name="T33" fmla="*/ 237 h 1493"/>
                <a:gd name="T34" fmla="*/ 1 w 1479"/>
                <a:gd name="T35" fmla="*/ 236 h 1493"/>
                <a:gd name="T36" fmla="*/ 3 w 1479"/>
                <a:gd name="T37" fmla="*/ 234 h 1493"/>
                <a:gd name="T38" fmla="*/ 8 w 1479"/>
                <a:gd name="T39" fmla="*/ 229 h 1493"/>
                <a:gd name="T40" fmla="*/ 47 w 1479"/>
                <a:gd name="T41" fmla="*/ 167 h 1493"/>
                <a:gd name="T42" fmla="*/ 56 w 1479"/>
                <a:gd name="T43" fmla="*/ 176 h 1493"/>
                <a:gd name="T44" fmla="*/ 92 w 1479"/>
                <a:gd name="T45" fmla="*/ 183 h 1493"/>
                <a:gd name="T46" fmla="*/ 196 w 1479"/>
                <a:gd name="T47" fmla="*/ 194 h 1493"/>
                <a:gd name="T48" fmla="*/ 258 w 1479"/>
                <a:gd name="T49" fmla="*/ 207 h 1493"/>
                <a:gd name="T50" fmla="*/ 281 w 1479"/>
                <a:gd name="T51" fmla="*/ 280 h 1493"/>
                <a:gd name="T52" fmla="*/ 161 w 1479"/>
                <a:gd name="T53" fmla="*/ 320 h 1493"/>
                <a:gd name="T54" fmla="*/ 109 w 1479"/>
                <a:gd name="T55" fmla="*/ 310 h 1493"/>
                <a:gd name="T56" fmla="*/ 150 w 1479"/>
                <a:gd name="T57" fmla="*/ 340 h 1493"/>
                <a:gd name="T58" fmla="*/ 189 w 1479"/>
                <a:gd name="T59" fmla="*/ 388 h 1493"/>
                <a:gd name="T60" fmla="*/ 232 w 1479"/>
                <a:gd name="T61" fmla="*/ 422 h 1493"/>
                <a:gd name="T62" fmla="*/ 288 w 1479"/>
                <a:gd name="T63" fmla="*/ 416 h 1493"/>
                <a:gd name="T64" fmla="*/ 239 w 1479"/>
                <a:gd name="T65" fmla="*/ 380 h 1493"/>
                <a:gd name="T66" fmla="*/ 322 w 1479"/>
                <a:gd name="T67" fmla="*/ 369 h 1493"/>
                <a:gd name="T68" fmla="*/ 315 w 1479"/>
                <a:gd name="T69" fmla="*/ 253 h 1493"/>
                <a:gd name="T70" fmla="*/ 350 w 1479"/>
                <a:gd name="T71" fmla="*/ 213 h 1493"/>
                <a:gd name="T72" fmla="*/ 283 w 1479"/>
                <a:gd name="T73" fmla="*/ 136 h 1493"/>
                <a:gd name="T74" fmla="*/ 351 w 1479"/>
                <a:gd name="T75" fmla="*/ 157 h 1493"/>
                <a:gd name="T76" fmla="*/ 407 w 1479"/>
                <a:gd name="T77" fmla="*/ 178 h 1493"/>
                <a:gd name="T78" fmla="*/ 420 w 1479"/>
                <a:gd name="T79" fmla="*/ 84 h 1493"/>
                <a:gd name="T80" fmla="*/ 447 w 1479"/>
                <a:gd name="T81" fmla="*/ 17 h 1493"/>
                <a:gd name="T82" fmla="*/ 1446 w 1479"/>
                <a:gd name="T83" fmla="*/ 837 h 1493"/>
                <a:gd name="T84" fmla="*/ 1247 w 1479"/>
                <a:gd name="T85" fmla="*/ 947 h 1493"/>
                <a:gd name="T86" fmla="*/ 1027 w 1479"/>
                <a:gd name="T87" fmla="*/ 1015 h 1493"/>
                <a:gd name="T88" fmla="*/ 1113 w 1479"/>
                <a:gd name="T89" fmla="*/ 1192 h 1493"/>
                <a:gd name="T90" fmla="*/ 1187 w 1479"/>
                <a:gd name="T91" fmla="*/ 1460 h 1493"/>
                <a:gd name="T92" fmla="*/ 1119 w 1479"/>
                <a:gd name="T93" fmla="*/ 1449 h 1493"/>
                <a:gd name="T94" fmla="*/ 1105 w 1479"/>
                <a:gd name="T95" fmla="*/ 1486 h 1493"/>
                <a:gd name="T96" fmla="*/ 1061 w 1479"/>
                <a:gd name="T97" fmla="*/ 1452 h 1493"/>
                <a:gd name="T98" fmla="*/ 988 w 1479"/>
                <a:gd name="T99" fmla="*/ 1445 h 1493"/>
                <a:gd name="T100" fmla="*/ 919 w 1479"/>
                <a:gd name="T101" fmla="*/ 1435 h 1493"/>
                <a:gd name="T102" fmla="*/ 899 w 1479"/>
                <a:gd name="T103" fmla="*/ 1437 h 1493"/>
                <a:gd name="T104" fmla="*/ 898 w 1479"/>
                <a:gd name="T105" fmla="*/ 1438 h 1493"/>
                <a:gd name="T106" fmla="*/ 883 w 1479"/>
                <a:gd name="T107" fmla="*/ 1439 h 1493"/>
                <a:gd name="T108" fmla="*/ 693 w 1479"/>
                <a:gd name="T109" fmla="*/ 1413 h 1493"/>
                <a:gd name="T110" fmla="*/ 650 w 1479"/>
                <a:gd name="T111" fmla="*/ 1303 h 1493"/>
                <a:gd name="T112" fmla="*/ 648 w 1479"/>
                <a:gd name="T113" fmla="*/ 1232 h 1493"/>
                <a:gd name="T114" fmla="*/ 664 w 1479"/>
                <a:gd name="T115" fmla="*/ 1146 h 1493"/>
                <a:gd name="T116" fmla="*/ 594 w 1479"/>
                <a:gd name="T117" fmla="*/ 1113 h 1493"/>
                <a:gd name="T118" fmla="*/ 521 w 1479"/>
                <a:gd name="T119" fmla="*/ 1124 h 1493"/>
                <a:gd name="T120" fmla="*/ 382 w 1479"/>
                <a:gd name="T121" fmla="*/ 71 h 1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79" h="1493">
                  <a:moveTo>
                    <a:pt x="460" y="1096"/>
                  </a:moveTo>
                  <a:cubicBezTo>
                    <a:pt x="452" y="1098"/>
                    <a:pt x="452" y="1098"/>
                    <a:pt x="452" y="1098"/>
                  </a:cubicBezTo>
                  <a:cubicBezTo>
                    <a:pt x="452" y="1098"/>
                    <a:pt x="447" y="1103"/>
                    <a:pt x="447" y="1101"/>
                  </a:cubicBezTo>
                  <a:cubicBezTo>
                    <a:pt x="446" y="1099"/>
                    <a:pt x="448" y="1095"/>
                    <a:pt x="448" y="1093"/>
                  </a:cubicBezTo>
                  <a:cubicBezTo>
                    <a:pt x="447" y="1092"/>
                    <a:pt x="442" y="1095"/>
                    <a:pt x="443" y="1091"/>
                  </a:cubicBezTo>
                  <a:cubicBezTo>
                    <a:pt x="444" y="1089"/>
                    <a:pt x="443" y="1086"/>
                    <a:pt x="442" y="1085"/>
                  </a:cubicBezTo>
                  <a:cubicBezTo>
                    <a:pt x="440" y="1083"/>
                    <a:pt x="434" y="1083"/>
                    <a:pt x="436" y="1079"/>
                  </a:cubicBezTo>
                  <a:cubicBezTo>
                    <a:pt x="438" y="1076"/>
                    <a:pt x="443" y="1074"/>
                    <a:pt x="443" y="1074"/>
                  </a:cubicBezTo>
                  <a:cubicBezTo>
                    <a:pt x="443" y="1072"/>
                    <a:pt x="443" y="1072"/>
                    <a:pt x="443" y="1072"/>
                  </a:cubicBezTo>
                  <a:cubicBezTo>
                    <a:pt x="439" y="1068"/>
                    <a:pt x="439" y="1068"/>
                    <a:pt x="439" y="1068"/>
                  </a:cubicBezTo>
                  <a:cubicBezTo>
                    <a:pt x="428" y="1063"/>
                    <a:pt x="428" y="1063"/>
                    <a:pt x="428" y="1063"/>
                  </a:cubicBezTo>
                  <a:cubicBezTo>
                    <a:pt x="428" y="1063"/>
                    <a:pt x="427" y="1057"/>
                    <a:pt x="425" y="1057"/>
                  </a:cubicBezTo>
                  <a:cubicBezTo>
                    <a:pt x="424" y="1056"/>
                    <a:pt x="421" y="1053"/>
                    <a:pt x="421" y="1053"/>
                  </a:cubicBezTo>
                  <a:cubicBezTo>
                    <a:pt x="421" y="1053"/>
                    <a:pt x="418" y="1049"/>
                    <a:pt x="414" y="1048"/>
                  </a:cubicBezTo>
                  <a:cubicBezTo>
                    <a:pt x="410" y="1046"/>
                    <a:pt x="407" y="1055"/>
                    <a:pt x="407" y="1055"/>
                  </a:cubicBezTo>
                  <a:cubicBezTo>
                    <a:pt x="403" y="1051"/>
                    <a:pt x="403" y="1051"/>
                    <a:pt x="403" y="1051"/>
                  </a:cubicBezTo>
                  <a:cubicBezTo>
                    <a:pt x="395" y="1054"/>
                    <a:pt x="395" y="1054"/>
                    <a:pt x="395" y="1054"/>
                  </a:cubicBezTo>
                  <a:cubicBezTo>
                    <a:pt x="389" y="1063"/>
                    <a:pt x="389" y="1063"/>
                    <a:pt x="389" y="1063"/>
                  </a:cubicBezTo>
                  <a:cubicBezTo>
                    <a:pt x="385" y="1064"/>
                    <a:pt x="385" y="1064"/>
                    <a:pt x="385" y="1064"/>
                  </a:cubicBezTo>
                  <a:cubicBezTo>
                    <a:pt x="379" y="1065"/>
                    <a:pt x="379" y="1065"/>
                    <a:pt x="379" y="1065"/>
                  </a:cubicBezTo>
                  <a:cubicBezTo>
                    <a:pt x="370" y="1067"/>
                    <a:pt x="370" y="1067"/>
                    <a:pt x="370" y="1067"/>
                  </a:cubicBezTo>
                  <a:cubicBezTo>
                    <a:pt x="368" y="1073"/>
                    <a:pt x="368" y="1073"/>
                    <a:pt x="368" y="1073"/>
                  </a:cubicBezTo>
                  <a:cubicBezTo>
                    <a:pt x="369" y="1079"/>
                    <a:pt x="369" y="1079"/>
                    <a:pt x="369" y="1079"/>
                  </a:cubicBezTo>
                  <a:cubicBezTo>
                    <a:pt x="364" y="1083"/>
                    <a:pt x="364" y="1083"/>
                    <a:pt x="364" y="1083"/>
                  </a:cubicBezTo>
                  <a:cubicBezTo>
                    <a:pt x="352" y="1082"/>
                    <a:pt x="352" y="1082"/>
                    <a:pt x="352" y="1082"/>
                  </a:cubicBezTo>
                  <a:cubicBezTo>
                    <a:pt x="354" y="1082"/>
                    <a:pt x="354" y="1082"/>
                    <a:pt x="354" y="1082"/>
                  </a:cubicBezTo>
                  <a:cubicBezTo>
                    <a:pt x="347" y="1078"/>
                    <a:pt x="347" y="1078"/>
                    <a:pt x="347" y="1078"/>
                  </a:cubicBezTo>
                  <a:cubicBezTo>
                    <a:pt x="347" y="1075"/>
                    <a:pt x="347" y="1075"/>
                    <a:pt x="347" y="1075"/>
                  </a:cubicBezTo>
                  <a:cubicBezTo>
                    <a:pt x="343" y="1075"/>
                    <a:pt x="343" y="1075"/>
                    <a:pt x="343" y="1075"/>
                  </a:cubicBezTo>
                  <a:cubicBezTo>
                    <a:pt x="340" y="1074"/>
                    <a:pt x="340" y="1074"/>
                    <a:pt x="340" y="1074"/>
                  </a:cubicBezTo>
                  <a:cubicBezTo>
                    <a:pt x="342" y="1072"/>
                    <a:pt x="342" y="1072"/>
                    <a:pt x="342" y="1072"/>
                  </a:cubicBezTo>
                  <a:cubicBezTo>
                    <a:pt x="340" y="1069"/>
                    <a:pt x="340" y="1069"/>
                    <a:pt x="340" y="1069"/>
                  </a:cubicBezTo>
                  <a:cubicBezTo>
                    <a:pt x="337" y="1063"/>
                    <a:pt x="337" y="1063"/>
                    <a:pt x="337" y="1063"/>
                  </a:cubicBezTo>
                  <a:cubicBezTo>
                    <a:pt x="339" y="1061"/>
                    <a:pt x="339" y="1061"/>
                    <a:pt x="339" y="1061"/>
                  </a:cubicBezTo>
                  <a:cubicBezTo>
                    <a:pt x="335" y="1059"/>
                    <a:pt x="335" y="1059"/>
                    <a:pt x="335" y="1059"/>
                  </a:cubicBezTo>
                  <a:cubicBezTo>
                    <a:pt x="333" y="1057"/>
                    <a:pt x="333" y="1057"/>
                    <a:pt x="333" y="1057"/>
                  </a:cubicBezTo>
                  <a:cubicBezTo>
                    <a:pt x="335" y="1053"/>
                    <a:pt x="335" y="1053"/>
                    <a:pt x="335" y="1053"/>
                  </a:cubicBezTo>
                  <a:cubicBezTo>
                    <a:pt x="333" y="1050"/>
                    <a:pt x="333" y="1050"/>
                    <a:pt x="333" y="1050"/>
                  </a:cubicBezTo>
                  <a:cubicBezTo>
                    <a:pt x="330" y="1046"/>
                    <a:pt x="330" y="1046"/>
                    <a:pt x="330" y="1046"/>
                  </a:cubicBezTo>
                  <a:cubicBezTo>
                    <a:pt x="325" y="1045"/>
                    <a:pt x="325" y="1045"/>
                    <a:pt x="325" y="1045"/>
                  </a:cubicBezTo>
                  <a:cubicBezTo>
                    <a:pt x="321" y="1042"/>
                    <a:pt x="321" y="1042"/>
                    <a:pt x="321" y="1042"/>
                  </a:cubicBezTo>
                  <a:cubicBezTo>
                    <a:pt x="321" y="1039"/>
                    <a:pt x="321" y="1039"/>
                    <a:pt x="321" y="1039"/>
                  </a:cubicBezTo>
                  <a:cubicBezTo>
                    <a:pt x="323" y="1032"/>
                    <a:pt x="323" y="1032"/>
                    <a:pt x="323" y="1032"/>
                  </a:cubicBezTo>
                  <a:cubicBezTo>
                    <a:pt x="323" y="1032"/>
                    <a:pt x="323" y="1031"/>
                    <a:pt x="327" y="1029"/>
                  </a:cubicBezTo>
                  <a:cubicBezTo>
                    <a:pt x="331" y="1028"/>
                    <a:pt x="332" y="1029"/>
                    <a:pt x="332" y="1029"/>
                  </a:cubicBezTo>
                  <a:cubicBezTo>
                    <a:pt x="338" y="1031"/>
                    <a:pt x="338" y="1031"/>
                    <a:pt x="338" y="1031"/>
                  </a:cubicBezTo>
                  <a:cubicBezTo>
                    <a:pt x="345" y="1029"/>
                    <a:pt x="345" y="1029"/>
                    <a:pt x="345" y="1029"/>
                  </a:cubicBezTo>
                  <a:cubicBezTo>
                    <a:pt x="345" y="1029"/>
                    <a:pt x="352" y="1023"/>
                    <a:pt x="353" y="1022"/>
                  </a:cubicBezTo>
                  <a:cubicBezTo>
                    <a:pt x="355" y="1021"/>
                    <a:pt x="353" y="1016"/>
                    <a:pt x="353" y="1016"/>
                  </a:cubicBezTo>
                  <a:cubicBezTo>
                    <a:pt x="357" y="1015"/>
                    <a:pt x="357" y="1015"/>
                    <a:pt x="357" y="1015"/>
                  </a:cubicBezTo>
                  <a:cubicBezTo>
                    <a:pt x="359" y="1012"/>
                    <a:pt x="359" y="1012"/>
                    <a:pt x="359" y="1012"/>
                  </a:cubicBezTo>
                  <a:cubicBezTo>
                    <a:pt x="359" y="1006"/>
                    <a:pt x="359" y="1006"/>
                    <a:pt x="359" y="1006"/>
                  </a:cubicBezTo>
                  <a:cubicBezTo>
                    <a:pt x="354" y="1004"/>
                    <a:pt x="354" y="1004"/>
                    <a:pt x="354" y="1004"/>
                  </a:cubicBezTo>
                  <a:cubicBezTo>
                    <a:pt x="350" y="1003"/>
                    <a:pt x="350" y="1003"/>
                    <a:pt x="350" y="1003"/>
                  </a:cubicBezTo>
                  <a:cubicBezTo>
                    <a:pt x="346" y="1000"/>
                    <a:pt x="346" y="1000"/>
                    <a:pt x="346" y="1000"/>
                  </a:cubicBezTo>
                  <a:cubicBezTo>
                    <a:pt x="348" y="995"/>
                    <a:pt x="348" y="995"/>
                    <a:pt x="348" y="995"/>
                  </a:cubicBezTo>
                  <a:cubicBezTo>
                    <a:pt x="343" y="995"/>
                    <a:pt x="343" y="995"/>
                    <a:pt x="343" y="995"/>
                  </a:cubicBezTo>
                  <a:cubicBezTo>
                    <a:pt x="338" y="994"/>
                    <a:pt x="338" y="994"/>
                    <a:pt x="338" y="994"/>
                  </a:cubicBezTo>
                  <a:cubicBezTo>
                    <a:pt x="334" y="993"/>
                    <a:pt x="334" y="993"/>
                    <a:pt x="334" y="993"/>
                  </a:cubicBezTo>
                  <a:cubicBezTo>
                    <a:pt x="331" y="994"/>
                    <a:pt x="331" y="994"/>
                    <a:pt x="331" y="994"/>
                  </a:cubicBezTo>
                  <a:cubicBezTo>
                    <a:pt x="328" y="997"/>
                    <a:pt x="328" y="997"/>
                    <a:pt x="328" y="997"/>
                  </a:cubicBezTo>
                  <a:cubicBezTo>
                    <a:pt x="323" y="997"/>
                    <a:pt x="323" y="997"/>
                    <a:pt x="323" y="997"/>
                  </a:cubicBezTo>
                  <a:cubicBezTo>
                    <a:pt x="322" y="988"/>
                    <a:pt x="322" y="988"/>
                    <a:pt x="322" y="988"/>
                  </a:cubicBezTo>
                  <a:cubicBezTo>
                    <a:pt x="320" y="984"/>
                    <a:pt x="320" y="984"/>
                    <a:pt x="320" y="984"/>
                  </a:cubicBezTo>
                  <a:cubicBezTo>
                    <a:pt x="315" y="982"/>
                    <a:pt x="315" y="982"/>
                    <a:pt x="315" y="982"/>
                  </a:cubicBezTo>
                  <a:cubicBezTo>
                    <a:pt x="304" y="980"/>
                    <a:pt x="304" y="980"/>
                    <a:pt x="304" y="980"/>
                  </a:cubicBezTo>
                  <a:cubicBezTo>
                    <a:pt x="299" y="973"/>
                    <a:pt x="299" y="973"/>
                    <a:pt x="299" y="973"/>
                  </a:cubicBezTo>
                  <a:cubicBezTo>
                    <a:pt x="298" y="970"/>
                    <a:pt x="298" y="970"/>
                    <a:pt x="298" y="970"/>
                  </a:cubicBezTo>
                  <a:cubicBezTo>
                    <a:pt x="298" y="970"/>
                    <a:pt x="297" y="970"/>
                    <a:pt x="294" y="969"/>
                  </a:cubicBezTo>
                  <a:cubicBezTo>
                    <a:pt x="291" y="969"/>
                    <a:pt x="293" y="966"/>
                    <a:pt x="293" y="966"/>
                  </a:cubicBezTo>
                  <a:cubicBezTo>
                    <a:pt x="293" y="961"/>
                    <a:pt x="293" y="961"/>
                    <a:pt x="293" y="961"/>
                  </a:cubicBezTo>
                  <a:cubicBezTo>
                    <a:pt x="289" y="961"/>
                    <a:pt x="289" y="961"/>
                    <a:pt x="289" y="961"/>
                  </a:cubicBezTo>
                  <a:cubicBezTo>
                    <a:pt x="285" y="957"/>
                    <a:pt x="285" y="957"/>
                    <a:pt x="285" y="957"/>
                  </a:cubicBezTo>
                  <a:cubicBezTo>
                    <a:pt x="278" y="955"/>
                    <a:pt x="278" y="955"/>
                    <a:pt x="278" y="955"/>
                  </a:cubicBezTo>
                  <a:cubicBezTo>
                    <a:pt x="281" y="947"/>
                    <a:pt x="281" y="947"/>
                    <a:pt x="281" y="947"/>
                  </a:cubicBezTo>
                  <a:cubicBezTo>
                    <a:pt x="281" y="944"/>
                    <a:pt x="281" y="944"/>
                    <a:pt x="281" y="944"/>
                  </a:cubicBezTo>
                  <a:cubicBezTo>
                    <a:pt x="282" y="939"/>
                    <a:pt x="282" y="939"/>
                    <a:pt x="282" y="939"/>
                  </a:cubicBezTo>
                  <a:cubicBezTo>
                    <a:pt x="279" y="936"/>
                    <a:pt x="279" y="936"/>
                    <a:pt x="279" y="936"/>
                  </a:cubicBezTo>
                  <a:cubicBezTo>
                    <a:pt x="273" y="932"/>
                    <a:pt x="273" y="932"/>
                    <a:pt x="273" y="932"/>
                  </a:cubicBezTo>
                  <a:cubicBezTo>
                    <a:pt x="273" y="929"/>
                    <a:pt x="273" y="929"/>
                    <a:pt x="273" y="929"/>
                  </a:cubicBezTo>
                  <a:cubicBezTo>
                    <a:pt x="273" y="926"/>
                    <a:pt x="273" y="926"/>
                    <a:pt x="273" y="926"/>
                  </a:cubicBezTo>
                  <a:cubicBezTo>
                    <a:pt x="273" y="918"/>
                    <a:pt x="273" y="918"/>
                    <a:pt x="273" y="918"/>
                  </a:cubicBezTo>
                  <a:cubicBezTo>
                    <a:pt x="271" y="914"/>
                    <a:pt x="271" y="914"/>
                    <a:pt x="271" y="914"/>
                  </a:cubicBezTo>
                  <a:cubicBezTo>
                    <a:pt x="267" y="916"/>
                    <a:pt x="267" y="916"/>
                    <a:pt x="267" y="916"/>
                  </a:cubicBezTo>
                  <a:cubicBezTo>
                    <a:pt x="266" y="914"/>
                    <a:pt x="266" y="914"/>
                    <a:pt x="266" y="914"/>
                  </a:cubicBezTo>
                  <a:cubicBezTo>
                    <a:pt x="263" y="915"/>
                    <a:pt x="263" y="915"/>
                    <a:pt x="263" y="915"/>
                  </a:cubicBezTo>
                  <a:cubicBezTo>
                    <a:pt x="260" y="913"/>
                    <a:pt x="260" y="913"/>
                    <a:pt x="260" y="913"/>
                  </a:cubicBezTo>
                  <a:cubicBezTo>
                    <a:pt x="257" y="910"/>
                    <a:pt x="257" y="910"/>
                    <a:pt x="257" y="910"/>
                  </a:cubicBezTo>
                  <a:cubicBezTo>
                    <a:pt x="248" y="908"/>
                    <a:pt x="248" y="908"/>
                    <a:pt x="248" y="908"/>
                  </a:cubicBezTo>
                  <a:cubicBezTo>
                    <a:pt x="248" y="908"/>
                    <a:pt x="245" y="909"/>
                    <a:pt x="241" y="910"/>
                  </a:cubicBezTo>
                  <a:cubicBezTo>
                    <a:pt x="238" y="911"/>
                    <a:pt x="239" y="912"/>
                    <a:pt x="237" y="912"/>
                  </a:cubicBezTo>
                  <a:cubicBezTo>
                    <a:pt x="235" y="913"/>
                    <a:pt x="234" y="915"/>
                    <a:pt x="234" y="917"/>
                  </a:cubicBezTo>
                  <a:cubicBezTo>
                    <a:pt x="233" y="919"/>
                    <a:pt x="229" y="920"/>
                    <a:pt x="228" y="920"/>
                  </a:cubicBezTo>
                  <a:cubicBezTo>
                    <a:pt x="226" y="921"/>
                    <a:pt x="224" y="918"/>
                    <a:pt x="224" y="918"/>
                  </a:cubicBezTo>
                  <a:cubicBezTo>
                    <a:pt x="224" y="915"/>
                    <a:pt x="224" y="915"/>
                    <a:pt x="224" y="915"/>
                  </a:cubicBezTo>
                  <a:cubicBezTo>
                    <a:pt x="223" y="909"/>
                    <a:pt x="223" y="909"/>
                    <a:pt x="223" y="909"/>
                  </a:cubicBezTo>
                  <a:cubicBezTo>
                    <a:pt x="215" y="909"/>
                    <a:pt x="215" y="909"/>
                    <a:pt x="215" y="909"/>
                  </a:cubicBezTo>
                  <a:cubicBezTo>
                    <a:pt x="208" y="911"/>
                    <a:pt x="208" y="911"/>
                    <a:pt x="208" y="911"/>
                  </a:cubicBezTo>
                  <a:cubicBezTo>
                    <a:pt x="207" y="913"/>
                    <a:pt x="207" y="913"/>
                    <a:pt x="207" y="913"/>
                  </a:cubicBezTo>
                  <a:cubicBezTo>
                    <a:pt x="202" y="913"/>
                    <a:pt x="202" y="913"/>
                    <a:pt x="202" y="913"/>
                  </a:cubicBezTo>
                  <a:cubicBezTo>
                    <a:pt x="200" y="909"/>
                    <a:pt x="200" y="909"/>
                    <a:pt x="200" y="909"/>
                  </a:cubicBezTo>
                  <a:cubicBezTo>
                    <a:pt x="197" y="908"/>
                    <a:pt x="197" y="908"/>
                    <a:pt x="197" y="908"/>
                  </a:cubicBezTo>
                  <a:cubicBezTo>
                    <a:pt x="192" y="910"/>
                    <a:pt x="192" y="910"/>
                    <a:pt x="192" y="910"/>
                  </a:cubicBezTo>
                  <a:cubicBezTo>
                    <a:pt x="192" y="910"/>
                    <a:pt x="191" y="912"/>
                    <a:pt x="190" y="912"/>
                  </a:cubicBezTo>
                  <a:cubicBezTo>
                    <a:pt x="189" y="913"/>
                    <a:pt x="188" y="912"/>
                    <a:pt x="187" y="912"/>
                  </a:cubicBezTo>
                  <a:cubicBezTo>
                    <a:pt x="186" y="912"/>
                    <a:pt x="184" y="911"/>
                    <a:pt x="183" y="910"/>
                  </a:cubicBezTo>
                  <a:cubicBezTo>
                    <a:pt x="183" y="909"/>
                    <a:pt x="183" y="908"/>
                    <a:pt x="183" y="907"/>
                  </a:cubicBezTo>
                  <a:cubicBezTo>
                    <a:pt x="183" y="906"/>
                    <a:pt x="183" y="904"/>
                    <a:pt x="183" y="904"/>
                  </a:cubicBezTo>
                  <a:cubicBezTo>
                    <a:pt x="184" y="899"/>
                    <a:pt x="184" y="899"/>
                    <a:pt x="184" y="899"/>
                  </a:cubicBezTo>
                  <a:cubicBezTo>
                    <a:pt x="184" y="899"/>
                    <a:pt x="180" y="896"/>
                    <a:pt x="179" y="895"/>
                  </a:cubicBezTo>
                  <a:cubicBezTo>
                    <a:pt x="179" y="893"/>
                    <a:pt x="178" y="890"/>
                    <a:pt x="178" y="890"/>
                  </a:cubicBezTo>
                  <a:cubicBezTo>
                    <a:pt x="178" y="890"/>
                    <a:pt x="176" y="889"/>
                    <a:pt x="175" y="888"/>
                  </a:cubicBezTo>
                  <a:cubicBezTo>
                    <a:pt x="174" y="888"/>
                    <a:pt x="173" y="887"/>
                    <a:pt x="173" y="887"/>
                  </a:cubicBezTo>
                  <a:cubicBezTo>
                    <a:pt x="174" y="884"/>
                    <a:pt x="174" y="884"/>
                    <a:pt x="174" y="884"/>
                  </a:cubicBezTo>
                  <a:cubicBezTo>
                    <a:pt x="170" y="882"/>
                    <a:pt x="170" y="882"/>
                    <a:pt x="170" y="882"/>
                  </a:cubicBezTo>
                  <a:cubicBezTo>
                    <a:pt x="165" y="878"/>
                    <a:pt x="165" y="878"/>
                    <a:pt x="165" y="878"/>
                  </a:cubicBezTo>
                  <a:cubicBezTo>
                    <a:pt x="167" y="875"/>
                    <a:pt x="167" y="875"/>
                    <a:pt x="167" y="875"/>
                  </a:cubicBezTo>
                  <a:cubicBezTo>
                    <a:pt x="163" y="872"/>
                    <a:pt x="163" y="872"/>
                    <a:pt x="163" y="872"/>
                  </a:cubicBezTo>
                  <a:cubicBezTo>
                    <a:pt x="159" y="875"/>
                    <a:pt x="159" y="875"/>
                    <a:pt x="159" y="875"/>
                  </a:cubicBezTo>
                  <a:cubicBezTo>
                    <a:pt x="159" y="871"/>
                    <a:pt x="159" y="871"/>
                    <a:pt x="159" y="871"/>
                  </a:cubicBezTo>
                  <a:cubicBezTo>
                    <a:pt x="157" y="863"/>
                    <a:pt x="157" y="863"/>
                    <a:pt x="157" y="863"/>
                  </a:cubicBezTo>
                  <a:cubicBezTo>
                    <a:pt x="159" y="860"/>
                    <a:pt x="159" y="860"/>
                    <a:pt x="159" y="860"/>
                  </a:cubicBezTo>
                  <a:cubicBezTo>
                    <a:pt x="158" y="850"/>
                    <a:pt x="158" y="850"/>
                    <a:pt x="158" y="850"/>
                  </a:cubicBezTo>
                  <a:cubicBezTo>
                    <a:pt x="158" y="850"/>
                    <a:pt x="156" y="849"/>
                    <a:pt x="155" y="849"/>
                  </a:cubicBezTo>
                  <a:cubicBezTo>
                    <a:pt x="154" y="849"/>
                    <a:pt x="151" y="847"/>
                    <a:pt x="151" y="847"/>
                  </a:cubicBezTo>
                  <a:cubicBezTo>
                    <a:pt x="147" y="846"/>
                    <a:pt x="147" y="846"/>
                    <a:pt x="147" y="846"/>
                  </a:cubicBezTo>
                  <a:cubicBezTo>
                    <a:pt x="147" y="843"/>
                    <a:pt x="147" y="843"/>
                    <a:pt x="147" y="843"/>
                  </a:cubicBezTo>
                  <a:cubicBezTo>
                    <a:pt x="144" y="840"/>
                    <a:pt x="144" y="840"/>
                    <a:pt x="144" y="840"/>
                  </a:cubicBezTo>
                  <a:cubicBezTo>
                    <a:pt x="141" y="841"/>
                    <a:pt x="141" y="841"/>
                    <a:pt x="141" y="841"/>
                  </a:cubicBezTo>
                  <a:cubicBezTo>
                    <a:pt x="141" y="841"/>
                    <a:pt x="140" y="841"/>
                    <a:pt x="140" y="840"/>
                  </a:cubicBezTo>
                  <a:cubicBezTo>
                    <a:pt x="140" y="839"/>
                    <a:pt x="138" y="835"/>
                    <a:pt x="138" y="835"/>
                  </a:cubicBezTo>
                  <a:cubicBezTo>
                    <a:pt x="141" y="832"/>
                    <a:pt x="141" y="832"/>
                    <a:pt x="141" y="832"/>
                  </a:cubicBezTo>
                  <a:cubicBezTo>
                    <a:pt x="141" y="832"/>
                    <a:pt x="141" y="828"/>
                    <a:pt x="141" y="827"/>
                  </a:cubicBezTo>
                  <a:cubicBezTo>
                    <a:pt x="141" y="825"/>
                    <a:pt x="146" y="825"/>
                    <a:pt x="146" y="825"/>
                  </a:cubicBezTo>
                  <a:cubicBezTo>
                    <a:pt x="148" y="824"/>
                    <a:pt x="148" y="824"/>
                    <a:pt x="148" y="824"/>
                  </a:cubicBezTo>
                  <a:cubicBezTo>
                    <a:pt x="149" y="820"/>
                    <a:pt x="149" y="820"/>
                    <a:pt x="149" y="820"/>
                  </a:cubicBezTo>
                  <a:cubicBezTo>
                    <a:pt x="149" y="820"/>
                    <a:pt x="146" y="820"/>
                    <a:pt x="144" y="818"/>
                  </a:cubicBezTo>
                  <a:cubicBezTo>
                    <a:pt x="143" y="816"/>
                    <a:pt x="144" y="818"/>
                    <a:pt x="144" y="817"/>
                  </a:cubicBezTo>
                  <a:cubicBezTo>
                    <a:pt x="144" y="816"/>
                    <a:pt x="143" y="817"/>
                    <a:pt x="143" y="817"/>
                  </a:cubicBezTo>
                  <a:cubicBezTo>
                    <a:pt x="143" y="817"/>
                    <a:pt x="142" y="816"/>
                    <a:pt x="142" y="815"/>
                  </a:cubicBezTo>
                  <a:cubicBezTo>
                    <a:pt x="142" y="814"/>
                    <a:pt x="142" y="812"/>
                    <a:pt x="141" y="811"/>
                  </a:cubicBezTo>
                  <a:cubicBezTo>
                    <a:pt x="140" y="810"/>
                    <a:pt x="138" y="809"/>
                    <a:pt x="138" y="809"/>
                  </a:cubicBezTo>
                  <a:cubicBezTo>
                    <a:pt x="137" y="808"/>
                    <a:pt x="137" y="809"/>
                    <a:pt x="135" y="807"/>
                  </a:cubicBezTo>
                  <a:cubicBezTo>
                    <a:pt x="134" y="805"/>
                    <a:pt x="134" y="804"/>
                    <a:pt x="134" y="804"/>
                  </a:cubicBezTo>
                  <a:cubicBezTo>
                    <a:pt x="131" y="802"/>
                    <a:pt x="133" y="797"/>
                    <a:pt x="131" y="795"/>
                  </a:cubicBezTo>
                  <a:cubicBezTo>
                    <a:pt x="127" y="791"/>
                    <a:pt x="127" y="784"/>
                    <a:pt x="125" y="782"/>
                  </a:cubicBezTo>
                  <a:cubicBezTo>
                    <a:pt x="122" y="777"/>
                    <a:pt x="124" y="776"/>
                    <a:pt x="125" y="773"/>
                  </a:cubicBezTo>
                  <a:cubicBezTo>
                    <a:pt x="126" y="767"/>
                    <a:pt x="129" y="762"/>
                    <a:pt x="130" y="752"/>
                  </a:cubicBezTo>
                  <a:cubicBezTo>
                    <a:pt x="130" y="745"/>
                    <a:pt x="130" y="745"/>
                    <a:pt x="130" y="745"/>
                  </a:cubicBezTo>
                  <a:cubicBezTo>
                    <a:pt x="135" y="741"/>
                    <a:pt x="135" y="741"/>
                    <a:pt x="135" y="741"/>
                  </a:cubicBezTo>
                  <a:cubicBezTo>
                    <a:pt x="135" y="739"/>
                    <a:pt x="135" y="739"/>
                    <a:pt x="135" y="739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5"/>
                    <a:pt x="130" y="735"/>
                    <a:pt x="130" y="735"/>
                  </a:cubicBezTo>
                  <a:cubicBezTo>
                    <a:pt x="127" y="724"/>
                    <a:pt x="127" y="724"/>
                    <a:pt x="127" y="724"/>
                  </a:cubicBezTo>
                  <a:cubicBezTo>
                    <a:pt x="128" y="719"/>
                    <a:pt x="128" y="719"/>
                    <a:pt x="128" y="719"/>
                  </a:cubicBezTo>
                  <a:cubicBezTo>
                    <a:pt x="131" y="722"/>
                    <a:pt x="131" y="722"/>
                    <a:pt x="131" y="722"/>
                  </a:cubicBezTo>
                  <a:cubicBezTo>
                    <a:pt x="134" y="723"/>
                    <a:pt x="134" y="723"/>
                    <a:pt x="134" y="723"/>
                  </a:cubicBezTo>
                  <a:cubicBezTo>
                    <a:pt x="137" y="720"/>
                    <a:pt x="137" y="720"/>
                    <a:pt x="137" y="720"/>
                  </a:cubicBezTo>
                  <a:cubicBezTo>
                    <a:pt x="136" y="715"/>
                    <a:pt x="136" y="715"/>
                    <a:pt x="136" y="715"/>
                  </a:cubicBezTo>
                  <a:cubicBezTo>
                    <a:pt x="136" y="715"/>
                    <a:pt x="137" y="712"/>
                    <a:pt x="138" y="712"/>
                  </a:cubicBezTo>
                  <a:cubicBezTo>
                    <a:pt x="139" y="713"/>
                    <a:pt x="145" y="713"/>
                    <a:pt x="145" y="713"/>
                  </a:cubicBezTo>
                  <a:cubicBezTo>
                    <a:pt x="148" y="710"/>
                    <a:pt x="148" y="710"/>
                    <a:pt x="148" y="710"/>
                  </a:cubicBezTo>
                  <a:cubicBezTo>
                    <a:pt x="148" y="704"/>
                    <a:pt x="148" y="704"/>
                    <a:pt x="148" y="704"/>
                  </a:cubicBezTo>
                  <a:cubicBezTo>
                    <a:pt x="151" y="700"/>
                    <a:pt x="151" y="700"/>
                    <a:pt x="151" y="700"/>
                  </a:cubicBezTo>
                  <a:cubicBezTo>
                    <a:pt x="157" y="699"/>
                    <a:pt x="157" y="699"/>
                    <a:pt x="157" y="699"/>
                  </a:cubicBezTo>
                  <a:cubicBezTo>
                    <a:pt x="157" y="699"/>
                    <a:pt x="168" y="699"/>
                    <a:pt x="169" y="700"/>
                  </a:cubicBezTo>
                  <a:cubicBezTo>
                    <a:pt x="170" y="700"/>
                    <a:pt x="175" y="700"/>
                    <a:pt x="176" y="700"/>
                  </a:cubicBezTo>
                  <a:cubicBezTo>
                    <a:pt x="177" y="700"/>
                    <a:pt x="183" y="700"/>
                    <a:pt x="183" y="700"/>
                  </a:cubicBezTo>
                  <a:cubicBezTo>
                    <a:pt x="185" y="696"/>
                    <a:pt x="185" y="696"/>
                    <a:pt x="185" y="696"/>
                  </a:cubicBezTo>
                  <a:cubicBezTo>
                    <a:pt x="177" y="694"/>
                    <a:pt x="177" y="694"/>
                    <a:pt x="177" y="694"/>
                  </a:cubicBezTo>
                  <a:cubicBezTo>
                    <a:pt x="171" y="693"/>
                    <a:pt x="171" y="693"/>
                    <a:pt x="171" y="693"/>
                  </a:cubicBezTo>
                  <a:cubicBezTo>
                    <a:pt x="168" y="688"/>
                    <a:pt x="168" y="688"/>
                    <a:pt x="168" y="688"/>
                  </a:cubicBezTo>
                  <a:cubicBezTo>
                    <a:pt x="162" y="688"/>
                    <a:pt x="162" y="688"/>
                    <a:pt x="162" y="688"/>
                  </a:cubicBezTo>
                  <a:cubicBezTo>
                    <a:pt x="154" y="690"/>
                    <a:pt x="154" y="690"/>
                    <a:pt x="154" y="690"/>
                  </a:cubicBezTo>
                  <a:cubicBezTo>
                    <a:pt x="149" y="691"/>
                    <a:pt x="149" y="691"/>
                    <a:pt x="149" y="691"/>
                  </a:cubicBezTo>
                  <a:cubicBezTo>
                    <a:pt x="142" y="690"/>
                    <a:pt x="142" y="690"/>
                    <a:pt x="142" y="690"/>
                  </a:cubicBezTo>
                  <a:cubicBezTo>
                    <a:pt x="140" y="687"/>
                    <a:pt x="140" y="687"/>
                    <a:pt x="140" y="687"/>
                  </a:cubicBezTo>
                  <a:cubicBezTo>
                    <a:pt x="140" y="687"/>
                    <a:pt x="135" y="686"/>
                    <a:pt x="134" y="686"/>
                  </a:cubicBezTo>
                  <a:cubicBezTo>
                    <a:pt x="133" y="686"/>
                    <a:pt x="132" y="686"/>
                    <a:pt x="131" y="685"/>
                  </a:cubicBezTo>
                  <a:cubicBezTo>
                    <a:pt x="129" y="685"/>
                    <a:pt x="126" y="678"/>
                    <a:pt x="126" y="678"/>
                  </a:cubicBezTo>
                  <a:cubicBezTo>
                    <a:pt x="126" y="674"/>
                    <a:pt x="126" y="674"/>
                    <a:pt x="126" y="674"/>
                  </a:cubicBezTo>
                  <a:cubicBezTo>
                    <a:pt x="129" y="678"/>
                    <a:pt x="129" y="678"/>
                    <a:pt x="129" y="678"/>
                  </a:cubicBezTo>
                  <a:cubicBezTo>
                    <a:pt x="129" y="678"/>
                    <a:pt x="131" y="679"/>
                    <a:pt x="131" y="678"/>
                  </a:cubicBezTo>
                  <a:cubicBezTo>
                    <a:pt x="131" y="677"/>
                    <a:pt x="130" y="671"/>
                    <a:pt x="130" y="671"/>
                  </a:cubicBezTo>
                  <a:cubicBezTo>
                    <a:pt x="130" y="671"/>
                    <a:pt x="131" y="665"/>
                    <a:pt x="128" y="666"/>
                  </a:cubicBezTo>
                  <a:cubicBezTo>
                    <a:pt x="125" y="667"/>
                    <a:pt x="122" y="669"/>
                    <a:pt x="122" y="671"/>
                  </a:cubicBezTo>
                  <a:cubicBezTo>
                    <a:pt x="122" y="672"/>
                    <a:pt x="120" y="675"/>
                    <a:pt x="120" y="677"/>
                  </a:cubicBezTo>
                  <a:cubicBezTo>
                    <a:pt x="119" y="678"/>
                    <a:pt x="118" y="679"/>
                    <a:pt x="117" y="680"/>
                  </a:cubicBezTo>
                  <a:cubicBezTo>
                    <a:pt x="116" y="681"/>
                    <a:pt x="111" y="682"/>
                    <a:pt x="111" y="682"/>
                  </a:cubicBezTo>
                  <a:cubicBezTo>
                    <a:pt x="107" y="682"/>
                    <a:pt x="107" y="682"/>
                    <a:pt x="107" y="682"/>
                  </a:cubicBezTo>
                  <a:cubicBezTo>
                    <a:pt x="110" y="678"/>
                    <a:pt x="110" y="678"/>
                    <a:pt x="110" y="678"/>
                  </a:cubicBezTo>
                  <a:cubicBezTo>
                    <a:pt x="112" y="673"/>
                    <a:pt x="112" y="673"/>
                    <a:pt x="112" y="673"/>
                  </a:cubicBezTo>
                  <a:cubicBezTo>
                    <a:pt x="112" y="673"/>
                    <a:pt x="117" y="664"/>
                    <a:pt x="117" y="662"/>
                  </a:cubicBezTo>
                  <a:cubicBezTo>
                    <a:pt x="118" y="659"/>
                    <a:pt x="119" y="657"/>
                    <a:pt x="120" y="654"/>
                  </a:cubicBezTo>
                  <a:cubicBezTo>
                    <a:pt x="121" y="652"/>
                    <a:pt x="124" y="651"/>
                    <a:pt x="124" y="651"/>
                  </a:cubicBezTo>
                  <a:cubicBezTo>
                    <a:pt x="127" y="641"/>
                    <a:pt x="127" y="641"/>
                    <a:pt x="127" y="641"/>
                  </a:cubicBezTo>
                  <a:cubicBezTo>
                    <a:pt x="140" y="615"/>
                    <a:pt x="140" y="615"/>
                    <a:pt x="140" y="615"/>
                  </a:cubicBezTo>
                  <a:cubicBezTo>
                    <a:pt x="140" y="615"/>
                    <a:pt x="142" y="607"/>
                    <a:pt x="143" y="606"/>
                  </a:cubicBezTo>
                  <a:cubicBezTo>
                    <a:pt x="143" y="604"/>
                    <a:pt x="146" y="598"/>
                    <a:pt x="146" y="596"/>
                  </a:cubicBezTo>
                  <a:cubicBezTo>
                    <a:pt x="146" y="594"/>
                    <a:pt x="149" y="587"/>
                    <a:pt x="149" y="587"/>
                  </a:cubicBezTo>
                  <a:cubicBezTo>
                    <a:pt x="149" y="587"/>
                    <a:pt x="152" y="576"/>
                    <a:pt x="152" y="574"/>
                  </a:cubicBezTo>
                  <a:cubicBezTo>
                    <a:pt x="152" y="572"/>
                    <a:pt x="154" y="571"/>
                    <a:pt x="156" y="570"/>
                  </a:cubicBezTo>
                  <a:cubicBezTo>
                    <a:pt x="157" y="569"/>
                    <a:pt x="160" y="560"/>
                    <a:pt x="160" y="558"/>
                  </a:cubicBezTo>
                  <a:cubicBezTo>
                    <a:pt x="161" y="556"/>
                    <a:pt x="163" y="538"/>
                    <a:pt x="163" y="538"/>
                  </a:cubicBezTo>
                  <a:cubicBezTo>
                    <a:pt x="161" y="526"/>
                    <a:pt x="161" y="526"/>
                    <a:pt x="161" y="526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49" y="518"/>
                    <a:pt x="149" y="518"/>
                    <a:pt x="149" y="518"/>
                  </a:cubicBezTo>
                  <a:cubicBezTo>
                    <a:pt x="149" y="518"/>
                    <a:pt x="142" y="514"/>
                    <a:pt x="141" y="513"/>
                  </a:cubicBezTo>
                  <a:cubicBezTo>
                    <a:pt x="140" y="512"/>
                    <a:pt x="136" y="510"/>
                    <a:pt x="135" y="510"/>
                  </a:cubicBezTo>
                  <a:cubicBezTo>
                    <a:pt x="133" y="509"/>
                    <a:pt x="128" y="508"/>
                    <a:pt x="127" y="508"/>
                  </a:cubicBezTo>
                  <a:cubicBezTo>
                    <a:pt x="126" y="508"/>
                    <a:pt x="122" y="505"/>
                    <a:pt x="119" y="503"/>
                  </a:cubicBezTo>
                  <a:cubicBezTo>
                    <a:pt x="116" y="501"/>
                    <a:pt x="112" y="496"/>
                    <a:pt x="112" y="496"/>
                  </a:cubicBezTo>
                  <a:cubicBezTo>
                    <a:pt x="117" y="488"/>
                    <a:pt x="117" y="488"/>
                    <a:pt x="117" y="488"/>
                  </a:cubicBezTo>
                  <a:cubicBezTo>
                    <a:pt x="117" y="488"/>
                    <a:pt x="118" y="482"/>
                    <a:pt x="118" y="480"/>
                  </a:cubicBezTo>
                  <a:cubicBezTo>
                    <a:pt x="118" y="479"/>
                    <a:pt x="118" y="476"/>
                    <a:pt x="118" y="476"/>
                  </a:cubicBezTo>
                  <a:cubicBezTo>
                    <a:pt x="116" y="472"/>
                    <a:pt x="116" y="472"/>
                    <a:pt x="116" y="472"/>
                  </a:cubicBezTo>
                  <a:cubicBezTo>
                    <a:pt x="113" y="467"/>
                    <a:pt x="113" y="467"/>
                    <a:pt x="113" y="467"/>
                  </a:cubicBezTo>
                  <a:cubicBezTo>
                    <a:pt x="113" y="467"/>
                    <a:pt x="109" y="466"/>
                    <a:pt x="107" y="466"/>
                  </a:cubicBezTo>
                  <a:cubicBezTo>
                    <a:pt x="106" y="467"/>
                    <a:pt x="106" y="464"/>
                    <a:pt x="105" y="462"/>
                  </a:cubicBezTo>
                  <a:cubicBezTo>
                    <a:pt x="105" y="460"/>
                    <a:pt x="103" y="460"/>
                    <a:pt x="101" y="459"/>
                  </a:cubicBezTo>
                  <a:cubicBezTo>
                    <a:pt x="98" y="457"/>
                    <a:pt x="97" y="454"/>
                    <a:pt x="97" y="454"/>
                  </a:cubicBezTo>
                  <a:cubicBezTo>
                    <a:pt x="100" y="448"/>
                    <a:pt x="100" y="448"/>
                    <a:pt x="100" y="448"/>
                  </a:cubicBezTo>
                  <a:cubicBezTo>
                    <a:pt x="100" y="448"/>
                    <a:pt x="99" y="445"/>
                    <a:pt x="98" y="444"/>
                  </a:cubicBezTo>
                  <a:cubicBezTo>
                    <a:pt x="98" y="443"/>
                    <a:pt x="94" y="443"/>
                    <a:pt x="94" y="443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2" y="434"/>
                    <a:pt x="82" y="434"/>
                    <a:pt x="82" y="434"/>
                  </a:cubicBezTo>
                  <a:cubicBezTo>
                    <a:pt x="82" y="434"/>
                    <a:pt x="83" y="427"/>
                    <a:pt x="84" y="426"/>
                  </a:cubicBezTo>
                  <a:cubicBezTo>
                    <a:pt x="85" y="424"/>
                    <a:pt x="84" y="423"/>
                    <a:pt x="84" y="423"/>
                  </a:cubicBezTo>
                  <a:cubicBezTo>
                    <a:pt x="79" y="421"/>
                    <a:pt x="79" y="421"/>
                    <a:pt x="79" y="421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78" y="411"/>
                    <a:pt x="78" y="411"/>
                    <a:pt x="78" y="411"/>
                  </a:cubicBezTo>
                  <a:cubicBezTo>
                    <a:pt x="79" y="407"/>
                    <a:pt x="79" y="407"/>
                    <a:pt x="79" y="407"/>
                  </a:cubicBezTo>
                  <a:cubicBezTo>
                    <a:pt x="76" y="403"/>
                    <a:pt x="76" y="403"/>
                    <a:pt x="76" y="403"/>
                  </a:cubicBezTo>
                  <a:cubicBezTo>
                    <a:pt x="76" y="400"/>
                    <a:pt x="76" y="400"/>
                    <a:pt x="76" y="400"/>
                  </a:cubicBezTo>
                  <a:cubicBezTo>
                    <a:pt x="79" y="395"/>
                    <a:pt x="79" y="395"/>
                    <a:pt x="79" y="395"/>
                  </a:cubicBezTo>
                  <a:cubicBezTo>
                    <a:pt x="80" y="390"/>
                    <a:pt x="80" y="390"/>
                    <a:pt x="80" y="390"/>
                  </a:cubicBezTo>
                  <a:cubicBezTo>
                    <a:pt x="76" y="383"/>
                    <a:pt x="76" y="383"/>
                    <a:pt x="76" y="383"/>
                  </a:cubicBezTo>
                  <a:cubicBezTo>
                    <a:pt x="76" y="383"/>
                    <a:pt x="73" y="378"/>
                    <a:pt x="73" y="377"/>
                  </a:cubicBezTo>
                  <a:cubicBezTo>
                    <a:pt x="73" y="376"/>
                    <a:pt x="65" y="371"/>
                    <a:pt x="65" y="371"/>
                  </a:cubicBezTo>
                  <a:cubicBezTo>
                    <a:pt x="62" y="364"/>
                    <a:pt x="62" y="364"/>
                    <a:pt x="62" y="364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4"/>
                    <a:pt x="44" y="344"/>
                    <a:pt x="44" y="344"/>
                  </a:cubicBezTo>
                  <a:cubicBezTo>
                    <a:pt x="41" y="337"/>
                    <a:pt x="41" y="337"/>
                    <a:pt x="41" y="337"/>
                  </a:cubicBezTo>
                  <a:cubicBezTo>
                    <a:pt x="41" y="337"/>
                    <a:pt x="43" y="329"/>
                    <a:pt x="43" y="328"/>
                  </a:cubicBezTo>
                  <a:cubicBezTo>
                    <a:pt x="43" y="326"/>
                    <a:pt x="46" y="319"/>
                    <a:pt x="46" y="314"/>
                  </a:cubicBezTo>
                  <a:cubicBezTo>
                    <a:pt x="45" y="310"/>
                    <a:pt x="48" y="305"/>
                    <a:pt x="48" y="305"/>
                  </a:cubicBezTo>
                  <a:cubicBezTo>
                    <a:pt x="49" y="296"/>
                    <a:pt x="49" y="296"/>
                    <a:pt x="49" y="296"/>
                  </a:cubicBezTo>
                  <a:cubicBezTo>
                    <a:pt x="46" y="293"/>
                    <a:pt x="46" y="293"/>
                    <a:pt x="46" y="293"/>
                  </a:cubicBezTo>
                  <a:cubicBezTo>
                    <a:pt x="40" y="289"/>
                    <a:pt x="40" y="289"/>
                    <a:pt x="40" y="289"/>
                  </a:cubicBezTo>
                  <a:cubicBezTo>
                    <a:pt x="36" y="284"/>
                    <a:pt x="36" y="284"/>
                    <a:pt x="36" y="284"/>
                  </a:cubicBezTo>
                  <a:cubicBezTo>
                    <a:pt x="36" y="284"/>
                    <a:pt x="34" y="278"/>
                    <a:pt x="27" y="276"/>
                  </a:cubicBezTo>
                  <a:cubicBezTo>
                    <a:pt x="20" y="275"/>
                    <a:pt x="19" y="276"/>
                    <a:pt x="19" y="276"/>
                  </a:cubicBezTo>
                  <a:cubicBezTo>
                    <a:pt x="12" y="272"/>
                    <a:pt x="12" y="272"/>
                    <a:pt x="12" y="272"/>
                  </a:cubicBezTo>
                  <a:cubicBezTo>
                    <a:pt x="7" y="264"/>
                    <a:pt x="7" y="264"/>
                    <a:pt x="7" y="264"/>
                  </a:cubicBezTo>
                  <a:cubicBezTo>
                    <a:pt x="3" y="258"/>
                    <a:pt x="3" y="258"/>
                    <a:pt x="3" y="258"/>
                  </a:cubicBezTo>
                  <a:cubicBezTo>
                    <a:pt x="6" y="254"/>
                    <a:pt x="6" y="254"/>
                    <a:pt x="6" y="254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7" y="244"/>
                    <a:pt x="7" y="244"/>
                    <a:pt x="7" y="244"/>
                  </a:cubicBezTo>
                  <a:cubicBezTo>
                    <a:pt x="7" y="239"/>
                    <a:pt x="7" y="239"/>
                    <a:pt x="7" y="239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6" y="230"/>
                    <a:pt x="7" y="229"/>
                    <a:pt x="8" y="229"/>
                  </a:cubicBezTo>
                  <a:cubicBezTo>
                    <a:pt x="8" y="229"/>
                    <a:pt x="8" y="228"/>
                    <a:pt x="8" y="228"/>
                  </a:cubicBezTo>
                  <a:cubicBezTo>
                    <a:pt x="9" y="228"/>
                    <a:pt x="10" y="228"/>
                    <a:pt x="12" y="228"/>
                  </a:cubicBezTo>
                  <a:cubicBezTo>
                    <a:pt x="12" y="228"/>
                    <a:pt x="14" y="219"/>
                    <a:pt x="13" y="216"/>
                  </a:cubicBezTo>
                  <a:cubicBezTo>
                    <a:pt x="12" y="212"/>
                    <a:pt x="17" y="208"/>
                    <a:pt x="17" y="208"/>
                  </a:cubicBezTo>
                  <a:cubicBezTo>
                    <a:pt x="24" y="201"/>
                    <a:pt x="24" y="201"/>
                    <a:pt x="24" y="201"/>
                  </a:cubicBezTo>
                  <a:cubicBezTo>
                    <a:pt x="23" y="193"/>
                    <a:pt x="23" y="193"/>
                    <a:pt x="23" y="193"/>
                  </a:cubicBezTo>
                  <a:cubicBezTo>
                    <a:pt x="31" y="194"/>
                    <a:pt x="31" y="194"/>
                    <a:pt x="31" y="194"/>
                  </a:cubicBezTo>
                  <a:cubicBezTo>
                    <a:pt x="31" y="194"/>
                    <a:pt x="37" y="191"/>
                    <a:pt x="35" y="187"/>
                  </a:cubicBezTo>
                  <a:cubicBezTo>
                    <a:pt x="34" y="185"/>
                    <a:pt x="33" y="182"/>
                    <a:pt x="32" y="180"/>
                  </a:cubicBezTo>
                  <a:cubicBezTo>
                    <a:pt x="33" y="179"/>
                    <a:pt x="33" y="179"/>
                    <a:pt x="33" y="178"/>
                  </a:cubicBezTo>
                  <a:cubicBezTo>
                    <a:pt x="33" y="178"/>
                    <a:pt x="35" y="175"/>
                    <a:pt x="35" y="175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41" y="176"/>
                    <a:pt x="43" y="177"/>
                    <a:pt x="44" y="177"/>
                  </a:cubicBezTo>
                  <a:cubicBezTo>
                    <a:pt x="46" y="177"/>
                    <a:pt x="49" y="175"/>
                    <a:pt x="49" y="175"/>
                  </a:cubicBezTo>
                  <a:cubicBezTo>
                    <a:pt x="46" y="171"/>
                    <a:pt x="46" y="171"/>
                    <a:pt x="46" y="171"/>
                  </a:cubicBezTo>
                  <a:cubicBezTo>
                    <a:pt x="47" y="167"/>
                    <a:pt x="47" y="167"/>
                    <a:pt x="47" y="167"/>
                  </a:cubicBezTo>
                  <a:cubicBezTo>
                    <a:pt x="51" y="167"/>
                    <a:pt x="51" y="167"/>
                    <a:pt x="51" y="167"/>
                  </a:cubicBezTo>
                  <a:cubicBezTo>
                    <a:pt x="53" y="167"/>
                    <a:pt x="53" y="167"/>
                    <a:pt x="53" y="167"/>
                  </a:cubicBezTo>
                  <a:cubicBezTo>
                    <a:pt x="49" y="161"/>
                    <a:pt x="49" y="161"/>
                    <a:pt x="49" y="161"/>
                  </a:cubicBezTo>
                  <a:cubicBezTo>
                    <a:pt x="49" y="161"/>
                    <a:pt x="50" y="158"/>
                    <a:pt x="52" y="159"/>
                  </a:cubicBezTo>
                  <a:cubicBezTo>
                    <a:pt x="53" y="159"/>
                    <a:pt x="54" y="161"/>
                    <a:pt x="55" y="161"/>
                  </a:cubicBezTo>
                  <a:cubicBezTo>
                    <a:pt x="56" y="161"/>
                    <a:pt x="59" y="162"/>
                    <a:pt x="59" y="162"/>
                  </a:cubicBezTo>
                  <a:cubicBezTo>
                    <a:pt x="63" y="163"/>
                    <a:pt x="63" y="163"/>
                    <a:pt x="63" y="163"/>
                  </a:cubicBezTo>
                  <a:cubicBezTo>
                    <a:pt x="67" y="163"/>
                    <a:pt x="67" y="163"/>
                    <a:pt x="6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4" y="166"/>
                    <a:pt x="74" y="166"/>
                    <a:pt x="74" y="166"/>
                  </a:cubicBezTo>
                  <a:cubicBezTo>
                    <a:pt x="74" y="166"/>
                    <a:pt x="75" y="168"/>
                    <a:pt x="74" y="169"/>
                  </a:cubicBezTo>
                  <a:cubicBezTo>
                    <a:pt x="74" y="170"/>
                    <a:pt x="73" y="173"/>
                    <a:pt x="73" y="173"/>
                  </a:cubicBezTo>
                  <a:cubicBezTo>
                    <a:pt x="72" y="173"/>
                    <a:pt x="71" y="173"/>
                    <a:pt x="70" y="174"/>
                  </a:cubicBezTo>
                  <a:cubicBezTo>
                    <a:pt x="69" y="174"/>
                    <a:pt x="64" y="174"/>
                    <a:pt x="64" y="174"/>
                  </a:cubicBezTo>
                  <a:cubicBezTo>
                    <a:pt x="60" y="174"/>
                    <a:pt x="60" y="174"/>
                    <a:pt x="60" y="174"/>
                  </a:cubicBezTo>
                  <a:cubicBezTo>
                    <a:pt x="57" y="174"/>
                    <a:pt x="57" y="174"/>
                    <a:pt x="57" y="174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6" y="176"/>
                    <a:pt x="59" y="177"/>
                    <a:pt x="60" y="178"/>
                  </a:cubicBezTo>
                  <a:cubicBezTo>
                    <a:pt x="62" y="178"/>
                    <a:pt x="62" y="178"/>
                    <a:pt x="62" y="178"/>
                  </a:cubicBezTo>
                  <a:cubicBezTo>
                    <a:pt x="63" y="179"/>
                    <a:pt x="65" y="181"/>
                    <a:pt x="65" y="181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64" y="184"/>
                    <a:pt x="67" y="180"/>
                    <a:pt x="67" y="180"/>
                  </a:cubicBezTo>
                  <a:cubicBezTo>
                    <a:pt x="68" y="180"/>
                    <a:pt x="73" y="180"/>
                    <a:pt x="73" y="180"/>
                  </a:cubicBezTo>
                  <a:cubicBezTo>
                    <a:pt x="73" y="180"/>
                    <a:pt x="77" y="178"/>
                    <a:pt x="78" y="178"/>
                  </a:cubicBezTo>
                  <a:cubicBezTo>
                    <a:pt x="78" y="178"/>
                    <a:pt x="77" y="181"/>
                    <a:pt x="77" y="181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85" y="177"/>
                    <a:pt x="85" y="177"/>
                    <a:pt x="85" y="177"/>
                  </a:cubicBezTo>
                  <a:cubicBezTo>
                    <a:pt x="87" y="177"/>
                    <a:pt x="87" y="177"/>
                    <a:pt x="87" y="177"/>
                  </a:cubicBezTo>
                  <a:cubicBezTo>
                    <a:pt x="87" y="177"/>
                    <a:pt x="88" y="180"/>
                    <a:pt x="88" y="181"/>
                  </a:cubicBezTo>
                  <a:cubicBezTo>
                    <a:pt x="87" y="182"/>
                    <a:pt x="87" y="182"/>
                    <a:pt x="87" y="184"/>
                  </a:cubicBezTo>
                  <a:cubicBezTo>
                    <a:pt x="87" y="185"/>
                    <a:pt x="86" y="186"/>
                    <a:pt x="87" y="187"/>
                  </a:cubicBezTo>
                  <a:cubicBezTo>
                    <a:pt x="87" y="187"/>
                    <a:pt x="87" y="188"/>
                    <a:pt x="88" y="188"/>
                  </a:cubicBezTo>
                  <a:cubicBezTo>
                    <a:pt x="89" y="189"/>
                    <a:pt x="90" y="188"/>
                    <a:pt x="90" y="188"/>
                  </a:cubicBezTo>
                  <a:cubicBezTo>
                    <a:pt x="92" y="183"/>
                    <a:pt x="92" y="183"/>
                    <a:pt x="92" y="183"/>
                  </a:cubicBezTo>
                  <a:cubicBezTo>
                    <a:pt x="92" y="183"/>
                    <a:pt x="94" y="181"/>
                    <a:pt x="94" y="181"/>
                  </a:cubicBezTo>
                  <a:cubicBezTo>
                    <a:pt x="95" y="181"/>
                    <a:pt x="98" y="179"/>
                    <a:pt x="98" y="179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3" y="179"/>
                    <a:pt x="108" y="178"/>
                    <a:pt x="109" y="178"/>
                  </a:cubicBezTo>
                  <a:cubicBezTo>
                    <a:pt x="109" y="179"/>
                    <a:pt x="111" y="179"/>
                    <a:pt x="112" y="179"/>
                  </a:cubicBezTo>
                  <a:cubicBezTo>
                    <a:pt x="114" y="179"/>
                    <a:pt x="115" y="179"/>
                    <a:pt x="117" y="179"/>
                  </a:cubicBezTo>
                  <a:cubicBezTo>
                    <a:pt x="118" y="179"/>
                    <a:pt x="119" y="179"/>
                    <a:pt x="119" y="179"/>
                  </a:cubicBezTo>
                  <a:cubicBezTo>
                    <a:pt x="119" y="179"/>
                    <a:pt x="121" y="177"/>
                    <a:pt x="121" y="177"/>
                  </a:cubicBezTo>
                  <a:cubicBezTo>
                    <a:pt x="121" y="176"/>
                    <a:pt x="121" y="175"/>
                    <a:pt x="121" y="175"/>
                  </a:cubicBezTo>
                  <a:cubicBezTo>
                    <a:pt x="122" y="174"/>
                    <a:pt x="123" y="172"/>
                    <a:pt x="124" y="172"/>
                  </a:cubicBezTo>
                  <a:cubicBezTo>
                    <a:pt x="125" y="172"/>
                    <a:pt x="140" y="174"/>
                    <a:pt x="140" y="174"/>
                  </a:cubicBezTo>
                  <a:cubicBezTo>
                    <a:pt x="153" y="178"/>
                    <a:pt x="153" y="178"/>
                    <a:pt x="153" y="178"/>
                  </a:cubicBezTo>
                  <a:cubicBezTo>
                    <a:pt x="162" y="180"/>
                    <a:pt x="162" y="180"/>
                    <a:pt x="162" y="180"/>
                  </a:cubicBezTo>
                  <a:cubicBezTo>
                    <a:pt x="162" y="180"/>
                    <a:pt x="169" y="184"/>
                    <a:pt x="170" y="184"/>
                  </a:cubicBezTo>
                  <a:cubicBezTo>
                    <a:pt x="171" y="185"/>
                    <a:pt x="184" y="187"/>
                    <a:pt x="184" y="187"/>
                  </a:cubicBezTo>
                  <a:cubicBezTo>
                    <a:pt x="190" y="191"/>
                    <a:pt x="190" y="191"/>
                    <a:pt x="190" y="191"/>
                  </a:cubicBezTo>
                  <a:cubicBezTo>
                    <a:pt x="190" y="191"/>
                    <a:pt x="196" y="193"/>
                    <a:pt x="196" y="194"/>
                  </a:cubicBezTo>
                  <a:cubicBezTo>
                    <a:pt x="196" y="195"/>
                    <a:pt x="200" y="197"/>
                    <a:pt x="200" y="197"/>
                  </a:cubicBezTo>
                  <a:cubicBezTo>
                    <a:pt x="204" y="195"/>
                    <a:pt x="204" y="195"/>
                    <a:pt x="204" y="195"/>
                  </a:cubicBezTo>
                  <a:cubicBezTo>
                    <a:pt x="204" y="195"/>
                    <a:pt x="209" y="196"/>
                    <a:pt x="209" y="196"/>
                  </a:cubicBezTo>
                  <a:cubicBezTo>
                    <a:pt x="210" y="197"/>
                    <a:pt x="220" y="200"/>
                    <a:pt x="220" y="200"/>
                  </a:cubicBezTo>
                  <a:cubicBezTo>
                    <a:pt x="220" y="200"/>
                    <a:pt x="227" y="202"/>
                    <a:pt x="228" y="202"/>
                  </a:cubicBezTo>
                  <a:cubicBezTo>
                    <a:pt x="229" y="202"/>
                    <a:pt x="233" y="201"/>
                    <a:pt x="233" y="201"/>
                  </a:cubicBezTo>
                  <a:cubicBezTo>
                    <a:pt x="233" y="198"/>
                    <a:pt x="233" y="198"/>
                    <a:pt x="233" y="198"/>
                  </a:cubicBezTo>
                  <a:cubicBezTo>
                    <a:pt x="233" y="198"/>
                    <a:pt x="232" y="196"/>
                    <a:pt x="234" y="197"/>
                  </a:cubicBezTo>
                  <a:cubicBezTo>
                    <a:pt x="236" y="197"/>
                    <a:pt x="237" y="197"/>
                    <a:pt x="238" y="198"/>
                  </a:cubicBezTo>
                  <a:cubicBezTo>
                    <a:pt x="238" y="199"/>
                    <a:pt x="240" y="199"/>
                    <a:pt x="241" y="200"/>
                  </a:cubicBezTo>
                  <a:cubicBezTo>
                    <a:pt x="242" y="202"/>
                    <a:pt x="246" y="203"/>
                    <a:pt x="246" y="203"/>
                  </a:cubicBezTo>
                  <a:cubicBezTo>
                    <a:pt x="251" y="205"/>
                    <a:pt x="251" y="205"/>
                    <a:pt x="251" y="205"/>
                  </a:cubicBezTo>
                  <a:cubicBezTo>
                    <a:pt x="252" y="208"/>
                    <a:pt x="252" y="208"/>
                    <a:pt x="252" y="208"/>
                  </a:cubicBezTo>
                  <a:cubicBezTo>
                    <a:pt x="253" y="209"/>
                    <a:pt x="253" y="209"/>
                    <a:pt x="253" y="209"/>
                  </a:cubicBezTo>
                  <a:cubicBezTo>
                    <a:pt x="254" y="207"/>
                    <a:pt x="254" y="207"/>
                    <a:pt x="254" y="207"/>
                  </a:cubicBezTo>
                  <a:cubicBezTo>
                    <a:pt x="255" y="206"/>
                    <a:pt x="256" y="206"/>
                    <a:pt x="256" y="206"/>
                  </a:cubicBezTo>
                  <a:cubicBezTo>
                    <a:pt x="258" y="207"/>
                    <a:pt x="258" y="207"/>
                    <a:pt x="258" y="207"/>
                  </a:cubicBezTo>
                  <a:cubicBezTo>
                    <a:pt x="258" y="207"/>
                    <a:pt x="260" y="207"/>
                    <a:pt x="260" y="207"/>
                  </a:cubicBezTo>
                  <a:cubicBezTo>
                    <a:pt x="261" y="207"/>
                    <a:pt x="264" y="206"/>
                    <a:pt x="264" y="206"/>
                  </a:cubicBezTo>
                  <a:cubicBezTo>
                    <a:pt x="264" y="207"/>
                    <a:pt x="266" y="209"/>
                    <a:pt x="267" y="209"/>
                  </a:cubicBezTo>
                  <a:cubicBezTo>
                    <a:pt x="267" y="210"/>
                    <a:pt x="269" y="213"/>
                    <a:pt x="269" y="213"/>
                  </a:cubicBezTo>
                  <a:cubicBezTo>
                    <a:pt x="269" y="213"/>
                    <a:pt x="269" y="214"/>
                    <a:pt x="269" y="216"/>
                  </a:cubicBezTo>
                  <a:cubicBezTo>
                    <a:pt x="269" y="217"/>
                    <a:pt x="270" y="218"/>
                    <a:pt x="270" y="218"/>
                  </a:cubicBezTo>
                  <a:cubicBezTo>
                    <a:pt x="272" y="220"/>
                    <a:pt x="272" y="220"/>
                    <a:pt x="272" y="220"/>
                  </a:cubicBezTo>
                  <a:cubicBezTo>
                    <a:pt x="277" y="228"/>
                    <a:pt x="277" y="228"/>
                    <a:pt x="277" y="228"/>
                  </a:cubicBezTo>
                  <a:cubicBezTo>
                    <a:pt x="279" y="230"/>
                    <a:pt x="279" y="230"/>
                    <a:pt x="279" y="230"/>
                  </a:cubicBezTo>
                  <a:cubicBezTo>
                    <a:pt x="281" y="228"/>
                    <a:pt x="281" y="228"/>
                    <a:pt x="281" y="228"/>
                  </a:cubicBezTo>
                  <a:cubicBezTo>
                    <a:pt x="284" y="228"/>
                    <a:pt x="284" y="228"/>
                    <a:pt x="284" y="228"/>
                  </a:cubicBezTo>
                  <a:cubicBezTo>
                    <a:pt x="287" y="235"/>
                    <a:pt x="287" y="235"/>
                    <a:pt x="287" y="235"/>
                  </a:cubicBezTo>
                  <a:cubicBezTo>
                    <a:pt x="290" y="244"/>
                    <a:pt x="290" y="244"/>
                    <a:pt x="290" y="244"/>
                  </a:cubicBezTo>
                  <a:cubicBezTo>
                    <a:pt x="288" y="256"/>
                    <a:pt x="288" y="256"/>
                    <a:pt x="288" y="256"/>
                  </a:cubicBezTo>
                  <a:cubicBezTo>
                    <a:pt x="288" y="264"/>
                    <a:pt x="288" y="264"/>
                    <a:pt x="288" y="264"/>
                  </a:cubicBezTo>
                  <a:cubicBezTo>
                    <a:pt x="288" y="264"/>
                    <a:pt x="286" y="270"/>
                    <a:pt x="286" y="271"/>
                  </a:cubicBezTo>
                  <a:cubicBezTo>
                    <a:pt x="286" y="273"/>
                    <a:pt x="281" y="280"/>
                    <a:pt x="281" y="280"/>
                  </a:cubicBezTo>
                  <a:cubicBezTo>
                    <a:pt x="281" y="280"/>
                    <a:pt x="278" y="286"/>
                    <a:pt x="277" y="287"/>
                  </a:cubicBezTo>
                  <a:cubicBezTo>
                    <a:pt x="276" y="289"/>
                    <a:pt x="272" y="297"/>
                    <a:pt x="272" y="297"/>
                  </a:cubicBezTo>
                  <a:cubicBezTo>
                    <a:pt x="260" y="309"/>
                    <a:pt x="260" y="309"/>
                    <a:pt x="260" y="309"/>
                  </a:cubicBezTo>
                  <a:cubicBezTo>
                    <a:pt x="260" y="309"/>
                    <a:pt x="254" y="312"/>
                    <a:pt x="252" y="313"/>
                  </a:cubicBezTo>
                  <a:cubicBezTo>
                    <a:pt x="251" y="315"/>
                    <a:pt x="241" y="316"/>
                    <a:pt x="241" y="316"/>
                  </a:cubicBezTo>
                  <a:cubicBezTo>
                    <a:pt x="233" y="316"/>
                    <a:pt x="233" y="316"/>
                    <a:pt x="233" y="316"/>
                  </a:cubicBezTo>
                  <a:cubicBezTo>
                    <a:pt x="221" y="313"/>
                    <a:pt x="221" y="313"/>
                    <a:pt x="221" y="313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05" y="318"/>
                    <a:pt x="205" y="318"/>
                    <a:pt x="205" y="318"/>
                  </a:cubicBezTo>
                  <a:cubicBezTo>
                    <a:pt x="197" y="318"/>
                    <a:pt x="197" y="318"/>
                    <a:pt x="197" y="318"/>
                  </a:cubicBezTo>
                  <a:cubicBezTo>
                    <a:pt x="187" y="320"/>
                    <a:pt x="187" y="320"/>
                    <a:pt x="187" y="320"/>
                  </a:cubicBezTo>
                  <a:cubicBezTo>
                    <a:pt x="187" y="320"/>
                    <a:pt x="185" y="320"/>
                    <a:pt x="183" y="320"/>
                  </a:cubicBezTo>
                  <a:cubicBezTo>
                    <a:pt x="182" y="320"/>
                    <a:pt x="176" y="318"/>
                    <a:pt x="176" y="318"/>
                  </a:cubicBezTo>
                  <a:cubicBezTo>
                    <a:pt x="169" y="316"/>
                    <a:pt x="169" y="316"/>
                    <a:pt x="169" y="316"/>
                  </a:cubicBezTo>
                  <a:cubicBezTo>
                    <a:pt x="164" y="316"/>
                    <a:pt x="164" y="316"/>
                    <a:pt x="164" y="316"/>
                  </a:cubicBezTo>
                  <a:cubicBezTo>
                    <a:pt x="163" y="320"/>
                    <a:pt x="163" y="320"/>
                    <a:pt x="163" y="320"/>
                  </a:cubicBezTo>
                  <a:cubicBezTo>
                    <a:pt x="163" y="320"/>
                    <a:pt x="163" y="320"/>
                    <a:pt x="161" y="320"/>
                  </a:cubicBezTo>
                  <a:cubicBezTo>
                    <a:pt x="159" y="320"/>
                    <a:pt x="157" y="320"/>
                    <a:pt x="157" y="320"/>
                  </a:cubicBezTo>
                  <a:cubicBezTo>
                    <a:pt x="157" y="316"/>
                    <a:pt x="157" y="316"/>
                    <a:pt x="157" y="316"/>
                  </a:cubicBezTo>
                  <a:cubicBezTo>
                    <a:pt x="150" y="316"/>
                    <a:pt x="150" y="316"/>
                    <a:pt x="150" y="316"/>
                  </a:cubicBezTo>
                  <a:cubicBezTo>
                    <a:pt x="150" y="316"/>
                    <a:pt x="147" y="317"/>
                    <a:pt x="145" y="317"/>
                  </a:cubicBezTo>
                  <a:cubicBezTo>
                    <a:pt x="142" y="317"/>
                    <a:pt x="139" y="314"/>
                    <a:pt x="138" y="314"/>
                  </a:cubicBezTo>
                  <a:cubicBezTo>
                    <a:pt x="137" y="314"/>
                    <a:pt x="137" y="315"/>
                    <a:pt x="137" y="315"/>
                  </a:cubicBezTo>
                  <a:cubicBezTo>
                    <a:pt x="137" y="318"/>
                    <a:pt x="137" y="318"/>
                    <a:pt x="137" y="318"/>
                  </a:cubicBezTo>
                  <a:cubicBezTo>
                    <a:pt x="132" y="318"/>
                    <a:pt x="132" y="318"/>
                    <a:pt x="132" y="318"/>
                  </a:cubicBezTo>
                  <a:cubicBezTo>
                    <a:pt x="126" y="316"/>
                    <a:pt x="126" y="316"/>
                    <a:pt x="126" y="316"/>
                  </a:cubicBezTo>
                  <a:cubicBezTo>
                    <a:pt x="121" y="312"/>
                    <a:pt x="121" y="312"/>
                    <a:pt x="121" y="312"/>
                  </a:cubicBezTo>
                  <a:cubicBezTo>
                    <a:pt x="117" y="308"/>
                    <a:pt x="117" y="308"/>
                    <a:pt x="117" y="308"/>
                  </a:cubicBezTo>
                  <a:cubicBezTo>
                    <a:pt x="117" y="306"/>
                    <a:pt x="117" y="306"/>
                    <a:pt x="117" y="306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05" y="306"/>
                    <a:pt x="105" y="306"/>
                    <a:pt x="105" y="306"/>
                  </a:cubicBezTo>
                  <a:cubicBezTo>
                    <a:pt x="101" y="308"/>
                    <a:pt x="101" y="308"/>
                    <a:pt x="101" y="308"/>
                  </a:cubicBezTo>
                  <a:cubicBezTo>
                    <a:pt x="106" y="309"/>
                    <a:pt x="106" y="309"/>
                    <a:pt x="106" y="309"/>
                  </a:cubicBezTo>
                  <a:cubicBezTo>
                    <a:pt x="109" y="310"/>
                    <a:pt x="109" y="310"/>
                    <a:pt x="109" y="310"/>
                  </a:cubicBezTo>
                  <a:cubicBezTo>
                    <a:pt x="109" y="310"/>
                    <a:pt x="113" y="309"/>
                    <a:pt x="113" y="312"/>
                  </a:cubicBezTo>
                  <a:cubicBezTo>
                    <a:pt x="113" y="314"/>
                    <a:pt x="111" y="314"/>
                    <a:pt x="113" y="316"/>
                  </a:cubicBezTo>
                  <a:cubicBezTo>
                    <a:pt x="114" y="318"/>
                    <a:pt x="118" y="320"/>
                    <a:pt x="118" y="320"/>
                  </a:cubicBezTo>
                  <a:cubicBezTo>
                    <a:pt x="118" y="320"/>
                    <a:pt x="120" y="320"/>
                    <a:pt x="121" y="320"/>
                  </a:cubicBezTo>
                  <a:cubicBezTo>
                    <a:pt x="122" y="320"/>
                    <a:pt x="123" y="320"/>
                    <a:pt x="123" y="320"/>
                  </a:cubicBezTo>
                  <a:cubicBezTo>
                    <a:pt x="125" y="323"/>
                    <a:pt x="125" y="323"/>
                    <a:pt x="125" y="323"/>
                  </a:cubicBezTo>
                  <a:cubicBezTo>
                    <a:pt x="125" y="323"/>
                    <a:pt x="124" y="324"/>
                    <a:pt x="126" y="324"/>
                  </a:cubicBezTo>
                  <a:cubicBezTo>
                    <a:pt x="127" y="324"/>
                    <a:pt x="132" y="324"/>
                    <a:pt x="132" y="324"/>
                  </a:cubicBezTo>
                  <a:cubicBezTo>
                    <a:pt x="137" y="326"/>
                    <a:pt x="137" y="326"/>
                    <a:pt x="137" y="326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6" y="331"/>
                    <a:pt x="138" y="331"/>
                  </a:cubicBezTo>
                  <a:cubicBezTo>
                    <a:pt x="139" y="332"/>
                    <a:pt x="143" y="331"/>
                    <a:pt x="143" y="331"/>
                  </a:cubicBezTo>
                  <a:cubicBezTo>
                    <a:pt x="143" y="331"/>
                    <a:pt x="142" y="330"/>
                    <a:pt x="144" y="331"/>
                  </a:cubicBezTo>
                  <a:cubicBezTo>
                    <a:pt x="145" y="332"/>
                    <a:pt x="146" y="333"/>
                    <a:pt x="146" y="333"/>
                  </a:cubicBezTo>
                  <a:cubicBezTo>
                    <a:pt x="146" y="333"/>
                    <a:pt x="147" y="335"/>
                    <a:pt x="147" y="336"/>
                  </a:cubicBezTo>
                  <a:cubicBezTo>
                    <a:pt x="147" y="337"/>
                    <a:pt x="148" y="339"/>
                    <a:pt x="148" y="339"/>
                  </a:cubicBezTo>
                  <a:cubicBezTo>
                    <a:pt x="148" y="339"/>
                    <a:pt x="145" y="340"/>
                    <a:pt x="150" y="340"/>
                  </a:cubicBezTo>
                  <a:cubicBezTo>
                    <a:pt x="155" y="340"/>
                    <a:pt x="155" y="340"/>
                    <a:pt x="155" y="340"/>
                  </a:cubicBezTo>
                  <a:cubicBezTo>
                    <a:pt x="159" y="340"/>
                    <a:pt x="159" y="340"/>
                    <a:pt x="159" y="340"/>
                  </a:cubicBezTo>
                  <a:cubicBezTo>
                    <a:pt x="163" y="341"/>
                    <a:pt x="163" y="341"/>
                    <a:pt x="163" y="341"/>
                  </a:cubicBezTo>
                  <a:cubicBezTo>
                    <a:pt x="170" y="344"/>
                    <a:pt x="170" y="344"/>
                    <a:pt x="170" y="344"/>
                  </a:cubicBezTo>
                  <a:cubicBezTo>
                    <a:pt x="177" y="348"/>
                    <a:pt x="177" y="348"/>
                    <a:pt x="177" y="348"/>
                  </a:cubicBezTo>
                  <a:cubicBezTo>
                    <a:pt x="177" y="348"/>
                    <a:pt x="176" y="351"/>
                    <a:pt x="178" y="351"/>
                  </a:cubicBezTo>
                  <a:cubicBezTo>
                    <a:pt x="179" y="351"/>
                    <a:pt x="183" y="351"/>
                    <a:pt x="183" y="351"/>
                  </a:cubicBezTo>
                  <a:cubicBezTo>
                    <a:pt x="186" y="359"/>
                    <a:pt x="186" y="359"/>
                    <a:pt x="186" y="359"/>
                  </a:cubicBezTo>
                  <a:cubicBezTo>
                    <a:pt x="181" y="359"/>
                    <a:pt x="181" y="359"/>
                    <a:pt x="181" y="359"/>
                  </a:cubicBezTo>
                  <a:cubicBezTo>
                    <a:pt x="184" y="367"/>
                    <a:pt x="184" y="367"/>
                    <a:pt x="184" y="367"/>
                  </a:cubicBezTo>
                  <a:cubicBezTo>
                    <a:pt x="186" y="371"/>
                    <a:pt x="186" y="371"/>
                    <a:pt x="186" y="371"/>
                  </a:cubicBezTo>
                  <a:cubicBezTo>
                    <a:pt x="185" y="376"/>
                    <a:pt x="185" y="376"/>
                    <a:pt x="185" y="376"/>
                  </a:cubicBezTo>
                  <a:cubicBezTo>
                    <a:pt x="182" y="379"/>
                    <a:pt x="182" y="379"/>
                    <a:pt x="182" y="379"/>
                  </a:cubicBezTo>
                  <a:cubicBezTo>
                    <a:pt x="182" y="379"/>
                    <a:pt x="182" y="381"/>
                    <a:pt x="182" y="381"/>
                  </a:cubicBezTo>
                  <a:cubicBezTo>
                    <a:pt x="182" y="382"/>
                    <a:pt x="184" y="382"/>
                    <a:pt x="184" y="382"/>
                  </a:cubicBezTo>
                  <a:cubicBezTo>
                    <a:pt x="184" y="382"/>
                    <a:pt x="186" y="384"/>
                    <a:pt x="186" y="385"/>
                  </a:cubicBezTo>
                  <a:cubicBezTo>
                    <a:pt x="186" y="386"/>
                    <a:pt x="189" y="387"/>
                    <a:pt x="189" y="388"/>
                  </a:cubicBezTo>
                  <a:cubicBezTo>
                    <a:pt x="190" y="389"/>
                    <a:pt x="193" y="392"/>
                    <a:pt x="193" y="392"/>
                  </a:cubicBezTo>
                  <a:cubicBezTo>
                    <a:pt x="194" y="394"/>
                    <a:pt x="194" y="394"/>
                    <a:pt x="194" y="394"/>
                  </a:cubicBezTo>
                  <a:cubicBezTo>
                    <a:pt x="198" y="396"/>
                    <a:pt x="198" y="396"/>
                    <a:pt x="198" y="396"/>
                  </a:cubicBezTo>
                  <a:cubicBezTo>
                    <a:pt x="198" y="396"/>
                    <a:pt x="198" y="396"/>
                    <a:pt x="198" y="397"/>
                  </a:cubicBezTo>
                  <a:cubicBezTo>
                    <a:pt x="198" y="399"/>
                    <a:pt x="200" y="401"/>
                    <a:pt x="200" y="401"/>
                  </a:cubicBezTo>
                  <a:cubicBezTo>
                    <a:pt x="204" y="404"/>
                    <a:pt x="204" y="404"/>
                    <a:pt x="204" y="404"/>
                  </a:cubicBezTo>
                  <a:cubicBezTo>
                    <a:pt x="204" y="404"/>
                    <a:pt x="204" y="403"/>
                    <a:pt x="204" y="405"/>
                  </a:cubicBezTo>
                  <a:cubicBezTo>
                    <a:pt x="204" y="407"/>
                    <a:pt x="204" y="410"/>
                    <a:pt x="204" y="410"/>
                  </a:cubicBezTo>
                  <a:cubicBezTo>
                    <a:pt x="208" y="410"/>
                    <a:pt x="208" y="410"/>
                    <a:pt x="208" y="410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207" y="414"/>
                    <a:pt x="205" y="414"/>
                    <a:pt x="207" y="417"/>
                  </a:cubicBezTo>
                  <a:cubicBezTo>
                    <a:pt x="209" y="419"/>
                    <a:pt x="209" y="421"/>
                    <a:pt x="209" y="421"/>
                  </a:cubicBezTo>
                  <a:cubicBezTo>
                    <a:pt x="216" y="426"/>
                    <a:pt x="216" y="426"/>
                    <a:pt x="216" y="426"/>
                  </a:cubicBezTo>
                  <a:cubicBezTo>
                    <a:pt x="220" y="426"/>
                    <a:pt x="220" y="426"/>
                    <a:pt x="220" y="426"/>
                  </a:cubicBezTo>
                  <a:cubicBezTo>
                    <a:pt x="224" y="425"/>
                    <a:pt x="224" y="425"/>
                    <a:pt x="224" y="425"/>
                  </a:cubicBezTo>
                  <a:cubicBezTo>
                    <a:pt x="226" y="421"/>
                    <a:pt x="226" y="421"/>
                    <a:pt x="226" y="421"/>
                  </a:cubicBezTo>
                  <a:cubicBezTo>
                    <a:pt x="226" y="421"/>
                    <a:pt x="229" y="421"/>
                    <a:pt x="232" y="422"/>
                  </a:cubicBezTo>
                  <a:cubicBezTo>
                    <a:pt x="234" y="423"/>
                    <a:pt x="238" y="422"/>
                    <a:pt x="238" y="422"/>
                  </a:cubicBezTo>
                  <a:cubicBezTo>
                    <a:pt x="238" y="422"/>
                    <a:pt x="238" y="422"/>
                    <a:pt x="238" y="424"/>
                  </a:cubicBezTo>
                  <a:cubicBezTo>
                    <a:pt x="239" y="426"/>
                    <a:pt x="241" y="425"/>
                    <a:pt x="241" y="425"/>
                  </a:cubicBezTo>
                  <a:cubicBezTo>
                    <a:pt x="241" y="425"/>
                    <a:pt x="244" y="425"/>
                    <a:pt x="244" y="426"/>
                  </a:cubicBezTo>
                  <a:cubicBezTo>
                    <a:pt x="244" y="427"/>
                    <a:pt x="246" y="428"/>
                    <a:pt x="247" y="430"/>
                  </a:cubicBezTo>
                  <a:cubicBezTo>
                    <a:pt x="248" y="432"/>
                    <a:pt x="248" y="431"/>
                    <a:pt x="249" y="432"/>
                  </a:cubicBezTo>
                  <a:cubicBezTo>
                    <a:pt x="249" y="433"/>
                    <a:pt x="245" y="434"/>
                    <a:pt x="250" y="434"/>
                  </a:cubicBezTo>
                  <a:cubicBezTo>
                    <a:pt x="254" y="435"/>
                    <a:pt x="264" y="436"/>
                    <a:pt x="264" y="436"/>
                  </a:cubicBezTo>
                  <a:cubicBezTo>
                    <a:pt x="264" y="436"/>
                    <a:pt x="270" y="434"/>
                    <a:pt x="273" y="434"/>
                  </a:cubicBezTo>
                  <a:cubicBezTo>
                    <a:pt x="276" y="434"/>
                    <a:pt x="276" y="435"/>
                    <a:pt x="276" y="435"/>
                  </a:cubicBezTo>
                  <a:cubicBezTo>
                    <a:pt x="279" y="435"/>
                    <a:pt x="279" y="435"/>
                    <a:pt x="279" y="435"/>
                  </a:cubicBezTo>
                  <a:cubicBezTo>
                    <a:pt x="279" y="435"/>
                    <a:pt x="281" y="434"/>
                    <a:pt x="281" y="433"/>
                  </a:cubicBezTo>
                  <a:cubicBezTo>
                    <a:pt x="281" y="432"/>
                    <a:pt x="282" y="429"/>
                    <a:pt x="282" y="429"/>
                  </a:cubicBezTo>
                  <a:cubicBezTo>
                    <a:pt x="282" y="429"/>
                    <a:pt x="281" y="427"/>
                    <a:pt x="283" y="427"/>
                  </a:cubicBezTo>
                  <a:cubicBezTo>
                    <a:pt x="285" y="427"/>
                    <a:pt x="286" y="426"/>
                    <a:pt x="286" y="426"/>
                  </a:cubicBezTo>
                  <a:cubicBezTo>
                    <a:pt x="289" y="424"/>
                    <a:pt x="289" y="424"/>
                    <a:pt x="289" y="424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88" y="416"/>
                    <a:pt x="288" y="413"/>
                    <a:pt x="287" y="412"/>
                  </a:cubicBezTo>
                  <a:cubicBezTo>
                    <a:pt x="285" y="411"/>
                    <a:pt x="282" y="408"/>
                    <a:pt x="282" y="408"/>
                  </a:cubicBezTo>
                  <a:cubicBezTo>
                    <a:pt x="281" y="405"/>
                    <a:pt x="281" y="405"/>
                    <a:pt x="281" y="405"/>
                  </a:cubicBezTo>
                  <a:cubicBezTo>
                    <a:pt x="277" y="402"/>
                    <a:pt x="277" y="402"/>
                    <a:pt x="277" y="402"/>
                  </a:cubicBezTo>
                  <a:cubicBezTo>
                    <a:pt x="277" y="402"/>
                    <a:pt x="276" y="400"/>
                    <a:pt x="275" y="400"/>
                  </a:cubicBezTo>
                  <a:cubicBezTo>
                    <a:pt x="274" y="401"/>
                    <a:pt x="275" y="401"/>
                    <a:pt x="273" y="404"/>
                  </a:cubicBezTo>
                  <a:cubicBezTo>
                    <a:pt x="271" y="406"/>
                    <a:pt x="268" y="407"/>
                    <a:pt x="268" y="407"/>
                  </a:cubicBezTo>
                  <a:cubicBezTo>
                    <a:pt x="262" y="409"/>
                    <a:pt x="262" y="409"/>
                    <a:pt x="262" y="409"/>
                  </a:cubicBezTo>
                  <a:cubicBezTo>
                    <a:pt x="262" y="409"/>
                    <a:pt x="258" y="407"/>
                    <a:pt x="257" y="405"/>
                  </a:cubicBezTo>
                  <a:cubicBezTo>
                    <a:pt x="256" y="404"/>
                    <a:pt x="249" y="398"/>
                    <a:pt x="249" y="398"/>
                  </a:cubicBezTo>
                  <a:cubicBezTo>
                    <a:pt x="249" y="398"/>
                    <a:pt x="245" y="395"/>
                    <a:pt x="244" y="395"/>
                  </a:cubicBezTo>
                  <a:cubicBezTo>
                    <a:pt x="242" y="395"/>
                    <a:pt x="240" y="395"/>
                    <a:pt x="240" y="395"/>
                  </a:cubicBezTo>
                  <a:cubicBezTo>
                    <a:pt x="237" y="390"/>
                    <a:pt x="237" y="390"/>
                    <a:pt x="237" y="390"/>
                  </a:cubicBezTo>
                  <a:cubicBezTo>
                    <a:pt x="236" y="389"/>
                    <a:pt x="236" y="389"/>
                    <a:pt x="236" y="389"/>
                  </a:cubicBezTo>
                  <a:cubicBezTo>
                    <a:pt x="236" y="389"/>
                    <a:pt x="233" y="386"/>
                    <a:pt x="235" y="386"/>
                  </a:cubicBezTo>
                  <a:cubicBezTo>
                    <a:pt x="238" y="386"/>
                    <a:pt x="239" y="383"/>
                    <a:pt x="239" y="383"/>
                  </a:cubicBezTo>
                  <a:cubicBezTo>
                    <a:pt x="239" y="380"/>
                    <a:pt x="239" y="380"/>
                    <a:pt x="239" y="380"/>
                  </a:cubicBezTo>
                  <a:cubicBezTo>
                    <a:pt x="239" y="378"/>
                    <a:pt x="239" y="378"/>
                    <a:pt x="239" y="378"/>
                  </a:cubicBezTo>
                  <a:cubicBezTo>
                    <a:pt x="238" y="373"/>
                    <a:pt x="238" y="373"/>
                    <a:pt x="238" y="373"/>
                  </a:cubicBezTo>
                  <a:cubicBezTo>
                    <a:pt x="238" y="373"/>
                    <a:pt x="237" y="368"/>
                    <a:pt x="238" y="367"/>
                  </a:cubicBezTo>
                  <a:cubicBezTo>
                    <a:pt x="240" y="367"/>
                    <a:pt x="246" y="366"/>
                    <a:pt x="246" y="366"/>
                  </a:cubicBezTo>
                  <a:cubicBezTo>
                    <a:pt x="246" y="366"/>
                    <a:pt x="249" y="367"/>
                    <a:pt x="252" y="368"/>
                  </a:cubicBezTo>
                  <a:cubicBezTo>
                    <a:pt x="254" y="368"/>
                    <a:pt x="256" y="369"/>
                    <a:pt x="256" y="369"/>
                  </a:cubicBezTo>
                  <a:cubicBezTo>
                    <a:pt x="256" y="369"/>
                    <a:pt x="262" y="372"/>
                    <a:pt x="263" y="373"/>
                  </a:cubicBezTo>
                  <a:cubicBezTo>
                    <a:pt x="263" y="374"/>
                    <a:pt x="265" y="375"/>
                    <a:pt x="267" y="376"/>
                  </a:cubicBezTo>
                  <a:cubicBezTo>
                    <a:pt x="270" y="378"/>
                    <a:pt x="276" y="376"/>
                    <a:pt x="276" y="376"/>
                  </a:cubicBezTo>
                  <a:cubicBezTo>
                    <a:pt x="276" y="376"/>
                    <a:pt x="279" y="375"/>
                    <a:pt x="281" y="375"/>
                  </a:cubicBezTo>
                  <a:cubicBezTo>
                    <a:pt x="282" y="375"/>
                    <a:pt x="291" y="375"/>
                    <a:pt x="291" y="375"/>
                  </a:cubicBezTo>
                  <a:cubicBezTo>
                    <a:pt x="291" y="375"/>
                    <a:pt x="295" y="375"/>
                    <a:pt x="296" y="375"/>
                  </a:cubicBezTo>
                  <a:cubicBezTo>
                    <a:pt x="297" y="375"/>
                    <a:pt x="301" y="375"/>
                    <a:pt x="301" y="375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15" y="374"/>
                    <a:pt x="315" y="374"/>
                    <a:pt x="315" y="374"/>
                  </a:cubicBezTo>
                  <a:cubicBezTo>
                    <a:pt x="315" y="374"/>
                    <a:pt x="315" y="369"/>
                    <a:pt x="317" y="369"/>
                  </a:cubicBezTo>
                  <a:cubicBezTo>
                    <a:pt x="318" y="369"/>
                    <a:pt x="320" y="369"/>
                    <a:pt x="322" y="369"/>
                  </a:cubicBezTo>
                  <a:cubicBezTo>
                    <a:pt x="324" y="370"/>
                    <a:pt x="330" y="368"/>
                    <a:pt x="330" y="368"/>
                  </a:cubicBezTo>
                  <a:cubicBezTo>
                    <a:pt x="324" y="360"/>
                    <a:pt x="324" y="360"/>
                    <a:pt x="324" y="360"/>
                  </a:cubicBezTo>
                  <a:cubicBezTo>
                    <a:pt x="324" y="360"/>
                    <a:pt x="324" y="360"/>
                    <a:pt x="322" y="356"/>
                  </a:cubicBezTo>
                  <a:cubicBezTo>
                    <a:pt x="321" y="352"/>
                    <a:pt x="318" y="348"/>
                    <a:pt x="318" y="348"/>
                  </a:cubicBezTo>
                  <a:cubicBezTo>
                    <a:pt x="318" y="348"/>
                    <a:pt x="314" y="347"/>
                    <a:pt x="311" y="346"/>
                  </a:cubicBezTo>
                  <a:cubicBezTo>
                    <a:pt x="308" y="345"/>
                    <a:pt x="310" y="346"/>
                    <a:pt x="308" y="344"/>
                  </a:cubicBezTo>
                  <a:cubicBezTo>
                    <a:pt x="306" y="343"/>
                    <a:pt x="297" y="338"/>
                    <a:pt x="297" y="338"/>
                  </a:cubicBezTo>
                  <a:cubicBezTo>
                    <a:pt x="297" y="338"/>
                    <a:pt x="293" y="337"/>
                    <a:pt x="292" y="335"/>
                  </a:cubicBezTo>
                  <a:cubicBezTo>
                    <a:pt x="291" y="332"/>
                    <a:pt x="292" y="323"/>
                    <a:pt x="292" y="323"/>
                  </a:cubicBezTo>
                  <a:cubicBezTo>
                    <a:pt x="293" y="318"/>
                    <a:pt x="293" y="318"/>
                    <a:pt x="293" y="318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300" y="299"/>
                    <a:pt x="300" y="299"/>
                    <a:pt x="300" y="299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13" y="278"/>
                    <a:pt x="313" y="278"/>
                    <a:pt x="313" y="278"/>
                  </a:cubicBezTo>
                  <a:cubicBezTo>
                    <a:pt x="315" y="269"/>
                    <a:pt x="315" y="269"/>
                    <a:pt x="315" y="269"/>
                  </a:cubicBezTo>
                  <a:cubicBezTo>
                    <a:pt x="315" y="260"/>
                    <a:pt x="315" y="260"/>
                    <a:pt x="315" y="260"/>
                  </a:cubicBezTo>
                  <a:cubicBezTo>
                    <a:pt x="315" y="253"/>
                    <a:pt x="315" y="253"/>
                    <a:pt x="315" y="253"/>
                  </a:cubicBezTo>
                  <a:cubicBezTo>
                    <a:pt x="328" y="253"/>
                    <a:pt x="328" y="253"/>
                    <a:pt x="328" y="253"/>
                  </a:cubicBezTo>
                  <a:cubicBezTo>
                    <a:pt x="328" y="256"/>
                    <a:pt x="328" y="256"/>
                    <a:pt x="328" y="256"/>
                  </a:cubicBezTo>
                  <a:cubicBezTo>
                    <a:pt x="328" y="256"/>
                    <a:pt x="330" y="252"/>
                    <a:pt x="331" y="252"/>
                  </a:cubicBezTo>
                  <a:cubicBezTo>
                    <a:pt x="332" y="252"/>
                    <a:pt x="340" y="247"/>
                    <a:pt x="340" y="247"/>
                  </a:cubicBezTo>
                  <a:cubicBezTo>
                    <a:pt x="343" y="249"/>
                    <a:pt x="343" y="249"/>
                    <a:pt x="343" y="249"/>
                  </a:cubicBezTo>
                  <a:cubicBezTo>
                    <a:pt x="351" y="251"/>
                    <a:pt x="351" y="251"/>
                    <a:pt x="351" y="251"/>
                  </a:cubicBezTo>
                  <a:cubicBezTo>
                    <a:pt x="351" y="251"/>
                    <a:pt x="354" y="252"/>
                    <a:pt x="353" y="254"/>
                  </a:cubicBezTo>
                  <a:cubicBezTo>
                    <a:pt x="352" y="256"/>
                    <a:pt x="352" y="256"/>
                    <a:pt x="353" y="256"/>
                  </a:cubicBezTo>
                  <a:cubicBezTo>
                    <a:pt x="354" y="256"/>
                    <a:pt x="358" y="253"/>
                    <a:pt x="358" y="253"/>
                  </a:cubicBezTo>
                  <a:cubicBezTo>
                    <a:pt x="365" y="256"/>
                    <a:pt x="365" y="256"/>
                    <a:pt x="365" y="256"/>
                  </a:cubicBezTo>
                  <a:cubicBezTo>
                    <a:pt x="359" y="249"/>
                    <a:pt x="359" y="249"/>
                    <a:pt x="359" y="249"/>
                  </a:cubicBezTo>
                  <a:cubicBezTo>
                    <a:pt x="359" y="249"/>
                    <a:pt x="358" y="244"/>
                    <a:pt x="358" y="242"/>
                  </a:cubicBezTo>
                  <a:cubicBezTo>
                    <a:pt x="358" y="240"/>
                    <a:pt x="357" y="232"/>
                    <a:pt x="357" y="232"/>
                  </a:cubicBezTo>
                  <a:cubicBezTo>
                    <a:pt x="356" y="226"/>
                    <a:pt x="356" y="226"/>
                    <a:pt x="356" y="226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51" y="218"/>
                    <a:pt x="351" y="218"/>
                    <a:pt x="351" y="218"/>
                  </a:cubicBezTo>
                  <a:cubicBezTo>
                    <a:pt x="350" y="213"/>
                    <a:pt x="350" y="213"/>
                    <a:pt x="350" y="213"/>
                  </a:cubicBezTo>
                  <a:cubicBezTo>
                    <a:pt x="348" y="209"/>
                    <a:pt x="348" y="209"/>
                    <a:pt x="348" y="209"/>
                  </a:cubicBezTo>
                  <a:cubicBezTo>
                    <a:pt x="341" y="205"/>
                    <a:pt x="341" y="205"/>
                    <a:pt x="341" y="205"/>
                  </a:cubicBezTo>
                  <a:cubicBezTo>
                    <a:pt x="336" y="204"/>
                    <a:pt x="336" y="204"/>
                    <a:pt x="336" y="204"/>
                  </a:cubicBezTo>
                  <a:cubicBezTo>
                    <a:pt x="332" y="205"/>
                    <a:pt x="332" y="205"/>
                    <a:pt x="332" y="205"/>
                  </a:cubicBezTo>
                  <a:cubicBezTo>
                    <a:pt x="328" y="205"/>
                    <a:pt x="328" y="205"/>
                    <a:pt x="328" y="205"/>
                  </a:cubicBezTo>
                  <a:cubicBezTo>
                    <a:pt x="325" y="200"/>
                    <a:pt x="325" y="200"/>
                    <a:pt x="325" y="200"/>
                  </a:cubicBezTo>
                  <a:cubicBezTo>
                    <a:pt x="325" y="200"/>
                    <a:pt x="324" y="193"/>
                    <a:pt x="324" y="192"/>
                  </a:cubicBezTo>
                  <a:cubicBezTo>
                    <a:pt x="324" y="191"/>
                    <a:pt x="322" y="184"/>
                    <a:pt x="322" y="184"/>
                  </a:cubicBezTo>
                  <a:cubicBezTo>
                    <a:pt x="321" y="176"/>
                    <a:pt x="321" y="176"/>
                    <a:pt x="321" y="176"/>
                  </a:cubicBezTo>
                  <a:cubicBezTo>
                    <a:pt x="318" y="168"/>
                    <a:pt x="318" y="168"/>
                    <a:pt x="318" y="168"/>
                  </a:cubicBezTo>
                  <a:cubicBezTo>
                    <a:pt x="318" y="168"/>
                    <a:pt x="316" y="163"/>
                    <a:pt x="315" y="161"/>
                  </a:cubicBezTo>
                  <a:cubicBezTo>
                    <a:pt x="314" y="159"/>
                    <a:pt x="312" y="155"/>
                    <a:pt x="312" y="155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89" y="142"/>
                    <a:pt x="289" y="142"/>
                    <a:pt x="289" y="142"/>
                  </a:cubicBezTo>
                  <a:cubicBezTo>
                    <a:pt x="282" y="139"/>
                    <a:pt x="282" y="139"/>
                    <a:pt x="282" y="139"/>
                  </a:cubicBezTo>
                  <a:cubicBezTo>
                    <a:pt x="283" y="136"/>
                    <a:pt x="283" y="136"/>
                    <a:pt x="283" y="136"/>
                  </a:cubicBezTo>
                  <a:cubicBezTo>
                    <a:pt x="287" y="135"/>
                    <a:pt x="287" y="135"/>
                    <a:pt x="287" y="135"/>
                  </a:cubicBezTo>
                  <a:cubicBezTo>
                    <a:pt x="287" y="135"/>
                    <a:pt x="289" y="135"/>
                    <a:pt x="291" y="135"/>
                  </a:cubicBezTo>
                  <a:cubicBezTo>
                    <a:pt x="294" y="135"/>
                    <a:pt x="296" y="135"/>
                    <a:pt x="298" y="135"/>
                  </a:cubicBezTo>
                  <a:cubicBezTo>
                    <a:pt x="300" y="135"/>
                    <a:pt x="303" y="135"/>
                    <a:pt x="303" y="135"/>
                  </a:cubicBezTo>
                  <a:cubicBezTo>
                    <a:pt x="307" y="130"/>
                    <a:pt x="307" y="130"/>
                    <a:pt x="307" y="130"/>
                  </a:cubicBezTo>
                  <a:cubicBezTo>
                    <a:pt x="322" y="122"/>
                    <a:pt x="322" y="122"/>
                    <a:pt x="322" y="122"/>
                  </a:cubicBezTo>
                  <a:cubicBezTo>
                    <a:pt x="329" y="121"/>
                    <a:pt x="329" y="121"/>
                    <a:pt x="329" y="121"/>
                  </a:cubicBezTo>
                  <a:cubicBezTo>
                    <a:pt x="336" y="121"/>
                    <a:pt x="336" y="121"/>
                    <a:pt x="336" y="121"/>
                  </a:cubicBezTo>
                  <a:cubicBezTo>
                    <a:pt x="336" y="121"/>
                    <a:pt x="336" y="125"/>
                    <a:pt x="338" y="126"/>
                  </a:cubicBezTo>
                  <a:cubicBezTo>
                    <a:pt x="340" y="127"/>
                    <a:pt x="341" y="127"/>
                    <a:pt x="342" y="128"/>
                  </a:cubicBezTo>
                  <a:cubicBezTo>
                    <a:pt x="344" y="128"/>
                    <a:pt x="350" y="129"/>
                    <a:pt x="350" y="129"/>
                  </a:cubicBezTo>
                  <a:cubicBezTo>
                    <a:pt x="354" y="131"/>
                    <a:pt x="354" y="131"/>
                    <a:pt x="354" y="131"/>
                  </a:cubicBezTo>
                  <a:cubicBezTo>
                    <a:pt x="358" y="137"/>
                    <a:pt x="358" y="137"/>
                    <a:pt x="358" y="137"/>
                  </a:cubicBezTo>
                  <a:cubicBezTo>
                    <a:pt x="365" y="141"/>
                    <a:pt x="365" y="141"/>
                    <a:pt x="365" y="141"/>
                  </a:cubicBezTo>
                  <a:cubicBezTo>
                    <a:pt x="365" y="141"/>
                    <a:pt x="366" y="144"/>
                    <a:pt x="365" y="145"/>
                  </a:cubicBezTo>
                  <a:cubicBezTo>
                    <a:pt x="364" y="146"/>
                    <a:pt x="365" y="149"/>
                    <a:pt x="361" y="151"/>
                  </a:cubicBezTo>
                  <a:cubicBezTo>
                    <a:pt x="357" y="153"/>
                    <a:pt x="352" y="157"/>
                    <a:pt x="351" y="157"/>
                  </a:cubicBezTo>
                  <a:cubicBezTo>
                    <a:pt x="350" y="158"/>
                    <a:pt x="347" y="162"/>
                    <a:pt x="347" y="162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6" y="169"/>
                    <a:pt x="346" y="169"/>
                    <a:pt x="346" y="169"/>
                  </a:cubicBezTo>
                  <a:cubicBezTo>
                    <a:pt x="346" y="169"/>
                    <a:pt x="346" y="170"/>
                    <a:pt x="346" y="171"/>
                  </a:cubicBezTo>
                  <a:cubicBezTo>
                    <a:pt x="345" y="173"/>
                    <a:pt x="344" y="176"/>
                    <a:pt x="344" y="176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45" y="181"/>
                    <a:pt x="346" y="183"/>
                    <a:pt x="347" y="185"/>
                  </a:cubicBezTo>
                  <a:cubicBezTo>
                    <a:pt x="347" y="186"/>
                    <a:pt x="356" y="188"/>
                    <a:pt x="356" y="188"/>
                  </a:cubicBezTo>
                  <a:cubicBezTo>
                    <a:pt x="365" y="189"/>
                    <a:pt x="365" y="189"/>
                    <a:pt x="365" y="189"/>
                  </a:cubicBezTo>
                  <a:cubicBezTo>
                    <a:pt x="372" y="196"/>
                    <a:pt x="372" y="196"/>
                    <a:pt x="372" y="196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85" y="198"/>
                    <a:pt x="385" y="198"/>
                    <a:pt x="385" y="198"/>
                  </a:cubicBezTo>
                  <a:cubicBezTo>
                    <a:pt x="392" y="193"/>
                    <a:pt x="392" y="193"/>
                    <a:pt x="392" y="193"/>
                  </a:cubicBezTo>
                  <a:cubicBezTo>
                    <a:pt x="397" y="190"/>
                    <a:pt x="397" y="190"/>
                    <a:pt x="397" y="190"/>
                  </a:cubicBezTo>
                  <a:cubicBezTo>
                    <a:pt x="397" y="190"/>
                    <a:pt x="400" y="186"/>
                    <a:pt x="401" y="185"/>
                  </a:cubicBezTo>
                  <a:cubicBezTo>
                    <a:pt x="402" y="184"/>
                    <a:pt x="405" y="181"/>
                    <a:pt x="405" y="181"/>
                  </a:cubicBezTo>
                  <a:cubicBezTo>
                    <a:pt x="405" y="181"/>
                    <a:pt x="407" y="179"/>
                    <a:pt x="407" y="178"/>
                  </a:cubicBezTo>
                  <a:cubicBezTo>
                    <a:pt x="407" y="177"/>
                    <a:pt x="406" y="169"/>
                    <a:pt x="406" y="169"/>
                  </a:cubicBezTo>
                  <a:cubicBezTo>
                    <a:pt x="404" y="163"/>
                    <a:pt x="404" y="163"/>
                    <a:pt x="404" y="163"/>
                  </a:cubicBezTo>
                  <a:cubicBezTo>
                    <a:pt x="401" y="156"/>
                    <a:pt x="401" y="156"/>
                    <a:pt x="401" y="156"/>
                  </a:cubicBezTo>
                  <a:cubicBezTo>
                    <a:pt x="401" y="156"/>
                    <a:pt x="399" y="153"/>
                    <a:pt x="399" y="151"/>
                  </a:cubicBezTo>
                  <a:cubicBezTo>
                    <a:pt x="399" y="150"/>
                    <a:pt x="398" y="146"/>
                    <a:pt x="398" y="146"/>
                  </a:cubicBezTo>
                  <a:cubicBezTo>
                    <a:pt x="394" y="142"/>
                    <a:pt x="394" y="142"/>
                    <a:pt x="394" y="142"/>
                  </a:cubicBezTo>
                  <a:cubicBezTo>
                    <a:pt x="396" y="138"/>
                    <a:pt x="396" y="138"/>
                    <a:pt x="396" y="138"/>
                  </a:cubicBezTo>
                  <a:cubicBezTo>
                    <a:pt x="398" y="135"/>
                    <a:pt x="398" y="135"/>
                    <a:pt x="398" y="135"/>
                  </a:cubicBezTo>
                  <a:cubicBezTo>
                    <a:pt x="403" y="129"/>
                    <a:pt x="403" y="129"/>
                    <a:pt x="403" y="129"/>
                  </a:cubicBezTo>
                  <a:cubicBezTo>
                    <a:pt x="405" y="125"/>
                    <a:pt x="405" y="125"/>
                    <a:pt x="405" y="125"/>
                  </a:cubicBezTo>
                  <a:cubicBezTo>
                    <a:pt x="401" y="120"/>
                    <a:pt x="401" y="120"/>
                    <a:pt x="401" y="120"/>
                  </a:cubicBezTo>
                  <a:cubicBezTo>
                    <a:pt x="398" y="119"/>
                    <a:pt x="398" y="119"/>
                    <a:pt x="398" y="119"/>
                  </a:cubicBezTo>
                  <a:cubicBezTo>
                    <a:pt x="404" y="116"/>
                    <a:pt x="404" y="116"/>
                    <a:pt x="404" y="116"/>
                  </a:cubicBezTo>
                  <a:cubicBezTo>
                    <a:pt x="408" y="114"/>
                    <a:pt x="408" y="114"/>
                    <a:pt x="408" y="114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16" y="95"/>
                    <a:pt x="416" y="95"/>
                    <a:pt x="416" y="95"/>
                  </a:cubicBezTo>
                  <a:cubicBezTo>
                    <a:pt x="420" y="84"/>
                    <a:pt x="420" y="84"/>
                    <a:pt x="420" y="84"/>
                  </a:cubicBezTo>
                  <a:cubicBezTo>
                    <a:pt x="420" y="84"/>
                    <a:pt x="422" y="76"/>
                    <a:pt x="422" y="75"/>
                  </a:cubicBezTo>
                  <a:cubicBezTo>
                    <a:pt x="422" y="74"/>
                    <a:pt x="425" y="72"/>
                    <a:pt x="425" y="72"/>
                  </a:cubicBezTo>
                  <a:cubicBezTo>
                    <a:pt x="429" y="67"/>
                    <a:pt x="429" y="67"/>
                    <a:pt x="429" y="67"/>
                  </a:cubicBezTo>
                  <a:cubicBezTo>
                    <a:pt x="432" y="61"/>
                    <a:pt x="432" y="61"/>
                    <a:pt x="432" y="61"/>
                  </a:cubicBezTo>
                  <a:cubicBezTo>
                    <a:pt x="434" y="57"/>
                    <a:pt x="434" y="57"/>
                    <a:pt x="434" y="57"/>
                  </a:cubicBezTo>
                  <a:cubicBezTo>
                    <a:pt x="439" y="49"/>
                    <a:pt x="439" y="49"/>
                    <a:pt x="439" y="49"/>
                  </a:cubicBezTo>
                  <a:cubicBezTo>
                    <a:pt x="443" y="51"/>
                    <a:pt x="443" y="51"/>
                    <a:pt x="443" y="51"/>
                  </a:cubicBezTo>
                  <a:cubicBezTo>
                    <a:pt x="443" y="51"/>
                    <a:pt x="445" y="53"/>
                    <a:pt x="445" y="55"/>
                  </a:cubicBezTo>
                  <a:cubicBezTo>
                    <a:pt x="445" y="57"/>
                    <a:pt x="444" y="58"/>
                    <a:pt x="445" y="58"/>
                  </a:cubicBezTo>
                  <a:cubicBezTo>
                    <a:pt x="447" y="58"/>
                    <a:pt x="446" y="58"/>
                    <a:pt x="447" y="57"/>
                  </a:cubicBezTo>
                  <a:cubicBezTo>
                    <a:pt x="449" y="55"/>
                    <a:pt x="450" y="51"/>
                    <a:pt x="450" y="50"/>
                  </a:cubicBezTo>
                  <a:cubicBezTo>
                    <a:pt x="450" y="49"/>
                    <a:pt x="452" y="49"/>
                    <a:pt x="450" y="48"/>
                  </a:cubicBezTo>
                  <a:cubicBezTo>
                    <a:pt x="447" y="47"/>
                    <a:pt x="443" y="45"/>
                    <a:pt x="443" y="45"/>
                  </a:cubicBezTo>
                  <a:cubicBezTo>
                    <a:pt x="443" y="45"/>
                    <a:pt x="439" y="44"/>
                    <a:pt x="439" y="43"/>
                  </a:cubicBezTo>
                  <a:cubicBezTo>
                    <a:pt x="440" y="42"/>
                    <a:pt x="443" y="33"/>
                    <a:pt x="443" y="33"/>
                  </a:cubicBezTo>
                  <a:cubicBezTo>
                    <a:pt x="447" y="23"/>
                    <a:pt x="447" y="23"/>
                    <a:pt x="447" y="23"/>
                  </a:cubicBezTo>
                  <a:cubicBezTo>
                    <a:pt x="447" y="17"/>
                    <a:pt x="447" y="17"/>
                    <a:pt x="447" y="17"/>
                  </a:cubicBezTo>
                  <a:cubicBezTo>
                    <a:pt x="450" y="12"/>
                    <a:pt x="450" y="12"/>
                    <a:pt x="450" y="12"/>
                  </a:cubicBezTo>
                  <a:cubicBezTo>
                    <a:pt x="453" y="8"/>
                    <a:pt x="455" y="2"/>
                    <a:pt x="460" y="0"/>
                  </a:cubicBezTo>
                  <a:cubicBezTo>
                    <a:pt x="1479" y="0"/>
                    <a:pt x="1479" y="0"/>
                    <a:pt x="1479" y="0"/>
                  </a:cubicBezTo>
                  <a:cubicBezTo>
                    <a:pt x="1479" y="736"/>
                    <a:pt x="1479" y="736"/>
                    <a:pt x="1479" y="736"/>
                  </a:cubicBezTo>
                  <a:cubicBezTo>
                    <a:pt x="1465" y="741"/>
                    <a:pt x="1465" y="741"/>
                    <a:pt x="1465" y="741"/>
                  </a:cubicBezTo>
                  <a:cubicBezTo>
                    <a:pt x="1463" y="741"/>
                    <a:pt x="1435" y="737"/>
                    <a:pt x="1436" y="746"/>
                  </a:cubicBezTo>
                  <a:cubicBezTo>
                    <a:pt x="1437" y="751"/>
                    <a:pt x="1442" y="752"/>
                    <a:pt x="1442" y="752"/>
                  </a:cubicBezTo>
                  <a:cubicBezTo>
                    <a:pt x="1455" y="764"/>
                    <a:pt x="1455" y="764"/>
                    <a:pt x="1455" y="764"/>
                  </a:cubicBezTo>
                  <a:cubicBezTo>
                    <a:pt x="1454" y="771"/>
                    <a:pt x="1454" y="771"/>
                    <a:pt x="1454" y="771"/>
                  </a:cubicBezTo>
                  <a:cubicBezTo>
                    <a:pt x="1462" y="773"/>
                    <a:pt x="1462" y="773"/>
                    <a:pt x="1462" y="773"/>
                  </a:cubicBezTo>
                  <a:cubicBezTo>
                    <a:pt x="1479" y="773"/>
                    <a:pt x="1479" y="773"/>
                    <a:pt x="1479" y="773"/>
                  </a:cubicBezTo>
                  <a:cubicBezTo>
                    <a:pt x="1479" y="785"/>
                    <a:pt x="1479" y="785"/>
                    <a:pt x="1479" y="785"/>
                  </a:cubicBezTo>
                  <a:cubicBezTo>
                    <a:pt x="1469" y="786"/>
                    <a:pt x="1458" y="788"/>
                    <a:pt x="1456" y="789"/>
                  </a:cubicBezTo>
                  <a:cubicBezTo>
                    <a:pt x="1445" y="801"/>
                    <a:pt x="1445" y="801"/>
                    <a:pt x="1445" y="801"/>
                  </a:cubicBezTo>
                  <a:cubicBezTo>
                    <a:pt x="1458" y="818"/>
                    <a:pt x="1458" y="818"/>
                    <a:pt x="1458" y="818"/>
                  </a:cubicBezTo>
                  <a:cubicBezTo>
                    <a:pt x="1457" y="829"/>
                    <a:pt x="1457" y="829"/>
                    <a:pt x="1457" y="829"/>
                  </a:cubicBezTo>
                  <a:cubicBezTo>
                    <a:pt x="1446" y="837"/>
                    <a:pt x="1446" y="837"/>
                    <a:pt x="1446" y="837"/>
                  </a:cubicBezTo>
                  <a:cubicBezTo>
                    <a:pt x="1455" y="846"/>
                    <a:pt x="1455" y="846"/>
                    <a:pt x="1455" y="846"/>
                  </a:cubicBezTo>
                  <a:cubicBezTo>
                    <a:pt x="1471" y="846"/>
                    <a:pt x="1471" y="846"/>
                    <a:pt x="1471" y="846"/>
                  </a:cubicBezTo>
                  <a:cubicBezTo>
                    <a:pt x="1479" y="852"/>
                    <a:pt x="1479" y="852"/>
                    <a:pt x="1479" y="852"/>
                  </a:cubicBezTo>
                  <a:cubicBezTo>
                    <a:pt x="1479" y="899"/>
                    <a:pt x="1479" y="899"/>
                    <a:pt x="1479" y="899"/>
                  </a:cubicBezTo>
                  <a:cubicBezTo>
                    <a:pt x="1476" y="899"/>
                    <a:pt x="1472" y="900"/>
                    <a:pt x="1467" y="900"/>
                  </a:cubicBezTo>
                  <a:cubicBezTo>
                    <a:pt x="1460" y="912"/>
                    <a:pt x="1460" y="912"/>
                    <a:pt x="1460" y="912"/>
                  </a:cubicBezTo>
                  <a:cubicBezTo>
                    <a:pt x="1409" y="903"/>
                    <a:pt x="1409" y="903"/>
                    <a:pt x="1409" y="903"/>
                  </a:cubicBezTo>
                  <a:cubicBezTo>
                    <a:pt x="1392" y="893"/>
                    <a:pt x="1392" y="893"/>
                    <a:pt x="1392" y="893"/>
                  </a:cubicBezTo>
                  <a:cubicBezTo>
                    <a:pt x="1379" y="902"/>
                    <a:pt x="1382" y="898"/>
                    <a:pt x="1371" y="910"/>
                  </a:cubicBezTo>
                  <a:cubicBezTo>
                    <a:pt x="1341" y="902"/>
                    <a:pt x="1341" y="902"/>
                    <a:pt x="1341" y="902"/>
                  </a:cubicBezTo>
                  <a:cubicBezTo>
                    <a:pt x="1322" y="911"/>
                    <a:pt x="1322" y="911"/>
                    <a:pt x="1322" y="911"/>
                  </a:cubicBezTo>
                  <a:cubicBezTo>
                    <a:pt x="1300" y="933"/>
                    <a:pt x="1300" y="933"/>
                    <a:pt x="1300" y="933"/>
                  </a:cubicBezTo>
                  <a:cubicBezTo>
                    <a:pt x="1263" y="931"/>
                    <a:pt x="1263" y="931"/>
                    <a:pt x="1263" y="931"/>
                  </a:cubicBezTo>
                  <a:cubicBezTo>
                    <a:pt x="1255" y="920"/>
                    <a:pt x="1255" y="920"/>
                    <a:pt x="1255" y="920"/>
                  </a:cubicBezTo>
                  <a:cubicBezTo>
                    <a:pt x="1253" y="930"/>
                    <a:pt x="1253" y="930"/>
                    <a:pt x="1253" y="930"/>
                  </a:cubicBezTo>
                  <a:cubicBezTo>
                    <a:pt x="1261" y="940"/>
                    <a:pt x="1261" y="940"/>
                    <a:pt x="1261" y="940"/>
                  </a:cubicBezTo>
                  <a:cubicBezTo>
                    <a:pt x="1247" y="947"/>
                    <a:pt x="1247" y="947"/>
                    <a:pt x="1247" y="947"/>
                  </a:cubicBezTo>
                  <a:cubicBezTo>
                    <a:pt x="1242" y="933"/>
                    <a:pt x="1242" y="933"/>
                    <a:pt x="1242" y="933"/>
                  </a:cubicBezTo>
                  <a:cubicBezTo>
                    <a:pt x="1230" y="918"/>
                    <a:pt x="1230" y="918"/>
                    <a:pt x="1230" y="918"/>
                  </a:cubicBezTo>
                  <a:cubicBezTo>
                    <a:pt x="1212" y="914"/>
                    <a:pt x="1212" y="914"/>
                    <a:pt x="1212" y="914"/>
                  </a:cubicBezTo>
                  <a:cubicBezTo>
                    <a:pt x="1202" y="907"/>
                    <a:pt x="1202" y="907"/>
                    <a:pt x="1202" y="907"/>
                  </a:cubicBezTo>
                  <a:cubicBezTo>
                    <a:pt x="1200" y="906"/>
                    <a:pt x="1163" y="910"/>
                    <a:pt x="1156" y="911"/>
                  </a:cubicBezTo>
                  <a:cubicBezTo>
                    <a:pt x="1147" y="905"/>
                    <a:pt x="1146" y="905"/>
                    <a:pt x="1136" y="900"/>
                  </a:cubicBezTo>
                  <a:cubicBezTo>
                    <a:pt x="1126" y="908"/>
                    <a:pt x="1126" y="908"/>
                    <a:pt x="1126" y="908"/>
                  </a:cubicBezTo>
                  <a:cubicBezTo>
                    <a:pt x="1126" y="908"/>
                    <a:pt x="1121" y="917"/>
                    <a:pt x="1113" y="917"/>
                  </a:cubicBezTo>
                  <a:cubicBezTo>
                    <a:pt x="1104" y="917"/>
                    <a:pt x="1105" y="905"/>
                    <a:pt x="1105" y="905"/>
                  </a:cubicBezTo>
                  <a:cubicBezTo>
                    <a:pt x="1092" y="907"/>
                    <a:pt x="1092" y="907"/>
                    <a:pt x="1092" y="907"/>
                  </a:cubicBezTo>
                  <a:cubicBezTo>
                    <a:pt x="1075" y="931"/>
                    <a:pt x="1075" y="931"/>
                    <a:pt x="1075" y="931"/>
                  </a:cubicBezTo>
                  <a:cubicBezTo>
                    <a:pt x="1054" y="949"/>
                    <a:pt x="1054" y="949"/>
                    <a:pt x="1054" y="949"/>
                  </a:cubicBezTo>
                  <a:cubicBezTo>
                    <a:pt x="1042" y="967"/>
                    <a:pt x="1042" y="967"/>
                    <a:pt x="1042" y="967"/>
                  </a:cubicBezTo>
                  <a:cubicBezTo>
                    <a:pt x="1019" y="976"/>
                    <a:pt x="1019" y="976"/>
                    <a:pt x="1019" y="976"/>
                  </a:cubicBezTo>
                  <a:cubicBezTo>
                    <a:pt x="1020" y="984"/>
                    <a:pt x="1020" y="984"/>
                    <a:pt x="1020" y="984"/>
                  </a:cubicBezTo>
                  <a:cubicBezTo>
                    <a:pt x="1043" y="1004"/>
                    <a:pt x="1043" y="1004"/>
                    <a:pt x="1043" y="1004"/>
                  </a:cubicBezTo>
                  <a:cubicBezTo>
                    <a:pt x="1027" y="1015"/>
                    <a:pt x="1027" y="1015"/>
                    <a:pt x="1027" y="1015"/>
                  </a:cubicBezTo>
                  <a:cubicBezTo>
                    <a:pt x="1003" y="990"/>
                    <a:pt x="1012" y="1009"/>
                    <a:pt x="982" y="986"/>
                  </a:cubicBezTo>
                  <a:cubicBezTo>
                    <a:pt x="977" y="1004"/>
                    <a:pt x="976" y="999"/>
                    <a:pt x="979" y="1014"/>
                  </a:cubicBezTo>
                  <a:cubicBezTo>
                    <a:pt x="966" y="1023"/>
                    <a:pt x="966" y="1023"/>
                    <a:pt x="966" y="1023"/>
                  </a:cubicBezTo>
                  <a:cubicBezTo>
                    <a:pt x="973" y="1050"/>
                    <a:pt x="968" y="1041"/>
                    <a:pt x="985" y="1059"/>
                  </a:cubicBezTo>
                  <a:cubicBezTo>
                    <a:pt x="975" y="1080"/>
                    <a:pt x="977" y="1071"/>
                    <a:pt x="978" y="1096"/>
                  </a:cubicBezTo>
                  <a:cubicBezTo>
                    <a:pt x="1001" y="1103"/>
                    <a:pt x="1001" y="1103"/>
                    <a:pt x="1001" y="1103"/>
                  </a:cubicBezTo>
                  <a:cubicBezTo>
                    <a:pt x="1007" y="1117"/>
                    <a:pt x="1007" y="1117"/>
                    <a:pt x="1007" y="1117"/>
                  </a:cubicBezTo>
                  <a:cubicBezTo>
                    <a:pt x="1022" y="1124"/>
                    <a:pt x="1022" y="1124"/>
                    <a:pt x="1022" y="1124"/>
                  </a:cubicBezTo>
                  <a:cubicBezTo>
                    <a:pt x="1037" y="1114"/>
                    <a:pt x="1037" y="1114"/>
                    <a:pt x="1037" y="1114"/>
                  </a:cubicBezTo>
                  <a:cubicBezTo>
                    <a:pt x="1059" y="1125"/>
                    <a:pt x="1059" y="1125"/>
                    <a:pt x="1059" y="1125"/>
                  </a:cubicBezTo>
                  <a:cubicBezTo>
                    <a:pt x="1088" y="1147"/>
                    <a:pt x="1088" y="1147"/>
                    <a:pt x="1088" y="1147"/>
                  </a:cubicBezTo>
                  <a:cubicBezTo>
                    <a:pt x="1105" y="1168"/>
                    <a:pt x="1105" y="1168"/>
                    <a:pt x="1105" y="1168"/>
                  </a:cubicBezTo>
                  <a:cubicBezTo>
                    <a:pt x="1095" y="1160"/>
                    <a:pt x="1095" y="1160"/>
                    <a:pt x="1095" y="1160"/>
                  </a:cubicBezTo>
                  <a:cubicBezTo>
                    <a:pt x="1089" y="1163"/>
                    <a:pt x="1089" y="1163"/>
                    <a:pt x="1089" y="1163"/>
                  </a:cubicBezTo>
                  <a:cubicBezTo>
                    <a:pt x="1093" y="1170"/>
                    <a:pt x="1093" y="1170"/>
                    <a:pt x="1093" y="1170"/>
                  </a:cubicBezTo>
                  <a:cubicBezTo>
                    <a:pt x="1114" y="1176"/>
                    <a:pt x="1114" y="1176"/>
                    <a:pt x="1114" y="1176"/>
                  </a:cubicBezTo>
                  <a:cubicBezTo>
                    <a:pt x="1113" y="1192"/>
                    <a:pt x="1113" y="1192"/>
                    <a:pt x="1113" y="1192"/>
                  </a:cubicBezTo>
                  <a:cubicBezTo>
                    <a:pt x="1097" y="1252"/>
                    <a:pt x="1097" y="1252"/>
                    <a:pt x="1097" y="1252"/>
                  </a:cubicBezTo>
                  <a:cubicBezTo>
                    <a:pt x="1084" y="1280"/>
                    <a:pt x="1084" y="1280"/>
                    <a:pt x="1084" y="1280"/>
                  </a:cubicBezTo>
                  <a:cubicBezTo>
                    <a:pt x="1081" y="1297"/>
                    <a:pt x="1081" y="1297"/>
                    <a:pt x="1081" y="1297"/>
                  </a:cubicBezTo>
                  <a:cubicBezTo>
                    <a:pt x="1079" y="1314"/>
                    <a:pt x="1079" y="1314"/>
                    <a:pt x="1079" y="1314"/>
                  </a:cubicBezTo>
                  <a:cubicBezTo>
                    <a:pt x="1083" y="1328"/>
                    <a:pt x="1083" y="1328"/>
                    <a:pt x="1083" y="1328"/>
                  </a:cubicBezTo>
                  <a:cubicBezTo>
                    <a:pt x="1083" y="1328"/>
                    <a:pt x="1083" y="1332"/>
                    <a:pt x="1087" y="1336"/>
                  </a:cubicBezTo>
                  <a:cubicBezTo>
                    <a:pt x="1091" y="1340"/>
                    <a:pt x="1092" y="1344"/>
                    <a:pt x="1097" y="1348"/>
                  </a:cubicBezTo>
                  <a:cubicBezTo>
                    <a:pt x="1102" y="1351"/>
                    <a:pt x="1100" y="1353"/>
                    <a:pt x="1118" y="1354"/>
                  </a:cubicBezTo>
                  <a:cubicBezTo>
                    <a:pt x="1135" y="1356"/>
                    <a:pt x="1119" y="1364"/>
                    <a:pt x="1120" y="1367"/>
                  </a:cubicBezTo>
                  <a:cubicBezTo>
                    <a:pt x="1121" y="1369"/>
                    <a:pt x="1122" y="1383"/>
                    <a:pt x="1129" y="1397"/>
                  </a:cubicBezTo>
                  <a:cubicBezTo>
                    <a:pt x="1136" y="1411"/>
                    <a:pt x="1140" y="1409"/>
                    <a:pt x="1151" y="1415"/>
                  </a:cubicBezTo>
                  <a:cubicBezTo>
                    <a:pt x="1162" y="1420"/>
                    <a:pt x="1157" y="1422"/>
                    <a:pt x="1164" y="1436"/>
                  </a:cubicBezTo>
                  <a:cubicBezTo>
                    <a:pt x="1171" y="1449"/>
                    <a:pt x="1188" y="1443"/>
                    <a:pt x="1191" y="1443"/>
                  </a:cubicBezTo>
                  <a:cubicBezTo>
                    <a:pt x="1193" y="1443"/>
                    <a:pt x="1195" y="1446"/>
                    <a:pt x="1198" y="1450"/>
                  </a:cubicBezTo>
                  <a:cubicBezTo>
                    <a:pt x="1198" y="1450"/>
                    <a:pt x="1198" y="1450"/>
                    <a:pt x="1198" y="1450"/>
                  </a:cubicBezTo>
                  <a:cubicBezTo>
                    <a:pt x="1198" y="1450"/>
                    <a:pt x="1192" y="1456"/>
                    <a:pt x="1190" y="1457"/>
                  </a:cubicBezTo>
                  <a:cubicBezTo>
                    <a:pt x="1189" y="1458"/>
                    <a:pt x="1188" y="1459"/>
                    <a:pt x="1187" y="1460"/>
                  </a:cubicBezTo>
                  <a:cubicBezTo>
                    <a:pt x="1186" y="1462"/>
                    <a:pt x="1189" y="1463"/>
                    <a:pt x="1187" y="1464"/>
                  </a:cubicBezTo>
                  <a:cubicBezTo>
                    <a:pt x="1185" y="1465"/>
                    <a:pt x="1183" y="1469"/>
                    <a:pt x="1183" y="1471"/>
                  </a:cubicBezTo>
                  <a:cubicBezTo>
                    <a:pt x="1184" y="1473"/>
                    <a:pt x="1182" y="1476"/>
                    <a:pt x="1182" y="1476"/>
                  </a:cubicBezTo>
                  <a:cubicBezTo>
                    <a:pt x="1182" y="1476"/>
                    <a:pt x="1178" y="1481"/>
                    <a:pt x="1173" y="1481"/>
                  </a:cubicBezTo>
                  <a:cubicBezTo>
                    <a:pt x="1169" y="1482"/>
                    <a:pt x="1166" y="1480"/>
                    <a:pt x="1162" y="1479"/>
                  </a:cubicBezTo>
                  <a:cubicBezTo>
                    <a:pt x="1158" y="1478"/>
                    <a:pt x="1158" y="1478"/>
                    <a:pt x="1158" y="1478"/>
                  </a:cubicBezTo>
                  <a:cubicBezTo>
                    <a:pt x="1158" y="1478"/>
                    <a:pt x="1155" y="1478"/>
                    <a:pt x="1151" y="1477"/>
                  </a:cubicBezTo>
                  <a:cubicBezTo>
                    <a:pt x="1147" y="1475"/>
                    <a:pt x="1150" y="1475"/>
                    <a:pt x="1150" y="1475"/>
                  </a:cubicBezTo>
                  <a:cubicBezTo>
                    <a:pt x="1146" y="1471"/>
                    <a:pt x="1146" y="1471"/>
                    <a:pt x="1146" y="1471"/>
                  </a:cubicBezTo>
                  <a:cubicBezTo>
                    <a:pt x="1142" y="1466"/>
                    <a:pt x="1142" y="1466"/>
                    <a:pt x="1142" y="1466"/>
                  </a:cubicBezTo>
                  <a:cubicBezTo>
                    <a:pt x="1142" y="1466"/>
                    <a:pt x="1141" y="1465"/>
                    <a:pt x="1141" y="1463"/>
                  </a:cubicBezTo>
                  <a:cubicBezTo>
                    <a:pt x="1140" y="1461"/>
                    <a:pt x="1140" y="1463"/>
                    <a:pt x="1138" y="1463"/>
                  </a:cubicBezTo>
                  <a:cubicBezTo>
                    <a:pt x="1136" y="1463"/>
                    <a:pt x="1135" y="1464"/>
                    <a:pt x="1133" y="1463"/>
                  </a:cubicBezTo>
                  <a:cubicBezTo>
                    <a:pt x="1132" y="1462"/>
                    <a:pt x="1132" y="1461"/>
                    <a:pt x="1132" y="1460"/>
                  </a:cubicBezTo>
                  <a:cubicBezTo>
                    <a:pt x="1132" y="1459"/>
                    <a:pt x="1129" y="1457"/>
                    <a:pt x="1126" y="1457"/>
                  </a:cubicBezTo>
                  <a:cubicBezTo>
                    <a:pt x="1123" y="1456"/>
                    <a:pt x="1124" y="1454"/>
                    <a:pt x="1120" y="1454"/>
                  </a:cubicBezTo>
                  <a:cubicBezTo>
                    <a:pt x="1116" y="1454"/>
                    <a:pt x="1119" y="1451"/>
                    <a:pt x="1119" y="1449"/>
                  </a:cubicBezTo>
                  <a:cubicBezTo>
                    <a:pt x="1118" y="1448"/>
                    <a:pt x="1115" y="1451"/>
                    <a:pt x="1114" y="1452"/>
                  </a:cubicBezTo>
                  <a:cubicBezTo>
                    <a:pt x="1113" y="1453"/>
                    <a:pt x="1112" y="1455"/>
                    <a:pt x="1110" y="1455"/>
                  </a:cubicBezTo>
                  <a:cubicBezTo>
                    <a:pt x="1109" y="1456"/>
                    <a:pt x="1108" y="1450"/>
                    <a:pt x="1108" y="1450"/>
                  </a:cubicBezTo>
                  <a:cubicBezTo>
                    <a:pt x="1108" y="1450"/>
                    <a:pt x="1108" y="1450"/>
                    <a:pt x="1104" y="1450"/>
                  </a:cubicBezTo>
                  <a:cubicBezTo>
                    <a:pt x="1099" y="1450"/>
                    <a:pt x="1102" y="1452"/>
                    <a:pt x="1102" y="1452"/>
                  </a:cubicBezTo>
                  <a:cubicBezTo>
                    <a:pt x="1099" y="1459"/>
                    <a:pt x="1099" y="1459"/>
                    <a:pt x="1099" y="1459"/>
                  </a:cubicBezTo>
                  <a:cubicBezTo>
                    <a:pt x="1094" y="1463"/>
                    <a:pt x="1094" y="1463"/>
                    <a:pt x="1094" y="1463"/>
                  </a:cubicBezTo>
                  <a:cubicBezTo>
                    <a:pt x="1094" y="1463"/>
                    <a:pt x="1095" y="1466"/>
                    <a:pt x="1096" y="1468"/>
                  </a:cubicBezTo>
                  <a:cubicBezTo>
                    <a:pt x="1096" y="1470"/>
                    <a:pt x="1099" y="1471"/>
                    <a:pt x="1099" y="1471"/>
                  </a:cubicBezTo>
                  <a:cubicBezTo>
                    <a:pt x="1099" y="1471"/>
                    <a:pt x="1102" y="1473"/>
                    <a:pt x="1105" y="1475"/>
                  </a:cubicBezTo>
                  <a:cubicBezTo>
                    <a:pt x="1108" y="1477"/>
                    <a:pt x="1107" y="1477"/>
                    <a:pt x="1109" y="1477"/>
                  </a:cubicBezTo>
                  <a:cubicBezTo>
                    <a:pt x="1111" y="1478"/>
                    <a:pt x="1114" y="1479"/>
                    <a:pt x="1118" y="1481"/>
                  </a:cubicBezTo>
                  <a:cubicBezTo>
                    <a:pt x="1122" y="1482"/>
                    <a:pt x="1120" y="1481"/>
                    <a:pt x="1126" y="1486"/>
                  </a:cubicBezTo>
                  <a:cubicBezTo>
                    <a:pt x="1131" y="1490"/>
                    <a:pt x="1125" y="1486"/>
                    <a:pt x="1124" y="1489"/>
                  </a:cubicBezTo>
                  <a:cubicBezTo>
                    <a:pt x="1123" y="1493"/>
                    <a:pt x="1117" y="1485"/>
                    <a:pt x="1113" y="1487"/>
                  </a:cubicBezTo>
                  <a:cubicBezTo>
                    <a:pt x="1109" y="1488"/>
                    <a:pt x="1108" y="1485"/>
                    <a:pt x="1105" y="1486"/>
                  </a:cubicBezTo>
                  <a:cubicBezTo>
                    <a:pt x="1105" y="1486"/>
                    <a:pt x="1105" y="1486"/>
                    <a:pt x="1105" y="1486"/>
                  </a:cubicBezTo>
                  <a:cubicBezTo>
                    <a:pt x="1104" y="1486"/>
                    <a:pt x="1104" y="1486"/>
                    <a:pt x="1104" y="1486"/>
                  </a:cubicBezTo>
                  <a:cubicBezTo>
                    <a:pt x="1104" y="1485"/>
                    <a:pt x="1103" y="1484"/>
                    <a:pt x="1103" y="1483"/>
                  </a:cubicBezTo>
                  <a:cubicBezTo>
                    <a:pt x="1102" y="1482"/>
                    <a:pt x="1097" y="1482"/>
                    <a:pt x="1097" y="1482"/>
                  </a:cubicBezTo>
                  <a:cubicBezTo>
                    <a:pt x="1093" y="1481"/>
                    <a:pt x="1093" y="1481"/>
                    <a:pt x="1093" y="1481"/>
                  </a:cubicBezTo>
                  <a:cubicBezTo>
                    <a:pt x="1090" y="1480"/>
                    <a:pt x="1090" y="1480"/>
                    <a:pt x="1090" y="1480"/>
                  </a:cubicBezTo>
                  <a:cubicBezTo>
                    <a:pt x="1087" y="1475"/>
                    <a:pt x="1087" y="1475"/>
                    <a:pt x="1087" y="1475"/>
                  </a:cubicBezTo>
                  <a:cubicBezTo>
                    <a:pt x="1084" y="1473"/>
                    <a:pt x="1084" y="1473"/>
                    <a:pt x="1084" y="1473"/>
                  </a:cubicBezTo>
                  <a:cubicBezTo>
                    <a:pt x="1081" y="1469"/>
                    <a:pt x="1081" y="1469"/>
                    <a:pt x="1081" y="1469"/>
                  </a:cubicBezTo>
                  <a:cubicBezTo>
                    <a:pt x="1082" y="1467"/>
                    <a:pt x="1082" y="1467"/>
                    <a:pt x="1082" y="1467"/>
                  </a:cubicBezTo>
                  <a:cubicBezTo>
                    <a:pt x="1085" y="1463"/>
                    <a:pt x="1085" y="1463"/>
                    <a:pt x="1085" y="1463"/>
                  </a:cubicBezTo>
                  <a:cubicBezTo>
                    <a:pt x="1085" y="1463"/>
                    <a:pt x="1086" y="1463"/>
                    <a:pt x="1087" y="1461"/>
                  </a:cubicBezTo>
                  <a:cubicBezTo>
                    <a:pt x="1089" y="1458"/>
                    <a:pt x="1087" y="1458"/>
                    <a:pt x="1087" y="1458"/>
                  </a:cubicBezTo>
                  <a:cubicBezTo>
                    <a:pt x="1087" y="1458"/>
                    <a:pt x="1083" y="1456"/>
                    <a:pt x="1081" y="1455"/>
                  </a:cubicBezTo>
                  <a:cubicBezTo>
                    <a:pt x="1079" y="1454"/>
                    <a:pt x="1076" y="1457"/>
                    <a:pt x="1076" y="1457"/>
                  </a:cubicBezTo>
                  <a:cubicBezTo>
                    <a:pt x="1070" y="1456"/>
                    <a:pt x="1070" y="1456"/>
                    <a:pt x="1070" y="1456"/>
                  </a:cubicBezTo>
                  <a:cubicBezTo>
                    <a:pt x="1065" y="1456"/>
                    <a:pt x="1065" y="1456"/>
                    <a:pt x="1065" y="1456"/>
                  </a:cubicBezTo>
                  <a:cubicBezTo>
                    <a:pt x="1061" y="1452"/>
                    <a:pt x="1061" y="1452"/>
                    <a:pt x="1061" y="1452"/>
                  </a:cubicBezTo>
                  <a:cubicBezTo>
                    <a:pt x="1054" y="1450"/>
                    <a:pt x="1054" y="1450"/>
                    <a:pt x="1054" y="1450"/>
                  </a:cubicBezTo>
                  <a:cubicBezTo>
                    <a:pt x="1050" y="1448"/>
                    <a:pt x="1050" y="1448"/>
                    <a:pt x="1050" y="1448"/>
                  </a:cubicBezTo>
                  <a:cubicBezTo>
                    <a:pt x="1050" y="1448"/>
                    <a:pt x="1050" y="1440"/>
                    <a:pt x="1050" y="1439"/>
                  </a:cubicBezTo>
                  <a:cubicBezTo>
                    <a:pt x="1050" y="1437"/>
                    <a:pt x="1050" y="1434"/>
                    <a:pt x="1050" y="1434"/>
                  </a:cubicBezTo>
                  <a:cubicBezTo>
                    <a:pt x="1050" y="1434"/>
                    <a:pt x="1044" y="1433"/>
                    <a:pt x="1041" y="1434"/>
                  </a:cubicBezTo>
                  <a:cubicBezTo>
                    <a:pt x="1039" y="1435"/>
                    <a:pt x="1036" y="1434"/>
                    <a:pt x="1036" y="1434"/>
                  </a:cubicBezTo>
                  <a:cubicBezTo>
                    <a:pt x="1036" y="1434"/>
                    <a:pt x="1028" y="1433"/>
                    <a:pt x="1027" y="1431"/>
                  </a:cubicBezTo>
                  <a:cubicBezTo>
                    <a:pt x="1027" y="1429"/>
                    <a:pt x="1027" y="1430"/>
                    <a:pt x="1026" y="1430"/>
                  </a:cubicBezTo>
                  <a:cubicBezTo>
                    <a:pt x="1024" y="1430"/>
                    <a:pt x="1018" y="1430"/>
                    <a:pt x="1018" y="1430"/>
                  </a:cubicBezTo>
                  <a:cubicBezTo>
                    <a:pt x="1012" y="1428"/>
                    <a:pt x="1012" y="1428"/>
                    <a:pt x="1012" y="1428"/>
                  </a:cubicBezTo>
                  <a:cubicBezTo>
                    <a:pt x="1012" y="1437"/>
                    <a:pt x="1012" y="1437"/>
                    <a:pt x="1012" y="1437"/>
                  </a:cubicBezTo>
                  <a:cubicBezTo>
                    <a:pt x="1011" y="1435"/>
                    <a:pt x="1011" y="1435"/>
                    <a:pt x="1011" y="1435"/>
                  </a:cubicBezTo>
                  <a:cubicBezTo>
                    <a:pt x="1001" y="1434"/>
                    <a:pt x="1001" y="1434"/>
                    <a:pt x="1001" y="1434"/>
                  </a:cubicBezTo>
                  <a:cubicBezTo>
                    <a:pt x="995" y="1437"/>
                    <a:pt x="995" y="1437"/>
                    <a:pt x="995" y="1437"/>
                  </a:cubicBezTo>
                  <a:cubicBezTo>
                    <a:pt x="990" y="1439"/>
                    <a:pt x="990" y="1439"/>
                    <a:pt x="990" y="1439"/>
                  </a:cubicBezTo>
                  <a:cubicBezTo>
                    <a:pt x="990" y="1442"/>
                    <a:pt x="990" y="1442"/>
                    <a:pt x="990" y="1442"/>
                  </a:cubicBezTo>
                  <a:cubicBezTo>
                    <a:pt x="988" y="1445"/>
                    <a:pt x="988" y="1445"/>
                    <a:pt x="988" y="1445"/>
                  </a:cubicBezTo>
                  <a:cubicBezTo>
                    <a:pt x="988" y="1445"/>
                    <a:pt x="985" y="1446"/>
                    <a:pt x="983" y="1446"/>
                  </a:cubicBezTo>
                  <a:cubicBezTo>
                    <a:pt x="983" y="1447"/>
                    <a:pt x="982" y="1449"/>
                    <a:pt x="982" y="1450"/>
                  </a:cubicBezTo>
                  <a:cubicBezTo>
                    <a:pt x="981" y="1451"/>
                    <a:pt x="979" y="1451"/>
                    <a:pt x="979" y="1451"/>
                  </a:cubicBezTo>
                  <a:cubicBezTo>
                    <a:pt x="975" y="1450"/>
                    <a:pt x="975" y="1450"/>
                    <a:pt x="975" y="1450"/>
                  </a:cubicBezTo>
                  <a:cubicBezTo>
                    <a:pt x="972" y="1450"/>
                    <a:pt x="972" y="1450"/>
                    <a:pt x="972" y="1450"/>
                  </a:cubicBezTo>
                  <a:cubicBezTo>
                    <a:pt x="970" y="1448"/>
                    <a:pt x="970" y="1448"/>
                    <a:pt x="970" y="1448"/>
                  </a:cubicBezTo>
                  <a:cubicBezTo>
                    <a:pt x="972" y="1444"/>
                    <a:pt x="972" y="1444"/>
                    <a:pt x="972" y="1444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66" y="1442"/>
                    <a:pt x="966" y="1442"/>
                    <a:pt x="966" y="1442"/>
                  </a:cubicBezTo>
                  <a:cubicBezTo>
                    <a:pt x="960" y="1440"/>
                    <a:pt x="960" y="1440"/>
                    <a:pt x="960" y="1440"/>
                  </a:cubicBezTo>
                  <a:cubicBezTo>
                    <a:pt x="947" y="1439"/>
                    <a:pt x="947" y="1439"/>
                    <a:pt x="947" y="1439"/>
                  </a:cubicBezTo>
                  <a:cubicBezTo>
                    <a:pt x="939" y="1437"/>
                    <a:pt x="939" y="1437"/>
                    <a:pt x="939" y="1437"/>
                  </a:cubicBezTo>
                  <a:cubicBezTo>
                    <a:pt x="934" y="1432"/>
                    <a:pt x="934" y="1432"/>
                    <a:pt x="934" y="1432"/>
                  </a:cubicBezTo>
                  <a:cubicBezTo>
                    <a:pt x="926" y="1430"/>
                    <a:pt x="926" y="1430"/>
                    <a:pt x="926" y="1430"/>
                  </a:cubicBezTo>
                  <a:cubicBezTo>
                    <a:pt x="919" y="1435"/>
                    <a:pt x="919" y="1435"/>
                    <a:pt x="919" y="1435"/>
                  </a:cubicBezTo>
                  <a:cubicBezTo>
                    <a:pt x="919" y="1435"/>
                    <a:pt x="912" y="1432"/>
                    <a:pt x="909" y="1432"/>
                  </a:cubicBezTo>
                  <a:cubicBezTo>
                    <a:pt x="907" y="1433"/>
                    <a:pt x="903" y="1434"/>
                    <a:pt x="902" y="1435"/>
                  </a:cubicBezTo>
                  <a:cubicBezTo>
                    <a:pt x="901" y="1435"/>
                    <a:pt x="901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6" y="1439"/>
                    <a:pt x="894" y="1438"/>
                    <a:pt x="892" y="1438"/>
                  </a:cubicBezTo>
                  <a:cubicBezTo>
                    <a:pt x="891" y="1439"/>
                    <a:pt x="890" y="1440"/>
                    <a:pt x="888" y="1440"/>
                  </a:cubicBezTo>
                  <a:cubicBezTo>
                    <a:pt x="886" y="1440"/>
                    <a:pt x="885" y="1439"/>
                    <a:pt x="883" y="1439"/>
                  </a:cubicBezTo>
                  <a:cubicBezTo>
                    <a:pt x="882" y="1440"/>
                    <a:pt x="881" y="1441"/>
                    <a:pt x="879" y="1441"/>
                  </a:cubicBezTo>
                  <a:cubicBezTo>
                    <a:pt x="877" y="1441"/>
                    <a:pt x="876" y="1439"/>
                    <a:pt x="876" y="1439"/>
                  </a:cubicBezTo>
                  <a:cubicBezTo>
                    <a:pt x="873" y="1439"/>
                    <a:pt x="873" y="1439"/>
                    <a:pt x="873" y="1439"/>
                  </a:cubicBezTo>
                  <a:cubicBezTo>
                    <a:pt x="870" y="1436"/>
                    <a:pt x="870" y="1436"/>
                    <a:pt x="870" y="1436"/>
                  </a:cubicBezTo>
                  <a:cubicBezTo>
                    <a:pt x="870" y="1436"/>
                    <a:pt x="869" y="1438"/>
                    <a:pt x="866" y="1438"/>
                  </a:cubicBezTo>
                  <a:cubicBezTo>
                    <a:pt x="864" y="1437"/>
                    <a:pt x="862" y="1436"/>
                    <a:pt x="860" y="1437"/>
                  </a:cubicBezTo>
                  <a:cubicBezTo>
                    <a:pt x="858" y="1437"/>
                    <a:pt x="855" y="1438"/>
                    <a:pt x="855" y="1438"/>
                  </a:cubicBezTo>
                  <a:cubicBezTo>
                    <a:pt x="847" y="1435"/>
                    <a:pt x="847" y="1435"/>
                    <a:pt x="847" y="1435"/>
                  </a:cubicBezTo>
                  <a:cubicBezTo>
                    <a:pt x="842" y="1434"/>
                    <a:pt x="842" y="1434"/>
                    <a:pt x="842" y="1434"/>
                  </a:cubicBezTo>
                  <a:cubicBezTo>
                    <a:pt x="838" y="1433"/>
                    <a:pt x="838" y="1433"/>
                    <a:pt x="838" y="1433"/>
                  </a:cubicBezTo>
                  <a:cubicBezTo>
                    <a:pt x="836" y="1436"/>
                    <a:pt x="836" y="1436"/>
                    <a:pt x="836" y="1436"/>
                  </a:cubicBezTo>
                  <a:cubicBezTo>
                    <a:pt x="831" y="1436"/>
                    <a:pt x="831" y="1436"/>
                    <a:pt x="831" y="1436"/>
                  </a:cubicBezTo>
                  <a:cubicBezTo>
                    <a:pt x="831" y="1436"/>
                    <a:pt x="825" y="1434"/>
                    <a:pt x="821" y="1435"/>
                  </a:cubicBezTo>
                  <a:cubicBezTo>
                    <a:pt x="820" y="1435"/>
                    <a:pt x="817" y="1438"/>
                    <a:pt x="816" y="1438"/>
                  </a:cubicBezTo>
                  <a:cubicBezTo>
                    <a:pt x="815" y="1439"/>
                    <a:pt x="819" y="1442"/>
                    <a:pt x="817" y="1442"/>
                  </a:cubicBezTo>
                  <a:cubicBezTo>
                    <a:pt x="787" y="1439"/>
                    <a:pt x="752" y="1427"/>
                    <a:pt x="722" y="1419"/>
                  </a:cubicBezTo>
                  <a:cubicBezTo>
                    <a:pt x="722" y="1419"/>
                    <a:pt x="697" y="1413"/>
                    <a:pt x="693" y="1413"/>
                  </a:cubicBezTo>
                  <a:cubicBezTo>
                    <a:pt x="689" y="1413"/>
                    <a:pt x="681" y="1402"/>
                    <a:pt x="681" y="1399"/>
                  </a:cubicBezTo>
                  <a:cubicBezTo>
                    <a:pt x="681" y="1396"/>
                    <a:pt x="680" y="1387"/>
                    <a:pt x="684" y="1385"/>
                  </a:cubicBezTo>
                  <a:cubicBezTo>
                    <a:pt x="688" y="1383"/>
                    <a:pt x="688" y="1383"/>
                    <a:pt x="695" y="1377"/>
                  </a:cubicBezTo>
                  <a:cubicBezTo>
                    <a:pt x="701" y="1370"/>
                    <a:pt x="701" y="1365"/>
                    <a:pt x="701" y="1365"/>
                  </a:cubicBezTo>
                  <a:cubicBezTo>
                    <a:pt x="686" y="1356"/>
                    <a:pt x="686" y="1356"/>
                    <a:pt x="686" y="1356"/>
                  </a:cubicBezTo>
                  <a:cubicBezTo>
                    <a:pt x="686" y="1356"/>
                    <a:pt x="669" y="1365"/>
                    <a:pt x="666" y="1363"/>
                  </a:cubicBezTo>
                  <a:cubicBezTo>
                    <a:pt x="662" y="1361"/>
                    <a:pt x="646" y="1372"/>
                    <a:pt x="646" y="1372"/>
                  </a:cubicBezTo>
                  <a:cubicBezTo>
                    <a:pt x="630" y="1373"/>
                    <a:pt x="630" y="1373"/>
                    <a:pt x="630" y="1373"/>
                  </a:cubicBezTo>
                  <a:cubicBezTo>
                    <a:pt x="630" y="1371"/>
                    <a:pt x="630" y="1371"/>
                    <a:pt x="630" y="1371"/>
                  </a:cubicBezTo>
                  <a:cubicBezTo>
                    <a:pt x="630" y="1371"/>
                    <a:pt x="633" y="1361"/>
                    <a:pt x="637" y="1363"/>
                  </a:cubicBezTo>
                  <a:cubicBezTo>
                    <a:pt x="641" y="1351"/>
                    <a:pt x="641" y="1351"/>
                    <a:pt x="641" y="1351"/>
                  </a:cubicBezTo>
                  <a:cubicBezTo>
                    <a:pt x="639" y="1337"/>
                    <a:pt x="639" y="1337"/>
                    <a:pt x="639" y="1337"/>
                  </a:cubicBezTo>
                  <a:cubicBezTo>
                    <a:pt x="635" y="1318"/>
                    <a:pt x="635" y="1318"/>
                    <a:pt x="635" y="1318"/>
                  </a:cubicBezTo>
                  <a:cubicBezTo>
                    <a:pt x="655" y="1317"/>
                    <a:pt x="655" y="1317"/>
                    <a:pt x="655" y="1317"/>
                  </a:cubicBezTo>
                  <a:cubicBezTo>
                    <a:pt x="673" y="1307"/>
                    <a:pt x="673" y="1307"/>
                    <a:pt x="673" y="1307"/>
                  </a:cubicBezTo>
                  <a:cubicBezTo>
                    <a:pt x="667" y="1297"/>
                    <a:pt x="667" y="1297"/>
                    <a:pt x="667" y="1297"/>
                  </a:cubicBezTo>
                  <a:cubicBezTo>
                    <a:pt x="650" y="1303"/>
                    <a:pt x="650" y="1303"/>
                    <a:pt x="650" y="1303"/>
                  </a:cubicBezTo>
                  <a:cubicBezTo>
                    <a:pt x="634" y="1300"/>
                    <a:pt x="634" y="1300"/>
                    <a:pt x="634" y="1300"/>
                  </a:cubicBezTo>
                  <a:cubicBezTo>
                    <a:pt x="613" y="1318"/>
                    <a:pt x="613" y="1318"/>
                    <a:pt x="613" y="1318"/>
                  </a:cubicBezTo>
                  <a:cubicBezTo>
                    <a:pt x="589" y="1318"/>
                    <a:pt x="589" y="1318"/>
                    <a:pt x="589" y="1318"/>
                  </a:cubicBezTo>
                  <a:cubicBezTo>
                    <a:pt x="581" y="1317"/>
                    <a:pt x="581" y="1317"/>
                    <a:pt x="581" y="1317"/>
                  </a:cubicBezTo>
                  <a:cubicBezTo>
                    <a:pt x="582" y="1315"/>
                    <a:pt x="582" y="1313"/>
                    <a:pt x="583" y="1313"/>
                  </a:cubicBezTo>
                  <a:cubicBezTo>
                    <a:pt x="585" y="1312"/>
                    <a:pt x="600" y="1307"/>
                    <a:pt x="600" y="1307"/>
                  </a:cubicBezTo>
                  <a:cubicBezTo>
                    <a:pt x="610" y="1301"/>
                    <a:pt x="610" y="1301"/>
                    <a:pt x="610" y="1301"/>
                  </a:cubicBezTo>
                  <a:cubicBezTo>
                    <a:pt x="610" y="1301"/>
                    <a:pt x="615" y="1294"/>
                    <a:pt x="617" y="1293"/>
                  </a:cubicBezTo>
                  <a:cubicBezTo>
                    <a:pt x="619" y="1293"/>
                    <a:pt x="621" y="1289"/>
                    <a:pt x="623" y="1284"/>
                  </a:cubicBezTo>
                  <a:cubicBezTo>
                    <a:pt x="626" y="1280"/>
                    <a:pt x="628" y="1277"/>
                    <a:pt x="628" y="1277"/>
                  </a:cubicBezTo>
                  <a:cubicBezTo>
                    <a:pt x="628" y="1277"/>
                    <a:pt x="640" y="1274"/>
                    <a:pt x="639" y="1273"/>
                  </a:cubicBezTo>
                  <a:cubicBezTo>
                    <a:pt x="639" y="1271"/>
                    <a:pt x="634" y="1267"/>
                    <a:pt x="640" y="1267"/>
                  </a:cubicBezTo>
                  <a:cubicBezTo>
                    <a:pt x="646" y="1267"/>
                    <a:pt x="646" y="1267"/>
                    <a:pt x="649" y="1265"/>
                  </a:cubicBezTo>
                  <a:cubicBezTo>
                    <a:pt x="651" y="1264"/>
                    <a:pt x="650" y="1263"/>
                    <a:pt x="651" y="1260"/>
                  </a:cubicBezTo>
                  <a:cubicBezTo>
                    <a:pt x="653" y="1258"/>
                    <a:pt x="654" y="1255"/>
                    <a:pt x="654" y="1253"/>
                  </a:cubicBezTo>
                  <a:cubicBezTo>
                    <a:pt x="653" y="1251"/>
                    <a:pt x="648" y="1243"/>
                    <a:pt x="648" y="1241"/>
                  </a:cubicBezTo>
                  <a:cubicBezTo>
                    <a:pt x="647" y="1238"/>
                    <a:pt x="648" y="1232"/>
                    <a:pt x="648" y="1232"/>
                  </a:cubicBezTo>
                  <a:cubicBezTo>
                    <a:pt x="648" y="1232"/>
                    <a:pt x="651" y="1231"/>
                    <a:pt x="654" y="1230"/>
                  </a:cubicBezTo>
                  <a:cubicBezTo>
                    <a:pt x="656" y="1228"/>
                    <a:pt x="660" y="1221"/>
                    <a:pt x="660" y="1221"/>
                  </a:cubicBezTo>
                  <a:cubicBezTo>
                    <a:pt x="661" y="1216"/>
                    <a:pt x="661" y="1216"/>
                    <a:pt x="661" y="1216"/>
                  </a:cubicBezTo>
                  <a:cubicBezTo>
                    <a:pt x="661" y="1216"/>
                    <a:pt x="665" y="1213"/>
                    <a:pt x="666" y="1213"/>
                  </a:cubicBezTo>
                  <a:cubicBezTo>
                    <a:pt x="668" y="1212"/>
                    <a:pt x="684" y="1206"/>
                    <a:pt x="685" y="1206"/>
                  </a:cubicBezTo>
                  <a:cubicBezTo>
                    <a:pt x="686" y="1206"/>
                    <a:pt x="696" y="1207"/>
                    <a:pt x="693" y="1202"/>
                  </a:cubicBezTo>
                  <a:cubicBezTo>
                    <a:pt x="690" y="1198"/>
                    <a:pt x="689" y="1196"/>
                    <a:pt x="688" y="1193"/>
                  </a:cubicBezTo>
                  <a:cubicBezTo>
                    <a:pt x="687" y="1190"/>
                    <a:pt x="687" y="1183"/>
                    <a:pt x="687" y="1182"/>
                  </a:cubicBezTo>
                  <a:cubicBezTo>
                    <a:pt x="688" y="1181"/>
                    <a:pt x="696" y="1178"/>
                    <a:pt x="687" y="1177"/>
                  </a:cubicBezTo>
                  <a:cubicBezTo>
                    <a:pt x="678" y="1176"/>
                    <a:pt x="685" y="1173"/>
                    <a:pt x="683" y="1171"/>
                  </a:cubicBezTo>
                  <a:cubicBezTo>
                    <a:pt x="680" y="1169"/>
                    <a:pt x="674" y="1165"/>
                    <a:pt x="674" y="1165"/>
                  </a:cubicBezTo>
                  <a:cubicBezTo>
                    <a:pt x="671" y="1165"/>
                    <a:pt x="671" y="1165"/>
                    <a:pt x="671" y="1165"/>
                  </a:cubicBezTo>
                  <a:cubicBezTo>
                    <a:pt x="672" y="1155"/>
                    <a:pt x="672" y="1155"/>
                    <a:pt x="672" y="1155"/>
                  </a:cubicBezTo>
                  <a:cubicBezTo>
                    <a:pt x="672" y="1155"/>
                    <a:pt x="675" y="1151"/>
                    <a:pt x="676" y="1151"/>
                  </a:cubicBezTo>
                  <a:cubicBezTo>
                    <a:pt x="677" y="1150"/>
                    <a:pt x="678" y="1146"/>
                    <a:pt x="676" y="1146"/>
                  </a:cubicBezTo>
                  <a:cubicBezTo>
                    <a:pt x="674" y="1147"/>
                    <a:pt x="668" y="1148"/>
                    <a:pt x="668" y="1148"/>
                  </a:cubicBezTo>
                  <a:cubicBezTo>
                    <a:pt x="668" y="1148"/>
                    <a:pt x="663" y="1148"/>
                    <a:pt x="664" y="1146"/>
                  </a:cubicBezTo>
                  <a:cubicBezTo>
                    <a:pt x="664" y="1143"/>
                    <a:pt x="666" y="1143"/>
                    <a:pt x="669" y="1140"/>
                  </a:cubicBezTo>
                  <a:cubicBezTo>
                    <a:pt x="672" y="1137"/>
                    <a:pt x="673" y="1135"/>
                    <a:pt x="673" y="1135"/>
                  </a:cubicBezTo>
                  <a:cubicBezTo>
                    <a:pt x="672" y="1129"/>
                    <a:pt x="672" y="1129"/>
                    <a:pt x="672" y="1129"/>
                  </a:cubicBezTo>
                  <a:cubicBezTo>
                    <a:pt x="672" y="1129"/>
                    <a:pt x="672" y="1125"/>
                    <a:pt x="671" y="1125"/>
                  </a:cubicBezTo>
                  <a:cubicBezTo>
                    <a:pt x="671" y="1124"/>
                    <a:pt x="665" y="1112"/>
                    <a:pt x="665" y="1112"/>
                  </a:cubicBezTo>
                  <a:cubicBezTo>
                    <a:pt x="665" y="1112"/>
                    <a:pt x="659" y="1110"/>
                    <a:pt x="658" y="1112"/>
                  </a:cubicBezTo>
                  <a:cubicBezTo>
                    <a:pt x="658" y="1114"/>
                    <a:pt x="656" y="1118"/>
                    <a:pt x="656" y="1118"/>
                  </a:cubicBezTo>
                  <a:cubicBezTo>
                    <a:pt x="649" y="1118"/>
                    <a:pt x="649" y="1118"/>
                    <a:pt x="649" y="1118"/>
                  </a:cubicBezTo>
                  <a:cubicBezTo>
                    <a:pt x="645" y="1115"/>
                    <a:pt x="645" y="1115"/>
                    <a:pt x="645" y="1115"/>
                  </a:cubicBezTo>
                  <a:cubicBezTo>
                    <a:pt x="637" y="1113"/>
                    <a:pt x="637" y="1113"/>
                    <a:pt x="637" y="1113"/>
                  </a:cubicBezTo>
                  <a:cubicBezTo>
                    <a:pt x="637" y="1113"/>
                    <a:pt x="636" y="1114"/>
                    <a:pt x="635" y="1115"/>
                  </a:cubicBezTo>
                  <a:cubicBezTo>
                    <a:pt x="635" y="1116"/>
                    <a:pt x="627" y="1111"/>
                    <a:pt x="627" y="1111"/>
                  </a:cubicBezTo>
                  <a:cubicBezTo>
                    <a:pt x="627" y="1111"/>
                    <a:pt x="624" y="1115"/>
                    <a:pt x="623" y="1116"/>
                  </a:cubicBezTo>
                  <a:cubicBezTo>
                    <a:pt x="623" y="1116"/>
                    <a:pt x="615" y="1114"/>
                    <a:pt x="615" y="1114"/>
                  </a:cubicBezTo>
                  <a:cubicBezTo>
                    <a:pt x="607" y="1115"/>
                    <a:pt x="607" y="1115"/>
                    <a:pt x="607" y="1115"/>
                  </a:cubicBezTo>
                  <a:cubicBezTo>
                    <a:pt x="600" y="1116"/>
                    <a:pt x="600" y="1116"/>
                    <a:pt x="600" y="1116"/>
                  </a:cubicBezTo>
                  <a:cubicBezTo>
                    <a:pt x="594" y="1113"/>
                    <a:pt x="594" y="1113"/>
                    <a:pt x="594" y="1113"/>
                  </a:cubicBezTo>
                  <a:cubicBezTo>
                    <a:pt x="592" y="1116"/>
                    <a:pt x="592" y="1116"/>
                    <a:pt x="592" y="1116"/>
                  </a:cubicBezTo>
                  <a:cubicBezTo>
                    <a:pt x="593" y="1121"/>
                    <a:pt x="593" y="1121"/>
                    <a:pt x="593" y="1121"/>
                  </a:cubicBezTo>
                  <a:cubicBezTo>
                    <a:pt x="588" y="1124"/>
                    <a:pt x="588" y="1124"/>
                    <a:pt x="588" y="1124"/>
                  </a:cubicBezTo>
                  <a:cubicBezTo>
                    <a:pt x="582" y="1120"/>
                    <a:pt x="582" y="1120"/>
                    <a:pt x="582" y="1120"/>
                  </a:cubicBezTo>
                  <a:cubicBezTo>
                    <a:pt x="577" y="1119"/>
                    <a:pt x="577" y="1119"/>
                    <a:pt x="577" y="1119"/>
                  </a:cubicBezTo>
                  <a:cubicBezTo>
                    <a:pt x="570" y="1112"/>
                    <a:pt x="570" y="1112"/>
                    <a:pt x="570" y="1112"/>
                  </a:cubicBezTo>
                  <a:cubicBezTo>
                    <a:pt x="564" y="1110"/>
                    <a:pt x="564" y="1110"/>
                    <a:pt x="564" y="1110"/>
                  </a:cubicBezTo>
                  <a:cubicBezTo>
                    <a:pt x="558" y="1107"/>
                    <a:pt x="558" y="1107"/>
                    <a:pt x="558" y="1107"/>
                  </a:cubicBezTo>
                  <a:cubicBezTo>
                    <a:pt x="558" y="1107"/>
                    <a:pt x="555" y="1115"/>
                    <a:pt x="554" y="1116"/>
                  </a:cubicBezTo>
                  <a:cubicBezTo>
                    <a:pt x="553" y="1116"/>
                    <a:pt x="548" y="1118"/>
                    <a:pt x="547" y="1118"/>
                  </a:cubicBezTo>
                  <a:cubicBezTo>
                    <a:pt x="545" y="1119"/>
                    <a:pt x="544" y="1124"/>
                    <a:pt x="544" y="1124"/>
                  </a:cubicBezTo>
                  <a:cubicBezTo>
                    <a:pt x="539" y="1127"/>
                    <a:pt x="539" y="1127"/>
                    <a:pt x="539" y="1127"/>
                  </a:cubicBezTo>
                  <a:cubicBezTo>
                    <a:pt x="539" y="1127"/>
                    <a:pt x="536" y="1125"/>
                    <a:pt x="534" y="1125"/>
                  </a:cubicBezTo>
                  <a:cubicBezTo>
                    <a:pt x="533" y="1125"/>
                    <a:pt x="532" y="1126"/>
                    <a:pt x="532" y="1126"/>
                  </a:cubicBezTo>
                  <a:cubicBezTo>
                    <a:pt x="530" y="1129"/>
                    <a:pt x="530" y="1129"/>
                    <a:pt x="530" y="1129"/>
                  </a:cubicBezTo>
                  <a:cubicBezTo>
                    <a:pt x="530" y="1129"/>
                    <a:pt x="529" y="1129"/>
                    <a:pt x="526" y="1127"/>
                  </a:cubicBezTo>
                  <a:cubicBezTo>
                    <a:pt x="524" y="1126"/>
                    <a:pt x="521" y="1124"/>
                    <a:pt x="521" y="1124"/>
                  </a:cubicBezTo>
                  <a:cubicBezTo>
                    <a:pt x="518" y="1123"/>
                    <a:pt x="518" y="1123"/>
                    <a:pt x="518" y="1123"/>
                  </a:cubicBezTo>
                  <a:cubicBezTo>
                    <a:pt x="518" y="1123"/>
                    <a:pt x="509" y="1127"/>
                    <a:pt x="508" y="1128"/>
                  </a:cubicBezTo>
                  <a:cubicBezTo>
                    <a:pt x="508" y="1129"/>
                    <a:pt x="506" y="1132"/>
                    <a:pt x="506" y="1132"/>
                  </a:cubicBezTo>
                  <a:cubicBezTo>
                    <a:pt x="501" y="1128"/>
                    <a:pt x="501" y="1128"/>
                    <a:pt x="501" y="1128"/>
                  </a:cubicBezTo>
                  <a:cubicBezTo>
                    <a:pt x="495" y="1124"/>
                    <a:pt x="495" y="1124"/>
                    <a:pt x="495" y="1124"/>
                  </a:cubicBezTo>
                  <a:cubicBezTo>
                    <a:pt x="494" y="1117"/>
                    <a:pt x="494" y="1117"/>
                    <a:pt x="494" y="1117"/>
                  </a:cubicBezTo>
                  <a:cubicBezTo>
                    <a:pt x="483" y="1107"/>
                    <a:pt x="483" y="1107"/>
                    <a:pt x="483" y="1107"/>
                  </a:cubicBezTo>
                  <a:cubicBezTo>
                    <a:pt x="481" y="1097"/>
                    <a:pt x="481" y="1097"/>
                    <a:pt x="481" y="1097"/>
                  </a:cubicBezTo>
                  <a:cubicBezTo>
                    <a:pt x="473" y="1091"/>
                    <a:pt x="473" y="1091"/>
                    <a:pt x="473" y="1091"/>
                  </a:cubicBezTo>
                  <a:cubicBezTo>
                    <a:pt x="468" y="1097"/>
                    <a:pt x="468" y="1097"/>
                    <a:pt x="468" y="1097"/>
                  </a:cubicBezTo>
                  <a:cubicBezTo>
                    <a:pt x="460" y="1096"/>
                    <a:pt x="460" y="1096"/>
                    <a:pt x="460" y="1096"/>
                  </a:cubicBezTo>
                  <a:close/>
                  <a:moveTo>
                    <a:pt x="357" y="73"/>
                  </a:moveTo>
                  <a:cubicBezTo>
                    <a:pt x="357" y="73"/>
                    <a:pt x="357" y="73"/>
                    <a:pt x="357" y="73"/>
                  </a:cubicBezTo>
                  <a:cubicBezTo>
                    <a:pt x="358" y="74"/>
                    <a:pt x="358" y="74"/>
                    <a:pt x="358" y="74"/>
                  </a:cubicBezTo>
                  <a:cubicBezTo>
                    <a:pt x="358" y="74"/>
                    <a:pt x="364" y="80"/>
                    <a:pt x="369" y="80"/>
                  </a:cubicBezTo>
                  <a:cubicBezTo>
                    <a:pt x="374" y="80"/>
                    <a:pt x="370" y="80"/>
                    <a:pt x="375" y="79"/>
                  </a:cubicBezTo>
                  <a:cubicBezTo>
                    <a:pt x="379" y="77"/>
                    <a:pt x="380" y="74"/>
                    <a:pt x="382" y="71"/>
                  </a:cubicBezTo>
                  <a:cubicBezTo>
                    <a:pt x="384" y="68"/>
                    <a:pt x="384" y="68"/>
                    <a:pt x="384" y="65"/>
                  </a:cubicBezTo>
                  <a:cubicBezTo>
                    <a:pt x="384" y="62"/>
                    <a:pt x="384" y="57"/>
                    <a:pt x="384" y="54"/>
                  </a:cubicBezTo>
                  <a:cubicBezTo>
                    <a:pt x="384" y="51"/>
                    <a:pt x="387" y="52"/>
                    <a:pt x="390" y="52"/>
                  </a:cubicBezTo>
                  <a:cubicBezTo>
                    <a:pt x="392" y="52"/>
                    <a:pt x="388" y="44"/>
                    <a:pt x="388" y="44"/>
                  </a:cubicBezTo>
                  <a:cubicBezTo>
                    <a:pt x="388" y="44"/>
                    <a:pt x="379" y="40"/>
                    <a:pt x="375" y="40"/>
                  </a:cubicBezTo>
                  <a:cubicBezTo>
                    <a:pt x="371" y="40"/>
                    <a:pt x="362" y="39"/>
                    <a:pt x="362" y="39"/>
                  </a:cubicBezTo>
                  <a:cubicBezTo>
                    <a:pt x="351" y="53"/>
                    <a:pt x="351" y="53"/>
                    <a:pt x="351" y="53"/>
                  </a:cubicBezTo>
                  <a:cubicBezTo>
                    <a:pt x="351" y="53"/>
                    <a:pt x="355" y="72"/>
                    <a:pt x="357" y="73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4" name="Freeform 109"/>
            <p:cNvSpPr>
              <a:spLocks noEditPoints="1"/>
            </p:cNvSpPr>
            <p:nvPr/>
          </p:nvSpPr>
          <p:spPr bwMode="auto">
            <a:xfrm>
              <a:off x="3733036" y="1542151"/>
              <a:ext cx="664056" cy="1216708"/>
            </a:xfrm>
            <a:custGeom>
              <a:avLst/>
              <a:gdLst>
                <a:gd name="T0" fmla="*/ 29 w 291"/>
                <a:gd name="T1" fmla="*/ 540 h 550"/>
                <a:gd name="T2" fmla="*/ 96 w 291"/>
                <a:gd name="T3" fmla="*/ 541 h 550"/>
                <a:gd name="T4" fmla="*/ 173 w 291"/>
                <a:gd name="T5" fmla="*/ 531 h 550"/>
                <a:gd name="T6" fmla="*/ 212 w 291"/>
                <a:gd name="T7" fmla="*/ 534 h 550"/>
                <a:gd name="T8" fmla="*/ 254 w 291"/>
                <a:gd name="T9" fmla="*/ 506 h 550"/>
                <a:gd name="T10" fmla="*/ 285 w 291"/>
                <a:gd name="T11" fmla="*/ 469 h 550"/>
                <a:gd name="T12" fmla="*/ 250 w 291"/>
                <a:gd name="T13" fmla="*/ 407 h 550"/>
                <a:gd name="T14" fmla="*/ 238 w 291"/>
                <a:gd name="T15" fmla="*/ 368 h 550"/>
                <a:gd name="T16" fmla="*/ 207 w 291"/>
                <a:gd name="T17" fmla="*/ 282 h 550"/>
                <a:gd name="T18" fmla="*/ 158 w 291"/>
                <a:gd name="T19" fmla="*/ 243 h 550"/>
                <a:gd name="T20" fmla="*/ 165 w 291"/>
                <a:gd name="T21" fmla="*/ 227 h 550"/>
                <a:gd name="T22" fmla="*/ 220 w 291"/>
                <a:gd name="T23" fmla="*/ 173 h 550"/>
                <a:gd name="T24" fmla="*/ 167 w 291"/>
                <a:gd name="T25" fmla="*/ 157 h 550"/>
                <a:gd name="T26" fmla="*/ 143 w 291"/>
                <a:gd name="T27" fmla="*/ 156 h 550"/>
                <a:gd name="T28" fmla="*/ 166 w 291"/>
                <a:gd name="T29" fmla="*/ 136 h 550"/>
                <a:gd name="T30" fmla="*/ 157 w 291"/>
                <a:gd name="T31" fmla="*/ 107 h 550"/>
                <a:gd name="T32" fmla="*/ 136 w 291"/>
                <a:gd name="T33" fmla="*/ 106 h 550"/>
                <a:gd name="T34" fmla="*/ 128 w 291"/>
                <a:gd name="T35" fmla="*/ 138 h 550"/>
                <a:gd name="T36" fmla="*/ 111 w 291"/>
                <a:gd name="T37" fmla="*/ 142 h 550"/>
                <a:gd name="T38" fmla="*/ 107 w 291"/>
                <a:gd name="T39" fmla="*/ 165 h 550"/>
                <a:gd name="T40" fmla="*/ 90 w 291"/>
                <a:gd name="T41" fmla="*/ 144 h 550"/>
                <a:gd name="T42" fmla="*/ 84 w 291"/>
                <a:gd name="T43" fmla="*/ 159 h 550"/>
                <a:gd name="T44" fmla="*/ 104 w 291"/>
                <a:gd name="T45" fmla="*/ 172 h 550"/>
                <a:gd name="T46" fmla="*/ 84 w 291"/>
                <a:gd name="T47" fmla="*/ 191 h 550"/>
                <a:gd name="T48" fmla="*/ 95 w 291"/>
                <a:gd name="T49" fmla="*/ 210 h 550"/>
                <a:gd name="T50" fmla="*/ 65 w 291"/>
                <a:gd name="T51" fmla="*/ 241 h 550"/>
                <a:gd name="T52" fmla="*/ 87 w 291"/>
                <a:gd name="T53" fmla="*/ 231 h 550"/>
                <a:gd name="T54" fmla="*/ 83 w 291"/>
                <a:gd name="T55" fmla="*/ 256 h 550"/>
                <a:gd name="T56" fmla="*/ 101 w 291"/>
                <a:gd name="T57" fmla="*/ 237 h 550"/>
                <a:gd name="T58" fmla="*/ 98 w 291"/>
                <a:gd name="T59" fmla="*/ 306 h 550"/>
                <a:gd name="T60" fmla="*/ 133 w 291"/>
                <a:gd name="T61" fmla="*/ 306 h 550"/>
                <a:gd name="T62" fmla="*/ 142 w 291"/>
                <a:gd name="T63" fmla="*/ 337 h 550"/>
                <a:gd name="T64" fmla="*/ 144 w 291"/>
                <a:gd name="T65" fmla="*/ 382 h 550"/>
                <a:gd name="T66" fmla="*/ 97 w 291"/>
                <a:gd name="T67" fmla="*/ 376 h 550"/>
                <a:gd name="T68" fmla="*/ 103 w 291"/>
                <a:gd name="T69" fmla="*/ 422 h 550"/>
                <a:gd name="T70" fmla="*/ 62 w 291"/>
                <a:gd name="T71" fmla="*/ 461 h 550"/>
                <a:gd name="T72" fmla="*/ 101 w 291"/>
                <a:gd name="T73" fmla="*/ 472 h 550"/>
                <a:gd name="T74" fmla="*/ 139 w 291"/>
                <a:gd name="T75" fmla="*/ 482 h 550"/>
                <a:gd name="T76" fmla="*/ 50 w 291"/>
                <a:gd name="T77" fmla="*/ 266 h 550"/>
                <a:gd name="T78" fmla="*/ 80 w 291"/>
                <a:gd name="T79" fmla="*/ 314 h 550"/>
                <a:gd name="T80" fmla="*/ 41 w 291"/>
                <a:gd name="T81" fmla="*/ 324 h 550"/>
                <a:gd name="T82" fmla="*/ 13 w 291"/>
                <a:gd name="T83" fmla="*/ 287 h 550"/>
                <a:gd name="T84" fmla="*/ 75 w 291"/>
                <a:gd name="T85" fmla="*/ 227 h 550"/>
                <a:gd name="T86" fmla="*/ 103 w 291"/>
                <a:gd name="T87" fmla="*/ 263 h 550"/>
                <a:gd name="T88" fmla="*/ 65 w 291"/>
                <a:gd name="T89" fmla="*/ 199 h 550"/>
                <a:gd name="T90" fmla="*/ 78 w 291"/>
                <a:gd name="T91" fmla="*/ 171 h 550"/>
                <a:gd name="T92" fmla="*/ 46 w 291"/>
                <a:gd name="T93" fmla="*/ 177 h 550"/>
                <a:gd name="T94" fmla="*/ 59 w 291"/>
                <a:gd name="T95" fmla="*/ 158 h 550"/>
                <a:gd name="T96" fmla="*/ 69 w 291"/>
                <a:gd name="T97" fmla="*/ 132 h 550"/>
                <a:gd name="T98" fmla="*/ 80 w 291"/>
                <a:gd name="T99" fmla="*/ 106 h 550"/>
                <a:gd name="T100" fmla="*/ 94 w 291"/>
                <a:gd name="T101" fmla="*/ 116 h 550"/>
                <a:gd name="T102" fmla="*/ 267 w 291"/>
                <a:gd name="T103" fmla="*/ 15 h 550"/>
                <a:gd name="T104" fmla="*/ 245 w 291"/>
                <a:gd name="T105" fmla="*/ 27 h 550"/>
                <a:gd name="T106" fmla="*/ 269 w 291"/>
                <a:gd name="T107" fmla="*/ 2 h 550"/>
                <a:gd name="T108" fmla="*/ 259 w 291"/>
                <a:gd name="T109" fmla="*/ 29 h 550"/>
                <a:gd name="T110" fmla="*/ 243 w 291"/>
                <a:gd name="T111" fmla="*/ 64 h 550"/>
                <a:gd name="T112" fmla="*/ 221 w 291"/>
                <a:gd name="T113" fmla="*/ 72 h 550"/>
                <a:gd name="T114" fmla="*/ 205 w 291"/>
                <a:gd name="T115" fmla="*/ 80 h 550"/>
                <a:gd name="T116" fmla="*/ 204 w 291"/>
                <a:gd name="T117" fmla="*/ 75 h 550"/>
                <a:gd name="T118" fmla="*/ 191 w 291"/>
                <a:gd name="T119" fmla="*/ 91 h 550"/>
                <a:gd name="T120" fmla="*/ 187 w 291"/>
                <a:gd name="T121" fmla="*/ 92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550">
                  <a:moveTo>
                    <a:pt x="73" y="501"/>
                  </a:moveTo>
                  <a:cubicBezTo>
                    <a:pt x="69" y="504"/>
                    <a:pt x="69" y="504"/>
                    <a:pt x="69" y="504"/>
                  </a:cubicBezTo>
                  <a:cubicBezTo>
                    <a:pt x="69" y="508"/>
                    <a:pt x="69" y="508"/>
                    <a:pt x="69" y="508"/>
                  </a:cubicBezTo>
                  <a:cubicBezTo>
                    <a:pt x="67" y="512"/>
                    <a:pt x="67" y="512"/>
                    <a:pt x="67" y="512"/>
                  </a:cubicBezTo>
                  <a:cubicBezTo>
                    <a:pt x="67" y="512"/>
                    <a:pt x="65" y="513"/>
                    <a:pt x="65" y="514"/>
                  </a:cubicBezTo>
                  <a:cubicBezTo>
                    <a:pt x="64" y="515"/>
                    <a:pt x="60" y="518"/>
                    <a:pt x="60" y="518"/>
                  </a:cubicBezTo>
                  <a:cubicBezTo>
                    <a:pt x="60" y="518"/>
                    <a:pt x="60" y="519"/>
                    <a:pt x="59" y="519"/>
                  </a:cubicBezTo>
                  <a:cubicBezTo>
                    <a:pt x="58" y="519"/>
                    <a:pt x="51" y="522"/>
                    <a:pt x="51" y="522"/>
                  </a:cubicBezTo>
                  <a:cubicBezTo>
                    <a:pt x="49" y="526"/>
                    <a:pt x="49" y="526"/>
                    <a:pt x="49" y="526"/>
                  </a:cubicBezTo>
                  <a:cubicBezTo>
                    <a:pt x="45" y="527"/>
                    <a:pt x="45" y="527"/>
                    <a:pt x="45" y="527"/>
                  </a:cubicBezTo>
                  <a:cubicBezTo>
                    <a:pt x="42" y="532"/>
                    <a:pt x="42" y="532"/>
                    <a:pt x="42" y="532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33" y="535"/>
                    <a:pt x="33" y="535"/>
                    <a:pt x="33" y="535"/>
                  </a:cubicBezTo>
                  <a:cubicBezTo>
                    <a:pt x="29" y="533"/>
                    <a:pt x="29" y="533"/>
                    <a:pt x="29" y="533"/>
                  </a:cubicBezTo>
                  <a:cubicBezTo>
                    <a:pt x="26" y="535"/>
                    <a:pt x="26" y="535"/>
                    <a:pt x="26" y="535"/>
                  </a:cubicBezTo>
                  <a:cubicBezTo>
                    <a:pt x="23" y="537"/>
                    <a:pt x="23" y="537"/>
                    <a:pt x="23" y="537"/>
                  </a:cubicBezTo>
                  <a:cubicBezTo>
                    <a:pt x="24" y="541"/>
                    <a:pt x="24" y="541"/>
                    <a:pt x="24" y="541"/>
                  </a:cubicBezTo>
                  <a:cubicBezTo>
                    <a:pt x="27" y="543"/>
                    <a:pt x="27" y="543"/>
                    <a:pt x="27" y="543"/>
                  </a:cubicBezTo>
                  <a:cubicBezTo>
                    <a:pt x="29" y="540"/>
                    <a:pt x="29" y="540"/>
                    <a:pt x="29" y="540"/>
                  </a:cubicBezTo>
                  <a:cubicBezTo>
                    <a:pt x="35" y="542"/>
                    <a:pt x="35" y="542"/>
                    <a:pt x="35" y="542"/>
                  </a:cubicBezTo>
                  <a:cubicBezTo>
                    <a:pt x="35" y="542"/>
                    <a:pt x="37" y="545"/>
                    <a:pt x="38" y="546"/>
                  </a:cubicBezTo>
                  <a:cubicBezTo>
                    <a:pt x="38" y="547"/>
                    <a:pt x="38" y="550"/>
                    <a:pt x="39" y="550"/>
                  </a:cubicBezTo>
                  <a:cubicBezTo>
                    <a:pt x="40" y="549"/>
                    <a:pt x="45" y="546"/>
                    <a:pt x="45" y="546"/>
                  </a:cubicBezTo>
                  <a:cubicBezTo>
                    <a:pt x="43" y="542"/>
                    <a:pt x="43" y="542"/>
                    <a:pt x="43" y="542"/>
                  </a:cubicBezTo>
                  <a:cubicBezTo>
                    <a:pt x="43" y="542"/>
                    <a:pt x="46" y="541"/>
                    <a:pt x="48" y="541"/>
                  </a:cubicBezTo>
                  <a:cubicBezTo>
                    <a:pt x="50" y="541"/>
                    <a:pt x="52" y="542"/>
                    <a:pt x="53" y="540"/>
                  </a:cubicBezTo>
                  <a:cubicBezTo>
                    <a:pt x="53" y="539"/>
                    <a:pt x="56" y="539"/>
                    <a:pt x="56" y="539"/>
                  </a:cubicBezTo>
                  <a:cubicBezTo>
                    <a:pt x="56" y="539"/>
                    <a:pt x="58" y="536"/>
                    <a:pt x="58" y="536"/>
                  </a:cubicBezTo>
                  <a:cubicBezTo>
                    <a:pt x="58" y="535"/>
                    <a:pt x="61" y="533"/>
                    <a:pt x="61" y="533"/>
                  </a:cubicBezTo>
                  <a:cubicBezTo>
                    <a:pt x="61" y="533"/>
                    <a:pt x="68" y="536"/>
                    <a:pt x="69" y="536"/>
                  </a:cubicBezTo>
                  <a:cubicBezTo>
                    <a:pt x="70" y="536"/>
                    <a:pt x="77" y="534"/>
                    <a:pt x="77" y="534"/>
                  </a:cubicBezTo>
                  <a:cubicBezTo>
                    <a:pt x="80" y="537"/>
                    <a:pt x="80" y="537"/>
                    <a:pt x="80" y="537"/>
                  </a:cubicBezTo>
                  <a:cubicBezTo>
                    <a:pt x="80" y="537"/>
                    <a:pt x="80" y="539"/>
                    <a:pt x="82" y="540"/>
                  </a:cubicBezTo>
                  <a:cubicBezTo>
                    <a:pt x="84" y="540"/>
                    <a:pt x="85" y="540"/>
                    <a:pt x="85" y="540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91" y="546"/>
                    <a:pt x="91" y="546"/>
                    <a:pt x="91" y="546"/>
                  </a:cubicBezTo>
                  <a:cubicBezTo>
                    <a:pt x="91" y="546"/>
                    <a:pt x="94" y="546"/>
                    <a:pt x="94" y="545"/>
                  </a:cubicBezTo>
                  <a:cubicBezTo>
                    <a:pt x="94" y="544"/>
                    <a:pt x="95" y="542"/>
                    <a:pt x="96" y="541"/>
                  </a:cubicBezTo>
                  <a:cubicBezTo>
                    <a:pt x="97" y="541"/>
                    <a:pt x="100" y="540"/>
                    <a:pt x="100" y="540"/>
                  </a:cubicBezTo>
                  <a:cubicBezTo>
                    <a:pt x="100" y="540"/>
                    <a:pt x="100" y="538"/>
                    <a:pt x="100" y="537"/>
                  </a:cubicBezTo>
                  <a:cubicBezTo>
                    <a:pt x="100" y="535"/>
                    <a:pt x="100" y="532"/>
                    <a:pt x="101" y="531"/>
                  </a:cubicBezTo>
                  <a:cubicBezTo>
                    <a:pt x="101" y="531"/>
                    <a:pt x="104" y="527"/>
                    <a:pt x="104" y="527"/>
                  </a:cubicBezTo>
                  <a:cubicBezTo>
                    <a:pt x="109" y="526"/>
                    <a:pt x="109" y="526"/>
                    <a:pt x="109" y="526"/>
                  </a:cubicBezTo>
                  <a:cubicBezTo>
                    <a:pt x="121" y="525"/>
                    <a:pt x="121" y="525"/>
                    <a:pt x="121" y="525"/>
                  </a:cubicBezTo>
                  <a:cubicBezTo>
                    <a:pt x="125" y="525"/>
                    <a:pt x="125" y="525"/>
                    <a:pt x="125" y="525"/>
                  </a:cubicBezTo>
                  <a:cubicBezTo>
                    <a:pt x="130" y="529"/>
                    <a:pt x="130" y="529"/>
                    <a:pt x="130" y="529"/>
                  </a:cubicBezTo>
                  <a:cubicBezTo>
                    <a:pt x="135" y="534"/>
                    <a:pt x="135" y="534"/>
                    <a:pt x="135" y="534"/>
                  </a:cubicBezTo>
                  <a:cubicBezTo>
                    <a:pt x="135" y="534"/>
                    <a:pt x="138" y="538"/>
                    <a:pt x="138" y="537"/>
                  </a:cubicBezTo>
                  <a:cubicBezTo>
                    <a:pt x="139" y="535"/>
                    <a:pt x="140" y="531"/>
                    <a:pt x="141" y="531"/>
                  </a:cubicBezTo>
                  <a:cubicBezTo>
                    <a:pt x="142" y="531"/>
                    <a:pt x="145" y="535"/>
                    <a:pt x="145" y="535"/>
                  </a:cubicBezTo>
                  <a:cubicBezTo>
                    <a:pt x="149" y="536"/>
                    <a:pt x="149" y="536"/>
                    <a:pt x="149" y="536"/>
                  </a:cubicBezTo>
                  <a:cubicBezTo>
                    <a:pt x="152" y="536"/>
                    <a:pt x="152" y="536"/>
                    <a:pt x="152" y="536"/>
                  </a:cubicBezTo>
                  <a:cubicBezTo>
                    <a:pt x="155" y="533"/>
                    <a:pt x="155" y="533"/>
                    <a:pt x="155" y="533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57" y="531"/>
                    <a:pt x="157" y="531"/>
                    <a:pt x="157" y="531"/>
                  </a:cubicBezTo>
                  <a:cubicBezTo>
                    <a:pt x="168" y="532"/>
                    <a:pt x="168" y="532"/>
                    <a:pt x="168" y="532"/>
                  </a:cubicBezTo>
                  <a:cubicBezTo>
                    <a:pt x="173" y="531"/>
                    <a:pt x="173" y="531"/>
                    <a:pt x="173" y="531"/>
                  </a:cubicBezTo>
                  <a:cubicBezTo>
                    <a:pt x="177" y="530"/>
                    <a:pt x="177" y="530"/>
                    <a:pt x="177" y="530"/>
                  </a:cubicBezTo>
                  <a:cubicBezTo>
                    <a:pt x="177" y="532"/>
                    <a:pt x="177" y="532"/>
                    <a:pt x="177" y="532"/>
                  </a:cubicBezTo>
                  <a:cubicBezTo>
                    <a:pt x="171" y="534"/>
                    <a:pt x="171" y="534"/>
                    <a:pt x="171" y="534"/>
                  </a:cubicBezTo>
                  <a:cubicBezTo>
                    <a:pt x="171" y="534"/>
                    <a:pt x="168" y="534"/>
                    <a:pt x="169" y="535"/>
                  </a:cubicBezTo>
                  <a:cubicBezTo>
                    <a:pt x="170" y="537"/>
                    <a:pt x="175" y="539"/>
                    <a:pt x="175" y="539"/>
                  </a:cubicBezTo>
                  <a:cubicBezTo>
                    <a:pt x="175" y="539"/>
                    <a:pt x="172" y="540"/>
                    <a:pt x="176" y="540"/>
                  </a:cubicBezTo>
                  <a:cubicBezTo>
                    <a:pt x="180" y="540"/>
                    <a:pt x="182" y="539"/>
                    <a:pt x="182" y="539"/>
                  </a:cubicBezTo>
                  <a:cubicBezTo>
                    <a:pt x="185" y="536"/>
                    <a:pt x="185" y="536"/>
                    <a:pt x="185" y="536"/>
                  </a:cubicBezTo>
                  <a:cubicBezTo>
                    <a:pt x="183" y="534"/>
                    <a:pt x="183" y="534"/>
                    <a:pt x="183" y="534"/>
                  </a:cubicBezTo>
                  <a:cubicBezTo>
                    <a:pt x="178" y="533"/>
                    <a:pt x="178" y="533"/>
                    <a:pt x="178" y="533"/>
                  </a:cubicBezTo>
                  <a:cubicBezTo>
                    <a:pt x="179" y="529"/>
                    <a:pt x="179" y="529"/>
                    <a:pt x="179" y="529"/>
                  </a:cubicBezTo>
                  <a:cubicBezTo>
                    <a:pt x="180" y="529"/>
                    <a:pt x="180" y="529"/>
                    <a:pt x="180" y="529"/>
                  </a:cubicBezTo>
                  <a:cubicBezTo>
                    <a:pt x="183" y="532"/>
                    <a:pt x="183" y="532"/>
                    <a:pt x="183" y="532"/>
                  </a:cubicBezTo>
                  <a:cubicBezTo>
                    <a:pt x="186" y="530"/>
                    <a:pt x="186" y="530"/>
                    <a:pt x="186" y="530"/>
                  </a:cubicBezTo>
                  <a:cubicBezTo>
                    <a:pt x="190" y="531"/>
                    <a:pt x="190" y="531"/>
                    <a:pt x="190" y="531"/>
                  </a:cubicBezTo>
                  <a:cubicBezTo>
                    <a:pt x="192" y="535"/>
                    <a:pt x="192" y="535"/>
                    <a:pt x="192" y="535"/>
                  </a:cubicBezTo>
                  <a:cubicBezTo>
                    <a:pt x="192" y="535"/>
                    <a:pt x="194" y="537"/>
                    <a:pt x="196" y="535"/>
                  </a:cubicBezTo>
                  <a:cubicBezTo>
                    <a:pt x="198" y="534"/>
                    <a:pt x="200" y="533"/>
                    <a:pt x="200" y="533"/>
                  </a:cubicBezTo>
                  <a:cubicBezTo>
                    <a:pt x="212" y="534"/>
                    <a:pt x="212" y="534"/>
                    <a:pt x="212" y="534"/>
                  </a:cubicBezTo>
                  <a:cubicBezTo>
                    <a:pt x="212" y="534"/>
                    <a:pt x="218" y="533"/>
                    <a:pt x="219" y="535"/>
                  </a:cubicBezTo>
                  <a:cubicBezTo>
                    <a:pt x="220" y="536"/>
                    <a:pt x="223" y="538"/>
                    <a:pt x="223" y="538"/>
                  </a:cubicBezTo>
                  <a:cubicBezTo>
                    <a:pt x="228" y="539"/>
                    <a:pt x="228" y="539"/>
                    <a:pt x="228" y="539"/>
                  </a:cubicBezTo>
                  <a:cubicBezTo>
                    <a:pt x="233" y="539"/>
                    <a:pt x="233" y="539"/>
                    <a:pt x="233" y="539"/>
                  </a:cubicBezTo>
                  <a:cubicBezTo>
                    <a:pt x="233" y="539"/>
                    <a:pt x="235" y="537"/>
                    <a:pt x="236" y="536"/>
                  </a:cubicBezTo>
                  <a:cubicBezTo>
                    <a:pt x="238" y="536"/>
                    <a:pt x="241" y="534"/>
                    <a:pt x="242" y="534"/>
                  </a:cubicBezTo>
                  <a:cubicBezTo>
                    <a:pt x="244" y="534"/>
                    <a:pt x="249" y="533"/>
                    <a:pt x="249" y="533"/>
                  </a:cubicBezTo>
                  <a:cubicBezTo>
                    <a:pt x="250" y="533"/>
                    <a:pt x="251" y="534"/>
                    <a:pt x="253" y="533"/>
                  </a:cubicBezTo>
                  <a:cubicBezTo>
                    <a:pt x="254" y="533"/>
                    <a:pt x="257" y="528"/>
                    <a:pt x="257" y="528"/>
                  </a:cubicBezTo>
                  <a:cubicBezTo>
                    <a:pt x="257" y="528"/>
                    <a:pt x="258" y="526"/>
                    <a:pt x="260" y="526"/>
                  </a:cubicBezTo>
                  <a:cubicBezTo>
                    <a:pt x="262" y="526"/>
                    <a:pt x="265" y="526"/>
                    <a:pt x="266" y="525"/>
                  </a:cubicBezTo>
                  <a:cubicBezTo>
                    <a:pt x="267" y="523"/>
                    <a:pt x="268" y="522"/>
                    <a:pt x="269" y="521"/>
                  </a:cubicBezTo>
                  <a:cubicBezTo>
                    <a:pt x="270" y="520"/>
                    <a:pt x="272" y="517"/>
                    <a:pt x="271" y="516"/>
                  </a:cubicBezTo>
                  <a:cubicBezTo>
                    <a:pt x="271" y="515"/>
                    <a:pt x="272" y="511"/>
                    <a:pt x="272" y="511"/>
                  </a:cubicBezTo>
                  <a:cubicBezTo>
                    <a:pt x="272" y="511"/>
                    <a:pt x="269" y="511"/>
                    <a:pt x="268" y="511"/>
                  </a:cubicBezTo>
                  <a:cubicBezTo>
                    <a:pt x="267" y="510"/>
                    <a:pt x="263" y="511"/>
                    <a:pt x="262" y="510"/>
                  </a:cubicBezTo>
                  <a:cubicBezTo>
                    <a:pt x="261" y="510"/>
                    <a:pt x="257" y="510"/>
                    <a:pt x="257" y="510"/>
                  </a:cubicBezTo>
                  <a:cubicBezTo>
                    <a:pt x="256" y="508"/>
                    <a:pt x="256" y="508"/>
                    <a:pt x="256" y="508"/>
                  </a:cubicBezTo>
                  <a:cubicBezTo>
                    <a:pt x="256" y="508"/>
                    <a:pt x="255" y="507"/>
                    <a:pt x="254" y="506"/>
                  </a:cubicBezTo>
                  <a:cubicBezTo>
                    <a:pt x="253" y="506"/>
                    <a:pt x="254" y="506"/>
                    <a:pt x="252" y="505"/>
                  </a:cubicBezTo>
                  <a:cubicBezTo>
                    <a:pt x="251" y="505"/>
                    <a:pt x="249" y="503"/>
                    <a:pt x="249" y="503"/>
                  </a:cubicBezTo>
                  <a:cubicBezTo>
                    <a:pt x="246" y="502"/>
                    <a:pt x="246" y="502"/>
                    <a:pt x="246" y="502"/>
                  </a:cubicBezTo>
                  <a:cubicBezTo>
                    <a:pt x="242" y="502"/>
                    <a:pt x="242" y="502"/>
                    <a:pt x="242" y="502"/>
                  </a:cubicBezTo>
                  <a:cubicBezTo>
                    <a:pt x="246" y="500"/>
                    <a:pt x="246" y="500"/>
                    <a:pt x="246" y="500"/>
                  </a:cubicBezTo>
                  <a:cubicBezTo>
                    <a:pt x="246" y="500"/>
                    <a:pt x="250" y="500"/>
                    <a:pt x="251" y="500"/>
                  </a:cubicBezTo>
                  <a:cubicBezTo>
                    <a:pt x="252" y="501"/>
                    <a:pt x="256" y="501"/>
                    <a:pt x="256" y="500"/>
                  </a:cubicBezTo>
                  <a:cubicBezTo>
                    <a:pt x="257" y="500"/>
                    <a:pt x="260" y="495"/>
                    <a:pt x="260" y="495"/>
                  </a:cubicBezTo>
                  <a:cubicBezTo>
                    <a:pt x="259" y="492"/>
                    <a:pt x="259" y="492"/>
                    <a:pt x="259" y="492"/>
                  </a:cubicBezTo>
                  <a:cubicBezTo>
                    <a:pt x="257" y="490"/>
                    <a:pt x="257" y="490"/>
                    <a:pt x="257" y="490"/>
                  </a:cubicBezTo>
                  <a:cubicBezTo>
                    <a:pt x="253" y="491"/>
                    <a:pt x="253" y="491"/>
                    <a:pt x="253" y="491"/>
                  </a:cubicBezTo>
                  <a:cubicBezTo>
                    <a:pt x="259" y="488"/>
                    <a:pt x="259" y="488"/>
                    <a:pt x="259" y="488"/>
                  </a:cubicBezTo>
                  <a:cubicBezTo>
                    <a:pt x="261" y="486"/>
                    <a:pt x="261" y="486"/>
                    <a:pt x="261" y="486"/>
                  </a:cubicBezTo>
                  <a:cubicBezTo>
                    <a:pt x="264" y="488"/>
                    <a:pt x="264" y="488"/>
                    <a:pt x="264" y="488"/>
                  </a:cubicBezTo>
                  <a:cubicBezTo>
                    <a:pt x="264" y="488"/>
                    <a:pt x="269" y="489"/>
                    <a:pt x="269" y="488"/>
                  </a:cubicBezTo>
                  <a:cubicBezTo>
                    <a:pt x="270" y="487"/>
                    <a:pt x="271" y="485"/>
                    <a:pt x="271" y="485"/>
                  </a:cubicBezTo>
                  <a:cubicBezTo>
                    <a:pt x="271" y="482"/>
                    <a:pt x="271" y="482"/>
                    <a:pt x="271" y="482"/>
                  </a:cubicBezTo>
                  <a:cubicBezTo>
                    <a:pt x="281" y="475"/>
                    <a:pt x="281" y="475"/>
                    <a:pt x="281" y="475"/>
                  </a:cubicBezTo>
                  <a:cubicBezTo>
                    <a:pt x="285" y="469"/>
                    <a:pt x="285" y="469"/>
                    <a:pt x="285" y="469"/>
                  </a:cubicBezTo>
                  <a:cubicBezTo>
                    <a:pt x="286" y="463"/>
                    <a:pt x="286" y="463"/>
                    <a:pt x="286" y="463"/>
                  </a:cubicBezTo>
                  <a:cubicBezTo>
                    <a:pt x="291" y="454"/>
                    <a:pt x="291" y="454"/>
                    <a:pt x="291" y="454"/>
                  </a:cubicBezTo>
                  <a:cubicBezTo>
                    <a:pt x="290" y="442"/>
                    <a:pt x="290" y="442"/>
                    <a:pt x="290" y="442"/>
                  </a:cubicBezTo>
                  <a:cubicBezTo>
                    <a:pt x="285" y="434"/>
                    <a:pt x="285" y="434"/>
                    <a:pt x="285" y="434"/>
                  </a:cubicBezTo>
                  <a:cubicBezTo>
                    <a:pt x="285" y="434"/>
                    <a:pt x="279" y="429"/>
                    <a:pt x="277" y="428"/>
                  </a:cubicBezTo>
                  <a:cubicBezTo>
                    <a:pt x="275" y="428"/>
                    <a:pt x="264" y="425"/>
                    <a:pt x="264" y="425"/>
                  </a:cubicBezTo>
                  <a:cubicBezTo>
                    <a:pt x="256" y="423"/>
                    <a:pt x="256" y="423"/>
                    <a:pt x="256" y="423"/>
                  </a:cubicBezTo>
                  <a:cubicBezTo>
                    <a:pt x="252" y="425"/>
                    <a:pt x="252" y="425"/>
                    <a:pt x="252" y="425"/>
                  </a:cubicBezTo>
                  <a:cubicBezTo>
                    <a:pt x="251" y="428"/>
                    <a:pt x="251" y="428"/>
                    <a:pt x="251" y="428"/>
                  </a:cubicBezTo>
                  <a:cubicBezTo>
                    <a:pt x="248" y="430"/>
                    <a:pt x="248" y="430"/>
                    <a:pt x="248" y="430"/>
                  </a:cubicBezTo>
                  <a:cubicBezTo>
                    <a:pt x="248" y="430"/>
                    <a:pt x="245" y="432"/>
                    <a:pt x="245" y="432"/>
                  </a:cubicBezTo>
                  <a:cubicBezTo>
                    <a:pt x="244" y="432"/>
                    <a:pt x="242" y="429"/>
                    <a:pt x="242" y="429"/>
                  </a:cubicBezTo>
                  <a:cubicBezTo>
                    <a:pt x="242" y="429"/>
                    <a:pt x="239" y="426"/>
                    <a:pt x="239" y="426"/>
                  </a:cubicBezTo>
                  <a:cubicBezTo>
                    <a:pt x="238" y="426"/>
                    <a:pt x="235" y="425"/>
                    <a:pt x="235" y="425"/>
                  </a:cubicBezTo>
                  <a:cubicBezTo>
                    <a:pt x="239" y="422"/>
                    <a:pt x="239" y="422"/>
                    <a:pt x="239" y="422"/>
                  </a:cubicBezTo>
                  <a:cubicBezTo>
                    <a:pt x="244" y="420"/>
                    <a:pt x="244" y="420"/>
                    <a:pt x="244" y="420"/>
                  </a:cubicBezTo>
                  <a:cubicBezTo>
                    <a:pt x="244" y="420"/>
                    <a:pt x="246" y="418"/>
                    <a:pt x="246" y="417"/>
                  </a:cubicBezTo>
                  <a:cubicBezTo>
                    <a:pt x="247" y="417"/>
                    <a:pt x="249" y="415"/>
                    <a:pt x="249" y="415"/>
                  </a:cubicBezTo>
                  <a:cubicBezTo>
                    <a:pt x="250" y="407"/>
                    <a:pt x="250" y="407"/>
                    <a:pt x="250" y="407"/>
                  </a:cubicBezTo>
                  <a:cubicBezTo>
                    <a:pt x="248" y="399"/>
                    <a:pt x="248" y="399"/>
                    <a:pt x="248" y="399"/>
                  </a:cubicBezTo>
                  <a:cubicBezTo>
                    <a:pt x="245" y="395"/>
                    <a:pt x="245" y="395"/>
                    <a:pt x="245" y="395"/>
                  </a:cubicBezTo>
                  <a:cubicBezTo>
                    <a:pt x="243" y="391"/>
                    <a:pt x="243" y="391"/>
                    <a:pt x="243" y="391"/>
                  </a:cubicBezTo>
                  <a:cubicBezTo>
                    <a:pt x="241" y="391"/>
                    <a:pt x="241" y="391"/>
                    <a:pt x="241" y="391"/>
                  </a:cubicBezTo>
                  <a:cubicBezTo>
                    <a:pt x="237" y="388"/>
                    <a:pt x="237" y="388"/>
                    <a:pt x="237" y="388"/>
                  </a:cubicBezTo>
                  <a:cubicBezTo>
                    <a:pt x="234" y="384"/>
                    <a:pt x="234" y="384"/>
                    <a:pt x="234" y="384"/>
                  </a:cubicBezTo>
                  <a:cubicBezTo>
                    <a:pt x="233" y="381"/>
                    <a:pt x="233" y="381"/>
                    <a:pt x="233" y="381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235" y="380"/>
                    <a:pt x="235" y="380"/>
                    <a:pt x="235" y="380"/>
                  </a:cubicBezTo>
                  <a:cubicBezTo>
                    <a:pt x="235" y="380"/>
                    <a:pt x="235" y="382"/>
                    <a:pt x="236" y="382"/>
                  </a:cubicBezTo>
                  <a:cubicBezTo>
                    <a:pt x="236" y="383"/>
                    <a:pt x="237" y="384"/>
                    <a:pt x="237" y="384"/>
                  </a:cubicBezTo>
                  <a:cubicBezTo>
                    <a:pt x="238" y="385"/>
                    <a:pt x="242" y="387"/>
                    <a:pt x="242" y="387"/>
                  </a:cubicBezTo>
                  <a:cubicBezTo>
                    <a:pt x="244" y="387"/>
                    <a:pt x="244" y="387"/>
                    <a:pt x="244" y="387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6" y="390"/>
                    <a:pt x="247" y="387"/>
                    <a:pt x="247" y="387"/>
                  </a:cubicBezTo>
                  <a:cubicBezTo>
                    <a:pt x="247" y="386"/>
                    <a:pt x="244" y="382"/>
                    <a:pt x="244" y="382"/>
                  </a:cubicBezTo>
                  <a:cubicBezTo>
                    <a:pt x="243" y="382"/>
                    <a:pt x="242" y="378"/>
                    <a:pt x="242" y="378"/>
                  </a:cubicBezTo>
                  <a:cubicBezTo>
                    <a:pt x="241" y="377"/>
                    <a:pt x="239" y="371"/>
                    <a:pt x="239" y="371"/>
                  </a:cubicBezTo>
                  <a:cubicBezTo>
                    <a:pt x="239" y="371"/>
                    <a:pt x="238" y="369"/>
                    <a:pt x="238" y="368"/>
                  </a:cubicBezTo>
                  <a:cubicBezTo>
                    <a:pt x="238" y="368"/>
                    <a:pt x="238" y="363"/>
                    <a:pt x="238" y="363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2" y="360"/>
                    <a:pt x="242" y="360"/>
                    <a:pt x="242" y="360"/>
                  </a:cubicBezTo>
                  <a:cubicBezTo>
                    <a:pt x="242" y="360"/>
                    <a:pt x="241" y="360"/>
                    <a:pt x="241" y="359"/>
                  </a:cubicBezTo>
                  <a:cubicBezTo>
                    <a:pt x="240" y="357"/>
                    <a:pt x="238" y="355"/>
                    <a:pt x="238" y="355"/>
                  </a:cubicBezTo>
                  <a:cubicBezTo>
                    <a:pt x="238" y="355"/>
                    <a:pt x="236" y="354"/>
                    <a:pt x="235" y="353"/>
                  </a:cubicBezTo>
                  <a:cubicBezTo>
                    <a:pt x="235" y="351"/>
                    <a:pt x="234" y="349"/>
                    <a:pt x="234" y="349"/>
                  </a:cubicBezTo>
                  <a:cubicBezTo>
                    <a:pt x="234" y="348"/>
                    <a:pt x="233" y="342"/>
                    <a:pt x="233" y="342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6" y="335"/>
                    <a:pt x="225" y="334"/>
                  </a:cubicBezTo>
                  <a:cubicBezTo>
                    <a:pt x="225" y="334"/>
                    <a:pt x="222" y="333"/>
                    <a:pt x="222" y="333"/>
                  </a:cubicBezTo>
                  <a:cubicBezTo>
                    <a:pt x="221" y="333"/>
                    <a:pt x="216" y="330"/>
                    <a:pt x="216" y="330"/>
                  </a:cubicBezTo>
                  <a:cubicBezTo>
                    <a:pt x="216" y="330"/>
                    <a:pt x="212" y="325"/>
                    <a:pt x="212" y="324"/>
                  </a:cubicBezTo>
                  <a:cubicBezTo>
                    <a:pt x="212" y="323"/>
                    <a:pt x="210" y="317"/>
                    <a:pt x="210" y="317"/>
                  </a:cubicBezTo>
                  <a:cubicBezTo>
                    <a:pt x="210" y="313"/>
                    <a:pt x="210" y="313"/>
                    <a:pt x="210" y="313"/>
                  </a:cubicBezTo>
                  <a:cubicBezTo>
                    <a:pt x="208" y="305"/>
                    <a:pt x="208" y="305"/>
                    <a:pt x="208" y="305"/>
                  </a:cubicBezTo>
                  <a:cubicBezTo>
                    <a:pt x="207" y="297"/>
                    <a:pt x="207" y="297"/>
                    <a:pt x="207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7" y="282"/>
                    <a:pt x="207" y="282"/>
                    <a:pt x="207" y="282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200" y="264"/>
                    <a:pt x="200" y="264"/>
                    <a:pt x="200" y="264"/>
                  </a:cubicBezTo>
                  <a:cubicBezTo>
                    <a:pt x="194" y="258"/>
                    <a:pt x="194" y="258"/>
                    <a:pt x="194" y="258"/>
                  </a:cubicBezTo>
                  <a:cubicBezTo>
                    <a:pt x="190" y="253"/>
                    <a:pt x="190" y="253"/>
                    <a:pt x="190" y="253"/>
                  </a:cubicBezTo>
                  <a:cubicBezTo>
                    <a:pt x="187" y="252"/>
                    <a:pt x="187" y="252"/>
                    <a:pt x="187" y="252"/>
                  </a:cubicBezTo>
                  <a:cubicBezTo>
                    <a:pt x="182" y="246"/>
                    <a:pt x="182" y="246"/>
                    <a:pt x="182" y="246"/>
                  </a:cubicBezTo>
                  <a:cubicBezTo>
                    <a:pt x="178" y="245"/>
                    <a:pt x="178" y="245"/>
                    <a:pt x="178" y="245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0" y="248"/>
                    <a:pt x="170" y="248"/>
                    <a:pt x="170" y="248"/>
                  </a:cubicBezTo>
                  <a:cubicBezTo>
                    <a:pt x="166" y="249"/>
                    <a:pt x="166" y="249"/>
                    <a:pt x="166" y="249"/>
                  </a:cubicBezTo>
                  <a:cubicBezTo>
                    <a:pt x="159" y="246"/>
                    <a:pt x="159" y="246"/>
                    <a:pt x="159" y="246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2" y="242"/>
                    <a:pt x="152" y="242"/>
                    <a:pt x="152" y="242"/>
                  </a:cubicBezTo>
                  <a:cubicBezTo>
                    <a:pt x="150" y="242"/>
                    <a:pt x="150" y="242"/>
                    <a:pt x="150" y="242"/>
                  </a:cubicBezTo>
                  <a:cubicBezTo>
                    <a:pt x="150" y="242"/>
                    <a:pt x="150" y="241"/>
                    <a:pt x="150" y="241"/>
                  </a:cubicBezTo>
                  <a:cubicBezTo>
                    <a:pt x="150" y="241"/>
                    <a:pt x="152" y="241"/>
                    <a:pt x="152" y="241"/>
                  </a:cubicBezTo>
                  <a:cubicBezTo>
                    <a:pt x="152" y="241"/>
                    <a:pt x="154" y="242"/>
                    <a:pt x="155" y="242"/>
                  </a:cubicBezTo>
                  <a:cubicBezTo>
                    <a:pt x="155" y="242"/>
                    <a:pt x="158" y="243"/>
                    <a:pt x="158" y="243"/>
                  </a:cubicBezTo>
                  <a:cubicBezTo>
                    <a:pt x="158" y="243"/>
                    <a:pt x="159" y="244"/>
                    <a:pt x="160" y="244"/>
                  </a:cubicBezTo>
                  <a:cubicBezTo>
                    <a:pt x="161" y="244"/>
                    <a:pt x="164" y="244"/>
                    <a:pt x="164" y="244"/>
                  </a:cubicBezTo>
                  <a:cubicBezTo>
                    <a:pt x="167" y="242"/>
                    <a:pt x="167" y="242"/>
                    <a:pt x="167" y="242"/>
                  </a:cubicBezTo>
                  <a:cubicBezTo>
                    <a:pt x="168" y="239"/>
                    <a:pt x="168" y="239"/>
                    <a:pt x="168" y="239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3" y="237"/>
                    <a:pt x="173" y="237"/>
                    <a:pt x="173" y="237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5" y="237"/>
                    <a:pt x="176" y="239"/>
                    <a:pt x="178" y="238"/>
                  </a:cubicBezTo>
                  <a:cubicBezTo>
                    <a:pt x="180" y="238"/>
                    <a:pt x="181" y="237"/>
                    <a:pt x="181" y="237"/>
                  </a:cubicBezTo>
                  <a:cubicBezTo>
                    <a:pt x="181" y="237"/>
                    <a:pt x="185" y="235"/>
                    <a:pt x="184" y="235"/>
                  </a:cubicBezTo>
                  <a:cubicBezTo>
                    <a:pt x="184" y="234"/>
                    <a:pt x="184" y="233"/>
                    <a:pt x="183" y="233"/>
                  </a:cubicBezTo>
                  <a:cubicBezTo>
                    <a:pt x="183" y="232"/>
                    <a:pt x="181" y="230"/>
                    <a:pt x="181" y="230"/>
                  </a:cubicBezTo>
                  <a:cubicBezTo>
                    <a:pt x="181" y="230"/>
                    <a:pt x="180" y="230"/>
                    <a:pt x="180" y="229"/>
                  </a:cubicBezTo>
                  <a:cubicBezTo>
                    <a:pt x="180" y="228"/>
                    <a:pt x="180" y="226"/>
                    <a:pt x="180" y="226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8" y="224"/>
                    <a:pt x="177" y="224"/>
                    <a:pt x="176" y="224"/>
                  </a:cubicBezTo>
                  <a:cubicBezTo>
                    <a:pt x="175" y="224"/>
                    <a:pt x="174" y="225"/>
                    <a:pt x="174" y="225"/>
                  </a:cubicBezTo>
                  <a:cubicBezTo>
                    <a:pt x="170" y="226"/>
                    <a:pt x="170" y="226"/>
                    <a:pt x="170" y="226"/>
                  </a:cubicBezTo>
                  <a:cubicBezTo>
                    <a:pt x="165" y="227"/>
                    <a:pt x="165" y="227"/>
                    <a:pt x="165" y="227"/>
                  </a:cubicBezTo>
                  <a:cubicBezTo>
                    <a:pt x="165" y="226"/>
                    <a:pt x="165" y="226"/>
                    <a:pt x="165" y="226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73" y="223"/>
                    <a:pt x="173" y="223"/>
                    <a:pt x="173" y="223"/>
                  </a:cubicBezTo>
                  <a:cubicBezTo>
                    <a:pt x="173" y="223"/>
                    <a:pt x="173" y="222"/>
                    <a:pt x="174" y="222"/>
                  </a:cubicBezTo>
                  <a:cubicBezTo>
                    <a:pt x="175" y="222"/>
                    <a:pt x="178" y="223"/>
                    <a:pt x="178" y="223"/>
                  </a:cubicBezTo>
                  <a:cubicBezTo>
                    <a:pt x="179" y="223"/>
                    <a:pt x="183" y="223"/>
                    <a:pt x="183" y="223"/>
                  </a:cubicBezTo>
                  <a:cubicBezTo>
                    <a:pt x="183" y="223"/>
                    <a:pt x="186" y="221"/>
                    <a:pt x="186" y="220"/>
                  </a:cubicBezTo>
                  <a:cubicBezTo>
                    <a:pt x="187" y="220"/>
                    <a:pt x="191" y="218"/>
                    <a:pt x="191" y="218"/>
                  </a:cubicBezTo>
                  <a:cubicBezTo>
                    <a:pt x="191" y="215"/>
                    <a:pt x="191" y="215"/>
                    <a:pt x="191" y="215"/>
                  </a:cubicBezTo>
                  <a:cubicBezTo>
                    <a:pt x="191" y="215"/>
                    <a:pt x="192" y="212"/>
                    <a:pt x="193" y="212"/>
                  </a:cubicBezTo>
                  <a:cubicBezTo>
                    <a:pt x="193" y="212"/>
                    <a:pt x="197" y="209"/>
                    <a:pt x="197" y="209"/>
                  </a:cubicBezTo>
                  <a:cubicBezTo>
                    <a:pt x="201" y="205"/>
                    <a:pt x="201" y="205"/>
                    <a:pt x="201" y="205"/>
                  </a:cubicBezTo>
                  <a:cubicBezTo>
                    <a:pt x="203" y="200"/>
                    <a:pt x="203" y="200"/>
                    <a:pt x="203" y="200"/>
                  </a:cubicBezTo>
                  <a:cubicBezTo>
                    <a:pt x="205" y="196"/>
                    <a:pt x="205" y="196"/>
                    <a:pt x="205" y="196"/>
                  </a:cubicBezTo>
                  <a:cubicBezTo>
                    <a:pt x="205" y="196"/>
                    <a:pt x="209" y="193"/>
                    <a:pt x="208" y="192"/>
                  </a:cubicBezTo>
                  <a:cubicBezTo>
                    <a:pt x="208" y="190"/>
                    <a:pt x="208" y="187"/>
                    <a:pt x="208" y="187"/>
                  </a:cubicBezTo>
                  <a:cubicBezTo>
                    <a:pt x="208" y="187"/>
                    <a:pt x="211" y="185"/>
                    <a:pt x="212" y="184"/>
                  </a:cubicBezTo>
                  <a:cubicBezTo>
                    <a:pt x="212" y="183"/>
                    <a:pt x="219" y="178"/>
                    <a:pt x="219" y="178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19" y="171"/>
                    <a:pt x="219" y="171"/>
                    <a:pt x="219" y="171"/>
                  </a:cubicBezTo>
                  <a:cubicBezTo>
                    <a:pt x="218" y="168"/>
                    <a:pt x="218" y="168"/>
                    <a:pt x="218" y="168"/>
                  </a:cubicBezTo>
                  <a:cubicBezTo>
                    <a:pt x="216" y="165"/>
                    <a:pt x="216" y="165"/>
                    <a:pt x="216" y="165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0" y="162"/>
                    <a:pt x="210" y="162"/>
                    <a:pt x="210" y="162"/>
                  </a:cubicBezTo>
                  <a:cubicBezTo>
                    <a:pt x="210" y="162"/>
                    <a:pt x="209" y="164"/>
                    <a:pt x="209" y="163"/>
                  </a:cubicBezTo>
                  <a:cubicBezTo>
                    <a:pt x="208" y="163"/>
                    <a:pt x="206" y="161"/>
                    <a:pt x="206" y="161"/>
                  </a:cubicBezTo>
                  <a:cubicBezTo>
                    <a:pt x="202" y="162"/>
                    <a:pt x="202" y="162"/>
                    <a:pt x="202" y="162"/>
                  </a:cubicBezTo>
                  <a:cubicBezTo>
                    <a:pt x="197" y="161"/>
                    <a:pt x="197" y="161"/>
                    <a:pt x="197" y="161"/>
                  </a:cubicBezTo>
                  <a:cubicBezTo>
                    <a:pt x="196" y="159"/>
                    <a:pt x="196" y="159"/>
                    <a:pt x="196" y="159"/>
                  </a:cubicBezTo>
                  <a:cubicBezTo>
                    <a:pt x="192" y="159"/>
                    <a:pt x="192" y="159"/>
                    <a:pt x="192" y="159"/>
                  </a:cubicBezTo>
                  <a:cubicBezTo>
                    <a:pt x="190" y="158"/>
                    <a:pt x="190" y="158"/>
                    <a:pt x="190" y="158"/>
                  </a:cubicBezTo>
                  <a:cubicBezTo>
                    <a:pt x="186" y="159"/>
                    <a:pt x="186" y="159"/>
                    <a:pt x="186" y="159"/>
                  </a:cubicBezTo>
                  <a:cubicBezTo>
                    <a:pt x="183" y="159"/>
                    <a:pt x="183" y="159"/>
                    <a:pt x="183" y="159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72" y="155"/>
                    <a:pt x="172" y="155"/>
                    <a:pt x="172" y="155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67" y="157"/>
                    <a:pt x="167" y="157"/>
                    <a:pt x="167" y="157"/>
                  </a:cubicBezTo>
                  <a:cubicBezTo>
                    <a:pt x="167" y="157"/>
                    <a:pt x="166" y="157"/>
                    <a:pt x="165" y="157"/>
                  </a:cubicBezTo>
                  <a:cubicBezTo>
                    <a:pt x="165" y="157"/>
                    <a:pt x="163" y="158"/>
                    <a:pt x="163" y="158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59" y="159"/>
                    <a:pt x="159" y="159"/>
                    <a:pt x="159" y="159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3" y="161"/>
                    <a:pt x="153" y="161"/>
                    <a:pt x="153" y="161"/>
                  </a:cubicBezTo>
                  <a:cubicBezTo>
                    <a:pt x="150" y="162"/>
                    <a:pt x="150" y="162"/>
                    <a:pt x="150" y="162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8" y="162"/>
                    <a:pt x="148" y="162"/>
                    <a:pt x="148" y="162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7" y="155"/>
                    <a:pt x="157" y="154"/>
                  </a:cubicBezTo>
                  <a:cubicBezTo>
                    <a:pt x="158" y="154"/>
                    <a:pt x="160" y="152"/>
                    <a:pt x="160" y="152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3" y="153"/>
                    <a:pt x="152" y="153"/>
                  </a:cubicBezTo>
                  <a:cubicBezTo>
                    <a:pt x="152" y="153"/>
                    <a:pt x="149" y="154"/>
                    <a:pt x="149" y="154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9" y="153"/>
                    <a:pt x="149" y="153"/>
                    <a:pt x="149" y="153"/>
                  </a:cubicBezTo>
                  <a:cubicBezTo>
                    <a:pt x="149" y="153"/>
                    <a:pt x="151" y="152"/>
                    <a:pt x="152" y="151"/>
                  </a:cubicBezTo>
                  <a:cubicBezTo>
                    <a:pt x="153" y="151"/>
                    <a:pt x="155" y="150"/>
                    <a:pt x="155" y="150"/>
                  </a:cubicBezTo>
                  <a:cubicBezTo>
                    <a:pt x="156" y="150"/>
                    <a:pt x="158" y="149"/>
                    <a:pt x="158" y="149"/>
                  </a:cubicBezTo>
                  <a:cubicBezTo>
                    <a:pt x="159" y="150"/>
                    <a:pt x="161" y="151"/>
                    <a:pt x="162" y="150"/>
                  </a:cubicBezTo>
                  <a:cubicBezTo>
                    <a:pt x="162" y="150"/>
                    <a:pt x="163" y="148"/>
                    <a:pt x="164" y="148"/>
                  </a:cubicBezTo>
                  <a:cubicBezTo>
                    <a:pt x="164" y="147"/>
                    <a:pt x="166" y="145"/>
                    <a:pt x="166" y="145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60" y="145"/>
                    <a:pt x="159" y="146"/>
                    <a:pt x="158" y="146"/>
                  </a:cubicBezTo>
                  <a:cubicBezTo>
                    <a:pt x="157" y="145"/>
                    <a:pt x="155" y="145"/>
                    <a:pt x="154" y="144"/>
                  </a:cubicBezTo>
                  <a:cubicBezTo>
                    <a:pt x="154" y="144"/>
                    <a:pt x="153" y="143"/>
                    <a:pt x="153" y="143"/>
                  </a:cubicBezTo>
                  <a:cubicBezTo>
                    <a:pt x="152" y="143"/>
                    <a:pt x="150" y="141"/>
                    <a:pt x="150" y="141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4" y="143"/>
                    <a:pt x="155" y="143"/>
                  </a:cubicBezTo>
                  <a:cubicBezTo>
                    <a:pt x="156" y="143"/>
                    <a:pt x="157" y="142"/>
                    <a:pt x="159" y="142"/>
                  </a:cubicBezTo>
                  <a:cubicBezTo>
                    <a:pt x="160" y="143"/>
                    <a:pt x="162" y="140"/>
                    <a:pt x="162" y="140"/>
                  </a:cubicBezTo>
                  <a:cubicBezTo>
                    <a:pt x="162" y="140"/>
                    <a:pt x="160" y="140"/>
                    <a:pt x="163" y="139"/>
                  </a:cubicBezTo>
                  <a:cubicBezTo>
                    <a:pt x="165" y="137"/>
                    <a:pt x="164" y="138"/>
                    <a:pt x="166" y="136"/>
                  </a:cubicBezTo>
                  <a:cubicBezTo>
                    <a:pt x="168" y="135"/>
                    <a:pt x="173" y="132"/>
                    <a:pt x="173" y="132"/>
                  </a:cubicBezTo>
                  <a:cubicBezTo>
                    <a:pt x="179" y="130"/>
                    <a:pt x="179" y="130"/>
                    <a:pt x="179" y="130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192" y="119"/>
                    <a:pt x="192" y="119"/>
                    <a:pt x="192" y="119"/>
                  </a:cubicBezTo>
                  <a:cubicBezTo>
                    <a:pt x="191" y="114"/>
                    <a:pt x="191" y="114"/>
                    <a:pt x="191" y="114"/>
                  </a:cubicBezTo>
                  <a:cubicBezTo>
                    <a:pt x="193" y="110"/>
                    <a:pt x="193" y="110"/>
                    <a:pt x="193" y="110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0" y="106"/>
                    <a:pt x="190" y="106"/>
                    <a:pt x="190" y="106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4" y="106"/>
                    <a:pt x="183" y="109"/>
                    <a:pt x="182" y="108"/>
                  </a:cubicBezTo>
                  <a:cubicBezTo>
                    <a:pt x="182" y="108"/>
                    <a:pt x="178" y="105"/>
                    <a:pt x="177" y="105"/>
                  </a:cubicBezTo>
                  <a:cubicBezTo>
                    <a:pt x="177" y="105"/>
                    <a:pt x="173" y="108"/>
                    <a:pt x="173" y="108"/>
                  </a:cubicBezTo>
                  <a:cubicBezTo>
                    <a:pt x="171" y="108"/>
                    <a:pt x="171" y="108"/>
                    <a:pt x="171" y="108"/>
                  </a:cubicBezTo>
                  <a:cubicBezTo>
                    <a:pt x="171" y="108"/>
                    <a:pt x="170" y="108"/>
                    <a:pt x="168" y="108"/>
                  </a:cubicBezTo>
                  <a:cubicBezTo>
                    <a:pt x="166" y="107"/>
                    <a:pt x="162" y="106"/>
                    <a:pt x="162" y="106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7" y="107"/>
                    <a:pt x="157" y="107"/>
                    <a:pt x="157" y="107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5" y="105"/>
                    <a:pt x="155" y="105"/>
                    <a:pt x="155" y="105"/>
                  </a:cubicBezTo>
                  <a:cubicBezTo>
                    <a:pt x="155" y="105"/>
                    <a:pt x="154" y="104"/>
                    <a:pt x="153" y="104"/>
                  </a:cubicBezTo>
                  <a:cubicBezTo>
                    <a:pt x="153" y="104"/>
                    <a:pt x="151" y="103"/>
                    <a:pt x="151" y="103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5" y="108"/>
                    <a:pt x="145" y="108"/>
                    <a:pt x="145" y="108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49" y="103"/>
                    <a:pt x="148" y="103"/>
                    <a:pt x="148" y="103"/>
                  </a:cubicBezTo>
                  <a:cubicBezTo>
                    <a:pt x="147" y="103"/>
                    <a:pt x="146" y="102"/>
                    <a:pt x="146" y="102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5" y="109"/>
                    <a:pt x="135" y="109"/>
                    <a:pt x="135" y="109"/>
                  </a:cubicBezTo>
                  <a:cubicBezTo>
                    <a:pt x="132" y="109"/>
                    <a:pt x="132" y="109"/>
                    <a:pt x="132" y="109"/>
                  </a:cubicBezTo>
                  <a:cubicBezTo>
                    <a:pt x="132" y="109"/>
                    <a:pt x="132" y="113"/>
                    <a:pt x="133" y="113"/>
                  </a:cubicBezTo>
                  <a:cubicBezTo>
                    <a:pt x="133" y="113"/>
                    <a:pt x="134" y="115"/>
                    <a:pt x="134" y="115"/>
                  </a:cubicBezTo>
                  <a:cubicBezTo>
                    <a:pt x="134" y="117"/>
                    <a:pt x="134" y="117"/>
                    <a:pt x="134" y="117"/>
                  </a:cubicBezTo>
                  <a:cubicBezTo>
                    <a:pt x="135" y="118"/>
                    <a:pt x="135" y="118"/>
                    <a:pt x="135" y="118"/>
                  </a:cubicBezTo>
                  <a:cubicBezTo>
                    <a:pt x="135" y="118"/>
                    <a:pt x="134" y="118"/>
                    <a:pt x="133" y="118"/>
                  </a:cubicBezTo>
                  <a:cubicBezTo>
                    <a:pt x="133" y="118"/>
                    <a:pt x="132" y="116"/>
                    <a:pt x="132" y="11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6" y="124"/>
                    <a:pt x="126" y="124"/>
                    <a:pt x="126" y="124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5" y="125"/>
                    <a:pt x="123" y="127"/>
                    <a:pt x="123" y="127"/>
                  </a:cubicBezTo>
                  <a:cubicBezTo>
                    <a:pt x="123" y="128"/>
                    <a:pt x="124" y="131"/>
                    <a:pt x="124" y="131"/>
                  </a:cubicBezTo>
                  <a:cubicBezTo>
                    <a:pt x="124" y="131"/>
                    <a:pt x="125" y="133"/>
                    <a:pt x="126" y="133"/>
                  </a:cubicBezTo>
                  <a:cubicBezTo>
                    <a:pt x="126" y="134"/>
                    <a:pt x="128" y="135"/>
                    <a:pt x="128" y="135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6" y="135"/>
                    <a:pt x="125" y="134"/>
                    <a:pt x="124" y="133"/>
                  </a:cubicBezTo>
                  <a:cubicBezTo>
                    <a:pt x="124" y="133"/>
                    <a:pt x="123" y="131"/>
                    <a:pt x="123" y="131"/>
                  </a:cubicBezTo>
                  <a:cubicBezTo>
                    <a:pt x="123" y="131"/>
                    <a:pt x="121" y="132"/>
                    <a:pt x="121" y="132"/>
                  </a:cubicBezTo>
                  <a:cubicBezTo>
                    <a:pt x="121" y="132"/>
                    <a:pt x="120" y="132"/>
                    <a:pt x="121" y="133"/>
                  </a:cubicBezTo>
                  <a:cubicBezTo>
                    <a:pt x="121" y="134"/>
                    <a:pt x="119" y="135"/>
                    <a:pt x="119" y="135"/>
                  </a:cubicBezTo>
                  <a:cubicBezTo>
                    <a:pt x="119" y="135"/>
                    <a:pt x="116" y="136"/>
                    <a:pt x="116" y="135"/>
                  </a:cubicBezTo>
                  <a:cubicBezTo>
                    <a:pt x="116" y="134"/>
                    <a:pt x="116" y="133"/>
                    <a:pt x="115" y="132"/>
                  </a:cubicBezTo>
                  <a:cubicBezTo>
                    <a:pt x="115" y="132"/>
                    <a:pt x="114" y="132"/>
                    <a:pt x="114" y="132"/>
                  </a:cubicBezTo>
                  <a:cubicBezTo>
                    <a:pt x="114" y="133"/>
                    <a:pt x="113" y="134"/>
                    <a:pt x="113" y="13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3" y="139"/>
                    <a:pt x="113" y="139"/>
                  </a:cubicBezTo>
                  <a:cubicBezTo>
                    <a:pt x="113" y="138"/>
                    <a:pt x="112" y="136"/>
                    <a:pt x="112" y="135"/>
                  </a:cubicBezTo>
                  <a:cubicBezTo>
                    <a:pt x="112" y="135"/>
                    <a:pt x="112" y="133"/>
                    <a:pt x="111" y="133"/>
                  </a:cubicBezTo>
                  <a:cubicBezTo>
                    <a:pt x="111" y="133"/>
                    <a:pt x="109" y="135"/>
                    <a:pt x="109" y="135"/>
                  </a:cubicBezTo>
                  <a:cubicBezTo>
                    <a:pt x="109" y="135"/>
                    <a:pt x="108" y="135"/>
                    <a:pt x="108" y="136"/>
                  </a:cubicBezTo>
                  <a:cubicBezTo>
                    <a:pt x="108" y="136"/>
                    <a:pt x="107" y="139"/>
                    <a:pt x="108" y="140"/>
                  </a:cubicBezTo>
                  <a:cubicBezTo>
                    <a:pt x="109" y="141"/>
                    <a:pt x="109" y="141"/>
                    <a:pt x="110" y="141"/>
                  </a:cubicBezTo>
                  <a:cubicBezTo>
                    <a:pt x="111" y="141"/>
                    <a:pt x="111" y="142"/>
                    <a:pt x="111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2"/>
                    <a:pt x="106" y="143"/>
                    <a:pt x="107" y="144"/>
                  </a:cubicBezTo>
                  <a:cubicBezTo>
                    <a:pt x="107" y="144"/>
                    <a:pt x="107" y="146"/>
                    <a:pt x="107" y="146"/>
                  </a:cubicBezTo>
                  <a:cubicBezTo>
                    <a:pt x="107" y="146"/>
                    <a:pt x="109" y="148"/>
                    <a:pt x="109" y="148"/>
                  </a:cubicBezTo>
                  <a:cubicBezTo>
                    <a:pt x="109" y="148"/>
                    <a:pt x="108" y="150"/>
                    <a:pt x="108" y="150"/>
                  </a:cubicBezTo>
                  <a:cubicBezTo>
                    <a:pt x="108" y="150"/>
                    <a:pt x="106" y="149"/>
                    <a:pt x="106" y="149"/>
                  </a:cubicBezTo>
                  <a:cubicBezTo>
                    <a:pt x="105" y="148"/>
                    <a:pt x="105" y="149"/>
                    <a:pt x="104" y="149"/>
                  </a:cubicBezTo>
                  <a:cubicBezTo>
                    <a:pt x="104" y="150"/>
                    <a:pt x="103" y="151"/>
                    <a:pt x="103" y="152"/>
                  </a:cubicBezTo>
                  <a:cubicBezTo>
                    <a:pt x="103" y="152"/>
                    <a:pt x="104" y="153"/>
                    <a:pt x="104" y="154"/>
                  </a:cubicBezTo>
                  <a:cubicBezTo>
                    <a:pt x="103" y="156"/>
                    <a:pt x="103" y="158"/>
                    <a:pt x="103" y="158"/>
                  </a:cubicBezTo>
                  <a:cubicBezTo>
                    <a:pt x="103" y="158"/>
                    <a:pt x="102" y="158"/>
                    <a:pt x="103" y="159"/>
                  </a:cubicBezTo>
                  <a:cubicBezTo>
                    <a:pt x="104" y="160"/>
                    <a:pt x="106" y="160"/>
                    <a:pt x="107" y="160"/>
                  </a:cubicBezTo>
                  <a:cubicBezTo>
                    <a:pt x="108" y="160"/>
                    <a:pt x="108" y="160"/>
                    <a:pt x="108" y="160"/>
                  </a:cubicBezTo>
                  <a:cubicBezTo>
                    <a:pt x="109" y="160"/>
                    <a:pt x="110" y="160"/>
                    <a:pt x="111" y="161"/>
                  </a:cubicBezTo>
                  <a:cubicBezTo>
                    <a:pt x="111" y="161"/>
                    <a:pt x="112" y="161"/>
                    <a:pt x="112" y="161"/>
                  </a:cubicBezTo>
                  <a:cubicBezTo>
                    <a:pt x="112" y="161"/>
                    <a:pt x="111" y="163"/>
                    <a:pt x="110" y="162"/>
                  </a:cubicBezTo>
                  <a:cubicBezTo>
                    <a:pt x="109" y="161"/>
                    <a:pt x="107" y="161"/>
                    <a:pt x="106" y="161"/>
                  </a:cubicBezTo>
                  <a:cubicBezTo>
                    <a:pt x="105" y="161"/>
                    <a:pt x="106" y="163"/>
                    <a:pt x="106" y="163"/>
                  </a:cubicBezTo>
                  <a:cubicBezTo>
                    <a:pt x="107" y="165"/>
                    <a:pt x="107" y="165"/>
                    <a:pt x="107" y="165"/>
                  </a:cubicBezTo>
                  <a:cubicBezTo>
                    <a:pt x="107" y="165"/>
                    <a:pt x="108" y="166"/>
                    <a:pt x="107" y="166"/>
                  </a:cubicBezTo>
                  <a:cubicBezTo>
                    <a:pt x="106" y="166"/>
                    <a:pt x="104" y="165"/>
                    <a:pt x="104" y="165"/>
                  </a:cubicBezTo>
                  <a:cubicBezTo>
                    <a:pt x="104" y="165"/>
                    <a:pt x="104" y="165"/>
                    <a:pt x="103" y="165"/>
                  </a:cubicBezTo>
                  <a:cubicBezTo>
                    <a:pt x="103" y="165"/>
                    <a:pt x="102" y="166"/>
                    <a:pt x="101" y="166"/>
                  </a:cubicBezTo>
                  <a:cubicBezTo>
                    <a:pt x="100" y="166"/>
                    <a:pt x="100" y="166"/>
                    <a:pt x="99" y="165"/>
                  </a:cubicBezTo>
                  <a:cubicBezTo>
                    <a:pt x="98" y="165"/>
                    <a:pt x="96" y="163"/>
                    <a:pt x="96" y="163"/>
                  </a:cubicBezTo>
                  <a:cubicBezTo>
                    <a:pt x="96" y="163"/>
                    <a:pt x="95" y="163"/>
                    <a:pt x="95" y="162"/>
                  </a:cubicBezTo>
                  <a:cubicBezTo>
                    <a:pt x="95" y="161"/>
                    <a:pt x="96" y="159"/>
                    <a:pt x="96" y="159"/>
                  </a:cubicBezTo>
                  <a:cubicBezTo>
                    <a:pt x="97" y="158"/>
                    <a:pt x="96" y="158"/>
                    <a:pt x="97" y="158"/>
                  </a:cubicBezTo>
                  <a:cubicBezTo>
                    <a:pt x="98" y="158"/>
                    <a:pt x="101" y="158"/>
                    <a:pt x="99" y="156"/>
                  </a:cubicBezTo>
                  <a:cubicBezTo>
                    <a:pt x="98" y="154"/>
                    <a:pt x="98" y="154"/>
                    <a:pt x="97" y="154"/>
                  </a:cubicBezTo>
                  <a:cubicBezTo>
                    <a:pt x="96" y="155"/>
                    <a:pt x="94" y="156"/>
                    <a:pt x="94" y="156"/>
                  </a:cubicBezTo>
                  <a:cubicBezTo>
                    <a:pt x="94" y="156"/>
                    <a:pt x="93" y="155"/>
                    <a:pt x="94" y="152"/>
                  </a:cubicBezTo>
                  <a:cubicBezTo>
                    <a:pt x="95" y="149"/>
                    <a:pt x="94" y="149"/>
                    <a:pt x="95" y="148"/>
                  </a:cubicBezTo>
                  <a:cubicBezTo>
                    <a:pt x="96" y="147"/>
                    <a:pt x="97" y="146"/>
                    <a:pt x="97" y="146"/>
                  </a:cubicBezTo>
                  <a:cubicBezTo>
                    <a:pt x="97" y="146"/>
                    <a:pt x="97" y="145"/>
                    <a:pt x="95" y="143"/>
                  </a:cubicBezTo>
                  <a:cubicBezTo>
                    <a:pt x="94" y="141"/>
                    <a:pt x="93" y="139"/>
                    <a:pt x="93" y="139"/>
                  </a:cubicBezTo>
                  <a:cubicBezTo>
                    <a:pt x="92" y="138"/>
                    <a:pt x="90" y="140"/>
                    <a:pt x="90" y="140"/>
                  </a:cubicBezTo>
                  <a:cubicBezTo>
                    <a:pt x="90" y="141"/>
                    <a:pt x="89" y="143"/>
                    <a:pt x="90" y="144"/>
                  </a:cubicBezTo>
                  <a:cubicBezTo>
                    <a:pt x="90" y="145"/>
                    <a:pt x="90" y="146"/>
                    <a:pt x="89" y="147"/>
                  </a:cubicBezTo>
                  <a:cubicBezTo>
                    <a:pt x="88" y="147"/>
                    <a:pt x="88" y="148"/>
                    <a:pt x="87" y="147"/>
                  </a:cubicBezTo>
                  <a:cubicBezTo>
                    <a:pt x="86" y="146"/>
                    <a:pt x="87" y="147"/>
                    <a:pt x="86" y="145"/>
                  </a:cubicBezTo>
                  <a:cubicBezTo>
                    <a:pt x="85" y="144"/>
                    <a:pt x="86" y="144"/>
                    <a:pt x="85" y="144"/>
                  </a:cubicBezTo>
                  <a:cubicBezTo>
                    <a:pt x="84" y="143"/>
                    <a:pt x="83" y="142"/>
                    <a:pt x="83" y="142"/>
                  </a:cubicBezTo>
                  <a:cubicBezTo>
                    <a:pt x="83" y="142"/>
                    <a:pt x="80" y="141"/>
                    <a:pt x="80" y="142"/>
                  </a:cubicBezTo>
                  <a:cubicBezTo>
                    <a:pt x="80" y="143"/>
                    <a:pt x="80" y="143"/>
                    <a:pt x="81" y="144"/>
                  </a:cubicBezTo>
                  <a:cubicBezTo>
                    <a:pt x="81" y="145"/>
                    <a:pt x="82" y="145"/>
                    <a:pt x="82" y="146"/>
                  </a:cubicBezTo>
                  <a:cubicBezTo>
                    <a:pt x="82" y="147"/>
                    <a:pt x="81" y="147"/>
                    <a:pt x="81" y="147"/>
                  </a:cubicBezTo>
                  <a:cubicBezTo>
                    <a:pt x="81" y="147"/>
                    <a:pt x="80" y="146"/>
                    <a:pt x="79" y="146"/>
                  </a:cubicBezTo>
                  <a:cubicBezTo>
                    <a:pt x="79" y="146"/>
                    <a:pt x="77" y="148"/>
                    <a:pt x="77" y="148"/>
                  </a:cubicBezTo>
                  <a:cubicBezTo>
                    <a:pt x="77" y="148"/>
                    <a:pt x="77" y="149"/>
                    <a:pt x="77" y="150"/>
                  </a:cubicBezTo>
                  <a:cubicBezTo>
                    <a:pt x="77" y="150"/>
                    <a:pt x="77" y="151"/>
                    <a:pt x="77" y="152"/>
                  </a:cubicBezTo>
                  <a:cubicBezTo>
                    <a:pt x="78" y="153"/>
                    <a:pt x="78" y="155"/>
                    <a:pt x="79" y="155"/>
                  </a:cubicBezTo>
                  <a:cubicBezTo>
                    <a:pt x="81" y="155"/>
                    <a:pt x="85" y="153"/>
                    <a:pt x="85" y="153"/>
                  </a:cubicBezTo>
                  <a:cubicBezTo>
                    <a:pt x="85" y="154"/>
                    <a:pt x="87" y="155"/>
                    <a:pt x="88" y="156"/>
                  </a:cubicBezTo>
                  <a:cubicBezTo>
                    <a:pt x="88" y="156"/>
                    <a:pt x="88" y="158"/>
                    <a:pt x="88" y="158"/>
                  </a:cubicBezTo>
                  <a:cubicBezTo>
                    <a:pt x="88" y="158"/>
                    <a:pt x="87" y="159"/>
                    <a:pt x="86" y="159"/>
                  </a:cubicBezTo>
                  <a:cubicBezTo>
                    <a:pt x="85" y="159"/>
                    <a:pt x="84" y="157"/>
                    <a:pt x="84" y="159"/>
                  </a:cubicBezTo>
                  <a:cubicBezTo>
                    <a:pt x="84" y="160"/>
                    <a:pt x="83" y="162"/>
                    <a:pt x="84" y="163"/>
                  </a:cubicBezTo>
                  <a:cubicBezTo>
                    <a:pt x="85" y="164"/>
                    <a:pt x="85" y="166"/>
                    <a:pt x="87" y="166"/>
                  </a:cubicBezTo>
                  <a:cubicBezTo>
                    <a:pt x="89" y="167"/>
                    <a:pt x="89" y="168"/>
                    <a:pt x="90" y="167"/>
                  </a:cubicBezTo>
                  <a:cubicBezTo>
                    <a:pt x="91" y="166"/>
                    <a:pt x="91" y="165"/>
                    <a:pt x="92" y="166"/>
                  </a:cubicBezTo>
                  <a:cubicBezTo>
                    <a:pt x="93" y="166"/>
                    <a:pt x="94" y="166"/>
                    <a:pt x="95" y="167"/>
                  </a:cubicBezTo>
                  <a:cubicBezTo>
                    <a:pt x="95" y="168"/>
                    <a:pt x="94" y="168"/>
                    <a:pt x="94" y="168"/>
                  </a:cubicBezTo>
                  <a:cubicBezTo>
                    <a:pt x="94" y="168"/>
                    <a:pt x="93" y="168"/>
                    <a:pt x="93" y="169"/>
                  </a:cubicBezTo>
                  <a:cubicBezTo>
                    <a:pt x="93" y="169"/>
                    <a:pt x="92" y="170"/>
                    <a:pt x="93" y="170"/>
                  </a:cubicBezTo>
                  <a:cubicBezTo>
                    <a:pt x="95" y="170"/>
                    <a:pt x="96" y="170"/>
                    <a:pt x="96" y="170"/>
                  </a:cubicBezTo>
                  <a:cubicBezTo>
                    <a:pt x="96" y="170"/>
                    <a:pt x="97" y="168"/>
                    <a:pt x="98" y="169"/>
                  </a:cubicBezTo>
                  <a:cubicBezTo>
                    <a:pt x="98" y="170"/>
                    <a:pt x="97" y="170"/>
                    <a:pt x="96" y="171"/>
                  </a:cubicBezTo>
                  <a:cubicBezTo>
                    <a:pt x="95" y="172"/>
                    <a:pt x="95" y="172"/>
                    <a:pt x="95" y="173"/>
                  </a:cubicBezTo>
                  <a:cubicBezTo>
                    <a:pt x="95" y="174"/>
                    <a:pt x="94" y="174"/>
                    <a:pt x="94" y="175"/>
                  </a:cubicBezTo>
                  <a:cubicBezTo>
                    <a:pt x="94" y="176"/>
                    <a:pt x="92" y="180"/>
                    <a:pt x="95" y="177"/>
                  </a:cubicBezTo>
                  <a:cubicBezTo>
                    <a:pt x="99" y="174"/>
                    <a:pt x="99" y="175"/>
                    <a:pt x="99" y="174"/>
                  </a:cubicBezTo>
                  <a:cubicBezTo>
                    <a:pt x="99" y="173"/>
                    <a:pt x="99" y="173"/>
                    <a:pt x="101" y="172"/>
                  </a:cubicBezTo>
                  <a:cubicBezTo>
                    <a:pt x="102" y="171"/>
                    <a:pt x="103" y="171"/>
                    <a:pt x="104" y="171"/>
                  </a:cubicBezTo>
                  <a:cubicBezTo>
                    <a:pt x="104" y="170"/>
                    <a:pt x="106" y="170"/>
                    <a:pt x="105" y="171"/>
                  </a:cubicBezTo>
                  <a:cubicBezTo>
                    <a:pt x="104" y="172"/>
                    <a:pt x="103" y="171"/>
                    <a:pt x="104" y="172"/>
                  </a:cubicBezTo>
                  <a:cubicBezTo>
                    <a:pt x="105" y="173"/>
                    <a:pt x="105" y="174"/>
                    <a:pt x="106" y="174"/>
                  </a:cubicBezTo>
                  <a:cubicBezTo>
                    <a:pt x="107" y="174"/>
                    <a:pt x="107" y="174"/>
                    <a:pt x="107" y="174"/>
                  </a:cubicBezTo>
                  <a:cubicBezTo>
                    <a:pt x="107" y="174"/>
                    <a:pt x="105" y="174"/>
                    <a:pt x="104" y="174"/>
                  </a:cubicBezTo>
                  <a:cubicBezTo>
                    <a:pt x="104" y="174"/>
                    <a:pt x="103" y="174"/>
                    <a:pt x="103" y="174"/>
                  </a:cubicBezTo>
                  <a:cubicBezTo>
                    <a:pt x="102" y="174"/>
                    <a:pt x="102" y="175"/>
                    <a:pt x="102" y="175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1" y="176"/>
                    <a:pt x="102" y="177"/>
                    <a:pt x="102" y="178"/>
                  </a:cubicBezTo>
                  <a:cubicBezTo>
                    <a:pt x="102" y="178"/>
                    <a:pt x="102" y="178"/>
                    <a:pt x="101" y="178"/>
                  </a:cubicBezTo>
                  <a:cubicBezTo>
                    <a:pt x="100" y="178"/>
                    <a:pt x="101" y="177"/>
                    <a:pt x="99" y="178"/>
                  </a:cubicBezTo>
                  <a:cubicBezTo>
                    <a:pt x="97" y="178"/>
                    <a:pt x="98" y="176"/>
                    <a:pt x="97" y="179"/>
                  </a:cubicBezTo>
                  <a:cubicBezTo>
                    <a:pt x="96" y="182"/>
                    <a:pt x="95" y="182"/>
                    <a:pt x="95" y="182"/>
                  </a:cubicBezTo>
                  <a:cubicBezTo>
                    <a:pt x="95" y="182"/>
                    <a:pt x="95" y="182"/>
                    <a:pt x="95" y="183"/>
                  </a:cubicBezTo>
                  <a:cubicBezTo>
                    <a:pt x="95" y="183"/>
                    <a:pt x="96" y="184"/>
                    <a:pt x="97" y="185"/>
                  </a:cubicBezTo>
                  <a:cubicBezTo>
                    <a:pt x="99" y="186"/>
                    <a:pt x="100" y="187"/>
                    <a:pt x="100" y="187"/>
                  </a:cubicBezTo>
                  <a:cubicBezTo>
                    <a:pt x="100" y="187"/>
                    <a:pt x="99" y="187"/>
                    <a:pt x="98" y="187"/>
                  </a:cubicBezTo>
                  <a:cubicBezTo>
                    <a:pt x="96" y="188"/>
                    <a:pt x="95" y="188"/>
                    <a:pt x="94" y="189"/>
                  </a:cubicBezTo>
                  <a:cubicBezTo>
                    <a:pt x="94" y="189"/>
                    <a:pt x="93" y="190"/>
                    <a:pt x="92" y="190"/>
                  </a:cubicBezTo>
                  <a:cubicBezTo>
                    <a:pt x="91" y="190"/>
                    <a:pt x="88" y="189"/>
                    <a:pt x="87" y="190"/>
                  </a:cubicBezTo>
                  <a:cubicBezTo>
                    <a:pt x="86" y="190"/>
                    <a:pt x="85" y="190"/>
                    <a:pt x="84" y="191"/>
                  </a:cubicBezTo>
                  <a:cubicBezTo>
                    <a:pt x="84" y="191"/>
                    <a:pt x="84" y="192"/>
                    <a:pt x="84" y="192"/>
                  </a:cubicBezTo>
                  <a:cubicBezTo>
                    <a:pt x="84" y="192"/>
                    <a:pt x="83" y="193"/>
                    <a:pt x="84" y="193"/>
                  </a:cubicBezTo>
                  <a:cubicBezTo>
                    <a:pt x="85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0" y="194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94"/>
                    <a:pt x="86" y="194"/>
                    <a:pt x="85" y="194"/>
                  </a:cubicBezTo>
                  <a:cubicBezTo>
                    <a:pt x="85" y="194"/>
                    <a:pt x="82" y="195"/>
                    <a:pt x="82" y="195"/>
                  </a:cubicBezTo>
                  <a:cubicBezTo>
                    <a:pt x="82" y="195"/>
                    <a:pt x="80" y="197"/>
                    <a:pt x="80" y="198"/>
                  </a:cubicBezTo>
                  <a:cubicBezTo>
                    <a:pt x="80" y="198"/>
                    <a:pt x="80" y="199"/>
                    <a:pt x="81" y="201"/>
                  </a:cubicBezTo>
                  <a:cubicBezTo>
                    <a:pt x="83" y="202"/>
                    <a:pt x="83" y="203"/>
                    <a:pt x="83" y="204"/>
                  </a:cubicBezTo>
                  <a:cubicBezTo>
                    <a:pt x="83" y="204"/>
                    <a:pt x="83" y="204"/>
                    <a:pt x="83" y="205"/>
                  </a:cubicBezTo>
                  <a:cubicBezTo>
                    <a:pt x="82" y="205"/>
                    <a:pt x="80" y="207"/>
                    <a:pt x="80" y="207"/>
                  </a:cubicBezTo>
                  <a:cubicBezTo>
                    <a:pt x="80" y="207"/>
                    <a:pt x="80" y="207"/>
                    <a:pt x="80" y="209"/>
                  </a:cubicBezTo>
                  <a:cubicBezTo>
                    <a:pt x="79" y="210"/>
                    <a:pt x="77" y="213"/>
                    <a:pt x="79" y="213"/>
                  </a:cubicBezTo>
                  <a:cubicBezTo>
                    <a:pt x="81" y="214"/>
                    <a:pt x="80" y="215"/>
                    <a:pt x="82" y="214"/>
                  </a:cubicBezTo>
                  <a:cubicBezTo>
                    <a:pt x="85" y="213"/>
                    <a:pt x="82" y="212"/>
                    <a:pt x="86" y="213"/>
                  </a:cubicBezTo>
                  <a:cubicBezTo>
                    <a:pt x="90" y="214"/>
                    <a:pt x="91" y="213"/>
                    <a:pt x="92" y="213"/>
                  </a:cubicBezTo>
                  <a:cubicBezTo>
                    <a:pt x="93" y="212"/>
                    <a:pt x="93" y="212"/>
                    <a:pt x="94" y="211"/>
                  </a:cubicBezTo>
                  <a:cubicBezTo>
                    <a:pt x="94" y="211"/>
                    <a:pt x="92" y="210"/>
                    <a:pt x="95" y="210"/>
                  </a:cubicBezTo>
                  <a:cubicBezTo>
                    <a:pt x="98" y="209"/>
                    <a:pt x="98" y="209"/>
                    <a:pt x="98" y="209"/>
                  </a:cubicBezTo>
                  <a:cubicBezTo>
                    <a:pt x="98" y="209"/>
                    <a:pt x="96" y="206"/>
                    <a:pt x="98" y="208"/>
                  </a:cubicBezTo>
                  <a:cubicBezTo>
                    <a:pt x="101" y="210"/>
                    <a:pt x="101" y="211"/>
                    <a:pt x="101" y="211"/>
                  </a:cubicBezTo>
                  <a:cubicBezTo>
                    <a:pt x="99" y="213"/>
                    <a:pt x="99" y="213"/>
                    <a:pt x="99" y="213"/>
                  </a:cubicBezTo>
                  <a:cubicBezTo>
                    <a:pt x="99" y="214"/>
                    <a:pt x="99" y="214"/>
                    <a:pt x="99" y="214"/>
                  </a:cubicBezTo>
                  <a:cubicBezTo>
                    <a:pt x="99" y="214"/>
                    <a:pt x="97" y="214"/>
                    <a:pt x="96" y="216"/>
                  </a:cubicBezTo>
                  <a:cubicBezTo>
                    <a:pt x="95" y="218"/>
                    <a:pt x="92" y="221"/>
                    <a:pt x="92" y="222"/>
                  </a:cubicBezTo>
                  <a:cubicBezTo>
                    <a:pt x="92" y="222"/>
                    <a:pt x="93" y="221"/>
                    <a:pt x="91" y="223"/>
                  </a:cubicBezTo>
                  <a:cubicBezTo>
                    <a:pt x="88" y="225"/>
                    <a:pt x="87" y="225"/>
                    <a:pt x="85" y="226"/>
                  </a:cubicBezTo>
                  <a:cubicBezTo>
                    <a:pt x="84" y="228"/>
                    <a:pt x="84" y="227"/>
                    <a:pt x="83" y="228"/>
                  </a:cubicBezTo>
                  <a:cubicBezTo>
                    <a:pt x="83" y="229"/>
                    <a:pt x="82" y="230"/>
                    <a:pt x="82" y="230"/>
                  </a:cubicBezTo>
                  <a:cubicBezTo>
                    <a:pt x="81" y="232"/>
                    <a:pt x="81" y="232"/>
                    <a:pt x="81" y="232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75" y="232"/>
                    <a:pt x="75" y="232"/>
                    <a:pt x="75" y="232"/>
                  </a:cubicBezTo>
                  <a:cubicBezTo>
                    <a:pt x="73" y="234"/>
                    <a:pt x="73" y="234"/>
                    <a:pt x="73" y="234"/>
                  </a:cubicBezTo>
                  <a:cubicBezTo>
                    <a:pt x="73" y="234"/>
                    <a:pt x="70" y="233"/>
                    <a:pt x="69" y="233"/>
                  </a:cubicBezTo>
                  <a:cubicBezTo>
                    <a:pt x="68" y="234"/>
                    <a:pt x="67" y="235"/>
                    <a:pt x="67" y="235"/>
                  </a:cubicBezTo>
                  <a:cubicBezTo>
                    <a:pt x="67" y="235"/>
                    <a:pt x="66" y="235"/>
                    <a:pt x="66" y="237"/>
                  </a:cubicBezTo>
                  <a:cubicBezTo>
                    <a:pt x="66" y="238"/>
                    <a:pt x="65" y="241"/>
                    <a:pt x="65" y="241"/>
                  </a:cubicBezTo>
                  <a:cubicBezTo>
                    <a:pt x="63" y="243"/>
                    <a:pt x="63" y="243"/>
                    <a:pt x="63" y="243"/>
                  </a:cubicBezTo>
                  <a:cubicBezTo>
                    <a:pt x="63" y="243"/>
                    <a:pt x="62" y="245"/>
                    <a:pt x="64" y="244"/>
                  </a:cubicBezTo>
                  <a:cubicBezTo>
                    <a:pt x="66" y="243"/>
                    <a:pt x="67" y="242"/>
                    <a:pt x="68" y="241"/>
                  </a:cubicBezTo>
                  <a:cubicBezTo>
                    <a:pt x="68" y="241"/>
                    <a:pt x="70" y="240"/>
                    <a:pt x="70" y="240"/>
                  </a:cubicBezTo>
                  <a:cubicBezTo>
                    <a:pt x="70" y="242"/>
                    <a:pt x="70" y="242"/>
                    <a:pt x="70" y="242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8" y="247"/>
                    <a:pt x="68" y="247"/>
                    <a:pt x="68" y="247"/>
                  </a:cubicBezTo>
                  <a:cubicBezTo>
                    <a:pt x="67" y="248"/>
                    <a:pt x="67" y="248"/>
                    <a:pt x="67" y="248"/>
                  </a:cubicBezTo>
                  <a:cubicBezTo>
                    <a:pt x="67" y="248"/>
                    <a:pt x="65" y="252"/>
                    <a:pt x="67" y="252"/>
                  </a:cubicBezTo>
                  <a:cubicBezTo>
                    <a:pt x="69" y="251"/>
                    <a:pt x="68" y="251"/>
                    <a:pt x="70" y="250"/>
                  </a:cubicBezTo>
                  <a:cubicBezTo>
                    <a:pt x="72" y="250"/>
                    <a:pt x="71" y="249"/>
                    <a:pt x="75" y="248"/>
                  </a:cubicBezTo>
                  <a:cubicBezTo>
                    <a:pt x="78" y="248"/>
                    <a:pt x="78" y="246"/>
                    <a:pt x="78" y="245"/>
                  </a:cubicBezTo>
                  <a:cubicBezTo>
                    <a:pt x="78" y="245"/>
                    <a:pt x="78" y="244"/>
                    <a:pt x="78" y="243"/>
                  </a:cubicBezTo>
                  <a:cubicBezTo>
                    <a:pt x="78" y="242"/>
                    <a:pt x="76" y="241"/>
                    <a:pt x="79" y="240"/>
                  </a:cubicBezTo>
                  <a:cubicBezTo>
                    <a:pt x="81" y="240"/>
                    <a:pt x="80" y="241"/>
                    <a:pt x="81" y="240"/>
                  </a:cubicBezTo>
                  <a:cubicBezTo>
                    <a:pt x="82" y="239"/>
                    <a:pt x="82" y="241"/>
                    <a:pt x="82" y="238"/>
                  </a:cubicBezTo>
                  <a:cubicBezTo>
                    <a:pt x="82" y="236"/>
                    <a:pt x="82" y="236"/>
                    <a:pt x="84" y="235"/>
                  </a:cubicBezTo>
                  <a:cubicBezTo>
                    <a:pt x="86" y="233"/>
                    <a:pt x="85" y="234"/>
                    <a:pt x="86" y="233"/>
                  </a:cubicBezTo>
                  <a:cubicBezTo>
                    <a:pt x="87" y="232"/>
                    <a:pt x="86" y="232"/>
                    <a:pt x="87" y="231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89" y="229"/>
                    <a:pt x="92" y="227"/>
                    <a:pt x="92" y="227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6" y="223"/>
                    <a:pt x="96" y="223"/>
                    <a:pt x="96" y="223"/>
                  </a:cubicBezTo>
                  <a:cubicBezTo>
                    <a:pt x="96" y="223"/>
                    <a:pt x="97" y="222"/>
                    <a:pt x="97" y="223"/>
                  </a:cubicBezTo>
                  <a:cubicBezTo>
                    <a:pt x="96" y="224"/>
                    <a:pt x="95" y="226"/>
                    <a:pt x="95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2" y="230"/>
                    <a:pt x="94" y="231"/>
                    <a:pt x="93" y="232"/>
                  </a:cubicBezTo>
                  <a:cubicBezTo>
                    <a:pt x="92" y="233"/>
                    <a:pt x="90" y="234"/>
                    <a:pt x="90" y="234"/>
                  </a:cubicBezTo>
                  <a:cubicBezTo>
                    <a:pt x="90" y="236"/>
                    <a:pt x="90" y="236"/>
                    <a:pt x="90" y="236"/>
                  </a:cubicBezTo>
                  <a:cubicBezTo>
                    <a:pt x="91" y="237"/>
                    <a:pt x="91" y="237"/>
                    <a:pt x="91" y="237"/>
                  </a:cubicBezTo>
                  <a:cubicBezTo>
                    <a:pt x="89" y="241"/>
                    <a:pt x="89" y="241"/>
                    <a:pt x="89" y="241"/>
                  </a:cubicBezTo>
                  <a:cubicBezTo>
                    <a:pt x="91" y="243"/>
                    <a:pt x="91" y="243"/>
                    <a:pt x="91" y="243"/>
                  </a:cubicBezTo>
                  <a:cubicBezTo>
                    <a:pt x="92" y="245"/>
                    <a:pt x="92" y="245"/>
                    <a:pt x="92" y="245"/>
                  </a:cubicBezTo>
                  <a:cubicBezTo>
                    <a:pt x="92" y="245"/>
                    <a:pt x="91" y="246"/>
                    <a:pt x="90" y="247"/>
                  </a:cubicBezTo>
                  <a:cubicBezTo>
                    <a:pt x="89" y="247"/>
                    <a:pt x="87" y="250"/>
                    <a:pt x="87" y="250"/>
                  </a:cubicBezTo>
                  <a:cubicBezTo>
                    <a:pt x="85" y="253"/>
                    <a:pt x="85" y="253"/>
                    <a:pt x="85" y="253"/>
                  </a:cubicBezTo>
                  <a:cubicBezTo>
                    <a:pt x="83" y="256"/>
                    <a:pt x="83" y="256"/>
                    <a:pt x="83" y="256"/>
                  </a:cubicBezTo>
                  <a:cubicBezTo>
                    <a:pt x="83" y="259"/>
                    <a:pt x="83" y="259"/>
                    <a:pt x="83" y="259"/>
                  </a:cubicBezTo>
                  <a:cubicBezTo>
                    <a:pt x="82" y="263"/>
                    <a:pt x="82" y="263"/>
                    <a:pt x="82" y="263"/>
                  </a:cubicBezTo>
                  <a:cubicBezTo>
                    <a:pt x="80" y="264"/>
                    <a:pt x="80" y="264"/>
                    <a:pt x="80" y="264"/>
                  </a:cubicBezTo>
                  <a:cubicBezTo>
                    <a:pt x="80" y="264"/>
                    <a:pt x="79" y="267"/>
                    <a:pt x="81" y="267"/>
                  </a:cubicBezTo>
                  <a:cubicBezTo>
                    <a:pt x="83" y="268"/>
                    <a:pt x="83" y="268"/>
                    <a:pt x="84" y="268"/>
                  </a:cubicBezTo>
                  <a:cubicBezTo>
                    <a:pt x="86" y="268"/>
                    <a:pt x="85" y="268"/>
                    <a:pt x="86" y="268"/>
                  </a:cubicBezTo>
                  <a:cubicBezTo>
                    <a:pt x="87" y="268"/>
                    <a:pt x="89" y="268"/>
                    <a:pt x="89" y="266"/>
                  </a:cubicBezTo>
                  <a:cubicBezTo>
                    <a:pt x="89" y="264"/>
                    <a:pt x="89" y="262"/>
                    <a:pt x="89" y="261"/>
                  </a:cubicBezTo>
                  <a:cubicBezTo>
                    <a:pt x="89" y="261"/>
                    <a:pt x="91" y="258"/>
                    <a:pt x="91" y="258"/>
                  </a:cubicBezTo>
                  <a:cubicBezTo>
                    <a:pt x="91" y="254"/>
                    <a:pt x="91" y="254"/>
                    <a:pt x="91" y="254"/>
                  </a:cubicBezTo>
                  <a:cubicBezTo>
                    <a:pt x="91" y="254"/>
                    <a:pt x="91" y="253"/>
                    <a:pt x="93" y="251"/>
                  </a:cubicBezTo>
                  <a:cubicBezTo>
                    <a:pt x="95" y="250"/>
                    <a:pt x="94" y="250"/>
                    <a:pt x="95" y="250"/>
                  </a:cubicBezTo>
                  <a:cubicBezTo>
                    <a:pt x="96" y="249"/>
                    <a:pt x="96" y="248"/>
                    <a:pt x="96" y="247"/>
                  </a:cubicBezTo>
                  <a:cubicBezTo>
                    <a:pt x="97" y="246"/>
                    <a:pt x="97" y="246"/>
                    <a:pt x="97" y="246"/>
                  </a:cubicBezTo>
                  <a:cubicBezTo>
                    <a:pt x="98" y="244"/>
                    <a:pt x="98" y="244"/>
                    <a:pt x="98" y="244"/>
                  </a:cubicBezTo>
                  <a:cubicBezTo>
                    <a:pt x="98" y="236"/>
                    <a:pt x="98" y="236"/>
                    <a:pt x="98" y="236"/>
                  </a:cubicBezTo>
                  <a:cubicBezTo>
                    <a:pt x="98" y="236"/>
                    <a:pt x="98" y="234"/>
                    <a:pt x="99" y="234"/>
                  </a:cubicBezTo>
                  <a:cubicBezTo>
                    <a:pt x="100" y="234"/>
                    <a:pt x="101" y="234"/>
                    <a:pt x="101" y="234"/>
                  </a:cubicBezTo>
                  <a:cubicBezTo>
                    <a:pt x="101" y="234"/>
                    <a:pt x="101" y="235"/>
                    <a:pt x="101" y="237"/>
                  </a:cubicBezTo>
                  <a:cubicBezTo>
                    <a:pt x="100" y="239"/>
                    <a:pt x="101" y="242"/>
                    <a:pt x="101" y="242"/>
                  </a:cubicBezTo>
                  <a:cubicBezTo>
                    <a:pt x="108" y="248"/>
                    <a:pt x="108" y="248"/>
                    <a:pt x="108" y="248"/>
                  </a:cubicBezTo>
                  <a:cubicBezTo>
                    <a:pt x="108" y="248"/>
                    <a:pt x="111" y="253"/>
                    <a:pt x="111" y="254"/>
                  </a:cubicBezTo>
                  <a:cubicBezTo>
                    <a:pt x="111" y="254"/>
                    <a:pt x="116" y="258"/>
                    <a:pt x="116" y="258"/>
                  </a:cubicBezTo>
                  <a:cubicBezTo>
                    <a:pt x="116" y="258"/>
                    <a:pt x="117" y="259"/>
                    <a:pt x="116" y="260"/>
                  </a:cubicBezTo>
                  <a:cubicBezTo>
                    <a:pt x="116" y="261"/>
                    <a:pt x="117" y="262"/>
                    <a:pt x="117" y="263"/>
                  </a:cubicBezTo>
                  <a:cubicBezTo>
                    <a:pt x="116" y="264"/>
                    <a:pt x="115" y="267"/>
                    <a:pt x="115" y="267"/>
                  </a:cubicBezTo>
                  <a:cubicBezTo>
                    <a:pt x="113" y="268"/>
                    <a:pt x="113" y="268"/>
                    <a:pt x="113" y="268"/>
                  </a:cubicBezTo>
                  <a:cubicBezTo>
                    <a:pt x="110" y="271"/>
                    <a:pt x="110" y="271"/>
                    <a:pt x="110" y="271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07" y="278"/>
                    <a:pt x="107" y="278"/>
                    <a:pt x="107" y="278"/>
                  </a:cubicBezTo>
                  <a:cubicBezTo>
                    <a:pt x="103" y="280"/>
                    <a:pt x="103" y="280"/>
                    <a:pt x="103" y="280"/>
                  </a:cubicBezTo>
                  <a:cubicBezTo>
                    <a:pt x="98" y="285"/>
                    <a:pt x="98" y="285"/>
                    <a:pt x="98" y="285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3" y="293"/>
                    <a:pt x="93" y="293"/>
                    <a:pt x="93" y="293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6"/>
                    <a:pt x="95" y="300"/>
                    <a:pt x="96" y="300"/>
                  </a:cubicBezTo>
                  <a:cubicBezTo>
                    <a:pt x="96" y="300"/>
                    <a:pt x="97" y="301"/>
                    <a:pt x="97" y="301"/>
                  </a:cubicBezTo>
                  <a:cubicBezTo>
                    <a:pt x="98" y="306"/>
                    <a:pt x="98" y="306"/>
                    <a:pt x="98" y="306"/>
                  </a:cubicBezTo>
                  <a:cubicBezTo>
                    <a:pt x="98" y="306"/>
                    <a:pt x="98" y="309"/>
                    <a:pt x="99" y="309"/>
                  </a:cubicBezTo>
                  <a:cubicBezTo>
                    <a:pt x="100" y="308"/>
                    <a:pt x="101" y="305"/>
                    <a:pt x="101" y="305"/>
                  </a:cubicBezTo>
                  <a:cubicBezTo>
                    <a:pt x="101" y="305"/>
                    <a:pt x="99" y="303"/>
                    <a:pt x="99" y="301"/>
                  </a:cubicBezTo>
                  <a:cubicBezTo>
                    <a:pt x="99" y="299"/>
                    <a:pt x="101" y="296"/>
                    <a:pt x="101" y="296"/>
                  </a:cubicBezTo>
                  <a:cubicBezTo>
                    <a:pt x="103" y="295"/>
                    <a:pt x="103" y="295"/>
                    <a:pt x="103" y="295"/>
                  </a:cubicBezTo>
                  <a:cubicBezTo>
                    <a:pt x="103" y="295"/>
                    <a:pt x="102" y="295"/>
                    <a:pt x="103" y="296"/>
                  </a:cubicBezTo>
                  <a:cubicBezTo>
                    <a:pt x="104" y="298"/>
                    <a:pt x="104" y="297"/>
                    <a:pt x="105" y="298"/>
                  </a:cubicBezTo>
                  <a:cubicBezTo>
                    <a:pt x="105" y="299"/>
                    <a:pt x="108" y="302"/>
                    <a:pt x="108" y="302"/>
                  </a:cubicBezTo>
                  <a:cubicBezTo>
                    <a:pt x="108" y="302"/>
                    <a:pt x="111" y="305"/>
                    <a:pt x="112" y="306"/>
                  </a:cubicBezTo>
                  <a:cubicBezTo>
                    <a:pt x="113" y="307"/>
                    <a:pt x="114" y="309"/>
                    <a:pt x="115" y="309"/>
                  </a:cubicBezTo>
                  <a:cubicBezTo>
                    <a:pt x="116" y="308"/>
                    <a:pt x="117" y="309"/>
                    <a:pt x="117" y="307"/>
                  </a:cubicBezTo>
                  <a:cubicBezTo>
                    <a:pt x="117" y="305"/>
                    <a:pt x="118" y="305"/>
                    <a:pt x="118" y="303"/>
                  </a:cubicBezTo>
                  <a:cubicBezTo>
                    <a:pt x="117" y="302"/>
                    <a:pt x="117" y="299"/>
                    <a:pt x="117" y="299"/>
                  </a:cubicBezTo>
                  <a:cubicBezTo>
                    <a:pt x="117" y="299"/>
                    <a:pt x="117" y="298"/>
                    <a:pt x="118" y="298"/>
                  </a:cubicBezTo>
                  <a:cubicBezTo>
                    <a:pt x="120" y="298"/>
                    <a:pt x="120" y="300"/>
                    <a:pt x="120" y="300"/>
                  </a:cubicBezTo>
                  <a:cubicBezTo>
                    <a:pt x="120" y="300"/>
                    <a:pt x="121" y="303"/>
                    <a:pt x="122" y="304"/>
                  </a:cubicBezTo>
                  <a:cubicBezTo>
                    <a:pt x="123" y="304"/>
                    <a:pt x="124" y="304"/>
                    <a:pt x="125" y="305"/>
                  </a:cubicBezTo>
                  <a:cubicBezTo>
                    <a:pt x="126" y="307"/>
                    <a:pt x="131" y="308"/>
                    <a:pt x="131" y="308"/>
                  </a:cubicBezTo>
                  <a:cubicBezTo>
                    <a:pt x="131" y="308"/>
                    <a:pt x="132" y="307"/>
                    <a:pt x="133" y="306"/>
                  </a:cubicBezTo>
                  <a:cubicBezTo>
                    <a:pt x="133" y="305"/>
                    <a:pt x="135" y="305"/>
                    <a:pt x="135" y="305"/>
                  </a:cubicBezTo>
                  <a:cubicBezTo>
                    <a:pt x="135" y="305"/>
                    <a:pt x="134" y="303"/>
                    <a:pt x="137" y="304"/>
                  </a:cubicBezTo>
                  <a:cubicBezTo>
                    <a:pt x="139" y="304"/>
                    <a:pt x="140" y="305"/>
                    <a:pt x="140" y="304"/>
                  </a:cubicBezTo>
                  <a:cubicBezTo>
                    <a:pt x="141" y="303"/>
                    <a:pt x="143" y="299"/>
                    <a:pt x="143" y="299"/>
                  </a:cubicBezTo>
                  <a:cubicBezTo>
                    <a:pt x="143" y="299"/>
                    <a:pt x="142" y="296"/>
                    <a:pt x="145" y="297"/>
                  </a:cubicBezTo>
                  <a:cubicBezTo>
                    <a:pt x="147" y="299"/>
                    <a:pt x="158" y="301"/>
                    <a:pt x="158" y="301"/>
                  </a:cubicBezTo>
                  <a:cubicBezTo>
                    <a:pt x="157" y="303"/>
                    <a:pt x="157" y="303"/>
                    <a:pt x="157" y="303"/>
                  </a:cubicBezTo>
                  <a:cubicBezTo>
                    <a:pt x="153" y="302"/>
                    <a:pt x="153" y="302"/>
                    <a:pt x="153" y="302"/>
                  </a:cubicBezTo>
                  <a:cubicBezTo>
                    <a:pt x="150" y="303"/>
                    <a:pt x="150" y="303"/>
                    <a:pt x="150" y="303"/>
                  </a:cubicBezTo>
                  <a:cubicBezTo>
                    <a:pt x="150" y="303"/>
                    <a:pt x="149" y="303"/>
                    <a:pt x="148" y="305"/>
                  </a:cubicBezTo>
                  <a:cubicBezTo>
                    <a:pt x="148" y="306"/>
                    <a:pt x="148" y="307"/>
                    <a:pt x="147" y="308"/>
                  </a:cubicBezTo>
                  <a:cubicBezTo>
                    <a:pt x="147" y="309"/>
                    <a:pt x="146" y="310"/>
                    <a:pt x="145" y="310"/>
                  </a:cubicBezTo>
                  <a:cubicBezTo>
                    <a:pt x="145" y="311"/>
                    <a:pt x="141" y="314"/>
                    <a:pt x="141" y="314"/>
                  </a:cubicBezTo>
                  <a:cubicBezTo>
                    <a:pt x="139" y="317"/>
                    <a:pt x="139" y="317"/>
                    <a:pt x="139" y="317"/>
                  </a:cubicBezTo>
                  <a:cubicBezTo>
                    <a:pt x="137" y="322"/>
                    <a:pt x="137" y="322"/>
                    <a:pt x="137" y="322"/>
                  </a:cubicBezTo>
                  <a:cubicBezTo>
                    <a:pt x="137" y="322"/>
                    <a:pt x="137" y="326"/>
                    <a:pt x="138" y="326"/>
                  </a:cubicBezTo>
                  <a:cubicBezTo>
                    <a:pt x="139" y="327"/>
                    <a:pt x="141" y="330"/>
                    <a:pt x="141" y="330"/>
                  </a:cubicBezTo>
                  <a:cubicBezTo>
                    <a:pt x="141" y="330"/>
                    <a:pt x="141" y="332"/>
                    <a:pt x="141" y="333"/>
                  </a:cubicBezTo>
                  <a:cubicBezTo>
                    <a:pt x="141" y="334"/>
                    <a:pt x="141" y="335"/>
                    <a:pt x="142" y="337"/>
                  </a:cubicBezTo>
                  <a:cubicBezTo>
                    <a:pt x="143" y="338"/>
                    <a:pt x="144" y="342"/>
                    <a:pt x="144" y="342"/>
                  </a:cubicBezTo>
                  <a:cubicBezTo>
                    <a:pt x="145" y="342"/>
                    <a:pt x="145" y="342"/>
                    <a:pt x="145" y="342"/>
                  </a:cubicBezTo>
                  <a:cubicBezTo>
                    <a:pt x="145" y="345"/>
                    <a:pt x="145" y="345"/>
                    <a:pt x="145" y="345"/>
                  </a:cubicBezTo>
                  <a:cubicBezTo>
                    <a:pt x="145" y="345"/>
                    <a:pt x="145" y="348"/>
                    <a:pt x="146" y="348"/>
                  </a:cubicBezTo>
                  <a:cubicBezTo>
                    <a:pt x="148" y="348"/>
                    <a:pt x="151" y="346"/>
                    <a:pt x="151" y="346"/>
                  </a:cubicBezTo>
                  <a:cubicBezTo>
                    <a:pt x="159" y="344"/>
                    <a:pt x="159" y="344"/>
                    <a:pt x="159" y="344"/>
                  </a:cubicBezTo>
                  <a:cubicBezTo>
                    <a:pt x="159" y="344"/>
                    <a:pt x="158" y="348"/>
                    <a:pt x="158" y="349"/>
                  </a:cubicBezTo>
                  <a:cubicBezTo>
                    <a:pt x="158" y="350"/>
                    <a:pt x="156" y="350"/>
                    <a:pt x="155" y="351"/>
                  </a:cubicBezTo>
                  <a:cubicBezTo>
                    <a:pt x="155" y="352"/>
                    <a:pt x="155" y="353"/>
                    <a:pt x="155" y="353"/>
                  </a:cubicBezTo>
                  <a:cubicBezTo>
                    <a:pt x="155" y="353"/>
                    <a:pt x="154" y="356"/>
                    <a:pt x="153" y="356"/>
                  </a:cubicBezTo>
                  <a:cubicBezTo>
                    <a:pt x="151" y="356"/>
                    <a:pt x="149" y="357"/>
                    <a:pt x="149" y="357"/>
                  </a:cubicBezTo>
                  <a:cubicBezTo>
                    <a:pt x="149" y="357"/>
                    <a:pt x="148" y="355"/>
                    <a:pt x="148" y="358"/>
                  </a:cubicBezTo>
                  <a:cubicBezTo>
                    <a:pt x="147" y="360"/>
                    <a:pt x="146" y="362"/>
                    <a:pt x="146" y="363"/>
                  </a:cubicBezTo>
                  <a:cubicBezTo>
                    <a:pt x="146" y="364"/>
                    <a:pt x="144" y="365"/>
                    <a:pt x="147" y="366"/>
                  </a:cubicBezTo>
                  <a:cubicBezTo>
                    <a:pt x="149" y="366"/>
                    <a:pt x="149" y="369"/>
                    <a:pt x="149" y="369"/>
                  </a:cubicBezTo>
                  <a:cubicBezTo>
                    <a:pt x="149" y="369"/>
                    <a:pt x="147" y="371"/>
                    <a:pt x="146" y="372"/>
                  </a:cubicBezTo>
                  <a:cubicBezTo>
                    <a:pt x="145" y="373"/>
                    <a:pt x="144" y="372"/>
                    <a:pt x="144" y="373"/>
                  </a:cubicBezTo>
                  <a:cubicBezTo>
                    <a:pt x="144" y="374"/>
                    <a:pt x="146" y="379"/>
                    <a:pt x="146" y="379"/>
                  </a:cubicBezTo>
                  <a:cubicBezTo>
                    <a:pt x="146" y="379"/>
                    <a:pt x="146" y="382"/>
                    <a:pt x="144" y="382"/>
                  </a:cubicBezTo>
                  <a:cubicBezTo>
                    <a:pt x="142" y="382"/>
                    <a:pt x="142" y="382"/>
                    <a:pt x="141" y="382"/>
                  </a:cubicBezTo>
                  <a:cubicBezTo>
                    <a:pt x="140" y="382"/>
                    <a:pt x="139" y="382"/>
                    <a:pt x="139" y="382"/>
                  </a:cubicBezTo>
                  <a:cubicBezTo>
                    <a:pt x="139" y="382"/>
                    <a:pt x="140" y="383"/>
                    <a:pt x="140" y="385"/>
                  </a:cubicBezTo>
                  <a:cubicBezTo>
                    <a:pt x="140" y="387"/>
                    <a:pt x="140" y="389"/>
                    <a:pt x="140" y="389"/>
                  </a:cubicBezTo>
                  <a:cubicBezTo>
                    <a:pt x="137" y="388"/>
                    <a:pt x="137" y="388"/>
                    <a:pt x="137" y="388"/>
                  </a:cubicBezTo>
                  <a:cubicBezTo>
                    <a:pt x="134" y="385"/>
                    <a:pt x="134" y="385"/>
                    <a:pt x="134" y="385"/>
                  </a:cubicBezTo>
                  <a:cubicBezTo>
                    <a:pt x="134" y="385"/>
                    <a:pt x="131" y="385"/>
                    <a:pt x="130" y="385"/>
                  </a:cubicBezTo>
                  <a:cubicBezTo>
                    <a:pt x="129" y="386"/>
                    <a:pt x="126" y="386"/>
                    <a:pt x="126" y="386"/>
                  </a:cubicBezTo>
                  <a:cubicBezTo>
                    <a:pt x="126" y="386"/>
                    <a:pt x="121" y="384"/>
                    <a:pt x="120" y="383"/>
                  </a:cubicBezTo>
                  <a:cubicBezTo>
                    <a:pt x="120" y="382"/>
                    <a:pt x="120" y="382"/>
                    <a:pt x="119" y="383"/>
                  </a:cubicBezTo>
                  <a:cubicBezTo>
                    <a:pt x="119" y="383"/>
                    <a:pt x="120" y="383"/>
                    <a:pt x="119" y="383"/>
                  </a:cubicBezTo>
                  <a:cubicBezTo>
                    <a:pt x="118" y="384"/>
                    <a:pt x="120" y="384"/>
                    <a:pt x="116" y="384"/>
                  </a:cubicBezTo>
                  <a:cubicBezTo>
                    <a:pt x="112" y="385"/>
                    <a:pt x="108" y="386"/>
                    <a:pt x="108" y="386"/>
                  </a:cubicBezTo>
                  <a:cubicBezTo>
                    <a:pt x="108" y="386"/>
                    <a:pt x="111" y="383"/>
                    <a:pt x="110" y="382"/>
                  </a:cubicBezTo>
                  <a:cubicBezTo>
                    <a:pt x="109" y="381"/>
                    <a:pt x="110" y="382"/>
                    <a:pt x="108" y="381"/>
                  </a:cubicBezTo>
                  <a:cubicBezTo>
                    <a:pt x="107" y="380"/>
                    <a:pt x="105" y="378"/>
                    <a:pt x="105" y="377"/>
                  </a:cubicBezTo>
                  <a:cubicBezTo>
                    <a:pt x="105" y="376"/>
                    <a:pt x="105" y="374"/>
                    <a:pt x="103" y="374"/>
                  </a:cubicBezTo>
                  <a:cubicBezTo>
                    <a:pt x="102" y="374"/>
                    <a:pt x="101" y="372"/>
                    <a:pt x="99" y="374"/>
                  </a:cubicBezTo>
                  <a:cubicBezTo>
                    <a:pt x="98" y="375"/>
                    <a:pt x="97" y="375"/>
                    <a:pt x="97" y="376"/>
                  </a:cubicBezTo>
                  <a:cubicBezTo>
                    <a:pt x="96" y="377"/>
                    <a:pt x="92" y="378"/>
                    <a:pt x="92" y="378"/>
                  </a:cubicBezTo>
                  <a:cubicBezTo>
                    <a:pt x="92" y="378"/>
                    <a:pt x="95" y="382"/>
                    <a:pt x="95" y="383"/>
                  </a:cubicBezTo>
                  <a:cubicBezTo>
                    <a:pt x="95" y="384"/>
                    <a:pt x="97" y="388"/>
                    <a:pt x="97" y="388"/>
                  </a:cubicBezTo>
                  <a:cubicBezTo>
                    <a:pt x="104" y="388"/>
                    <a:pt x="104" y="388"/>
                    <a:pt x="104" y="388"/>
                  </a:cubicBezTo>
                  <a:cubicBezTo>
                    <a:pt x="104" y="388"/>
                    <a:pt x="99" y="390"/>
                    <a:pt x="99" y="392"/>
                  </a:cubicBezTo>
                  <a:cubicBezTo>
                    <a:pt x="98" y="393"/>
                    <a:pt x="98" y="394"/>
                    <a:pt x="97" y="395"/>
                  </a:cubicBezTo>
                  <a:cubicBezTo>
                    <a:pt x="96" y="396"/>
                    <a:pt x="96" y="397"/>
                    <a:pt x="94" y="398"/>
                  </a:cubicBezTo>
                  <a:cubicBezTo>
                    <a:pt x="91" y="398"/>
                    <a:pt x="88" y="399"/>
                    <a:pt x="86" y="400"/>
                  </a:cubicBezTo>
                  <a:cubicBezTo>
                    <a:pt x="85" y="401"/>
                    <a:pt x="84" y="401"/>
                    <a:pt x="84" y="402"/>
                  </a:cubicBezTo>
                  <a:cubicBezTo>
                    <a:pt x="84" y="404"/>
                    <a:pt x="78" y="403"/>
                    <a:pt x="84" y="405"/>
                  </a:cubicBezTo>
                  <a:cubicBezTo>
                    <a:pt x="90" y="406"/>
                    <a:pt x="91" y="407"/>
                    <a:pt x="91" y="407"/>
                  </a:cubicBezTo>
                  <a:cubicBezTo>
                    <a:pt x="91" y="407"/>
                    <a:pt x="94" y="404"/>
                    <a:pt x="95" y="403"/>
                  </a:cubicBezTo>
                  <a:cubicBezTo>
                    <a:pt x="97" y="401"/>
                    <a:pt x="97" y="401"/>
                    <a:pt x="101" y="401"/>
                  </a:cubicBezTo>
                  <a:cubicBezTo>
                    <a:pt x="105" y="402"/>
                    <a:pt x="105" y="401"/>
                    <a:pt x="105" y="402"/>
                  </a:cubicBezTo>
                  <a:cubicBezTo>
                    <a:pt x="105" y="404"/>
                    <a:pt x="105" y="405"/>
                    <a:pt x="105" y="407"/>
                  </a:cubicBezTo>
                  <a:cubicBezTo>
                    <a:pt x="104" y="409"/>
                    <a:pt x="102" y="410"/>
                    <a:pt x="104" y="413"/>
                  </a:cubicBezTo>
                  <a:cubicBezTo>
                    <a:pt x="106" y="415"/>
                    <a:pt x="103" y="417"/>
                    <a:pt x="103" y="418"/>
                  </a:cubicBezTo>
                  <a:cubicBezTo>
                    <a:pt x="103" y="418"/>
                    <a:pt x="101" y="421"/>
                    <a:pt x="102" y="421"/>
                  </a:cubicBezTo>
                  <a:cubicBezTo>
                    <a:pt x="103" y="422"/>
                    <a:pt x="103" y="422"/>
                    <a:pt x="103" y="422"/>
                  </a:cubicBezTo>
                  <a:cubicBezTo>
                    <a:pt x="103" y="422"/>
                    <a:pt x="101" y="427"/>
                    <a:pt x="101" y="428"/>
                  </a:cubicBezTo>
                  <a:cubicBezTo>
                    <a:pt x="101" y="428"/>
                    <a:pt x="98" y="434"/>
                    <a:pt x="97" y="434"/>
                  </a:cubicBezTo>
                  <a:cubicBezTo>
                    <a:pt x="96" y="435"/>
                    <a:pt x="98" y="435"/>
                    <a:pt x="92" y="437"/>
                  </a:cubicBezTo>
                  <a:cubicBezTo>
                    <a:pt x="86" y="438"/>
                    <a:pt x="83" y="439"/>
                    <a:pt x="83" y="439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74" y="444"/>
                    <a:pt x="74" y="444"/>
                    <a:pt x="74" y="444"/>
                  </a:cubicBezTo>
                  <a:cubicBezTo>
                    <a:pt x="71" y="444"/>
                    <a:pt x="71" y="444"/>
                    <a:pt x="71" y="444"/>
                  </a:cubicBezTo>
                  <a:cubicBezTo>
                    <a:pt x="66" y="443"/>
                    <a:pt x="66" y="443"/>
                    <a:pt x="66" y="443"/>
                  </a:cubicBezTo>
                  <a:cubicBezTo>
                    <a:pt x="66" y="443"/>
                    <a:pt x="61" y="446"/>
                    <a:pt x="61" y="447"/>
                  </a:cubicBezTo>
                  <a:cubicBezTo>
                    <a:pt x="61" y="447"/>
                    <a:pt x="58" y="448"/>
                    <a:pt x="57" y="449"/>
                  </a:cubicBezTo>
                  <a:cubicBezTo>
                    <a:pt x="57" y="450"/>
                    <a:pt x="62" y="452"/>
                    <a:pt x="62" y="452"/>
                  </a:cubicBezTo>
                  <a:cubicBezTo>
                    <a:pt x="63" y="455"/>
                    <a:pt x="63" y="455"/>
                    <a:pt x="63" y="455"/>
                  </a:cubicBezTo>
                  <a:cubicBezTo>
                    <a:pt x="61" y="455"/>
                    <a:pt x="61" y="455"/>
                    <a:pt x="61" y="455"/>
                  </a:cubicBezTo>
                  <a:cubicBezTo>
                    <a:pt x="57" y="456"/>
                    <a:pt x="57" y="456"/>
                    <a:pt x="57" y="456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9" y="459"/>
                    <a:pt x="59" y="459"/>
                    <a:pt x="59" y="459"/>
                  </a:cubicBezTo>
                  <a:cubicBezTo>
                    <a:pt x="59" y="459"/>
                    <a:pt x="60" y="460"/>
                    <a:pt x="61" y="460"/>
                  </a:cubicBezTo>
                  <a:cubicBezTo>
                    <a:pt x="63" y="460"/>
                    <a:pt x="67" y="458"/>
                    <a:pt x="67" y="458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1" y="464"/>
                    <a:pt x="61" y="464"/>
                    <a:pt x="61" y="464"/>
                  </a:cubicBezTo>
                  <a:cubicBezTo>
                    <a:pt x="61" y="464"/>
                    <a:pt x="60" y="466"/>
                    <a:pt x="62" y="466"/>
                  </a:cubicBezTo>
                  <a:cubicBezTo>
                    <a:pt x="64" y="466"/>
                    <a:pt x="66" y="466"/>
                    <a:pt x="66" y="466"/>
                  </a:cubicBezTo>
                  <a:cubicBezTo>
                    <a:pt x="66" y="466"/>
                    <a:pt x="67" y="464"/>
                    <a:pt x="69" y="464"/>
                  </a:cubicBezTo>
                  <a:cubicBezTo>
                    <a:pt x="72" y="465"/>
                    <a:pt x="72" y="465"/>
                    <a:pt x="72" y="465"/>
                  </a:cubicBezTo>
                  <a:cubicBezTo>
                    <a:pt x="72" y="465"/>
                    <a:pt x="73" y="462"/>
                    <a:pt x="74" y="462"/>
                  </a:cubicBezTo>
                  <a:cubicBezTo>
                    <a:pt x="74" y="462"/>
                    <a:pt x="73" y="462"/>
                    <a:pt x="76" y="462"/>
                  </a:cubicBezTo>
                  <a:cubicBezTo>
                    <a:pt x="78" y="463"/>
                    <a:pt x="85" y="462"/>
                    <a:pt x="85" y="462"/>
                  </a:cubicBezTo>
                  <a:cubicBezTo>
                    <a:pt x="85" y="462"/>
                    <a:pt x="86" y="462"/>
                    <a:pt x="86" y="463"/>
                  </a:cubicBezTo>
                  <a:cubicBezTo>
                    <a:pt x="86" y="465"/>
                    <a:pt x="88" y="465"/>
                    <a:pt x="89" y="467"/>
                  </a:cubicBezTo>
                  <a:cubicBezTo>
                    <a:pt x="91" y="468"/>
                    <a:pt x="95" y="469"/>
                    <a:pt x="95" y="469"/>
                  </a:cubicBezTo>
                  <a:cubicBezTo>
                    <a:pt x="92" y="470"/>
                    <a:pt x="92" y="470"/>
                    <a:pt x="92" y="470"/>
                  </a:cubicBezTo>
                  <a:cubicBezTo>
                    <a:pt x="88" y="469"/>
                    <a:pt x="88" y="469"/>
                    <a:pt x="88" y="469"/>
                  </a:cubicBezTo>
                  <a:cubicBezTo>
                    <a:pt x="88" y="469"/>
                    <a:pt x="86" y="468"/>
                    <a:pt x="86" y="469"/>
                  </a:cubicBezTo>
                  <a:cubicBezTo>
                    <a:pt x="86" y="471"/>
                    <a:pt x="85" y="474"/>
                    <a:pt x="85" y="474"/>
                  </a:cubicBezTo>
                  <a:cubicBezTo>
                    <a:pt x="86" y="474"/>
                    <a:pt x="91" y="475"/>
                    <a:pt x="91" y="475"/>
                  </a:cubicBezTo>
                  <a:cubicBezTo>
                    <a:pt x="96" y="475"/>
                    <a:pt x="96" y="475"/>
                    <a:pt x="96" y="475"/>
                  </a:cubicBezTo>
                  <a:cubicBezTo>
                    <a:pt x="98" y="474"/>
                    <a:pt x="98" y="474"/>
                    <a:pt x="98" y="474"/>
                  </a:cubicBezTo>
                  <a:cubicBezTo>
                    <a:pt x="101" y="472"/>
                    <a:pt x="101" y="472"/>
                    <a:pt x="101" y="472"/>
                  </a:cubicBezTo>
                  <a:cubicBezTo>
                    <a:pt x="101" y="472"/>
                    <a:pt x="102" y="474"/>
                    <a:pt x="101" y="474"/>
                  </a:cubicBezTo>
                  <a:cubicBezTo>
                    <a:pt x="101" y="475"/>
                    <a:pt x="102" y="477"/>
                    <a:pt x="102" y="477"/>
                  </a:cubicBezTo>
                  <a:cubicBezTo>
                    <a:pt x="102" y="477"/>
                    <a:pt x="102" y="480"/>
                    <a:pt x="103" y="480"/>
                  </a:cubicBezTo>
                  <a:cubicBezTo>
                    <a:pt x="104" y="480"/>
                    <a:pt x="106" y="483"/>
                    <a:pt x="106" y="483"/>
                  </a:cubicBezTo>
                  <a:cubicBezTo>
                    <a:pt x="108" y="486"/>
                    <a:pt x="108" y="486"/>
                    <a:pt x="108" y="486"/>
                  </a:cubicBezTo>
                  <a:cubicBezTo>
                    <a:pt x="112" y="487"/>
                    <a:pt x="112" y="487"/>
                    <a:pt x="112" y="487"/>
                  </a:cubicBezTo>
                  <a:cubicBezTo>
                    <a:pt x="112" y="487"/>
                    <a:pt x="115" y="487"/>
                    <a:pt x="116" y="487"/>
                  </a:cubicBezTo>
                  <a:cubicBezTo>
                    <a:pt x="117" y="488"/>
                    <a:pt x="119" y="489"/>
                    <a:pt x="119" y="488"/>
                  </a:cubicBezTo>
                  <a:cubicBezTo>
                    <a:pt x="120" y="487"/>
                    <a:pt x="122" y="485"/>
                    <a:pt x="122" y="485"/>
                  </a:cubicBezTo>
                  <a:cubicBezTo>
                    <a:pt x="126" y="482"/>
                    <a:pt x="126" y="482"/>
                    <a:pt x="126" y="482"/>
                  </a:cubicBezTo>
                  <a:cubicBezTo>
                    <a:pt x="126" y="482"/>
                    <a:pt x="128" y="482"/>
                    <a:pt x="130" y="482"/>
                  </a:cubicBezTo>
                  <a:cubicBezTo>
                    <a:pt x="131" y="482"/>
                    <a:pt x="138" y="481"/>
                    <a:pt x="138" y="481"/>
                  </a:cubicBezTo>
                  <a:cubicBezTo>
                    <a:pt x="138" y="481"/>
                    <a:pt x="139" y="479"/>
                    <a:pt x="141" y="478"/>
                  </a:cubicBezTo>
                  <a:cubicBezTo>
                    <a:pt x="142" y="477"/>
                    <a:pt x="146" y="475"/>
                    <a:pt x="146" y="475"/>
                  </a:cubicBezTo>
                  <a:cubicBezTo>
                    <a:pt x="153" y="473"/>
                    <a:pt x="153" y="473"/>
                    <a:pt x="153" y="473"/>
                  </a:cubicBezTo>
                  <a:cubicBezTo>
                    <a:pt x="147" y="475"/>
                    <a:pt x="147" y="475"/>
                    <a:pt x="147" y="475"/>
                  </a:cubicBezTo>
                  <a:cubicBezTo>
                    <a:pt x="145" y="477"/>
                    <a:pt x="145" y="477"/>
                    <a:pt x="145" y="477"/>
                  </a:cubicBezTo>
                  <a:cubicBezTo>
                    <a:pt x="141" y="480"/>
                    <a:pt x="141" y="480"/>
                    <a:pt x="141" y="480"/>
                  </a:cubicBezTo>
                  <a:cubicBezTo>
                    <a:pt x="139" y="482"/>
                    <a:pt x="139" y="482"/>
                    <a:pt x="139" y="482"/>
                  </a:cubicBezTo>
                  <a:cubicBezTo>
                    <a:pt x="139" y="482"/>
                    <a:pt x="137" y="483"/>
                    <a:pt x="136" y="484"/>
                  </a:cubicBezTo>
                  <a:cubicBezTo>
                    <a:pt x="136" y="484"/>
                    <a:pt x="133" y="489"/>
                    <a:pt x="133" y="489"/>
                  </a:cubicBezTo>
                  <a:cubicBezTo>
                    <a:pt x="130" y="490"/>
                    <a:pt x="130" y="490"/>
                    <a:pt x="130" y="490"/>
                  </a:cubicBezTo>
                  <a:cubicBezTo>
                    <a:pt x="130" y="490"/>
                    <a:pt x="127" y="492"/>
                    <a:pt x="126" y="494"/>
                  </a:cubicBezTo>
                  <a:cubicBezTo>
                    <a:pt x="125" y="495"/>
                    <a:pt x="124" y="496"/>
                    <a:pt x="124" y="496"/>
                  </a:cubicBezTo>
                  <a:cubicBezTo>
                    <a:pt x="124" y="496"/>
                    <a:pt x="125" y="498"/>
                    <a:pt x="120" y="498"/>
                  </a:cubicBezTo>
                  <a:cubicBezTo>
                    <a:pt x="115" y="497"/>
                    <a:pt x="111" y="496"/>
                    <a:pt x="111" y="496"/>
                  </a:cubicBezTo>
                  <a:cubicBezTo>
                    <a:pt x="111" y="496"/>
                    <a:pt x="106" y="495"/>
                    <a:pt x="105" y="495"/>
                  </a:cubicBezTo>
                  <a:cubicBezTo>
                    <a:pt x="104" y="494"/>
                    <a:pt x="104" y="494"/>
                    <a:pt x="101" y="494"/>
                  </a:cubicBezTo>
                  <a:cubicBezTo>
                    <a:pt x="99" y="494"/>
                    <a:pt x="89" y="491"/>
                    <a:pt x="89" y="491"/>
                  </a:cubicBezTo>
                  <a:cubicBezTo>
                    <a:pt x="89" y="491"/>
                    <a:pt x="87" y="491"/>
                    <a:pt x="86" y="492"/>
                  </a:cubicBezTo>
                  <a:cubicBezTo>
                    <a:pt x="85" y="493"/>
                    <a:pt x="83" y="493"/>
                    <a:pt x="83" y="494"/>
                  </a:cubicBezTo>
                  <a:cubicBezTo>
                    <a:pt x="83" y="496"/>
                    <a:pt x="83" y="497"/>
                    <a:pt x="83" y="497"/>
                  </a:cubicBezTo>
                  <a:cubicBezTo>
                    <a:pt x="82" y="500"/>
                    <a:pt x="82" y="500"/>
                    <a:pt x="82" y="500"/>
                  </a:cubicBezTo>
                  <a:cubicBezTo>
                    <a:pt x="78" y="501"/>
                    <a:pt x="78" y="501"/>
                    <a:pt x="78" y="501"/>
                  </a:cubicBezTo>
                  <a:cubicBezTo>
                    <a:pt x="73" y="501"/>
                    <a:pt x="73" y="501"/>
                    <a:pt x="73" y="501"/>
                  </a:cubicBezTo>
                  <a:close/>
                  <a:moveTo>
                    <a:pt x="43" y="266"/>
                  </a:moveTo>
                  <a:cubicBezTo>
                    <a:pt x="43" y="266"/>
                    <a:pt x="43" y="266"/>
                    <a:pt x="43" y="266"/>
                  </a:cubicBezTo>
                  <a:cubicBezTo>
                    <a:pt x="44" y="266"/>
                    <a:pt x="50" y="266"/>
                    <a:pt x="50" y="266"/>
                  </a:cubicBezTo>
                  <a:cubicBezTo>
                    <a:pt x="54" y="266"/>
                    <a:pt x="54" y="266"/>
                    <a:pt x="54" y="266"/>
                  </a:cubicBezTo>
                  <a:cubicBezTo>
                    <a:pt x="54" y="266"/>
                    <a:pt x="59" y="266"/>
                    <a:pt x="60" y="266"/>
                  </a:cubicBezTo>
                  <a:cubicBezTo>
                    <a:pt x="61" y="266"/>
                    <a:pt x="62" y="267"/>
                    <a:pt x="62" y="267"/>
                  </a:cubicBezTo>
                  <a:cubicBezTo>
                    <a:pt x="62" y="267"/>
                    <a:pt x="64" y="265"/>
                    <a:pt x="65" y="266"/>
                  </a:cubicBezTo>
                  <a:cubicBezTo>
                    <a:pt x="66" y="266"/>
                    <a:pt x="68" y="269"/>
                    <a:pt x="68" y="269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71" y="280"/>
                    <a:pt x="71" y="280"/>
                    <a:pt x="71" y="280"/>
                  </a:cubicBezTo>
                  <a:cubicBezTo>
                    <a:pt x="72" y="285"/>
                    <a:pt x="72" y="285"/>
                    <a:pt x="72" y="285"/>
                  </a:cubicBezTo>
                  <a:cubicBezTo>
                    <a:pt x="76" y="290"/>
                    <a:pt x="76" y="290"/>
                    <a:pt x="76" y="290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74" y="293"/>
                    <a:pt x="74" y="297"/>
                    <a:pt x="74" y="297"/>
                  </a:cubicBezTo>
                  <a:cubicBezTo>
                    <a:pt x="73" y="297"/>
                    <a:pt x="70" y="298"/>
                    <a:pt x="70" y="298"/>
                  </a:cubicBezTo>
                  <a:cubicBezTo>
                    <a:pt x="69" y="299"/>
                    <a:pt x="68" y="302"/>
                    <a:pt x="68" y="302"/>
                  </a:cubicBezTo>
                  <a:cubicBezTo>
                    <a:pt x="68" y="302"/>
                    <a:pt x="72" y="298"/>
                    <a:pt x="73" y="299"/>
                  </a:cubicBezTo>
                  <a:cubicBezTo>
                    <a:pt x="74" y="299"/>
                    <a:pt x="77" y="299"/>
                    <a:pt x="77" y="299"/>
                  </a:cubicBezTo>
                  <a:cubicBezTo>
                    <a:pt x="79" y="301"/>
                    <a:pt x="79" y="301"/>
                    <a:pt x="79" y="301"/>
                  </a:cubicBezTo>
                  <a:cubicBezTo>
                    <a:pt x="81" y="305"/>
                    <a:pt x="81" y="305"/>
                    <a:pt x="81" y="305"/>
                  </a:cubicBezTo>
                  <a:cubicBezTo>
                    <a:pt x="81" y="310"/>
                    <a:pt x="81" y="310"/>
                    <a:pt x="81" y="310"/>
                  </a:cubicBezTo>
                  <a:cubicBezTo>
                    <a:pt x="81" y="310"/>
                    <a:pt x="81" y="314"/>
                    <a:pt x="80" y="314"/>
                  </a:cubicBezTo>
                  <a:cubicBezTo>
                    <a:pt x="80" y="315"/>
                    <a:pt x="79" y="316"/>
                    <a:pt x="78" y="316"/>
                  </a:cubicBezTo>
                  <a:cubicBezTo>
                    <a:pt x="77" y="316"/>
                    <a:pt x="76" y="316"/>
                    <a:pt x="77" y="314"/>
                  </a:cubicBezTo>
                  <a:cubicBezTo>
                    <a:pt x="77" y="312"/>
                    <a:pt x="78" y="310"/>
                    <a:pt x="78" y="310"/>
                  </a:cubicBezTo>
                  <a:cubicBezTo>
                    <a:pt x="78" y="309"/>
                    <a:pt x="79" y="305"/>
                    <a:pt x="78" y="305"/>
                  </a:cubicBezTo>
                  <a:cubicBezTo>
                    <a:pt x="76" y="305"/>
                    <a:pt x="75" y="303"/>
                    <a:pt x="75" y="305"/>
                  </a:cubicBezTo>
                  <a:cubicBezTo>
                    <a:pt x="74" y="306"/>
                    <a:pt x="75" y="310"/>
                    <a:pt x="75" y="310"/>
                  </a:cubicBezTo>
                  <a:cubicBezTo>
                    <a:pt x="75" y="310"/>
                    <a:pt x="76" y="311"/>
                    <a:pt x="76" y="312"/>
                  </a:cubicBezTo>
                  <a:cubicBezTo>
                    <a:pt x="75" y="313"/>
                    <a:pt x="75" y="312"/>
                    <a:pt x="74" y="314"/>
                  </a:cubicBezTo>
                  <a:cubicBezTo>
                    <a:pt x="72" y="315"/>
                    <a:pt x="75" y="316"/>
                    <a:pt x="75" y="316"/>
                  </a:cubicBezTo>
                  <a:cubicBezTo>
                    <a:pt x="76" y="318"/>
                    <a:pt x="76" y="318"/>
                    <a:pt x="76" y="318"/>
                  </a:cubicBezTo>
                  <a:cubicBezTo>
                    <a:pt x="76" y="318"/>
                    <a:pt x="76" y="321"/>
                    <a:pt x="75" y="321"/>
                  </a:cubicBezTo>
                  <a:cubicBezTo>
                    <a:pt x="74" y="322"/>
                    <a:pt x="74" y="323"/>
                    <a:pt x="70" y="321"/>
                  </a:cubicBezTo>
                  <a:cubicBezTo>
                    <a:pt x="66" y="320"/>
                    <a:pt x="65" y="319"/>
                    <a:pt x="65" y="319"/>
                  </a:cubicBezTo>
                  <a:cubicBezTo>
                    <a:pt x="64" y="324"/>
                    <a:pt x="64" y="324"/>
                    <a:pt x="64" y="324"/>
                  </a:cubicBezTo>
                  <a:cubicBezTo>
                    <a:pt x="62" y="328"/>
                    <a:pt x="62" y="328"/>
                    <a:pt x="62" y="328"/>
                  </a:cubicBezTo>
                  <a:cubicBezTo>
                    <a:pt x="55" y="330"/>
                    <a:pt x="55" y="330"/>
                    <a:pt x="55" y="330"/>
                  </a:cubicBezTo>
                  <a:cubicBezTo>
                    <a:pt x="51" y="325"/>
                    <a:pt x="51" y="325"/>
                    <a:pt x="51" y="325"/>
                  </a:cubicBezTo>
                  <a:cubicBezTo>
                    <a:pt x="51" y="325"/>
                    <a:pt x="48" y="326"/>
                    <a:pt x="47" y="326"/>
                  </a:cubicBezTo>
                  <a:cubicBezTo>
                    <a:pt x="46" y="325"/>
                    <a:pt x="41" y="324"/>
                    <a:pt x="41" y="324"/>
                  </a:cubicBezTo>
                  <a:cubicBezTo>
                    <a:pt x="40" y="319"/>
                    <a:pt x="40" y="319"/>
                    <a:pt x="40" y="319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36" y="310"/>
                    <a:pt x="36" y="310"/>
                    <a:pt x="36" y="310"/>
                  </a:cubicBezTo>
                  <a:cubicBezTo>
                    <a:pt x="33" y="304"/>
                    <a:pt x="33" y="304"/>
                    <a:pt x="33" y="304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25" y="310"/>
                    <a:pt x="25" y="310"/>
                    <a:pt x="25" y="310"/>
                  </a:cubicBezTo>
                  <a:cubicBezTo>
                    <a:pt x="25" y="310"/>
                    <a:pt x="27" y="312"/>
                    <a:pt x="25" y="313"/>
                  </a:cubicBezTo>
                  <a:cubicBezTo>
                    <a:pt x="23" y="313"/>
                    <a:pt x="19" y="314"/>
                    <a:pt x="19" y="314"/>
                  </a:cubicBezTo>
                  <a:cubicBezTo>
                    <a:pt x="19" y="314"/>
                    <a:pt x="14" y="315"/>
                    <a:pt x="13" y="315"/>
                  </a:cubicBezTo>
                  <a:cubicBezTo>
                    <a:pt x="13" y="315"/>
                    <a:pt x="9" y="309"/>
                    <a:pt x="9" y="309"/>
                  </a:cubicBezTo>
                  <a:cubicBezTo>
                    <a:pt x="9" y="309"/>
                    <a:pt x="7" y="309"/>
                    <a:pt x="6" y="309"/>
                  </a:cubicBezTo>
                  <a:cubicBezTo>
                    <a:pt x="5" y="309"/>
                    <a:pt x="5" y="310"/>
                    <a:pt x="5" y="308"/>
                  </a:cubicBezTo>
                  <a:cubicBezTo>
                    <a:pt x="5" y="306"/>
                    <a:pt x="4" y="303"/>
                    <a:pt x="4" y="303"/>
                  </a:cubicBezTo>
                  <a:cubicBezTo>
                    <a:pt x="4" y="303"/>
                    <a:pt x="7" y="306"/>
                    <a:pt x="4" y="302"/>
                  </a:cubicBezTo>
                  <a:cubicBezTo>
                    <a:pt x="1" y="298"/>
                    <a:pt x="0" y="294"/>
                    <a:pt x="0" y="294"/>
                  </a:cubicBezTo>
                  <a:cubicBezTo>
                    <a:pt x="5" y="291"/>
                    <a:pt x="5" y="291"/>
                    <a:pt x="5" y="291"/>
                  </a:cubicBezTo>
                  <a:cubicBezTo>
                    <a:pt x="5" y="291"/>
                    <a:pt x="10" y="291"/>
                    <a:pt x="11" y="292"/>
                  </a:cubicBezTo>
                  <a:cubicBezTo>
                    <a:pt x="12" y="292"/>
                    <a:pt x="13" y="290"/>
                    <a:pt x="13" y="290"/>
                  </a:cubicBezTo>
                  <a:cubicBezTo>
                    <a:pt x="13" y="290"/>
                    <a:pt x="15" y="288"/>
                    <a:pt x="13" y="287"/>
                  </a:cubicBezTo>
                  <a:cubicBezTo>
                    <a:pt x="12" y="287"/>
                    <a:pt x="10" y="285"/>
                    <a:pt x="10" y="285"/>
                  </a:cubicBezTo>
                  <a:cubicBezTo>
                    <a:pt x="10" y="285"/>
                    <a:pt x="8" y="283"/>
                    <a:pt x="11" y="282"/>
                  </a:cubicBezTo>
                  <a:cubicBezTo>
                    <a:pt x="14" y="282"/>
                    <a:pt x="14" y="282"/>
                    <a:pt x="16" y="282"/>
                  </a:cubicBezTo>
                  <a:cubicBezTo>
                    <a:pt x="18" y="283"/>
                    <a:pt x="19" y="286"/>
                    <a:pt x="20" y="282"/>
                  </a:cubicBezTo>
                  <a:cubicBezTo>
                    <a:pt x="21" y="279"/>
                    <a:pt x="19" y="279"/>
                    <a:pt x="22" y="278"/>
                  </a:cubicBezTo>
                  <a:cubicBezTo>
                    <a:pt x="25" y="278"/>
                    <a:pt x="27" y="277"/>
                    <a:pt x="27" y="276"/>
                  </a:cubicBezTo>
                  <a:cubicBezTo>
                    <a:pt x="27" y="275"/>
                    <a:pt x="27" y="271"/>
                    <a:pt x="28" y="271"/>
                  </a:cubicBezTo>
                  <a:cubicBezTo>
                    <a:pt x="29" y="271"/>
                    <a:pt x="34" y="272"/>
                    <a:pt x="34" y="272"/>
                  </a:cubicBezTo>
                  <a:cubicBezTo>
                    <a:pt x="34" y="272"/>
                    <a:pt x="36" y="270"/>
                    <a:pt x="38" y="271"/>
                  </a:cubicBezTo>
                  <a:cubicBezTo>
                    <a:pt x="40" y="271"/>
                    <a:pt x="41" y="270"/>
                    <a:pt x="41" y="270"/>
                  </a:cubicBezTo>
                  <a:cubicBezTo>
                    <a:pt x="41" y="270"/>
                    <a:pt x="43" y="266"/>
                    <a:pt x="43" y="266"/>
                  </a:cubicBezTo>
                  <a:close/>
                  <a:moveTo>
                    <a:pt x="74" y="227"/>
                  </a:moveTo>
                  <a:cubicBezTo>
                    <a:pt x="74" y="227"/>
                    <a:pt x="74" y="227"/>
                    <a:pt x="74" y="227"/>
                  </a:cubicBezTo>
                  <a:cubicBezTo>
                    <a:pt x="74" y="227"/>
                    <a:pt x="73" y="224"/>
                    <a:pt x="74" y="224"/>
                  </a:cubicBezTo>
                  <a:cubicBezTo>
                    <a:pt x="75" y="224"/>
                    <a:pt x="78" y="223"/>
                    <a:pt x="78" y="223"/>
                  </a:cubicBezTo>
                  <a:cubicBezTo>
                    <a:pt x="78" y="223"/>
                    <a:pt x="79" y="221"/>
                    <a:pt x="79" y="222"/>
                  </a:cubicBezTo>
                  <a:cubicBezTo>
                    <a:pt x="80" y="222"/>
                    <a:pt x="80" y="224"/>
                    <a:pt x="79" y="224"/>
                  </a:cubicBezTo>
                  <a:cubicBezTo>
                    <a:pt x="79" y="224"/>
                    <a:pt x="77" y="226"/>
                    <a:pt x="77" y="226"/>
                  </a:cubicBezTo>
                  <a:cubicBezTo>
                    <a:pt x="77" y="226"/>
                    <a:pt x="75" y="227"/>
                    <a:pt x="75" y="227"/>
                  </a:cubicBezTo>
                  <a:cubicBezTo>
                    <a:pt x="74" y="227"/>
                    <a:pt x="74" y="227"/>
                    <a:pt x="74" y="227"/>
                  </a:cubicBezTo>
                  <a:close/>
                  <a:moveTo>
                    <a:pt x="87" y="248"/>
                  </a:moveTo>
                  <a:cubicBezTo>
                    <a:pt x="87" y="248"/>
                    <a:pt x="87" y="248"/>
                    <a:pt x="87" y="248"/>
                  </a:cubicBezTo>
                  <a:cubicBezTo>
                    <a:pt x="87" y="248"/>
                    <a:pt x="87" y="249"/>
                    <a:pt x="86" y="249"/>
                  </a:cubicBezTo>
                  <a:cubicBezTo>
                    <a:pt x="85" y="249"/>
                    <a:pt x="83" y="249"/>
                    <a:pt x="83" y="248"/>
                  </a:cubicBezTo>
                  <a:cubicBezTo>
                    <a:pt x="83" y="248"/>
                    <a:pt x="84" y="246"/>
                    <a:pt x="85" y="246"/>
                  </a:cubicBezTo>
                  <a:cubicBezTo>
                    <a:pt x="85" y="246"/>
                    <a:pt x="86" y="245"/>
                    <a:pt x="86" y="245"/>
                  </a:cubicBezTo>
                  <a:cubicBezTo>
                    <a:pt x="86" y="245"/>
                    <a:pt x="86" y="244"/>
                    <a:pt x="86" y="244"/>
                  </a:cubicBezTo>
                  <a:cubicBezTo>
                    <a:pt x="87" y="244"/>
                    <a:pt x="88" y="246"/>
                    <a:pt x="88" y="246"/>
                  </a:cubicBezTo>
                  <a:cubicBezTo>
                    <a:pt x="87" y="248"/>
                    <a:pt x="87" y="248"/>
                    <a:pt x="87" y="248"/>
                  </a:cubicBezTo>
                  <a:close/>
                  <a:moveTo>
                    <a:pt x="95" y="255"/>
                  </a:moveTo>
                  <a:cubicBezTo>
                    <a:pt x="95" y="255"/>
                    <a:pt x="95" y="255"/>
                    <a:pt x="95" y="255"/>
                  </a:cubicBezTo>
                  <a:cubicBezTo>
                    <a:pt x="95" y="254"/>
                    <a:pt x="97" y="252"/>
                    <a:pt x="97" y="251"/>
                  </a:cubicBezTo>
                  <a:cubicBezTo>
                    <a:pt x="98" y="251"/>
                    <a:pt x="98" y="250"/>
                    <a:pt x="98" y="250"/>
                  </a:cubicBezTo>
                  <a:cubicBezTo>
                    <a:pt x="99" y="249"/>
                    <a:pt x="100" y="249"/>
                    <a:pt x="101" y="249"/>
                  </a:cubicBezTo>
                  <a:cubicBezTo>
                    <a:pt x="103" y="250"/>
                    <a:pt x="105" y="252"/>
                    <a:pt x="104" y="252"/>
                  </a:cubicBezTo>
                  <a:cubicBezTo>
                    <a:pt x="104" y="253"/>
                    <a:pt x="103" y="252"/>
                    <a:pt x="103" y="255"/>
                  </a:cubicBezTo>
                  <a:cubicBezTo>
                    <a:pt x="103" y="258"/>
                    <a:pt x="103" y="258"/>
                    <a:pt x="103" y="259"/>
                  </a:cubicBezTo>
                  <a:cubicBezTo>
                    <a:pt x="104" y="260"/>
                    <a:pt x="103" y="263"/>
                    <a:pt x="103" y="263"/>
                  </a:cubicBezTo>
                  <a:cubicBezTo>
                    <a:pt x="103" y="263"/>
                    <a:pt x="102" y="265"/>
                    <a:pt x="101" y="265"/>
                  </a:cubicBezTo>
                  <a:cubicBezTo>
                    <a:pt x="101" y="265"/>
                    <a:pt x="101" y="265"/>
                    <a:pt x="99" y="264"/>
                  </a:cubicBezTo>
                  <a:cubicBezTo>
                    <a:pt x="98" y="264"/>
                    <a:pt x="95" y="262"/>
                    <a:pt x="95" y="262"/>
                  </a:cubicBezTo>
                  <a:cubicBezTo>
                    <a:pt x="95" y="262"/>
                    <a:pt x="95" y="257"/>
                    <a:pt x="95" y="257"/>
                  </a:cubicBezTo>
                  <a:cubicBezTo>
                    <a:pt x="95" y="256"/>
                    <a:pt x="94" y="255"/>
                    <a:pt x="94" y="255"/>
                  </a:cubicBezTo>
                  <a:cubicBezTo>
                    <a:pt x="95" y="255"/>
                    <a:pt x="95" y="255"/>
                    <a:pt x="95" y="255"/>
                  </a:cubicBezTo>
                  <a:close/>
                  <a:moveTo>
                    <a:pt x="74" y="210"/>
                  </a:moveTo>
                  <a:cubicBezTo>
                    <a:pt x="74" y="210"/>
                    <a:pt x="74" y="210"/>
                    <a:pt x="74" y="210"/>
                  </a:cubicBezTo>
                  <a:cubicBezTo>
                    <a:pt x="74" y="210"/>
                    <a:pt x="74" y="209"/>
                    <a:pt x="76" y="209"/>
                  </a:cubicBezTo>
                  <a:cubicBezTo>
                    <a:pt x="77" y="210"/>
                    <a:pt x="77" y="211"/>
                    <a:pt x="77" y="212"/>
                  </a:cubicBezTo>
                  <a:cubicBezTo>
                    <a:pt x="77" y="213"/>
                    <a:pt x="80" y="213"/>
                    <a:pt x="79" y="214"/>
                  </a:cubicBezTo>
                  <a:cubicBezTo>
                    <a:pt x="77" y="215"/>
                    <a:pt x="76" y="215"/>
                    <a:pt x="76" y="215"/>
                  </a:cubicBezTo>
                  <a:cubicBezTo>
                    <a:pt x="76" y="214"/>
                    <a:pt x="75" y="215"/>
                    <a:pt x="75" y="214"/>
                  </a:cubicBezTo>
                  <a:cubicBezTo>
                    <a:pt x="75" y="213"/>
                    <a:pt x="73" y="212"/>
                    <a:pt x="73" y="212"/>
                  </a:cubicBezTo>
                  <a:cubicBezTo>
                    <a:pt x="73" y="212"/>
                    <a:pt x="74" y="210"/>
                    <a:pt x="74" y="210"/>
                  </a:cubicBezTo>
                  <a:close/>
                  <a:moveTo>
                    <a:pt x="61" y="196"/>
                  </a:moveTo>
                  <a:cubicBezTo>
                    <a:pt x="61" y="196"/>
                    <a:pt x="61" y="196"/>
                    <a:pt x="61" y="196"/>
                  </a:cubicBezTo>
                  <a:cubicBezTo>
                    <a:pt x="63" y="197"/>
                    <a:pt x="64" y="196"/>
                    <a:pt x="64" y="197"/>
                  </a:cubicBezTo>
                  <a:cubicBezTo>
                    <a:pt x="65" y="197"/>
                    <a:pt x="66" y="198"/>
                    <a:pt x="65" y="199"/>
                  </a:cubicBezTo>
                  <a:cubicBezTo>
                    <a:pt x="63" y="200"/>
                    <a:pt x="63" y="200"/>
                    <a:pt x="61" y="200"/>
                  </a:cubicBezTo>
                  <a:cubicBezTo>
                    <a:pt x="60" y="200"/>
                    <a:pt x="62" y="200"/>
                    <a:pt x="60" y="200"/>
                  </a:cubicBezTo>
                  <a:cubicBezTo>
                    <a:pt x="58" y="200"/>
                    <a:pt x="55" y="202"/>
                    <a:pt x="57" y="199"/>
                  </a:cubicBezTo>
                  <a:cubicBezTo>
                    <a:pt x="59" y="197"/>
                    <a:pt x="61" y="196"/>
                    <a:pt x="61" y="196"/>
                  </a:cubicBezTo>
                  <a:close/>
                  <a:moveTo>
                    <a:pt x="72" y="191"/>
                  </a:moveTo>
                  <a:cubicBezTo>
                    <a:pt x="72" y="191"/>
                    <a:pt x="72" y="191"/>
                    <a:pt x="72" y="191"/>
                  </a:cubicBezTo>
                  <a:cubicBezTo>
                    <a:pt x="73" y="191"/>
                    <a:pt x="74" y="189"/>
                    <a:pt x="75" y="190"/>
                  </a:cubicBezTo>
                  <a:cubicBezTo>
                    <a:pt x="76" y="191"/>
                    <a:pt x="78" y="192"/>
                    <a:pt x="76" y="193"/>
                  </a:cubicBezTo>
                  <a:cubicBezTo>
                    <a:pt x="74" y="194"/>
                    <a:pt x="74" y="194"/>
                    <a:pt x="73" y="195"/>
                  </a:cubicBezTo>
                  <a:cubicBezTo>
                    <a:pt x="71" y="196"/>
                    <a:pt x="69" y="197"/>
                    <a:pt x="68" y="197"/>
                  </a:cubicBezTo>
                  <a:cubicBezTo>
                    <a:pt x="67" y="197"/>
                    <a:pt x="66" y="195"/>
                    <a:pt x="67" y="195"/>
                  </a:cubicBezTo>
                  <a:cubicBezTo>
                    <a:pt x="68" y="195"/>
                    <a:pt x="69" y="194"/>
                    <a:pt x="70" y="194"/>
                  </a:cubicBezTo>
                  <a:cubicBezTo>
                    <a:pt x="70" y="193"/>
                    <a:pt x="72" y="191"/>
                    <a:pt x="72" y="191"/>
                  </a:cubicBezTo>
                  <a:close/>
                  <a:moveTo>
                    <a:pt x="78" y="171"/>
                  </a:moveTo>
                  <a:cubicBezTo>
                    <a:pt x="78" y="171"/>
                    <a:pt x="78" y="171"/>
                    <a:pt x="78" y="171"/>
                  </a:cubicBezTo>
                  <a:cubicBezTo>
                    <a:pt x="78" y="171"/>
                    <a:pt x="78" y="168"/>
                    <a:pt x="79" y="169"/>
                  </a:cubicBezTo>
                  <a:cubicBezTo>
                    <a:pt x="81" y="169"/>
                    <a:pt x="81" y="169"/>
                    <a:pt x="81" y="170"/>
                  </a:cubicBezTo>
                  <a:cubicBezTo>
                    <a:pt x="81" y="171"/>
                    <a:pt x="83" y="170"/>
                    <a:pt x="81" y="171"/>
                  </a:cubicBezTo>
                  <a:cubicBezTo>
                    <a:pt x="80" y="171"/>
                    <a:pt x="78" y="171"/>
                    <a:pt x="78" y="171"/>
                  </a:cubicBezTo>
                  <a:close/>
                  <a:moveTo>
                    <a:pt x="87" y="181"/>
                  </a:moveTo>
                  <a:cubicBezTo>
                    <a:pt x="87" y="181"/>
                    <a:pt x="87" y="181"/>
                    <a:pt x="87" y="181"/>
                  </a:cubicBezTo>
                  <a:cubicBezTo>
                    <a:pt x="87" y="181"/>
                    <a:pt x="88" y="179"/>
                    <a:pt x="89" y="179"/>
                  </a:cubicBezTo>
                  <a:cubicBezTo>
                    <a:pt x="89" y="179"/>
                    <a:pt x="90" y="179"/>
                    <a:pt x="90" y="180"/>
                  </a:cubicBezTo>
                  <a:cubicBezTo>
                    <a:pt x="90" y="181"/>
                    <a:pt x="90" y="183"/>
                    <a:pt x="89" y="183"/>
                  </a:cubicBezTo>
                  <a:cubicBezTo>
                    <a:pt x="88" y="183"/>
                    <a:pt x="88" y="184"/>
                    <a:pt x="87" y="183"/>
                  </a:cubicBezTo>
                  <a:cubicBezTo>
                    <a:pt x="86" y="183"/>
                    <a:pt x="87" y="181"/>
                    <a:pt x="87" y="181"/>
                  </a:cubicBezTo>
                  <a:close/>
                  <a:moveTo>
                    <a:pt x="82" y="177"/>
                  </a:moveTo>
                  <a:cubicBezTo>
                    <a:pt x="82" y="177"/>
                    <a:pt x="82" y="177"/>
                    <a:pt x="82" y="177"/>
                  </a:cubicBezTo>
                  <a:cubicBezTo>
                    <a:pt x="82" y="177"/>
                    <a:pt x="81" y="173"/>
                    <a:pt x="83" y="173"/>
                  </a:cubicBezTo>
                  <a:cubicBezTo>
                    <a:pt x="85" y="172"/>
                    <a:pt x="86" y="172"/>
                    <a:pt x="86" y="172"/>
                  </a:cubicBezTo>
                  <a:cubicBezTo>
                    <a:pt x="86" y="172"/>
                    <a:pt x="89" y="176"/>
                    <a:pt x="89" y="176"/>
                  </a:cubicBezTo>
                  <a:cubicBezTo>
                    <a:pt x="88" y="177"/>
                    <a:pt x="88" y="178"/>
                    <a:pt x="86" y="178"/>
                  </a:cubicBezTo>
                  <a:cubicBezTo>
                    <a:pt x="85" y="178"/>
                    <a:pt x="84" y="179"/>
                    <a:pt x="84" y="178"/>
                  </a:cubicBezTo>
                  <a:cubicBezTo>
                    <a:pt x="83" y="177"/>
                    <a:pt x="82" y="177"/>
                    <a:pt x="82" y="177"/>
                  </a:cubicBezTo>
                  <a:close/>
                  <a:moveTo>
                    <a:pt x="45" y="174"/>
                  </a:moveTo>
                  <a:cubicBezTo>
                    <a:pt x="45" y="174"/>
                    <a:pt x="45" y="174"/>
                    <a:pt x="45" y="174"/>
                  </a:cubicBezTo>
                  <a:cubicBezTo>
                    <a:pt x="46" y="174"/>
                    <a:pt x="46" y="173"/>
                    <a:pt x="46" y="175"/>
                  </a:cubicBezTo>
                  <a:cubicBezTo>
                    <a:pt x="46" y="176"/>
                    <a:pt x="46" y="177"/>
                    <a:pt x="46" y="177"/>
                  </a:cubicBezTo>
                  <a:cubicBezTo>
                    <a:pt x="46" y="177"/>
                    <a:pt x="45" y="179"/>
                    <a:pt x="44" y="178"/>
                  </a:cubicBezTo>
                  <a:cubicBezTo>
                    <a:pt x="43" y="177"/>
                    <a:pt x="43" y="176"/>
                    <a:pt x="43" y="176"/>
                  </a:cubicBezTo>
                  <a:cubicBezTo>
                    <a:pt x="45" y="174"/>
                    <a:pt x="45" y="174"/>
                    <a:pt x="45" y="174"/>
                  </a:cubicBezTo>
                  <a:close/>
                  <a:moveTo>
                    <a:pt x="53" y="164"/>
                  </a:moveTo>
                  <a:cubicBezTo>
                    <a:pt x="53" y="164"/>
                    <a:pt x="53" y="164"/>
                    <a:pt x="53" y="164"/>
                  </a:cubicBezTo>
                  <a:cubicBezTo>
                    <a:pt x="54" y="165"/>
                    <a:pt x="56" y="167"/>
                    <a:pt x="56" y="167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0"/>
                    <a:pt x="50" y="171"/>
                    <a:pt x="50" y="172"/>
                  </a:cubicBezTo>
                  <a:cubicBezTo>
                    <a:pt x="49" y="172"/>
                    <a:pt x="51" y="175"/>
                    <a:pt x="49" y="174"/>
                  </a:cubicBezTo>
                  <a:cubicBezTo>
                    <a:pt x="47" y="173"/>
                    <a:pt x="46" y="171"/>
                    <a:pt x="47" y="171"/>
                  </a:cubicBezTo>
                  <a:cubicBezTo>
                    <a:pt x="48" y="170"/>
                    <a:pt x="48" y="170"/>
                    <a:pt x="49" y="169"/>
                  </a:cubicBezTo>
                  <a:cubicBezTo>
                    <a:pt x="50" y="168"/>
                    <a:pt x="52" y="165"/>
                    <a:pt x="52" y="165"/>
                  </a:cubicBezTo>
                  <a:cubicBezTo>
                    <a:pt x="53" y="164"/>
                    <a:pt x="53" y="164"/>
                    <a:pt x="53" y="164"/>
                  </a:cubicBezTo>
                  <a:close/>
                  <a:moveTo>
                    <a:pt x="58" y="150"/>
                  </a:moveTo>
                  <a:cubicBezTo>
                    <a:pt x="58" y="150"/>
                    <a:pt x="58" y="150"/>
                    <a:pt x="58" y="150"/>
                  </a:cubicBezTo>
                  <a:cubicBezTo>
                    <a:pt x="58" y="150"/>
                    <a:pt x="60" y="150"/>
                    <a:pt x="61" y="151"/>
                  </a:cubicBezTo>
                  <a:cubicBezTo>
                    <a:pt x="61" y="151"/>
                    <a:pt x="62" y="154"/>
                    <a:pt x="62" y="154"/>
                  </a:cubicBezTo>
                  <a:cubicBezTo>
                    <a:pt x="62" y="154"/>
                    <a:pt x="63" y="155"/>
                    <a:pt x="62" y="156"/>
                  </a:cubicBezTo>
                  <a:cubicBezTo>
                    <a:pt x="61" y="157"/>
                    <a:pt x="59" y="158"/>
                    <a:pt x="59" y="158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5" y="158"/>
                    <a:pt x="55" y="158"/>
                    <a:pt x="55" y="158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7" y="152"/>
                    <a:pt x="57" y="152"/>
                    <a:pt x="57" y="152"/>
                  </a:cubicBezTo>
                  <a:cubicBezTo>
                    <a:pt x="58" y="150"/>
                    <a:pt x="58" y="150"/>
                    <a:pt x="58" y="150"/>
                  </a:cubicBezTo>
                  <a:close/>
                  <a:moveTo>
                    <a:pt x="60" y="142"/>
                  </a:moveTo>
                  <a:cubicBezTo>
                    <a:pt x="60" y="142"/>
                    <a:pt x="60" y="142"/>
                    <a:pt x="60" y="142"/>
                  </a:cubicBezTo>
                  <a:cubicBezTo>
                    <a:pt x="60" y="142"/>
                    <a:pt x="62" y="141"/>
                    <a:pt x="63" y="142"/>
                  </a:cubicBezTo>
                  <a:cubicBezTo>
                    <a:pt x="64" y="143"/>
                    <a:pt x="64" y="141"/>
                    <a:pt x="65" y="143"/>
                  </a:cubicBezTo>
                  <a:cubicBezTo>
                    <a:pt x="66" y="145"/>
                    <a:pt x="67" y="145"/>
                    <a:pt x="66" y="146"/>
                  </a:cubicBezTo>
                  <a:cubicBezTo>
                    <a:pt x="66" y="147"/>
                    <a:pt x="66" y="148"/>
                    <a:pt x="65" y="149"/>
                  </a:cubicBezTo>
                  <a:cubicBezTo>
                    <a:pt x="64" y="150"/>
                    <a:pt x="65" y="151"/>
                    <a:pt x="63" y="150"/>
                  </a:cubicBezTo>
                  <a:cubicBezTo>
                    <a:pt x="61" y="149"/>
                    <a:pt x="61" y="149"/>
                    <a:pt x="60" y="148"/>
                  </a:cubicBezTo>
                  <a:cubicBezTo>
                    <a:pt x="59" y="147"/>
                    <a:pt x="59" y="147"/>
                    <a:pt x="59" y="147"/>
                  </a:cubicBezTo>
                  <a:cubicBezTo>
                    <a:pt x="60" y="142"/>
                    <a:pt x="60" y="142"/>
                    <a:pt x="60" y="142"/>
                  </a:cubicBezTo>
                  <a:close/>
                  <a:moveTo>
                    <a:pt x="69" y="132"/>
                  </a:moveTo>
                  <a:cubicBezTo>
                    <a:pt x="69" y="132"/>
                    <a:pt x="69" y="132"/>
                    <a:pt x="69" y="132"/>
                  </a:cubicBezTo>
                  <a:cubicBezTo>
                    <a:pt x="69" y="132"/>
                    <a:pt x="70" y="131"/>
                    <a:pt x="69" y="133"/>
                  </a:cubicBezTo>
                  <a:cubicBezTo>
                    <a:pt x="67" y="136"/>
                    <a:pt x="67" y="137"/>
                    <a:pt x="68" y="137"/>
                  </a:cubicBezTo>
                  <a:cubicBezTo>
                    <a:pt x="68" y="137"/>
                    <a:pt x="69" y="137"/>
                    <a:pt x="69" y="137"/>
                  </a:cubicBezTo>
                  <a:cubicBezTo>
                    <a:pt x="69" y="141"/>
                    <a:pt x="69" y="141"/>
                    <a:pt x="69" y="141"/>
                  </a:cubicBezTo>
                  <a:cubicBezTo>
                    <a:pt x="69" y="141"/>
                    <a:pt x="69" y="142"/>
                    <a:pt x="66" y="141"/>
                  </a:cubicBezTo>
                  <a:cubicBezTo>
                    <a:pt x="63" y="141"/>
                    <a:pt x="61" y="140"/>
                    <a:pt x="61" y="140"/>
                  </a:cubicBezTo>
                  <a:cubicBezTo>
                    <a:pt x="58" y="137"/>
                    <a:pt x="58" y="137"/>
                    <a:pt x="58" y="137"/>
                  </a:cubicBezTo>
                  <a:cubicBezTo>
                    <a:pt x="58" y="137"/>
                    <a:pt x="57" y="136"/>
                    <a:pt x="59" y="134"/>
                  </a:cubicBezTo>
                  <a:cubicBezTo>
                    <a:pt x="60" y="132"/>
                    <a:pt x="63" y="133"/>
                    <a:pt x="63" y="133"/>
                  </a:cubicBezTo>
                  <a:cubicBezTo>
                    <a:pt x="63" y="133"/>
                    <a:pt x="64" y="135"/>
                    <a:pt x="65" y="133"/>
                  </a:cubicBezTo>
                  <a:cubicBezTo>
                    <a:pt x="66" y="131"/>
                    <a:pt x="66" y="129"/>
                    <a:pt x="67" y="130"/>
                  </a:cubicBezTo>
                  <a:cubicBezTo>
                    <a:pt x="68" y="131"/>
                    <a:pt x="69" y="132"/>
                    <a:pt x="69" y="13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6" y="120"/>
                    <a:pt x="76" y="118"/>
                    <a:pt x="76" y="118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77" y="116"/>
                    <a:pt x="75" y="114"/>
                    <a:pt x="75" y="113"/>
                  </a:cubicBezTo>
                  <a:cubicBezTo>
                    <a:pt x="75" y="112"/>
                    <a:pt x="75" y="110"/>
                    <a:pt x="77" y="109"/>
                  </a:cubicBezTo>
                  <a:cubicBezTo>
                    <a:pt x="78" y="108"/>
                    <a:pt x="79" y="106"/>
                    <a:pt x="80" y="106"/>
                  </a:cubicBezTo>
                  <a:cubicBezTo>
                    <a:pt x="80" y="107"/>
                    <a:pt x="80" y="107"/>
                    <a:pt x="81" y="109"/>
                  </a:cubicBezTo>
                  <a:cubicBezTo>
                    <a:pt x="82" y="110"/>
                    <a:pt x="82" y="112"/>
                    <a:pt x="83" y="111"/>
                  </a:cubicBezTo>
                  <a:cubicBezTo>
                    <a:pt x="84" y="110"/>
                    <a:pt x="84" y="109"/>
                    <a:pt x="85" y="108"/>
                  </a:cubicBezTo>
                  <a:cubicBezTo>
                    <a:pt x="86" y="107"/>
                    <a:pt x="87" y="104"/>
                    <a:pt x="87" y="104"/>
                  </a:cubicBezTo>
                  <a:cubicBezTo>
                    <a:pt x="87" y="104"/>
                    <a:pt x="89" y="105"/>
                    <a:pt x="90" y="104"/>
                  </a:cubicBezTo>
                  <a:cubicBezTo>
                    <a:pt x="92" y="103"/>
                    <a:pt x="90" y="103"/>
                    <a:pt x="93" y="102"/>
                  </a:cubicBezTo>
                  <a:cubicBezTo>
                    <a:pt x="96" y="102"/>
                    <a:pt x="97" y="102"/>
                    <a:pt x="98" y="100"/>
                  </a:cubicBezTo>
                  <a:cubicBezTo>
                    <a:pt x="99" y="99"/>
                    <a:pt x="99" y="100"/>
                    <a:pt x="100" y="99"/>
                  </a:cubicBezTo>
                  <a:cubicBezTo>
                    <a:pt x="101" y="98"/>
                    <a:pt x="102" y="97"/>
                    <a:pt x="103" y="97"/>
                  </a:cubicBezTo>
                  <a:cubicBezTo>
                    <a:pt x="104" y="98"/>
                    <a:pt x="105" y="99"/>
                    <a:pt x="105" y="100"/>
                  </a:cubicBezTo>
                  <a:cubicBezTo>
                    <a:pt x="105" y="101"/>
                    <a:pt x="106" y="103"/>
                    <a:pt x="105" y="104"/>
                  </a:cubicBezTo>
                  <a:cubicBezTo>
                    <a:pt x="104" y="105"/>
                    <a:pt x="104" y="106"/>
                    <a:pt x="103" y="106"/>
                  </a:cubicBezTo>
                  <a:cubicBezTo>
                    <a:pt x="102" y="107"/>
                    <a:pt x="99" y="109"/>
                    <a:pt x="99" y="109"/>
                  </a:cubicBezTo>
                  <a:cubicBezTo>
                    <a:pt x="99" y="109"/>
                    <a:pt x="99" y="111"/>
                    <a:pt x="100" y="111"/>
                  </a:cubicBezTo>
                  <a:cubicBezTo>
                    <a:pt x="101" y="111"/>
                    <a:pt x="103" y="108"/>
                    <a:pt x="103" y="110"/>
                  </a:cubicBezTo>
                  <a:cubicBezTo>
                    <a:pt x="102" y="112"/>
                    <a:pt x="105" y="113"/>
                    <a:pt x="102" y="114"/>
                  </a:cubicBezTo>
                  <a:cubicBezTo>
                    <a:pt x="100" y="114"/>
                    <a:pt x="98" y="113"/>
                    <a:pt x="98" y="113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4" y="115"/>
                    <a:pt x="94" y="116"/>
                  </a:cubicBezTo>
                  <a:cubicBezTo>
                    <a:pt x="94" y="117"/>
                    <a:pt x="95" y="119"/>
                    <a:pt x="95" y="119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3" y="121"/>
                    <a:pt x="90" y="120"/>
                    <a:pt x="90" y="121"/>
                  </a:cubicBezTo>
                  <a:cubicBezTo>
                    <a:pt x="91" y="122"/>
                    <a:pt x="92" y="124"/>
                    <a:pt x="92" y="124"/>
                  </a:cubicBezTo>
                  <a:cubicBezTo>
                    <a:pt x="92" y="124"/>
                    <a:pt x="92" y="126"/>
                    <a:pt x="90" y="126"/>
                  </a:cubicBezTo>
                  <a:cubicBezTo>
                    <a:pt x="88" y="126"/>
                    <a:pt x="86" y="126"/>
                    <a:pt x="85" y="126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83" y="128"/>
                    <a:pt x="84" y="129"/>
                    <a:pt x="83" y="130"/>
                  </a:cubicBezTo>
                  <a:cubicBezTo>
                    <a:pt x="82" y="131"/>
                    <a:pt x="79" y="131"/>
                    <a:pt x="79" y="131"/>
                  </a:cubicBezTo>
                  <a:cubicBezTo>
                    <a:pt x="79" y="131"/>
                    <a:pt x="78" y="131"/>
                    <a:pt x="78" y="131"/>
                  </a:cubicBezTo>
                  <a:cubicBezTo>
                    <a:pt x="78" y="132"/>
                    <a:pt x="77" y="134"/>
                    <a:pt x="76" y="134"/>
                  </a:cubicBezTo>
                  <a:cubicBezTo>
                    <a:pt x="75" y="133"/>
                    <a:pt x="73" y="132"/>
                    <a:pt x="72" y="131"/>
                  </a:cubicBezTo>
                  <a:cubicBezTo>
                    <a:pt x="72" y="130"/>
                    <a:pt x="71" y="126"/>
                    <a:pt x="73" y="127"/>
                  </a:cubicBezTo>
                  <a:cubicBezTo>
                    <a:pt x="75" y="127"/>
                    <a:pt x="77" y="128"/>
                    <a:pt x="77" y="126"/>
                  </a:cubicBezTo>
                  <a:cubicBezTo>
                    <a:pt x="77" y="124"/>
                    <a:pt x="76" y="123"/>
                    <a:pt x="76" y="123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267" y="15"/>
                  </a:moveTo>
                  <a:cubicBezTo>
                    <a:pt x="267" y="15"/>
                    <a:pt x="267" y="15"/>
                    <a:pt x="267" y="15"/>
                  </a:cubicBezTo>
                  <a:cubicBezTo>
                    <a:pt x="268" y="15"/>
                    <a:pt x="271" y="16"/>
                    <a:pt x="271" y="15"/>
                  </a:cubicBezTo>
                  <a:cubicBezTo>
                    <a:pt x="271" y="15"/>
                    <a:pt x="272" y="13"/>
                    <a:pt x="272" y="13"/>
                  </a:cubicBezTo>
                  <a:cubicBezTo>
                    <a:pt x="271" y="12"/>
                    <a:pt x="270" y="11"/>
                    <a:pt x="269" y="12"/>
                  </a:cubicBezTo>
                  <a:cubicBezTo>
                    <a:pt x="268" y="12"/>
                    <a:pt x="267" y="13"/>
                    <a:pt x="267" y="13"/>
                  </a:cubicBezTo>
                  <a:cubicBezTo>
                    <a:pt x="267" y="14"/>
                    <a:pt x="267" y="15"/>
                    <a:pt x="267" y="15"/>
                  </a:cubicBezTo>
                  <a:close/>
                  <a:moveTo>
                    <a:pt x="235" y="32"/>
                  </a:moveTo>
                  <a:cubicBezTo>
                    <a:pt x="235" y="32"/>
                    <a:pt x="235" y="32"/>
                    <a:pt x="235" y="32"/>
                  </a:cubicBezTo>
                  <a:cubicBezTo>
                    <a:pt x="236" y="32"/>
                    <a:pt x="237" y="30"/>
                    <a:pt x="237" y="31"/>
                  </a:cubicBezTo>
                  <a:cubicBezTo>
                    <a:pt x="237" y="33"/>
                    <a:pt x="238" y="33"/>
                    <a:pt x="237" y="34"/>
                  </a:cubicBezTo>
                  <a:cubicBezTo>
                    <a:pt x="236" y="34"/>
                    <a:pt x="234" y="36"/>
                    <a:pt x="233" y="35"/>
                  </a:cubicBezTo>
                  <a:cubicBezTo>
                    <a:pt x="233" y="35"/>
                    <a:pt x="234" y="31"/>
                    <a:pt x="234" y="31"/>
                  </a:cubicBezTo>
                  <a:cubicBezTo>
                    <a:pt x="235" y="32"/>
                    <a:pt x="235" y="32"/>
                    <a:pt x="235" y="32"/>
                  </a:cubicBezTo>
                  <a:close/>
                  <a:moveTo>
                    <a:pt x="254" y="34"/>
                  </a:moveTo>
                  <a:cubicBezTo>
                    <a:pt x="254" y="34"/>
                    <a:pt x="254" y="34"/>
                    <a:pt x="254" y="34"/>
                  </a:cubicBezTo>
                  <a:cubicBezTo>
                    <a:pt x="254" y="34"/>
                    <a:pt x="254" y="35"/>
                    <a:pt x="252" y="34"/>
                  </a:cubicBezTo>
                  <a:cubicBezTo>
                    <a:pt x="249" y="34"/>
                    <a:pt x="248" y="35"/>
                    <a:pt x="248" y="33"/>
                  </a:cubicBezTo>
                  <a:cubicBezTo>
                    <a:pt x="248" y="32"/>
                    <a:pt x="249" y="31"/>
                    <a:pt x="247" y="30"/>
                  </a:cubicBezTo>
                  <a:cubicBezTo>
                    <a:pt x="245" y="30"/>
                    <a:pt x="245" y="30"/>
                    <a:pt x="245" y="30"/>
                  </a:cubicBezTo>
                  <a:cubicBezTo>
                    <a:pt x="245" y="30"/>
                    <a:pt x="244" y="28"/>
                    <a:pt x="245" y="27"/>
                  </a:cubicBezTo>
                  <a:cubicBezTo>
                    <a:pt x="247" y="25"/>
                    <a:pt x="247" y="26"/>
                    <a:pt x="248" y="26"/>
                  </a:cubicBezTo>
                  <a:cubicBezTo>
                    <a:pt x="250" y="26"/>
                    <a:pt x="249" y="26"/>
                    <a:pt x="251" y="27"/>
                  </a:cubicBezTo>
                  <a:cubicBezTo>
                    <a:pt x="253" y="27"/>
                    <a:pt x="254" y="28"/>
                    <a:pt x="254" y="26"/>
                  </a:cubicBezTo>
                  <a:cubicBezTo>
                    <a:pt x="254" y="25"/>
                    <a:pt x="255" y="25"/>
                    <a:pt x="253" y="23"/>
                  </a:cubicBezTo>
                  <a:cubicBezTo>
                    <a:pt x="252" y="21"/>
                    <a:pt x="252" y="22"/>
                    <a:pt x="251" y="21"/>
                  </a:cubicBezTo>
                  <a:cubicBezTo>
                    <a:pt x="250" y="19"/>
                    <a:pt x="248" y="17"/>
                    <a:pt x="249" y="16"/>
                  </a:cubicBezTo>
                  <a:cubicBezTo>
                    <a:pt x="249" y="15"/>
                    <a:pt x="248" y="15"/>
                    <a:pt x="250" y="13"/>
                  </a:cubicBezTo>
                  <a:cubicBezTo>
                    <a:pt x="253" y="12"/>
                    <a:pt x="255" y="10"/>
                    <a:pt x="256" y="10"/>
                  </a:cubicBezTo>
                  <a:cubicBezTo>
                    <a:pt x="257" y="10"/>
                    <a:pt x="258" y="10"/>
                    <a:pt x="258" y="11"/>
                  </a:cubicBezTo>
                  <a:cubicBezTo>
                    <a:pt x="258" y="13"/>
                    <a:pt x="258" y="14"/>
                    <a:pt x="257" y="15"/>
                  </a:cubicBezTo>
                  <a:cubicBezTo>
                    <a:pt x="256" y="15"/>
                    <a:pt x="256" y="16"/>
                    <a:pt x="256" y="16"/>
                  </a:cubicBezTo>
                  <a:cubicBezTo>
                    <a:pt x="256" y="16"/>
                    <a:pt x="255" y="19"/>
                    <a:pt x="257" y="19"/>
                  </a:cubicBezTo>
                  <a:cubicBezTo>
                    <a:pt x="259" y="18"/>
                    <a:pt x="260" y="16"/>
                    <a:pt x="260" y="15"/>
                  </a:cubicBezTo>
                  <a:cubicBezTo>
                    <a:pt x="261" y="14"/>
                    <a:pt x="262" y="15"/>
                    <a:pt x="261" y="13"/>
                  </a:cubicBezTo>
                  <a:cubicBezTo>
                    <a:pt x="261" y="11"/>
                    <a:pt x="260" y="10"/>
                    <a:pt x="261" y="10"/>
                  </a:cubicBezTo>
                  <a:cubicBezTo>
                    <a:pt x="262" y="10"/>
                    <a:pt x="263" y="12"/>
                    <a:pt x="264" y="10"/>
                  </a:cubicBezTo>
                  <a:cubicBezTo>
                    <a:pt x="266" y="7"/>
                    <a:pt x="266" y="6"/>
                    <a:pt x="266" y="6"/>
                  </a:cubicBezTo>
                  <a:cubicBezTo>
                    <a:pt x="266" y="6"/>
                    <a:pt x="265" y="6"/>
                    <a:pt x="267" y="5"/>
                  </a:cubicBezTo>
                  <a:cubicBezTo>
                    <a:pt x="269" y="4"/>
                    <a:pt x="268" y="3"/>
                    <a:pt x="269" y="2"/>
                  </a:cubicBezTo>
                  <a:cubicBezTo>
                    <a:pt x="270" y="1"/>
                    <a:pt x="268" y="0"/>
                    <a:pt x="271" y="0"/>
                  </a:cubicBezTo>
                  <a:cubicBezTo>
                    <a:pt x="273" y="1"/>
                    <a:pt x="273" y="1"/>
                    <a:pt x="274" y="2"/>
                  </a:cubicBezTo>
                  <a:cubicBezTo>
                    <a:pt x="275" y="2"/>
                    <a:pt x="273" y="6"/>
                    <a:pt x="272" y="6"/>
                  </a:cubicBezTo>
                  <a:cubicBezTo>
                    <a:pt x="271" y="6"/>
                    <a:pt x="271" y="5"/>
                    <a:pt x="269" y="6"/>
                  </a:cubicBezTo>
                  <a:cubicBezTo>
                    <a:pt x="268" y="7"/>
                    <a:pt x="270" y="9"/>
                    <a:pt x="269" y="10"/>
                  </a:cubicBezTo>
                  <a:cubicBezTo>
                    <a:pt x="268" y="11"/>
                    <a:pt x="267" y="10"/>
                    <a:pt x="266" y="11"/>
                  </a:cubicBezTo>
                  <a:cubicBezTo>
                    <a:pt x="265" y="12"/>
                    <a:pt x="265" y="12"/>
                    <a:pt x="265" y="13"/>
                  </a:cubicBezTo>
                  <a:cubicBezTo>
                    <a:pt x="265" y="14"/>
                    <a:pt x="264" y="15"/>
                    <a:pt x="263" y="16"/>
                  </a:cubicBezTo>
                  <a:cubicBezTo>
                    <a:pt x="263" y="16"/>
                    <a:pt x="260" y="14"/>
                    <a:pt x="263" y="16"/>
                  </a:cubicBezTo>
                  <a:cubicBezTo>
                    <a:pt x="266" y="18"/>
                    <a:pt x="267" y="18"/>
                    <a:pt x="266" y="19"/>
                  </a:cubicBezTo>
                  <a:cubicBezTo>
                    <a:pt x="265" y="19"/>
                    <a:pt x="263" y="19"/>
                    <a:pt x="262" y="20"/>
                  </a:cubicBezTo>
                  <a:cubicBezTo>
                    <a:pt x="261" y="20"/>
                    <a:pt x="260" y="21"/>
                    <a:pt x="262" y="22"/>
                  </a:cubicBezTo>
                  <a:cubicBezTo>
                    <a:pt x="264" y="23"/>
                    <a:pt x="263" y="23"/>
                    <a:pt x="264" y="23"/>
                  </a:cubicBezTo>
                  <a:cubicBezTo>
                    <a:pt x="265" y="22"/>
                    <a:pt x="270" y="22"/>
                    <a:pt x="270" y="23"/>
                  </a:cubicBezTo>
                  <a:cubicBezTo>
                    <a:pt x="269" y="25"/>
                    <a:pt x="270" y="25"/>
                    <a:pt x="268" y="26"/>
                  </a:cubicBezTo>
                  <a:cubicBezTo>
                    <a:pt x="265" y="27"/>
                    <a:pt x="263" y="26"/>
                    <a:pt x="262" y="25"/>
                  </a:cubicBezTo>
                  <a:cubicBezTo>
                    <a:pt x="261" y="25"/>
                    <a:pt x="261" y="23"/>
                    <a:pt x="261" y="26"/>
                  </a:cubicBezTo>
                  <a:cubicBezTo>
                    <a:pt x="262" y="29"/>
                    <a:pt x="264" y="29"/>
                    <a:pt x="263" y="29"/>
                  </a:cubicBezTo>
                  <a:cubicBezTo>
                    <a:pt x="261" y="29"/>
                    <a:pt x="259" y="29"/>
                    <a:pt x="259" y="29"/>
                  </a:cubicBezTo>
                  <a:cubicBezTo>
                    <a:pt x="259" y="29"/>
                    <a:pt x="258" y="27"/>
                    <a:pt x="259" y="30"/>
                  </a:cubicBezTo>
                  <a:cubicBezTo>
                    <a:pt x="260" y="33"/>
                    <a:pt x="260" y="33"/>
                    <a:pt x="260" y="33"/>
                  </a:cubicBezTo>
                  <a:cubicBezTo>
                    <a:pt x="260" y="33"/>
                    <a:pt x="258" y="34"/>
                    <a:pt x="258" y="34"/>
                  </a:cubicBezTo>
                  <a:cubicBezTo>
                    <a:pt x="258" y="35"/>
                    <a:pt x="259" y="37"/>
                    <a:pt x="260" y="38"/>
                  </a:cubicBezTo>
                  <a:cubicBezTo>
                    <a:pt x="260" y="38"/>
                    <a:pt x="259" y="42"/>
                    <a:pt x="258" y="42"/>
                  </a:cubicBezTo>
                  <a:cubicBezTo>
                    <a:pt x="258" y="42"/>
                    <a:pt x="258" y="43"/>
                    <a:pt x="257" y="44"/>
                  </a:cubicBezTo>
                  <a:cubicBezTo>
                    <a:pt x="256" y="45"/>
                    <a:pt x="255" y="46"/>
                    <a:pt x="255" y="46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2" y="54"/>
                    <a:pt x="251" y="52"/>
                  </a:cubicBezTo>
                  <a:cubicBezTo>
                    <a:pt x="251" y="50"/>
                    <a:pt x="250" y="50"/>
                    <a:pt x="251" y="49"/>
                  </a:cubicBezTo>
                  <a:cubicBezTo>
                    <a:pt x="252" y="49"/>
                    <a:pt x="252" y="47"/>
                    <a:pt x="253" y="46"/>
                  </a:cubicBezTo>
                  <a:cubicBezTo>
                    <a:pt x="253" y="45"/>
                    <a:pt x="254" y="41"/>
                    <a:pt x="254" y="41"/>
                  </a:cubicBezTo>
                  <a:cubicBezTo>
                    <a:pt x="254" y="41"/>
                    <a:pt x="256" y="41"/>
                    <a:pt x="257" y="40"/>
                  </a:cubicBezTo>
                  <a:cubicBezTo>
                    <a:pt x="257" y="40"/>
                    <a:pt x="255" y="36"/>
                    <a:pt x="255" y="36"/>
                  </a:cubicBezTo>
                  <a:cubicBezTo>
                    <a:pt x="256" y="34"/>
                    <a:pt x="256" y="34"/>
                    <a:pt x="256" y="34"/>
                  </a:cubicBezTo>
                  <a:cubicBezTo>
                    <a:pt x="254" y="34"/>
                    <a:pt x="254" y="34"/>
                    <a:pt x="254" y="34"/>
                  </a:cubicBezTo>
                  <a:close/>
                  <a:moveTo>
                    <a:pt x="239" y="67"/>
                  </a:move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42" y="63"/>
                    <a:pt x="243" y="64"/>
                  </a:cubicBezTo>
                  <a:cubicBezTo>
                    <a:pt x="243" y="64"/>
                    <a:pt x="243" y="65"/>
                    <a:pt x="243" y="66"/>
                  </a:cubicBezTo>
                  <a:cubicBezTo>
                    <a:pt x="243" y="66"/>
                    <a:pt x="244" y="68"/>
                    <a:pt x="243" y="68"/>
                  </a:cubicBezTo>
                  <a:cubicBezTo>
                    <a:pt x="242" y="68"/>
                    <a:pt x="241" y="68"/>
                    <a:pt x="240" y="68"/>
                  </a:cubicBezTo>
                  <a:cubicBezTo>
                    <a:pt x="240" y="68"/>
                    <a:pt x="239" y="67"/>
                    <a:pt x="239" y="67"/>
                  </a:cubicBezTo>
                  <a:close/>
                  <a:moveTo>
                    <a:pt x="196" y="98"/>
                  </a:moveTo>
                  <a:cubicBezTo>
                    <a:pt x="196" y="98"/>
                    <a:pt x="196" y="98"/>
                    <a:pt x="196" y="98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7"/>
                    <a:pt x="202" y="95"/>
                    <a:pt x="202" y="97"/>
                  </a:cubicBezTo>
                  <a:cubicBezTo>
                    <a:pt x="201" y="99"/>
                    <a:pt x="199" y="102"/>
                    <a:pt x="199" y="102"/>
                  </a:cubicBezTo>
                  <a:cubicBezTo>
                    <a:pt x="199" y="102"/>
                    <a:pt x="200" y="102"/>
                    <a:pt x="198" y="103"/>
                  </a:cubicBezTo>
                  <a:cubicBezTo>
                    <a:pt x="196" y="104"/>
                    <a:pt x="196" y="105"/>
                    <a:pt x="195" y="103"/>
                  </a:cubicBezTo>
                  <a:cubicBezTo>
                    <a:pt x="194" y="102"/>
                    <a:pt x="193" y="102"/>
                    <a:pt x="193" y="101"/>
                  </a:cubicBezTo>
                  <a:cubicBezTo>
                    <a:pt x="194" y="100"/>
                    <a:pt x="194" y="98"/>
                    <a:pt x="194" y="98"/>
                  </a:cubicBezTo>
                  <a:cubicBezTo>
                    <a:pt x="196" y="98"/>
                    <a:pt x="196" y="98"/>
                    <a:pt x="196" y="98"/>
                  </a:cubicBezTo>
                  <a:close/>
                  <a:moveTo>
                    <a:pt x="217" y="72"/>
                  </a:moveTo>
                  <a:cubicBezTo>
                    <a:pt x="217" y="72"/>
                    <a:pt x="217" y="72"/>
                    <a:pt x="217" y="72"/>
                  </a:cubicBezTo>
                  <a:cubicBezTo>
                    <a:pt x="217" y="72"/>
                    <a:pt x="218" y="70"/>
                    <a:pt x="219" y="70"/>
                  </a:cubicBezTo>
                  <a:cubicBezTo>
                    <a:pt x="220" y="71"/>
                    <a:pt x="221" y="71"/>
                    <a:pt x="221" y="72"/>
                  </a:cubicBezTo>
                  <a:cubicBezTo>
                    <a:pt x="220" y="73"/>
                    <a:pt x="219" y="74"/>
                    <a:pt x="218" y="74"/>
                  </a:cubicBezTo>
                  <a:cubicBezTo>
                    <a:pt x="217" y="74"/>
                    <a:pt x="217" y="72"/>
                    <a:pt x="217" y="72"/>
                  </a:cubicBezTo>
                  <a:close/>
                  <a:moveTo>
                    <a:pt x="213" y="77"/>
                  </a:moveTo>
                  <a:cubicBezTo>
                    <a:pt x="213" y="77"/>
                    <a:pt x="213" y="77"/>
                    <a:pt x="213" y="77"/>
                  </a:cubicBezTo>
                  <a:cubicBezTo>
                    <a:pt x="213" y="77"/>
                    <a:pt x="215" y="75"/>
                    <a:pt x="216" y="76"/>
                  </a:cubicBezTo>
                  <a:cubicBezTo>
                    <a:pt x="216" y="76"/>
                    <a:pt x="217" y="76"/>
                    <a:pt x="216" y="77"/>
                  </a:cubicBezTo>
                  <a:cubicBezTo>
                    <a:pt x="216" y="78"/>
                    <a:pt x="218" y="77"/>
                    <a:pt x="215" y="78"/>
                  </a:cubicBezTo>
                  <a:cubicBezTo>
                    <a:pt x="213" y="80"/>
                    <a:pt x="214" y="81"/>
                    <a:pt x="212" y="80"/>
                  </a:cubicBezTo>
                  <a:cubicBezTo>
                    <a:pt x="211" y="79"/>
                    <a:pt x="211" y="78"/>
                    <a:pt x="211" y="77"/>
                  </a:cubicBezTo>
                  <a:cubicBezTo>
                    <a:pt x="211" y="77"/>
                    <a:pt x="212" y="75"/>
                    <a:pt x="212" y="75"/>
                  </a:cubicBezTo>
                  <a:cubicBezTo>
                    <a:pt x="213" y="76"/>
                    <a:pt x="213" y="77"/>
                    <a:pt x="213" y="77"/>
                  </a:cubicBezTo>
                  <a:close/>
                  <a:moveTo>
                    <a:pt x="205" y="80"/>
                  </a:moveTo>
                  <a:cubicBezTo>
                    <a:pt x="205" y="80"/>
                    <a:pt x="205" y="80"/>
                    <a:pt x="205" y="80"/>
                  </a:cubicBezTo>
                  <a:cubicBezTo>
                    <a:pt x="205" y="80"/>
                    <a:pt x="207" y="81"/>
                    <a:pt x="207" y="81"/>
                  </a:cubicBezTo>
                  <a:cubicBezTo>
                    <a:pt x="208" y="82"/>
                    <a:pt x="208" y="81"/>
                    <a:pt x="209" y="80"/>
                  </a:cubicBezTo>
                  <a:cubicBezTo>
                    <a:pt x="211" y="80"/>
                    <a:pt x="209" y="80"/>
                    <a:pt x="210" y="79"/>
                  </a:cubicBezTo>
                  <a:cubicBezTo>
                    <a:pt x="211" y="77"/>
                    <a:pt x="210" y="78"/>
                    <a:pt x="210" y="77"/>
                  </a:cubicBezTo>
                  <a:cubicBezTo>
                    <a:pt x="209" y="77"/>
                    <a:pt x="209" y="77"/>
                    <a:pt x="208" y="77"/>
                  </a:cubicBezTo>
                  <a:cubicBezTo>
                    <a:pt x="206" y="77"/>
                    <a:pt x="205" y="80"/>
                    <a:pt x="205" y="80"/>
                  </a:cubicBezTo>
                  <a:close/>
                  <a:moveTo>
                    <a:pt x="20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10" y="83"/>
                    <a:pt x="211" y="83"/>
                  </a:cubicBezTo>
                  <a:cubicBezTo>
                    <a:pt x="212" y="84"/>
                    <a:pt x="212" y="83"/>
                    <a:pt x="212" y="84"/>
                  </a:cubicBezTo>
                  <a:cubicBezTo>
                    <a:pt x="212" y="85"/>
                    <a:pt x="212" y="87"/>
                    <a:pt x="211" y="87"/>
                  </a:cubicBezTo>
                  <a:cubicBezTo>
                    <a:pt x="210" y="87"/>
                    <a:pt x="209" y="86"/>
                    <a:pt x="209" y="86"/>
                  </a:cubicBezTo>
                  <a:close/>
                  <a:moveTo>
                    <a:pt x="201" y="86"/>
                  </a:moveTo>
                  <a:cubicBezTo>
                    <a:pt x="201" y="86"/>
                    <a:pt x="201" y="86"/>
                    <a:pt x="201" y="86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4" y="85"/>
                    <a:pt x="204" y="85"/>
                    <a:pt x="204" y="85"/>
                  </a:cubicBezTo>
                  <a:cubicBezTo>
                    <a:pt x="204" y="85"/>
                    <a:pt x="205" y="86"/>
                    <a:pt x="204" y="86"/>
                  </a:cubicBezTo>
                  <a:cubicBezTo>
                    <a:pt x="204" y="87"/>
                    <a:pt x="203" y="87"/>
                    <a:pt x="203" y="88"/>
                  </a:cubicBezTo>
                  <a:cubicBezTo>
                    <a:pt x="202" y="88"/>
                    <a:pt x="201" y="87"/>
                    <a:pt x="201" y="87"/>
                  </a:cubicBezTo>
                  <a:cubicBezTo>
                    <a:pt x="201" y="86"/>
                    <a:pt x="201" y="86"/>
                    <a:pt x="201" y="86"/>
                  </a:cubicBezTo>
                  <a:close/>
                  <a:moveTo>
                    <a:pt x="201" y="73"/>
                  </a:moveTo>
                  <a:cubicBezTo>
                    <a:pt x="201" y="73"/>
                    <a:pt x="201" y="73"/>
                    <a:pt x="201" y="73"/>
                  </a:cubicBezTo>
                  <a:cubicBezTo>
                    <a:pt x="201" y="73"/>
                    <a:pt x="203" y="70"/>
                    <a:pt x="203" y="70"/>
                  </a:cubicBezTo>
                  <a:cubicBezTo>
                    <a:pt x="204" y="70"/>
                    <a:pt x="205" y="69"/>
                    <a:pt x="205" y="71"/>
                  </a:cubicBezTo>
                  <a:cubicBezTo>
                    <a:pt x="205" y="73"/>
                    <a:pt x="207" y="75"/>
                    <a:pt x="204" y="75"/>
                  </a:cubicBezTo>
                  <a:cubicBezTo>
                    <a:pt x="202" y="75"/>
                    <a:pt x="201" y="76"/>
                    <a:pt x="201" y="75"/>
                  </a:cubicBezTo>
                  <a:cubicBezTo>
                    <a:pt x="200" y="74"/>
                    <a:pt x="201" y="73"/>
                    <a:pt x="201" y="73"/>
                  </a:cubicBezTo>
                  <a:close/>
                  <a:moveTo>
                    <a:pt x="197" y="79"/>
                  </a:moveTo>
                  <a:cubicBezTo>
                    <a:pt x="197" y="79"/>
                    <a:pt x="197" y="79"/>
                    <a:pt x="197" y="79"/>
                  </a:cubicBezTo>
                  <a:cubicBezTo>
                    <a:pt x="197" y="79"/>
                    <a:pt x="199" y="77"/>
                    <a:pt x="200" y="77"/>
                  </a:cubicBezTo>
                  <a:cubicBezTo>
                    <a:pt x="201" y="78"/>
                    <a:pt x="202" y="78"/>
                    <a:pt x="202" y="79"/>
                  </a:cubicBezTo>
                  <a:cubicBezTo>
                    <a:pt x="202" y="80"/>
                    <a:pt x="202" y="80"/>
                    <a:pt x="201" y="81"/>
                  </a:cubicBezTo>
                  <a:cubicBezTo>
                    <a:pt x="201" y="82"/>
                    <a:pt x="200" y="82"/>
                    <a:pt x="199" y="82"/>
                  </a:cubicBezTo>
                  <a:cubicBezTo>
                    <a:pt x="199" y="82"/>
                    <a:pt x="197" y="79"/>
                    <a:pt x="197" y="79"/>
                  </a:cubicBezTo>
                  <a:close/>
                  <a:moveTo>
                    <a:pt x="200" y="91"/>
                  </a:moveTo>
                  <a:cubicBezTo>
                    <a:pt x="200" y="91"/>
                    <a:pt x="200" y="91"/>
                    <a:pt x="200" y="91"/>
                  </a:cubicBezTo>
                  <a:cubicBezTo>
                    <a:pt x="200" y="91"/>
                    <a:pt x="199" y="94"/>
                    <a:pt x="199" y="95"/>
                  </a:cubicBezTo>
                  <a:cubicBezTo>
                    <a:pt x="199" y="96"/>
                    <a:pt x="202" y="96"/>
                    <a:pt x="203" y="95"/>
                  </a:cubicBezTo>
                  <a:cubicBezTo>
                    <a:pt x="203" y="95"/>
                    <a:pt x="204" y="93"/>
                    <a:pt x="204" y="93"/>
                  </a:cubicBezTo>
                  <a:cubicBezTo>
                    <a:pt x="204" y="93"/>
                    <a:pt x="203" y="91"/>
                    <a:pt x="202" y="90"/>
                  </a:cubicBezTo>
                  <a:cubicBezTo>
                    <a:pt x="201" y="89"/>
                    <a:pt x="200" y="91"/>
                    <a:pt x="200" y="91"/>
                  </a:cubicBezTo>
                  <a:close/>
                  <a:moveTo>
                    <a:pt x="191" y="88"/>
                  </a:moveTo>
                  <a:cubicBezTo>
                    <a:pt x="191" y="88"/>
                    <a:pt x="191" y="88"/>
                    <a:pt x="191" y="88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1" y="91"/>
                    <a:pt x="193" y="93"/>
                    <a:pt x="194" y="93"/>
                  </a:cubicBezTo>
                  <a:cubicBezTo>
                    <a:pt x="195" y="94"/>
                    <a:pt x="195" y="93"/>
                    <a:pt x="197" y="94"/>
                  </a:cubicBezTo>
                  <a:cubicBezTo>
                    <a:pt x="198" y="94"/>
                    <a:pt x="198" y="93"/>
                    <a:pt x="198" y="93"/>
                  </a:cubicBezTo>
                  <a:cubicBezTo>
                    <a:pt x="199" y="93"/>
                    <a:pt x="199" y="93"/>
                    <a:pt x="199" y="92"/>
                  </a:cubicBezTo>
                  <a:cubicBezTo>
                    <a:pt x="199" y="92"/>
                    <a:pt x="197" y="91"/>
                    <a:pt x="196" y="90"/>
                  </a:cubicBezTo>
                  <a:cubicBezTo>
                    <a:pt x="196" y="89"/>
                    <a:pt x="196" y="89"/>
                    <a:pt x="196" y="88"/>
                  </a:cubicBezTo>
                  <a:cubicBezTo>
                    <a:pt x="196" y="88"/>
                    <a:pt x="197" y="87"/>
                    <a:pt x="198" y="87"/>
                  </a:cubicBezTo>
                  <a:cubicBezTo>
                    <a:pt x="198" y="86"/>
                    <a:pt x="198" y="84"/>
                    <a:pt x="198" y="84"/>
                  </a:cubicBezTo>
                  <a:cubicBezTo>
                    <a:pt x="198" y="84"/>
                    <a:pt x="196" y="84"/>
                    <a:pt x="196" y="83"/>
                  </a:cubicBezTo>
                  <a:cubicBezTo>
                    <a:pt x="196" y="83"/>
                    <a:pt x="195" y="82"/>
                    <a:pt x="194" y="81"/>
                  </a:cubicBezTo>
                  <a:cubicBezTo>
                    <a:pt x="194" y="80"/>
                    <a:pt x="192" y="80"/>
                    <a:pt x="191" y="80"/>
                  </a:cubicBezTo>
                  <a:cubicBezTo>
                    <a:pt x="191" y="80"/>
                    <a:pt x="190" y="83"/>
                    <a:pt x="189" y="84"/>
                  </a:cubicBezTo>
                  <a:cubicBezTo>
                    <a:pt x="189" y="84"/>
                    <a:pt x="188" y="86"/>
                    <a:pt x="188" y="86"/>
                  </a:cubicBezTo>
                  <a:cubicBezTo>
                    <a:pt x="188" y="87"/>
                    <a:pt x="188" y="88"/>
                    <a:pt x="189" y="89"/>
                  </a:cubicBezTo>
                  <a:cubicBezTo>
                    <a:pt x="190" y="89"/>
                    <a:pt x="191" y="88"/>
                    <a:pt x="191" y="88"/>
                  </a:cubicBezTo>
                  <a:close/>
                  <a:moveTo>
                    <a:pt x="188" y="96"/>
                  </a:moveTo>
                  <a:cubicBezTo>
                    <a:pt x="188" y="96"/>
                    <a:pt x="188" y="96"/>
                    <a:pt x="188" y="96"/>
                  </a:cubicBezTo>
                  <a:cubicBezTo>
                    <a:pt x="187" y="96"/>
                    <a:pt x="185" y="94"/>
                    <a:pt x="185" y="94"/>
                  </a:cubicBezTo>
                  <a:cubicBezTo>
                    <a:pt x="185" y="94"/>
                    <a:pt x="187" y="93"/>
                    <a:pt x="187" y="92"/>
                  </a:cubicBezTo>
                  <a:cubicBezTo>
                    <a:pt x="188" y="92"/>
                    <a:pt x="187" y="91"/>
                    <a:pt x="189" y="91"/>
                  </a:cubicBezTo>
                  <a:cubicBezTo>
                    <a:pt x="191" y="92"/>
                    <a:pt x="191" y="93"/>
                    <a:pt x="191" y="93"/>
                  </a:cubicBezTo>
                  <a:cubicBezTo>
                    <a:pt x="191" y="93"/>
                    <a:pt x="192" y="95"/>
                    <a:pt x="192" y="96"/>
                  </a:cubicBezTo>
                  <a:cubicBezTo>
                    <a:pt x="192" y="96"/>
                    <a:pt x="192" y="97"/>
                    <a:pt x="192" y="97"/>
                  </a:cubicBezTo>
                  <a:cubicBezTo>
                    <a:pt x="192" y="98"/>
                    <a:pt x="194" y="99"/>
                    <a:pt x="191" y="99"/>
                  </a:cubicBezTo>
                  <a:cubicBezTo>
                    <a:pt x="189" y="99"/>
                    <a:pt x="189" y="99"/>
                    <a:pt x="189" y="99"/>
                  </a:cubicBezTo>
                  <a:lnTo>
                    <a:pt x="188" y="96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5" name="Freeform 139"/>
            <p:cNvSpPr>
              <a:spLocks noEditPoints="1"/>
            </p:cNvSpPr>
            <p:nvPr/>
          </p:nvSpPr>
          <p:spPr bwMode="auto">
            <a:xfrm>
              <a:off x="3278971" y="3425810"/>
              <a:ext cx="1218169" cy="970596"/>
            </a:xfrm>
            <a:custGeom>
              <a:avLst/>
              <a:gdLst>
                <a:gd name="T0" fmla="*/ 432 w 534"/>
                <a:gd name="T1" fmla="*/ 208 h 439"/>
                <a:gd name="T2" fmla="*/ 350 w 534"/>
                <a:gd name="T3" fmla="*/ 268 h 439"/>
                <a:gd name="T4" fmla="*/ 305 w 534"/>
                <a:gd name="T5" fmla="*/ 368 h 439"/>
                <a:gd name="T6" fmla="*/ 243 w 534"/>
                <a:gd name="T7" fmla="*/ 412 h 439"/>
                <a:gd name="T8" fmla="*/ 174 w 534"/>
                <a:gd name="T9" fmla="*/ 422 h 439"/>
                <a:gd name="T10" fmla="*/ 78 w 534"/>
                <a:gd name="T11" fmla="*/ 433 h 439"/>
                <a:gd name="T12" fmla="*/ 40 w 534"/>
                <a:gd name="T13" fmla="*/ 384 h 439"/>
                <a:gd name="T14" fmla="*/ 1 w 534"/>
                <a:gd name="T15" fmla="*/ 348 h 439"/>
                <a:gd name="T16" fmla="*/ 2 w 534"/>
                <a:gd name="T17" fmla="*/ 334 h 439"/>
                <a:gd name="T18" fmla="*/ 15 w 534"/>
                <a:gd name="T19" fmla="*/ 321 h 439"/>
                <a:gd name="T20" fmla="*/ 26 w 534"/>
                <a:gd name="T21" fmla="*/ 316 h 439"/>
                <a:gd name="T22" fmla="*/ 31 w 534"/>
                <a:gd name="T23" fmla="*/ 307 h 439"/>
                <a:gd name="T24" fmla="*/ 23 w 534"/>
                <a:gd name="T25" fmla="*/ 297 h 439"/>
                <a:gd name="T26" fmla="*/ 21 w 534"/>
                <a:gd name="T27" fmla="*/ 287 h 439"/>
                <a:gd name="T28" fmla="*/ 28 w 534"/>
                <a:gd name="T29" fmla="*/ 275 h 439"/>
                <a:gd name="T30" fmla="*/ 38 w 534"/>
                <a:gd name="T31" fmla="*/ 268 h 439"/>
                <a:gd name="T32" fmla="*/ 40 w 534"/>
                <a:gd name="T33" fmla="*/ 257 h 439"/>
                <a:gd name="T34" fmla="*/ 34 w 534"/>
                <a:gd name="T35" fmla="*/ 251 h 439"/>
                <a:gd name="T36" fmla="*/ 32 w 534"/>
                <a:gd name="T37" fmla="*/ 240 h 439"/>
                <a:gd name="T38" fmla="*/ 29 w 534"/>
                <a:gd name="T39" fmla="*/ 230 h 439"/>
                <a:gd name="T40" fmla="*/ 33 w 534"/>
                <a:gd name="T41" fmla="*/ 225 h 439"/>
                <a:gd name="T42" fmla="*/ 44 w 534"/>
                <a:gd name="T43" fmla="*/ 227 h 439"/>
                <a:gd name="T44" fmla="*/ 51 w 534"/>
                <a:gd name="T45" fmla="*/ 223 h 439"/>
                <a:gd name="T46" fmla="*/ 58 w 534"/>
                <a:gd name="T47" fmla="*/ 213 h 439"/>
                <a:gd name="T48" fmla="*/ 55 w 534"/>
                <a:gd name="T49" fmla="*/ 200 h 439"/>
                <a:gd name="T50" fmla="*/ 65 w 534"/>
                <a:gd name="T51" fmla="*/ 195 h 439"/>
                <a:gd name="T52" fmla="*/ 68 w 534"/>
                <a:gd name="T53" fmla="*/ 182 h 439"/>
                <a:gd name="T54" fmla="*/ 70 w 534"/>
                <a:gd name="T55" fmla="*/ 169 h 439"/>
                <a:gd name="T56" fmla="*/ 70 w 534"/>
                <a:gd name="T57" fmla="*/ 157 h 439"/>
                <a:gd name="T58" fmla="*/ 82 w 534"/>
                <a:gd name="T59" fmla="*/ 149 h 439"/>
                <a:gd name="T60" fmla="*/ 97 w 534"/>
                <a:gd name="T61" fmla="*/ 142 h 439"/>
                <a:gd name="T62" fmla="*/ 105 w 534"/>
                <a:gd name="T63" fmla="*/ 130 h 439"/>
                <a:gd name="T64" fmla="*/ 94 w 534"/>
                <a:gd name="T65" fmla="*/ 122 h 439"/>
                <a:gd name="T66" fmla="*/ 96 w 534"/>
                <a:gd name="T67" fmla="*/ 112 h 439"/>
                <a:gd name="T68" fmla="*/ 87 w 534"/>
                <a:gd name="T69" fmla="*/ 106 h 439"/>
                <a:gd name="T70" fmla="*/ 75 w 534"/>
                <a:gd name="T71" fmla="*/ 103 h 439"/>
                <a:gd name="T72" fmla="*/ 63 w 534"/>
                <a:gd name="T73" fmla="*/ 108 h 439"/>
                <a:gd name="T74" fmla="*/ 54 w 534"/>
                <a:gd name="T75" fmla="*/ 108 h 439"/>
                <a:gd name="T76" fmla="*/ 44 w 534"/>
                <a:gd name="T77" fmla="*/ 102 h 439"/>
                <a:gd name="T78" fmla="*/ 34 w 534"/>
                <a:gd name="T79" fmla="*/ 102 h 439"/>
                <a:gd name="T80" fmla="*/ 33 w 534"/>
                <a:gd name="T81" fmla="*/ 93 h 439"/>
                <a:gd name="T82" fmla="*/ 29 w 534"/>
                <a:gd name="T83" fmla="*/ 84 h 439"/>
                <a:gd name="T84" fmla="*/ 13 w 534"/>
                <a:gd name="T85" fmla="*/ 86 h 439"/>
                <a:gd name="T86" fmla="*/ 6 w 534"/>
                <a:gd name="T87" fmla="*/ 77 h 439"/>
                <a:gd name="T88" fmla="*/ 6 w 534"/>
                <a:gd name="T89" fmla="*/ 41 h 439"/>
                <a:gd name="T90" fmla="*/ 35 w 534"/>
                <a:gd name="T91" fmla="*/ 17 h 439"/>
                <a:gd name="T92" fmla="*/ 130 w 534"/>
                <a:gd name="T93" fmla="*/ 26 h 439"/>
                <a:gd name="T94" fmla="*/ 280 w 534"/>
                <a:gd name="T95" fmla="*/ 72 h 439"/>
                <a:gd name="T96" fmla="*/ 366 w 534"/>
                <a:gd name="T97" fmla="*/ 119 h 439"/>
                <a:gd name="T98" fmla="*/ 424 w 534"/>
                <a:gd name="T99" fmla="*/ 134 h 439"/>
                <a:gd name="T100" fmla="*/ 424 w 534"/>
                <a:gd name="T101" fmla="*/ 138 h 439"/>
                <a:gd name="T102" fmla="*/ 426 w 534"/>
                <a:gd name="T103" fmla="*/ 141 h 439"/>
                <a:gd name="T104" fmla="*/ 456 w 534"/>
                <a:gd name="T105" fmla="*/ 145 h 439"/>
                <a:gd name="T106" fmla="*/ 521 w 534"/>
                <a:gd name="T107" fmla="*/ 289 h 439"/>
                <a:gd name="T108" fmla="*/ 460 w 534"/>
                <a:gd name="T109" fmla="*/ 299 h 439"/>
                <a:gd name="T110" fmla="*/ 478 w 534"/>
                <a:gd name="T111" fmla="*/ 282 h 439"/>
                <a:gd name="T112" fmla="*/ 411 w 534"/>
                <a:gd name="T113" fmla="*/ 32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4" h="439">
                  <a:moveTo>
                    <a:pt x="496" y="159"/>
                  </a:moveTo>
                  <a:cubicBezTo>
                    <a:pt x="493" y="161"/>
                    <a:pt x="492" y="156"/>
                    <a:pt x="490" y="159"/>
                  </a:cubicBezTo>
                  <a:cubicBezTo>
                    <a:pt x="487" y="163"/>
                    <a:pt x="495" y="172"/>
                    <a:pt x="492" y="177"/>
                  </a:cubicBezTo>
                  <a:cubicBezTo>
                    <a:pt x="488" y="182"/>
                    <a:pt x="480" y="189"/>
                    <a:pt x="469" y="191"/>
                  </a:cubicBezTo>
                  <a:cubicBezTo>
                    <a:pt x="464" y="192"/>
                    <a:pt x="460" y="197"/>
                    <a:pt x="456" y="196"/>
                  </a:cubicBezTo>
                  <a:cubicBezTo>
                    <a:pt x="453" y="196"/>
                    <a:pt x="446" y="203"/>
                    <a:pt x="445" y="205"/>
                  </a:cubicBezTo>
                  <a:cubicBezTo>
                    <a:pt x="443" y="208"/>
                    <a:pt x="437" y="205"/>
                    <a:pt x="432" y="208"/>
                  </a:cubicBezTo>
                  <a:cubicBezTo>
                    <a:pt x="425" y="211"/>
                    <a:pt x="429" y="207"/>
                    <a:pt x="404" y="214"/>
                  </a:cubicBezTo>
                  <a:cubicBezTo>
                    <a:pt x="399" y="215"/>
                    <a:pt x="395" y="217"/>
                    <a:pt x="391" y="218"/>
                  </a:cubicBezTo>
                  <a:cubicBezTo>
                    <a:pt x="387" y="220"/>
                    <a:pt x="383" y="219"/>
                    <a:pt x="383" y="227"/>
                  </a:cubicBezTo>
                  <a:cubicBezTo>
                    <a:pt x="384" y="231"/>
                    <a:pt x="389" y="228"/>
                    <a:pt x="388" y="232"/>
                  </a:cubicBezTo>
                  <a:cubicBezTo>
                    <a:pt x="388" y="235"/>
                    <a:pt x="381" y="234"/>
                    <a:pt x="374" y="238"/>
                  </a:cubicBezTo>
                  <a:cubicBezTo>
                    <a:pt x="371" y="240"/>
                    <a:pt x="369" y="247"/>
                    <a:pt x="367" y="249"/>
                  </a:cubicBezTo>
                  <a:cubicBezTo>
                    <a:pt x="357" y="255"/>
                    <a:pt x="350" y="268"/>
                    <a:pt x="350" y="268"/>
                  </a:cubicBezTo>
                  <a:cubicBezTo>
                    <a:pt x="345" y="273"/>
                    <a:pt x="339" y="277"/>
                    <a:pt x="336" y="283"/>
                  </a:cubicBezTo>
                  <a:cubicBezTo>
                    <a:pt x="329" y="296"/>
                    <a:pt x="327" y="289"/>
                    <a:pt x="331" y="305"/>
                  </a:cubicBezTo>
                  <a:cubicBezTo>
                    <a:pt x="332" y="307"/>
                    <a:pt x="332" y="314"/>
                    <a:pt x="335" y="319"/>
                  </a:cubicBezTo>
                  <a:cubicBezTo>
                    <a:pt x="340" y="326"/>
                    <a:pt x="351" y="333"/>
                    <a:pt x="348" y="335"/>
                  </a:cubicBezTo>
                  <a:cubicBezTo>
                    <a:pt x="346" y="336"/>
                    <a:pt x="334" y="344"/>
                    <a:pt x="330" y="344"/>
                  </a:cubicBezTo>
                  <a:cubicBezTo>
                    <a:pt x="324" y="345"/>
                    <a:pt x="321" y="349"/>
                    <a:pt x="313" y="358"/>
                  </a:cubicBezTo>
                  <a:cubicBezTo>
                    <a:pt x="309" y="361"/>
                    <a:pt x="308" y="364"/>
                    <a:pt x="305" y="368"/>
                  </a:cubicBezTo>
                  <a:cubicBezTo>
                    <a:pt x="300" y="374"/>
                    <a:pt x="302" y="373"/>
                    <a:pt x="298" y="380"/>
                  </a:cubicBezTo>
                  <a:cubicBezTo>
                    <a:pt x="297" y="382"/>
                    <a:pt x="298" y="389"/>
                    <a:pt x="298" y="392"/>
                  </a:cubicBezTo>
                  <a:cubicBezTo>
                    <a:pt x="288" y="393"/>
                    <a:pt x="288" y="393"/>
                    <a:pt x="288" y="393"/>
                  </a:cubicBezTo>
                  <a:cubicBezTo>
                    <a:pt x="271" y="388"/>
                    <a:pt x="271" y="388"/>
                    <a:pt x="271" y="388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57" y="400"/>
                    <a:pt x="251" y="398"/>
                    <a:pt x="247" y="401"/>
                  </a:cubicBezTo>
                  <a:cubicBezTo>
                    <a:pt x="247" y="401"/>
                    <a:pt x="244" y="410"/>
                    <a:pt x="243" y="412"/>
                  </a:cubicBezTo>
                  <a:cubicBezTo>
                    <a:pt x="243" y="415"/>
                    <a:pt x="236" y="423"/>
                    <a:pt x="236" y="423"/>
                  </a:cubicBezTo>
                  <a:cubicBezTo>
                    <a:pt x="235" y="424"/>
                    <a:pt x="230" y="429"/>
                    <a:pt x="228" y="430"/>
                  </a:cubicBezTo>
                  <a:cubicBezTo>
                    <a:pt x="225" y="431"/>
                    <a:pt x="223" y="423"/>
                    <a:pt x="221" y="423"/>
                  </a:cubicBezTo>
                  <a:cubicBezTo>
                    <a:pt x="217" y="423"/>
                    <a:pt x="217" y="422"/>
                    <a:pt x="213" y="421"/>
                  </a:cubicBezTo>
                  <a:cubicBezTo>
                    <a:pt x="208" y="421"/>
                    <a:pt x="207" y="428"/>
                    <a:pt x="202" y="428"/>
                  </a:cubicBezTo>
                  <a:cubicBezTo>
                    <a:pt x="194" y="427"/>
                    <a:pt x="180" y="419"/>
                    <a:pt x="180" y="419"/>
                  </a:cubicBezTo>
                  <a:cubicBezTo>
                    <a:pt x="177" y="418"/>
                    <a:pt x="177" y="422"/>
                    <a:pt x="174" y="422"/>
                  </a:cubicBezTo>
                  <a:cubicBezTo>
                    <a:pt x="168" y="421"/>
                    <a:pt x="160" y="417"/>
                    <a:pt x="152" y="415"/>
                  </a:cubicBezTo>
                  <a:cubicBezTo>
                    <a:pt x="146" y="414"/>
                    <a:pt x="134" y="412"/>
                    <a:pt x="134" y="412"/>
                  </a:cubicBezTo>
                  <a:cubicBezTo>
                    <a:pt x="131" y="414"/>
                    <a:pt x="128" y="414"/>
                    <a:pt x="125" y="415"/>
                  </a:cubicBezTo>
                  <a:cubicBezTo>
                    <a:pt x="121" y="417"/>
                    <a:pt x="117" y="420"/>
                    <a:pt x="114" y="421"/>
                  </a:cubicBezTo>
                  <a:cubicBezTo>
                    <a:pt x="111" y="422"/>
                    <a:pt x="105" y="417"/>
                    <a:pt x="96" y="422"/>
                  </a:cubicBezTo>
                  <a:cubicBezTo>
                    <a:pt x="93" y="423"/>
                    <a:pt x="89" y="422"/>
                    <a:pt x="87" y="424"/>
                  </a:cubicBezTo>
                  <a:cubicBezTo>
                    <a:pt x="84" y="427"/>
                    <a:pt x="83" y="431"/>
                    <a:pt x="78" y="433"/>
                  </a:cubicBezTo>
                  <a:cubicBezTo>
                    <a:pt x="75" y="434"/>
                    <a:pt x="71" y="438"/>
                    <a:pt x="69" y="439"/>
                  </a:cubicBezTo>
                  <a:cubicBezTo>
                    <a:pt x="64" y="436"/>
                    <a:pt x="57" y="436"/>
                    <a:pt x="55" y="428"/>
                  </a:cubicBezTo>
                  <a:cubicBezTo>
                    <a:pt x="54" y="425"/>
                    <a:pt x="51" y="428"/>
                    <a:pt x="49" y="425"/>
                  </a:cubicBezTo>
                  <a:cubicBezTo>
                    <a:pt x="45" y="421"/>
                    <a:pt x="42" y="412"/>
                    <a:pt x="42" y="408"/>
                  </a:cubicBezTo>
                  <a:cubicBezTo>
                    <a:pt x="42" y="408"/>
                    <a:pt x="45" y="404"/>
                    <a:pt x="42" y="400"/>
                  </a:cubicBezTo>
                  <a:cubicBezTo>
                    <a:pt x="40" y="396"/>
                    <a:pt x="37" y="395"/>
                    <a:pt x="38" y="391"/>
                  </a:cubicBezTo>
                  <a:cubicBezTo>
                    <a:pt x="41" y="391"/>
                    <a:pt x="40" y="384"/>
                    <a:pt x="40" y="384"/>
                  </a:cubicBezTo>
                  <a:cubicBezTo>
                    <a:pt x="40" y="382"/>
                    <a:pt x="33" y="370"/>
                    <a:pt x="31" y="368"/>
                  </a:cubicBezTo>
                  <a:cubicBezTo>
                    <a:pt x="26" y="365"/>
                    <a:pt x="20" y="361"/>
                    <a:pt x="14" y="360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" y="348"/>
                    <a:pt x="1" y="348"/>
                    <a:pt x="1" y="348"/>
                  </a:cubicBezTo>
                  <a:cubicBezTo>
                    <a:pt x="2" y="346"/>
                    <a:pt x="2" y="346"/>
                    <a:pt x="2" y="346"/>
                  </a:cubicBezTo>
                  <a:cubicBezTo>
                    <a:pt x="1" y="344"/>
                    <a:pt x="1" y="344"/>
                    <a:pt x="1" y="344"/>
                  </a:cubicBezTo>
                  <a:cubicBezTo>
                    <a:pt x="1" y="342"/>
                    <a:pt x="1" y="342"/>
                    <a:pt x="1" y="342"/>
                  </a:cubicBezTo>
                  <a:cubicBezTo>
                    <a:pt x="1" y="339"/>
                    <a:pt x="1" y="339"/>
                    <a:pt x="1" y="339"/>
                  </a:cubicBezTo>
                  <a:cubicBezTo>
                    <a:pt x="1" y="339"/>
                    <a:pt x="0" y="337"/>
                    <a:pt x="0" y="337"/>
                  </a:cubicBezTo>
                  <a:cubicBezTo>
                    <a:pt x="0" y="337"/>
                    <a:pt x="0" y="335"/>
                    <a:pt x="0" y="335"/>
                  </a:cubicBezTo>
                  <a:cubicBezTo>
                    <a:pt x="0" y="335"/>
                    <a:pt x="2" y="334"/>
                    <a:pt x="2" y="334"/>
                  </a:cubicBezTo>
                  <a:cubicBezTo>
                    <a:pt x="2" y="333"/>
                    <a:pt x="4" y="332"/>
                    <a:pt x="4" y="332"/>
                  </a:cubicBezTo>
                  <a:cubicBezTo>
                    <a:pt x="4" y="332"/>
                    <a:pt x="5" y="329"/>
                    <a:pt x="5" y="328"/>
                  </a:cubicBezTo>
                  <a:cubicBezTo>
                    <a:pt x="5" y="328"/>
                    <a:pt x="6" y="327"/>
                    <a:pt x="6" y="327"/>
                  </a:cubicBezTo>
                  <a:cubicBezTo>
                    <a:pt x="9" y="326"/>
                    <a:pt x="9" y="326"/>
                    <a:pt x="9" y="326"/>
                  </a:cubicBezTo>
                  <a:cubicBezTo>
                    <a:pt x="11" y="324"/>
                    <a:pt x="11" y="324"/>
                    <a:pt x="11" y="324"/>
                  </a:cubicBezTo>
                  <a:cubicBezTo>
                    <a:pt x="13" y="323"/>
                    <a:pt x="13" y="323"/>
                    <a:pt x="13" y="323"/>
                  </a:cubicBezTo>
                  <a:cubicBezTo>
                    <a:pt x="15" y="321"/>
                    <a:pt x="15" y="321"/>
                    <a:pt x="15" y="321"/>
                  </a:cubicBezTo>
                  <a:cubicBezTo>
                    <a:pt x="16" y="317"/>
                    <a:pt x="16" y="317"/>
                    <a:pt x="16" y="317"/>
                  </a:cubicBezTo>
                  <a:cubicBezTo>
                    <a:pt x="17" y="316"/>
                    <a:pt x="17" y="316"/>
                    <a:pt x="17" y="316"/>
                  </a:cubicBezTo>
                  <a:cubicBezTo>
                    <a:pt x="17" y="316"/>
                    <a:pt x="20" y="316"/>
                    <a:pt x="20" y="316"/>
                  </a:cubicBezTo>
                  <a:cubicBezTo>
                    <a:pt x="20" y="316"/>
                    <a:pt x="22" y="316"/>
                    <a:pt x="22" y="316"/>
                  </a:cubicBezTo>
                  <a:cubicBezTo>
                    <a:pt x="22" y="315"/>
                    <a:pt x="22" y="315"/>
                    <a:pt x="22" y="315"/>
                  </a:cubicBezTo>
                  <a:cubicBezTo>
                    <a:pt x="24" y="314"/>
                    <a:pt x="24" y="314"/>
                    <a:pt x="24" y="314"/>
                  </a:cubicBezTo>
                  <a:cubicBezTo>
                    <a:pt x="26" y="316"/>
                    <a:pt x="26" y="316"/>
                    <a:pt x="26" y="316"/>
                  </a:cubicBezTo>
                  <a:cubicBezTo>
                    <a:pt x="26" y="316"/>
                    <a:pt x="27" y="316"/>
                    <a:pt x="28" y="316"/>
                  </a:cubicBezTo>
                  <a:cubicBezTo>
                    <a:pt x="28" y="316"/>
                    <a:pt x="29" y="316"/>
                    <a:pt x="29" y="316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33" y="309"/>
                    <a:pt x="33" y="309"/>
                    <a:pt x="33" y="309"/>
                  </a:cubicBezTo>
                  <a:cubicBezTo>
                    <a:pt x="33" y="309"/>
                    <a:pt x="33" y="308"/>
                    <a:pt x="33" y="308"/>
                  </a:cubicBezTo>
                  <a:cubicBezTo>
                    <a:pt x="33" y="308"/>
                    <a:pt x="33" y="307"/>
                    <a:pt x="33" y="307"/>
                  </a:cubicBezTo>
                  <a:cubicBezTo>
                    <a:pt x="32" y="306"/>
                    <a:pt x="31" y="307"/>
                    <a:pt x="31" y="307"/>
                  </a:cubicBezTo>
                  <a:cubicBezTo>
                    <a:pt x="31" y="307"/>
                    <a:pt x="29" y="307"/>
                    <a:pt x="29" y="307"/>
                  </a:cubicBezTo>
                  <a:cubicBezTo>
                    <a:pt x="29" y="307"/>
                    <a:pt x="27" y="307"/>
                    <a:pt x="26" y="307"/>
                  </a:cubicBezTo>
                  <a:cubicBezTo>
                    <a:pt x="26" y="307"/>
                    <a:pt x="26" y="306"/>
                    <a:pt x="26" y="306"/>
                  </a:cubicBezTo>
                  <a:cubicBezTo>
                    <a:pt x="25" y="304"/>
                    <a:pt x="25" y="304"/>
                    <a:pt x="25" y="304"/>
                  </a:cubicBezTo>
                  <a:cubicBezTo>
                    <a:pt x="25" y="304"/>
                    <a:pt x="24" y="302"/>
                    <a:pt x="24" y="301"/>
                  </a:cubicBezTo>
                  <a:cubicBezTo>
                    <a:pt x="24" y="300"/>
                    <a:pt x="24" y="299"/>
                    <a:pt x="24" y="298"/>
                  </a:cubicBezTo>
                  <a:cubicBezTo>
                    <a:pt x="24" y="298"/>
                    <a:pt x="23" y="297"/>
                    <a:pt x="23" y="297"/>
                  </a:cubicBezTo>
                  <a:cubicBezTo>
                    <a:pt x="23" y="297"/>
                    <a:pt x="22" y="296"/>
                    <a:pt x="22" y="295"/>
                  </a:cubicBezTo>
                  <a:cubicBezTo>
                    <a:pt x="22" y="295"/>
                    <a:pt x="21" y="292"/>
                    <a:pt x="21" y="292"/>
                  </a:cubicBezTo>
                  <a:cubicBezTo>
                    <a:pt x="20" y="291"/>
                    <a:pt x="20" y="291"/>
                    <a:pt x="20" y="291"/>
                  </a:cubicBezTo>
                  <a:cubicBezTo>
                    <a:pt x="21" y="290"/>
                    <a:pt x="21" y="290"/>
                    <a:pt x="21" y="290"/>
                  </a:cubicBezTo>
                  <a:cubicBezTo>
                    <a:pt x="20" y="288"/>
                    <a:pt x="20" y="288"/>
                    <a:pt x="20" y="288"/>
                  </a:cubicBezTo>
                  <a:cubicBezTo>
                    <a:pt x="22" y="288"/>
                    <a:pt x="22" y="288"/>
                    <a:pt x="22" y="288"/>
                  </a:cubicBezTo>
                  <a:cubicBezTo>
                    <a:pt x="21" y="287"/>
                    <a:pt x="21" y="287"/>
                    <a:pt x="21" y="287"/>
                  </a:cubicBezTo>
                  <a:cubicBezTo>
                    <a:pt x="22" y="285"/>
                    <a:pt x="22" y="285"/>
                    <a:pt x="22" y="285"/>
                  </a:cubicBezTo>
                  <a:cubicBezTo>
                    <a:pt x="22" y="285"/>
                    <a:pt x="24" y="284"/>
                    <a:pt x="24" y="284"/>
                  </a:cubicBezTo>
                  <a:cubicBezTo>
                    <a:pt x="24" y="284"/>
                    <a:pt x="26" y="282"/>
                    <a:pt x="26" y="282"/>
                  </a:cubicBezTo>
                  <a:cubicBezTo>
                    <a:pt x="26" y="282"/>
                    <a:pt x="25" y="281"/>
                    <a:pt x="25" y="281"/>
                  </a:cubicBezTo>
                  <a:cubicBezTo>
                    <a:pt x="25" y="281"/>
                    <a:pt x="25" y="279"/>
                    <a:pt x="25" y="279"/>
                  </a:cubicBezTo>
                  <a:cubicBezTo>
                    <a:pt x="27" y="275"/>
                    <a:pt x="27" y="275"/>
                    <a:pt x="27" y="275"/>
                  </a:cubicBezTo>
                  <a:cubicBezTo>
                    <a:pt x="28" y="275"/>
                    <a:pt x="28" y="275"/>
                    <a:pt x="28" y="275"/>
                  </a:cubicBezTo>
                  <a:cubicBezTo>
                    <a:pt x="31" y="274"/>
                    <a:pt x="31" y="274"/>
                    <a:pt x="31" y="274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3" y="273"/>
                    <a:pt x="33" y="273"/>
                    <a:pt x="33" y="273"/>
                  </a:cubicBezTo>
                  <a:cubicBezTo>
                    <a:pt x="35" y="272"/>
                    <a:pt x="35" y="272"/>
                    <a:pt x="35" y="272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8" y="270"/>
                    <a:pt x="38" y="270"/>
                    <a:pt x="38" y="270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41" y="265"/>
                    <a:pt x="41" y="265"/>
                    <a:pt x="41" y="265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2" y="260"/>
                    <a:pt x="41" y="258"/>
                    <a:pt x="41" y="257"/>
                  </a:cubicBezTo>
                  <a:cubicBezTo>
                    <a:pt x="41" y="257"/>
                    <a:pt x="40" y="257"/>
                    <a:pt x="40" y="257"/>
                  </a:cubicBezTo>
                  <a:cubicBezTo>
                    <a:pt x="38" y="258"/>
                    <a:pt x="38" y="258"/>
                    <a:pt x="38" y="258"/>
                  </a:cubicBezTo>
                  <a:cubicBezTo>
                    <a:pt x="38" y="258"/>
                    <a:pt x="37" y="257"/>
                    <a:pt x="36" y="257"/>
                  </a:cubicBezTo>
                  <a:cubicBezTo>
                    <a:pt x="36" y="257"/>
                    <a:pt x="36" y="256"/>
                    <a:pt x="36" y="256"/>
                  </a:cubicBezTo>
                  <a:cubicBezTo>
                    <a:pt x="37" y="255"/>
                    <a:pt x="37" y="255"/>
                    <a:pt x="37" y="255"/>
                  </a:cubicBezTo>
                  <a:cubicBezTo>
                    <a:pt x="37" y="253"/>
                    <a:pt x="37" y="253"/>
                    <a:pt x="37" y="253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4" y="251"/>
                    <a:pt x="34" y="251"/>
                    <a:pt x="34" y="251"/>
                  </a:cubicBezTo>
                  <a:cubicBezTo>
                    <a:pt x="33" y="249"/>
                    <a:pt x="33" y="249"/>
                    <a:pt x="33" y="249"/>
                  </a:cubicBezTo>
                  <a:cubicBezTo>
                    <a:pt x="33" y="247"/>
                    <a:pt x="33" y="247"/>
                    <a:pt x="33" y="247"/>
                  </a:cubicBezTo>
                  <a:cubicBezTo>
                    <a:pt x="34" y="246"/>
                    <a:pt x="34" y="246"/>
                    <a:pt x="34" y="246"/>
                  </a:cubicBezTo>
                  <a:cubicBezTo>
                    <a:pt x="34" y="245"/>
                    <a:pt x="34" y="245"/>
                    <a:pt x="34" y="245"/>
                  </a:cubicBezTo>
                  <a:cubicBezTo>
                    <a:pt x="33" y="244"/>
                    <a:pt x="33" y="244"/>
                    <a:pt x="33" y="244"/>
                  </a:cubicBezTo>
                  <a:cubicBezTo>
                    <a:pt x="33" y="242"/>
                    <a:pt x="33" y="242"/>
                    <a:pt x="33" y="242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3" y="239"/>
                    <a:pt x="33" y="239"/>
                    <a:pt x="33" y="239"/>
                  </a:cubicBezTo>
                  <a:cubicBezTo>
                    <a:pt x="34" y="238"/>
                    <a:pt x="34" y="238"/>
                    <a:pt x="34" y="238"/>
                  </a:cubicBezTo>
                  <a:cubicBezTo>
                    <a:pt x="34" y="236"/>
                    <a:pt x="34" y="236"/>
                    <a:pt x="34" y="236"/>
                  </a:cubicBezTo>
                  <a:cubicBezTo>
                    <a:pt x="34" y="236"/>
                    <a:pt x="32" y="235"/>
                    <a:pt x="32" y="235"/>
                  </a:cubicBezTo>
                  <a:cubicBezTo>
                    <a:pt x="32" y="235"/>
                    <a:pt x="31" y="233"/>
                    <a:pt x="31" y="233"/>
                  </a:cubicBezTo>
                  <a:cubicBezTo>
                    <a:pt x="31" y="232"/>
                    <a:pt x="31" y="232"/>
                    <a:pt x="31" y="232"/>
                  </a:cubicBezTo>
                  <a:cubicBezTo>
                    <a:pt x="31" y="232"/>
                    <a:pt x="29" y="230"/>
                    <a:pt x="29" y="230"/>
                  </a:cubicBezTo>
                  <a:cubicBezTo>
                    <a:pt x="29" y="230"/>
                    <a:pt x="29" y="228"/>
                    <a:pt x="29" y="228"/>
                  </a:cubicBezTo>
                  <a:cubicBezTo>
                    <a:pt x="29" y="228"/>
                    <a:pt x="28" y="226"/>
                    <a:pt x="28" y="226"/>
                  </a:cubicBezTo>
                  <a:cubicBezTo>
                    <a:pt x="27" y="225"/>
                    <a:pt x="27" y="224"/>
                    <a:pt x="27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32" y="226"/>
                    <a:pt x="32" y="226"/>
                    <a:pt x="32" y="226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33" y="226"/>
                    <a:pt x="33" y="226"/>
                    <a:pt x="33" y="226"/>
                  </a:cubicBezTo>
                  <a:cubicBezTo>
                    <a:pt x="35" y="226"/>
                    <a:pt x="35" y="226"/>
                    <a:pt x="35" y="226"/>
                  </a:cubicBezTo>
                  <a:cubicBezTo>
                    <a:pt x="38" y="226"/>
                    <a:pt x="38" y="226"/>
                    <a:pt x="38" y="226"/>
                  </a:cubicBezTo>
                  <a:cubicBezTo>
                    <a:pt x="40" y="226"/>
                    <a:pt x="40" y="226"/>
                    <a:pt x="40" y="226"/>
                  </a:cubicBezTo>
                  <a:cubicBezTo>
                    <a:pt x="41" y="226"/>
                    <a:pt x="41" y="226"/>
                    <a:pt x="41" y="226"/>
                  </a:cubicBezTo>
                  <a:cubicBezTo>
                    <a:pt x="41" y="226"/>
                    <a:pt x="42" y="227"/>
                    <a:pt x="42" y="227"/>
                  </a:cubicBezTo>
                  <a:cubicBezTo>
                    <a:pt x="43" y="228"/>
                    <a:pt x="44" y="227"/>
                    <a:pt x="44" y="227"/>
                  </a:cubicBezTo>
                  <a:cubicBezTo>
                    <a:pt x="44" y="228"/>
                    <a:pt x="46" y="228"/>
                    <a:pt x="46" y="228"/>
                  </a:cubicBezTo>
                  <a:cubicBezTo>
                    <a:pt x="46" y="228"/>
                    <a:pt x="47" y="227"/>
                    <a:pt x="48" y="227"/>
                  </a:cubicBezTo>
                  <a:cubicBezTo>
                    <a:pt x="48" y="227"/>
                    <a:pt x="49" y="227"/>
                    <a:pt x="49" y="227"/>
                  </a:cubicBezTo>
                  <a:cubicBezTo>
                    <a:pt x="50" y="226"/>
                    <a:pt x="50" y="226"/>
                    <a:pt x="50" y="226"/>
                  </a:cubicBezTo>
                  <a:cubicBezTo>
                    <a:pt x="50" y="224"/>
                    <a:pt x="50" y="224"/>
                    <a:pt x="50" y="224"/>
                  </a:cubicBezTo>
                  <a:cubicBezTo>
                    <a:pt x="51" y="224"/>
                    <a:pt x="51" y="224"/>
                    <a:pt x="51" y="224"/>
                  </a:cubicBezTo>
                  <a:cubicBezTo>
                    <a:pt x="51" y="223"/>
                    <a:pt x="51" y="223"/>
                    <a:pt x="51" y="223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2" y="220"/>
                    <a:pt x="52" y="220"/>
                    <a:pt x="52" y="220"/>
                  </a:cubicBezTo>
                  <a:cubicBezTo>
                    <a:pt x="54" y="220"/>
                    <a:pt x="54" y="220"/>
                    <a:pt x="54" y="220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6" y="217"/>
                    <a:pt x="56" y="217"/>
                    <a:pt x="56" y="217"/>
                  </a:cubicBezTo>
                  <a:cubicBezTo>
                    <a:pt x="57" y="215"/>
                    <a:pt x="57" y="215"/>
                    <a:pt x="57" y="215"/>
                  </a:cubicBezTo>
                  <a:cubicBezTo>
                    <a:pt x="57" y="215"/>
                    <a:pt x="58" y="213"/>
                    <a:pt x="58" y="213"/>
                  </a:cubicBezTo>
                  <a:cubicBezTo>
                    <a:pt x="58" y="213"/>
                    <a:pt x="59" y="211"/>
                    <a:pt x="59" y="211"/>
                  </a:cubicBezTo>
                  <a:cubicBezTo>
                    <a:pt x="58" y="208"/>
                    <a:pt x="58" y="208"/>
                    <a:pt x="58" y="208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6" y="204"/>
                    <a:pt x="56" y="204"/>
                    <a:pt x="56" y="204"/>
                  </a:cubicBezTo>
                  <a:cubicBezTo>
                    <a:pt x="56" y="204"/>
                    <a:pt x="56" y="203"/>
                    <a:pt x="55" y="203"/>
                  </a:cubicBezTo>
                  <a:cubicBezTo>
                    <a:pt x="55" y="203"/>
                    <a:pt x="55" y="202"/>
                    <a:pt x="55" y="202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199"/>
                    <a:pt x="56" y="199"/>
                    <a:pt x="56" y="199"/>
                  </a:cubicBezTo>
                  <a:cubicBezTo>
                    <a:pt x="57" y="199"/>
                    <a:pt x="57" y="199"/>
                    <a:pt x="57" y="199"/>
                  </a:cubicBezTo>
                  <a:cubicBezTo>
                    <a:pt x="59" y="197"/>
                    <a:pt x="59" y="197"/>
                    <a:pt x="59" y="197"/>
                  </a:cubicBezTo>
                  <a:cubicBezTo>
                    <a:pt x="60" y="197"/>
                    <a:pt x="60" y="197"/>
                    <a:pt x="60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64" y="195"/>
                    <a:pt x="64" y="195"/>
                    <a:pt x="64" y="195"/>
                  </a:cubicBezTo>
                  <a:cubicBezTo>
                    <a:pt x="65" y="195"/>
                    <a:pt x="65" y="195"/>
                    <a:pt x="65" y="195"/>
                  </a:cubicBezTo>
                  <a:cubicBezTo>
                    <a:pt x="66" y="194"/>
                    <a:pt x="66" y="194"/>
                    <a:pt x="66" y="194"/>
                  </a:cubicBezTo>
                  <a:cubicBezTo>
                    <a:pt x="67" y="192"/>
                    <a:pt x="67" y="192"/>
                    <a:pt x="67" y="192"/>
                  </a:cubicBezTo>
                  <a:cubicBezTo>
                    <a:pt x="66" y="190"/>
                    <a:pt x="66" y="190"/>
                    <a:pt x="66" y="190"/>
                  </a:cubicBezTo>
                  <a:cubicBezTo>
                    <a:pt x="65" y="189"/>
                    <a:pt x="65" y="189"/>
                    <a:pt x="65" y="189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67" y="181"/>
                    <a:pt x="67" y="181"/>
                    <a:pt x="67" y="181"/>
                  </a:cubicBezTo>
                  <a:cubicBezTo>
                    <a:pt x="68" y="179"/>
                    <a:pt x="68" y="179"/>
                    <a:pt x="68" y="179"/>
                  </a:cubicBezTo>
                  <a:cubicBezTo>
                    <a:pt x="69" y="178"/>
                    <a:pt x="69" y="178"/>
                    <a:pt x="69" y="178"/>
                  </a:cubicBezTo>
                  <a:cubicBezTo>
                    <a:pt x="69" y="178"/>
                    <a:pt x="70" y="176"/>
                    <a:pt x="70" y="175"/>
                  </a:cubicBezTo>
                  <a:cubicBezTo>
                    <a:pt x="71" y="175"/>
                    <a:pt x="71" y="172"/>
                    <a:pt x="71" y="172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69"/>
                    <a:pt x="70" y="169"/>
                    <a:pt x="70" y="169"/>
                  </a:cubicBezTo>
                  <a:cubicBezTo>
                    <a:pt x="70" y="169"/>
                    <a:pt x="72" y="168"/>
                    <a:pt x="72" y="168"/>
                  </a:cubicBezTo>
                  <a:cubicBezTo>
                    <a:pt x="73" y="168"/>
                    <a:pt x="73" y="165"/>
                    <a:pt x="73" y="165"/>
                  </a:cubicBezTo>
                  <a:cubicBezTo>
                    <a:pt x="71" y="164"/>
                    <a:pt x="71" y="164"/>
                    <a:pt x="71" y="164"/>
                  </a:cubicBezTo>
                  <a:cubicBezTo>
                    <a:pt x="71" y="164"/>
                    <a:pt x="71" y="162"/>
                    <a:pt x="71" y="161"/>
                  </a:cubicBezTo>
                  <a:cubicBezTo>
                    <a:pt x="71" y="161"/>
                    <a:pt x="71" y="159"/>
                    <a:pt x="71" y="159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3" y="157"/>
                    <a:pt x="74" y="156"/>
                    <a:pt x="75" y="156"/>
                  </a:cubicBezTo>
                  <a:cubicBezTo>
                    <a:pt x="75" y="155"/>
                    <a:pt x="77" y="155"/>
                    <a:pt x="77" y="155"/>
                  </a:cubicBezTo>
                  <a:cubicBezTo>
                    <a:pt x="78" y="152"/>
                    <a:pt x="78" y="152"/>
                    <a:pt x="78" y="152"/>
                  </a:cubicBezTo>
                  <a:cubicBezTo>
                    <a:pt x="82" y="150"/>
                    <a:pt x="82" y="150"/>
                    <a:pt x="82" y="150"/>
                  </a:cubicBezTo>
                  <a:cubicBezTo>
                    <a:pt x="82" y="149"/>
                    <a:pt x="82" y="149"/>
                    <a:pt x="82" y="149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87" y="149"/>
                    <a:pt x="87" y="149"/>
                    <a:pt x="87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2" y="146"/>
                    <a:pt x="92" y="146"/>
                    <a:pt x="92" y="146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7" y="142"/>
                    <a:pt x="97" y="142"/>
                    <a:pt x="97" y="142"/>
                  </a:cubicBezTo>
                  <a:cubicBezTo>
                    <a:pt x="98" y="142"/>
                    <a:pt x="98" y="142"/>
                    <a:pt x="98" y="142"/>
                  </a:cubicBezTo>
                  <a:cubicBezTo>
                    <a:pt x="98" y="142"/>
                    <a:pt x="100" y="141"/>
                    <a:pt x="100" y="141"/>
                  </a:cubicBezTo>
                  <a:cubicBezTo>
                    <a:pt x="100" y="141"/>
                    <a:pt x="101" y="139"/>
                    <a:pt x="101" y="139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5" y="135"/>
                    <a:pt x="105" y="135"/>
                    <a:pt x="105" y="135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5" y="130"/>
                    <a:pt x="103" y="128"/>
                    <a:pt x="102" y="128"/>
                  </a:cubicBezTo>
                  <a:cubicBezTo>
                    <a:pt x="102" y="127"/>
                    <a:pt x="100" y="126"/>
                    <a:pt x="100" y="126"/>
                  </a:cubicBezTo>
                  <a:cubicBezTo>
                    <a:pt x="100" y="126"/>
                    <a:pt x="97" y="125"/>
                    <a:pt x="97" y="125"/>
                  </a:cubicBezTo>
                  <a:cubicBezTo>
                    <a:pt x="97" y="125"/>
                    <a:pt x="95" y="126"/>
                    <a:pt x="95" y="126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3" y="123"/>
                    <a:pt x="94" y="123"/>
                  </a:cubicBezTo>
                  <a:cubicBezTo>
                    <a:pt x="94" y="123"/>
                    <a:pt x="94" y="122"/>
                    <a:pt x="94" y="122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5" y="119"/>
                    <a:pt x="96" y="118"/>
                    <a:pt x="96" y="117"/>
                  </a:cubicBezTo>
                  <a:cubicBezTo>
                    <a:pt x="96" y="117"/>
                    <a:pt x="97" y="115"/>
                    <a:pt x="97" y="115"/>
                  </a:cubicBezTo>
                  <a:cubicBezTo>
                    <a:pt x="97" y="115"/>
                    <a:pt x="96" y="114"/>
                    <a:pt x="96" y="113"/>
                  </a:cubicBezTo>
                  <a:cubicBezTo>
                    <a:pt x="95" y="113"/>
                    <a:pt x="95" y="113"/>
                    <a:pt x="96" y="112"/>
                  </a:cubicBezTo>
                  <a:cubicBezTo>
                    <a:pt x="96" y="112"/>
                    <a:pt x="96" y="111"/>
                    <a:pt x="96" y="111"/>
                  </a:cubicBezTo>
                  <a:cubicBezTo>
                    <a:pt x="96" y="111"/>
                    <a:pt x="96" y="109"/>
                    <a:pt x="95" y="109"/>
                  </a:cubicBezTo>
                  <a:cubicBezTo>
                    <a:pt x="95" y="109"/>
                    <a:pt x="93" y="110"/>
                    <a:pt x="93" y="110"/>
                  </a:cubicBezTo>
                  <a:cubicBezTo>
                    <a:pt x="93" y="110"/>
                    <a:pt x="90" y="109"/>
                    <a:pt x="90" y="109"/>
                  </a:cubicBezTo>
                  <a:cubicBezTo>
                    <a:pt x="90" y="109"/>
                    <a:pt x="89" y="108"/>
                    <a:pt x="89" y="108"/>
                  </a:cubicBezTo>
                  <a:cubicBezTo>
                    <a:pt x="89" y="108"/>
                    <a:pt x="89" y="106"/>
                    <a:pt x="88" y="106"/>
                  </a:cubicBezTo>
                  <a:cubicBezTo>
                    <a:pt x="87" y="105"/>
                    <a:pt x="87" y="106"/>
                    <a:pt x="87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4" y="108"/>
                    <a:pt x="83" y="107"/>
                  </a:cubicBezTo>
                  <a:cubicBezTo>
                    <a:pt x="83" y="107"/>
                    <a:pt x="82" y="107"/>
                    <a:pt x="82" y="107"/>
                  </a:cubicBezTo>
                  <a:cubicBezTo>
                    <a:pt x="81" y="107"/>
                    <a:pt x="81" y="106"/>
                    <a:pt x="81" y="105"/>
                  </a:cubicBezTo>
                  <a:cubicBezTo>
                    <a:pt x="80" y="104"/>
                    <a:pt x="80" y="105"/>
                    <a:pt x="79" y="105"/>
                  </a:cubicBezTo>
                  <a:cubicBezTo>
                    <a:pt x="79" y="105"/>
                    <a:pt x="77" y="105"/>
                    <a:pt x="77" y="105"/>
                  </a:cubicBezTo>
                  <a:cubicBezTo>
                    <a:pt x="77" y="105"/>
                    <a:pt x="75" y="103"/>
                    <a:pt x="75" y="103"/>
                  </a:cubicBezTo>
                  <a:cubicBezTo>
                    <a:pt x="75" y="102"/>
                    <a:pt x="74" y="102"/>
                    <a:pt x="74" y="102"/>
                  </a:cubicBezTo>
                  <a:cubicBezTo>
                    <a:pt x="74" y="102"/>
                    <a:pt x="72" y="103"/>
                    <a:pt x="72" y="103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68" y="109"/>
                    <a:pt x="65" y="109"/>
                    <a:pt x="64" y="108"/>
                  </a:cubicBezTo>
                  <a:cubicBezTo>
                    <a:pt x="64" y="108"/>
                    <a:pt x="64" y="108"/>
                    <a:pt x="63" y="108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62" y="108"/>
                    <a:pt x="60" y="109"/>
                    <a:pt x="60" y="109"/>
                  </a:cubicBezTo>
                  <a:cubicBezTo>
                    <a:pt x="60" y="109"/>
                    <a:pt x="59" y="107"/>
                    <a:pt x="59" y="107"/>
                  </a:cubicBezTo>
                  <a:cubicBezTo>
                    <a:pt x="59" y="107"/>
                    <a:pt x="57" y="106"/>
                    <a:pt x="57" y="105"/>
                  </a:cubicBezTo>
                  <a:cubicBezTo>
                    <a:pt x="57" y="105"/>
                    <a:pt x="57" y="106"/>
                    <a:pt x="57" y="106"/>
                  </a:cubicBezTo>
                  <a:cubicBezTo>
                    <a:pt x="57" y="106"/>
                    <a:pt x="56" y="107"/>
                    <a:pt x="55" y="107"/>
                  </a:cubicBezTo>
                  <a:cubicBezTo>
                    <a:pt x="55" y="107"/>
                    <a:pt x="54" y="108"/>
                    <a:pt x="54" y="108"/>
                  </a:cubicBezTo>
                  <a:cubicBezTo>
                    <a:pt x="53" y="108"/>
                    <a:pt x="54" y="106"/>
                    <a:pt x="54" y="106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52" y="103"/>
                    <a:pt x="52" y="102"/>
                  </a:cubicBezTo>
                  <a:cubicBezTo>
                    <a:pt x="51" y="102"/>
                    <a:pt x="50" y="101"/>
                    <a:pt x="50" y="101"/>
                  </a:cubicBezTo>
                  <a:cubicBezTo>
                    <a:pt x="50" y="101"/>
                    <a:pt x="48" y="101"/>
                    <a:pt x="48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5" y="101"/>
                    <a:pt x="44" y="102"/>
                  </a:cubicBezTo>
                  <a:cubicBezTo>
                    <a:pt x="44" y="102"/>
                    <a:pt x="43" y="103"/>
                    <a:pt x="42" y="102"/>
                  </a:cubicBezTo>
                  <a:cubicBezTo>
                    <a:pt x="42" y="102"/>
                    <a:pt x="43" y="100"/>
                    <a:pt x="43" y="100"/>
                  </a:cubicBezTo>
                  <a:cubicBezTo>
                    <a:pt x="43" y="100"/>
                    <a:pt x="43" y="98"/>
                    <a:pt x="43" y="98"/>
                  </a:cubicBezTo>
                  <a:cubicBezTo>
                    <a:pt x="42" y="97"/>
                    <a:pt x="42" y="99"/>
                    <a:pt x="42" y="99"/>
                  </a:cubicBezTo>
                  <a:cubicBezTo>
                    <a:pt x="42" y="99"/>
                    <a:pt x="40" y="100"/>
                    <a:pt x="39" y="101"/>
                  </a:cubicBezTo>
                  <a:cubicBezTo>
                    <a:pt x="39" y="101"/>
                    <a:pt x="38" y="101"/>
                    <a:pt x="38" y="101"/>
                  </a:cubicBezTo>
                  <a:cubicBezTo>
                    <a:pt x="37" y="101"/>
                    <a:pt x="36" y="102"/>
                    <a:pt x="34" y="102"/>
                  </a:cubicBezTo>
                  <a:cubicBezTo>
                    <a:pt x="33" y="102"/>
                    <a:pt x="32" y="103"/>
                    <a:pt x="32" y="102"/>
                  </a:cubicBezTo>
                  <a:cubicBezTo>
                    <a:pt x="31" y="102"/>
                    <a:pt x="31" y="101"/>
                    <a:pt x="31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0" y="98"/>
                    <a:pt x="30" y="97"/>
                  </a:cubicBezTo>
                  <a:cubicBezTo>
                    <a:pt x="29" y="96"/>
                    <a:pt x="30" y="96"/>
                    <a:pt x="30" y="95"/>
                  </a:cubicBezTo>
                  <a:cubicBezTo>
                    <a:pt x="30" y="95"/>
                    <a:pt x="32" y="94"/>
                    <a:pt x="32" y="94"/>
                  </a:cubicBezTo>
                  <a:cubicBezTo>
                    <a:pt x="32" y="93"/>
                    <a:pt x="33" y="93"/>
                    <a:pt x="33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89"/>
                    <a:pt x="36" y="88"/>
                  </a:cubicBezTo>
                  <a:cubicBezTo>
                    <a:pt x="36" y="88"/>
                    <a:pt x="36" y="88"/>
                    <a:pt x="35" y="88"/>
                  </a:cubicBezTo>
                  <a:cubicBezTo>
                    <a:pt x="34" y="88"/>
                    <a:pt x="34" y="87"/>
                    <a:pt x="34" y="87"/>
                  </a:cubicBezTo>
                  <a:cubicBezTo>
                    <a:pt x="34" y="87"/>
                    <a:pt x="34" y="85"/>
                    <a:pt x="34" y="85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7" y="85"/>
                    <a:pt x="26" y="85"/>
                  </a:cubicBezTo>
                  <a:cubicBezTo>
                    <a:pt x="26" y="85"/>
                    <a:pt x="24" y="85"/>
                    <a:pt x="24" y="85"/>
                  </a:cubicBezTo>
                  <a:cubicBezTo>
                    <a:pt x="23" y="85"/>
                    <a:pt x="22" y="84"/>
                    <a:pt x="22" y="84"/>
                  </a:cubicBezTo>
                  <a:cubicBezTo>
                    <a:pt x="22" y="84"/>
                    <a:pt x="18" y="85"/>
                    <a:pt x="18" y="85"/>
                  </a:cubicBezTo>
                  <a:cubicBezTo>
                    <a:pt x="18" y="85"/>
                    <a:pt x="17" y="85"/>
                    <a:pt x="17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1" y="88"/>
                    <a:pt x="11" y="88"/>
                  </a:cubicBezTo>
                  <a:cubicBezTo>
                    <a:pt x="10" y="88"/>
                    <a:pt x="9" y="88"/>
                    <a:pt x="8" y="88"/>
                  </a:cubicBezTo>
                  <a:cubicBezTo>
                    <a:pt x="8" y="88"/>
                    <a:pt x="7" y="89"/>
                    <a:pt x="7" y="89"/>
                  </a:cubicBezTo>
                  <a:cubicBezTo>
                    <a:pt x="7" y="89"/>
                    <a:pt x="5" y="90"/>
                    <a:pt x="4" y="91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59"/>
                    <a:pt x="19" y="53"/>
                    <a:pt x="18" y="50"/>
                  </a:cubicBezTo>
                  <a:cubicBezTo>
                    <a:pt x="17" y="47"/>
                    <a:pt x="6" y="56"/>
                    <a:pt x="5" y="53"/>
                  </a:cubicBezTo>
                  <a:cubicBezTo>
                    <a:pt x="4" y="47"/>
                    <a:pt x="7" y="48"/>
                    <a:pt x="12" y="43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3" y="30"/>
                    <a:pt x="3" y="27"/>
                  </a:cubicBezTo>
                  <a:cubicBezTo>
                    <a:pt x="3" y="24"/>
                    <a:pt x="6" y="23"/>
                    <a:pt x="6" y="23"/>
                  </a:cubicBezTo>
                  <a:cubicBezTo>
                    <a:pt x="9" y="22"/>
                    <a:pt x="11" y="20"/>
                    <a:pt x="14" y="18"/>
                  </a:cubicBezTo>
                  <a:cubicBezTo>
                    <a:pt x="17" y="14"/>
                    <a:pt x="20" y="16"/>
                    <a:pt x="22" y="15"/>
                  </a:cubicBezTo>
                  <a:cubicBezTo>
                    <a:pt x="25" y="13"/>
                    <a:pt x="25" y="15"/>
                    <a:pt x="35" y="17"/>
                  </a:cubicBezTo>
                  <a:cubicBezTo>
                    <a:pt x="37" y="16"/>
                    <a:pt x="41" y="16"/>
                    <a:pt x="42" y="14"/>
                  </a:cubicBezTo>
                  <a:cubicBezTo>
                    <a:pt x="44" y="12"/>
                    <a:pt x="47" y="13"/>
                    <a:pt x="47" y="9"/>
                  </a:cubicBezTo>
                  <a:cubicBezTo>
                    <a:pt x="48" y="3"/>
                    <a:pt x="59" y="7"/>
                    <a:pt x="59" y="5"/>
                  </a:cubicBezTo>
                  <a:cubicBezTo>
                    <a:pt x="61" y="5"/>
                    <a:pt x="63" y="0"/>
                    <a:pt x="68" y="0"/>
                  </a:cubicBezTo>
                  <a:cubicBezTo>
                    <a:pt x="72" y="1"/>
                    <a:pt x="73" y="2"/>
                    <a:pt x="76" y="3"/>
                  </a:cubicBezTo>
                  <a:cubicBezTo>
                    <a:pt x="87" y="10"/>
                    <a:pt x="82" y="14"/>
                    <a:pt x="95" y="18"/>
                  </a:cubicBezTo>
                  <a:cubicBezTo>
                    <a:pt x="106" y="21"/>
                    <a:pt x="119" y="24"/>
                    <a:pt x="130" y="26"/>
                  </a:cubicBezTo>
                  <a:cubicBezTo>
                    <a:pt x="140" y="27"/>
                    <a:pt x="150" y="31"/>
                    <a:pt x="160" y="35"/>
                  </a:cubicBezTo>
                  <a:cubicBezTo>
                    <a:pt x="160" y="35"/>
                    <a:pt x="197" y="52"/>
                    <a:pt x="198" y="53"/>
                  </a:cubicBezTo>
                  <a:cubicBezTo>
                    <a:pt x="199" y="53"/>
                    <a:pt x="220" y="49"/>
                    <a:pt x="221" y="49"/>
                  </a:cubicBezTo>
                  <a:cubicBezTo>
                    <a:pt x="222" y="49"/>
                    <a:pt x="229" y="50"/>
                    <a:pt x="234" y="53"/>
                  </a:cubicBezTo>
                  <a:cubicBezTo>
                    <a:pt x="237" y="56"/>
                    <a:pt x="247" y="63"/>
                    <a:pt x="247" y="63"/>
                  </a:cubicBezTo>
                  <a:cubicBezTo>
                    <a:pt x="249" y="64"/>
                    <a:pt x="261" y="62"/>
                    <a:pt x="261" y="62"/>
                  </a:cubicBezTo>
                  <a:cubicBezTo>
                    <a:pt x="269" y="62"/>
                    <a:pt x="276" y="71"/>
                    <a:pt x="280" y="72"/>
                  </a:cubicBezTo>
                  <a:cubicBezTo>
                    <a:pt x="285" y="73"/>
                    <a:pt x="297" y="67"/>
                    <a:pt x="302" y="72"/>
                  </a:cubicBezTo>
                  <a:cubicBezTo>
                    <a:pt x="302" y="72"/>
                    <a:pt x="312" y="73"/>
                    <a:pt x="313" y="78"/>
                  </a:cubicBezTo>
                  <a:cubicBezTo>
                    <a:pt x="315" y="83"/>
                    <a:pt x="319" y="91"/>
                    <a:pt x="319" y="91"/>
                  </a:cubicBezTo>
                  <a:cubicBezTo>
                    <a:pt x="332" y="96"/>
                    <a:pt x="332" y="96"/>
                    <a:pt x="332" y="96"/>
                  </a:cubicBezTo>
                  <a:cubicBezTo>
                    <a:pt x="332" y="96"/>
                    <a:pt x="339" y="102"/>
                    <a:pt x="340" y="104"/>
                  </a:cubicBezTo>
                  <a:cubicBezTo>
                    <a:pt x="341" y="105"/>
                    <a:pt x="356" y="110"/>
                    <a:pt x="356" y="110"/>
                  </a:cubicBezTo>
                  <a:cubicBezTo>
                    <a:pt x="366" y="119"/>
                    <a:pt x="366" y="119"/>
                    <a:pt x="366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91" y="121"/>
                    <a:pt x="391" y="121"/>
                    <a:pt x="391" y="121"/>
                  </a:cubicBezTo>
                  <a:cubicBezTo>
                    <a:pt x="396" y="115"/>
                    <a:pt x="396" y="115"/>
                    <a:pt x="396" y="115"/>
                  </a:cubicBezTo>
                  <a:cubicBezTo>
                    <a:pt x="396" y="115"/>
                    <a:pt x="421" y="127"/>
                    <a:pt x="422" y="127"/>
                  </a:cubicBezTo>
                  <a:cubicBezTo>
                    <a:pt x="423" y="127"/>
                    <a:pt x="423" y="130"/>
                    <a:pt x="424" y="133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3" y="134"/>
                    <a:pt x="424" y="134"/>
                    <a:pt x="424" y="134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4" y="136"/>
                    <a:pt x="424" y="136"/>
                    <a:pt x="424" y="136"/>
                  </a:cubicBezTo>
                  <a:cubicBezTo>
                    <a:pt x="424" y="137"/>
                    <a:pt x="424" y="137"/>
                    <a:pt x="424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9"/>
                  </a:cubicBezTo>
                  <a:cubicBezTo>
                    <a:pt x="424" y="139"/>
                    <a:pt x="424" y="139"/>
                    <a:pt x="424" y="139"/>
                  </a:cubicBezTo>
                  <a:cubicBezTo>
                    <a:pt x="424" y="139"/>
                    <a:pt x="424" y="139"/>
                    <a:pt x="424" y="140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6" y="141"/>
                    <a:pt x="426" y="141"/>
                  </a:cubicBezTo>
                  <a:cubicBezTo>
                    <a:pt x="426" y="141"/>
                    <a:pt x="426" y="141"/>
                    <a:pt x="427" y="141"/>
                  </a:cubicBezTo>
                  <a:cubicBezTo>
                    <a:pt x="427" y="141"/>
                    <a:pt x="427" y="141"/>
                    <a:pt x="428" y="141"/>
                  </a:cubicBezTo>
                  <a:cubicBezTo>
                    <a:pt x="428" y="141"/>
                    <a:pt x="428" y="141"/>
                    <a:pt x="428" y="141"/>
                  </a:cubicBezTo>
                  <a:cubicBezTo>
                    <a:pt x="428" y="141"/>
                    <a:pt x="429" y="141"/>
                    <a:pt x="429" y="140"/>
                  </a:cubicBezTo>
                  <a:cubicBezTo>
                    <a:pt x="442" y="143"/>
                    <a:pt x="442" y="143"/>
                    <a:pt x="442" y="143"/>
                  </a:cubicBezTo>
                  <a:cubicBezTo>
                    <a:pt x="445" y="144"/>
                    <a:pt x="445" y="146"/>
                    <a:pt x="448" y="148"/>
                  </a:cubicBezTo>
                  <a:cubicBezTo>
                    <a:pt x="456" y="145"/>
                    <a:pt x="456" y="145"/>
                    <a:pt x="456" y="145"/>
                  </a:cubicBezTo>
                  <a:cubicBezTo>
                    <a:pt x="466" y="152"/>
                    <a:pt x="466" y="152"/>
                    <a:pt x="466" y="152"/>
                  </a:cubicBezTo>
                  <a:cubicBezTo>
                    <a:pt x="475" y="149"/>
                    <a:pt x="475" y="149"/>
                    <a:pt x="475" y="149"/>
                  </a:cubicBezTo>
                  <a:cubicBezTo>
                    <a:pt x="484" y="149"/>
                    <a:pt x="484" y="149"/>
                    <a:pt x="484" y="149"/>
                  </a:cubicBezTo>
                  <a:cubicBezTo>
                    <a:pt x="484" y="147"/>
                    <a:pt x="505" y="149"/>
                    <a:pt x="496" y="159"/>
                  </a:cubicBezTo>
                  <a:close/>
                  <a:moveTo>
                    <a:pt x="506" y="281"/>
                  </a:moveTo>
                  <a:cubicBezTo>
                    <a:pt x="506" y="281"/>
                    <a:pt x="506" y="281"/>
                    <a:pt x="506" y="281"/>
                  </a:cubicBezTo>
                  <a:cubicBezTo>
                    <a:pt x="506" y="287"/>
                    <a:pt x="516" y="285"/>
                    <a:pt x="521" y="289"/>
                  </a:cubicBezTo>
                  <a:cubicBezTo>
                    <a:pt x="523" y="291"/>
                    <a:pt x="521" y="296"/>
                    <a:pt x="524" y="297"/>
                  </a:cubicBezTo>
                  <a:cubicBezTo>
                    <a:pt x="531" y="303"/>
                    <a:pt x="534" y="292"/>
                    <a:pt x="528" y="281"/>
                  </a:cubicBezTo>
                  <a:cubicBezTo>
                    <a:pt x="526" y="279"/>
                    <a:pt x="523" y="279"/>
                    <a:pt x="520" y="279"/>
                  </a:cubicBezTo>
                  <a:cubicBezTo>
                    <a:pt x="515" y="279"/>
                    <a:pt x="505" y="276"/>
                    <a:pt x="506" y="281"/>
                  </a:cubicBezTo>
                  <a:close/>
                  <a:moveTo>
                    <a:pt x="448" y="300"/>
                  </a:moveTo>
                  <a:cubicBezTo>
                    <a:pt x="448" y="300"/>
                    <a:pt x="448" y="300"/>
                    <a:pt x="448" y="300"/>
                  </a:cubicBezTo>
                  <a:cubicBezTo>
                    <a:pt x="452" y="301"/>
                    <a:pt x="456" y="297"/>
                    <a:pt x="460" y="299"/>
                  </a:cubicBezTo>
                  <a:cubicBezTo>
                    <a:pt x="462" y="301"/>
                    <a:pt x="461" y="305"/>
                    <a:pt x="462" y="308"/>
                  </a:cubicBezTo>
                  <a:cubicBezTo>
                    <a:pt x="456" y="314"/>
                    <a:pt x="472" y="313"/>
                    <a:pt x="473" y="313"/>
                  </a:cubicBezTo>
                  <a:cubicBezTo>
                    <a:pt x="473" y="315"/>
                    <a:pt x="475" y="320"/>
                    <a:pt x="478" y="318"/>
                  </a:cubicBezTo>
                  <a:cubicBezTo>
                    <a:pt x="494" y="299"/>
                    <a:pt x="494" y="299"/>
                    <a:pt x="494" y="299"/>
                  </a:cubicBezTo>
                  <a:cubicBezTo>
                    <a:pt x="494" y="297"/>
                    <a:pt x="493" y="295"/>
                    <a:pt x="491" y="295"/>
                  </a:cubicBezTo>
                  <a:cubicBezTo>
                    <a:pt x="487" y="293"/>
                    <a:pt x="482" y="297"/>
                    <a:pt x="479" y="295"/>
                  </a:cubicBezTo>
                  <a:cubicBezTo>
                    <a:pt x="476" y="293"/>
                    <a:pt x="482" y="285"/>
                    <a:pt x="478" y="282"/>
                  </a:cubicBezTo>
                  <a:cubicBezTo>
                    <a:pt x="470" y="276"/>
                    <a:pt x="467" y="283"/>
                    <a:pt x="461" y="288"/>
                  </a:cubicBezTo>
                  <a:cubicBezTo>
                    <a:pt x="457" y="291"/>
                    <a:pt x="451" y="292"/>
                    <a:pt x="447" y="296"/>
                  </a:cubicBezTo>
                  <a:cubicBezTo>
                    <a:pt x="446" y="297"/>
                    <a:pt x="447" y="300"/>
                    <a:pt x="448" y="300"/>
                  </a:cubicBezTo>
                  <a:close/>
                  <a:moveTo>
                    <a:pt x="391" y="329"/>
                  </a:moveTo>
                  <a:cubicBezTo>
                    <a:pt x="391" y="329"/>
                    <a:pt x="391" y="329"/>
                    <a:pt x="391" y="329"/>
                  </a:cubicBezTo>
                  <a:cubicBezTo>
                    <a:pt x="387" y="332"/>
                    <a:pt x="395" y="337"/>
                    <a:pt x="397" y="337"/>
                  </a:cubicBezTo>
                  <a:cubicBezTo>
                    <a:pt x="399" y="337"/>
                    <a:pt x="411" y="329"/>
                    <a:pt x="411" y="326"/>
                  </a:cubicBezTo>
                  <a:cubicBezTo>
                    <a:pt x="410" y="322"/>
                    <a:pt x="405" y="321"/>
                    <a:pt x="402" y="321"/>
                  </a:cubicBezTo>
                  <a:cubicBezTo>
                    <a:pt x="398" y="322"/>
                    <a:pt x="394" y="326"/>
                    <a:pt x="391" y="329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6" name="Freeform 146"/>
            <p:cNvSpPr>
              <a:spLocks noEditPoints="1"/>
            </p:cNvSpPr>
            <p:nvPr/>
          </p:nvSpPr>
          <p:spPr bwMode="auto">
            <a:xfrm>
              <a:off x="5979172" y="3676183"/>
              <a:ext cx="930118" cy="839550"/>
            </a:xfrm>
            <a:custGeom>
              <a:avLst/>
              <a:gdLst>
                <a:gd name="T0" fmla="*/ 263 w 408"/>
                <a:gd name="T1" fmla="*/ 27 h 380"/>
                <a:gd name="T2" fmla="*/ 184 w 408"/>
                <a:gd name="T3" fmla="*/ 62 h 380"/>
                <a:gd name="T4" fmla="*/ 187 w 408"/>
                <a:gd name="T5" fmla="*/ 95 h 380"/>
                <a:gd name="T6" fmla="*/ 179 w 408"/>
                <a:gd name="T7" fmla="*/ 109 h 380"/>
                <a:gd name="T8" fmla="*/ 168 w 408"/>
                <a:gd name="T9" fmla="*/ 118 h 380"/>
                <a:gd name="T10" fmla="*/ 128 w 408"/>
                <a:gd name="T11" fmla="*/ 89 h 380"/>
                <a:gd name="T12" fmla="*/ 141 w 408"/>
                <a:gd name="T13" fmla="*/ 145 h 380"/>
                <a:gd name="T14" fmla="*/ 138 w 408"/>
                <a:gd name="T15" fmla="*/ 166 h 380"/>
                <a:gd name="T16" fmla="*/ 152 w 408"/>
                <a:gd name="T17" fmla="*/ 191 h 380"/>
                <a:gd name="T18" fmla="*/ 154 w 408"/>
                <a:gd name="T19" fmla="*/ 172 h 380"/>
                <a:gd name="T20" fmla="*/ 214 w 408"/>
                <a:gd name="T21" fmla="*/ 210 h 380"/>
                <a:gd name="T22" fmla="*/ 187 w 408"/>
                <a:gd name="T23" fmla="*/ 202 h 380"/>
                <a:gd name="T24" fmla="*/ 199 w 408"/>
                <a:gd name="T25" fmla="*/ 234 h 380"/>
                <a:gd name="T26" fmla="*/ 164 w 408"/>
                <a:gd name="T27" fmla="*/ 233 h 380"/>
                <a:gd name="T28" fmla="*/ 133 w 408"/>
                <a:gd name="T29" fmla="*/ 212 h 380"/>
                <a:gd name="T30" fmla="*/ 67 w 408"/>
                <a:gd name="T31" fmla="*/ 211 h 380"/>
                <a:gd name="T32" fmla="*/ 71 w 408"/>
                <a:gd name="T33" fmla="*/ 194 h 380"/>
                <a:gd name="T34" fmla="*/ 29 w 408"/>
                <a:gd name="T35" fmla="*/ 157 h 380"/>
                <a:gd name="T36" fmla="*/ 89 w 408"/>
                <a:gd name="T37" fmla="*/ 68 h 380"/>
                <a:gd name="T38" fmla="*/ 195 w 408"/>
                <a:gd name="T39" fmla="*/ 33 h 380"/>
                <a:gd name="T40" fmla="*/ 184 w 408"/>
                <a:gd name="T41" fmla="*/ 157 h 380"/>
                <a:gd name="T42" fmla="*/ 353 w 408"/>
                <a:gd name="T43" fmla="*/ 252 h 380"/>
                <a:gd name="T44" fmla="*/ 393 w 408"/>
                <a:gd name="T45" fmla="*/ 297 h 380"/>
                <a:gd name="T46" fmla="*/ 373 w 408"/>
                <a:gd name="T47" fmla="*/ 331 h 380"/>
                <a:gd name="T48" fmla="*/ 370 w 408"/>
                <a:gd name="T49" fmla="*/ 333 h 380"/>
                <a:gd name="T50" fmla="*/ 174 w 408"/>
                <a:gd name="T51" fmla="*/ 162 h 380"/>
                <a:gd name="T52" fmla="*/ 262 w 408"/>
                <a:gd name="T53" fmla="*/ 176 h 380"/>
                <a:gd name="T54" fmla="*/ 205 w 408"/>
                <a:gd name="T55" fmla="*/ 72 h 380"/>
                <a:gd name="T56" fmla="*/ 233 w 408"/>
                <a:gd name="T57" fmla="*/ 105 h 380"/>
                <a:gd name="T58" fmla="*/ 281 w 408"/>
                <a:gd name="T59" fmla="*/ 146 h 380"/>
                <a:gd name="T60" fmla="*/ 277 w 408"/>
                <a:gd name="T61" fmla="*/ 131 h 380"/>
                <a:gd name="T62" fmla="*/ 288 w 408"/>
                <a:gd name="T63" fmla="*/ 180 h 380"/>
                <a:gd name="T64" fmla="*/ 288 w 408"/>
                <a:gd name="T65" fmla="*/ 190 h 380"/>
                <a:gd name="T66" fmla="*/ 315 w 408"/>
                <a:gd name="T67" fmla="*/ 213 h 380"/>
                <a:gd name="T68" fmla="*/ 279 w 408"/>
                <a:gd name="T69" fmla="*/ 292 h 380"/>
                <a:gd name="T70" fmla="*/ 239 w 408"/>
                <a:gd name="T71" fmla="*/ 288 h 380"/>
                <a:gd name="T72" fmla="*/ 255 w 408"/>
                <a:gd name="T73" fmla="*/ 287 h 380"/>
                <a:gd name="T74" fmla="*/ 274 w 408"/>
                <a:gd name="T75" fmla="*/ 259 h 380"/>
                <a:gd name="T76" fmla="*/ 267 w 408"/>
                <a:gd name="T77" fmla="*/ 256 h 380"/>
                <a:gd name="T78" fmla="*/ 244 w 408"/>
                <a:gd name="T79" fmla="*/ 271 h 380"/>
                <a:gd name="T80" fmla="*/ 219 w 408"/>
                <a:gd name="T81" fmla="*/ 239 h 380"/>
                <a:gd name="T82" fmla="*/ 245 w 408"/>
                <a:gd name="T83" fmla="*/ 240 h 380"/>
                <a:gd name="T84" fmla="*/ 270 w 408"/>
                <a:gd name="T85" fmla="*/ 236 h 380"/>
                <a:gd name="T86" fmla="*/ 245 w 408"/>
                <a:gd name="T87" fmla="*/ 222 h 380"/>
                <a:gd name="T88" fmla="*/ 221 w 408"/>
                <a:gd name="T89" fmla="*/ 357 h 380"/>
                <a:gd name="T90" fmla="*/ 282 w 408"/>
                <a:gd name="T91" fmla="*/ 356 h 380"/>
                <a:gd name="T92" fmla="*/ 335 w 408"/>
                <a:gd name="T93" fmla="*/ 353 h 380"/>
                <a:gd name="T94" fmla="*/ 260 w 408"/>
                <a:gd name="T95" fmla="*/ 372 h 380"/>
                <a:gd name="T96" fmla="*/ 172 w 408"/>
                <a:gd name="T97" fmla="*/ 319 h 380"/>
                <a:gd name="T98" fmla="*/ 87 w 408"/>
                <a:gd name="T99" fmla="*/ 238 h 380"/>
                <a:gd name="T100" fmla="*/ 107 w 408"/>
                <a:gd name="T101" fmla="*/ 292 h 380"/>
                <a:gd name="T102" fmla="*/ 138 w 408"/>
                <a:gd name="T103" fmla="*/ 298 h 380"/>
                <a:gd name="T104" fmla="*/ 163 w 408"/>
                <a:gd name="T105" fmla="*/ 298 h 380"/>
                <a:gd name="T106" fmla="*/ 174 w 408"/>
                <a:gd name="T107" fmla="*/ 293 h 380"/>
                <a:gd name="T108" fmla="*/ 169 w 408"/>
                <a:gd name="T109" fmla="*/ 263 h 380"/>
                <a:gd name="T110" fmla="*/ 178 w 408"/>
                <a:gd name="T111" fmla="*/ 247 h 380"/>
                <a:gd name="T112" fmla="*/ 115 w 408"/>
                <a:gd name="T113" fmla="*/ 223 h 380"/>
                <a:gd name="T114" fmla="*/ 66 w 408"/>
                <a:gd name="T115" fmla="*/ 265 h 380"/>
                <a:gd name="T116" fmla="*/ 65 w 408"/>
                <a:gd name="T117" fmla="*/ 242 h 380"/>
                <a:gd name="T118" fmla="*/ 11 w 408"/>
                <a:gd name="T119" fmla="*/ 161 h 380"/>
                <a:gd name="T120" fmla="*/ 11 w 408"/>
                <a:gd name="T121" fmla="*/ 15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380">
                  <a:moveTo>
                    <a:pt x="222" y="32"/>
                  </a:moveTo>
                  <a:cubicBezTo>
                    <a:pt x="227" y="30"/>
                    <a:pt x="227" y="30"/>
                    <a:pt x="227" y="30"/>
                  </a:cubicBezTo>
                  <a:cubicBezTo>
                    <a:pt x="227" y="30"/>
                    <a:pt x="233" y="28"/>
                    <a:pt x="234" y="28"/>
                  </a:cubicBezTo>
                  <a:cubicBezTo>
                    <a:pt x="235" y="28"/>
                    <a:pt x="240" y="27"/>
                    <a:pt x="241" y="26"/>
                  </a:cubicBezTo>
                  <a:cubicBezTo>
                    <a:pt x="242" y="26"/>
                    <a:pt x="245" y="24"/>
                    <a:pt x="246" y="23"/>
                  </a:cubicBezTo>
                  <a:cubicBezTo>
                    <a:pt x="247" y="23"/>
                    <a:pt x="249" y="23"/>
                    <a:pt x="251" y="21"/>
                  </a:cubicBezTo>
                  <a:cubicBezTo>
                    <a:pt x="252" y="20"/>
                    <a:pt x="253" y="17"/>
                    <a:pt x="253" y="16"/>
                  </a:cubicBezTo>
                  <a:cubicBezTo>
                    <a:pt x="253" y="15"/>
                    <a:pt x="252" y="15"/>
                    <a:pt x="251" y="12"/>
                  </a:cubicBezTo>
                  <a:cubicBezTo>
                    <a:pt x="249" y="9"/>
                    <a:pt x="247" y="7"/>
                    <a:pt x="247" y="6"/>
                  </a:cubicBezTo>
                  <a:cubicBezTo>
                    <a:pt x="246" y="4"/>
                    <a:pt x="246" y="2"/>
                    <a:pt x="247" y="2"/>
                  </a:cubicBezTo>
                  <a:cubicBezTo>
                    <a:pt x="248" y="1"/>
                    <a:pt x="251" y="0"/>
                    <a:pt x="253" y="0"/>
                  </a:cubicBezTo>
                  <a:cubicBezTo>
                    <a:pt x="255" y="1"/>
                    <a:pt x="260" y="2"/>
                    <a:pt x="261" y="2"/>
                  </a:cubicBezTo>
                  <a:cubicBezTo>
                    <a:pt x="262" y="2"/>
                    <a:pt x="267" y="5"/>
                    <a:pt x="267" y="5"/>
                  </a:cubicBezTo>
                  <a:cubicBezTo>
                    <a:pt x="267" y="5"/>
                    <a:pt x="269" y="10"/>
                    <a:pt x="269" y="11"/>
                  </a:cubicBezTo>
                  <a:cubicBezTo>
                    <a:pt x="269" y="12"/>
                    <a:pt x="274" y="18"/>
                    <a:pt x="272" y="18"/>
                  </a:cubicBezTo>
                  <a:cubicBezTo>
                    <a:pt x="271" y="18"/>
                    <a:pt x="267" y="19"/>
                    <a:pt x="267" y="19"/>
                  </a:cubicBezTo>
                  <a:cubicBezTo>
                    <a:pt x="265" y="22"/>
                    <a:pt x="265" y="22"/>
                    <a:pt x="265" y="22"/>
                  </a:cubicBezTo>
                  <a:cubicBezTo>
                    <a:pt x="265" y="22"/>
                    <a:pt x="263" y="26"/>
                    <a:pt x="263" y="27"/>
                  </a:cubicBezTo>
                  <a:cubicBezTo>
                    <a:pt x="263" y="28"/>
                    <a:pt x="262" y="33"/>
                    <a:pt x="262" y="33"/>
                  </a:cubicBezTo>
                  <a:cubicBezTo>
                    <a:pt x="267" y="44"/>
                    <a:pt x="267" y="44"/>
                    <a:pt x="267" y="44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58" y="55"/>
                    <a:pt x="258" y="55"/>
                    <a:pt x="258" y="55"/>
                  </a:cubicBezTo>
                  <a:cubicBezTo>
                    <a:pt x="258" y="55"/>
                    <a:pt x="252" y="55"/>
                    <a:pt x="252" y="54"/>
                  </a:cubicBezTo>
                  <a:cubicBezTo>
                    <a:pt x="252" y="53"/>
                    <a:pt x="248" y="51"/>
                    <a:pt x="248" y="51"/>
                  </a:cubicBezTo>
                  <a:cubicBezTo>
                    <a:pt x="248" y="51"/>
                    <a:pt x="242" y="52"/>
                    <a:pt x="241" y="53"/>
                  </a:cubicBezTo>
                  <a:cubicBezTo>
                    <a:pt x="240" y="53"/>
                    <a:pt x="226" y="54"/>
                    <a:pt x="226" y="54"/>
                  </a:cubicBezTo>
                  <a:cubicBezTo>
                    <a:pt x="226" y="54"/>
                    <a:pt x="223" y="53"/>
                    <a:pt x="222" y="53"/>
                  </a:cubicBezTo>
                  <a:cubicBezTo>
                    <a:pt x="221" y="53"/>
                    <a:pt x="216" y="53"/>
                    <a:pt x="216" y="53"/>
                  </a:cubicBezTo>
                  <a:cubicBezTo>
                    <a:pt x="215" y="49"/>
                    <a:pt x="215" y="49"/>
                    <a:pt x="215" y="49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210" y="54"/>
                    <a:pt x="210" y="54"/>
                    <a:pt x="210" y="54"/>
                  </a:cubicBezTo>
                  <a:cubicBezTo>
                    <a:pt x="205" y="57"/>
                    <a:pt x="205" y="57"/>
                    <a:pt x="205" y="57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190" y="60"/>
                    <a:pt x="190" y="60"/>
                    <a:pt x="190" y="60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7" y="71"/>
                    <a:pt x="177" y="71"/>
                    <a:pt x="177" y="71"/>
                  </a:cubicBezTo>
                  <a:cubicBezTo>
                    <a:pt x="177" y="71"/>
                    <a:pt x="171" y="73"/>
                    <a:pt x="170" y="74"/>
                  </a:cubicBezTo>
                  <a:cubicBezTo>
                    <a:pt x="170" y="74"/>
                    <a:pt x="166" y="73"/>
                    <a:pt x="166" y="73"/>
                  </a:cubicBezTo>
                  <a:cubicBezTo>
                    <a:pt x="161" y="76"/>
                    <a:pt x="161" y="76"/>
                    <a:pt x="161" y="76"/>
                  </a:cubicBezTo>
                  <a:cubicBezTo>
                    <a:pt x="160" y="79"/>
                    <a:pt x="160" y="79"/>
                    <a:pt x="160" y="79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6" y="83"/>
                    <a:pt x="166" y="83"/>
                    <a:pt x="166" y="83"/>
                  </a:cubicBezTo>
                  <a:cubicBezTo>
                    <a:pt x="166" y="83"/>
                    <a:pt x="169" y="84"/>
                    <a:pt x="169" y="85"/>
                  </a:cubicBezTo>
                  <a:cubicBezTo>
                    <a:pt x="169" y="85"/>
                    <a:pt x="168" y="87"/>
                    <a:pt x="168" y="87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71" y="93"/>
                    <a:pt x="172" y="93"/>
                  </a:cubicBezTo>
                  <a:cubicBezTo>
                    <a:pt x="172" y="93"/>
                    <a:pt x="175" y="91"/>
                    <a:pt x="175" y="91"/>
                  </a:cubicBezTo>
                  <a:cubicBezTo>
                    <a:pt x="175" y="90"/>
                    <a:pt x="176" y="89"/>
                    <a:pt x="176" y="89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8" y="91"/>
                    <a:pt x="179" y="93"/>
                    <a:pt x="180" y="93"/>
                  </a:cubicBezTo>
                  <a:cubicBezTo>
                    <a:pt x="180" y="93"/>
                    <a:pt x="183" y="93"/>
                    <a:pt x="183" y="9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92" y="99"/>
                    <a:pt x="192" y="99"/>
                    <a:pt x="192" y="99"/>
                  </a:cubicBezTo>
                  <a:cubicBezTo>
                    <a:pt x="192" y="99"/>
                    <a:pt x="196" y="101"/>
                    <a:pt x="195" y="102"/>
                  </a:cubicBezTo>
                  <a:cubicBezTo>
                    <a:pt x="193" y="103"/>
                    <a:pt x="191" y="104"/>
                    <a:pt x="190" y="104"/>
                  </a:cubicBezTo>
                  <a:cubicBezTo>
                    <a:pt x="190" y="104"/>
                    <a:pt x="188" y="103"/>
                    <a:pt x="188" y="102"/>
                  </a:cubicBezTo>
                  <a:cubicBezTo>
                    <a:pt x="188" y="100"/>
                    <a:pt x="187" y="99"/>
                    <a:pt x="186" y="99"/>
                  </a:cubicBezTo>
                  <a:cubicBezTo>
                    <a:pt x="185" y="99"/>
                    <a:pt x="183" y="97"/>
                    <a:pt x="183" y="97"/>
                  </a:cubicBezTo>
                  <a:cubicBezTo>
                    <a:pt x="182" y="97"/>
                    <a:pt x="180" y="97"/>
                    <a:pt x="179" y="98"/>
                  </a:cubicBezTo>
                  <a:cubicBezTo>
                    <a:pt x="178" y="98"/>
                    <a:pt x="176" y="98"/>
                    <a:pt x="176" y="97"/>
                  </a:cubicBezTo>
                  <a:cubicBezTo>
                    <a:pt x="175" y="97"/>
                    <a:pt x="174" y="94"/>
                    <a:pt x="174" y="94"/>
                  </a:cubicBezTo>
                  <a:cubicBezTo>
                    <a:pt x="169" y="93"/>
                    <a:pt x="169" y="93"/>
                    <a:pt x="169" y="93"/>
                  </a:cubicBezTo>
                  <a:cubicBezTo>
                    <a:pt x="169" y="93"/>
                    <a:pt x="168" y="94"/>
                    <a:pt x="168" y="95"/>
                  </a:cubicBezTo>
                  <a:cubicBezTo>
                    <a:pt x="168" y="95"/>
                    <a:pt x="166" y="97"/>
                    <a:pt x="166" y="97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71" y="105"/>
                    <a:pt x="171" y="105"/>
                    <a:pt x="171" y="105"/>
                  </a:cubicBezTo>
                  <a:cubicBezTo>
                    <a:pt x="171" y="105"/>
                    <a:pt x="176" y="106"/>
                    <a:pt x="176" y="106"/>
                  </a:cubicBezTo>
                  <a:cubicBezTo>
                    <a:pt x="177" y="106"/>
                    <a:pt x="179" y="109"/>
                    <a:pt x="179" y="109"/>
                  </a:cubicBezTo>
                  <a:cubicBezTo>
                    <a:pt x="179" y="112"/>
                    <a:pt x="179" y="112"/>
                    <a:pt x="179" y="112"/>
                  </a:cubicBezTo>
                  <a:cubicBezTo>
                    <a:pt x="178" y="115"/>
                    <a:pt x="178" y="115"/>
                    <a:pt x="178" y="115"/>
                  </a:cubicBezTo>
                  <a:cubicBezTo>
                    <a:pt x="178" y="115"/>
                    <a:pt x="178" y="117"/>
                    <a:pt x="176" y="116"/>
                  </a:cubicBezTo>
                  <a:cubicBezTo>
                    <a:pt x="174" y="115"/>
                    <a:pt x="173" y="114"/>
                    <a:pt x="173" y="114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69" y="109"/>
                    <a:pt x="169" y="109"/>
                    <a:pt x="169" y="109"/>
                  </a:cubicBezTo>
                  <a:cubicBezTo>
                    <a:pt x="169" y="109"/>
                    <a:pt x="167" y="107"/>
                    <a:pt x="167" y="107"/>
                  </a:cubicBezTo>
                  <a:cubicBezTo>
                    <a:pt x="166" y="107"/>
                    <a:pt x="161" y="104"/>
                    <a:pt x="161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1" y="104"/>
                    <a:pt x="151" y="104"/>
                    <a:pt x="151" y="104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50" y="107"/>
                    <a:pt x="150" y="109"/>
                    <a:pt x="151" y="109"/>
                  </a:cubicBezTo>
                  <a:cubicBezTo>
                    <a:pt x="151" y="110"/>
                    <a:pt x="154" y="112"/>
                    <a:pt x="154" y="112"/>
                  </a:cubicBezTo>
                  <a:cubicBezTo>
                    <a:pt x="154" y="112"/>
                    <a:pt x="156" y="112"/>
                    <a:pt x="156" y="113"/>
                  </a:cubicBezTo>
                  <a:cubicBezTo>
                    <a:pt x="157" y="114"/>
                    <a:pt x="159" y="116"/>
                    <a:pt x="159" y="116"/>
                  </a:cubicBezTo>
                  <a:cubicBezTo>
                    <a:pt x="159" y="116"/>
                    <a:pt x="160" y="116"/>
                    <a:pt x="161" y="116"/>
                  </a:cubicBezTo>
                  <a:cubicBezTo>
                    <a:pt x="163" y="116"/>
                    <a:pt x="165" y="117"/>
                    <a:pt x="165" y="117"/>
                  </a:cubicBezTo>
                  <a:cubicBezTo>
                    <a:pt x="168" y="118"/>
                    <a:pt x="168" y="118"/>
                    <a:pt x="168" y="118"/>
                  </a:cubicBezTo>
                  <a:cubicBezTo>
                    <a:pt x="169" y="119"/>
                    <a:pt x="169" y="119"/>
                    <a:pt x="169" y="119"/>
                  </a:cubicBezTo>
                  <a:cubicBezTo>
                    <a:pt x="169" y="119"/>
                    <a:pt x="166" y="120"/>
                    <a:pt x="165" y="120"/>
                  </a:cubicBezTo>
                  <a:cubicBezTo>
                    <a:pt x="164" y="121"/>
                    <a:pt x="161" y="121"/>
                    <a:pt x="161" y="121"/>
                  </a:cubicBezTo>
                  <a:cubicBezTo>
                    <a:pt x="161" y="121"/>
                    <a:pt x="159" y="119"/>
                    <a:pt x="158" y="119"/>
                  </a:cubicBezTo>
                  <a:cubicBezTo>
                    <a:pt x="158" y="119"/>
                    <a:pt x="155" y="120"/>
                    <a:pt x="155" y="120"/>
                  </a:cubicBezTo>
                  <a:cubicBezTo>
                    <a:pt x="155" y="120"/>
                    <a:pt x="153" y="122"/>
                    <a:pt x="152" y="120"/>
                  </a:cubicBezTo>
                  <a:cubicBezTo>
                    <a:pt x="151" y="118"/>
                    <a:pt x="150" y="116"/>
                    <a:pt x="150" y="116"/>
                  </a:cubicBezTo>
                  <a:cubicBezTo>
                    <a:pt x="150" y="114"/>
                    <a:pt x="150" y="114"/>
                    <a:pt x="150" y="114"/>
                  </a:cubicBezTo>
                  <a:cubicBezTo>
                    <a:pt x="150" y="111"/>
                    <a:pt x="150" y="111"/>
                    <a:pt x="150" y="111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7" y="97"/>
                    <a:pt x="127" y="97"/>
                    <a:pt x="127" y="97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30" y="91"/>
                    <a:pt x="130" y="91"/>
                    <a:pt x="130" y="9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9"/>
                    <a:pt x="119" y="109"/>
                    <a:pt x="119" y="109"/>
                  </a:cubicBezTo>
                  <a:cubicBezTo>
                    <a:pt x="119" y="109"/>
                    <a:pt x="118" y="114"/>
                    <a:pt x="119" y="115"/>
                  </a:cubicBezTo>
                  <a:cubicBezTo>
                    <a:pt x="119" y="115"/>
                    <a:pt x="118" y="118"/>
                    <a:pt x="118" y="120"/>
                  </a:cubicBezTo>
                  <a:cubicBezTo>
                    <a:pt x="119" y="121"/>
                    <a:pt x="119" y="122"/>
                    <a:pt x="121" y="123"/>
                  </a:cubicBezTo>
                  <a:cubicBezTo>
                    <a:pt x="122" y="124"/>
                    <a:pt x="122" y="124"/>
                    <a:pt x="124" y="125"/>
                  </a:cubicBezTo>
                  <a:cubicBezTo>
                    <a:pt x="126" y="126"/>
                    <a:pt x="127" y="127"/>
                    <a:pt x="127" y="127"/>
                  </a:cubicBezTo>
                  <a:cubicBezTo>
                    <a:pt x="129" y="131"/>
                    <a:pt x="129" y="131"/>
                    <a:pt x="129" y="131"/>
                  </a:cubicBezTo>
                  <a:cubicBezTo>
                    <a:pt x="129" y="131"/>
                    <a:pt x="130" y="132"/>
                    <a:pt x="131" y="132"/>
                  </a:cubicBezTo>
                  <a:cubicBezTo>
                    <a:pt x="132" y="133"/>
                    <a:pt x="135" y="134"/>
                    <a:pt x="135" y="135"/>
                  </a:cubicBezTo>
                  <a:cubicBezTo>
                    <a:pt x="135" y="137"/>
                    <a:pt x="136" y="139"/>
                    <a:pt x="136" y="139"/>
                  </a:cubicBezTo>
                  <a:cubicBezTo>
                    <a:pt x="136" y="139"/>
                    <a:pt x="137" y="141"/>
                    <a:pt x="137" y="141"/>
                  </a:cubicBezTo>
                  <a:cubicBezTo>
                    <a:pt x="138" y="142"/>
                    <a:pt x="139" y="141"/>
                    <a:pt x="139" y="142"/>
                  </a:cubicBezTo>
                  <a:cubicBezTo>
                    <a:pt x="140" y="143"/>
                    <a:pt x="139" y="144"/>
                    <a:pt x="141" y="145"/>
                  </a:cubicBezTo>
                  <a:cubicBezTo>
                    <a:pt x="142" y="147"/>
                    <a:pt x="144" y="148"/>
                    <a:pt x="144" y="148"/>
                  </a:cubicBezTo>
                  <a:cubicBezTo>
                    <a:pt x="145" y="148"/>
                    <a:pt x="147" y="149"/>
                    <a:pt x="147" y="149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7" y="158"/>
                    <a:pt x="157" y="158"/>
                    <a:pt x="157" y="158"/>
                  </a:cubicBezTo>
                  <a:cubicBezTo>
                    <a:pt x="160" y="161"/>
                    <a:pt x="160" y="161"/>
                    <a:pt x="160" y="161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58" y="167"/>
                    <a:pt x="156" y="168"/>
                    <a:pt x="155" y="168"/>
                  </a:cubicBezTo>
                  <a:cubicBezTo>
                    <a:pt x="155" y="168"/>
                    <a:pt x="153" y="169"/>
                    <a:pt x="153" y="169"/>
                  </a:cubicBezTo>
                  <a:cubicBezTo>
                    <a:pt x="153" y="169"/>
                    <a:pt x="152" y="168"/>
                    <a:pt x="152" y="168"/>
                  </a:cubicBezTo>
                  <a:cubicBezTo>
                    <a:pt x="153" y="167"/>
                    <a:pt x="156" y="166"/>
                    <a:pt x="156" y="166"/>
                  </a:cubicBezTo>
                  <a:cubicBezTo>
                    <a:pt x="156" y="166"/>
                    <a:pt x="156" y="163"/>
                    <a:pt x="155" y="163"/>
                  </a:cubicBezTo>
                  <a:cubicBezTo>
                    <a:pt x="154" y="162"/>
                    <a:pt x="151" y="160"/>
                    <a:pt x="151" y="160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8"/>
                    <a:pt x="144" y="158"/>
                    <a:pt x="144" y="159"/>
                  </a:cubicBezTo>
                  <a:cubicBezTo>
                    <a:pt x="143" y="160"/>
                    <a:pt x="140" y="162"/>
                    <a:pt x="140" y="162"/>
                  </a:cubicBezTo>
                  <a:cubicBezTo>
                    <a:pt x="138" y="166"/>
                    <a:pt x="138" y="166"/>
                    <a:pt x="138" y="166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43" y="167"/>
                    <a:pt x="145" y="169"/>
                    <a:pt x="145" y="169"/>
                  </a:cubicBezTo>
                  <a:cubicBezTo>
                    <a:pt x="145" y="170"/>
                    <a:pt x="147" y="172"/>
                    <a:pt x="147" y="172"/>
                  </a:cubicBezTo>
                  <a:cubicBezTo>
                    <a:pt x="149" y="173"/>
                    <a:pt x="149" y="173"/>
                    <a:pt x="149" y="173"/>
                  </a:cubicBezTo>
                  <a:cubicBezTo>
                    <a:pt x="149" y="175"/>
                    <a:pt x="149" y="175"/>
                    <a:pt x="149" y="175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45" y="182"/>
                    <a:pt x="145" y="182"/>
                    <a:pt x="145" y="182"/>
                  </a:cubicBezTo>
                  <a:cubicBezTo>
                    <a:pt x="145" y="182"/>
                    <a:pt x="143" y="183"/>
                    <a:pt x="143" y="183"/>
                  </a:cubicBezTo>
                  <a:cubicBezTo>
                    <a:pt x="142" y="183"/>
                    <a:pt x="140" y="185"/>
                    <a:pt x="140" y="185"/>
                  </a:cubicBezTo>
                  <a:cubicBezTo>
                    <a:pt x="140" y="185"/>
                    <a:pt x="139" y="185"/>
                    <a:pt x="139" y="185"/>
                  </a:cubicBezTo>
                  <a:cubicBezTo>
                    <a:pt x="138" y="185"/>
                    <a:pt x="136" y="184"/>
                    <a:pt x="135" y="184"/>
                  </a:cubicBezTo>
                  <a:cubicBezTo>
                    <a:pt x="135" y="184"/>
                    <a:pt x="133" y="185"/>
                    <a:pt x="133" y="185"/>
                  </a:cubicBezTo>
                  <a:cubicBezTo>
                    <a:pt x="133" y="185"/>
                    <a:pt x="130" y="187"/>
                    <a:pt x="134" y="188"/>
                  </a:cubicBezTo>
                  <a:cubicBezTo>
                    <a:pt x="138" y="188"/>
                    <a:pt x="139" y="188"/>
                    <a:pt x="140" y="188"/>
                  </a:cubicBezTo>
                  <a:cubicBezTo>
                    <a:pt x="140" y="188"/>
                    <a:pt x="144" y="188"/>
                    <a:pt x="144" y="188"/>
                  </a:cubicBezTo>
                  <a:cubicBezTo>
                    <a:pt x="144" y="188"/>
                    <a:pt x="145" y="188"/>
                    <a:pt x="146" y="189"/>
                  </a:cubicBezTo>
                  <a:cubicBezTo>
                    <a:pt x="148" y="189"/>
                    <a:pt x="149" y="189"/>
                    <a:pt x="150" y="190"/>
                  </a:cubicBezTo>
                  <a:cubicBezTo>
                    <a:pt x="151" y="190"/>
                    <a:pt x="152" y="191"/>
                    <a:pt x="152" y="191"/>
                  </a:cubicBezTo>
                  <a:cubicBezTo>
                    <a:pt x="152" y="192"/>
                    <a:pt x="152" y="192"/>
                    <a:pt x="153" y="192"/>
                  </a:cubicBezTo>
                  <a:cubicBezTo>
                    <a:pt x="154" y="192"/>
                    <a:pt x="155" y="193"/>
                    <a:pt x="155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6" y="193"/>
                    <a:pt x="157" y="193"/>
                    <a:pt x="158" y="193"/>
                  </a:cubicBezTo>
                  <a:cubicBezTo>
                    <a:pt x="159" y="193"/>
                    <a:pt x="159" y="192"/>
                    <a:pt x="160" y="192"/>
                  </a:cubicBezTo>
                  <a:cubicBezTo>
                    <a:pt x="161" y="192"/>
                    <a:pt x="164" y="192"/>
                    <a:pt x="164" y="192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6" y="196"/>
                    <a:pt x="166" y="197"/>
                    <a:pt x="167" y="197"/>
                  </a:cubicBezTo>
                  <a:cubicBezTo>
                    <a:pt x="167" y="198"/>
                    <a:pt x="169" y="199"/>
                    <a:pt x="170" y="199"/>
                  </a:cubicBezTo>
                  <a:cubicBezTo>
                    <a:pt x="171" y="199"/>
                    <a:pt x="179" y="197"/>
                    <a:pt x="179" y="197"/>
                  </a:cubicBezTo>
                  <a:cubicBezTo>
                    <a:pt x="175" y="194"/>
                    <a:pt x="175" y="194"/>
                    <a:pt x="175" y="194"/>
                  </a:cubicBezTo>
                  <a:cubicBezTo>
                    <a:pt x="175" y="194"/>
                    <a:pt x="173" y="192"/>
                    <a:pt x="172" y="191"/>
                  </a:cubicBezTo>
                  <a:cubicBezTo>
                    <a:pt x="172" y="190"/>
                    <a:pt x="167" y="187"/>
                    <a:pt x="167" y="187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56" y="183"/>
                    <a:pt x="156" y="183"/>
                    <a:pt x="156" y="183"/>
                  </a:cubicBezTo>
                  <a:cubicBezTo>
                    <a:pt x="150" y="181"/>
                    <a:pt x="150" y="181"/>
                    <a:pt x="150" y="181"/>
                  </a:cubicBezTo>
                  <a:cubicBezTo>
                    <a:pt x="150" y="181"/>
                    <a:pt x="152" y="177"/>
                    <a:pt x="153" y="176"/>
                  </a:cubicBezTo>
                  <a:cubicBezTo>
                    <a:pt x="153" y="175"/>
                    <a:pt x="153" y="172"/>
                    <a:pt x="154" y="172"/>
                  </a:cubicBezTo>
                  <a:cubicBezTo>
                    <a:pt x="155" y="173"/>
                    <a:pt x="157" y="173"/>
                    <a:pt x="158" y="173"/>
                  </a:cubicBezTo>
                  <a:cubicBezTo>
                    <a:pt x="159" y="173"/>
                    <a:pt x="161" y="172"/>
                    <a:pt x="162" y="172"/>
                  </a:cubicBezTo>
                  <a:cubicBezTo>
                    <a:pt x="163" y="172"/>
                    <a:pt x="165" y="173"/>
                    <a:pt x="165" y="173"/>
                  </a:cubicBezTo>
                  <a:cubicBezTo>
                    <a:pt x="165" y="173"/>
                    <a:pt x="166" y="175"/>
                    <a:pt x="166" y="176"/>
                  </a:cubicBezTo>
                  <a:cubicBezTo>
                    <a:pt x="167" y="176"/>
                    <a:pt x="167" y="178"/>
                    <a:pt x="168" y="179"/>
                  </a:cubicBezTo>
                  <a:cubicBezTo>
                    <a:pt x="169" y="179"/>
                    <a:pt x="174" y="181"/>
                    <a:pt x="174" y="181"/>
                  </a:cubicBezTo>
                  <a:cubicBezTo>
                    <a:pt x="174" y="181"/>
                    <a:pt x="180" y="183"/>
                    <a:pt x="180" y="183"/>
                  </a:cubicBezTo>
                  <a:cubicBezTo>
                    <a:pt x="181" y="183"/>
                    <a:pt x="183" y="183"/>
                    <a:pt x="183" y="183"/>
                  </a:cubicBezTo>
                  <a:cubicBezTo>
                    <a:pt x="186" y="186"/>
                    <a:pt x="186" y="186"/>
                    <a:pt x="186" y="186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98" y="184"/>
                    <a:pt x="198" y="184"/>
                    <a:pt x="198" y="184"/>
                  </a:cubicBezTo>
                  <a:cubicBezTo>
                    <a:pt x="199" y="186"/>
                    <a:pt x="199" y="186"/>
                    <a:pt x="199" y="186"/>
                  </a:cubicBezTo>
                  <a:cubicBezTo>
                    <a:pt x="199" y="186"/>
                    <a:pt x="202" y="188"/>
                    <a:pt x="202" y="188"/>
                  </a:cubicBezTo>
                  <a:cubicBezTo>
                    <a:pt x="202" y="189"/>
                    <a:pt x="204" y="193"/>
                    <a:pt x="204" y="193"/>
                  </a:cubicBezTo>
                  <a:cubicBezTo>
                    <a:pt x="204" y="193"/>
                    <a:pt x="204" y="196"/>
                    <a:pt x="204" y="196"/>
                  </a:cubicBezTo>
                  <a:cubicBezTo>
                    <a:pt x="204" y="197"/>
                    <a:pt x="206" y="201"/>
                    <a:pt x="206" y="201"/>
                  </a:cubicBezTo>
                  <a:cubicBezTo>
                    <a:pt x="207" y="202"/>
                    <a:pt x="211" y="206"/>
                    <a:pt x="211" y="207"/>
                  </a:cubicBezTo>
                  <a:cubicBezTo>
                    <a:pt x="211" y="207"/>
                    <a:pt x="213" y="210"/>
                    <a:pt x="214" y="210"/>
                  </a:cubicBezTo>
                  <a:cubicBezTo>
                    <a:pt x="214" y="210"/>
                    <a:pt x="215" y="209"/>
                    <a:pt x="215" y="209"/>
                  </a:cubicBezTo>
                  <a:cubicBezTo>
                    <a:pt x="216" y="209"/>
                    <a:pt x="219" y="207"/>
                    <a:pt x="219" y="207"/>
                  </a:cubicBezTo>
                  <a:cubicBezTo>
                    <a:pt x="219" y="207"/>
                    <a:pt x="222" y="207"/>
                    <a:pt x="222" y="208"/>
                  </a:cubicBezTo>
                  <a:cubicBezTo>
                    <a:pt x="222" y="209"/>
                    <a:pt x="226" y="212"/>
                    <a:pt x="226" y="212"/>
                  </a:cubicBezTo>
                  <a:cubicBezTo>
                    <a:pt x="226" y="212"/>
                    <a:pt x="227" y="216"/>
                    <a:pt x="227" y="216"/>
                  </a:cubicBezTo>
                  <a:cubicBezTo>
                    <a:pt x="226" y="217"/>
                    <a:pt x="223" y="218"/>
                    <a:pt x="223" y="219"/>
                  </a:cubicBezTo>
                  <a:cubicBezTo>
                    <a:pt x="222" y="219"/>
                    <a:pt x="219" y="219"/>
                    <a:pt x="219" y="219"/>
                  </a:cubicBezTo>
                  <a:cubicBezTo>
                    <a:pt x="218" y="220"/>
                    <a:pt x="214" y="221"/>
                    <a:pt x="214" y="221"/>
                  </a:cubicBezTo>
                  <a:cubicBezTo>
                    <a:pt x="214" y="217"/>
                    <a:pt x="214" y="217"/>
                    <a:pt x="214" y="217"/>
                  </a:cubicBezTo>
                  <a:cubicBezTo>
                    <a:pt x="214" y="217"/>
                    <a:pt x="214" y="216"/>
                    <a:pt x="213" y="216"/>
                  </a:cubicBezTo>
                  <a:cubicBezTo>
                    <a:pt x="213" y="216"/>
                    <a:pt x="207" y="214"/>
                    <a:pt x="207" y="214"/>
                  </a:cubicBezTo>
                  <a:cubicBezTo>
                    <a:pt x="206" y="209"/>
                    <a:pt x="206" y="209"/>
                    <a:pt x="206" y="209"/>
                  </a:cubicBezTo>
                  <a:cubicBezTo>
                    <a:pt x="203" y="206"/>
                    <a:pt x="203" y="206"/>
                    <a:pt x="203" y="20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4" y="201"/>
                    <a:pt x="194" y="201"/>
                    <a:pt x="194" y="201"/>
                  </a:cubicBezTo>
                  <a:cubicBezTo>
                    <a:pt x="194" y="201"/>
                    <a:pt x="192" y="202"/>
                    <a:pt x="192" y="202"/>
                  </a:cubicBezTo>
                  <a:cubicBezTo>
                    <a:pt x="191" y="203"/>
                    <a:pt x="187" y="202"/>
                    <a:pt x="187" y="202"/>
                  </a:cubicBezTo>
                  <a:cubicBezTo>
                    <a:pt x="184" y="203"/>
                    <a:pt x="184" y="203"/>
                    <a:pt x="184" y="203"/>
                  </a:cubicBezTo>
                  <a:cubicBezTo>
                    <a:pt x="184" y="205"/>
                    <a:pt x="184" y="205"/>
                    <a:pt x="184" y="205"/>
                  </a:cubicBezTo>
                  <a:cubicBezTo>
                    <a:pt x="189" y="205"/>
                    <a:pt x="189" y="205"/>
                    <a:pt x="189" y="205"/>
                  </a:cubicBezTo>
                  <a:cubicBezTo>
                    <a:pt x="193" y="206"/>
                    <a:pt x="193" y="206"/>
                    <a:pt x="193" y="206"/>
                  </a:cubicBezTo>
                  <a:cubicBezTo>
                    <a:pt x="199" y="207"/>
                    <a:pt x="199" y="207"/>
                    <a:pt x="199" y="207"/>
                  </a:cubicBezTo>
                  <a:cubicBezTo>
                    <a:pt x="199" y="211"/>
                    <a:pt x="199" y="211"/>
                    <a:pt x="199" y="211"/>
                  </a:cubicBezTo>
                  <a:cubicBezTo>
                    <a:pt x="199" y="211"/>
                    <a:pt x="200" y="213"/>
                    <a:pt x="200" y="214"/>
                  </a:cubicBezTo>
                  <a:cubicBezTo>
                    <a:pt x="200" y="215"/>
                    <a:pt x="202" y="219"/>
                    <a:pt x="202" y="219"/>
                  </a:cubicBezTo>
                  <a:cubicBezTo>
                    <a:pt x="204" y="225"/>
                    <a:pt x="204" y="225"/>
                    <a:pt x="204" y="225"/>
                  </a:cubicBezTo>
                  <a:cubicBezTo>
                    <a:pt x="206" y="229"/>
                    <a:pt x="206" y="229"/>
                    <a:pt x="206" y="229"/>
                  </a:cubicBezTo>
                  <a:cubicBezTo>
                    <a:pt x="208" y="230"/>
                    <a:pt x="208" y="230"/>
                    <a:pt x="208" y="230"/>
                  </a:cubicBezTo>
                  <a:cubicBezTo>
                    <a:pt x="208" y="234"/>
                    <a:pt x="208" y="234"/>
                    <a:pt x="208" y="234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0" y="235"/>
                    <a:pt x="209" y="236"/>
                    <a:pt x="209" y="237"/>
                  </a:cubicBezTo>
                  <a:cubicBezTo>
                    <a:pt x="209" y="237"/>
                    <a:pt x="207" y="240"/>
                    <a:pt x="207" y="240"/>
                  </a:cubicBezTo>
                  <a:cubicBezTo>
                    <a:pt x="207" y="240"/>
                    <a:pt x="205" y="240"/>
                    <a:pt x="204" y="240"/>
                  </a:cubicBezTo>
                  <a:cubicBezTo>
                    <a:pt x="204" y="239"/>
                    <a:pt x="203" y="237"/>
                    <a:pt x="202" y="237"/>
                  </a:cubicBezTo>
                  <a:cubicBezTo>
                    <a:pt x="200" y="236"/>
                    <a:pt x="200" y="234"/>
                    <a:pt x="199" y="234"/>
                  </a:cubicBezTo>
                  <a:cubicBezTo>
                    <a:pt x="198" y="234"/>
                    <a:pt x="195" y="234"/>
                    <a:pt x="195" y="234"/>
                  </a:cubicBezTo>
                  <a:cubicBezTo>
                    <a:pt x="195" y="234"/>
                    <a:pt x="193" y="231"/>
                    <a:pt x="192" y="230"/>
                  </a:cubicBezTo>
                  <a:cubicBezTo>
                    <a:pt x="192" y="230"/>
                    <a:pt x="191" y="229"/>
                    <a:pt x="190" y="228"/>
                  </a:cubicBezTo>
                  <a:cubicBezTo>
                    <a:pt x="189" y="227"/>
                    <a:pt x="187" y="224"/>
                    <a:pt x="187" y="225"/>
                  </a:cubicBezTo>
                  <a:cubicBezTo>
                    <a:pt x="187" y="227"/>
                    <a:pt x="188" y="229"/>
                    <a:pt x="187" y="229"/>
                  </a:cubicBezTo>
                  <a:cubicBezTo>
                    <a:pt x="185" y="229"/>
                    <a:pt x="184" y="229"/>
                    <a:pt x="184" y="229"/>
                  </a:cubicBezTo>
                  <a:cubicBezTo>
                    <a:pt x="184" y="229"/>
                    <a:pt x="182" y="231"/>
                    <a:pt x="181" y="232"/>
                  </a:cubicBezTo>
                  <a:cubicBezTo>
                    <a:pt x="181" y="232"/>
                    <a:pt x="182" y="232"/>
                    <a:pt x="180" y="233"/>
                  </a:cubicBezTo>
                  <a:cubicBezTo>
                    <a:pt x="179" y="233"/>
                    <a:pt x="177" y="233"/>
                    <a:pt x="177" y="233"/>
                  </a:cubicBezTo>
                  <a:cubicBezTo>
                    <a:pt x="177" y="232"/>
                    <a:pt x="177" y="232"/>
                    <a:pt x="177" y="231"/>
                  </a:cubicBezTo>
                  <a:cubicBezTo>
                    <a:pt x="178" y="230"/>
                    <a:pt x="184" y="227"/>
                    <a:pt x="184" y="227"/>
                  </a:cubicBezTo>
                  <a:cubicBezTo>
                    <a:pt x="184" y="226"/>
                    <a:pt x="182" y="223"/>
                    <a:pt x="182" y="223"/>
                  </a:cubicBezTo>
                  <a:cubicBezTo>
                    <a:pt x="181" y="224"/>
                    <a:pt x="181" y="224"/>
                    <a:pt x="181" y="224"/>
                  </a:cubicBezTo>
                  <a:cubicBezTo>
                    <a:pt x="178" y="226"/>
                    <a:pt x="178" y="226"/>
                    <a:pt x="178" y="226"/>
                  </a:cubicBezTo>
                  <a:cubicBezTo>
                    <a:pt x="174" y="229"/>
                    <a:pt x="174" y="229"/>
                    <a:pt x="174" y="22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68" y="232"/>
                    <a:pt x="168" y="232"/>
                    <a:pt x="168" y="232"/>
                  </a:cubicBezTo>
                  <a:cubicBezTo>
                    <a:pt x="164" y="233"/>
                    <a:pt x="164" y="233"/>
                    <a:pt x="164" y="233"/>
                  </a:cubicBezTo>
                  <a:cubicBezTo>
                    <a:pt x="160" y="233"/>
                    <a:pt x="160" y="233"/>
                    <a:pt x="160" y="233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55" y="229"/>
                    <a:pt x="155" y="229"/>
                    <a:pt x="155" y="229"/>
                  </a:cubicBezTo>
                  <a:cubicBezTo>
                    <a:pt x="155" y="229"/>
                    <a:pt x="154" y="227"/>
                    <a:pt x="155" y="226"/>
                  </a:cubicBezTo>
                  <a:cubicBezTo>
                    <a:pt x="155" y="226"/>
                    <a:pt x="156" y="225"/>
                    <a:pt x="158" y="225"/>
                  </a:cubicBezTo>
                  <a:cubicBezTo>
                    <a:pt x="160" y="225"/>
                    <a:pt x="161" y="225"/>
                    <a:pt x="162" y="225"/>
                  </a:cubicBezTo>
                  <a:cubicBezTo>
                    <a:pt x="163" y="225"/>
                    <a:pt x="164" y="224"/>
                    <a:pt x="164" y="224"/>
                  </a:cubicBezTo>
                  <a:cubicBezTo>
                    <a:pt x="164" y="224"/>
                    <a:pt x="165" y="224"/>
                    <a:pt x="165" y="223"/>
                  </a:cubicBezTo>
                  <a:cubicBezTo>
                    <a:pt x="165" y="222"/>
                    <a:pt x="162" y="218"/>
                    <a:pt x="162" y="218"/>
                  </a:cubicBezTo>
                  <a:cubicBezTo>
                    <a:pt x="162" y="218"/>
                    <a:pt x="158" y="218"/>
                    <a:pt x="157" y="219"/>
                  </a:cubicBezTo>
                  <a:cubicBezTo>
                    <a:pt x="155" y="219"/>
                    <a:pt x="155" y="221"/>
                    <a:pt x="153" y="220"/>
                  </a:cubicBezTo>
                  <a:cubicBezTo>
                    <a:pt x="151" y="219"/>
                    <a:pt x="146" y="217"/>
                    <a:pt x="146" y="217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0" y="215"/>
                    <a:pt x="140" y="215"/>
                    <a:pt x="140" y="215"/>
                  </a:cubicBezTo>
                  <a:cubicBezTo>
                    <a:pt x="137" y="217"/>
                    <a:pt x="137" y="217"/>
                    <a:pt x="137" y="217"/>
                  </a:cubicBezTo>
                  <a:cubicBezTo>
                    <a:pt x="137" y="217"/>
                    <a:pt x="137" y="219"/>
                    <a:pt x="135" y="217"/>
                  </a:cubicBezTo>
                  <a:cubicBezTo>
                    <a:pt x="133" y="214"/>
                    <a:pt x="133" y="212"/>
                    <a:pt x="133" y="212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9" y="215"/>
                    <a:pt x="127" y="218"/>
                    <a:pt x="127" y="218"/>
                  </a:cubicBezTo>
                  <a:cubicBezTo>
                    <a:pt x="126" y="218"/>
                    <a:pt x="123" y="218"/>
                    <a:pt x="122" y="219"/>
                  </a:cubicBezTo>
                  <a:cubicBezTo>
                    <a:pt x="122" y="219"/>
                    <a:pt x="117" y="219"/>
                    <a:pt x="117" y="219"/>
                  </a:cubicBezTo>
                  <a:cubicBezTo>
                    <a:pt x="110" y="217"/>
                    <a:pt x="110" y="217"/>
                    <a:pt x="110" y="217"/>
                  </a:cubicBezTo>
                  <a:cubicBezTo>
                    <a:pt x="110" y="217"/>
                    <a:pt x="108" y="218"/>
                    <a:pt x="108" y="218"/>
                  </a:cubicBezTo>
                  <a:cubicBezTo>
                    <a:pt x="107" y="219"/>
                    <a:pt x="97" y="221"/>
                    <a:pt x="97" y="221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89" y="224"/>
                    <a:pt x="89" y="224"/>
                    <a:pt x="89" y="224"/>
                  </a:cubicBezTo>
                  <a:cubicBezTo>
                    <a:pt x="86" y="220"/>
                    <a:pt x="86" y="220"/>
                    <a:pt x="86" y="220"/>
                  </a:cubicBezTo>
                  <a:cubicBezTo>
                    <a:pt x="84" y="217"/>
                    <a:pt x="84" y="217"/>
                    <a:pt x="84" y="217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3" y="223"/>
                    <a:pt x="83" y="223"/>
                    <a:pt x="83" y="223"/>
                  </a:cubicBezTo>
                  <a:cubicBezTo>
                    <a:pt x="83" y="223"/>
                    <a:pt x="79" y="227"/>
                    <a:pt x="78" y="228"/>
                  </a:cubicBezTo>
                  <a:cubicBezTo>
                    <a:pt x="78" y="228"/>
                    <a:pt x="73" y="223"/>
                    <a:pt x="73" y="223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4" y="212"/>
                    <a:pt x="64" y="212"/>
                    <a:pt x="64" y="212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1" y="204"/>
                    <a:pt x="61" y="204"/>
                    <a:pt x="61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209"/>
                    <a:pt x="56" y="212"/>
                    <a:pt x="56" y="212"/>
                  </a:cubicBezTo>
                  <a:cubicBezTo>
                    <a:pt x="56" y="213"/>
                    <a:pt x="55" y="214"/>
                    <a:pt x="54" y="214"/>
                  </a:cubicBezTo>
                  <a:cubicBezTo>
                    <a:pt x="54" y="214"/>
                    <a:pt x="49" y="216"/>
                    <a:pt x="49" y="216"/>
                  </a:cubicBezTo>
                  <a:cubicBezTo>
                    <a:pt x="49" y="216"/>
                    <a:pt x="48" y="213"/>
                    <a:pt x="48" y="212"/>
                  </a:cubicBezTo>
                  <a:cubicBezTo>
                    <a:pt x="48" y="210"/>
                    <a:pt x="48" y="207"/>
                    <a:pt x="48" y="207"/>
                  </a:cubicBezTo>
                  <a:cubicBezTo>
                    <a:pt x="48" y="207"/>
                    <a:pt x="52" y="205"/>
                    <a:pt x="52" y="205"/>
                  </a:cubicBezTo>
                  <a:cubicBezTo>
                    <a:pt x="52" y="204"/>
                    <a:pt x="55" y="199"/>
                    <a:pt x="55" y="199"/>
                  </a:cubicBezTo>
                  <a:cubicBezTo>
                    <a:pt x="55" y="196"/>
                    <a:pt x="55" y="196"/>
                    <a:pt x="55" y="196"/>
                  </a:cubicBezTo>
                  <a:cubicBezTo>
                    <a:pt x="55" y="196"/>
                    <a:pt x="59" y="195"/>
                    <a:pt x="60" y="195"/>
                  </a:cubicBezTo>
                  <a:cubicBezTo>
                    <a:pt x="61" y="195"/>
                    <a:pt x="63" y="195"/>
                    <a:pt x="64" y="196"/>
                  </a:cubicBezTo>
                  <a:cubicBezTo>
                    <a:pt x="66" y="197"/>
                    <a:pt x="65" y="197"/>
                    <a:pt x="67" y="197"/>
                  </a:cubicBezTo>
                  <a:cubicBezTo>
                    <a:pt x="69" y="196"/>
                    <a:pt x="71" y="195"/>
                    <a:pt x="71" y="194"/>
                  </a:cubicBezTo>
                  <a:cubicBezTo>
                    <a:pt x="71" y="193"/>
                    <a:pt x="72" y="189"/>
                    <a:pt x="69" y="189"/>
                  </a:cubicBezTo>
                  <a:cubicBezTo>
                    <a:pt x="67" y="189"/>
                    <a:pt x="64" y="191"/>
                    <a:pt x="63" y="191"/>
                  </a:cubicBezTo>
                  <a:cubicBezTo>
                    <a:pt x="62" y="192"/>
                    <a:pt x="61" y="191"/>
                    <a:pt x="59" y="190"/>
                  </a:cubicBezTo>
                  <a:cubicBezTo>
                    <a:pt x="58" y="190"/>
                    <a:pt x="56" y="189"/>
                    <a:pt x="56" y="189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5" y="196"/>
                    <a:pt x="51" y="193"/>
                  </a:cubicBezTo>
                  <a:cubicBezTo>
                    <a:pt x="47" y="191"/>
                    <a:pt x="47" y="190"/>
                    <a:pt x="47" y="190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41" y="179"/>
                    <a:pt x="41" y="179"/>
                    <a:pt x="41" y="179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8" y="175"/>
                    <a:pt x="37" y="177"/>
                    <a:pt x="36" y="179"/>
                  </a:cubicBezTo>
                  <a:cubicBezTo>
                    <a:pt x="35" y="180"/>
                    <a:pt x="33" y="180"/>
                    <a:pt x="32" y="179"/>
                  </a:cubicBezTo>
                  <a:cubicBezTo>
                    <a:pt x="32" y="177"/>
                    <a:pt x="29" y="173"/>
                    <a:pt x="29" y="173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26" y="168"/>
                    <a:pt x="26" y="168"/>
                    <a:pt x="26" y="168"/>
                  </a:cubicBezTo>
                  <a:cubicBezTo>
                    <a:pt x="26" y="168"/>
                    <a:pt x="24" y="167"/>
                    <a:pt x="24" y="166"/>
                  </a:cubicBezTo>
                  <a:cubicBezTo>
                    <a:pt x="25" y="164"/>
                    <a:pt x="27" y="161"/>
                    <a:pt x="27" y="161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29" y="157"/>
                    <a:pt x="29" y="154"/>
                    <a:pt x="28" y="153"/>
                  </a:cubicBezTo>
                  <a:cubicBezTo>
                    <a:pt x="28" y="152"/>
                    <a:pt x="27" y="139"/>
                    <a:pt x="27" y="139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109"/>
                    <a:pt x="49" y="105"/>
                    <a:pt x="49" y="106"/>
                  </a:cubicBezTo>
                  <a:cubicBezTo>
                    <a:pt x="50" y="107"/>
                    <a:pt x="49" y="98"/>
                    <a:pt x="49" y="98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51" y="89"/>
                    <a:pt x="52" y="89"/>
                  </a:cubicBezTo>
                  <a:cubicBezTo>
                    <a:pt x="53" y="89"/>
                    <a:pt x="55" y="88"/>
                    <a:pt x="58" y="87"/>
                  </a:cubicBezTo>
                  <a:cubicBezTo>
                    <a:pt x="60" y="87"/>
                    <a:pt x="62" y="85"/>
                    <a:pt x="64" y="85"/>
                  </a:cubicBezTo>
                  <a:cubicBezTo>
                    <a:pt x="65" y="85"/>
                    <a:pt x="70" y="85"/>
                    <a:pt x="70" y="85"/>
                  </a:cubicBezTo>
                  <a:cubicBezTo>
                    <a:pt x="70" y="85"/>
                    <a:pt x="75" y="82"/>
                    <a:pt x="76" y="81"/>
                  </a:cubicBezTo>
                  <a:cubicBezTo>
                    <a:pt x="77" y="80"/>
                    <a:pt x="80" y="76"/>
                    <a:pt x="80" y="76"/>
                  </a:cubicBezTo>
                  <a:cubicBezTo>
                    <a:pt x="80" y="76"/>
                    <a:pt x="81" y="71"/>
                    <a:pt x="83" y="70"/>
                  </a:cubicBezTo>
                  <a:cubicBezTo>
                    <a:pt x="84" y="70"/>
                    <a:pt x="87" y="68"/>
                    <a:pt x="89" y="68"/>
                  </a:cubicBezTo>
                  <a:cubicBezTo>
                    <a:pt x="91" y="67"/>
                    <a:pt x="96" y="66"/>
                    <a:pt x="97" y="66"/>
                  </a:cubicBezTo>
                  <a:cubicBezTo>
                    <a:pt x="98" y="66"/>
                    <a:pt x="110" y="64"/>
                    <a:pt x="110" y="64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8" y="42"/>
                    <a:pt x="139" y="42"/>
                  </a:cubicBezTo>
                  <a:cubicBezTo>
                    <a:pt x="140" y="43"/>
                    <a:pt x="142" y="42"/>
                    <a:pt x="142" y="42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58" y="37"/>
                    <a:pt x="159" y="36"/>
                  </a:cubicBezTo>
                  <a:cubicBezTo>
                    <a:pt x="159" y="36"/>
                    <a:pt x="164" y="34"/>
                    <a:pt x="164" y="34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8" y="28"/>
                    <a:pt x="171" y="28"/>
                  </a:cubicBezTo>
                  <a:cubicBezTo>
                    <a:pt x="173" y="28"/>
                    <a:pt x="175" y="28"/>
                    <a:pt x="176" y="28"/>
                  </a:cubicBezTo>
                  <a:cubicBezTo>
                    <a:pt x="176" y="27"/>
                    <a:pt x="177" y="25"/>
                    <a:pt x="178" y="25"/>
                  </a:cubicBezTo>
                  <a:cubicBezTo>
                    <a:pt x="179" y="25"/>
                    <a:pt x="185" y="24"/>
                    <a:pt x="185" y="24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88" y="29"/>
                    <a:pt x="194" y="33"/>
                    <a:pt x="195" y="33"/>
                  </a:cubicBezTo>
                  <a:cubicBezTo>
                    <a:pt x="196" y="33"/>
                    <a:pt x="201" y="29"/>
                    <a:pt x="201" y="29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22" y="32"/>
                    <a:pt x="222" y="32"/>
                    <a:pt x="222" y="32"/>
                  </a:cubicBezTo>
                  <a:close/>
                  <a:moveTo>
                    <a:pt x="188" y="149"/>
                  </a:moveTo>
                  <a:cubicBezTo>
                    <a:pt x="188" y="149"/>
                    <a:pt x="188" y="149"/>
                    <a:pt x="188" y="149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9" y="150"/>
                    <a:pt x="191" y="150"/>
                    <a:pt x="192" y="149"/>
                  </a:cubicBezTo>
                  <a:cubicBezTo>
                    <a:pt x="193" y="149"/>
                    <a:pt x="191" y="148"/>
                    <a:pt x="191" y="148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48"/>
                    <a:pt x="188" y="149"/>
                    <a:pt x="188" y="149"/>
                  </a:cubicBezTo>
                  <a:close/>
                  <a:moveTo>
                    <a:pt x="184" y="157"/>
                  </a:moveTo>
                  <a:cubicBezTo>
                    <a:pt x="184" y="157"/>
                    <a:pt x="184" y="157"/>
                    <a:pt x="184" y="157"/>
                  </a:cubicBezTo>
                  <a:cubicBezTo>
                    <a:pt x="185" y="158"/>
                    <a:pt x="185" y="158"/>
                    <a:pt x="185" y="158"/>
                  </a:cubicBezTo>
                  <a:cubicBezTo>
                    <a:pt x="185" y="158"/>
                    <a:pt x="186" y="155"/>
                    <a:pt x="187" y="154"/>
                  </a:cubicBezTo>
                  <a:cubicBezTo>
                    <a:pt x="188" y="152"/>
                    <a:pt x="186" y="153"/>
                    <a:pt x="186" y="153"/>
                  </a:cubicBezTo>
                  <a:cubicBezTo>
                    <a:pt x="185" y="154"/>
                    <a:pt x="185" y="154"/>
                    <a:pt x="185" y="154"/>
                  </a:cubicBezTo>
                  <a:cubicBezTo>
                    <a:pt x="185" y="154"/>
                    <a:pt x="184" y="157"/>
                    <a:pt x="184" y="157"/>
                  </a:cubicBezTo>
                  <a:close/>
                  <a:moveTo>
                    <a:pt x="318" y="231"/>
                  </a:moveTo>
                  <a:cubicBezTo>
                    <a:pt x="318" y="231"/>
                    <a:pt x="318" y="231"/>
                    <a:pt x="318" y="231"/>
                  </a:cubicBezTo>
                  <a:cubicBezTo>
                    <a:pt x="318" y="231"/>
                    <a:pt x="321" y="233"/>
                    <a:pt x="321" y="233"/>
                  </a:cubicBezTo>
                  <a:cubicBezTo>
                    <a:pt x="319" y="237"/>
                    <a:pt x="319" y="237"/>
                    <a:pt x="319" y="237"/>
                  </a:cubicBezTo>
                  <a:cubicBezTo>
                    <a:pt x="316" y="235"/>
                    <a:pt x="316" y="235"/>
                    <a:pt x="316" y="235"/>
                  </a:cubicBezTo>
                  <a:cubicBezTo>
                    <a:pt x="318" y="231"/>
                    <a:pt x="318" y="231"/>
                    <a:pt x="318" y="231"/>
                  </a:cubicBezTo>
                  <a:close/>
                  <a:moveTo>
                    <a:pt x="342" y="250"/>
                  </a:moveTo>
                  <a:cubicBezTo>
                    <a:pt x="342" y="250"/>
                    <a:pt x="342" y="250"/>
                    <a:pt x="342" y="250"/>
                  </a:cubicBezTo>
                  <a:cubicBezTo>
                    <a:pt x="342" y="250"/>
                    <a:pt x="347" y="251"/>
                    <a:pt x="347" y="250"/>
                  </a:cubicBezTo>
                  <a:cubicBezTo>
                    <a:pt x="347" y="249"/>
                    <a:pt x="348" y="247"/>
                    <a:pt x="348" y="247"/>
                  </a:cubicBezTo>
                  <a:cubicBezTo>
                    <a:pt x="347" y="246"/>
                    <a:pt x="344" y="245"/>
                    <a:pt x="344" y="245"/>
                  </a:cubicBezTo>
                  <a:cubicBezTo>
                    <a:pt x="343" y="245"/>
                    <a:pt x="342" y="245"/>
                    <a:pt x="341" y="244"/>
                  </a:cubicBezTo>
                  <a:cubicBezTo>
                    <a:pt x="335" y="237"/>
                    <a:pt x="339" y="246"/>
                    <a:pt x="342" y="247"/>
                  </a:cubicBezTo>
                  <a:cubicBezTo>
                    <a:pt x="342" y="248"/>
                    <a:pt x="342" y="248"/>
                    <a:pt x="342" y="248"/>
                  </a:cubicBezTo>
                  <a:cubicBezTo>
                    <a:pt x="342" y="250"/>
                    <a:pt x="342" y="250"/>
                    <a:pt x="342" y="250"/>
                  </a:cubicBezTo>
                  <a:close/>
                  <a:moveTo>
                    <a:pt x="349" y="257"/>
                  </a:moveTo>
                  <a:cubicBezTo>
                    <a:pt x="349" y="257"/>
                    <a:pt x="349" y="257"/>
                    <a:pt x="349" y="257"/>
                  </a:cubicBezTo>
                  <a:cubicBezTo>
                    <a:pt x="353" y="252"/>
                    <a:pt x="353" y="252"/>
                    <a:pt x="353" y="252"/>
                  </a:cubicBezTo>
                  <a:cubicBezTo>
                    <a:pt x="353" y="252"/>
                    <a:pt x="355" y="250"/>
                    <a:pt x="356" y="250"/>
                  </a:cubicBezTo>
                  <a:cubicBezTo>
                    <a:pt x="357" y="250"/>
                    <a:pt x="361" y="249"/>
                    <a:pt x="361" y="249"/>
                  </a:cubicBezTo>
                  <a:cubicBezTo>
                    <a:pt x="361" y="249"/>
                    <a:pt x="364" y="250"/>
                    <a:pt x="362" y="251"/>
                  </a:cubicBezTo>
                  <a:cubicBezTo>
                    <a:pt x="361" y="252"/>
                    <a:pt x="358" y="254"/>
                    <a:pt x="357" y="254"/>
                  </a:cubicBezTo>
                  <a:cubicBezTo>
                    <a:pt x="356" y="255"/>
                    <a:pt x="354" y="258"/>
                    <a:pt x="354" y="258"/>
                  </a:cubicBezTo>
                  <a:cubicBezTo>
                    <a:pt x="350" y="259"/>
                    <a:pt x="350" y="259"/>
                    <a:pt x="350" y="259"/>
                  </a:cubicBezTo>
                  <a:cubicBezTo>
                    <a:pt x="346" y="261"/>
                    <a:pt x="346" y="261"/>
                    <a:pt x="346" y="261"/>
                  </a:cubicBezTo>
                  <a:cubicBezTo>
                    <a:pt x="347" y="265"/>
                    <a:pt x="347" y="265"/>
                    <a:pt x="347" y="265"/>
                  </a:cubicBezTo>
                  <a:cubicBezTo>
                    <a:pt x="347" y="265"/>
                    <a:pt x="346" y="266"/>
                    <a:pt x="345" y="266"/>
                  </a:cubicBezTo>
                  <a:cubicBezTo>
                    <a:pt x="345" y="265"/>
                    <a:pt x="342" y="263"/>
                    <a:pt x="342" y="263"/>
                  </a:cubicBezTo>
                  <a:cubicBezTo>
                    <a:pt x="343" y="258"/>
                    <a:pt x="343" y="258"/>
                    <a:pt x="343" y="258"/>
                  </a:cubicBezTo>
                  <a:cubicBezTo>
                    <a:pt x="347" y="258"/>
                    <a:pt x="347" y="258"/>
                    <a:pt x="347" y="258"/>
                  </a:cubicBezTo>
                  <a:cubicBezTo>
                    <a:pt x="349" y="257"/>
                    <a:pt x="349" y="257"/>
                    <a:pt x="349" y="257"/>
                  </a:cubicBezTo>
                  <a:close/>
                  <a:moveTo>
                    <a:pt x="388" y="286"/>
                  </a:moveTo>
                  <a:cubicBezTo>
                    <a:pt x="388" y="286"/>
                    <a:pt x="388" y="286"/>
                    <a:pt x="388" y="286"/>
                  </a:cubicBezTo>
                  <a:cubicBezTo>
                    <a:pt x="388" y="286"/>
                    <a:pt x="392" y="290"/>
                    <a:pt x="392" y="290"/>
                  </a:cubicBezTo>
                  <a:cubicBezTo>
                    <a:pt x="391" y="295"/>
                    <a:pt x="391" y="295"/>
                    <a:pt x="391" y="295"/>
                  </a:cubicBezTo>
                  <a:cubicBezTo>
                    <a:pt x="391" y="295"/>
                    <a:pt x="391" y="297"/>
                    <a:pt x="393" y="297"/>
                  </a:cubicBezTo>
                  <a:cubicBezTo>
                    <a:pt x="395" y="298"/>
                    <a:pt x="398" y="298"/>
                    <a:pt x="398" y="296"/>
                  </a:cubicBezTo>
                  <a:cubicBezTo>
                    <a:pt x="398" y="294"/>
                    <a:pt x="399" y="292"/>
                    <a:pt x="400" y="291"/>
                  </a:cubicBezTo>
                  <a:cubicBezTo>
                    <a:pt x="401" y="289"/>
                    <a:pt x="403" y="286"/>
                    <a:pt x="403" y="286"/>
                  </a:cubicBezTo>
                  <a:cubicBezTo>
                    <a:pt x="403" y="286"/>
                    <a:pt x="404" y="286"/>
                    <a:pt x="405" y="285"/>
                  </a:cubicBezTo>
                  <a:cubicBezTo>
                    <a:pt x="406" y="285"/>
                    <a:pt x="404" y="282"/>
                    <a:pt x="404" y="282"/>
                  </a:cubicBezTo>
                  <a:cubicBezTo>
                    <a:pt x="404" y="282"/>
                    <a:pt x="403" y="282"/>
                    <a:pt x="405" y="278"/>
                  </a:cubicBezTo>
                  <a:cubicBezTo>
                    <a:pt x="407" y="275"/>
                    <a:pt x="407" y="275"/>
                    <a:pt x="407" y="275"/>
                  </a:cubicBezTo>
                  <a:cubicBezTo>
                    <a:pt x="407" y="274"/>
                    <a:pt x="408" y="271"/>
                    <a:pt x="408" y="270"/>
                  </a:cubicBezTo>
                  <a:cubicBezTo>
                    <a:pt x="407" y="268"/>
                    <a:pt x="406" y="263"/>
                    <a:pt x="406" y="263"/>
                  </a:cubicBezTo>
                  <a:cubicBezTo>
                    <a:pt x="404" y="265"/>
                    <a:pt x="404" y="265"/>
                    <a:pt x="404" y="265"/>
                  </a:cubicBezTo>
                  <a:cubicBezTo>
                    <a:pt x="404" y="265"/>
                    <a:pt x="402" y="267"/>
                    <a:pt x="400" y="267"/>
                  </a:cubicBezTo>
                  <a:cubicBezTo>
                    <a:pt x="398" y="268"/>
                    <a:pt x="396" y="269"/>
                    <a:pt x="396" y="270"/>
                  </a:cubicBezTo>
                  <a:cubicBezTo>
                    <a:pt x="396" y="270"/>
                    <a:pt x="396" y="273"/>
                    <a:pt x="395" y="274"/>
                  </a:cubicBezTo>
                  <a:cubicBezTo>
                    <a:pt x="394" y="275"/>
                    <a:pt x="391" y="278"/>
                    <a:pt x="391" y="278"/>
                  </a:cubicBezTo>
                  <a:cubicBezTo>
                    <a:pt x="389" y="283"/>
                    <a:pt x="389" y="283"/>
                    <a:pt x="389" y="283"/>
                  </a:cubicBezTo>
                  <a:cubicBezTo>
                    <a:pt x="389" y="283"/>
                    <a:pt x="388" y="286"/>
                    <a:pt x="388" y="286"/>
                  </a:cubicBezTo>
                  <a:close/>
                  <a:moveTo>
                    <a:pt x="373" y="331"/>
                  </a:moveTo>
                  <a:cubicBezTo>
                    <a:pt x="373" y="331"/>
                    <a:pt x="373" y="331"/>
                    <a:pt x="373" y="331"/>
                  </a:cubicBezTo>
                  <a:cubicBezTo>
                    <a:pt x="371" y="330"/>
                    <a:pt x="369" y="328"/>
                    <a:pt x="369" y="326"/>
                  </a:cubicBezTo>
                  <a:cubicBezTo>
                    <a:pt x="369" y="325"/>
                    <a:pt x="370" y="323"/>
                    <a:pt x="370" y="323"/>
                  </a:cubicBezTo>
                  <a:cubicBezTo>
                    <a:pt x="370" y="323"/>
                    <a:pt x="368" y="322"/>
                    <a:pt x="368" y="321"/>
                  </a:cubicBezTo>
                  <a:cubicBezTo>
                    <a:pt x="368" y="321"/>
                    <a:pt x="370" y="317"/>
                    <a:pt x="370" y="315"/>
                  </a:cubicBezTo>
                  <a:cubicBezTo>
                    <a:pt x="369" y="314"/>
                    <a:pt x="370" y="308"/>
                    <a:pt x="370" y="308"/>
                  </a:cubicBezTo>
                  <a:cubicBezTo>
                    <a:pt x="370" y="308"/>
                    <a:pt x="373" y="307"/>
                    <a:pt x="373" y="308"/>
                  </a:cubicBezTo>
                  <a:cubicBezTo>
                    <a:pt x="373" y="309"/>
                    <a:pt x="372" y="312"/>
                    <a:pt x="372" y="313"/>
                  </a:cubicBezTo>
                  <a:cubicBezTo>
                    <a:pt x="372" y="314"/>
                    <a:pt x="371" y="318"/>
                    <a:pt x="371" y="319"/>
                  </a:cubicBezTo>
                  <a:cubicBezTo>
                    <a:pt x="371" y="319"/>
                    <a:pt x="372" y="318"/>
                    <a:pt x="374" y="320"/>
                  </a:cubicBezTo>
                  <a:cubicBezTo>
                    <a:pt x="376" y="322"/>
                    <a:pt x="376" y="325"/>
                    <a:pt x="376" y="325"/>
                  </a:cubicBezTo>
                  <a:cubicBezTo>
                    <a:pt x="374" y="327"/>
                    <a:pt x="374" y="327"/>
                    <a:pt x="374" y="327"/>
                  </a:cubicBezTo>
                  <a:cubicBezTo>
                    <a:pt x="373" y="331"/>
                    <a:pt x="373" y="331"/>
                    <a:pt x="373" y="331"/>
                  </a:cubicBezTo>
                  <a:close/>
                  <a:moveTo>
                    <a:pt x="361" y="333"/>
                  </a:moveTo>
                  <a:cubicBezTo>
                    <a:pt x="361" y="333"/>
                    <a:pt x="361" y="333"/>
                    <a:pt x="361" y="333"/>
                  </a:cubicBezTo>
                  <a:cubicBezTo>
                    <a:pt x="361" y="333"/>
                    <a:pt x="360" y="337"/>
                    <a:pt x="360" y="338"/>
                  </a:cubicBezTo>
                  <a:cubicBezTo>
                    <a:pt x="360" y="338"/>
                    <a:pt x="361" y="338"/>
                    <a:pt x="362" y="338"/>
                  </a:cubicBezTo>
                  <a:cubicBezTo>
                    <a:pt x="363" y="337"/>
                    <a:pt x="364" y="337"/>
                    <a:pt x="365" y="336"/>
                  </a:cubicBezTo>
                  <a:cubicBezTo>
                    <a:pt x="366" y="335"/>
                    <a:pt x="369" y="333"/>
                    <a:pt x="370" y="333"/>
                  </a:cubicBezTo>
                  <a:cubicBezTo>
                    <a:pt x="371" y="332"/>
                    <a:pt x="366" y="330"/>
                    <a:pt x="366" y="330"/>
                  </a:cubicBezTo>
                  <a:cubicBezTo>
                    <a:pt x="361" y="333"/>
                    <a:pt x="361" y="333"/>
                    <a:pt x="361" y="333"/>
                  </a:cubicBezTo>
                  <a:close/>
                  <a:moveTo>
                    <a:pt x="225" y="132"/>
                  </a:moveTo>
                  <a:cubicBezTo>
                    <a:pt x="225" y="132"/>
                    <a:pt x="225" y="132"/>
                    <a:pt x="225" y="132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3"/>
                    <a:pt x="228" y="132"/>
                    <a:pt x="229" y="131"/>
                  </a:cubicBezTo>
                  <a:cubicBezTo>
                    <a:pt x="230" y="130"/>
                    <a:pt x="228" y="129"/>
                    <a:pt x="228" y="129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5" y="132"/>
                    <a:pt x="225" y="132"/>
                  </a:cubicBezTo>
                  <a:close/>
                  <a:moveTo>
                    <a:pt x="164" y="164"/>
                  </a:moveTo>
                  <a:cubicBezTo>
                    <a:pt x="164" y="164"/>
                    <a:pt x="164" y="164"/>
                    <a:pt x="164" y="164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5"/>
                    <a:pt x="166" y="163"/>
                    <a:pt x="168" y="162"/>
                  </a:cubicBezTo>
                  <a:cubicBezTo>
                    <a:pt x="169" y="161"/>
                    <a:pt x="167" y="161"/>
                    <a:pt x="167" y="161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162"/>
                    <a:pt x="164" y="163"/>
                    <a:pt x="164" y="164"/>
                  </a:cubicBezTo>
                  <a:close/>
                  <a:moveTo>
                    <a:pt x="174" y="162"/>
                  </a:moveTo>
                  <a:cubicBezTo>
                    <a:pt x="174" y="162"/>
                    <a:pt x="174" y="162"/>
                    <a:pt x="174" y="162"/>
                  </a:cubicBezTo>
                  <a:cubicBezTo>
                    <a:pt x="174" y="164"/>
                    <a:pt x="174" y="164"/>
                    <a:pt x="174" y="164"/>
                  </a:cubicBezTo>
                  <a:cubicBezTo>
                    <a:pt x="174" y="164"/>
                    <a:pt x="177" y="165"/>
                    <a:pt x="179" y="166"/>
                  </a:cubicBezTo>
                  <a:cubicBezTo>
                    <a:pt x="182" y="167"/>
                    <a:pt x="180" y="164"/>
                    <a:pt x="180" y="164"/>
                  </a:cubicBezTo>
                  <a:cubicBezTo>
                    <a:pt x="178" y="162"/>
                    <a:pt x="178" y="162"/>
                    <a:pt x="178" y="162"/>
                  </a:cubicBezTo>
                  <a:cubicBezTo>
                    <a:pt x="178" y="162"/>
                    <a:pt x="175" y="161"/>
                    <a:pt x="174" y="162"/>
                  </a:cubicBezTo>
                  <a:close/>
                  <a:moveTo>
                    <a:pt x="211" y="164"/>
                  </a:moveTo>
                  <a:cubicBezTo>
                    <a:pt x="211" y="164"/>
                    <a:pt x="211" y="164"/>
                    <a:pt x="211" y="164"/>
                  </a:cubicBezTo>
                  <a:cubicBezTo>
                    <a:pt x="210" y="166"/>
                    <a:pt x="210" y="166"/>
                    <a:pt x="210" y="166"/>
                  </a:cubicBezTo>
                  <a:cubicBezTo>
                    <a:pt x="210" y="166"/>
                    <a:pt x="212" y="168"/>
                    <a:pt x="213" y="170"/>
                  </a:cubicBezTo>
                  <a:cubicBezTo>
                    <a:pt x="214" y="170"/>
                    <a:pt x="218" y="174"/>
                    <a:pt x="220" y="174"/>
                  </a:cubicBezTo>
                  <a:cubicBezTo>
                    <a:pt x="228" y="177"/>
                    <a:pt x="215" y="167"/>
                    <a:pt x="214" y="166"/>
                  </a:cubicBezTo>
                  <a:cubicBezTo>
                    <a:pt x="214" y="166"/>
                    <a:pt x="211" y="163"/>
                    <a:pt x="211" y="164"/>
                  </a:cubicBezTo>
                  <a:close/>
                  <a:moveTo>
                    <a:pt x="258" y="178"/>
                  </a:moveTo>
                  <a:cubicBezTo>
                    <a:pt x="258" y="178"/>
                    <a:pt x="258" y="178"/>
                    <a:pt x="258" y="178"/>
                  </a:cubicBezTo>
                  <a:cubicBezTo>
                    <a:pt x="260" y="180"/>
                    <a:pt x="260" y="180"/>
                    <a:pt x="260" y="180"/>
                  </a:cubicBezTo>
                  <a:cubicBezTo>
                    <a:pt x="260" y="180"/>
                    <a:pt x="263" y="179"/>
                    <a:pt x="265" y="178"/>
                  </a:cubicBezTo>
                  <a:cubicBezTo>
                    <a:pt x="267" y="178"/>
                    <a:pt x="265" y="176"/>
                    <a:pt x="265" y="176"/>
                  </a:cubicBezTo>
                  <a:cubicBezTo>
                    <a:pt x="262" y="176"/>
                    <a:pt x="262" y="176"/>
                    <a:pt x="262" y="176"/>
                  </a:cubicBezTo>
                  <a:cubicBezTo>
                    <a:pt x="262" y="176"/>
                    <a:pt x="258" y="177"/>
                    <a:pt x="258" y="178"/>
                  </a:cubicBezTo>
                  <a:close/>
                  <a:moveTo>
                    <a:pt x="238" y="73"/>
                  </a:moveTo>
                  <a:cubicBezTo>
                    <a:pt x="238" y="73"/>
                    <a:pt x="238" y="73"/>
                    <a:pt x="238" y="73"/>
                  </a:cubicBezTo>
                  <a:cubicBezTo>
                    <a:pt x="238" y="73"/>
                    <a:pt x="234" y="75"/>
                    <a:pt x="234" y="75"/>
                  </a:cubicBezTo>
                  <a:cubicBezTo>
                    <a:pt x="233" y="75"/>
                    <a:pt x="234" y="77"/>
                    <a:pt x="235" y="77"/>
                  </a:cubicBezTo>
                  <a:cubicBezTo>
                    <a:pt x="236" y="78"/>
                    <a:pt x="239" y="79"/>
                    <a:pt x="239" y="79"/>
                  </a:cubicBezTo>
                  <a:cubicBezTo>
                    <a:pt x="240" y="79"/>
                    <a:pt x="243" y="77"/>
                    <a:pt x="245" y="75"/>
                  </a:cubicBezTo>
                  <a:cubicBezTo>
                    <a:pt x="247" y="74"/>
                    <a:pt x="243" y="73"/>
                    <a:pt x="243" y="73"/>
                  </a:cubicBezTo>
                  <a:cubicBezTo>
                    <a:pt x="238" y="73"/>
                    <a:pt x="238" y="73"/>
                    <a:pt x="238" y="73"/>
                  </a:cubicBezTo>
                  <a:close/>
                  <a:moveTo>
                    <a:pt x="202" y="66"/>
                  </a:moveTo>
                  <a:cubicBezTo>
                    <a:pt x="202" y="66"/>
                    <a:pt x="202" y="66"/>
                    <a:pt x="202" y="66"/>
                  </a:cubicBezTo>
                  <a:cubicBezTo>
                    <a:pt x="202" y="66"/>
                    <a:pt x="198" y="66"/>
                    <a:pt x="197" y="66"/>
                  </a:cubicBezTo>
                  <a:cubicBezTo>
                    <a:pt x="197" y="66"/>
                    <a:pt x="196" y="67"/>
                    <a:pt x="195" y="68"/>
                  </a:cubicBezTo>
                  <a:cubicBezTo>
                    <a:pt x="194" y="69"/>
                    <a:pt x="194" y="71"/>
                    <a:pt x="193" y="73"/>
                  </a:cubicBezTo>
                  <a:cubicBezTo>
                    <a:pt x="193" y="75"/>
                    <a:pt x="194" y="75"/>
                    <a:pt x="194" y="75"/>
                  </a:cubicBezTo>
                  <a:cubicBezTo>
                    <a:pt x="195" y="76"/>
                    <a:pt x="195" y="76"/>
                    <a:pt x="197" y="78"/>
                  </a:cubicBezTo>
                  <a:cubicBezTo>
                    <a:pt x="199" y="79"/>
                    <a:pt x="201" y="77"/>
                    <a:pt x="203" y="76"/>
                  </a:cubicBezTo>
                  <a:cubicBezTo>
                    <a:pt x="206" y="75"/>
                    <a:pt x="204" y="74"/>
                    <a:pt x="205" y="72"/>
                  </a:cubicBezTo>
                  <a:cubicBezTo>
                    <a:pt x="205" y="71"/>
                    <a:pt x="204" y="68"/>
                    <a:pt x="204" y="68"/>
                  </a:cubicBezTo>
                  <a:cubicBezTo>
                    <a:pt x="204" y="67"/>
                    <a:pt x="202" y="66"/>
                    <a:pt x="202" y="66"/>
                  </a:cubicBezTo>
                  <a:close/>
                  <a:moveTo>
                    <a:pt x="236" y="103"/>
                  </a:moveTo>
                  <a:cubicBezTo>
                    <a:pt x="236" y="103"/>
                    <a:pt x="236" y="103"/>
                    <a:pt x="236" y="103"/>
                  </a:cubicBezTo>
                  <a:cubicBezTo>
                    <a:pt x="236" y="103"/>
                    <a:pt x="235" y="105"/>
                    <a:pt x="235" y="105"/>
                  </a:cubicBezTo>
                  <a:cubicBezTo>
                    <a:pt x="235" y="105"/>
                    <a:pt x="235" y="107"/>
                    <a:pt x="235" y="107"/>
                  </a:cubicBezTo>
                  <a:cubicBezTo>
                    <a:pt x="235" y="107"/>
                    <a:pt x="234" y="108"/>
                    <a:pt x="233" y="109"/>
                  </a:cubicBezTo>
                  <a:cubicBezTo>
                    <a:pt x="231" y="111"/>
                    <a:pt x="233" y="111"/>
                    <a:pt x="234" y="112"/>
                  </a:cubicBezTo>
                  <a:cubicBezTo>
                    <a:pt x="235" y="114"/>
                    <a:pt x="234" y="113"/>
                    <a:pt x="235" y="113"/>
                  </a:cubicBezTo>
                  <a:cubicBezTo>
                    <a:pt x="235" y="114"/>
                    <a:pt x="236" y="113"/>
                    <a:pt x="238" y="112"/>
                  </a:cubicBezTo>
                  <a:cubicBezTo>
                    <a:pt x="240" y="111"/>
                    <a:pt x="239" y="111"/>
                    <a:pt x="239" y="111"/>
                  </a:cubicBezTo>
                  <a:cubicBezTo>
                    <a:pt x="239" y="111"/>
                    <a:pt x="237" y="108"/>
                    <a:pt x="237" y="108"/>
                  </a:cubicBezTo>
                  <a:cubicBezTo>
                    <a:pt x="237" y="108"/>
                    <a:pt x="237" y="107"/>
                    <a:pt x="237" y="107"/>
                  </a:cubicBezTo>
                  <a:cubicBezTo>
                    <a:pt x="237" y="106"/>
                    <a:pt x="238" y="106"/>
                    <a:pt x="239" y="105"/>
                  </a:cubicBezTo>
                  <a:cubicBezTo>
                    <a:pt x="240" y="103"/>
                    <a:pt x="240" y="102"/>
                    <a:pt x="240" y="102"/>
                  </a:cubicBezTo>
                  <a:cubicBezTo>
                    <a:pt x="240" y="101"/>
                    <a:pt x="238" y="101"/>
                    <a:pt x="238" y="101"/>
                  </a:cubicBezTo>
                  <a:cubicBezTo>
                    <a:pt x="238" y="101"/>
                    <a:pt x="236" y="102"/>
                    <a:pt x="236" y="103"/>
                  </a:cubicBezTo>
                  <a:close/>
                  <a:moveTo>
                    <a:pt x="233" y="105"/>
                  </a:moveTo>
                  <a:cubicBezTo>
                    <a:pt x="233" y="105"/>
                    <a:pt x="233" y="105"/>
                    <a:pt x="233" y="105"/>
                  </a:cubicBezTo>
                  <a:cubicBezTo>
                    <a:pt x="232" y="103"/>
                    <a:pt x="232" y="103"/>
                    <a:pt x="232" y="103"/>
                  </a:cubicBezTo>
                  <a:cubicBezTo>
                    <a:pt x="232" y="103"/>
                    <a:pt x="231" y="102"/>
                    <a:pt x="228" y="102"/>
                  </a:cubicBezTo>
                  <a:cubicBezTo>
                    <a:pt x="226" y="102"/>
                    <a:pt x="226" y="103"/>
                    <a:pt x="224" y="103"/>
                  </a:cubicBezTo>
                  <a:cubicBezTo>
                    <a:pt x="222" y="103"/>
                    <a:pt x="222" y="105"/>
                    <a:pt x="222" y="106"/>
                  </a:cubicBezTo>
                  <a:cubicBezTo>
                    <a:pt x="221" y="108"/>
                    <a:pt x="222" y="107"/>
                    <a:pt x="223" y="108"/>
                  </a:cubicBezTo>
                  <a:cubicBezTo>
                    <a:pt x="224" y="109"/>
                    <a:pt x="223" y="109"/>
                    <a:pt x="224" y="112"/>
                  </a:cubicBezTo>
                  <a:cubicBezTo>
                    <a:pt x="224" y="114"/>
                    <a:pt x="225" y="113"/>
                    <a:pt x="225" y="113"/>
                  </a:cubicBezTo>
                  <a:cubicBezTo>
                    <a:pt x="226" y="114"/>
                    <a:pt x="227" y="113"/>
                    <a:pt x="229" y="112"/>
                  </a:cubicBezTo>
                  <a:cubicBezTo>
                    <a:pt x="231" y="110"/>
                    <a:pt x="229" y="110"/>
                    <a:pt x="229" y="110"/>
                  </a:cubicBezTo>
                  <a:cubicBezTo>
                    <a:pt x="229" y="110"/>
                    <a:pt x="231" y="109"/>
                    <a:pt x="233" y="107"/>
                  </a:cubicBezTo>
                  <a:cubicBezTo>
                    <a:pt x="234" y="105"/>
                    <a:pt x="233" y="105"/>
                    <a:pt x="233" y="105"/>
                  </a:cubicBezTo>
                  <a:close/>
                  <a:moveTo>
                    <a:pt x="284" y="139"/>
                  </a:moveTo>
                  <a:cubicBezTo>
                    <a:pt x="284" y="139"/>
                    <a:pt x="284" y="139"/>
                    <a:pt x="284" y="139"/>
                  </a:cubicBezTo>
                  <a:cubicBezTo>
                    <a:pt x="283" y="139"/>
                    <a:pt x="282" y="141"/>
                    <a:pt x="282" y="141"/>
                  </a:cubicBezTo>
                  <a:cubicBezTo>
                    <a:pt x="282" y="141"/>
                    <a:pt x="281" y="142"/>
                    <a:pt x="281" y="143"/>
                  </a:cubicBezTo>
                  <a:cubicBezTo>
                    <a:pt x="280" y="143"/>
                    <a:pt x="279" y="145"/>
                    <a:pt x="279" y="145"/>
                  </a:cubicBezTo>
                  <a:cubicBezTo>
                    <a:pt x="279" y="145"/>
                    <a:pt x="280" y="146"/>
                    <a:pt x="281" y="146"/>
                  </a:cubicBezTo>
                  <a:cubicBezTo>
                    <a:pt x="282" y="147"/>
                    <a:pt x="282" y="147"/>
                    <a:pt x="283" y="147"/>
                  </a:cubicBezTo>
                  <a:cubicBezTo>
                    <a:pt x="284" y="147"/>
                    <a:pt x="284" y="147"/>
                    <a:pt x="287" y="147"/>
                  </a:cubicBezTo>
                  <a:cubicBezTo>
                    <a:pt x="291" y="147"/>
                    <a:pt x="294" y="147"/>
                    <a:pt x="295" y="147"/>
                  </a:cubicBezTo>
                  <a:cubicBezTo>
                    <a:pt x="295" y="147"/>
                    <a:pt x="297" y="146"/>
                    <a:pt x="297" y="146"/>
                  </a:cubicBezTo>
                  <a:cubicBezTo>
                    <a:pt x="297" y="145"/>
                    <a:pt x="297" y="145"/>
                    <a:pt x="296" y="144"/>
                  </a:cubicBezTo>
                  <a:cubicBezTo>
                    <a:pt x="295" y="142"/>
                    <a:pt x="293" y="141"/>
                    <a:pt x="293" y="141"/>
                  </a:cubicBezTo>
                  <a:cubicBezTo>
                    <a:pt x="292" y="141"/>
                    <a:pt x="293" y="139"/>
                    <a:pt x="294" y="140"/>
                  </a:cubicBezTo>
                  <a:cubicBezTo>
                    <a:pt x="294" y="140"/>
                    <a:pt x="297" y="143"/>
                    <a:pt x="297" y="143"/>
                  </a:cubicBezTo>
                  <a:cubicBezTo>
                    <a:pt x="298" y="143"/>
                    <a:pt x="300" y="143"/>
                    <a:pt x="300" y="141"/>
                  </a:cubicBezTo>
                  <a:cubicBezTo>
                    <a:pt x="299" y="140"/>
                    <a:pt x="301" y="138"/>
                    <a:pt x="298" y="137"/>
                  </a:cubicBezTo>
                  <a:cubicBezTo>
                    <a:pt x="296" y="136"/>
                    <a:pt x="295" y="135"/>
                    <a:pt x="294" y="135"/>
                  </a:cubicBezTo>
                  <a:cubicBezTo>
                    <a:pt x="292" y="135"/>
                    <a:pt x="295" y="136"/>
                    <a:pt x="291" y="133"/>
                  </a:cubicBezTo>
                  <a:cubicBezTo>
                    <a:pt x="287" y="130"/>
                    <a:pt x="287" y="131"/>
                    <a:pt x="287" y="131"/>
                  </a:cubicBezTo>
                  <a:cubicBezTo>
                    <a:pt x="287" y="131"/>
                    <a:pt x="289" y="128"/>
                    <a:pt x="288" y="127"/>
                  </a:cubicBezTo>
                  <a:cubicBezTo>
                    <a:pt x="288" y="127"/>
                    <a:pt x="284" y="126"/>
                    <a:pt x="284" y="126"/>
                  </a:cubicBezTo>
                  <a:cubicBezTo>
                    <a:pt x="284" y="126"/>
                    <a:pt x="279" y="127"/>
                    <a:pt x="279" y="127"/>
                  </a:cubicBezTo>
                  <a:cubicBezTo>
                    <a:pt x="278" y="128"/>
                    <a:pt x="277" y="129"/>
                    <a:pt x="277" y="129"/>
                  </a:cubicBezTo>
                  <a:cubicBezTo>
                    <a:pt x="277" y="131"/>
                    <a:pt x="277" y="131"/>
                    <a:pt x="277" y="131"/>
                  </a:cubicBezTo>
                  <a:cubicBezTo>
                    <a:pt x="275" y="132"/>
                    <a:pt x="275" y="132"/>
                    <a:pt x="275" y="132"/>
                  </a:cubicBezTo>
                  <a:cubicBezTo>
                    <a:pt x="275" y="132"/>
                    <a:pt x="274" y="134"/>
                    <a:pt x="274" y="134"/>
                  </a:cubicBezTo>
                  <a:cubicBezTo>
                    <a:pt x="273" y="134"/>
                    <a:pt x="271" y="135"/>
                    <a:pt x="271" y="135"/>
                  </a:cubicBezTo>
                  <a:cubicBezTo>
                    <a:pt x="270" y="135"/>
                    <a:pt x="268" y="135"/>
                    <a:pt x="268" y="136"/>
                  </a:cubicBezTo>
                  <a:cubicBezTo>
                    <a:pt x="267" y="137"/>
                    <a:pt x="264" y="138"/>
                    <a:pt x="264" y="138"/>
                  </a:cubicBezTo>
                  <a:cubicBezTo>
                    <a:pt x="264" y="138"/>
                    <a:pt x="263" y="139"/>
                    <a:pt x="265" y="141"/>
                  </a:cubicBezTo>
                  <a:cubicBezTo>
                    <a:pt x="267" y="142"/>
                    <a:pt x="269" y="142"/>
                    <a:pt x="269" y="143"/>
                  </a:cubicBezTo>
                  <a:cubicBezTo>
                    <a:pt x="270" y="143"/>
                    <a:pt x="270" y="143"/>
                    <a:pt x="271" y="143"/>
                  </a:cubicBezTo>
                  <a:cubicBezTo>
                    <a:pt x="272" y="144"/>
                    <a:pt x="272" y="144"/>
                    <a:pt x="274" y="144"/>
                  </a:cubicBezTo>
                  <a:cubicBezTo>
                    <a:pt x="275" y="143"/>
                    <a:pt x="277" y="143"/>
                    <a:pt x="277" y="142"/>
                  </a:cubicBezTo>
                  <a:cubicBezTo>
                    <a:pt x="278" y="141"/>
                    <a:pt x="278" y="140"/>
                    <a:pt x="279" y="139"/>
                  </a:cubicBezTo>
                  <a:cubicBezTo>
                    <a:pt x="279" y="138"/>
                    <a:pt x="279" y="137"/>
                    <a:pt x="281" y="137"/>
                  </a:cubicBezTo>
                  <a:cubicBezTo>
                    <a:pt x="282" y="137"/>
                    <a:pt x="284" y="136"/>
                    <a:pt x="284" y="136"/>
                  </a:cubicBezTo>
                  <a:cubicBezTo>
                    <a:pt x="284" y="136"/>
                    <a:pt x="284" y="139"/>
                    <a:pt x="284" y="139"/>
                  </a:cubicBezTo>
                  <a:close/>
                  <a:moveTo>
                    <a:pt x="289" y="182"/>
                  </a:moveTo>
                  <a:cubicBezTo>
                    <a:pt x="289" y="182"/>
                    <a:pt x="289" y="182"/>
                    <a:pt x="289" y="182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0"/>
                    <a:pt x="288" y="180"/>
                    <a:pt x="288" y="180"/>
                  </a:cubicBezTo>
                  <a:cubicBezTo>
                    <a:pt x="285" y="177"/>
                    <a:pt x="285" y="177"/>
                    <a:pt x="285" y="177"/>
                  </a:cubicBezTo>
                  <a:cubicBezTo>
                    <a:pt x="285" y="177"/>
                    <a:pt x="289" y="176"/>
                    <a:pt x="291" y="175"/>
                  </a:cubicBezTo>
                  <a:cubicBezTo>
                    <a:pt x="294" y="174"/>
                    <a:pt x="291" y="173"/>
                    <a:pt x="291" y="172"/>
                  </a:cubicBezTo>
                  <a:cubicBezTo>
                    <a:pt x="291" y="172"/>
                    <a:pt x="290" y="172"/>
                    <a:pt x="288" y="172"/>
                  </a:cubicBezTo>
                  <a:cubicBezTo>
                    <a:pt x="287" y="172"/>
                    <a:pt x="286" y="172"/>
                    <a:pt x="284" y="173"/>
                  </a:cubicBezTo>
                  <a:cubicBezTo>
                    <a:pt x="283" y="173"/>
                    <a:pt x="282" y="171"/>
                    <a:pt x="282" y="171"/>
                  </a:cubicBezTo>
                  <a:cubicBezTo>
                    <a:pt x="281" y="171"/>
                    <a:pt x="277" y="171"/>
                    <a:pt x="276" y="171"/>
                  </a:cubicBezTo>
                  <a:cubicBezTo>
                    <a:pt x="276" y="171"/>
                    <a:pt x="275" y="173"/>
                    <a:pt x="274" y="174"/>
                  </a:cubicBezTo>
                  <a:cubicBezTo>
                    <a:pt x="273" y="175"/>
                    <a:pt x="272" y="176"/>
                    <a:pt x="271" y="176"/>
                  </a:cubicBezTo>
                  <a:cubicBezTo>
                    <a:pt x="270" y="177"/>
                    <a:pt x="274" y="179"/>
                    <a:pt x="275" y="179"/>
                  </a:cubicBezTo>
                  <a:cubicBezTo>
                    <a:pt x="275" y="180"/>
                    <a:pt x="278" y="180"/>
                    <a:pt x="278" y="181"/>
                  </a:cubicBezTo>
                  <a:cubicBezTo>
                    <a:pt x="279" y="181"/>
                    <a:pt x="282" y="183"/>
                    <a:pt x="283" y="183"/>
                  </a:cubicBezTo>
                  <a:cubicBezTo>
                    <a:pt x="284" y="184"/>
                    <a:pt x="282" y="185"/>
                    <a:pt x="281" y="187"/>
                  </a:cubicBezTo>
                  <a:cubicBezTo>
                    <a:pt x="280" y="189"/>
                    <a:pt x="279" y="189"/>
                    <a:pt x="278" y="190"/>
                  </a:cubicBezTo>
                  <a:cubicBezTo>
                    <a:pt x="277" y="191"/>
                    <a:pt x="279" y="192"/>
                    <a:pt x="280" y="193"/>
                  </a:cubicBezTo>
                  <a:cubicBezTo>
                    <a:pt x="281" y="194"/>
                    <a:pt x="283" y="195"/>
                    <a:pt x="283" y="195"/>
                  </a:cubicBezTo>
                  <a:cubicBezTo>
                    <a:pt x="284" y="195"/>
                    <a:pt x="287" y="193"/>
                    <a:pt x="287" y="193"/>
                  </a:cubicBezTo>
                  <a:cubicBezTo>
                    <a:pt x="287" y="193"/>
                    <a:pt x="288" y="190"/>
                    <a:pt x="288" y="190"/>
                  </a:cubicBezTo>
                  <a:cubicBezTo>
                    <a:pt x="288" y="189"/>
                    <a:pt x="289" y="187"/>
                    <a:pt x="289" y="187"/>
                  </a:cubicBezTo>
                  <a:cubicBezTo>
                    <a:pt x="290" y="186"/>
                    <a:pt x="290" y="186"/>
                    <a:pt x="290" y="186"/>
                  </a:cubicBezTo>
                  <a:cubicBezTo>
                    <a:pt x="289" y="182"/>
                    <a:pt x="289" y="182"/>
                    <a:pt x="289" y="182"/>
                  </a:cubicBezTo>
                  <a:close/>
                  <a:moveTo>
                    <a:pt x="316" y="209"/>
                  </a:moveTo>
                  <a:cubicBezTo>
                    <a:pt x="316" y="209"/>
                    <a:pt x="316" y="209"/>
                    <a:pt x="316" y="209"/>
                  </a:cubicBezTo>
                  <a:cubicBezTo>
                    <a:pt x="317" y="208"/>
                    <a:pt x="319" y="206"/>
                    <a:pt x="319" y="205"/>
                  </a:cubicBezTo>
                  <a:cubicBezTo>
                    <a:pt x="319" y="205"/>
                    <a:pt x="321" y="205"/>
                    <a:pt x="322" y="205"/>
                  </a:cubicBezTo>
                  <a:cubicBezTo>
                    <a:pt x="322" y="205"/>
                    <a:pt x="326" y="206"/>
                    <a:pt x="326" y="206"/>
                  </a:cubicBezTo>
                  <a:cubicBezTo>
                    <a:pt x="326" y="206"/>
                    <a:pt x="329" y="206"/>
                    <a:pt x="329" y="206"/>
                  </a:cubicBezTo>
                  <a:cubicBezTo>
                    <a:pt x="329" y="206"/>
                    <a:pt x="332" y="204"/>
                    <a:pt x="332" y="204"/>
                  </a:cubicBezTo>
                  <a:cubicBezTo>
                    <a:pt x="333" y="204"/>
                    <a:pt x="336" y="207"/>
                    <a:pt x="336" y="207"/>
                  </a:cubicBezTo>
                  <a:cubicBezTo>
                    <a:pt x="336" y="207"/>
                    <a:pt x="334" y="210"/>
                    <a:pt x="333" y="210"/>
                  </a:cubicBezTo>
                  <a:cubicBezTo>
                    <a:pt x="332" y="211"/>
                    <a:pt x="331" y="211"/>
                    <a:pt x="330" y="212"/>
                  </a:cubicBezTo>
                  <a:cubicBezTo>
                    <a:pt x="329" y="214"/>
                    <a:pt x="329" y="214"/>
                    <a:pt x="329" y="215"/>
                  </a:cubicBezTo>
                  <a:cubicBezTo>
                    <a:pt x="328" y="215"/>
                    <a:pt x="327" y="217"/>
                    <a:pt x="325" y="215"/>
                  </a:cubicBezTo>
                  <a:cubicBezTo>
                    <a:pt x="323" y="214"/>
                    <a:pt x="321" y="212"/>
                    <a:pt x="321" y="212"/>
                  </a:cubicBezTo>
                  <a:cubicBezTo>
                    <a:pt x="321" y="212"/>
                    <a:pt x="319" y="213"/>
                    <a:pt x="318" y="213"/>
                  </a:cubicBezTo>
                  <a:cubicBezTo>
                    <a:pt x="317" y="214"/>
                    <a:pt x="315" y="213"/>
                    <a:pt x="315" y="213"/>
                  </a:cubicBezTo>
                  <a:cubicBezTo>
                    <a:pt x="316" y="212"/>
                    <a:pt x="315" y="210"/>
                    <a:pt x="316" y="209"/>
                  </a:cubicBezTo>
                  <a:close/>
                  <a:moveTo>
                    <a:pt x="295" y="229"/>
                  </a:moveTo>
                  <a:cubicBezTo>
                    <a:pt x="295" y="229"/>
                    <a:pt x="295" y="229"/>
                    <a:pt x="295" y="229"/>
                  </a:cubicBezTo>
                  <a:cubicBezTo>
                    <a:pt x="295" y="229"/>
                    <a:pt x="291" y="227"/>
                    <a:pt x="292" y="226"/>
                  </a:cubicBezTo>
                  <a:cubicBezTo>
                    <a:pt x="293" y="224"/>
                    <a:pt x="297" y="220"/>
                    <a:pt x="298" y="219"/>
                  </a:cubicBezTo>
                  <a:cubicBezTo>
                    <a:pt x="298" y="219"/>
                    <a:pt x="301" y="220"/>
                    <a:pt x="301" y="220"/>
                  </a:cubicBezTo>
                  <a:cubicBezTo>
                    <a:pt x="302" y="220"/>
                    <a:pt x="303" y="217"/>
                    <a:pt x="304" y="217"/>
                  </a:cubicBezTo>
                  <a:cubicBezTo>
                    <a:pt x="304" y="217"/>
                    <a:pt x="308" y="217"/>
                    <a:pt x="308" y="217"/>
                  </a:cubicBezTo>
                  <a:cubicBezTo>
                    <a:pt x="308" y="217"/>
                    <a:pt x="306" y="221"/>
                    <a:pt x="304" y="222"/>
                  </a:cubicBezTo>
                  <a:cubicBezTo>
                    <a:pt x="302" y="223"/>
                    <a:pt x="301" y="223"/>
                    <a:pt x="301" y="224"/>
                  </a:cubicBezTo>
                  <a:cubicBezTo>
                    <a:pt x="300" y="225"/>
                    <a:pt x="299" y="226"/>
                    <a:pt x="299" y="227"/>
                  </a:cubicBezTo>
                  <a:cubicBezTo>
                    <a:pt x="298" y="227"/>
                    <a:pt x="295" y="229"/>
                    <a:pt x="295" y="229"/>
                  </a:cubicBezTo>
                  <a:close/>
                  <a:moveTo>
                    <a:pt x="282" y="268"/>
                  </a:moveTo>
                  <a:cubicBezTo>
                    <a:pt x="282" y="268"/>
                    <a:pt x="282" y="268"/>
                    <a:pt x="282" y="268"/>
                  </a:cubicBezTo>
                  <a:cubicBezTo>
                    <a:pt x="283" y="269"/>
                    <a:pt x="281" y="273"/>
                    <a:pt x="278" y="271"/>
                  </a:cubicBezTo>
                  <a:cubicBezTo>
                    <a:pt x="278" y="271"/>
                    <a:pt x="277" y="269"/>
                    <a:pt x="279" y="268"/>
                  </a:cubicBezTo>
                  <a:cubicBezTo>
                    <a:pt x="280" y="268"/>
                    <a:pt x="282" y="268"/>
                    <a:pt x="282" y="268"/>
                  </a:cubicBezTo>
                  <a:close/>
                  <a:moveTo>
                    <a:pt x="279" y="292"/>
                  </a:moveTo>
                  <a:cubicBezTo>
                    <a:pt x="279" y="292"/>
                    <a:pt x="279" y="292"/>
                    <a:pt x="279" y="292"/>
                  </a:cubicBezTo>
                  <a:cubicBezTo>
                    <a:pt x="279" y="292"/>
                    <a:pt x="281" y="290"/>
                    <a:pt x="281" y="290"/>
                  </a:cubicBezTo>
                  <a:cubicBezTo>
                    <a:pt x="282" y="290"/>
                    <a:pt x="283" y="291"/>
                    <a:pt x="283" y="291"/>
                  </a:cubicBezTo>
                  <a:cubicBezTo>
                    <a:pt x="283" y="291"/>
                    <a:pt x="286" y="293"/>
                    <a:pt x="286" y="293"/>
                  </a:cubicBezTo>
                  <a:cubicBezTo>
                    <a:pt x="286" y="294"/>
                    <a:pt x="287" y="296"/>
                    <a:pt x="286" y="296"/>
                  </a:cubicBezTo>
                  <a:cubicBezTo>
                    <a:pt x="285" y="297"/>
                    <a:pt x="284" y="298"/>
                    <a:pt x="283" y="297"/>
                  </a:cubicBezTo>
                  <a:cubicBezTo>
                    <a:pt x="282" y="297"/>
                    <a:pt x="281" y="297"/>
                    <a:pt x="281" y="296"/>
                  </a:cubicBezTo>
                  <a:cubicBezTo>
                    <a:pt x="281" y="295"/>
                    <a:pt x="281" y="295"/>
                    <a:pt x="281" y="294"/>
                  </a:cubicBezTo>
                  <a:cubicBezTo>
                    <a:pt x="281" y="294"/>
                    <a:pt x="279" y="294"/>
                    <a:pt x="279" y="294"/>
                  </a:cubicBezTo>
                  <a:cubicBezTo>
                    <a:pt x="279" y="292"/>
                    <a:pt x="279" y="292"/>
                    <a:pt x="279" y="292"/>
                  </a:cubicBezTo>
                  <a:close/>
                  <a:moveTo>
                    <a:pt x="238" y="279"/>
                  </a:moveTo>
                  <a:cubicBezTo>
                    <a:pt x="238" y="279"/>
                    <a:pt x="238" y="279"/>
                    <a:pt x="238" y="279"/>
                  </a:cubicBezTo>
                  <a:cubicBezTo>
                    <a:pt x="239" y="279"/>
                    <a:pt x="241" y="278"/>
                    <a:pt x="241" y="279"/>
                  </a:cubicBezTo>
                  <a:cubicBezTo>
                    <a:pt x="242" y="280"/>
                    <a:pt x="243" y="280"/>
                    <a:pt x="243" y="281"/>
                  </a:cubicBezTo>
                  <a:cubicBezTo>
                    <a:pt x="243" y="281"/>
                    <a:pt x="244" y="282"/>
                    <a:pt x="242" y="283"/>
                  </a:cubicBezTo>
                  <a:cubicBezTo>
                    <a:pt x="240" y="283"/>
                    <a:pt x="239" y="283"/>
                    <a:pt x="239" y="283"/>
                  </a:cubicBezTo>
                  <a:cubicBezTo>
                    <a:pt x="240" y="286"/>
                    <a:pt x="240" y="286"/>
                    <a:pt x="240" y="286"/>
                  </a:cubicBezTo>
                  <a:cubicBezTo>
                    <a:pt x="240" y="286"/>
                    <a:pt x="242" y="286"/>
                    <a:pt x="239" y="288"/>
                  </a:cubicBezTo>
                  <a:cubicBezTo>
                    <a:pt x="237" y="290"/>
                    <a:pt x="235" y="290"/>
                    <a:pt x="235" y="290"/>
                  </a:cubicBezTo>
                  <a:cubicBezTo>
                    <a:pt x="235" y="289"/>
                    <a:pt x="235" y="289"/>
                    <a:pt x="235" y="289"/>
                  </a:cubicBezTo>
                  <a:cubicBezTo>
                    <a:pt x="232" y="290"/>
                    <a:pt x="232" y="290"/>
                    <a:pt x="232" y="290"/>
                  </a:cubicBezTo>
                  <a:cubicBezTo>
                    <a:pt x="232" y="290"/>
                    <a:pt x="231" y="291"/>
                    <a:pt x="231" y="290"/>
                  </a:cubicBezTo>
                  <a:cubicBezTo>
                    <a:pt x="230" y="288"/>
                    <a:pt x="229" y="286"/>
                    <a:pt x="231" y="286"/>
                  </a:cubicBezTo>
                  <a:cubicBezTo>
                    <a:pt x="233" y="285"/>
                    <a:pt x="233" y="284"/>
                    <a:pt x="234" y="285"/>
                  </a:cubicBezTo>
                  <a:cubicBezTo>
                    <a:pt x="235" y="286"/>
                    <a:pt x="235" y="287"/>
                    <a:pt x="235" y="287"/>
                  </a:cubicBezTo>
                  <a:cubicBezTo>
                    <a:pt x="236" y="284"/>
                    <a:pt x="236" y="284"/>
                    <a:pt x="236" y="284"/>
                  </a:cubicBezTo>
                  <a:cubicBezTo>
                    <a:pt x="236" y="284"/>
                    <a:pt x="235" y="284"/>
                    <a:pt x="235" y="283"/>
                  </a:cubicBezTo>
                  <a:cubicBezTo>
                    <a:pt x="236" y="282"/>
                    <a:pt x="236" y="282"/>
                    <a:pt x="237" y="281"/>
                  </a:cubicBezTo>
                  <a:cubicBezTo>
                    <a:pt x="238" y="281"/>
                    <a:pt x="239" y="282"/>
                    <a:pt x="239" y="282"/>
                  </a:cubicBezTo>
                  <a:cubicBezTo>
                    <a:pt x="238" y="279"/>
                    <a:pt x="238" y="279"/>
                    <a:pt x="238" y="279"/>
                  </a:cubicBezTo>
                  <a:close/>
                  <a:moveTo>
                    <a:pt x="258" y="286"/>
                  </a:move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7"/>
                  </a:cubicBezTo>
                  <a:cubicBezTo>
                    <a:pt x="260" y="288"/>
                    <a:pt x="260" y="288"/>
                    <a:pt x="259" y="288"/>
                  </a:cubicBezTo>
                  <a:cubicBezTo>
                    <a:pt x="259" y="288"/>
                    <a:pt x="256" y="288"/>
                    <a:pt x="256" y="288"/>
                  </a:cubicBezTo>
                  <a:cubicBezTo>
                    <a:pt x="256" y="288"/>
                    <a:pt x="255" y="289"/>
                    <a:pt x="255" y="287"/>
                  </a:cubicBezTo>
                  <a:cubicBezTo>
                    <a:pt x="255" y="286"/>
                    <a:pt x="255" y="285"/>
                    <a:pt x="255" y="285"/>
                  </a:cubicBezTo>
                  <a:cubicBezTo>
                    <a:pt x="258" y="286"/>
                    <a:pt x="258" y="286"/>
                    <a:pt x="258" y="286"/>
                  </a:cubicBezTo>
                  <a:close/>
                  <a:moveTo>
                    <a:pt x="265" y="282"/>
                  </a:moveTo>
                  <a:cubicBezTo>
                    <a:pt x="265" y="282"/>
                    <a:pt x="265" y="282"/>
                    <a:pt x="265" y="282"/>
                  </a:cubicBezTo>
                  <a:cubicBezTo>
                    <a:pt x="269" y="279"/>
                    <a:pt x="269" y="279"/>
                    <a:pt x="269" y="279"/>
                  </a:cubicBezTo>
                  <a:cubicBezTo>
                    <a:pt x="269" y="279"/>
                    <a:pt x="270" y="282"/>
                    <a:pt x="268" y="283"/>
                  </a:cubicBezTo>
                  <a:cubicBezTo>
                    <a:pt x="267" y="284"/>
                    <a:pt x="266" y="284"/>
                    <a:pt x="266" y="284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65" y="282"/>
                    <a:pt x="265" y="282"/>
                    <a:pt x="265" y="282"/>
                  </a:cubicBezTo>
                  <a:close/>
                  <a:moveTo>
                    <a:pt x="273" y="275"/>
                  </a:moveTo>
                  <a:cubicBezTo>
                    <a:pt x="273" y="275"/>
                    <a:pt x="273" y="275"/>
                    <a:pt x="273" y="275"/>
                  </a:cubicBezTo>
                  <a:cubicBezTo>
                    <a:pt x="273" y="275"/>
                    <a:pt x="272" y="278"/>
                    <a:pt x="273" y="280"/>
                  </a:cubicBezTo>
                  <a:cubicBezTo>
                    <a:pt x="273" y="281"/>
                    <a:pt x="273" y="281"/>
                    <a:pt x="274" y="281"/>
                  </a:cubicBezTo>
                  <a:cubicBezTo>
                    <a:pt x="275" y="282"/>
                    <a:pt x="276" y="282"/>
                    <a:pt x="277" y="281"/>
                  </a:cubicBezTo>
                  <a:cubicBezTo>
                    <a:pt x="278" y="281"/>
                    <a:pt x="278" y="278"/>
                    <a:pt x="278" y="278"/>
                  </a:cubicBezTo>
                  <a:cubicBezTo>
                    <a:pt x="278" y="278"/>
                    <a:pt x="278" y="277"/>
                    <a:pt x="277" y="275"/>
                  </a:cubicBezTo>
                  <a:cubicBezTo>
                    <a:pt x="276" y="272"/>
                    <a:pt x="274" y="275"/>
                    <a:pt x="273" y="275"/>
                  </a:cubicBezTo>
                  <a:close/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4" y="258"/>
                    <a:pt x="274" y="255"/>
                    <a:pt x="275" y="254"/>
                  </a:cubicBezTo>
                  <a:cubicBezTo>
                    <a:pt x="276" y="254"/>
                    <a:pt x="276" y="253"/>
                    <a:pt x="277" y="252"/>
                  </a:cubicBezTo>
                  <a:cubicBezTo>
                    <a:pt x="277" y="251"/>
                    <a:pt x="281" y="251"/>
                    <a:pt x="281" y="251"/>
                  </a:cubicBezTo>
                  <a:cubicBezTo>
                    <a:pt x="282" y="253"/>
                    <a:pt x="282" y="253"/>
                    <a:pt x="282" y="253"/>
                  </a:cubicBezTo>
                  <a:cubicBezTo>
                    <a:pt x="282" y="253"/>
                    <a:pt x="282" y="255"/>
                    <a:pt x="282" y="256"/>
                  </a:cubicBezTo>
                  <a:cubicBezTo>
                    <a:pt x="282" y="257"/>
                    <a:pt x="282" y="257"/>
                    <a:pt x="283" y="259"/>
                  </a:cubicBezTo>
                  <a:cubicBezTo>
                    <a:pt x="283" y="260"/>
                    <a:pt x="282" y="262"/>
                    <a:pt x="282" y="263"/>
                  </a:cubicBezTo>
                  <a:cubicBezTo>
                    <a:pt x="281" y="264"/>
                    <a:pt x="281" y="265"/>
                    <a:pt x="280" y="265"/>
                  </a:cubicBezTo>
                  <a:cubicBezTo>
                    <a:pt x="279" y="266"/>
                    <a:pt x="279" y="267"/>
                    <a:pt x="278" y="266"/>
                  </a:cubicBezTo>
                  <a:cubicBezTo>
                    <a:pt x="277" y="265"/>
                    <a:pt x="274" y="264"/>
                    <a:pt x="274" y="263"/>
                  </a:cubicBezTo>
                  <a:cubicBezTo>
                    <a:pt x="274" y="263"/>
                    <a:pt x="274" y="261"/>
                    <a:pt x="274" y="261"/>
                  </a:cubicBezTo>
                  <a:cubicBezTo>
                    <a:pt x="274" y="259"/>
                    <a:pt x="274" y="259"/>
                    <a:pt x="274" y="259"/>
                  </a:cubicBezTo>
                  <a:close/>
                  <a:moveTo>
                    <a:pt x="262" y="264"/>
                  </a:moveTo>
                  <a:cubicBezTo>
                    <a:pt x="262" y="264"/>
                    <a:pt x="262" y="264"/>
                    <a:pt x="262" y="264"/>
                  </a:cubicBezTo>
                  <a:cubicBezTo>
                    <a:pt x="262" y="263"/>
                    <a:pt x="263" y="259"/>
                    <a:pt x="263" y="259"/>
                  </a:cubicBezTo>
                  <a:cubicBezTo>
                    <a:pt x="263" y="259"/>
                    <a:pt x="263" y="257"/>
                    <a:pt x="265" y="256"/>
                  </a:cubicBezTo>
                  <a:cubicBezTo>
                    <a:pt x="266" y="256"/>
                    <a:pt x="266" y="255"/>
                    <a:pt x="267" y="256"/>
                  </a:cubicBezTo>
                  <a:cubicBezTo>
                    <a:pt x="268" y="257"/>
                    <a:pt x="269" y="258"/>
                    <a:pt x="269" y="258"/>
                  </a:cubicBezTo>
                  <a:cubicBezTo>
                    <a:pt x="269" y="258"/>
                    <a:pt x="268" y="258"/>
                    <a:pt x="268" y="259"/>
                  </a:cubicBezTo>
                  <a:cubicBezTo>
                    <a:pt x="268" y="259"/>
                    <a:pt x="269" y="261"/>
                    <a:pt x="269" y="261"/>
                  </a:cubicBezTo>
                  <a:cubicBezTo>
                    <a:pt x="268" y="262"/>
                    <a:pt x="267" y="263"/>
                    <a:pt x="266" y="264"/>
                  </a:cubicBezTo>
                  <a:cubicBezTo>
                    <a:pt x="266" y="265"/>
                    <a:pt x="264" y="266"/>
                    <a:pt x="264" y="266"/>
                  </a:cubicBezTo>
                  <a:cubicBezTo>
                    <a:pt x="261" y="268"/>
                    <a:pt x="261" y="268"/>
                    <a:pt x="261" y="268"/>
                  </a:cubicBezTo>
                  <a:cubicBezTo>
                    <a:pt x="261" y="269"/>
                    <a:pt x="261" y="269"/>
                    <a:pt x="261" y="269"/>
                  </a:cubicBezTo>
                  <a:cubicBezTo>
                    <a:pt x="260" y="269"/>
                    <a:pt x="260" y="269"/>
                    <a:pt x="260" y="269"/>
                  </a:cubicBezTo>
                  <a:cubicBezTo>
                    <a:pt x="258" y="266"/>
                    <a:pt x="258" y="266"/>
                    <a:pt x="258" y="266"/>
                  </a:cubicBezTo>
                  <a:cubicBezTo>
                    <a:pt x="261" y="264"/>
                    <a:pt x="261" y="264"/>
                    <a:pt x="261" y="264"/>
                  </a:cubicBezTo>
                  <a:cubicBezTo>
                    <a:pt x="262" y="264"/>
                    <a:pt x="262" y="264"/>
                    <a:pt x="262" y="264"/>
                  </a:cubicBezTo>
                  <a:close/>
                  <a:moveTo>
                    <a:pt x="242" y="268"/>
                  </a:moveTo>
                  <a:cubicBezTo>
                    <a:pt x="242" y="268"/>
                    <a:pt x="242" y="268"/>
                    <a:pt x="242" y="268"/>
                  </a:cubicBezTo>
                  <a:cubicBezTo>
                    <a:pt x="245" y="267"/>
                    <a:pt x="245" y="267"/>
                    <a:pt x="245" y="267"/>
                  </a:cubicBezTo>
                  <a:cubicBezTo>
                    <a:pt x="248" y="269"/>
                    <a:pt x="248" y="269"/>
                    <a:pt x="248" y="269"/>
                  </a:cubicBezTo>
                  <a:cubicBezTo>
                    <a:pt x="248" y="272"/>
                    <a:pt x="248" y="272"/>
                    <a:pt x="248" y="272"/>
                  </a:cubicBezTo>
                  <a:cubicBezTo>
                    <a:pt x="248" y="272"/>
                    <a:pt x="246" y="276"/>
                    <a:pt x="245" y="275"/>
                  </a:cubicBezTo>
                  <a:cubicBezTo>
                    <a:pt x="244" y="273"/>
                    <a:pt x="244" y="271"/>
                    <a:pt x="244" y="271"/>
                  </a:cubicBezTo>
                  <a:cubicBezTo>
                    <a:pt x="242" y="268"/>
                    <a:pt x="242" y="268"/>
                    <a:pt x="242" y="268"/>
                  </a:cubicBezTo>
                  <a:close/>
                  <a:moveTo>
                    <a:pt x="229" y="260"/>
                  </a:moveTo>
                  <a:cubicBezTo>
                    <a:pt x="229" y="260"/>
                    <a:pt x="229" y="260"/>
                    <a:pt x="229" y="260"/>
                  </a:cubicBezTo>
                  <a:cubicBezTo>
                    <a:pt x="229" y="260"/>
                    <a:pt x="234" y="259"/>
                    <a:pt x="234" y="260"/>
                  </a:cubicBezTo>
                  <a:cubicBezTo>
                    <a:pt x="234" y="260"/>
                    <a:pt x="234" y="262"/>
                    <a:pt x="235" y="262"/>
                  </a:cubicBezTo>
                  <a:cubicBezTo>
                    <a:pt x="235" y="263"/>
                    <a:pt x="232" y="266"/>
                    <a:pt x="231" y="266"/>
                  </a:cubicBezTo>
                  <a:cubicBezTo>
                    <a:pt x="231" y="266"/>
                    <a:pt x="230" y="265"/>
                    <a:pt x="230" y="265"/>
                  </a:cubicBezTo>
                  <a:cubicBezTo>
                    <a:pt x="229" y="260"/>
                    <a:pt x="229" y="260"/>
                    <a:pt x="229" y="260"/>
                  </a:cubicBezTo>
                  <a:close/>
                  <a:moveTo>
                    <a:pt x="225" y="247"/>
                  </a:moveTo>
                  <a:cubicBezTo>
                    <a:pt x="225" y="247"/>
                    <a:pt x="225" y="247"/>
                    <a:pt x="225" y="247"/>
                  </a:cubicBezTo>
                  <a:cubicBezTo>
                    <a:pt x="225" y="247"/>
                    <a:pt x="226" y="246"/>
                    <a:pt x="227" y="246"/>
                  </a:cubicBezTo>
                  <a:cubicBezTo>
                    <a:pt x="228" y="247"/>
                    <a:pt x="228" y="250"/>
                    <a:pt x="228" y="250"/>
                  </a:cubicBezTo>
                  <a:cubicBezTo>
                    <a:pt x="227" y="253"/>
                    <a:pt x="227" y="253"/>
                    <a:pt x="227" y="253"/>
                  </a:cubicBezTo>
                  <a:cubicBezTo>
                    <a:pt x="227" y="253"/>
                    <a:pt x="225" y="256"/>
                    <a:pt x="225" y="256"/>
                  </a:cubicBezTo>
                  <a:cubicBezTo>
                    <a:pt x="225" y="255"/>
                    <a:pt x="224" y="250"/>
                    <a:pt x="224" y="250"/>
                  </a:cubicBezTo>
                  <a:cubicBezTo>
                    <a:pt x="225" y="247"/>
                    <a:pt x="225" y="247"/>
                    <a:pt x="225" y="247"/>
                  </a:cubicBezTo>
                  <a:close/>
                  <a:moveTo>
                    <a:pt x="219" y="239"/>
                  </a:moveTo>
                  <a:cubicBezTo>
                    <a:pt x="219" y="239"/>
                    <a:pt x="219" y="239"/>
                    <a:pt x="219" y="239"/>
                  </a:cubicBezTo>
                  <a:cubicBezTo>
                    <a:pt x="219" y="239"/>
                    <a:pt x="218" y="242"/>
                    <a:pt x="218" y="243"/>
                  </a:cubicBezTo>
                  <a:cubicBezTo>
                    <a:pt x="218" y="243"/>
                    <a:pt x="219" y="245"/>
                    <a:pt x="219" y="245"/>
                  </a:cubicBezTo>
                  <a:cubicBezTo>
                    <a:pt x="219" y="246"/>
                    <a:pt x="219" y="245"/>
                    <a:pt x="220" y="244"/>
                  </a:cubicBezTo>
                  <a:cubicBezTo>
                    <a:pt x="221" y="243"/>
                    <a:pt x="221" y="242"/>
                    <a:pt x="221" y="242"/>
                  </a:cubicBezTo>
                  <a:cubicBezTo>
                    <a:pt x="221" y="242"/>
                    <a:pt x="223" y="241"/>
                    <a:pt x="223" y="240"/>
                  </a:cubicBezTo>
                  <a:cubicBezTo>
                    <a:pt x="224" y="240"/>
                    <a:pt x="224" y="237"/>
                    <a:pt x="224" y="237"/>
                  </a:cubicBezTo>
                  <a:cubicBezTo>
                    <a:pt x="224" y="237"/>
                    <a:pt x="221" y="235"/>
                    <a:pt x="221" y="236"/>
                  </a:cubicBezTo>
                  <a:cubicBezTo>
                    <a:pt x="220" y="236"/>
                    <a:pt x="219" y="239"/>
                    <a:pt x="219" y="239"/>
                  </a:cubicBezTo>
                  <a:close/>
                  <a:moveTo>
                    <a:pt x="233" y="237"/>
                  </a:moveTo>
                  <a:cubicBezTo>
                    <a:pt x="233" y="237"/>
                    <a:pt x="233" y="237"/>
                    <a:pt x="233" y="237"/>
                  </a:cubicBezTo>
                  <a:cubicBezTo>
                    <a:pt x="234" y="237"/>
                    <a:pt x="234" y="237"/>
                    <a:pt x="234" y="237"/>
                  </a:cubicBezTo>
                  <a:cubicBezTo>
                    <a:pt x="234" y="238"/>
                    <a:pt x="234" y="238"/>
                    <a:pt x="234" y="238"/>
                  </a:cubicBezTo>
                  <a:cubicBezTo>
                    <a:pt x="234" y="238"/>
                    <a:pt x="237" y="237"/>
                    <a:pt x="238" y="237"/>
                  </a:cubicBezTo>
                  <a:cubicBezTo>
                    <a:pt x="239" y="236"/>
                    <a:pt x="238" y="235"/>
                    <a:pt x="238" y="234"/>
                  </a:cubicBezTo>
                  <a:cubicBezTo>
                    <a:pt x="237" y="233"/>
                    <a:pt x="233" y="237"/>
                    <a:pt x="233" y="237"/>
                  </a:cubicBezTo>
                  <a:close/>
                  <a:moveTo>
                    <a:pt x="247" y="241"/>
                  </a:moveTo>
                  <a:cubicBezTo>
                    <a:pt x="247" y="241"/>
                    <a:pt x="247" y="241"/>
                    <a:pt x="247" y="241"/>
                  </a:cubicBezTo>
                  <a:cubicBezTo>
                    <a:pt x="245" y="240"/>
                    <a:pt x="245" y="240"/>
                    <a:pt x="245" y="240"/>
                  </a:cubicBezTo>
                  <a:cubicBezTo>
                    <a:pt x="245" y="242"/>
                    <a:pt x="245" y="242"/>
                    <a:pt x="245" y="242"/>
                  </a:cubicBezTo>
                  <a:cubicBezTo>
                    <a:pt x="245" y="242"/>
                    <a:pt x="246" y="244"/>
                    <a:pt x="247" y="245"/>
                  </a:cubicBezTo>
                  <a:cubicBezTo>
                    <a:pt x="247" y="245"/>
                    <a:pt x="245" y="247"/>
                    <a:pt x="245" y="247"/>
                  </a:cubicBezTo>
                  <a:cubicBezTo>
                    <a:pt x="247" y="250"/>
                    <a:pt x="247" y="250"/>
                    <a:pt x="247" y="250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0" y="245"/>
                    <a:pt x="249" y="243"/>
                    <a:pt x="249" y="243"/>
                  </a:cubicBezTo>
                  <a:cubicBezTo>
                    <a:pt x="249" y="242"/>
                    <a:pt x="247" y="241"/>
                    <a:pt x="247" y="241"/>
                  </a:cubicBezTo>
                  <a:close/>
                  <a:moveTo>
                    <a:pt x="261" y="241"/>
                  </a:moveTo>
                  <a:cubicBezTo>
                    <a:pt x="261" y="241"/>
                    <a:pt x="261" y="241"/>
                    <a:pt x="261" y="241"/>
                  </a:cubicBezTo>
                  <a:cubicBezTo>
                    <a:pt x="262" y="243"/>
                    <a:pt x="262" y="243"/>
                    <a:pt x="262" y="243"/>
                  </a:cubicBezTo>
                  <a:cubicBezTo>
                    <a:pt x="262" y="243"/>
                    <a:pt x="261" y="245"/>
                    <a:pt x="260" y="245"/>
                  </a:cubicBezTo>
                  <a:cubicBezTo>
                    <a:pt x="260" y="245"/>
                    <a:pt x="259" y="244"/>
                    <a:pt x="259" y="244"/>
                  </a:cubicBezTo>
                  <a:cubicBezTo>
                    <a:pt x="261" y="241"/>
                    <a:pt x="261" y="241"/>
                    <a:pt x="261" y="241"/>
                  </a:cubicBezTo>
                  <a:close/>
                  <a:moveTo>
                    <a:pt x="264" y="238"/>
                  </a:moveTo>
                  <a:cubicBezTo>
                    <a:pt x="264" y="238"/>
                    <a:pt x="264" y="238"/>
                    <a:pt x="264" y="238"/>
                  </a:cubicBezTo>
                  <a:cubicBezTo>
                    <a:pt x="265" y="240"/>
                    <a:pt x="265" y="240"/>
                    <a:pt x="265" y="240"/>
                  </a:cubicBezTo>
                  <a:cubicBezTo>
                    <a:pt x="265" y="240"/>
                    <a:pt x="268" y="239"/>
                    <a:pt x="270" y="238"/>
                  </a:cubicBezTo>
                  <a:cubicBezTo>
                    <a:pt x="273" y="237"/>
                    <a:pt x="270" y="236"/>
                    <a:pt x="270" y="236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67" y="236"/>
                    <a:pt x="264" y="237"/>
                    <a:pt x="264" y="238"/>
                  </a:cubicBezTo>
                  <a:close/>
                  <a:moveTo>
                    <a:pt x="247" y="230"/>
                  </a:moveTo>
                  <a:cubicBezTo>
                    <a:pt x="247" y="230"/>
                    <a:pt x="247" y="230"/>
                    <a:pt x="247" y="230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50" y="233"/>
                    <a:pt x="254" y="235"/>
                    <a:pt x="255" y="235"/>
                  </a:cubicBezTo>
                  <a:cubicBezTo>
                    <a:pt x="255" y="236"/>
                    <a:pt x="257" y="235"/>
                    <a:pt x="259" y="235"/>
                  </a:cubicBezTo>
                  <a:cubicBezTo>
                    <a:pt x="260" y="234"/>
                    <a:pt x="260" y="234"/>
                    <a:pt x="260" y="233"/>
                  </a:cubicBezTo>
                  <a:cubicBezTo>
                    <a:pt x="260" y="233"/>
                    <a:pt x="259" y="232"/>
                    <a:pt x="259" y="232"/>
                  </a:cubicBezTo>
                  <a:cubicBezTo>
                    <a:pt x="259" y="232"/>
                    <a:pt x="258" y="230"/>
                    <a:pt x="255" y="230"/>
                  </a:cubicBezTo>
                  <a:cubicBezTo>
                    <a:pt x="253" y="231"/>
                    <a:pt x="253" y="230"/>
                    <a:pt x="253" y="230"/>
                  </a:cubicBezTo>
                  <a:cubicBezTo>
                    <a:pt x="253" y="230"/>
                    <a:pt x="252" y="230"/>
                    <a:pt x="249" y="229"/>
                  </a:cubicBezTo>
                  <a:cubicBezTo>
                    <a:pt x="247" y="229"/>
                    <a:pt x="248" y="230"/>
                    <a:pt x="247" y="230"/>
                  </a:cubicBezTo>
                  <a:close/>
                  <a:moveTo>
                    <a:pt x="245" y="229"/>
                  </a:moveTo>
                  <a:cubicBezTo>
                    <a:pt x="245" y="229"/>
                    <a:pt x="245" y="229"/>
                    <a:pt x="245" y="229"/>
                  </a:cubicBezTo>
                  <a:cubicBezTo>
                    <a:pt x="246" y="228"/>
                    <a:pt x="246" y="228"/>
                    <a:pt x="246" y="228"/>
                  </a:cubicBezTo>
                  <a:cubicBezTo>
                    <a:pt x="246" y="228"/>
                    <a:pt x="246" y="226"/>
                    <a:pt x="246" y="223"/>
                  </a:cubicBezTo>
                  <a:cubicBezTo>
                    <a:pt x="246" y="221"/>
                    <a:pt x="245" y="222"/>
                    <a:pt x="245" y="222"/>
                  </a:cubicBezTo>
                  <a:cubicBezTo>
                    <a:pt x="245" y="221"/>
                    <a:pt x="245" y="220"/>
                    <a:pt x="244" y="218"/>
                  </a:cubicBezTo>
                  <a:cubicBezTo>
                    <a:pt x="243" y="217"/>
                    <a:pt x="243" y="218"/>
                    <a:pt x="242" y="218"/>
                  </a:cubicBezTo>
                  <a:cubicBezTo>
                    <a:pt x="242" y="218"/>
                    <a:pt x="241" y="219"/>
                    <a:pt x="239" y="219"/>
                  </a:cubicBezTo>
                  <a:cubicBezTo>
                    <a:pt x="237" y="219"/>
                    <a:pt x="238" y="217"/>
                    <a:pt x="237" y="216"/>
                  </a:cubicBezTo>
                  <a:cubicBezTo>
                    <a:pt x="236" y="215"/>
                    <a:pt x="234" y="215"/>
                    <a:pt x="234" y="215"/>
                  </a:cubicBezTo>
                  <a:cubicBezTo>
                    <a:pt x="233" y="215"/>
                    <a:pt x="231" y="218"/>
                    <a:pt x="231" y="219"/>
                  </a:cubicBezTo>
                  <a:cubicBezTo>
                    <a:pt x="231" y="220"/>
                    <a:pt x="232" y="220"/>
                    <a:pt x="235" y="223"/>
                  </a:cubicBezTo>
                  <a:cubicBezTo>
                    <a:pt x="238" y="225"/>
                    <a:pt x="239" y="225"/>
                    <a:pt x="240" y="225"/>
                  </a:cubicBezTo>
                  <a:cubicBezTo>
                    <a:pt x="241" y="226"/>
                    <a:pt x="244" y="228"/>
                    <a:pt x="245" y="229"/>
                  </a:cubicBezTo>
                  <a:close/>
                  <a:moveTo>
                    <a:pt x="216" y="360"/>
                  </a:moveTo>
                  <a:cubicBezTo>
                    <a:pt x="216" y="360"/>
                    <a:pt x="216" y="360"/>
                    <a:pt x="216" y="360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5" y="354"/>
                    <a:pt x="215" y="354"/>
                    <a:pt x="215" y="354"/>
                  </a:cubicBezTo>
                  <a:cubicBezTo>
                    <a:pt x="215" y="350"/>
                    <a:pt x="215" y="350"/>
                    <a:pt x="215" y="350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16" y="349"/>
                    <a:pt x="218" y="351"/>
                    <a:pt x="218" y="352"/>
                  </a:cubicBezTo>
                  <a:cubicBezTo>
                    <a:pt x="218" y="353"/>
                    <a:pt x="218" y="355"/>
                    <a:pt x="218" y="355"/>
                  </a:cubicBezTo>
                  <a:cubicBezTo>
                    <a:pt x="218" y="355"/>
                    <a:pt x="221" y="357"/>
                    <a:pt x="221" y="357"/>
                  </a:cubicBezTo>
                  <a:cubicBezTo>
                    <a:pt x="222" y="357"/>
                    <a:pt x="228" y="356"/>
                    <a:pt x="228" y="356"/>
                  </a:cubicBezTo>
                  <a:cubicBezTo>
                    <a:pt x="228" y="356"/>
                    <a:pt x="230" y="353"/>
                    <a:pt x="230" y="353"/>
                  </a:cubicBezTo>
                  <a:cubicBezTo>
                    <a:pt x="231" y="352"/>
                    <a:pt x="234" y="350"/>
                    <a:pt x="234" y="350"/>
                  </a:cubicBezTo>
                  <a:cubicBezTo>
                    <a:pt x="234" y="350"/>
                    <a:pt x="234" y="349"/>
                    <a:pt x="236" y="351"/>
                  </a:cubicBezTo>
                  <a:cubicBezTo>
                    <a:pt x="238" y="352"/>
                    <a:pt x="236" y="355"/>
                    <a:pt x="236" y="355"/>
                  </a:cubicBezTo>
                  <a:cubicBezTo>
                    <a:pt x="235" y="355"/>
                    <a:pt x="235" y="356"/>
                    <a:pt x="235" y="356"/>
                  </a:cubicBezTo>
                  <a:cubicBezTo>
                    <a:pt x="237" y="358"/>
                    <a:pt x="237" y="358"/>
                    <a:pt x="237" y="358"/>
                  </a:cubicBezTo>
                  <a:cubicBezTo>
                    <a:pt x="237" y="358"/>
                    <a:pt x="237" y="356"/>
                    <a:pt x="238" y="356"/>
                  </a:cubicBezTo>
                  <a:cubicBezTo>
                    <a:pt x="239" y="356"/>
                    <a:pt x="239" y="355"/>
                    <a:pt x="240" y="355"/>
                  </a:cubicBezTo>
                  <a:cubicBezTo>
                    <a:pt x="240" y="356"/>
                    <a:pt x="242" y="358"/>
                    <a:pt x="242" y="358"/>
                  </a:cubicBezTo>
                  <a:cubicBezTo>
                    <a:pt x="242" y="358"/>
                    <a:pt x="242" y="361"/>
                    <a:pt x="243" y="361"/>
                  </a:cubicBezTo>
                  <a:cubicBezTo>
                    <a:pt x="244" y="360"/>
                    <a:pt x="246" y="361"/>
                    <a:pt x="247" y="360"/>
                  </a:cubicBezTo>
                  <a:cubicBezTo>
                    <a:pt x="248" y="360"/>
                    <a:pt x="258" y="357"/>
                    <a:pt x="258" y="357"/>
                  </a:cubicBezTo>
                  <a:cubicBezTo>
                    <a:pt x="261" y="355"/>
                    <a:pt x="261" y="355"/>
                    <a:pt x="261" y="355"/>
                  </a:cubicBezTo>
                  <a:cubicBezTo>
                    <a:pt x="261" y="355"/>
                    <a:pt x="263" y="354"/>
                    <a:pt x="265" y="354"/>
                  </a:cubicBezTo>
                  <a:cubicBezTo>
                    <a:pt x="266" y="354"/>
                    <a:pt x="272" y="352"/>
                    <a:pt x="272" y="352"/>
                  </a:cubicBezTo>
                  <a:cubicBezTo>
                    <a:pt x="272" y="352"/>
                    <a:pt x="275" y="350"/>
                    <a:pt x="277" y="351"/>
                  </a:cubicBezTo>
                  <a:cubicBezTo>
                    <a:pt x="278" y="353"/>
                    <a:pt x="282" y="356"/>
                    <a:pt x="282" y="356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88" y="355"/>
                    <a:pt x="290" y="354"/>
                    <a:pt x="290" y="354"/>
                  </a:cubicBezTo>
                  <a:cubicBezTo>
                    <a:pt x="291" y="355"/>
                    <a:pt x="297" y="354"/>
                    <a:pt x="297" y="354"/>
                  </a:cubicBezTo>
                  <a:cubicBezTo>
                    <a:pt x="297" y="354"/>
                    <a:pt x="300" y="351"/>
                    <a:pt x="301" y="351"/>
                  </a:cubicBezTo>
                  <a:cubicBezTo>
                    <a:pt x="301" y="351"/>
                    <a:pt x="308" y="349"/>
                    <a:pt x="308" y="349"/>
                  </a:cubicBezTo>
                  <a:cubicBezTo>
                    <a:pt x="308" y="349"/>
                    <a:pt x="309" y="349"/>
                    <a:pt x="309" y="351"/>
                  </a:cubicBezTo>
                  <a:cubicBezTo>
                    <a:pt x="309" y="353"/>
                    <a:pt x="309" y="356"/>
                    <a:pt x="309" y="357"/>
                  </a:cubicBezTo>
                  <a:cubicBezTo>
                    <a:pt x="310" y="358"/>
                    <a:pt x="309" y="360"/>
                    <a:pt x="311" y="360"/>
                  </a:cubicBezTo>
                  <a:cubicBezTo>
                    <a:pt x="313" y="359"/>
                    <a:pt x="315" y="358"/>
                    <a:pt x="315" y="358"/>
                  </a:cubicBezTo>
                  <a:cubicBezTo>
                    <a:pt x="315" y="358"/>
                    <a:pt x="313" y="358"/>
                    <a:pt x="317" y="356"/>
                  </a:cubicBezTo>
                  <a:cubicBezTo>
                    <a:pt x="320" y="354"/>
                    <a:pt x="321" y="353"/>
                    <a:pt x="322" y="353"/>
                  </a:cubicBezTo>
                  <a:cubicBezTo>
                    <a:pt x="323" y="353"/>
                    <a:pt x="323" y="352"/>
                    <a:pt x="324" y="352"/>
                  </a:cubicBezTo>
                  <a:cubicBezTo>
                    <a:pt x="326" y="352"/>
                    <a:pt x="326" y="352"/>
                    <a:pt x="327" y="352"/>
                  </a:cubicBezTo>
                  <a:cubicBezTo>
                    <a:pt x="328" y="351"/>
                    <a:pt x="330" y="348"/>
                    <a:pt x="330" y="348"/>
                  </a:cubicBezTo>
                  <a:cubicBezTo>
                    <a:pt x="330" y="348"/>
                    <a:pt x="331" y="346"/>
                    <a:pt x="332" y="346"/>
                  </a:cubicBezTo>
                  <a:cubicBezTo>
                    <a:pt x="332" y="346"/>
                    <a:pt x="334" y="345"/>
                    <a:pt x="334" y="345"/>
                  </a:cubicBezTo>
                  <a:cubicBezTo>
                    <a:pt x="333" y="348"/>
                    <a:pt x="333" y="348"/>
                    <a:pt x="333" y="348"/>
                  </a:cubicBezTo>
                  <a:cubicBezTo>
                    <a:pt x="333" y="348"/>
                    <a:pt x="335" y="352"/>
                    <a:pt x="335" y="353"/>
                  </a:cubicBezTo>
                  <a:cubicBezTo>
                    <a:pt x="335" y="353"/>
                    <a:pt x="335" y="354"/>
                    <a:pt x="334" y="355"/>
                  </a:cubicBezTo>
                  <a:cubicBezTo>
                    <a:pt x="334" y="357"/>
                    <a:pt x="334" y="358"/>
                    <a:pt x="334" y="358"/>
                  </a:cubicBezTo>
                  <a:cubicBezTo>
                    <a:pt x="333" y="359"/>
                    <a:pt x="333" y="360"/>
                    <a:pt x="333" y="361"/>
                  </a:cubicBezTo>
                  <a:cubicBezTo>
                    <a:pt x="332" y="361"/>
                    <a:pt x="329" y="363"/>
                    <a:pt x="329" y="363"/>
                  </a:cubicBezTo>
                  <a:cubicBezTo>
                    <a:pt x="324" y="362"/>
                    <a:pt x="324" y="362"/>
                    <a:pt x="324" y="362"/>
                  </a:cubicBezTo>
                  <a:cubicBezTo>
                    <a:pt x="324" y="362"/>
                    <a:pt x="322" y="363"/>
                    <a:pt x="321" y="364"/>
                  </a:cubicBezTo>
                  <a:cubicBezTo>
                    <a:pt x="319" y="364"/>
                    <a:pt x="316" y="367"/>
                    <a:pt x="315" y="367"/>
                  </a:cubicBezTo>
                  <a:cubicBezTo>
                    <a:pt x="314" y="367"/>
                    <a:pt x="311" y="367"/>
                    <a:pt x="308" y="367"/>
                  </a:cubicBezTo>
                  <a:cubicBezTo>
                    <a:pt x="305" y="368"/>
                    <a:pt x="297" y="370"/>
                    <a:pt x="297" y="370"/>
                  </a:cubicBezTo>
                  <a:cubicBezTo>
                    <a:pt x="297" y="370"/>
                    <a:pt x="296" y="371"/>
                    <a:pt x="295" y="372"/>
                  </a:cubicBezTo>
                  <a:cubicBezTo>
                    <a:pt x="293" y="372"/>
                    <a:pt x="289" y="374"/>
                    <a:pt x="288" y="374"/>
                  </a:cubicBezTo>
                  <a:cubicBezTo>
                    <a:pt x="287" y="375"/>
                    <a:pt x="284" y="377"/>
                    <a:pt x="283" y="377"/>
                  </a:cubicBezTo>
                  <a:cubicBezTo>
                    <a:pt x="282" y="377"/>
                    <a:pt x="281" y="378"/>
                    <a:pt x="277" y="378"/>
                  </a:cubicBezTo>
                  <a:cubicBezTo>
                    <a:pt x="272" y="379"/>
                    <a:pt x="271" y="380"/>
                    <a:pt x="271" y="380"/>
                  </a:cubicBezTo>
                  <a:cubicBezTo>
                    <a:pt x="268" y="380"/>
                    <a:pt x="268" y="380"/>
                    <a:pt x="268" y="380"/>
                  </a:cubicBezTo>
                  <a:cubicBezTo>
                    <a:pt x="268" y="373"/>
                    <a:pt x="268" y="373"/>
                    <a:pt x="268" y="373"/>
                  </a:cubicBezTo>
                  <a:cubicBezTo>
                    <a:pt x="268" y="373"/>
                    <a:pt x="268" y="370"/>
                    <a:pt x="265" y="371"/>
                  </a:cubicBezTo>
                  <a:cubicBezTo>
                    <a:pt x="262" y="372"/>
                    <a:pt x="266" y="371"/>
                    <a:pt x="260" y="372"/>
                  </a:cubicBezTo>
                  <a:cubicBezTo>
                    <a:pt x="255" y="373"/>
                    <a:pt x="252" y="370"/>
                    <a:pt x="252" y="370"/>
                  </a:cubicBezTo>
                  <a:cubicBezTo>
                    <a:pt x="252" y="370"/>
                    <a:pt x="247" y="370"/>
                    <a:pt x="245" y="371"/>
                  </a:cubicBezTo>
                  <a:cubicBezTo>
                    <a:pt x="243" y="371"/>
                    <a:pt x="240" y="371"/>
                    <a:pt x="239" y="371"/>
                  </a:cubicBezTo>
                  <a:cubicBezTo>
                    <a:pt x="238" y="372"/>
                    <a:pt x="238" y="371"/>
                    <a:pt x="235" y="372"/>
                  </a:cubicBezTo>
                  <a:cubicBezTo>
                    <a:pt x="232" y="372"/>
                    <a:pt x="229" y="373"/>
                    <a:pt x="229" y="373"/>
                  </a:cubicBezTo>
                  <a:cubicBezTo>
                    <a:pt x="226" y="371"/>
                    <a:pt x="226" y="371"/>
                    <a:pt x="226" y="371"/>
                  </a:cubicBezTo>
                  <a:cubicBezTo>
                    <a:pt x="226" y="371"/>
                    <a:pt x="223" y="371"/>
                    <a:pt x="222" y="372"/>
                  </a:cubicBezTo>
                  <a:cubicBezTo>
                    <a:pt x="220" y="373"/>
                    <a:pt x="221" y="374"/>
                    <a:pt x="219" y="374"/>
                  </a:cubicBezTo>
                  <a:cubicBezTo>
                    <a:pt x="217" y="374"/>
                    <a:pt x="218" y="375"/>
                    <a:pt x="216" y="374"/>
                  </a:cubicBezTo>
                  <a:cubicBezTo>
                    <a:pt x="213" y="373"/>
                    <a:pt x="211" y="372"/>
                    <a:pt x="211" y="372"/>
                  </a:cubicBezTo>
                  <a:cubicBezTo>
                    <a:pt x="210" y="366"/>
                    <a:pt x="210" y="366"/>
                    <a:pt x="210" y="366"/>
                  </a:cubicBezTo>
                  <a:cubicBezTo>
                    <a:pt x="210" y="366"/>
                    <a:pt x="210" y="366"/>
                    <a:pt x="210" y="363"/>
                  </a:cubicBezTo>
                  <a:cubicBezTo>
                    <a:pt x="209" y="361"/>
                    <a:pt x="208" y="357"/>
                    <a:pt x="208" y="357"/>
                  </a:cubicBezTo>
                  <a:cubicBezTo>
                    <a:pt x="210" y="354"/>
                    <a:pt x="210" y="354"/>
                    <a:pt x="210" y="354"/>
                  </a:cubicBezTo>
                  <a:cubicBezTo>
                    <a:pt x="210" y="354"/>
                    <a:pt x="211" y="356"/>
                    <a:pt x="211" y="357"/>
                  </a:cubicBezTo>
                  <a:cubicBezTo>
                    <a:pt x="211" y="357"/>
                    <a:pt x="211" y="360"/>
                    <a:pt x="212" y="360"/>
                  </a:cubicBezTo>
                  <a:cubicBezTo>
                    <a:pt x="214" y="360"/>
                    <a:pt x="216" y="360"/>
                    <a:pt x="216" y="360"/>
                  </a:cubicBezTo>
                  <a:close/>
                  <a:moveTo>
                    <a:pt x="172" y="319"/>
                  </a:moveTo>
                  <a:cubicBezTo>
                    <a:pt x="172" y="319"/>
                    <a:pt x="172" y="319"/>
                    <a:pt x="172" y="319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6" y="321"/>
                    <a:pt x="176" y="321"/>
                    <a:pt x="176" y="321"/>
                  </a:cubicBezTo>
                  <a:cubicBezTo>
                    <a:pt x="179" y="322"/>
                    <a:pt x="179" y="322"/>
                    <a:pt x="179" y="322"/>
                  </a:cubicBezTo>
                  <a:cubicBezTo>
                    <a:pt x="179" y="322"/>
                    <a:pt x="183" y="324"/>
                    <a:pt x="183" y="325"/>
                  </a:cubicBezTo>
                  <a:cubicBezTo>
                    <a:pt x="183" y="325"/>
                    <a:pt x="181" y="328"/>
                    <a:pt x="181" y="328"/>
                  </a:cubicBezTo>
                  <a:cubicBezTo>
                    <a:pt x="181" y="328"/>
                    <a:pt x="181" y="330"/>
                    <a:pt x="181" y="331"/>
                  </a:cubicBezTo>
                  <a:cubicBezTo>
                    <a:pt x="181" y="331"/>
                    <a:pt x="179" y="331"/>
                    <a:pt x="178" y="331"/>
                  </a:cubicBezTo>
                  <a:cubicBezTo>
                    <a:pt x="177" y="330"/>
                    <a:pt x="174" y="329"/>
                    <a:pt x="174" y="329"/>
                  </a:cubicBezTo>
                  <a:cubicBezTo>
                    <a:pt x="174" y="325"/>
                    <a:pt x="174" y="325"/>
                    <a:pt x="174" y="325"/>
                  </a:cubicBezTo>
                  <a:cubicBezTo>
                    <a:pt x="171" y="322"/>
                    <a:pt x="171" y="322"/>
                    <a:pt x="171" y="322"/>
                  </a:cubicBezTo>
                  <a:cubicBezTo>
                    <a:pt x="172" y="319"/>
                    <a:pt x="172" y="319"/>
                    <a:pt x="172" y="319"/>
                  </a:cubicBezTo>
                  <a:close/>
                  <a:moveTo>
                    <a:pt x="92" y="232"/>
                  </a:moveTo>
                  <a:cubicBezTo>
                    <a:pt x="92" y="232"/>
                    <a:pt x="92" y="232"/>
                    <a:pt x="92" y="232"/>
                  </a:cubicBezTo>
                  <a:cubicBezTo>
                    <a:pt x="92" y="232"/>
                    <a:pt x="90" y="232"/>
                    <a:pt x="90" y="232"/>
                  </a:cubicBezTo>
                  <a:cubicBezTo>
                    <a:pt x="89" y="232"/>
                    <a:pt x="88" y="232"/>
                    <a:pt x="87" y="232"/>
                  </a:cubicBezTo>
                  <a:cubicBezTo>
                    <a:pt x="86" y="232"/>
                    <a:pt x="87" y="234"/>
                    <a:pt x="87" y="235"/>
                  </a:cubicBezTo>
                  <a:cubicBezTo>
                    <a:pt x="87" y="235"/>
                    <a:pt x="87" y="237"/>
                    <a:pt x="87" y="238"/>
                  </a:cubicBezTo>
                  <a:cubicBezTo>
                    <a:pt x="86" y="239"/>
                    <a:pt x="85" y="240"/>
                    <a:pt x="85" y="241"/>
                  </a:cubicBezTo>
                  <a:cubicBezTo>
                    <a:pt x="85" y="241"/>
                    <a:pt x="85" y="243"/>
                    <a:pt x="85" y="244"/>
                  </a:cubicBezTo>
                  <a:cubicBezTo>
                    <a:pt x="84" y="244"/>
                    <a:pt x="82" y="246"/>
                    <a:pt x="81" y="246"/>
                  </a:cubicBezTo>
                  <a:cubicBezTo>
                    <a:pt x="80" y="247"/>
                    <a:pt x="78" y="248"/>
                    <a:pt x="78" y="248"/>
                  </a:cubicBezTo>
                  <a:cubicBezTo>
                    <a:pt x="80" y="253"/>
                    <a:pt x="80" y="253"/>
                    <a:pt x="80" y="253"/>
                  </a:cubicBezTo>
                  <a:cubicBezTo>
                    <a:pt x="80" y="253"/>
                    <a:pt x="82" y="252"/>
                    <a:pt x="83" y="253"/>
                  </a:cubicBezTo>
                  <a:cubicBezTo>
                    <a:pt x="84" y="254"/>
                    <a:pt x="87" y="256"/>
                    <a:pt x="88" y="256"/>
                  </a:cubicBezTo>
                  <a:cubicBezTo>
                    <a:pt x="88" y="256"/>
                    <a:pt x="90" y="262"/>
                    <a:pt x="90" y="262"/>
                  </a:cubicBezTo>
                  <a:cubicBezTo>
                    <a:pt x="91" y="263"/>
                    <a:pt x="92" y="262"/>
                    <a:pt x="92" y="262"/>
                  </a:cubicBezTo>
                  <a:cubicBezTo>
                    <a:pt x="92" y="262"/>
                    <a:pt x="94" y="263"/>
                    <a:pt x="95" y="264"/>
                  </a:cubicBezTo>
                  <a:cubicBezTo>
                    <a:pt x="96" y="264"/>
                    <a:pt x="98" y="265"/>
                    <a:pt x="99" y="266"/>
                  </a:cubicBezTo>
                  <a:cubicBezTo>
                    <a:pt x="100" y="266"/>
                    <a:pt x="102" y="269"/>
                    <a:pt x="103" y="269"/>
                  </a:cubicBezTo>
                  <a:cubicBezTo>
                    <a:pt x="104" y="270"/>
                    <a:pt x="106" y="272"/>
                    <a:pt x="106" y="272"/>
                  </a:cubicBezTo>
                  <a:cubicBezTo>
                    <a:pt x="106" y="272"/>
                    <a:pt x="108" y="275"/>
                    <a:pt x="109" y="277"/>
                  </a:cubicBezTo>
                  <a:cubicBezTo>
                    <a:pt x="109" y="278"/>
                    <a:pt x="109" y="278"/>
                    <a:pt x="108" y="279"/>
                  </a:cubicBezTo>
                  <a:cubicBezTo>
                    <a:pt x="107" y="280"/>
                    <a:pt x="107" y="281"/>
                    <a:pt x="106" y="283"/>
                  </a:cubicBezTo>
                  <a:cubicBezTo>
                    <a:pt x="105" y="285"/>
                    <a:pt x="107" y="287"/>
                    <a:pt x="107" y="287"/>
                  </a:cubicBezTo>
                  <a:cubicBezTo>
                    <a:pt x="107" y="292"/>
                    <a:pt x="107" y="292"/>
                    <a:pt x="107" y="292"/>
                  </a:cubicBezTo>
                  <a:cubicBezTo>
                    <a:pt x="108" y="294"/>
                    <a:pt x="108" y="294"/>
                    <a:pt x="108" y="294"/>
                  </a:cubicBezTo>
                  <a:cubicBezTo>
                    <a:pt x="108" y="294"/>
                    <a:pt x="109" y="295"/>
                    <a:pt x="110" y="295"/>
                  </a:cubicBezTo>
                  <a:cubicBezTo>
                    <a:pt x="111" y="296"/>
                    <a:pt x="111" y="296"/>
                    <a:pt x="111" y="296"/>
                  </a:cubicBezTo>
                  <a:cubicBezTo>
                    <a:pt x="111" y="296"/>
                    <a:pt x="113" y="298"/>
                    <a:pt x="114" y="299"/>
                  </a:cubicBezTo>
                  <a:cubicBezTo>
                    <a:pt x="114" y="300"/>
                    <a:pt x="113" y="301"/>
                    <a:pt x="113" y="302"/>
                  </a:cubicBezTo>
                  <a:cubicBezTo>
                    <a:pt x="113" y="303"/>
                    <a:pt x="114" y="307"/>
                    <a:pt x="114" y="307"/>
                  </a:cubicBezTo>
                  <a:cubicBezTo>
                    <a:pt x="114" y="307"/>
                    <a:pt x="116" y="306"/>
                    <a:pt x="118" y="305"/>
                  </a:cubicBezTo>
                  <a:cubicBezTo>
                    <a:pt x="119" y="305"/>
                    <a:pt x="120" y="306"/>
                    <a:pt x="121" y="306"/>
                  </a:cubicBezTo>
                  <a:cubicBezTo>
                    <a:pt x="122" y="307"/>
                    <a:pt x="122" y="308"/>
                    <a:pt x="122" y="308"/>
                  </a:cubicBezTo>
                  <a:cubicBezTo>
                    <a:pt x="122" y="308"/>
                    <a:pt x="125" y="306"/>
                    <a:pt x="125" y="305"/>
                  </a:cubicBezTo>
                  <a:cubicBezTo>
                    <a:pt x="125" y="305"/>
                    <a:pt x="125" y="303"/>
                    <a:pt x="125" y="303"/>
                  </a:cubicBezTo>
                  <a:cubicBezTo>
                    <a:pt x="125" y="303"/>
                    <a:pt x="125" y="299"/>
                    <a:pt x="125" y="298"/>
                  </a:cubicBezTo>
                  <a:cubicBezTo>
                    <a:pt x="125" y="297"/>
                    <a:pt x="124" y="294"/>
                    <a:pt x="124" y="293"/>
                  </a:cubicBezTo>
                  <a:cubicBezTo>
                    <a:pt x="124" y="293"/>
                    <a:pt x="125" y="291"/>
                    <a:pt x="125" y="291"/>
                  </a:cubicBezTo>
                  <a:cubicBezTo>
                    <a:pt x="125" y="291"/>
                    <a:pt x="128" y="290"/>
                    <a:pt x="129" y="290"/>
                  </a:cubicBezTo>
                  <a:cubicBezTo>
                    <a:pt x="130" y="290"/>
                    <a:pt x="131" y="291"/>
                    <a:pt x="132" y="292"/>
                  </a:cubicBezTo>
                  <a:cubicBezTo>
                    <a:pt x="132" y="293"/>
                    <a:pt x="132" y="297"/>
                    <a:pt x="132" y="297"/>
                  </a:cubicBezTo>
                  <a:cubicBezTo>
                    <a:pt x="138" y="298"/>
                    <a:pt x="138" y="298"/>
                    <a:pt x="138" y="298"/>
                  </a:cubicBezTo>
                  <a:cubicBezTo>
                    <a:pt x="138" y="298"/>
                    <a:pt x="140" y="299"/>
                    <a:pt x="140" y="299"/>
                  </a:cubicBezTo>
                  <a:cubicBezTo>
                    <a:pt x="140" y="300"/>
                    <a:pt x="141" y="302"/>
                    <a:pt x="142" y="303"/>
                  </a:cubicBezTo>
                  <a:cubicBezTo>
                    <a:pt x="143" y="304"/>
                    <a:pt x="144" y="305"/>
                    <a:pt x="144" y="305"/>
                  </a:cubicBezTo>
                  <a:cubicBezTo>
                    <a:pt x="144" y="305"/>
                    <a:pt x="146" y="310"/>
                    <a:pt x="147" y="311"/>
                  </a:cubicBezTo>
                  <a:cubicBezTo>
                    <a:pt x="147" y="312"/>
                    <a:pt x="147" y="314"/>
                    <a:pt x="147" y="316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47" y="318"/>
                    <a:pt x="150" y="319"/>
                    <a:pt x="151" y="320"/>
                  </a:cubicBezTo>
                  <a:cubicBezTo>
                    <a:pt x="153" y="321"/>
                    <a:pt x="152" y="320"/>
                    <a:pt x="153" y="319"/>
                  </a:cubicBezTo>
                  <a:cubicBezTo>
                    <a:pt x="154" y="318"/>
                    <a:pt x="153" y="317"/>
                    <a:pt x="153" y="316"/>
                  </a:cubicBezTo>
                  <a:cubicBezTo>
                    <a:pt x="153" y="315"/>
                    <a:pt x="153" y="313"/>
                    <a:pt x="152" y="311"/>
                  </a:cubicBezTo>
                  <a:cubicBezTo>
                    <a:pt x="152" y="310"/>
                    <a:pt x="152" y="309"/>
                    <a:pt x="152" y="309"/>
                  </a:cubicBezTo>
                  <a:cubicBezTo>
                    <a:pt x="152" y="309"/>
                    <a:pt x="153" y="307"/>
                    <a:pt x="153" y="306"/>
                  </a:cubicBezTo>
                  <a:cubicBezTo>
                    <a:pt x="153" y="306"/>
                    <a:pt x="153" y="304"/>
                    <a:pt x="153" y="303"/>
                  </a:cubicBezTo>
                  <a:cubicBezTo>
                    <a:pt x="153" y="302"/>
                    <a:pt x="155" y="301"/>
                    <a:pt x="155" y="301"/>
                  </a:cubicBezTo>
                  <a:cubicBezTo>
                    <a:pt x="155" y="301"/>
                    <a:pt x="155" y="300"/>
                    <a:pt x="156" y="298"/>
                  </a:cubicBezTo>
                  <a:cubicBezTo>
                    <a:pt x="157" y="297"/>
                    <a:pt x="156" y="298"/>
                    <a:pt x="157" y="298"/>
                  </a:cubicBezTo>
                  <a:cubicBezTo>
                    <a:pt x="158" y="297"/>
                    <a:pt x="159" y="297"/>
                    <a:pt x="161" y="297"/>
                  </a:cubicBezTo>
                  <a:cubicBezTo>
                    <a:pt x="162" y="297"/>
                    <a:pt x="163" y="298"/>
                    <a:pt x="163" y="298"/>
                  </a:cubicBezTo>
                  <a:cubicBezTo>
                    <a:pt x="165" y="301"/>
                    <a:pt x="165" y="301"/>
                    <a:pt x="165" y="301"/>
                  </a:cubicBezTo>
                  <a:cubicBezTo>
                    <a:pt x="165" y="301"/>
                    <a:pt x="165" y="301"/>
                    <a:pt x="165" y="302"/>
                  </a:cubicBezTo>
                  <a:cubicBezTo>
                    <a:pt x="165" y="303"/>
                    <a:pt x="167" y="305"/>
                    <a:pt x="167" y="305"/>
                  </a:cubicBezTo>
                  <a:cubicBezTo>
                    <a:pt x="171" y="308"/>
                    <a:pt x="171" y="308"/>
                    <a:pt x="171" y="308"/>
                  </a:cubicBezTo>
                  <a:cubicBezTo>
                    <a:pt x="171" y="308"/>
                    <a:pt x="171" y="309"/>
                    <a:pt x="171" y="309"/>
                  </a:cubicBezTo>
                  <a:cubicBezTo>
                    <a:pt x="171" y="310"/>
                    <a:pt x="172" y="312"/>
                    <a:pt x="173" y="313"/>
                  </a:cubicBezTo>
                  <a:cubicBezTo>
                    <a:pt x="174" y="315"/>
                    <a:pt x="173" y="312"/>
                    <a:pt x="174" y="312"/>
                  </a:cubicBezTo>
                  <a:cubicBezTo>
                    <a:pt x="174" y="311"/>
                    <a:pt x="175" y="310"/>
                    <a:pt x="175" y="310"/>
                  </a:cubicBezTo>
                  <a:cubicBezTo>
                    <a:pt x="177" y="313"/>
                    <a:pt x="177" y="313"/>
                    <a:pt x="177" y="313"/>
                  </a:cubicBezTo>
                  <a:cubicBezTo>
                    <a:pt x="177" y="313"/>
                    <a:pt x="181" y="314"/>
                    <a:pt x="182" y="314"/>
                  </a:cubicBezTo>
                  <a:cubicBezTo>
                    <a:pt x="183" y="313"/>
                    <a:pt x="184" y="312"/>
                    <a:pt x="184" y="312"/>
                  </a:cubicBezTo>
                  <a:cubicBezTo>
                    <a:pt x="182" y="310"/>
                    <a:pt x="182" y="310"/>
                    <a:pt x="182" y="310"/>
                  </a:cubicBezTo>
                  <a:cubicBezTo>
                    <a:pt x="180" y="307"/>
                    <a:pt x="180" y="307"/>
                    <a:pt x="180" y="307"/>
                  </a:cubicBezTo>
                  <a:cubicBezTo>
                    <a:pt x="180" y="307"/>
                    <a:pt x="177" y="304"/>
                    <a:pt x="176" y="304"/>
                  </a:cubicBezTo>
                  <a:cubicBezTo>
                    <a:pt x="175" y="303"/>
                    <a:pt x="174" y="302"/>
                    <a:pt x="174" y="301"/>
                  </a:cubicBezTo>
                  <a:cubicBezTo>
                    <a:pt x="173" y="300"/>
                    <a:pt x="173" y="298"/>
                    <a:pt x="173" y="298"/>
                  </a:cubicBezTo>
                  <a:cubicBezTo>
                    <a:pt x="174" y="297"/>
                    <a:pt x="174" y="295"/>
                    <a:pt x="175" y="293"/>
                  </a:cubicBezTo>
                  <a:cubicBezTo>
                    <a:pt x="176" y="291"/>
                    <a:pt x="174" y="293"/>
                    <a:pt x="174" y="293"/>
                  </a:cubicBezTo>
                  <a:cubicBezTo>
                    <a:pt x="174" y="293"/>
                    <a:pt x="172" y="290"/>
                    <a:pt x="173" y="289"/>
                  </a:cubicBezTo>
                  <a:cubicBezTo>
                    <a:pt x="173" y="289"/>
                    <a:pt x="169" y="283"/>
                    <a:pt x="169" y="283"/>
                  </a:cubicBezTo>
                  <a:cubicBezTo>
                    <a:pt x="169" y="283"/>
                    <a:pt x="168" y="281"/>
                    <a:pt x="168" y="281"/>
                  </a:cubicBezTo>
                  <a:cubicBezTo>
                    <a:pt x="168" y="281"/>
                    <a:pt x="165" y="279"/>
                    <a:pt x="164" y="279"/>
                  </a:cubicBezTo>
                  <a:cubicBezTo>
                    <a:pt x="163" y="278"/>
                    <a:pt x="162" y="277"/>
                    <a:pt x="162" y="277"/>
                  </a:cubicBezTo>
                  <a:cubicBezTo>
                    <a:pt x="162" y="276"/>
                    <a:pt x="162" y="274"/>
                    <a:pt x="162" y="273"/>
                  </a:cubicBezTo>
                  <a:cubicBezTo>
                    <a:pt x="161" y="272"/>
                    <a:pt x="160" y="270"/>
                    <a:pt x="159" y="269"/>
                  </a:cubicBezTo>
                  <a:cubicBezTo>
                    <a:pt x="158" y="268"/>
                    <a:pt x="157" y="266"/>
                    <a:pt x="156" y="264"/>
                  </a:cubicBezTo>
                  <a:cubicBezTo>
                    <a:pt x="155" y="263"/>
                    <a:pt x="154" y="261"/>
                    <a:pt x="154" y="261"/>
                  </a:cubicBezTo>
                  <a:cubicBezTo>
                    <a:pt x="153" y="257"/>
                    <a:pt x="153" y="257"/>
                    <a:pt x="153" y="257"/>
                  </a:cubicBezTo>
                  <a:cubicBezTo>
                    <a:pt x="153" y="255"/>
                    <a:pt x="153" y="255"/>
                    <a:pt x="153" y="255"/>
                  </a:cubicBezTo>
                  <a:cubicBezTo>
                    <a:pt x="156" y="257"/>
                    <a:pt x="156" y="257"/>
                    <a:pt x="156" y="257"/>
                  </a:cubicBezTo>
                  <a:cubicBezTo>
                    <a:pt x="156" y="257"/>
                    <a:pt x="158" y="256"/>
                    <a:pt x="159" y="256"/>
                  </a:cubicBezTo>
                  <a:cubicBezTo>
                    <a:pt x="160" y="256"/>
                    <a:pt x="163" y="257"/>
                    <a:pt x="163" y="257"/>
                  </a:cubicBezTo>
                  <a:cubicBezTo>
                    <a:pt x="163" y="257"/>
                    <a:pt x="165" y="258"/>
                    <a:pt x="166" y="258"/>
                  </a:cubicBezTo>
                  <a:cubicBezTo>
                    <a:pt x="166" y="258"/>
                    <a:pt x="167" y="259"/>
                    <a:pt x="168" y="258"/>
                  </a:cubicBezTo>
                  <a:cubicBezTo>
                    <a:pt x="169" y="258"/>
                    <a:pt x="170" y="260"/>
                    <a:pt x="170" y="261"/>
                  </a:cubicBezTo>
                  <a:cubicBezTo>
                    <a:pt x="170" y="262"/>
                    <a:pt x="169" y="263"/>
                    <a:pt x="169" y="263"/>
                  </a:cubicBezTo>
                  <a:cubicBezTo>
                    <a:pt x="169" y="264"/>
                    <a:pt x="169" y="265"/>
                    <a:pt x="169" y="265"/>
                  </a:cubicBezTo>
                  <a:cubicBezTo>
                    <a:pt x="169" y="265"/>
                    <a:pt x="171" y="266"/>
                    <a:pt x="172" y="266"/>
                  </a:cubicBezTo>
                  <a:cubicBezTo>
                    <a:pt x="172" y="267"/>
                    <a:pt x="171" y="268"/>
                    <a:pt x="171" y="268"/>
                  </a:cubicBezTo>
                  <a:cubicBezTo>
                    <a:pt x="171" y="268"/>
                    <a:pt x="171" y="270"/>
                    <a:pt x="171" y="271"/>
                  </a:cubicBezTo>
                  <a:cubicBezTo>
                    <a:pt x="172" y="271"/>
                    <a:pt x="173" y="269"/>
                    <a:pt x="173" y="269"/>
                  </a:cubicBezTo>
                  <a:cubicBezTo>
                    <a:pt x="173" y="269"/>
                    <a:pt x="174" y="267"/>
                    <a:pt x="174" y="266"/>
                  </a:cubicBezTo>
                  <a:cubicBezTo>
                    <a:pt x="174" y="265"/>
                    <a:pt x="176" y="264"/>
                    <a:pt x="176" y="264"/>
                  </a:cubicBezTo>
                  <a:cubicBezTo>
                    <a:pt x="178" y="260"/>
                    <a:pt x="178" y="260"/>
                    <a:pt x="178" y="260"/>
                  </a:cubicBezTo>
                  <a:cubicBezTo>
                    <a:pt x="180" y="258"/>
                    <a:pt x="180" y="258"/>
                    <a:pt x="180" y="258"/>
                  </a:cubicBezTo>
                  <a:cubicBezTo>
                    <a:pt x="180" y="258"/>
                    <a:pt x="184" y="257"/>
                    <a:pt x="185" y="256"/>
                  </a:cubicBezTo>
                  <a:cubicBezTo>
                    <a:pt x="186" y="255"/>
                    <a:pt x="186" y="256"/>
                    <a:pt x="186" y="255"/>
                  </a:cubicBezTo>
                  <a:cubicBezTo>
                    <a:pt x="187" y="255"/>
                    <a:pt x="187" y="253"/>
                    <a:pt x="187" y="253"/>
                  </a:cubicBezTo>
                  <a:cubicBezTo>
                    <a:pt x="185" y="251"/>
                    <a:pt x="185" y="251"/>
                    <a:pt x="185" y="251"/>
                  </a:cubicBezTo>
                  <a:cubicBezTo>
                    <a:pt x="181" y="252"/>
                    <a:pt x="181" y="252"/>
                    <a:pt x="181" y="252"/>
                  </a:cubicBezTo>
                  <a:cubicBezTo>
                    <a:pt x="180" y="250"/>
                    <a:pt x="180" y="250"/>
                    <a:pt x="180" y="250"/>
                  </a:cubicBezTo>
                  <a:cubicBezTo>
                    <a:pt x="180" y="250"/>
                    <a:pt x="180" y="250"/>
                    <a:pt x="181" y="250"/>
                  </a:cubicBezTo>
                  <a:cubicBezTo>
                    <a:pt x="181" y="250"/>
                    <a:pt x="181" y="246"/>
                    <a:pt x="181" y="246"/>
                  </a:cubicBezTo>
                  <a:cubicBezTo>
                    <a:pt x="181" y="246"/>
                    <a:pt x="179" y="247"/>
                    <a:pt x="178" y="247"/>
                  </a:cubicBezTo>
                  <a:cubicBezTo>
                    <a:pt x="177" y="247"/>
                    <a:pt x="178" y="250"/>
                    <a:pt x="178" y="250"/>
                  </a:cubicBezTo>
                  <a:cubicBezTo>
                    <a:pt x="178" y="250"/>
                    <a:pt x="173" y="249"/>
                    <a:pt x="172" y="249"/>
                  </a:cubicBezTo>
                  <a:cubicBezTo>
                    <a:pt x="171" y="248"/>
                    <a:pt x="171" y="247"/>
                    <a:pt x="171" y="247"/>
                  </a:cubicBezTo>
                  <a:cubicBezTo>
                    <a:pt x="170" y="246"/>
                    <a:pt x="172" y="243"/>
                    <a:pt x="172" y="243"/>
                  </a:cubicBezTo>
                  <a:cubicBezTo>
                    <a:pt x="173" y="239"/>
                    <a:pt x="173" y="239"/>
                    <a:pt x="173" y="239"/>
                  </a:cubicBezTo>
                  <a:cubicBezTo>
                    <a:pt x="173" y="239"/>
                    <a:pt x="168" y="238"/>
                    <a:pt x="168" y="237"/>
                  </a:cubicBezTo>
                  <a:cubicBezTo>
                    <a:pt x="168" y="236"/>
                    <a:pt x="163" y="239"/>
                    <a:pt x="161" y="237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58" y="233"/>
                    <a:pt x="158" y="233"/>
                    <a:pt x="158" y="233"/>
                  </a:cubicBezTo>
                  <a:cubicBezTo>
                    <a:pt x="156" y="233"/>
                    <a:pt x="156" y="233"/>
                    <a:pt x="156" y="233"/>
                  </a:cubicBezTo>
                  <a:cubicBezTo>
                    <a:pt x="156" y="233"/>
                    <a:pt x="153" y="234"/>
                    <a:pt x="152" y="234"/>
                  </a:cubicBezTo>
                  <a:cubicBezTo>
                    <a:pt x="151" y="234"/>
                    <a:pt x="151" y="232"/>
                    <a:pt x="151" y="232"/>
                  </a:cubicBezTo>
                  <a:cubicBezTo>
                    <a:pt x="146" y="230"/>
                    <a:pt x="146" y="230"/>
                    <a:pt x="146" y="230"/>
                  </a:cubicBezTo>
                  <a:cubicBezTo>
                    <a:pt x="141" y="229"/>
                    <a:pt x="141" y="229"/>
                    <a:pt x="141" y="229"/>
                  </a:cubicBezTo>
                  <a:cubicBezTo>
                    <a:pt x="141" y="229"/>
                    <a:pt x="135" y="228"/>
                    <a:pt x="133" y="227"/>
                  </a:cubicBezTo>
                  <a:cubicBezTo>
                    <a:pt x="132" y="227"/>
                    <a:pt x="127" y="226"/>
                    <a:pt x="125" y="226"/>
                  </a:cubicBezTo>
                  <a:cubicBezTo>
                    <a:pt x="123" y="226"/>
                    <a:pt x="121" y="226"/>
                    <a:pt x="119" y="225"/>
                  </a:cubicBezTo>
                  <a:cubicBezTo>
                    <a:pt x="118" y="224"/>
                    <a:pt x="115" y="223"/>
                    <a:pt x="115" y="223"/>
                  </a:cubicBezTo>
                  <a:cubicBezTo>
                    <a:pt x="115" y="223"/>
                    <a:pt x="109" y="221"/>
                    <a:pt x="109" y="221"/>
                  </a:cubicBezTo>
                  <a:cubicBezTo>
                    <a:pt x="108" y="221"/>
                    <a:pt x="107" y="221"/>
                    <a:pt x="107" y="221"/>
                  </a:cubicBezTo>
                  <a:cubicBezTo>
                    <a:pt x="106" y="221"/>
                    <a:pt x="104" y="224"/>
                    <a:pt x="102" y="225"/>
                  </a:cubicBezTo>
                  <a:cubicBezTo>
                    <a:pt x="101" y="225"/>
                    <a:pt x="101" y="228"/>
                    <a:pt x="100" y="229"/>
                  </a:cubicBezTo>
                  <a:cubicBezTo>
                    <a:pt x="100" y="231"/>
                    <a:pt x="99" y="232"/>
                    <a:pt x="98" y="232"/>
                  </a:cubicBezTo>
                  <a:cubicBezTo>
                    <a:pt x="98" y="233"/>
                    <a:pt x="92" y="231"/>
                    <a:pt x="92" y="232"/>
                  </a:cubicBezTo>
                  <a:close/>
                  <a:moveTo>
                    <a:pt x="60" y="252"/>
                  </a:moveTo>
                  <a:cubicBezTo>
                    <a:pt x="60" y="252"/>
                    <a:pt x="60" y="252"/>
                    <a:pt x="60" y="252"/>
                  </a:cubicBezTo>
                  <a:cubicBezTo>
                    <a:pt x="60" y="252"/>
                    <a:pt x="62" y="251"/>
                    <a:pt x="62" y="252"/>
                  </a:cubicBezTo>
                  <a:cubicBezTo>
                    <a:pt x="62" y="252"/>
                    <a:pt x="63" y="253"/>
                    <a:pt x="63" y="254"/>
                  </a:cubicBezTo>
                  <a:cubicBezTo>
                    <a:pt x="64" y="254"/>
                    <a:pt x="66" y="256"/>
                    <a:pt x="67" y="256"/>
                  </a:cubicBezTo>
                  <a:cubicBezTo>
                    <a:pt x="68" y="256"/>
                    <a:pt x="71" y="256"/>
                    <a:pt x="71" y="256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4" y="259"/>
                    <a:pt x="77" y="260"/>
                    <a:pt x="77" y="261"/>
                  </a:cubicBezTo>
                  <a:cubicBezTo>
                    <a:pt x="77" y="261"/>
                    <a:pt x="72" y="264"/>
                    <a:pt x="72" y="264"/>
                  </a:cubicBezTo>
                  <a:cubicBezTo>
                    <a:pt x="71" y="265"/>
                    <a:pt x="71" y="265"/>
                    <a:pt x="71" y="265"/>
                  </a:cubicBezTo>
                  <a:cubicBezTo>
                    <a:pt x="71" y="265"/>
                    <a:pt x="71" y="267"/>
                    <a:pt x="69" y="266"/>
                  </a:cubicBezTo>
                  <a:cubicBezTo>
                    <a:pt x="68" y="266"/>
                    <a:pt x="67" y="266"/>
                    <a:pt x="66" y="265"/>
                  </a:cubicBezTo>
                  <a:cubicBezTo>
                    <a:pt x="66" y="264"/>
                    <a:pt x="66" y="264"/>
                    <a:pt x="65" y="263"/>
                  </a:cubicBezTo>
                  <a:cubicBezTo>
                    <a:pt x="63" y="262"/>
                    <a:pt x="59" y="259"/>
                    <a:pt x="59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59" y="254"/>
                    <a:pt x="59" y="254"/>
                    <a:pt x="59" y="254"/>
                  </a:cubicBezTo>
                  <a:cubicBezTo>
                    <a:pt x="60" y="252"/>
                    <a:pt x="60" y="252"/>
                    <a:pt x="60" y="252"/>
                  </a:cubicBezTo>
                  <a:close/>
                  <a:moveTo>
                    <a:pt x="48" y="234"/>
                  </a:moveTo>
                  <a:cubicBezTo>
                    <a:pt x="48" y="234"/>
                    <a:pt x="48" y="234"/>
                    <a:pt x="48" y="234"/>
                  </a:cubicBezTo>
                  <a:cubicBezTo>
                    <a:pt x="45" y="230"/>
                    <a:pt x="45" y="230"/>
                    <a:pt x="45" y="230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5" y="240"/>
                    <a:pt x="45" y="240"/>
                    <a:pt x="45" y="240"/>
                  </a:cubicBezTo>
                  <a:cubicBezTo>
                    <a:pt x="46" y="240"/>
                    <a:pt x="46" y="240"/>
                    <a:pt x="46" y="240"/>
                  </a:cubicBezTo>
                  <a:cubicBezTo>
                    <a:pt x="48" y="237"/>
                    <a:pt x="48" y="237"/>
                    <a:pt x="48" y="237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52" y="244"/>
                    <a:pt x="52" y="244"/>
                    <a:pt x="52" y="244"/>
                  </a:cubicBezTo>
                  <a:cubicBezTo>
                    <a:pt x="52" y="244"/>
                    <a:pt x="54" y="242"/>
                    <a:pt x="55" y="241"/>
                  </a:cubicBezTo>
                  <a:cubicBezTo>
                    <a:pt x="56" y="241"/>
                    <a:pt x="60" y="244"/>
                    <a:pt x="60" y="244"/>
                  </a:cubicBezTo>
                  <a:cubicBezTo>
                    <a:pt x="60" y="244"/>
                    <a:pt x="64" y="242"/>
                    <a:pt x="65" y="242"/>
                  </a:cubicBezTo>
                  <a:cubicBezTo>
                    <a:pt x="66" y="242"/>
                    <a:pt x="63" y="239"/>
                    <a:pt x="63" y="239"/>
                  </a:cubicBezTo>
                  <a:cubicBezTo>
                    <a:pt x="60" y="236"/>
                    <a:pt x="60" y="236"/>
                    <a:pt x="60" y="236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54" y="232"/>
                    <a:pt x="54" y="232"/>
                    <a:pt x="54" y="232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5" y="229"/>
                    <a:pt x="55" y="229"/>
                    <a:pt x="55" y="229"/>
                  </a:cubicBezTo>
                  <a:cubicBezTo>
                    <a:pt x="55" y="229"/>
                    <a:pt x="55" y="231"/>
                    <a:pt x="57" y="230"/>
                  </a:cubicBezTo>
                  <a:cubicBezTo>
                    <a:pt x="59" y="230"/>
                    <a:pt x="59" y="230"/>
                    <a:pt x="59" y="229"/>
                  </a:cubicBezTo>
                  <a:cubicBezTo>
                    <a:pt x="60" y="229"/>
                    <a:pt x="59" y="228"/>
                    <a:pt x="59" y="228"/>
                  </a:cubicBezTo>
                  <a:cubicBezTo>
                    <a:pt x="56" y="226"/>
                    <a:pt x="56" y="226"/>
                    <a:pt x="56" y="226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4" y="221"/>
                    <a:pt x="54" y="221"/>
                    <a:pt x="54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0" y="223"/>
                    <a:pt x="50" y="223"/>
                    <a:pt x="50" y="223"/>
                  </a:cubicBezTo>
                  <a:cubicBezTo>
                    <a:pt x="50" y="223"/>
                    <a:pt x="49" y="225"/>
                    <a:pt x="49" y="225"/>
                  </a:cubicBezTo>
                  <a:cubicBezTo>
                    <a:pt x="49" y="226"/>
                    <a:pt x="50" y="229"/>
                    <a:pt x="50" y="229"/>
                  </a:cubicBezTo>
                  <a:cubicBezTo>
                    <a:pt x="48" y="234"/>
                    <a:pt x="48" y="234"/>
                    <a:pt x="48" y="234"/>
                  </a:cubicBezTo>
                  <a:close/>
                  <a:moveTo>
                    <a:pt x="11" y="161"/>
                  </a:moveTo>
                  <a:cubicBezTo>
                    <a:pt x="11" y="161"/>
                    <a:pt x="11" y="161"/>
                    <a:pt x="11" y="161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9" y="161"/>
                    <a:pt x="9" y="162"/>
                    <a:pt x="10" y="163"/>
                  </a:cubicBezTo>
                  <a:cubicBezTo>
                    <a:pt x="11" y="164"/>
                    <a:pt x="13" y="170"/>
                    <a:pt x="13" y="170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22" y="176"/>
                    <a:pt x="24" y="179"/>
                    <a:pt x="21" y="178"/>
                  </a:cubicBezTo>
                  <a:cubicBezTo>
                    <a:pt x="18" y="177"/>
                    <a:pt x="15" y="175"/>
                    <a:pt x="14" y="174"/>
                  </a:cubicBezTo>
                  <a:cubicBezTo>
                    <a:pt x="12" y="174"/>
                    <a:pt x="10" y="173"/>
                    <a:pt x="10" y="173"/>
                  </a:cubicBezTo>
                  <a:cubicBezTo>
                    <a:pt x="10" y="173"/>
                    <a:pt x="9" y="168"/>
                    <a:pt x="9" y="167"/>
                  </a:cubicBezTo>
                  <a:cubicBezTo>
                    <a:pt x="8" y="167"/>
                    <a:pt x="6" y="166"/>
                    <a:pt x="6" y="166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3"/>
                    <a:pt x="0" y="159"/>
                    <a:pt x="1" y="158"/>
                  </a:cubicBezTo>
                  <a:cubicBezTo>
                    <a:pt x="1" y="158"/>
                    <a:pt x="1" y="156"/>
                    <a:pt x="3" y="156"/>
                  </a:cubicBezTo>
                  <a:cubicBezTo>
                    <a:pt x="4" y="155"/>
                    <a:pt x="7" y="155"/>
                    <a:pt x="7" y="155"/>
                  </a:cubicBezTo>
                  <a:cubicBezTo>
                    <a:pt x="7" y="155"/>
                    <a:pt x="7" y="152"/>
                    <a:pt x="8" y="153"/>
                  </a:cubicBezTo>
                  <a:cubicBezTo>
                    <a:pt x="9" y="154"/>
                    <a:pt x="11" y="157"/>
                    <a:pt x="11" y="157"/>
                  </a:cubicBezTo>
                  <a:lnTo>
                    <a:pt x="11" y="161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7" name="Freeform 210"/>
            <p:cNvSpPr>
              <a:spLocks noEditPoints="1"/>
            </p:cNvSpPr>
            <p:nvPr/>
          </p:nvSpPr>
          <p:spPr bwMode="auto">
            <a:xfrm>
              <a:off x="6551975" y="3312876"/>
              <a:ext cx="1810762" cy="943961"/>
            </a:xfrm>
            <a:custGeom>
              <a:avLst/>
              <a:gdLst>
                <a:gd name="T0" fmla="*/ 742 w 794"/>
                <a:gd name="T1" fmla="*/ 116 h 427"/>
                <a:gd name="T2" fmla="*/ 780 w 794"/>
                <a:gd name="T3" fmla="*/ 173 h 427"/>
                <a:gd name="T4" fmla="*/ 770 w 794"/>
                <a:gd name="T5" fmla="*/ 188 h 427"/>
                <a:gd name="T6" fmla="*/ 699 w 794"/>
                <a:gd name="T7" fmla="*/ 222 h 427"/>
                <a:gd name="T8" fmla="*/ 627 w 794"/>
                <a:gd name="T9" fmla="*/ 256 h 427"/>
                <a:gd name="T10" fmla="*/ 498 w 794"/>
                <a:gd name="T11" fmla="*/ 320 h 427"/>
                <a:gd name="T12" fmla="*/ 472 w 794"/>
                <a:gd name="T13" fmla="*/ 373 h 427"/>
                <a:gd name="T14" fmla="*/ 438 w 794"/>
                <a:gd name="T15" fmla="*/ 333 h 427"/>
                <a:gd name="T16" fmla="*/ 374 w 794"/>
                <a:gd name="T17" fmla="*/ 377 h 427"/>
                <a:gd name="T18" fmla="*/ 261 w 794"/>
                <a:gd name="T19" fmla="*/ 378 h 427"/>
                <a:gd name="T20" fmla="*/ 178 w 794"/>
                <a:gd name="T21" fmla="*/ 417 h 427"/>
                <a:gd name="T22" fmla="*/ 129 w 794"/>
                <a:gd name="T23" fmla="*/ 413 h 427"/>
                <a:gd name="T24" fmla="*/ 100 w 794"/>
                <a:gd name="T25" fmla="*/ 401 h 427"/>
                <a:gd name="T26" fmla="*/ 84 w 794"/>
                <a:gd name="T27" fmla="*/ 373 h 427"/>
                <a:gd name="T28" fmla="*/ 94 w 794"/>
                <a:gd name="T29" fmla="*/ 369 h 427"/>
                <a:gd name="T30" fmla="*/ 66 w 794"/>
                <a:gd name="T31" fmla="*/ 348 h 427"/>
                <a:gd name="T32" fmla="*/ 45 w 794"/>
                <a:gd name="T33" fmla="*/ 343 h 427"/>
                <a:gd name="T34" fmla="*/ 49 w 794"/>
                <a:gd name="T35" fmla="*/ 326 h 427"/>
                <a:gd name="T36" fmla="*/ 70 w 794"/>
                <a:gd name="T37" fmla="*/ 333 h 427"/>
                <a:gd name="T38" fmla="*/ 65 w 794"/>
                <a:gd name="T39" fmla="*/ 316 h 427"/>
                <a:gd name="T40" fmla="*/ 55 w 794"/>
                <a:gd name="T41" fmla="*/ 299 h 427"/>
                <a:gd name="T42" fmla="*/ 43 w 794"/>
                <a:gd name="T43" fmla="*/ 278 h 427"/>
                <a:gd name="T44" fmla="*/ 22 w 794"/>
                <a:gd name="T45" fmla="*/ 277 h 427"/>
                <a:gd name="T46" fmla="*/ 22 w 794"/>
                <a:gd name="T47" fmla="*/ 246 h 427"/>
                <a:gd name="T48" fmla="*/ 47 w 794"/>
                <a:gd name="T49" fmla="*/ 225 h 427"/>
                <a:gd name="T50" fmla="*/ 79 w 794"/>
                <a:gd name="T51" fmla="*/ 220 h 427"/>
                <a:gd name="T52" fmla="*/ 83 w 794"/>
                <a:gd name="T53" fmla="*/ 218 h 427"/>
                <a:gd name="T54" fmla="*/ 123 w 794"/>
                <a:gd name="T55" fmla="*/ 207 h 427"/>
                <a:gd name="T56" fmla="*/ 120 w 794"/>
                <a:gd name="T57" fmla="*/ 197 h 427"/>
                <a:gd name="T58" fmla="*/ 154 w 794"/>
                <a:gd name="T59" fmla="*/ 177 h 427"/>
                <a:gd name="T60" fmla="*/ 88 w 794"/>
                <a:gd name="T61" fmla="*/ 179 h 427"/>
                <a:gd name="T62" fmla="*/ 48 w 794"/>
                <a:gd name="T63" fmla="*/ 214 h 427"/>
                <a:gd name="T64" fmla="*/ 18 w 794"/>
                <a:gd name="T65" fmla="*/ 248 h 427"/>
                <a:gd name="T66" fmla="*/ 15 w 794"/>
                <a:gd name="T67" fmla="*/ 240 h 427"/>
                <a:gd name="T68" fmla="*/ 33 w 794"/>
                <a:gd name="T69" fmla="*/ 217 h 427"/>
                <a:gd name="T70" fmla="*/ 0 w 794"/>
                <a:gd name="T71" fmla="*/ 217 h 427"/>
                <a:gd name="T72" fmla="*/ 11 w 794"/>
                <a:gd name="T73" fmla="*/ 197 h 427"/>
                <a:gd name="T74" fmla="*/ 18 w 794"/>
                <a:gd name="T75" fmla="*/ 175 h 427"/>
                <a:gd name="T76" fmla="*/ 1 w 794"/>
                <a:gd name="T77" fmla="*/ 162 h 427"/>
                <a:gd name="T78" fmla="*/ 5 w 794"/>
                <a:gd name="T79" fmla="*/ 158 h 427"/>
                <a:gd name="T80" fmla="*/ 32 w 794"/>
                <a:gd name="T81" fmla="*/ 135 h 427"/>
                <a:gd name="T82" fmla="*/ 65 w 794"/>
                <a:gd name="T83" fmla="*/ 131 h 427"/>
                <a:gd name="T84" fmla="*/ 106 w 794"/>
                <a:gd name="T85" fmla="*/ 157 h 427"/>
                <a:gd name="T86" fmla="*/ 159 w 794"/>
                <a:gd name="T87" fmla="*/ 154 h 427"/>
                <a:gd name="T88" fmla="*/ 203 w 794"/>
                <a:gd name="T89" fmla="*/ 143 h 427"/>
                <a:gd name="T90" fmla="*/ 235 w 794"/>
                <a:gd name="T91" fmla="*/ 107 h 427"/>
                <a:gd name="T92" fmla="*/ 325 w 794"/>
                <a:gd name="T93" fmla="*/ 69 h 427"/>
                <a:gd name="T94" fmla="*/ 358 w 794"/>
                <a:gd name="T95" fmla="*/ 81 h 427"/>
                <a:gd name="T96" fmla="*/ 390 w 794"/>
                <a:gd name="T97" fmla="*/ 93 h 427"/>
                <a:gd name="T98" fmla="*/ 427 w 794"/>
                <a:gd name="T99" fmla="*/ 89 h 427"/>
                <a:gd name="T100" fmla="*/ 454 w 794"/>
                <a:gd name="T101" fmla="*/ 87 h 427"/>
                <a:gd name="T102" fmla="*/ 490 w 794"/>
                <a:gd name="T103" fmla="*/ 75 h 427"/>
                <a:gd name="T104" fmla="*/ 516 w 794"/>
                <a:gd name="T105" fmla="*/ 67 h 427"/>
                <a:gd name="T106" fmla="*/ 554 w 794"/>
                <a:gd name="T107" fmla="*/ 51 h 427"/>
                <a:gd name="T108" fmla="*/ 575 w 794"/>
                <a:gd name="T109" fmla="*/ 27 h 427"/>
                <a:gd name="T110" fmla="*/ 606 w 794"/>
                <a:gd name="T111" fmla="*/ 14 h 427"/>
                <a:gd name="T112" fmla="*/ 642 w 794"/>
                <a:gd name="T113" fmla="*/ 9 h 427"/>
                <a:gd name="T114" fmla="*/ 671 w 794"/>
                <a:gd name="T115" fmla="*/ 16 h 427"/>
                <a:gd name="T116" fmla="*/ 674 w 794"/>
                <a:gd name="T117" fmla="*/ 40 h 427"/>
                <a:gd name="T118" fmla="*/ 685 w 794"/>
                <a:gd name="T119" fmla="*/ 59 h 427"/>
                <a:gd name="T120" fmla="*/ 708 w 794"/>
                <a:gd name="T121" fmla="*/ 58 h 427"/>
                <a:gd name="T122" fmla="*/ 727 w 794"/>
                <a:gd name="T123" fmla="*/ 8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4" h="427">
                  <a:moveTo>
                    <a:pt x="727" y="80"/>
                  </a:moveTo>
                  <a:cubicBezTo>
                    <a:pt x="717" y="84"/>
                    <a:pt x="717" y="84"/>
                    <a:pt x="717" y="84"/>
                  </a:cubicBezTo>
                  <a:cubicBezTo>
                    <a:pt x="717" y="86"/>
                    <a:pt x="717" y="86"/>
                    <a:pt x="717" y="86"/>
                  </a:cubicBezTo>
                  <a:cubicBezTo>
                    <a:pt x="723" y="93"/>
                    <a:pt x="723" y="93"/>
                    <a:pt x="723" y="93"/>
                  </a:cubicBezTo>
                  <a:cubicBezTo>
                    <a:pt x="729" y="95"/>
                    <a:pt x="729" y="95"/>
                    <a:pt x="729" y="95"/>
                  </a:cubicBezTo>
                  <a:cubicBezTo>
                    <a:pt x="733" y="105"/>
                    <a:pt x="733" y="105"/>
                    <a:pt x="733" y="105"/>
                  </a:cubicBezTo>
                  <a:cubicBezTo>
                    <a:pt x="742" y="116"/>
                    <a:pt x="742" y="116"/>
                    <a:pt x="742" y="116"/>
                  </a:cubicBezTo>
                  <a:cubicBezTo>
                    <a:pt x="748" y="129"/>
                    <a:pt x="748" y="129"/>
                    <a:pt x="748" y="129"/>
                  </a:cubicBezTo>
                  <a:cubicBezTo>
                    <a:pt x="756" y="130"/>
                    <a:pt x="756" y="130"/>
                    <a:pt x="756" y="130"/>
                  </a:cubicBezTo>
                  <a:cubicBezTo>
                    <a:pt x="758" y="135"/>
                    <a:pt x="756" y="128"/>
                    <a:pt x="756" y="136"/>
                  </a:cubicBezTo>
                  <a:cubicBezTo>
                    <a:pt x="754" y="148"/>
                    <a:pt x="753" y="140"/>
                    <a:pt x="756" y="154"/>
                  </a:cubicBezTo>
                  <a:cubicBezTo>
                    <a:pt x="756" y="158"/>
                    <a:pt x="771" y="156"/>
                    <a:pt x="772" y="156"/>
                  </a:cubicBezTo>
                  <a:cubicBezTo>
                    <a:pt x="771" y="157"/>
                    <a:pt x="777" y="160"/>
                    <a:pt x="775" y="165"/>
                  </a:cubicBezTo>
                  <a:cubicBezTo>
                    <a:pt x="773" y="169"/>
                    <a:pt x="783" y="167"/>
                    <a:pt x="780" y="173"/>
                  </a:cubicBezTo>
                  <a:cubicBezTo>
                    <a:pt x="779" y="175"/>
                    <a:pt x="787" y="173"/>
                    <a:pt x="791" y="175"/>
                  </a:cubicBezTo>
                  <a:cubicBezTo>
                    <a:pt x="794" y="176"/>
                    <a:pt x="794" y="181"/>
                    <a:pt x="793" y="182"/>
                  </a:cubicBezTo>
                  <a:cubicBezTo>
                    <a:pt x="791" y="185"/>
                    <a:pt x="790" y="183"/>
                    <a:pt x="786" y="187"/>
                  </a:cubicBezTo>
                  <a:cubicBezTo>
                    <a:pt x="780" y="191"/>
                    <a:pt x="783" y="194"/>
                    <a:pt x="783" y="195"/>
                  </a:cubicBezTo>
                  <a:cubicBezTo>
                    <a:pt x="782" y="198"/>
                    <a:pt x="780" y="199"/>
                    <a:pt x="779" y="200"/>
                  </a:cubicBezTo>
                  <a:cubicBezTo>
                    <a:pt x="772" y="196"/>
                    <a:pt x="772" y="196"/>
                    <a:pt x="772" y="196"/>
                  </a:cubicBezTo>
                  <a:cubicBezTo>
                    <a:pt x="770" y="188"/>
                    <a:pt x="770" y="188"/>
                    <a:pt x="770" y="188"/>
                  </a:cubicBezTo>
                  <a:cubicBezTo>
                    <a:pt x="761" y="188"/>
                    <a:pt x="761" y="188"/>
                    <a:pt x="761" y="188"/>
                  </a:cubicBezTo>
                  <a:cubicBezTo>
                    <a:pt x="757" y="196"/>
                    <a:pt x="757" y="196"/>
                    <a:pt x="757" y="196"/>
                  </a:cubicBezTo>
                  <a:cubicBezTo>
                    <a:pt x="737" y="198"/>
                    <a:pt x="737" y="198"/>
                    <a:pt x="737" y="198"/>
                  </a:cubicBezTo>
                  <a:cubicBezTo>
                    <a:pt x="730" y="203"/>
                    <a:pt x="726" y="194"/>
                    <a:pt x="722" y="202"/>
                  </a:cubicBezTo>
                  <a:cubicBezTo>
                    <a:pt x="713" y="203"/>
                    <a:pt x="721" y="205"/>
                    <a:pt x="712" y="204"/>
                  </a:cubicBezTo>
                  <a:cubicBezTo>
                    <a:pt x="710" y="204"/>
                    <a:pt x="711" y="216"/>
                    <a:pt x="706" y="219"/>
                  </a:cubicBezTo>
                  <a:cubicBezTo>
                    <a:pt x="703" y="220"/>
                    <a:pt x="703" y="222"/>
                    <a:pt x="699" y="222"/>
                  </a:cubicBezTo>
                  <a:cubicBezTo>
                    <a:pt x="693" y="221"/>
                    <a:pt x="697" y="217"/>
                    <a:pt x="696" y="217"/>
                  </a:cubicBezTo>
                  <a:cubicBezTo>
                    <a:pt x="690" y="216"/>
                    <a:pt x="690" y="216"/>
                    <a:pt x="690" y="216"/>
                  </a:cubicBezTo>
                  <a:cubicBezTo>
                    <a:pt x="685" y="228"/>
                    <a:pt x="685" y="228"/>
                    <a:pt x="685" y="228"/>
                  </a:cubicBezTo>
                  <a:cubicBezTo>
                    <a:pt x="670" y="234"/>
                    <a:pt x="670" y="234"/>
                    <a:pt x="670" y="234"/>
                  </a:cubicBezTo>
                  <a:cubicBezTo>
                    <a:pt x="659" y="240"/>
                    <a:pt x="659" y="240"/>
                    <a:pt x="659" y="240"/>
                  </a:cubicBezTo>
                  <a:cubicBezTo>
                    <a:pt x="638" y="246"/>
                    <a:pt x="638" y="246"/>
                    <a:pt x="638" y="246"/>
                  </a:cubicBezTo>
                  <a:cubicBezTo>
                    <a:pt x="627" y="256"/>
                    <a:pt x="627" y="256"/>
                    <a:pt x="627" y="256"/>
                  </a:cubicBezTo>
                  <a:cubicBezTo>
                    <a:pt x="610" y="261"/>
                    <a:pt x="625" y="261"/>
                    <a:pt x="609" y="276"/>
                  </a:cubicBezTo>
                  <a:cubicBezTo>
                    <a:pt x="598" y="287"/>
                    <a:pt x="580" y="290"/>
                    <a:pt x="564" y="295"/>
                  </a:cubicBezTo>
                  <a:cubicBezTo>
                    <a:pt x="551" y="288"/>
                    <a:pt x="551" y="288"/>
                    <a:pt x="551" y="288"/>
                  </a:cubicBezTo>
                  <a:cubicBezTo>
                    <a:pt x="551" y="288"/>
                    <a:pt x="545" y="290"/>
                    <a:pt x="542" y="290"/>
                  </a:cubicBezTo>
                  <a:cubicBezTo>
                    <a:pt x="539" y="291"/>
                    <a:pt x="529" y="302"/>
                    <a:pt x="529" y="302"/>
                  </a:cubicBezTo>
                  <a:cubicBezTo>
                    <a:pt x="516" y="314"/>
                    <a:pt x="516" y="314"/>
                    <a:pt x="516" y="314"/>
                  </a:cubicBezTo>
                  <a:cubicBezTo>
                    <a:pt x="511" y="317"/>
                    <a:pt x="505" y="320"/>
                    <a:pt x="498" y="320"/>
                  </a:cubicBezTo>
                  <a:cubicBezTo>
                    <a:pt x="489" y="314"/>
                    <a:pt x="489" y="314"/>
                    <a:pt x="489" y="314"/>
                  </a:cubicBezTo>
                  <a:cubicBezTo>
                    <a:pt x="480" y="314"/>
                    <a:pt x="476" y="319"/>
                    <a:pt x="481" y="326"/>
                  </a:cubicBezTo>
                  <a:cubicBezTo>
                    <a:pt x="483" y="329"/>
                    <a:pt x="481" y="331"/>
                    <a:pt x="482" y="334"/>
                  </a:cubicBezTo>
                  <a:cubicBezTo>
                    <a:pt x="482" y="339"/>
                    <a:pt x="491" y="341"/>
                    <a:pt x="490" y="345"/>
                  </a:cubicBezTo>
                  <a:cubicBezTo>
                    <a:pt x="489" y="347"/>
                    <a:pt x="484" y="347"/>
                    <a:pt x="480" y="350"/>
                  </a:cubicBezTo>
                  <a:cubicBezTo>
                    <a:pt x="477" y="352"/>
                    <a:pt x="483" y="363"/>
                    <a:pt x="481" y="363"/>
                  </a:cubicBezTo>
                  <a:cubicBezTo>
                    <a:pt x="481" y="363"/>
                    <a:pt x="476" y="375"/>
                    <a:pt x="472" y="373"/>
                  </a:cubicBezTo>
                  <a:cubicBezTo>
                    <a:pt x="470" y="371"/>
                    <a:pt x="467" y="368"/>
                    <a:pt x="465" y="364"/>
                  </a:cubicBezTo>
                  <a:cubicBezTo>
                    <a:pt x="463" y="361"/>
                    <a:pt x="456" y="358"/>
                    <a:pt x="455" y="354"/>
                  </a:cubicBezTo>
                  <a:cubicBezTo>
                    <a:pt x="452" y="350"/>
                    <a:pt x="465" y="334"/>
                    <a:pt x="464" y="333"/>
                  </a:cubicBezTo>
                  <a:cubicBezTo>
                    <a:pt x="465" y="330"/>
                    <a:pt x="465" y="330"/>
                    <a:pt x="463" y="324"/>
                  </a:cubicBezTo>
                  <a:cubicBezTo>
                    <a:pt x="463" y="321"/>
                    <a:pt x="454" y="320"/>
                    <a:pt x="452" y="317"/>
                  </a:cubicBezTo>
                  <a:cubicBezTo>
                    <a:pt x="446" y="328"/>
                    <a:pt x="446" y="328"/>
                    <a:pt x="446" y="328"/>
                  </a:cubicBezTo>
                  <a:cubicBezTo>
                    <a:pt x="438" y="333"/>
                    <a:pt x="438" y="333"/>
                    <a:pt x="438" y="333"/>
                  </a:cubicBezTo>
                  <a:cubicBezTo>
                    <a:pt x="430" y="334"/>
                    <a:pt x="443" y="343"/>
                    <a:pt x="437" y="342"/>
                  </a:cubicBezTo>
                  <a:cubicBezTo>
                    <a:pt x="436" y="341"/>
                    <a:pt x="429" y="347"/>
                    <a:pt x="423" y="344"/>
                  </a:cubicBezTo>
                  <a:cubicBezTo>
                    <a:pt x="416" y="340"/>
                    <a:pt x="407" y="339"/>
                    <a:pt x="404" y="339"/>
                  </a:cubicBezTo>
                  <a:cubicBezTo>
                    <a:pt x="395" y="343"/>
                    <a:pt x="395" y="343"/>
                    <a:pt x="395" y="343"/>
                  </a:cubicBezTo>
                  <a:cubicBezTo>
                    <a:pt x="392" y="348"/>
                    <a:pt x="391" y="354"/>
                    <a:pt x="389" y="357"/>
                  </a:cubicBezTo>
                  <a:cubicBezTo>
                    <a:pt x="381" y="368"/>
                    <a:pt x="381" y="368"/>
                    <a:pt x="381" y="368"/>
                  </a:cubicBezTo>
                  <a:cubicBezTo>
                    <a:pt x="370" y="372"/>
                    <a:pt x="379" y="375"/>
                    <a:pt x="374" y="377"/>
                  </a:cubicBezTo>
                  <a:cubicBezTo>
                    <a:pt x="372" y="378"/>
                    <a:pt x="369" y="385"/>
                    <a:pt x="362" y="387"/>
                  </a:cubicBezTo>
                  <a:cubicBezTo>
                    <a:pt x="358" y="388"/>
                    <a:pt x="352" y="393"/>
                    <a:pt x="347" y="393"/>
                  </a:cubicBezTo>
                  <a:cubicBezTo>
                    <a:pt x="345" y="393"/>
                    <a:pt x="334" y="401"/>
                    <a:pt x="333" y="403"/>
                  </a:cubicBezTo>
                  <a:cubicBezTo>
                    <a:pt x="325" y="401"/>
                    <a:pt x="303" y="395"/>
                    <a:pt x="301" y="387"/>
                  </a:cubicBezTo>
                  <a:cubicBezTo>
                    <a:pt x="299" y="380"/>
                    <a:pt x="292" y="390"/>
                    <a:pt x="286" y="383"/>
                  </a:cubicBezTo>
                  <a:cubicBezTo>
                    <a:pt x="271" y="378"/>
                    <a:pt x="271" y="378"/>
                    <a:pt x="271" y="378"/>
                  </a:cubicBezTo>
                  <a:cubicBezTo>
                    <a:pt x="261" y="378"/>
                    <a:pt x="261" y="378"/>
                    <a:pt x="261" y="378"/>
                  </a:cubicBezTo>
                  <a:cubicBezTo>
                    <a:pt x="257" y="378"/>
                    <a:pt x="239" y="380"/>
                    <a:pt x="235" y="382"/>
                  </a:cubicBezTo>
                  <a:cubicBezTo>
                    <a:pt x="238" y="393"/>
                    <a:pt x="237" y="385"/>
                    <a:pt x="237" y="398"/>
                  </a:cubicBezTo>
                  <a:cubicBezTo>
                    <a:pt x="231" y="399"/>
                    <a:pt x="238" y="412"/>
                    <a:pt x="233" y="416"/>
                  </a:cubicBezTo>
                  <a:cubicBezTo>
                    <a:pt x="216" y="420"/>
                    <a:pt x="216" y="420"/>
                    <a:pt x="216" y="420"/>
                  </a:cubicBezTo>
                  <a:cubicBezTo>
                    <a:pt x="206" y="426"/>
                    <a:pt x="206" y="426"/>
                    <a:pt x="206" y="426"/>
                  </a:cubicBezTo>
                  <a:cubicBezTo>
                    <a:pt x="188" y="426"/>
                    <a:pt x="188" y="426"/>
                    <a:pt x="188" y="426"/>
                  </a:cubicBezTo>
                  <a:cubicBezTo>
                    <a:pt x="188" y="427"/>
                    <a:pt x="179" y="421"/>
                    <a:pt x="178" y="417"/>
                  </a:cubicBezTo>
                  <a:cubicBezTo>
                    <a:pt x="173" y="404"/>
                    <a:pt x="176" y="406"/>
                    <a:pt x="172" y="404"/>
                  </a:cubicBezTo>
                  <a:cubicBezTo>
                    <a:pt x="165" y="402"/>
                    <a:pt x="165" y="405"/>
                    <a:pt x="163" y="404"/>
                  </a:cubicBezTo>
                  <a:cubicBezTo>
                    <a:pt x="163" y="403"/>
                    <a:pt x="159" y="404"/>
                    <a:pt x="153" y="409"/>
                  </a:cubicBezTo>
                  <a:cubicBezTo>
                    <a:pt x="151" y="412"/>
                    <a:pt x="147" y="420"/>
                    <a:pt x="145" y="421"/>
                  </a:cubicBezTo>
                  <a:cubicBezTo>
                    <a:pt x="143" y="423"/>
                    <a:pt x="143" y="416"/>
                    <a:pt x="141" y="417"/>
                  </a:cubicBezTo>
                  <a:cubicBezTo>
                    <a:pt x="137" y="419"/>
                    <a:pt x="138" y="413"/>
                    <a:pt x="130" y="418"/>
                  </a:cubicBezTo>
                  <a:cubicBezTo>
                    <a:pt x="127" y="420"/>
                    <a:pt x="117" y="417"/>
                    <a:pt x="129" y="413"/>
                  </a:cubicBezTo>
                  <a:cubicBezTo>
                    <a:pt x="131" y="413"/>
                    <a:pt x="147" y="401"/>
                    <a:pt x="147" y="400"/>
                  </a:cubicBezTo>
                  <a:cubicBezTo>
                    <a:pt x="148" y="398"/>
                    <a:pt x="137" y="393"/>
                    <a:pt x="136" y="393"/>
                  </a:cubicBezTo>
                  <a:cubicBezTo>
                    <a:pt x="135" y="393"/>
                    <a:pt x="130" y="401"/>
                    <a:pt x="125" y="403"/>
                  </a:cubicBezTo>
                  <a:cubicBezTo>
                    <a:pt x="117" y="405"/>
                    <a:pt x="117" y="406"/>
                    <a:pt x="113" y="407"/>
                  </a:cubicBezTo>
                  <a:cubicBezTo>
                    <a:pt x="110" y="408"/>
                    <a:pt x="109" y="404"/>
                    <a:pt x="107" y="405"/>
                  </a:cubicBezTo>
                  <a:cubicBezTo>
                    <a:pt x="104" y="406"/>
                    <a:pt x="104" y="408"/>
                    <a:pt x="102" y="408"/>
                  </a:cubicBezTo>
                  <a:cubicBezTo>
                    <a:pt x="97" y="408"/>
                    <a:pt x="100" y="401"/>
                    <a:pt x="100" y="401"/>
                  </a:cubicBezTo>
                  <a:cubicBezTo>
                    <a:pt x="104" y="399"/>
                    <a:pt x="103" y="401"/>
                    <a:pt x="109" y="399"/>
                  </a:cubicBezTo>
                  <a:cubicBezTo>
                    <a:pt x="111" y="398"/>
                    <a:pt x="117" y="396"/>
                    <a:pt x="117" y="393"/>
                  </a:cubicBezTo>
                  <a:cubicBezTo>
                    <a:pt x="114" y="382"/>
                    <a:pt x="109" y="392"/>
                    <a:pt x="107" y="388"/>
                  </a:cubicBezTo>
                  <a:cubicBezTo>
                    <a:pt x="105" y="384"/>
                    <a:pt x="102" y="386"/>
                    <a:pt x="101" y="384"/>
                  </a:cubicBezTo>
                  <a:cubicBezTo>
                    <a:pt x="99" y="379"/>
                    <a:pt x="99" y="398"/>
                    <a:pt x="95" y="384"/>
                  </a:cubicBezTo>
                  <a:cubicBezTo>
                    <a:pt x="93" y="377"/>
                    <a:pt x="98" y="377"/>
                    <a:pt x="87" y="374"/>
                  </a:cubicBezTo>
                  <a:cubicBezTo>
                    <a:pt x="87" y="374"/>
                    <a:pt x="85" y="373"/>
                    <a:pt x="84" y="373"/>
                  </a:cubicBezTo>
                  <a:cubicBezTo>
                    <a:pt x="84" y="372"/>
                    <a:pt x="85" y="371"/>
                    <a:pt x="85" y="371"/>
                  </a:cubicBezTo>
                  <a:cubicBezTo>
                    <a:pt x="85" y="371"/>
                    <a:pt x="82" y="368"/>
                    <a:pt x="81" y="368"/>
                  </a:cubicBezTo>
                  <a:cubicBezTo>
                    <a:pt x="81" y="368"/>
                    <a:pt x="78" y="370"/>
                    <a:pt x="78" y="370"/>
                  </a:cubicBezTo>
                  <a:cubicBezTo>
                    <a:pt x="78" y="370"/>
                    <a:pt x="77" y="370"/>
                    <a:pt x="76" y="370"/>
                  </a:cubicBezTo>
                  <a:cubicBezTo>
                    <a:pt x="76" y="369"/>
                    <a:pt x="79" y="369"/>
                    <a:pt x="83" y="367"/>
                  </a:cubicBezTo>
                  <a:cubicBezTo>
                    <a:pt x="85" y="367"/>
                    <a:pt x="86" y="370"/>
                    <a:pt x="88" y="370"/>
                  </a:cubicBezTo>
                  <a:cubicBezTo>
                    <a:pt x="90" y="371"/>
                    <a:pt x="94" y="370"/>
                    <a:pt x="94" y="369"/>
                  </a:cubicBezTo>
                  <a:cubicBezTo>
                    <a:pt x="95" y="368"/>
                    <a:pt x="90" y="365"/>
                    <a:pt x="91" y="360"/>
                  </a:cubicBezTo>
                  <a:cubicBezTo>
                    <a:pt x="91" y="358"/>
                    <a:pt x="93" y="358"/>
                    <a:pt x="91" y="357"/>
                  </a:cubicBezTo>
                  <a:cubicBezTo>
                    <a:pt x="89" y="356"/>
                    <a:pt x="89" y="355"/>
                    <a:pt x="89" y="355"/>
                  </a:cubicBezTo>
                  <a:cubicBezTo>
                    <a:pt x="76" y="354"/>
                    <a:pt x="76" y="354"/>
                    <a:pt x="76" y="354"/>
                  </a:cubicBezTo>
                  <a:cubicBezTo>
                    <a:pt x="76" y="354"/>
                    <a:pt x="76" y="354"/>
                    <a:pt x="74" y="353"/>
                  </a:cubicBezTo>
                  <a:cubicBezTo>
                    <a:pt x="72" y="352"/>
                    <a:pt x="70" y="351"/>
                    <a:pt x="70" y="351"/>
                  </a:cubicBezTo>
                  <a:cubicBezTo>
                    <a:pt x="66" y="348"/>
                    <a:pt x="66" y="348"/>
                    <a:pt x="66" y="348"/>
                  </a:cubicBezTo>
                  <a:cubicBezTo>
                    <a:pt x="66" y="348"/>
                    <a:pt x="62" y="349"/>
                    <a:pt x="61" y="349"/>
                  </a:cubicBezTo>
                  <a:cubicBezTo>
                    <a:pt x="61" y="349"/>
                    <a:pt x="62" y="353"/>
                    <a:pt x="62" y="353"/>
                  </a:cubicBezTo>
                  <a:cubicBezTo>
                    <a:pt x="61" y="354"/>
                    <a:pt x="61" y="358"/>
                    <a:pt x="57" y="355"/>
                  </a:cubicBezTo>
                  <a:cubicBezTo>
                    <a:pt x="56" y="354"/>
                    <a:pt x="53" y="351"/>
                    <a:pt x="52" y="351"/>
                  </a:cubicBezTo>
                  <a:cubicBezTo>
                    <a:pt x="51" y="352"/>
                    <a:pt x="47" y="351"/>
                    <a:pt x="47" y="350"/>
                  </a:cubicBezTo>
                  <a:cubicBezTo>
                    <a:pt x="46" y="349"/>
                    <a:pt x="43" y="348"/>
                    <a:pt x="43" y="348"/>
                  </a:cubicBezTo>
                  <a:cubicBezTo>
                    <a:pt x="43" y="348"/>
                    <a:pt x="46" y="344"/>
                    <a:pt x="45" y="343"/>
                  </a:cubicBezTo>
                  <a:cubicBezTo>
                    <a:pt x="44" y="343"/>
                    <a:pt x="50" y="345"/>
                    <a:pt x="50" y="345"/>
                  </a:cubicBezTo>
                  <a:cubicBezTo>
                    <a:pt x="50" y="345"/>
                    <a:pt x="50" y="340"/>
                    <a:pt x="51" y="340"/>
                  </a:cubicBezTo>
                  <a:cubicBezTo>
                    <a:pt x="52" y="339"/>
                    <a:pt x="49" y="339"/>
                    <a:pt x="48" y="338"/>
                  </a:cubicBezTo>
                  <a:cubicBezTo>
                    <a:pt x="47" y="337"/>
                    <a:pt x="46" y="334"/>
                    <a:pt x="46" y="334"/>
                  </a:cubicBezTo>
                  <a:cubicBezTo>
                    <a:pt x="46" y="334"/>
                    <a:pt x="44" y="333"/>
                    <a:pt x="44" y="332"/>
                  </a:cubicBezTo>
                  <a:cubicBezTo>
                    <a:pt x="43" y="328"/>
                    <a:pt x="46" y="325"/>
                    <a:pt x="47" y="325"/>
                  </a:cubicBezTo>
                  <a:cubicBezTo>
                    <a:pt x="48" y="326"/>
                    <a:pt x="48" y="326"/>
                    <a:pt x="49" y="326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1" y="327"/>
                    <a:pt x="53" y="330"/>
                    <a:pt x="53" y="330"/>
                  </a:cubicBezTo>
                  <a:cubicBezTo>
                    <a:pt x="54" y="330"/>
                    <a:pt x="57" y="333"/>
                    <a:pt x="57" y="333"/>
                  </a:cubicBezTo>
                  <a:cubicBezTo>
                    <a:pt x="57" y="333"/>
                    <a:pt x="59" y="337"/>
                    <a:pt x="60" y="338"/>
                  </a:cubicBezTo>
                  <a:cubicBezTo>
                    <a:pt x="61" y="338"/>
                    <a:pt x="61" y="336"/>
                    <a:pt x="63" y="336"/>
                  </a:cubicBezTo>
                  <a:cubicBezTo>
                    <a:pt x="65" y="337"/>
                    <a:pt x="67" y="339"/>
                    <a:pt x="68" y="338"/>
                  </a:cubicBezTo>
                  <a:cubicBezTo>
                    <a:pt x="69" y="338"/>
                    <a:pt x="70" y="333"/>
                    <a:pt x="70" y="333"/>
                  </a:cubicBezTo>
                  <a:cubicBezTo>
                    <a:pt x="70" y="333"/>
                    <a:pt x="64" y="329"/>
                    <a:pt x="63" y="329"/>
                  </a:cubicBezTo>
                  <a:cubicBezTo>
                    <a:pt x="63" y="328"/>
                    <a:pt x="61" y="327"/>
                    <a:pt x="61" y="326"/>
                  </a:cubicBezTo>
                  <a:cubicBezTo>
                    <a:pt x="60" y="326"/>
                    <a:pt x="58" y="325"/>
                    <a:pt x="58" y="325"/>
                  </a:cubicBezTo>
                  <a:cubicBezTo>
                    <a:pt x="58" y="325"/>
                    <a:pt x="57" y="322"/>
                    <a:pt x="57" y="322"/>
                  </a:cubicBezTo>
                  <a:cubicBezTo>
                    <a:pt x="56" y="321"/>
                    <a:pt x="57" y="319"/>
                    <a:pt x="57" y="319"/>
                  </a:cubicBezTo>
                  <a:cubicBezTo>
                    <a:pt x="58" y="318"/>
                    <a:pt x="60" y="317"/>
                    <a:pt x="61" y="317"/>
                  </a:cubicBezTo>
                  <a:cubicBezTo>
                    <a:pt x="62" y="317"/>
                    <a:pt x="65" y="316"/>
                    <a:pt x="65" y="316"/>
                  </a:cubicBezTo>
                  <a:cubicBezTo>
                    <a:pt x="66" y="311"/>
                    <a:pt x="66" y="311"/>
                    <a:pt x="66" y="311"/>
                  </a:cubicBezTo>
                  <a:cubicBezTo>
                    <a:pt x="66" y="311"/>
                    <a:pt x="68" y="307"/>
                    <a:pt x="68" y="307"/>
                  </a:cubicBezTo>
                  <a:cubicBezTo>
                    <a:pt x="67" y="307"/>
                    <a:pt x="60" y="310"/>
                    <a:pt x="60" y="309"/>
                  </a:cubicBezTo>
                  <a:cubicBezTo>
                    <a:pt x="59" y="309"/>
                    <a:pt x="57" y="309"/>
                    <a:pt x="57" y="308"/>
                  </a:cubicBezTo>
                  <a:cubicBezTo>
                    <a:pt x="56" y="307"/>
                    <a:pt x="56" y="305"/>
                    <a:pt x="56" y="304"/>
                  </a:cubicBezTo>
                  <a:cubicBezTo>
                    <a:pt x="56" y="303"/>
                    <a:pt x="57" y="301"/>
                    <a:pt x="57" y="301"/>
                  </a:cubicBezTo>
                  <a:cubicBezTo>
                    <a:pt x="57" y="301"/>
                    <a:pt x="56" y="299"/>
                    <a:pt x="55" y="299"/>
                  </a:cubicBezTo>
                  <a:cubicBezTo>
                    <a:pt x="55" y="298"/>
                    <a:pt x="54" y="296"/>
                    <a:pt x="54" y="296"/>
                  </a:cubicBezTo>
                  <a:cubicBezTo>
                    <a:pt x="54" y="296"/>
                    <a:pt x="47" y="292"/>
                    <a:pt x="47" y="292"/>
                  </a:cubicBezTo>
                  <a:cubicBezTo>
                    <a:pt x="47" y="291"/>
                    <a:pt x="47" y="288"/>
                    <a:pt x="48" y="288"/>
                  </a:cubicBezTo>
                  <a:cubicBezTo>
                    <a:pt x="48" y="287"/>
                    <a:pt x="47" y="285"/>
                    <a:pt x="49" y="283"/>
                  </a:cubicBezTo>
                  <a:cubicBezTo>
                    <a:pt x="52" y="281"/>
                    <a:pt x="54" y="275"/>
                    <a:pt x="54" y="275"/>
                  </a:cubicBezTo>
                  <a:cubicBezTo>
                    <a:pt x="54" y="275"/>
                    <a:pt x="47" y="274"/>
                    <a:pt x="47" y="274"/>
                  </a:cubicBezTo>
                  <a:cubicBezTo>
                    <a:pt x="46" y="274"/>
                    <a:pt x="43" y="278"/>
                    <a:pt x="43" y="278"/>
                  </a:cubicBezTo>
                  <a:cubicBezTo>
                    <a:pt x="43" y="278"/>
                    <a:pt x="39" y="279"/>
                    <a:pt x="39" y="280"/>
                  </a:cubicBezTo>
                  <a:cubicBezTo>
                    <a:pt x="38" y="280"/>
                    <a:pt x="33" y="281"/>
                    <a:pt x="33" y="282"/>
                  </a:cubicBezTo>
                  <a:cubicBezTo>
                    <a:pt x="32" y="282"/>
                    <a:pt x="30" y="284"/>
                    <a:pt x="29" y="284"/>
                  </a:cubicBezTo>
                  <a:cubicBezTo>
                    <a:pt x="28" y="285"/>
                    <a:pt x="24" y="287"/>
                    <a:pt x="24" y="287"/>
                  </a:cubicBezTo>
                  <a:cubicBezTo>
                    <a:pt x="24" y="287"/>
                    <a:pt x="20" y="287"/>
                    <a:pt x="20" y="287"/>
                  </a:cubicBezTo>
                  <a:cubicBezTo>
                    <a:pt x="20" y="286"/>
                    <a:pt x="20" y="279"/>
                    <a:pt x="20" y="279"/>
                  </a:cubicBezTo>
                  <a:cubicBezTo>
                    <a:pt x="20" y="279"/>
                    <a:pt x="22" y="278"/>
                    <a:pt x="22" y="277"/>
                  </a:cubicBezTo>
                  <a:cubicBezTo>
                    <a:pt x="22" y="277"/>
                    <a:pt x="21" y="273"/>
                    <a:pt x="20" y="272"/>
                  </a:cubicBezTo>
                  <a:cubicBezTo>
                    <a:pt x="20" y="272"/>
                    <a:pt x="20" y="267"/>
                    <a:pt x="20" y="266"/>
                  </a:cubicBezTo>
                  <a:cubicBezTo>
                    <a:pt x="20" y="264"/>
                    <a:pt x="19" y="261"/>
                    <a:pt x="19" y="261"/>
                  </a:cubicBezTo>
                  <a:cubicBezTo>
                    <a:pt x="18" y="256"/>
                    <a:pt x="18" y="256"/>
                    <a:pt x="18" y="256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0" y="250"/>
                    <a:pt x="20" y="250"/>
                    <a:pt x="20" y="250"/>
                  </a:cubicBezTo>
                  <a:cubicBezTo>
                    <a:pt x="20" y="250"/>
                    <a:pt x="22" y="246"/>
                    <a:pt x="22" y="246"/>
                  </a:cubicBezTo>
                  <a:cubicBezTo>
                    <a:pt x="22" y="245"/>
                    <a:pt x="24" y="241"/>
                    <a:pt x="24" y="241"/>
                  </a:cubicBezTo>
                  <a:cubicBezTo>
                    <a:pt x="25" y="240"/>
                    <a:pt x="31" y="234"/>
                    <a:pt x="31" y="234"/>
                  </a:cubicBezTo>
                  <a:cubicBezTo>
                    <a:pt x="34" y="230"/>
                    <a:pt x="34" y="230"/>
                    <a:pt x="34" y="230"/>
                  </a:cubicBezTo>
                  <a:cubicBezTo>
                    <a:pt x="34" y="230"/>
                    <a:pt x="38" y="230"/>
                    <a:pt x="39" y="230"/>
                  </a:cubicBezTo>
                  <a:cubicBezTo>
                    <a:pt x="39" y="230"/>
                    <a:pt x="43" y="227"/>
                    <a:pt x="43" y="227"/>
                  </a:cubicBezTo>
                  <a:cubicBezTo>
                    <a:pt x="44" y="225"/>
                    <a:pt x="44" y="225"/>
                    <a:pt x="44" y="225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47" y="225"/>
                    <a:pt x="49" y="223"/>
                    <a:pt x="50" y="223"/>
                  </a:cubicBezTo>
                  <a:cubicBezTo>
                    <a:pt x="50" y="223"/>
                    <a:pt x="52" y="223"/>
                    <a:pt x="54" y="223"/>
                  </a:cubicBezTo>
                  <a:cubicBezTo>
                    <a:pt x="56" y="223"/>
                    <a:pt x="57" y="222"/>
                    <a:pt x="58" y="222"/>
                  </a:cubicBezTo>
                  <a:cubicBezTo>
                    <a:pt x="58" y="223"/>
                    <a:pt x="62" y="227"/>
                    <a:pt x="62" y="227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79" y="223"/>
                    <a:pt x="79" y="223"/>
                    <a:pt x="79" y="223"/>
                  </a:cubicBezTo>
                  <a:cubicBezTo>
                    <a:pt x="79" y="223"/>
                    <a:pt x="79" y="220"/>
                    <a:pt x="79" y="220"/>
                  </a:cubicBezTo>
                  <a:cubicBezTo>
                    <a:pt x="78" y="219"/>
                    <a:pt x="73" y="218"/>
                    <a:pt x="73" y="218"/>
                  </a:cubicBezTo>
                  <a:cubicBezTo>
                    <a:pt x="73" y="218"/>
                    <a:pt x="72" y="218"/>
                    <a:pt x="73" y="218"/>
                  </a:cubicBezTo>
                  <a:cubicBezTo>
                    <a:pt x="73" y="217"/>
                    <a:pt x="75" y="213"/>
                    <a:pt x="75" y="213"/>
                  </a:cubicBezTo>
                  <a:cubicBezTo>
                    <a:pt x="76" y="213"/>
                    <a:pt x="77" y="213"/>
                    <a:pt x="79" y="213"/>
                  </a:cubicBezTo>
                  <a:cubicBezTo>
                    <a:pt x="81" y="213"/>
                    <a:pt x="85" y="213"/>
                    <a:pt x="85" y="213"/>
                  </a:cubicBezTo>
                  <a:cubicBezTo>
                    <a:pt x="85" y="213"/>
                    <a:pt x="87" y="215"/>
                    <a:pt x="85" y="216"/>
                  </a:cubicBezTo>
                  <a:cubicBezTo>
                    <a:pt x="84" y="217"/>
                    <a:pt x="83" y="217"/>
                    <a:pt x="83" y="218"/>
                  </a:cubicBezTo>
                  <a:cubicBezTo>
                    <a:pt x="83" y="218"/>
                    <a:pt x="83" y="220"/>
                    <a:pt x="84" y="220"/>
                  </a:cubicBezTo>
                  <a:cubicBezTo>
                    <a:pt x="84" y="220"/>
                    <a:pt x="89" y="219"/>
                    <a:pt x="89" y="219"/>
                  </a:cubicBezTo>
                  <a:cubicBezTo>
                    <a:pt x="89" y="219"/>
                    <a:pt x="90" y="217"/>
                    <a:pt x="92" y="217"/>
                  </a:cubicBezTo>
                  <a:cubicBezTo>
                    <a:pt x="93" y="216"/>
                    <a:pt x="96" y="215"/>
                    <a:pt x="96" y="215"/>
                  </a:cubicBezTo>
                  <a:cubicBezTo>
                    <a:pt x="106" y="214"/>
                    <a:pt x="106" y="214"/>
                    <a:pt x="106" y="214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1" y="207"/>
                    <a:pt x="123" y="207"/>
                  </a:cubicBezTo>
                  <a:cubicBezTo>
                    <a:pt x="126" y="208"/>
                    <a:pt x="128" y="208"/>
                    <a:pt x="129" y="207"/>
                  </a:cubicBezTo>
                  <a:cubicBezTo>
                    <a:pt x="130" y="206"/>
                    <a:pt x="132" y="203"/>
                    <a:pt x="132" y="203"/>
                  </a:cubicBezTo>
                  <a:cubicBezTo>
                    <a:pt x="130" y="202"/>
                    <a:pt x="130" y="202"/>
                    <a:pt x="130" y="202"/>
                  </a:cubicBezTo>
                  <a:cubicBezTo>
                    <a:pt x="125" y="202"/>
                    <a:pt x="125" y="202"/>
                    <a:pt x="125" y="202"/>
                  </a:cubicBezTo>
                  <a:cubicBezTo>
                    <a:pt x="125" y="202"/>
                    <a:pt x="120" y="203"/>
                    <a:pt x="120" y="203"/>
                  </a:cubicBezTo>
                  <a:cubicBezTo>
                    <a:pt x="119" y="202"/>
                    <a:pt x="116" y="202"/>
                    <a:pt x="117" y="201"/>
                  </a:cubicBezTo>
                  <a:cubicBezTo>
                    <a:pt x="118" y="199"/>
                    <a:pt x="118" y="199"/>
                    <a:pt x="120" y="197"/>
                  </a:cubicBezTo>
                  <a:cubicBezTo>
                    <a:pt x="121" y="196"/>
                    <a:pt x="122" y="195"/>
                    <a:pt x="123" y="194"/>
                  </a:cubicBezTo>
                  <a:cubicBezTo>
                    <a:pt x="125" y="194"/>
                    <a:pt x="125" y="193"/>
                    <a:pt x="127" y="192"/>
                  </a:cubicBezTo>
                  <a:cubicBezTo>
                    <a:pt x="129" y="191"/>
                    <a:pt x="129" y="191"/>
                    <a:pt x="133" y="189"/>
                  </a:cubicBezTo>
                  <a:cubicBezTo>
                    <a:pt x="137" y="188"/>
                    <a:pt x="145" y="182"/>
                    <a:pt x="146" y="182"/>
                  </a:cubicBezTo>
                  <a:cubicBezTo>
                    <a:pt x="147" y="182"/>
                    <a:pt x="148" y="183"/>
                    <a:pt x="152" y="181"/>
                  </a:cubicBezTo>
                  <a:cubicBezTo>
                    <a:pt x="157" y="180"/>
                    <a:pt x="160" y="177"/>
                    <a:pt x="159" y="177"/>
                  </a:cubicBezTo>
                  <a:cubicBezTo>
                    <a:pt x="158" y="177"/>
                    <a:pt x="156" y="176"/>
                    <a:pt x="154" y="177"/>
                  </a:cubicBezTo>
                  <a:cubicBezTo>
                    <a:pt x="151" y="178"/>
                    <a:pt x="153" y="176"/>
                    <a:pt x="149" y="178"/>
                  </a:cubicBezTo>
                  <a:cubicBezTo>
                    <a:pt x="144" y="181"/>
                    <a:pt x="137" y="183"/>
                    <a:pt x="135" y="183"/>
                  </a:cubicBezTo>
                  <a:cubicBezTo>
                    <a:pt x="133" y="182"/>
                    <a:pt x="131" y="181"/>
                    <a:pt x="129" y="179"/>
                  </a:cubicBezTo>
                  <a:cubicBezTo>
                    <a:pt x="126" y="177"/>
                    <a:pt x="120" y="177"/>
                    <a:pt x="120" y="176"/>
                  </a:cubicBezTo>
                  <a:cubicBezTo>
                    <a:pt x="119" y="176"/>
                    <a:pt x="111" y="179"/>
                    <a:pt x="111" y="179"/>
                  </a:cubicBezTo>
                  <a:cubicBezTo>
                    <a:pt x="111" y="179"/>
                    <a:pt x="100" y="180"/>
                    <a:pt x="97" y="180"/>
                  </a:cubicBezTo>
                  <a:cubicBezTo>
                    <a:pt x="95" y="180"/>
                    <a:pt x="89" y="179"/>
                    <a:pt x="88" y="179"/>
                  </a:cubicBezTo>
                  <a:cubicBezTo>
                    <a:pt x="88" y="179"/>
                    <a:pt x="82" y="181"/>
                    <a:pt x="82" y="181"/>
                  </a:cubicBezTo>
                  <a:cubicBezTo>
                    <a:pt x="81" y="181"/>
                    <a:pt x="77" y="187"/>
                    <a:pt x="75" y="188"/>
                  </a:cubicBezTo>
                  <a:cubicBezTo>
                    <a:pt x="73" y="189"/>
                    <a:pt x="68" y="188"/>
                    <a:pt x="68" y="188"/>
                  </a:cubicBezTo>
                  <a:cubicBezTo>
                    <a:pt x="68" y="188"/>
                    <a:pt x="66" y="190"/>
                    <a:pt x="64" y="191"/>
                  </a:cubicBezTo>
                  <a:cubicBezTo>
                    <a:pt x="62" y="192"/>
                    <a:pt x="59" y="194"/>
                    <a:pt x="57" y="195"/>
                  </a:cubicBezTo>
                  <a:cubicBezTo>
                    <a:pt x="55" y="196"/>
                    <a:pt x="54" y="204"/>
                    <a:pt x="54" y="205"/>
                  </a:cubicBezTo>
                  <a:cubicBezTo>
                    <a:pt x="53" y="207"/>
                    <a:pt x="48" y="214"/>
                    <a:pt x="48" y="214"/>
                  </a:cubicBezTo>
                  <a:cubicBezTo>
                    <a:pt x="43" y="219"/>
                    <a:pt x="43" y="219"/>
                    <a:pt x="43" y="219"/>
                  </a:cubicBezTo>
                  <a:cubicBezTo>
                    <a:pt x="43" y="219"/>
                    <a:pt x="39" y="223"/>
                    <a:pt x="38" y="223"/>
                  </a:cubicBezTo>
                  <a:cubicBezTo>
                    <a:pt x="37" y="224"/>
                    <a:pt x="31" y="230"/>
                    <a:pt x="31" y="230"/>
                  </a:cubicBezTo>
                  <a:cubicBezTo>
                    <a:pt x="31" y="230"/>
                    <a:pt x="29" y="229"/>
                    <a:pt x="29" y="229"/>
                  </a:cubicBezTo>
                  <a:cubicBezTo>
                    <a:pt x="29" y="229"/>
                    <a:pt x="25" y="235"/>
                    <a:pt x="25" y="235"/>
                  </a:cubicBezTo>
                  <a:cubicBezTo>
                    <a:pt x="25" y="235"/>
                    <a:pt x="23" y="240"/>
                    <a:pt x="22" y="241"/>
                  </a:cubicBezTo>
                  <a:cubicBezTo>
                    <a:pt x="22" y="242"/>
                    <a:pt x="18" y="248"/>
                    <a:pt x="18" y="248"/>
                  </a:cubicBezTo>
                  <a:cubicBezTo>
                    <a:pt x="17" y="250"/>
                    <a:pt x="17" y="250"/>
                    <a:pt x="17" y="250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6" y="254"/>
                    <a:pt x="14" y="256"/>
                    <a:pt x="14" y="255"/>
                  </a:cubicBezTo>
                  <a:cubicBezTo>
                    <a:pt x="14" y="254"/>
                    <a:pt x="14" y="250"/>
                    <a:pt x="15" y="249"/>
                  </a:cubicBezTo>
                  <a:cubicBezTo>
                    <a:pt x="16" y="248"/>
                    <a:pt x="16" y="246"/>
                    <a:pt x="16" y="246"/>
                  </a:cubicBezTo>
                  <a:cubicBezTo>
                    <a:pt x="15" y="241"/>
                    <a:pt x="15" y="241"/>
                    <a:pt x="15" y="241"/>
                  </a:cubicBezTo>
                  <a:cubicBezTo>
                    <a:pt x="15" y="241"/>
                    <a:pt x="14" y="243"/>
                    <a:pt x="15" y="240"/>
                  </a:cubicBezTo>
                  <a:cubicBezTo>
                    <a:pt x="16" y="237"/>
                    <a:pt x="15" y="237"/>
                    <a:pt x="16" y="236"/>
                  </a:cubicBezTo>
                  <a:cubicBezTo>
                    <a:pt x="18" y="235"/>
                    <a:pt x="17" y="235"/>
                    <a:pt x="20" y="233"/>
                  </a:cubicBezTo>
                  <a:cubicBezTo>
                    <a:pt x="22" y="231"/>
                    <a:pt x="21" y="230"/>
                    <a:pt x="22" y="230"/>
                  </a:cubicBezTo>
                  <a:cubicBezTo>
                    <a:pt x="24" y="229"/>
                    <a:pt x="24" y="229"/>
                    <a:pt x="26" y="228"/>
                  </a:cubicBezTo>
                  <a:cubicBezTo>
                    <a:pt x="29" y="226"/>
                    <a:pt x="30" y="225"/>
                    <a:pt x="31" y="224"/>
                  </a:cubicBezTo>
                  <a:cubicBezTo>
                    <a:pt x="31" y="223"/>
                    <a:pt x="36" y="221"/>
                    <a:pt x="35" y="220"/>
                  </a:cubicBezTo>
                  <a:cubicBezTo>
                    <a:pt x="35" y="219"/>
                    <a:pt x="36" y="217"/>
                    <a:pt x="33" y="217"/>
                  </a:cubicBezTo>
                  <a:cubicBezTo>
                    <a:pt x="31" y="217"/>
                    <a:pt x="27" y="219"/>
                    <a:pt x="25" y="220"/>
                  </a:cubicBezTo>
                  <a:cubicBezTo>
                    <a:pt x="22" y="221"/>
                    <a:pt x="19" y="223"/>
                    <a:pt x="19" y="223"/>
                  </a:cubicBezTo>
                  <a:cubicBezTo>
                    <a:pt x="19" y="223"/>
                    <a:pt x="12" y="225"/>
                    <a:pt x="11" y="225"/>
                  </a:cubicBezTo>
                  <a:cubicBezTo>
                    <a:pt x="10" y="224"/>
                    <a:pt x="8" y="225"/>
                    <a:pt x="7" y="225"/>
                  </a:cubicBezTo>
                  <a:cubicBezTo>
                    <a:pt x="5" y="226"/>
                    <a:pt x="1" y="224"/>
                    <a:pt x="1" y="22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1" y="217"/>
                    <a:pt x="1" y="218"/>
                    <a:pt x="1" y="218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2" y="219"/>
                    <a:pt x="7" y="219"/>
                    <a:pt x="7" y="219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6"/>
                    <a:pt x="12" y="192"/>
                    <a:pt x="12" y="191"/>
                  </a:cubicBezTo>
                  <a:cubicBezTo>
                    <a:pt x="12" y="190"/>
                    <a:pt x="14" y="186"/>
                    <a:pt x="14" y="186"/>
                  </a:cubicBezTo>
                  <a:cubicBezTo>
                    <a:pt x="16" y="183"/>
                    <a:pt x="16" y="183"/>
                    <a:pt x="16" y="183"/>
                  </a:cubicBezTo>
                  <a:cubicBezTo>
                    <a:pt x="16" y="183"/>
                    <a:pt x="20" y="182"/>
                    <a:pt x="21" y="182"/>
                  </a:cubicBezTo>
                  <a:cubicBezTo>
                    <a:pt x="23" y="182"/>
                    <a:pt x="18" y="176"/>
                    <a:pt x="18" y="175"/>
                  </a:cubicBezTo>
                  <a:cubicBezTo>
                    <a:pt x="18" y="174"/>
                    <a:pt x="16" y="169"/>
                    <a:pt x="16" y="169"/>
                  </a:cubicBezTo>
                  <a:cubicBezTo>
                    <a:pt x="16" y="169"/>
                    <a:pt x="11" y="166"/>
                    <a:pt x="10" y="166"/>
                  </a:cubicBezTo>
                  <a:cubicBezTo>
                    <a:pt x="9" y="166"/>
                    <a:pt x="4" y="165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1" y="163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2" y="159"/>
                    <a:pt x="5" y="158"/>
                    <a:pt x="5" y="158"/>
                  </a:cubicBezTo>
                  <a:cubicBezTo>
                    <a:pt x="9" y="155"/>
                    <a:pt x="9" y="155"/>
                    <a:pt x="9" y="155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1"/>
                    <a:pt x="12" y="148"/>
                    <a:pt x="13" y="147"/>
                  </a:cubicBezTo>
                  <a:cubicBezTo>
                    <a:pt x="15" y="146"/>
                    <a:pt x="22" y="144"/>
                    <a:pt x="22" y="144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30" y="138"/>
                    <a:pt x="30" y="138"/>
                    <a:pt x="30" y="138"/>
                  </a:cubicBezTo>
                  <a:cubicBezTo>
                    <a:pt x="32" y="135"/>
                    <a:pt x="32" y="135"/>
                    <a:pt x="32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5" y="141"/>
                    <a:pt x="51" y="138"/>
                    <a:pt x="52" y="137"/>
                  </a:cubicBezTo>
                  <a:cubicBezTo>
                    <a:pt x="54" y="136"/>
                    <a:pt x="56" y="136"/>
                    <a:pt x="56" y="136"/>
                  </a:cubicBezTo>
                  <a:cubicBezTo>
                    <a:pt x="59" y="134"/>
                    <a:pt x="59" y="134"/>
                    <a:pt x="59" y="134"/>
                  </a:cubicBezTo>
                  <a:cubicBezTo>
                    <a:pt x="59" y="134"/>
                    <a:pt x="64" y="132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7" y="150"/>
                    <a:pt x="62" y="140"/>
                    <a:pt x="72" y="147"/>
                  </a:cubicBezTo>
                  <a:cubicBezTo>
                    <a:pt x="73" y="148"/>
                    <a:pt x="72" y="149"/>
                    <a:pt x="73" y="150"/>
                  </a:cubicBezTo>
                  <a:cubicBezTo>
                    <a:pt x="73" y="152"/>
                    <a:pt x="80" y="155"/>
                    <a:pt x="80" y="155"/>
                  </a:cubicBezTo>
                  <a:cubicBezTo>
                    <a:pt x="80" y="155"/>
                    <a:pt x="86" y="155"/>
                    <a:pt x="86" y="156"/>
                  </a:cubicBezTo>
                  <a:cubicBezTo>
                    <a:pt x="87" y="157"/>
                    <a:pt x="93" y="160"/>
                    <a:pt x="93" y="160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12" y="163"/>
                    <a:pt x="112" y="163"/>
                    <a:pt x="112" y="163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19" y="161"/>
                    <a:pt x="122" y="162"/>
                    <a:pt x="124" y="163"/>
                  </a:cubicBezTo>
                  <a:cubicBezTo>
                    <a:pt x="126" y="164"/>
                    <a:pt x="132" y="163"/>
                    <a:pt x="134" y="162"/>
                  </a:cubicBezTo>
                  <a:cubicBezTo>
                    <a:pt x="136" y="162"/>
                    <a:pt x="141" y="159"/>
                    <a:pt x="143" y="160"/>
                  </a:cubicBezTo>
                  <a:cubicBezTo>
                    <a:pt x="145" y="160"/>
                    <a:pt x="154" y="158"/>
                    <a:pt x="154" y="158"/>
                  </a:cubicBezTo>
                  <a:cubicBezTo>
                    <a:pt x="159" y="154"/>
                    <a:pt x="159" y="154"/>
                    <a:pt x="159" y="154"/>
                  </a:cubicBezTo>
                  <a:cubicBezTo>
                    <a:pt x="169" y="149"/>
                    <a:pt x="169" y="149"/>
                    <a:pt x="169" y="149"/>
                  </a:cubicBezTo>
                  <a:cubicBezTo>
                    <a:pt x="180" y="161"/>
                    <a:pt x="180" y="161"/>
                    <a:pt x="180" y="161"/>
                  </a:cubicBezTo>
                  <a:cubicBezTo>
                    <a:pt x="180" y="161"/>
                    <a:pt x="191" y="159"/>
                    <a:pt x="192" y="159"/>
                  </a:cubicBezTo>
                  <a:cubicBezTo>
                    <a:pt x="194" y="159"/>
                    <a:pt x="202" y="156"/>
                    <a:pt x="202" y="156"/>
                  </a:cubicBezTo>
                  <a:cubicBezTo>
                    <a:pt x="202" y="156"/>
                    <a:pt x="204" y="153"/>
                    <a:pt x="203" y="150"/>
                  </a:cubicBezTo>
                  <a:cubicBezTo>
                    <a:pt x="203" y="148"/>
                    <a:pt x="202" y="146"/>
                    <a:pt x="202" y="146"/>
                  </a:cubicBezTo>
                  <a:cubicBezTo>
                    <a:pt x="202" y="146"/>
                    <a:pt x="200" y="144"/>
                    <a:pt x="203" y="143"/>
                  </a:cubicBezTo>
                  <a:cubicBezTo>
                    <a:pt x="206" y="142"/>
                    <a:pt x="207" y="140"/>
                    <a:pt x="209" y="139"/>
                  </a:cubicBezTo>
                  <a:cubicBezTo>
                    <a:pt x="212" y="137"/>
                    <a:pt x="214" y="134"/>
                    <a:pt x="215" y="133"/>
                  </a:cubicBezTo>
                  <a:cubicBezTo>
                    <a:pt x="216" y="133"/>
                    <a:pt x="218" y="129"/>
                    <a:pt x="219" y="129"/>
                  </a:cubicBezTo>
                  <a:cubicBezTo>
                    <a:pt x="219" y="128"/>
                    <a:pt x="221" y="125"/>
                    <a:pt x="221" y="124"/>
                  </a:cubicBezTo>
                  <a:cubicBezTo>
                    <a:pt x="222" y="124"/>
                    <a:pt x="227" y="119"/>
                    <a:pt x="227" y="119"/>
                  </a:cubicBezTo>
                  <a:cubicBezTo>
                    <a:pt x="229" y="116"/>
                    <a:pt x="229" y="116"/>
                    <a:pt x="229" y="116"/>
                  </a:cubicBezTo>
                  <a:cubicBezTo>
                    <a:pt x="229" y="116"/>
                    <a:pt x="233" y="108"/>
                    <a:pt x="235" y="107"/>
                  </a:cubicBezTo>
                  <a:cubicBezTo>
                    <a:pt x="237" y="107"/>
                    <a:pt x="248" y="98"/>
                    <a:pt x="250" y="99"/>
                  </a:cubicBezTo>
                  <a:cubicBezTo>
                    <a:pt x="252" y="99"/>
                    <a:pt x="259" y="93"/>
                    <a:pt x="261" y="91"/>
                  </a:cubicBezTo>
                  <a:cubicBezTo>
                    <a:pt x="263" y="90"/>
                    <a:pt x="263" y="88"/>
                    <a:pt x="268" y="87"/>
                  </a:cubicBezTo>
                  <a:cubicBezTo>
                    <a:pt x="272" y="87"/>
                    <a:pt x="300" y="83"/>
                    <a:pt x="300" y="83"/>
                  </a:cubicBezTo>
                  <a:cubicBezTo>
                    <a:pt x="316" y="78"/>
                    <a:pt x="316" y="78"/>
                    <a:pt x="316" y="78"/>
                  </a:cubicBezTo>
                  <a:cubicBezTo>
                    <a:pt x="324" y="72"/>
                    <a:pt x="324" y="72"/>
                    <a:pt x="324" y="72"/>
                  </a:cubicBezTo>
                  <a:cubicBezTo>
                    <a:pt x="325" y="69"/>
                    <a:pt x="325" y="69"/>
                    <a:pt x="325" y="69"/>
                  </a:cubicBezTo>
                  <a:cubicBezTo>
                    <a:pt x="334" y="69"/>
                    <a:pt x="334" y="69"/>
                    <a:pt x="334" y="69"/>
                  </a:cubicBezTo>
                  <a:cubicBezTo>
                    <a:pt x="334" y="69"/>
                    <a:pt x="333" y="73"/>
                    <a:pt x="333" y="73"/>
                  </a:cubicBezTo>
                  <a:cubicBezTo>
                    <a:pt x="333" y="74"/>
                    <a:pt x="332" y="75"/>
                    <a:pt x="335" y="76"/>
                  </a:cubicBezTo>
                  <a:cubicBezTo>
                    <a:pt x="338" y="78"/>
                    <a:pt x="341" y="80"/>
                    <a:pt x="342" y="80"/>
                  </a:cubicBezTo>
                  <a:cubicBezTo>
                    <a:pt x="343" y="80"/>
                    <a:pt x="345" y="81"/>
                    <a:pt x="346" y="81"/>
                  </a:cubicBezTo>
                  <a:cubicBezTo>
                    <a:pt x="347" y="82"/>
                    <a:pt x="352" y="83"/>
                    <a:pt x="352" y="83"/>
                  </a:cubicBezTo>
                  <a:cubicBezTo>
                    <a:pt x="352" y="83"/>
                    <a:pt x="358" y="81"/>
                    <a:pt x="358" y="81"/>
                  </a:cubicBezTo>
                  <a:cubicBezTo>
                    <a:pt x="358" y="80"/>
                    <a:pt x="361" y="79"/>
                    <a:pt x="363" y="78"/>
                  </a:cubicBezTo>
                  <a:cubicBezTo>
                    <a:pt x="365" y="77"/>
                    <a:pt x="373" y="75"/>
                    <a:pt x="373" y="75"/>
                  </a:cubicBezTo>
                  <a:cubicBezTo>
                    <a:pt x="373" y="75"/>
                    <a:pt x="375" y="78"/>
                    <a:pt x="376" y="78"/>
                  </a:cubicBezTo>
                  <a:cubicBezTo>
                    <a:pt x="376" y="79"/>
                    <a:pt x="380" y="81"/>
                    <a:pt x="379" y="83"/>
                  </a:cubicBezTo>
                  <a:cubicBezTo>
                    <a:pt x="379" y="84"/>
                    <a:pt x="379" y="87"/>
                    <a:pt x="379" y="87"/>
                  </a:cubicBezTo>
                  <a:cubicBezTo>
                    <a:pt x="385" y="90"/>
                    <a:pt x="385" y="90"/>
                    <a:pt x="385" y="90"/>
                  </a:cubicBezTo>
                  <a:cubicBezTo>
                    <a:pt x="385" y="90"/>
                    <a:pt x="389" y="92"/>
                    <a:pt x="390" y="93"/>
                  </a:cubicBezTo>
                  <a:cubicBezTo>
                    <a:pt x="391" y="93"/>
                    <a:pt x="397" y="94"/>
                    <a:pt x="397" y="9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8" y="87"/>
                    <a:pt x="400" y="85"/>
                    <a:pt x="403" y="85"/>
                  </a:cubicBezTo>
                  <a:cubicBezTo>
                    <a:pt x="406" y="85"/>
                    <a:pt x="411" y="85"/>
                    <a:pt x="411" y="85"/>
                  </a:cubicBezTo>
                  <a:cubicBezTo>
                    <a:pt x="411" y="85"/>
                    <a:pt x="415" y="86"/>
                    <a:pt x="415" y="87"/>
                  </a:cubicBezTo>
                  <a:cubicBezTo>
                    <a:pt x="415" y="88"/>
                    <a:pt x="420" y="91"/>
                    <a:pt x="420" y="91"/>
                  </a:cubicBezTo>
                  <a:cubicBezTo>
                    <a:pt x="427" y="89"/>
                    <a:pt x="427" y="89"/>
                    <a:pt x="427" y="89"/>
                  </a:cubicBezTo>
                  <a:cubicBezTo>
                    <a:pt x="430" y="90"/>
                    <a:pt x="430" y="90"/>
                    <a:pt x="430" y="90"/>
                  </a:cubicBezTo>
                  <a:cubicBezTo>
                    <a:pt x="439" y="91"/>
                    <a:pt x="439" y="91"/>
                    <a:pt x="439" y="91"/>
                  </a:cubicBezTo>
                  <a:cubicBezTo>
                    <a:pt x="439" y="91"/>
                    <a:pt x="441" y="91"/>
                    <a:pt x="441" y="90"/>
                  </a:cubicBezTo>
                  <a:cubicBezTo>
                    <a:pt x="442" y="89"/>
                    <a:pt x="442" y="86"/>
                    <a:pt x="442" y="86"/>
                  </a:cubicBezTo>
                  <a:cubicBezTo>
                    <a:pt x="442" y="86"/>
                    <a:pt x="441" y="86"/>
                    <a:pt x="444" y="85"/>
                  </a:cubicBezTo>
                  <a:cubicBezTo>
                    <a:pt x="447" y="85"/>
                    <a:pt x="446" y="84"/>
                    <a:pt x="447" y="85"/>
                  </a:cubicBezTo>
                  <a:cubicBezTo>
                    <a:pt x="448" y="86"/>
                    <a:pt x="452" y="86"/>
                    <a:pt x="454" y="87"/>
                  </a:cubicBezTo>
                  <a:cubicBezTo>
                    <a:pt x="455" y="87"/>
                    <a:pt x="459" y="88"/>
                    <a:pt x="460" y="88"/>
                  </a:cubicBezTo>
                  <a:cubicBezTo>
                    <a:pt x="461" y="88"/>
                    <a:pt x="471" y="87"/>
                    <a:pt x="471" y="87"/>
                  </a:cubicBezTo>
                  <a:cubicBezTo>
                    <a:pt x="471" y="87"/>
                    <a:pt x="469" y="88"/>
                    <a:pt x="473" y="86"/>
                  </a:cubicBezTo>
                  <a:cubicBezTo>
                    <a:pt x="477" y="84"/>
                    <a:pt x="482" y="81"/>
                    <a:pt x="482" y="81"/>
                  </a:cubicBezTo>
                  <a:cubicBezTo>
                    <a:pt x="482" y="81"/>
                    <a:pt x="482" y="81"/>
                    <a:pt x="485" y="80"/>
                  </a:cubicBezTo>
                  <a:cubicBezTo>
                    <a:pt x="488" y="79"/>
                    <a:pt x="488" y="75"/>
                    <a:pt x="488" y="75"/>
                  </a:cubicBezTo>
                  <a:cubicBezTo>
                    <a:pt x="488" y="75"/>
                    <a:pt x="488" y="75"/>
                    <a:pt x="490" y="75"/>
                  </a:cubicBezTo>
                  <a:cubicBezTo>
                    <a:pt x="491" y="74"/>
                    <a:pt x="497" y="73"/>
                    <a:pt x="497" y="73"/>
                  </a:cubicBezTo>
                  <a:cubicBezTo>
                    <a:pt x="497" y="73"/>
                    <a:pt x="498" y="71"/>
                    <a:pt x="499" y="70"/>
                  </a:cubicBezTo>
                  <a:cubicBezTo>
                    <a:pt x="500" y="70"/>
                    <a:pt x="502" y="68"/>
                    <a:pt x="502" y="68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7" y="67"/>
                    <a:pt x="507" y="67"/>
                    <a:pt x="507" y="67"/>
                  </a:cubicBezTo>
                  <a:cubicBezTo>
                    <a:pt x="508" y="65"/>
                    <a:pt x="508" y="65"/>
                    <a:pt x="508" y="65"/>
                  </a:cubicBezTo>
                  <a:cubicBezTo>
                    <a:pt x="516" y="67"/>
                    <a:pt x="516" y="67"/>
                    <a:pt x="516" y="67"/>
                  </a:cubicBezTo>
                  <a:cubicBezTo>
                    <a:pt x="516" y="67"/>
                    <a:pt x="523" y="68"/>
                    <a:pt x="524" y="67"/>
                  </a:cubicBezTo>
                  <a:cubicBezTo>
                    <a:pt x="526" y="67"/>
                    <a:pt x="529" y="62"/>
                    <a:pt x="531" y="63"/>
                  </a:cubicBezTo>
                  <a:cubicBezTo>
                    <a:pt x="532" y="63"/>
                    <a:pt x="534" y="65"/>
                    <a:pt x="535" y="64"/>
                  </a:cubicBezTo>
                  <a:cubicBezTo>
                    <a:pt x="536" y="64"/>
                    <a:pt x="537" y="66"/>
                    <a:pt x="540" y="64"/>
                  </a:cubicBezTo>
                  <a:cubicBezTo>
                    <a:pt x="544" y="61"/>
                    <a:pt x="547" y="57"/>
                    <a:pt x="547" y="57"/>
                  </a:cubicBezTo>
                  <a:cubicBezTo>
                    <a:pt x="547" y="57"/>
                    <a:pt x="546" y="55"/>
                    <a:pt x="549" y="54"/>
                  </a:cubicBezTo>
                  <a:cubicBezTo>
                    <a:pt x="552" y="52"/>
                    <a:pt x="552" y="51"/>
                    <a:pt x="554" y="51"/>
                  </a:cubicBezTo>
                  <a:cubicBezTo>
                    <a:pt x="556" y="50"/>
                    <a:pt x="556" y="51"/>
                    <a:pt x="557" y="49"/>
                  </a:cubicBezTo>
                  <a:cubicBezTo>
                    <a:pt x="557" y="47"/>
                    <a:pt x="557" y="45"/>
                    <a:pt x="558" y="44"/>
                  </a:cubicBezTo>
                  <a:cubicBezTo>
                    <a:pt x="559" y="44"/>
                    <a:pt x="560" y="42"/>
                    <a:pt x="562" y="42"/>
                  </a:cubicBezTo>
                  <a:cubicBezTo>
                    <a:pt x="563" y="41"/>
                    <a:pt x="565" y="40"/>
                    <a:pt x="565" y="38"/>
                  </a:cubicBezTo>
                  <a:cubicBezTo>
                    <a:pt x="566" y="36"/>
                    <a:pt x="564" y="37"/>
                    <a:pt x="566" y="36"/>
                  </a:cubicBezTo>
                  <a:cubicBezTo>
                    <a:pt x="568" y="34"/>
                    <a:pt x="569" y="33"/>
                    <a:pt x="571" y="31"/>
                  </a:cubicBezTo>
                  <a:cubicBezTo>
                    <a:pt x="573" y="30"/>
                    <a:pt x="574" y="29"/>
                    <a:pt x="575" y="27"/>
                  </a:cubicBezTo>
                  <a:cubicBezTo>
                    <a:pt x="575" y="25"/>
                    <a:pt x="575" y="24"/>
                    <a:pt x="576" y="21"/>
                  </a:cubicBezTo>
                  <a:cubicBezTo>
                    <a:pt x="578" y="18"/>
                    <a:pt x="576" y="16"/>
                    <a:pt x="579" y="16"/>
                  </a:cubicBezTo>
                  <a:cubicBezTo>
                    <a:pt x="580" y="16"/>
                    <a:pt x="580" y="16"/>
                    <a:pt x="581" y="16"/>
                  </a:cubicBezTo>
                  <a:cubicBezTo>
                    <a:pt x="581" y="18"/>
                    <a:pt x="583" y="19"/>
                    <a:pt x="585" y="20"/>
                  </a:cubicBezTo>
                  <a:cubicBezTo>
                    <a:pt x="588" y="21"/>
                    <a:pt x="596" y="17"/>
                    <a:pt x="596" y="17"/>
                  </a:cubicBezTo>
                  <a:cubicBezTo>
                    <a:pt x="601" y="15"/>
                    <a:pt x="601" y="15"/>
                    <a:pt x="601" y="15"/>
                  </a:cubicBezTo>
                  <a:cubicBezTo>
                    <a:pt x="606" y="14"/>
                    <a:pt x="606" y="14"/>
                    <a:pt x="606" y="14"/>
                  </a:cubicBezTo>
                  <a:cubicBezTo>
                    <a:pt x="606" y="14"/>
                    <a:pt x="618" y="13"/>
                    <a:pt x="620" y="12"/>
                  </a:cubicBezTo>
                  <a:cubicBezTo>
                    <a:pt x="623" y="10"/>
                    <a:pt x="623" y="8"/>
                    <a:pt x="623" y="8"/>
                  </a:cubicBezTo>
                  <a:cubicBezTo>
                    <a:pt x="622" y="5"/>
                    <a:pt x="622" y="5"/>
                    <a:pt x="622" y="5"/>
                  </a:cubicBezTo>
                  <a:cubicBezTo>
                    <a:pt x="622" y="5"/>
                    <a:pt x="628" y="2"/>
                    <a:pt x="631" y="1"/>
                  </a:cubicBezTo>
                  <a:cubicBezTo>
                    <a:pt x="633" y="0"/>
                    <a:pt x="635" y="2"/>
                    <a:pt x="635" y="2"/>
                  </a:cubicBezTo>
                  <a:cubicBezTo>
                    <a:pt x="638" y="5"/>
                    <a:pt x="638" y="5"/>
                    <a:pt x="638" y="5"/>
                  </a:cubicBezTo>
                  <a:cubicBezTo>
                    <a:pt x="642" y="9"/>
                    <a:pt x="642" y="9"/>
                    <a:pt x="642" y="9"/>
                  </a:cubicBezTo>
                  <a:cubicBezTo>
                    <a:pt x="647" y="10"/>
                    <a:pt x="647" y="10"/>
                    <a:pt x="647" y="10"/>
                  </a:cubicBezTo>
                  <a:cubicBezTo>
                    <a:pt x="647" y="10"/>
                    <a:pt x="650" y="13"/>
                    <a:pt x="651" y="14"/>
                  </a:cubicBezTo>
                  <a:cubicBezTo>
                    <a:pt x="651" y="16"/>
                    <a:pt x="651" y="16"/>
                    <a:pt x="651" y="16"/>
                  </a:cubicBezTo>
                  <a:cubicBezTo>
                    <a:pt x="657" y="16"/>
                    <a:pt x="657" y="16"/>
                    <a:pt x="657" y="16"/>
                  </a:cubicBezTo>
                  <a:cubicBezTo>
                    <a:pt x="662" y="14"/>
                    <a:pt x="662" y="14"/>
                    <a:pt x="662" y="14"/>
                  </a:cubicBezTo>
                  <a:cubicBezTo>
                    <a:pt x="667" y="17"/>
                    <a:pt x="667" y="17"/>
                    <a:pt x="667" y="17"/>
                  </a:cubicBezTo>
                  <a:cubicBezTo>
                    <a:pt x="671" y="16"/>
                    <a:pt x="671" y="16"/>
                    <a:pt x="671" y="16"/>
                  </a:cubicBezTo>
                  <a:cubicBezTo>
                    <a:pt x="672" y="16"/>
                    <a:pt x="672" y="17"/>
                    <a:pt x="673" y="17"/>
                  </a:cubicBezTo>
                  <a:cubicBezTo>
                    <a:pt x="673" y="18"/>
                    <a:pt x="673" y="19"/>
                    <a:pt x="673" y="20"/>
                  </a:cubicBezTo>
                  <a:cubicBezTo>
                    <a:pt x="674" y="22"/>
                    <a:pt x="675" y="22"/>
                    <a:pt x="675" y="22"/>
                  </a:cubicBezTo>
                  <a:cubicBezTo>
                    <a:pt x="677" y="25"/>
                    <a:pt x="677" y="25"/>
                    <a:pt x="677" y="25"/>
                  </a:cubicBezTo>
                  <a:cubicBezTo>
                    <a:pt x="678" y="28"/>
                    <a:pt x="678" y="28"/>
                    <a:pt x="678" y="28"/>
                  </a:cubicBezTo>
                  <a:cubicBezTo>
                    <a:pt x="677" y="33"/>
                    <a:pt x="677" y="33"/>
                    <a:pt x="677" y="33"/>
                  </a:cubicBezTo>
                  <a:cubicBezTo>
                    <a:pt x="677" y="33"/>
                    <a:pt x="675" y="38"/>
                    <a:pt x="674" y="40"/>
                  </a:cubicBezTo>
                  <a:cubicBezTo>
                    <a:pt x="673" y="42"/>
                    <a:pt x="676" y="44"/>
                    <a:pt x="676" y="44"/>
                  </a:cubicBezTo>
                  <a:cubicBezTo>
                    <a:pt x="677" y="46"/>
                    <a:pt x="677" y="46"/>
                    <a:pt x="677" y="46"/>
                  </a:cubicBezTo>
                  <a:cubicBezTo>
                    <a:pt x="677" y="46"/>
                    <a:pt x="678" y="49"/>
                    <a:pt x="679" y="50"/>
                  </a:cubicBezTo>
                  <a:cubicBezTo>
                    <a:pt x="679" y="51"/>
                    <a:pt x="679" y="51"/>
                    <a:pt x="679" y="51"/>
                  </a:cubicBezTo>
                  <a:cubicBezTo>
                    <a:pt x="679" y="51"/>
                    <a:pt x="682" y="53"/>
                    <a:pt x="683" y="54"/>
                  </a:cubicBezTo>
                  <a:cubicBezTo>
                    <a:pt x="684" y="54"/>
                    <a:pt x="684" y="55"/>
                    <a:pt x="685" y="56"/>
                  </a:cubicBezTo>
                  <a:cubicBezTo>
                    <a:pt x="686" y="57"/>
                    <a:pt x="685" y="59"/>
                    <a:pt x="685" y="59"/>
                  </a:cubicBezTo>
                  <a:cubicBezTo>
                    <a:pt x="682" y="62"/>
                    <a:pt x="682" y="62"/>
                    <a:pt x="682" y="62"/>
                  </a:cubicBezTo>
                  <a:cubicBezTo>
                    <a:pt x="682" y="62"/>
                    <a:pt x="687" y="62"/>
                    <a:pt x="689" y="62"/>
                  </a:cubicBezTo>
                  <a:cubicBezTo>
                    <a:pt x="691" y="62"/>
                    <a:pt x="691" y="62"/>
                    <a:pt x="692" y="62"/>
                  </a:cubicBezTo>
                  <a:cubicBezTo>
                    <a:pt x="693" y="62"/>
                    <a:pt x="697" y="63"/>
                    <a:pt x="697" y="63"/>
                  </a:cubicBezTo>
                  <a:cubicBezTo>
                    <a:pt x="697" y="63"/>
                    <a:pt x="699" y="62"/>
                    <a:pt x="700" y="62"/>
                  </a:cubicBezTo>
                  <a:cubicBezTo>
                    <a:pt x="702" y="61"/>
                    <a:pt x="704" y="61"/>
                    <a:pt x="704" y="61"/>
                  </a:cubicBezTo>
                  <a:cubicBezTo>
                    <a:pt x="708" y="58"/>
                    <a:pt x="708" y="58"/>
                    <a:pt x="708" y="58"/>
                  </a:cubicBezTo>
                  <a:cubicBezTo>
                    <a:pt x="708" y="58"/>
                    <a:pt x="713" y="59"/>
                    <a:pt x="715" y="59"/>
                  </a:cubicBezTo>
                  <a:cubicBezTo>
                    <a:pt x="716" y="59"/>
                    <a:pt x="719" y="59"/>
                    <a:pt x="720" y="58"/>
                  </a:cubicBezTo>
                  <a:cubicBezTo>
                    <a:pt x="721" y="58"/>
                    <a:pt x="725" y="60"/>
                    <a:pt x="725" y="60"/>
                  </a:cubicBezTo>
                  <a:cubicBezTo>
                    <a:pt x="725" y="60"/>
                    <a:pt x="727" y="62"/>
                    <a:pt x="728" y="63"/>
                  </a:cubicBezTo>
                  <a:cubicBezTo>
                    <a:pt x="727" y="66"/>
                    <a:pt x="726" y="68"/>
                    <a:pt x="726" y="69"/>
                  </a:cubicBezTo>
                  <a:cubicBezTo>
                    <a:pt x="727" y="70"/>
                    <a:pt x="730" y="72"/>
                    <a:pt x="731" y="74"/>
                  </a:cubicBezTo>
                  <a:cubicBezTo>
                    <a:pt x="731" y="75"/>
                    <a:pt x="727" y="80"/>
                    <a:pt x="727" y="80"/>
                  </a:cubicBezTo>
                  <a:close/>
                  <a:moveTo>
                    <a:pt x="0" y="164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8" name="Freeform 223"/>
            <p:cNvSpPr>
              <a:spLocks noEditPoints="1"/>
            </p:cNvSpPr>
            <p:nvPr/>
          </p:nvSpPr>
          <p:spPr bwMode="auto">
            <a:xfrm>
              <a:off x="5477832" y="363798"/>
              <a:ext cx="722326" cy="1278502"/>
            </a:xfrm>
            <a:custGeom>
              <a:avLst/>
              <a:gdLst>
                <a:gd name="T0" fmla="*/ 7 w 317"/>
                <a:gd name="T1" fmla="*/ 80 h 578"/>
                <a:gd name="T2" fmla="*/ 20 w 317"/>
                <a:gd name="T3" fmla="*/ 69 h 578"/>
                <a:gd name="T4" fmla="*/ 69 w 317"/>
                <a:gd name="T5" fmla="*/ 84 h 578"/>
                <a:gd name="T6" fmla="*/ 91 w 317"/>
                <a:gd name="T7" fmla="*/ 90 h 578"/>
                <a:gd name="T8" fmla="*/ 100 w 317"/>
                <a:gd name="T9" fmla="*/ 68 h 578"/>
                <a:gd name="T10" fmla="*/ 102 w 317"/>
                <a:gd name="T11" fmla="*/ 13 h 578"/>
                <a:gd name="T12" fmla="*/ 154 w 317"/>
                <a:gd name="T13" fmla="*/ 12 h 578"/>
                <a:gd name="T14" fmla="*/ 158 w 317"/>
                <a:gd name="T15" fmla="*/ 43 h 578"/>
                <a:gd name="T16" fmla="*/ 157 w 317"/>
                <a:gd name="T17" fmla="*/ 78 h 578"/>
                <a:gd name="T18" fmla="*/ 203 w 317"/>
                <a:gd name="T19" fmla="*/ 116 h 578"/>
                <a:gd name="T20" fmla="*/ 216 w 317"/>
                <a:gd name="T21" fmla="*/ 184 h 578"/>
                <a:gd name="T22" fmla="*/ 233 w 317"/>
                <a:gd name="T23" fmla="*/ 227 h 578"/>
                <a:gd name="T24" fmla="*/ 248 w 317"/>
                <a:gd name="T25" fmla="*/ 263 h 578"/>
                <a:gd name="T26" fmla="*/ 270 w 317"/>
                <a:gd name="T27" fmla="*/ 292 h 578"/>
                <a:gd name="T28" fmla="*/ 295 w 317"/>
                <a:gd name="T29" fmla="*/ 333 h 578"/>
                <a:gd name="T30" fmla="*/ 303 w 317"/>
                <a:gd name="T31" fmla="*/ 407 h 578"/>
                <a:gd name="T32" fmla="*/ 266 w 317"/>
                <a:gd name="T33" fmla="*/ 493 h 578"/>
                <a:gd name="T34" fmla="*/ 242 w 317"/>
                <a:gd name="T35" fmla="*/ 508 h 578"/>
                <a:gd name="T36" fmla="*/ 224 w 317"/>
                <a:gd name="T37" fmla="*/ 519 h 578"/>
                <a:gd name="T38" fmla="*/ 210 w 317"/>
                <a:gd name="T39" fmla="*/ 527 h 578"/>
                <a:gd name="T40" fmla="*/ 191 w 317"/>
                <a:gd name="T41" fmla="*/ 544 h 578"/>
                <a:gd name="T42" fmla="*/ 173 w 317"/>
                <a:gd name="T43" fmla="*/ 551 h 578"/>
                <a:gd name="T44" fmla="*/ 155 w 317"/>
                <a:gd name="T45" fmla="*/ 561 h 578"/>
                <a:gd name="T46" fmla="*/ 147 w 317"/>
                <a:gd name="T47" fmla="*/ 567 h 578"/>
                <a:gd name="T48" fmla="*/ 143 w 317"/>
                <a:gd name="T49" fmla="*/ 560 h 578"/>
                <a:gd name="T50" fmla="*/ 132 w 317"/>
                <a:gd name="T51" fmla="*/ 561 h 578"/>
                <a:gd name="T52" fmla="*/ 126 w 317"/>
                <a:gd name="T53" fmla="*/ 559 h 578"/>
                <a:gd name="T54" fmla="*/ 120 w 317"/>
                <a:gd name="T55" fmla="*/ 552 h 578"/>
                <a:gd name="T56" fmla="*/ 118 w 317"/>
                <a:gd name="T57" fmla="*/ 542 h 578"/>
                <a:gd name="T58" fmla="*/ 110 w 317"/>
                <a:gd name="T59" fmla="*/ 541 h 578"/>
                <a:gd name="T60" fmla="*/ 98 w 317"/>
                <a:gd name="T61" fmla="*/ 540 h 578"/>
                <a:gd name="T62" fmla="*/ 94 w 317"/>
                <a:gd name="T63" fmla="*/ 529 h 578"/>
                <a:gd name="T64" fmla="*/ 87 w 317"/>
                <a:gd name="T65" fmla="*/ 521 h 578"/>
                <a:gd name="T66" fmla="*/ 89 w 317"/>
                <a:gd name="T67" fmla="*/ 502 h 578"/>
                <a:gd name="T68" fmla="*/ 89 w 317"/>
                <a:gd name="T69" fmla="*/ 485 h 578"/>
                <a:gd name="T70" fmla="*/ 81 w 317"/>
                <a:gd name="T71" fmla="*/ 459 h 578"/>
                <a:gd name="T72" fmla="*/ 72 w 317"/>
                <a:gd name="T73" fmla="*/ 430 h 578"/>
                <a:gd name="T74" fmla="*/ 75 w 317"/>
                <a:gd name="T75" fmla="*/ 399 h 578"/>
                <a:gd name="T76" fmla="*/ 73 w 317"/>
                <a:gd name="T77" fmla="*/ 393 h 578"/>
                <a:gd name="T78" fmla="*/ 89 w 317"/>
                <a:gd name="T79" fmla="*/ 386 h 578"/>
                <a:gd name="T80" fmla="*/ 95 w 317"/>
                <a:gd name="T81" fmla="*/ 365 h 578"/>
                <a:gd name="T82" fmla="*/ 106 w 317"/>
                <a:gd name="T83" fmla="*/ 351 h 578"/>
                <a:gd name="T84" fmla="*/ 126 w 317"/>
                <a:gd name="T85" fmla="*/ 306 h 578"/>
                <a:gd name="T86" fmla="*/ 143 w 317"/>
                <a:gd name="T87" fmla="*/ 280 h 578"/>
                <a:gd name="T88" fmla="*/ 123 w 317"/>
                <a:gd name="T89" fmla="*/ 248 h 578"/>
                <a:gd name="T90" fmla="*/ 91 w 317"/>
                <a:gd name="T91" fmla="*/ 217 h 578"/>
                <a:gd name="T92" fmla="*/ 80 w 317"/>
                <a:gd name="T93" fmla="*/ 167 h 578"/>
                <a:gd name="T94" fmla="*/ 73 w 317"/>
                <a:gd name="T95" fmla="*/ 132 h 578"/>
                <a:gd name="T96" fmla="*/ 35 w 317"/>
                <a:gd name="T97" fmla="*/ 109 h 578"/>
                <a:gd name="T98" fmla="*/ 142 w 317"/>
                <a:gd name="T99" fmla="*/ 570 h 578"/>
                <a:gd name="T100" fmla="*/ 129 w 317"/>
                <a:gd name="T101" fmla="*/ 570 h 578"/>
                <a:gd name="T102" fmla="*/ 104 w 317"/>
                <a:gd name="T103" fmla="*/ 557 h 578"/>
                <a:gd name="T104" fmla="*/ 114 w 317"/>
                <a:gd name="T105" fmla="*/ 553 h 578"/>
                <a:gd name="T106" fmla="*/ 97 w 317"/>
                <a:gd name="T107" fmla="*/ 556 h 578"/>
                <a:gd name="T108" fmla="*/ 92 w 317"/>
                <a:gd name="T109" fmla="*/ 544 h 578"/>
                <a:gd name="T110" fmla="*/ 83 w 317"/>
                <a:gd name="T111" fmla="*/ 558 h 578"/>
                <a:gd name="T112" fmla="*/ 80 w 317"/>
                <a:gd name="T113" fmla="*/ 563 h 578"/>
                <a:gd name="T114" fmla="*/ 79 w 317"/>
                <a:gd name="T115" fmla="*/ 570 h 578"/>
                <a:gd name="T116" fmla="*/ 48 w 317"/>
                <a:gd name="T117" fmla="*/ 577 h 578"/>
                <a:gd name="T118" fmla="*/ 53 w 317"/>
                <a:gd name="T119" fmla="*/ 558 h 578"/>
                <a:gd name="T120" fmla="*/ 65 w 317"/>
                <a:gd name="T121" fmla="*/ 573 h 578"/>
                <a:gd name="T122" fmla="*/ 68 w 317"/>
                <a:gd name="T123" fmla="*/ 561 h 578"/>
                <a:gd name="T124" fmla="*/ 57 w 317"/>
                <a:gd name="T125" fmla="*/ 55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7" h="578">
                  <a:moveTo>
                    <a:pt x="20" y="100"/>
                  </a:moveTo>
                  <a:cubicBezTo>
                    <a:pt x="17" y="95"/>
                    <a:pt x="17" y="95"/>
                    <a:pt x="17" y="9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0" y="81"/>
                    <a:pt x="1" y="81"/>
                  </a:cubicBezTo>
                  <a:cubicBezTo>
                    <a:pt x="2" y="80"/>
                    <a:pt x="6" y="80"/>
                    <a:pt x="7" y="80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9"/>
                    <a:pt x="9" y="78"/>
                    <a:pt x="9" y="78"/>
                  </a:cubicBezTo>
                  <a:cubicBezTo>
                    <a:pt x="9" y="78"/>
                    <a:pt x="6" y="72"/>
                    <a:pt x="8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0" y="66"/>
                    <a:pt x="14" y="66"/>
                    <a:pt x="16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4"/>
                    <a:pt x="42" y="91"/>
                    <a:pt x="44" y="92"/>
                  </a:cubicBezTo>
                  <a:cubicBezTo>
                    <a:pt x="46" y="93"/>
                    <a:pt x="57" y="95"/>
                    <a:pt x="58" y="96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9" y="84"/>
                    <a:pt x="69" y="84"/>
                    <a:pt x="69" y="84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7" y="92"/>
                    <a:pt x="88" y="92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0" y="91"/>
                    <a:pt x="90" y="91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8"/>
                    <a:pt x="91" y="82"/>
                    <a:pt x="91" y="82"/>
                  </a:cubicBezTo>
                  <a:cubicBezTo>
                    <a:pt x="91" y="82"/>
                    <a:pt x="88" y="80"/>
                    <a:pt x="91" y="78"/>
                  </a:cubicBezTo>
                  <a:cubicBezTo>
                    <a:pt x="94" y="75"/>
                    <a:pt x="98" y="72"/>
                    <a:pt x="98" y="72"/>
                  </a:cubicBezTo>
                  <a:cubicBezTo>
                    <a:pt x="98" y="72"/>
                    <a:pt x="100" y="71"/>
                    <a:pt x="100" y="68"/>
                  </a:cubicBezTo>
                  <a:cubicBezTo>
                    <a:pt x="100" y="65"/>
                    <a:pt x="98" y="57"/>
                    <a:pt x="98" y="57"/>
                  </a:cubicBezTo>
                  <a:cubicBezTo>
                    <a:pt x="98" y="57"/>
                    <a:pt x="96" y="52"/>
                    <a:pt x="96" y="50"/>
                  </a:cubicBezTo>
                  <a:cubicBezTo>
                    <a:pt x="98" y="38"/>
                    <a:pt x="93" y="29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1" y="25"/>
                    <a:pt x="101" y="24"/>
                    <a:pt x="101" y="24"/>
                  </a:cubicBezTo>
                  <a:cubicBezTo>
                    <a:pt x="101" y="19"/>
                    <a:pt x="95" y="14"/>
                    <a:pt x="102" y="13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3" y="1"/>
                    <a:pt x="127" y="0"/>
                    <a:pt x="129" y="1"/>
                  </a:cubicBezTo>
                  <a:cubicBezTo>
                    <a:pt x="131" y="4"/>
                    <a:pt x="131" y="6"/>
                    <a:pt x="135" y="7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6"/>
                    <a:pt x="156" y="18"/>
                    <a:pt x="157" y="19"/>
                  </a:cubicBezTo>
                  <a:cubicBezTo>
                    <a:pt x="157" y="21"/>
                    <a:pt x="158" y="24"/>
                    <a:pt x="158" y="24"/>
                  </a:cubicBezTo>
                  <a:cubicBezTo>
                    <a:pt x="158" y="24"/>
                    <a:pt x="157" y="27"/>
                    <a:pt x="157" y="29"/>
                  </a:cubicBezTo>
                  <a:cubicBezTo>
                    <a:pt x="156" y="30"/>
                    <a:pt x="156" y="33"/>
                    <a:pt x="156" y="34"/>
                  </a:cubicBezTo>
                  <a:cubicBezTo>
                    <a:pt x="156" y="35"/>
                    <a:pt x="156" y="36"/>
                    <a:pt x="156" y="37"/>
                  </a:cubicBezTo>
                  <a:cubicBezTo>
                    <a:pt x="156" y="39"/>
                    <a:pt x="157" y="42"/>
                    <a:pt x="158" y="43"/>
                  </a:cubicBezTo>
                  <a:cubicBezTo>
                    <a:pt x="158" y="44"/>
                    <a:pt x="163" y="47"/>
                    <a:pt x="163" y="47"/>
                  </a:cubicBezTo>
                  <a:cubicBezTo>
                    <a:pt x="163" y="47"/>
                    <a:pt x="163" y="48"/>
                    <a:pt x="158" y="52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8"/>
                    <a:pt x="161" y="68"/>
                    <a:pt x="161" y="68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61" y="84"/>
                    <a:pt x="161" y="84"/>
                    <a:pt x="161" y="84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6"/>
                    <a:pt x="174" y="95"/>
                    <a:pt x="181" y="96"/>
                  </a:cubicBezTo>
                  <a:cubicBezTo>
                    <a:pt x="188" y="98"/>
                    <a:pt x="190" y="104"/>
                    <a:pt x="190" y="104"/>
                  </a:cubicBezTo>
                  <a:cubicBezTo>
                    <a:pt x="194" y="109"/>
                    <a:pt x="194" y="109"/>
                    <a:pt x="194" y="109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203" y="116"/>
                    <a:pt x="203" y="116"/>
                    <a:pt x="203" y="116"/>
                  </a:cubicBezTo>
                  <a:cubicBezTo>
                    <a:pt x="202" y="125"/>
                    <a:pt x="202" y="125"/>
                    <a:pt x="202" y="125"/>
                  </a:cubicBezTo>
                  <a:cubicBezTo>
                    <a:pt x="202" y="125"/>
                    <a:pt x="199" y="130"/>
                    <a:pt x="200" y="134"/>
                  </a:cubicBezTo>
                  <a:cubicBezTo>
                    <a:pt x="200" y="139"/>
                    <a:pt x="197" y="146"/>
                    <a:pt x="197" y="148"/>
                  </a:cubicBezTo>
                  <a:cubicBezTo>
                    <a:pt x="197" y="149"/>
                    <a:pt x="195" y="157"/>
                    <a:pt x="195" y="157"/>
                  </a:cubicBezTo>
                  <a:cubicBezTo>
                    <a:pt x="198" y="164"/>
                    <a:pt x="198" y="164"/>
                    <a:pt x="198" y="164"/>
                  </a:cubicBezTo>
                  <a:cubicBezTo>
                    <a:pt x="202" y="168"/>
                    <a:pt x="202" y="168"/>
                    <a:pt x="202" y="168"/>
                  </a:cubicBezTo>
                  <a:cubicBezTo>
                    <a:pt x="208" y="175"/>
                    <a:pt x="208" y="175"/>
                    <a:pt x="208" y="175"/>
                  </a:cubicBezTo>
                  <a:cubicBezTo>
                    <a:pt x="216" y="184"/>
                    <a:pt x="216" y="184"/>
                    <a:pt x="216" y="184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19" y="191"/>
                    <a:pt x="227" y="196"/>
                    <a:pt x="227" y="197"/>
                  </a:cubicBezTo>
                  <a:cubicBezTo>
                    <a:pt x="227" y="198"/>
                    <a:pt x="230" y="203"/>
                    <a:pt x="230" y="203"/>
                  </a:cubicBezTo>
                  <a:cubicBezTo>
                    <a:pt x="234" y="210"/>
                    <a:pt x="234" y="210"/>
                    <a:pt x="234" y="210"/>
                  </a:cubicBezTo>
                  <a:cubicBezTo>
                    <a:pt x="233" y="215"/>
                    <a:pt x="233" y="215"/>
                    <a:pt x="233" y="215"/>
                  </a:cubicBezTo>
                  <a:cubicBezTo>
                    <a:pt x="230" y="220"/>
                    <a:pt x="230" y="220"/>
                    <a:pt x="230" y="220"/>
                  </a:cubicBezTo>
                  <a:cubicBezTo>
                    <a:pt x="230" y="223"/>
                    <a:pt x="230" y="223"/>
                    <a:pt x="230" y="223"/>
                  </a:cubicBezTo>
                  <a:cubicBezTo>
                    <a:pt x="233" y="227"/>
                    <a:pt x="233" y="227"/>
                    <a:pt x="233" y="227"/>
                  </a:cubicBezTo>
                  <a:cubicBezTo>
                    <a:pt x="232" y="231"/>
                    <a:pt x="232" y="231"/>
                    <a:pt x="232" y="231"/>
                  </a:cubicBezTo>
                  <a:cubicBezTo>
                    <a:pt x="235" y="237"/>
                    <a:pt x="235" y="237"/>
                    <a:pt x="235" y="237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38" y="243"/>
                    <a:pt x="238" y="243"/>
                    <a:pt x="238" y="243"/>
                  </a:cubicBezTo>
                  <a:cubicBezTo>
                    <a:pt x="238" y="243"/>
                    <a:pt x="239" y="244"/>
                    <a:pt x="238" y="246"/>
                  </a:cubicBezTo>
                  <a:cubicBezTo>
                    <a:pt x="237" y="247"/>
                    <a:pt x="236" y="254"/>
                    <a:pt x="236" y="254"/>
                  </a:cubicBezTo>
                  <a:cubicBezTo>
                    <a:pt x="241" y="262"/>
                    <a:pt x="241" y="262"/>
                    <a:pt x="241" y="262"/>
                  </a:cubicBezTo>
                  <a:cubicBezTo>
                    <a:pt x="248" y="263"/>
                    <a:pt x="248" y="263"/>
                    <a:pt x="248" y="263"/>
                  </a:cubicBezTo>
                  <a:cubicBezTo>
                    <a:pt x="248" y="263"/>
                    <a:pt x="252" y="263"/>
                    <a:pt x="252" y="264"/>
                  </a:cubicBezTo>
                  <a:cubicBezTo>
                    <a:pt x="253" y="265"/>
                    <a:pt x="254" y="268"/>
                    <a:pt x="254" y="268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251" y="274"/>
                    <a:pt x="252" y="277"/>
                    <a:pt x="255" y="279"/>
                  </a:cubicBezTo>
                  <a:cubicBezTo>
                    <a:pt x="257" y="280"/>
                    <a:pt x="259" y="280"/>
                    <a:pt x="259" y="282"/>
                  </a:cubicBezTo>
                  <a:cubicBezTo>
                    <a:pt x="260" y="284"/>
                    <a:pt x="260" y="287"/>
                    <a:pt x="261" y="286"/>
                  </a:cubicBezTo>
                  <a:cubicBezTo>
                    <a:pt x="263" y="286"/>
                    <a:pt x="267" y="287"/>
                    <a:pt x="267" y="287"/>
                  </a:cubicBezTo>
                  <a:cubicBezTo>
                    <a:pt x="270" y="292"/>
                    <a:pt x="270" y="292"/>
                    <a:pt x="270" y="292"/>
                  </a:cubicBezTo>
                  <a:cubicBezTo>
                    <a:pt x="272" y="296"/>
                    <a:pt x="272" y="296"/>
                    <a:pt x="272" y="296"/>
                  </a:cubicBezTo>
                  <a:cubicBezTo>
                    <a:pt x="272" y="296"/>
                    <a:pt x="272" y="299"/>
                    <a:pt x="272" y="300"/>
                  </a:cubicBezTo>
                  <a:cubicBezTo>
                    <a:pt x="272" y="302"/>
                    <a:pt x="271" y="308"/>
                    <a:pt x="271" y="308"/>
                  </a:cubicBezTo>
                  <a:cubicBezTo>
                    <a:pt x="266" y="316"/>
                    <a:pt x="266" y="316"/>
                    <a:pt x="266" y="316"/>
                  </a:cubicBezTo>
                  <a:cubicBezTo>
                    <a:pt x="266" y="316"/>
                    <a:pt x="270" y="321"/>
                    <a:pt x="273" y="323"/>
                  </a:cubicBezTo>
                  <a:cubicBezTo>
                    <a:pt x="276" y="325"/>
                    <a:pt x="280" y="328"/>
                    <a:pt x="281" y="328"/>
                  </a:cubicBezTo>
                  <a:cubicBezTo>
                    <a:pt x="282" y="328"/>
                    <a:pt x="287" y="329"/>
                    <a:pt x="289" y="330"/>
                  </a:cubicBezTo>
                  <a:cubicBezTo>
                    <a:pt x="290" y="330"/>
                    <a:pt x="294" y="332"/>
                    <a:pt x="295" y="333"/>
                  </a:cubicBezTo>
                  <a:cubicBezTo>
                    <a:pt x="296" y="334"/>
                    <a:pt x="303" y="338"/>
                    <a:pt x="303" y="338"/>
                  </a:cubicBezTo>
                  <a:cubicBezTo>
                    <a:pt x="309" y="341"/>
                    <a:pt x="309" y="341"/>
                    <a:pt x="309" y="341"/>
                  </a:cubicBezTo>
                  <a:cubicBezTo>
                    <a:pt x="315" y="346"/>
                    <a:pt x="315" y="346"/>
                    <a:pt x="315" y="346"/>
                  </a:cubicBezTo>
                  <a:cubicBezTo>
                    <a:pt x="317" y="358"/>
                    <a:pt x="317" y="358"/>
                    <a:pt x="317" y="358"/>
                  </a:cubicBezTo>
                  <a:cubicBezTo>
                    <a:pt x="317" y="358"/>
                    <a:pt x="315" y="376"/>
                    <a:pt x="314" y="378"/>
                  </a:cubicBezTo>
                  <a:cubicBezTo>
                    <a:pt x="314" y="380"/>
                    <a:pt x="311" y="389"/>
                    <a:pt x="310" y="390"/>
                  </a:cubicBezTo>
                  <a:cubicBezTo>
                    <a:pt x="308" y="391"/>
                    <a:pt x="306" y="392"/>
                    <a:pt x="306" y="394"/>
                  </a:cubicBezTo>
                  <a:cubicBezTo>
                    <a:pt x="306" y="396"/>
                    <a:pt x="303" y="407"/>
                    <a:pt x="303" y="407"/>
                  </a:cubicBezTo>
                  <a:cubicBezTo>
                    <a:pt x="303" y="407"/>
                    <a:pt x="300" y="414"/>
                    <a:pt x="300" y="416"/>
                  </a:cubicBezTo>
                  <a:cubicBezTo>
                    <a:pt x="300" y="418"/>
                    <a:pt x="297" y="424"/>
                    <a:pt x="297" y="426"/>
                  </a:cubicBezTo>
                  <a:cubicBezTo>
                    <a:pt x="296" y="427"/>
                    <a:pt x="294" y="435"/>
                    <a:pt x="294" y="435"/>
                  </a:cubicBezTo>
                  <a:cubicBezTo>
                    <a:pt x="281" y="461"/>
                    <a:pt x="281" y="461"/>
                    <a:pt x="281" y="461"/>
                  </a:cubicBezTo>
                  <a:cubicBezTo>
                    <a:pt x="278" y="471"/>
                    <a:pt x="278" y="471"/>
                    <a:pt x="278" y="471"/>
                  </a:cubicBezTo>
                  <a:cubicBezTo>
                    <a:pt x="278" y="471"/>
                    <a:pt x="275" y="472"/>
                    <a:pt x="274" y="474"/>
                  </a:cubicBezTo>
                  <a:cubicBezTo>
                    <a:pt x="273" y="477"/>
                    <a:pt x="272" y="479"/>
                    <a:pt x="271" y="482"/>
                  </a:cubicBezTo>
                  <a:cubicBezTo>
                    <a:pt x="271" y="484"/>
                    <a:pt x="266" y="493"/>
                    <a:pt x="266" y="493"/>
                  </a:cubicBezTo>
                  <a:cubicBezTo>
                    <a:pt x="264" y="498"/>
                    <a:pt x="264" y="498"/>
                    <a:pt x="264" y="498"/>
                  </a:cubicBezTo>
                  <a:cubicBezTo>
                    <a:pt x="260" y="503"/>
                    <a:pt x="260" y="503"/>
                    <a:pt x="260" y="503"/>
                  </a:cubicBezTo>
                  <a:cubicBezTo>
                    <a:pt x="260" y="503"/>
                    <a:pt x="257" y="505"/>
                    <a:pt x="257" y="505"/>
                  </a:cubicBezTo>
                  <a:cubicBezTo>
                    <a:pt x="257" y="505"/>
                    <a:pt x="255" y="505"/>
                    <a:pt x="255" y="505"/>
                  </a:cubicBezTo>
                  <a:cubicBezTo>
                    <a:pt x="250" y="505"/>
                    <a:pt x="250" y="505"/>
                    <a:pt x="250" y="505"/>
                  </a:cubicBezTo>
                  <a:cubicBezTo>
                    <a:pt x="247" y="503"/>
                    <a:pt x="247" y="503"/>
                    <a:pt x="247" y="503"/>
                  </a:cubicBezTo>
                  <a:cubicBezTo>
                    <a:pt x="247" y="503"/>
                    <a:pt x="244" y="505"/>
                    <a:pt x="244" y="505"/>
                  </a:cubicBezTo>
                  <a:cubicBezTo>
                    <a:pt x="244" y="506"/>
                    <a:pt x="242" y="507"/>
                    <a:pt x="242" y="508"/>
                  </a:cubicBezTo>
                  <a:cubicBezTo>
                    <a:pt x="242" y="508"/>
                    <a:pt x="241" y="510"/>
                    <a:pt x="240" y="510"/>
                  </a:cubicBezTo>
                  <a:cubicBezTo>
                    <a:pt x="239" y="511"/>
                    <a:pt x="238" y="512"/>
                    <a:pt x="237" y="512"/>
                  </a:cubicBezTo>
                  <a:cubicBezTo>
                    <a:pt x="237" y="513"/>
                    <a:pt x="235" y="513"/>
                    <a:pt x="235" y="513"/>
                  </a:cubicBezTo>
                  <a:cubicBezTo>
                    <a:pt x="235" y="513"/>
                    <a:pt x="235" y="514"/>
                    <a:pt x="234" y="515"/>
                  </a:cubicBezTo>
                  <a:cubicBezTo>
                    <a:pt x="234" y="515"/>
                    <a:pt x="231" y="515"/>
                    <a:pt x="230" y="514"/>
                  </a:cubicBezTo>
                  <a:cubicBezTo>
                    <a:pt x="229" y="513"/>
                    <a:pt x="227" y="512"/>
                    <a:pt x="228" y="512"/>
                  </a:cubicBezTo>
                  <a:cubicBezTo>
                    <a:pt x="228" y="513"/>
                    <a:pt x="227" y="515"/>
                    <a:pt x="227" y="515"/>
                  </a:cubicBezTo>
                  <a:cubicBezTo>
                    <a:pt x="227" y="516"/>
                    <a:pt x="225" y="519"/>
                    <a:pt x="224" y="519"/>
                  </a:cubicBezTo>
                  <a:cubicBezTo>
                    <a:pt x="223" y="519"/>
                    <a:pt x="221" y="518"/>
                    <a:pt x="220" y="517"/>
                  </a:cubicBezTo>
                  <a:cubicBezTo>
                    <a:pt x="219" y="517"/>
                    <a:pt x="218" y="517"/>
                    <a:pt x="218" y="517"/>
                  </a:cubicBezTo>
                  <a:cubicBezTo>
                    <a:pt x="218" y="518"/>
                    <a:pt x="218" y="521"/>
                    <a:pt x="218" y="522"/>
                  </a:cubicBezTo>
                  <a:cubicBezTo>
                    <a:pt x="218" y="522"/>
                    <a:pt x="218" y="523"/>
                    <a:pt x="218" y="524"/>
                  </a:cubicBezTo>
                  <a:cubicBezTo>
                    <a:pt x="217" y="524"/>
                    <a:pt x="215" y="525"/>
                    <a:pt x="215" y="525"/>
                  </a:cubicBezTo>
                  <a:cubicBezTo>
                    <a:pt x="215" y="525"/>
                    <a:pt x="216" y="527"/>
                    <a:pt x="215" y="527"/>
                  </a:cubicBezTo>
                  <a:cubicBezTo>
                    <a:pt x="214" y="528"/>
                    <a:pt x="213" y="529"/>
                    <a:pt x="212" y="529"/>
                  </a:cubicBezTo>
                  <a:cubicBezTo>
                    <a:pt x="212" y="528"/>
                    <a:pt x="210" y="527"/>
                    <a:pt x="210" y="527"/>
                  </a:cubicBezTo>
                  <a:cubicBezTo>
                    <a:pt x="209" y="528"/>
                    <a:pt x="208" y="530"/>
                    <a:pt x="208" y="530"/>
                  </a:cubicBezTo>
                  <a:cubicBezTo>
                    <a:pt x="208" y="531"/>
                    <a:pt x="207" y="532"/>
                    <a:pt x="207" y="532"/>
                  </a:cubicBezTo>
                  <a:cubicBezTo>
                    <a:pt x="207" y="532"/>
                    <a:pt x="200" y="540"/>
                    <a:pt x="200" y="540"/>
                  </a:cubicBezTo>
                  <a:cubicBezTo>
                    <a:pt x="199" y="540"/>
                    <a:pt x="197" y="537"/>
                    <a:pt x="197" y="537"/>
                  </a:cubicBezTo>
                  <a:cubicBezTo>
                    <a:pt x="197" y="538"/>
                    <a:pt x="197" y="540"/>
                    <a:pt x="197" y="540"/>
                  </a:cubicBezTo>
                  <a:cubicBezTo>
                    <a:pt x="196" y="541"/>
                    <a:pt x="194" y="542"/>
                    <a:pt x="194" y="542"/>
                  </a:cubicBezTo>
                  <a:cubicBezTo>
                    <a:pt x="194" y="543"/>
                    <a:pt x="193" y="542"/>
                    <a:pt x="192" y="542"/>
                  </a:cubicBezTo>
                  <a:cubicBezTo>
                    <a:pt x="192" y="543"/>
                    <a:pt x="191" y="543"/>
                    <a:pt x="191" y="544"/>
                  </a:cubicBezTo>
                  <a:cubicBezTo>
                    <a:pt x="191" y="545"/>
                    <a:pt x="190" y="546"/>
                    <a:pt x="190" y="546"/>
                  </a:cubicBezTo>
                  <a:cubicBezTo>
                    <a:pt x="190" y="546"/>
                    <a:pt x="188" y="547"/>
                    <a:pt x="188" y="548"/>
                  </a:cubicBezTo>
                  <a:cubicBezTo>
                    <a:pt x="187" y="549"/>
                    <a:pt x="185" y="550"/>
                    <a:pt x="185" y="550"/>
                  </a:cubicBezTo>
                  <a:cubicBezTo>
                    <a:pt x="185" y="550"/>
                    <a:pt x="184" y="551"/>
                    <a:pt x="183" y="550"/>
                  </a:cubicBezTo>
                  <a:cubicBezTo>
                    <a:pt x="182" y="550"/>
                    <a:pt x="180" y="547"/>
                    <a:pt x="180" y="547"/>
                  </a:cubicBezTo>
                  <a:cubicBezTo>
                    <a:pt x="180" y="547"/>
                    <a:pt x="178" y="547"/>
                    <a:pt x="178" y="548"/>
                  </a:cubicBezTo>
                  <a:cubicBezTo>
                    <a:pt x="177" y="549"/>
                    <a:pt x="177" y="550"/>
                    <a:pt x="176" y="550"/>
                  </a:cubicBezTo>
                  <a:cubicBezTo>
                    <a:pt x="175" y="551"/>
                    <a:pt x="174" y="551"/>
                    <a:pt x="173" y="551"/>
                  </a:cubicBezTo>
                  <a:cubicBezTo>
                    <a:pt x="172" y="552"/>
                    <a:pt x="170" y="552"/>
                    <a:pt x="170" y="553"/>
                  </a:cubicBezTo>
                  <a:cubicBezTo>
                    <a:pt x="169" y="553"/>
                    <a:pt x="168" y="555"/>
                    <a:pt x="168" y="556"/>
                  </a:cubicBezTo>
                  <a:cubicBezTo>
                    <a:pt x="168" y="557"/>
                    <a:pt x="170" y="557"/>
                    <a:pt x="168" y="557"/>
                  </a:cubicBezTo>
                  <a:cubicBezTo>
                    <a:pt x="166" y="558"/>
                    <a:pt x="163" y="558"/>
                    <a:pt x="163" y="558"/>
                  </a:cubicBezTo>
                  <a:cubicBezTo>
                    <a:pt x="163" y="558"/>
                    <a:pt x="161" y="559"/>
                    <a:pt x="161" y="560"/>
                  </a:cubicBezTo>
                  <a:cubicBezTo>
                    <a:pt x="160" y="561"/>
                    <a:pt x="161" y="561"/>
                    <a:pt x="159" y="562"/>
                  </a:cubicBezTo>
                  <a:cubicBezTo>
                    <a:pt x="158" y="562"/>
                    <a:pt x="157" y="563"/>
                    <a:pt x="157" y="563"/>
                  </a:cubicBezTo>
                  <a:cubicBezTo>
                    <a:pt x="155" y="561"/>
                    <a:pt x="155" y="561"/>
                    <a:pt x="155" y="561"/>
                  </a:cubicBezTo>
                  <a:cubicBezTo>
                    <a:pt x="156" y="559"/>
                    <a:pt x="156" y="559"/>
                    <a:pt x="156" y="559"/>
                  </a:cubicBezTo>
                  <a:cubicBezTo>
                    <a:pt x="156" y="559"/>
                    <a:pt x="155" y="557"/>
                    <a:pt x="155" y="558"/>
                  </a:cubicBezTo>
                  <a:cubicBezTo>
                    <a:pt x="154" y="560"/>
                    <a:pt x="155" y="561"/>
                    <a:pt x="155" y="561"/>
                  </a:cubicBezTo>
                  <a:cubicBezTo>
                    <a:pt x="155" y="561"/>
                    <a:pt x="154" y="561"/>
                    <a:pt x="154" y="562"/>
                  </a:cubicBezTo>
                  <a:cubicBezTo>
                    <a:pt x="153" y="563"/>
                    <a:pt x="154" y="563"/>
                    <a:pt x="153" y="564"/>
                  </a:cubicBezTo>
                  <a:cubicBezTo>
                    <a:pt x="153" y="565"/>
                    <a:pt x="152" y="566"/>
                    <a:pt x="151" y="566"/>
                  </a:cubicBezTo>
                  <a:cubicBezTo>
                    <a:pt x="151" y="567"/>
                    <a:pt x="150" y="567"/>
                    <a:pt x="149" y="567"/>
                  </a:cubicBezTo>
                  <a:cubicBezTo>
                    <a:pt x="149" y="567"/>
                    <a:pt x="147" y="567"/>
                    <a:pt x="147" y="567"/>
                  </a:cubicBezTo>
                  <a:cubicBezTo>
                    <a:pt x="146" y="567"/>
                    <a:pt x="145" y="566"/>
                    <a:pt x="146" y="566"/>
                  </a:cubicBezTo>
                  <a:cubicBezTo>
                    <a:pt x="146" y="566"/>
                    <a:pt x="148" y="565"/>
                    <a:pt x="148" y="565"/>
                  </a:cubicBezTo>
                  <a:cubicBezTo>
                    <a:pt x="148" y="565"/>
                    <a:pt x="149" y="564"/>
                    <a:pt x="148" y="564"/>
                  </a:cubicBezTo>
                  <a:cubicBezTo>
                    <a:pt x="147" y="563"/>
                    <a:pt x="146" y="562"/>
                    <a:pt x="146" y="562"/>
                  </a:cubicBezTo>
                  <a:cubicBezTo>
                    <a:pt x="146" y="562"/>
                    <a:pt x="147" y="563"/>
                    <a:pt x="144" y="563"/>
                  </a:cubicBezTo>
                  <a:cubicBezTo>
                    <a:pt x="142" y="564"/>
                    <a:pt x="141" y="564"/>
                    <a:pt x="141" y="563"/>
                  </a:cubicBezTo>
                  <a:cubicBezTo>
                    <a:pt x="141" y="563"/>
                    <a:pt x="139" y="563"/>
                    <a:pt x="140" y="562"/>
                  </a:cubicBezTo>
                  <a:cubicBezTo>
                    <a:pt x="142" y="561"/>
                    <a:pt x="142" y="560"/>
                    <a:pt x="143" y="560"/>
                  </a:cubicBezTo>
                  <a:cubicBezTo>
                    <a:pt x="144" y="560"/>
                    <a:pt x="144" y="558"/>
                    <a:pt x="144" y="557"/>
                  </a:cubicBezTo>
                  <a:cubicBezTo>
                    <a:pt x="144" y="557"/>
                    <a:pt x="146" y="559"/>
                    <a:pt x="143" y="557"/>
                  </a:cubicBezTo>
                  <a:cubicBezTo>
                    <a:pt x="141" y="554"/>
                    <a:pt x="141" y="554"/>
                    <a:pt x="141" y="554"/>
                  </a:cubicBezTo>
                  <a:cubicBezTo>
                    <a:pt x="141" y="554"/>
                    <a:pt x="140" y="555"/>
                    <a:pt x="140" y="556"/>
                  </a:cubicBezTo>
                  <a:cubicBezTo>
                    <a:pt x="141" y="557"/>
                    <a:pt x="143" y="558"/>
                    <a:pt x="140" y="559"/>
                  </a:cubicBezTo>
                  <a:cubicBezTo>
                    <a:pt x="137" y="559"/>
                    <a:pt x="137" y="559"/>
                    <a:pt x="137" y="559"/>
                  </a:cubicBezTo>
                  <a:cubicBezTo>
                    <a:pt x="136" y="560"/>
                    <a:pt x="133" y="560"/>
                    <a:pt x="133" y="560"/>
                  </a:cubicBezTo>
                  <a:cubicBezTo>
                    <a:pt x="133" y="560"/>
                    <a:pt x="131" y="560"/>
                    <a:pt x="132" y="561"/>
                  </a:cubicBezTo>
                  <a:cubicBezTo>
                    <a:pt x="132" y="562"/>
                    <a:pt x="134" y="563"/>
                    <a:pt x="134" y="563"/>
                  </a:cubicBezTo>
                  <a:cubicBezTo>
                    <a:pt x="134" y="563"/>
                    <a:pt x="134" y="564"/>
                    <a:pt x="132" y="564"/>
                  </a:cubicBezTo>
                  <a:cubicBezTo>
                    <a:pt x="131" y="565"/>
                    <a:pt x="129" y="565"/>
                    <a:pt x="129" y="565"/>
                  </a:cubicBezTo>
                  <a:cubicBezTo>
                    <a:pt x="128" y="566"/>
                    <a:pt x="128" y="566"/>
                    <a:pt x="128" y="566"/>
                  </a:cubicBezTo>
                  <a:cubicBezTo>
                    <a:pt x="128" y="566"/>
                    <a:pt x="127" y="566"/>
                    <a:pt x="127" y="565"/>
                  </a:cubicBezTo>
                  <a:cubicBezTo>
                    <a:pt x="127" y="565"/>
                    <a:pt x="128" y="564"/>
                    <a:pt x="128" y="563"/>
                  </a:cubicBezTo>
                  <a:cubicBezTo>
                    <a:pt x="128" y="562"/>
                    <a:pt x="129" y="563"/>
                    <a:pt x="128" y="562"/>
                  </a:cubicBezTo>
                  <a:cubicBezTo>
                    <a:pt x="127" y="560"/>
                    <a:pt x="126" y="560"/>
                    <a:pt x="126" y="559"/>
                  </a:cubicBezTo>
                  <a:cubicBezTo>
                    <a:pt x="127" y="558"/>
                    <a:pt x="129" y="557"/>
                    <a:pt x="129" y="557"/>
                  </a:cubicBezTo>
                  <a:cubicBezTo>
                    <a:pt x="129" y="556"/>
                    <a:pt x="129" y="555"/>
                    <a:pt x="129" y="555"/>
                  </a:cubicBezTo>
                  <a:cubicBezTo>
                    <a:pt x="129" y="555"/>
                    <a:pt x="128" y="555"/>
                    <a:pt x="129" y="554"/>
                  </a:cubicBezTo>
                  <a:cubicBezTo>
                    <a:pt x="130" y="552"/>
                    <a:pt x="131" y="551"/>
                    <a:pt x="131" y="551"/>
                  </a:cubicBezTo>
                  <a:cubicBezTo>
                    <a:pt x="131" y="550"/>
                    <a:pt x="130" y="549"/>
                    <a:pt x="129" y="549"/>
                  </a:cubicBezTo>
                  <a:cubicBezTo>
                    <a:pt x="129" y="549"/>
                    <a:pt x="128" y="551"/>
                    <a:pt x="128" y="552"/>
                  </a:cubicBezTo>
                  <a:cubicBezTo>
                    <a:pt x="128" y="552"/>
                    <a:pt x="129" y="554"/>
                    <a:pt x="126" y="553"/>
                  </a:cubicBezTo>
                  <a:cubicBezTo>
                    <a:pt x="123" y="553"/>
                    <a:pt x="121" y="553"/>
                    <a:pt x="120" y="552"/>
                  </a:cubicBezTo>
                  <a:cubicBezTo>
                    <a:pt x="120" y="551"/>
                    <a:pt x="118" y="550"/>
                    <a:pt x="121" y="550"/>
                  </a:cubicBezTo>
                  <a:cubicBezTo>
                    <a:pt x="124" y="549"/>
                    <a:pt x="124" y="549"/>
                    <a:pt x="124" y="549"/>
                  </a:cubicBezTo>
                  <a:cubicBezTo>
                    <a:pt x="125" y="548"/>
                    <a:pt x="125" y="547"/>
                    <a:pt x="125" y="546"/>
                  </a:cubicBezTo>
                  <a:cubicBezTo>
                    <a:pt x="124" y="546"/>
                    <a:pt x="123" y="544"/>
                    <a:pt x="123" y="545"/>
                  </a:cubicBezTo>
                  <a:cubicBezTo>
                    <a:pt x="122" y="547"/>
                    <a:pt x="122" y="548"/>
                    <a:pt x="122" y="548"/>
                  </a:cubicBezTo>
                  <a:cubicBezTo>
                    <a:pt x="122" y="548"/>
                    <a:pt x="118" y="548"/>
                    <a:pt x="118" y="548"/>
                  </a:cubicBezTo>
                  <a:cubicBezTo>
                    <a:pt x="118" y="548"/>
                    <a:pt x="117" y="547"/>
                    <a:pt x="117" y="546"/>
                  </a:cubicBezTo>
                  <a:cubicBezTo>
                    <a:pt x="117" y="546"/>
                    <a:pt x="118" y="542"/>
                    <a:pt x="118" y="542"/>
                  </a:cubicBezTo>
                  <a:cubicBezTo>
                    <a:pt x="118" y="542"/>
                    <a:pt x="120" y="541"/>
                    <a:pt x="119" y="541"/>
                  </a:cubicBezTo>
                  <a:cubicBezTo>
                    <a:pt x="119" y="541"/>
                    <a:pt x="117" y="540"/>
                    <a:pt x="117" y="541"/>
                  </a:cubicBezTo>
                  <a:cubicBezTo>
                    <a:pt x="116" y="541"/>
                    <a:pt x="117" y="542"/>
                    <a:pt x="117" y="543"/>
                  </a:cubicBezTo>
                  <a:cubicBezTo>
                    <a:pt x="117" y="544"/>
                    <a:pt x="117" y="545"/>
                    <a:pt x="116" y="545"/>
                  </a:cubicBezTo>
                  <a:cubicBezTo>
                    <a:pt x="115" y="546"/>
                    <a:pt x="111" y="546"/>
                    <a:pt x="111" y="546"/>
                  </a:cubicBezTo>
                  <a:cubicBezTo>
                    <a:pt x="111" y="545"/>
                    <a:pt x="110" y="545"/>
                    <a:pt x="111" y="544"/>
                  </a:cubicBezTo>
                  <a:cubicBezTo>
                    <a:pt x="111" y="543"/>
                    <a:pt x="111" y="542"/>
                    <a:pt x="111" y="542"/>
                  </a:cubicBezTo>
                  <a:cubicBezTo>
                    <a:pt x="111" y="542"/>
                    <a:pt x="110" y="540"/>
                    <a:pt x="110" y="541"/>
                  </a:cubicBezTo>
                  <a:cubicBezTo>
                    <a:pt x="109" y="541"/>
                    <a:pt x="108" y="541"/>
                    <a:pt x="108" y="541"/>
                  </a:cubicBezTo>
                  <a:cubicBezTo>
                    <a:pt x="108" y="539"/>
                    <a:pt x="108" y="539"/>
                    <a:pt x="108" y="539"/>
                  </a:cubicBezTo>
                  <a:cubicBezTo>
                    <a:pt x="106" y="539"/>
                    <a:pt x="106" y="539"/>
                    <a:pt x="106" y="539"/>
                  </a:cubicBezTo>
                  <a:cubicBezTo>
                    <a:pt x="105" y="539"/>
                    <a:pt x="105" y="539"/>
                    <a:pt x="105" y="539"/>
                  </a:cubicBezTo>
                  <a:cubicBezTo>
                    <a:pt x="105" y="539"/>
                    <a:pt x="104" y="538"/>
                    <a:pt x="104" y="538"/>
                  </a:cubicBezTo>
                  <a:cubicBezTo>
                    <a:pt x="103" y="538"/>
                    <a:pt x="103" y="538"/>
                    <a:pt x="103" y="539"/>
                  </a:cubicBezTo>
                  <a:cubicBezTo>
                    <a:pt x="102" y="539"/>
                    <a:pt x="99" y="540"/>
                    <a:pt x="99" y="540"/>
                  </a:cubicBezTo>
                  <a:cubicBezTo>
                    <a:pt x="99" y="540"/>
                    <a:pt x="99" y="538"/>
                    <a:pt x="98" y="540"/>
                  </a:cubicBezTo>
                  <a:cubicBezTo>
                    <a:pt x="98" y="541"/>
                    <a:pt x="93" y="541"/>
                    <a:pt x="93" y="541"/>
                  </a:cubicBezTo>
                  <a:cubicBezTo>
                    <a:pt x="93" y="541"/>
                    <a:pt x="92" y="539"/>
                    <a:pt x="92" y="538"/>
                  </a:cubicBezTo>
                  <a:cubicBezTo>
                    <a:pt x="92" y="538"/>
                    <a:pt x="93" y="535"/>
                    <a:pt x="93" y="535"/>
                  </a:cubicBezTo>
                  <a:cubicBezTo>
                    <a:pt x="94" y="534"/>
                    <a:pt x="94" y="534"/>
                    <a:pt x="94" y="534"/>
                  </a:cubicBezTo>
                  <a:cubicBezTo>
                    <a:pt x="93" y="533"/>
                    <a:pt x="93" y="533"/>
                    <a:pt x="93" y="533"/>
                  </a:cubicBezTo>
                  <a:cubicBezTo>
                    <a:pt x="93" y="533"/>
                    <a:pt x="90" y="533"/>
                    <a:pt x="91" y="533"/>
                  </a:cubicBezTo>
                  <a:cubicBezTo>
                    <a:pt x="91" y="532"/>
                    <a:pt x="93" y="530"/>
                    <a:pt x="93" y="530"/>
                  </a:cubicBezTo>
                  <a:cubicBezTo>
                    <a:pt x="93" y="530"/>
                    <a:pt x="94" y="529"/>
                    <a:pt x="94" y="529"/>
                  </a:cubicBezTo>
                  <a:cubicBezTo>
                    <a:pt x="95" y="528"/>
                    <a:pt x="97" y="528"/>
                    <a:pt x="96" y="527"/>
                  </a:cubicBezTo>
                  <a:cubicBezTo>
                    <a:pt x="95" y="527"/>
                    <a:pt x="94" y="526"/>
                    <a:pt x="94" y="526"/>
                  </a:cubicBezTo>
                  <a:cubicBezTo>
                    <a:pt x="94" y="526"/>
                    <a:pt x="93" y="526"/>
                    <a:pt x="93" y="525"/>
                  </a:cubicBezTo>
                  <a:cubicBezTo>
                    <a:pt x="93" y="525"/>
                    <a:pt x="94" y="523"/>
                    <a:pt x="94" y="522"/>
                  </a:cubicBezTo>
                  <a:cubicBezTo>
                    <a:pt x="94" y="521"/>
                    <a:pt x="93" y="520"/>
                    <a:pt x="93" y="520"/>
                  </a:cubicBezTo>
                  <a:cubicBezTo>
                    <a:pt x="92" y="520"/>
                    <a:pt x="93" y="521"/>
                    <a:pt x="91" y="521"/>
                  </a:cubicBezTo>
                  <a:cubicBezTo>
                    <a:pt x="90" y="522"/>
                    <a:pt x="87" y="524"/>
                    <a:pt x="87" y="524"/>
                  </a:cubicBezTo>
                  <a:cubicBezTo>
                    <a:pt x="87" y="523"/>
                    <a:pt x="87" y="522"/>
                    <a:pt x="87" y="521"/>
                  </a:cubicBezTo>
                  <a:cubicBezTo>
                    <a:pt x="88" y="520"/>
                    <a:pt x="91" y="520"/>
                    <a:pt x="92" y="519"/>
                  </a:cubicBezTo>
                  <a:cubicBezTo>
                    <a:pt x="92" y="518"/>
                    <a:pt x="90" y="515"/>
                    <a:pt x="90" y="515"/>
                  </a:cubicBezTo>
                  <a:cubicBezTo>
                    <a:pt x="90" y="515"/>
                    <a:pt x="92" y="516"/>
                    <a:pt x="91" y="514"/>
                  </a:cubicBezTo>
                  <a:cubicBezTo>
                    <a:pt x="89" y="513"/>
                    <a:pt x="89" y="513"/>
                    <a:pt x="89" y="513"/>
                  </a:cubicBezTo>
                  <a:cubicBezTo>
                    <a:pt x="89" y="512"/>
                    <a:pt x="89" y="511"/>
                    <a:pt x="90" y="510"/>
                  </a:cubicBezTo>
                  <a:cubicBezTo>
                    <a:pt x="91" y="508"/>
                    <a:pt x="92" y="508"/>
                    <a:pt x="92" y="507"/>
                  </a:cubicBezTo>
                  <a:cubicBezTo>
                    <a:pt x="92" y="507"/>
                    <a:pt x="89" y="506"/>
                    <a:pt x="89" y="505"/>
                  </a:cubicBezTo>
                  <a:cubicBezTo>
                    <a:pt x="89" y="504"/>
                    <a:pt x="87" y="504"/>
                    <a:pt x="89" y="502"/>
                  </a:cubicBezTo>
                  <a:cubicBezTo>
                    <a:pt x="90" y="501"/>
                    <a:pt x="91" y="501"/>
                    <a:pt x="91" y="501"/>
                  </a:cubicBezTo>
                  <a:cubicBezTo>
                    <a:pt x="91" y="501"/>
                    <a:pt x="91" y="498"/>
                    <a:pt x="91" y="497"/>
                  </a:cubicBezTo>
                  <a:cubicBezTo>
                    <a:pt x="91" y="496"/>
                    <a:pt x="92" y="496"/>
                    <a:pt x="92" y="495"/>
                  </a:cubicBezTo>
                  <a:cubicBezTo>
                    <a:pt x="91" y="494"/>
                    <a:pt x="90" y="494"/>
                    <a:pt x="89" y="492"/>
                  </a:cubicBezTo>
                  <a:cubicBezTo>
                    <a:pt x="89" y="491"/>
                    <a:pt x="89" y="491"/>
                    <a:pt x="89" y="490"/>
                  </a:cubicBezTo>
                  <a:cubicBezTo>
                    <a:pt x="90" y="490"/>
                    <a:pt x="91" y="489"/>
                    <a:pt x="90" y="489"/>
                  </a:cubicBezTo>
                  <a:cubicBezTo>
                    <a:pt x="90" y="488"/>
                    <a:pt x="90" y="487"/>
                    <a:pt x="90" y="487"/>
                  </a:cubicBezTo>
                  <a:cubicBezTo>
                    <a:pt x="90" y="487"/>
                    <a:pt x="90" y="487"/>
                    <a:pt x="89" y="485"/>
                  </a:cubicBezTo>
                  <a:cubicBezTo>
                    <a:pt x="88" y="484"/>
                    <a:pt x="88" y="482"/>
                    <a:pt x="88" y="481"/>
                  </a:cubicBezTo>
                  <a:cubicBezTo>
                    <a:pt x="88" y="480"/>
                    <a:pt x="89" y="476"/>
                    <a:pt x="89" y="476"/>
                  </a:cubicBezTo>
                  <a:cubicBezTo>
                    <a:pt x="89" y="476"/>
                    <a:pt x="89" y="473"/>
                    <a:pt x="87" y="472"/>
                  </a:cubicBezTo>
                  <a:cubicBezTo>
                    <a:pt x="86" y="470"/>
                    <a:pt x="84" y="469"/>
                    <a:pt x="84" y="469"/>
                  </a:cubicBezTo>
                  <a:cubicBezTo>
                    <a:pt x="84" y="469"/>
                    <a:pt x="84" y="467"/>
                    <a:pt x="84" y="466"/>
                  </a:cubicBezTo>
                  <a:cubicBezTo>
                    <a:pt x="84" y="466"/>
                    <a:pt x="82" y="465"/>
                    <a:pt x="82" y="464"/>
                  </a:cubicBezTo>
                  <a:cubicBezTo>
                    <a:pt x="82" y="463"/>
                    <a:pt x="81" y="461"/>
                    <a:pt x="81" y="461"/>
                  </a:cubicBezTo>
                  <a:cubicBezTo>
                    <a:pt x="81" y="461"/>
                    <a:pt x="80" y="461"/>
                    <a:pt x="81" y="459"/>
                  </a:cubicBezTo>
                  <a:cubicBezTo>
                    <a:pt x="81" y="456"/>
                    <a:pt x="81" y="455"/>
                    <a:pt x="81" y="454"/>
                  </a:cubicBezTo>
                  <a:cubicBezTo>
                    <a:pt x="80" y="453"/>
                    <a:pt x="79" y="451"/>
                    <a:pt x="79" y="450"/>
                  </a:cubicBezTo>
                  <a:cubicBezTo>
                    <a:pt x="79" y="449"/>
                    <a:pt x="79" y="447"/>
                    <a:pt x="79" y="447"/>
                  </a:cubicBezTo>
                  <a:cubicBezTo>
                    <a:pt x="79" y="447"/>
                    <a:pt x="79" y="446"/>
                    <a:pt x="78" y="445"/>
                  </a:cubicBezTo>
                  <a:cubicBezTo>
                    <a:pt x="77" y="444"/>
                    <a:pt x="74" y="439"/>
                    <a:pt x="74" y="439"/>
                  </a:cubicBezTo>
                  <a:cubicBezTo>
                    <a:pt x="74" y="439"/>
                    <a:pt x="73" y="439"/>
                    <a:pt x="73" y="437"/>
                  </a:cubicBezTo>
                  <a:cubicBezTo>
                    <a:pt x="72" y="435"/>
                    <a:pt x="72" y="433"/>
                    <a:pt x="72" y="433"/>
                  </a:cubicBezTo>
                  <a:cubicBezTo>
                    <a:pt x="72" y="433"/>
                    <a:pt x="72" y="430"/>
                    <a:pt x="72" y="430"/>
                  </a:cubicBezTo>
                  <a:cubicBezTo>
                    <a:pt x="69" y="427"/>
                    <a:pt x="69" y="427"/>
                    <a:pt x="69" y="427"/>
                  </a:cubicBezTo>
                  <a:cubicBezTo>
                    <a:pt x="70" y="423"/>
                    <a:pt x="70" y="423"/>
                    <a:pt x="70" y="423"/>
                  </a:cubicBezTo>
                  <a:cubicBezTo>
                    <a:pt x="70" y="419"/>
                    <a:pt x="70" y="419"/>
                    <a:pt x="70" y="419"/>
                  </a:cubicBezTo>
                  <a:cubicBezTo>
                    <a:pt x="70" y="419"/>
                    <a:pt x="70" y="414"/>
                    <a:pt x="71" y="414"/>
                  </a:cubicBezTo>
                  <a:cubicBezTo>
                    <a:pt x="72" y="414"/>
                    <a:pt x="74" y="411"/>
                    <a:pt x="74" y="411"/>
                  </a:cubicBezTo>
                  <a:cubicBezTo>
                    <a:pt x="74" y="411"/>
                    <a:pt x="76" y="408"/>
                    <a:pt x="75" y="407"/>
                  </a:cubicBezTo>
                  <a:cubicBezTo>
                    <a:pt x="75" y="406"/>
                    <a:pt x="74" y="402"/>
                    <a:pt x="74" y="402"/>
                  </a:cubicBezTo>
                  <a:cubicBezTo>
                    <a:pt x="74" y="402"/>
                    <a:pt x="76" y="399"/>
                    <a:pt x="75" y="399"/>
                  </a:cubicBezTo>
                  <a:cubicBezTo>
                    <a:pt x="75" y="398"/>
                    <a:pt x="73" y="394"/>
                    <a:pt x="73" y="394"/>
                  </a:cubicBezTo>
                  <a:cubicBezTo>
                    <a:pt x="70" y="397"/>
                    <a:pt x="70" y="397"/>
                    <a:pt x="70" y="397"/>
                  </a:cubicBezTo>
                  <a:cubicBezTo>
                    <a:pt x="68" y="396"/>
                    <a:pt x="68" y="396"/>
                    <a:pt x="68" y="396"/>
                  </a:cubicBezTo>
                  <a:cubicBezTo>
                    <a:pt x="69" y="392"/>
                    <a:pt x="69" y="392"/>
                    <a:pt x="69" y="392"/>
                  </a:cubicBezTo>
                  <a:cubicBezTo>
                    <a:pt x="69" y="392"/>
                    <a:pt x="67" y="390"/>
                    <a:pt x="67" y="389"/>
                  </a:cubicBezTo>
                  <a:cubicBezTo>
                    <a:pt x="67" y="388"/>
                    <a:pt x="69" y="386"/>
                    <a:pt x="69" y="386"/>
                  </a:cubicBezTo>
                  <a:cubicBezTo>
                    <a:pt x="69" y="386"/>
                    <a:pt x="71" y="390"/>
                    <a:pt x="71" y="391"/>
                  </a:cubicBezTo>
                  <a:cubicBezTo>
                    <a:pt x="71" y="392"/>
                    <a:pt x="73" y="393"/>
                    <a:pt x="73" y="393"/>
                  </a:cubicBezTo>
                  <a:cubicBezTo>
                    <a:pt x="74" y="392"/>
                    <a:pt x="74" y="390"/>
                    <a:pt x="75" y="390"/>
                  </a:cubicBezTo>
                  <a:cubicBezTo>
                    <a:pt x="76" y="390"/>
                    <a:pt x="77" y="391"/>
                    <a:pt x="77" y="392"/>
                  </a:cubicBezTo>
                  <a:cubicBezTo>
                    <a:pt x="77" y="392"/>
                    <a:pt x="81" y="391"/>
                    <a:pt x="81" y="391"/>
                  </a:cubicBezTo>
                  <a:cubicBezTo>
                    <a:pt x="81" y="391"/>
                    <a:pt x="80" y="390"/>
                    <a:pt x="83" y="390"/>
                  </a:cubicBezTo>
                  <a:cubicBezTo>
                    <a:pt x="86" y="391"/>
                    <a:pt x="86" y="390"/>
                    <a:pt x="86" y="388"/>
                  </a:cubicBezTo>
                  <a:cubicBezTo>
                    <a:pt x="86" y="387"/>
                    <a:pt x="83" y="383"/>
                    <a:pt x="85" y="383"/>
                  </a:cubicBezTo>
                  <a:cubicBezTo>
                    <a:pt x="88" y="383"/>
                    <a:pt x="89" y="384"/>
                    <a:pt x="89" y="384"/>
                  </a:cubicBezTo>
                  <a:cubicBezTo>
                    <a:pt x="89" y="384"/>
                    <a:pt x="89" y="385"/>
                    <a:pt x="89" y="386"/>
                  </a:cubicBezTo>
                  <a:cubicBezTo>
                    <a:pt x="89" y="388"/>
                    <a:pt x="92" y="390"/>
                    <a:pt x="92" y="388"/>
                  </a:cubicBezTo>
                  <a:cubicBezTo>
                    <a:pt x="93" y="386"/>
                    <a:pt x="93" y="387"/>
                    <a:pt x="93" y="385"/>
                  </a:cubicBezTo>
                  <a:cubicBezTo>
                    <a:pt x="93" y="383"/>
                    <a:pt x="91" y="383"/>
                    <a:pt x="90" y="381"/>
                  </a:cubicBezTo>
                  <a:cubicBezTo>
                    <a:pt x="90" y="380"/>
                    <a:pt x="89" y="382"/>
                    <a:pt x="89" y="379"/>
                  </a:cubicBezTo>
                  <a:cubicBezTo>
                    <a:pt x="90" y="376"/>
                    <a:pt x="90" y="375"/>
                    <a:pt x="91" y="375"/>
                  </a:cubicBezTo>
                  <a:cubicBezTo>
                    <a:pt x="93" y="374"/>
                    <a:pt x="91" y="375"/>
                    <a:pt x="93" y="374"/>
                  </a:cubicBezTo>
                  <a:cubicBezTo>
                    <a:pt x="95" y="374"/>
                    <a:pt x="96" y="372"/>
                    <a:pt x="95" y="369"/>
                  </a:cubicBezTo>
                  <a:cubicBezTo>
                    <a:pt x="95" y="367"/>
                    <a:pt x="94" y="366"/>
                    <a:pt x="95" y="365"/>
                  </a:cubicBezTo>
                  <a:cubicBezTo>
                    <a:pt x="97" y="364"/>
                    <a:pt x="96" y="363"/>
                    <a:pt x="98" y="364"/>
                  </a:cubicBezTo>
                  <a:cubicBezTo>
                    <a:pt x="100" y="365"/>
                    <a:pt x="99" y="365"/>
                    <a:pt x="101" y="365"/>
                  </a:cubicBezTo>
                  <a:cubicBezTo>
                    <a:pt x="102" y="364"/>
                    <a:pt x="102" y="359"/>
                    <a:pt x="102" y="359"/>
                  </a:cubicBezTo>
                  <a:cubicBezTo>
                    <a:pt x="101" y="360"/>
                    <a:pt x="99" y="358"/>
                    <a:pt x="99" y="358"/>
                  </a:cubicBezTo>
                  <a:cubicBezTo>
                    <a:pt x="98" y="358"/>
                    <a:pt x="98" y="356"/>
                    <a:pt x="99" y="355"/>
                  </a:cubicBezTo>
                  <a:cubicBezTo>
                    <a:pt x="99" y="355"/>
                    <a:pt x="99" y="353"/>
                    <a:pt x="100" y="353"/>
                  </a:cubicBezTo>
                  <a:cubicBezTo>
                    <a:pt x="102" y="353"/>
                    <a:pt x="102" y="354"/>
                    <a:pt x="104" y="353"/>
                  </a:cubicBezTo>
                  <a:cubicBezTo>
                    <a:pt x="105" y="352"/>
                    <a:pt x="105" y="352"/>
                    <a:pt x="106" y="351"/>
                  </a:cubicBezTo>
                  <a:cubicBezTo>
                    <a:pt x="107" y="350"/>
                    <a:pt x="108" y="350"/>
                    <a:pt x="109" y="348"/>
                  </a:cubicBezTo>
                  <a:cubicBezTo>
                    <a:pt x="109" y="347"/>
                    <a:pt x="110" y="341"/>
                    <a:pt x="110" y="341"/>
                  </a:cubicBezTo>
                  <a:cubicBezTo>
                    <a:pt x="109" y="340"/>
                    <a:pt x="111" y="341"/>
                    <a:pt x="113" y="340"/>
                  </a:cubicBezTo>
                  <a:cubicBezTo>
                    <a:pt x="114" y="339"/>
                    <a:pt x="115" y="333"/>
                    <a:pt x="116" y="332"/>
                  </a:cubicBezTo>
                  <a:cubicBezTo>
                    <a:pt x="117" y="330"/>
                    <a:pt x="120" y="326"/>
                    <a:pt x="120" y="325"/>
                  </a:cubicBezTo>
                  <a:cubicBezTo>
                    <a:pt x="120" y="324"/>
                    <a:pt x="123" y="317"/>
                    <a:pt x="123" y="317"/>
                  </a:cubicBezTo>
                  <a:cubicBezTo>
                    <a:pt x="127" y="310"/>
                    <a:pt x="127" y="310"/>
                    <a:pt x="127" y="310"/>
                  </a:cubicBezTo>
                  <a:cubicBezTo>
                    <a:pt x="127" y="310"/>
                    <a:pt x="127" y="308"/>
                    <a:pt x="126" y="306"/>
                  </a:cubicBezTo>
                  <a:cubicBezTo>
                    <a:pt x="126" y="305"/>
                    <a:pt x="125" y="301"/>
                    <a:pt x="126" y="300"/>
                  </a:cubicBezTo>
                  <a:cubicBezTo>
                    <a:pt x="127" y="300"/>
                    <a:pt x="128" y="297"/>
                    <a:pt x="128" y="297"/>
                  </a:cubicBezTo>
                  <a:cubicBezTo>
                    <a:pt x="128" y="293"/>
                    <a:pt x="128" y="293"/>
                    <a:pt x="128" y="293"/>
                  </a:cubicBezTo>
                  <a:cubicBezTo>
                    <a:pt x="128" y="293"/>
                    <a:pt x="133" y="290"/>
                    <a:pt x="133" y="290"/>
                  </a:cubicBezTo>
                  <a:cubicBezTo>
                    <a:pt x="139" y="289"/>
                    <a:pt x="135" y="286"/>
                    <a:pt x="142" y="289"/>
                  </a:cubicBezTo>
                  <a:cubicBezTo>
                    <a:pt x="142" y="289"/>
                    <a:pt x="146" y="288"/>
                    <a:pt x="145" y="287"/>
                  </a:cubicBezTo>
                  <a:cubicBezTo>
                    <a:pt x="145" y="287"/>
                    <a:pt x="141" y="283"/>
                    <a:pt x="141" y="283"/>
                  </a:cubicBezTo>
                  <a:cubicBezTo>
                    <a:pt x="143" y="280"/>
                    <a:pt x="143" y="280"/>
                    <a:pt x="143" y="280"/>
                  </a:cubicBezTo>
                  <a:cubicBezTo>
                    <a:pt x="143" y="280"/>
                    <a:pt x="146" y="278"/>
                    <a:pt x="143" y="277"/>
                  </a:cubicBezTo>
                  <a:cubicBezTo>
                    <a:pt x="141" y="276"/>
                    <a:pt x="139" y="275"/>
                    <a:pt x="139" y="274"/>
                  </a:cubicBezTo>
                  <a:cubicBezTo>
                    <a:pt x="139" y="274"/>
                    <a:pt x="138" y="270"/>
                    <a:pt x="138" y="269"/>
                  </a:cubicBezTo>
                  <a:cubicBezTo>
                    <a:pt x="138" y="268"/>
                    <a:pt x="137" y="265"/>
                    <a:pt x="137" y="265"/>
                  </a:cubicBezTo>
                  <a:cubicBezTo>
                    <a:pt x="137" y="265"/>
                    <a:pt x="137" y="261"/>
                    <a:pt x="137" y="260"/>
                  </a:cubicBezTo>
                  <a:cubicBezTo>
                    <a:pt x="137" y="259"/>
                    <a:pt x="136" y="256"/>
                    <a:pt x="135" y="255"/>
                  </a:cubicBezTo>
                  <a:cubicBezTo>
                    <a:pt x="134" y="254"/>
                    <a:pt x="130" y="251"/>
                    <a:pt x="130" y="251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1" y="250"/>
                    <a:pt x="121" y="250"/>
                    <a:pt x="121" y="250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08" y="244"/>
                    <a:pt x="108" y="244"/>
                    <a:pt x="108" y="244"/>
                  </a:cubicBezTo>
                  <a:cubicBezTo>
                    <a:pt x="101" y="229"/>
                    <a:pt x="101" y="229"/>
                    <a:pt x="101" y="229"/>
                  </a:cubicBezTo>
                  <a:cubicBezTo>
                    <a:pt x="95" y="226"/>
                    <a:pt x="95" y="226"/>
                    <a:pt x="95" y="226"/>
                  </a:cubicBezTo>
                  <a:cubicBezTo>
                    <a:pt x="91" y="222"/>
                    <a:pt x="91" y="222"/>
                    <a:pt x="91" y="222"/>
                  </a:cubicBezTo>
                  <a:cubicBezTo>
                    <a:pt x="91" y="217"/>
                    <a:pt x="91" y="217"/>
                    <a:pt x="91" y="217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88" y="213"/>
                    <a:pt x="89" y="210"/>
                    <a:pt x="89" y="209"/>
                  </a:cubicBezTo>
                  <a:cubicBezTo>
                    <a:pt x="90" y="208"/>
                    <a:pt x="92" y="203"/>
                    <a:pt x="92" y="203"/>
                  </a:cubicBezTo>
                  <a:cubicBezTo>
                    <a:pt x="92" y="203"/>
                    <a:pt x="91" y="199"/>
                    <a:pt x="91" y="198"/>
                  </a:cubicBezTo>
                  <a:cubicBezTo>
                    <a:pt x="91" y="197"/>
                    <a:pt x="92" y="192"/>
                    <a:pt x="92" y="192"/>
                  </a:cubicBezTo>
                  <a:cubicBezTo>
                    <a:pt x="91" y="187"/>
                    <a:pt x="91" y="187"/>
                    <a:pt x="91" y="187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8" y="161"/>
                    <a:pt x="78" y="161"/>
                    <a:pt x="79" y="159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1" y="138"/>
                    <a:pt x="71" y="138"/>
                    <a:pt x="71" y="138"/>
                  </a:cubicBezTo>
                  <a:cubicBezTo>
                    <a:pt x="73" y="132"/>
                    <a:pt x="73" y="132"/>
                    <a:pt x="73" y="132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3" y="123"/>
                    <a:pt x="62" y="125"/>
                    <a:pt x="61" y="124"/>
                  </a:cubicBezTo>
                  <a:cubicBezTo>
                    <a:pt x="60" y="123"/>
                    <a:pt x="55" y="115"/>
                    <a:pt x="55" y="115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6" y="111"/>
                    <a:pt x="35" y="109"/>
                  </a:cubicBezTo>
                  <a:cubicBezTo>
                    <a:pt x="34" y="107"/>
                    <a:pt x="32" y="105"/>
                    <a:pt x="32" y="105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02"/>
                    <a:pt x="24" y="102"/>
                    <a:pt x="23" y="102"/>
                  </a:cubicBezTo>
                  <a:cubicBezTo>
                    <a:pt x="22" y="101"/>
                    <a:pt x="20" y="100"/>
                    <a:pt x="20" y="100"/>
                  </a:cubicBezTo>
                  <a:close/>
                  <a:moveTo>
                    <a:pt x="142" y="568"/>
                  </a:moveTo>
                  <a:cubicBezTo>
                    <a:pt x="142" y="568"/>
                    <a:pt x="142" y="568"/>
                    <a:pt x="142" y="568"/>
                  </a:cubicBezTo>
                  <a:cubicBezTo>
                    <a:pt x="142" y="568"/>
                    <a:pt x="142" y="569"/>
                    <a:pt x="142" y="570"/>
                  </a:cubicBezTo>
                  <a:cubicBezTo>
                    <a:pt x="142" y="570"/>
                    <a:pt x="143" y="571"/>
                    <a:pt x="144" y="571"/>
                  </a:cubicBezTo>
                  <a:cubicBezTo>
                    <a:pt x="144" y="571"/>
                    <a:pt x="146" y="570"/>
                    <a:pt x="147" y="569"/>
                  </a:cubicBezTo>
                  <a:cubicBezTo>
                    <a:pt x="149" y="568"/>
                    <a:pt x="147" y="569"/>
                    <a:pt x="147" y="569"/>
                  </a:cubicBezTo>
                  <a:cubicBezTo>
                    <a:pt x="145" y="567"/>
                    <a:pt x="145" y="567"/>
                    <a:pt x="145" y="567"/>
                  </a:cubicBezTo>
                  <a:cubicBezTo>
                    <a:pt x="145" y="567"/>
                    <a:pt x="143" y="568"/>
                    <a:pt x="142" y="568"/>
                  </a:cubicBezTo>
                  <a:close/>
                  <a:moveTo>
                    <a:pt x="129" y="568"/>
                  </a:moveTo>
                  <a:cubicBezTo>
                    <a:pt x="129" y="568"/>
                    <a:pt x="129" y="568"/>
                    <a:pt x="129" y="568"/>
                  </a:cubicBezTo>
                  <a:cubicBezTo>
                    <a:pt x="129" y="568"/>
                    <a:pt x="129" y="570"/>
                    <a:pt x="129" y="570"/>
                  </a:cubicBezTo>
                  <a:cubicBezTo>
                    <a:pt x="129" y="571"/>
                    <a:pt x="130" y="571"/>
                    <a:pt x="131" y="570"/>
                  </a:cubicBezTo>
                  <a:cubicBezTo>
                    <a:pt x="131" y="570"/>
                    <a:pt x="132" y="570"/>
                    <a:pt x="133" y="569"/>
                  </a:cubicBezTo>
                  <a:cubicBezTo>
                    <a:pt x="134" y="568"/>
                    <a:pt x="133" y="567"/>
                    <a:pt x="132" y="567"/>
                  </a:cubicBezTo>
                  <a:cubicBezTo>
                    <a:pt x="132" y="566"/>
                    <a:pt x="131" y="567"/>
                    <a:pt x="131" y="567"/>
                  </a:cubicBezTo>
                  <a:cubicBezTo>
                    <a:pt x="130" y="567"/>
                    <a:pt x="129" y="568"/>
                    <a:pt x="129" y="568"/>
                  </a:cubicBezTo>
                  <a:close/>
                  <a:moveTo>
                    <a:pt x="105" y="556"/>
                  </a:moveTo>
                  <a:cubicBezTo>
                    <a:pt x="105" y="556"/>
                    <a:pt x="105" y="556"/>
                    <a:pt x="105" y="556"/>
                  </a:cubicBezTo>
                  <a:cubicBezTo>
                    <a:pt x="104" y="557"/>
                    <a:pt x="104" y="557"/>
                    <a:pt x="104" y="557"/>
                  </a:cubicBezTo>
                  <a:cubicBezTo>
                    <a:pt x="104" y="557"/>
                    <a:pt x="103" y="558"/>
                    <a:pt x="104" y="559"/>
                  </a:cubicBezTo>
                  <a:cubicBezTo>
                    <a:pt x="104" y="561"/>
                    <a:pt x="105" y="561"/>
                    <a:pt x="105" y="561"/>
                  </a:cubicBezTo>
                  <a:cubicBezTo>
                    <a:pt x="105" y="561"/>
                    <a:pt x="106" y="560"/>
                    <a:pt x="108" y="560"/>
                  </a:cubicBezTo>
                  <a:cubicBezTo>
                    <a:pt x="109" y="560"/>
                    <a:pt x="111" y="558"/>
                    <a:pt x="111" y="557"/>
                  </a:cubicBezTo>
                  <a:cubicBezTo>
                    <a:pt x="112" y="557"/>
                    <a:pt x="112" y="555"/>
                    <a:pt x="113" y="555"/>
                  </a:cubicBezTo>
                  <a:cubicBezTo>
                    <a:pt x="114" y="555"/>
                    <a:pt x="117" y="556"/>
                    <a:pt x="118" y="556"/>
                  </a:cubicBezTo>
                  <a:cubicBezTo>
                    <a:pt x="119" y="556"/>
                    <a:pt x="117" y="553"/>
                    <a:pt x="117" y="553"/>
                  </a:cubicBezTo>
                  <a:cubicBezTo>
                    <a:pt x="117" y="552"/>
                    <a:pt x="114" y="553"/>
                    <a:pt x="114" y="553"/>
                  </a:cubicBezTo>
                  <a:cubicBezTo>
                    <a:pt x="114" y="553"/>
                    <a:pt x="112" y="553"/>
                    <a:pt x="111" y="552"/>
                  </a:cubicBezTo>
                  <a:cubicBezTo>
                    <a:pt x="110" y="552"/>
                    <a:pt x="110" y="552"/>
                    <a:pt x="110" y="552"/>
                  </a:cubicBezTo>
                  <a:cubicBezTo>
                    <a:pt x="109" y="553"/>
                    <a:pt x="109" y="554"/>
                    <a:pt x="108" y="555"/>
                  </a:cubicBezTo>
                  <a:cubicBezTo>
                    <a:pt x="107" y="556"/>
                    <a:pt x="107" y="555"/>
                    <a:pt x="107" y="554"/>
                  </a:cubicBezTo>
                  <a:cubicBezTo>
                    <a:pt x="107" y="554"/>
                    <a:pt x="105" y="553"/>
                    <a:pt x="104" y="554"/>
                  </a:cubicBezTo>
                  <a:cubicBezTo>
                    <a:pt x="104" y="554"/>
                    <a:pt x="105" y="555"/>
                    <a:pt x="105" y="556"/>
                  </a:cubicBezTo>
                  <a:close/>
                  <a:moveTo>
                    <a:pt x="97" y="556"/>
                  </a:moveTo>
                  <a:cubicBezTo>
                    <a:pt x="97" y="556"/>
                    <a:pt x="97" y="556"/>
                    <a:pt x="97" y="556"/>
                  </a:cubicBezTo>
                  <a:cubicBezTo>
                    <a:pt x="97" y="556"/>
                    <a:pt x="99" y="557"/>
                    <a:pt x="101" y="557"/>
                  </a:cubicBezTo>
                  <a:cubicBezTo>
                    <a:pt x="102" y="557"/>
                    <a:pt x="101" y="556"/>
                    <a:pt x="102" y="555"/>
                  </a:cubicBezTo>
                  <a:cubicBezTo>
                    <a:pt x="102" y="554"/>
                    <a:pt x="101" y="555"/>
                    <a:pt x="100" y="554"/>
                  </a:cubicBezTo>
                  <a:cubicBezTo>
                    <a:pt x="99" y="554"/>
                    <a:pt x="99" y="554"/>
                    <a:pt x="98" y="554"/>
                  </a:cubicBezTo>
                  <a:cubicBezTo>
                    <a:pt x="96" y="554"/>
                    <a:pt x="97" y="556"/>
                    <a:pt x="97" y="556"/>
                  </a:cubicBezTo>
                  <a:close/>
                  <a:moveTo>
                    <a:pt x="88" y="545"/>
                  </a:moveTo>
                  <a:cubicBezTo>
                    <a:pt x="88" y="545"/>
                    <a:pt x="88" y="545"/>
                    <a:pt x="88" y="545"/>
                  </a:cubicBezTo>
                  <a:cubicBezTo>
                    <a:pt x="87" y="550"/>
                    <a:pt x="92" y="547"/>
                    <a:pt x="92" y="544"/>
                  </a:cubicBezTo>
                  <a:cubicBezTo>
                    <a:pt x="91" y="542"/>
                    <a:pt x="92" y="542"/>
                    <a:pt x="90" y="540"/>
                  </a:cubicBezTo>
                  <a:cubicBezTo>
                    <a:pt x="89" y="537"/>
                    <a:pt x="89" y="540"/>
                    <a:pt x="88" y="541"/>
                  </a:cubicBezTo>
                  <a:cubicBezTo>
                    <a:pt x="87" y="543"/>
                    <a:pt x="89" y="543"/>
                    <a:pt x="89" y="544"/>
                  </a:cubicBezTo>
                  <a:cubicBezTo>
                    <a:pt x="89" y="545"/>
                    <a:pt x="88" y="544"/>
                    <a:pt x="88" y="545"/>
                  </a:cubicBezTo>
                  <a:close/>
                  <a:moveTo>
                    <a:pt x="80" y="557"/>
                  </a:moveTo>
                  <a:cubicBezTo>
                    <a:pt x="80" y="557"/>
                    <a:pt x="80" y="557"/>
                    <a:pt x="80" y="557"/>
                  </a:cubicBezTo>
                  <a:cubicBezTo>
                    <a:pt x="80" y="557"/>
                    <a:pt x="79" y="558"/>
                    <a:pt x="80" y="560"/>
                  </a:cubicBezTo>
                  <a:cubicBezTo>
                    <a:pt x="80" y="561"/>
                    <a:pt x="80" y="560"/>
                    <a:pt x="83" y="558"/>
                  </a:cubicBezTo>
                  <a:cubicBezTo>
                    <a:pt x="85" y="556"/>
                    <a:pt x="82" y="557"/>
                    <a:pt x="82" y="557"/>
                  </a:cubicBezTo>
                  <a:cubicBezTo>
                    <a:pt x="82" y="556"/>
                    <a:pt x="81" y="557"/>
                    <a:pt x="80" y="557"/>
                  </a:cubicBezTo>
                  <a:close/>
                  <a:moveTo>
                    <a:pt x="80" y="563"/>
                  </a:moveTo>
                  <a:cubicBezTo>
                    <a:pt x="80" y="563"/>
                    <a:pt x="80" y="563"/>
                    <a:pt x="80" y="563"/>
                  </a:cubicBezTo>
                  <a:cubicBezTo>
                    <a:pt x="80" y="563"/>
                    <a:pt x="80" y="565"/>
                    <a:pt x="81" y="565"/>
                  </a:cubicBezTo>
                  <a:cubicBezTo>
                    <a:pt x="82" y="565"/>
                    <a:pt x="82" y="564"/>
                    <a:pt x="83" y="563"/>
                  </a:cubicBezTo>
                  <a:cubicBezTo>
                    <a:pt x="83" y="562"/>
                    <a:pt x="82" y="562"/>
                    <a:pt x="82" y="561"/>
                  </a:cubicBezTo>
                  <a:cubicBezTo>
                    <a:pt x="81" y="561"/>
                    <a:pt x="80" y="562"/>
                    <a:pt x="80" y="563"/>
                  </a:cubicBezTo>
                  <a:close/>
                  <a:moveTo>
                    <a:pt x="77" y="568"/>
                  </a:moveTo>
                  <a:cubicBezTo>
                    <a:pt x="77" y="568"/>
                    <a:pt x="77" y="568"/>
                    <a:pt x="77" y="568"/>
                  </a:cubicBezTo>
                  <a:cubicBezTo>
                    <a:pt x="75" y="568"/>
                    <a:pt x="75" y="568"/>
                    <a:pt x="75" y="568"/>
                  </a:cubicBezTo>
                  <a:cubicBezTo>
                    <a:pt x="75" y="568"/>
                    <a:pt x="75" y="568"/>
                    <a:pt x="72" y="570"/>
                  </a:cubicBezTo>
                  <a:cubicBezTo>
                    <a:pt x="69" y="571"/>
                    <a:pt x="71" y="572"/>
                    <a:pt x="71" y="573"/>
                  </a:cubicBezTo>
                  <a:cubicBezTo>
                    <a:pt x="71" y="575"/>
                    <a:pt x="74" y="573"/>
                    <a:pt x="76" y="572"/>
                  </a:cubicBezTo>
                  <a:cubicBezTo>
                    <a:pt x="77" y="572"/>
                    <a:pt x="76" y="571"/>
                    <a:pt x="77" y="571"/>
                  </a:cubicBezTo>
                  <a:cubicBezTo>
                    <a:pt x="77" y="571"/>
                    <a:pt x="77" y="571"/>
                    <a:pt x="79" y="570"/>
                  </a:cubicBezTo>
                  <a:cubicBezTo>
                    <a:pt x="81" y="569"/>
                    <a:pt x="80" y="569"/>
                    <a:pt x="80" y="568"/>
                  </a:cubicBezTo>
                  <a:cubicBezTo>
                    <a:pt x="80" y="568"/>
                    <a:pt x="78" y="567"/>
                    <a:pt x="77" y="568"/>
                  </a:cubicBezTo>
                  <a:close/>
                  <a:moveTo>
                    <a:pt x="51" y="573"/>
                  </a:moveTo>
                  <a:cubicBezTo>
                    <a:pt x="51" y="573"/>
                    <a:pt x="51" y="573"/>
                    <a:pt x="51" y="573"/>
                  </a:cubicBezTo>
                  <a:cubicBezTo>
                    <a:pt x="52" y="573"/>
                    <a:pt x="53" y="572"/>
                    <a:pt x="54" y="573"/>
                  </a:cubicBezTo>
                  <a:cubicBezTo>
                    <a:pt x="55" y="574"/>
                    <a:pt x="54" y="576"/>
                    <a:pt x="54" y="576"/>
                  </a:cubicBezTo>
                  <a:cubicBezTo>
                    <a:pt x="53" y="577"/>
                    <a:pt x="52" y="578"/>
                    <a:pt x="51" y="578"/>
                  </a:cubicBezTo>
                  <a:cubicBezTo>
                    <a:pt x="50" y="578"/>
                    <a:pt x="49" y="578"/>
                    <a:pt x="48" y="577"/>
                  </a:cubicBezTo>
                  <a:cubicBezTo>
                    <a:pt x="48" y="576"/>
                    <a:pt x="48" y="573"/>
                    <a:pt x="48" y="573"/>
                  </a:cubicBezTo>
                  <a:cubicBezTo>
                    <a:pt x="49" y="573"/>
                    <a:pt x="51" y="573"/>
                    <a:pt x="51" y="573"/>
                  </a:cubicBezTo>
                  <a:close/>
                  <a:moveTo>
                    <a:pt x="59" y="558"/>
                  </a:move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60"/>
                    <a:pt x="58" y="560"/>
                  </a:cubicBezTo>
                  <a:cubicBezTo>
                    <a:pt x="56" y="561"/>
                    <a:pt x="57" y="558"/>
                    <a:pt x="57" y="557"/>
                  </a:cubicBezTo>
                  <a:cubicBezTo>
                    <a:pt x="57" y="556"/>
                    <a:pt x="53" y="558"/>
                    <a:pt x="53" y="558"/>
                  </a:cubicBezTo>
                  <a:cubicBezTo>
                    <a:pt x="53" y="558"/>
                    <a:pt x="53" y="561"/>
                    <a:pt x="52" y="562"/>
                  </a:cubicBezTo>
                  <a:cubicBezTo>
                    <a:pt x="51" y="562"/>
                    <a:pt x="51" y="562"/>
                    <a:pt x="50" y="563"/>
                  </a:cubicBezTo>
                  <a:cubicBezTo>
                    <a:pt x="49" y="564"/>
                    <a:pt x="49" y="566"/>
                    <a:pt x="49" y="566"/>
                  </a:cubicBezTo>
                  <a:cubicBezTo>
                    <a:pt x="50" y="567"/>
                    <a:pt x="52" y="567"/>
                    <a:pt x="52" y="567"/>
                  </a:cubicBezTo>
                  <a:cubicBezTo>
                    <a:pt x="53" y="567"/>
                    <a:pt x="53" y="567"/>
                    <a:pt x="56" y="569"/>
                  </a:cubicBezTo>
                  <a:cubicBezTo>
                    <a:pt x="60" y="570"/>
                    <a:pt x="57" y="569"/>
                    <a:pt x="60" y="569"/>
                  </a:cubicBezTo>
                  <a:cubicBezTo>
                    <a:pt x="62" y="569"/>
                    <a:pt x="61" y="570"/>
                    <a:pt x="62" y="570"/>
                  </a:cubicBezTo>
                  <a:cubicBezTo>
                    <a:pt x="63" y="570"/>
                    <a:pt x="64" y="572"/>
                    <a:pt x="65" y="573"/>
                  </a:cubicBezTo>
                  <a:cubicBezTo>
                    <a:pt x="67" y="574"/>
                    <a:pt x="68" y="572"/>
                    <a:pt x="69" y="572"/>
                  </a:cubicBezTo>
                  <a:cubicBezTo>
                    <a:pt x="69" y="571"/>
                    <a:pt x="71" y="568"/>
                    <a:pt x="71" y="568"/>
                  </a:cubicBezTo>
                  <a:cubicBezTo>
                    <a:pt x="71" y="568"/>
                    <a:pt x="65" y="566"/>
                    <a:pt x="65" y="566"/>
                  </a:cubicBezTo>
                  <a:cubicBezTo>
                    <a:pt x="64" y="566"/>
                    <a:pt x="63" y="563"/>
                    <a:pt x="65" y="563"/>
                  </a:cubicBezTo>
                  <a:cubicBezTo>
                    <a:pt x="66" y="563"/>
                    <a:pt x="66" y="564"/>
                    <a:pt x="67" y="565"/>
                  </a:cubicBezTo>
                  <a:cubicBezTo>
                    <a:pt x="67" y="566"/>
                    <a:pt x="68" y="566"/>
                    <a:pt x="69" y="566"/>
                  </a:cubicBezTo>
                  <a:cubicBezTo>
                    <a:pt x="70" y="566"/>
                    <a:pt x="71" y="565"/>
                    <a:pt x="71" y="564"/>
                  </a:cubicBezTo>
                  <a:cubicBezTo>
                    <a:pt x="71" y="563"/>
                    <a:pt x="70" y="564"/>
                    <a:pt x="68" y="561"/>
                  </a:cubicBezTo>
                  <a:cubicBezTo>
                    <a:pt x="65" y="558"/>
                    <a:pt x="68" y="559"/>
                    <a:pt x="69" y="559"/>
                  </a:cubicBezTo>
                  <a:cubicBezTo>
                    <a:pt x="69" y="558"/>
                    <a:pt x="71" y="556"/>
                    <a:pt x="71" y="556"/>
                  </a:cubicBezTo>
                  <a:cubicBezTo>
                    <a:pt x="72" y="555"/>
                    <a:pt x="69" y="555"/>
                    <a:pt x="68" y="554"/>
                  </a:cubicBezTo>
                  <a:cubicBezTo>
                    <a:pt x="67" y="554"/>
                    <a:pt x="67" y="554"/>
                    <a:pt x="67" y="554"/>
                  </a:cubicBezTo>
                  <a:cubicBezTo>
                    <a:pt x="67" y="555"/>
                    <a:pt x="64" y="554"/>
                    <a:pt x="63" y="553"/>
                  </a:cubicBezTo>
                  <a:cubicBezTo>
                    <a:pt x="63" y="553"/>
                    <a:pt x="63" y="551"/>
                    <a:pt x="62" y="550"/>
                  </a:cubicBezTo>
                  <a:cubicBezTo>
                    <a:pt x="62" y="550"/>
                    <a:pt x="60" y="550"/>
                    <a:pt x="58" y="550"/>
                  </a:cubicBezTo>
                  <a:cubicBezTo>
                    <a:pt x="56" y="550"/>
                    <a:pt x="57" y="553"/>
                    <a:pt x="57" y="553"/>
                  </a:cubicBezTo>
                  <a:cubicBezTo>
                    <a:pt x="57" y="553"/>
                    <a:pt x="58" y="555"/>
                    <a:pt x="59" y="556"/>
                  </a:cubicBezTo>
                  <a:cubicBezTo>
                    <a:pt x="59" y="556"/>
                    <a:pt x="59" y="558"/>
                    <a:pt x="59" y="558"/>
                  </a:cubicBezTo>
                  <a:close/>
                </a:path>
              </a:pathLst>
            </a:custGeom>
            <a:solidFill>
              <a:schemeClr val="accent2"/>
            </a:solidFill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9" name="Freeform 48"/>
            <p:cNvSpPr>
              <a:spLocks noEditPoints="1"/>
            </p:cNvSpPr>
            <p:nvPr/>
          </p:nvSpPr>
          <p:spPr bwMode="auto">
            <a:xfrm>
              <a:off x="8031808" y="1593291"/>
              <a:ext cx="1169794" cy="1439380"/>
            </a:xfrm>
            <a:custGeom>
              <a:avLst/>
              <a:gdLst>
                <a:gd name="T0" fmla="*/ 181 w 513"/>
                <a:gd name="T1" fmla="*/ 422 h 651"/>
                <a:gd name="T2" fmla="*/ 256 w 513"/>
                <a:gd name="T3" fmla="*/ 393 h 651"/>
                <a:gd name="T4" fmla="*/ 306 w 513"/>
                <a:gd name="T5" fmla="*/ 401 h 651"/>
                <a:gd name="T6" fmla="*/ 324 w 513"/>
                <a:gd name="T7" fmla="*/ 460 h 651"/>
                <a:gd name="T8" fmla="*/ 371 w 513"/>
                <a:gd name="T9" fmla="*/ 452 h 651"/>
                <a:gd name="T10" fmla="*/ 360 w 513"/>
                <a:gd name="T11" fmla="*/ 484 h 651"/>
                <a:gd name="T12" fmla="*/ 347 w 513"/>
                <a:gd name="T13" fmla="*/ 509 h 651"/>
                <a:gd name="T14" fmla="*/ 350 w 513"/>
                <a:gd name="T15" fmla="*/ 469 h 651"/>
                <a:gd name="T16" fmla="*/ 277 w 513"/>
                <a:gd name="T17" fmla="*/ 474 h 651"/>
                <a:gd name="T18" fmla="*/ 278 w 513"/>
                <a:gd name="T19" fmla="*/ 512 h 651"/>
                <a:gd name="T20" fmla="*/ 245 w 513"/>
                <a:gd name="T21" fmla="*/ 518 h 651"/>
                <a:gd name="T22" fmla="*/ 231 w 513"/>
                <a:gd name="T23" fmla="*/ 531 h 651"/>
                <a:gd name="T24" fmla="*/ 260 w 513"/>
                <a:gd name="T25" fmla="*/ 538 h 651"/>
                <a:gd name="T26" fmla="*/ 291 w 513"/>
                <a:gd name="T27" fmla="*/ 568 h 651"/>
                <a:gd name="T28" fmla="*/ 316 w 513"/>
                <a:gd name="T29" fmla="*/ 588 h 651"/>
                <a:gd name="T30" fmla="*/ 362 w 513"/>
                <a:gd name="T31" fmla="*/ 598 h 651"/>
                <a:gd name="T32" fmla="*/ 365 w 513"/>
                <a:gd name="T33" fmla="*/ 636 h 651"/>
                <a:gd name="T34" fmla="*/ 388 w 513"/>
                <a:gd name="T35" fmla="*/ 615 h 651"/>
                <a:gd name="T36" fmla="*/ 442 w 513"/>
                <a:gd name="T37" fmla="*/ 609 h 651"/>
                <a:gd name="T38" fmla="*/ 492 w 513"/>
                <a:gd name="T39" fmla="*/ 651 h 651"/>
                <a:gd name="T40" fmla="*/ 513 w 513"/>
                <a:gd name="T41" fmla="*/ 644 h 651"/>
                <a:gd name="T42" fmla="*/ 449 w 513"/>
                <a:gd name="T43" fmla="*/ 465 h 651"/>
                <a:gd name="T44" fmla="*/ 513 w 513"/>
                <a:gd name="T45" fmla="*/ 163 h 651"/>
                <a:gd name="T46" fmla="*/ 494 w 513"/>
                <a:gd name="T47" fmla="*/ 176 h 651"/>
                <a:gd name="T48" fmla="*/ 426 w 513"/>
                <a:gd name="T49" fmla="*/ 157 h 651"/>
                <a:gd name="T50" fmla="*/ 375 w 513"/>
                <a:gd name="T51" fmla="*/ 166 h 651"/>
                <a:gd name="T52" fmla="*/ 334 w 513"/>
                <a:gd name="T53" fmla="*/ 197 h 651"/>
                <a:gd name="T54" fmla="*/ 289 w 513"/>
                <a:gd name="T55" fmla="*/ 184 h 651"/>
                <a:gd name="T56" fmla="*/ 295 w 513"/>
                <a:gd name="T57" fmla="*/ 204 h 651"/>
                <a:gd name="T58" fmla="*/ 276 w 513"/>
                <a:gd name="T59" fmla="*/ 197 h 651"/>
                <a:gd name="T60" fmla="*/ 246 w 513"/>
                <a:gd name="T61" fmla="*/ 178 h 651"/>
                <a:gd name="T62" fmla="*/ 190 w 513"/>
                <a:gd name="T63" fmla="*/ 175 h 651"/>
                <a:gd name="T64" fmla="*/ 160 w 513"/>
                <a:gd name="T65" fmla="*/ 172 h 651"/>
                <a:gd name="T66" fmla="*/ 139 w 513"/>
                <a:gd name="T67" fmla="*/ 169 h 651"/>
                <a:gd name="T68" fmla="*/ 109 w 513"/>
                <a:gd name="T69" fmla="*/ 195 h 651"/>
                <a:gd name="T70" fmla="*/ 76 w 513"/>
                <a:gd name="T71" fmla="*/ 231 h 651"/>
                <a:gd name="T72" fmla="*/ 54 w 513"/>
                <a:gd name="T73" fmla="*/ 248 h 651"/>
                <a:gd name="T74" fmla="*/ 61 w 513"/>
                <a:gd name="T75" fmla="*/ 279 h 651"/>
                <a:gd name="T76" fmla="*/ 13 w 513"/>
                <a:gd name="T77" fmla="*/ 278 h 651"/>
                <a:gd name="T78" fmla="*/ 19 w 513"/>
                <a:gd name="T79" fmla="*/ 323 h 651"/>
                <a:gd name="T80" fmla="*/ 35 w 513"/>
                <a:gd name="T81" fmla="*/ 367 h 651"/>
                <a:gd name="T82" fmla="*/ 56 w 513"/>
                <a:gd name="T83" fmla="*/ 388 h 651"/>
                <a:gd name="T84" fmla="*/ 93 w 513"/>
                <a:gd name="T85" fmla="*/ 389 h 651"/>
                <a:gd name="T86" fmla="*/ 139 w 513"/>
                <a:gd name="T87" fmla="*/ 432 h 651"/>
                <a:gd name="T88" fmla="*/ 123 w 513"/>
                <a:gd name="T89" fmla="*/ 427 h 651"/>
                <a:gd name="T90" fmla="*/ 151 w 513"/>
                <a:gd name="T91" fmla="*/ 441 h 651"/>
                <a:gd name="T92" fmla="*/ 513 w 513"/>
                <a:gd name="T93" fmla="*/ 0 h 651"/>
                <a:gd name="T94" fmla="*/ 470 w 513"/>
                <a:gd name="T95" fmla="*/ 10 h 651"/>
                <a:gd name="T96" fmla="*/ 489 w 513"/>
                <a:gd name="T97" fmla="*/ 28 h 651"/>
                <a:gd name="T98" fmla="*/ 496 w 513"/>
                <a:gd name="T99" fmla="*/ 37 h 651"/>
                <a:gd name="T100" fmla="*/ 513 w 513"/>
                <a:gd name="T101" fmla="*/ 0 h 651"/>
                <a:gd name="T102" fmla="*/ 513 w 513"/>
                <a:gd name="T103" fmla="*/ 49 h 651"/>
                <a:gd name="T104" fmla="*/ 479 w 513"/>
                <a:gd name="T105" fmla="*/ 65 h 651"/>
                <a:gd name="T106" fmla="*/ 491 w 513"/>
                <a:gd name="T107" fmla="*/ 93 h 651"/>
                <a:gd name="T108" fmla="*/ 489 w 513"/>
                <a:gd name="T109" fmla="*/ 110 h 651"/>
                <a:gd name="T110" fmla="*/ 513 w 513"/>
                <a:gd name="T111" fmla="*/ 11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3" h="651">
                  <a:moveTo>
                    <a:pt x="151" y="441"/>
                  </a:moveTo>
                  <a:cubicBezTo>
                    <a:pt x="181" y="422"/>
                    <a:pt x="181" y="422"/>
                    <a:pt x="181" y="422"/>
                  </a:cubicBezTo>
                  <a:cubicBezTo>
                    <a:pt x="217" y="395"/>
                    <a:pt x="217" y="395"/>
                    <a:pt x="217" y="395"/>
                  </a:cubicBezTo>
                  <a:cubicBezTo>
                    <a:pt x="256" y="393"/>
                    <a:pt x="256" y="393"/>
                    <a:pt x="256" y="393"/>
                  </a:cubicBezTo>
                  <a:cubicBezTo>
                    <a:pt x="266" y="395"/>
                    <a:pt x="269" y="402"/>
                    <a:pt x="287" y="388"/>
                  </a:cubicBezTo>
                  <a:cubicBezTo>
                    <a:pt x="306" y="401"/>
                    <a:pt x="306" y="401"/>
                    <a:pt x="306" y="401"/>
                  </a:cubicBezTo>
                  <a:cubicBezTo>
                    <a:pt x="318" y="425"/>
                    <a:pt x="318" y="425"/>
                    <a:pt x="318" y="425"/>
                  </a:cubicBezTo>
                  <a:cubicBezTo>
                    <a:pt x="324" y="460"/>
                    <a:pt x="324" y="460"/>
                    <a:pt x="324" y="460"/>
                  </a:cubicBezTo>
                  <a:cubicBezTo>
                    <a:pt x="352" y="460"/>
                    <a:pt x="352" y="460"/>
                    <a:pt x="352" y="460"/>
                  </a:cubicBezTo>
                  <a:cubicBezTo>
                    <a:pt x="371" y="452"/>
                    <a:pt x="371" y="452"/>
                    <a:pt x="371" y="452"/>
                  </a:cubicBezTo>
                  <a:cubicBezTo>
                    <a:pt x="384" y="463"/>
                    <a:pt x="381" y="459"/>
                    <a:pt x="384" y="468"/>
                  </a:cubicBezTo>
                  <a:cubicBezTo>
                    <a:pt x="372" y="478"/>
                    <a:pt x="374" y="476"/>
                    <a:pt x="360" y="484"/>
                  </a:cubicBezTo>
                  <a:cubicBezTo>
                    <a:pt x="354" y="508"/>
                    <a:pt x="354" y="508"/>
                    <a:pt x="354" y="508"/>
                  </a:cubicBezTo>
                  <a:cubicBezTo>
                    <a:pt x="347" y="509"/>
                    <a:pt x="347" y="509"/>
                    <a:pt x="347" y="509"/>
                  </a:cubicBezTo>
                  <a:cubicBezTo>
                    <a:pt x="347" y="485"/>
                    <a:pt x="345" y="494"/>
                    <a:pt x="356" y="472"/>
                  </a:cubicBezTo>
                  <a:cubicBezTo>
                    <a:pt x="350" y="469"/>
                    <a:pt x="350" y="469"/>
                    <a:pt x="350" y="469"/>
                  </a:cubicBezTo>
                  <a:cubicBezTo>
                    <a:pt x="320" y="469"/>
                    <a:pt x="320" y="469"/>
                    <a:pt x="320" y="469"/>
                  </a:cubicBezTo>
                  <a:cubicBezTo>
                    <a:pt x="293" y="469"/>
                    <a:pt x="306" y="467"/>
                    <a:pt x="277" y="474"/>
                  </a:cubicBezTo>
                  <a:cubicBezTo>
                    <a:pt x="276" y="477"/>
                    <a:pt x="265" y="473"/>
                    <a:pt x="263" y="476"/>
                  </a:cubicBezTo>
                  <a:cubicBezTo>
                    <a:pt x="250" y="497"/>
                    <a:pt x="245" y="502"/>
                    <a:pt x="278" y="512"/>
                  </a:cubicBezTo>
                  <a:cubicBezTo>
                    <a:pt x="274" y="523"/>
                    <a:pt x="274" y="523"/>
                    <a:pt x="274" y="523"/>
                  </a:cubicBezTo>
                  <a:cubicBezTo>
                    <a:pt x="260" y="515"/>
                    <a:pt x="267" y="517"/>
                    <a:pt x="245" y="518"/>
                  </a:cubicBezTo>
                  <a:cubicBezTo>
                    <a:pt x="231" y="519"/>
                    <a:pt x="231" y="519"/>
                    <a:pt x="231" y="519"/>
                  </a:cubicBezTo>
                  <a:cubicBezTo>
                    <a:pt x="231" y="531"/>
                    <a:pt x="231" y="531"/>
                    <a:pt x="231" y="531"/>
                  </a:cubicBezTo>
                  <a:cubicBezTo>
                    <a:pt x="246" y="530"/>
                    <a:pt x="246" y="530"/>
                    <a:pt x="246" y="530"/>
                  </a:cubicBezTo>
                  <a:cubicBezTo>
                    <a:pt x="260" y="538"/>
                    <a:pt x="260" y="538"/>
                    <a:pt x="260" y="538"/>
                  </a:cubicBezTo>
                  <a:cubicBezTo>
                    <a:pt x="269" y="548"/>
                    <a:pt x="269" y="548"/>
                    <a:pt x="269" y="548"/>
                  </a:cubicBezTo>
                  <a:cubicBezTo>
                    <a:pt x="291" y="568"/>
                    <a:pt x="291" y="568"/>
                    <a:pt x="291" y="568"/>
                  </a:cubicBezTo>
                  <a:cubicBezTo>
                    <a:pt x="294" y="586"/>
                    <a:pt x="294" y="586"/>
                    <a:pt x="294" y="586"/>
                  </a:cubicBezTo>
                  <a:cubicBezTo>
                    <a:pt x="306" y="584"/>
                    <a:pt x="305" y="583"/>
                    <a:pt x="316" y="588"/>
                  </a:cubicBezTo>
                  <a:cubicBezTo>
                    <a:pt x="334" y="596"/>
                    <a:pt x="337" y="593"/>
                    <a:pt x="358" y="589"/>
                  </a:cubicBezTo>
                  <a:cubicBezTo>
                    <a:pt x="362" y="598"/>
                    <a:pt x="362" y="598"/>
                    <a:pt x="362" y="598"/>
                  </a:cubicBezTo>
                  <a:cubicBezTo>
                    <a:pt x="362" y="618"/>
                    <a:pt x="362" y="618"/>
                    <a:pt x="362" y="618"/>
                  </a:cubicBezTo>
                  <a:cubicBezTo>
                    <a:pt x="365" y="636"/>
                    <a:pt x="365" y="636"/>
                    <a:pt x="365" y="636"/>
                  </a:cubicBezTo>
                  <a:cubicBezTo>
                    <a:pt x="381" y="626"/>
                    <a:pt x="381" y="626"/>
                    <a:pt x="381" y="626"/>
                  </a:cubicBezTo>
                  <a:cubicBezTo>
                    <a:pt x="388" y="615"/>
                    <a:pt x="388" y="615"/>
                    <a:pt x="388" y="615"/>
                  </a:cubicBezTo>
                  <a:cubicBezTo>
                    <a:pt x="413" y="607"/>
                    <a:pt x="413" y="607"/>
                    <a:pt x="413" y="607"/>
                  </a:cubicBezTo>
                  <a:cubicBezTo>
                    <a:pt x="442" y="609"/>
                    <a:pt x="442" y="609"/>
                    <a:pt x="442" y="609"/>
                  </a:cubicBezTo>
                  <a:cubicBezTo>
                    <a:pt x="442" y="610"/>
                    <a:pt x="477" y="632"/>
                    <a:pt x="482" y="637"/>
                  </a:cubicBezTo>
                  <a:cubicBezTo>
                    <a:pt x="486" y="642"/>
                    <a:pt x="492" y="651"/>
                    <a:pt x="492" y="651"/>
                  </a:cubicBezTo>
                  <a:cubicBezTo>
                    <a:pt x="511" y="646"/>
                    <a:pt x="511" y="646"/>
                    <a:pt x="511" y="646"/>
                  </a:cubicBezTo>
                  <a:cubicBezTo>
                    <a:pt x="513" y="644"/>
                    <a:pt x="513" y="644"/>
                    <a:pt x="513" y="644"/>
                  </a:cubicBezTo>
                  <a:cubicBezTo>
                    <a:pt x="513" y="618"/>
                    <a:pt x="513" y="618"/>
                    <a:pt x="513" y="618"/>
                  </a:cubicBezTo>
                  <a:cubicBezTo>
                    <a:pt x="449" y="465"/>
                    <a:pt x="449" y="465"/>
                    <a:pt x="449" y="465"/>
                  </a:cubicBezTo>
                  <a:cubicBezTo>
                    <a:pt x="513" y="436"/>
                    <a:pt x="513" y="436"/>
                    <a:pt x="513" y="436"/>
                  </a:cubicBezTo>
                  <a:cubicBezTo>
                    <a:pt x="513" y="163"/>
                    <a:pt x="513" y="163"/>
                    <a:pt x="513" y="163"/>
                  </a:cubicBezTo>
                  <a:cubicBezTo>
                    <a:pt x="510" y="163"/>
                    <a:pt x="506" y="164"/>
                    <a:pt x="501" y="164"/>
                  </a:cubicBezTo>
                  <a:cubicBezTo>
                    <a:pt x="494" y="176"/>
                    <a:pt x="494" y="176"/>
                    <a:pt x="494" y="176"/>
                  </a:cubicBezTo>
                  <a:cubicBezTo>
                    <a:pt x="443" y="167"/>
                    <a:pt x="443" y="167"/>
                    <a:pt x="443" y="167"/>
                  </a:cubicBezTo>
                  <a:cubicBezTo>
                    <a:pt x="426" y="157"/>
                    <a:pt x="426" y="157"/>
                    <a:pt x="426" y="157"/>
                  </a:cubicBezTo>
                  <a:cubicBezTo>
                    <a:pt x="413" y="166"/>
                    <a:pt x="416" y="162"/>
                    <a:pt x="405" y="174"/>
                  </a:cubicBezTo>
                  <a:cubicBezTo>
                    <a:pt x="375" y="166"/>
                    <a:pt x="375" y="166"/>
                    <a:pt x="375" y="166"/>
                  </a:cubicBezTo>
                  <a:cubicBezTo>
                    <a:pt x="356" y="175"/>
                    <a:pt x="356" y="175"/>
                    <a:pt x="356" y="175"/>
                  </a:cubicBezTo>
                  <a:cubicBezTo>
                    <a:pt x="334" y="197"/>
                    <a:pt x="334" y="197"/>
                    <a:pt x="334" y="197"/>
                  </a:cubicBezTo>
                  <a:cubicBezTo>
                    <a:pt x="297" y="195"/>
                    <a:pt x="297" y="195"/>
                    <a:pt x="297" y="195"/>
                  </a:cubicBezTo>
                  <a:cubicBezTo>
                    <a:pt x="289" y="184"/>
                    <a:pt x="289" y="184"/>
                    <a:pt x="289" y="184"/>
                  </a:cubicBezTo>
                  <a:cubicBezTo>
                    <a:pt x="287" y="194"/>
                    <a:pt x="287" y="194"/>
                    <a:pt x="287" y="194"/>
                  </a:cubicBezTo>
                  <a:cubicBezTo>
                    <a:pt x="295" y="204"/>
                    <a:pt x="295" y="204"/>
                    <a:pt x="295" y="204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76" y="197"/>
                    <a:pt x="276" y="197"/>
                    <a:pt x="276" y="197"/>
                  </a:cubicBezTo>
                  <a:cubicBezTo>
                    <a:pt x="264" y="182"/>
                    <a:pt x="264" y="182"/>
                    <a:pt x="264" y="182"/>
                  </a:cubicBezTo>
                  <a:cubicBezTo>
                    <a:pt x="246" y="178"/>
                    <a:pt x="246" y="178"/>
                    <a:pt x="246" y="178"/>
                  </a:cubicBezTo>
                  <a:cubicBezTo>
                    <a:pt x="236" y="171"/>
                    <a:pt x="236" y="171"/>
                    <a:pt x="236" y="171"/>
                  </a:cubicBezTo>
                  <a:cubicBezTo>
                    <a:pt x="234" y="170"/>
                    <a:pt x="197" y="174"/>
                    <a:pt x="190" y="175"/>
                  </a:cubicBezTo>
                  <a:cubicBezTo>
                    <a:pt x="181" y="169"/>
                    <a:pt x="180" y="169"/>
                    <a:pt x="170" y="164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60" y="172"/>
                    <a:pt x="155" y="181"/>
                    <a:pt x="147" y="181"/>
                  </a:cubicBezTo>
                  <a:cubicBezTo>
                    <a:pt x="138" y="181"/>
                    <a:pt x="139" y="169"/>
                    <a:pt x="139" y="169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09" y="195"/>
                    <a:pt x="109" y="195"/>
                    <a:pt x="109" y="195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76" y="231"/>
                    <a:pt x="76" y="231"/>
                    <a:pt x="76" y="231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4" y="248"/>
                    <a:pt x="54" y="248"/>
                    <a:pt x="54" y="248"/>
                  </a:cubicBezTo>
                  <a:cubicBezTo>
                    <a:pt x="77" y="268"/>
                    <a:pt x="77" y="268"/>
                    <a:pt x="77" y="268"/>
                  </a:cubicBezTo>
                  <a:cubicBezTo>
                    <a:pt x="61" y="279"/>
                    <a:pt x="61" y="279"/>
                    <a:pt x="61" y="279"/>
                  </a:cubicBezTo>
                  <a:cubicBezTo>
                    <a:pt x="37" y="254"/>
                    <a:pt x="46" y="273"/>
                    <a:pt x="16" y="250"/>
                  </a:cubicBezTo>
                  <a:cubicBezTo>
                    <a:pt x="11" y="268"/>
                    <a:pt x="10" y="263"/>
                    <a:pt x="13" y="278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7" y="314"/>
                    <a:pt x="2" y="305"/>
                    <a:pt x="19" y="323"/>
                  </a:cubicBezTo>
                  <a:cubicBezTo>
                    <a:pt x="9" y="344"/>
                    <a:pt x="11" y="335"/>
                    <a:pt x="12" y="360"/>
                  </a:cubicBezTo>
                  <a:cubicBezTo>
                    <a:pt x="35" y="367"/>
                    <a:pt x="35" y="367"/>
                    <a:pt x="35" y="367"/>
                  </a:cubicBezTo>
                  <a:cubicBezTo>
                    <a:pt x="41" y="381"/>
                    <a:pt x="41" y="381"/>
                    <a:pt x="41" y="381"/>
                  </a:cubicBezTo>
                  <a:cubicBezTo>
                    <a:pt x="56" y="388"/>
                    <a:pt x="56" y="388"/>
                    <a:pt x="56" y="388"/>
                  </a:cubicBezTo>
                  <a:cubicBezTo>
                    <a:pt x="71" y="378"/>
                    <a:pt x="71" y="378"/>
                    <a:pt x="71" y="378"/>
                  </a:cubicBezTo>
                  <a:cubicBezTo>
                    <a:pt x="93" y="389"/>
                    <a:pt x="93" y="389"/>
                    <a:pt x="93" y="389"/>
                  </a:cubicBezTo>
                  <a:cubicBezTo>
                    <a:pt x="122" y="411"/>
                    <a:pt x="122" y="411"/>
                    <a:pt x="122" y="411"/>
                  </a:cubicBezTo>
                  <a:cubicBezTo>
                    <a:pt x="139" y="432"/>
                    <a:pt x="139" y="432"/>
                    <a:pt x="139" y="432"/>
                  </a:cubicBezTo>
                  <a:cubicBezTo>
                    <a:pt x="129" y="424"/>
                    <a:pt x="129" y="424"/>
                    <a:pt x="129" y="424"/>
                  </a:cubicBezTo>
                  <a:cubicBezTo>
                    <a:pt x="123" y="427"/>
                    <a:pt x="123" y="427"/>
                    <a:pt x="123" y="427"/>
                  </a:cubicBezTo>
                  <a:cubicBezTo>
                    <a:pt x="127" y="434"/>
                    <a:pt x="127" y="434"/>
                    <a:pt x="127" y="434"/>
                  </a:cubicBezTo>
                  <a:cubicBezTo>
                    <a:pt x="151" y="441"/>
                    <a:pt x="151" y="441"/>
                    <a:pt x="151" y="441"/>
                  </a:cubicBezTo>
                  <a:close/>
                  <a:moveTo>
                    <a:pt x="513" y="0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499" y="5"/>
                    <a:pt x="499" y="5"/>
                    <a:pt x="499" y="5"/>
                  </a:cubicBezTo>
                  <a:cubicBezTo>
                    <a:pt x="497" y="5"/>
                    <a:pt x="469" y="1"/>
                    <a:pt x="470" y="10"/>
                  </a:cubicBezTo>
                  <a:cubicBezTo>
                    <a:pt x="471" y="15"/>
                    <a:pt x="476" y="16"/>
                    <a:pt x="476" y="16"/>
                  </a:cubicBezTo>
                  <a:cubicBezTo>
                    <a:pt x="489" y="28"/>
                    <a:pt x="489" y="28"/>
                    <a:pt x="489" y="28"/>
                  </a:cubicBezTo>
                  <a:cubicBezTo>
                    <a:pt x="488" y="35"/>
                    <a:pt x="488" y="35"/>
                    <a:pt x="488" y="35"/>
                  </a:cubicBezTo>
                  <a:cubicBezTo>
                    <a:pt x="496" y="37"/>
                    <a:pt x="496" y="37"/>
                    <a:pt x="496" y="37"/>
                  </a:cubicBezTo>
                  <a:cubicBezTo>
                    <a:pt x="513" y="37"/>
                    <a:pt x="513" y="37"/>
                    <a:pt x="513" y="37"/>
                  </a:cubicBezTo>
                  <a:cubicBezTo>
                    <a:pt x="513" y="0"/>
                    <a:pt x="513" y="0"/>
                    <a:pt x="513" y="0"/>
                  </a:cubicBezTo>
                  <a:close/>
                  <a:moveTo>
                    <a:pt x="513" y="49"/>
                  </a:moveTo>
                  <a:cubicBezTo>
                    <a:pt x="513" y="49"/>
                    <a:pt x="513" y="49"/>
                    <a:pt x="513" y="49"/>
                  </a:cubicBezTo>
                  <a:cubicBezTo>
                    <a:pt x="503" y="50"/>
                    <a:pt x="492" y="52"/>
                    <a:pt x="490" y="53"/>
                  </a:cubicBezTo>
                  <a:cubicBezTo>
                    <a:pt x="479" y="65"/>
                    <a:pt x="479" y="65"/>
                    <a:pt x="479" y="65"/>
                  </a:cubicBezTo>
                  <a:cubicBezTo>
                    <a:pt x="492" y="82"/>
                    <a:pt x="492" y="82"/>
                    <a:pt x="492" y="82"/>
                  </a:cubicBezTo>
                  <a:cubicBezTo>
                    <a:pt x="491" y="93"/>
                    <a:pt x="491" y="93"/>
                    <a:pt x="491" y="93"/>
                  </a:cubicBezTo>
                  <a:cubicBezTo>
                    <a:pt x="480" y="101"/>
                    <a:pt x="480" y="101"/>
                    <a:pt x="480" y="101"/>
                  </a:cubicBezTo>
                  <a:cubicBezTo>
                    <a:pt x="489" y="110"/>
                    <a:pt x="489" y="110"/>
                    <a:pt x="489" y="110"/>
                  </a:cubicBezTo>
                  <a:cubicBezTo>
                    <a:pt x="505" y="110"/>
                    <a:pt x="505" y="110"/>
                    <a:pt x="505" y="110"/>
                  </a:cubicBezTo>
                  <a:cubicBezTo>
                    <a:pt x="513" y="116"/>
                    <a:pt x="513" y="116"/>
                    <a:pt x="513" y="116"/>
                  </a:cubicBezTo>
                  <a:lnTo>
                    <a:pt x="513" y="49"/>
                  </a:lnTo>
                  <a:close/>
                </a:path>
              </a:pathLst>
            </a:custGeom>
            <a:grpFill/>
            <a:ln w="381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</p:grpSp>
      <p:sp>
        <p:nvSpPr>
          <p:cNvPr id="50" name="Oval 49"/>
          <p:cNvSpPr/>
          <p:nvPr/>
        </p:nvSpPr>
        <p:spPr>
          <a:xfrm>
            <a:off x="1611967" y="9655129"/>
            <a:ext cx="1387808" cy="138762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18" tIns="91409" rIns="182818" bIns="91409" rtlCol="0" anchor="ctr"/>
          <a:lstStyle/>
          <a:p>
            <a:pPr algn="ctr"/>
            <a:endParaRPr lang="id-ID" sz="3599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1" name="Oval 50"/>
          <p:cNvSpPr/>
          <p:nvPr/>
        </p:nvSpPr>
        <p:spPr>
          <a:xfrm>
            <a:off x="1611967" y="7366535"/>
            <a:ext cx="1387808" cy="13876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18" tIns="91409" rIns="182818" bIns="91409" rtlCol="0" anchor="ctr"/>
          <a:lstStyle/>
          <a:p>
            <a:pPr algn="ctr"/>
            <a:endParaRPr lang="id-ID" sz="3599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238968" y="7146175"/>
            <a:ext cx="5461122" cy="2369837"/>
          </a:xfrm>
          <a:prstGeom prst="rect">
            <a:avLst/>
          </a:prstGeom>
          <a:noFill/>
        </p:spPr>
        <p:txBody>
          <a:bodyPr wrap="square" lIns="243797" tIns="121899" rIns="243797" bIns="121899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Avenir Medium"/>
                <a:ea typeface="Avenir Book" charset="0"/>
                <a:cs typeface="Avenir Book" charset="0"/>
              </a:rPr>
              <a:t>Write your Title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But what plays the mischief with this masterly code is the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238968" y="9394856"/>
            <a:ext cx="5361071" cy="2369837"/>
          </a:xfrm>
          <a:prstGeom prst="rect">
            <a:avLst/>
          </a:prstGeom>
          <a:noFill/>
        </p:spPr>
        <p:txBody>
          <a:bodyPr wrap="square" lIns="243797" tIns="121899" rIns="243797" bIns="121899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Avenir Medium"/>
                <a:ea typeface="Avenir Book" charset="0"/>
                <a:cs typeface="Avenir Book" charset="0"/>
              </a:rPr>
              <a:t>Write your Title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But what plays the mischief with this masterly code is the</a:t>
            </a:r>
          </a:p>
        </p:txBody>
      </p:sp>
      <p:sp>
        <p:nvSpPr>
          <p:cNvPr id="54" name="Shape 2623"/>
          <p:cNvSpPr/>
          <p:nvPr/>
        </p:nvSpPr>
        <p:spPr>
          <a:xfrm>
            <a:off x="2030407" y="7727872"/>
            <a:ext cx="623416" cy="6234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3255"/>
                </a:moveTo>
                <a:lnTo>
                  <a:pt x="5400" y="13255"/>
                </a:lnTo>
                <a:lnTo>
                  <a:pt x="5400" y="15218"/>
                </a:lnTo>
                <a:lnTo>
                  <a:pt x="7364" y="15218"/>
                </a:lnTo>
                <a:cubicBezTo>
                  <a:pt x="7364" y="15218"/>
                  <a:pt x="7364" y="13255"/>
                  <a:pt x="7364" y="13255"/>
                </a:cubicBezTo>
                <a:close/>
                <a:moveTo>
                  <a:pt x="7364" y="16691"/>
                </a:moveTo>
                <a:lnTo>
                  <a:pt x="5400" y="16691"/>
                </a:lnTo>
                <a:lnTo>
                  <a:pt x="5400" y="18655"/>
                </a:lnTo>
                <a:lnTo>
                  <a:pt x="7364" y="18655"/>
                </a:lnTo>
                <a:cubicBezTo>
                  <a:pt x="7364" y="18655"/>
                  <a:pt x="7364" y="16691"/>
                  <a:pt x="7364" y="16691"/>
                </a:cubicBezTo>
                <a:close/>
                <a:moveTo>
                  <a:pt x="7364" y="9818"/>
                </a:moveTo>
                <a:lnTo>
                  <a:pt x="5400" y="9818"/>
                </a:lnTo>
                <a:lnTo>
                  <a:pt x="5400" y="11782"/>
                </a:lnTo>
                <a:lnTo>
                  <a:pt x="7364" y="11782"/>
                </a:lnTo>
                <a:cubicBezTo>
                  <a:pt x="7364" y="11782"/>
                  <a:pt x="7364" y="9818"/>
                  <a:pt x="7364" y="9818"/>
                </a:cubicBezTo>
                <a:close/>
                <a:moveTo>
                  <a:pt x="4418" y="16691"/>
                </a:moveTo>
                <a:lnTo>
                  <a:pt x="2455" y="16691"/>
                </a:lnTo>
                <a:lnTo>
                  <a:pt x="2455" y="18655"/>
                </a:lnTo>
                <a:lnTo>
                  <a:pt x="4418" y="18655"/>
                </a:lnTo>
                <a:cubicBezTo>
                  <a:pt x="4418" y="18655"/>
                  <a:pt x="4418" y="16691"/>
                  <a:pt x="4418" y="1669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2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8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4418" y="9818"/>
                </a:moveTo>
                <a:lnTo>
                  <a:pt x="2455" y="9818"/>
                </a:lnTo>
                <a:lnTo>
                  <a:pt x="2455" y="11782"/>
                </a:lnTo>
                <a:lnTo>
                  <a:pt x="4418" y="11782"/>
                </a:lnTo>
                <a:cubicBezTo>
                  <a:pt x="4418" y="11782"/>
                  <a:pt x="4418" y="9818"/>
                  <a:pt x="4418" y="9818"/>
                </a:cubicBezTo>
                <a:close/>
                <a:moveTo>
                  <a:pt x="4418" y="13255"/>
                </a:moveTo>
                <a:lnTo>
                  <a:pt x="2455" y="13255"/>
                </a:lnTo>
                <a:lnTo>
                  <a:pt x="2455" y="15218"/>
                </a:lnTo>
                <a:lnTo>
                  <a:pt x="4418" y="15218"/>
                </a:lnTo>
                <a:cubicBezTo>
                  <a:pt x="4418" y="15218"/>
                  <a:pt x="4418" y="13255"/>
                  <a:pt x="4418" y="13255"/>
                </a:cubicBezTo>
                <a:close/>
                <a:moveTo>
                  <a:pt x="10309" y="16691"/>
                </a:moveTo>
                <a:lnTo>
                  <a:pt x="8345" y="16691"/>
                </a:lnTo>
                <a:lnTo>
                  <a:pt x="8345" y="18655"/>
                </a:lnTo>
                <a:lnTo>
                  <a:pt x="10309" y="18655"/>
                </a:lnTo>
                <a:cubicBezTo>
                  <a:pt x="10309" y="18655"/>
                  <a:pt x="10309" y="16691"/>
                  <a:pt x="10309" y="16691"/>
                </a:cubicBezTo>
                <a:close/>
                <a:moveTo>
                  <a:pt x="10309" y="9818"/>
                </a:moveTo>
                <a:lnTo>
                  <a:pt x="8345" y="9818"/>
                </a:lnTo>
                <a:lnTo>
                  <a:pt x="8345" y="11782"/>
                </a:lnTo>
                <a:lnTo>
                  <a:pt x="10309" y="11782"/>
                </a:lnTo>
                <a:cubicBezTo>
                  <a:pt x="10309" y="11782"/>
                  <a:pt x="10309" y="9818"/>
                  <a:pt x="10309" y="9818"/>
                </a:cubicBezTo>
                <a:close/>
                <a:moveTo>
                  <a:pt x="10309" y="13255"/>
                </a:moveTo>
                <a:lnTo>
                  <a:pt x="8345" y="13255"/>
                </a:lnTo>
                <a:lnTo>
                  <a:pt x="8345" y="15218"/>
                </a:lnTo>
                <a:lnTo>
                  <a:pt x="10309" y="15218"/>
                </a:lnTo>
                <a:cubicBezTo>
                  <a:pt x="10309" y="15218"/>
                  <a:pt x="10309" y="13255"/>
                  <a:pt x="10309" y="13255"/>
                </a:cubicBezTo>
                <a:close/>
                <a:moveTo>
                  <a:pt x="19145" y="13255"/>
                </a:moveTo>
                <a:lnTo>
                  <a:pt x="17182" y="13255"/>
                </a:lnTo>
                <a:lnTo>
                  <a:pt x="17182" y="15218"/>
                </a:lnTo>
                <a:lnTo>
                  <a:pt x="19145" y="15218"/>
                </a:lnTo>
                <a:cubicBezTo>
                  <a:pt x="19145" y="15218"/>
                  <a:pt x="19145" y="13255"/>
                  <a:pt x="19145" y="13255"/>
                </a:cubicBezTo>
                <a:close/>
                <a:moveTo>
                  <a:pt x="16200" y="13255"/>
                </a:moveTo>
                <a:lnTo>
                  <a:pt x="14236" y="13255"/>
                </a:lnTo>
                <a:lnTo>
                  <a:pt x="14236" y="15218"/>
                </a:lnTo>
                <a:lnTo>
                  <a:pt x="16200" y="15218"/>
                </a:lnTo>
                <a:cubicBezTo>
                  <a:pt x="16200" y="15218"/>
                  <a:pt x="16200" y="13255"/>
                  <a:pt x="16200" y="13255"/>
                </a:cubicBezTo>
                <a:close/>
                <a:moveTo>
                  <a:pt x="19145" y="9818"/>
                </a:moveTo>
                <a:lnTo>
                  <a:pt x="17182" y="9818"/>
                </a:lnTo>
                <a:lnTo>
                  <a:pt x="17182" y="11782"/>
                </a:lnTo>
                <a:lnTo>
                  <a:pt x="19145" y="11782"/>
                </a:lnTo>
                <a:cubicBezTo>
                  <a:pt x="19145" y="11782"/>
                  <a:pt x="19145" y="9818"/>
                  <a:pt x="19145" y="9818"/>
                </a:cubicBezTo>
                <a:close/>
                <a:moveTo>
                  <a:pt x="16200" y="9818"/>
                </a:moveTo>
                <a:lnTo>
                  <a:pt x="14236" y="9818"/>
                </a:lnTo>
                <a:lnTo>
                  <a:pt x="14236" y="11782"/>
                </a:lnTo>
                <a:lnTo>
                  <a:pt x="16200" y="11782"/>
                </a:lnTo>
                <a:cubicBezTo>
                  <a:pt x="16200" y="11782"/>
                  <a:pt x="16200" y="9818"/>
                  <a:pt x="16200" y="9818"/>
                </a:cubicBezTo>
                <a:close/>
                <a:moveTo>
                  <a:pt x="13255" y="16691"/>
                </a:moveTo>
                <a:lnTo>
                  <a:pt x="11291" y="16691"/>
                </a:lnTo>
                <a:lnTo>
                  <a:pt x="11291" y="18655"/>
                </a:lnTo>
                <a:lnTo>
                  <a:pt x="13255" y="18655"/>
                </a:lnTo>
                <a:cubicBezTo>
                  <a:pt x="13255" y="18655"/>
                  <a:pt x="13255" y="16691"/>
                  <a:pt x="13255" y="16691"/>
                </a:cubicBezTo>
                <a:close/>
                <a:moveTo>
                  <a:pt x="13255" y="9818"/>
                </a:moveTo>
                <a:lnTo>
                  <a:pt x="11291" y="9818"/>
                </a:lnTo>
                <a:lnTo>
                  <a:pt x="11291" y="11782"/>
                </a:lnTo>
                <a:lnTo>
                  <a:pt x="13255" y="11782"/>
                </a:lnTo>
                <a:cubicBezTo>
                  <a:pt x="13255" y="11782"/>
                  <a:pt x="13255" y="9818"/>
                  <a:pt x="13255" y="9818"/>
                </a:cubicBezTo>
                <a:close/>
                <a:moveTo>
                  <a:pt x="13255" y="13255"/>
                </a:moveTo>
                <a:lnTo>
                  <a:pt x="11291" y="13255"/>
                </a:lnTo>
                <a:lnTo>
                  <a:pt x="11291" y="15218"/>
                </a:lnTo>
                <a:lnTo>
                  <a:pt x="13255" y="15218"/>
                </a:lnTo>
                <a:cubicBezTo>
                  <a:pt x="13255" y="15218"/>
                  <a:pt x="13255" y="13255"/>
                  <a:pt x="13255" y="13255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5" name="Shape 2624"/>
          <p:cNvSpPr/>
          <p:nvPr/>
        </p:nvSpPr>
        <p:spPr>
          <a:xfrm>
            <a:off x="2001362" y="10037318"/>
            <a:ext cx="623416" cy="6234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435906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1558925" y="4916517"/>
            <a:ext cx="11106900" cy="7261198"/>
            <a:chOff x="5157993" y="1665630"/>
            <a:chExt cx="2936367" cy="1919171"/>
          </a:xfrm>
          <a:solidFill>
            <a:schemeClr val="bg1">
              <a:lumMod val="85000"/>
            </a:schemeClr>
          </a:solidFill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5379189" y="1665630"/>
              <a:ext cx="365958" cy="271518"/>
            </a:xfrm>
            <a:custGeom>
              <a:avLst/>
              <a:gdLst>
                <a:gd name="T0" fmla="*/ 228 w 257"/>
                <a:gd name="T1" fmla="*/ 167 h 190"/>
                <a:gd name="T2" fmla="*/ 227 w 257"/>
                <a:gd name="T3" fmla="*/ 190 h 190"/>
                <a:gd name="T4" fmla="*/ 150 w 257"/>
                <a:gd name="T5" fmla="*/ 172 h 190"/>
                <a:gd name="T6" fmla="*/ 141 w 257"/>
                <a:gd name="T7" fmla="*/ 172 h 190"/>
                <a:gd name="T8" fmla="*/ 108 w 257"/>
                <a:gd name="T9" fmla="*/ 174 h 190"/>
                <a:gd name="T10" fmla="*/ 102 w 257"/>
                <a:gd name="T11" fmla="*/ 173 h 190"/>
                <a:gd name="T12" fmla="*/ 97 w 257"/>
                <a:gd name="T13" fmla="*/ 174 h 190"/>
                <a:gd name="T14" fmla="*/ 94 w 257"/>
                <a:gd name="T15" fmla="*/ 172 h 190"/>
                <a:gd name="T16" fmla="*/ 86 w 257"/>
                <a:gd name="T17" fmla="*/ 171 h 190"/>
                <a:gd name="T18" fmla="*/ 85 w 257"/>
                <a:gd name="T19" fmla="*/ 168 h 190"/>
                <a:gd name="T20" fmla="*/ 73 w 257"/>
                <a:gd name="T21" fmla="*/ 165 h 190"/>
                <a:gd name="T22" fmla="*/ 66 w 257"/>
                <a:gd name="T23" fmla="*/ 162 h 190"/>
                <a:gd name="T24" fmla="*/ 51 w 257"/>
                <a:gd name="T25" fmla="*/ 165 h 190"/>
                <a:gd name="T26" fmla="*/ 33 w 257"/>
                <a:gd name="T27" fmla="*/ 156 h 190"/>
                <a:gd name="T28" fmla="*/ 29 w 257"/>
                <a:gd name="T29" fmla="*/ 128 h 190"/>
                <a:gd name="T30" fmla="*/ 20 w 257"/>
                <a:gd name="T31" fmla="*/ 126 h 190"/>
                <a:gd name="T32" fmla="*/ 10 w 257"/>
                <a:gd name="T33" fmla="*/ 120 h 190"/>
                <a:gd name="T34" fmla="*/ 0 w 257"/>
                <a:gd name="T35" fmla="*/ 116 h 190"/>
                <a:gd name="T36" fmla="*/ 3 w 257"/>
                <a:gd name="T37" fmla="*/ 103 h 190"/>
                <a:gd name="T38" fmla="*/ 5 w 257"/>
                <a:gd name="T39" fmla="*/ 105 h 190"/>
                <a:gd name="T40" fmla="*/ 7 w 257"/>
                <a:gd name="T41" fmla="*/ 105 h 190"/>
                <a:gd name="T42" fmla="*/ 11 w 257"/>
                <a:gd name="T43" fmla="*/ 99 h 190"/>
                <a:gd name="T44" fmla="*/ 9 w 257"/>
                <a:gd name="T45" fmla="*/ 96 h 190"/>
                <a:gd name="T46" fmla="*/ 7 w 257"/>
                <a:gd name="T47" fmla="*/ 88 h 190"/>
                <a:gd name="T48" fmla="*/ 16 w 257"/>
                <a:gd name="T49" fmla="*/ 85 h 190"/>
                <a:gd name="T50" fmla="*/ 8 w 257"/>
                <a:gd name="T51" fmla="*/ 78 h 190"/>
                <a:gd name="T52" fmla="*/ 6 w 257"/>
                <a:gd name="T53" fmla="*/ 60 h 190"/>
                <a:gd name="T54" fmla="*/ 8 w 257"/>
                <a:gd name="T55" fmla="*/ 41 h 190"/>
                <a:gd name="T56" fmla="*/ 3 w 257"/>
                <a:gd name="T57" fmla="*/ 23 h 190"/>
                <a:gd name="T58" fmla="*/ 10 w 257"/>
                <a:gd name="T59" fmla="*/ 10 h 190"/>
                <a:gd name="T60" fmla="*/ 33 w 257"/>
                <a:gd name="T61" fmla="*/ 30 h 190"/>
                <a:gd name="T62" fmla="*/ 49 w 257"/>
                <a:gd name="T63" fmla="*/ 36 h 190"/>
                <a:gd name="T64" fmla="*/ 55 w 257"/>
                <a:gd name="T65" fmla="*/ 36 h 190"/>
                <a:gd name="T66" fmla="*/ 65 w 257"/>
                <a:gd name="T67" fmla="*/ 42 h 190"/>
                <a:gd name="T68" fmla="*/ 63 w 257"/>
                <a:gd name="T69" fmla="*/ 56 h 190"/>
                <a:gd name="T70" fmla="*/ 48 w 257"/>
                <a:gd name="T71" fmla="*/ 69 h 190"/>
                <a:gd name="T72" fmla="*/ 48 w 257"/>
                <a:gd name="T73" fmla="*/ 74 h 190"/>
                <a:gd name="T74" fmla="*/ 55 w 257"/>
                <a:gd name="T75" fmla="*/ 66 h 190"/>
                <a:gd name="T76" fmla="*/ 70 w 257"/>
                <a:gd name="T77" fmla="*/ 57 h 190"/>
                <a:gd name="T78" fmla="*/ 66 w 257"/>
                <a:gd name="T79" fmla="*/ 64 h 190"/>
                <a:gd name="T80" fmla="*/ 52 w 257"/>
                <a:gd name="T81" fmla="*/ 80 h 190"/>
                <a:gd name="T82" fmla="*/ 46 w 257"/>
                <a:gd name="T83" fmla="*/ 91 h 190"/>
                <a:gd name="T84" fmla="*/ 55 w 257"/>
                <a:gd name="T85" fmla="*/ 87 h 190"/>
                <a:gd name="T86" fmla="*/ 65 w 257"/>
                <a:gd name="T87" fmla="*/ 82 h 190"/>
                <a:gd name="T88" fmla="*/ 71 w 257"/>
                <a:gd name="T89" fmla="*/ 68 h 190"/>
                <a:gd name="T90" fmla="*/ 80 w 257"/>
                <a:gd name="T91" fmla="*/ 54 h 190"/>
                <a:gd name="T92" fmla="*/ 78 w 257"/>
                <a:gd name="T93" fmla="*/ 42 h 190"/>
                <a:gd name="T94" fmla="*/ 75 w 257"/>
                <a:gd name="T95" fmla="*/ 35 h 190"/>
                <a:gd name="T96" fmla="*/ 74 w 257"/>
                <a:gd name="T97" fmla="*/ 46 h 190"/>
                <a:gd name="T98" fmla="*/ 76 w 257"/>
                <a:gd name="T99" fmla="*/ 54 h 190"/>
                <a:gd name="T100" fmla="*/ 72 w 257"/>
                <a:gd name="T101" fmla="*/ 51 h 190"/>
                <a:gd name="T102" fmla="*/ 68 w 257"/>
                <a:gd name="T103" fmla="*/ 41 h 190"/>
                <a:gd name="T104" fmla="*/ 73 w 257"/>
                <a:gd name="T105" fmla="*/ 32 h 190"/>
                <a:gd name="T106" fmla="*/ 74 w 257"/>
                <a:gd name="T107" fmla="*/ 24 h 190"/>
                <a:gd name="T108" fmla="*/ 80 w 257"/>
                <a:gd name="T109" fmla="*/ 30 h 190"/>
                <a:gd name="T110" fmla="*/ 79 w 257"/>
                <a:gd name="T111" fmla="*/ 15 h 190"/>
                <a:gd name="T112" fmla="*/ 77 w 257"/>
                <a:gd name="T113" fmla="*/ 11 h 190"/>
                <a:gd name="T114" fmla="*/ 145 w 257"/>
                <a:gd name="T115" fmla="*/ 19 h 190"/>
                <a:gd name="T116" fmla="*/ 246 w 257"/>
                <a:gd name="T117" fmla="*/ 4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7" h="190">
                  <a:moveTo>
                    <a:pt x="257" y="47"/>
                  </a:moveTo>
                  <a:cubicBezTo>
                    <a:pt x="257" y="47"/>
                    <a:pt x="233" y="161"/>
                    <a:pt x="228" y="167"/>
                  </a:cubicBezTo>
                  <a:cubicBezTo>
                    <a:pt x="224" y="174"/>
                    <a:pt x="229" y="172"/>
                    <a:pt x="229" y="179"/>
                  </a:cubicBezTo>
                  <a:cubicBezTo>
                    <a:pt x="229" y="185"/>
                    <a:pt x="227" y="190"/>
                    <a:pt x="227" y="190"/>
                  </a:cubicBezTo>
                  <a:cubicBezTo>
                    <a:pt x="161" y="173"/>
                    <a:pt x="161" y="173"/>
                    <a:pt x="161" y="173"/>
                  </a:cubicBezTo>
                  <a:cubicBezTo>
                    <a:pt x="150" y="172"/>
                    <a:pt x="150" y="172"/>
                    <a:pt x="150" y="172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1" y="172"/>
                    <a:pt x="141" y="172"/>
                    <a:pt x="141" y="17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08" y="174"/>
                    <a:pt x="108" y="174"/>
                    <a:pt x="108" y="174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2" y="173"/>
                    <a:pt x="102" y="173"/>
                    <a:pt x="102" y="173"/>
                  </a:cubicBezTo>
                  <a:cubicBezTo>
                    <a:pt x="99" y="174"/>
                    <a:pt x="99" y="174"/>
                    <a:pt x="99" y="174"/>
                  </a:cubicBezTo>
                  <a:cubicBezTo>
                    <a:pt x="97" y="174"/>
                    <a:pt x="97" y="174"/>
                    <a:pt x="97" y="174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4" y="172"/>
                    <a:pt x="94" y="172"/>
                    <a:pt x="94" y="172"/>
                  </a:cubicBezTo>
                  <a:cubicBezTo>
                    <a:pt x="89" y="172"/>
                    <a:pt x="89" y="172"/>
                    <a:pt x="89" y="172"/>
                  </a:cubicBezTo>
                  <a:cubicBezTo>
                    <a:pt x="86" y="171"/>
                    <a:pt x="86" y="171"/>
                    <a:pt x="86" y="171"/>
                  </a:cubicBezTo>
                  <a:cubicBezTo>
                    <a:pt x="85" y="169"/>
                    <a:pt x="85" y="169"/>
                    <a:pt x="85" y="169"/>
                  </a:cubicBezTo>
                  <a:cubicBezTo>
                    <a:pt x="85" y="168"/>
                    <a:pt x="85" y="168"/>
                    <a:pt x="85" y="168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73" y="165"/>
                    <a:pt x="73" y="165"/>
                    <a:pt x="73" y="165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6" y="162"/>
                    <a:pt x="66" y="162"/>
                    <a:pt x="66" y="162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51" y="165"/>
                    <a:pt x="51" y="165"/>
                    <a:pt x="51" y="165"/>
                  </a:cubicBezTo>
                  <a:cubicBezTo>
                    <a:pt x="40" y="162"/>
                    <a:pt x="40" y="162"/>
                    <a:pt x="40" y="162"/>
                  </a:cubicBezTo>
                  <a:cubicBezTo>
                    <a:pt x="33" y="156"/>
                    <a:pt x="33" y="156"/>
                    <a:pt x="33" y="156"/>
                  </a:cubicBezTo>
                  <a:cubicBezTo>
                    <a:pt x="33" y="156"/>
                    <a:pt x="36" y="149"/>
                    <a:pt x="35" y="140"/>
                  </a:cubicBezTo>
                  <a:cubicBezTo>
                    <a:pt x="34" y="130"/>
                    <a:pt x="29" y="128"/>
                    <a:pt x="29" y="128"/>
                  </a:cubicBezTo>
                  <a:cubicBezTo>
                    <a:pt x="24" y="128"/>
                    <a:pt x="24" y="128"/>
                    <a:pt x="24" y="128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20" y="126"/>
                    <a:pt x="20" y="120"/>
                    <a:pt x="15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6" y="106"/>
                    <a:pt x="6" y="106"/>
                    <a:pt x="6" y="106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9" y="96"/>
                    <a:pt x="9" y="96"/>
                    <a:pt x="9" y="96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77" y="11"/>
                    <a:pt x="77" y="11"/>
                    <a:pt x="77" y="1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133" y="16"/>
                    <a:pt x="145" y="19"/>
                  </a:cubicBezTo>
                  <a:cubicBezTo>
                    <a:pt x="156" y="22"/>
                    <a:pt x="230" y="42"/>
                    <a:pt x="235" y="43"/>
                  </a:cubicBezTo>
                  <a:cubicBezTo>
                    <a:pt x="240" y="45"/>
                    <a:pt x="246" y="45"/>
                    <a:pt x="246" y="45"/>
                  </a:cubicBezTo>
                  <a:lnTo>
                    <a:pt x="257" y="47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5925596" y="2621843"/>
              <a:ext cx="384509" cy="394627"/>
            </a:xfrm>
            <a:custGeom>
              <a:avLst/>
              <a:gdLst>
                <a:gd name="T0" fmla="*/ 34 w 228"/>
                <a:gd name="T1" fmla="*/ 0 h 234"/>
                <a:gd name="T2" fmla="*/ 228 w 228"/>
                <a:gd name="T3" fmla="*/ 23 h 234"/>
                <a:gd name="T4" fmla="*/ 227 w 228"/>
                <a:gd name="T5" fmla="*/ 44 h 234"/>
                <a:gd name="T6" fmla="*/ 224 w 228"/>
                <a:gd name="T7" fmla="*/ 44 h 234"/>
                <a:gd name="T8" fmla="*/ 210 w 228"/>
                <a:gd name="T9" fmla="*/ 226 h 234"/>
                <a:gd name="T10" fmla="*/ 91 w 228"/>
                <a:gd name="T11" fmla="*/ 215 h 234"/>
                <a:gd name="T12" fmla="*/ 90 w 228"/>
                <a:gd name="T13" fmla="*/ 224 h 234"/>
                <a:gd name="T14" fmla="*/ 32 w 228"/>
                <a:gd name="T15" fmla="*/ 218 h 234"/>
                <a:gd name="T16" fmla="*/ 29 w 228"/>
                <a:gd name="T17" fmla="*/ 234 h 234"/>
                <a:gd name="T18" fmla="*/ 0 w 228"/>
                <a:gd name="T19" fmla="*/ 230 h 234"/>
                <a:gd name="T20" fmla="*/ 34 w 228"/>
                <a:gd name="T21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8" h="234">
                  <a:moveTo>
                    <a:pt x="34" y="0"/>
                  </a:moveTo>
                  <a:lnTo>
                    <a:pt x="228" y="23"/>
                  </a:lnTo>
                  <a:lnTo>
                    <a:pt x="227" y="44"/>
                  </a:lnTo>
                  <a:lnTo>
                    <a:pt x="224" y="44"/>
                  </a:lnTo>
                  <a:lnTo>
                    <a:pt x="210" y="226"/>
                  </a:lnTo>
                  <a:lnTo>
                    <a:pt x="91" y="215"/>
                  </a:lnTo>
                  <a:lnTo>
                    <a:pt x="90" y="224"/>
                  </a:lnTo>
                  <a:lnTo>
                    <a:pt x="32" y="218"/>
                  </a:lnTo>
                  <a:lnTo>
                    <a:pt x="29" y="234"/>
                  </a:lnTo>
                  <a:lnTo>
                    <a:pt x="0" y="23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6068942" y="2696047"/>
              <a:ext cx="762272" cy="752154"/>
            </a:xfrm>
            <a:custGeom>
              <a:avLst/>
              <a:gdLst>
                <a:gd name="T0" fmla="*/ 450 w 452"/>
                <a:gd name="T1" fmla="*/ 234 h 446"/>
                <a:gd name="T2" fmla="*/ 446 w 452"/>
                <a:gd name="T3" fmla="*/ 215 h 446"/>
                <a:gd name="T4" fmla="*/ 435 w 452"/>
                <a:gd name="T5" fmla="*/ 131 h 446"/>
                <a:gd name="T6" fmla="*/ 417 w 452"/>
                <a:gd name="T7" fmla="*/ 128 h 446"/>
                <a:gd name="T8" fmla="*/ 398 w 452"/>
                <a:gd name="T9" fmla="*/ 117 h 446"/>
                <a:gd name="T10" fmla="*/ 378 w 452"/>
                <a:gd name="T11" fmla="*/ 116 h 446"/>
                <a:gd name="T12" fmla="*/ 365 w 452"/>
                <a:gd name="T13" fmla="*/ 118 h 446"/>
                <a:gd name="T14" fmla="*/ 352 w 452"/>
                <a:gd name="T15" fmla="*/ 122 h 446"/>
                <a:gd name="T16" fmla="*/ 332 w 452"/>
                <a:gd name="T17" fmla="*/ 118 h 446"/>
                <a:gd name="T18" fmla="*/ 325 w 452"/>
                <a:gd name="T19" fmla="*/ 116 h 446"/>
                <a:gd name="T20" fmla="*/ 310 w 452"/>
                <a:gd name="T21" fmla="*/ 112 h 446"/>
                <a:gd name="T22" fmla="*/ 301 w 452"/>
                <a:gd name="T23" fmla="*/ 111 h 446"/>
                <a:gd name="T24" fmla="*/ 284 w 452"/>
                <a:gd name="T25" fmla="*/ 107 h 446"/>
                <a:gd name="T26" fmla="*/ 269 w 452"/>
                <a:gd name="T27" fmla="*/ 101 h 446"/>
                <a:gd name="T28" fmla="*/ 253 w 452"/>
                <a:gd name="T29" fmla="*/ 93 h 446"/>
                <a:gd name="T30" fmla="*/ 242 w 452"/>
                <a:gd name="T31" fmla="*/ 90 h 446"/>
                <a:gd name="T32" fmla="*/ 125 w 452"/>
                <a:gd name="T33" fmla="*/ 182 h 446"/>
                <a:gd name="T34" fmla="*/ 2 w 452"/>
                <a:gd name="T35" fmla="*/ 183 h 446"/>
                <a:gd name="T36" fmla="*/ 13 w 452"/>
                <a:gd name="T37" fmla="*/ 197 h 446"/>
                <a:gd name="T38" fmla="*/ 22 w 452"/>
                <a:gd name="T39" fmla="*/ 205 h 446"/>
                <a:gd name="T40" fmla="*/ 41 w 452"/>
                <a:gd name="T41" fmla="*/ 224 h 446"/>
                <a:gd name="T42" fmla="*/ 55 w 452"/>
                <a:gd name="T43" fmla="*/ 238 h 446"/>
                <a:gd name="T44" fmla="*/ 59 w 452"/>
                <a:gd name="T45" fmla="*/ 259 h 446"/>
                <a:gd name="T46" fmla="*/ 66 w 452"/>
                <a:gd name="T47" fmla="*/ 278 h 446"/>
                <a:gd name="T48" fmla="*/ 74 w 452"/>
                <a:gd name="T49" fmla="*/ 286 h 446"/>
                <a:gd name="T50" fmla="*/ 88 w 452"/>
                <a:gd name="T51" fmla="*/ 296 h 446"/>
                <a:gd name="T52" fmla="*/ 109 w 452"/>
                <a:gd name="T53" fmla="*/ 307 h 446"/>
                <a:gd name="T54" fmla="*/ 120 w 452"/>
                <a:gd name="T55" fmla="*/ 298 h 446"/>
                <a:gd name="T56" fmla="*/ 127 w 452"/>
                <a:gd name="T57" fmla="*/ 283 h 446"/>
                <a:gd name="T58" fmla="*/ 148 w 452"/>
                <a:gd name="T59" fmla="*/ 275 h 446"/>
                <a:gd name="T60" fmla="*/ 170 w 452"/>
                <a:gd name="T61" fmla="*/ 279 h 446"/>
                <a:gd name="T62" fmla="*/ 183 w 452"/>
                <a:gd name="T63" fmla="*/ 292 h 446"/>
                <a:gd name="T64" fmla="*/ 200 w 452"/>
                <a:gd name="T65" fmla="*/ 320 h 446"/>
                <a:gd name="T66" fmla="*/ 210 w 452"/>
                <a:gd name="T67" fmla="*/ 343 h 446"/>
                <a:gd name="T68" fmla="*/ 235 w 452"/>
                <a:gd name="T69" fmla="*/ 372 h 446"/>
                <a:gd name="T70" fmla="*/ 237 w 452"/>
                <a:gd name="T71" fmla="*/ 388 h 446"/>
                <a:gd name="T72" fmla="*/ 249 w 452"/>
                <a:gd name="T73" fmla="*/ 416 h 446"/>
                <a:gd name="T74" fmla="*/ 273 w 452"/>
                <a:gd name="T75" fmla="*/ 427 h 446"/>
                <a:gd name="T76" fmla="*/ 291 w 452"/>
                <a:gd name="T77" fmla="*/ 438 h 446"/>
                <a:gd name="T78" fmla="*/ 305 w 452"/>
                <a:gd name="T79" fmla="*/ 442 h 446"/>
                <a:gd name="T80" fmla="*/ 321 w 452"/>
                <a:gd name="T81" fmla="*/ 441 h 446"/>
                <a:gd name="T82" fmla="*/ 317 w 452"/>
                <a:gd name="T83" fmla="*/ 425 h 446"/>
                <a:gd name="T84" fmla="*/ 308 w 452"/>
                <a:gd name="T85" fmla="*/ 404 h 446"/>
                <a:gd name="T86" fmla="*/ 318 w 452"/>
                <a:gd name="T87" fmla="*/ 370 h 446"/>
                <a:gd name="T88" fmla="*/ 311 w 452"/>
                <a:gd name="T89" fmla="*/ 361 h 446"/>
                <a:gd name="T90" fmla="*/ 326 w 452"/>
                <a:gd name="T91" fmla="*/ 355 h 446"/>
                <a:gd name="T92" fmla="*/ 324 w 452"/>
                <a:gd name="T93" fmla="*/ 350 h 446"/>
                <a:gd name="T94" fmla="*/ 338 w 452"/>
                <a:gd name="T95" fmla="*/ 350 h 446"/>
                <a:gd name="T96" fmla="*/ 336 w 452"/>
                <a:gd name="T97" fmla="*/ 345 h 446"/>
                <a:gd name="T98" fmla="*/ 347 w 452"/>
                <a:gd name="T99" fmla="*/ 342 h 446"/>
                <a:gd name="T100" fmla="*/ 346 w 452"/>
                <a:gd name="T101" fmla="*/ 331 h 446"/>
                <a:gd name="T102" fmla="*/ 357 w 452"/>
                <a:gd name="T103" fmla="*/ 329 h 446"/>
                <a:gd name="T104" fmla="*/ 367 w 452"/>
                <a:gd name="T105" fmla="*/ 329 h 446"/>
                <a:gd name="T106" fmla="*/ 395 w 452"/>
                <a:gd name="T107" fmla="*/ 314 h 446"/>
                <a:gd name="T108" fmla="*/ 403 w 452"/>
                <a:gd name="T109" fmla="*/ 305 h 446"/>
                <a:gd name="T110" fmla="*/ 403 w 452"/>
                <a:gd name="T111" fmla="*/ 296 h 446"/>
                <a:gd name="T112" fmla="*/ 410 w 452"/>
                <a:gd name="T113" fmla="*/ 286 h 446"/>
                <a:gd name="T114" fmla="*/ 412 w 452"/>
                <a:gd name="T115" fmla="*/ 299 h 446"/>
                <a:gd name="T116" fmla="*/ 439 w 452"/>
                <a:gd name="T117" fmla="*/ 288 h 446"/>
                <a:gd name="T118" fmla="*/ 447 w 452"/>
                <a:gd name="T119" fmla="*/ 268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2" h="446">
                  <a:moveTo>
                    <a:pt x="446" y="253"/>
                  </a:moveTo>
                  <a:lnTo>
                    <a:pt x="448" y="245"/>
                  </a:lnTo>
                  <a:lnTo>
                    <a:pt x="452" y="240"/>
                  </a:lnTo>
                  <a:lnTo>
                    <a:pt x="450" y="234"/>
                  </a:lnTo>
                  <a:lnTo>
                    <a:pt x="448" y="226"/>
                  </a:lnTo>
                  <a:lnTo>
                    <a:pt x="447" y="223"/>
                  </a:lnTo>
                  <a:lnTo>
                    <a:pt x="447" y="217"/>
                  </a:lnTo>
                  <a:lnTo>
                    <a:pt x="446" y="215"/>
                  </a:lnTo>
                  <a:lnTo>
                    <a:pt x="442" y="206"/>
                  </a:lnTo>
                  <a:lnTo>
                    <a:pt x="442" y="204"/>
                  </a:lnTo>
                  <a:lnTo>
                    <a:pt x="435" y="198"/>
                  </a:lnTo>
                  <a:lnTo>
                    <a:pt x="435" y="131"/>
                  </a:lnTo>
                  <a:lnTo>
                    <a:pt x="425" y="130"/>
                  </a:lnTo>
                  <a:lnTo>
                    <a:pt x="423" y="132"/>
                  </a:lnTo>
                  <a:lnTo>
                    <a:pt x="420" y="131"/>
                  </a:lnTo>
                  <a:lnTo>
                    <a:pt x="417" y="128"/>
                  </a:lnTo>
                  <a:lnTo>
                    <a:pt x="413" y="126"/>
                  </a:lnTo>
                  <a:lnTo>
                    <a:pt x="408" y="126"/>
                  </a:lnTo>
                  <a:lnTo>
                    <a:pt x="402" y="122"/>
                  </a:lnTo>
                  <a:lnTo>
                    <a:pt x="398" y="117"/>
                  </a:lnTo>
                  <a:lnTo>
                    <a:pt x="393" y="116"/>
                  </a:lnTo>
                  <a:lnTo>
                    <a:pt x="385" y="118"/>
                  </a:lnTo>
                  <a:lnTo>
                    <a:pt x="383" y="117"/>
                  </a:lnTo>
                  <a:lnTo>
                    <a:pt x="378" y="116"/>
                  </a:lnTo>
                  <a:lnTo>
                    <a:pt x="374" y="119"/>
                  </a:lnTo>
                  <a:lnTo>
                    <a:pt x="372" y="120"/>
                  </a:lnTo>
                  <a:lnTo>
                    <a:pt x="369" y="118"/>
                  </a:lnTo>
                  <a:lnTo>
                    <a:pt x="365" y="118"/>
                  </a:lnTo>
                  <a:lnTo>
                    <a:pt x="363" y="121"/>
                  </a:lnTo>
                  <a:lnTo>
                    <a:pt x="358" y="124"/>
                  </a:lnTo>
                  <a:lnTo>
                    <a:pt x="354" y="125"/>
                  </a:lnTo>
                  <a:lnTo>
                    <a:pt x="352" y="122"/>
                  </a:lnTo>
                  <a:lnTo>
                    <a:pt x="349" y="119"/>
                  </a:lnTo>
                  <a:lnTo>
                    <a:pt x="341" y="120"/>
                  </a:lnTo>
                  <a:lnTo>
                    <a:pt x="336" y="117"/>
                  </a:lnTo>
                  <a:lnTo>
                    <a:pt x="332" y="118"/>
                  </a:lnTo>
                  <a:lnTo>
                    <a:pt x="330" y="122"/>
                  </a:lnTo>
                  <a:lnTo>
                    <a:pt x="328" y="123"/>
                  </a:lnTo>
                  <a:lnTo>
                    <a:pt x="327" y="118"/>
                  </a:lnTo>
                  <a:lnTo>
                    <a:pt x="325" y="116"/>
                  </a:lnTo>
                  <a:lnTo>
                    <a:pt x="319" y="120"/>
                  </a:lnTo>
                  <a:lnTo>
                    <a:pt x="318" y="116"/>
                  </a:lnTo>
                  <a:lnTo>
                    <a:pt x="312" y="112"/>
                  </a:lnTo>
                  <a:lnTo>
                    <a:pt x="310" y="112"/>
                  </a:lnTo>
                  <a:lnTo>
                    <a:pt x="308" y="115"/>
                  </a:lnTo>
                  <a:lnTo>
                    <a:pt x="305" y="117"/>
                  </a:lnTo>
                  <a:lnTo>
                    <a:pt x="302" y="116"/>
                  </a:lnTo>
                  <a:lnTo>
                    <a:pt x="301" y="111"/>
                  </a:lnTo>
                  <a:lnTo>
                    <a:pt x="298" y="111"/>
                  </a:lnTo>
                  <a:lnTo>
                    <a:pt x="295" y="105"/>
                  </a:lnTo>
                  <a:lnTo>
                    <a:pt x="287" y="105"/>
                  </a:lnTo>
                  <a:lnTo>
                    <a:pt x="284" y="107"/>
                  </a:lnTo>
                  <a:lnTo>
                    <a:pt x="281" y="104"/>
                  </a:lnTo>
                  <a:lnTo>
                    <a:pt x="280" y="104"/>
                  </a:lnTo>
                  <a:lnTo>
                    <a:pt x="275" y="105"/>
                  </a:lnTo>
                  <a:lnTo>
                    <a:pt x="269" y="101"/>
                  </a:lnTo>
                  <a:lnTo>
                    <a:pt x="261" y="101"/>
                  </a:lnTo>
                  <a:lnTo>
                    <a:pt x="259" y="94"/>
                  </a:lnTo>
                  <a:lnTo>
                    <a:pt x="255" y="92"/>
                  </a:lnTo>
                  <a:lnTo>
                    <a:pt x="253" y="93"/>
                  </a:lnTo>
                  <a:lnTo>
                    <a:pt x="250" y="92"/>
                  </a:lnTo>
                  <a:lnTo>
                    <a:pt x="247" y="93"/>
                  </a:lnTo>
                  <a:lnTo>
                    <a:pt x="244" y="93"/>
                  </a:lnTo>
                  <a:lnTo>
                    <a:pt x="242" y="90"/>
                  </a:lnTo>
                  <a:lnTo>
                    <a:pt x="235" y="83"/>
                  </a:lnTo>
                  <a:lnTo>
                    <a:pt x="239" y="6"/>
                  </a:lnTo>
                  <a:lnTo>
                    <a:pt x="139" y="0"/>
                  </a:lnTo>
                  <a:lnTo>
                    <a:pt x="125" y="182"/>
                  </a:lnTo>
                  <a:lnTo>
                    <a:pt x="6" y="171"/>
                  </a:lnTo>
                  <a:lnTo>
                    <a:pt x="5" y="180"/>
                  </a:lnTo>
                  <a:lnTo>
                    <a:pt x="0" y="180"/>
                  </a:lnTo>
                  <a:lnTo>
                    <a:pt x="2" y="183"/>
                  </a:lnTo>
                  <a:lnTo>
                    <a:pt x="7" y="186"/>
                  </a:lnTo>
                  <a:lnTo>
                    <a:pt x="10" y="190"/>
                  </a:lnTo>
                  <a:lnTo>
                    <a:pt x="11" y="193"/>
                  </a:lnTo>
                  <a:lnTo>
                    <a:pt x="13" y="197"/>
                  </a:lnTo>
                  <a:lnTo>
                    <a:pt x="15" y="198"/>
                  </a:lnTo>
                  <a:lnTo>
                    <a:pt x="18" y="200"/>
                  </a:lnTo>
                  <a:lnTo>
                    <a:pt x="21" y="202"/>
                  </a:lnTo>
                  <a:lnTo>
                    <a:pt x="22" y="205"/>
                  </a:lnTo>
                  <a:lnTo>
                    <a:pt x="26" y="210"/>
                  </a:lnTo>
                  <a:lnTo>
                    <a:pt x="30" y="213"/>
                  </a:lnTo>
                  <a:lnTo>
                    <a:pt x="38" y="224"/>
                  </a:lnTo>
                  <a:lnTo>
                    <a:pt x="41" y="224"/>
                  </a:lnTo>
                  <a:lnTo>
                    <a:pt x="44" y="227"/>
                  </a:lnTo>
                  <a:lnTo>
                    <a:pt x="48" y="230"/>
                  </a:lnTo>
                  <a:lnTo>
                    <a:pt x="53" y="234"/>
                  </a:lnTo>
                  <a:lnTo>
                    <a:pt x="55" y="238"/>
                  </a:lnTo>
                  <a:lnTo>
                    <a:pt x="55" y="245"/>
                  </a:lnTo>
                  <a:lnTo>
                    <a:pt x="59" y="251"/>
                  </a:lnTo>
                  <a:lnTo>
                    <a:pt x="60" y="255"/>
                  </a:lnTo>
                  <a:lnTo>
                    <a:pt x="59" y="259"/>
                  </a:lnTo>
                  <a:lnTo>
                    <a:pt x="59" y="264"/>
                  </a:lnTo>
                  <a:lnTo>
                    <a:pt x="60" y="270"/>
                  </a:lnTo>
                  <a:lnTo>
                    <a:pt x="65" y="275"/>
                  </a:lnTo>
                  <a:lnTo>
                    <a:pt x="66" y="278"/>
                  </a:lnTo>
                  <a:lnTo>
                    <a:pt x="67" y="279"/>
                  </a:lnTo>
                  <a:lnTo>
                    <a:pt x="69" y="281"/>
                  </a:lnTo>
                  <a:lnTo>
                    <a:pt x="71" y="283"/>
                  </a:lnTo>
                  <a:lnTo>
                    <a:pt x="74" y="286"/>
                  </a:lnTo>
                  <a:lnTo>
                    <a:pt x="78" y="289"/>
                  </a:lnTo>
                  <a:lnTo>
                    <a:pt x="81" y="292"/>
                  </a:lnTo>
                  <a:lnTo>
                    <a:pt x="84" y="293"/>
                  </a:lnTo>
                  <a:lnTo>
                    <a:pt x="88" y="296"/>
                  </a:lnTo>
                  <a:lnTo>
                    <a:pt x="94" y="299"/>
                  </a:lnTo>
                  <a:lnTo>
                    <a:pt x="101" y="304"/>
                  </a:lnTo>
                  <a:lnTo>
                    <a:pt x="104" y="305"/>
                  </a:lnTo>
                  <a:lnTo>
                    <a:pt x="109" y="307"/>
                  </a:lnTo>
                  <a:lnTo>
                    <a:pt x="113" y="307"/>
                  </a:lnTo>
                  <a:lnTo>
                    <a:pt x="115" y="303"/>
                  </a:lnTo>
                  <a:lnTo>
                    <a:pt x="118" y="300"/>
                  </a:lnTo>
                  <a:lnTo>
                    <a:pt x="120" y="298"/>
                  </a:lnTo>
                  <a:lnTo>
                    <a:pt x="123" y="297"/>
                  </a:lnTo>
                  <a:lnTo>
                    <a:pt x="123" y="292"/>
                  </a:lnTo>
                  <a:lnTo>
                    <a:pt x="125" y="288"/>
                  </a:lnTo>
                  <a:lnTo>
                    <a:pt x="127" y="283"/>
                  </a:lnTo>
                  <a:lnTo>
                    <a:pt x="132" y="277"/>
                  </a:lnTo>
                  <a:lnTo>
                    <a:pt x="139" y="276"/>
                  </a:lnTo>
                  <a:lnTo>
                    <a:pt x="143" y="275"/>
                  </a:lnTo>
                  <a:lnTo>
                    <a:pt x="148" y="275"/>
                  </a:lnTo>
                  <a:lnTo>
                    <a:pt x="153" y="277"/>
                  </a:lnTo>
                  <a:lnTo>
                    <a:pt x="159" y="278"/>
                  </a:lnTo>
                  <a:lnTo>
                    <a:pt x="162" y="278"/>
                  </a:lnTo>
                  <a:lnTo>
                    <a:pt x="170" y="279"/>
                  </a:lnTo>
                  <a:lnTo>
                    <a:pt x="173" y="281"/>
                  </a:lnTo>
                  <a:lnTo>
                    <a:pt x="176" y="287"/>
                  </a:lnTo>
                  <a:lnTo>
                    <a:pt x="178" y="287"/>
                  </a:lnTo>
                  <a:lnTo>
                    <a:pt x="183" y="292"/>
                  </a:lnTo>
                  <a:lnTo>
                    <a:pt x="187" y="294"/>
                  </a:lnTo>
                  <a:lnTo>
                    <a:pt x="190" y="300"/>
                  </a:lnTo>
                  <a:lnTo>
                    <a:pt x="196" y="308"/>
                  </a:lnTo>
                  <a:lnTo>
                    <a:pt x="200" y="320"/>
                  </a:lnTo>
                  <a:lnTo>
                    <a:pt x="203" y="324"/>
                  </a:lnTo>
                  <a:lnTo>
                    <a:pt x="207" y="332"/>
                  </a:lnTo>
                  <a:lnTo>
                    <a:pt x="207" y="335"/>
                  </a:lnTo>
                  <a:lnTo>
                    <a:pt x="210" y="343"/>
                  </a:lnTo>
                  <a:lnTo>
                    <a:pt x="218" y="350"/>
                  </a:lnTo>
                  <a:lnTo>
                    <a:pt x="220" y="358"/>
                  </a:lnTo>
                  <a:lnTo>
                    <a:pt x="230" y="370"/>
                  </a:lnTo>
                  <a:lnTo>
                    <a:pt x="235" y="372"/>
                  </a:lnTo>
                  <a:lnTo>
                    <a:pt x="234" y="381"/>
                  </a:lnTo>
                  <a:lnTo>
                    <a:pt x="232" y="383"/>
                  </a:lnTo>
                  <a:lnTo>
                    <a:pt x="234" y="385"/>
                  </a:lnTo>
                  <a:lnTo>
                    <a:pt x="237" y="388"/>
                  </a:lnTo>
                  <a:lnTo>
                    <a:pt x="237" y="394"/>
                  </a:lnTo>
                  <a:lnTo>
                    <a:pt x="243" y="405"/>
                  </a:lnTo>
                  <a:lnTo>
                    <a:pt x="246" y="411"/>
                  </a:lnTo>
                  <a:lnTo>
                    <a:pt x="249" y="416"/>
                  </a:lnTo>
                  <a:lnTo>
                    <a:pt x="251" y="421"/>
                  </a:lnTo>
                  <a:lnTo>
                    <a:pt x="259" y="422"/>
                  </a:lnTo>
                  <a:lnTo>
                    <a:pt x="264" y="427"/>
                  </a:lnTo>
                  <a:lnTo>
                    <a:pt x="273" y="427"/>
                  </a:lnTo>
                  <a:lnTo>
                    <a:pt x="280" y="434"/>
                  </a:lnTo>
                  <a:lnTo>
                    <a:pt x="284" y="434"/>
                  </a:lnTo>
                  <a:lnTo>
                    <a:pt x="286" y="437"/>
                  </a:lnTo>
                  <a:lnTo>
                    <a:pt x="291" y="438"/>
                  </a:lnTo>
                  <a:lnTo>
                    <a:pt x="292" y="436"/>
                  </a:lnTo>
                  <a:lnTo>
                    <a:pt x="302" y="438"/>
                  </a:lnTo>
                  <a:lnTo>
                    <a:pt x="302" y="439"/>
                  </a:lnTo>
                  <a:lnTo>
                    <a:pt x="305" y="442"/>
                  </a:lnTo>
                  <a:lnTo>
                    <a:pt x="310" y="446"/>
                  </a:lnTo>
                  <a:lnTo>
                    <a:pt x="313" y="444"/>
                  </a:lnTo>
                  <a:lnTo>
                    <a:pt x="314" y="442"/>
                  </a:lnTo>
                  <a:lnTo>
                    <a:pt x="321" y="441"/>
                  </a:lnTo>
                  <a:lnTo>
                    <a:pt x="319" y="436"/>
                  </a:lnTo>
                  <a:lnTo>
                    <a:pt x="319" y="433"/>
                  </a:lnTo>
                  <a:lnTo>
                    <a:pt x="318" y="429"/>
                  </a:lnTo>
                  <a:lnTo>
                    <a:pt x="317" y="425"/>
                  </a:lnTo>
                  <a:lnTo>
                    <a:pt x="314" y="423"/>
                  </a:lnTo>
                  <a:lnTo>
                    <a:pt x="312" y="417"/>
                  </a:lnTo>
                  <a:lnTo>
                    <a:pt x="311" y="411"/>
                  </a:lnTo>
                  <a:lnTo>
                    <a:pt x="308" y="404"/>
                  </a:lnTo>
                  <a:lnTo>
                    <a:pt x="308" y="398"/>
                  </a:lnTo>
                  <a:lnTo>
                    <a:pt x="311" y="389"/>
                  </a:lnTo>
                  <a:lnTo>
                    <a:pt x="314" y="380"/>
                  </a:lnTo>
                  <a:lnTo>
                    <a:pt x="318" y="370"/>
                  </a:lnTo>
                  <a:lnTo>
                    <a:pt x="317" y="368"/>
                  </a:lnTo>
                  <a:lnTo>
                    <a:pt x="314" y="366"/>
                  </a:lnTo>
                  <a:lnTo>
                    <a:pt x="311" y="363"/>
                  </a:lnTo>
                  <a:lnTo>
                    <a:pt x="311" y="361"/>
                  </a:lnTo>
                  <a:lnTo>
                    <a:pt x="313" y="362"/>
                  </a:lnTo>
                  <a:lnTo>
                    <a:pt x="322" y="361"/>
                  </a:lnTo>
                  <a:lnTo>
                    <a:pt x="323" y="361"/>
                  </a:lnTo>
                  <a:lnTo>
                    <a:pt x="326" y="355"/>
                  </a:lnTo>
                  <a:lnTo>
                    <a:pt x="323" y="355"/>
                  </a:lnTo>
                  <a:lnTo>
                    <a:pt x="322" y="353"/>
                  </a:lnTo>
                  <a:lnTo>
                    <a:pt x="322" y="351"/>
                  </a:lnTo>
                  <a:lnTo>
                    <a:pt x="324" y="350"/>
                  </a:lnTo>
                  <a:lnTo>
                    <a:pt x="328" y="350"/>
                  </a:lnTo>
                  <a:lnTo>
                    <a:pt x="333" y="350"/>
                  </a:lnTo>
                  <a:lnTo>
                    <a:pt x="335" y="351"/>
                  </a:lnTo>
                  <a:lnTo>
                    <a:pt x="338" y="350"/>
                  </a:lnTo>
                  <a:lnTo>
                    <a:pt x="343" y="346"/>
                  </a:lnTo>
                  <a:lnTo>
                    <a:pt x="341" y="346"/>
                  </a:lnTo>
                  <a:lnTo>
                    <a:pt x="337" y="349"/>
                  </a:lnTo>
                  <a:lnTo>
                    <a:pt x="336" y="345"/>
                  </a:lnTo>
                  <a:lnTo>
                    <a:pt x="338" y="339"/>
                  </a:lnTo>
                  <a:lnTo>
                    <a:pt x="340" y="341"/>
                  </a:lnTo>
                  <a:lnTo>
                    <a:pt x="342" y="342"/>
                  </a:lnTo>
                  <a:lnTo>
                    <a:pt x="347" y="342"/>
                  </a:lnTo>
                  <a:lnTo>
                    <a:pt x="349" y="340"/>
                  </a:lnTo>
                  <a:lnTo>
                    <a:pt x="348" y="336"/>
                  </a:lnTo>
                  <a:lnTo>
                    <a:pt x="345" y="332"/>
                  </a:lnTo>
                  <a:lnTo>
                    <a:pt x="346" y="331"/>
                  </a:lnTo>
                  <a:lnTo>
                    <a:pt x="349" y="331"/>
                  </a:lnTo>
                  <a:lnTo>
                    <a:pt x="352" y="329"/>
                  </a:lnTo>
                  <a:lnTo>
                    <a:pt x="354" y="331"/>
                  </a:lnTo>
                  <a:lnTo>
                    <a:pt x="357" y="329"/>
                  </a:lnTo>
                  <a:lnTo>
                    <a:pt x="358" y="331"/>
                  </a:lnTo>
                  <a:lnTo>
                    <a:pt x="361" y="333"/>
                  </a:lnTo>
                  <a:lnTo>
                    <a:pt x="364" y="331"/>
                  </a:lnTo>
                  <a:lnTo>
                    <a:pt x="367" y="329"/>
                  </a:lnTo>
                  <a:lnTo>
                    <a:pt x="374" y="327"/>
                  </a:lnTo>
                  <a:lnTo>
                    <a:pt x="381" y="326"/>
                  </a:lnTo>
                  <a:lnTo>
                    <a:pt x="392" y="320"/>
                  </a:lnTo>
                  <a:lnTo>
                    <a:pt x="395" y="314"/>
                  </a:lnTo>
                  <a:lnTo>
                    <a:pt x="396" y="309"/>
                  </a:lnTo>
                  <a:lnTo>
                    <a:pt x="399" y="307"/>
                  </a:lnTo>
                  <a:lnTo>
                    <a:pt x="402" y="306"/>
                  </a:lnTo>
                  <a:lnTo>
                    <a:pt x="403" y="305"/>
                  </a:lnTo>
                  <a:lnTo>
                    <a:pt x="406" y="303"/>
                  </a:lnTo>
                  <a:lnTo>
                    <a:pt x="405" y="300"/>
                  </a:lnTo>
                  <a:lnTo>
                    <a:pt x="404" y="297"/>
                  </a:lnTo>
                  <a:lnTo>
                    <a:pt x="403" y="296"/>
                  </a:lnTo>
                  <a:lnTo>
                    <a:pt x="402" y="294"/>
                  </a:lnTo>
                  <a:lnTo>
                    <a:pt x="403" y="291"/>
                  </a:lnTo>
                  <a:lnTo>
                    <a:pt x="407" y="288"/>
                  </a:lnTo>
                  <a:lnTo>
                    <a:pt x="410" y="286"/>
                  </a:lnTo>
                  <a:lnTo>
                    <a:pt x="412" y="286"/>
                  </a:lnTo>
                  <a:lnTo>
                    <a:pt x="412" y="289"/>
                  </a:lnTo>
                  <a:lnTo>
                    <a:pt x="412" y="293"/>
                  </a:lnTo>
                  <a:lnTo>
                    <a:pt x="412" y="299"/>
                  </a:lnTo>
                  <a:lnTo>
                    <a:pt x="413" y="300"/>
                  </a:lnTo>
                  <a:lnTo>
                    <a:pt x="419" y="295"/>
                  </a:lnTo>
                  <a:lnTo>
                    <a:pt x="424" y="294"/>
                  </a:lnTo>
                  <a:lnTo>
                    <a:pt x="439" y="288"/>
                  </a:lnTo>
                  <a:lnTo>
                    <a:pt x="441" y="287"/>
                  </a:lnTo>
                  <a:lnTo>
                    <a:pt x="444" y="282"/>
                  </a:lnTo>
                  <a:lnTo>
                    <a:pt x="447" y="272"/>
                  </a:lnTo>
                  <a:lnTo>
                    <a:pt x="447" y="268"/>
                  </a:lnTo>
                  <a:lnTo>
                    <a:pt x="444" y="261"/>
                  </a:lnTo>
                  <a:lnTo>
                    <a:pt x="446" y="256"/>
                  </a:lnTo>
                  <a:lnTo>
                    <a:pt x="446" y="253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5613603" y="2574622"/>
              <a:ext cx="369330" cy="435102"/>
            </a:xfrm>
            <a:custGeom>
              <a:avLst/>
              <a:gdLst>
                <a:gd name="T0" fmla="*/ 73 w 259"/>
                <a:gd name="T1" fmla="*/ 0 h 304"/>
                <a:gd name="T2" fmla="*/ 68 w 259"/>
                <a:gd name="T3" fmla="*/ 25 h 304"/>
                <a:gd name="T4" fmla="*/ 62 w 259"/>
                <a:gd name="T5" fmla="*/ 43 h 304"/>
                <a:gd name="T6" fmla="*/ 59 w 259"/>
                <a:gd name="T7" fmla="*/ 45 h 304"/>
                <a:gd name="T8" fmla="*/ 56 w 259"/>
                <a:gd name="T9" fmla="*/ 43 h 304"/>
                <a:gd name="T10" fmla="*/ 51 w 259"/>
                <a:gd name="T11" fmla="*/ 39 h 304"/>
                <a:gd name="T12" fmla="*/ 47 w 259"/>
                <a:gd name="T13" fmla="*/ 41 h 304"/>
                <a:gd name="T14" fmla="*/ 45 w 259"/>
                <a:gd name="T15" fmla="*/ 37 h 304"/>
                <a:gd name="T16" fmla="*/ 38 w 259"/>
                <a:gd name="T17" fmla="*/ 39 h 304"/>
                <a:gd name="T18" fmla="*/ 35 w 259"/>
                <a:gd name="T19" fmla="*/ 42 h 304"/>
                <a:gd name="T20" fmla="*/ 35 w 259"/>
                <a:gd name="T21" fmla="*/ 53 h 304"/>
                <a:gd name="T22" fmla="*/ 35 w 259"/>
                <a:gd name="T23" fmla="*/ 67 h 304"/>
                <a:gd name="T24" fmla="*/ 35 w 259"/>
                <a:gd name="T25" fmla="*/ 80 h 304"/>
                <a:gd name="T26" fmla="*/ 34 w 259"/>
                <a:gd name="T27" fmla="*/ 84 h 304"/>
                <a:gd name="T28" fmla="*/ 31 w 259"/>
                <a:gd name="T29" fmla="*/ 89 h 304"/>
                <a:gd name="T30" fmla="*/ 30 w 259"/>
                <a:gd name="T31" fmla="*/ 94 h 304"/>
                <a:gd name="T32" fmla="*/ 30 w 259"/>
                <a:gd name="T33" fmla="*/ 101 h 304"/>
                <a:gd name="T34" fmla="*/ 34 w 259"/>
                <a:gd name="T35" fmla="*/ 110 h 304"/>
                <a:gd name="T36" fmla="*/ 35 w 259"/>
                <a:gd name="T37" fmla="*/ 119 h 304"/>
                <a:gd name="T38" fmla="*/ 37 w 259"/>
                <a:gd name="T39" fmla="*/ 122 h 304"/>
                <a:gd name="T40" fmla="*/ 42 w 259"/>
                <a:gd name="T41" fmla="*/ 128 h 304"/>
                <a:gd name="T42" fmla="*/ 39 w 259"/>
                <a:gd name="T43" fmla="*/ 130 h 304"/>
                <a:gd name="T44" fmla="*/ 34 w 259"/>
                <a:gd name="T45" fmla="*/ 134 h 304"/>
                <a:gd name="T46" fmla="*/ 24 w 259"/>
                <a:gd name="T47" fmla="*/ 141 h 304"/>
                <a:gd name="T48" fmla="*/ 21 w 259"/>
                <a:gd name="T49" fmla="*/ 154 h 304"/>
                <a:gd name="T50" fmla="*/ 17 w 259"/>
                <a:gd name="T51" fmla="*/ 162 h 304"/>
                <a:gd name="T52" fmla="*/ 13 w 259"/>
                <a:gd name="T53" fmla="*/ 166 h 304"/>
                <a:gd name="T54" fmla="*/ 11 w 259"/>
                <a:gd name="T55" fmla="*/ 167 h 304"/>
                <a:gd name="T56" fmla="*/ 9 w 259"/>
                <a:gd name="T57" fmla="*/ 171 h 304"/>
                <a:gd name="T58" fmla="*/ 10 w 259"/>
                <a:gd name="T59" fmla="*/ 178 h 304"/>
                <a:gd name="T60" fmla="*/ 9 w 259"/>
                <a:gd name="T61" fmla="*/ 183 h 304"/>
                <a:gd name="T62" fmla="*/ 15 w 259"/>
                <a:gd name="T63" fmla="*/ 188 h 304"/>
                <a:gd name="T64" fmla="*/ 13 w 259"/>
                <a:gd name="T65" fmla="*/ 192 h 304"/>
                <a:gd name="T66" fmla="*/ 5 w 259"/>
                <a:gd name="T67" fmla="*/ 196 h 304"/>
                <a:gd name="T68" fmla="*/ 3 w 259"/>
                <a:gd name="T69" fmla="*/ 200 h 304"/>
                <a:gd name="T70" fmla="*/ 0 w 259"/>
                <a:gd name="T71" fmla="*/ 206 h 304"/>
                <a:gd name="T72" fmla="*/ 139 w 259"/>
                <a:gd name="T73" fmla="*/ 291 h 304"/>
                <a:gd name="T74" fmla="*/ 182 w 259"/>
                <a:gd name="T75" fmla="*/ 299 h 304"/>
                <a:gd name="T76" fmla="*/ 218 w 259"/>
                <a:gd name="T77" fmla="*/ 304 h 304"/>
                <a:gd name="T78" fmla="*/ 219 w 259"/>
                <a:gd name="T79" fmla="*/ 304 h 304"/>
                <a:gd name="T80" fmla="*/ 259 w 259"/>
                <a:gd name="T81" fmla="*/ 33 h 304"/>
                <a:gd name="T82" fmla="*/ 73 w 259"/>
                <a:gd name="T83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9" h="304">
                  <a:moveTo>
                    <a:pt x="73" y="0"/>
                  </a:moveTo>
                  <a:cubicBezTo>
                    <a:pt x="73" y="0"/>
                    <a:pt x="69" y="19"/>
                    <a:pt x="68" y="25"/>
                  </a:cubicBezTo>
                  <a:cubicBezTo>
                    <a:pt x="66" y="29"/>
                    <a:pt x="62" y="43"/>
                    <a:pt x="62" y="43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39" y="130"/>
                    <a:pt x="39" y="130"/>
                    <a:pt x="39" y="130"/>
                  </a:cubicBezTo>
                  <a:cubicBezTo>
                    <a:pt x="34" y="134"/>
                    <a:pt x="34" y="134"/>
                    <a:pt x="34" y="134"/>
                  </a:cubicBezTo>
                  <a:cubicBezTo>
                    <a:pt x="24" y="141"/>
                    <a:pt x="24" y="141"/>
                    <a:pt x="24" y="141"/>
                  </a:cubicBezTo>
                  <a:cubicBezTo>
                    <a:pt x="21" y="154"/>
                    <a:pt x="21" y="154"/>
                    <a:pt x="21" y="154"/>
                  </a:cubicBezTo>
                  <a:cubicBezTo>
                    <a:pt x="17" y="162"/>
                    <a:pt x="17" y="162"/>
                    <a:pt x="17" y="162"/>
                  </a:cubicBezTo>
                  <a:cubicBezTo>
                    <a:pt x="13" y="166"/>
                    <a:pt x="13" y="166"/>
                    <a:pt x="13" y="166"/>
                  </a:cubicBezTo>
                  <a:cubicBezTo>
                    <a:pt x="11" y="167"/>
                    <a:pt x="11" y="167"/>
                    <a:pt x="11" y="167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8"/>
                    <a:pt x="10" y="178"/>
                    <a:pt x="10" y="178"/>
                  </a:cubicBezTo>
                  <a:cubicBezTo>
                    <a:pt x="9" y="183"/>
                    <a:pt x="9" y="183"/>
                    <a:pt x="9" y="183"/>
                  </a:cubicBezTo>
                  <a:cubicBezTo>
                    <a:pt x="15" y="188"/>
                    <a:pt x="15" y="188"/>
                    <a:pt x="15" y="188"/>
                  </a:cubicBezTo>
                  <a:cubicBezTo>
                    <a:pt x="13" y="192"/>
                    <a:pt x="13" y="192"/>
                    <a:pt x="13" y="192"/>
                  </a:cubicBezTo>
                  <a:cubicBezTo>
                    <a:pt x="5" y="196"/>
                    <a:pt x="5" y="196"/>
                    <a:pt x="5" y="196"/>
                  </a:cubicBezTo>
                  <a:cubicBezTo>
                    <a:pt x="3" y="200"/>
                    <a:pt x="3" y="200"/>
                    <a:pt x="3" y="200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139" y="291"/>
                    <a:pt x="139" y="291"/>
                    <a:pt x="139" y="291"/>
                  </a:cubicBezTo>
                  <a:cubicBezTo>
                    <a:pt x="182" y="299"/>
                    <a:pt x="182" y="299"/>
                    <a:pt x="182" y="299"/>
                  </a:cubicBezTo>
                  <a:cubicBezTo>
                    <a:pt x="218" y="304"/>
                    <a:pt x="218" y="304"/>
                    <a:pt x="218" y="304"/>
                  </a:cubicBezTo>
                  <a:cubicBezTo>
                    <a:pt x="219" y="304"/>
                    <a:pt x="219" y="304"/>
                    <a:pt x="219" y="304"/>
                  </a:cubicBezTo>
                  <a:cubicBezTo>
                    <a:pt x="259" y="33"/>
                    <a:pt x="259" y="33"/>
                    <a:pt x="259" y="33"/>
                  </a:cubicBezTo>
                  <a:lnTo>
                    <a:pt x="73" y="0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5239213" y="2105792"/>
              <a:ext cx="433415" cy="750468"/>
            </a:xfrm>
            <a:custGeom>
              <a:avLst/>
              <a:gdLst>
                <a:gd name="T0" fmla="*/ 229 w 257"/>
                <a:gd name="T1" fmla="*/ 433 h 445"/>
                <a:gd name="T2" fmla="*/ 231 w 257"/>
                <a:gd name="T3" fmla="*/ 420 h 445"/>
                <a:gd name="T4" fmla="*/ 239 w 257"/>
                <a:gd name="T5" fmla="*/ 409 h 445"/>
                <a:gd name="T6" fmla="*/ 255 w 257"/>
                <a:gd name="T7" fmla="*/ 388 h 445"/>
                <a:gd name="T8" fmla="*/ 251 w 257"/>
                <a:gd name="T9" fmla="*/ 379 h 445"/>
                <a:gd name="T10" fmla="*/ 247 w 257"/>
                <a:gd name="T11" fmla="*/ 358 h 445"/>
                <a:gd name="T12" fmla="*/ 118 w 257"/>
                <a:gd name="T13" fmla="*/ 158 h 445"/>
                <a:gd name="T14" fmla="*/ 113 w 257"/>
                <a:gd name="T15" fmla="*/ 153 h 445"/>
                <a:gd name="T16" fmla="*/ 117 w 257"/>
                <a:gd name="T17" fmla="*/ 146 h 445"/>
                <a:gd name="T18" fmla="*/ 26 w 257"/>
                <a:gd name="T19" fmla="*/ 0 h 445"/>
                <a:gd name="T20" fmla="*/ 23 w 257"/>
                <a:gd name="T21" fmla="*/ 9 h 445"/>
                <a:gd name="T22" fmla="*/ 22 w 257"/>
                <a:gd name="T23" fmla="*/ 25 h 445"/>
                <a:gd name="T24" fmla="*/ 17 w 257"/>
                <a:gd name="T25" fmla="*/ 34 h 445"/>
                <a:gd name="T26" fmla="*/ 7 w 257"/>
                <a:gd name="T27" fmla="*/ 50 h 445"/>
                <a:gd name="T28" fmla="*/ 0 w 257"/>
                <a:gd name="T29" fmla="*/ 62 h 445"/>
                <a:gd name="T30" fmla="*/ 3 w 257"/>
                <a:gd name="T31" fmla="*/ 75 h 445"/>
                <a:gd name="T32" fmla="*/ 9 w 257"/>
                <a:gd name="T33" fmla="*/ 90 h 445"/>
                <a:gd name="T34" fmla="*/ 5 w 257"/>
                <a:gd name="T35" fmla="*/ 110 h 445"/>
                <a:gd name="T36" fmla="*/ 2 w 257"/>
                <a:gd name="T37" fmla="*/ 122 h 445"/>
                <a:gd name="T38" fmla="*/ 11 w 257"/>
                <a:gd name="T39" fmla="*/ 145 h 445"/>
                <a:gd name="T40" fmla="*/ 17 w 257"/>
                <a:gd name="T41" fmla="*/ 161 h 445"/>
                <a:gd name="T42" fmla="*/ 14 w 257"/>
                <a:gd name="T43" fmla="*/ 169 h 445"/>
                <a:gd name="T44" fmla="*/ 23 w 257"/>
                <a:gd name="T45" fmla="*/ 176 h 445"/>
                <a:gd name="T46" fmla="*/ 29 w 257"/>
                <a:gd name="T47" fmla="*/ 175 h 445"/>
                <a:gd name="T48" fmla="*/ 37 w 257"/>
                <a:gd name="T49" fmla="*/ 172 h 445"/>
                <a:gd name="T50" fmla="*/ 51 w 257"/>
                <a:gd name="T51" fmla="*/ 177 h 445"/>
                <a:gd name="T52" fmla="*/ 49 w 257"/>
                <a:gd name="T53" fmla="*/ 179 h 445"/>
                <a:gd name="T54" fmla="*/ 40 w 257"/>
                <a:gd name="T55" fmla="*/ 176 h 445"/>
                <a:gd name="T56" fmla="*/ 33 w 257"/>
                <a:gd name="T57" fmla="*/ 175 h 445"/>
                <a:gd name="T58" fmla="*/ 35 w 257"/>
                <a:gd name="T59" fmla="*/ 187 h 445"/>
                <a:gd name="T60" fmla="*/ 30 w 257"/>
                <a:gd name="T61" fmla="*/ 192 h 445"/>
                <a:gd name="T62" fmla="*/ 29 w 257"/>
                <a:gd name="T63" fmla="*/ 185 h 445"/>
                <a:gd name="T64" fmla="*/ 24 w 257"/>
                <a:gd name="T65" fmla="*/ 187 h 445"/>
                <a:gd name="T66" fmla="*/ 23 w 257"/>
                <a:gd name="T67" fmla="*/ 204 h 445"/>
                <a:gd name="T68" fmla="*/ 30 w 257"/>
                <a:gd name="T69" fmla="*/ 217 h 445"/>
                <a:gd name="T70" fmla="*/ 35 w 257"/>
                <a:gd name="T71" fmla="*/ 229 h 445"/>
                <a:gd name="T72" fmla="*/ 28 w 257"/>
                <a:gd name="T73" fmla="*/ 234 h 445"/>
                <a:gd name="T74" fmla="*/ 34 w 257"/>
                <a:gd name="T75" fmla="*/ 255 h 445"/>
                <a:gd name="T76" fmla="*/ 42 w 257"/>
                <a:gd name="T77" fmla="*/ 275 h 445"/>
                <a:gd name="T78" fmla="*/ 50 w 257"/>
                <a:gd name="T79" fmla="*/ 288 h 445"/>
                <a:gd name="T80" fmla="*/ 50 w 257"/>
                <a:gd name="T81" fmla="*/ 298 h 445"/>
                <a:gd name="T82" fmla="*/ 53 w 257"/>
                <a:gd name="T83" fmla="*/ 307 h 445"/>
                <a:gd name="T84" fmla="*/ 50 w 257"/>
                <a:gd name="T85" fmla="*/ 327 h 445"/>
                <a:gd name="T86" fmla="*/ 73 w 257"/>
                <a:gd name="T87" fmla="*/ 339 h 445"/>
                <a:gd name="T88" fmla="*/ 91 w 257"/>
                <a:gd name="T89" fmla="*/ 355 h 445"/>
                <a:gd name="T90" fmla="*/ 112 w 257"/>
                <a:gd name="T91" fmla="*/ 374 h 445"/>
                <a:gd name="T92" fmla="*/ 128 w 257"/>
                <a:gd name="T93" fmla="*/ 388 h 445"/>
                <a:gd name="T94" fmla="*/ 143 w 257"/>
                <a:gd name="T95" fmla="*/ 414 h 445"/>
                <a:gd name="T96" fmla="*/ 143 w 257"/>
                <a:gd name="T97" fmla="*/ 434 h 445"/>
                <a:gd name="T98" fmla="*/ 226 w 257"/>
                <a:gd name="T99" fmla="*/ 44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7" h="445">
                  <a:moveTo>
                    <a:pt x="233" y="441"/>
                  </a:moveTo>
                  <a:lnTo>
                    <a:pt x="234" y="438"/>
                  </a:lnTo>
                  <a:lnTo>
                    <a:pt x="229" y="433"/>
                  </a:lnTo>
                  <a:lnTo>
                    <a:pt x="230" y="429"/>
                  </a:lnTo>
                  <a:lnTo>
                    <a:pt x="229" y="423"/>
                  </a:lnTo>
                  <a:lnTo>
                    <a:pt x="231" y="420"/>
                  </a:lnTo>
                  <a:lnTo>
                    <a:pt x="233" y="419"/>
                  </a:lnTo>
                  <a:lnTo>
                    <a:pt x="236" y="416"/>
                  </a:lnTo>
                  <a:lnTo>
                    <a:pt x="239" y="409"/>
                  </a:lnTo>
                  <a:lnTo>
                    <a:pt x="242" y="398"/>
                  </a:lnTo>
                  <a:lnTo>
                    <a:pt x="250" y="392"/>
                  </a:lnTo>
                  <a:lnTo>
                    <a:pt x="255" y="388"/>
                  </a:lnTo>
                  <a:lnTo>
                    <a:pt x="257" y="387"/>
                  </a:lnTo>
                  <a:lnTo>
                    <a:pt x="253" y="382"/>
                  </a:lnTo>
                  <a:lnTo>
                    <a:pt x="251" y="379"/>
                  </a:lnTo>
                  <a:lnTo>
                    <a:pt x="250" y="372"/>
                  </a:lnTo>
                  <a:lnTo>
                    <a:pt x="247" y="364"/>
                  </a:lnTo>
                  <a:lnTo>
                    <a:pt x="247" y="358"/>
                  </a:lnTo>
                  <a:lnTo>
                    <a:pt x="248" y="354"/>
                  </a:lnTo>
                  <a:lnTo>
                    <a:pt x="248" y="353"/>
                  </a:lnTo>
                  <a:lnTo>
                    <a:pt x="118" y="158"/>
                  </a:lnTo>
                  <a:lnTo>
                    <a:pt x="115" y="156"/>
                  </a:lnTo>
                  <a:lnTo>
                    <a:pt x="114" y="155"/>
                  </a:lnTo>
                  <a:lnTo>
                    <a:pt x="113" y="153"/>
                  </a:lnTo>
                  <a:lnTo>
                    <a:pt x="112" y="150"/>
                  </a:lnTo>
                  <a:lnTo>
                    <a:pt x="113" y="147"/>
                  </a:lnTo>
                  <a:lnTo>
                    <a:pt x="117" y="146"/>
                  </a:lnTo>
                  <a:lnTo>
                    <a:pt x="119" y="145"/>
                  </a:lnTo>
                  <a:lnTo>
                    <a:pt x="148" y="35"/>
                  </a:lnTo>
                  <a:lnTo>
                    <a:pt x="26" y="0"/>
                  </a:lnTo>
                  <a:lnTo>
                    <a:pt x="25" y="4"/>
                  </a:lnTo>
                  <a:lnTo>
                    <a:pt x="23" y="5"/>
                  </a:lnTo>
                  <a:lnTo>
                    <a:pt x="23" y="9"/>
                  </a:lnTo>
                  <a:lnTo>
                    <a:pt x="23" y="12"/>
                  </a:lnTo>
                  <a:lnTo>
                    <a:pt x="23" y="21"/>
                  </a:lnTo>
                  <a:lnTo>
                    <a:pt x="22" y="25"/>
                  </a:lnTo>
                  <a:lnTo>
                    <a:pt x="19" y="30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40"/>
                  </a:lnTo>
                  <a:lnTo>
                    <a:pt x="13" y="45"/>
                  </a:lnTo>
                  <a:lnTo>
                    <a:pt x="7" y="50"/>
                  </a:lnTo>
                  <a:lnTo>
                    <a:pt x="2" y="55"/>
                  </a:lnTo>
                  <a:lnTo>
                    <a:pt x="1" y="57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1" y="71"/>
                  </a:lnTo>
                  <a:lnTo>
                    <a:pt x="3" y="75"/>
                  </a:lnTo>
                  <a:lnTo>
                    <a:pt x="7" y="81"/>
                  </a:lnTo>
                  <a:lnTo>
                    <a:pt x="8" y="85"/>
                  </a:lnTo>
                  <a:lnTo>
                    <a:pt x="9" y="90"/>
                  </a:lnTo>
                  <a:lnTo>
                    <a:pt x="9" y="98"/>
                  </a:lnTo>
                  <a:lnTo>
                    <a:pt x="6" y="104"/>
                  </a:lnTo>
                  <a:lnTo>
                    <a:pt x="5" y="110"/>
                  </a:lnTo>
                  <a:lnTo>
                    <a:pt x="5" y="117"/>
                  </a:lnTo>
                  <a:lnTo>
                    <a:pt x="4" y="120"/>
                  </a:lnTo>
                  <a:lnTo>
                    <a:pt x="2" y="122"/>
                  </a:lnTo>
                  <a:lnTo>
                    <a:pt x="3" y="126"/>
                  </a:lnTo>
                  <a:lnTo>
                    <a:pt x="7" y="133"/>
                  </a:lnTo>
                  <a:lnTo>
                    <a:pt x="11" y="145"/>
                  </a:lnTo>
                  <a:lnTo>
                    <a:pt x="15" y="153"/>
                  </a:lnTo>
                  <a:lnTo>
                    <a:pt x="17" y="156"/>
                  </a:lnTo>
                  <a:lnTo>
                    <a:pt x="17" y="161"/>
                  </a:lnTo>
                  <a:lnTo>
                    <a:pt x="16" y="164"/>
                  </a:lnTo>
                  <a:lnTo>
                    <a:pt x="14" y="166"/>
                  </a:lnTo>
                  <a:lnTo>
                    <a:pt x="14" y="169"/>
                  </a:lnTo>
                  <a:lnTo>
                    <a:pt x="18" y="169"/>
                  </a:lnTo>
                  <a:lnTo>
                    <a:pt x="20" y="172"/>
                  </a:lnTo>
                  <a:lnTo>
                    <a:pt x="23" y="176"/>
                  </a:lnTo>
                  <a:lnTo>
                    <a:pt x="24" y="178"/>
                  </a:lnTo>
                  <a:lnTo>
                    <a:pt x="27" y="179"/>
                  </a:lnTo>
                  <a:lnTo>
                    <a:pt x="29" y="175"/>
                  </a:lnTo>
                  <a:lnTo>
                    <a:pt x="29" y="170"/>
                  </a:lnTo>
                  <a:lnTo>
                    <a:pt x="34" y="169"/>
                  </a:lnTo>
                  <a:lnTo>
                    <a:pt x="37" y="172"/>
                  </a:lnTo>
                  <a:lnTo>
                    <a:pt x="44" y="172"/>
                  </a:lnTo>
                  <a:lnTo>
                    <a:pt x="48" y="176"/>
                  </a:lnTo>
                  <a:lnTo>
                    <a:pt x="51" y="177"/>
                  </a:lnTo>
                  <a:lnTo>
                    <a:pt x="53" y="178"/>
                  </a:lnTo>
                  <a:lnTo>
                    <a:pt x="51" y="180"/>
                  </a:lnTo>
                  <a:lnTo>
                    <a:pt x="49" y="179"/>
                  </a:lnTo>
                  <a:lnTo>
                    <a:pt x="45" y="177"/>
                  </a:lnTo>
                  <a:lnTo>
                    <a:pt x="44" y="177"/>
                  </a:lnTo>
                  <a:lnTo>
                    <a:pt x="40" y="176"/>
                  </a:lnTo>
                  <a:lnTo>
                    <a:pt x="38" y="175"/>
                  </a:lnTo>
                  <a:lnTo>
                    <a:pt x="35" y="174"/>
                  </a:lnTo>
                  <a:lnTo>
                    <a:pt x="33" y="175"/>
                  </a:lnTo>
                  <a:lnTo>
                    <a:pt x="33" y="177"/>
                  </a:lnTo>
                  <a:lnTo>
                    <a:pt x="33" y="184"/>
                  </a:lnTo>
                  <a:lnTo>
                    <a:pt x="35" y="187"/>
                  </a:lnTo>
                  <a:lnTo>
                    <a:pt x="34" y="194"/>
                  </a:lnTo>
                  <a:lnTo>
                    <a:pt x="33" y="194"/>
                  </a:lnTo>
                  <a:lnTo>
                    <a:pt x="30" y="192"/>
                  </a:lnTo>
                  <a:lnTo>
                    <a:pt x="29" y="190"/>
                  </a:lnTo>
                  <a:lnTo>
                    <a:pt x="29" y="186"/>
                  </a:lnTo>
                  <a:lnTo>
                    <a:pt x="29" y="185"/>
                  </a:lnTo>
                  <a:lnTo>
                    <a:pt x="28" y="184"/>
                  </a:lnTo>
                  <a:lnTo>
                    <a:pt x="25" y="183"/>
                  </a:lnTo>
                  <a:lnTo>
                    <a:pt x="24" y="187"/>
                  </a:lnTo>
                  <a:lnTo>
                    <a:pt x="23" y="189"/>
                  </a:lnTo>
                  <a:lnTo>
                    <a:pt x="23" y="195"/>
                  </a:lnTo>
                  <a:lnTo>
                    <a:pt x="23" y="204"/>
                  </a:lnTo>
                  <a:lnTo>
                    <a:pt x="23" y="209"/>
                  </a:lnTo>
                  <a:lnTo>
                    <a:pt x="26" y="214"/>
                  </a:lnTo>
                  <a:lnTo>
                    <a:pt x="30" y="217"/>
                  </a:lnTo>
                  <a:lnTo>
                    <a:pt x="34" y="220"/>
                  </a:lnTo>
                  <a:lnTo>
                    <a:pt x="35" y="225"/>
                  </a:lnTo>
                  <a:lnTo>
                    <a:pt x="35" y="229"/>
                  </a:lnTo>
                  <a:lnTo>
                    <a:pt x="34" y="233"/>
                  </a:lnTo>
                  <a:lnTo>
                    <a:pt x="31" y="234"/>
                  </a:lnTo>
                  <a:lnTo>
                    <a:pt x="28" y="234"/>
                  </a:lnTo>
                  <a:lnTo>
                    <a:pt x="28" y="244"/>
                  </a:lnTo>
                  <a:lnTo>
                    <a:pt x="29" y="247"/>
                  </a:lnTo>
                  <a:lnTo>
                    <a:pt x="34" y="255"/>
                  </a:lnTo>
                  <a:lnTo>
                    <a:pt x="35" y="261"/>
                  </a:lnTo>
                  <a:lnTo>
                    <a:pt x="40" y="268"/>
                  </a:lnTo>
                  <a:lnTo>
                    <a:pt x="42" y="275"/>
                  </a:lnTo>
                  <a:lnTo>
                    <a:pt x="45" y="280"/>
                  </a:lnTo>
                  <a:lnTo>
                    <a:pt x="48" y="287"/>
                  </a:lnTo>
                  <a:lnTo>
                    <a:pt x="50" y="288"/>
                  </a:lnTo>
                  <a:lnTo>
                    <a:pt x="50" y="293"/>
                  </a:lnTo>
                  <a:lnTo>
                    <a:pt x="50" y="296"/>
                  </a:lnTo>
                  <a:lnTo>
                    <a:pt x="50" y="298"/>
                  </a:lnTo>
                  <a:lnTo>
                    <a:pt x="52" y="300"/>
                  </a:lnTo>
                  <a:lnTo>
                    <a:pt x="53" y="303"/>
                  </a:lnTo>
                  <a:lnTo>
                    <a:pt x="53" y="307"/>
                  </a:lnTo>
                  <a:lnTo>
                    <a:pt x="52" y="316"/>
                  </a:lnTo>
                  <a:lnTo>
                    <a:pt x="51" y="322"/>
                  </a:lnTo>
                  <a:lnTo>
                    <a:pt x="50" y="327"/>
                  </a:lnTo>
                  <a:lnTo>
                    <a:pt x="59" y="332"/>
                  </a:lnTo>
                  <a:lnTo>
                    <a:pt x="67" y="335"/>
                  </a:lnTo>
                  <a:lnTo>
                    <a:pt x="73" y="339"/>
                  </a:lnTo>
                  <a:lnTo>
                    <a:pt x="82" y="342"/>
                  </a:lnTo>
                  <a:lnTo>
                    <a:pt x="85" y="345"/>
                  </a:lnTo>
                  <a:lnTo>
                    <a:pt x="91" y="355"/>
                  </a:lnTo>
                  <a:lnTo>
                    <a:pt x="99" y="362"/>
                  </a:lnTo>
                  <a:lnTo>
                    <a:pt x="111" y="365"/>
                  </a:lnTo>
                  <a:lnTo>
                    <a:pt x="112" y="374"/>
                  </a:lnTo>
                  <a:lnTo>
                    <a:pt x="114" y="378"/>
                  </a:lnTo>
                  <a:lnTo>
                    <a:pt x="121" y="380"/>
                  </a:lnTo>
                  <a:lnTo>
                    <a:pt x="128" y="388"/>
                  </a:lnTo>
                  <a:lnTo>
                    <a:pt x="136" y="400"/>
                  </a:lnTo>
                  <a:lnTo>
                    <a:pt x="140" y="405"/>
                  </a:lnTo>
                  <a:lnTo>
                    <a:pt x="143" y="414"/>
                  </a:lnTo>
                  <a:lnTo>
                    <a:pt x="140" y="422"/>
                  </a:lnTo>
                  <a:lnTo>
                    <a:pt x="140" y="427"/>
                  </a:lnTo>
                  <a:lnTo>
                    <a:pt x="143" y="434"/>
                  </a:lnTo>
                  <a:lnTo>
                    <a:pt x="147" y="435"/>
                  </a:lnTo>
                  <a:lnTo>
                    <a:pt x="225" y="445"/>
                  </a:lnTo>
                  <a:lnTo>
                    <a:pt x="226" y="444"/>
                  </a:lnTo>
                  <a:lnTo>
                    <a:pt x="233" y="441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6303359" y="2660632"/>
              <a:ext cx="473890" cy="254654"/>
            </a:xfrm>
            <a:custGeom>
              <a:avLst/>
              <a:gdLst>
                <a:gd name="T0" fmla="*/ 0 w 332"/>
                <a:gd name="T1" fmla="*/ 25 h 178"/>
                <a:gd name="T2" fmla="*/ 0 w 332"/>
                <a:gd name="T3" fmla="*/ 28 h 178"/>
                <a:gd name="T4" fmla="*/ 0 w 332"/>
                <a:gd name="T5" fmla="*/ 25 h 178"/>
                <a:gd name="T6" fmla="*/ 118 w 332"/>
                <a:gd name="T7" fmla="*/ 32 h 178"/>
                <a:gd name="T8" fmla="*/ 113 w 332"/>
                <a:gd name="T9" fmla="*/ 123 h 178"/>
                <a:gd name="T10" fmla="*/ 121 w 332"/>
                <a:gd name="T11" fmla="*/ 131 h 178"/>
                <a:gd name="T12" fmla="*/ 124 w 332"/>
                <a:gd name="T13" fmla="*/ 134 h 178"/>
                <a:gd name="T14" fmla="*/ 127 w 332"/>
                <a:gd name="T15" fmla="*/ 134 h 178"/>
                <a:gd name="T16" fmla="*/ 131 w 332"/>
                <a:gd name="T17" fmla="*/ 133 h 178"/>
                <a:gd name="T18" fmla="*/ 134 w 332"/>
                <a:gd name="T19" fmla="*/ 134 h 178"/>
                <a:gd name="T20" fmla="*/ 137 w 332"/>
                <a:gd name="T21" fmla="*/ 133 h 178"/>
                <a:gd name="T22" fmla="*/ 141 w 332"/>
                <a:gd name="T23" fmla="*/ 135 h 178"/>
                <a:gd name="T24" fmla="*/ 144 w 332"/>
                <a:gd name="T25" fmla="*/ 144 h 178"/>
                <a:gd name="T26" fmla="*/ 153 w 332"/>
                <a:gd name="T27" fmla="*/ 144 h 178"/>
                <a:gd name="T28" fmla="*/ 160 w 332"/>
                <a:gd name="T29" fmla="*/ 148 h 178"/>
                <a:gd name="T30" fmla="*/ 166 w 332"/>
                <a:gd name="T31" fmla="*/ 147 h 178"/>
                <a:gd name="T32" fmla="*/ 167 w 332"/>
                <a:gd name="T33" fmla="*/ 147 h 178"/>
                <a:gd name="T34" fmla="*/ 171 w 332"/>
                <a:gd name="T35" fmla="*/ 151 h 178"/>
                <a:gd name="T36" fmla="*/ 175 w 332"/>
                <a:gd name="T37" fmla="*/ 148 h 178"/>
                <a:gd name="T38" fmla="*/ 184 w 332"/>
                <a:gd name="T39" fmla="*/ 149 h 178"/>
                <a:gd name="T40" fmla="*/ 188 w 332"/>
                <a:gd name="T41" fmla="*/ 156 h 178"/>
                <a:gd name="T42" fmla="*/ 191 w 332"/>
                <a:gd name="T43" fmla="*/ 156 h 178"/>
                <a:gd name="T44" fmla="*/ 192 w 332"/>
                <a:gd name="T45" fmla="*/ 162 h 178"/>
                <a:gd name="T46" fmla="*/ 196 w 332"/>
                <a:gd name="T47" fmla="*/ 163 h 178"/>
                <a:gd name="T48" fmla="*/ 200 w 332"/>
                <a:gd name="T49" fmla="*/ 160 h 178"/>
                <a:gd name="T50" fmla="*/ 202 w 332"/>
                <a:gd name="T51" fmla="*/ 157 h 178"/>
                <a:gd name="T52" fmla="*/ 204 w 332"/>
                <a:gd name="T53" fmla="*/ 157 h 178"/>
                <a:gd name="T54" fmla="*/ 211 w 332"/>
                <a:gd name="T55" fmla="*/ 162 h 178"/>
                <a:gd name="T56" fmla="*/ 213 w 332"/>
                <a:gd name="T57" fmla="*/ 166 h 178"/>
                <a:gd name="T58" fmla="*/ 220 w 332"/>
                <a:gd name="T59" fmla="*/ 162 h 178"/>
                <a:gd name="T60" fmla="*/ 222 w 332"/>
                <a:gd name="T61" fmla="*/ 164 h 178"/>
                <a:gd name="T62" fmla="*/ 223 w 332"/>
                <a:gd name="T63" fmla="*/ 170 h 178"/>
                <a:gd name="T64" fmla="*/ 225 w 332"/>
                <a:gd name="T65" fmla="*/ 169 h 178"/>
                <a:gd name="T66" fmla="*/ 228 w 332"/>
                <a:gd name="T67" fmla="*/ 164 h 178"/>
                <a:gd name="T68" fmla="*/ 233 w 332"/>
                <a:gd name="T69" fmla="*/ 163 h 178"/>
                <a:gd name="T70" fmla="*/ 239 w 332"/>
                <a:gd name="T71" fmla="*/ 166 h 178"/>
                <a:gd name="T72" fmla="*/ 248 w 332"/>
                <a:gd name="T73" fmla="*/ 165 h 178"/>
                <a:gd name="T74" fmla="*/ 252 w 332"/>
                <a:gd name="T75" fmla="*/ 169 h 178"/>
                <a:gd name="T76" fmla="*/ 254 w 332"/>
                <a:gd name="T77" fmla="*/ 172 h 178"/>
                <a:gd name="T78" fmla="*/ 259 w 332"/>
                <a:gd name="T79" fmla="*/ 171 h 178"/>
                <a:gd name="T80" fmla="*/ 264 w 332"/>
                <a:gd name="T81" fmla="*/ 167 h 178"/>
                <a:gd name="T82" fmla="*/ 267 w 332"/>
                <a:gd name="T83" fmla="*/ 164 h 178"/>
                <a:gd name="T84" fmla="*/ 271 w 332"/>
                <a:gd name="T85" fmla="*/ 164 h 178"/>
                <a:gd name="T86" fmla="*/ 275 w 332"/>
                <a:gd name="T87" fmla="*/ 166 h 178"/>
                <a:gd name="T88" fmla="*/ 278 w 332"/>
                <a:gd name="T89" fmla="*/ 165 h 178"/>
                <a:gd name="T90" fmla="*/ 282 w 332"/>
                <a:gd name="T91" fmla="*/ 162 h 178"/>
                <a:gd name="T92" fmla="*/ 288 w 332"/>
                <a:gd name="T93" fmla="*/ 163 h 178"/>
                <a:gd name="T94" fmla="*/ 291 w 332"/>
                <a:gd name="T95" fmla="*/ 164 h 178"/>
                <a:gd name="T96" fmla="*/ 300 w 332"/>
                <a:gd name="T97" fmla="*/ 161 h 178"/>
                <a:gd name="T98" fmla="*/ 306 w 332"/>
                <a:gd name="T99" fmla="*/ 163 h 178"/>
                <a:gd name="T100" fmla="*/ 311 w 332"/>
                <a:gd name="T101" fmla="*/ 168 h 178"/>
                <a:gd name="T102" fmla="*/ 318 w 332"/>
                <a:gd name="T103" fmla="*/ 173 h 178"/>
                <a:gd name="T104" fmla="*/ 324 w 332"/>
                <a:gd name="T105" fmla="*/ 173 h 178"/>
                <a:gd name="T106" fmla="*/ 328 w 332"/>
                <a:gd name="T107" fmla="*/ 176 h 178"/>
                <a:gd name="T108" fmla="*/ 331 w 332"/>
                <a:gd name="T109" fmla="*/ 178 h 178"/>
                <a:gd name="T110" fmla="*/ 332 w 332"/>
                <a:gd name="T111" fmla="*/ 88 h 178"/>
                <a:gd name="T112" fmla="*/ 324 w 332"/>
                <a:gd name="T113" fmla="*/ 37 h 178"/>
                <a:gd name="T114" fmla="*/ 324 w 332"/>
                <a:gd name="T115" fmla="*/ 12 h 178"/>
                <a:gd name="T116" fmla="*/ 175 w 332"/>
                <a:gd name="T117" fmla="*/ 9 h 178"/>
                <a:gd name="T118" fmla="*/ 4 w 332"/>
                <a:gd name="T119" fmla="*/ 0 h 178"/>
                <a:gd name="T120" fmla="*/ 3 w 332"/>
                <a:gd name="T121" fmla="*/ 25 h 178"/>
                <a:gd name="T122" fmla="*/ 0 w 332"/>
                <a:gd name="T123" fmla="*/ 2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2" h="178">
                  <a:moveTo>
                    <a:pt x="0" y="25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3" y="123"/>
                    <a:pt x="113" y="123"/>
                    <a:pt x="113" y="123"/>
                  </a:cubicBezTo>
                  <a:cubicBezTo>
                    <a:pt x="121" y="131"/>
                    <a:pt x="121" y="131"/>
                    <a:pt x="121" y="131"/>
                  </a:cubicBezTo>
                  <a:cubicBezTo>
                    <a:pt x="124" y="134"/>
                    <a:pt x="124" y="134"/>
                    <a:pt x="124" y="134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31" y="133"/>
                    <a:pt x="131" y="133"/>
                    <a:pt x="131" y="133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7" y="133"/>
                    <a:pt x="137" y="133"/>
                    <a:pt x="137" y="133"/>
                  </a:cubicBezTo>
                  <a:cubicBezTo>
                    <a:pt x="141" y="135"/>
                    <a:pt x="141" y="135"/>
                    <a:pt x="141" y="135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53" y="144"/>
                    <a:pt x="153" y="144"/>
                    <a:pt x="153" y="144"/>
                  </a:cubicBezTo>
                  <a:cubicBezTo>
                    <a:pt x="160" y="148"/>
                    <a:pt x="160" y="148"/>
                    <a:pt x="160" y="148"/>
                  </a:cubicBezTo>
                  <a:cubicBezTo>
                    <a:pt x="166" y="147"/>
                    <a:pt x="166" y="147"/>
                    <a:pt x="166" y="147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71" y="151"/>
                    <a:pt x="171" y="151"/>
                    <a:pt x="171" y="151"/>
                  </a:cubicBezTo>
                  <a:cubicBezTo>
                    <a:pt x="175" y="148"/>
                    <a:pt x="175" y="148"/>
                    <a:pt x="175" y="148"/>
                  </a:cubicBezTo>
                  <a:cubicBezTo>
                    <a:pt x="184" y="149"/>
                    <a:pt x="184" y="149"/>
                    <a:pt x="184" y="149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91" y="156"/>
                    <a:pt x="191" y="156"/>
                    <a:pt x="191" y="156"/>
                  </a:cubicBezTo>
                  <a:cubicBezTo>
                    <a:pt x="192" y="162"/>
                    <a:pt x="192" y="162"/>
                    <a:pt x="192" y="162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200" y="160"/>
                    <a:pt x="200" y="160"/>
                    <a:pt x="200" y="160"/>
                  </a:cubicBezTo>
                  <a:cubicBezTo>
                    <a:pt x="202" y="157"/>
                    <a:pt x="202" y="157"/>
                    <a:pt x="202" y="157"/>
                  </a:cubicBezTo>
                  <a:cubicBezTo>
                    <a:pt x="204" y="157"/>
                    <a:pt x="204" y="157"/>
                    <a:pt x="204" y="157"/>
                  </a:cubicBezTo>
                  <a:cubicBezTo>
                    <a:pt x="211" y="162"/>
                    <a:pt x="211" y="162"/>
                    <a:pt x="211" y="162"/>
                  </a:cubicBezTo>
                  <a:cubicBezTo>
                    <a:pt x="213" y="166"/>
                    <a:pt x="213" y="166"/>
                    <a:pt x="213" y="166"/>
                  </a:cubicBezTo>
                  <a:cubicBezTo>
                    <a:pt x="220" y="162"/>
                    <a:pt x="220" y="162"/>
                    <a:pt x="220" y="162"/>
                  </a:cubicBezTo>
                  <a:cubicBezTo>
                    <a:pt x="222" y="164"/>
                    <a:pt x="222" y="164"/>
                    <a:pt x="222" y="164"/>
                  </a:cubicBezTo>
                  <a:cubicBezTo>
                    <a:pt x="223" y="170"/>
                    <a:pt x="223" y="170"/>
                    <a:pt x="223" y="170"/>
                  </a:cubicBezTo>
                  <a:cubicBezTo>
                    <a:pt x="225" y="169"/>
                    <a:pt x="225" y="169"/>
                    <a:pt x="225" y="169"/>
                  </a:cubicBezTo>
                  <a:cubicBezTo>
                    <a:pt x="228" y="164"/>
                    <a:pt x="228" y="164"/>
                    <a:pt x="228" y="164"/>
                  </a:cubicBezTo>
                  <a:cubicBezTo>
                    <a:pt x="233" y="163"/>
                    <a:pt x="233" y="163"/>
                    <a:pt x="233" y="163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48" y="165"/>
                    <a:pt x="248" y="165"/>
                    <a:pt x="248" y="165"/>
                  </a:cubicBezTo>
                  <a:cubicBezTo>
                    <a:pt x="252" y="169"/>
                    <a:pt x="252" y="169"/>
                    <a:pt x="252" y="169"/>
                  </a:cubicBezTo>
                  <a:cubicBezTo>
                    <a:pt x="254" y="172"/>
                    <a:pt x="254" y="172"/>
                    <a:pt x="254" y="172"/>
                  </a:cubicBezTo>
                  <a:cubicBezTo>
                    <a:pt x="259" y="171"/>
                    <a:pt x="259" y="171"/>
                    <a:pt x="259" y="171"/>
                  </a:cubicBezTo>
                  <a:cubicBezTo>
                    <a:pt x="264" y="167"/>
                    <a:pt x="264" y="167"/>
                    <a:pt x="264" y="167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75" y="166"/>
                    <a:pt x="275" y="166"/>
                    <a:pt x="275" y="166"/>
                  </a:cubicBezTo>
                  <a:cubicBezTo>
                    <a:pt x="278" y="165"/>
                    <a:pt x="278" y="165"/>
                    <a:pt x="278" y="165"/>
                  </a:cubicBezTo>
                  <a:cubicBezTo>
                    <a:pt x="282" y="162"/>
                    <a:pt x="282" y="162"/>
                    <a:pt x="282" y="162"/>
                  </a:cubicBezTo>
                  <a:cubicBezTo>
                    <a:pt x="288" y="163"/>
                    <a:pt x="288" y="163"/>
                    <a:pt x="288" y="163"/>
                  </a:cubicBezTo>
                  <a:cubicBezTo>
                    <a:pt x="291" y="164"/>
                    <a:pt x="291" y="164"/>
                    <a:pt x="291" y="164"/>
                  </a:cubicBezTo>
                  <a:cubicBezTo>
                    <a:pt x="300" y="161"/>
                    <a:pt x="300" y="161"/>
                    <a:pt x="300" y="161"/>
                  </a:cubicBezTo>
                  <a:cubicBezTo>
                    <a:pt x="306" y="163"/>
                    <a:pt x="306" y="163"/>
                    <a:pt x="306" y="163"/>
                  </a:cubicBezTo>
                  <a:cubicBezTo>
                    <a:pt x="311" y="168"/>
                    <a:pt x="311" y="168"/>
                    <a:pt x="311" y="168"/>
                  </a:cubicBezTo>
                  <a:cubicBezTo>
                    <a:pt x="318" y="173"/>
                    <a:pt x="318" y="173"/>
                    <a:pt x="318" y="173"/>
                  </a:cubicBezTo>
                  <a:cubicBezTo>
                    <a:pt x="324" y="173"/>
                    <a:pt x="324" y="173"/>
                    <a:pt x="324" y="173"/>
                  </a:cubicBezTo>
                  <a:cubicBezTo>
                    <a:pt x="328" y="176"/>
                    <a:pt x="328" y="176"/>
                    <a:pt x="328" y="176"/>
                  </a:cubicBezTo>
                  <a:cubicBezTo>
                    <a:pt x="331" y="178"/>
                    <a:pt x="331" y="178"/>
                    <a:pt x="331" y="178"/>
                  </a:cubicBezTo>
                  <a:cubicBezTo>
                    <a:pt x="332" y="88"/>
                    <a:pt x="332" y="88"/>
                    <a:pt x="332" y="88"/>
                  </a:cubicBezTo>
                  <a:cubicBezTo>
                    <a:pt x="324" y="37"/>
                    <a:pt x="324" y="37"/>
                    <a:pt x="324" y="37"/>
                  </a:cubicBezTo>
                  <a:cubicBezTo>
                    <a:pt x="324" y="12"/>
                    <a:pt x="324" y="12"/>
                    <a:pt x="324" y="12"/>
                  </a:cubicBezTo>
                  <a:cubicBezTo>
                    <a:pt x="324" y="12"/>
                    <a:pt x="211" y="10"/>
                    <a:pt x="175" y="9"/>
                  </a:cubicBezTo>
                  <a:cubicBezTo>
                    <a:pt x="131" y="7"/>
                    <a:pt x="4" y="0"/>
                    <a:pt x="4" y="0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0" y="25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6364071" y="2454886"/>
              <a:ext cx="401373" cy="222611"/>
            </a:xfrm>
            <a:custGeom>
              <a:avLst/>
              <a:gdLst>
                <a:gd name="T0" fmla="*/ 282 w 282"/>
                <a:gd name="T1" fmla="*/ 156 h 156"/>
                <a:gd name="T2" fmla="*/ 282 w 282"/>
                <a:gd name="T3" fmla="*/ 52 h 156"/>
                <a:gd name="T4" fmla="*/ 276 w 282"/>
                <a:gd name="T5" fmla="*/ 49 h 156"/>
                <a:gd name="T6" fmla="*/ 273 w 282"/>
                <a:gd name="T7" fmla="*/ 47 h 156"/>
                <a:gd name="T8" fmla="*/ 271 w 282"/>
                <a:gd name="T9" fmla="*/ 41 h 156"/>
                <a:gd name="T10" fmla="*/ 265 w 282"/>
                <a:gd name="T11" fmla="*/ 35 h 156"/>
                <a:gd name="T12" fmla="*/ 268 w 282"/>
                <a:gd name="T13" fmla="*/ 30 h 156"/>
                <a:gd name="T14" fmla="*/ 271 w 282"/>
                <a:gd name="T15" fmla="*/ 24 h 156"/>
                <a:gd name="T16" fmla="*/ 271 w 282"/>
                <a:gd name="T17" fmla="*/ 19 h 156"/>
                <a:gd name="T18" fmla="*/ 269 w 282"/>
                <a:gd name="T19" fmla="*/ 19 h 156"/>
                <a:gd name="T20" fmla="*/ 260 w 282"/>
                <a:gd name="T21" fmla="*/ 19 h 156"/>
                <a:gd name="T22" fmla="*/ 258 w 282"/>
                <a:gd name="T23" fmla="*/ 15 h 156"/>
                <a:gd name="T24" fmla="*/ 254 w 282"/>
                <a:gd name="T25" fmla="*/ 9 h 156"/>
                <a:gd name="T26" fmla="*/ 165 w 282"/>
                <a:gd name="T27" fmla="*/ 6 h 156"/>
                <a:gd name="T28" fmla="*/ 10 w 282"/>
                <a:gd name="T29" fmla="*/ 0 h 156"/>
                <a:gd name="T30" fmla="*/ 0 w 282"/>
                <a:gd name="T31" fmla="*/ 146 h 156"/>
                <a:gd name="T32" fmla="*/ 133 w 282"/>
                <a:gd name="T33" fmla="*/ 153 h 156"/>
                <a:gd name="T34" fmla="*/ 282 w 282"/>
                <a:gd name="T3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2" h="156">
                  <a:moveTo>
                    <a:pt x="282" y="156"/>
                  </a:moveTo>
                  <a:cubicBezTo>
                    <a:pt x="282" y="52"/>
                    <a:pt x="282" y="52"/>
                    <a:pt x="282" y="52"/>
                  </a:cubicBezTo>
                  <a:cubicBezTo>
                    <a:pt x="276" y="49"/>
                    <a:pt x="276" y="49"/>
                    <a:pt x="276" y="49"/>
                  </a:cubicBezTo>
                  <a:cubicBezTo>
                    <a:pt x="273" y="47"/>
                    <a:pt x="273" y="47"/>
                    <a:pt x="273" y="47"/>
                  </a:cubicBezTo>
                  <a:cubicBezTo>
                    <a:pt x="271" y="41"/>
                    <a:pt x="271" y="41"/>
                    <a:pt x="271" y="41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8" y="30"/>
                    <a:pt x="268" y="30"/>
                    <a:pt x="268" y="30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71" y="19"/>
                    <a:pt x="271" y="19"/>
                    <a:pt x="271" y="19"/>
                  </a:cubicBezTo>
                  <a:cubicBezTo>
                    <a:pt x="269" y="19"/>
                    <a:pt x="269" y="19"/>
                    <a:pt x="269" y="19"/>
                  </a:cubicBezTo>
                  <a:cubicBezTo>
                    <a:pt x="260" y="19"/>
                    <a:pt x="260" y="19"/>
                    <a:pt x="260" y="19"/>
                  </a:cubicBezTo>
                  <a:cubicBezTo>
                    <a:pt x="258" y="15"/>
                    <a:pt x="258" y="15"/>
                    <a:pt x="258" y="15"/>
                  </a:cubicBezTo>
                  <a:cubicBezTo>
                    <a:pt x="254" y="9"/>
                    <a:pt x="254" y="9"/>
                    <a:pt x="254" y="9"/>
                  </a:cubicBezTo>
                  <a:cubicBezTo>
                    <a:pt x="254" y="9"/>
                    <a:pt x="187" y="7"/>
                    <a:pt x="165" y="6"/>
                  </a:cubicBezTo>
                  <a:cubicBezTo>
                    <a:pt x="126" y="5"/>
                    <a:pt x="10" y="0"/>
                    <a:pt x="10" y="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41" y="148"/>
                    <a:pt x="104" y="151"/>
                    <a:pt x="133" y="153"/>
                  </a:cubicBezTo>
                  <a:cubicBezTo>
                    <a:pt x="169" y="154"/>
                    <a:pt x="282" y="156"/>
                    <a:pt x="282" y="156"/>
                  </a:cubicBez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auto">
            <a:xfrm>
              <a:off x="6279749" y="2242394"/>
              <a:ext cx="446907" cy="225984"/>
            </a:xfrm>
            <a:custGeom>
              <a:avLst/>
              <a:gdLst>
                <a:gd name="T0" fmla="*/ 313 w 313"/>
                <a:gd name="T1" fmla="*/ 158 h 158"/>
                <a:gd name="T2" fmla="*/ 313 w 313"/>
                <a:gd name="T3" fmla="*/ 158 h 158"/>
                <a:gd name="T4" fmla="*/ 313 w 313"/>
                <a:gd name="T5" fmla="*/ 158 h 158"/>
                <a:gd name="T6" fmla="*/ 311 w 313"/>
                <a:gd name="T7" fmla="*/ 154 h 158"/>
                <a:gd name="T8" fmla="*/ 310 w 313"/>
                <a:gd name="T9" fmla="*/ 148 h 158"/>
                <a:gd name="T10" fmla="*/ 304 w 313"/>
                <a:gd name="T11" fmla="*/ 146 h 158"/>
                <a:gd name="T12" fmla="*/ 304 w 313"/>
                <a:gd name="T13" fmla="*/ 145 h 158"/>
                <a:gd name="T14" fmla="*/ 302 w 313"/>
                <a:gd name="T15" fmla="*/ 142 h 158"/>
                <a:gd name="T16" fmla="*/ 304 w 313"/>
                <a:gd name="T17" fmla="*/ 140 h 158"/>
                <a:gd name="T18" fmla="*/ 303 w 313"/>
                <a:gd name="T19" fmla="*/ 135 h 158"/>
                <a:gd name="T20" fmla="*/ 300 w 313"/>
                <a:gd name="T21" fmla="*/ 133 h 158"/>
                <a:gd name="T22" fmla="*/ 299 w 313"/>
                <a:gd name="T23" fmla="*/ 130 h 158"/>
                <a:gd name="T24" fmla="*/ 297 w 313"/>
                <a:gd name="T25" fmla="*/ 123 h 158"/>
                <a:gd name="T26" fmla="*/ 297 w 313"/>
                <a:gd name="T27" fmla="*/ 113 h 158"/>
                <a:gd name="T28" fmla="*/ 296 w 313"/>
                <a:gd name="T29" fmla="*/ 111 h 158"/>
                <a:gd name="T30" fmla="*/ 294 w 313"/>
                <a:gd name="T31" fmla="*/ 108 h 158"/>
                <a:gd name="T32" fmla="*/ 295 w 313"/>
                <a:gd name="T33" fmla="*/ 104 h 158"/>
                <a:gd name="T34" fmla="*/ 295 w 313"/>
                <a:gd name="T35" fmla="*/ 94 h 158"/>
                <a:gd name="T36" fmla="*/ 293 w 313"/>
                <a:gd name="T37" fmla="*/ 87 h 158"/>
                <a:gd name="T38" fmla="*/ 291 w 313"/>
                <a:gd name="T39" fmla="*/ 85 h 158"/>
                <a:gd name="T40" fmla="*/ 289 w 313"/>
                <a:gd name="T41" fmla="*/ 85 h 158"/>
                <a:gd name="T42" fmla="*/ 288 w 313"/>
                <a:gd name="T43" fmla="*/ 83 h 158"/>
                <a:gd name="T44" fmla="*/ 287 w 313"/>
                <a:gd name="T45" fmla="*/ 78 h 158"/>
                <a:gd name="T46" fmla="*/ 286 w 313"/>
                <a:gd name="T47" fmla="*/ 74 h 158"/>
                <a:gd name="T48" fmla="*/ 289 w 313"/>
                <a:gd name="T49" fmla="*/ 73 h 158"/>
                <a:gd name="T50" fmla="*/ 289 w 313"/>
                <a:gd name="T51" fmla="*/ 72 h 158"/>
                <a:gd name="T52" fmla="*/ 288 w 313"/>
                <a:gd name="T53" fmla="*/ 71 h 158"/>
                <a:gd name="T54" fmla="*/ 287 w 313"/>
                <a:gd name="T55" fmla="*/ 68 h 158"/>
                <a:gd name="T56" fmla="*/ 285 w 313"/>
                <a:gd name="T57" fmla="*/ 65 h 158"/>
                <a:gd name="T58" fmla="*/ 283 w 313"/>
                <a:gd name="T59" fmla="*/ 60 h 158"/>
                <a:gd name="T60" fmla="*/ 281 w 313"/>
                <a:gd name="T61" fmla="*/ 54 h 158"/>
                <a:gd name="T62" fmla="*/ 278 w 313"/>
                <a:gd name="T63" fmla="*/ 49 h 158"/>
                <a:gd name="T64" fmla="*/ 275 w 313"/>
                <a:gd name="T65" fmla="*/ 40 h 158"/>
                <a:gd name="T66" fmla="*/ 272 w 313"/>
                <a:gd name="T67" fmla="*/ 36 h 158"/>
                <a:gd name="T68" fmla="*/ 271 w 313"/>
                <a:gd name="T69" fmla="*/ 35 h 158"/>
                <a:gd name="T70" fmla="*/ 267 w 313"/>
                <a:gd name="T71" fmla="*/ 32 h 158"/>
                <a:gd name="T72" fmla="*/ 260 w 313"/>
                <a:gd name="T73" fmla="*/ 27 h 158"/>
                <a:gd name="T74" fmla="*/ 255 w 313"/>
                <a:gd name="T75" fmla="*/ 25 h 158"/>
                <a:gd name="T76" fmla="*/ 250 w 313"/>
                <a:gd name="T77" fmla="*/ 23 h 158"/>
                <a:gd name="T78" fmla="*/ 246 w 313"/>
                <a:gd name="T79" fmla="*/ 19 h 158"/>
                <a:gd name="T80" fmla="*/ 239 w 313"/>
                <a:gd name="T81" fmla="*/ 18 h 158"/>
                <a:gd name="T82" fmla="*/ 230 w 313"/>
                <a:gd name="T83" fmla="*/ 19 h 158"/>
                <a:gd name="T84" fmla="*/ 227 w 313"/>
                <a:gd name="T85" fmla="*/ 19 h 158"/>
                <a:gd name="T86" fmla="*/ 224 w 313"/>
                <a:gd name="T87" fmla="*/ 20 h 158"/>
                <a:gd name="T88" fmla="*/ 222 w 313"/>
                <a:gd name="T89" fmla="*/ 22 h 158"/>
                <a:gd name="T90" fmla="*/ 219 w 313"/>
                <a:gd name="T91" fmla="*/ 21 h 158"/>
                <a:gd name="T92" fmla="*/ 216 w 313"/>
                <a:gd name="T93" fmla="*/ 19 h 158"/>
                <a:gd name="T94" fmla="*/ 210 w 313"/>
                <a:gd name="T95" fmla="*/ 16 h 158"/>
                <a:gd name="T96" fmla="*/ 202 w 313"/>
                <a:gd name="T97" fmla="*/ 12 h 158"/>
                <a:gd name="T98" fmla="*/ 10 w 313"/>
                <a:gd name="T99" fmla="*/ 0 h 158"/>
                <a:gd name="T100" fmla="*/ 0 w 313"/>
                <a:gd name="T101" fmla="*/ 95 h 158"/>
                <a:gd name="T102" fmla="*/ 73 w 313"/>
                <a:gd name="T103" fmla="*/ 102 h 158"/>
                <a:gd name="T104" fmla="*/ 69 w 313"/>
                <a:gd name="T105" fmla="*/ 149 h 158"/>
                <a:gd name="T106" fmla="*/ 69 w 313"/>
                <a:gd name="T107" fmla="*/ 149 h 158"/>
                <a:gd name="T108" fmla="*/ 224 w 313"/>
                <a:gd name="T109" fmla="*/ 155 h 158"/>
                <a:gd name="T110" fmla="*/ 313 w 313"/>
                <a:gd name="T111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3" h="158">
                  <a:moveTo>
                    <a:pt x="313" y="158"/>
                  </a:moveTo>
                  <a:cubicBezTo>
                    <a:pt x="313" y="158"/>
                    <a:pt x="313" y="158"/>
                    <a:pt x="313" y="158"/>
                  </a:cubicBezTo>
                  <a:cubicBezTo>
                    <a:pt x="313" y="158"/>
                    <a:pt x="313" y="158"/>
                    <a:pt x="313" y="158"/>
                  </a:cubicBezTo>
                  <a:cubicBezTo>
                    <a:pt x="311" y="154"/>
                    <a:pt x="311" y="154"/>
                    <a:pt x="311" y="154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10" y="148"/>
                    <a:pt x="305" y="147"/>
                    <a:pt x="304" y="146"/>
                  </a:cubicBezTo>
                  <a:cubicBezTo>
                    <a:pt x="303" y="145"/>
                    <a:pt x="304" y="145"/>
                    <a:pt x="304" y="145"/>
                  </a:cubicBezTo>
                  <a:cubicBezTo>
                    <a:pt x="302" y="142"/>
                    <a:pt x="302" y="142"/>
                    <a:pt x="302" y="142"/>
                  </a:cubicBezTo>
                  <a:cubicBezTo>
                    <a:pt x="304" y="140"/>
                    <a:pt x="304" y="140"/>
                    <a:pt x="304" y="140"/>
                  </a:cubicBezTo>
                  <a:cubicBezTo>
                    <a:pt x="303" y="135"/>
                    <a:pt x="303" y="135"/>
                    <a:pt x="303" y="135"/>
                  </a:cubicBezTo>
                  <a:cubicBezTo>
                    <a:pt x="300" y="133"/>
                    <a:pt x="300" y="133"/>
                    <a:pt x="300" y="133"/>
                  </a:cubicBezTo>
                  <a:cubicBezTo>
                    <a:pt x="299" y="130"/>
                    <a:pt x="299" y="130"/>
                    <a:pt x="299" y="130"/>
                  </a:cubicBezTo>
                  <a:cubicBezTo>
                    <a:pt x="297" y="123"/>
                    <a:pt x="297" y="123"/>
                    <a:pt x="297" y="123"/>
                  </a:cubicBezTo>
                  <a:cubicBezTo>
                    <a:pt x="297" y="113"/>
                    <a:pt x="297" y="113"/>
                    <a:pt x="297" y="113"/>
                  </a:cubicBezTo>
                  <a:cubicBezTo>
                    <a:pt x="296" y="111"/>
                    <a:pt x="296" y="111"/>
                    <a:pt x="296" y="111"/>
                  </a:cubicBezTo>
                  <a:cubicBezTo>
                    <a:pt x="294" y="108"/>
                    <a:pt x="294" y="108"/>
                    <a:pt x="294" y="108"/>
                  </a:cubicBezTo>
                  <a:cubicBezTo>
                    <a:pt x="295" y="104"/>
                    <a:pt x="295" y="104"/>
                    <a:pt x="295" y="104"/>
                  </a:cubicBezTo>
                  <a:cubicBezTo>
                    <a:pt x="295" y="94"/>
                    <a:pt x="295" y="94"/>
                    <a:pt x="295" y="94"/>
                  </a:cubicBezTo>
                  <a:cubicBezTo>
                    <a:pt x="293" y="87"/>
                    <a:pt x="293" y="87"/>
                    <a:pt x="293" y="87"/>
                  </a:cubicBezTo>
                  <a:cubicBezTo>
                    <a:pt x="291" y="85"/>
                    <a:pt x="291" y="85"/>
                    <a:pt x="291" y="85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8" y="83"/>
                    <a:pt x="288" y="83"/>
                    <a:pt x="288" y="83"/>
                  </a:cubicBezTo>
                  <a:cubicBezTo>
                    <a:pt x="287" y="78"/>
                    <a:pt x="287" y="78"/>
                    <a:pt x="287" y="78"/>
                  </a:cubicBezTo>
                  <a:cubicBezTo>
                    <a:pt x="286" y="74"/>
                    <a:pt x="286" y="74"/>
                    <a:pt x="286" y="74"/>
                  </a:cubicBezTo>
                  <a:cubicBezTo>
                    <a:pt x="289" y="73"/>
                    <a:pt x="289" y="73"/>
                    <a:pt x="289" y="73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88" y="71"/>
                    <a:pt x="288" y="71"/>
                    <a:pt x="288" y="71"/>
                  </a:cubicBezTo>
                  <a:cubicBezTo>
                    <a:pt x="287" y="68"/>
                    <a:pt x="287" y="68"/>
                    <a:pt x="287" y="68"/>
                  </a:cubicBezTo>
                  <a:cubicBezTo>
                    <a:pt x="285" y="65"/>
                    <a:pt x="285" y="65"/>
                    <a:pt x="285" y="65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1" y="54"/>
                    <a:pt x="281" y="54"/>
                    <a:pt x="281" y="54"/>
                  </a:cubicBezTo>
                  <a:cubicBezTo>
                    <a:pt x="278" y="49"/>
                    <a:pt x="278" y="49"/>
                    <a:pt x="278" y="49"/>
                  </a:cubicBezTo>
                  <a:cubicBezTo>
                    <a:pt x="275" y="40"/>
                    <a:pt x="275" y="40"/>
                    <a:pt x="275" y="40"/>
                  </a:cubicBezTo>
                  <a:cubicBezTo>
                    <a:pt x="272" y="36"/>
                    <a:pt x="272" y="36"/>
                    <a:pt x="272" y="36"/>
                  </a:cubicBezTo>
                  <a:cubicBezTo>
                    <a:pt x="271" y="35"/>
                    <a:pt x="271" y="35"/>
                    <a:pt x="271" y="35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60" y="27"/>
                    <a:pt x="260" y="27"/>
                    <a:pt x="260" y="27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46" y="19"/>
                    <a:pt x="246" y="19"/>
                    <a:pt x="246" y="19"/>
                  </a:cubicBezTo>
                  <a:cubicBezTo>
                    <a:pt x="239" y="18"/>
                    <a:pt x="239" y="18"/>
                    <a:pt x="239" y="18"/>
                  </a:cubicBezTo>
                  <a:cubicBezTo>
                    <a:pt x="230" y="19"/>
                    <a:pt x="230" y="19"/>
                    <a:pt x="230" y="19"/>
                  </a:cubicBezTo>
                  <a:cubicBezTo>
                    <a:pt x="227" y="19"/>
                    <a:pt x="227" y="19"/>
                    <a:pt x="227" y="19"/>
                  </a:cubicBezTo>
                  <a:cubicBezTo>
                    <a:pt x="224" y="20"/>
                    <a:pt x="224" y="20"/>
                    <a:pt x="224" y="20"/>
                  </a:cubicBezTo>
                  <a:cubicBezTo>
                    <a:pt x="222" y="22"/>
                    <a:pt x="222" y="22"/>
                    <a:pt x="222" y="22"/>
                  </a:cubicBezTo>
                  <a:cubicBezTo>
                    <a:pt x="219" y="21"/>
                    <a:pt x="219" y="21"/>
                    <a:pt x="219" y="21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10" y="16"/>
                    <a:pt x="210" y="16"/>
                    <a:pt x="210" y="16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75" y="149"/>
                    <a:pt x="186" y="154"/>
                    <a:pt x="224" y="155"/>
                  </a:cubicBezTo>
                  <a:cubicBezTo>
                    <a:pt x="246" y="156"/>
                    <a:pt x="313" y="158"/>
                    <a:pt x="313" y="158"/>
                  </a:cubicBez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6293240" y="2040021"/>
              <a:ext cx="384509" cy="256340"/>
            </a:xfrm>
            <a:custGeom>
              <a:avLst/>
              <a:gdLst>
                <a:gd name="T0" fmla="*/ 200 w 269"/>
                <a:gd name="T1" fmla="*/ 158 h 180"/>
                <a:gd name="T2" fmla="*/ 206 w 269"/>
                <a:gd name="T3" fmla="*/ 161 h 180"/>
                <a:gd name="T4" fmla="*/ 209 w 269"/>
                <a:gd name="T5" fmla="*/ 163 h 180"/>
                <a:gd name="T6" fmla="*/ 212 w 269"/>
                <a:gd name="T7" fmla="*/ 164 h 180"/>
                <a:gd name="T8" fmla="*/ 214 w 269"/>
                <a:gd name="T9" fmla="*/ 162 h 180"/>
                <a:gd name="T10" fmla="*/ 217 w 269"/>
                <a:gd name="T11" fmla="*/ 161 h 180"/>
                <a:gd name="T12" fmla="*/ 220 w 269"/>
                <a:gd name="T13" fmla="*/ 161 h 180"/>
                <a:gd name="T14" fmla="*/ 229 w 269"/>
                <a:gd name="T15" fmla="*/ 160 h 180"/>
                <a:gd name="T16" fmla="*/ 236 w 269"/>
                <a:gd name="T17" fmla="*/ 161 h 180"/>
                <a:gd name="T18" fmla="*/ 240 w 269"/>
                <a:gd name="T19" fmla="*/ 165 h 180"/>
                <a:gd name="T20" fmla="*/ 245 w 269"/>
                <a:gd name="T21" fmla="*/ 167 h 180"/>
                <a:gd name="T22" fmla="*/ 250 w 269"/>
                <a:gd name="T23" fmla="*/ 169 h 180"/>
                <a:gd name="T24" fmla="*/ 257 w 269"/>
                <a:gd name="T25" fmla="*/ 174 h 180"/>
                <a:gd name="T26" fmla="*/ 261 w 269"/>
                <a:gd name="T27" fmla="*/ 177 h 180"/>
                <a:gd name="T28" fmla="*/ 262 w 269"/>
                <a:gd name="T29" fmla="*/ 178 h 180"/>
                <a:gd name="T30" fmla="*/ 263 w 269"/>
                <a:gd name="T31" fmla="*/ 180 h 180"/>
                <a:gd name="T32" fmla="*/ 263 w 269"/>
                <a:gd name="T33" fmla="*/ 180 h 180"/>
                <a:gd name="T34" fmla="*/ 263 w 269"/>
                <a:gd name="T35" fmla="*/ 177 h 180"/>
                <a:gd name="T36" fmla="*/ 263 w 269"/>
                <a:gd name="T37" fmla="*/ 173 h 180"/>
                <a:gd name="T38" fmla="*/ 259 w 269"/>
                <a:gd name="T39" fmla="*/ 170 h 180"/>
                <a:gd name="T40" fmla="*/ 259 w 269"/>
                <a:gd name="T41" fmla="*/ 167 h 180"/>
                <a:gd name="T42" fmla="*/ 260 w 269"/>
                <a:gd name="T43" fmla="*/ 164 h 180"/>
                <a:gd name="T44" fmla="*/ 263 w 269"/>
                <a:gd name="T45" fmla="*/ 163 h 180"/>
                <a:gd name="T46" fmla="*/ 263 w 269"/>
                <a:gd name="T47" fmla="*/ 156 h 180"/>
                <a:gd name="T48" fmla="*/ 264 w 269"/>
                <a:gd name="T49" fmla="*/ 153 h 180"/>
                <a:gd name="T50" fmla="*/ 266 w 269"/>
                <a:gd name="T51" fmla="*/ 152 h 180"/>
                <a:gd name="T52" fmla="*/ 266 w 269"/>
                <a:gd name="T53" fmla="*/ 148 h 180"/>
                <a:gd name="T54" fmla="*/ 264 w 269"/>
                <a:gd name="T55" fmla="*/ 143 h 180"/>
                <a:gd name="T56" fmla="*/ 262 w 269"/>
                <a:gd name="T57" fmla="*/ 142 h 180"/>
                <a:gd name="T58" fmla="*/ 263 w 269"/>
                <a:gd name="T59" fmla="*/ 137 h 180"/>
                <a:gd name="T60" fmla="*/ 263 w 269"/>
                <a:gd name="T61" fmla="*/ 134 h 180"/>
                <a:gd name="T62" fmla="*/ 266 w 269"/>
                <a:gd name="T63" fmla="*/ 134 h 180"/>
                <a:gd name="T64" fmla="*/ 269 w 269"/>
                <a:gd name="T65" fmla="*/ 47 h 180"/>
                <a:gd name="T66" fmla="*/ 266 w 269"/>
                <a:gd name="T67" fmla="*/ 44 h 180"/>
                <a:gd name="T68" fmla="*/ 264 w 269"/>
                <a:gd name="T69" fmla="*/ 41 h 180"/>
                <a:gd name="T70" fmla="*/ 259 w 269"/>
                <a:gd name="T71" fmla="*/ 39 h 180"/>
                <a:gd name="T72" fmla="*/ 258 w 269"/>
                <a:gd name="T73" fmla="*/ 36 h 180"/>
                <a:gd name="T74" fmla="*/ 255 w 269"/>
                <a:gd name="T75" fmla="*/ 33 h 180"/>
                <a:gd name="T76" fmla="*/ 254 w 269"/>
                <a:gd name="T77" fmla="*/ 31 h 180"/>
                <a:gd name="T78" fmla="*/ 254 w 269"/>
                <a:gd name="T79" fmla="*/ 29 h 180"/>
                <a:gd name="T80" fmla="*/ 254 w 269"/>
                <a:gd name="T81" fmla="*/ 27 h 180"/>
                <a:gd name="T82" fmla="*/ 257 w 269"/>
                <a:gd name="T83" fmla="*/ 24 h 180"/>
                <a:gd name="T84" fmla="*/ 260 w 269"/>
                <a:gd name="T85" fmla="*/ 21 h 180"/>
                <a:gd name="T86" fmla="*/ 264 w 269"/>
                <a:gd name="T87" fmla="*/ 17 h 180"/>
                <a:gd name="T88" fmla="*/ 263 w 269"/>
                <a:gd name="T89" fmla="*/ 15 h 180"/>
                <a:gd name="T90" fmla="*/ 263 w 269"/>
                <a:gd name="T91" fmla="*/ 14 h 180"/>
                <a:gd name="T92" fmla="*/ 136 w 269"/>
                <a:gd name="T93" fmla="*/ 8 h 180"/>
                <a:gd name="T94" fmla="*/ 14 w 269"/>
                <a:gd name="T95" fmla="*/ 0 h 180"/>
                <a:gd name="T96" fmla="*/ 0 w 269"/>
                <a:gd name="T97" fmla="*/ 142 h 180"/>
                <a:gd name="T98" fmla="*/ 192 w 269"/>
                <a:gd name="T99" fmla="*/ 154 h 180"/>
                <a:gd name="T100" fmla="*/ 200 w 269"/>
                <a:gd name="T101" fmla="*/ 15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9" h="180">
                  <a:moveTo>
                    <a:pt x="200" y="158"/>
                  </a:moveTo>
                  <a:cubicBezTo>
                    <a:pt x="206" y="161"/>
                    <a:pt x="206" y="161"/>
                    <a:pt x="206" y="161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2" y="164"/>
                    <a:pt x="212" y="164"/>
                    <a:pt x="212" y="164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7" y="161"/>
                    <a:pt x="217" y="161"/>
                    <a:pt x="217" y="161"/>
                  </a:cubicBezTo>
                  <a:cubicBezTo>
                    <a:pt x="220" y="161"/>
                    <a:pt x="220" y="161"/>
                    <a:pt x="220" y="161"/>
                  </a:cubicBezTo>
                  <a:cubicBezTo>
                    <a:pt x="229" y="160"/>
                    <a:pt x="229" y="160"/>
                    <a:pt x="229" y="160"/>
                  </a:cubicBezTo>
                  <a:cubicBezTo>
                    <a:pt x="236" y="161"/>
                    <a:pt x="236" y="161"/>
                    <a:pt x="236" y="161"/>
                  </a:cubicBezTo>
                  <a:cubicBezTo>
                    <a:pt x="240" y="165"/>
                    <a:pt x="240" y="165"/>
                    <a:pt x="240" y="165"/>
                  </a:cubicBezTo>
                  <a:cubicBezTo>
                    <a:pt x="245" y="167"/>
                    <a:pt x="245" y="167"/>
                    <a:pt x="245" y="167"/>
                  </a:cubicBezTo>
                  <a:cubicBezTo>
                    <a:pt x="250" y="169"/>
                    <a:pt x="250" y="169"/>
                    <a:pt x="250" y="169"/>
                  </a:cubicBezTo>
                  <a:cubicBezTo>
                    <a:pt x="257" y="174"/>
                    <a:pt x="257" y="174"/>
                    <a:pt x="257" y="174"/>
                  </a:cubicBezTo>
                  <a:cubicBezTo>
                    <a:pt x="261" y="177"/>
                    <a:pt x="261" y="177"/>
                    <a:pt x="261" y="177"/>
                  </a:cubicBezTo>
                  <a:cubicBezTo>
                    <a:pt x="262" y="178"/>
                    <a:pt x="262" y="178"/>
                    <a:pt x="262" y="178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77"/>
                    <a:pt x="263" y="177"/>
                    <a:pt x="263" y="177"/>
                  </a:cubicBezTo>
                  <a:cubicBezTo>
                    <a:pt x="263" y="173"/>
                    <a:pt x="263" y="173"/>
                    <a:pt x="263" y="173"/>
                  </a:cubicBezTo>
                  <a:cubicBezTo>
                    <a:pt x="259" y="170"/>
                    <a:pt x="259" y="170"/>
                    <a:pt x="259" y="170"/>
                  </a:cubicBezTo>
                  <a:cubicBezTo>
                    <a:pt x="259" y="167"/>
                    <a:pt x="259" y="167"/>
                    <a:pt x="259" y="167"/>
                  </a:cubicBezTo>
                  <a:cubicBezTo>
                    <a:pt x="260" y="164"/>
                    <a:pt x="260" y="164"/>
                    <a:pt x="260" y="164"/>
                  </a:cubicBezTo>
                  <a:cubicBezTo>
                    <a:pt x="263" y="163"/>
                    <a:pt x="263" y="163"/>
                    <a:pt x="263" y="163"/>
                  </a:cubicBezTo>
                  <a:cubicBezTo>
                    <a:pt x="263" y="156"/>
                    <a:pt x="263" y="156"/>
                    <a:pt x="263" y="156"/>
                  </a:cubicBezTo>
                  <a:cubicBezTo>
                    <a:pt x="264" y="153"/>
                    <a:pt x="264" y="153"/>
                    <a:pt x="264" y="153"/>
                  </a:cubicBezTo>
                  <a:cubicBezTo>
                    <a:pt x="266" y="152"/>
                    <a:pt x="266" y="152"/>
                    <a:pt x="266" y="152"/>
                  </a:cubicBezTo>
                  <a:cubicBezTo>
                    <a:pt x="266" y="148"/>
                    <a:pt x="266" y="148"/>
                    <a:pt x="266" y="148"/>
                  </a:cubicBezTo>
                  <a:cubicBezTo>
                    <a:pt x="264" y="143"/>
                    <a:pt x="264" y="143"/>
                    <a:pt x="264" y="143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3" y="137"/>
                    <a:pt x="263" y="137"/>
                    <a:pt x="263" y="137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6" y="134"/>
                    <a:pt x="266" y="134"/>
                    <a:pt x="266" y="134"/>
                  </a:cubicBezTo>
                  <a:cubicBezTo>
                    <a:pt x="269" y="47"/>
                    <a:pt x="269" y="47"/>
                    <a:pt x="269" y="47"/>
                  </a:cubicBezTo>
                  <a:cubicBezTo>
                    <a:pt x="266" y="44"/>
                    <a:pt x="266" y="44"/>
                    <a:pt x="266" y="44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59" y="39"/>
                    <a:pt x="259" y="39"/>
                    <a:pt x="259" y="39"/>
                  </a:cubicBezTo>
                  <a:cubicBezTo>
                    <a:pt x="258" y="36"/>
                    <a:pt x="258" y="36"/>
                    <a:pt x="258" y="36"/>
                  </a:cubicBezTo>
                  <a:cubicBezTo>
                    <a:pt x="255" y="33"/>
                    <a:pt x="255" y="33"/>
                    <a:pt x="255" y="33"/>
                  </a:cubicBezTo>
                  <a:cubicBezTo>
                    <a:pt x="254" y="31"/>
                    <a:pt x="254" y="31"/>
                    <a:pt x="254" y="31"/>
                  </a:cubicBezTo>
                  <a:cubicBezTo>
                    <a:pt x="254" y="29"/>
                    <a:pt x="254" y="29"/>
                    <a:pt x="254" y="29"/>
                  </a:cubicBezTo>
                  <a:cubicBezTo>
                    <a:pt x="254" y="27"/>
                    <a:pt x="254" y="27"/>
                    <a:pt x="254" y="27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4" y="17"/>
                    <a:pt x="264" y="17"/>
                    <a:pt x="264" y="17"/>
                  </a:cubicBezTo>
                  <a:cubicBezTo>
                    <a:pt x="263" y="15"/>
                    <a:pt x="263" y="15"/>
                    <a:pt x="263" y="15"/>
                  </a:cubicBezTo>
                  <a:cubicBezTo>
                    <a:pt x="263" y="14"/>
                    <a:pt x="263" y="14"/>
                    <a:pt x="263" y="14"/>
                  </a:cubicBezTo>
                  <a:cubicBezTo>
                    <a:pt x="263" y="14"/>
                    <a:pt x="167" y="10"/>
                    <a:pt x="136" y="8"/>
                  </a:cubicBezTo>
                  <a:cubicBezTo>
                    <a:pt x="105" y="6"/>
                    <a:pt x="14" y="0"/>
                    <a:pt x="14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192" y="154"/>
                    <a:pt x="192" y="154"/>
                    <a:pt x="192" y="154"/>
                  </a:cubicBezTo>
                  <a:lnTo>
                    <a:pt x="200" y="158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5922223" y="2058571"/>
              <a:ext cx="386195" cy="318738"/>
            </a:xfrm>
            <a:custGeom>
              <a:avLst/>
              <a:gdLst>
                <a:gd name="T0" fmla="*/ 229 w 229"/>
                <a:gd name="T1" fmla="*/ 27 h 189"/>
                <a:gd name="T2" fmla="*/ 228 w 229"/>
                <a:gd name="T3" fmla="*/ 27 h 189"/>
                <a:gd name="T4" fmla="*/ 28 w 229"/>
                <a:gd name="T5" fmla="*/ 0 h 189"/>
                <a:gd name="T6" fmla="*/ 24 w 229"/>
                <a:gd name="T7" fmla="*/ 23 h 189"/>
                <a:gd name="T8" fmla="*/ 7 w 229"/>
                <a:gd name="T9" fmla="*/ 122 h 189"/>
                <a:gd name="T10" fmla="*/ 0 w 229"/>
                <a:gd name="T11" fmla="*/ 162 h 189"/>
                <a:gd name="T12" fmla="*/ 61 w 229"/>
                <a:gd name="T13" fmla="*/ 172 h 189"/>
                <a:gd name="T14" fmla="*/ 212 w 229"/>
                <a:gd name="T15" fmla="*/ 189 h 189"/>
                <a:gd name="T16" fmla="*/ 220 w 229"/>
                <a:gd name="T17" fmla="*/ 109 h 189"/>
                <a:gd name="T18" fmla="*/ 229 w 229"/>
                <a:gd name="T19" fmla="*/ 2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189">
                  <a:moveTo>
                    <a:pt x="229" y="27"/>
                  </a:moveTo>
                  <a:lnTo>
                    <a:pt x="228" y="27"/>
                  </a:lnTo>
                  <a:lnTo>
                    <a:pt x="28" y="0"/>
                  </a:lnTo>
                  <a:lnTo>
                    <a:pt x="24" y="23"/>
                  </a:lnTo>
                  <a:lnTo>
                    <a:pt x="7" y="122"/>
                  </a:lnTo>
                  <a:lnTo>
                    <a:pt x="0" y="162"/>
                  </a:lnTo>
                  <a:lnTo>
                    <a:pt x="61" y="172"/>
                  </a:lnTo>
                  <a:lnTo>
                    <a:pt x="212" y="189"/>
                  </a:lnTo>
                  <a:lnTo>
                    <a:pt x="220" y="109"/>
                  </a:lnTo>
                  <a:lnTo>
                    <a:pt x="229" y="27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13478" y="1829214"/>
              <a:ext cx="359212" cy="231044"/>
            </a:xfrm>
            <a:custGeom>
              <a:avLst/>
              <a:gdLst>
                <a:gd name="T0" fmla="*/ 249 w 251"/>
                <a:gd name="T1" fmla="*/ 161 h 162"/>
                <a:gd name="T2" fmla="*/ 249 w 251"/>
                <a:gd name="T3" fmla="*/ 162 h 162"/>
                <a:gd name="T4" fmla="*/ 249 w 251"/>
                <a:gd name="T5" fmla="*/ 162 h 162"/>
                <a:gd name="T6" fmla="*/ 251 w 251"/>
                <a:gd name="T7" fmla="*/ 160 h 162"/>
                <a:gd name="T8" fmla="*/ 251 w 251"/>
                <a:gd name="T9" fmla="*/ 155 h 162"/>
                <a:gd name="T10" fmla="*/ 251 w 251"/>
                <a:gd name="T11" fmla="*/ 150 h 162"/>
                <a:gd name="T12" fmla="*/ 250 w 251"/>
                <a:gd name="T13" fmla="*/ 144 h 162"/>
                <a:gd name="T14" fmla="*/ 248 w 251"/>
                <a:gd name="T15" fmla="*/ 141 h 162"/>
                <a:gd name="T16" fmla="*/ 245 w 251"/>
                <a:gd name="T17" fmla="*/ 138 h 162"/>
                <a:gd name="T18" fmla="*/ 245 w 251"/>
                <a:gd name="T19" fmla="*/ 131 h 162"/>
                <a:gd name="T20" fmla="*/ 244 w 251"/>
                <a:gd name="T21" fmla="*/ 129 h 162"/>
                <a:gd name="T22" fmla="*/ 242 w 251"/>
                <a:gd name="T23" fmla="*/ 126 h 162"/>
                <a:gd name="T24" fmla="*/ 242 w 251"/>
                <a:gd name="T25" fmla="*/ 117 h 162"/>
                <a:gd name="T26" fmla="*/ 242 w 251"/>
                <a:gd name="T27" fmla="*/ 103 h 162"/>
                <a:gd name="T28" fmla="*/ 241 w 251"/>
                <a:gd name="T29" fmla="*/ 86 h 162"/>
                <a:gd name="T30" fmla="*/ 241 w 251"/>
                <a:gd name="T31" fmla="*/ 77 h 162"/>
                <a:gd name="T32" fmla="*/ 237 w 251"/>
                <a:gd name="T33" fmla="*/ 70 h 162"/>
                <a:gd name="T34" fmla="*/ 234 w 251"/>
                <a:gd name="T35" fmla="*/ 60 h 162"/>
                <a:gd name="T36" fmla="*/ 232 w 251"/>
                <a:gd name="T37" fmla="*/ 54 h 162"/>
                <a:gd name="T38" fmla="*/ 234 w 251"/>
                <a:gd name="T39" fmla="*/ 47 h 162"/>
                <a:gd name="T40" fmla="*/ 233 w 251"/>
                <a:gd name="T41" fmla="*/ 41 h 162"/>
                <a:gd name="T42" fmla="*/ 232 w 251"/>
                <a:gd name="T43" fmla="*/ 39 h 162"/>
                <a:gd name="T44" fmla="*/ 232 w 251"/>
                <a:gd name="T45" fmla="*/ 34 h 162"/>
                <a:gd name="T46" fmla="*/ 232 w 251"/>
                <a:gd name="T47" fmla="*/ 33 h 162"/>
                <a:gd name="T48" fmla="*/ 234 w 251"/>
                <a:gd name="T49" fmla="*/ 31 h 162"/>
                <a:gd name="T50" fmla="*/ 235 w 251"/>
                <a:gd name="T51" fmla="*/ 29 h 162"/>
                <a:gd name="T52" fmla="*/ 235 w 251"/>
                <a:gd name="T53" fmla="*/ 25 h 162"/>
                <a:gd name="T54" fmla="*/ 232 w 251"/>
                <a:gd name="T55" fmla="*/ 22 h 162"/>
                <a:gd name="T56" fmla="*/ 232 w 251"/>
                <a:gd name="T57" fmla="*/ 21 h 162"/>
                <a:gd name="T58" fmla="*/ 231 w 251"/>
                <a:gd name="T59" fmla="*/ 18 h 162"/>
                <a:gd name="T60" fmla="*/ 230 w 251"/>
                <a:gd name="T61" fmla="*/ 13 h 162"/>
                <a:gd name="T62" fmla="*/ 97 w 251"/>
                <a:gd name="T63" fmla="*/ 7 h 162"/>
                <a:gd name="T64" fmla="*/ 14 w 251"/>
                <a:gd name="T65" fmla="*/ 0 h 162"/>
                <a:gd name="T66" fmla="*/ 0 w 251"/>
                <a:gd name="T67" fmla="*/ 147 h 162"/>
                <a:gd name="T68" fmla="*/ 122 w 251"/>
                <a:gd name="T69" fmla="*/ 155 h 162"/>
                <a:gd name="T70" fmla="*/ 249 w 251"/>
                <a:gd name="T71" fmla="*/ 16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1" h="162">
                  <a:moveTo>
                    <a:pt x="249" y="161"/>
                  </a:moveTo>
                  <a:cubicBezTo>
                    <a:pt x="249" y="162"/>
                    <a:pt x="249" y="162"/>
                    <a:pt x="249" y="162"/>
                  </a:cubicBezTo>
                  <a:cubicBezTo>
                    <a:pt x="249" y="162"/>
                    <a:pt x="249" y="162"/>
                    <a:pt x="249" y="162"/>
                  </a:cubicBezTo>
                  <a:cubicBezTo>
                    <a:pt x="251" y="160"/>
                    <a:pt x="251" y="160"/>
                    <a:pt x="251" y="160"/>
                  </a:cubicBezTo>
                  <a:cubicBezTo>
                    <a:pt x="251" y="155"/>
                    <a:pt x="251" y="155"/>
                    <a:pt x="251" y="155"/>
                  </a:cubicBezTo>
                  <a:cubicBezTo>
                    <a:pt x="251" y="150"/>
                    <a:pt x="251" y="150"/>
                    <a:pt x="251" y="150"/>
                  </a:cubicBezTo>
                  <a:cubicBezTo>
                    <a:pt x="250" y="144"/>
                    <a:pt x="250" y="144"/>
                    <a:pt x="250" y="144"/>
                  </a:cubicBezTo>
                  <a:cubicBezTo>
                    <a:pt x="248" y="141"/>
                    <a:pt x="248" y="141"/>
                    <a:pt x="248" y="141"/>
                  </a:cubicBezTo>
                  <a:cubicBezTo>
                    <a:pt x="245" y="138"/>
                    <a:pt x="245" y="138"/>
                    <a:pt x="245" y="138"/>
                  </a:cubicBezTo>
                  <a:cubicBezTo>
                    <a:pt x="245" y="131"/>
                    <a:pt x="245" y="131"/>
                    <a:pt x="245" y="131"/>
                  </a:cubicBezTo>
                  <a:cubicBezTo>
                    <a:pt x="244" y="129"/>
                    <a:pt x="244" y="129"/>
                    <a:pt x="244" y="129"/>
                  </a:cubicBezTo>
                  <a:cubicBezTo>
                    <a:pt x="242" y="126"/>
                    <a:pt x="242" y="126"/>
                    <a:pt x="242" y="126"/>
                  </a:cubicBezTo>
                  <a:cubicBezTo>
                    <a:pt x="242" y="117"/>
                    <a:pt x="242" y="117"/>
                    <a:pt x="242" y="117"/>
                  </a:cubicBezTo>
                  <a:cubicBezTo>
                    <a:pt x="242" y="103"/>
                    <a:pt x="242" y="103"/>
                    <a:pt x="242" y="103"/>
                  </a:cubicBezTo>
                  <a:cubicBezTo>
                    <a:pt x="241" y="86"/>
                    <a:pt x="241" y="86"/>
                    <a:pt x="241" y="86"/>
                  </a:cubicBezTo>
                  <a:cubicBezTo>
                    <a:pt x="241" y="77"/>
                    <a:pt x="241" y="77"/>
                    <a:pt x="241" y="77"/>
                  </a:cubicBezTo>
                  <a:cubicBezTo>
                    <a:pt x="237" y="70"/>
                    <a:pt x="237" y="70"/>
                    <a:pt x="237" y="70"/>
                  </a:cubicBezTo>
                  <a:cubicBezTo>
                    <a:pt x="234" y="60"/>
                    <a:pt x="234" y="60"/>
                    <a:pt x="234" y="60"/>
                  </a:cubicBezTo>
                  <a:cubicBezTo>
                    <a:pt x="232" y="54"/>
                    <a:pt x="232" y="54"/>
                    <a:pt x="232" y="54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33" y="41"/>
                    <a:pt x="233" y="41"/>
                    <a:pt x="233" y="41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2" y="34"/>
                    <a:pt x="232" y="34"/>
                    <a:pt x="232" y="34"/>
                  </a:cubicBezTo>
                  <a:cubicBezTo>
                    <a:pt x="232" y="33"/>
                    <a:pt x="232" y="33"/>
                    <a:pt x="232" y="33"/>
                  </a:cubicBezTo>
                  <a:cubicBezTo>
                    <a:pt x="234" y="31"/>
                    <a:pt x="234" y="31"/>
                    <a:pt x="234" y="31"/>
                  </a:cubicBezTo>
                  <a:cubicBezTo>
                    <a:pt x="235" y="29"/>
                    <a:pt x="235" y="29"/>
                    <a:pt x="235" y="29"/>
                  </a:cubicBezTo>
                  <a:cubicBezTo>
                    <a:pt x="235" y="25"/>
                    <a:pt x="235" y="25"/>
                    <a:pt x="235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1" y="18"/>
                    <a:pt x="231" y="18"/>
                    <a:pt x="231" y="18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230" y="13"/>
                    <a:pt x="130" y="9"/>
                    <a:pt x="97" y="7"/>
                  </a:cubicBezTo>
                  <a:cubicBezTo>
                    <a:pt x="76" y="6"/>
                    <a:pt x="14" y="0"/>
                    <a:pt x="14" y="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91" y="153"/>
                    <a:pt x="122" y="155"/>
                  </a:cubicBezTo>
                  <a:cubicBezTo>
                    <a:pt x="153" y="157"/>
                    <a:pt x="249" y="161"/>
                    <a:pt x="249" y="161"/>
                  </a:cubicBez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5982935" y="2348640"/>
              <a:ext cx="401373" cy="315365"/>
            </a:xfrm>
            <a:custGeom>
              <a:avLst/>
              <a:gdLst>
                <a:gd name="T0" fmla="*/ 267 w 281"/>
                <a:gd name="T1" fmla="*/ 221 h 221"/>
                <a:gd name="T2" fmla="*/ 277 w 281"/>
                <a:gd name="T3" fmla="*/ 75 h 221"/>
                <a:gd name="T4" fmla="*/ 277 w 281"/>
                <a:gd name="T5" fmla="*/ 75 h 221"/>
                <a:gd name="T6" fmla="*/ 277 w 281"/>
                <a:gd name="T7" fmla="*/ 75 h 221"/>
                <a:gd name="T8" fmla="*/ 281 w 281"/>
                <a:gd name="T9" fmla="*/ 28 h 221"/>
                <a:gd name="T10" fmla="*/ 208 w 281"/>
                <a:gd name="T11" fmla="*/ 21 h 221"/>
                <a:gd name="T12" fmla="*/ 30 w 281"/>
                <a:gd name="T13" fmla="*/ 0 h 221"/>
                <a:gd name="T14" fmla="*/ 0 w 281"/>
                <a:gd name="T15" fmla="*/ 192 h 221"/>
                <a:gd name="T16" fmla="*/ 229 w 281"/>
                <a:gd name="T17" fmla="*/ 219 h 221"/>
                <a:gd name="T18" fmla="*/ 267 w 281"/>
                <a:gd name="T1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21">
                  <a:moveTo>
                    <a:pt x="267" y="221"/>
                  </a:move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81" y="28"/>
                    <a:pt x="281" y="28"/>
                    <a:pt x="281" y="28"/>
                  </a:cubicBezTo>
                  <a:cubicBezTo>
                    <a:pt x="208" y="21"/>
                    <a:pt x="208" y="21"/>
                    <a:pt x="208" y="2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229" y="219"/>
                    <a:pt x="229" y="219"/>
                    <a:pt x="229" y="219"/>
                  </a:cubicBezTo>
                  <a:cubicBezTo>
                    <a:pt x="229" y="219"/>
                    <a:pt x="245" y="220"/>
                    <a:pt x="267" y="221"/>
                  </a:cubicBez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5716477" y="2235648"/>
              <a:ext cx="308619" cy="386196"/>
            </a:xfrm>
            <a:custGeom>
              <a:avLst/>
              <a:gdLst>
                <a:gd name="T0" fmla="*/ 183 w 183"/>
                <a:gd name="T1" fmla="*/ 67 h 229"/>
                <a:gd name="T2" fmla="*/ 122 w 183"/>
                <a:gd name="T3" fmla="*/ 57 h 229"/>
                <a:gd name="T4" fmla="*/ 129 w 183"/>
                <a:gd name="T5" fmla="*/ 17 h 229"/>
                <a:gd name="T6" fmla="*/ 39 w 183"/>
                <a:gd name="T7" fmla="*/ 0 h 229"/>
                <a:gd name="T8" fmla="*/ 0 w 183"/>
                <a:gd name="T9" fmla="*/ 201 h 229"/>
                <a:gd name="T10" fmla="*/ 158 w 183"/>
                <a:gd name="T11" fmla="*/ 229 h 229"/>
                <a:gd name="T12" fmla="*/ 183 w 183"/>
                <a:gd name="T13" fmla="*/ 6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229">
                  <a:moveTo>
                    <a:pt x="183" y="67"/>
                  </a:moveTo>
                  <a:lnTo>
                    <a:pt x="122" y="57"/>
                  </a:lnTo>
                  <a:lnTo>
                    <a:pt x="129" y="17"/>
                  </a:lnTo>
                  <a:lnTo>
                    <a:pt x="39" y="0"/>
                  </a:lnTo>
                  <a:lnTo>
                    <a:pt x="0" y="201"/>
                  </a:lnTo>
                  <a:lnTo>
                    <a:pt x="158" y="229"/>
                  </a:lnTo>
                  <a:lnTo>
                    <a:pt x="183" y="67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5428095" y="2164818"/>
              <a:ext cx="354153" cy="536288"/>
            </a:xfrm>
            <a:custGeom>
              <a:avLst/>
              <a:gdLst>
                <a:gd name="T0" fmla="*/ 5 w 248"/>
                <a:gd name="T1" fmla="*/ 131 h 375"/>
                <a:gd name="T2" fmla="*/ 1 w 248"/>
                <a:gd name="T3" fmla="*/ 132 h 375"/>
                <a:gd name="T4" fmla="*/ 0 w 248"/>
                <a:gd name="T5" fmla="*/ 135 h 375"/>
                <a:gd name="T6" fmla="*/ 1 w 248"/>
                <a:gd name="T7" fmla="*/ 139 h 375"/>
                <a:gd name="T8" fmla="*/ 2 w 248"/>
                <a:gd name="T9" fmla="*/ 142 h 375"/>
                <a:gd name="T10" fmla="*/ 3 w 248"/>
                <a:gd name="T11" fmla="*/ 143 h 375"/>
                <a:gd name="T12" fmla="*/ 7 w 248"/>
                <a:gd name="T13" fmla="*/ 145 h 375"/>
                <a:gd name="T14" fmla="*/ 160 w 248"/>
                <a:gd name="T15" fmla="*/ 375 h 375"/>
                <a:gd name="T16" fmla="*/ 163 w 248"/>
                <a:gd name="T17" fmla="*/ 371 h 375"/>
                <a:gd name="T18" fmla="*/ 164 w 248"/>
                <a:gd name="T19" fmla="*/ 367 h 375"/>
                <a:gd name="T20" fmla="*/ 164 w 248"/>
                <a:gd name="T21" fmla="*/ 354 h 375"/>
                <a:gd name="T22" fmla="*/ 164 w 248"/>
                <a:gd name="T23" fmla="*/ 340 h 375"/>
                <a:gd name="T24" fmla="*/ 164 w 248"/>
                <a:gd name="T25" fmla="*/ 329 h 375"/>
                <a:gd name="T26" fmla="*/ 167 w 248"/>
                <a:gd name="T27" fmla="*/ 326 h 375"/>
                <a:gd name="T28" fmla="*/ 174 w 248"/>
                <a:gd name="T29" fmla="*/ 324 h 375"/>
                <a:gd name="T30" fmla="*/ 176 w 248"/>
                <a:gd name="T31" fmla="*/ 328 h 375"/>
                <a:gd name="T32" fmla="*/ 180 w 248"/>
                <a:gd name="T33" fmla="*/ 326 h 375"/>
                <a:gd name="T34" fmla="*/ 185 w 248"/>
                <a:gd name="T35" fmla="*/ 330 h 375"/>
                <a:gd name="T36" fmla="*/ 188 w 248"/>
                <a:gd name="T37" fmla="*/ 332 h 375"/>
                <a:gd name="T38" fmla="*/ 191 w 248"/>
                <a:gd name="T39" fmla="*/ 330 h 375"/>
                <a:gd name="T40" fmla="*/ 197 w 248"/>
                <a:gd name="T41" fmla="*/ 312 h 375"/>
                <a:gd name="T42" fmla="*/ 202 w 248"/>
                <a:gd name="T43" fmla="*/ 287 h 375"/>
                <a:gd name="T44" fmla="*/ 248 w 248"/>
                <a:gd name="T45" fmla="*/ 49 h 375"/>
                <a:gd name="T46" fmla="*/ 134 w 248"/>
                <a:gd name="T47" fmla="*/ 24 h 375"/>
                <a:gd name="T48" fmla="*/ 42 w 248"/>
                <a:gd name="T49" fmla="*/ 0 h 375"/>
                <a:gd name="T50" fmla="*/ 8 w 248"/>
                <a:gd name="T51" fmla="*/ 130 h 375"/>
                <a:gd name="T52" fmla="*/ 5 w 248"/>
                <a:gd name="T53" fmla="*/ 1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8" h="375">
                  <a:moveTo>
                    <a:pt x="5" y="131"/>
                  </a:moveTo>
                  <a:cubicBezTo>
                    <a:pt x="1" y="132"/>
                    <a:pt x="1" y="132"/>
                    <a:pt x="1" y="132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2" y="142"/>
                    <a:pt x="2" y="142"/>
                    <a:pt x="2" y="142"/>
                  </a:cubicBezTo>
                  <a:cubicBezTo>
                    <a:pt x="3" y="143"/>
                    <a:pt x="3" y="143"/>
                    <a:pt x="3" y="143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160" y="375"/>
                    <a:pt x="160" y="375"/>
                    <a:pt x="160" y="375"/>
                  </a:cubicBezTo>
                  <a:cubicBezTo>
                    <a:pt x="163" y="371"/>
                    <a:pt x="163" y="371"/>
                    <a:pt x="163" y="371"/>
                  </a:cubicBezTo>
                  <a:cubicBezTo>
                    <a:pt x="164" y="367"/>
                    <a:pt x="164" y="367"/>
                    <a:pt x="164" y="367"/>
                  </a:cubicBezTo>
                  <a:cubicBezTo>
                    <a:pt x="164" y="354"/>
                    <a:pt x="164" y="354"/>
                    <a:pt x="164" y="354"/>
                  </a:cubicBezTo>
                  <a:cubicBezTo>
                    <a:pt x="164" y="340"/>
                    <a:pt x="164" y="340"/>
                    <a:pt x="164" y="340"/>
                  </a:cubicBezTo>
                  <a:cubicBezTo>
                    <a:pt x="164" y="329"/>
                    <a:pt x="164" y="329"/>
                    <a:pt x="164" y="329"/>
                  </a:cubicBezTo>
                  <a:cubicBezTo>
                    <a:pt x="167" y="326"/>
                    <a:pt x="167" y="326"/>
                    <a:pt x="167" y="326"/>
                  </a:cubicBezTo>
                  <a:cubicBezTo>
                    <a:pt x="174" y="324"/>
                    <a:pt x="174" y="324"/>
                    <a:pt x="174" y="324"/>
                  </a:cubicBezTo>
                  <a:cubicBezTo>
                    <a:pt x="176" y="328"/>
                    <a:pt x="176" y="328"/>
                    <a:pt x="176" y="328"/>
                  </a:cubicBezTo>
                  <a:cubicBezTo>
                    <a:pt x="180" y="326"/>
                    <a:pt x="180" y="326"/>
                    <a:pt x="180" y="326"/>
                  </a:cubicBezTo>
                  <a:cubicBezTo>
                    <a:pt x="185" y="330"/>
                    <a:pt x="185" y="330"/>
                    <a:pt x="185" y="330"/>
                  </a:cubicBezTo>
                  <a:cubicBezTo>
                    <a:pt x="188" y="332"/>
                    <a:pt x="188" y="332"/>
                    <a:pt x="188" y="332"/>
                  </a:cubicBezTo>
                  <a:cubicBezTo>
                    <a:pt x="191" y="330"/>
                    <a:pt x="191" y="330"/>
                    <a:pt x="191" y="330"/>
                  </a:cubicBezTo>
                  <a:cubicBezTo>
                    <a:pt x="191" y="330"/>
                    <a:pt x="195" y="316"/>
                    <a:pt x="197" y="312"/>
                  </a:cubicBezTo>
                  <a:cubicBezTo>
                    <a:pt x="198" y="306"/>
                    <a:pt x="202" y="287"/>
                    <a:pt x="202" y="287"/>
                  </a:cubicBezTo>
                  <a:cubicBezTo>
                    <a:pt x="248" y="49"/>
                    <a:pt x="248" y="49"/>
                    <a:pt x="248" y="49"/>
                  </a:cubicBezTo>
                  <a:cubicBezTo>
                    <a:pt x="248" y="49"/>
                    <a:pt x="163" y="31"/>
                    <a:pt x="134" y="24"/>
                  </a:cubicBezTo>
                  <a:cubicBezTo>
                    <a:pt x="111" y="19"/>
                    <a:pt x="42" y="0"/>
                    <a:pt x="42" y="0"/>
                  </a:cubicBezTo>
                  <a:cubicBezTo>
                    <a:pt x="8" y="130"/>
                    <a:pt x="8" y="130"/>
                    <a:pt x="8" y="130"/>
                  </a:cubicBezTo>
                  <a:lnTo>
                    <a:pt x="5" y="131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auto">
            <a:xfrm>
              <a:off x="5278002" y="1830902"/>
              <a:ext cx="440161" cy="372704"/>
            </a:xfrm>
            <a:custGeom>
              <a:avLst/>
              <a:gdLst>
                <a:gd name="T0" fmla="*/ 269 w 308"/>
                <a:gd name="T1" fmla="*/ 182 h 261"/>
                <a:gd name="T2" fmla="*/ 270 w 308"/>
                <a:gd name="T3" fmla="*/ 175 h 261"/>
                <a:gd name="T4" fmla="*/ 275 w 308"/>
                <a:gd name="T5" fmla="*/ 171 h 261"/>
                <a:gd name="T6" fmla="*/ 276 w 308"/>
                <a:gd name="T7" fmla="*/ 159 h 261"/>
                <a:gd name="T8" fmla="*/ 274 w 308"/>
                <a:gd name="T9" fmla="*/ 154 h 261"/>
                <a:gd name="T10" fmla="*/ 271 w 308"/>
                <a:gd name="T11" fmla="*/ 153 h 261"/>
                <a:gd name="T12" fmla="*/ 270 w 308"/>
                <a:gd name="T13" fmla="*/ 145 h 261"/>
                <a:gd name="T14" fmla="*/ 277 w 308"/>
                <a:gd name="T15" fmla="*/ 137 h 261"/>
                <a:gd name="T16" fmla="*/ 288 w 308"/>
                <a:gd name="T17" fmla="*/ 125 h 261"/>
                <a:gd name="T18" fmla="*/ 291 w 308"/>
                <a:gd name="T19" fmla="*/ 120 h 261"/>
                <a:gd name="T20" fmla="*/ 297 w 308"/>
                <a:gd name="T21" fmla="*/ 111 h 261"/>
                <a:gd name="T22" fmla="*/ 304 w 308"/>
                <a:gd name="T23" fmla="*/ 104 h 261"/>
                <a:gd name="T24" fmla="*/ 308 w 308"/>
                <a:gd name="T25" fmla="*/ 98 h 261"/>
                <a:gd name="T26" fmla="*/ 307 w 308"/>
                <a:gd name="T27" fmla="*/ 90 h 261"/>
                <a:gd name="T28" fmla="*/ 300 w 308"/>
                <a:gd name="T29" fmla="*/ 83 h 261"/>
                <a:gd name="T30" fmla="*/ 297 w 308"/>
                <a:gd name="T31" fmla="*/ 74 h 261"/>
                <a:gd name="T32" fmla="*/ 220 w 308"/>
                <a:gd name="T33" fmla="*/ 56 h 261"/>
                <a:gd name="T34" fmla="*/ 211 w 308"/>
                <a:gd name="T35" fmla="*/ 56 h 261"/>
                <a:gd name="T36" fmla="*/ 178 w 308"/>
                <a:gd name="T37" fmla="*/ 58 h 261"/>
                <a:gd name="T38" fmla="*/ 172 w 308"/>
                <a:gd name="T39" fmla="*/ 57 h 261"/>
                <a:gd name="T40" fmla="*/ 167 w 308"/>
                <a:gd name="T41" fmla="*/ 58 h 261"/>
                <a:gd name="T42" fmla="*/ 164 w 308"/>
                <a:gd name="T43" fmla="*/ 56 h 261"/>
                <a:gd name="T44" fmla="*/ 156 w 308"/>
                <a:gd name="T45" fmla="*/ 55 h 261"/>
                <a:gd name="T46" fmla="*/ 155 w 308"/>
                <a:gd name="T47" fmla="*/ 52 h 261"/>
                <a:gd name="T48" fmla="*/ 143 w 308"/>
                <a:gd name="T49" fmla="*/ 49 h 261"/>
                <a:gd name="T50" fmla="*/ 136 w 308"/>
                <a:gd name="T51" fmla="*/ 46 h 261"/>
                <a:gd name="T52" fmla="*/ 121 w 308"/>
                <a:gd name="T53" fmla="*/ 49 h 261"/>
                <a:gd name="T54" fmla="*/ 103 w 308"/>
                <a:gd name="T55" fmla="*/ 40 h 261"/>
                <a:gd name="T56" fmla="*/ 99 w 308"/>
                <a:gd name="T57" fmla="*/ 12 h 261"/>
                <a:gd name="T58" fmla="*/ 90 w 308"/>
                <a:gd name="T59" fmla="*/ 10 h 261"/>
                <a:gd name="T60" fmla="*/ 80 w 308"/>
                <a:gd name="T61" fmla="*/ 4 h 261"/>
                <a:gd name="T62" fmla="*/ 70 w 308"/>
                <a:gd name="T63" fmla="*/ 0 h 261"/>
                <a:gd name="T64" fmla="*/ 68 w 308"/>
                <a:gd name="T65" fmla="*/ 13 h 261"/>
                <a:gd name="T66" fmla="*/ 64 w 308"/>
                <a:gd name="T67" fmla="*/ 28 h 261"/>
                <a:gd name="T68" fmla="*/ 60 w 308"/>
                <a:gd name="T69" fmla="*/ 38 h 261"/>
                <a:gd name="T70" fmla="*/ 55 w 308"/>
                <a:gd name="T71" fmla="*/ 50 h 261"/>
                <a:gd name="T72" fmla="*/ 47 w 308"/>
                <a:gd name="T73" fmla="*/ 67 h 261"/>
                <a:gd name="T74" fmla="*/ 35 w 308"/>
                <a:gd name="T75" fmla="*/ 98 h 261"/>
                <a:gd name="T76" fmla="*/ 24 w 308"/>
                <a:gd name="T77" fmla="*/ 120 h 261"/>
                <a:gd name="T78" fmla="*/ 18 w 308"/>
                <a:gd name="T79" fmla="*/ 130 h 261"/>
                <a:gd name="T80" fmla="*/ 14 w 308"/>
                <a:gd name="T81" fmla="*/ 136 h 261"/>
                <a:gd name="T82" fmla="*/ 5 w 308"/>
                <a:gd name="T83" fmla="*/ 148 h 261"/>
                <a:gd name="T84" fmla="*/ 5 w 308"/>
                <a:gd name="T85" fmla="*/ 160 h 261"/>
                <a:gd name="T86" fmla="*/ 5 w 308"/>
                <a:gd name="T87" fmla="*/ 164 h 261"/>
                <a:gd name="T88" fmla="*/ 3 w 308"/>
                <a:gd name="T89" fmla="*/ 169 h 261"/>
                <a:gd name="T90" fmla="*/ 1 w 308"/>
                <a:gd name="T91" fmla="*/ 174 h 261"/>
                <a:gd name="T92" fmla="*/ 0 w 308"/>
                <a:gd name="T93" fmla="*/ 187 h 261"/>
                <a:gd name="T94" fmla="*/ 3 w 308"/>
                <a:gd name="T95" fmla="*/ 193 h 261"/>
                <a:gd name="T96" fmla="*/ 239 w 308"/>
                <a:gd name="T97" fmla="*/ 258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8" h="261">
                  <a:moveTo>
                    <a:pt x="251" y="261"/>
                  </a:moveTo>
                  <a:cubicBezTo>
                    <a:pt x="269" y="182"/>
                    <a:pt x="269" y="182"/>
                    <a:pt x="269" y="182"/>
                  </a:cubicBezTo>
                  <a:cubicBezTo>
                    <a:pt x="269" y="177"/>
                    <a:pt x="269" y="177"/>
                    <a:pt x="269" y="177"/>
                  </a:cubicBezTo>
                  <a:cubicBezTo>
                    <a:pt x="270" y="175"/>
                    <a:pt x="270" y="175"/>
                    <a:pt x="270" y="175"/>
                  </a:cubicBezTo>
                  <a:cubicBezTo>
                    <a:pt x="275" y="173"/>
                    <a:pt x="275" y="173"/>
                    <a:pt x="275" y="173"/>
                  </a:cubicBezTo>
                  <a:cubicBezTo>
                    <a:pt x="275" y="171"/>
                    <a:pt x="275" y="171"/>
                    <a:pt x="275" y="171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59"/>
                    <a:pt x="276" y="159"/>
                    <a:pt x="276" y="159"/>
                  </a:cubicBezTo>
                  <a:cubicBezTo>
                    <a:pt x="277" y="157"/>
                    <a:pt x="277" y="157"/>
                    <a:pt x="277" y="157"/>
                  </a:cubicBezTo>
                  <a:cubicBezTo>
                    <a:pt x="274" y="154"/>
                    <a:pt x="274" y="154"/>
                    <a:pt x="274" y="154"/>
                  </a:cubicBezTo>
                  <a:cubicBezTo>
                    <a:pt x="273" y="154"/>
                    <a:pt x="273" y="154"/>
                    <a:pt x="273" y="154"/>
                  </a:cubicBezTo>
                  <a:cubicBezTo>
                    <a:pt x="271" y="153"/>
                    <a:pt x="271" y="153"/>
                    <a:pt x="271" y="153"/>
                  </a:cubicBezTo>
                  <a:cubicBezTo>
                    <a:pt x="269" y="150"/>
                    <a:pt x="269" y="150"/>
                    <a:pt x="269" y="150"/>
                  </a:cubicBezTo>
                  <a:cubicBezTo>
                    <a:pt x="270" y="145"/>
                    <a:pt x="270" y="145"/>
                    <a:pt x="270" y="145"/>
                  </a:cubicBezTo>
                  <a:cubicBezTo>
                    <a:pt x="271" y="142"/>
                    <a:pt x="271" y="142"/>
                    <a:pt x="271" y="142"/>
                  </a:cubicBezTo>
                  <a:cubicBezTo>
                    <a:pt x="277" y="137"/>
                    <a:pt x="277" y="137"/>
                    <a:pt x="277" y="137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289" y="121"/>
                    <a:pt x="289" y="121"/>
                    <a:pt x="289" y="121"/>
                  </a:cubicBezTo>
                  <a:cubicBezTo>
                    <a:pt x="291" y="120"/>
                    <a:pt x="291" y="120"/>
                    <a:pt x="291" y="120"/>
                  </a:cubicBezTo>
                  <a:cubicBezTo>
                    <a:pt x="293" y="115"/>
                    <a:pt x="293" y="115"/>
                    <a:pt x="293" y="115"/>
                  </a:cubicBezTo>
                  <a:cubicBezTo>
                    <a:pt x="297" y="111"/>
                    <a:pt x="297" y="111"/>
                    <a:pt x="297" y="111"/>
                  </a:cubicBezTo>
                  <a:cubicBezTo>
                    <a:pt x="300" y="107"/>
                    <a:pt x="300" y="107"/>
                    <a:pt x="300" y="107"/>
                  </a:cubicBezTo>
                  <a:cubicBezTo>
                    <a:pt x="304" y="104"/>
                    <a:pt x="304" y="104"/>
                    <a:pt x="304" y="104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8" y="98"/>
                    <a:pt x="308" y="98"/>
                    <a:pt x="308" y="98"/>
                  </a:cubicBezTo>
                  <a:cubicBezTo>
                    <a:pt x="308" y="94"/>
                    <a:pt x="308" y="94"/>
                    <a:pt x="308" y="94"/>
                  </a:cubicBezTo>
                  <a:cubicBezTo>
                    <a:pt x="307" y="90"/>
                    <a:pt x="307" y="90"/>
                    <a:pt x="307" y="90"/>
                  </a:cubicBezTo>
                  <a:cubicBezTo>
                    <a:pt x="305" y="87"/>
                    <a:pt x="305" y="87"/>
                    <a:pt x="305" y="87"/>
                  </a:cubicBezTo>
                  <a:cubicBezTo>
                    <a:pt x="300" y="83"/>
                    <a:pt x="300" y="83"/>
                    <a:pt x="300" y="83"/>
                  </a:cubicBezTo>
                  <a:cubicBezTo>
                    <a:pt x="297" y="78"/>
                    <a:pt x="297" y="78"/>
                    <a:pt x="297" y="78"/>
                  </a:cubicBezTo>
                  <a:cubicBezTo>
                    <a:pt x="297" y="74"/>
                    <a:pt x="297" y="74"/>
                    <a:pt x="297" y="74"/>
                  </a:cubicBezTo>
                  <a:cubicBezTo>
                    <a:pt x="231" y="57"/>
                    <a:pt x="231" y="57"/>
                    <a:pt x="231" y="57"/>
                  </a:cubicBezTo>
                  <a:cubicBezTo>
                    <a:pt x="220" y="56"/>
                    <a:pt x="220" y="56"/>
                    <a:pt x="220" y="56"/>
                  </a:cubicBezTo>
                  <a:cubicBezTo>
                    <a:pt x="216" y="57"/>
                    <a:pt x="216" y="57"/>
                    <a:pt x="216" y="57"/>
                  </a:cubicBezTo>
                  <a:cubicBezTo>
                    <a:pt x="211" y="56"/>
                    <a:pt x="211" y="56"/>
                    <a:pt x="211" y="56"/>
                  </a:cubicBezTo>
                  <a:cubicBezTo>
                    <a:pt x="207" y="57"/>
                    <a:pt x="207" y="57"/>
                    <a:pt x="207" y="57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7"/>
                    <a:pt x="172" y="57"/>
                    <a:pt x="172" y="57"/>
                  </a:cubicBezTo>
                  <a:cubicBezTo>
                    <a:pt x="169" y="58"/>
                    <a:pt x="169" y="58"/>
                    <a:pt x="169" y="58"/>
                  </a:cubicBezTo>
                  <a:cubicBezTo>
                    <a:pt x="167" y="58"/>
                    <a:pt x="167" y="58"/>
                    <a:pt x="167" y="58"/>
                  </a:cubicBezTo>
                  <a:cubicBezTo>
                    <a:pt x="164" y="57"/>
                    <a:pt x="164" y="57"/>
                    <a:pt x="164" y="57"/>
                  </a:cubicBezTo>
                  <a:cubicBezTo>
                    <a:pt x="164" y="56"/>
                    <a:pt x="164" y="56"/>
                    <a:pt x="164" y="56"/>
                  </a:cubicBezTo>
                  <a:cubicBezTo>
                    <a:pt x="159" y="56"/>
                    <a:pt x="159" y="56"/>
                    <a:pt x="159" y="56"/>
                  </a:cubicBezTo>
                  <a:cubicBezTo>
                    <a:pt x="156" y="55"/>
                    <a:pt x="156" y="55"/>
                    <a:pt x="156" y="55"/>
                  </a:cubicBezTo>
                  <a:cubicBezTo>
                    <a:pt x="155" y="53"/>
                    <a:pt x="155" y="53"/>
                    <a:pt x="155" y="53"/>
                  </a:cubicBezTo>
                  <a:cubicBezTo>
                    <a:pt x="155" y="52"/>
                    <a:pt x="155" y="52"/>
                    <a:pt x="155" y="52"/>
                  </a:cubicBezTo>
                  <a:cubicBezTo>
                    <a:pt x="151" y="51"/>
                    <a:pt x="151" y="51"/>
                    <a:pt x="151" y="51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38" y="47"/>
                    <a:pt x="138" y="47"/>
                    <a:pt x="138" y="47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0"/>
                    <a:pt x="106" y="33"/>
                    <a:pt x="105" y="24"/>
                  </a:cubicBezTo>
                  <a:cubicBezTo>
                    <a:pt x="104" y="14"/>
                    <a:pt x="99" y="12"/>
                    <a:pt x="99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4"/>
                    <a:pt x="85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5" y="50"/>
                    <a:pt x="55" y="50"/>
                    <a:pt x="55" y="50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35" y="98"/>
                    <a:pt x="35" y="98"/>
                    <a:pt x="35" y="98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24" y="120"/>
                    <a:pt x="24" y="120"/>
                    <a:pt x="24" y="120"/>
                  </a:cubicBezTo>
                  <a:cubicBezTo>
                    <a:pt x="22" y="124"/>
                    <a:pt x="22" y="124"/>
                    <a:pt x="22" y="124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5" y="148"/>
                    <a:pt x="5" y="148"/>
                    <a:pt x="5" y="148"/>
                  </a:cubicBezTo>
                  <a:cubicBezTo>
                    <a:pt x="3" y="152"/>
                    <a:pt x="3" y="152"/>
                    <a:pt x="3" y="152"/>
                  </a:cubicBezTo>
                  <a:cubicBezTo>
                    <a:pt x="5" y="160"/>
                    <a:pt x="5" y="160"/>
                    <a:pt x="5" y="160"/>
                  </a:cubicBezTo>
                  <a:cubicBezTo>
                    <a:pt x="5" y="162"/>
                    <a:pt x="5" y="162"/>
                    <a:pt x="5" y="162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70"/>
                    <a:pt x="1" y="170"/>
                    <a:pt x="1" y="170"/>
                  </a:cubicBezTo>
                  <a:cubicBezTo>
                    <a:pt x="1" y="174"/>
                    <a:pt x="1" y="174"/>
                    <a:pt x="1" y="174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2" y="190"/>
                    <a:pt x="2" y="190"/>
                    <a:pt x="2" y="190"/>
                  </a:cubicBezTo>
                  <a:cubicBezTo>
                    <a:pt x="3" y="193"/>
                    <a:pt x="3" y="193"/>
                    <a:pt x="3" y="193"/>
                  </a:cubicBezTo>
                  <a:cubicBezTo>
                    <a:pt x="147" y="234"/>
                    <a:pt x="147" y="234"/>
                    <a:pt x="147" y="234"/>
                  </a:cubicBezTo>
                  <a:cubicBezTo>
                    <a:pt x="147" y="234"/>
                    <a:pt x="216" y="253"/>
                    <a:pt x="239" y="258"/>
                  </a:cubicBezTo>
                  <a:cubicBezTo>
                    <a:pt x="242" y="259"/>
                    <a:pt x="246" y="260"/>
                    <a:pt x="251" y="261"/>
                  </a:cubicBez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8" name="Freeform 20"/>
            <p:cNvSpPr>
              <a:spLocks/>
            </p:cNvSpPr>
            <p:nvPr/>
          </p:nvSpPr>
          <p:spPr bwMode="auto">
            <a:xfrm>
              <a:off x="5637213" y="1731401"/>
              <a:ext cx="325483" cy="532916"/>
            </a:xfrm>
            <a:custGeom>
              <a:avLst/>
              <a:gdLst>
                <a:gd name="T0" fmla="*/ 46 w 228"/>
                <a:gd name="T1" fmla="*/ 143 h 373"/>
                <a:gd name="T2" fmla="*/ 49 w 228"/>
                <a:gd name="T3" fmla="*/ 152 h 373"/>
                <a:gd name="T4" fmla="*/ 56 w 228"/>
                <a:gd name="T5" fmla="*/ 159 h 373"/>
                <a:gd name="T6" fmla="*/ 57 w 228"/>
                <a:gd name="T7" fmla="*/ 167 h 373"/>
                <a:gd name="T8" fmla="*/ 53 w 228"/>
                <a:gd name="T9" fmla="*/ 173 h 373"/>
                <a:gd name="T10" fmla="*/ 46 w 228"/>
                <a:gd name="T11" fmla="*/ 180 h 373"/>
                <a:gd name="T12" fmla="*/ 40 w 228"/>
                <a:gd name="T13" fmla="*/ 189 h 373"/>
                <a:gd name="T14" fmla="*/ 37 w 228"/>
                <a:gd name="T15" fmla="*/ 194 h 373"/>
                <a:gd name="T16" fmla="*/ 26 w 228"/>
                <a:gd name="T17" fmla="*/ 206 h 373"/>
                <a:gd name="T18" fmla="*/ 19 w 228"/>
                <a:gd name="T19" fmla="*/ 214 h 373"/>
                <a:gd name="T20" fmla="*/ 20 w 228"/>
                <a:gd name="T21" fmla="*/ 222 h 373"/>
                <a:gd name="T22" fmla="*/ 23 w 228"/>
                <a:gd name="T23" fmla="*/ 223 h 373"/>
                <a:gd name="T24" fmla="*/ 25 w 228"/>
                <a:gd name="T25" fmla="*/ 228 h 373"/>
                <a:gd name="T26" fmla="*/ 24 w 228"/>
                <a:gd name="T27" fmla="*/ 240 h 373"/>
                <a:gd name="T28" fmla="*/ 19 w 228"/>
                <a:gd name="T29" fmla="*/ 244 h 373"/>
                <a:gd name="T30" fmla="*/ 18 w 228"/>
                <a:gd name="T31" fmla="*/ 251 h 373"/>
                <a:gd name="T32" fmla="*/ 102 w 228"/>
                <a:gd name="T33" fmla="*/ 352 h 373"/>
                <a:gd name="T34" fmla="*/ 228 w 228"/>
                <a:gd name="T35" fmla="*/ 256 h 373"/>
                <a:gd name="T36" fmla="*/ 224 w 228"/>
                <a:gd name="T37" fmla="*/ 252 h 373"/>
                <a:gd name="T38" fmla="*/ 223 w 228"/>
                <a:gd name="T39" fmla="*/ 247 h 373"/>
                <a:gd name="T40" fmla="*/ 218 w 228"/>
                <a:gd name="T41" fmla="*/ 241 h 373"/>
                <a:gd name="T42" fmla="*/ 213 w 228"/>
                <a:gd name="T43" fmla="*/ 246 h 373"/>
                <a:gd name="T44" fmla="*/ 202 w 228"/>
                <a:gd name="T45" fmla="*/ 248 h 373"/>
                <a:gd name="T46" fmla="*/ 189 w 228"/>
                <a:gd name="T47" fmla="*/ 245 h 373"/>
                <a:gd name="T48" fmla="*/ 184 w 228"/>
                <a:gd name="T49" fmla="*/ 247 h 373"/>
                <a:gd name="T50" fmla="*/ 179 w 228"/>
                <a:gd name="T51" fmla="*/ 247 h 373"/>
                <a:gd name="T52" fmla="*/ 171 w 228"/>
                <a:gd name="T53" fmla="*/ 244 h 373"/>
                <a:gd name="T54" fmla="*/ 168 w 228"/>
                <a:gd name="T55" fmla="*/ 247 h 373"/>
                <a:gd name="T56" fmla="*/ 164 w 228"/>
                <a:gd name="T57" fmla="*/ 249 h 373"/>
                <a:gd name="T58" fmla="*/ 162 w 228"/>
                <a:gd name="T59" fmla="*/ 242 h 373"/>
                <a:gd name="T60" fmla="*/ 160 w 228"/>
                <a:gd name="T61" fmla="*/ 232 h 373"/>
                <a:gd name="T62" fmla="*/ 156 w 228"/>
                <a:gd name="T63" fmla="*/ 226 h 373"/>
                <a:gd name="T64" fmla="*/ 149 w 228"/>
                <a:gd name="T65" fmla="*/ 220 h 373"/>
                <a:gd name="T66" fmla="*/ 149 w 228"/>
                <a:gd name="T67" fmla="*/ 213 h 373"/>
                <a:gd name="T68" fmla="*/ 145 w 228"/>
                <a:gd name="T69" fmla="*/ 204 h 373"/>
                <a:gd name="T70" fmla="*/ 145 w 228"/>
                <a:gd name="T71" fmla="*/ 195 h 373"/>
                <a:gd name="T72" fmla="*/ 142 w 228"/>
                <a:gd name="T73" fmla="*/ 183 h 373"/>
                <a:gd name="T74" fmla="*/ 139 w 228"/>
                <a:gd name="T75" fmla="*/ 179 h 373"/>
                <a:gd name="T76" fmla="*/ 133 w 228"/>
                <a:gd name="T77" fmla="*/ 182 h 373"/>
                <a:gd name="T78" fmla="*/ 127 w 228"/>
                <a:gd name="T79" fmla="*/ 186 h 373"/>
                <a:gd name="T80" fmla="*/ 125 w 228"/>
                <a:gd name="T81" fmla="*/ 183 h 373"/>
                <a:gd name="T82" fmla="*/ 119 w 228"/>
                <a:gd name="T83" fmla="*/ 179 h 373"/>
                <a:gd name="T84" fmla="*/ 125 w 228"/>
                <a:gd name="T85" fmla="*/ 168 h 373"/>
                <a:gd name="T86" fmla="*/ 129 w 228"/>
                <a:gd name="T87" fmla="*/ 166 h 373"/>
                <a:gd name="T88" fmla="*/ 128 w 228"/>
                <a:gd name="T89" fmla="*/ 154 h 373"/>
                <a:gd name="T90" fmla="*/ 134 w 228"/>
                <a:gd name="T91" fmla="*/ 141 h 373"/>
                <a:gd name="T92" fmla="*/ 137 w 228"/>
                <a:gd name="T93" fmla="*/ 131 h 373"/>
                <a:gd name="T94" fmla="*/ 128 w 228"/>
                <a:gd name="T95" fmla="*/ 128 h 373"/>
                <a:gd name="T96" fmla="*/ 123 w 228"/>
                <a:gd name="T97" fmla="*/ 118 h 373"/>
                <a:gd name="T98" fmla="*/ 119 w 228"/>
                <a:gd name="T99" fmla="*/ 106 h 373"/>
                <a:gd name="T100" fmla="*/ 109 w 228"/>
                <a:gd name="T101" fmla="*/ 93 h 373"/>
                <a:gd name="T102" fmla="*/ 104 w 228"/>
                <a:gd name="T103" fmla="*/ 82 h 373"/>
                <a:gd name="T104" fmla="*/ 101 w 228"/>
                <a:gd name="T105" fmla="*/ 76 h 373"/>
                <a:gd name="T106" fmla="*/ 101 w 228"/>
                <a:gd name="T107" fmla="*/ 69 h 373"/>
                <a:gd name="T108" fmla="*/ 97 w 228"/>
                <a:gd name="T109" fmla="*/ 62 h 373"/>
                <a:gd name="T110" fmla="*/ 98 w 228"/>
                <a:gd name="T111" fmla="*/ 48 h 373"/>
                <a:gd name="T112" fmla="*/ 104 w 228"/>
                <a:gd name="T113" fmla="*/ 25 h 373"/>
                <a:gd name="T114" fmla="*/ 108 w 228"/>
                <a:gd name="T115" fmla="*/ 8 h 373"/>
                <a:gd name="T116" fmla="*/ 47 w 228"/>
                <a:gd name="T117" fmla="*/ 12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8" h="373">
                  <a:moveTo>
                    <a:pt x="48" y="132"/>
                  </a:moveTo>
                  <a:cubicBezTo>
                    <a:pt x="48" y="138"/>
                    <a:pt x="46" y="143"/>
                    <a:pt x="46" y="143"/>
                  </a:cubicBezTo>
                  <a:cubicBezTo>
                    <a:pt x="46" y="147"/>
                    <a:pt x="46" y="147"/>
                    <a:pt x="46" y="147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54" y="156"/>
                    <a:pt x="54" y="156"/>
                    <a:pt x="54" y="156"/>
                  </a:cubicBezTo>
                  <a:cubicBezTo>
                    <a:pt x="56" y="159"/>
                    <a:pt x="56" y="159"/>
                    <a:pt x="56" y="159"/>
                  </a:cubicBezTo>
                  <a:cubicBezTo>
                    <a:pt x="57" y="163"/>
                    <a:pt x="57" y="163"/>
                    <a:pt x="57" y="163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54" y="168"/>
                    <a:pt x="54" y="168"/>
                    <a:pt x="54" y="168"/>
                  </a:cubicBezTo>
                  <a:cubicBezTo>
                    <a:pt x="53" y="173"/>
                    <a:pt x="53" y="173"/>
                    <a:pt x="53" y="173"/>
                  </a:cubicBezTo>
                  <a:cubicBezTo>
                    <a:pt x="49" y="176"/>
                    <a:pt x="49" y="176"/>
                    <a:pt x="49" y="176"/>
                  </a:cubicBezTo>
                  <a:cubicBezTo>
                    <a:pt x="46" y="180"/>
                    <a:pt x="46" y="180"/>
                    <a:pt x="46" y="180"/>
                  </a:cubicBezTo>
                  <a:cubicBezTo>
                    <a:pt x="42" y="184"/>
                    <a:pt x="42" y="184"/>
                    <a:pt x="42" y="184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38" y="190"/>
                    <a:pt x="38" y="190"/>
                    <a:pt x="38" y="190"/>
                  </a:cubicBezTo>
                  <a:cubicBezTo>
                    <a:pt x="37" y="194"/>
                    <a:pt x="37" y="194"/>
                    <a:pt x="37" y="194"/>
                  </a:cubicBezTo>
                  <a:cubicBezTo>
                    <a:pt x="34" y="198"/>
                    <a:pt x="34" y="198"/>
                    <a:pt x="34" y="198"/>
                  </a:cubicBezTo>
                  <a:cubicBezTo>
                    <a:pt x="26" y="206"/>
                    <a:pt x="26" y="206"/>
                    <a:pt x="26" y="206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19" y="214"/>
                    <a:pt x="19" y="214"/>
                    <a:pt x="19" y="214"/>
                  </a:cubicBezTo>
                  <a:cubicBezTo>
                    <a:pt x="18" y="219"/>
                    <a:pt x="18" y="219"/>
                    <a:pt x="18" y="219"/>
                  </a:cubicBezTo>
                  <a:cubicBezTo>
                    <a:pt x="20" y="222"/>
                    <a:pt x="20" y="222"/>
                    <a:pt x="20" y="222"/>
                  </a:cubicBezTo>
                  <a:cubicBezTo>
                    <a:pt x="22" y="223"/>
                    <a:pt x="22" y="223"/>
                    <a:pt x="22" y="223"/>
                  </a:cubicBezTo>
                  <a:cubicBezTo>
                    <a:pt x="23" y="223"/>
                    <a:pt x="23" y="223"/>
                    <a:pt x="23" y="223"/>
                  </a:cubicBezTo>
                  <a:cubicBezTo>
                    <a:pt x="26" y="226"/>
                    <a:pt x="26" y="226"/>
                    <a:pt x="26" y="226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25" y="236"/>
                    <a:pt x="25" y="236"/>
                    <a:pt x="25" y="236"/>
                  </a:cubicBezTo>
                  <a:cubicBezTo>
                    <a:pt x="24" y="240"/>
                    <a:pt x="24" y="240"/>
                    <a:pt x="24" y="240"/>
                  </a:cubicBezTo>
                  <a:cubicBezTo>
                    <a:pt x="24" y="242"/>
                    <a:pt x="24" y="242"/>
                    <a:pt x="24" y="242"/>
                  </a:cubicBezTo>
                  <a:cubicBezTo>
                    <a:pt x="19" y="244"/>
                    <a:pt x="19" y="244"/>
                    <a:pt x="19" y="244"/>
                  </a:cubicBezTo>
                  <a:cubicBezTo>
                    <a:pt x="18" y="246"/>
                    <a:pt x="18" y="246"/>
                    <a:pt x="18" y="246"/>
                  </a:cubicBezTo>
                  <a:cubicBezTo>
                    <a:pt x="18" y="251"/>
                    <a:pt x="18" y="251"/>
                    <a:pt x="18" y="251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35" y="338"/>
                    <a:pt x="102" y="352"/>
                    <a:pt x="102" y="352"/>
                  </a:cubicBezTo>
                  <a:cubicBezTo>
                    <a:pt x="208" y="373"/>
                    <a:pt x="208" y="373"/>
                    <a:pt x="208" y="373"/>
                  </a:cubicBezTo>
                  <a:cubicBezTo>
                    <a:pt x="228" y="256"/>
                    <a:pt x="228" y="256"/>
                    <a:pt x="228" y="256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224" y="252"/>
                    <a:pt x="224" y="252"/>
                    <a:pt x="224" y="252"/>
                  </a:cubicBezTo>
                  <a:cubicBezTo>
                    <a:pt x="224" y="251"/>
                    <a:pt x="224" y="251"/>
                    <a:pt x="224" y="251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221" y="244"/>
                    <a:pt x="221" y="244"/>
                    <a:pt x="221" y="244"/>
                  </a:cubicBezTo>
                  <a:cubicBezTo>
                    <a:pt x="218" y="241"/>
                    <a:pt x="218" y="241"/>
                    <a:pt x="218" y="241"/>
                  </a:cubicBezTo>
                  <a:cubicBezTo>
                    <a:pt x="214" y="241"/>
                    <a:pt x="214" y="241"/>
                    <a:pt x="214" y="241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12" y="249"/>
                    <a:pt x="212" y="249"/>
                    <a:pt x="212" y="249"/>
                  </a:cubicBezTo>
                  <a:cubicBezTo>
                    <a:pt x="202" y="248"/>
                    <a:pt x="202" y="248"/>
                    <a:pt x="202" y="248"/>
                  </a:cubicBezTo>
                  <a:cubicBezTo>
                    <a:pt x="197" y="246"/>
                    <a:pt x="197" y="246"/>
                    <a:pt x="197" y="246"/>
                  </a:cubicBezTo>
                  <a:cubicBezTo>
                    <a:pt x="189" y="245"/>
                    <a:pt x="189" y="245"/>
                    <a:pt x="189" y="245"/>
                  </a:cubicBezTo>
                  <a:cubicBezTo>
                    <a:pt x="185" y="245"/>
                    <a:pt x="185" y="245"/>
                    <a:pt x="185" y="245"/>
                  </a:cubicBezTo>
                  <a:cubicBezTo>
                    <a:pt x="184" y="247"/>
                    <a:pt x="184" y="247"/>
                    <a:pt x="184" y="247"/>
                  </a:cubicBezTo>
                  <a:cubicBezTo>
                    <a:pt x="184" y="249"/>
                    <a:pt x="184" y="249"/>
                    <a:pt x="184" y="249"/>
                  </a:cubicBezTo>
                  <a:cubicBezTo>
                    <a:pt x="179" y="247"/>
                    <a:pt x="179" y="247"/>
                    <a:pt x="179" y="247"/>
                  </a:cubicBezTo>
                  <a:cubicBezTo>
                    <a:pt x="174" y="244"/>
                    <a:pt x="174" y="244"/>
                    <a:pt x="174" y="244"/>
                  </a:cubicBezTo>
                  <a:cubicBezTo>
                    <a:pt x="171" y="244"/>
                    <a:pt x="171" y="244"/>
                    <a:pt x="171" y="244"/>
                  </a:cubicBezTo>
                  <a:cubicBezTo>
                    <a:pt x="169" y="244"/>
                    <a:pt x="169" y="244"/>
                    <a:pt x="169" y="244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49"/>
                    <a:pt x="168" y="249"/>
                    <a:pt x="168" y="249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2" y="245"/>
                    <a:pt x="162" y="245"/>
                    <a:pt x="162" y="245"/>
                  </a:cubicBezTo>
                  <a:cubicBezTo>
                    <a:pt x="162" y="242"/>
                    <a:pt x="162" y="242"/>
                    <a:pt x="162" y="242"/>
                  </a:cubicBezTo>
                  <a:cubicBezTo>
                    <a:pt x="162" y="238"/>
                    <a:pt x="162" y="238"/>
                    <a:pt x="162" y="238"/>
                  </a:cubicBezTo>
                  <a:cubicBezTo>
                    <a:pt x="160" y="232"/>
                    <a:pt x="160" y="232"/>
                    <a:pt x="160" y="232"/>
                  </a:cubicBezTo>
                  <a:cubicBezTo>
                    <a:pt x="160" y="226"/>
                    <a:pt x="160" y="226"/>
                    <a:pt x="160" y="226"/>
                  </a:cubicBezTo>
                  <a:cubicBezTo>
                    <a:pt x="156" y="226"/>
                    <a:pt x="156" y="226"/>
                    <a:pt x="156" y="226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49" y="220"/>
                    <a:pt x="149" y="220"/>
                    <a:pt x="149" y="220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149" y="208"/>
                    <a:pt x="149" y="208"/>
                    <a:pt x="149" y="208"/>
                  </a:cubicBezTo>
                  <a:cubicBezTo>
                    <a:pt x="145" y="204"/>
                    <a:pt x="145" y="204"/>
                    <a:pt x="145" y="204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45" y="195"/>
                    <a:pt x="145" y="195"/>
                    <a:pt x="145" y="195"/>
                  </a:cubicBezTo>
                  <a:cubicBezTo>
                    <a:pt x="144" y="187"/>
                    <a:pt x="144" y="187"/>
                    <a:pt x="144" y="187"/>
                  </a:cubicBezTo>
                  <a:cubicBezTo>
                    <a:pt x="142" y="183"/>
                    <a:pt x="142" y="183"/>
                    <a:pt x="142" y="183"/>
                  </a:cubicBezTo>
                  <a:cubicBezTo>
                    <a:pt x="141" y="179"/>
                    <a:pt x="141" y="179"/>
                    <a:pt x="141" y="179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5" y="182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0" y="183"/>
                    <a:pt x="130" y="183"/>
                    <a:pt x="130" y="183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6"/>
                    <a:pt x="125" y="186"/>
                    <a:pt x="125" y="186"/>
                  </a:cubicBezTo>
                  <a:cubicBezTo>
                    <a:pt x="125" y="183"/>
                    <a:pt x="125" y="183"/>
                    <a:pt x="125" y="183"/>
                  </a:cubicBezTo>
                  <a:cubicBezTo>
                    <a:pt x="121" y="181"/>
                    <a:pt x="121" y="181"/>
                    <a:pt x="121" y="181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8" y="168"/>
                    <a:pt x="128" y="168"/>
                  </a:cubicBezTo>
                  <a:cubicBezTo>
                    <a:pt x="129" y="166"/>
                    <a:pt x="129" y="166"/>
                    <a:pt x="129" y="166"/>
                  </a:cubicBezTo>
                  <a:cubicBezTo>
                    <a:pt x="127" y="160"/>
                    <a:pt x="127" y="160"/>
                    <a:pt x="127" y="160"/>
                  </a:cubicBezTo>
                  <a:cubicBezTo>
                    <a:pt x="128" y="154"/>
                    <a:pt x="128" y="154"/>
                    <a:pt x="128" y="154"/>
                  </a:cubicBezTo>
                  <a:cubicBezTo>
                    <a:pt x="131" y="147"/>
                    <a:pt x="131" y="147"/>
                    <a:pt x="131" y="147"/>
                  </a:cubicBezTo>
                  <a:cubicBezTo>
                    <a:pt x="134" y="141"/>
                    <a:pt x="134" y="141"/>
                    <a:pt x="134" y="141"/>
                  </a:cubicBezTo>
                  <a:cubicBezTo>
                    <a:pt x="137" y="135"/>
                    <a:pt x="137" y="135"/>
                    <a:pt x="137" y="135"/>
                  </a:cubicBezTo>
                  <a:cubicBezTo>
                    <a:pt x="137" y="131"/>
                    <a:pt x="137" y="131"/>
                    <a:pt x="137" y="131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5" y="124"/>
                    <a:pt x="125" y="124"/>
                    <a:pt x="125" y="124"/>
                  </a:cubicBezTo>
                  <a:cubicBezTo>
                    <a:pt x="123" y="118"/>
                    <a:pt x="123" y="118"/>
                    <a:pt x="123" y="118"/>
                  </a:cubicBezTo>
                  <a:cubicBezTo>
                    <a:pt x="122" y="111"/>
                    <a:pt x="122" y="111"/>
                    <a:pt x="122" y="111"/>
                  </a:cubicBezTo>
                  <a:cubicBezTo>
                    <a:pt x="119" y="106"/>
                    <a:pt x="119" y="106"/>
                    <a:pt x="119" y="106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4" y="79"/>
                    <a:pt x="104" y="79"/>
                    <a:pt x="104" y="79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1" y="72"/>
                    <a:pt x="101" y="72"/>
                    <a:pt x="101" y="72"/>
                  </a:cubicBezTo>
                  <a:cubicBezTo>
                    <a:pt x="101" y="69"/>
                    <a:pt x="101" y="69"/>
                    <a:pt x="101" y="69"/>
                  </a:cubicBezTo>
                  <a:cubicBezTo>
                    <a:pt x="99" y="64"/>
                    <a:pt x="99" y="64"/>
                    <a:pt x="99" y="64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52" y="114"/>
                    <a:pt x="47" y="120"/>
                  </a:cubicBezTo>
                  <a:cubicBezTo>
                    <a:pt x="43" y="127"/>
                    <a:pt x="48" y="125"/>
                    <a:pt x="48" y="132"/>
                  </a:cubicBez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auto">
            <a:xfrm>
              <a:off x="5775502" y="1743206"/>
              <a:ext cx="558212" cy="360899"/>
            </a:xfrm>
            <a:custGeom>
              <a:avLst/>
              <a:gdLst>
                <a:gd name="T0" fmla="*/ 184 w 391"/>
                <a:gd name="T1" fmla="*/ 33 h 252"/>
                <a:gd name="T2" fmla="*/ 9 w 391"/>
                <a:gd name="T3" fmla="*/ 10 h 252"/>
                <a:gd name="T4" fmla="*/ 4 w 391"/>
                <a:gd name="T5" fmla="*/ 28 h 252"/>
                <a:gd name="T6" fmla="*/ 0 w 391"/>
                <a:gd name="T7" fmla="*/ 51 h 252"/>
                <a:gd name="T8" fmla="*/ 2 w 391"/>
                <a:gd name="T9" fmla="*/ 56 h 252"/>
                <a:gd name="T10" fmla="*/ 4 w 391"/>
                <a:gd name="T11" fmla="*/ 64 h 252"/>
                <a:gd name="T12" fmla="*/ 7 w 391"/>
                <a:gd name="T13" fmla="*/ 71 h 252"/>
                <a:gd name="T14" fmla="*/ 11 w 391"/>
                <a:gd name="T15" fmla="*/ 80 h 252"/>
                <a:gd name="T16" fmla="*/ 17 w 391"/>
                <a:gd name="T17" fmla="*/ 93 h 252"/>
                <a:gd name="T18" fmla="*/ 25 w 391"/>
                <a:gd name="T19" fmla="*/ 103 h 252"/>
                <a:gd name="T20" fmla="*/ 28 w 391"/>
                <a:gd name="T21" fmla="*/ 116 h 252"/>
                <a:gd name="T22" fmla="*/ 31 w 391"/>
                <a:gd name="T23" fmla="*/ 121 h 252"/>
                <a:gd name="T24" fmla="*/ 40 w 391"/>
                <a:gd name="T25" fmla="*/ 127 h 252"/>
                <a:gd name="T26" fmla="*/ 34 w 391"/>
                <a:gd name="T27" fmla="*/ 139 h 252"/>
                <a:gd name="T28" fmla="*/ 30 w 391"/>
                <a:gd name="T29" fmla="*/ 152 h 252"/>
                <a:gd name="T30" fmla="*/ 31 w 391"/>
                <a:gd name="T31" fmla="*/ 160 h 252"/>
                <a:gd name="T32" fmla="*/ 25 w 391"/>
                <a:gd name="T33" fmla="*/ 164 h 252"/>
                <a:gd name="T34" fmla="*/ 24 w 391"/>
                <a:gd name="T35" fmla="*/ 173 h 252"/>
                <a:gd name="T36" fmla="*/ 28 w 391"/>
                <a:gd name="T37" fmla="*/ 178 h 252"/>
                <a:gd name="T38" fmla="*/ 33 w 391"/>
                <a:gd name="T39" fmla="*/ 175 h 252"/>
                <a:gd name="T40" fmla="*/ 38 w 391"/>
                <a:gd name="T41" fmla="*/ 174 h 252"/>
                <a:gd name="T42" fmla="*/ 44 w 391"/>
                <a:gd name="T43" fmla="*/ 171 h 252"/>
                <a:gd name="T44" fmla="*/ 47 w 391"/>
                <a:gd name="T45" fmla="*/ 179 h 252"/>
                <a:gd name="T46" fmla="*/ 48 w 391"/>
                <a:gd name="T47" fmla="*/ 193 h 252"/>
                <a:gd name="T48" fmla="*/ 52 w 391"/>
                <a:gd name="T49" fmla="*/ 200 h 252"/>
                <a:gd name="T50" fmla="*/ 52 w 391"/>
                <a:gd name="T51" fmla="*/ 210 h 252"/>
                <a:gd name="T52" fmla="*/ 54 w 391"/>
                <a:gd name="T53" fmla="*/ 215 h 252"/>
                <a:gd name="T54" fmla="*/ 63 w 391"/>
                <a:gd name="T55" fmla="*/ 218 h 252"/>
                <a:gd name="T56" fmla="*/ 65 w 391"/>
                <a:gd name="T57" fmla="*/ 230 h 252"/>
                <a:gd name="T58" fmla="*/ 65 w 391"/>
                <a:gd name="T59" fmla="*/ 237 h 252"/>
                <a:gd name="T60" fmla="*/ 71 w 391"/>
                <a:gd name="T61" fmla="*/ 241 h 252"/>
                <a:gd name="T62" fmla="*/ 72 w 391"/>
                <a:gd name="T63" fmla="*/ 236 h 252"/>
                <a:gd name="T64" fmla="*/ 77 w 391"/>
                <a:gd name="T65" fmla="*/ 236 h 252"/>
                <a:gd name="T66" fmla="*/ 87 w 391"/>
                <a:gd name="T67" fmla="*/ 241 h 252"/>
                <a:gd name="T68" fmla="*/ 88 w 391"/>
                <a:gd name="T69" fmla="*/ 237 h 252"/>
                <a:gd name="T70" fmla="*/ 100 w 391"/>
                <a:gd name="T71" fmla="*/ 238 h 252"/>
                <a:gd name="T72" fmla="*/ 115 w 391"/>
                <a:gd name="T73" fmla="*/ 241 h 252"/>
                <a:gd name="T74" fmla="*/ 117 w 391"/>
                <a:gd name="T75" fmla="*/ 233 h 252"/>
                <a:gd name="T76" fmla="*/ 124 w 391"/>
                <a:gd name="T77" fmla="*/ 236 h 252"/>
                <a:gd name="T78" fmla="*/ 127 w 391"/>
                <a:gd name="T79" fmla="*/ 243 h 252"/>
                <a:gd name="T80" fmla="*/ 129 w 391"/>
                <a:gd name="T81" fmla="*/ 246 h 252"/>
                <a:gd name="T82" fmla="*/ 136 w 391"/>
                <a:gd name="T83" fmla="*/ 221 h 252"/>
                <a:gd name="T84" fmla="*/ 373 w 391"/>
                <a:gd name="T85" fmla="*/ 252 h 252"/>
                <a:gd name="T86" fmla="*/ 391 w 391"/>
                <a:gd name="T87" fmla="*/ 6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1" h="252">
                  <a:moveTo>
                    <a:pt x="391" y="60"/>
                  </a:moveTo>
                  <a:cubicBezTo>
                    <a:pt x="391" y="60"/>
                    <a:pt x="243" y="42"/>
                    <a:pt x="184" y="33"/>
                  </a:cubicBezTo>
                  <a:cubicBezTo>
                    <a:pt x="112" y="22"/>
                    <a:pt x="11" y="0"/>
                    <a:pt x="11" y="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5" y="103"/>
                    <a:pt x="25" y="103"/>
                    <a:pt x="25" y="103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7"/>
                    <a:pt x="40" y="127"/>
                    <a:pt x="40" y="127"/>
                  </a:cubicBezTo>
                  <a:cubicBezTo>
                    <a:pt x="37" y="133"/>
                    <a:pt x="37" y="133"/>
                    <a:pt x="37" y="133"/>
                  </a:cubicBezTo>
                  <a:cubicBezTo>
                    <a:pt x="34" y="139"/>
                    <a:pt x="34" y="139"/>
                    <a:pt x="34" y="139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0" y="152"/>
                    <a:pt x="30" y="152"/>
                    <a:pt x="30" y="152"/>
                  </a:cubicBezTo>
                  <a:cubicBezTo>
                    <a:pt x="32" y="158"/>
                    <a:pt x="32" y="158"/>
                    <a:pt x="32" y="158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5" y="164"/>
                    <a:pt x="25" y="164"/>
                    <a:pt x="25" y="164"/>
                  </a:cubicBezTo>
                  <a:cubicBezTo>
                    <a:pt x="22" y="171"/>
                    <a:pt x="22" y="171"/>
                    <a:pt x="22" y="171"/>
                  </a:cubicBezTo>
                  <a:cubicBezTo>
                    <a:pt x="24" y="173"/>
                    <a:pt x="24" y="173"/>
                    <a:pt x="24" y="173"/>
                  </a:cubicBezTo>
                  <a:cubicBezTo>
                    <a:pt x="28" y="175"/>
                    <a:pt x="28" y="175"/>
                    <a:pt x="28" y="175"/>
                  </a:cubicBezTo>
                  <a:cubicBezTo>
                    <a:pt x="28" y="178"/>
                    <a:pt x="28" y="178"/>
                    <a:pt x="28" y="178"/>
                  </a:cubicBezTo>
                  <a:cubicBezTo>
                    <a:pt x="30" y="178"/>
                    <a:pt x="30" y="178"/>
                    <a:pt x="30" y="178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42" y="171"/>
                    <a:pt x="42" y="171"/>
                    <a:pt x="42" y="171"/>
                  </a:cubicBezTo>
                  <a:cubicBezTo>
                    <a:pt x="44" y="171"/>
                    <a:pt x="44" y="171"/>
                    <a:pt x="44" y="171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48" y="187"/>
                    <a:pt x="48" y="187"/>
                    <a:pt x="48" y="187"/>
                  </a:cubicBezTo>
                  <a:cubicBezTo>
                    <a:pt x="48" y="193"/>
                    <a:pt x="48" y="193"/>
                    <a:pt x="48" y="193"/>
                  </a:cubicBezTo>
                  <a:cubicBezTo>
                    <a:pt x="48" y="196"/>
                    <a:pt x="48" y="196"/>
                    <a:pt x="48" y="196"/>
                  </a:cubicBezTo>
                  <a:cubicBezTo>
                    <a:pt x="52" y="200"/>
                    <a:pt x="52" y="200"/>
                    <a:pt x="52" y="200"/>
                  </a:cubicBezTo>
                  <a:cubicBezTo>
                    <a:pt x="52" y="205"/>
                    <a:pt x="52" y="205"/>
                    <a:pt x="52" y="205"/>
                  </a:cubicBezTo>
                  <a:cubicBezTo>
                    <a:pt x="52" y="210"/>
                    <a:pt x="52" y="210"/>
                    <a:pt x="52" y="210"/>
                  </a:cubicBezTo>
                  <a:cubicBezTo>
                    <a:pt x="52" y="212"/>
                    <a:pt x="52" y="212"/>
                    <a:pt x="52" y="212"/>
                  </a:cubicBezTo>
                  <a:cubicBezTo>
                    <a:pt x="54" y="215"/>
                    <a:pt x="54" y="215"/>
                    <a:pt x="54" y="215"/>
                  </a:cubicBezTo>
                  <a:cubicBezTo>
                    <a:pt x="59" y="218"/>
                    <a:pt x="59" y="218"/>
                    <a:pt x="59" y="218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5" y="230"/>
                    <a:pt x="65" y="230"/>
                    <a:pt x="65" y="230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65" y="237"/>
                    <a:pt x="65" y="237"/>
                    <a:pt x="65" y="237"/>
                  </a:cubicBezTo>
                  <a:cubicBezTo>
                    <a:pt x="67" y="241"/>
                    <a:pt x="67" y="241"/>
                    <a:pt x="67" y="241"/>
                  </a:cubicBezTo>
                  <a:cubicBezTo>
                    <a:pt x="71" y="241"/>
                    <a:pt x="71" y="241"/>
                    <a:pt x="71" y="241"/>
                  </a:cubicBezTo>
                  <a:cubicBezTo>
                    <a:pt x="71" y="239"/>
                    <a:pt x="71" y="239"/>
                    <a:pt x="71" y="239"/>
                  </a:cubicBezTo>
                  <a:cubicBezTo>
                    <a:pt x="72" y="236"/>
                    <a:pt x="72" y="236"/>
                    <a:pt x="72" y="236"/>
                  </a:cubicBezTo>
                  <a:cubicBezTo>
                    <a:pt x="74" y="236"/>
                    <a:pt x="74" y="236"/>
                    <a:pt x="74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82" y="239"/>
                    <a:pt x="82" y="239"/>
                    <a:pt x="82" y="239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39"/>
                    <a:pt x="87" y="239"/>
                    <a:pt x="87" y="239"/>
                  </a:cubicBezTo>
                  <a:cubicBezTo>
                    <a:pt x="88" y="237"/>
                    <a:pt x="88" y="237"/>
                    <a:pt x="88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100" y="238"/>
                    <a:pt x="100" y="238"/>
                    <a:pt x="100" y="238"/>
                  </a:cubicBezTo>
                  <a:cubicBezTo>
                    <a:pt x="105" y="240"/>
                    <a:pt x="105" y="240"/>
                    <a:pt x="105" y="240"/>
                  </a:cubicBezTo>
                  <a:cubicBezTo>
                    <a:pt x="115" y="241"/>
                    <a:pt x="115" y="241"/>
                    <a:pt x="115" y="241"/>
                  </a:cubicBezTo>
                  <a:cubicBezTo>
                    <a:pt x="116" y="238"/>
                    <a:pt x="116" y="238"/>
                    <a:pt x="116" y="238"/>
                  </a:cubicBezTo>
                  <a:cubicBezTo>
                    <a:pt x="117" y="233"/>
                    <a:pt x="117" y="233"/>
                    <a:pt x="117" y="233"/>
                  </a:cubicBezTo>
                  <a:cubicBezTo>
                    <a:pt x="121" y="233"/>
                    <a:pt x="121" y="233"/>
                    <a:pt x="121" y="233"/>
                  </a:cubicBezTo>
                  <a:cubicBezTo>
                    <a:pt x="124" y="236"/>
                    <a:pt x="124" y="236"/>
                    <a:pt x="124" y="236"/>
                  </a:cubicBezTo>
                  <a:cubicBezTo>
                    <a:pt x="126" y="239"/>
                    <a:pt x="126" y="239"/>
                    <a:pt x="126" y="239"/>
                  </a:cubicBezTo>
                  <a:cubicBezTo>
                    <a:pt x="127" y="243"/>
                    <a:pt x="127" y="243"/>
                    <a:pt x="127" y="243"/>
                  </a:cubicBezTo>
                  <a:cubicBezTo>
                    <a:pt x="127" y="244"/>
                    <a:pt x="127" y="244"/>
                    <a:pt x="127" y="244"/>
                  </a:cubicBezTo>
                  <a:cubicBezTo>
                    <a:pt x="129" y="246"/>
                    <a:pt x="129" y="246"/>
                    <a:pt x="129" y="246"/>
                  </a:cubicBezTo>
                  <a:cubicBezTo>
                    <a:pt x="131" y="248"/>
                    <a:pt x="131" y="248"/>
                    <a:pt x="131" y="248"/>
                  </a:cubicBezTo>
                  <a:cubicBezTo>
                    <a:pt x="136" y="221"/>
                    <a:pt x="136" y="221"/>
                    <a:pt x="136" y="221"/>
                  </a:cubicBezTo>
                  <a:cubicBezTo>
                    <a:pt x="372" y="252"/>
                    <a:pt x="372" y="252"/>
                    <a:pt x="372" y="252"/>
                  </a:cubicBezTo>
                  <a:cubicBezTo>
                    <a:pt x="373" y="252"/>
                    <a:pt x="373" y="252"/>
                    <a:pt x="373" y="252"/>
                  </a:cubicBezTo>
                  <a:cubicBezTo>
                    <a:pt x="377" y="207"/>
                    <a:pt x="377" y="207"/>
                    <a:pt x="377" y="207"/>
                  </a:cubicBezTo>
                  <a:lnTo>
                    <a:pt x="391" y="60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0" name="Freeform 22"/>
            <p:cNvSpPr>
              <a:spLocks/>
            </p:cNvSpPr>
            <p:nvPr/>
          </p:nvSpPr>
          <p:spPr bwMode="auto">
            <a:xfrm>
              <a:off x="7897046" y="1787054"/>
              <a:ext cx="197314" cy="315365"/>
            </a:xfrm>
            <a:custGeom>
              <a:avLst/>
              <a:gdLst>
                <a:gd name="T0" fmla="*/ 34 w 117"/>
                <a:gd name="T1" fmla="*/ 182 h 187"/>
                <a:gd name="T2" fmla="*/ 34 w 117"/>
                <a:gd name="T3" fmla="*/ 176 h 187"/>
                <a:gd name="T4" fmla="*/ 37 w 117"/>
                <a:gd name="T5" fmla="*/ 171 h 187"/>
                <a:gd name="T6" fmla="*/ 40 w 117"/>
                <a:gd name="T7" fmla="*/ 166 h 187"/>
                <a:gd name="T8" fmla="*/ 44 w 117"/>
                <a:gd name="T9" fmla="*/ 161 h 187"/>
                <a:gd name="T10" fmla="*/ 40 w 117"/>
                <a:gd name="T11" fmla="*/ 159 h 187"/>
                <a:gd name="T12" fmla="*/ 42 w 117"/>
                <a:gd name="T13" fmla="*/ 155 h 187"/>
                <a:gd name="T14" fmla="*/ 45 w 117"/>
                <a:gd name="T15" fmla="*/ 155 h 187"/>
                <a:gd name="T16" fmla="*/ 48 w 117"/>
                <a:gd name="T17" fmla="*/ 150 h 187"/>
                <a:gd name="T18" fmla="*/ 52 w 117"/>
                <a:gd name="T19" fmla="*/ 153 h 187"/>
                <a:gd name="T20" fmla="*/ 51 w 117"/>
                <a:gd name="T21" fmla="*/ 149 h 187"/>
                <a:gd name="T22" fmla="*/ 56 w 117"/>
                <a:gd name="T23" fmla="*/ 148 h 187"/>
                <a:gd name="T24" fmla="*/ 59 w 117"/>
                <a:gd name="T25" fmla="*/ 139 h 187"/>
                <a:gd name="T26" fmla="*/ 67 w 117"/>
                <a:gd name="T27" fmla="*/ 141 h 187"/>
                <a:gd name="T28" fmla="*/ 68 w 117"/>
                <a:gd name="T29" fmla="*/ 132 h 187"/>
                <a:gd name="T30" fmla="*/ 68 w 117"/>
                <a:gd name="T31" fmla="*/ 123 h 187"/>
                <a:gd name="T32" fmla="*/ 69 w 117"/>
                <a:gd name="T33" fmla="*/ 116 h 187"/>
                <a:gd name="T34" fmla="*/ 79 w 117"/>
                <a:gd name="T35" fmla="*/ 122 h 187"/>
                <a:gd name="T36" fmla="*/ 81 w 117"/>
                <a:gd name="T37" fmla="*/ 115 h 187"/>
                <a:gd name="T38" fmla="*/ 84 w 117"/>
                <a:gd name="T39" fmla="*/ 122 h 187"/>
                <a:gd name="T40" fmla="*/ 88 w 117"/>
                <a:gd name="T41" fmla="*/ 116 h 187"/>
                <a:gd name="T42" fmla="*/ 87 w 117"/>
                <a:gd name="T43" fmla="*/ 111 h 187"/>
                <a:gd name="T44" fmla="*/ 95 w 117"/>
                <a:gd name="T45" fmla="*/ 115 h 187"/>
                <a:gd name="T46" fmla="*/ 97 w 117"/>
                <a:gd name="T47" fmla="*/ 111 h 187"/>
                <a:gd name="T48" fmla="*/ 103 w 117"/>
                <a:gd name="T49" fmla="*/ 105 h 187"/>
                <a:gd name="T50" fmla="*/ 106 w 117"/>
                <a:gd name="T51" fmla="*/ 101 h 187"/>
                <a:gd name="T52" fmla="*/ 114 w 117"/>
                <a:gd name="T53" fmla="*/ 97 h 187"/>
                <a:gd name="T54" fmla="*/ 116 w 117"/>
                <a:gd name="T55" fmla="*/ 88 h 187"/>
                <a:gd name="T56" fmla="*/ 112 w 117"/>
                <a:gd name="T57" fmla="*/ 86 h 187"/>
                <a:gd name="T58" fmla="*/ 112 w 117"/>
                <a:gd name="T59" fmla="*/ 82 h 187"/>
                <a:gd name="T60" fmla="*/ 104 w 117"/>
                <a:gd name="T61" fmla="*/ 77 h 187"/>
                <a:gd name="T62" fmla="*/ 101 w 117"/>
                <a:gd name="T63" fmla="*/ 64 h 187"/>
                <a:gd name="T64" fmla="*/ 95 w 117"/>
                <a:gd name="T65" fmla="*/ 63 h 187"/>
                <a:gd name="T66" fmla="*/ 84 w 117"/>
                <a:gd name="T67" fmla="*/ 56 h 187"/>
                <a:gd name="T68" fmla="*/ 77 w 117"/>
                <a:gd name="T69" fmla="*/ 31 h 187"/>
                <a:gd name="T70" fmla="*/ 71 w 117"/>
                <a:gd name="T71" fmla="*/ 11 h 187"/>
                <a:gd name="T72" fmla="*/ 53 w 117"/>
                <a:gd name="T73" fmla="*/ 3 h 187"/>
                <a:gd name="T74" fmla="*/ 42 w 117"/>
                <a:gd name="T75" fmla="*/ 11 h 187"/>
                <a:gd name="T76" fmla="*/ 30 w 117"/>
                <a:gd name="T77" fmla="*/ 5 h 187"/>
                <a:gd name="T78" fmla="*/ 22 w 117"/>
                <a:gd name="T79" fmla="*/ 22 h 187"/>
                <a:gd name="T80" fmla="*/ 13 w 117"/>
                <a:gd name="T81" fmla="*/ 54 h 187"/>
                <a:gd name="T82" fmla="*/ 15 w 117"/>
                <a:gd name="T83" fmla="*/ 71 h 187"/>
                <a:gd name="T84" fmla="*/ 12 w 117"/>
                <a:gd name="T85" fmla="*/ 82 h 187"/>
                <a:gd name="T86" fmla="*/ 7 w 117"/>
                <a:gd name="T87" fmla="*/ 95 h 187"/>
                <a:gd name="T88" fmla="*/ 0 w 117"/>
                <a:gd name="T89" fmla="*/ 10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" h="187">
                  <a:moveTo>
                    <a:pt x="33" y="187"/>
                  </a:moveTo>
                  <a:lnTo>
                    <a:pt x="33" y="185"/>
                  </a:lnTo>
                  <a:lnTo>
                    <a:pt x="34" y="182"/>
                  </a:lnTo>
                  <a:lnTo>
                    <a:pt x="34" y="181"/>
                  </a:lnTo>
                  <a:lnTo>
                    <a:pt x="34" y="178"/>
                  </a:lnTo>
                  <a:lnTo>
                    <a:pt x="34" y="176"/>
                  </a:lnTo>
                  <a:lnTo>
                    <a:pt x="35" y="174"/>
                  </a:lnTo>
                  <a:lnTo>
                    <a:pt x="37" y="174"/>
                  </a:lnTo>
                  <a:lnTo>
                    <a:pt x="37" y="171"/>
                  </a:lnTo>
                  <a:lnTo>
                    <a:pt x="38" y="169"/>
                  </a:lnTo>
                  <a:lnTo>
                    <a:pt x="38" y="166"/>
                  </a:lnTo>
                  <a:lnTo>
                    <a:pt x="40" y="166"/>
                  </a:lnTo>
                  <a:lnTo>
                    <a:pt x="41" y="166"/>
                  </a:lnTo>
                  <a:lnTo>
                    <a:pt x="44" y="166"/>
                  </a:lnTo>
                  <a:lnTo>
                    <a:pt x="44" y="161"/>
                  </a:lnTo>
                  <a:lnTo>
                    <a:pt x="41" y="161"/>
                  </a:lnTo>
                  <a:lnTo>
                    <a:pt x="40" y="161"/>
                  </a:lnTo>
                  <a:lnTo>
                    <a:pt x="40" y="159"/>
                  </a:lnTo>
                  <a:lnTo>
                    <a:pt x="40" y="158"/>
                  </a:lnTo>
                  <a:lnTo>
                    <a:pt x="42" y="156"/>
                  </a:lnTo>
                  <a:lnTo>
                    <a:pt x="42" y="155"/>
                  </a:lnTo>
                  <a:lnTo>
                    <a:pt x="44" y="153"/>
                  </a:lnTo>
                  <a:lnTo>
                    <a:pt x="45" y="154"/>
                  </a:lnTo>
                  <a:lnTo>
                    <a:pt x="45" y="155"/>
                  </a:lnTo>
                  <a:lnTo>
                    <a:pt x="47" y="154"/>
                  </a:lnTo>
                  <a:lnTo>
                    <a:pt x="48" y="153"/>
                  </a:lnTo>
                  <a:lnTo>
                    <a:pt x="48" y="150"/>
                  </a:lnTo>
                  <a:lnTo>
                    <a:pt x="50" y="152"/>
                  </a:lnTo>
                  <a:lnTo>
                    <a:pt x="51" y="153"/>
                  </a:lnTo>
                  <a:lnTo>
                    <a:pt x="52" y="153"/>
                  </a:lnTo>
                  <a:lnTo>
                    <a:pt x="52" y="150"/>
                  </a:lnTo>
                  <a:lnTo>
                    <a:pt x="52" y="149"/>
                  </a:lnTo>
                  <a:lnTo>
                    <a:pt x="51" y="149"/>
                  </a:lnTo>
                  <a:lnTo>
                    <a:pt x="50" y="147"/>
                  </a:lnTo>
                  <a:lnTo>
                    <a:pt x="54" y="147"/>
                  </a:lnTo>
                  <a:lnTo>
                    <a:pt x="56" y="148"/>
                  </a:lnTo>
                  <a:lnTo>
                    <a:pt x="59" y="147"/>
                  </a:lnTo>
                  <a:lnTo>
                    <a:pt x="60" y="144"/>
                  </a:lnTo>
                  <a:lnTo>
                    <a:pt x="59" y="139"/>
                  </a:lnTo>
                  <a:lnTo>
                    <a:pt x="61" y="139"/>
                  </a:lnTo>
                  <a:lnTo>
                    <a:pt x="64" y="142"/>
                  </a:lnTo>
                  <a:lnTo>
                    <a:pt x="67" y="141"/>
                  </a:lnTo>
                  <a:lnTo>
                    <a:pt x="68" y="139"/>
                  </a:lnTo>
                  <a:lnTo>
                    <a:pt x="69" y="135"/>
                  </a:lnTo>
                  <a:lnTo>
                    <a:pt x="68" y="132"/>
                  </a:lnTo>
                  <a:lnTo>
                    <a:pt x="69" y="128"/>
                  </a:lnTo>
                  <a:lnTo>
                    <a:pt x="69" y="126"/>
                  </a:lnTo>
                  <a:lnTo>
                    <a:pt x="68" y="123"/>
                  </a:lnTo>
                  <a:lnTo>
                    <a:pt x="68" y="121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73" y="120"/>
                  </a:lnTo>
                  <a:lnTo>
                    <a:pt x="74" y="122"/>
                  </a:lnTo>
                  <a:lnTo>
                    <a:pt x="79" y="122"/>
                  </a:lnTo>
                  <a:lnTo>
                    <a:pt x="79" y="120"/>
                  </a:lnTo>
                  <a:lnTo>
                    <a:pt x="79" y="116"/>
                  </a:lnTo>
                  <a:lnTo>
                    <a:pt x="81" y="115"/>
                  </a:lnTo>
                  <a:lnTo>
                    <a:pt x="84" y="116"/>
                  </a:lnTo>
                  <a:lnTo>
                    <a:pt x="84" y="118"/>
                  </a:lnTo>
                  <a:lnTo>
                    <a:pt x="84" y="122"/>
                  </a:lnTo>
                  <a:lnTo>
                    <a:pt x="87" y="121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6" y="114"/>
                  </a:lnTo>
                  <a:lnTo>
                    <a:pt x="86" y="112"/>
                  </a:lnTo>
                  <a:lnTo>
                    <a:pt x="87" y="111"/>
                  </a:lnTo>
                  <a:lnTo>
                    <a:pt x="90" y="114"/>
                  </a:lnTo>
                  <a:lnTo>
                    <a:pt x="93" y="116"/>
                  </a:lnTo>
                  <a:lnTo>
                    <a:pt x="95" y="115"/>
                  </a:lnTo>
                  <a:lnTo>
                    <a:pt x="94" y="111"/>
                  </a:lnTo>
                  <a:lnTo>
                    <a:pt x="95" y="111"/>
                  </a:lnTo>
                  <a:lnTo>
                    <a:pt x="97" y="111"/>
                  </a:lnTo>
                  <a:lnTo>
                    <a:pt x="97" y="105"/>
                  </a:lnTo>
                  <a:lnTo>
                    <a:pt x="101" y="105"/>
                  </a:lnTo>
                  <a:lnTo>
                    <a:pt x="103" y="105"/>
                  </a:lnTo>
                  <a:lnTo>
                    <a:pt x="104" y="104"/>
                  </a:lnTo>
                  <a:lnTo>
                    <a:pt x="104" y="101"/>
                  </a:lnTo>
                  <a:lnTo>
                    <a:pt x="106" y="101"/>
                  </a:lnTo>
                  <a:lnTo>
                    <a:pt x="107" y="100"/>
                  </a:lnTo>
                  <a:lnTo>
                    <a:pt x="110" y="97"/>
                  </a:lnTo>
                  <a:lnTo>
                    <a:pt x="114" y="97"/>
                  </a:lnTo>
                  <a:lnTo>
                    <a:pt x="116" y="95"/>
                  </a:lnTo>
                  <a:lnTo>
                    <a:pt x="117" y="89"/>
                  </a:lnTo>
                  <a:lnTo>
                    <a:pt x="116" y="88"/>
                  </a:lnTo>
                  <a:lnTo>
                    <a:pt x="115" y="88"/>
                  </a:lnTo>
                  <a:lnTo>
                    <a:pt x="113" y="88"/>
                  </a:lnTo>
                  <a:lnTo>
                    <a:pt x="112" y="86"/>
                  </a:lnTo>
                  <a:lnTo>
                    <a:pt x="114" y="84"/>
                  </a:lnTo>
                  <a:lnTo>
                    <a:pt x="114" y="83"/>
                  </a:lnTo>
                  <a:lnTo>
                    <a:pt x="112" y="82"/>
                  </a:lnTo>
                  <a:lnTo>
                    <a:pt x="110" y="7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2" y="73"/>
                  </a:lnTo>
                  <a:lnTo>
                    <a:pt x="101" y="68"/>
                  </a:lnTo>
                  <a:lnTo>
                    <a:pt x="101" y="64"/>
                  </a:lnTo>
                  <a:lnTo>
                    <a:pt x="100" y="61"/>
                  </a:lnTo>
                  <a:lnTo>
                    <a:pt x="97" y="62"/>
                  </a:lnTo>
                  <a:lnTo>
                    <a:pt x="95" y="63"/>
                  </a:lnTo>
                  <a:lnTo>
                    <a:pt x="91" y="63"/>
                  </a:lnTo>
                  <a:lnTo>
                    <a:pt x="87" y="61"/>
                  </a:lnTo>
                  <a:lnTo>
                    <a:pt x="84" y="56"/>
                  </a:lnTo>
                  <a:lnTo>
                    <a:pt x="83" y="49"/>
                  </a:lnTo>
                  <a:lnTo>
                    <a:pt x="79" y="40"/>
                  </a:lnTo>
                  <a:lnTo>
                    <a:pt x="77" y="31"/>
                  </a:lnTo>
                  <a:lnTo>
                    <a:pt x="75" y="26"/>
                  </a:lnTo>
                  <a:lnTo>
                    <a:pt x="73" y="18"/>
                  </a:lnTo>
                  <a:lnTo>
                    <a:pt x="71" y="11"/>
                  </a:lnTo>
                  <a:lnTo>
                    <a:pt x="69" y="8"/>
                  </a:lnTo>
                  <a:lnTo>
                    <a:pt x="56" y="0"/>
                  </a:lnTo>
                  <a:lnTo>
                    <a:pt x="53" y="3"/>
                  </a:lnTo>
                  <a:lnTo>
                    <a:pt x="50" y="7"/>
                  </a:lnTo>
                  <a:lnTo>
                    <a:pt x="45" y="11"/>
                  </a:lnTo>
                  <a:lnTo>
                    <a:pt x="42" y="11"/>
                  </a:lnTo>
                  <a:lnTo>
                    <a:pt x="39" y="9"/>
                  </a:lnTo>
                  <a:lnTo>
                    <a:pt x="34" y="6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2" y="22"/>
                  </a:lnTo>
                  <a:lnTo>
                    <a:pt x="20" y="33"/>
                  </a:lnTo>
                  <a:lnTo>
                    <a:pt x="15" y="45"/>
                  </a:lnTo>
                  <a:lnTo>
                    <a:pt x="13" y="54"/>
                  </a:lnTo>
                  <a:lnTo>
                    <a:pt x="12" y="64"/>
                  </a:lnTo>
                  <a:lnTo>
                    <a:pt x="13" y="69"/>
                  </a:lnTo>
                  <a:lnTo>
                    <a:pt x="15" y="71"/>
                  </a:lnTo>
                  <a:lnTo>
                    <a:pt x="14" y="73"/>
                  </a:lnTo>
                  <a:lnTo>
                    <a:pt x="12" y="76"/>
                  </a:lnTo>
                  <a:lnTo>
                    <a:pt x="12" y="82"/>
                  </a:lnTo>
                  <a:lnTo>
                    <a:pt x="10" y="87"/>
                  </a:lnTo>
                  <a:lnTo>
                    <a:pt x="10" y="94"/>
                  </a:lnTo>
                  <a:lnTo>
                    <a:pt x="7" y="95"/>
                  </a:lnTo>
                  <a:lnTo>
                    <a:pt x="7" y="100"/>
                  </a:lnTo>
                  <a:lnTo>
                    <a:pt x="1" y="100"/>
                  </a:lnTo>
                  <a:lnTo>
                    <a:pt x="0" y="103"/>
                  </a:lnTo>
                  <a:lnTo>
                    <a:pt x="23" y="178"/>
                  </a:lnTo>
                  <a:lnTo>
                    <a:pt x="33" y="187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auto">
            <a:xfrm>
              <a:off x="7517598" y="2002920"/>
              <a:ext cx="408119" cy="300187"/>
            </a:xfrm>
            <a:custGeom>
              <a:avLst/>
              <a:gdLst>
                <a:gd name="T0" fmla="*/ 10 w 242"/>
                <a:gd name="T1" fmla="*/ 136 h 178"/>
                <a:gd name="T2" fmla="*/ 16 w 242"/>
                <a:gd name="T3" fmla="*/ 129 h 178"/>
                <a:gd name="T4" fmla="*/ 22 w 242"/>
                <a:gd name="T5" fmla="*/ 124 h 178"/>
                <a:gd name="T6" fmla="*/ 22 w 242"/>
                <a:gd name="T7" fmla="*/ 119 h 178"/>
                <a:gd name="T8" fmla="*/ 14 w 242"/>
                <a:gd name="T9" fmla="*/ 102 h 178"/>
                <a:gd name="T10" fmla="*/ 31 w 242"/>
                <a:gd name="T11" fmla="*/ 96 h 178"/>
                <a:gd name="T12" fmla="*/ 47 w 242"/>
                <a:gd name="T13" fmla="*/ 96 h 178"/>
                <a:gd name="T14" fmla="*/ 56 w 242"/>
                <a:gd name="T15" fmla="*/ 96 h 178"/>
                <a:gd name="T16" fmla="*/ 67 w 242"/>
                <a:gd name="T17" fmla="*/ 93 h 178"/>
                <a:gd name="T18" fmla="*/ 83 w 242"/>
                <a:gd name="T19" fmla="*/ 83 h 178"/>
                <a:gd name="T20" fmla="*/ 93 w 242"/>
                <a:gd name="T21" fmla="*/ 77 h 178"/>
                <a:gd name="T22" fmla="*/ 93 w 242"/>
                <a:gd name="T23" fmla="*/ 71 h 178"/>
                <a:gd name="T24" fmla="*/ 93 w 242"/>
                <a:gd name="T25" fmla="*/ 63 h 178"/>
                <a:gd name="T26" fmla="*/ 89 w 242"/>
                <a:gd name="T27" fmla="*/ 61 h 178"/>
                <a:gd name="T28" fmla="*/ 85 w 242"/>
                <a:gd name="T29" fmla="*/ 55 h 178"/>
                <a:gd name="T30" fmla="*/ 98 w 242"/>
                <a:gd name="T31" fmla="*/ 44 h 178"/>
                <a:gd name="T32" fmla="*/ 102 w 242"/>
                <a:gd name="T33" fmla="*/ 33 h 178"/>
                <a:gd name="T34" fmla="*/ 116 w 242"/>
                <a:gd name="T35" fmla="*/ 15 h 178"/>
                <a:gd name="T36" fmla="*/ 130 w 242"/>
                <a:gd name="T37" fmla="*/ 8 h 178"/>
                <a:gd name="T38" fmla="*/ 147 w 242"/>
                <a:gd name="T39" fmla="*/ 2 h 178"/>
                <a:gd name="T40" fmla="*/ 163 w 242"/>
                <a:gd name="T41" fmla="*/ 5 h 178"/>
                <a:gd name="T42" fmla="*/ 165 w 242"/>
                <a:gd name="T43" fmla="*/ 16 h 178"/>
                <a:gd name="T44" fmla="*/ 171 w 242"/>
                <a:gd name="T45" fmla="*/ 24 h 178"/>
                <a:gd name="T46" fmla="*/ 171 w 242"/>
                <a:gd name="T47" fmla="*/ 34 h 178"/>
                <a:gd name="T48" fmla="*/ 174 w 242"/>
                <a:gd name="T49" fmla="*/ 48 h 178"/>
                <a:gd name="T50" fmla="*/ 181 w 242"/>
                <a:gd name="T51" fmla="*/ 59 h 178"/>
                <a:gd name="T52" fmla="*/ 184 w 242"/>
                <a:gd name="T53" fmla="*/ 79 h 178"/>
                <a:gd name="T54" fmla="*/ 188 w 242"/>
                <a:gd name="T55" fmla="*/ 89 h 178"/>
                <a:gd name="T56" fmla="*/ 188 w 242"/>
                <a:gd name="T57" fmla="*/ 120 h 178"/>
                <a:gd name="T58" fmla="*/ 192 w 242"/>
                <a:gd name="T59" fmla="*/ 146 h 178"/>
                <a:gd name="T60" fmla="*/ 192 w 242"/>
                <a:gd name="T61" fmla="*/ 158 h 178"/>
                <a:gd name="T62" fmla="*/ 186 w 242"/>
                <a:gd name="T63" fmla="*/ 171 h 178"/>
                <a:gd name="T64" fmla="*/ 198 w 242"/>
                <a:gd name="T65" fmla="*/ 166 h 178"/>
                <a:gd name="T66" fmla="*/ 206 w 242"/>
                <a:gd name="T67" fmla="*/ 160 h 178"/>
                <a:gd name="T68" fmla="*/ 217 w 242"/>
                <a:gd name="T69" fmla="*/ 158 h 178"/>
                <a:gd name="T70" fmla="*/ 225 w 242"/>
                <a:gd name="T71" fmla="*/ 153 h 178"/>
                <a:gd name="T72" fmla="*/ 225 w 242"/>
                <a:gd name="T73" fmla="*/ 157 h 178"/>
                <a:gd name="T74" fmla="*/ 233 w 242"/>
                <a:gd name="T75" fmla="*/ 151 h 178"/>
                <a:gd name="T76" fmla="*/ 240 w 242"/>
                <a:gd name="T77" fmla="*/ 149 h 178"/>
                <a:gd name="T78" fmla="*/ 233 w 242"/>
                <a:gd name="T79" fmla="*/ 157 h 178"/>
                <a:gd name="T80" fmla="*/ 219 w 242"/>
                <a:gd name="T81" fmla="*/ 166 h 178"/>
                <a:gd name="T82" fmla="*/ 206 w 242"/>
                <a:gd name="T83" fmla="*/ 173 h 178"/>
                <a:gd name="T84" fmla="*/ 189 w 242"/>
                <a:gd name="T85" fmla="*/ 178 h 178"/>
                <a:gd name="T86" fmla="*/ 182 w 242"/>
                <a:gd name="T87" fmla="*/ 171 h 178"/>
                <a:gd name="T88" fmla="*/ 180 w 242"/>
                <a:gd name="T89" fmla="*/ 165 h 178"/>
                <a:gd name="T90" fmla="*/ 155 w 242"/>
                <a:gd name="T91" fmla="*/ 158 h 178"/>
                <a:gd name="T92" fmla="*/ 154 w 242"/>
                <a:gd name="T93" fmla="*/ 151 h 178"/>
                <a:gd name="T94" fmla="*/ 148 w 242"/>
                <a:gd name="T95" fmla="*/ 150 h 178"/>
                <a:gd name="T96" fmla="*/ 140 w 242"/>
                <a:gd name="T97" fmla="*/ 138 h 178"/>
                <a:gd name="T98" fmla="*/ 2 w 242"/>
                <a:gd name="T99" fmla="*/ 156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2" h="178">
                  <a:moveTo>
                    <a:pt x="0" y="146"/>
                  </a:moveTo>
                  <a:lnTo>
                    <a:pt x="10" y="136"/>
                  </a:lnTo>
                  <a:lnTo>
                    <a:pt x="12" y="133"/>
                  </a:lnTo>
                  <a:lnTo>
                    <a:pt x="16" y="129"/>
                  </a:lnTo>
                  <a:lnTo>
                    <a:pt x="18" y="127"/>
                  </a:lnTo>
                  <a:lnTo>
                    <a:pt x="22" y="124"/>
                  </a:lnTo>
                  <a:lnTo>
                    <a:pt x="22" y="121"/>
                  </a:lnTo>
                  <a:lnTo>
                    <a:pt x="22" y="119"/>
                  </a:lnTo>
                  <a:lnTo>
                    <a:pt x="17" y="109"/>
                  </a:lnTo>
                  <a:lnTo>
                    <a:pt x="14" y="102"/>
                  </a:lnTo>
                  <a:lnTo>
                    <a:pt x="18" y="99"/>
                  </a:lnTo>
                  <a:lnTo>
                    <a:pt x="31" y="96"/>
                  </a:lnTo>
                  <a:lnTo>
                    <a:pt x="38" y="96"/>
                  </a:lnTo>
                  <a:lnTo>
                    <a:pt x="47" y="96"/>
                  </a:lnTo>
                  <a:lnTo>
                    <a:pt x="53" y="96"/>
                  </a:lnTo>
                  <a:lnTo>
                    <a:pt x="56" y="96"/>
                  </a:lnTo>
                  <a:lnTo>
                    <a:pt x="63" y="93"/>
                  </a:lnTo>
                  <a:lnTo>
                    <a:pt x="67" y="93"/>
                  </a:lnTo>
                  <a:lnTo>
                    <a:pt x="77" y="90"/>
                  </a:lnTo>
                  <a:lnTo>
                    <a:pt x="83" y="83"/>
                  </a:lnTo>
                  <a:lnTo>
                    <a:pt x="89" y="80"/>
                  </a:lnTo>
                  <a:lnTo>
                    <a:pt x="93" y="77"/>
                  </a:lnTo>
                  <a:lnTo>
                    <a:pt x="93" y="75"/>
                  </a:lnTo>
                  <a:lnTo>
                    <a:pt x="93" y="71"/>
                  </a:lnTo>
                  <a:lnTo>
                    <a:pt x="89" y="66"/>
                  </a:lnTo>
                  <a:lnTo>
                    <a:pt x="93" y="63"/>
                  </a:lnTo>
                  <a:lnTo>
                    <a:pt x="94" y="59"/>
                  </a:lnTo>
                  <a:lnTo>
                    <a:pt x="89" y="61"/>
                  </a:lnTo>
                  <a:lnTo>
                    <a:pt x="87" y="59"/>
                  </a:lnTo>
                  <a:lnTo>
                    <a:pt x="85" y="55"/>
                  </a:lnTo>
                  <a:lnTo>
                    <a:pt x="90" y="51"/>
                  </a:lnTo>
                  <a:lnTo>
                    <a:pt x="98" y="44"/>
                  </a:lnTo>
                  <a:lnTo>
                    <a:pt x="101" y="38"/>
                  </a:lnTo>
                  <a:lnTo>
                    <a:pt x="102" y="33"/>
                  </a:lnTo>
                  <a:lnTo>
                    <a:pt x="110" y="23"/>
                  </a:lnTo>
                  <a:lnTo>
                    <a:pt x="116" y="15"/>
                  </a:lnTo>
                  <a:lnTo>
                    <a:pt x="123" y="10"/>
                  </a:lnTo>
                  <a:lnTo>
                    <a:pt x="130" y="8"/>
                  </a:lnTo>
                  <a:lnTo>
                    <a:pt x="141" y="5"/>
                  </a:lnTo>
                  <a:lnTo>
                    <a:pt x="147" y="2"/>
                  </a:lnTo>
                  <a:lnTo>
                    <a:pt x="163" y="0"/>
                  </a:lnTo>
                  <a:lnTo>
                    <a:pt x="163" y="5"/>
                  </a:lnTo>
                  <a:lnTo>
                    <a:pt x="163" y="11"/>
                  </a:lnTo>
                  <a:lnTo>
                    <a:pt x="165" y="16"/>
                  </a:lnTo>
                  <a:lnTo>
                    <a:pt x="168" y="23"/>
                  </a:lnTo>
                  <a:lnTo>
                    <a:pt x="171" y="24"/>
                  </a:lnTo>
                  <a:lnTo>
                    <a:pt x="174" y="32"/>
                  </a:lnTo>
                  <a:lnTo>
                    <a:pt x="171" y="34"/>
                  </a:lnTo>
                  <a:lnTo>
                    <a:pt x="170" y="41"/>
                  </a:lnTo>
                  <a:lnTo>
                    <a:pt x="174" y="48"/>
                  </a:lnTo>
                  <a:lnTo>
                    <a:pt x="177" y="56"/>
                  </a:lnTo>
                  <a:lnTo>
                    <a:pt x="181" y="59"/>
                  </a:lnTo>
                  <a:lnTo>
                    <a:pt x="182" y="70"/>
                  </a:lnTo>
                  <a:lnTo>
                    <a:pt x="184" y="79"/>
                  </a:lnTo>
                  <a:lnTo>
                    <a:pt x="188" y="88"/>
                  </a:lnTo>
                  <a:lnTo>
                    <a:pt x="188" y="89"/>
                  </a:lnTo>
                  <a:lnTo>
                    <a:pt x="188" y="102"/>
                  </a:lnTo>
                  <a:lnTo>
                    <a:pt x="188" y="120"/>
                  </a:lnTo>
                  <a:lnTo>
                    <a:pt x="192" y="139"/>
                  </a:lnTo>
                  <a:lnTo>
                    <a:pt x="192" y="146"/>
                  </a:lnTo>
                  <a:lnTo>
                    <a:pt x="196" y="152"/>
                  </a:lnTo>
                  <a:lnTo>
                    <a:pt x="192" y="158"/>
                  </a:lnTo>
                  <a:lnTo>
                    <a:pt x="193" y="161"/>
                  </a:lnTo>
                  <a:lnTo>
                    <a:pt x="186" y="171"/>
                  </a:lnTo>
                  <a:lnTo>
                    <a:pt x="193" y="168"/>
                  </a:lnTo>
                  <a:lnTo>
                    <a:pt x="198" y="166"/>
                  </a:lnTo>
                  <a:lnTo>
                    <a:pt x="204" y="162"/>
                  </a:lnTo>
                  <a:lnTo>
                    <a:pt x="206" y="160"/>
                  </a:lnTo>
                  <a:lnTo>
                    <a:pt x="212" y="159"/>
                  </a:lnTo>
                  <a:lnTo>
                    <a:pt x="217" y="158"/>
                  </a:lnTo>
                  <a:lnTo>
                    <a:pt x="219" y="156"/>
                  </a:lnTo>
                  <a:lnTo>
                    <a:pt x="225" y="153"/>
                  </a:lnTo>
                  <a:lnTo>
                    <a:pt x="230" y="147"/>
                  </a:lnTo>
                  <a:lnTo>
                    <a:pt x="225" y="157"/>
                  </a:lnTo>
                  <a:lnTo>
                    <a:pt x="230" y="155"/>
                  </a:lnTo>
                  <a:lnTo>
                    <a:pt x="233" y="151"/>
                  </a:lnTo>
                  <a:lnTo>
                    <a:pt x="236" y="150"/>
                  </a:lnTo>
                  <a:lnTo>
                    <a:pt x="240" y="149"/>
                  </a:lnTo>
                  <a:lnTo>
                    <a:pt x="242" y="149"/>
                  </a:lnTo>
                  <a:lnTo>
                    <a:pt x="233" y="157"/>
                  </a:lnTo>
                  <a:lnTo>
                    <a:pt x="225" y="163"/>
                  </a:lnTo>
                  <a:lnTo>
                    <a:pt x="219" y="166"/>
                  </a:lnTo>
                  <a:lnTo>
                    <a:pt x="214" y="171"/>
                  </a:lnTo>
                  <a:lnTo>
                    <a:pt x="206" y="173"/>
                  </a:lnTo>
                  <a:lnTo>
                    <a:pt x="197" y="176"/>
                  </a:lnTo>
                  <a:lnTo>
                    <a:pt x="189" y="178"/>
                  </a:lnTo>
                  <a:lnTo>
                    <a:pt x="184" y="175"/>
                  </a:lnTo>
                  <a:lnTo>
                    <a:pt x="182" y="171"/>
                  </a:lnTo>
                  <a:lnTo>
                    <a:pt x="182" y="167"/>
                  </a:lnTo>
                  <a:lnTo>
                    <a:pt x="180" y="165"/>
                  </a:lnTo>
                  <a:lnTo>
                    <a:pt x="167" y="161"/>
                  </a:lnTo>
                  <a:lnTo>
                    <a:pt x="155" y="158"/>
                  </a:lnTo>
                  <a:lnTo>
                    <a:pt x="157" y="153"/>
                  </a:lnTo>
                  <a:lnTo>
                    <a:pt x="154" y="151"/>
                  </a:lnTo>
                  <a:lnTo>
                    <a:pt x="151" y="151"/>
                  </a:lnTo>
                  <a:lnTo>
                    <a:pt x="148" y="150"/>
                  </a:lnTo>
                  <a:lnTo>
                    <a:pt x="144" y="143"/>
                  </a:lnTo>
                  <a:lnTo>
                    <a:pt x="140" y="138"/>
                  </a:lnTo>
                  <a:lnTo>
                    <a:pt x="132" y="133"/>
                  </a:lnTo>
                  <a:lnTo>
                    <a:pt x="2" y="156"/>
                  </a:lnTo>
                  <a:lnTo>
                    <a:pt x="0" y="146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2" name="Freeform 24"/>
            <p:cNvSpPr>
              <a:spLocks/>
            </p:cNvSpPr>
            <p:nvPr/>
          </p:nvSpPr>
          <p:spPr bwMode="auto">
            <a:xfrm>
              <a:off x="7792488" y="1982681"/>
              <a:ext cx="94441" cy="170331"/>
            </a:xfrm>
            <a:custGeom>
              <a:avLst/>
              <a:gdLst>
                <a:gd name="T0" fmla="*/ 0 w 56"/>
                <a:gd name="T1" fmla="*/ 23 h 101"/>
                <a:gd name="T2" fmla="*/ 2 w 56"/>
                <a:gd name="T3" fmla="*/ 28 h 101"/>
                <a:gd name="T4" fmla="*/ 5 w 56"/>
                <a:gd name="T5" fmla="*/ 35 h 101"/>
                <a:gd name="T6" fmla="*/ 8 w 56"/>
                <a:gd name="T7" fmla="*/ 36 h 101"/>
                <a:gd name="T8" fmla="*/ 11 w 56"/>
                <a:gd name="T9" fmla="*/ 44 h 101"/>
                <a:gd name="T10" fmla="*/ 8 w 56"/>
                <a:gd name="T11" fmla="*/ 46 h 101"/>
                <a:gd name="T12" fmla="*/ 7 w 56"/>
                <a:gd name="T13" fmla="*/ 53 h 101"/>
                <a:gd name="T14" fmla="*/ 11 w 56"/>
                <a:gd name="T15" fmla="*/ 60 h 101"/>
                <a:gd name="T16" fmla="*/ 14 w 56"/>
                <a:gd name="T17" fmla="*/ 68 h 101"/>
                <a:gd name="T18" fmla="*/ 18 w 56"/>
                <a:gd name="T19" fmla="*/ 71 h 101"/>
                <a:gd name="T20" fmla="*/ 19 w 56"/>
                <a:gd name="T21" fmla="*/ 82 h 101"/>
                <a:gd name="T22" fmla="*/ 21 w 56"/>
                <a:gd name="T23" fmla="*/ 91 h 101"/>
                <a:gd name="T24" fmla="*/ 25 w 56"/>
                <a:gd name="T25" fmla="*/ 100 h 101"/>
                <a:gd name="T26" fmla="*/ 25 w 56"/>
                <a:gd name="T27" fmla="*/ 101 h 101"/>
                <a:gd name="T28" fmla="*/ 47 w 56"/>
                <a:gd name="T29" fmla="*/ 98 h 101"/>
                <a:gd name="T30" fmla="*/ 45 w 56"/>
                <a:gd name="T31" fmla="*/ 91 h 101"/>
                <a:gd name="T32" fmla="*/ 46 w 56"/>
                <a:gd name="T33" fmla="*/ 82 h 101"/>
                <a:gd name="T34" fmla="*/ 45 w 56"/>
                <a:gd name="T35" fmla="*/ 71 h 101"/>
                <a:gd name="T36" fmla="*/ 44 w 56"/>
                <a:gd name="T37" fmla="*/ 60 h 101"/>
                <a:gd name="T38" fmla="*/ 47 w 56"/>
                <a:gd name="T39" fmla="*/ 45 h 101"/>
                <a:gd name="T40" fmla="*/ 47 w 56"/>
                <a:gd name="T41" fmla="*/ 32 h 101"/>
                <a:gd name="T42" fmla="*/ 56 w 56"/>
                <a:gd name="T43" fmla="*/ 25 h 101"/>
                <a:gd name="T44" fmla="*/ 56 w 56"/>
                <a:gd name="T45" fmla="*/ 21 h 101"/>
                <a:gd name="T46" fmla="*/ 53 w 56"/>
                <a:gd name="T47" fmla="*/ 17 h 101"/>
                <a:gd name="T48" fmla="*/ 53 w 56"/>
                <a:gd name="T49" fmla="*/ 12 h 101"/>
                <a:gd name="T50" fmla="*/ 53 w 56"/>
                <a:gd name="T51" fmla="*/ 4 h 101"/>
                <a:gd name="T52" fmla="*/ 50 w 56"/>
                <a:gd name="T53" fmla="*/ 0 h 101"/>
                <a:gd name="T54" fmla="*/ 43 w 56"/>
                <a:gd name="T55" fmla="*/ 2 h 101"/>
                <a:gd name="T56" fmla="*/ 36 w 56"/>
                <a:gd name="T57" fmla="*/ 4 h 101"/>
                <a:gd name="T58" fmla="*/ 22 w 56"/>
                <a:gd name="T59" fmla="*/ 6 h 101"/>
                <a:gd name="T60" fmla="*/ 15 w 56"/>
                <a:gd name="T61" fmla="*/ 8 h 101"/>
                <a:gd name="T62" fmla="*/ 5 w 56"/>
                <a:gd name="T63" fmla="*/ 12 h 101"/>
                <a:gd name="T64" fmla="*/ 0 w 56"/>
                <a:gd name="T65" fmla="*/ 12 h 101"/>
                <a:gd name="T66" fmla="*/ 0 w 56"/>
                <a:gd name="T67" fmla="*/ 17 h 101"/>
                <a:gd name="T68" fmla="*/ 0 w 56"/>
                <a:gd name="T69" fmla="*/ 2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" h="101">
                  <a:moveTo>
                    <a:pt x="0" y="23"/>
                  </a:moveTo>
                  <a:lnTo>
                    <a:pt x="2" y="28"/>
                  </a:lnTo>
                  <a:lnTo>
                    <a:pt x="5" y="35"/>
                  </a:lnTo>
                  <a:lnTo>
                    <a:pt x="8" y="36"/>
                  </a:lnTo>
                  <a:lnTo>
                    <a:pt x="11" y="44"/>
                  </a:lnTo>
                  <a:lnTo>
                    <a:pt x="8" y="46"/>
                  </a:lnTo>
                  <a:lnTo>
                    <a:pt x="7" y="53"/>
                  </a:lnTo>
                  <a:lnTo>
                    <a:pt x="11" y="60"/>
                  </a:lnTo>
                  <a:lnTo>
                    <a:pt x="14" y="68"/>
                  </a:lnTo>
                  <a:lnTo>
                    <a:pt x="18" y="71"/>
                  </a:lnTo>
                  <a:lnTo>
                    <a:pt x="19" y="82"/>
                  </a:lnTo>
                  <a:lnTo>
                    <a:pt x="21" y="91"/>
                  </a:lnTo>
                  <a:lnTo>
                    <a:pt x="25" y="100"/>
                  </a:lnTo>
                  <a:lnTo>
                    <a:pt x="25" y="101"/>
                  </a:lnTo>
                  <a:lnTo>
                    <a:pt x="47" y="98"/>
                  </a:lnTo>
                  <a:lnTo>
                    <a:pt x="45" y="91"/>
                  </a:lnTo>
                  <a:lnTo>
                    <a:pt x="46" y="82"/>
                  </a:lnTo>
                  <a:lnTo>
                    <a:pt x="45" y="71"/>
                  </a:lnTo>
                  <a:lnTo>
                    <a:pt x="44" y="60"/>
                  </a:lnTo>
                  <a:lnTo>
                    <a:pt x="47" y="45"/>
                  </a:lnTo>
                  <a:lnTo>
                    <a:pt x="47" y="32"/>
                  </a:lnTo>
                  <a:lnTo>
                    <a:pt x="56" y="25"/>
                  </a:lnTo>
                  <a:lnTo>
                    <a:pt x="56" y="21"/>
                  </a:lnTo>
                  <a:lnTo>
                    <a:pt x="53" y="17"/>
                  </a:lnTo>
                  <a:lnTo>
                    <a:pt x="53" y="12"/>
                  </a:lnTo>
                  <a:lnTo>
                    <a:pt x="53" y="4"/>
                  </a:lnTo>
                  <a:lnTo>
                    <a:pt x="50" y="0"/>
                  </a:lnTo>
                  <a:lnTo>
                    <a:pt x="43" y="2"/>
                  </a:lnTo>
                  <a:lnTo>
                    <a:pt x="36" y="4"/>
                  </a:lnTo>
                  <a:lnTo>
                    <a:pt x="22" y="6"/>
                  </a:lnTo>
                  <a:lnTo>
                    <a:pt x="15" y="8"/>
                  </a:lnTo>
                  <a:lnTo>
                    <a:pt x="5" y="12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3" name="Freeform 25"/>
            <p:cNvSpPr>
              <a:spLocks/>
            </p:cNvSpPr>
            <p:nvPr/>
          </p:nvSpPr>
          <p:spPr bwMode="auto">
            <a:xfrm>
              <a:off x="7866691" y="1960757"/>
              <a:ext cx="84322" cy="187195"/>
            </a:xfrm>
            <a:custGeom>
              <a:avLst/>
              <a:gdLst>
                <a:gd name="T0" fmla="*/ 18 w 50"/>
                <a:gd name="T1" fmla="*/ 0 h 111"/>
                <a:gd name="T2" fmla="*/ 14 w 50"/>
                <a:gd name="T3" fmla="*/ 1 h 111"/>
                <a:gd name="T4" fmla="*/ 9 w 50"/>
                <a:gd name="T5" fmla="*/ 1 h 111"/>
                <a:gd name="T6" fmla="*/ 9 w 50"/>
                <a:gd name="T7" fmla="*/ 6 h 111"/>
                <a:gd name="T8" fmla="*/ 8 w 50"/>
                <a:gd name="T9" fmla="*/ 9 h 111"/>
                <a:gd name="T10" fmla="*/ 6 w 50"/>
                <a:gd name="T11" fmla="*/ 13 h 111"/>
                <a:gd name="T12" fmla="*/ 9 w 50"/>
                <a:gd name="T13" fmla="*/ 17 h 111"/>
                <a:gd name="T14" fmla="*/ 9 w 50"/>
                <a:gd name="T15" fmla="*/ 25 h 111"/>
                <a:gd name="T16" fmla="*/ 9 w 50"/>
                <a:gd name="T17" fmla="*/ 30 h 111"/>
                <a:gd name="T18" fmla="*/ 12 w 50"/>
                <a:gd name="T19" fmla="*/ 34 h 111"/>
                <a:gd name="T20" fmla="*/ 12 w 50"/>
                <a:gd name="T21" fmla="*/ 38 h 111"/>
                <a:gd name="T22" fmla="*/ 3 w 50"/>
                <a:gd name="T23" fmla="*/ 45 h 111"/>
                <a:gd name="T24" fmla="*/ 3 w 50"/>
                <a:gd name="T25" fmla="*/ 58 h 111"/>
                <a:gd name="T26" fmla="*/ 0 w 50"/>
                <a:gd name="T27" fmla="*/ 73 h 111"/>
                <a:gd name="T28" fmla="*/ 1 w 50"/>
                <a:gd name="T29" fmla="*/ 84 h 111"/>
                <a:gd name="T30" fmla="*/ 2 w 50"/>
                <a:gd name="T31" fmla="*/ 95 h 111"/>
                <a:gd name="T32" fmla="*/ 1 w 50"/>
                <a:gd name="T33" fmla="*/ 104 h 111"/>
                <a:gd name="T34" fmla="*/ 3 w 50"/>
                <a:gd name="T35" fmla="*/ 111 h 111"/>
                <a:gd name="T36" fmla="*/ 40 w 50"/>
                <a:gd name="T37" fmla="*/ 102 h 111"/>
                <a:gd name="T38" fmla="*/ 41 w 50"/>
                <a:gd name="T39" fmla="*/ 97 h 111"/>
                <a:gd name="T40" fmla="*/ 49 w 50"/>
                <a:gd name="T41" fmla="*/ 94 h 111"/>
                <a:gd name="T42" fmla="*/ 48 w 50"/>
                <a:gd name="T43" fmla="*/ 91 h 111"/>
                <a:gd name="T44" fmla="*/ 50 w 50"/>
                <a:gd name="T45" fmla="*/ 83 h 111"/>
                <a:gd name="T46" fmla="*/ 50 w 50"/>
                <a:gd name="T47" fmla="*/ 83 h 111"/>
                <a:gd name="T48" fmla="*/ 41 w 50"/>
                <a:gd name="T49" fmla="*/ 75 h 111"/>
                <a:gd name="T50" fmla="*/ 18 w 50"/>
                <a:gd name="T51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" h="111">
                  <a:moveTo>
                    <a:pt x="18" y="0"/>
                  </a:moveTo>
                  <a:lnTo>
                    <a:pt x="14" y="1"/>
                  </a:lnTo>
                  <a:lnTo>
                    <a:pt x="9" y="1"/>
                  </a:lnTo>
                  <a:lnTo>
                    <a:pt x="9" y="6"/>
                  </a:lnTo>
                  <a:lnTo>
                    <a:pt x="8" y="9"/>
                  </a:lnTo>
                  <a:lnTo>
                    <a:pt x="6" y="13"/>
                  </a:lnTo>
                  <a:lnTo>
                    <a:pt x="9" y="17"/>
                  </a:lnTo>
                  <a:lnTo>
                    <a:pt x="9" y="25"/>
                  </a:lnTo>
                  <a:lnTo>
                    <a:pt x="9" y="30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3" y="45"/>
                  </a:lnTo>
                  <a:lnTo>
                    <a:pt x="3" y="58"/>
                  </a:lnTo>
                  <a:lnTo>
                    <a:pt x="0" y="73"/>
                  </a:lnTo>
                  <a:lnTo>
                    <a:pt x="1" y="84"/>
                  </a:lnTo>
                  <a:lnTo>
                    <a:pt x="2" y="95"/>
                  </a:lnTo>
                  <a:lnTo>
                    <a:pt x="1" y="104"/>
                  </a:lnTo>
                  <a:lnTo>
                    <a:pt x="3" y="111"/>
                  </a:lnTo>
                  <a:lnTo>
                    <a:pt x="40" y="102"/>
                  </a:lnTo>
                  <a:lnTo>
                    <a:pt x="41" y="97"/>
                  </a:lnTo>
                  <a:lnTo>
                    <a:pt x="49" y="94"/>
                  </a:lnTo>
                  <a:lnTo>
                    <a:pt x="48" y="91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1" y="75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4" name="Freeform 26"/>
            <p:cNvSpPr>
              <a:spLocks/>
            </p:cNvSpPr>
            <p:nvPr/>
          </p:nvSpPr>
          <p:spPr bwMode="auto">
            <a:xfrm>
              <a:off x="7834650" y="2188428"/>
              <a:ext cx="94441" cy="86009"/>
            </a:xfrm>
            <a:custGeom>
              <a:avLst/>
              <a:gdLst>
                <a:gd name="T0" fmla="*/ 4 w 56"/>
                <a:gd name="T1" fmla="*/ 29 h 51"/>
                <a:gd name="T2" fmla="*/ 4 w 56"/>
                <a:gd name="T3" fmla="*/ 36 h 51"/>
                <a:gd name="T4" fmla="*/ 8 w 56"/>
                <a:gd name="T5" fmla="*/ 42 h 51"/>
                <a:gd name="T6" fmla="*/ 4 w 56"/>
                <a:gd name="T7" fmla="*/ 48 h 51"/>
                <a:gd name="T8" fmla="*/ 5 w 56"/>
                <a:gd name="T9" fmla="*/ 51 h 51"/>
                <a:gd name="T10" fmla="*/ 9 w 56"/>
                <a:gd name="T11" fmla="*/ 50 h 51"/>
                <a:gd name="T12" fmla="*/ 13 w 56"/>
                <a:gd name="T13" fmla="*/ 45 h 51"/>
                <a:gd name="T14" fmla="*/ 15 w 56"/>
                <a:gd name="T15" fmla="*/ 44 h 51"/>
                <a:gd name="T16" fmla="*/ 20 w 56"/>
                <a:gd name="T17" fmla="*/ 39 h 51"/>
                <a:gd name="T18" fmla="*/ 25 w 56"/>
                <a:gd name="T19" fmla="*/ 36 h 51"/>
                <a:gd name="T20" fmla="*/ 33 w 56"/>
                <a:gd name="T21" fmla="*/ 36 h 51"/>
                <a:gd name="T22" fmla="*/ 37 w 56"/>
                <a:gd name="T23" fmla="*/ 34 h 51"/>
                <a:gd name="T24" fmla="*/ 39 w 56"/>
                <a:gd name="T25" fmla="*/ 32 h 51"/>
                <a:gd name="T26" fmla="*/ 44 w 56"/>
                <a:gd name="T27" fmla="*/ 30 h 51"/>
                <a:gd name="T28" fmla="*/ 49 w 56"/>
                <a:gd name="T29" fmla="*/ 28 h 51"/>
                <a:gd name="T30" fmla="*/ 55 w 56"/>
                <a:gd name="T31" fmla="*/ 28 h 51"/>
                <a:gd name="T32" fmla="*/ 56 w 56"/>
                <a:gd name="T33" fmla="*/ 26 h 51"/>
                <a:gd name="T34" fmla="*/ 50 w 56"/>
                <a:gd name="T35" fmla="*/ 0 h 51"/>
                <a:gd name="T36" fmla="*/ 24 w 56"/>
                <a:gd name="T37" fmla="*/ 5 h 51"/>
                <a:gd name="T38" fmla="*/ 0 w 56"/>
                <a:gd name="T39" fmla="*/ 9 h 51"/>
                <a:gd name="T40" fmla="*/ 0 w 56"/>
                <a:gd name="T41" fmla="*/ 10 h 51"/>
                <a:gd name="T42" fmla="*/ 4 w 56"/>
                <a:gd name="T43" fmla="*/ 2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51">
                  <a:moveTo>
                    <a:pt x="4" y="29"/>
                  </a:moveTo>
                  <a:lnTo>
                    <a:pt x="4" y="36"/>
                  </a:lnTo>
                  <a:lnTo>
                    <a:pt x="8" y="42"/>
                  </a:lnTo>
                  <a:lnTo>
                    <a:pt x="4" y="48"/>
                  </a:lnTo>
                  <a:lnTo>
                    <a:pt x="5" y="51"/>
                  </a:lnTo>
                  <a:lnTo>
                    <a:pt x="9" y="50"/>
                  </a:lnTo>
                  <a:lnTo>
                    <a:pt x="13" y="45"/>
                  </a:lnTo>
                  <a:lnTo>
                    <a:pt x="15" y="44"/>
                  </a:lnTo>
                  <a:lnTo>
                    <a:pt x="20" y="39"/>
                  </a:lnTo>
                  <a:lnTo>
                    <a:pt x="25" y="36"/>
                  </a:lnTo>
                  <a:lnTo>
                    <a:pt x="33" y="36"/>
                  </a:lnTo>
                  <a:lnTo>
                    <a:pt x="37" y="34"/>
                  </a:lnTo>
                  <a:lnTo>
                    <a:pt x="39" y="32"/>
                  </a:lnTo>
                  <a:lnTo>
                    <a:pt x="44" y="30"/>
                  </a:lnTo>
                  <a:lnTo>
                    <a:pt x="49" y="28"/>
                  </a:lnTo>
                  <a:lnTo>
                    <a:pt x="55" y="28"/>
                  </a:lnTo>
                  <a:lnTo>
                    <a:pt x="56" y="26"/>
                  </a:lnTo>
                  <a:lnTo>
                    <a:pt x="50" y="0"/>
                  </a:lnTo>
                  <a:lnTo>
                    <a:pt x="24" y="5"/>
                  </a:lnTo>
                  <a:lnTo>
                    <a:pt x="0" y="9"/>
                  </a:lnTo>
                  <a:lnTo>
                    <a:pt x="0" y="10"/>
                  </a:lnTo>
                  <a:lnTo>
                    <a:pt x="4" y="29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auto">
            <a:xfrm>
              <a:off x="7918972" y="2179995"/>
              <a:ext cx="40475" cy="52280"/>
            </a:xfrm>
            <a:custGeom>
              <a:avLst/>
              <a:gdLst>
                <a:gd name="T0" fmla="*/ 23 w 24"/>
                <a:gd name="T1" fmla="*/ 15 h 31"/>
                <a:gd name="T2" fmla="*/ 21 w 24"/>
                <a:gd name="T3" fmla="*/ 13 h 31"/>
                <a:gd name="T4" fmla="*/ 21 w 24"/>
                <a:gd name="T5" fmla="*/ 12 h 31"/>
                <a:gd name="T6" fmla="*/ 18 w 24"/>
                <a:gd name="T7" fmla="*/ 11 h 31"/>
                <a:gd name="T8" fmla="*/ 16 w 24"/>
                <a:gd name="T9" fmla="*/ 10 h 31"/>
                <a:gd name="T10" fmla="*/ 16 w 24"/>
                <a:gd name="T11" fmla="*/ 7 h 31"/>
                <a:gd name="T12" fmla="*/ 13 w 24"/>
                <a:gd name="T13" fmla="*/ 5 h 31"/>
                <a:gd name="T14" fmla="*/ 10 w 24"/>
                <a:gd name="T15" fmla="*/ 0 h 31"/>
                <a:gd name="T16" fmla="*/ 0 w 24"/>
                <a:gd name="T17" fmla="*/ 5 h 31"/>
                <a:gd name="T18" fmla="*/ 6 w 24"/>
                <a:gd name="T19" fmla="*/ 31 h 31"/>
                <a:gd name="T20" fmla="*/ 8 w 24"/>
                <a:gd name="T21" fmla="*/ 29 h 31"/>
                <a:gd name="T22" fmla="*/ 10 w 24"/>
                <a:gd name="T23" fmla="*/ 28 h 31"/>
                <a:gd name="T24" fmla="*/ 14 w 24"/>
                <a:gd name="T25" fmla="*/ 26 h 31"/>
                <a:gd name="T26" fmla="*/ 14 w 24"/>
                <a:gd name="T27" fmla="*/ 23 h 31"/>
                <a:gd name="T28" fmla="*/ 14 w 24"/>
                <a:gd name="T29" fmla="*/ 22 h 31"/>
                <a:gd name="T30" fmla="*/ 14 w 24"/>
                <a:gd name="T31" fmla="*/ 20 h 31"/>
                <a:gd name="T32" fmla="*/ 14 w 24"/>
                <a:gd name="T33" fmla="*/ 17 h 31"/>
                <a:gd name="T34" fmla="*/ 14 w 24"/>
                <a:gd name="T35" fmla="*/ 15 h 31"/>
                <a:gd name="T36" fmla="*/ 14 w 24"/>
                <a:gd name="T37" fmla="*/ 14 h 31"/>
                <a:gd name="T38" fmla="*/ 15 w 24"/>
                <a:gd name="T39" fmla="*/ 13 h 31"/>
                <a:gd name="T40" fmla="*/ 16 w 24"/>
                <a:gd name="T41" fmla="*/ 13 h 31"/>
                <a:gd name="T42" fmla="*/ 19 w 24"/>
                <a:gd name="T43" fmla="*/ 14 h 31"/>
                <a:gd name="T44" fmla="*/ 19 w 24"/>
                <a:gd name="T45" fmla="*/ 16 h 31"/>
                <a:gd name="T46" fmla="*/ 21 w 24"/>
                <a:gd name="T47" fmla="*/ 20 h 31"/>
                <a:gd name="T48" fmla="*/ 21 w 24"/>
                <a:gd name="T49" fmla="*/ 21 h 31"/>
                <a:gd name="T50" fmla="*/ 22 w 24"/>
                <a:gd name="T51" fmla="*/ 22 h 31"/>
                <a:gd name="T52" fmla="*/ 24 w 24"/>
                <a:gd name="T53" fmla="*/ 21 h 31"/>
                <a:gd name="T54" fmla="*/ 24 w 24"/>
                <a:gd name="T55" fmla="*/ 20 h 31"/>
                <a:gd name="T56" fmla="*/ 24 w 24"/>
                <a:gd name="T57" fmla="*/ 19 h 31"/>
                <a:gd name="T58" fmla="*/ 23 w 24"/>
                <a:gd name="T5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" h="31">
                  <a:moveTo>
                    <a:pt x="23" y="15"/>
                  </a:moveTo>
                  <a:lnTo>
                    <a:pt x="21" y="13"/>
                  </a:lnTo>
                  <a:lnTo>
                    <a:pt x="21" y="12"/>
                  </a:lnTo>
                  <a:lnTo>
                    <a:pt x="18" y="11"/>
                  </a:lnTo>
                  <a:lnTo>
                    <a:pt x="16" y="10"/>
                  </a:lnTo>
                  <a:lnTo>
                    <a:pt x="16" y="7"/>
                  </a:lnTo>
                  <a:lnTo>
                    <a:pt x="13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6" y="31"/>
                  </a:lnTo>
                  <a:lnTo>
                    <a:pt x="8" y="29"/>
                  </a:lnTo>
                  <a:lnTo>
                    <a:pt x="10" y="28"/>
                  </a:lnTo>
                  <a:lnTo>
                    <a:pt x="14" y="26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4" y="17"/>
                  </a:lnTo>
                  <a:lnTo>
                    <a:pt x="14" y="15"/>
                  </a:lnTo>
                  <a:lnTo>
                    <a:pt x="14" y="14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2" y="22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3" y="15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6" name="Freeform 28"/>
            <p:cNvSpPr>
              <a:spLocks/>
            </p:cNvSpPr>
            <p:nvPr/>
          </p:nvSpPr>
          <p:spPr bwMode="auto">
            <a:xfrm>
              <a:off x="7834650" y="2119282"/>
              <a:ext cx="183822" cy="92755"/>
            </a:xfrm>
            <a:custGeom>
              <a:avLst/>
              <a:gdLst>
                <a:gd name="T0" fmla="*/ 105 w 109"/>
                <a:gd name="T1" fmla="*/ 32 h 55"/>
                <a:gd name="T2" fmla="*/ 101 w 109"/>
                <a:gd name="T3" fmla="*/ 29 h 55"/>
                <a:gd name="T4" fmla="*/ 97 w 109"/>
                <a:gd name="T5" fmla="*/ 25 h 55"/>
                <a:gd name="T6" fmla="*/ 97 w 109"/>
                <a:gd name="T7" fmla="*/ 29 h 55"/>
                <a:gd name="T8" fmla="*/ 102 w 109"/>
                <a:gd name="T9" fmla="*/ 35 h 55"/>
                <a:gd name="T10" fmla="*/ 95 w 109"/>
                <a:gd name="T11" fmla="*/ 36 h 55"/>
                <a:gd name="T12" fmla="*/ 88 w 109"/>
                <a:gd name="T13" fmla="*/ 37 h 55"/>
                <a:gd name="T14" fmla="*/ 85 w 109"/>
                <a:gd name="T15" fmla="*/ 35 h 55"/>
                <a:gd name="T16" fmla="*/ 81 w 109"/>
                <a:gd name="T17" fmla="*/ 32 h 55"/>
                <a:gd name="T18" fmla="*/ 81 w 109"/>
                <a:gd name="T19" fmla="*/ 27 h 55"/>
                <a:gd name="T20" fmla="*/ 73 w 109"/>
                <a:gd name="T21" fmla="*/ 22 h 55"/>
                <a:gd name="T22" fmla="*/ 69 w 109"/>
                <a:gd name="T23" fmla="*/ 22 h 55"/>
                <a:gd name="T24" fmla="*/ 68 w 109"/>
                <a:gd name="T25" fmla="*/ 16 h 55"/>
                <a:gd name="T26" fmla="*/ 71 w 109"/>
                <a:gd name="T27" fmla="*/ 13 h 55"/>
                <a:gd name="T28" fmla="*/ 77 w 109"/>
                <a:gd name="T29" fmla="*/ 9 h 55"/>
                <a:gd name="T30" fmla="*/ 76 w 109"/>
                <a:gd name="T31" fmla="*/ 6 h 55"/>
                <a:gd name="T32" fmla="*/ 71 w 109"/>
                <a:gd name="T33" fmla="*/ 6 h 55"/>
                <a:gd name="T34" fmla="*/ 68 w 109"/>
                <a:gd name="T35" fmla="*/ 0 h 55"/>
                <a:gd name="T36" fmla="*/ 59 w 109"/>
                <a:gd name="T37" fmla="*/ 8 h 55"/>
                <a:gd name="T38" fmla="*/ 0 w 109"/>
                <a:gd name="T39" fmla="*/ 20 h 55"/>
                <a:gd name="T40" fmla="*/ 0 w 109"/>
                <a:gd name="T41" fmla="*/ 50 h 55"/>
                <a:gd name="T42" fmla="*/ 50 w 109"/>
                <a:gd name="T43" fmla="*/ 41 h 55"/>
                <a:gd name="T44" fmla="*/ 63 w 109"/>
                <a:gd name="T45" fmla="*/ 41 h 55"/>
                <a:gd name="T46" fmla="*/ 66 w 109"/>
                <a:gd name="T47" fmla="*/ 46 h 55"/>
                <a:gd name="T48" fmla="*/ 71 w 109"/>
                <a:gd name="T49" fmla="*/ 48 h 55"/>
                <a:gd name="T50" fmla="*/ 73 w 109"/>
                <a:gd name="T51" fmla="*/ 51 h 55"/>
                <a:gd name="T52" fmla="*/ 74 w 109"/>
                <a:gd name="T53" fmla="*/ 55 h 55"/>
                <a:gd name="T54" fmla="*/ 77 w 109"/>
                <a:gd name="T55" fmla="*/ 55 h 55"/>
                <a:gd name="T56" fmla="*/ 79 w 109"/>
                <a:gd name="T57" fmla="*/ 49 h 55"/>
                <a:gd name="T58" fmla="*/ 82 w 109"/>
                <a:gd name="T59" fmla="*/ 45 h 55"/>
                <a:gd name="T60" fmla="*/ 86 w 109"/>
                <a:gd name="T61" fmla="*/ 46 h 55"/>
                <a:gd name="T62" fmla="*/ 87 w 109"/>
                <a:gd name="T63" fmla="*/ 51 h 55"/>
                <a:gd name="T64" fmla="*/ 92 w 109"/>
                <a:gd name="T65" fmla="*/ 47 h 55"/>
                <a:gd name="T66" fmla="*/ 94 w 109"/>
                <a:gd name="T67" fmla="*/ 45 h 55"/>
                <a:gd name="T68" fmla="*/ 101 w 109"/>
                <a:gd name="T69" fmla="*/ 43 h 55"/>
                <a:gd name="T70" fmla="*/ 106 w 109"/>
                <a:gd name="T71" fmla="*/ 40 h 55"/>
                <a:gd name="T72" fmla="*/ 109 w 109"/>
                <a:gd name="T73" fmla="*/ 3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9" h="55">
                  <a:moveTo>
                    <a:pt x="107" y="35"/>
                  </a:moveTo>
                  <a:lnTo>
                    <a:pt x="105" y="32"/>
                  </a:lnTo>
                  <a:lnTo>
                    <a:pt x="104" y="31"/>
                  </a:lnTo>
                  <a:lnTo>
                    <a:pt x="101" y="29"/>
                  </a:lnTo>
                  <a:lnTo>
                    <a:pt x="98" y="27"/>
                  </a:lnTo>
                  <a:lnTo>
                    <a:pt x="97" y="25"/>
                  </a:lnTo>
                  <a:lnTo>
                    <a:pt x="96" y="27"/>
                  </a:lnTo>
                  <a:lnTo>
                    <a:pt x="97" y="29"/>
                  </a:lnTo>
                  <a:lnTo>
                    <a:pt x="100" y="32"/>
                  </a:lnTo>
                  <a:lnTo>
                    <a:pt x="102" y="35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89" y="39"/>
                  </a:lnTo>
                  <a:lnTo>
                    <a:pt x="88" y="37"/>
                  </a:lnTo>
                  <a:lnTo>
                    <a:pt x="87" y="36"/>
                  </a:lnTo>
                  <a:lnTo>
                    <a:pt x="85" y="35"/>
                  </a:lnTo>
                  <a:lnTo>
                    <a:pt x="82" y="33"/>
                  </a:lnTo>
                  <a:lnTo>
                    <a:pt x="81" y="32"/>
                  </a:lnTo>
                  <a:lnTo>
                    <a:pt x="82" y="30"/>
                  </a:lnTo>
                  <a:lnTo>
                    <a:pt x="81" y="27"/>
                  </a:lnTo>
                  <a:lnTo>
                    <a:pt x="77" y="24"/>
                  </a:lnTo>
                  <a:lnTo>
                    <a:pt x="73" y="22"/>
                  </a:lnTo>
                  <a:lnTo>
                    <a:pt x="71" y="22"/>
                  </a:lnTo>
                  <a:lnTo>
                    <a:pt x="69" y="22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1" y="13"/>
                  </a:lnTo>
                  <a:lnTo>
                    <a:pt x="73" y="11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6" y="6"/>
                  </a:lnTo>
                  <a:lnTo>
                    <a:pt x="73" y="6"/>
                  </a:lnTo>
                  <a:lnTo>
                    <a:pt x="71" y="6"/>
                  </a:lnTo>
                  <a:lnTo>
                    <a:pt x="70" y="3"/>
                  </a:lnTo>
                  <a:lnTo>
                    <a:pt x="68" y="0"/>
                  </a:lnTo>
                  <a:lnTo>
                    <a:pt x="60" y="3"/>
                  </a:lnTo>
                  <a:lnTo>
                    <a:pt x="59" y="8"/>
                  </a:lnTo>
                  <a:lnTo>
                    <a:pt x="22" y="17"/>
                  </a:lnTo>
                  <a:lnTo>
                    <a:pt x="0" y="20"/>
                  </a:lnTo>
                  <a:lnTo>
                    <a:pt x="0" y="33"/>
                  </a:lnTo>
                  <a:lnTo>
                    <a:pt x="0" y="50"/>
                  </a:lnTo>
                  <a:lnTo>
                    <a:pt x="24" y="46"/>
                  </a:lnTo>
                  <a:lnTo>
                    <a:pt x="50" y="41"/>
                  </a:lnTo>
                  <a:lnTo>
                    <a:pt x="60" y="36"/>
                  </a:lnTo>
                  <a:lnTo>
                    <a:pt x="63" y="41"/>
                  </a:lnTo>
                  <a:lnTo>
                    <a:pt x="66" y="43"/>
                  </a:lnTo>
                  <a:lnTo>
                    <a:pt x="66" y="46"/>
                  </a:lnTo>
                  <a:lnTo>
                    <a:pt x="68" y="47"/>
                  </a:lnTo>
                  <a:lnTo>
                    <a:pt x="71" y="48"/>
                  </a:lnTo>
                  <a:lnTo>
                    <a:pt x="71" y="49"/>
                  </a:lnTo>
                  <a:lnTo>
                    <a:pt x="73" y="51"/>
                  </a:lnTo>
                  <a:lnTo>
                    <a:pt x="74" y="55"/>
                  </a:lnTo>
                  <a:lnTo>
                    <a:pt x="74" y="55"/>
                  </a:lnTo>
                  <a:lnTo>
                    <a:pt x="76" y="55"/>
                  </a:lnTo>
                  <a:lnTo>
                    <a:pt x="77" y="55"/>
                  </a:lnTo>
                  <a:lnTo>
                    <a:pt x="79" y="53"/>
                  </a:lnTo>
                  <a:lnTo>
                    <a:pt x="79" y="49"/>
                  </a:lnTo>
                  <a:lnTo>
                    <a:pt x="82" y="47"/>
                  </a:lnTo>
                  <a:lnTo>
                    <a:pt x="82" y="45"/>
                  </a:lnTo>
                  <a:lnTo>
                    <a:pt x="85" y="43"/>
                  </a:lnTo>
                  <a:lnTo>
                    <a:pt x="86" y="46"/>
                  </a:lnTo>
                  <a:lnTo>
                    <a:pt x="87" y="49"/>
                  </a:lnTo>
                  <a:lnTo>
                    <a:pt x="87" y="51"/>
                  </a:lnTo>
                  <a:lnTo>
                    <a:pt x="90" y="49"/>
                  </a:lnTo>
                  <a:lnTo>
                    <a:pt x="92" y="47"/>
                  </a:lnTo>
                  <a:lnTo>
                    <a:pt x="92" y="45"/>
                  </a:lnTo>
                  <a:lnTo>
                    <a:pt x="94" y="45"/>
                  </a:lnTo>
                  <a:lnTo>
                    <a:pt x="97" y="43"/>
                  </a:lnTo>
                  <a:lnTo>
                    <a:pt x="101" y="43"/>
                  </a:lnTo>
                  <a:lnTo>
                    <a:pt x="103" y="41"/>
                  </a:lnTo>
                  <a:lnTo>
                    <a:pt x="106" y="40"/>
                  </a:lnTo>
                  <a:lnTo>
                    <a:pt x="108" y="38"/>
                  </a:lnTo>
                  <a:lnTo>
                    <a:pt x="109" y="36"/>
                  </a:lnTo>
                  <a:lnTo>
                    <a:pt x="107" y="35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auto">
            <a:xfrm>
              <a:off x="7976311" y="2205292"/>
              <a:ext cx="16864" cy="11806"/>
            </a:xfrm>
            <a:custGeom>
              <a:avLst/>
              <a:gdLst>
                <a:gd name="T0" fmla="*/ 3 w 12"/>
                <a:gd name="T1" fmla="*/ 9 h 9"/>
                <a:gd name="T2" fmla="*/ 7 w 12"/>
                <a:gd name="T3" fmla="*/ 9 h 9"/>
                <a:gd name="T4" fmla="*/ 10 w 12"/>
                <a:gd name="T5" fmla="*/ 6 h 9"/>
                <a:gd name="T6" fmla="*/ 12 w 12"/>
                <a:gd name="T7" fmla="*/ 4 h 9"/>
                <a:gd name="T8" fmla="*/ 8 w 12"/>
                <a:gd name="T9" fmla="*/ 2 h 9"/>
                <a:gd name="T10" fmla="*/ 4 w 12"/>
                <a:gd name="T11" fmla="*/ 1 h 9"/>
                <a:gd name="T12" fmla="*/ 0 w 12"/>
                <a:gd name="T13" fmla="*/ 7 h 9"/>
                <a:gd name="T14" fmla="*/ 3 w 12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9">
                  <a:moveTo>
                    <a:pt x="3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5" y="0"/>
                    <a:pt x="4" y="1"/>
                  </a:cubicBezTo>
                  <a:cubicBezTo>
                    <a:pt x="4" y="2"/>
                    <a:pt x="0" y="7"/>
                    <a:pt x="0" y="7"/>
                  </a:cubicBezTo>
                  <a:lnTo>
                    <a:pt x="3" y="9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auto">
            <a:xfrm>
              <a:off x="7763818" y="2269378"/>
              <a:ext cx="70830" cy="158525"/>
            </a:xfrm>
            <a:custGeom>
              <a:avLst/>
              <a:gdLst>
                <a:gd name="T0" fmla="*/ 36 w 42"/>
                <a:gd name="T1" fmla="*/ 13 h 94"/>
                <a:gd name="T2" fmla="*/ 36 w 42"/>
                <a:gd name="T3" fmla="*/ 9 h 94"/>
                <a:gd name="T4" fmla="*/ 34 w 42"/>
                <a:gd name="T5" fmla="*/ 7 h 94"/>
                <a:gd name="T6" fmla="*/ 21 w 42"/>
                <a:gd name="T7" fmla="*/ 3 h 94"/>
                <a:gd name="T8" fmla="*/ 9 w 42"/>
                <a:gd name="T9" fmla="*/ 0 h 94"/>
                <a:gd name="T10" fmla="*/ 8 w 42"/>
                <a:gd name="T11" fmla="*/ 3 h 94"/>
                <a:gd name="T12" fmla="*/ 6 w 42"/>
                <a:gd name="T13" fmla="*/ 7 h 94"/>
                <a:gd name="T14" fmla="*/ 3 w 42"/>
                <a:gd name="T15" fmla="*/ 9 h 94"/>
                <a:gd name="T16" fmla="*/ 2 w 42"/>
                <a:gd name="T17" fmla="*/ 14 h 94"/>
                <a:gd name="T18" fmla="*/ 3 w 42"/>
                <a:gd name="T19" fmla="*/ 20 h 94"/>
                <a:gd name="T20" fmla="*/ 3 w 42"/>
                <a:gd name="T21" fmla="*/ 25 h 94"/>
                <a:gd name="T22" fmla="*/ 2 w 42"/>
                <a:gd name="T23" fmla="*/ 30 h 94"/>
                <a:gd name="T24" fmla="*/ 5 w 42"/>
                <a:gd name="T25" fmla="*/ 32 h 94"/>
                <a:gd name="T26" fmla="*/ 9 w 42"/>
                <a:gd name="T27" fmla="*/ 34 h 94"/>
                <a:gd name="T28" fmla="*/ 11 w 42"/>
                <a:gd name="T29" fmla="*/ 38 h 94"/>
                <a:gd name="T30" fmla="*/ 15 w 42"/>
                <a:gd name="T31" fmla="*/ 42 h 94"/>
                <a:gd name="T32" fmla="*/ 20 w 42"/>
                <a:gd name="T33" fmla="*/ 46 h 94"/>
                <a:gd name="T34" fmla="*/ 20 w 42"/>
                <a:gd name="T35" fmla="*/ 47 h 94"/>
                <a:gd name="T36" fmla="*/ 18 w 42"/>
                <a:gd name="T37" fmla="*/ 53 h 94"/>
                <a:gd name="T38" fmla="*/ 10 w 42"/>
                <a:gd name="T39" fmla="*/ 58 h 94"/>
                <a:gd name="T40" fmla="*/ 3 w 42"/>
                <a:gd name="T41" fmla="*/ 64 h 94"/>
                <a:gd name="T42" fmla="*/ 2 w 42"/>
                <a:gd name="T43" fmla="*/ 67 h 94"/>
                <a:gd name="T44" fmla="*/ 0 w 42"/>
                <a:gd name="T45" fmla="*/ 72 h 94"/>
                <a:gd name="T46" fmla="*/ 1 w 42"/>
                <a:gd name="T47" fmla="*/ 75 h 94"/>
                <a:gd name="T48" fmla="*/ 3 w 42"/>
                <a:gd name="T49" fmla="*/ 79 h 94"/>
                <a:gd name="T50" fmla="*/ 8 w 42"/>
                <a:gd name="T51" fmla="*/ 83 h 94"/>
                <a:gd name="T52" fmla="*/ 12 w 42"/>
                <a:gd name="T53" fmla="*/ 85 h 94"/>
                <a:gd name="T54" fmla="*/ 15 w 42"/>
                <a:gd name="T55" fmla="*/ 86 h 94"/>
                <a:gd name="T56" fmla="*/ 20 w 42"/>
                <a:gd name="T57" fmla="*/ 86 h 94"/>
                <a:gd name="T58" fmla="*/ 24 w 42"/>
                <a:gd name="T59" fmla="*/ 86 h 94"/>
                <a:gd name="T60" fmla="*/ 25 w 42"/>
                <a:gd name="T61" fmla="*/ 86 h 94"/>
                <a:gd name="T62" fmla="*/ 24 w 42"/>
                <a:gd name="T63" fmla="*/ 90 h 94"/>
                <a:gd name="T64" fmla="*/ 24 w 42"/>
                <a:gd name="T65" fmla="*/ 93 h 94"/>
                <a:gd name="T66" fmla="*/ 25 w 42"/>
                <a:gd name="T67" fmla="*/ 94 h 94"/>
                <a:gd name="T68" fmla="*/ 26 w 42"/>
                <a:gd name="T69" fmla="*/ 94 h 94"/>
                <a:gd name="T70" fmla="*/ 27 w 42"/>
                <a:gd name="T71" fmla="*/ 87 h 94"/>
                <a:gd name="T72" fmla="*/ 28 w 42"/>
                <a:gd name="T73" fmla="*/ 86 h 94"/>
                <a:gd name="T74" fmla="*/ 31 w 42"/>
                <a:gd name="T75" fmla="*/ 82 h 94"/>
                <a:gd name="T76" fmla="*/ 36 w 42"/>
                <a:gd name="T77" fmla="*/ 78 h 94"/>
                <a:gd name="T78" fmla="*/ 36 w 42"/>
                <a:gd name="T79" fmla="*/ 69 h 94"/>
                <a:gd name="T80" fmla="*/ 36 w 42"/>
                <a:gd name="T81" fmla="*/ 65 h 94"/>
                <a:gd name="T82" fmla="*/ 40 w 42"/>
                <a:gd name="T83" fmla="*/ 61 h 94"/>
                <a:gd name="T84" fmla="*/ 41 w 42"/>
                <a:gd name="T85" fmla="*/ 53 h 94"/>
                <a:gd name="T86" fmla="*/ 42 w 42"/>
                <a:gd name="T87" fmla="*/ 48 h 94"/>
                <a:gd name="T88" fmla="*/ 42 w 42"/>
                <a:gd name="T89" fmla="*/ 40 h 94"/>
                <a:gd name="T90" fmla="*/ 42 w 42"/>
                <a:gd name="T91" fmla="*/ 36 h 94"/>
                <a:gd name="T92" fmla="*/ 40 w 42"/>
                <a:gd name="T93" fmla="*/ 30 h 94"/>
                <a:gd name="T94" fmla="*/ 36 w 42"/>
                <a:gd name="T95" fmla="*/ 30 h 94"/>
                <a:gd name="T96" fmla="*/ 34 w 42"/>
                <a:gd name="T97" fmla="*/ 30 h 94"/>
                <a:gd name="T98" fmla="*/ 35 w 42"/>
                <a:gd name="T99" fmla="*/ 25 h 94"/>
                <a:gd name="T100" fmla="*/ 37 w 42"/>
                <a:gd name="T101" fmla="*/ 20 h 94"/>
                <a:gd name="T102" fmla="*/ 39 w 42"/>
                <a:gd name="T103" fmla="*/ 18 h 94"/>
                <a:gd name="T104" fmla="*/ 38 w 42"/>
                <a:gd name="T105" fmla="*/ 17 h 94"/>
                <a:gd name="T106" fmla="*/ 36 w 42"/>
                <a:gd name="T107" fmla="*/ 1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94">
                  <a:moveTo>
                    <a:pt x="36" y="13"/>
                  </a:moveTo>
                  <a:lnTo>
                    <a:pt x="36" y="9"/>
                  </a:lnTo>
                  <a:lnTo>
                    <a:pt x="34" y="7"/>
                  </a:lnTo>
                  <a:lnTo>
                    <a:pt x="21" y="3"/>
                  </a:lnTo>
                  <a:lnTo>
                    <a:pt x="9" y="0"/>
                  </a:lnTo>
                  <a:lnTo>
                    <a:pt x="8" y="3"/>
                  </a:lnTo>
                  <a:lnTo>
                    <a:pt x="6" y="7"/>
                  </a:lnTo>
                  <a:lnTo>
                    <a:pt x="3" y="9"/>
                  </a:lnTo>
                  <a:lnTo>
                    <a:pt x="2" y="14"/>
                  </a:lnTo>
                  <a:lnTo>
                    <a:pt x="3" y="20"/>
                  </a:lnTo>
                  <a:lnTo>
                    <a:pt x="3" y="25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9" y="34"/>
                  </a:lnTo>
                  <a:lnTo>
                    <a:pt x="11" y="38"/>
                  </a:lnTo>
                  <a:lnTo>
                    <a:pt x="15" y="42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18" y="53"/>
                  </a:lnTo>
                  <a:lnTo>
                    <a:pt x="10" y="58"/>
                  </a:lnTo>
                  <a:lnTo>
                    <a:pt x="3" y="64"/>
                  </a:lnTo>
                  <a:lnTo>
                    <a:pt x="2" y="67"/>
                  </a:lnTo>
                  <a:lnTo>
                    <a:pt x="0" y="72"/>
                  </a:lnTo>
                  <a:lnTo>
                    <a:pt x="1" y="75"/>
                  </a:lnTo>
                  <a:lnTo>
                    <a:pt x="3" y="79"/>
                  </a:lnTo>
                  <a:lnTo>
                    <a:pt x="8" y="83"/>
                  </a:lnTo>
                  <a:lnTo>
                    <a:pt x="12" y="85"/>
                  </a:lnTo>
                  <a:lnTo>
                    <a:pt x="15" y="86"/>
                  </a:lnTo>
                  <a:lnTo>
                    <a:pt x="20" y="86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7" y="87"/>
                  </a:lnTo>
                  <a:lnTo>
                    <a:pt x="28" y="86"/>
                  </a:lnTo>
                  <a:lnTo>
                    <a:pt x="31" y="82"/>
                  </a:lnTo>
                  <a:lnTo>
                    <a:pt x="36" y="78"/>
                  </a:lnTo>
                  <a:lnTo>
                    <a:pt x="36" y="69"/>
                  </a:lnTo>
                  <a:lnTo>
                    <a:pt x="36" y="65"/>
                  </a:lnTo>
                  <a:lnTo>
                    <a:pt x="40" y="61"/>
                  </a:lnTo>
                  <a:lnTo>
                    <a:pt x="41" y="53"/>
                  </a:lnTo>
                  <a:lnTo>
                    <a:pt x="42" y="48"/>
                  </a:lnTo>
                  <a:lnTo>
                    <a:pt x="42" y="40"/>
                  </a:lnTo>
                  <a:lnTo>
                    <a:pt x="42" y="36"/>
                  </a:lnTo>
                  <a:lnTo>
                    <a:pt x="40" y="30"/>
                  </a:lnTo>
                  <a:lnTo>
                    <a:pt x="36" y="30"/>
                  </a:lnTo>
                  <a:lnTo>
                    <a:pt x="34" y="30"/>
                  </a:lnTo>
                  <a:lnTo>
                    <a:pt x="35" y="25"/>
                  </a:lnTo>
                  <a:lnTo>
                    <a:pt x="37" y="20"/>
                  </a:lnTo>
                  <a:lnTo>
                    <a:pt x="39" y="18"/>
                  </a:lnTo>
                  <a:lnTo>
                    <a:pt x="38" y="17"/>
                  </a:lnTo>
                  <a:lnTo>
                    <a:pt x="36" y="13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39" name="Freeform 31"/>
            <p:cNvSpPr>
              <a:spLocks/>
            </p:cNvSpPr>
            <p:nvPr/>
          </p:nvSpPr>
          <p:spPr bwMode="auto">
            <a:xfrm>
              <a:off x="7750327" y="2378996"/>
              <a:ext cx="55652" cy="91068"/>
            </a:xfrm>
            <a:custGeom>
              <a:avLst/>
              <a:gdLst>
                <a:gd name="T0" fmla="*/ 9 w 33"/>
                <a:gd name="T1" fmla="*/ 10 h 54"/>
                <a:gd name="T2" fmla="*/ 8 w 33"/>
                <a:gd name="T3" fmla="*/ 7 h 54"/>
                <a:gd name="T4" fmla="*/ 10 w 33"/>
                <a:gd name="T5" fmla="*/ 2 h 54"/>
                <a:gd name="T6" fmla="*/ 11 w 33"/>
                <a:gd name="T7" fmla="*/ 1 h 54"/>
                <a:gd name="T8" fmla="*/ 9 w 33"/>
                <a:gd name="T9" fmla="*/ 0 h 54"/>
                <a:gd name="T10" fmla="*/ 6 w 33"/>
                <a:gd name="T11" fmla="*/ 0 h 54"/>
                <a:gd name="T12" fmla="*/ 5 w 33"/>
                <a:gd name="T13" fmla="*/ 0 h 54"/>
                <a:gd name="T14" fmla="*/ 2 w 33"/>
                <a:gd name="T15" fmla="*/ 2 h 54"/>
                <a:gd name="T16" fmla="*/ 0 w 33"/>
                <a:gd name="T17" fmla="*/ 5 h 54"/>
                <a:gd name="T18" fmla="*/ 12 w 33"/>
                <a:gd name="T19" fmla="*/ 54 h 54"/>
                <a:gd name="T20" fmla="*/ 33 w 33"/>
                <a:gd name="T21" fmla="*/ 51 h 54"/>
                <a:gd name="T22" fmla="*/ 32 w 33"/>
                <a:gd name="T23" fmla="*/ 43 h 54"/>
                <a:gd name="T24" fmla="*/ 29 w 33"/>
                <a:gd name="T25" fmla="*/ 40 h 54"/>
                <a:gd name="T26" fmla="*/ 28 w 33"/>
                <a:gd name="T27" fmla="*/ 38 h 54"/>
                <a:gd name="T28" fmla="*/ 26 w 33"/>
                <a:gd name="T29" fmla="*/ 37 h 54"/>
                <a:gd name="T30" fmla="*/ 23 w 33"/>
                <a:gd name="T31" fmla="*/ 34 h 54"/>
                <a:gd name="T32" fmla="*/ 20 w 33"/>
                <a:gd name="T33" fmla="*/ 32 h 54"/>
                <a:gd name="T34" fmla="*/ 18 w 33"/>
                <a:gd name="T35" fmla="*/ 28 h 54"/>
                <a:gd name="T36" fmla="*/ 16 w 33"/>
                <a:gd name="T37" fmla="*/ 24 h 54"/>
                <a:gd name="T38" fmla="*/ 14 w 33"/>
                <a:gd name="T39" fmla="*/ 20 h 54"/>
                <a:gd name="T40" fmla="*/ 16 w 33"/>
                <a:gd name="T41" fmla="*/ 17 h 54"/>
                <a:gd name="T42" fmla="*/ 11 w 33"/>
                <a:gd name="T43" fmla="*/ 14 h 54"/>
                <a:gd name="T44" fmla="*/ 9 w 33"/>
                <a:gd name="T45" fmla="*/ 1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" h="54">
                  <a:moveTo>
                    <a:pt x="9" y="10"/>
                  </a:moveTo>
                  <a:lnTo>
                    <a:pt x="8" y="7"/>
                  </a:lnTo>
                  <a:lnTo>
                    <a:pt x="10" y="2"/>
                  </a:lnTo>
                  <a:lnTo>
                    <a:pt x="11" y="1"/>
                  </a:lnTo>
                  <a:lnTo>
                    <a:pt x="9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12" y="54"/>
                  </a:lnTo>
                  <a:lnTo>
                    <a:pt x="33" y="51"/>
                  </a:lnTo>
                  <a:lnTo>
                    <a:pt x="32" y="43"/>
                  </a:lnTo>
                  <a:lnTo>
                    <a:pt x="29" y="40"/>
                  </a:lnTo>
                  <a:lnTo>
                    <a:pt x="28" y="38"/>
                  </a:lnTo>
                  <a:lnTo>
                    <a:pt x="26" y="37"/>
                  </a:lnTo>
                  <a:lnTo>
                    <a:pt x="23" y="34"/>
                  </a:lnTo>
                  <a:lnTo>
                    <a:pt x="20" y="32"/>
                  </a:lnTo>
                  <a:lnTo>
                    <a:pt x="18" y="28"/>
                  </a:lnTo>
                  <a:lnTo>
                    <a:pt x="16" y="24"/>
                  </a:lnTo>
                  <a:lnTo>
                    <a:pt x="14" y="20"/>
                  </a:lnTo>
                  <a:lnTo>
                    <a:pt x="16" y="17"/>
                  </a:lnTo>
                  <a:lnTo>
                    <a:pt x="11" y="14"/>
                  </a:lnTo>
                  <a:lnTo>
                    <a:pt x="9" y="10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0" name="Freeform 32"/>
            <p:cNvSpPr>
              <a:spLocks/>
            </p:cNvSpPr>
            <p:nvPr/>
          </p:nvSpPr>
          <p:spPr bwMode="auto">
            <a:xfrm>
              <a:off x="7480496" y="2227215"/>
              <a:ext cx="317051" cy="205746"/>
            </a:xfrm>
            <a:custGeom>
              <a:avLst/>
              <a:gdLst>
                <a:gd name="T0" fmla="*/ 165 w 188"/>
                <a:gd name="T1" fmla="*/ 90 h 122"/>
                <a:gd name="T2" fmla="*/ 166 w 188"/>
                <a:gd name="T3" fmla="*/ 90 h 122"/>
                <a:gd name="T4" fmla="*/ 169 w 188"/>
                <a:gd name="T5" fmla="*/ 90 h 122"/>
                <a:gd name="T6" fmla="*/ 171 w 188"/>
                <a:gd name="T7" fmla="*/ 91 h 122"/>
                <a:gd name="T8" fmla="*/ 171 w 188"/>
                <a:gd name="T9" fmla="*/ 89 h 122"/>
                <a:gd name="T10" fmla="*/ 178 w 188"/>
                <a:gd name="T11" fmla="*/ 83 h 122"/>
                <a:gd name="T12" fmla="*/ 186 w 188"/>
                <a:gd name="T13" fmla="*/ 78 h 122"/>
                <a:gd name="T14" fmla="*/ 188 w 188"/>
                <a:gd name="T15" fmla="*/ 72 h 122"/>
                <a:gd name="T16" fmla="*/ 188 w 188"/>
                <a:gd name="T17" fmla="*/ 71 h 122"/>
                <a:gd name="T18" fmla="*/ 183 w 188"/>
                <a:gd name="T19" fmla="*/ 67 h 122"/>
                <a:gd name="T20" fmla="*/ 179 w 188"/>
                <a:gd name="T21" fmla="*/ 63 h 122"/>
                <a:gd name="T22" fmla="*/ 177 w 188"/>
                <a:gd name="T23" fmla="*/ 59 h 122"/>
                <a:gd name="T24" fmla="*/ 173 w 188"/>
                <a:gd name="T25" fmla="*/ 57 h 122"/>
                <a:gd name="T26" fmla="*/ 170 w 188"/>
                <a:gd name="T27" fmla="*/ 55 h 122"/>
                <a:gd name="T28" fmla="*/ 171 w 188"/>
                <a:gd name="T29" fmla="*/ 50 h 122"/>
                <a:gd name="T30" fmla="*/ 171 w 188"/>
                <a:gd name="T31" fmla="*/ 45 h 122"/>
                <a:gd name="T32" fmla="*/ 170 w 188"/>
                <a:gd name="T33" fmla="*/ 39 h 122"/>
                <a:gd name="T34" fmla="*/ 171 w 188"/>
                <a:gd name="T35" fmla="*/ 34 h 122"/>
                <a:gd name="T36" fmla="*/ 174 w 188"/>
                <a:gd name="T37" fmla="*/ 32 h 122"/>
                <a:gd name="T38" fmla="*/ 176 w 188"/>
                <a:gd name="T39" fmla="*/ 28 h 122"/>
                <a:gd name="T40" fmla="*/ 177 w 188"/>
                <a:gd name="T41" fmla="*/ 25 h 122"/>
                <a:gd name="T42" fmla="*/ 179 w 188"/>
                <a:gd name="T43" fmla="*/ 20 h 122"/>
                <a:gd name="T44" fmla="*/ 176 w 188"/>
                <a:gd name="T45" fmla="*/ 18 h 122"/>
                <a:gd name="T46" fmla="*/ 173 w 188"/>
                <a:gd name="T47" fmla="*/ 18 h 122"/>
                <a:gd name="T48" fmla="*/ 170 w 188"/>
                <a:gd name="T49" fmla="*/ 17 h 122"/>
                <a:gd name="T50" fmla="*/ 166 w 188"/>
                <a:gd name="T51" fmla="*/ 10 h 122"/>
                <a:gd name="T52" fmla="*/ 162 w 188"/>
                <a:gd name="T53" fmla="*/ 5 h 122"/>
                <a:gd name="T54" fmla="*/ 154 w 188"/>
                <a:gd name="T55" fmla="*/ 0 h 122"/>
                <a:gd name="T56" fmla="*/ 24 w 188"/>
                <a:gd name="T57" fmla="*/ 23 h 122"/>
                <a:gd name="T58" fmla="*/ 22 w 188"/>
                <a:gd name="T59" fmla="*/ 13 h 122"/>
                <a:gd name="T60" fmla="*/ 16 w 188"/>
                <a:gd name="T61" fmla="*/ 17 h 122"/>
                <a:gd name="T62" fmla="*/ 11 w 188"/>
                <a:gd name="T63" fmla="*/ 21 h 122"/>
                <a:gd name="T64" fmla="*/ 6 w 188"/>
                <a:gd name="T65" fmla="*/ 24 h 122"/>
                <a:gd name="T66" fmla="*/ 0 w 188"/>
                <a:gd name="T67" fmla="*/ 28 h 122"/>
                <a:gd name="T68" fmla="*/ 16 w 188"/>
                <a:gd name="T69" fmla="*/ 122 h 122"/>
                <a:gd name="T70" fmla="*/ 160 w 188"/>
                <a:gd name="T71" fmla="*/ 95 h 122"/>
                <a:gd name="T72" fmla="*/ 162 w 188"/>
                <a:gd name="T73" fmla="*/ 92 h 122"/>
                <a:gd name="T74" fmla="*/ 165 w 188"/>
                <a:gd name="T75" fmla="*/ 9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8" h="122">
                  <a:moveTo>
                    <a:pt x="165" y="90"/>
                  </a:moveTo>
                  <a:lnTo>
                    <a:pt x="166" y="90"/>
                  </a:lnTo>
                  <a:lnTo>
                    <a:pt x="169" y="90"/>
                  </a:lnTo>
                  <a:lnTo>
                    <a:pt x="171" y="91"/>
                  </a:lnTo>
                  <a:lnTo>
                    <a:pt x="171" y="89"/>
                  </a:lnTo>
                  <a:lnTo>
                    <a:pt x="178" y="83"/>
                  </a:lnTo>
                  <a:lnTo>
                    <a:pt x="186" y="78"/>
                  </a:lnTo>
                  <a:lnTo>
                    <a:pt x="188" y="72"/>
                  </a:lnTo>
                  <a:lnTo>
                    <a:pt x="188" y="71"/>
                  </a:lnTo>
                  <a:lnTo>
                    <a:pt x="183" y="67"/>
                  </a:lnTo>
                  <a:lnTo>
                    <a:pt x="179" y="63"/>
                  </a:lnTo>
                  <a:lnTo>
                    <a:pt x="177" y="59"/>
                  </a:lnTo>
                  <a:lnTo>
                    <a:pt x="173" y="57"/>
                  </a:lnTo>
                  <a:lnTo>
                    <a:pt x="170" y="55"/>
                  </a:lnTo>
                  <a:lnTo>
                    <a:pt x="171" y="50"/>
                  </a:lnTo>
                  <a:lnTo>
                    <a:pt x="171" y="45"/>
                  </a:lnTo>
                  <a:lnTo>
                    <a:pt x="170" y="39"/>
                  </a:lnTo>
                  <a:lnTo>
                    <a:pt x="171" y="34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7" y="25"/>
                  </a:lnTo>
                  <a:lnTo>
                    <a:pt x="179" y="20"/>
                  </a:lnTo>
                  <a:lnTo>
                    <a:pt x="176" y="18"/>
                  </a:lnTo>
                  <a:lnTo>
                    <a:pt x="173" y="18"/>
                  </a:lnTo>
                  <a:lnTo>
                    <a:pt x="170" y="17"/>
                  </a:lnTo>
                  <a:lnTo>
                    <a:pt x="166" y="10"/>
                  </a:lnTo>
                  <a:lnTo>
                    <a:pt x="162" y="5"/>
                  </a:lnTo>
                  <a:lnTo>
                    <a:pt x="154" y="0"/>
                  </a:lnTo>
                  <a:lnTo>
                    <a:pt x="24" y="23"/>
                  </a:lnTo>
                  <a:lnTo>
                    <a:pt x="22" y="13"/>
                  </a:lnTo>
                  <a:lnTo>
                    <a:pt x="16" y="17"/>
                  </a:lnTo>
                  <a:lnTo>
                    <a:pt x="11" y="21"/>
                  </a:lnTo>
                  <a:lnTo>
                    <a:pt x="6" y="24"/>
                  </a:lnTo>
                  <a:lnTo>
                    <a:pt x="0" y="28"/>
                  </a:lnTo>
                  <a:lnTo>
                    <a:pt x="16" y="122"/>
                  </a:lnTo>
                  <a:lnTo>
                    <a:pt x="160" y="95"/>
                  </a:lnTo>
                  <a:lnTo>
                    <a:pt x="162" y="92"/>
                  </a:lnTo>
                  <a:lnTo>
                    <a:pt x="165" y="90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1" name="Freeform 33"/>
            <p:cNvSpPr>
              <a:spLocks/>
            </p:cNvSpPr>
            <p:nvPr/>
          </p:nvSpPr>
          <p:spPr bwMode="auto">
            <a:xfrm>
              <a:off x="7183682" y="3051887"/>
              <a:ext cx="490754" cy="384509"/>
            </a:xfrm>
            <a:custGeom>
              <a:avLst/>
              <a:gdLst>
                <a:gd name="T0" fmla="*/ 200 w 291"/>
                <a:gd name="T1" fmla="*/ 0 h 228"/>
                <a:gd name="T2" fmla="*/ 211 w 291"/>
                <a:gd name="T3" fmla="*/ 10 h 228"/>
                <a:gd name="T4" fmla="*/ 223 w 291"/>
                <a:gd name="T5" fmla="*/ 30 h 228"/>
                <a:gd name="T6" fmla="*/ 241 w 291"/>
                <a:gd name="T7" fmla="*/ 62 h 228"/>
                <a:gd name="T8" fmla="*/ 259 w 291"/>
                <a:gd name="T9" fmla="*/ 84 h 228"/>
                <a:gd name="T10" fmla="*/ 256 w 291"/>
                <a:gd name="T11" fmla="*/ 86 h 228"/>
                <a:gd name="T12" fmla="*/ 268 w 291"/>
                <a:gd name="T13" fmla="*/ 116 h 228"/>
                <a:gd name="T14" fmla="*/ 286 w 291"/>
                <a:gd name="T15" fmla="*/ 144 h 228"/>
                <a:gd name="T16" fmla="*/ 291 w 291"/>
                <a:gd name="T17" fmla="*/ 176 h 228"/>
                <a:gd name="T18" fmla="*/ 288 w 291"/>
                <a:gd name="T19" fmla="*/ 196 h 228"/>
                <a:gd name="T20" fmla="*/ 287 w 291"/>
                <a:gd name="T21" fmla="*/ 211 h 228"/>
                <a:gd name="T22" fmla="*/ 280 w 291"/>
                <a:gd name="T23" fmla="*/ 227 h 228"/>
                <a:gd name="T24" fmla="*/ 281 w 291"/>
                <a:gd name="T25" fmla="*/ 222 h 228"/>
                <a:gd name="T26" fmla="*/ 274 w 291"/>
                <a:gd name="T27" fmla="*/ 221 h 228"/>
                <a:gd name="T28" fmla="*/ 264 w 291"/>
                <a:gd name="T29" fmla="*/ 222 h 228"/>
                <a:gd name="T30" fmla="*/ 255 w 291"/>
                <a:gd name="T31" fmla="*/ 222 h 228"/>
                <a:gd name="T32" fmla="*/ 255 w 291"/>
                <a:gd name="T33" fmla="*/ 217 h 228"/>
                <a:gd name="T34" fmla="*/ 263 w 291"/>
                <a:gd name="T35" fmla="*/ 216 h 228"/>
                <a:gd name="T36" fmla="*/ 253 w 291"/>
                <a:gd name="T37" fmla="*/ 212 h 228"/>
                <a:gd name="T38" fmla="*/ 245 w 291"/>
                <a:gd name="T39" fmla="*/ 200 h 228"/>
                <a:gd name="T40" fmla="*/ 233 w 291"/>
                <a:gd name="T41" fmla="*/ 193 h 228"/>
                <a:gd name="T42" fmla="*/ 223 w 291"/>
                <a:gd name="T43" fmla="*/ 177 h 228"/>
                <a:gd name="T44" fmla="*/ 216 w 291"/>
                <a:gd name="T45" fmla="*/ 169 h 228"/>
                <a:gd name="T46" fmla="*/ 215 w 291"/>
                <a:gd name="T47" fmla="*/ 161 h 228"/>
                <a:gd name="T48" fmla="*/ 209 w 291"/>
                <a:gd name="T49" fmla="*/ 158 h 228"/>
                <a:gd name="T50" fmla="*/ 205 w 291"/>
                <a:gd name="T51" fmla="*/ 161 h 228"/>
                <a:gd name="T52" fmla="*/ 194 w 291"/>
                <a:gd name="T53" fmla="*/ 147 h 228"/>
                <a:gd name="T54" fmla="*/ 192 w 291"/>
                <a:gd name="T55" fmla="*/ 140 h 228"/>
                <a:gd name="T56" fmla="*/ 194 w 291"/>
                <a:gd name="T57" fmla="*/ 130 h 228"/>
                <a:gd name="T58" fmla="*/ 194 w 291"/>
                <a:gd name="T59" fmla="*/ 121 h 228"/>
                <a:gd name="T60" fmla="*/ 191 w 291"/>
                <a:gd name="T61" fmla="*/ 122 h 228"/>
                <a:gd name="T62" fmla="*/ 187 w 291"/>
                <a:gd name="T63" fmla="*/ 119 h 228"/>
                <a:gd name="T64" fmla="*/ 189 w 291"/>
                <a:gd name="T65" fmla="*/ 127 h 228"/>
                <a:gd name="T66" fmla="*/ 186 w 291"/>
                <a:gd name="T67" fmla="*/ 129 h 228"/>
                <a:gd name="T68" fmla="*/ 180 w 291"/>
                <a:gd name="T69" fmla="*/ 120 h 228"/>
                <a:gd name="T70" fmla="*/ 182 w 291"/>
                <a:gd name="T71" fmla="*/ 106 h 228"/>
                <a:gd name="T72" fmla="*/ 182 w 291"/>
                <a:gd name="T73" fmla="*/ 86 h 228"/>
                <a:gd name="T74" fmla="*/ 174 w 291"/>
                <a:gd name="T75" fmla="*/ 72 h 228"/>
                <a:gd name="T76" fmla="*/ 163 w 291"/>
                <a:gd name="T77" fmla="*/ 67 h 228"/>
                <a:gd name="T78" fmla="*/ 152 w 291"/>
                <a:gd name="T79" fmla="*/ 60 h 228"/>
                <a:gd name="T80" fmla="*/ 143 w 291"/>
                <a:gd name="T81" fmla="*/ 48 h 228"/>
                <a:gd name="T82" fmla="*/ 130 w 291"/>
                <a:gd name="T83" fmla="*/ 39 h 228"/>
                <a:gd name="T84" fmla="*/ 117 w 291"/>
                <a:gd name="T85" fmla="*/ 39 h 228"/>
                <a:gd name="T86" fmla="*/ 116 w 291"/>
                <a:gd name="T87" fmla="*/ 47 h 228"/>
                <a:gd name="T88" fmla="*/ 107 w 291"/>
                <a:gd name="T89" fmla="*/ 49 h 228"/>
                <a:gd name="T90" fmla="*/ 83 w 291"/>
                <a:gd name="T91" fmla="*/ 59 h 228"/>
                <a:gd name="T92" fmla="*/ 77 w 291"/>
                <a:gd name="T93" fmla="*/ 49 h 228"/>
                <a:gd name="T94" fmla="*/ 77 w 291"/>
                <a:gd name="T95" fmla="*/ 43 h 228"/>
                <a:gd name="T96" fmla="*/ 72 w 291"/>
                <a:gd name="T97" fmla="*/ 39 h 228"/>
                <a:gd name="T98" fmla="*/ 72 w 291"/>
                <a:gd name="T99" fmla="*/ 35 h 228"/>
                <a:gd name="T100" fmla="*/ 69 w 291"/>
                <a:gd name="T101" fmla="*/ 38 h 228"/>
                <a:gd name="T102" fmla="*/ 64 w 291"/>
                <a:gd name="T103" fmla="*/ 39 h 228"/>
                <a:gd name="T104" fmla="*/ 65 w 291"/>
                <a:gd name="T105" fmla="*/ 43 h 228"/>
                <a:gd name="T106" fmla="*/ 53 w 291"/>
                <a:gd name="T107" fmla="*/ 37 h 228"/>
                <a:gd name="T108" fmla="*/ 39 w 291"/>
                <a:gd name="T109" fmla="*/ 33 h 228"/>
                <a:gd name="T110" fmla="*/ 19 w 291"/>
                <a:gd name="T111" fmla="*/ 35 h 228"/>
                <a:gd name="T112" fmla="*/ 7 w 291"/>
                <a:gd name="T113" fmla="*/ 32 h 228"/>
                <a:gd name="T114" fmla="*/ 0 w 291"/>
                <a:gd name="T115" fmla="*/ 20 h 228"/>
                <a:gd name="T116" fmla="*/ 10 w 291"/>
                <a:gd name="T117" fmla="*/ 14 h 228"/>
                <a:gd name="T118" fmla="*/ 98 w 291"/>
                <a:gd name="T119" fmla="*/ 16 h 228"/>
                <a:gd name="T120" fmla="*/ 197 w 291"/>
                <a:gd name="T121" fmla="*/ 1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228">
                  <a:moveTo>
                    <a:pt x="194" y="0"/>
                  </a:moveTo>
                  <a:lnTo>
                    <a:pt x="194" y="0"/>
                  </a:lnTo>
                  <a:lnTo>
                    <a:pt x="200" y="0"/>
                  </a:lnTo>
                  <a:lnTo>
                    <a:pt x="209" y="2"/>
                  </a:lnTo>
                  <a:lnTo>
                    <a:pt x="210" y="7"/>
                  </a:lnTo>
                  <a:lnTo>
                    <a:pt x="211" y="10"/>
                  </a:lnTo>
                  <a:lnTo>
                    <a:pt x="215" y="12"/>
                  </a:lnTo>
                  <a:lnTo>
                    <a:pt x="218" y="17"/>
                  </a:lnTo>
                  <a:lnTo>
                    <a:pt x="223" y="30"/>
                  </a:lnTo>
                  <a:lnTo>
                    <a:pt x="229" y="40"/>
                  </a:lnTo>
                  <a:lnTo>
                    <a:pt x="237" y="55"/>
                  </a:lnTo>
                  <a:lnTo>
                    <a:pt x="241" y="62"/>
                  </a:lnTo>
                  <a:lnTo>
                    <a:pt x="251" y="77"/>
                  </a:lnTo>
                  <a:lnTo>
                    <a:pt x="256" y="81"/>
                  </a:lnTo>
                  <a:lnTo>
                    <a:pt x="259" y="84"/>
                  </a:lnTo>
                  <a:lnTo>
                    <a:pt x="259" y="87"/>
                  </a:lnTo>
                  <a:lnTo>
                    <a:pt x="259" y="96"/>
                  </a:lnTo>
                  <a:lnTo>
                    <a:pt x="256" y="86"/>
                  </a:lnTo>
                  <a:lnTo>
                    <a:pt x="255" y="96"/>
                  </a:lnTo>
                  <a:lnTo>
                    <a:pt x="261" y="106"/>
                  </a:lnTo>
                  <a:lnTo>
                    <a:pt x="268" y="116"/>
                  </a:lnTo>
                  <a:lnTo>
                    <a:pt x="275" y="129"/>
                  </a:lnTo>
                  <a:lnTo>
                    <a:pt x="280" y="137"/>
                  </a:lnTo>
                  <a:lnTo>
                    <a:pt x="286" y="144"/>
                  </a:lnTo>
                  <a:lnTo>
                    <a:pt x="289" y="153"/>
                  </a:lnTo>
                  <a:lnTo>
                    <a:pt x="291" y="168"/>
                  </a:lnTo>
                  <a:lnTo>
                    <a:pt x="291" y="176"/>
                  </a:lnTo>
                  <a:lnTo>
                    <a:pt x="291" y="185"/>
                  </a:lnTo>
                  <a:lnTo>
                    <a:pt x="291" y="193"/>
                  </a:lnTo>
                  <a:lnTo>
                    <a:pt x="288" y="196"/>
                  </a:lnTo>
                  <a:lnTo>
                    <a:pt x="286" y="200"/>
                  </a:lnTo>
                  <a:lnTo>
                    <a:pt x="286" y="205"/>
                  </a:lnTo>
                  <a:lnTo>
                    <a:pt x="287" y="211"/>
                  </a:lnTo>
                  <a:lnTo>
                    <a:pt x="286" y="218"/>
                  </a:lnTo>
                  <a:lnTo>
                    <a:pt x="283" y="225"/>
                  </a:lnTo>
                  <a:lnTo>
                    <a:pt x="280" y="227"/>
                  </a:lnTo>
                  <a:lnTo>
                    <a:pt x="277" y="228"/>
                  </a:lnTo>
                  <a:lnTo>
                    <a:pt x="279" y="224"/>
                  </a:lnTo>
                  <a:lnTo>
                    <a:pt x="281" y="222"/>
                  </a:lnTo>
                  <a:lnTo>
                    <a:pt x="281" y="217"/>
                  </a:lnTo>
                  <a:lnTo>
                    <a:pt x="280" y="217"/>
                  </a:lnTo>
                  <a:lnTo>
                    <a:pt x="274" y="221"/>
                  </a:lnTo>
                  <a:lnTo>
                    <a:pt x="270" y="222"/>
                  </a:lnTo>
                  <a:lnTo>
                    <a:pt x="267" y="221"/>
                  </a:lnTo>
                  <a:lnTo>
                    <a:pt x="264" y="222"/>
                  </a:lnTo>
                  <a:lnTo>
                    <a:pt x="261" y="224"/>
                  </a:lnTo>
                  <a:lnTo>
                    <a:pt x="259" y="223"/>
                  </a:lnTo>
                  <a:lnTo>
                    <a:pt x="255" y="222"/>
                  </a:lnTo>
                  <a:lnTo>
                    <a:pt x="253" y="219"/>
                  </a:lnTo>
                  <a:lnTo>
                    <a:pt x="254" y="217"/>
                  </a:lnTo>
                  <a:lnTo>
                    <a:pt x="255" y="217"/>
                  </a:lnTo>
                  <a:lnTo>
                    <a:pt x="262" y="218"/>
                  </a:lnTo>
                  <a:lnTo>
                    <a:pt x="264" y="217"/>
                  </a:lnTo>
                  <a:lnTo>
                    <a:pt x="263" y="216"/>
                  </a:lnTo>
                  <a:lnTo>
                    <a:pt x="260" y="214"/>
                  </a:lnTo>
                  <a:lnTo>
                    <a:pt x="256" y="215"/>
                  </a:lnTo>
                  <a:lnTo>
                    <a:pt x="253" y="212"/>
                  </a:lnTo>
                  <a:lnTo>
                    <a:pt x="250" y="207"/>
                  </a:lnTo>
                  <a:lnTo>
                    <a:pt x="246" y="203"/>
                  </a:lnTo>
                  <a:lnTo>
                    <a:pt x="245" y="200"/>
                  </a:lnTo>
                  <a:lnTo>
                    <a:pt x="242" y="196"/>
                  </a:lnTo>
                  <a:lnTo>
                    <a:pt x="237" y="195"/>
                  </a:lnTo>
                  <a:lnTo>
                    <a:pt x="233" y="193"/>
                  </a:lnTo>
                  <a:lnTo>
                    <a:pt x="229" y="192"/>
                  </a:lnTo>
                  <a:lnTo>
                    <a:pt x="225" y="181"/>
                  </a:lnTo>
                  <a:lnTo>
                    <a:pt x="223" y="177"/>
                  </a:lnTo>
                  <a:lnTo>
                    <a:pt x="220" y="174"/>
                  </a:lnTo>
                  <a:lnTo>
                    <a:pt x="219" y="172"/>
                  </a:lnTo>
                  <a:lnTo>
                    <a:pt x="216" y="169"/>
                  </a:lnTo>
                  <a:lnTo>
                    <a:pt x="213" y="167"/>
                  </a:lnTo>
                  <a:lnTo>
                    <a:pt x="214" y="163"/>
                  </a:lnTo>
                  <a:lnTo>
                    <a:pt x="215" y="161"/>
                  </a:lnTo>
                  <a:lnTo>
                    <a:pt x="212" y="155"/>
                  </a:lnTo>
                  <a:lnTo>
                    <a:pt x="209" y="156"/>
                  </a:lnTo>
                  <a:lnTo>
                    <a:pt x="209" y="158"/>
                  </a:lnTo>
                  <a:lnTo>
                    <a:pt x="209" y="163"/>
                  </a:lnTo>
                  <a:lnTo>
                    <a:pt x="207" y="163"/>
                  </a:lnTo>
                  <a:lnTo>
                    <a:pt x="205" y="161"/>
                  </a:lnTo>
                  <a:lnTo>
                    <a:pt x="202" y="158"/>
                  </a:lnTo>
                  <a:lnTo>
                    <a:pt x="197" y="150"/>
                  </a:lnTo>
                  <a:lnTo>
                    <a:pt x="194" y="147"/>
                  </a:lnTo>
                  <a:lnTo>
                    <a:pt x="193" y="146"/>
                  </a:lnTo>
                  <a:lnTo>
                    <a:pt x="194" y="144"/>
                  </a:lnTo>
                  <a:lnTo>
                    <a:pt x="192" y="140"/>
                  </a:lnTo>
                  <a:lnTo>
                    <a:pt x="189" y="139"/>
                  </a:lnTo>
                  <a:lnTo>
                    <a:pt x="192" y="133"/>
                  </a:lnTo>
                  <a:lnTo>
                    <a:pt x="194" y="130"/>
                  </a:lnTo>
                  <a:lnTo>
                    <a:pt x="195" y="127"/>
                  </a:lnTo>
                  <a:lnTo>
                    <a:pt x="196" y="124"/>
                  </a:lnTo>
                  <a:lnTo>
                    <a:pt x="194" y="121"/>
                  </a:lnTo>
                  <a:lnTo>
                    <a:pt x="193" y="125"/>
                  </a:lnTo>
                  <a:lnTo>
                    <a:pt x="191" y="124"/>
                  </a:lnTo>
                  <a:lnTo>
                    <a:pt x="191" y="122"/>
                  </a:lnTo>
                  <a:lnTo>
                    <a:pt x="188" y="118"/>
                  </a:lnTo>
                  <a:lnTo>
                    <a:pt x="187" y="118"/>
                  </a:lnTo>
                  <a:lnTo>
                    <a:pt x="187" y="119"/>
                  </a:lnTo>
                  <a:lnTo>
                    <a:pt x="188" y="121"/>
                  </a:lnTo>
                  <a:lnTo>
                    <a:pt x="189" y="124"/>
                  </a:lnTo>
                  <a:lnTo>
                    <a:pt x="189" y="127"/>
                  </a:lnTo>
                  <a:lnTo>
                    <a:pt x="189" y="128"/>
                  </a:lnTo>
                  <a:lnTo>
                    <a:pt x="187" y="130"/>
                  </a:lnTo>
                  <a:lnTo>
                    <a:pt x="186" y="129"/>
                  </a:lnTo>
                  <a:lnTo>
                    <a:pt x="184" y="127"/>
                  </a:lnTo>
                  <a:lnTo>
                    <a:pt x="181" y="122"/>
                  </a:lnTo>
                  <a:lnTo>
                    <a:pt x="180" y="120"/>
                  </a:lnTo>
                  <a:lnTo>
                    <a:pt x="180" y="116"/>
                  </a:lnTo>
                  <a:lnTo>
                    <a:pt x="180" y="110"/>
                  </a:lnTo>
                  <a:lnTo>
                    <a:pt x="182" y="106"/>
                  </a:lnTo>
                  <a:lnTo>
                    <a:pt x="183" y="98"/>
                  </a:lnTo>
                  <a:lnTo>
                    <a:pt x="183" y="93"/>
                  </a:lnTo>
                  <a:lnTo>
                    <a:pt x="182" y="86"/>
                  </a:lnTo>
                  <a:lnTo>
                    <a:pt x="180" y="79"/>
                  </a:lnTo>
                  <a:lnTo>
                    <a:pt x="177" y="77"/>
                  </a:lnTo>
                  <a:lnTo>
                    <a:pt x="174" y="72"/>
                  </a:lnTo>
                  <a:lnTo>
                    <a:pt x="168" y="71"/>
                  </a:lnTo>
                  <a:lnTo>
                    <a:pt x="165" y="71"/>
                  </a:lnTo>
                  <a:lnTo>
                    <a:pt x="163" y="67"/>
                  </a:lnTo>
                  <a:lnTo>
                    <a:pt x="160" y="66"/>
                  </a:lnTo>
                  <a:lnTo>
                    <a:pt x="156" y="61"/>
                  </a:lnTo>
                  <a:lnTo>
                    <a:pt x="152" y="60"/>
                  </a:lnTo>
                  <a:lnTo>
                    <a:pt x="151" y="55"/>
                  </a:lnTo>
                  <a:lnTo>
                    <a:pt x="149" y="53"/>
                  </a:lnTo>
                  <a:lnTo>
                    <a:pt x="143" y="48"/>
                  </a:lnTo>
                  <a:lnTo>
                    <a:pt x="138" y="44"/>
                  </a:lnTo>
                  <a:lnTo>
                    <a:pt x="134" y="42"/>
                  </a:lnTo>
                  <a:lnTo>
                    <a:pt x="130" y="39"/>
                  </a:lnTo>
                  <a:lnTo>
                    <a:pt x="127" y="38"/>
                  </a:lnTo>
                  <a:lnTo>
                    <a:pt x="122" y="38"/>
                  </a:lnTo>
                  <a:lnTo>
                    <a:pt x="117" y="39"/>
                  </a:lnTo>
                  <a:lnTo>
                    <a:pt x="116" y="42"/>
                  </a:lnTo>
                  <a:lnTo>
                    <a:pt x="117" y="45"/>
                  </a:lnTo>
                  <a:lnTo>
                    <a:pt x="116" y="47"/>
                  </a:lnTo>
                  <a:lnTo>
                    <a:pt x="114" y="47"/>
                  </a:lnTo>
                  <a:lnTo>
                    <a:pt x="112" y="45"/>
                  </a:lnTo>
                  <a:lnTo>
                    <a:pt x="107" y="49"/>
                  </a:lnTo>
                  <a:lnTo>
                    <a:pt x="101" y="54"/>
                  </a:lnTo>
                  <a:lnTo>
                    <a:pt x="94" y="56"/>
                  </a:lnTo>
                  <a:lnTo>
                    <a:pt x="83" y="59"/>
                  </a:lnTo>
                  <a:lnTo>
                    <a:pt x="83" y="53"/>
                  </a:lnTo>
                  <a:lnTo>
                    <a:pt x="80" y="50"/>
                  </a:lnTo>
                  <a:lnTo>
                    <a:pt x="77" y="49"/>
                  </a:lnTo>
                  <a:lnTo>
                    <a:pt x="72" y="46"/>
                  </a:lnTo>
                  <a:lnTo>
                    <a:pt x="76" y="44"/>
                  </a:lnTo>
                  <a:lnTo>
                    <a:pt x="77" y="43"/>
                  </a:lnTo>
                  <a:lnTo>
                    <a:pt x="70" y="42"/>
                  </a:lnTo>
                  <a:lnTo>
                    <a:pt x="70" y="39"/>
                  </a:lnTo>
                  <a:lnTo>
                    <a:pt x="72" y="39"/>
                  </a:lnTo>
                  <a:lnTo>
                    <a:pt x="73" y="37"/>
                  </a:lnTo>
                  <a:lnTo>
                    <a:pt x="73" y="35"/>
                  </a:lnTo>
                  <a:lnTo>
                    <a:pt x="72" y="35"/>
                  </a:lnTo>
                  <a:lnTo>
                    <a:pt x="70" y="36"/>
                  </a:lnTo>
                  <a:lnTo>
                    <a:pt x="70" y="37"/>
                  </a:lnTo>
                  <a:lnTo>
                    <a:pt x="69" y="38"/>
                  </a:lnTo>
                  <a:lnTo>
                    <a:pt x="67" y="36"/>
                  </a:lnTo>
                  <a:lnTo>
                    <a:pt x="62" y="36"/>
                  </a:lnTo>
                  <a:lnTo>
                    <a:pt x="64" y="39"/>
                  </a:lnTo>
                  <a:lnTo>
                    <a:pt x="65" y="39"/>
                  </a:lnTo>
                  <a:lnTo>
                    <a:pt x="66" y="43"/>
                  </a:lnTo>
                  <a:lnTo>
                    <a:pt x="65" y="43"/>
                  </a:lnTo>
                  <a:lnTo>
                    <a:pt x="61" y="41"/>
                  </a:lnTo>
                  <a:lnTo>
                    <a:pt x="57" y="38"/>
                  </a:lnTo>
                  <a:lnTo>
                    <a:pt x="53" y="37"/>
                  </a:lnTo>
                  <a:lnTo>
                    <a:pt x="44" y="37"/>
                  </a:lnTo>
                  <a:lnTo>
                    <a:pt x="41" y="35"/>
                  </a:lnTo>
                  <a:lnTo>
                    <a:pt x="39" y="33"/>
                  </a:lnTo>
                  <a:lnTo>
                    <a:pt x="36" y="33"/>
                  </a:lnTo>
                  <a:lnTo>
                    <a:pt x="26" y="35"/>
                  </a:lnTo>
                  <a:lnTo>
                    <a:pt x="19" y="35"/>
                  </a:lnTo>
                  <a:lnTo>
                    <a:pt x="14" y="38"/>
                  </a:lnTo>
                  <a:lnTo>
                    <a:pt x="11" y="39"/>
                  </a:lnTo>
                  <a:lnTo>
                    <a:pt x="7" y="32"/>
                  </a:lnTo>
                  <a:lnTo>
                    <a:pt x="6" y="27"/>
                  </a:lnTo>
                  <a:lnTo>
                    <a:pt x="2" y="22"/>
                  </a:lnTo>
                  <a:lnTo>
                    <a:pt x="0" y="20"/>
                  </a:lnTo>
                  <a:lnTo>
                    <a:pt x="0" y="17"/>
                  </a:lnTo>
                  <a:lnTo>
                    <a:pt x="3" y="16"/>
                  </a:lnTo>
                  <a:lnTo>
                    <a:pt x="10" y="14"/>
                  </a:lnTo>
                  <a:lnTo>
                    <a:pt x="18" y="12"/>
                  </a:lnTo>
                  <a:lnTo>
                    <a:pt x="93" y="6"/>
                  </a:lnTo>
                  <a:lnTo>
                    <a:pt x="98" y="16"/>
                  </a:lnTo>
                  <a:lnTo>
                    <a:pt x="189" y="11"/>
                  </a:lnTo>
                  <a:lnTo>
                    <a:pt x="190" y="19"/>
                  </a:lnTo>
                  <a:lnTo>
                    <a:pt x="197" y="19"/>
                  </a:lnTo>
                  <a:lnTo>
                    <a:pt x="194" y="0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2" name="Freeform 34"/>
            <p:cNvSpPr>
              <a:spLocks/>
            </p:cNvSpPr>
            <p:nvPr/>
          </p:nvSpPr>
          <p:spPr bwMode="auto">
            <a:xfrm>
              <a:off x="6802546" y="2950699"/>
              <a:ext cx="306933" cy="271518"/>
            </a:xfrm>
            <a:custGeom>
              <a:avLst/>
              <a:gdLst>
                <a:gd name="T0" fmla="*/ 176 w 182"/>
                <a:gd name="T1" fmla="*/ 147 h 161"/>
                <a:gd name="T2" fmla="*/ 171 w 182"/>
                <a:gd name="T3" fmla="*/ 146 h 161"/>
                <a:gd name="T4" fmla="*/ 160 w 182"/>
                <a:gd name="T5" fmla="*/ 139 h 161"/>
                <a:gd name="T6" fmla="*/ 152 w 182"/>
                <a:gd name="T7" fmla="*/ 134 h 161"/>
                <a:gd name="T8" fmla="*/ 155 w 182"/>
                <a:gd name="T9" fmla="*/ 130 h 161"/>
                <a:gd name="T10" fmla="*/ 166 w 182"/>
                <a:gd name="T11" fmla="*/ 128 h 161"/>
                <a:gd name="T12" fmla="*/ 162 w 182"/>
                <a:gd name="T13" fmla="*/ 118 h 161"/>
                <a:gd name="T14" fmla="*/ 148 w 182"/>
                <a:gd name="T15" fmla="*/ 122 h 161"/>
                <a:gd name="T16" fmla="*/ 148 w 182"/>
                <a:gd name="T17" fmla="*/ 119 h 161"/>
                <a:gd name="T18" fmla="*/ 154 w 182"/>
                <a:gd name="T19" fmla="*/ 114 h 161"/>
                <a:gd name="T20" fmla="*/ 150 w 182"/>
                <a:gd name="T21" fmla="*/ 99 h 161"/>
                <a:gd name="T22" fmla="*/ 84 w 182"/>
                <a:gd name="T23" fmla="*/ 82 h 161"/>
                <a:gd name="T24" fmla="*/ 84 w 182"/>
                <a:gd name="T25" fmla="*/ 73 h 161"/>
                <a:gd name="T26" fmla="*/ 87 w 182"/>
                <a:gd name="T27" fmla="*/ 64 h 161"/>
                <a:gd name="T28" fmla="*/ 90 w 182"/>
                <a:gd name="T29" fmla="*/ 58 h 161"/>
                <a:gd name="T30" fmla="*/ 97 w 182"/>
                <a:gd name="T31" fmla="*/ 43 h 161"/>
                <a:gd name="T32" fmla="*/ 99 w 182"/>
                <a:gd name="T33" fmla="*/ 37 h 161"/>
                <a:gd name="T34" fmla="*/ 102 w 182"/>
                <a:gd name="T35" fmla="*/ 23 h 161"/>
                <a:gd name="T36" fmla="*/ 98 w 182"/>
                <a:gd name="T37" fmla="*/ 14 h 161"/>
                <a:gd name="T38" fmla="*/ 94 w 182"/>
                <a:gd name="T39" fmla="*/ 9 h 161"/>
                <a:gd name="T40" fmla="*/ 97 w 182"/>
                <a:gd name="T41" fmla="*/ 2 h 161"/>
                <a:gd name="T42" fmla="*/ 0 w 182"/>
                <a:gd name="T43" fmla="*/ 47 h 161"/>
                <a:gd name="T44" fmla="*/ 11 w 182"/>
                <a:gd name="T45" fmla="*/ 64 h 161"/>
                <a:gd name="T46" fmla="*/ 13 w 182"/>
                <a:gd name="T47" fmla="*/ 75 h 161"/>
                <a:gd name="T48" fmla="*/ 13 w 182"/>
                <a:gd name="T49" fmla="*/ 94 h 161"/>
                <a:gd name="T50" fmla="*/ 9 w 182"/>
                <a:gd name="T51" fmla="*/ 110 h 161"/>
                <a:gd name="T52" fmla="*/ 9 w 182"/>
                <a:gd name="T53" fmla="*/ 131 h 161"/>
                <a:gd name="T54" fmla="*/ 15 w 182"/>
                <a:gd name="T55" fmla="*/ 136 h 161"/>
                <a:gd name="T56" fmla="*/ 25 w 182"/>
                <a:gd name="T57" fmla="*/ 134 h 161"/>
                <a:gd name="T58" fmla="*/ 44 w 182"/>
                <a:gd name="T59" fmla="*/ 139 h 161"/>
                <a:gd name="T60" fmla="*/ 72 w 182"/>
                <a:gd name="T61" fmla="*/ 142 h 161"/>
                <a:gd name="T62" fmla="*/ 78 w 182"/>
                <a:gd name="T63" fmla="*/ 138 h 161"/>
                <a:gd name="T64" fmla="*/ 70 w 182"/>
                <a:gd name="T65" fmla="*/ 137 h 161"/>
                <a:gd name="T66" fmla="*/ 77 w 182"/>
                <a:gd name="T67" fmla="*/ 132 h 161"/>
                <a:gd name="T68" fmla="*/ 97 w 182"/>
                <a:gd name="T69" fmla="*/ 142 h 161"/>
                <a:gd name="T70" fmla="*/ 98 w 182"/>
                <a:gd name="T71" fmla="*/ 150 h 161"/>
                <a:gd name="T72" fmla="*/ 111 w 182"/>
                <a:gd name="T73" fmla="*/ 155 h 161"/>
                <a:gd name="T74" fmla="*/ 121 w 182"/>
                <a:gd name="T75" fmla="*/ 154 h 161"/>
                <a:gd name="T76" fmla="*/ 132 w 182"/>
                <a:gd name="T77" fmla="*/ 150 h 161"/>
                <a:gd name="T78" fmla="*/ 142 w 182"/>
                <a:gd name="T79" fmla="*/ 153 h 161"/>
                <a:gd name="T80" fmla="*/ 142 w 182"/>
                <a:gd name="T81" fmla="*/ 141 h 161"/>
                <a:gd name="T82" fmla="*/ 150 w 182"/>
                <a:gd name="T83" fmla="*/ 147 h 161"/>
                <a:gd name="T84" fmla="*/ 168 w 182"/>
                <a:gd name="T85" fmla="*/ 154 h 161"/>
                <a:gd name="T86" fmla="*/ 169 w 182"/>
                <a:gd name="T87" fmla="*/ 161 h 161"/>
                <a:gd name="T88" fmla="*/ 176 w 182"/>
                <a:gd name="T89" fmla="*/ 158 h 161"/>
                <a:gd name="T90" fmla="*/ 181 w 182"/>
                <a:gd name="T91" fmla="*/ 154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161">
                  <a:moveTo>
                    <a:pt x="181" y="149"/>
                  </a:moveTo>
                  <a:lnTo>
                    <a:pt x="179" y="149"/>
                  </a:lnTo>
                  <a:lnTo>
                    <a:pt x="176" y="147"/>
                  </a:lnTo>
                  <a:lnTo>
                    <a:pt x="175" y="147"/>
                  </a:lnTo>
                  <a:lnTo>
                    <a:pt x="173" y="147"/>
                  </a:lnTo>
                  <a:lnTo>
                    <a:pt x="171" y="146"/>
                  </a:lnTo>
                  <a:lnTo>
                    <a:pt x="166" y="143"/>
                  </a:lnTo>
                  <a:lnTo>
                    <a:pt x="165" y="143"/>
                  </a:lnTo>
                  <a:lnTo>
                    <a:pt x="160" y="139"/>
                  </a:lnTo>
                  <a:lnTo>
                    <a:pt x="158" y="137"/>
                  </a:lnTo>
                  <a:lnTo>
                    <a:pt x="155" y="136"/>
                  </a:lnTo>
                  <a:lnTo>
                    <a:pt x="152" y="134"/>
                  </a:lnTo>
                  <a:lnTo>
                    <a:pt x="150" y="132"/>
                  </a:lnTo>
                  <a:lnTo>
                    <a:pt x="153" y="132"/>
                  </a:lnTo>
                  <a:lnTo>
                    <a:pt x="155" y="130"/>
                  </a:lnTo>
                  <a:lnTo>
                    <a:pt x="160" y="130"/>
                  </a:lnTo>
                  <a:lnTo>
                    <a:pt x="161" y="128"/>
                  </a:lnTo>
                  <a:lnTo>
                    <a:pt x="166" y="128"/>
                  </a:lnTo>
                  <a:lnTo>
                    <a:pt x="168" y="126"/>
                  </a:lnTo>
                  <a:lnTo>
                    <a:pt x="165" y="121"/>
                  </a:lnTo>
                  <a:lnTo>
                    <a:pt x="162" y="118"/>
                  </a:lnTo>
                  <a:lnTo>
                    <a:pt x="161" y="118"/>
                  </a:lnTo>
                  <a:lnTo>
                    <a:pt x="151" y="121"/>
                  </a:lnTo>
                  <a:lnTo>
                    <a:pt x="148" y="122"/>
                  </a:lnTo>
                  <a:lnTo>
                    <a:pt x="145" y="122"/>
                  </a:lnTo>
                  <a:lnTo>
                    <a:pt x="145" y="121"/>
                  </a:lnTo>
                  <a:lnTo>
                    <a:pt x="148" y="119"/>
                  </a:lnTo>
                  <a:lnTo>
                    <a:pt x="151" y="118"/>
                  </a:lnTo>
                  <a:lnTo>
                    <a:pt x="154" y="116"/>
                  </a:lnTo>
                  <a:lnTo>
                    <a:pt x="154" y="114"/>
                  </a:lnTo>
                  <a:lnTo>
                    <a:pt x="154" y="110"/>
                  </a:lnTo>
                  <a:lnTo>
                    <a:pt x="153" y="103"/>
                  </a:lnTo>
                  <a:lnTo>
                    <a:pt x="150" y="99"/>
                  </a:lnTo>
                  <a:lnTo>
                    <a:pt x="148" y="95"/>
                  </a:lnTo>
                  <a:lnTo>
                    <a:pt x="149" y="79"/>
                  </a:lnTo>
                  <a:lnTo>
                    <a:pt x="84" y="82"/>
                  </a:lnTo>
                  <a:lnTo>
                    <a:pt x="83" y="78"/>
                  </a:lnTo>
                  <a:lnTo>
                    <a:pt x="83" y="75"/>
                  </a:lnTo>
                  <a:lnTo>
                    <a:pt x="84" y="73"/>
                  </a:lnTo>
                  <a:lnTo>
                    <a:pt x="87" y="71"/>
                  </a:lnTo>
                  <a:lnTo>
                    <a:pt x="87" y="66"/>
                  </a:lnTo>
                  <a:lnTo>
                    <a:pt x="87" y="64"/>
                  </a:lnTo>
                  <a:lnTo>
                    <a:pt x="88" y="61"/>
                  </a:lnTo>
                  <a:lnTo>
                    <a:pt x="89" y="60"/>
                  </a:lnTo>
                  <a:lnTo>
                    <a:pt x="90" y="58"/>
                  </a:lnTo>
                  <a:lnTo>
                    <a:pt x="91" y="51"/>
                  </a:lnTo>
                  <a:lnTo>
                    <a:pt x="93" y="49"/>
                  </a:lnTo>
                  <a:lnTo>
                    <a:pt x="97" y="43"/>
                  </a:lnTo>
                  <a:lnTo>
                    <a:pt x="98" y="41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2" y="34"/>
                  </a:lnTo>
                  <a:lnTo>
                    <a:pt x="103" y="26"/>
                  </a:lnTo>
                  <a:lnTo>
                    <a:pt x="102" y="23"/>
                  </a:lnTo>
                  <a:lnTo>
                    <a:pt x="99" y="21"/>
                  </a:lnTo>
                  <a:lnTo>
                    <a:pt x="99" y="19"/>
                  </a:lnTo>
                  <a:lnTo>
                    <a:pt x="98" y="14"/>
                  </a:lnTo>
                  <a:lnTo>
                    <a:pt x="98" y="13"/>
                  </a:lnTo>
                  <a:lnTo>
                    <a:pt x="97" y="11"/>
                  </a:lnTo>
                  <a:lnTo>
                    <a:pt x="94" y="9"/>
                  </a:lnTo>
                  <a:lnTo>
                    <a:pt x="98" y="7"/>
                  </a:lnTo>
                  <a:lnTo>
                    <a:pt x="98" y="5"/>
                  </a:lnTo>
                  <a:lnTo>
                    <a:pt x="97" y="2"/>
                  </a:lnTo>
                  <a:lnTo>
                    <a:pt x="94" y="0"/>
                  </a:lnTo>
                  <a:lnTo>
                    <a:pt x="0" y="3"/>
                  </a:lnTo>
                  <a:lnTo>
                    <a:pt x="0" y="47"/>
                  </a:lnTo>
                  <a:lnTo>
                    <a:pt x="7" y="53"/>
                  </a:lnTo>
                  <a:lnTo>
                    <a:pt x="7" y="55"/>
                  </a:lnTo>
                  <a:lnTo>
                    <a:pt x="11" y="64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13" y="75"/>
                  </a:lnTo>
                  <a:lnTo>
                    <a:pt x="15" y="83"/>
                  </a:lnTo>
                  <a:lnTo>
                    <a:pt x="17" y="89"/>
                  </a:lnTo>
                  <a:lnTo>
                    <a:pt x="13" y="94"/>
                  </a:lnTo>
                  <a:lnTo>
                    <a:pt x="11" y="102"/>
                  </a:lnTo>
                  <a:lnTo>
                    <a:pt x="11" y="105"/>
                  </a:lnTo>
                  <a:lnTo>
                    <a:pt x="9" y="110"/>
                  </a:lnTo>
                  <a:lnTo>
                    <a:pt x="12" y="117"/>
                  </a:lnTo>
                  <a:lnTo>
                    <a:pt x="12" y="121"/>
                  </a:lnTo>
                  <a:lnTo>
                    <a:pt x="9" y="131"/>
                  </a:lnTo>
                  <a:lnTo>
                    <a:pt x="6" y="136"/>
                  </a:lnTo>
                  <a:lnTo>
                    <a:pt x="10" y="136"/>
                  </a:lnTo>
                  <a:lnTo>
                    <a:pt x="15" y="136"/>
                  </a:lnTo>
                  <a:lnTo>
                    <a:pt x="18" y="134"/>
                  </a:lnTo>
                  <a:lnTo>
                    <a:pt x="22" y="134"/>
                  </a:lnTo>
                  <a:lnTo>
                    <a:pt x="25" y="134"/>
                  </a:lnTo>
                  <a:lnTo>
                    <a:pt x="34" y="136"/>
                  </a:lnTo>
                  <a:lnTo>
                    <a:pt x="39" y="137"/>
                  </a:lnTo>
                  <a:lnTo>
                    <a:pt x="44" y="139"/>
                  </a:lnTo>
                  <a:lnTo>
                    <a:pt x="51" y="142"/>
                  </a:lnTo>
                  <a:lnTo>
                    <a:pt x="64" y="142"/>
                  </a:lnTo>
                  <a:lnTo>
                    <a:pt x="72" y="142"/>
                  </a:lnTo>
                  <a:lnTo>
                    <a:pt x="79" y="142"/>
                  </a:lnTo>
                  <a:lnTo>
                    <a:pt x="80" y="141"/>
                  </a:lnTo>
                  <a:lnTo>
                    <a:pt x="78" y="138"/>
                  </a:lnTo>
                  <a:lnTo>
                    <a:pt x="73" y="138"/>
                  </a:lnTo>
                  <a:lnTo>
                    <a:pt x="72" y="138"/>
                  </a:lnTo>
                  <a:lnTo>
                    <a:pt x="70" y="137"/>
                  </a:lnTo>
                  <a:lnTo>
                    <a:pt x="71" y="134"/>
                  </a:lnTo>
                  <a:lnTo>
                    <a:pt x="72" y="132"/>
                  </a:lnTo>
                  <a:lnTo>
                    <a:pt x="77" y="132"/>
                  </a:lnTo>
                  <a:lnTo>
                    <a:pt x="84" y="135"/>
                  </a:lnTo>
                  <a:lnTo>
                    <a:pt x="91" y="141"/>
                  </a:lnTo>
                  <a:lnTo>
                    <a:pt x="97" y="142"/>
                  </a:lnTo>
                  <a:lnTo>
                    <a:pt x="101" y="140"/>
                  </a:lnTo>
                  <a:lnTo>
                    <a:pt x="100" y="144"/>
                  </a:lnTo>
                  <a:lnTo>
                    <a:pt x="98" y="150"/>
                  </a:lnTo>
                  <a:lnTo>
                    <a:pt x="100" y="153"/>
                  </a:lnTo>
                  <a:lnTo>
                    <a:pt x="106" y="155"/>
                  </a:lnTo>
                  <a:lnTo>
                    <a:pt x="111" y="155"/>
                  </a:lnTo>
                  <a:lnTo>
                    <a:pt x="115" y="158"/>
                  </a:lnTo>
                  <a:lnTo>
                    <a:pt x="119" y="158"/>
                  </a:lnTo>
                  <a:lnTo>
                    <a:pt x="121" y="154"/>
                  </a:lnTo>
                  <a:lnTo>
                    <a:pt x="125" y="150"/>
                  </a:lnTo>
                  <a:lnTo>
                    <a:pt x="128" y="149"/>
                  </a:lnTo>
                  <a:lnTo>
                    <a:pt x="132" y="150"/>
                  </a:lnTo>
                  <a:lnTo>
                    <a:pt x="136" y="155"/>
                  </a:lnTo>
                  <a:lnTo>
                    <a:pt x="140" y="155"/>
                  </a:lnTo>
                  <a:lnTo>
                    <a:pt x="142" y="153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2" y="141"/>
                  </a:lnTo>
                  <a:lnTo>
                    <a:pt x="146" y="141"/>
                  </a:lnTo>
                  <a:lnTo>
                    <a:pt x="150" y="143"/>
                  </a:lnTo>
                  <a:lnTo>
                    <a:pt x="150" y="147"/>
                  </a:lnTo>
                  <a:lnTo>
                    <a:pt x="158" y="148"/>
                  </a:lnTo>
                  <a:lnTo>
                    <a:pt x="165" y="151"/>
                  </a:lnTo>
                  <a:lnTo>
                    <a:pt x="168" y="154"/>
                  </a:lnTo>
                  <a:lnTo>
                    <a:pt x="166" y="157"/>
                  </a:lnTo>
                  <a:lnTo>
                    <a:pt x="165" y="161"/>
                  </a:lnTo>
                  <a:lnTo>
                    <a:pt x="169" y="161"/>
                  </a:lnTo>
                  <a:lnTo>
                    <a:pt x="171" y="158"/>
                  </a:lnTo>
                  <a:lnTo>
                    <a:pt x="173" y="156"/>
                  </a:lnTo>
                  <a:lnTo>
                    <a:pt x="176" y="158"/>
                  </a:lnTo>
                  <a:lnTo>
                    <a:pt x="176" y="160"/>
                  </a:lnTo>
                  <a:lnTo>
                    <a:pt x="178" y="157"/>
                  </a:lnTo>
                  <a:lnTo>
                    <a:pt x="181" y="154"/>
                  </a:lnTo>
                  <a:lnTo>
                    <a:pt x="182" y="153"/>
                  </a:lnTo>
                  <a:lnTo>
                    <a:pt x="181" y="149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3" name="Freeform 35"/>
            <p:cNvSpPr>
              <a:spLocks/>
            </p:cNvSpPr>
            <p:nvPr/>
          </p:nvSpPr>
          <p:spPr bwMode="auto">
            <a:xfrm>
              <a:off x="6765444" y="2707852"/>
              <a:ext cx="274890" cy="247908"/>
            </a:xfrm>
            <a:custGeom>
              <a:avLst/>
              <a:gdLst>
                <a:gd name="T0" fmla="*/ 6 w 163"/>
                <a:gd name="T1" fmla="*/ 123 h 147"/>
                <a:gd name="T2" fmla="*/ 4 w 163"/>
                <a:gd name="T3" fmla="*/ 121 h 147"/>
                <a:gd name="T4" fmla="*/ 7 w 163"/>
                <a:gd name="T5" fmla="*/ 124 h 147"/>
                <a:gd name="T6" fmla="*/ 10 w 163"/>
                <a:gd name="T7" fmla="*/ 125 h 147"/>
                <a:gd name="T8" fmla="*/ 12 w 163"/>
                <a:gd name="T9" fmla="*/ 123 h 147"/>
                <a:gd name="T10" fmla="*/ 22 w 163"/>
                <a:gd name="T11" fmla="*/ 124 h 147"/>
                <a:gd name="T12" fmla="*/ 22 w 163"/>
                <a:gd name="T13" fmla="*/ 147 h 147"/>
                <a:gd name="T14" fmla="*/ 116 w 163"/>
                <a:gd name="T15" fmla="*/ 144 h 147"/>
                <a:gd name="T16" fmla="*/ 117 w 163"/>
                <a:gd name="T17" fmla="*/ 144 h 147"/>
                <a:gd name="T18" fmla="*/ 119 w 163"/>
                <a:gd name="T19" fmla="*/ 139 h 147"/>
                <a:gd name="T20" fmla="*/ 120 w 163"/>
                <a:gd name="T21" fmla="*/ 136 h 147"/>
                <a:gd name="T22" fmla="*/ 119 w 163"/>
                <a:gd name="T23" fmla="*/ 133 h 147"/>
                <a:gd name="T24" fmla="*/ 119 w 163"/>
                <a:gd name="T25" fmla="*/ 127 h 147"/>
                <a:gd name="T26" fmla="*/ 119 w 163"/>
                <a:gd name="T27" fmla="*/ 125 h 147"/>
                <a:gd name="T28" fmla="*/ 117 w 163"/>
                <a:gd name="T29" fmla="*/ 122 h 147"/>
                <a:gd name="T30" fmla="*/ 116 w 163"/>
                <a:gd name="T31" fmla="*/ 121 h 147"/>
                <a:gd name="T32" fmla="*/ 116 w 163"/>
                <a:gd name="T33" fmla="*/ 119 h 147"/>
                <a:gd name="T34" fmla="*/ 117 w 163"/>
                <a:gd name="T35" fmla="*/ 117 h 147"/>
                <a:gd name="T36" fmla="*/ 116 w 163"/>
                <a:gd name="T37" fmla="*/ 116 h 147"/>
                <a:gd name="T38" fmla="*/ 118 w 163"/>
                <a:gd name="T39" fmla="*/ 113 h 147"/>
                <a:gd name="T40" fmla="*/ 121 w 163"/>
                <a:gd name="T41" fmla="*/ 109 h 147"/>
                <a:gd name="T42" fmla="*/ 122 w 163"/>
                <a:gd name="T43" fmla="*/ 109 h 147"/>
                <a:gd name="T44" fmla="*/ 121 w 163"/>
                <a:gd name="T45" fmla="*/ 107 h 147"/>
                <a:gd name="T46" fmla="*/ 123 w 163"/>
                <a:gd name="T47" fmla="*/ 103 h 147"/>
                <a:gd name="T48" fmla="*/ 125 w 163"/>
                <a:gd name="T49" fmla="*/ 100 h 147"/>
                <a:gd name="T50" fmla="*/ 123 w 163"/>
                <a:gd name="T51" fmla="*/ 99 h 147"/>
                <a:gd name="T52" fmla="*/ 124 w 163"/>
                <a:gd name="T53" fmla="*/ 95 h 147"/>
                <a:gd name="T54" fmla="*/ 127 w 163"/>
                <a:gd name="T55" fmla="*/ 92 h 147"/>
                <a:gd name="T56" fmla="*/ 132 w 163"/>
                <a:gd name="T57" fmla="*/ 86 h 147"/>
                <a:gd name="T58" fmla="*/ 135 w 163"/>
                <a:gd name="T59" fmla="*/ 81 h 147"/>
                <a:gd name="T60" fmla="*/ 135 w 163"/>
                <a:gd name="T61" fmla="*/ 77 h 147"/>
                <a:gd name="T62" fmla="*/ 137 w 163"/>
                <a:gd name="T63" fmla="*/ 72 h 147"/>
                <a:gd name="T64" fmla="*/ 138 w 163"/>
                <a:gd name="T65" fmla="*/ 72 h 147"/>
                <a:gd name="T66" fmla="*/ 140 w 163"/>
                <a:gd name="T67" fmla="*/ 70 h 147"/>
                <a:gd name="T68" fmla="*/ 141 w 163"/>
                <a:gd name="T69" fmla="*/ 67 h 147"/>
                <a:gd name="T70" fmla="*/ 143 w 163"/>
                <a:gd name="T71" fmla="*/ 65 h 147"/>
                <a:gd name="T72" fmla="*/ 147 w 163"/>
                <a:gd name="T73" fmla="*/ 63 h 147"/>
                <a:gd name="T74" fmla="*/ 146 w 163"/>
                <a:gd name="T75" fmla="*/ 60 h 147"/>
                <a:gd name="T76" fmla="*/ 148 w 163"/>
                <a:gd name="T77" fmla="*/ 58 h 147"/>
                <a:gd name="T78" fmla="*/ 150 w 163"/>
                <a:gd name="T79" fmla="*/ 54 h 147"/>
                <a:gd name="T80" fmla="*/ 150 w 163"/>
                <a:gd name="T81" fmla="*/ 48 h 147"/>
                <a:gd name="T82" fmla="*/ 150 w 163"/>
                <a:gd name="T83" fmla="*/ 43 h 147"/>
                <a:gd name="T84" fmla="*/ 153 w 163"/>
                <a:gd name="T85" fmla="*/ 39 h 147"/>
                <a:gd name="T86" fmla="*/ 156 w 163"/>
                <a:gd name="T87" fmla="*/ 37 h 147"/>
                <a:gd name="T88" fmla="*/ 156 w 163"/>
                <a:gd name="T89" fmla="*/ 35 h 147"/>
                <a:gd name="T90" fmla="*/ 157 w 163"/>
                <a:gd name="T91" fmla="*/ 33 h 147"/>
                <a:gd name="T92" fmla="*/ 157 w 163"/>
                <a:gd name="T93" fmla="*/ 29 h 147"/>
                <a:gd name="T94" fmla="*/ 160 w 163"/>
                <a:gd name="T95" fmla="*/ 28 h 147"/>
                <a:gd name="T96" fmla="*/ 161 w 163"/>
                <a:gd name="T97" fmla="*/ 26 h 147"/>
                <a:gd name="T98" fmla="*/ 162 w 163"/>
                <a:gd name="T99" fmla="*/ 24 h 147"/>
                <a:gd name="T100" fmla="*/ 163 w 163"/>
                <a:gd name="T101" fmla="*/ 22 h 147"/>
                <a:gd name="T102" fmla="*/ 163 w 163"/>
                <a:gd name="T103" fmla="*/ 19 h 147"/>
                <a:gd name="T104" fmla="*/ 138 w 163"/>
                <a:gd name="T105" fmla="*/ 20 h 147"/>
                <a:gd name="T106" fmla="*/ 148 w 163"/>
                <a:gd name="T107" fmla="*/ 5 h 147"/>
                <a:gd name="T108" fmla="*/ 147 w 163"/>
                <a:gd name="T109" fmla="*/ 0 h 147"/>
                <a:gd name="T110" fmla="*/ 0 w 163"/>
                <a:gd name="T111" fmla="*/ 4 h 147"/>
                <a:gd name="T112" fmla="*/ 7 w 163"/>
                <a:gd name="T113" fmla="*/ 47 h 147"/>
                <a:gd name="T114" fmla="*/ 6 w 163"/>
                <a:gd name="T115" fmla="*/ 12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3" h="147">
                  <a:moveTo>
                    <a:pt x="6" y="123"/>
                  </a:moveTo>
                  <a:lnTo>
                    <a:pt x="4" y="121"/>
                  </a:lnTo>
                  <a:lnTo>
                    <a:pt x="7" y="124"/>
                  </a:lnTo>
                  <a:lnTo>
                    <a:pt x="10" y="125"/>
                  </a:lnTo>
                  <a:lnTo>
                    <a:pt x="12" y="123"/>
                  </a:lnTo>
                  <a:lnTo>
                    <a:pt x="22" y="124"/>
                  </a:lnTo>
                  <a:lnTo>
                    <a:pt x="22" y="147"/>
                  </a:lnTo>
                  <a:lnTo>
                    <a:pt x="116" y="144"/>
                  </a:lnTo>
                  <a:lnTo>
                    <a:pt x="117" y="144"/>
                  </a:lnTo>
                  <a:lnTo>
                    <a:pt x="119" y="139"/>
                  </a:lnTo>
                  <a:lnTo>
                    <a:pt x="120" y="136"/>
                  </a:lnTo>
                  <a:lnTo>
                    <a:pt x="119" y="133"/>
                  </a:lnTo>
                  <a:lnTo>
                    <a:pt x="119" y="127"/>
                  </a:lnTo>
                  <a:lnTo>
                    <a:pt x="119" y="125"/>
                  </a:lnTo>
                  <a:lnTo>
                    <a:pt x="117" y="122"/>
                  </a:lnTo>
                  <a:lnTo>
                    <a:pt x="116" y="121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6" y="116"/>
                  </a:lnTo>
                  <a:lnTo>
                    <a:pt x="118" y="113"/>
                  </a:lnTo>
                  <a:lnTo>
                    <a:pt x="121" y="109"/>
                  </a:lnTo>
                  <a:lnTo>
                    <a:pt x="122" y="109"/>
                  </a:lnTo>
                  <a:lnTo>
                    <a:pt x="121" y="107"/>
                  </a:lnTo>
                  <a:lnTo>
                    <a:pt x="123" y="103"/>
                  </a:lnTo>
                  <a:lnTo>
                    <a:pt x="125" y="100"/>
                  </a:lnTo>
                  <a:lnTo>
                    <a:pt x="123" y="99"/>
                  </a:lnTo>
                  <a:lnTo>
                    <a:pt x="124" y="95"/>
                  </a:lnTo>
                  <a:lnTo>
                    <a:pt x="127" y="92"/>
                  </a:lnTo>
                  <a:lnTo>
                    <a:pt x="132" y="86"/>
                  </a:lnTo>
                  <a:lnTo>
                    <a:pt x="135" y="81"/>
                  </a:lnTo>
                  <a:lnTo>
                    <a:pt x="135" y="77"/>
                  </a:lnTo>
                  <a:lnTo>
                    <a:pt x="137" y="72"/>
                  </a:lnTo>
                  <a:lnTo>
                    <a:pt x="138" y="72"/>
                  </a:lnTo>
                  <a:lnTo>
                    <a:pt x="140" y="70"/>
                  </a:lnTo>
                  <a:lnTo>
                    <a:pt x="141" y="67"/>
                  </a:lnTo>
                  <a:lnTo>
                    <a:pt x="143" y="65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8" y="58"/>
                  </a:lnTo>
                  <a:lnTo>
                    <a:pt x="150" y="54"/>
                  </a:lnTo>
                  <a:lnTo>
                    <a:pt x="150" y="48"/>
                  </a:lnTo>
                  <a:lnTo>
                    <a:pt x="150" y="43"/>
                  </a:lnTo>
                  <a:lnTo>
                    <a:pt x="153" y="39"/>
                  </a:lnTo>
                  <a:lnTo>
                    <a:pt x="156" y="37"/>
                  </a:lnTo>
                  <a:lnTo>
                    <a:pt x="156" y="35"/>
                  </a:lnTo>
                  <a:lnTo>
                    <a:pt x="157" y="33"/>
                  </a:lnTo>
                  <a:lnTo>
                    <a:pt x="157" y="29"/>
                  </a:lnTo>
                  <a:lnTo>
                    <a:pt x="160" y="28"/>
                  </a:lnTo>
                  <a:lnTo>
                    <a:pt x="161" y="26"/>
                  </a:lnTo>
                  <a:lnTo>
                    <a:pt x="162" y="24"/>
                  </a:lnTo>
                  <a:lnTo>
                    <a:pt x="163" y="22"/>
                  </a:lnTo>
                  <a:lnTo>
                    <a:pt x="163" y="19"/>
                  </a:lnTo>
                  <a:lnTo>
                    <a:pt x="138" y="20"/>
                  </a:lnTo>
                  <a:lnTo>
                    <a:pt x="148" y="5"/>
                  </a:lnTo>
                  <a:lnTo>
                    <a:pt x="147" y="0"/>
                  </a:lnTo>
                  <a:lnTo>
                    <a:pt x="0" y="4"/>
                  </a:lnTo>
                  <a:lnTo>
                    <a:pt x="7" y="47"/>
                  </a:lnTo>
                  <a:lnTo>
                    <a:pt x="6" y="123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4" name="Freeform 36"/>
            <p:cNvSpPr>
              <a:spLocks/>
            </p:cNvSpPr>
            <p:nvPr/>
          </p:nvSpPr>
          <p:spPr bwMode="auto">
            <a:xfrm>
              <a:off x="7011665" y="2657259"/>
              <a:ext cx="465458" cy="151779"/>
            </a:xfrm>
            <a:custGeom>
              <a:avLst/>
              <a:gdLst>
                <a:gd name="T0" fmla="*/ 193 w 326"/>
                <a:gd name="T1" fmla="*/ 14 h 107"/>
                <a:gd name="T2" fmla="*/ 83 w 326"/>
                <a:gd name="T3" fmla="*/ 21 h 107"/>
                <a:gd name="T4" fmla="*/ 85 w 326"/>
                <a:gd name="T5" fmla="*/ 31 h 107"/>
                <a:gd name="T6" fmla="*/ 26 w 326"/>
                <a:gd name="T7" fmla="*/ 32 h 107"/>
                <a:gd name="T8" fmla="*/ 24 w 326"/>
                <a:gd name="T9" fmla="*/ 33 h 107"/>
                <a:gd name="T10" fmla="*/ 24 w 326"/>
                <a:gd name="T11" fmla="*/ 36 h 107"/>
                <a:gd name="T12" fmla="*/ 24 w 326"/>
                <a:gd name="T13" fmla="*/ 39 h 107"/>
                <a:gd name="T14" fmla="*/ 23 w 326"/>
                <a:gd name="T15" fmla="*/ 42 h 107"/>
                <a:gd name="T16" fmla="*/ 21 w 326"/>
                <a:gd name="T17" fmla="*/ 43 h 107"/>
                <a:gd name="T18" fmla="*/ 20 w 326"/>
                <a:gd name="T19" fmla="*/ 45 h 107"/>
                <a:gd name="T20" fmla="*/ 21 w 326"/>
                <a:gd name="T21" fmla="*/ 46 h 107"/>
                <a:gd name="T22" fmla="*/ 23 w 326"/>
                <a:gd name="T23" fmla="*/ 50 h 107"/>
                <a:gd name="T24" fmla="*/ 22 w 326"/>
                <a:gd name="T25" fmla="*/ 52 h 107"/>
                <a:gd name="T26" fmla="*/ 20 w 326"/>
                <a:gd name="T27" fmla="*/ 55 h 107"/>
                <a:gd name="T28" fmla="*/ 19 w 326"/>
                <a:gd name="T29" fmla="*/ 58 h 107"/>
                <a:gd name="T30" fmla="*/ 20 w 326"/>
                <a:gd name="T31" fmla="*/ 58 h 107"/>
                <a:gd name="T32" fmla="*/ 20 w 326"/>
                <a:gd name="T33" fmla="*/ 62 h 107"/>
                <a:gd name="T34" fmla="*/ 19 w 326"/>
                <a:gd name="T35" fmla="*/ 64 h 107"/>
                <a:gd name="T36" fmla="*/ 18 w 326"/>
                <a:gd name="T37" fmla="*/ 66 h 107"/>
                <a:gd name="T38" fmla="*/ 16 w 326"/>
                <a:gd name="T39" fmla="*/ 69 h 107"/>
                <a:gd name="T40" fmla="*/ 13 w 326"/>
                <a:gd name="T41" fmla="*/ 70 h 107"/>
                <a:gd name="T42" fmla="*/ 13 w 326"/>
                <a:gd name="T43" fmla="*/ 75 h 107"/>
                <a:gd name="T44" fmla="*/ 12 w 326"/>
                <a:gd name="T45" fmla="*/ 77 h 107"/>
                <a:gd name="T46" fmla="*/ 12 w 326"/>
                <a:gd name="T47" fmla="*/ 79 h 107"/>
                <a:gd name="T48" fmla="*/ 8 w 326"/>
                <a:gd name="T49" fmla="*/ 82 h 107"/>
                <a:gd name="T50" fmla="*/ 5 w 326"/>
                <a:gd name="T51" fmla="*/ 87 h 107"/>
                <a:gd name="T52" fmla="*/ 5 w 326"/>
                <a:gd name="T53" fmla="*/ 92 h 107"/>
                <a:gd name="T54" fmla="*/ 5 w 326"/>
                <a:gd name="T55" fmla="*/ 99 h 107"/>
                <a:gd name="T56" fmla="*/ 2 w 326"/>
                <a:gd name="T57" fmla="*/ 104 h 107"/>
                <a:gd name="T58" fmla="*/ 0 w 326"/>
                <a:gd name="T59" fmla="*/ 107 h 107"/>
                <a:gd name="T60" fmla="*/ 0 w 326"/>
                <a:gd name="T61" fmla="*/ 107 h 107"/>
                <a:gd name="T62" fmla="*/ 232 w 326"/>
                <a:gd name="T63" fmla="*/ 89 h 107"/>
                <a:gd name="T64" fmla="*/ 232 w 326"/>
                <a:gd name="T65" fmla="*/ 89 h 107"/>
                <a:gd name="T66" fmla="*/ 232 w 326"/>
                <a:gd name="T67" fmla="*/ 88 h 107"/>
                <a:gd name="T68" fmla="*/ 233 w 326"/>
                <a:gd name="T69" fmla="*/ 82 h 107"/>
                <a:gd name="T70" fmla="*/ 233 w 326"/>
                <a:gd name="T71" fmla="*/ 79 h 107"/>
                <a:gd name="T72" fmla="*/ 237 w 326"/>
                <a:gd name="T73" fmla="*/ 75 h 107"/>
                <a:gd name="T74" fmla="*/ 240 w 326"/>
                <a:gd name="T75" fmla="*/ 75 h 107"/>
                <a:gd name="T76" fmla="*/ 244 w 326"/>
                <a:gd name="T77" fmla="*/ 72 h 107"/>
                <a:gd name="T78" fmla="*/ 243 w 326"/>
                <a:gd name="T79" fmla="*/ 68 h 107"/>
                <a:gd name="T80" fmla="*/ 246 w 326"/>
                <a:gd name="T81" fmla="*/ 64 h 107"/>
                <a:gd name="T82" fmla="*/ 280 w 326"/>
                <a:gd name="T83" fmla="*/ 44 h 107"/>
                <a:gd name="T84" fmla="*/ 285 w 326"/>
                <a:gd name="T85" fmla="*/ 41 h 107"/>
                <a:gd name="T86" fmla="*/ 287 w 326"/>
                <a:gd name="T87" fmla="*/ 37 h 107"/>
                <a:gd name="T88" fmla="*/ 291 w 326"/>
                <a:gd name="T89" fmla="*/ 31 h 107"/>
                <a:gd name="T90" fmla="*/ 294 w 326"/>
                <a:gd name="T91" fmla="*/ 31 h 107"/>
                <a:gd name="T92" fmla="*/ 297 w 326"/>
                <a:gd name="T93" fmla="*/ 35 h 107"/>
                <a:gd name="T94" fmla="*/ 301 w 326"/>
                <a:gd name="T95" fmla="*/ 31 h 107"/>
                <a:gd name="T96" fmla="*/ 306 w 326"/>
                <a:gd name="T97" fmla="*/ 25 h 107"/>
                <a:gd name="T98" fmla="*/ 317 w 326"/>
                <a:gd name="T99" fmla="*/ 23 h 107"/>
                <a:gd name="T100" fmla="*/ 318 w 326"/>
                <a:gd name="T101" fmla="*/ 19 h 107"/>
                <a:gd name="T102" fmla="*/ 321 w 326"/>
                <a:gd name="T103" fmla="*/ 14 h 107"/>
                <a:gd name="T104" fmla="*/ 325 w 326"/>
                <a:gd name="T105" fmla="*/ 12 h 107"/>
                <a:gd name="T106" fmla="*/ 326 w 326"/>
                <a:gd name="T107" fmla="*/ 12 h 107"/>
                <a:gd name="T108" fmla="*/ 326 w 326"/>
                <a:gd name="T109" fmla="*/ 0 h 107"/>
                <a:gd name="T110" fmla="*/ 193 w 326"/>
                <a:gd name="T111" fmla="*/ 1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6" h="107">
                  <a:moveTo>
                    <a:pt x="193" y="14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3" y="49"/>
                    <a:pt x="23" y="50"/>
                  </a:cubicBezTo>
                  <a:cubicBezTo>
                    <a:pt x="24" y="51"/>
                    <a:pt x="22" y="52"/>
                    <a:pt x="22" y="52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5" y="99"/>
                    <a:pt x="5" y="99"/>
                    <a:pt x="5" y="99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233" y="82"/>
                    <a:pt x="233" y="82"/>
                    <a:pt x="233" y="82"/>
                  </a:cubicBezTo>
                  <a:cubicBezTo>
                    <a:pt x="233" y="79"/>
                    <a:pt x="233" y="79"/>
                    <a:pt x="233" y="79"/>
                  </a:cubicBezTo>
                  <a:cubicBezTo>
                    <a:pt x="237" y="75"/>
                    <a:pt x="237" y="75"/>
                    <a:pt x="237" y="75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44" y="72"/>
                    <a:pt x="244" y="72"/>
                    <a:pt x="244" y="72"/>
                  </a:cubicBezTo>
                  <a:cubicBezTo>
                    <a:pt x="243" y="68"/>
                    <a:pt x="243" y="68"/>
                    <a:pt x="243" y="68"/>
                  </a:cubicBezTo>
                  <a:cubicBezTo>
                    <a:pt x="246" y="64"/>
                    <a:pt x="246" y="64"/>
                    <a:pt x="246" y="64"/>
                  </a:cubicBezTo>
                  <a:cubicBezTo>
                    <a:pt x="280" y="44"/>
                    <a:pt x="280" y="44"/>
                    <a:pt x="280" y="44"/>
                  </a:cubicBezTo>
                  <a:cubicBezTo>
                    <a:pt x="285" y="41"/>
                    <a:pt x="285" y="41"/>
                    <a:pt x="285" y="41"/>
                  </a:cubicBezTo>
                  <a:cubicBezTo>
                    <a:pt x="287" y="37"/>
                    <a:pt x="287" y="37"/>
                    <a:pt x="287" y="37"/>
                  </a:cubicBezTo>
                  <a:cubicBezTo>
                    <a:pt x="291" y="31"/>
                    <a:pt x="291" y="31"/>
                    <a:pt x="291" y="31"/>
                  </a:cubicBezTo>
                  <a:cubicBezTo>
                    <a:pt x="294" y="31"/>
                    <a:pt x="294" y="31"/>
                    <a:pt x="294" y="31"/>
                  </a:cubicBezTo>
                  <a:cubicBezTo>
                    <a:pt x="297" y="35"/>
                    <a:pt x="297" y="35"/>
                    <a:pt x="297" y="35"/>
                  </a:cubicBezTo>
                  <a:cubicBezTo>
                    <a:pt x="301" y="31"/>
                    <a:pt x="301" y="31"/>
                    <a:pt x="301" y="31"/>
                  </a:cubicBezTo>
                  <a:cubicBezTo>
                    <a:pt x="306" y="25"/>
                    <a:pt x="306" y="25"/>
                    <a:pt x="306" y="25"/>
                  </a:cubicBezTo>
                  <a:cubicBezTo>
                    <a:pt x="317" y="23"/>
                    <a:pt x="317" y="23"/>
                    <a:pt x="317" y="23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21" y="14"/>
                    <a:pt x="321" y="14"/>
                    <a:pt x="321" y="14"/>
                  </a:cubicBezTo>
                  <a:cubicBezTo>
                    <a:pt x="325" y="12"/>
                    <a:pt x="325" y="12"/>
                    <a:pt x="325" y="12"/>
                  </a:cubicBezTo>
                  <a:cubicBezTo>
                    <a:pt x="326" y="12"/>
                    <a:pt x="326" y="12"/>
                    <a:pt x="326" y="12"/>
                  </a:cubicBezTo>
                  <a:cubicBezTo>
                    <a:pt x="326" y="0"/>
                    <a:pt x="326" y="0"/>
                    <a:pt x="326" y="0"/>
                  </a:cubicBezTo>
                  <a:lnTo>
                    <a:pt x="193" y="14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5" name="Freeform 37"/>
            <p:cNvSpPr>
              <a:spLocks/>
            </p:cNvSpPr>
            <p:nvPr/>
          </p:nvSpPr>
          <p:spPr bwMode="auto">
            <a:xfrm>
              <a:off x="7342208" y="2606665"/>
              <a:ext cx="465458" cy="205746"/>
            </a:xfrm>
            <a:custGeom>
              <a:avLst/>
              <a:gdLst>
                <a:gd name="T0" fmla="*/ 320 w 326"/>
                <a:gd name="T1" fmla="*/ 28 h 144"/>
                <a:gd name="T2" fmla="*/ 315 w 326"/>
                <a:gd name="T3" fmla="*/ 38 h 144"/>
                <a:gd name="T4" fmla="*/ 311 w 326"/>
                <a:gd name="T5" fmla="*/ 32 h 144"/>
                <a:gd name="T6" fmla="*/ 300 w 326"/>
                <a:gd name="T7" fmla="*/ 30 h 144"/>
                <a:gd name="T8" fmla="*/ 289 w 326"/>
                <a:gd name="T9" fmla="*/ 35 h 144"/>
                <a:gd name="T10" fmla="*/ 285 w 326"/>
                <a:gd name="T11" fmla="*/ 32 h 144"/>
                <a:gd name="T12" fmla="*/ 282 w 326"/>
                <a:gd name="T13" fmla="*/ 25 h 144"/>
                <a:gd name="T14" fmla="*/ 281 w 326"/>
                <a:gd name="T15" fmla="*/ 18 h 144"/>
                <a:gd name="T16" fmla="*/ 284 w 326"/>
                <a:gd name="T17" fmla="*/ 20 h 144"/>
                <a:gd name="T18" fmla="*/ 290 w 326"/>
                <a:gd name="T19" fmla="*/ 29 h 144"/>
                <a:gd name="T20" fmla="*/ 295 w 326"/>
                <a:gd name="T21" fmla="*/ 26 h 144"/>
                <a:gd name="T22" fmla="*/ 305 w 326"/>
                <a:gd name="T23" fmla="*/ 22 h 144"/>
                <a:gd name="T24" fmla="*/ 306 w 326"/>
                <a:gd name="T25" fmla="*/ 16 h 144"/>
                <a:gd name="T26" fmla="*/ 303 w 326"/>
                <a:gd name="T27" fmla="*/ 12 h 144"/>
                <a:gd name="T28" fmla="*/ 312 w 326"/>
                <a:gd name="T29" fmla="*/ 14 h 144"/>
                <a:gd name="T30" fmla="*/ 308 w 326"/>
                <a:gd name="T31" fmla="*/ 4 h 144"/>
                <a:gd name="T32" fmla="*/ 155 w 326"/>
                <a:gd name="T33" fmla="*/ 28 h 144"/>
                <a:gd name="T34" fmla="*/ 93 w 326"/>
                <a:gd name="T35" fmla="*/ 47 h 144"/>
                <a:gd name="T36" fmla="*/ 85 w 326"/>
                <a:gd name="T37" fmla="*/ 58 h 144"/>
                <a:gd name="T38" fmla="*/ 65 w 326"/>
                <a:gd name="T39" fmla="*/ 70 h 144"/>
                <a:gd name="T40" fmla="*/ 55 w 326"/>
                <a:gd name="T41" fmla="*/ 72 h 144"/>
                <a:gd name="T42" fmla="*/ 14 w 326"/>
                <a:gd name="T43" fmla="*/ 99 h 144"/>
                <a:gd name="T44" fmla="*/ 8 w 326"/>
                <a:gd name="T45" fmla="*/ 110 h 144"/>
                <a:gd name="T46" fmla="*/ 1 w 326"/>
                <a:gd name="T47" fmla="*/ 117 h 144"/>
                <a:gd name="T48" fmla="*/ 0 w 326"/>
                <a:gd name="T49" fmla="*/ 124 h 144"/>
                <a:gd name="T50" fmla="*/ 83 w 326"/>
                <a:gd name="T51" fmla="*/ 104 h 144"/>
                <a:gd name="T52" fmla="*/ 108 w 326"/>
                <a:gd name="T53" fmla="*/ 105 h 144"/>
                <a:gd name="T54" fmla="*/ 123 w 326"/>
                <a:gd name="T55" fmla="*/ 100 h 144"/>
                <a:gd name="T56" fmla="*/ 142 w 326"/>
                <a:gd name="T57" fmla="*/ 114 h 144"/>
                <a:gd name="T58" fmla="*/ 243 w 326"/>
                <a:gd name="T59" fmla="*/ 140 h 144"/>
                <a:gd name="T60" fmla="*/ 256 w 326"/>
                <a:gd name="T61" fmla="*/ 136 h 144"/>
                <a:gd name="T62" fmla="*/ 263 w 326"/>
                <a:gd name="T63" fmla="*/ 117 h 144"/>
                <a:gd name="T64" fmla="*/ 271 w 326"/>
                <a:gd name="T65" fmla="*/ 106 h 144"/>
                <a:gd name="T66" fmla="*/ 270 w 326"/>
                <a:gd name="T67" fmla="*/ 100 h 144"/>
                <a:gd name="T68" fmla="*/ 272 w 326"/>
                <a:gd name="T69" fmla="*/ 97 h 144"/>
                <a:gd name="T70" fmla="*/ 278 w 326"/>
                <a:gd name="T71" fmla="*/ 100 h 144"/>
                <a:gd name="T72" fmla="*/ 281 w 326"/>
                <a:gd name="T73" fmla="*/ 95 h 144"/>
                <a:gd name="T74" fmla="*/ 285 w 326"/>
                <a:gd name="T75" fmla="*/ 95 h 144"/>
                <a:gd name="T76" fmla="*/ 296 w 326"/>
                <a:gd name="T77" fmla="*/ 91 h 144"/>
                <a:gd name="T78" fmla="*/ 301 w 326"/>
                <a:gd name="T79" fmla="*/ 87 h 144"/>
                <a:gd name="T80" fmla="*/ 308 w 326"/>
                <a:gd name="T81" fmla="*/ 81 h 144"/>
                <a:gd name="T82" fmla="*/ 308 w 326"/>
                <a:gd name="T83" fmla="*/ 75 h 144"/>
                <a:gd name="T84" fmla="*/ 301 w 326"/>
                <a:gd name="T85" fmla="*/ 78 h 144"/>
                <a:gd name="T86" fmla="*/ 291 w 326"/>
                <a:gd name="T87" fmla="*/ 83 h 144"/>
                <a:gd name="T88" fmla="*/ 283 w 326"/>
                <a:gd name="T89" fmla="*/ 77 h 144"/>
                <a:gd name="T90" fmla="*/ 288 w 326"/>
                <a:gd name="T91" fmla="*/ 77 h 144"/>
                <a:gd name="T92" fmla="*/ 296 w 326"/>
                <a:gd name="T93" fmla="*/ 73 h 144"/>
                <a:gd name="T94" fmla="*/ 297 w 326"/>
                <a:gd name="T95" fmla="*/ 68 h 144"/>
                <a:gd name="T96" fmla="*/ 296 w 326"/>
                <a:gd name="T97" fmla="*/ 64 h 144"/>
                <a:gd name="T98" fmla="*/ 280 w 326"/>
                <a:gd name="T99" fmla="*/ 58 h 144"/>
                <a:gd name="T100" fmla="*/ 290 w 326"/>
                <a:gd name="T101" fmla="*/ 57 h 144"/>
                <a:gd name="T102" fmla="*/ 294 w 326"/>
                <a:gd name="T103" fmla="*/ 55 h 144"/>
                <a:gd name="T104" fmla="*/ 294 w 326"/>
                <a:gd name="T105" fmla="*/ 51 h 144"/>
                <a:gd name="T106" fmla="*/ 300 w 326"/>
                <a:gd name="T107" fmla="*/ 58 h 144"/>
                <a:gd name="T108" fmla="*/ 306 w 326"/>
                <a:gd name="T109" fmla="*/ 58 h 144"/>
                <a:gd name="T110" fmla="*/ 317 w 326"/>
                <a:gd name="T111" fmla="*/ 57 h 144"/>
                <a:gd name="T112" fmla="*/ 319 w 326"/>
                <a:gd name="T113" fmla="*/ 48 h 144"/>
                <a:gd name="T114" fmla="*/ 322 w 326"/>
                <a:gd name="T115" fmla="*/ 42 h 144"/>
                <a:gd name="T116" fmla="*/ 325 w 326"/>
                <a:gd name="T117" fmla="*/ 3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6" h="144">
                  <a:moveTo>
                    <a:pt x="324" y="34"/>
                  </a:moveTo>
                  <a:cubicBezTo>
                    <a:pt x="322" y="31"/>
                    <a:pt x="322" y="31"/>
                    <a:pt x="322" y="31"/>
                  </a:cubicBezTo>
                  <a:cubicBezTo>
                    <a:pt x="320" y="28"/>
                    <a:pt x="320" y="28"/>
                    <a:pt x="320" y="28"/>
                  </a:cubicBezTo>
                  <a:cubicBezTo>
                    <a:pt x="317" y="28"/>
                    <a:pt x="317" y="28"/>
                    <a:pt x="317" y="28"/>
                  </a:cubicBezTo>
                  <a:cubicBezTo>
                    <a:pt x="316" y="29"/>
                    <a:pt x="316" y="29"/>
                    <a:pt x="316" y="29"/>
                  </a:cubicBezTo>
                  <a:cubicBezTo>
                    <a:pt x="315" y="38"/>
                    <a:pt x="315" y="38"/>
                    <a:pt x="315" y="38"/>
                  </a:cubicBezTo>
                  <a:cubicBezTo>
                    <a:pt x="315" y="40"/>
                    <a:pt x="315" y="40"/>
                    <a:pt x="315" y="40"/>
                  </a:cubicBezTo>
                  <a:cubicBezTo>
                    <a:pt x="312" y="38"/>
                    <a:pt x="312" y="38"/>
                    <a:pt x="312" y="38"/>
                  </a:cubicBezTo>
                  <a:cubicBezTo>
                    <a:pt x="311" y="32"/>
                    <a:pt x="311" y="32"/>
                    <a:pt x="311" y="32"/>
                  </a:cubicBezTo>
                  <a:cubicBezTo>
                    <a:pt x="309" y="28"/>
                    <a:pt x="309" y="28"/>
                    <a:pt x="309" y="28"/>
                  </a:cubicBezTo>
                  <a:cubicBezTo>
                    <a:pt x="306" y="27"/>
                    <a:pt x="306" y="27"/>
                    <a:pt x="306" y="27"/>
                  </a:cubicBezTo>
                  <a:cubicBezTo>
                    <a:pt x="300" y="30"/>
                    <a:pt x="300" y="30"/>
                    <a:pt x="300" y="30"/>
                  </a:cubicBezTo>
                  <a:cubicBezTo>
                    <a:pt x="298" y="30"/>
                    <a:pt x="298" y="30"/>
                    <a:pt x="298" y="30"/>
                  </a:cubicBezTo>
                  <a:cubicBezTo>
                    <a:pt x="292" y="32"/>
                    <a:pt x="292" y="32"/>
                    <a:pt x="292" y="32"/>
                  </a:cubicBezTo>
                  <a:cubicBezTo>
                    <a:pt x="289" y="35"/>
                    <a:pt x="289" y="35"/>
                    <a:pt x="289" y="35"/>
                  </a:cubicBezTo>
                  <a:cubicBezTo>
                    <a:pt x="286" y="39"/>
                    <a:pt x="286" y="39"/>
                    <a:pt x="286" y="39"/>
                  </a:cubicBezTo>
                  <a:cubicBezTo>
                    <a:pt x="285" y="37"/>
                    <a:pt x="285" y="37"/>
                    <a:pt x="285" y="37"/>
                  </a:cubicBezTo>
                  <a:cubicBezTo>
                    <a:pt x="285" y="32"/>
                    <a:pt x="285" y="32"/>
                    <a:pt x="285" y="32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7"/>
                    <a:pt x="283" y="27"/>
                    <a:pt x="283" y="27"/>
                  </a:cubicBezTo>
                  <a:cubicBezTo>
                    <a:pt x="282" y="25"/>
                    <a:pt x="282" y="25"/>
                    <a:pt x="282" y="25"/>
                  </a:cubicBezTo>
                  <a:cubicBezTo>
                    <a:pt x="281" y="23"/>
                    <a:pt x="281" y="23"/>
                    <a:pt x="281" y="23"/>
                  </a:cubicBezTo>
                  <a:cubicBezTo>
                    <a:pt x="281" y="20"/>
                    <a:pt x="281" y="20"/>
                    <a:pt x="281" y="20"/>
                  </a:cubicBezTo>
                  <a:cubicBezTo>
                    <a:pt x="281" y="18"/>
                    <a:pt x="281" y="18"/>
                    <a:pt x="281" y="18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4" y="20"/>
                    <a:pt x="284" y="20"/>
                    <a:pt x="284" y="20"/>
                  </a:cubicBezTo>
                  <a:cubicBezTo>
                    <a:pt x="285" y="26"/>
                    <a:pt x="285" y="26"/>
                    <a:pt x="285" y="26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91" y="28"/>
                    <a:pt x="291" y="28"/>
                    <a:pt x="291" y="28"/>
                  </a:cubicBezTo>
                  <a:cubicBezTo>
                    <a:pt x="294" y="26"/>
                    <a:pt x="294" y="26"/>
                    <a:pt x="294" y="26"/>
                  </a:cubicBezTo>
                  <a:cubicBezTo>
                    <a:pt x="295" y="26"/>
                    <a:pt x="295" y="26"/>
                    <a:pt x="295" y="26"/>
                  </a:cubicBezTo>
                  <a:cubicBezTo>
                    <a:pt x="299" y="24"/>
                    <a:pt x="299" y="24"/>
                    <a:pt x="299" y="24"/>
                  </a:cubicBezTo>
                  <a:cubicBezTo>
                    <a:pt x="300" y="22"/>
                    <a:pt x="300" y="22"/>
                    <a:pt x="300" y="22"/>
                  </a:cubicBezTo>
                  <a:cubicBezTo>
                    <a:pt x="305" y="22"/>
                    <a:pt x="305" y="22"/>
                    <a:pt x="305" y="22"/>
                  </a:cubicBezTo>
                  <a:cubicBezTo>
                    <a:pt x="306" y="19"/>
                    <a:pt x="306" y="19"/>
                    <a:pt x="306" y="19"/>
                  </a:cubicBezTo>
                  <a:cubicBezTo>
                    <a:pt x="307" y="18"/>
                    <a:pt x="307" y="18"/>
                    <a:pt x="307" y="18"/>
                  </a:cubicBezTo>
                  <a:cubicBezTo>
                    <a:pt x="307" y="18"/>
                    <a:pt x="306" y="17"/>
                    <a:pt x="306" y="16"/>
                  </a:cubicBezTo>
                  <a:cubicBezTo>
                    <a:pt x="305" y="16"/>
                    <a:pt x="305" y="16"/>
                    <a:pt x="305" y="16"/>
                  </a:cubicBezTo>
                  <a:cubicBezTo>
                    <a:pt x="303" y="13"/>
                    <a:pt x="303" y="13"/>
                    <a:pt x="303" y="13"/>
                  </a:cubicBezTo>
                  <a:cubicBezTo>
                    <a:pt x="303" y="12"/>
                    <a:pt x="303" y="12"/>
                    <a:pt x="303" y="12"/>
                  </a:cubicBezTo>
                  <a:cubicBezTo>
                    <a:pt x="304" y="12"/>
                    <a:pt x="304" y="12"/>
                    <a:pt x="304" y="12"/>
                  </a:cubicBezTo>
                  <a:cubicBezTo>
                    <a:pt x="309" y="14"/>
                    <a:pt x="309" y="14"/>
                    <a:pt x="309" y="14"/>
                  </a:cubicBezTo>
                  <a:cubicBezTo>
                    <a:pt x="312" y="14"/>
                    <a:pt x="312" y="14"/>
                    <a:pt x="312" y="14"/>
                  </a:cubicBezTo>
                  <a:cubicBezTo>
                    <a:pt x="312" y="11"/>
                    <a:pt x="312" y="11"/>
                    <a:pt x="312" y="11"/>
                  </a:cubicBezTo>
                  <a:cubicBezTo>
                    <a:pt x="309" y="7"/>
                    <a:pt x="309" y="7"/>
                    <a:pt x="309" y="7"/>
                  </a:cubicBezTo>
                  <a:cubicBezTo>
                    <a:pt x="308" y="4"/>
                    <a:pt x="308" y="4"/>
                    <a:pt x="308" y="4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218" y="18"/>
                    <a:pt x="218" y="18"/>
                    <a:pt x="218" y="18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23" y="100"/>
                    <a:pt x="123" y="100"/>
                    <a:pt x="123" y="100"/>
                  </a:cubicBezTo>
                  <a:cubicBezTo>
                    <a:pt x="132" y="101"/>
                    <a:pt x="132" y="101"/>
                    <a:pt x="132" y="101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82" y="106"/>
                    <a:pt x="182" y="106"/>
                    <a:pt x="182" y="106"/>
                  </a:cubicBezTo>
                  <a:cubicBezTo>
                    <a:pt x="234" y="144"/>
                    <a:pt x="234" y="144"/>
                    <a:pt x="234" y="144"/>
                  </a:cubicBezTo>
                  <a:cubicBezTo>
                    <a:pt x="243" y="140"/>
                    <a:pt x="243" y="140"/>
                    <a:pt x="243" y="140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54" y="139"/>
                    <a:pt x="254" y="139"/>
                    <a:pt x="254" y="139"/>
                  </a:cubicBezTo>
                  <a:cubicBezTo>
                    <a:pt x="256" y="136"/>
                    <a:pt x="256" y="136"/>
                    <a:pt x="256" y="136"/>
                  </a:cubicBezTo>
                  <a:cubicBezTo>
                    <a:pt x="259" y="133"/>
                    <a:pt x="259" y="133"/>
                    <a:pt x="259" y="133"/>
                  </a:cubicBezTo>
                  <a:cubicBezTo>
                    <a:pt x="260" y="124"/>
                    <a:pt x="260" y="124"/>
                    <a:pt x="260" y="124"/>
                  </a:cubicBezTo>
                  <a:cubicBezTo>
                    <a:pt x="263" y="117"/>
                    <a:pt x="263" y="117"/>
                    <a:pt x="263" y="117"/>
                  </a:cubicBezTo>
                  <a:cubicBezTo>
                    <a:pt x="267" y="111"/>
                    <a:pt x="267" y="111"/>
                    <a:pt x="267" y="111"/>
                  </a:cubicBezTo>
                  <a:cubicBezTo>
                    <a:pt x="271" y="108"/>
                    <a:pt x="271" y="108"/>
                    <a:pt x="271" y="108"/>
                  </a:cubicBezTo>
                  <a:cubicBezTo>
                    <a:pt x="271" y="106"/>
                    <a:pt x="271" y="106"/>
                    <a:pt x="271" y="106"/>
                  </a:cubicBezTo>
                  <a:cubicBezTo>
                    <a:pt x="270" y="103"/>
                    <a:pt x="270" y="103"/>
                    <a:pt x="270" y="103"/>
                  </a:cubicBezTo>
                  <a:cubicBezTo>
                    <a:pt x="269" y="101"/>
                    <a:pt x="269" y="101"/>
                    <a:pt x="269" y="101"/>
                  </a:cubicBezTo>
                  <a:cubicBezTo>
                    <a:pt x="270" y="100"/>
                    <a:pt x="270" y="100"/>
                    <a:pt x="270" y="100"/>
                  </a:cubicBezTo>
                  <a:cubicBezTo>
                    <a:pt x="270" y="98"/>
                    <a:pt x="270" y="98"/>
                    <a:pt x="270" y="98"/>
                  </a:cubicBezTo>
                  <a:cubicBezTo>
                    <a:pt x="271" y="97"/>
                    <a:pt x="271" y="97"/>
                    <a:pt x="271" y="97"/>
                  </a:cubicBezTo>
                  <a:cubicBezTo>
                    <a:pt x="272" y="97"/>
                    <a:pt x="272" y="97"/>
                    <a:pt x="272" y="97"/>
                  </a:cubicBezTo>
                  <a:cubicBezTo>
                    <a:pt x="273" y="98"/>
                    <a:pt x="273" y="98"/>
                    <a:pt x="273" y="98"/>
                  </a:cubicBezTo>
                  <a:cubicBezTo>
                    <a:pt x="274" y="102"/>
                    <a:pt x="274" y="102"/>
                    <a:pt x="274" y="102"/>
                  </a:cubicBezTo>
                  <a:cubicBezTo>
                    <a:pt x="278" y="100"/>
                    <a:pt x="278" y="100"/>
                    <a:pt x="278" y="100"/>
                  </a:cubicBezTo>
                  <a:cubicBezTo>
                    <a:pt x="281" y="99"/>
                    <a:pt x="281" y="99"/>
                    <a:pt x="281" y="99"/>
                  </a:cubicBezTo>
                  <a:cubicBezTo>
                    <a:pt x="281" y="97"/>
                    <a:pt x="281" y="97"/>
                    <a:pt x="281" y="97"/>
                  </a:cubicBezTo>
                  <a:cubicBezTo>
                    <a:pt x="281" y="95"/>
                    <a:pt x="281" y="95"/>
                    <a:pt x="281" y="95"/>
                  </a:cubicBezTo>
                  <a:cubicBezTo>
                    <a:pt x="283" y="94"/>
                    <a:pt x="283" y="94"/>
                    <a:pt x="283" y="94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5" y="95"/>
                    <a:pt x="285" y="95"/>
                    <a:pt x="285" y="9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294" y="91"/>
                    <a:pt x="294" y="91"/>
                    <a:pt x="294" y="91"/>
                  </a:cubicBezTo>
                  <a:cubicBezTo>
                    <a:pt x="296" y="91"/>
                    <a:pt x="296" y="91"/>
                    <a:pt x="296" y="91"/>
                  </a:cubicBezTo>
                  <a:cubicBezTo>
                    <a:pt x="299" y="89"/>
                    <a:pt x="299" y="89"/>
                    <a:pt x="299" y="89"/>
                  </a:cubicBezTo>
                  <a:cubicBezTo>
                    <a:pt x="301" y="88"/>
                    <a:pt x="301" y="88"/>
                    <a:pt x="301" y="88"/>
                  </a:cubicBezTo>
                  <a:cubicBezTo>
                    <a:pt x="301" y="87"/>
                    <a:pt x="301" y="87"/>
                    <a:pt x="301" y="87"/>
                  </a:cubicBezTo>
                  <a:cubicBezTo>
                    <a:pt x="305" y="90"/>
                    <a:pt x="305" y="90"/>
                    <a:pt x="305" y="90"/>
                  </a:cubicBezTo>
                  <a:cubicBezTo>
                    <a:pt x="307" y="86"/>
                    <a:pt x="307" y="86"/>
                    <a:pt x="307" y="86"/>
                  </a:cubicBezTo>
                  <a:cubicBezTo>
                    <a:pt x="308" y="81"/>
                    <a:pt x="308" y="81"/>
                    <a:pt x="308" y="81"/>
                  </a:cubicBezTo>
                  <a:cubicBezTo>
                    <a:pt x="309" y="79"/>
                    <a:pt x="309" y="79"/>
                    <a:pt x="309" y="79"/>
                  </a:cubicBezTo>
                  <a:cubicBezTo>
                    <a:pt x="310" y="77"/>
                    <a:pt x="310" y="77"/>
                    <a:pt x="310" y="77"/>
                  </a:cubicBezTo>
                  <a:cubicBezTo>
                    <a:pt x="310" y="77"/>
                    <a:pt x="309" y="74"/>
                    <a:pt x="308" y="75"/>
                  </a:cubicBezTo>
                  <a:cubicBezTo>
                    <a:pt x="307" y="75"/>
                    <a:pt x="304" y="76"/>
                    <a:pt x="304" y="76"/>
                  </a:cubicBezTo>
                  <a:cubicBezTo>
                    <a:pt x="303" y="78"/>
                    <a:pt x="303" y="78"/>
                    <a:pt x="303" y="78"/>
                  </a:cubicBezTo>
                  <a:cubicBezTo>
                    <a:pt x="301" y="78"/>
                    <a:pt x="301" y="78"/>
                    <a:pt x="301" y="78"/>
                  </a:cubicBezTo>
                  <a:cubicBezTo>
                    <a:pt x="299" y="80"/>
                    <a:pt x="299" y="80"/>
                    <a:pt x="299" y="80"/>
                  </a:cubicBezTo>
                  <a:cubicBezTo>
                    <a:pt x="294" y="83"/>
                    <a:pt x="294" y="83"/>
                    <a:pt x="294" y="83"/>
                  </a:cubicBezTo>
                  <a:cubicBezTo>
                    <a:pt x="291" y="83"/>
                    <a:pt x="291" y="83"/>
                    <a:pt x="291" y="83"/>
                  </a:cubicBezTo>
                  <a:cubicBezTo>
                    <a:pt x="283" y="81"/>
                    <a:pt x="283" y="81"/>
                    <a:pt x="283" y="81"/>
                  </a:cubicBezTo>
                  <a:cubicBezTo>
                    <a:pt x="283" y="79"/>
                    <a:pt x="283" y="79"/>
                    <a:pt x="283" y="79"/>
                  </a:cubicBezTo>
                  <a:cubicBezTo>
                    <a:pt x="283" y="77"/>
                    <a:pt x="283" y="77"/>
                    <a:pt x="283" y="77"/>
                  </a:cubicBezTo>
                  <a:cubicBezTo>
                    <a:pt x="284" y="76"/>
                    <a:pt x="284" y="76"/>
                    <a:pt x="284" y="76"/>
                  </a:cubicBezTo>
                  <a:cubicBezTo>
                    <a:pt x="286" y="76"/>
                    <a:pt x="286" y="76"/>
                    <a:pt x="286" y="76"/>
                  </a:cubicBezTo>
                  <a:cubicBezTo>
                    <a:pt x="288" y="77"/>
                    <a:pt x="288" y="77"/>
                    <a:pt x="288" y="77"/>
                  </a:cubicBezTo>
                  <a:cubicBezTo>
                    <a:pt x="293" y="77"/>
                    <a:pt x="293" y="77"/>
                    <a:pt x="293" y="77"/>
                  </a:cubicBezTo>
                  <a:cubicBezTo>
                    <a:pt x="296" y="75"/>
                    <a:pt x="296" y="75"/>
                    <a:pt x="296" y="75"/>
                  </a:cubicBezTo>
                  <a:cubicBezTo>
                    <a:pt x="296" y="73"/>
                    <a:pt x="296" y="73"/>
                    <a:pt x="296" y="73"/>
                  </a:cubicBezTo>
                  <a:cubicBezTo>
                    <a:pt x="295" y="71"/>
                    <a:pt x="295" y="71"/>
                    <a:pt x="295" y="71"/>
                  </a:cubicBezTo>
                  <a:cubicBezTo>
                    <a:pt x="296" y="68"/>
                    <a:pt x="296" y="68"/>
                    <a:pt x="296" y="68"/>
                  </a:cubicBezTo>
                  <a:cubicBezTo>
                    <a:pt x="297" y="68"/>
                    <a:pt x="297" y="68"/>
                    <a:pt x="297" y="68"/>
                  </a:cubicBezTo>
                  <a:cubicBezTo>
                    <a:pt x="299" y="66"/>
                    <a:pt x="299" y="66"/>
                    <a:pt x="299" y="66"/>
                  </a:cubicBezTo>
                  <a:cubicBezTo>
                    <a:pt x="299" y="64"/>
                    <a:pt x="299" y="64"/>
                    <a:pt x="299" y="64"/>
                  </a:cubicBezTo>
                  <a:cubicBezTo>
                    <a:pt x="296" y="64"/>
                    <a:pt x="296" y="64"/>
                    <a:pt x="296" y="64"/>
                  </a:cubicBezTo>
                  <a:cubicBezTo>
                    <a:pt x="290" y="61"/>
                    <a:pt x="290" y="61"/>
                    <a:pt x="290" y="61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0" y="58"/>
                    <a:pt x="280" y="58"/>
                    <a:pt x="280" y="58"/>
                  </a:cubicBezTo>
                  <a:cubicBezTo>
                    <a:pt x="280" y="57"/>
                    <a:pt x="280" y="57"/>
                    <a:pt x="280" y="57"/>
                  </a:cubicBezTo>
                  <a:cubicBezTo>
                    <a:pt x="284" y="57"/>
                    <a:pt x="284" y="57"/>
                    <a:pt x="284" y="57"/>
                  </a:cubicBezTo>
                  <a:cubicBezTo>
                    <a:pt x="290" y="57"/>
                    <a:pt x="290" y="57"/>
                    <a:pt x="290" y="57"/>
                  </a:cubicBezTo>
                  <a:cubicBezTo>
                    <a:pt x="294" y="59"/>
                    <a:pt x="294" y="59"/>
                    <a:pt x="294" y="59"/>
                  </a:cubicBezTo>
                  <a:cubicBezTo>
                    <a:pt x="295" y="57"/>
                    <a:pt x="295" y="57"/>
                    <a:pt x="295" y="57"/>
                  </a:cubicBezTo>
                  <a:cubicBezTo>
                    <a:pt x="294" y="55"/>
                    <a:pt x="294" y="55"/>
                    <a:pt x="294" y="55"/>
                  </a:cubicBezTo>
                  <a:cubicBezTo>
                    <a:pt x="293" y="54"/>
                    <a:pt x="293" y="54"/>
                    <a:pt x="293" y="54"/>
                  </a:cubicBezTo>
                  <a:cubicBezTo>
                    <a:pt x="292" y="52"/>
                    <a:pt x="292" y="52"/>
                    <a:pt x="292" y="52"/>
                  </a:cubicBezTo>
                  <a:cubicBezTo>
                    <a:pt x="294" y="51"/>
                    <a:pt x="294" y="51"/>
                    <a:pt x="294" y="51"/>
                  </a:cubicBezTo>
                  <a:cubicBezTo>
                    <a:pt x="297" y="51"/>
                    <a:pt x="297" y="51"/>
                    <a:pt x="297" y="51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300" y="58"/>
                    <a:pt x="300" y="58"/>
                    <a:pt x="300" y="58"/>
                  </a:cubicBezTo>
                  <a:cubicBezTo>
                    <a:pt x="303" y="58"/>
                    <a:pt x="303" y="58"/>
                    <a:pt x="303" y="58"/>
                  </a:cubicBezTo>
                  <a:cubicBezTo>
                    <a:pt x="304" y="57"/>
                    <a:pt x="304" y="57"/>
                    <a:pt x="304" y="57"/>
                  </a:cubicBezTo>
                  <a:cubicBezTo>
                    <a:pt x="306" y="58"/>
                    <a:pt x="306" y="58"/>
                    <a:pt x="306" y="58"/>
                  </a:cubicBezTo>
                  <a:cubicBezTo>
                    <a:pt x="310" y="58"/>
                    <a:pt x="310" y="58"/>
                    <a:pt x="310" y="58"/>
                  </a:cubicBezTo>
                  <a:cubicBezTo>
                    <a:pt x="316" y="58"/>
                    <a:pt x="316" y="58"/>
                    <a:pt x="316" y="58"/>
                  </a:cubicBezTo>
                  <a:cubicBezTo>
                    <a:pt x="317" y="57"/>
                    <a:pt x="317" y="57"/>
                    <a:pt x="317" y="57"/>
                  </a:cubicBezTo>
                  <a:cubicBezTo>
                    <a:pt x="317" y="53"/>
                    <a:pt x="317" y="53"/>
                    <a:pt x="317" y="53"/>
                  </a:cubicBezTo>
                  <a:cubicBezTo>
                    <a:pt x="318" y="51"/>
                    <a:pt x="318" y="51"/>
                    <a:pt x="318" y="51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19" y="46"/>
                    <a:pt x="319" y="46"/>
                    <a:pt x="319" y="46"/>
                  </a:cubicBezTo>
                  <a:cubicBezTo>
                    <a:pt x="320" y="42"/>
                    <a:pt x="320" y="42"/>
                    <a:pt x="320" y="42"/>
                  </a:cubicBezTo>
                  <a:cubicBezTo>
                    <a:pt x="322" y="42"/>
                    <a:pt x="322" y="42"/>
                    <a:pt x="322" y="42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25" y="42"/>
                    <a:pt x="325" y="42"/>
                    <a:pt x="325" y="42"/>
                  </a:cubicBezTo>
                  <a:cubicBezTo>
                    <a:pt x="325" y="39"/>
                    <a:pt x="325" y="39"/>
                    <a:pt x="325" y="39"/>
                  </a:cubicBezTo>
                  <a:cubicBezTo>
                    <a:pt x="326" y="37"/>
                    <a:pt x="326" y="37"/>
                    <a:pt x="326" y="37"/>
                  </a:cubicBezTo>
                  <a:lnTo>
                    <a:pt x="324" y="34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6" name="Freeform 38"/>
            <p:cNvSpPr>
              <a:spLocks/>
            </p:cNvSpPr>
            <p:nvPr/>
          </p:nvSpPr>
          <p:spPr bwMode="auto">
            <a:xfrm>
              <a:off x="7274750" y="2775310"/>
              <a:ext cx="286695" cy="308620"/>
            </a:xfrm>
            <a:custGeom>
              <a:avLst/>
              <a:gdLst>
                <a:gd name="T0" fmla="*/ 196 w 201"/>
                <a:gd name="T1" fmla="*/ 127 h 216"/>
                <a:gd name="T2" fmla="*/ 195 w 201"/>
                <a:gd name="T3" fmla="*/ 120 h 216"/>
                <a:gd name="T4" fmla="*/ 191 w 201"/>
                <a:gd name="T5" fmla="*/ 115 h 216"/>
                <a:gd name="T6" fmla="*/ 190 w 201"/>
                <a:gd name="T7" fmla="*/ 110 h 216"/>
                <a:gd name="T8" fmla="*/ 187 w 201"/>
                <a:gd name="T9" fmla="*/ 107 h 216"/>
                <a:gd name="T10" fmla="*/ 183 w 201"/>
                <a:gd name="T11" fmla="*/ 106 h 216"/>
                <a:gd name="T12" fmla="*/ 181 w 201"/>
                <a:gd name="T13" fmla="*/ 101 h 216"/>
                <a:gd name="T14" fmla="*/ 179 w 201"/>
                <a:gd name="T15" fmla="*/ 96 h 216"/>
                <a:gd name="T16" fmla="*/ 174 w 201"/>
                <a:gd name="T17" fmla="*/ 89 h 216"/>
                <a:gd name="T18" fmla="*/ 168 w 201"/>
                <a:gd name="T19" fmla="*/ 84 h 216"/>
                <a:gd name="T20" fmla="*/ 158 w 201"/>
                <a:gd name="T21" fmla="*/ 78 h 216"/>
                <a:gd name="T22" fmla="*/ 147 w 201"/>
                <a:gd name="T23" fmla="*/ 63 h 216"/>
                <a:gd name="T24" fmla="*/ 126 w 201"/>
                <a:gd name="T25" fmla="*/ 46 h 216"/>
                <a:gd name="T26" fmla="*/ 116 w 201"/>
                <a:gd name="T27" fmla="*/ 35 h 216"/>
                <a:gd name="T28" fmla="*/ 111 w 201"/>
                <a:gd name="T29" fmla="*/ 27 h 216"/>
                <a:gd name="T30" fmla="*/ 96 w 201"/>
                <a:gd name="T31" fmla="*/ 19 h 216"/>
                <a:gd name="T32" fmla="*/ 92 w 201"/>
                <a:gd name="T33" fmla="*/ 14 h 216"/>
                <a:gd name="T34" fmla="*/ 97 w 201"/>
                <a:gd name="T35" fmla="*/ 8 h 216"/>
                <a:gd name="T36" fmla="*/ 103 w 201"/>
                <a:gd name="T37" fmla="*/ 4 h 216"/>
                <a:gd name="T38" fmla="*/ 104 w 201"/>
                <a:gd name="T39" fmla="*/ 0 h 216"/>
                <a:gd name="T40" fmla="*/ 48 w 201"/>
                <a:gd name="T41" fmla="*/ 6 h 216"/>
                <a:gd name="T42" fmla="*/ 0 w 201"/>
                <a:gd name="T43" fmla="*/ 10 h 216"/>
                <a:gd name="T44" fmla="*/ 11 w 201"/>
                <a:gd name="T45" fmla="*/ 58 h 216"/>
                <a:gd name="T46" fmla="*/ 25 w 201"/>
                <a:gd name="T47" fmla="*/ 107 h 216"/>
                <a:gd name="T48" fmla="*/ 38 w 201"/>
                <a:gd name="T49" fmla="*/ 128 h 216"/>
                <a:gd name="T50" fmla="*/ 39 w 201"/>
                <a:gd name="T51" fmla="*/ 137 h 216"/>
                <a:gd name="T52" fmla="*/ 40 w 201"/>
                <a:gd name="T53" fmla="*/ 144 h 216"/>
                <a:gd name="T54" fmla="*/ 39 w 201"/>
                <a:gd name="T55" fmla="*/ 150 h 216"/>
                <a:gd name="T56" fmla="*/ 35 w 201"/>
                <a:gd name="T57" fmla="*/ 157 h 216"/>
                <a:gd name="T58" fmla="*/ 37 w 201"/>
                <a:gd name="T59" fmla="*/ 172 h 216"/>
                <a:gd name="T60" fmla="*/ 40 w 201"/>
                <a:gd name="T61" fmla="*/ 182 h 216"/>
                <a:gd name="T62" fmla="*/ 37 w 201"/>
                <a:gd name="T63" fmla="*/ 186 h 216"/>
                <a:gd name="T64" fmla="*/ 41 w 201"/>
                <a:gd name="T65" fmla="*/ 193 h 216"/>
                <a:gd name="T66" fmla="*/ 46 w 201"/>
                <a:gd name="T67" fmla="*/ 201 h 216"/>
                <a:gd name="T68" fmla="*/ 160 w 201"/>
                <a:gd name="T69" fmla="*/ 207 h 216"/>
                <a:gd name="T70" fmla="*/ 169 w 201"/>
                <a:gd name="T71" fmla="*/ 216 h 216"/>
                <a:gd name="T72" fmla="*/ 166 w 201"/>
                <a:gd name="T73" fmla="*/ 193 h 216"/>
                <a:gd name="T74" fmla="*/ 183 w 201"/>
                <a:gd name="T75" fmla="*/ 196 h 216"/>
                <a:gd name="T76" fmla="*/ 185 w 201"/>
                <a:gd name="T77" fmla="*/ 189 h 216"/>
                <a:gd name="T78" fmla="*/ 182 w 201"/>
                <a:gd name="T79" fmla="*/ 187 h 216"/>
                <a:gd name="T80" fmla="*/ 180 w 201"/>
                <a:gd name="T81" fmla="*/ 183 h 216"/>
                <a:gd name="T82" fmla="*/ 185 w 201"/>
                <a:gd name="T83" fmla="*/ 183 h 216"/>
                <a:gd name="T84" fmla="*/ 183 w 201"/>
                <a:gd name="T85" fmla="*/ 177 h 216"/>
                <a:gd name="T86" fmla="*/ 188 w 201"/>
                <a:gd name="T87" fmla="*/ 174 h 216"/>
                <a:gd name="T88" fmla="*/ 187 w 201"/>
                <a:gd name="T89" fmla="*/ 168 h 216"/>
                <a:gd name="T90" fmla="*/ 188 w 201"/>
                <a:gd name="T91" fmla="*/ 165 h 216"/>
                <a:gd name="T92" fmla="*/ 189 w 201"/>
                <a:gd name="T93" fmla="*/ 161 h 216"/>
                <a:gd name="T94" fmla="*/ 189 w 201"/>
                <a:gd name="T95" fmla="*/ 151 h 216"/>
                <a:gd name="T96" fmla="*/ 194 w 201"/>
                <a:gd name="T97" fmla="*/ 152 h 216"/>
                <a:gd name="T98" fmla="*/ 193 w 201"/>
                <a:gd name="T99" fmla="*/ 149 h 216"/>
                <a:gd name="T100" fmla="*/ 189 w 201"/>
                <a:gd name="T101" fmla="*/ 144 h 216"/>
                <a:gd name="T102" fmla="*/ 196 w 201"/>
                <a:gd name="T103" fmla="*/ 144 h 216"/>
                <a:gd name="T104" fmla="*/ 193 w 201"/>
                <a:gd name="T105" fmla="*/ 141 h 216"/>
                <a:gd name="T106" fmla="*/ 192 w 201"/>
                <a:gd name="T107" fmla="*/ 137 h 216"/>
                <a:gd name="T108" fmla="*/ 197 w 201"/>
                <a:gd name="T109" fmla="*/ 138 h 216"/>
                <a:gd name="T110" fmla="*/ 199 w 201"/>
                <a:gd name="T111" fmla="*/ 134 h 216"/>
                <a:gd name="T112" fmla="*/ 201 w 201"/>
                <a:gd name="T113" fmla="*/ 130 h 216"/>
                <a:gd name="T114" fmla="*/ 198 w 201"/>
                <a:gd name="T115" fmla="*/ 12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1" h="216">
                  <a:moveTo>
                    <a:pt x="198" y="128"/>
                  </a:moveTo>
                  <a:cubicBezTo>
                    <a:pt x="196" y="127"/>
                    <a:pt x="196" y="127"/>
                    <a:pt x="196" y="127"/>
                  </a:cubicBezTo>
                  <a:cubicBezTo>
                    <a:pt x="195" y="124"/>
                    <a:pt x="195" y="124"/>
                    <a:pt x="195" y="124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5" y="119"/>
                    <a:pt x="195" y="119"/>
                    <a:pt x="195" y="119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90" y="112"/>
                    <a:pt x="190" y="112"/>
                    <a:pt x="190" y="112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187" y="107"/>
                    <a:pt x="187" y="107"/>
                    <a:pt x="187" y="107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3" y="106"/>
                    <a:pt x="183" y="106"/>
                    <a:pt x="183" y="106"/>
                  </a:cubicBezTo>
                  <a:cubicBezTo>
                    <a:pt x="182" y="104"/>
                    <a:pt x="182" y="104"/>
                    <a:pt x="182" y="104"/>
                  </a:cubicBezTo>
                  <a:cubicBezTo>
                    <a:pt x="181" y="101"/>
                    <a:pt x="181" y="101"/>
                    <a:pt x="181" y="101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79" y="96"/>
                    <a:pt x="179" y="96"/>
                    <a:pt x="179" y="96"/>
                  </a:cubicBezTo>
                  <a:cubicBezTo>
                    <a:pt x="176" y="91"/>
                    <a:pt x="176" y="91"/>
                    <a:pt x="176" y="91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71" y="87"/>
                    <a:pt x="171" y="87"/>
                    <a:pt x="171" y="87"/>
                  </a:cubicBezTo>
                  <a:cubicBezTo>
                    <a:pt x="168" y="84"/>
                    <a:pt x="168" y="84"/>
                    <a:pt x="168" y="84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3" y="71"/>
                    <a:pt x="153" y="71"/>
                    <a:pt x="153" y="71"/>
                  </a:cubicBezTo>
                  <a:cubicBezTo>
                    <a:pt x="147" y="63"/>
                    <a:pt x="147" y="63"/>
                    <a:pt x="147" y="63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1" y="27"/>
                    <a:pt x="111" y="27"/>
                    <a:pt x="111" y="27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4" y="16"/>
                    <a:pt x="94" y="16"/>
                    <a:pt x="94" y="16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9" y="137"/>
                    <a:pt x="39" y="137"/>
                    <a:pt x="39" y="137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44"/>
                    <a:pt x="40" y="144"/>
                    <a:pt x="40" y="144"/>
                  </a:cubicBezTo>
                  <a:cubicBezTo>
                    <a:pt x="35" y="147"/>
                    <a:pt x="35" y="147"/>
                    <a:pt x="35" y="147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8" y="155"/>
                    <a:pt x="38" y="155"/>
                    <a:pt x="38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35" y="163"/>
                    <a:pt x="35" y="163"/>
                    <a:pt x="35" y="163"/>
                  </a:cubicBezTo>
                  <a:cubicBezTo>
                    <a:pt x="37" y="172"/>
                    <a:pt x="37" y="172"/>
                    <a:pt x="37" y="172"/>
                  </a:cubicBezTo>
                  <a:cubicBezTo>
                    <a:pt x="39" y="176"/>
                    <a:pt x="39" y="176"/>
                    <a:pt x="39" y="176"/>
                  </a:cubicBezTo>
                  <a:cubicBezTo>
                    <a:pt x="40" y="182"/>
                    <a:pt x="40" y="182"/>
                    <a:pt x="40" y="182"/>
                  </a:cubicBezTo>
                  <a:cubicBezTo>
                    <a:pt x="38" y="184"/>
                    <a:pt x="38" y="184"/>
                    <a:pt x="38" y="184"/>
                  </a:cubicBezTo>
                  <a:cubicBezTo>
                    <a:pt x="37" y="186"/>
                    <a:pt x="37" y="186"/>
                    <a:pt x="37" y="186"/>
                  </a:cubicBezTo>
                  <a:cubicBezTo>
                    <a:pt x="39" y="190"/>
                    <a:pt x="39" y="190"/>
                    <a:pt x="39" y="190"/>
                  </a:cubicBezTo>
                  <a:cubicBezTo>
                    <a:pt x="41" y="193"/>
                    <a:pt x="41" y="193"/>
                    <a:pt x="41" y="193"/>
                  </a:cubicBezTo>
                  <a:cubicBezTo>
                    <a:pt x="45" y="199"/>
                    <a:pt x="45" y="199"/>
                    <a:pt x="45" y="199"/>
                  </a:cubicBezTo>
                  <a:cubicBezTo>
                    <a:pt x="46" y="201"/>
                    <a:pt x="46" y="201"/>
                    <a:pt x="46" y="201"/>
                  </a:cubicBezTo>
                  <a:cubicBezTo>
                    <a:pt x="52" y="213"/>
                    <a:pt x="52" y="213"/>
                    <a:pt x="52" y="213"/>
                  </a:cubicBezTo>
                  <a:cubicBezTo>
                    <a:pt x="160" y="207"/>
                    <a:pt x="160" y="207"/>
                    <a:pt x="160" y="207"/>
                  </a:cubicBezTo>
                  <a:cubicBezTo>
                    <a:pt x="161" y="216"/>
                    <a:pt x="161" y="216"/>
                    <a:pt x="161" y="216"/>
                  </a:cubicBezTo>
                  <a:cubicBezTo>
                    <a:pt x="169" y="216"/>
                    <a:pt x="169" y="216"/>
                    <a:pt x="169" y="216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73" y="194"/>
                    <a:pt x="173" y="194"/>
                    <a:pt x="173" y="194"/>
                  </a:cubicBezTo>
                  <a:cubicBezTo>
                    <a:pt x="183" y="196"/>
                    <a:pt x="183" y="196"/>
                    <a:pt x="183" y="196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4" y="193"/>
                    <a:pt x="185" y="189"/>
                    <a:pt x="185" y="189"/>
                  </a:cubicBezTo>
                  <a:cubicBezTo>
                    <a:pt x="185" y="188"/>
                    <a:pt x="184" y="188"/>
                    <a:pt x="184" y="188"/>
                  </a:cubicBezTo>
                  <a:cubicBezTo>
                    <a:pt x="184" y="188"/>
                    <a:pt x="183" y="187"/>
                    <a:pt x="182" y="187"/>
                  </a:cubicBezTo>
                  <a:cubicBezTo>
                    <a:pt x="181" y="186"/>
                    <a:pt x="181" y="185"/>
                    <a:pt x="180" y="184"/>
                  </a:cubicBezTo>
                  <a:cubicBezTo>
                    <a:pt x="179" y="183"/>
                    <a:pt x="180" y="183"/>
                    <a:pt x="180" y="183"/>
                  </a:cubicBezTo>
                  <a:cubicBezTo>
                    <a:pt x="182" y="183"/>
                    <a:pt x="182" y="183"/>
                    <a:pt x="182" y="183"/>
                  </a:cubicBezTo>
                  <a:cubicBezTo>
                    <a:pt x="185" y="183"/>
                    <a:pt x="185" y="183"/>
                    <a:pt x="185" y="183"/>
                  </a:cubicBezTo>
                  <a:cubicBezTo>
                    <a:pt x="185" y="183"/>
                    <a:pt x="184" y="181"/>
                    <a:pt x="184" y="179"/>
                  </a:cubicBezTo>
                  <a:cubicBezTo>
                    <a:pt x="183" y="177"/>
                    <a:pt x="183" y="177"/>
                    <a:pt x="183" y="177"/>
                  </a:cubicBezTo>
                  <a:cubicBezTo>
                    <a:pt x="186" y="176"/>
                    <a:pt x="186" y="176"/>
                    <a:pt x="186" y="176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90" y="169"/>
                    <a:pt x="190" y="169"/>
                    <a:pt x="190" y="169"/>
                  </a:cubicBezTo>
                  <a:cubicBezTo>
                    <a:pt x="187" y="168"/>
                    <a:pt x="187" y="168"/>
                    <a:pt x="187" y="168"/>
                  </a:cubicBezTo>
                  <a:cubicBezTo>
                    <a:pt x="187" y="168"/>
                    <a:pt x="187" y="167"/>
                    <a:pt x="187" y="167"/>
                  </a:cubicBezTo>
                  <a:cubicBezTo>
                    <a:pt x="187" y="166"/>
                    <a:pt x="188" y="166"/>
                    <a:pt x="188" y="165"/>
                  </a:cubicBezTo>
                  <a:cubicBezTo>
                    <a:pt x="188" y="165"/>
                    <a:pt x="189" y="164"/>
                    <a:pt x="189" y="164"/>
                  </a:cubicBezTo>
                  <a:cubicBezTo>
                    <a:pt x="189" y="161"/>
                    <a:pt x="189" y="161"/>
                    <a:pt x="189" y="161"/>
                  </a:cubicBezTo>
                  <a:cubicBezTo>
                    <a:pt x="189" y="154"/>
                    <a:pt x="189" y="154"/>
                    <a:pt x="189" y="154"/>
                  </a:cubicBezTo>
                  <a:cubicBezTo>
                    <a:pt x="189" y="151"/>
                    <a:pt x="189" y="151"/>
                    <a:pt x="189" y="151"/>
                  </a:cubicBezTo>
                  <a:cubicBezTo>
                    <a:pt x="189" y="151"/>
                    <a:pt x="191" y="151"/>
                    <a:pt x="192" y="151"/>
                  </a:cubicBezTo>
                  <a:cubicBezTo>
                    <a:pt x="192" y="151"/>
                    <a:pt x="194" y="152"/>
                    <a:pt x="194" y="152"/>
                  </a:cubicBezTo>
                  <a:cubicBezTo>
                    <a:pt x="194" y="152"/>
                    <a:pt x="195" y="151"/>
                    <a:pt x="195" y="150"/>
                  </a:cubicBezTo>
                  <a:cubicBezTo>
                    <a:pt x="195" y="150"/>
                    <a:pt x="195" y="150"/>
                    <a:pt x="193" y="149"/>
                  </a:cubicBezTo>
                  <a:cubicBezTo>
                    <a:pt x="192" y="148"/>
                    <a:pt x="190" y="147"/>
                    <a:pt x="190" y="147"/>
                  </a:cubicBezTo>
                  <a:cubicBezTo>
                    <a:pt x="190" y="146"/>
                    <a:pt x="189" y="144"/>
                    <a:pt x="189" y="144"/>
                  </a:cubicBezTo>
                  <a:cubicBezTo>
                    <a:pt x="191" y="144"/>
                    <a:pt x="191" y="144"/>
                    <a:pt x="191" y="144"/>
                  </a:cubicBezTo>
                  <a:cubicBezTo>
                    <a:pt x="196" y="144"/>
                    <a:pt x="196" y="144"/>
                    <a:pt x="196" y="144"/>
                  </a:cubicBezTo>
                  <a:cubicBezTo>
                    <a:pt x="197" y="141"/>
                    <a:pt x="197" y="141"/>
                    <a:pt x="197" y="141"/>
                  </a:cubicBezTo>
                  <a:cubicBezTo>
                    <a:pt x="197" y="141"/>
                    <a:pt x="193" y="141"/>
                    <a:pt x="193" y="141"/>
                  </a:cubicBezTo>
                  <a:cubicBezTo>
                    <a:pt x="193" y="141"/>
                    <a:pt x="191" y="139"/>
                    <a:pt x="191" y="139"/>
                  </a:cubicBezTo>
                  <a:cubicBezTo>
                    <a:pt x="192" y="137"/>
                    <a:pt x="192" y="137"/>
                    <a:pt x="192" y="137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7" y="138"/>
                    <a:pt x="197" y="138"/>
                    <a:pt x="197" y="138"/>
                  </a:cubicBezTo>
                  <a:cubicBezTo>
                    <a:pt x="199" y="137"/>
                    <a:pt x="199" y="137"/>
                    <a:pt x="199" y="137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1" y="130"/>
                    <a:pt x="201" y="130"/>
                    <a:pt x="201" y="130"/>
                  </a:cubicBezTo>
                  <a:cubicBezTo>
                    <a:pt x="200" y="129"/>
                    <a:pt x="200" y="129"/>
                    <a:pt x="200" y="129"/>
                  </a:cubicBezTo>
                  <a:lnTo>
                    <a:pt x="198" y="128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accent6"/>
                </a:solidFill>
                <a:latin typeface="Avenir Medium"/>
              </a:endParaRPr>
            </a:p>
          </p:txBody>
        </p:sp>
        <p:sp>
          <p:nvSpPr>
            <p:cNvPr id="47" name="Freeform 39"/>
            <p:cNvSpPr>
              <a:spLocks/>
            </p:cNvSpPr>
            <p:nvPr/>
          </p:nvSpPr>
          <p:spPr bwMode="auto">
            <a:xfrm>
              <a:off x="7369191" y="2432962"/>
              <a:ext cx="418238" cy="234416"/>
            </a:xfrm>
            <a:custGeom>
              <a:avLst/>
              <a:gdLst>
                <a:gd name="T0" fmla="*/ 169 w 248"/>
                <a:gd name="T1" fmla="*/ 118 h 139"/>
                <a:gd name="T2" fmla="*/ 248 w 248"/>
                <a:gd name="T3" fmla="*/ 101 h 139"/>
                <a:gd name="T4" fmla="*/ 246 w 248"/>
                <a:gd name="T5" fmla="*/ 93 h 139"/>
                <a:gd name="T6" fmla="*/ 239 w 248"/>
                <a:gd name="T7" fmla="*/ 86 h 139"/>
                <a:gd name="T8" fmla="*/ 232 w 248"/>
                <a:gd name="T9" fmla="*/ 83 h 139"/>
                <a:gd name="T10" fmla="*/ 228 w 248"/>
                <a:gd name="T11" fmla="*/ 78 h 139"/>
                <a:gd name="T12" fmla="*/ 224 w 248"/>
                <a:gd name="T13" fmla="*/ 72 h 139"/>
                <a:gd name="T14" fmla="*/ 226 w 248"/>
                <a:gd name="T15" fmla="*/ 68 h 139"/>
                <a:gd name="T16" fmla="*/ 228 w 248"/>
                <a:gd name="T17" fmla="*/ 67 h 139"/>
                <a:gd name="T18" fmla="*/ 224 w 248"/>
                <a:gd name="T19" fmla="*/ 63 h 139"/>
                <a:gd name="T20" fmla="*/ 211 w 248"/>
                <a:gd name="T21" fmla="*/ 54 h 139"/>
                <a:gd name="T22" fmla="*/ 215 w 248"/>
                <a:gd name="T23" fmla="*/ 55 h 139"/>
                <a:gd name="T24" fmla="*/ 221 w 248"/>
                <a:gd name="T25" fmla="*/ 59 h 139"/>
                <a:gd name="T26" fmla="*/ 225 w 248"/>
                <a:gd name="T27" fmla="*/ 56 h 139"/>
                <a:gd name="T28" fmla="*/ 225 w 248"/>
                <a:gd name="T29" fmla="*/ 48 h 139"/>
                <a:gd name="T30" fmla="*/ 215 w 248"/>
                <a:gd name="T31" fmla="*/ 45 h 139"/>
                <a:gd name="T32" fmla="*/ 211 w 248"/>
                <a:gd name="T33" fmla="*/ 41 h 139"/>
                <a:gd name="T34" fmla="*/ 207 w 248"/>
                <a:gd name="T35" fmla="*/ 43 h 139"/>
                <a:gd name="T36" fmla="*/ 199 w 248"/>
                <a:gd name="T37" fmla="*/ 37 h 139"/>
                <a:gd name="T38" fmla="*/ 193 w 248"/>
                <a:gd name="T39" fmla="*/ 37 h 139"/>
                <a:gd name="T40" fmla="*/ 188 w 248"/>
                <a:gd name="T41" fmla="*/ 36 h 139"/>
                <a:gd name="T42" fmla="*/ 191 w 248"/>
                <a:gd name="T43" fmla="*/ 24 h 139"/>
                <a:gd name="T44" fmla="*/ 192 w 248"/>
                <a:gd name="T45" fmla="*/ 17 h 139"/>
                <a:gd name="T46" fmla="*/ 183 w 248"/>
                <a:gd name="T47" fmla="*/ 10 h 139"/>
                <a:gd name="T48" fmla="*/ 171 w 248"/>
                <a:gd name="T49" fmla="*/ 5 h 139"/>
                <a:gd name="T50" fmla="*/ 166 w 248"/>
                <a:gd name="T51" fmla="*/ 8 h 139"/>
                <a:gd name="T52" fmla="*/ 151 w 248"/>
                <a:gd name="T53" fmla="*/ 0 h 139"/>
                <a:gd name="T54" fmla="*/ 149 w 248"/>
                <a:gd name="T55" fmla="*/ 15 h 139"/>
                <a:gd name="T56" fmla="*/ 144 w 248"/>
                <a:gd name="T57" fmla="*/ 21 h 139"/>
                <a:gd name="T58" fmla="*/ 138 w 248"/>
                <a:gd name="T59" fmla="*/ 28 h 139"/>
                <a:gd name="T60" fmla="*/ 134 w 248"/>
                <a:gd name="T61" fmla="*/ 28 h 139"/>
                <a:gd name="T62" fmla="*/ 131 w 248"/>
                <a:gd name="T63" fmla="*/ 36 h 139"/>
                <a:gd name="T64" fmla="*/ 127 w 248"/>
                <a:gd name="T65" fmla="*/ 46 h 139"/>
                <a:gd name="T66" fmla="*/ 120 w 248"/>
                <a:gd name="T67" fmla="*/ 43 h 139"/>
                <a:gd name="T68" fmla="*/ 115 w 248"/>
                <a:gd name="T69" fmla="*/ 48 h 139"/>
                <a:gd name="T70" fmla="*/ 109 w 248"/>
                <a:gd name="T71" fmla="*/ 68 h 139"/>
                <a:gd name="T72" fmla="*/ 103 w 248"/>
                <a:gd name="T73" fmla="*/ 78 h 139"/>
                <a:gd name="T74" fmla="*/ 100 w 248"/>
                <a:gd name="T75" fmla="*/ 89 h 139"/>
                <a:gd name="T76" fmla="*/ 82 w 248"/>
                <a:gd name="T77" fmla="*/ 101 h 139"/>
                <a:gd name="T78" fmla="*/ 69 w 248"/>
                <a:gd name="T79" fmla="*/ 100 h 139"/>
                <a:gd name="T80" fmla="*/ 61 w 248"/>
                <a:gd name="T81" fmla="*/ 107 h 139"/>
                <a:gd name="T82" fmla="*/ 50 w 248"/>
                <a:gd name="T83" fmla="*/ 100 h 139"/>
                <a:gd name="T84" fmla="*/ 46 w 248"/>
                <a:gd name="T85" fmla="*/ 97 h 139"/>
                <a:gd name="T86" fmla="*/ 43 w 248"/>
                <a:gd name="T87" fmla="*/ 103 h 139"/>
                <a:gd name="T88" fmla="*/ 28 w 248"/>
                <a:gd name="T89" fmla="*/ 113 h 139"/>
                <a:gd name="T90" fmla="*/ 22 w 248"/>
                <a:gd name="T91" fmla="*/ 127 h 139"/>
                <a:gd name="T92" fmla="*/ 15 w 248"/>
                <a:gd name="T93" fmla="*/ 130 h 139"/>
                <a:gd name="T94" fmla="*/ 6 w 248"/>
                <a:gd name="T95" fmla="*/ 136 h 139"/>
                <a:gd name="T96" fmla="*/ 64 w 248"/>
                <a:gd name="T97" fmla="*/ 13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8" h="139">
                  <a:moveTo>
                    <a:pt x="116" y="127"/>
                  </a:moveTo>
                  <a:lnTo>
                    <a:pt x="169" y="118"/>
                  </a:lnTo>
                  <a:lnTo>
                    <a:pt x="243" y="103"/>
                  </a:lnTo>
                  <a:lnTo>
                    <a:pt x="248" y="101"/>
                  </a:lnTo>
                  <a:lnTo>
                    <a:pt x="248" y="98"/>
                  </a:lnTo>
                  <a:lnTo>
                    <a:pt x="246" y="93"/>
                  </a:lnTo>
                  <a:lnTo>
                    <a:pt x="243" y="89"/>
                  </a:lnTo>
                  <a:lnTo>
                    <a:pt x="239" y="86"/>
                  </a:lnTo>
                  <a:lnTo>
                    <a:pt x="237" y="86"/>
                  </a:lnTo>
                  <a:lnTo>
                    <a:pt x="232" y="83"/>
                  </a:lnTo>
                  <a:lnTo>
                    <a:pt x="231" y="80"/>
                  </a:lnTo>
                  <a:lnTo>
                    <a:pt x="228" y="78"/>
                  </a:lnTo>
                  <a:lnTo>
                    <a:pt x="226" y="74"/>
                  </a:lnTo>
                  <a:lnTo>
                    <a:pt x="224" y="72"/>
                  </a:lnTo>
                  <a:lnTo>
                    <a:pt x="224" y="70"/>
                  </a:lnTo>
                  <a:lnTo>
                    <a:pt x="226" y="68"/>
                  </a:lnTo>
                  <a:lnTo>
                    <a:pt x="230" y="70"/>
                  </a:lnTo>
                  <a:lnTo>
                    <a:pt x="228" y="67"/>
                  </a:lnTo>
                  <a:lnTo>
                    <a:pt x="226" y="64"/>
                  </a:lnTo>
                  <a:lnTo>
                    <a:pt x="224" y="63"/>
                  </a:lnTo>
                  <a:lnTo>
                    <a:pt x="215" y="60"/>
                  </a:lnTo>
                  <a:lnTo>
                    <a:pt x="211" y="54"/>
                  </a:lnTo>
                  <a:lnTo>
                    <a:pt x="211" y="53"/>
                  </a:lnTo>
                  <a:lnTo>
                    <a:pt x="215" y="55"/>
                  </a:lnTo>
                  <a:lnTo>
                    <a:pt x="220" y="56"/>
                  </a:lnTo>
                  <a:lnTo>
                    <a:pt x="221" y="59"/>
                  </a:lnTo>
                  <a:lnTo>
                    <a:pt x="227" y="60"/>
                  </a:lnTo>
                  <a:lnTo>
                    <a:pt x="225" y="56"/>
                  </a:lnTo>
                  <a:lnTo>
                    <a:pt x="225" y="51"/>
                  </a:lnTo>
                  <a:lnTo>
                    <a:pt x="225" y="48"/>
                  </a:lnTo>
                  <a:lnTo>
                    <a:pt x="221" y="49"/>
                  </a:lnTo>
                  <a:lnTo>
                    <a:pt x="215" y="45"/>
                  </a:lnTo>
                  <a:lnTo>
                    <a:pt x="212" y="41"/>
                  </a:lnTo>
                  <a:lnTo>
                    <a:pt x="211" y="41"/>
                  </a:lnTo>
                  <a:lnTo>
                    <a:pt x="210" y="43"/>
                  </a:lnTo>
                  <a:lnTo>
                    <a:pt x="207" y="43"/>
                  </a:lnTo>
                  <a:lnTo>
                    <a:pt x="203" y="39"/>
                  </a:lnTo>
                  <a:lnTo>
                    <a:pt x="199" y="37"/>
                  </a:lnTo>
                  <a:lnTo>
                    <a:pt x="195" y="36"/>
                  </a:lnTo>
                  <a:lnTo>
                    <a:pt x="193" y="37"/>
                  </a:lnTo>
                  <a:lnTo>
                    <a:pt x="190" y="38"/>
                  </a:lnTo>
                  <a:lnTo>
                    <a:pt x="188" y="36"/>
                  </a:lnTo>
                  <a:lnTo>
                    <a:pt x="188" y="25"/>
                  </a:lnTo>
                  <a:lnTo>
                    <a:pt x="191" y="24"/>
                  </a:lnTo>
                  <a:lnTo>
                    <a:pt x="193" y="21"/>
                  </a:lnTo>
                  <a:lnTo>
                    <a:pt x="192" y="17"/>
                  </a:lnTo>
                  <a:lnTo>
                    <a:pt x="188" y="14"/>
                  </a:lnTo>
                  <a:lnTo>
                    <a:pt x="183" y="10"/>
                  </a:lnTo>
                  <a:lnTo>
                    <a:pt x="173" y="4"/>
                  </a:lnTo>
                  <a:lnTo>
                    <a:pt x="171" y="5"/>
                  </a:lnTo>
                  <a:lnTo>
                    <a:pt x="168" y="8"/>
                  </a:lnTo>
                  <a:lnTo>
                    <a:pt x="166" y="8"/>
                  </a:lnTo>
                  <a:lnTo>
                    <a:pt x="160" y="5"/>
                  </a:lnTo>
                  <a:lnTo>
                    <a:pt x="151" y="0"/>
                  </a:lnTo>
                  <a:lnTo>
                    <a:pt x="151" y="8"/>
                  </a:lnTo>
                  <a:lnTo>
                    <a:pt x="149" y="15"/>
                  </a:lnTo>
                  <a:lnTo>
                    <a:pt x="147" y="18"/>
                  </a:lnTo>
                  <a:lnTo>
                    <a:pt x="144" y="21"/>
                  </a:lnTo>
                  <a:lnTo>
                    <a:pt x="139" y="30"/>
                  </a:lnTo>
                  <a:lnTo>
                    <a:pt x="138" y="28"/>
                  </a:lnTo>
                  <a:lnTo>
                    <a:pt x="135" y="28"/>
                  </a:lnTo>
                  <a:lnTo>
                    <a:pt x="134" y="28"/>
                  </a:lnTo>
                  <a:lnTo>
                    <a:pt x="133" y="32"/>
                  </a:lnTo>
                  <a:lnTo>
                    <a:pt x="131" y="36"/>
                  </a:lnTo>
                  <a:lnTo>
                    <a:pt x="128" y="44"/>
                  </a:lnTo>
                  <a:lnTo>
                    <a:pt x="127" y="46"/>
                  </a:lnTo>
                  <a:lnTo>
                    <a:pt x="125" y="45"/>
                  </a:lnTo>
                  <a:lnTo>
                    <a:pt x="120" y="43"/>
                  </a:lnTo>
                  <a:lnTo>
                    <a:pt x="116" y="41"/>
                  </a:lnTo>
                  <a:lnTo>
                    <a:pt x="115" y="48"/>
                  </a:lnTo>
                  <a:lnTo>
                    <a:pt x="112" y="60"/>
                  </a:lnTo>
                  <a:lnTo>
                    <a:pt x="109" y="68"/>
                  </a:lnTo>
                  <a:lnTo>
                    <a:pt x="104" y="73"/>
                  </a:lnTo>
                  <a:lnTo>
                    <a:pt x="103" y="78"/>
                  </a:lnTo>
                  <a:lnTo>
                    <a:pt x="104" y="86"/>
                  </a:lnTo>
                  <a:lnTo>
                    <a:pt x="100" y="89"/>
                  </a:lnTo>
                  <a:lnTo>
                    <a:pt x="89" y="95"/>
                  </a:lnTo>
                  <a:lnTo>
                    <a:pt x="82" y="101"/>
                  </a:lnTo>
                  <a:lnTo>
                    <a:pt x="73" y="103"/>
                  </a:lnTo>
                  <a:lnTo>
                    <a:pt x="69" y="100"/>
                  </a:lnTo>
                  <a:lnTo>
                    <a:pt x="63" y="107"/>
                  </a:lnTo>
                  <a:lnTo>
                    <a:pt x="61" y="107"/>
                  </a:lnTo>
                  <a:lnTo>
                    <a:pt x="56" y="105"/>
                  </a:lnTo>
                  <a:lnTo>
                    <a:pt x="50" y="100"/>
                  </a:lnTo>
                  <a:lnTo>
                    <a:pt x="49" y="97"/>
                  </a:lnTo>
                  <a:lnTo>
                    <a:pt x="46" y="97"/>
                  </a:lnTo>
                  <a:lnTo>
                    <a:pt x="45" y="99"/>
                  </a:lnTo>
                  <a:lnTo>
                    <a:pt x="43" y="103"/>
                  </a:lnTo>
                  <a:lnTo>
                    <a:pt x="39" y="109"/>
                  </a:lnTo>
                  <a:lnTo>
                    <a:pt x="28" y="113"/>
                  </a:lnTo>
                  <a:lnTo>
                    <a:pt x="25" y="118"/>
                  </a:lnTo>
                  <a:lnTo>
                    <a:pt x="22" y="127"/>
                  </a:lnTo>
                  <a:lnTo>
                    <a:pt x="18" y="128"/>
                  </a:lnTo>
                  <a:lnTo>
                    <a:pt x="15" y="130"/>
                  </a:lnTo>
                  <a:lnTo>
                    <a:pt x="10" y="133"/>
                  </a:lnTo>
                  <a:lnTo>
                    <a:pt x="6" y="136"/>
                  </a:lnTo>
                  <a:lnTo>
                    <a:pt x="0" y="139"/>
                  </a:lnTo>
                  <a:lnTo>
                    <a:pt x="64" y="133"/>
                  </a:lnTo>
                  <a:lnTo>
                    <a:pt x="116" y="127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8" name="Freeform 40"/>
            <p:cNvSpPr>
              <a:spLocks/>
            </p:cNvSpPr>
            <p:nvPr/>
          </p:nvSpPr>
          <p:spPr bwMode="auto">
            <a:xfrm>
              <a:off x="7406292" y="2750013"/>
              <a:ext cx="269831" cy="209119"/>
            </a:xfrm>
            <a:custGeom>
              <a:avLst/>
              <a:gdLst>
                <a:gd name="T0" fmla="*/ 94 w 189"/>
                <a:gd name="T1" fmla="*/ 4 h 147"/>
                <a:gd name="T2" fmla="*/ 79 w 189"/>
                <a:gd name="T3" fmla="*/ 0 h 147"/>
                <a:gd name="T4" fmla="*/ 67 w 189"/>
                <a:gd name="T5" fmla="*/ 4 h 147"/>
                <a:gd name="T6" fmla="*/ 58 w 189"/>
                <a:gd name="T7" fmla="*/ 6 h 147"/>
                <a:gd name="T8" fmla="*/ 39 w 189"/>
                <a:gd name="T9" fmla="*/ 4 h 147"/>
                <a:gd name="T10" fmla="*/ 26 w 189"/>
                <a:gd name="T11" fmla="*/ 7 h 147"/>
                <a:gd name="T12" fmla="*/ 12 w 189"/>
                <a:gd name="T13" fmla="*/ 18 h 147"/>
                <a:gd name="T14" fmla="*/ 11 w 189"/>
                <a:gd name="T15" fmla="*/ 22 h 147"/>
                <a:gd name="T16" fmla="*/ 5 w 189"/>
                <a:gd name="T17" fmla="*/ 26 h 147"/>
                <a:gd name="T18" fmla="*/ 0 w 189"/>
                <a:gd name="T19" fmla="*/ 32 h 147"/>
                <a:gd name="T20" fmla="*/ 4 w 189"/>
                <a:gd name="T21" fmla="*/ 37 h 147"/>
                <a:gd name="T22" fmla="*/ 19 w 189"/>
                <a:gd name="T23" fmla="*/ 45 h 147"/>
                <a:gd name="T24" fmla="*/ 24 w 189"/>
                <a:gd name="T25" fmla="*/ 53 h 147"/>
                <a:gd name="T26" fmla="*/ 34 w 189"/>
                <a:gd name="T27" fmla="*/ 64 h 147"/>
                <a:gd name="T28" fmla="*/ 55 w 189"/>
                <a:gd name="T29" fmla="*/ 81 h 147"/>
                <a:gd name="T30" fmla="*/ 66 w 189"/>
                <a:gd name="T31" fmla="*/ 96 h 147"/>
                <a:gd name="T32" fmla="*/ 76 w 189"/>
                <a:gd name="T33" fmla="*/ 102 h 147"/>
                <a:gd name="T34" fmla="*/ 82 w 189"/>
                <a:gd name="T35" fmla="*/ 107 h 147"/>
                <a:gd name="T36" fmla="*/ 87 w 189"/>
                <a:gd name="T37" fmla="*/ 114 h 147"/>
                <a:gd name="T38" fmla="*/ 89 w 189"/>
                <a:gd name="T39" fmla="*/ 119 h 147"/>
                <a:gd name="T40" fmla="*/ 91 w 189"/>
                <a:gd name="T41" fmla="*/ 124 h 147"/>
                <a:gd name="T42" fmla="*/ 95 w 189"/>
                <a:gd name="T43" fmla="*/ 125 h 147"/>
                <a:gd name="T44" fmla="*/ 98 w 189"/>
                <a:gd name="T45" fmla="*/ 128 h 147"/>
                <a:gd name="T46" fmla="*/ 99 w 189"/>
                <a:gd name="T47" fmla="*/ 133 h 147"/>
                <a:gd name="T48" fmla="*/ 103 w 189"/>
                <a:gd name="T49" fmla="*/ 138 h 147"/>
                <a:gd name="T50" fmla="*/ 104 w 189"/>
                <a:gd name="T51" fmla="*/ 145 h 147"/>
                <a:gd name="T52" fmla="*/ 108 w 189"/>
                <a:gd name="T53" fmla="*/ 147 h 147"/>
                <a:gd name="T54" fmla="*/ 110 w 189"/>
                <a:gd name="T55" fmla="*/ 140 h 147"/>
                <a:gd name="T56" fmla="*/ 116 w 189"/>
                <a:gd name="T57" fmla="*/ 140 h 147"/>
                <a:gd name="T58" fmla="*/ 117 w 189"/>
                <a:gd name="T59" fmla="*/ 137 h 147"/>
                <a:gd name="T60" fmla="*/ 112 w 189"/>
                <a:gd name="T61" fmla="*/ 136 h 147"/>
                <a:gd name="T62" fmla="*/ 110 w 189"/>
                <a:gd name="T63" fmla="*/ 133 h 147"/>
                <a:gd name="T64" fmla="*/ 115 w 189"/>
                <a:gd name="T65" fmla="*/ 132 h 147"/>
                <a:gd name="T66" fmla="*/ 119 w 189"/>
                <a:gd name="T67" fmla="*/ 135 h 147"/>
                <a:gd name="T68" fmla="*/ 124 w 189"/>
                <a:gd name="T69" fmla="*/ 128 h 147"/>
                <a:gd name="T70" fmla="*/ 123 w 189"/>
                <a:gd name="T71" fmla="*/ 123 h 147"/>
                <a:gd name="T72" fmla="*/ 130 w 189"/>
                <a:gd name="T73" fmla="*/ 123 h 147"/>
                <a:gd name="T74" fmla="*/ 135 w 189"/>
                <a:gd name="T75" fmla="*/ 119 h 147"/>
                <a:gd name="T76" fmla="*/ 131 w 189"/>
                <a:gd name="T77" fmla="*/ 118 h 147"/>
                <a:gd name="T78" fmla="*/ 129 w 189"/>
                <a:gd name="T79" fmla="*/ 115 h 147"/>
                <a:gd name="T80" fmla="*/ 133 w 189"/>
                <a:gd name="T81" fmla="*/ 115 h 147"/>
                <a:gd name="T82" fmla="*/ 138 w 189"/>
                <a:gd name="T83" fmla="*/ 117 h 147"/>
                <a:gd name="T84" fmla="*/ 145 w 189"/>
                <a:gd name="T85" fmla="*/ 110 h 147"/>
                <a:gd name="T86" fmla="*/ 141 w 189"/>
                <a:gd name="T87" fmla="*/ 105 h 147"/>
                <a:gd name="T88" fmla="*/ 143 w 189"/>
                <a:gd name="T89" fmla="*/ 103 h 147"/>
                <a:gd name="T90" fmla="*/ 149 w 189"/>
                <a:gd name="T91" fmla="*/ 103 h 147"/>
                <a:gd name="T92" fmla="*/ 155 w 189"/>
                <a:gd name="T93" fmla="*/ 93 h 147"/>
                <a:gd name="T94" fmla="*/ 164 w 189"/>
                <a:gd name="T95" fmla="*/ 89 h 147"/>
                <a:gd name="T96" fmla="*/ 169 w 189"/>
                <a:gd name="T97" fmla="*/ 81 h 147"/>
                <a:gd name="T98" fmla="*/ 165 w 189"/>
                <a:gd name="T99" fmla="*/ 75 h 147"/>
                <a:gd name="T100" fmla="*/ 169 w 189"/>
                <a:gd name="T101" fmla="*/ 75 h 147"/>
                <a:gd name="T102" fmla="*/ 170 w 189"/>
                <a:gd name="T103" fmla="*/ 70 h 147"/>
                <a:gd name="T104" fmla="*/ 175 w 189"/>
                <a:gd name="T105" fmla="*/ 60 h 147"/>
                <a:gd name="T106" fmla="*/ 178 w 189"/>
                <a:gd name="T107" fmla="*/ 54 h 147"/>
                <a:gd name="T108" fmla="*/ 187 w 189"/>
                <a:gd name="T109" fmla="*/ 46 h 147"/>
                <a:gd name="T110" fmla="*/ 138 w 189"/>
                <a:gd name="T111" fmla="*/ 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9" h="147">
                  <a:moveTo>
                    <a:pt x="98" y="14"/>
                  </a:moveTo>
                  <a:cubicBezTo>
                    <a:pt x="94" y="4"/>
                    <a:pt x="94" y="4"/>
                    <a:pt x="94" y="4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6" y="102"/>
                    <a:pt x="76" y="102"/>
                    <a:pt x="76" y="102"/>
                  </a:cubicBezTo>
                  <a:cubicBezTo>
                    <a:pt x="79" y="105"/>
                    <a:pt x="79" y="105"/>
                    <a:pt x="79" y="105"/>
                  </a:cubicBezTo>
                  <a:cubicBezTo>
                    <a:pt x="82" y="107"/>
                    <a:pt x="82" y="107"/>
                    <a:pt x="82" y="107"/>
                  </a:cubicBezTo>
                  <a:cubicBezTo>
                    <a:pt x="84" y="109"/>
                    <a:pt x="84" y="109"/>
                    <a:pt x="84" y="109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89" y="117"/>
                    <a:pt x="89" y="117"/>
                    <a:pt x="89" y="117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91" y="124"/>
                    <a:pt x="91" y="124"/>
                    <a:pt x="91" y="124"/>
                  </a:cubicBezTo>
                  <a:cubicBezTo>
                    <a:pt x="92" y="124"/>
                    <a:pt x="92" y="124"/>
                    <a:pt x="92" y="124"/>
                  </a:cubicBezTo>
                  <a:cubicBezTo>
                    <a:pt x="95" y="125"/>
                    <a:pt x="95" y="125"/>
                    <a:pt x="95" y="125"/>
                  </a:cubicBezTo>
                  <a:cubicBezTo>
                    <a:pt x="98" y="127"/>
                    <a:pt x="98" y="127"/>
                    <a:pt x="98" y="127"/>
                  </a:cubicBezTo>
                  <a:cubicBezTo>
                    <a:pt x="98" y="128"/>
                    <a:pt x="98" y="128"/>
                    <a:pt x="98" y="128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9" y="133"/>
                    <a:pt x="99" y="133"/>
                    <a:pt x="99" y="133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5"/>
                    <a:pt x="104" y="145"/>
                    <a:pt x="104" y="145"/>
                  </a:cubicBezTo>
                  <a:cubicBezTo>
                    <a:pt x="106" y="146"/>
                    <a:pt x="106" y="146"/>
                    <a:pt x="106" y="146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1"/>
                    <a:pt x="108" y="141"/>
                    <a:pt x="108" y="141"/>
                  </a:cubicBezTo>
                  <a:cubicBezTo>
                    <a:pt x="110" y="140"/>
                    <a:pt x="110" y="140"/>
                    <a:pt x="110" y="140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6" y="140"/>
                    <a:pt x="116" y="140"/>
                    <a:pt x="116" y="140"/>
                  </a:cubicBezTo>
                  <a:cubicBezTo>
                    <a:pt x="116" y="140"/>
                    <a:pt x="118" y="139"/>
                    <a:pt x="118" y="139"/>
                  </a:cubicBezTo>
                  <a:cubicBezTo>
                    <a:pt x="118" y="138"/>
                    <a:pt x="117" y="137"/>
                    <a:pt x="117" y="137"/>
                  </a:cubicBezTo>
                  <a:cubicBezTo>
                    <a:pt x="116" y="137"/>
                    <a:pt x="116" y="137"/>
                    <a:pt x="116" y="137"/>
                  </a:cubicBezTo>
                  <a:cubicBezTo>
                    <a:pt x="116" y="137"/>
                    <a:pt x="112" y="136"/>
                    <a:pt x="112" y="136"/>
                  </a:cubicBezTo>
                  <a:cubicBezTo>
                    <a:pt x="111" y="136"/>
                    <a:pt x="110" y="134"/>
                    <a:pt x="110" y="134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9" y="135"/>
                    <a:pt x="119" y="135"/>
                    <a:pt x="119" y="135"/>
                  </a:cubicBezTo>
                  <a:cubicBezTo>
                    <a:pt x="123" y="134"/>
                    <a:pt x="123" y="134"/>
                    <a:pt x="123" y="134"/>
                  </a:cubicBezTo>
                  <a:cubicBezTo>
                    <a:pt x="124" y="128"/>
                    <a:pt x="124" y="128"/>
                    <a:pt x="124" y="128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26" y="123"/>
                    <a:pt x="126" y="123"/>
                    <a:pt x="126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35" y="120"/>
                    <a:pt x="135" y="120"/>
                    <a:pt x="135" y="120"/>
                  </a:cubicBezTo>
                  <a:cubicBezTo>
                    <a:pt x="135" y="119"/>
                    <a:pt x="135" y="119"/>
                    <a:pt x="135" y="119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29" y="117"/>
                    <a:pt x="129" y="117"/>
                    <a:pt x="129" y="117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33" y="115"/>
                    <a:pt x="133" y="115"/>
                    <a:pt x="133" y="115"/>
                  </a:cubicBezTo>
                  <a:cubicBezTo>
                    <a:pt x="136" y="117"/>
                    <a:pt x="136" y="117"/>
                    <a:pt x="136" y="117"/>
                  </a:cubicBezTo>
                  <a:cubicBezTo>
                    <a:pt x="138" y="117"/>
                    <a:pt x="138" y="117"/>
                    <a:pt x="138" y="117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4"/>
                    <a:pt x="141" y="104"/>
                    <a:pt x="141" y="104"/>
                  </a:cubicBezTo>
                  <a:cubicBezTo>
                    <a:pt x="143" y="103"/>
                    <a:pt x="143" y="103"/>
                    <a:pt x="143" y="103"/>
                  </a:cubicBezTo>
                  <a:cubicBezTo>
                    <a:pt x="147" y="105"/>
                    <a:pt x="147" y="105"/>
                    <a:pt x="147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51" y="100"/>
                    <a:pt x="151" y="100"/>
                    <a:pt x="151" y="100"/>
                  </a:cubicBezTo>
                  <a:cubicBezTo>
                    <a:pt x="155" y="93"/>
                    <a:pt x="155" y="93"/>
                    <a:pt x="155" y="93"/>
                  </a:cubicBezTo>
                  <a:cubicBezTo>
                    <a:pt x="159" y="90"/>
                    <a:pt x="159" y="90"/>
                    <a:pt x="159" y="90"/>
                  </a:cubicBezTo>
                  <a:cubicBezTo>
                    <a:pt x="164" y="89"/>
                    <a:pt x="164" y="89"/>
                    <a:pt x="164" y="89"/>
                  </a:cubicBezTo>
                  <a:cubicBezTo>
                    <a:pt x="167" y="84"/>
                    <a:pt x="167" y="84"/>
                    <a:pt x="167" y="84"/>
                  </a:cubicBezTo>
                  <a:cubicBezTo>
                    <a:pt x="169" y="81"/>
                    <a:pt x="169" y="81"/>
                    <a:pt x="169" y="81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7" y="75"/>
                    <a:pt x="167" y="75"/>
                    <a:pt x="167" y="75"/>
                  </a:cubicBezTo>
                  <a:cubicBezTo>
                    <a:pt x="169" y="75"/>
                    <a:pt x="169" y="75"/>
                    <a:pt x="169" y="75"/>
                  </a:cubicBezTo>
                  <a:cubicBezTo>
                    <a:pt x="169" y="72"/>
                    <a:pt x="169" y="72"/>
                    <a:pt x="169" y="72"/>
                  </a:cubicBezTo>
                  <a:cubicBezTo>
                    <a:pt x="170" y="70"/>
                    <a:pt x="170" y="70"/>
                    <a:pt x="170" y="70"/>
                  </a:cubicBezTo>
                  <a:cubicBezTo>
                    <a:pt x="173" y="66"/>
                    <a:pt x="173" y="66"/>
                    <a:pt x="173" y="66"/>
                  </a:cubicBezTo>
                  <a:cubicBezTo>
                    <a:pt x="175" y="60"/>
                    <a:pt x="175" y="60"/>
                    <a:pt x="175" y="60"/>
                  </a:cubicBezTo>
                  <a:cubicBezTo>
                    <a:pt x="177" y="56"/>
                    <a:pt x="177" y="56"/>
                    <a:pt x="177" y="56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80" y="52"/>
                    <a:pt x="180" y="52"/>
                    <a:pt x="180" y="52"/>
                  </a:cubicBezTo>
                  <a:cubicBezTo>
                    <a:pt x="187" y="46"/>
                    <a:pt x="187" y="46"/>
                    <a:pt x="187" y="46"/>
                  </a:cubicBezTo>
                  <a:cubicBezTo>
                    <a:pt x="189" y="44"/>
                    <a:pt x="189" y="44"/>
                    <a:pt x="189" y="44"/>
                  </a:cubicBezTo>
                  <a:cubicBezTo>
                    <a:pt x="138" y="6"/>
                    <a:pt x="138" y="6"/>
                    <a:pt x="138" y="6"/>
                  </a:cubicBezTo>
                  <a:lnTo>
                    <a:pt x="98" y="14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9" name="Freeform 41"/>
            <p:cNvSpPr>
              <a:spLocks/>
            </p:cNvSpPr>
            <p:nvPr/>
          </p:nvSpPr>
          <p:spPr bwMode="auto">
            <a:xfrm>
              <a:off x="7128029" y="2788801"/>
              <a:ext cx="212492" cy="340661"/>
            </a:xfrm>
            <a:custGeom>
              <a:avLst/>
              <a:gdLst>
                <a:gd name="T0" fmla="*/ 39 w 126"/>
                <a:gd name="T1" fmla="*/ 183 h 202"/>
                <a:gd name="T2" fmla="*/ 33 w 126"/>
                <a:gd name="T3" fmla="*/ 176 h 202"/>
                <a:gd name="T4" fmla="*/ 36 w 126"/>
                <a:gd name="T5" fmla="*/ 172 h 202"/>
                <a:gd name="T6" fmla="*/ 51 w 126"/>
                <a:gd name="T7" fmla="*/ 168 h 202"/>
                <a:gd name="T8" fmla="*/ 125 w 126"/>
                <a:gd name="T9" fmla="*/ 161 h 202"/>
                <a:gd name="T10" fmla="*/ 120 w 126"/>
                <a:gd name="T11" fmla="*/ 153 h 202"/>
                <a:gd name="T12" fmla="*/ 119 w 126"/>
                <a:gd name="T13" fmla="*/ 148 h 202"/>
                <a:gd name="T14" fmla="*/ 120 w 126"/>
                <a:gd name="T15" fmla="*/ 141 h 202"/>
                <a:gd name="T16" fmla="*/ 116 w 126"/>
                <a:gd name="T17" fmla="*/ 130 h 202"/>
                <a:gd name="T18" fmla="*/ 119 w 126"/>
                <a:gd name="T19" fmla="*/ 123 h 202"/>
                <a:gd name="T20" fmla="*/ 116 w 126"/>
                <a:gd name="T21" fmla="*/ 117 h 202"/>
                <a:gd name="T22" fmla="*/ 122 w 126"/>
                <a:gd name="T23" fmla="*/ 110 h 202"/>
                <a:gd name="T24" fmla="*/ 119 w 126"/>
                <a:gd name="T25" fmla="*/ 104 h 202"/>
                <a:gd name="T26" fmla="*/ 115 w 126"/>
                <a:gd name="T27" fmla="*/ 95 h 202"/>
                <a:gd name="T28" fmla="*/ 106 w 126"/>
                <a:gd name="T29" fmla="*/ 75 h 202"/>
                <a:gd name="T30" fmla="*/ 89 w 126"/>
                <a:gd name="T31" fmla="*/ 12 h 202"/>
                <a:gd name="T32" fmla="*/ 94 w 126"/>
                <a:gd name="T33" fmla="*/ 0 h 202"/>
                <a:gd name="T34" fmla="*/ 1 w 126"/>
                <a:gd name="T35" fmla="*/ 7 h 202"/>
                <a:gd name="T36" fmla="*/ 0 w 126"/>
                <a:gd name="T37" fmla="*/ 106 h 202"/>
                <a:gd name="T38" fmla="*/ 6 w 126"/>
                <a:gd name="T39" fmla="*/ 196 h 202"/>
                <a:gd name="T40" fmla="*/ 11 w 126"/>
                <a:gd name="T41" fmla="*/ 197 h 202"/>
                <a:gd name="T42" fmla="*/ 16 w 126"/>
                <a:gd name="T43" fmla="*/ 195 h 202"/>
                <a:gd name="T44" fmla="*/ 16 w 126"/>
                <a:gd name="T45" fmla="*/ 187 h 202"/>
                <a:gd name="T46" fmla="*/ 21 w 126"/>
                <a:gd name="T47" fmla="*/ 184 h 202"/>
                <a:gd name="T48" fmla="*/ 22 w 126"/>
                <a:gd name="T49" fmla="*/ 189 h 202"/>
                <a:gd name="T50" fmla="*/ 22 w 126"/>
                <a:gd name="T51" fmla="*/ 193 h 202"/>
                <a:gd name="T52" fmla="*/ 25 w 126"/>
                <a:gd name="T53" fmla="*/ 195 h 202"/>
                <a:gd name="T54" fmla="*/ 27 w 126"/>
                <a:gd name="T55" fmla="*/ 199 h 202"/>
                <a:gd name="T56" fmla="*/ 25 w 126"/>
                <a:gd name="T57" fmla="*/ 202 h 202"/>
                <a:gd name="T58" fmla="*/ 31 w 126"/>
                <a:gd name="T59" fmla="*/ 200 h 202"/>
                <a:gd name="T60" fmla="*/ 38 w 126"/>
                <a:gd name="T61" fmla="*/ 197 h 202"/>
                <a:gd name="T62" fmla="*/ 43 w 126"/>
                <a:gd name="T63" fmla="*/ 196 h 202"/>
                <a:gd name="T64" fmla="*/ 44 w 126"/>
                <a:gd name="T65" fmla="*/ 195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" h="202">
                  <a:moveTo>
                    <a:pt x="40" y="188"/>
                  </a:moveTo>
                  <a:lnTo>
                    <a:pt x="39" y="183"/>
                  </a:lnTo>
                  <a:lnTo>
                    <a:pt x="35" y="178"/>
                  </a:lnTo>
                  <a:lnTo>
                    <a:pt x="33" y="176"/>
                  </a:lnTo>
                  <a:lnTo>
                    <a:pt x="33" y="173"/>
                  </a:lnTo>
                  <a:lnTo>
                    <a:pt x="36" y="172"/>
                  </a:lnTo>
                  <a:lnTo>
                    <a:pt x="43" y="170"/>
                  </a:lnTo>
                  <a:lnTo>
                    <a:pt x="51" y="168"/>
                  </a:lnTo>
                  <a:lnTo>
                    <a:pt x="126" y="162"/>
                  </a:lnTo>
                  <a:lnTo>
                    <a:pt x="125" y="161"/>
                  </a:lnTo>
                  <a:lnTo>
                    <a:pt x="121" y="156"/>
                  </a:lnTo>
                  <a:lnTo>
                    <a:pt x="120" y="153"/>
                  </a:lnTo>
                  <a:lnTo>
                    <a:pt x="118" y="150"/>
                  </a:lnTo>
                  <a:lnTo>
                    <a:pt x="119" y="148"/>
                  </a:lnTo>
                  <a:lnTo>
                    <a:pt x="121" y="146"/>
                  </a:lnTo>
                  <a:lnTo>
                    <a:pt x="120" y="141"/>
                  </a:lnTo>
                  <a:lnTo>
                    <a:pt x="118" y="138"/>
                  </a:lnTo>
                  <a:lnTo>
                    <a:pt x="116" y="130"/>
                  </a:lnTo>
                  <a:lnTo>
                    <a:pt x="116" y="125"/>
                  </a:lnTo>
                  <a:lnTo>
                    <a:pt x="119" y="123"/>
                  </a:lnTo>
                  <a:lnTo>
                    <a:pt x="120" y="119"/>
                  </a:lnTo>
                  <a:lnTo>
                    <a:pt x="116" y="117"/>
                  </a:lnTo>
                  <a:lnTo>
                    <a:pt x="121" y="114"/>
                  </a:lnTo>
                  <a:lnTo>
                    <a:pt x="122" y="110"/>
                  </a:lnTo>
                  <a:lnTo>
                    <a:pt x="120" y="108"/>
                  </a:lnTo>
                  <a:lnTo>
                    <a:pt x="119" y="104"/>
                  </a:lnTo>
                  <a:lnTo>
                    <a:pt x="119" y="100"/>
                  </a:lnTo>
                  <a:lnTo>
                    <a:pt x="115" y="95"/>
                  </a:lnTo>
                  <a:lnTo>
                    <a:pt x="108" y="83"/>
                  </a:lnTo>
                  <a:lnTo>
                    <a:pt x="106" y="75"/>
                  </a:lnTo>
                  <a:lnTo>
                    <a:pt x="96" y="41"/>
                  </a:lnTo>
                  <a:lnTo>
                    <a:pt x="89" y="12"/>
                  </a:lnTo>
                  <a:lnTo>
                    <a:pt x="87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1" y="7"/>
                  </a:lnTo>
                  <a:lnTo>
                    <a:pt x="1" y="14"/>
                  </a:lnTo>
                  <a:lnTo>
                    <a:pt x="0" y="106"/>
                  </a:lnTo>
                  <a:lnTo>
                    <a:pt x="0" y="155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11" y="197"/>
                  </a:lnTo>
                  <a:lnTo>
                    <a:pt x="15" y="198"/>
                  </a:lnTo>
                  <a:lnTo>
                    <a:pt x="16" y="195"/>
                  </a:lnTo>
                  <a:lnTo>
                    <a:pt x="15" y="191"/>
                  </a:lnTo>
                  <a:lnTo>
                    <a:pt x="16" y="187"/>
                  </a:lnTo>
                  <a:lnTo>
                    <a:pt x="18" y="185"/>
                  </a:lnTo>
                  <a:lnTo>
                    <a:pt x="21" y="184"/>
                  </a:lnTo>
                  <a:lnTo>
                    <a:pt x="22" y="186"/>
                  </a:lnTo>
                  <a:lnTo>
                    <a:pt x="22" y="189"/>
                  </a:lnTo>
                  <a:lnTo>
                    <a:pt x="21" y="191"/>
                  </a:lnTo>
                  <a:lnTo>
                    <a:pt x="22" y="193"/>
                  </a:lnTo>
                  <a:lnTo>
                    <a:pt x="23" y="194"/>
                  </a:lnTo>
                  <a:lnTo>
                    <a:pt x="25" y="195"/>
                  </a:lnTo>
                  <a:lnTo>
                    <a:pt x="27" y="197"/>
                  </a:lnTo>
                  <a:lnTo>
                    <a:pt x="27" y="199"/>
                  </a:lnTo>
                  <a:lnTo>
                    <a:pt x="27" y="200"/>
                  </a:lnTo>
                  <a:lnTo>
                    <a:pt x="25" y="202"/>
                  </a:lnTo>
                  <a:lnTo>
                    <a:pt x="27" y="201"/>
                  </a:lnTo>
                  <a:lnTo>
                    <a:pt x="31" y="200"/>
                  </a:lnTo>
                  <a:lnTo>
                    <a:pt x="36" y="199"/>
                  </a:lnTo>
                  <a:lnTo>
                    <a:pt x="38" y="197"/>
                  </a:lnTo>
                  <a:lnTo>
                    <a:pt x="39" y="197"/>
                  </a:lnTo>
                  <a:lnTo>
                    <a:pt x="43" y="196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0" y="188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52" name="Freeform 42"/>
            <p:cNvSpPr>
              <a:spLocks/>
            </p:cNvSpPr>
            <p:nvPr/>
          </p:nvSpPr>
          <p:spPr bwMode="auto">
            <a:xfrm>
              <a:off x="6942520" y="2800606"/>
              <a:ext cx="195628" cy="342348"/>
            </a:xfrm>
            <a:custGeom>
              <a:avLst/>
              <a:gdLst>
                <a:gd name="T0" fmla="*/ 110 w 116"/>
                <a:gd name="T1" fmla="*/ 99 h 203"/>
                <a:gd name="T2" fmla="*/ 111 w 116"/>
                <a:gd name="T3" fmla="*/ 0 h 203"/>
                <a:gd name="T4" fmla="*/ 41 w 116"/>
                <a:gd name="T5" fmla="*/ 5 h 203"/>
                <a:gd name="T6" fmla="*/ 38 w 116"/>
                <a:gd name="T7" fmla="*/ 10 h 203"/>
                <a:gd name="T8" fmla="*/ 35 w 116"/>
                <a:gd name="T9" fmla="*/ 15 h 203"/>
                <a:gd name="T10" fmla="*/ 32 w 116"/>
                <a:gd name="T11" fmla="*/ 17 h 203"/>
                <a:gd name="T12" fmla="*/ 30 w 116"/>
                <a:gd name="T13" fmla="*/ 26 h 203"/>
                <a:gd name="T14" fmla="*/ 22 w 116"/>
                <a:gd name="T15" fmla="*/ 37 h 203"/>
                <a:gd name="T16" fmla="*/ 18 w 116"/>
                <a:gd name="T17" fmla="*/ 44 h 203"/>
                <a:gd name="T18" fmla="*/ 18 w 116"/>
                <a:gd name="T19" fmla="*/ 48 h 203"/>
                <a:gd name="T20" fmla="*/ 17 w 116"/>
                <a:gd name="T21" fmla="*/ 54 h 203"/>
                <a:gd name="T22" fmla="*/ 13 w 116"/>
                <a:gd name="T23" fmla="*/ 58 h 203"/>
                <a:gd name="T24" fmla="*/ 12 w 116"/>
                <a:gd name="T25" fmla="*/ 62 h 203"/>
                <a:gd name="T26" fmla="*/ 11 w 116"/>
                <a:gd name="T27" fmla="*/ 66 h 203"/>
                <a:gd name="T28" fmla="*/ 14 w 116"/>
                <a:gd name="T29" fmla="*/ 70 h 203"/>
                <a:gd name="T30" fmla="*/ 14 w 116"/>
                <a:gd name="T31" fmla="*/ 78 h 203"/>
                <a:gd name="T32" fmla="*/ 14 w 116"/>
                <a:gd name="T33" fmla="*/ 84 h 203"/>
                <a:gd name="T34" fmla="*/ 11 w 116"/>
                <a:gd name="T35" fmla="*/ 89 h 203"/>
                <a:gd name="T36" fmla="*/ 15 w 116"/>
                <a:gd name="T37" fmla="*/ 94 h 203"/>
                <a:gd name="T38" fmla="*/ 11 w 116"/>
                <a:gd name="T39" fmla="*/ 98 h 203"/>
                <a:gd name="T40" fmla="*/ 15 w 116"/>
                <a:gd name="T41" fmla="*/ 102 h 203"/>
                <a:gd name="T42" fmla="*/ 16 w 116"/>
                <a:gd name="T43" fmla="*/ 108 h 203"/>
                <a:gd name="T44" fmla="*/ 19 w 116"/>
                <a:gd name="T45" fmla="*/ 112 h 203"/>
                <a:gd name="T46" fmla="*/ 19 w 116"/>
                <a:gd name="T47" fmla="*/ 123 h 203"/>
                <a:gd name="T48" fmla="*/ 15 w 116"/>
                <a:gd name="T49" fmla="*/ 126 h 203"/>
                <a:gd name="T50" fmla="*/ 14 w 116"/>
                <a:gd name="T51" fmla="*/ 132 h 203"/>
                <a:gd name="T52" fmla="*/ 8 w 116"/>
                <a:gd name="T53" fmla="*/ 140 h 203"/>
                <a:gd name="T54" fmla="*/ 6 w 116"/>
                <a:gd name="T55" fmla="*/ 149 h 203"/>
                <a:gd name="T56" fmla="*/ 4 w 116"/>
                <a:gd name="T57" fmla="*/ 153 h 203"/>
                <a:gd name="T58" fmla="*/ 4 w 116"/>
                <a:gd name="T59" fmla="*/ 160 h 203"/>
                <a:gd name="T60" fmla="*/ 0 w 116"/>
                <a:gd name="T61" fmla="*/ 164 h 203"/>
                <a:gd name="T62" fmla="*/ 1 w 116"/>
                <a:gd name="T63" fmla="*/ 171 h 203"/>
                <a:gd name="T64" fmla="*/ 65 w 116"/>
                <a:gd name="T65" fmla="*/ 184 h 203"/>
                <a:gd name="T66" fmla="*/ 70 w 116"/>
                <a:gd name="T67" fmla="*/ 192 h 203"/>
                <a:gd name="T68" fmla="*/ 71 w 116"/>
                <a:gd name="T69" fmla="*/ 203 h 203"/>
                <a:gd name="T70" fmla="*/ 72 w 116"/>
                <a:gd name="T71" fmla="*/ 203 h 203"/>
                <a:gd name="T72" fmla="*/ 79 w 116"/>
                <a:gd name="T73" fmla="*/ 199 h 203"/>
                <a:gd name="T74" fmla="*/ 82 w 116"/>
                <a:gd name="T75" fmla="*/ 193 h 203"/>
                <a:gd name="T76" fmla="*/ 89 w 116"/>
                <a:gd name="T77" fmla="*/ 193 h 203"/>
                <a:gd name="T78" fmla="*/ 98 w 116"/>
                <a:gd name="T79" fmla="*/ 190 h 203"/>
                <a:gd name="T80" fmla="*/ 104 w 116"/>
                <a:gd name="T81" fmla="*/ 190 h 203"/>
                <a:gd name="T82" fmla="*/ 109 w 116"/>
                <a:gd name="T83" fmla="*/ 190 h 203"/>
                <a:gd name="T84" fmla="*/ 115 w 116"/>
                <a:gd name="T85" fmla="*/ 190 h 203"/>
                <a:gd name="T86" fmla="*/ 116 w 116"/>
                <a:gd name="T87" fmla="*/ 189 h 203"/>
                <a:gd name="T88" fmla="*/ 110 w 116"/>
                <a:gd name="T89" fmla="*/ 14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6" h="203">
                  <a:moveTo>
                    <a:pt x="110" y="148"/>
                  </a:moveTo>
                  <a:lnTo>
                    <a:pt x="110" y="99"/>
                  </a:lnTo>
                  <a:lnTo>
                    <a:pt x="111" y="7"/>
                  </a:lnTo>
                  <a:lnTo>
                    <a:pt x="111" y="0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2" y="8"/>
                  </a:lnTo>
                  <a:lnTo>
                    <a:pt x="38" y="10"/>
                  </a:lnTo>
                  <a:lnTo>
                    <a:pt x="36" y="12"/>
                  </a:lnTo>
                  <a:lnTo>
                    <a:pt x="35" y="15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0" y="22"/>
                  </a:lnTo>
                  <a:lnTo>
                    <a:pt x="30" y="26"/>
                  </a:lnTo>
                  <a:lnTo>
                    <a:pt x="27" y="31"/>
                  </a:lnTo>
                  <a:lnTo>
                    <a:pt x="22" y="37"/>
                  </a:lnTo>
                  <a:lnTo>
                    <a:pt x="19" y="40"/>
                  </a:lnTo>
                  <a:lnTo>
                    <a:pt x="18" y="44"/>
                  </a:lnTo>
                  <a:lnTo>
                    <a:pt x="20" y="45"/>
                  </a:lnTo>
                  <a:lnTo>
                    <a:pt x="18" y="48"/>
                  </a:lnTo>
                  <a:lnTo>
                    <a:pt x="16" y="52"/>
                  </a:lnTo>
                  <a:lnTo>
                    <a:pt x="17" y="54"/>
                  </a:lnTo>
                  <a:lnTo>
                    <a:pt x="16" y="54"/>
                  </a:lnTo>
                  <a:lnTo>
                    <a:pt x="13" y="58"/>
                  </a:lnTo>
                  <a:lnTo>
                    <a:pt x="11" y="61"/>
                  </a:lnTo>
                  <a:lnTo>
                    <a:pt x="12" y="62"/>
                  </a:lnTo>
                  <a:lnTo>
                    <a:pt x="11" y="64"/>
                  </a:lnTo>
                  <a:lnTo>
                    <a:pt x="11" y="66"/>
                  </a:lnTo>
                  <a:lnTo>
                    <a:pt x="12" y="67"/>
                  </a:lnTo>
                  <a:lnTo>
                    <a:pt x="14" y="70"/>
                  </a:lnTo>
                  <a:lnTo>
                    <a:pt x="14" y="72"/>
                  </a:lnTo>
                  <a:lnTo>
                    <a:pt x="14" y="78"/>
                  </a:lnTo>
                  <a:lnTo>
                    <a:pt x="15" y="81"/>
                  </a:lnTo>
                  <a:lnTo>
                    <a:pt x="14" y="84"/>
                  </a:lnTo>
                  <a:lnTo>
                    <a:pt x="12" y="89"/>
                  </a:lnTo>
                  <a:lnTo>
                    <a:pt x="11" y="89"/>
                  </a:lnTo>
                  <a:lnTo>
                    <a:pt x="14" y="91"/>
                  </a:lnTo>
                  <a:lnTo>
                    <a:pt x="15" y="94"/>
                  </a:lnTo>
                  <a:lnTo>
                    <a:pt x="15" y="96"/>
                  </a:lnTo>
                  <a:lnTo>
                    <a:pt x="11" y="98"/>
                  </a:lnTo>
                  <a:lnTo>
                    <a:pt x="14" y="100"/>
                  </a:lnTo>
                  <a:lnTo>
                    <a:pt x="15" y="102"/>
                  </a:lnTo>
                  <a:lnTo>
                    <a:pt x="15" y="103"/>
                  </a:lnTo>
                  <a:lnTo>
                    <a:pt x="16" y="108"/>
                  </a:lnTo>
                  <a:lnTo>
                    <a:pt x="16" y="110"/>
                  </a:lnTo>
                  <a:lnTo>
                    <a:pt x="19" y="112"/>
                  </a:lnTo>
                  <a:lnTo>
                    <a:pt x="20" y="115"/>
                  </a:lnTo>
                  <a:lnTo>
                    <a:pt x="19" y="123"/>
                  </a:lnTo>
                  <a:lnTo>
                    <a:pt x="16" y="126"/>
                  </a:lnTo>
                  <a:lnTo>
                    <a:pt x="15" y="126"/>
                  </a:lnTo>
                  <a:lnTo>
                    <a:pt x="15" y="130"/>
                  </a:lnTo>
                  <a:lnTo>
                    <a:pt x="14" y="132"/>
                  </a:lnTo>
                  <a:lnTo>
                    <a:pt x="10" y="138"/>
                  </a:lnTo>
                  <a:lnTo>
                    <a:pt x="8" y="140"/>
                  </a:lnTo>
                  <a:lnTo>
                    <a:pt x="7" y="147"/>
                  </a:lnTo>
                  <a:lnTo>
                    <a:pt x="6" y="149"/>
                  </a:lnTo>
                  <a:lnTo>
                    <a:pt x="5" y="150"/>
                  </a:lnTo>
                  <a:lnTo>
                    <a:pt x="4" y="153"/>
                  </a:lnTo>
                  <a:lnTo>
                    <a:pt x="4" y="155"/>
                  </a:lnTo>
                  <a:lnTo>
                    <a:pt x="4" y="160"/>
                  </a:lnTo>
                  <a:lnTo>
                    <a:pt x="1" y="162"/>
                  </a:lnTo>
                  <a:lnTo>
                    <a:pt x="0" y="164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66" y="168"/>
                  </a:lnTo>
                  <a:lnTo>
                    <a:pt x="65" y="184"/>
                  </a:lnTo>
                  <a:lnTo>
                    <a:pt x="67" y="188"/>
                  </a:lnTo>
                  <a:lnTo>
                    <a:pt x="70" y="192"/>
                  </a:lnTo>
                  <a:lnTo>
                    <a:pt x="71" y="199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7" y="200"/>
                  </a:lnTo>
                  <a:lnTo>
                    <a:pt x="79" y="199"/>
                  </a:lnTo>
                  <a:lnTo>
                    <a:pt x="82" y="197"/>
                  </a:lnTo>
                  <a:lnTo>
                    <a:pt x="82" y="193"/>
                  </a:lnTo>
                  <a:lnTo>
                    <a:pt x="86" y="193"/>
                  </a:lnTo>
                  <a:lnTo>
                    <a:pt x="89" y="193"/>
                  </a:lnTo>
                  <a:lnTo>
                    <a:pt x="93" y="192"/>
                  </a:lnTo>
                  <a:lnTo>
                    <a:pt x="98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7" y="190"/>
                  </a:lnTo>
                  <a:lnTo>
                    <a:pt x="109" y="190"/>
                  </a:lnTo>
                  <a:lnTo>
                    <a:pt x="113" y="192"/>
                  </a:lnTo>
                  <a:lnTo>
                    <a:pt x="115" y="190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0" y="148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53" name="Freeform 43"/>
            <p:cNvSpPr>
              <a:spLocks/>
            </p:cNvSpPr>
            <p:nvPr/>
          </p:nvSpPr>
          <p:spPr bwMode="auto">
            <a:xfrm>
              <a:off x="7559760" y="2387428"/>
              <a:ext cx="242848" cy="177077"/>
            </a:xfrm>
            <a:custGeom>
              <a:avLst/>
              <a:gdLst>
                <a:gd name="T0" fmla="*/ 0 w 170"/>
                <a:gd name="T1" fmla="*/ 24 h 123"/>
                <a:gd name="T2" fmla="*/ 3 w 170"/>
                <a:gd name="T3" fmla="*/ 44 h 123"/>
                <a:gd name="T4" fmla="*/ 16 w 170"/>
                <a:gd name="T5" fmla="*/ 33 h 123"/>
                <a:gd name="T6" fmla="*/ 28 w 170"/>
                <a:gd name="T7" fmla="*/ 25 h 123"/>
                <a:gd name="T8" fmla="*/ 31 w 170"/>
                <a:gd name="T9" fmla="*/ 27 h 123"/>
                <a:gd name="T10" fmla="*/ 41 w 170"/>
                <a:gd name="T11" fmla="*/ 22 h 123"/>
                <a:gd name="T12" fmla="*/ 63 w 170"/>
                <a:gd name="T13" fmla="*/ 22 h 123"/>
                <a:gd name="T14" fmla="*/ 70 w 170"/>
                <a:gd name="T15" fmla="*/ 36 h 123"/>
                <a:gd name="T16" fmla="*/ 83 w 170"/>
                <a:gd name="T17" fmla="*/ 43 h 123"/>
                <a:gd name="T18" fmla="*/ 93 w 170"/>
                <a:gd name="T19" fmla="*/ 51 h 123"/>
                <a:gd name="T20" fmla="*/ 92 w 170"/>
                <a:gd name="T21" fmla="*/ 60 h 123"/>
                <a:gd name="T22" fmla="*/ 89 w 170"/>
                <a:gd name="T23" fmla="*/ 74 h 123"/>
                <a:gd name="T24" fmla="*/ 94 w 170"/>
                <a:gd name="T25" fmla="*/ 75 h 123"/>
                <a:gd name="T26" fmla="*/ 101 w 170"/>
                <a:gd name="T27" fmla="*/ 75 h 123"/>
                <a:gd name="T28" fmla="*/ 106 w 170"/>
                <a:gd name="T29" fmla="*/ 75 h 123"/>
                <a:gd name="T30" fmla="*/ 122 w 170"/>
                <a:gd name="T31" fmla="*/ 78 h 123"/>
                <a:gd name="T32" fmla="*/ 129 w 170"/>
                <a:gd name="T33" fmla="*/ 79 h 123"/>
                <a:gd name="T34" fmla="*/ 124 w 170"/>
                <a:gd name="T35" fmla="*/ 72 h 123"/>
                <a:gd name="T36" fmla="*/ 124 w 170"/>
                <a:gd name="T37" fmla="*/ 68 h 123"/>
                <a:gd name="T38" fmla="*/ 116 w 170"/>
                <a:gd name="T39" fmla="*/ 57 h 123"/>
                <a:gd name="T40" fmla="*/ 115 w 170"/>
                <a:gd name="T41" fmla="*/ 43 h 123"/>
                <a:gd name="T42" fmla="*/ 113 w 170"/>
                <a:gd name="T43" fmla="*/ 31 h 123"/>
                <a:gd name="T44" fmla="*/ 115 w 170"/>
                <a:gd name="T45" fmla="*/ 28 h 123"/>
                <a:gd name="T46" fmla="*/ 124 w 170"/>
                <a:gd name="T47" fmla="*/ 18 h 123"/>
                <a:gd name="T48" fmla="*/ 129 w 170"/>
                <a:gd name="T49" fmla="*/ 13 h 123"/>
                <a:gd name="T50" fmla="*/ 125 w 170"/>
                <a:gd name="T51" fmla="*/ 21 h 123"/>
                <a:gd name="T52" fmla="*/ 123 w 170"/>
                <a:gd name="T53" fmla="*/ 31 h 123"/>
                <a:gd name="T54" fmla="*/ 122 w 170"/>
                <a:gd name="T55" fmla="*/ 36 h 123"/>
                <a:gd name="T56" fmla="*/ 126 w 170"/>
                <a:gd name="T57" fmla="*/ 41 h 123"/>
                <a:gd name="T58" fmla="*/ 131 w 170"/>
                <a:gd name="T59" fmla="*/ 46 h 123"/>
                <a:gd name="T60" fmla="*/ 134 w 170"/>
                <a:gd name="T61" fmla="*/ 51 h 123"/>
                <a:gd name="T62" fmla="*/ 130 w 170"/>
                <a:gd name="T63" fmla="*/ 57 h 123"/>
                <a:gd name="T64" fmla="*/ 128 w 170"/>
                <a:gd name="T65" fmla="*/ 61 h 123"/>
                <a:gd name="T66" fmla="*/ 129 w 170"/>
                <a:gd name="T67" fmla="*/ 65 h 123"/>
                <a:gd name="T68" fmla="*/ 139 w 170"/>
                <a:gd name="T69" fmla="*/ 66 h 123"/>
                <a:gd name="T70" fmla="*/ 146 w 170"/>
                <a:gd name="T71" fmla="*/ 75 h 123"/>
                <a:gd name="T72" fmla="*/ 147 w 170"/>
                <a:gd name="T73" fmla="*/ 81 h 123"/>
                <a:gd name="T74" fmla="*/ 152 w 170"/>
                <a:gd name="T75" fmla="*/ 89 h 123"/>
                <a:gd name="T76" fmla="*/ 148 w 170"/>
                <a:gd name="T77" fmla="*/ 104 h 123"/>
                <a:gd name="T78" fmla="*/ 149 w 170"/>
                <a:gd name="T79" fmla="*/ 120 h 123"/>
                <a:gd name="T80" fmla="*/ 153 w 170"/>
                <a:gd name="T81" fmla="*/ 116 h 123"/>
                <a:gd name="T82" fmla="*/ 157 w 170"/>
                <a:gd name="T83" fmla="*/ 102 h 123"/>
                <a:gd name="T84" fmla="*/ 157 w 170"/>
                <a:gd name="T85" fmla="*/ 97 h 123"/>
                <a:gd name="T86" fmla="*/ 163 w 170"/>
                <a:gd name="T87" fmla="*/ 91 h 123"/>
                <a:gd name="T88" fmla="*/ 163 w 170"/>
                <a:gd name="T89" fmla="*/ 79 h 123"/>
                <a:gd name="T90" fmla="*/ 167 w 170"/>
                <a:gd name="T91" fmla="*/ 71 h 123"/>
                <a:gd name="T92" fmla="*/ 167 w 170"/>
                <a:gd name="T93" fmla="*/ 77 h 123"/>
                <a:gd name="T94" fmla="*/ 168 w 170"/>
                <a:gd name="T95" fmla="*/ 82 h 123"/>
                <a:gd name="T96" fmla="*/ 170 w 170"/>
                <a:gd name="T97" fmla="*/ 68 h 123"/>
                <a:gd name="T98" fmla="*/ 169 w 170"/>
                <a:gd name="T99" fmla="*/ 54 h 123"/>
                <a:gd name="T100" fmla="*/ 134 w 170"/>
                <a:gd name="T10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0" h="123">
                  <a:moveTo>
                    <a:pt x="134" y="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74"/>
                    <a:pt x="89" y="74"/>
                    <a:pt x="89" y="74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9" y="79"/>
                    <a:pt x="129" y="79"/>
                    <a:pt x="129" y="79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4" y="72"/>
                    <a:pt x="124" y="72"/>
                    <a:pt x="124" y="72"/>
                  </a:cubicBezTo>
                  <a:cubicBezTo>
                    <a:pt x="124" y="69"/>
                    <a:pt x="124" y="69"/>
                    <a:pt x="124" y="69"/>
                  </a:cubicBezTo>
                  <a:cubicBezTo>
                    <a:pt x="124" y="68"/>
                    <a:pt x="124" y="68"/>
                    <a:pt x="124" y="68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5" y="28"/>
                    <a:pt x="115" y="28"/>
                    <a:pt x="115" y="28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24" y="18"/>
                    <a:pt x="124" y="18"/>
                    <a:pt x="124" y="18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9" y="13"/>
                    <a:pt x="129" y="13"/>
                    <a:pt x="129" y="13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3" y="27"/>
                    <a:pt x="123" y="27"/>
                    <a:pt x="123" y="27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7" y="31"/>
                    <a:pt x="127" y="31"/>
                    <a:pt x="127" y="31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31" y="46"/>
                    <a:pt x="131" y="46"/>
                    <a:pt x="131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4" y="51"/>
                    <a:pt x="134" y="51"/>
                    <a:pt x="134" y="51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0" y="57"/>
                    <a:pt x="130" y="57"/>
                    <a:pt x="130" y="57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9" y="66"/>
                    <a:pt x="139" y="66"/>
                    <a:pt x="139" y="66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8" y="80"/>
                    <a:pt x="148" y="80"/>
                    <a:pt x="148" y="80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50" y="84"/>
                    <a:pt x="150" y="84"/>
                    <a:pt x="150" y="84"/>
                  </a:cubicBezTo>
                  <a:cubicBezTo>
                    <a:pt x="152" y="89"/>
                    <a:pt x="152" y="89"/>
                    <a:pt x="152" y="89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8" y="104"/>
                    <a:pt x="148" y="104"/>
                    <a:pt x="148" y="104"/>
                  </a:cubicBezTo>
                  <a:cubicBezTo>
                    <a:pt x="148" y="114"/>
                    <a:pt x="148" y="114"/>
                    <a:pt x="148" y="114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1" y="123"/>
                    <a:pt x="151" y="123"/>
                    <a:pt x="151" y="123"/>
                  </a:cubicBezTo>
                  <a:cubicBezTo>
                    <a:pt x="153" y="116"/>
                    <a:pt x="153" y="116"/>
                    <a:pt x="153" y="116"/>
                  </a:cubicBezTo>
                  <a:cubicBezTo>
                    <a:pt x="154" y="105"/>
                    <a:pt x="154" y="105"/>
                    <a:pt x="154" y="105"/>
                  </a:cubicBezTo>
                  <a:cubicBezTo>
                    <a:pt x="157" y="102"/>
                    <a:pt x="157" y="102"/>
                    <a:pt x="157" y="102"/>
                  </a:cubicBezTo>
                  <a:cubicBezTo>
                    <a:pt x="157" y="99"/>
                    <a:pt x="157" y="99"/>
                    <a:pt x="157" y="99"/>
                  </a:cubicBezTo>
                  <a:cubicBezTo>
                    <a:pt x="157" y="97"/>
                    <a:pt x="157" y="97"/>
                    <a:pt x="157" y="97"/>
                  </a:cubicBezTo>
                  <a:cubicBezTo>
                    <a:pt x="160" y="95"/>
                    <a:pt x="160" y="95"/>
                    <a:pt x="160" y="95"/>
                  </a:cubicBezTo>
                  <a:cubicBezTo>
                    <a:pt x="163" y="91"/>
                    <a:pt x="163" y="91"/>
                    <a:pt x="163" y="91"/>
                  </a:cubicBezTo>
                  <a:cubicBezTo>
                    <a:pt x="163" y="82"/>
                    <a:pt x="163" y="82"/>
                    <a:pt x="163" y="82"/>
                  </a:cubicBezTo>
                  <a:cubicBezTo>
                    <a:pt x="163" y="79"/>
                    <a:pt x="163" y="79"/>
                    <a:pt x="163" y="79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67" y="71"/>
                    <a:pt x="167" y="71"/>
                    <a:pt x="167" y="71"/>
                  </a:cubicBezTo>
                  <a:cubicBezTo>
                    <a:pt x="168" y="74"/>
                    <a:pt x="168" y="74"/>
                    <a:pt x="168" y="74"/>
                  </a:cubicBezTo>
                  <a:cubicBezTo>
                    <a:pt x="167" y="77"/>
                    <a:pt x="167" y="77"/>
                    <a:pt x="167" y="77"/>
                  </a:cubicBezTo>
                  <a:cubicBezTo>
                    <a:pt x="167" y="77"/>
                    <a:pt x="165" y="80"/>
                    <a:pt x="165" y="80"/>
                  </a:cubicBezTo>
                  <a:cubicBezTo>
                    <a:pt x="166" y="81"/>
                    <a:pt x="168" y="82"/>
                    <a:pt x="168" y="82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68"/>
                    <a:pt x="170" y="68"/>
                    <a:pt x="170" y="68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48" y="57"/>
                    <a:pt x="148" y="57"/>
                    <a:pt x="148" y="57"/>
                  </a:cubicBezTo>
                  <a:lnTo>
                    <a:pt x="134" y="0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54" name="Freeform 44"/>
            <p:cNvSpPr>
              <a:spLocks/>
            </p:cNvSpPr>
            <p:nvPr/>
          </p:nvSpPr>
          <p:spPr bwMode="auto">
            <a:xfrm>
              <a:off x="7411352" y="2367191"/>
              <a:ext cx="249594" cy="246221"/>
            </a:xfrm>
            <a:custGeom>
              <a:avLst/>
              <a:gdLst>
                <a:gd name="T0" fmla="*/ 24 w 148"/>
                <a:gd name="T1" fmla="*/ 136 h 146"/>
                <a:gd name="T2" fmla="*/ 31 w 148"/>
                <a:gd name="T3" fmla="*/ 144 h 146"/>
                <a:gd name="T4" fmla="*/ 38 w 148"/>
                <a:gd name="T5" fmla="*/ 146 h 146"/>
                <a:gd name="T6" fmla="*/ 48 w 148"/>
                <a:gd name="T7" fmla="*/ 142 h 146"/>
                <a:gd name="T8" fmla="*/ 64 w 148"/>
                <a:gd name="T9" fmla="*/ 134 h 146"/>
                <a:gd name="T10" fmla="*/ 79 w 148"/>
                <a:gd name="T11" fmla="*/ 125 h 146"/>
                <a:gd name="T12" fmla="*/ 79 w 148"/>
                <a:gd name="T13" fmla="*/ 112 h 146"/>
                <a:gd name="T14" fmla="*/ 87 w 148"/>
                <a:gd name="T15" fmla="*/ 99 h 146"/>
                <a:gd name="T16" fmla="*/ 91 w 148"/>
                <a:gd name="T17" fmla="*/ 80 h 146"/>
                <a:gd name="T18" fmla="*/ 100 w 148"/>
                <a:gd name="T19" fmla="*/ 84 h 146"/>
                <a:gd name="T20" fmla="*/ 103 w 148"/>
                <a:gd name="T21" fmla="*/ 83 h 146"/>
                <a:gd name="T22" fmla="*/ 108 w 148"/>
                <a:gd name="T23" fmla="*/ 71 h 146"/>
                <a:gd name="T24" fmla="*/ 110 w 148"/>
                <a:gd name="T25" fmla="*/ 67 h 146"/>
                <a:gd name="T26" fmla="*/ 114 w 148"/>
                <a:gd name="T27" fmla="*/ 69 h 146"/>
                <a:gd name="T28" fmla="*/ 122 w 148"/>
                <a:gd name="T29" fmla="*/ 57 h 146"/>
                <a:gd name="T30" fmla="*/ 126 w 148"/>
                <a:gd name="T31" fmla="*/ 47 h 146"/>
                <a:gd name="T32" fmla="*/ 135 w 148"/>
                <a:gd name="T33" fmla="*/ 44 h 146"/>
                <a:gd name="T34" fmla="*/ 143 w 148"/>
                <a:gd name="T35" fmla="*/ 47 h 146"/>
                <a:gd name="T36" fmla="*/ 148 w 148"/>
                <a:gd name="T37" fmla="*/ 43 h 146"/>
                <a:gd name="T38" fmla="*/ 145 w 148"/>
                <a:gd name="T39" fmla="*/ 36 h 146"/>
                <a:gd name="T40" fmla="*/ 130 w 148"/>
                <a:gd name="T41" fmla="*/ 28 h 146"/>
                <a:gd name="T42" fmla="*/ 120 w 148"/>
                <a:gd name="T43" fmla="*/ 31 h 146"/>
                <a:gd name="T44" fmla="*/ 113 w 148"/>
                <a:gd name="T45" fmla="*/ 34 h 146"/>
                <a:gd name="T46" fmla="*/ 107 w 148"/>
                <a:gd name="T47" fmla="*/ 40 h 146"/>
                <a:gd name="T48" fmla="*/ 94 w 148"/>
                <a:gd name="T49" fmla="*/ 50 h 146"/>
                <a:gd name="T50" fmla="*/ 88 w 148"/>
                <a:gd name="T51" fmla="*/ 33 h 146"/>
                <a:gd name="T52" fmla="*/ 51 w 148"/>
                <a:gd name="T53" fmla="*/ 0 h 146"/>
                <a:gd name="T54" fmla="*/ 47 w 148"/>
                <a:gd name="T55" fmla="*/ 3 h 146"/>
                <a:gd name="T56" fmla="*/ 48 w 148"/>
                <a:gd name="T57" fmla="*/ 7 h 146"/>
                <a:gd name="T58" fmla="*/ 48 w 148"/>
                <a:gd name="T59" fmla="*/ 19 h 146"/>
                <a:gd name="T60" fmla="*/ 47 w 148"/>
                <a:gd name="T61" fmla="*/ 28 h 146"/>
                <a:gd name="T62" fmla="*/ 46 w 148"/>
                <a:gd name="T63" fmla="*/ 39 h 146"/>
                <a:gd name="T64" fmla="*/ 36 w 148"/>
                <a:gd name="T65" fmla="*/ 51 h 146"/>
                <a:gd name="T66" fmla="*/ 28 w 148"/>
                <a:gd name="T67" fmla="*/ 55 h 146"/>
                <a:gd name="T68" fmla="*/ 21 w 148"/>
                <a:gd name="T69" fmla="*/ 65 h 146"/>
                <a:gd name="T70" fmla="*/ 19 w 148"/>
                <a:gd name="T71" fmla="*/ 76 h 146"/>
                <a:gd name="T72" fmla="*/ 12 w 148"/>
                <a:gd name="T73" fmla="*/ 76 h 146"/>
                <a:gd name="T74" fmla="*/ 9 w 148"/>
                <a:gd name="T75" fmla="*/ 91 h 146"/>
                <a:gd name="T76" fmla="*/ 3 w 148"/>
                <a:gd name="T77" fmla="*/ 98 h 146"/>
                <a:gd name="T78" fmla="*/ 3 w 148"/>
                <a:gd name="T79" fmla="*/ 114 h 146"/>
                <a:gd name="T80" fmla="*/ 10 w 148"/>
                <a:gd name="T81" fmla="*/ 127 h 146"/>
                <a:gd name="T82" fmla="*/ 19 w 148"/>
                <a:gd name="T83" fmla="*/ 138 h 146"/>
                <a:gd name="T84" fmla="*/ 21 w 148"/>
                <a:gd name="T85" fmla="*/ 1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8" h="146">
                  <a:moveTo>
                    <a:pt x="21" y="136"/>
                  </a:moveTo>
                  <a:lnTo>
                    <a:pt x="24" y="136"/>
                  </a:lnTo>
                  <a:lnTo>
                    <a:pt x="25" y="139"/>
                  </a:lnTo>
                  <a:lnTo>
                    <a:pt x="31" y="144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44" y="139"/>
                  </a:lnTo>
                  <a:lnTo>
                    <a:pt x="48" y="142"/>
                  </a:lnTo>
                  <a:lnTo>
                    <a:pt x="57" y="140"/>
                  </a:lnTo>
                  <a:lnTo>
                    <a:pt x="64" y="134"/>
                  </a:lnTo>
                  <a:lnTo>
                    <a:pt x="75" y="128"/>
                  </a:lnTo>
                  <a:lnTo>
                    <a:pt x="79" y="125"/>
                  </a:lnTo>
                  <a:lnTo>
                    <a:pt x="78" y="117"/>
                  </a:lnTo>
                  <a:lnTo>
                    <a:pt x="79" y="112"/>
                  </a:lnTo>
                  <a:lnTo>
                    <a:pt x="84" y="107"/>
                  </a:lnTo>
                  <a:lnTo>
                    <a:pt x="87" y="99"/>
                  </a:lnTo>
                  <a:lnTo>
                    <a:pt x="90" y="87"/>
                  </a:lnTo>
                  <a:lnTo>
                    <a:pt x="91" y="80"/>
                  </a:lnTo>
                  <a:lnTo>
                    <a:pt x="95" y="82"/>
                  </a:lnTo>
                  <a:lnTo>
                    <a:pt x="100" y="84"/>
                  </a:lnTo>
                  <a:lnTo>
                    <a:pt x="102" y="85"/>
                  </a:lnTo>
                  <a:lnTo>
                    <a:pt x="103" y="83"/>
                  </a:lnTo>
                  <a:lnTo>
                    <a:pt x="106" y="75"/>
                  </a:lnTo>
                  <a:lnTo>
                    <a:pt x="108" y="71"/>
                  </a:lnTo>
                  <a:lnTo>
                    <a:pt x="109" y="67"/>
                  </a:lnTo>
                  <a:lnTo>
                    <a:pt x="110" y="67"/>
                  </a:lnTo>
                  <a:lnTo>
                    <a:pt x="113" y="67"/>
                  </a:lnTo>
                  <a:lnTo>
                    <a:pt x="114" y="69"/>
                  </a:lnTo>
                  <a:lnTo>
                    <a:pt x="119" y="60"/>
                  </a:lnTo>
                  <a:lnTo>
                    <a:pt x="122" y="57"/>
                  </a:lnTo>
                  <a:lnTo>
                    <a:pt x="124" y="54"/>
                  </a:lnTo>
                  <a:lnTo>
                    <a:pt x="126" y="47"/>
                  </a:lnTo>
                  <a:lnTo>
                    <a:pt x="126" y="39"/>
                  </a:lnTo>
                  <a:lnTo>
                    <a:pt x="135" y="44"/>
                  </a:lnTo>
                  <a:lnTo>
                    <a:pt x="141" y="47"/>
                  </a:lnTo>
                  <a:lnTo>
                    <a:pt x="143" y="47"/>
                  </a:lnTo>
                  <a:lnTo>
                    <a:pt x="146" y="44"/>
                  </a:lnTo>
                  <a:lnTo>
                    <a:pt x="148" y="43"/>
                  </a:lnTo>
                  <a:lnTo>
                    <a:pt x="147" y="43"/>
                  </a:lnTo>
                  <a:lnTo>
                    <a:pt x="145" y="36"/>
                  </a:lnTo>
                  <a:lnTo>
                    <a:pt x="141" y="31"/>
                  </a:lnTo>
                  <a:lnTo>
                    <a:pt x="130" y="28"/>
                  </a:lnTo>
                  <a:lnTo>
                    <a:pt x="123" y="31"/>
                  </a:lnTo>
                  <a:lnTo>
                    <a:pt x="120" y="31"/>
                  </a:lnTo>
                  <a:lnTo>
                    <a:pt x="114" y="35"/>
                  </a:lnTo>
                  <a:lnTo>
                    <a:pt x="113" y="34"/>
                  </a:lnTo>
                  <a:lnTo>
                    <a:pt x="112" y="34"/>
                  </a:lnTo>
                  <a:lnTo>
                    <a:pt x="107" y="40"/>
                  </a:lnTo>
                  <a:lnTo>
                    <a:pt x="102" y="40"/>
                  </a:lnTo>
                  <a:lnTo>
                    <a:pt x="94" y="50"/>
                  </a:lnTo>
                  <a:lnTo>
                    <a:pt x="91" y="50"/>
                  </a:lnTo>
                  <a:lnTo>
                    <a:pt x="88" y="33"/>
                  </a:lnTo>
                  <a:lnTo>
                    <a:pt x="57" y="39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8" y="15"/>
                  </a:lnTo>
                  <a:lnTo>
                    <a:pt x="48" y="19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6" y="36"/>
                  </a:lnTo>
                  <a:lnTo>
                    <a:pt x="46" y="39"/>
                  </a:lnTo>
                  <a:lnTo>
                    <a:pt x="44" y="44"/>
                  </a:lnTo>
                  <a:lnTo>
                    <a:pt x="36" y="51"/>
                  </a:lnTo>
                  <a:lnTo>
                    <a:pt x="33" y="55"/>
                  </a:lnTo>
                  <a:lnTo>
                    <a:pt x="28" y="55"/>
                  </a:lnTo>
                  <a:lnTo>
                    <a:pt x="24" y="61"/>
                  </a:lnTo>
                  <a:lnTo>
                    <a:pt x="21" y="65"/>
                  </a:lnTo>
                  <a:lnTo>
                    <a:pt x="20" y="75"/>
                  </a:lnTo>
                  <a:lnTo>
                    <a:pt x="19" y="76"/>
                  </a:lnTo>
                  <a:lnTo>
                    <a:pt x="15" y="73"/>
                  </a:lnTo>
                  <a:lnTo>
                    <a:pt x="12" y="76"/>
                  </a:lnTo>
                  <a:lnTo>
                    <a:pt x="9" y="87"/>
                  </a:lnTo>
                  <a:lnTo>
                    <a:pt x="9" y="91"/>
                  </a:lnTo>
                  <a:lnTo>
                    <a:pt x="7" y="94"/>
                  </a:lnTo>
                  <a:lnTo>
                    <a:pt x="3" y="98"/>
                  </a:lnTo>
                  <a:lnTo>
                    <a:pt x="0" y="101"/>
                  </a:lnTo>
                  <a:lnTo>
                    <a:pt x="3" y="114"/>
                  </a:lnTo>
                  <a:lnTo>
                    <a:pt x="5" y="120"/>
                  </a:lnTo>
                  <a:lnTo>
                    <a:pt x="10" y="127"/>
                  </a:lnTo>
                  <a:lnTo>
                    <a:pt x="15" y="132"/>
                  </a:lnTo>
                  <a:lnTo>
                    <a:pt x="19" y="138"/>
                  </a:lnTo>
                  <a:lnTo>
                    <a:pt x="20" y="138"/>
                  </a:lnTo>
                  <a:lnTo>
                    <a:pt x="21" y="136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55" name="Freeform 45"/>
            <p:cNvSpPr>
              <a:spLocks/>
            </p:cNvSpPr>
            <p:nvPr/>
          </p:nvSpPr>
          <p:spPr bwMode="auto">
            <a:xfrm>
              <a:off x="7045395" y="2498733"/>
              <a:ext cx="398000" cy="205746"/>
            </a:xfrm>
            <a:custGeom>
              <a:avLst/>
              <a:gdLst>
                <a:gd name="T0" fmla="*/ 207 w 236"/>
                <a:gd name="T1" fmla="*/ 91 h 122"/>
                <a:gd name="T2" fmla="*/ 214 w 236"/>
                <a:gd name="T3" fmla="*/ 88 h 122"/>
                <a:gd name="T4" fmla="*/ 220 w 236"/>
                <a:gd name="T5" fmla="*/ 74 h 122"/>
                <a:gd name="T6" fmla="*/ 235 w 236"/>
                <a:gd name="T7" fmla="*/ 64 h 122"/>
                <a:gd name="T8" fmla="*/ 232 w 236"/>
                <a:gd name="T9" fmla="*/ 54 h 122"/>
                <a:gd name="T10" fmla="*/ 222 w 236"/>
                <a:gd name="T11" fmla="*/ 42 h 122"/>
                <a:gd name="T12" fmla="*/ 217 w 236"/>
                <a:gd name="T13" fmla="*/ 23 h 122"/>
                <a:gd name="T14" fmla="*/ 215 w 236"/>
                <a:gd name="T15" fmla="*/ 22 h 122"/>
                <a:gd name="T16" fmla="*/ 207 w 236"/>
                <a:gd name="T17" fmla="*/ 13 h 122"/>
                <a:gd name="T18" fmla="*/ 203 w 236"/>
                <a:gd name="T19" fmla="*/ 11 h 122"/>
                <a:gd name="T20" fmla="*/ 199 w 236"/>
                <a:gd name="T21" fmla="*/ 15 h 122"/>
                <a:gd name="T22" fmla="*/ 192 w 236"/>
                <a:gd name="T23" fmla="*/ 17 h 122"/>
                <a:gd name="T24" fmla="*/ 184 w 236"/>
                <a:gd name="T25" fmla="*/ 13 h 122"/>
                <a:gd name="T26" fmla="*/ 181 w 236"/>
                <a:gd name="T27" fmla="*/ 16 h 122"/>
                <a:gd name="T28" fmla="*/ 178 w 236"/>
                <a:gd name="T29" fmla="*/ 18 h 122"/>
                <a:gd name="T30" fmla="*/ 174 w 236"/>
                <a:gd name="T31" fmla="*/ 15 h 122"/>
                <a:gd name="T32" fmla="*/ 166 w 236"/>
                <a:gd name="T33" fmla="*/ 13 h 122"/>
                <a:gd name="T34" fmla="*/ 163 w 236"/>
                <a:gd name="T35" fmla="*/ 7 h 122"/>
                <a:gd name="T36" fmla="*/ 154 w 236"/>
                <a:gd name="T37" fmla="*/ 0 h 122"/>
                <a:gd name="T38" fmla="*/ 148 w 236"/>
                <a:gd name="T39" fmla="*/ 3 h 122"/>
                <a:gd name="T40" fmla="*/ 141 w 236"/>
                <a:gd name="T41" fmla="*/ 2 h 122"/>
                <a:gd name="T42" fmla="*/ 144 w 236"/>
                <a:gd name="T43" fmla="*/ 7 h 122"/>
                <a:gd name="T44" fmla="*/ 144 w 236"/>
                <a:gd name="T45" fmla="*/ 15 h 122"/>
                <a:gd name="T46" fmla="*/ 138 w 236"/>
                <a:gd name="T47" fmla="*/ 17 h 122"/>
                <a:gd name="T48" fmla="*/ 126 w 236"/>
                <a:gd name="T49" fmla="*/ 20 h 122"/>
                <a:gd name="T50" fmla="*/ 125 w 236"/>
                <a:gd name="T51" fmla="*/ 23 h 122"/>
                <a:gd name="T52" fmla="*/ 124 w 236"/>
                <a:gd name="T53" fmla="*/ 29 h 122"/>
                <a:gd name="T54" fmla="*/ 120 w 236"/>
                <a:gd name="T55" fmla="*/ 37 h 122"/>
                <a:gd name="T56" fmla="*/ 115 w 236"/>
                <a:gd name="T57" fmla="*/ 39 h 122"/>
                <a:gd name="T58" fmla="*/ 112 w 236"/>
                <a:gd name="T59" fmla="*/ 47 h 122"/>
                <a:gd name="T60" fmla="*/ 104 w 236"/>
                <a:gd name="T61" fmla="*/ 52 h 122"/>
                <a:gd name="T62" fmla="*/ 100 w 236"/>
                <a:gd name="T63" fmla="*/ 48 h 122"/>
                <a:gd name="T64" fmla="*/ 97 w 236"/>
                <a:gd name="T65" fmla="*/ 44 h 122"/>
                <a:gd name="T66" fmla="*/ 93 w 236"/>
                <a:gd name="T67" fmla="*/ 51 h 122"/>
                <a:gd name="T68" fmla="*/ 92 w 236"/>
                <a:gd name="T69" fmla="*/ 58 h 122"/>
                <a:gd name="T70" fmla="*/ 86 w 236"/>
                <a:gd name="T71" fmla="*/ 55 h 122"/>
                <a:gd name="T72" fmla="*/ 80 w 236"/>
                <a:gd name="T73" fmla="*/ 56 h 122"/>
                <a:gd name="T74" fmla="*/ 76 w 236"/>
                <a:gd name="T75" fmla="*/ 61 h 122"/>
                <a:gd name="T76" fmla="*/ 71 w 236"/>
                <a:gd name="T77" fmla="*/ 60 h 122"/>
                <a:gd name="T78" fmla="*/ 63 w 236"/>
                <a:gd name="T79" fmla="*/ 57 h 122"/>
                <a:gd name="T80" fmla="*/ 57 w 236"/>
                <a:gd name="T81" fmla="*/ 61 h 122"/>
                <a:gd name="T82" fmla="*/ 49 w 236"/>
                <a:gd name="T83" fmla="*/ 66 h 122"/>
                <a:gd name="T84" fmla="*/ 43 w 236"/>
                <a:gd name="T85" fmla="*/ 67 h 122"/>
                <a:gd name="T86" fmla="*/ 43 w 236"/>
                <a:gd name="T87" fmla="*/ 72 h 122"/>
                <a:gd name="T88" fmla="*/ 44 w 236"/>
                <a:gd name="T89" fmla="*/ 78 h 122"/>
                <a:gd name="T90" fmla="*/ 36 w 236"/>
                <a:gd name="T91" fmla="*/ 81 h 122"/>
                <a:gd name="T92" fmla="*/ 33 w 236"/>
                <a:gd name="T93" fmla="*/ 88 h 122"/>
                <a:gd name="T94" fmla="*/ 33 w 236"/>
                <a:gd name="T95" fmla="*/ 94 h 122"/>
                <a:gd name="T96" fmla="*/ 27 w 236"/>
                <a:gd name="T97" fmla="*/ 94 h 122"/>
                <a:gd name="T98" fmla="*/ 19 w 236"/>
                <a:gd name="T99" fmla="*/ 89 h 122"/>
                <a:gd name="T100" fmla="*/ 14 w 236"/>
                <a:gd name="T101" fmla="*/ 93 h 122"/>
                <a:gd name="T102" fmla="*/ 10 w 236"/>
                <a:gd name="T103" fmla="*/ 97 h 122"/>
                <a:gd name="T104" fmla="*/ 14 w 236"/>
                <a:gd name="T105" fmla="*/ 102 h 122"/>
                <a:gd name="T106" fmla="*/ 14 w 236"/>
                <a:gd name="T107" fmla="*/ 107 h 122"/>
                <a:gd name="T108" fmla="*/ 12 w 236"/>
                <a:gd name="T109" fmla="*/ 115 h 122"/>
                <a:gd name="T110" fmla="*/ 7 w 236"/>
                <a:gd name="T111" fmla="*/ 116 h 122"/>
                <a:gd name="T112" fmla="*/ 5 w 236"/>
                <a:gd name="T113" fmla="*/ 117 h 122"/>
                <a:gd name="T114" fmla="*/ 0 w 236"/>
                <a:gd name="T115" fmla="*/ 117 h 122"/>
                <a:gd name="T116" fmla="*/ 0 w 236"/>
                <a:gd name="T117" fmla="*/ 121 h 122"/>
                <a:gd name="T118" fmla="*/ 2 w 236"/>
                <a:gd name="T119" fmla="*/ 121 h 122"/>
                <a:gd name="T120" fmla="*/ 50 w 236"/>
                <a:gd name="T121" fmla="*/ 111 h 122"/>
                <a:gd name="T122" fmla="*/ 192 w 236"/>
                <a:gd name="T123" fmla="*/ 100 h 122"/>
                <a:gd name="T124" fmla="*/ 202 w 236"/>
                <a:gd name="T125" fmla="*/ 9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122">
                  <a:moveTo>
                    <a:pt x="202" y="94"/>
                  </a:moveTo>
                  <a:lnTo>
                    <a:pt x="207" y="91"/>
                  </a:lnTo>
                  <a:lnTo>
                    <a:pt x="210" y="89"/>
                  </a:lnTo>
                  <a:lnTo>
                    <a:pt x="214" y="88"/>
                  </a:lnTo>
                  <a:lnTo>
                    <a:pt x="217" y="79"/>
                  </a:lnTo>
                  <a:lnTo>
                    <a:pt x="220" y="74"/>
                  </a:lnTo>
                  <a:lnTo>
                    <a:pt x="231" y="70"/>
                  </a:lnTo>
                  <a:lnTo>
                    <a:pt x="235" y="64"/>
                  </a:lnTo>
                  <a:lnTo>
                    <a:pt x="236" y="60"/>
                  </a:lnTo>
                  <a:lnTo>
                    <a:pt x="232" y="54"/>
                  </a:lnTo>
                  <a:lnTo>
                    <a:pt x="227" y="49"/>
                  </a:lnTo>
                  <a:lnTo>
                    <a:pt x="222" y="42"/>
                  </a:lnTo>
                  <a:lnTo>
                    <a:pt x="220" y="36"/>
                  </a:lnTo>
                  <a:lnTo>
                    <a:pt x="217" y="23"/>
                  </a:lnTo>
                  <a:lnTo>
                    <a:pt x="218" y="22"/>
                  </a:lnTo>
                  <a:lnTo>
                    <a:pt x="215" y="22"/>
                  </a:lnTo>
                  <a:lnTo>
                    <a:pt x="211" y="18"/>
                  </a:lnTo>
                  <a:lnTo>
                    <a:pt x="207" y="13"/>
                  </a:lnTo>
                  <a:lnTo>
                    <a:pt x="204" y="10"/>
                  </a:lnTo>
                  <a:lnTo>
                    <a:pt x="203" y="11"/>
                  </a:lnTo>
                  <a:lnTo>
                    <a:pt x="201" y="12"/>
                  </a:lnTo>
                  <a:lnTo>
                    <a:pt x="199" y="15"/>
                  </a:lnTo>
                  <a:lnTo>
                    <a:pt x="198" y="16"/>
                  </a:lnTo>
                  <a:lnTo>
                    <a:pt x="192" y="17"/>
                  </a:lnTo>
                  <a:lnTo>
                    <a:pt x="187" y="15"/>
                  </a:lnTo>
                  <a:lnTo>
                    <a:pt x="184" y="13"/>
                  </a:lnTo>
                  <a:lnTo>
                    <a:pt x="183" y="14"/>
                  </a:lnTo>
                  <a:lnTo>
                    <a:pt x="181" y="16"/>
                  </a:lnTo>
                  <a:lnTo>
                    <a:pt x="181" y="17"/>
                  </a:lnTo>
                  <a:lnTo>
                    <a:pt x="178" y="18"/>
                  </a:lnTo>
                  <a:lnTo>
                    <a:pt x="176" y="16"/>
                  </a:lnTo>
                  <a:lnTo>
                    <a:pt x="174" y="15"/>
                  </a:lnTo>
                  <a:lnTo>
                    <a:pt x="171" y="14"/>
                  </a:lnTo>
                  <a:lnTo>
                    <a:pt x="166" y="13"/>
                  </a:lnTo>
                  <a:lnTo>
                    <a:pt x="165" y="11"/>
                  </a:lnTo>
                  <a:lnTo>
                    <a:pt x="163" y="7"/>
                  </a:lnTo>
                  <a:lnTo>
                    <a:pt x="159" y="4"/>
                  </a:lnTo>
                  <a:lnTo>
                    <a:pt x="154" y="0"/>
                  </a:lnTo>
                  <a:lnTo>
                    <a:pt x="153" y="1"/>
                  </a:lnTo>
                  <a:lnTo>
                    <a:pt x="148" y="3"/>
                  </a:lnTo>
                  <a:lnTo>
                    <a:pt x="143" y="1"/>
                  </a:lnTo>
                  <a:lnTo>
                    <a:pt x="141" y="2"/>
                  </a:lnTo>
                  <a:lnTo>
                    <a:pt x="142" y="6"/>
                  </a:lnTo>
                  <a:lnTo>
                    <a:pt x="144" y="7"/>
                  </a:lnTo>
                  <a:lnTo>
                    <a:pt x="143" y="9"/>
                  </a:lnTo>
                  <a:lnTo>
                    <a:pt x="144" y="15"/>
                  </a:lnTo>
                  <a:lnTo>
                    <a:pt x="142" y="17"/>
                  </a:lnTo>
                  <a:lnTo>
                    <a:pt x="138" y="17"/>
                  </a:lnTo>
                  <a:lnTo>
                    <a:pt x="134" y="19"/>
                  </a:lnTo>
                  <a:lnTo>
                    <a:pt x="126" y="20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4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20" y="37"/>
                  </a:lnTo>
                  <a:lnTo>
                    <a:pt x="118" y="39"/>
                  </a:lnTo>
                  <a:lnTo>
                    <a:pt x="115" y="39"/>
                  </a:lnTo>
                  <a:lnTo>
                    <a:pt x="112" y="44"/>
                  </a:lnTo>
                  <a:lnTo>
                    <a:pt x="112" y="47"/>
                  </a:lnTo>
                  <a:lnTo>
                    <a:pt x="110" y="51"/>
                  </a:lnTo>
                  <a:lnTo>
                    <a:pt x="104" y="52"/>
                  </a:lnTo>
                  <a:lnTo>
                    <a:pt x="103" y="51"/>
                  </a:lnTo>
                  <a:lnTo>
                    <a:pt x="100" y="48"/>
                  </a:lnTo>
                  <a:lnTo>
                    <a:pt x="99" y="44"/>
                  </a:lnTo>
                  <a:lnTo>
                    <a:pt x="97" y="44"/>
                  </a:lnTo>
                  <a:lnTo>
                    <a:pt x="96" y="48"/>
                  </a:lnTo>
                  <a:lnTo>
                    <a:pt x="93" y="51"/>
                  </a:lnTo>
                  <a:lnTo>
                    <a:pt x="93" y="55"/>
                  </a:lnTo>
                  <a:lnTo>
                    <a:pt x="92" y="58"/>
                  </a:lnTo>
                  <a:lnTo>
                    <a:pt x="88" y="57"/>
                  </a:lnTo>
                  <a:lnTo>
                    <a:pt x="86" y="55"/>
                  </a:lnTo>
                  <a:lnTo>
                    <a:pt x="82" y="55"/>
                  </a:lnTo>
                  <a:lnTo>
                    <a:pt x="80" y="56"/>
                  </a:lnTo>
                  <a:lnTo>
                    <a:pt x="76" y="57"/>
                  </a:lnTo>
                  <a:lnTo>
                    <a:pt x="76" y="61"/>
                  </a:lnTo>
                  <a:lnTo>
                    <a:pt x="75" y="62"/>
                  </a:lnTo>
                  <a:lnTo>
                    <a:pt x="71" y="60"/>
                  </a:lnTo>
                  <a:lnTo>
                    <a:pt x="68" y="57"/>
                  </a:lnTo>
                  <a:lnTo>
                    <a:pt x="63" y="57"/>
                  </a:lnTo>
                  <a:lnTo>
                    <a:pt x="60" y="57"/>
                  </a:lnTo>
                  <a:lnTo>
                    <a:pt x="57" y="61"/>
                  </a:lnTo>
                  <a:lnTo>
                    <a:pt x="49" y="61"/>
                  </a:lnTo>
                  <a:lnTo>
                    <a:pt x="49" y="66"/>
                  </a:lnTo>
                  <a:lnTo>
                    <a:pt x="46" y="66"/>
                  </a:lnTo>
                  <a:lnTo>
                    <a:pt x="43" y="67"/>
                  </a:lnTo>
                  <a:lnTo>
                    <a:pt x="43" y="71"/>
                  </a:lnTo>
                  <a:lnTo>
                    <a:pt x="43" y="72"/>
                  </a:lnTo>
                  <a:lnTo>
                    <a:pt x="43" y="75"/>
                  </a:lnTo>
                  <a:lnTo>
                    <a:pt x="44" y="78"/>
                  </a:lnTo>
                  <a:lnTo>
                    <a:pt x="42" y="79"/>
                  </a:lnTo>
                  <a:lnTo>
                    <a:pt x="36" y="81"/>
                  </a:lnTo>
                  <a:lnTo>
                    <a:pt x="33" y="83"/>
                  </a:lnTo>
                  <a:lnTo>
                    <a:pt x="33" y="88"/>
                  </a:lnTo>
                  <a:lnTo>
                    <a:pt x="35" y="93"/>
                  </a:lnTo>
                  <a:lnTo>
                    <a:pt x="33" y="94"/>
                  </a:lnTo>
                  <a:lnTo>
                    <a:pt x="30" y="94"/>
                  </a:lnTo>
                  <a:lnTo>
                    <a:pt x="27" y="94"/>
                  </a:lnTo>
                  <a:lnTo>
                    <a:pt x="23" y="91"/>
                  </a:lnTo>
                  <a:lnTo>
                    <a:pt x="19" y="89"/>
                  </a:lnTo>
                  <a:lnTo>
                    <a:pt x="17" y="90"/>
                  </a:lnTo>
                  <a:lnTo>
                    <a:pt x="14" y="93"/>
                  </a:lnTo>
                  <a:lnTo>
                    <a:pt x="11" y="94"/>
                  </a:lnTo>
                  <a:lnTo>
                    <a:pt x="10" y="97"/>
                  </a:lnTo>
                  <a:lnTo>
                    <a:pt x="10" y="100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4" y="107"/>
                  </a:lnTo>
                  <a:lnTo>
                    <a:pt x="14" y="112"/>
                  </a:lnTo>
                  <a:lnTo>
                    <a:pt x="12" y="115"/>
                  </a:lnTo>
                  <a:lnTo>
                    <a:pt x="10" y="116"/>
                  </a:lnTo>
                  <a:lnTo>
                    <a:pt x="7" y="116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4" y="117"/>
                  </a:lnTo>
                  <a:lnTo>
                    <a:pt x="0" y="117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2"/>
                  </a:lnTo>
                  <a:lnTo>
                    <a:pt x="2" y="121"/>
                  </a:lnTo>
                  <a:lnTo>
                    <a:pt x="52" y="120"/>
                  </a:lnTo>
                  <a:lnTo>
                    <a:pt x="50" y="111"/>
                  </a:lnTo>
                  <a:lnTo>
                    <a:pt x="143" y="105"/>
                  </a:lnTo>
                  <a:lnTo>
                    <a:pt x="192" y="100"/>
                  </a:lnTo>
                  <a:lnTo>
                    <a:pt x="198" y="97"/>
                  </a:lnTo>
                  <a:lnTo>
                    <a:pt x="202" y="94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56" name="Freeform 46"/>
            <p:cNvSpPr>
              <a:spLocks/>
            </p:cNvSpPr>
            <p:nvPr/>
          </p:nvSpPr>
          <p:spPr bwMode="auto">
            <a:xfrm>
              <a:off x="6706419" y="2426216"/>
              <a:ext cx="362585" cy="315365"/>
            </a:xfrm>
            <a:custGeom>
              <a:avLst/>
              <a:gdLst>
                <a:gd name="T0" fmla="*/ 238 w 254"/>
                <a:gd name="T1" fmla="*/ 190 h 221"/>
                <a:gd name="T2" fmla="*/ 242 w 254"/>
                <a:gd name="T3" fmla="*/ 189 h 221"/>
                <a:gd name="T4" fmla="*/ 244 w 254"/>
                <a:gd name="T5" fmla="*/ 188 h 221"/>
                <a:gd name="T6" fmla="*/ 249 w 254"/>
                <a:gd name="T7" fmla="*/ 187 h 221"/>
                <a:gd name="T8" fmla="*/ 254 w 254"/>
                <a:gd name="T9" fmla="*/ 183 h 221"/>
                <a:gd name="T10" fmla="*/ 254 w 254"/>
                <a:gd name="T11" fmla="*/ 173 h 221"/>
                <a:gd name="T12" fmla="*/ 250 w 254"/>
                <a:gd name="T13" fmla="*/ 168 h 221"/>
                <a:gd name="T14" fmla="*/ 251 w 254"/>
                <a:gd name="T15" fmla="*/ 161 h 221"/>
                <a:gd name="T16" fmla="*/ 243 w 254"/>
                <a:gd name="T17" fmla="*/ 166 h 221"/>
                <a:gd name="T18" fmla="*/ 238 w 254"/>
                <a:gd name="T19" fmla="*/ 156 h 221"/>
                <a:gd name="T20" fmla="*/ 240 w 254"/>
                <a:gd name="T21" fmla="*/ 146 h 221"/>
                <a:gd name="T22" fmla="*/ 232 w 254"/>
                <a:gd name="T23" fmla="*/ 131 h 221"/>
                <a:gd name="T24" fmla="*/ 216 w 254"/>
                <a:gd name="T25" fmla="*/ 124 h 221"/>
                <a:gd name="T26" fmla="*/ 202 w 254"/>
                <a:gd name="T27" fmla="*/ 112 h 221"/>
                <a:gd name="T28" fmla="*/ 204 w 254"/>
                <a:gd name="T29" fmla="*/ 100 h 221"/>
                <a:gd name="T30" fmla="*/ 206 w 254"/>
                <a:gd name="T31" fmla="*/ 91 h 221"/>
                <a:gd name="T32" fmla="*/ 206 w 254"/>
                <a:gd name="T33" fmla="*/ 80 h 221"/>
                <a:gd name="T34" fmla="*/ 196 w 254"/>
                <a:gd name="T35" fmla="*/ 76 h 221"/>
                <a:gd name="T36" fmla="*/ 191 w 254"/>
                <a:gd name="T37" fmla="*/ 81 h 221"/>
                <a:gd name="T38" fmla="*/ 186 w 254"/>
                <a:gd name="T39" fmla="*/ 67 h 221"/>
                <a:gd name="T40" fmla="*/ 163 w 254"/>
                <a:gd name="T41" fmla="*/ 45 h 221"/>
                <a:gd name="T42" fmla="*/ 156 w 254"/>
                <a:gd name="T43" fmla="*/ 22 h 221"/>
                <a:gd name="T44" fmla="*/ 158 w 254"/>
                <a:gd name="T45" fmla="*/ 10 h 221"/>
                <a:gd name="T46" fmla="*/ 0 w 254"/>
                <a:gd name="T47" fmla="*/ 2 h 221"/>
                <a:gd name="T48" fmla="*/ 4 w 254"/>
                <a:gd name="T49" fmla="*/ 6 h 221"/>
                <a:gd name="T50" fmla="*/ 3 w 254"/>
                <a:gd name="T51" fmla="*/ 13 h 221"/>
                <a:gd name="T52" fmla="*/ 5 w 254"/>
                <a:gd name="T53" fmla="*/ 17 h 221"/>
                <a:gd name="T54" fmla="*/ 12 w 254"/>
                <a:gd name="T55" fmla="*/ 25 h 221"/>
                <a:gd name="T56" fmla="*/ 14 w 254"/>
                <a:gd name="T57" fmla="*/ 29 h 221"/>
                <a:gd name="T58" fmla="*/ 20 w 254"/>
                <a:gd name="T59" fmla="*/ 39 h 221"/>
                <a:gd name="T60" fmla="*/ 31 w 254"/>
                <a:gd name="T61" fmla="*/ 39 h 221"/>
                <a:gd name="T62" fmla="*/ 28 w 254"/>
                <a:gd name="T63" fmla="*/ 50 h 221"/>
                <a:gd name="T64" fmla="*/ 31 w 254"/>
                <a:gd name="T65" fmla="*/ 61 h 221"/>
                <a:gd name="T66" fmla="*/ 36 w 254"/>
                <a:gd name="T67" fmla="*/ 69 h 221"/>
                <a:gd name="T68" fmla="*/ 42 w 254"/>
                <a:gd name="T69" fmla="*/ 176 h 221"/>
                <a:gd name="T70" fmla="*/ 215 w 254"/>
                <a:gd name="T71" fmla="*/ 197 h 221"/>
                <a:gd name="T72" fmla="*/ 205 w 254"/>
                <a:gd name="T73" fmla="*/ 221 h 221"/>
                <a:gd name="T74" fmla="*/ 234 w 254"/>
                <a:gd name="T75" fmla="*/ 216 h 221"/>
                <a:gd name="T76" fmla="*/ 237 w 254"/>
                <a:gd name="T77" fmla="*/ 211 h 221"/>
                <a:gd name="T78" fmla="*/ 234 w 254"/>
                <a:gd name="T79" fmla="*/ 206 h 221"/>
                <a:gd name="T80" fmla="*/ 237 w 254"/>
                <a:gd name="T81" fmla="*/ 203 h 221"/>
                <a:gd name="T82" fmla="*/ 238 w 254"/>
                <a:gd name="T83" fmla="*/ 197 h 221"/>
                <a:gd name="T84" fmla="*/ 238 w 254"/>
                <a:gd name="T85" fmla="*/ 19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4" h="221">
                  <a:moveTo>
                    <a:pt x="238" y="193"/>
                  </a:moveTo>
                  <a:cubicBezTo>
                    <a:pt x="238" y="190"/>
                    <a:pt x="238" y="190"/>
                    <a:pt x="238" y="190"/>
                  </a:cubicBezTo>
                  <a:cubicBezTo>
                    <a:pt x="238" y="189"/>
                    <a:pt x="238" y="189"/>
                    <a:pt x="238" y="189"/>
                  </a:cubicBezTo>
                  <a:cubicBezTo>
                    <a:pt x="242" y="189"/>
                    <a:pt x="242" y="189"/>
                    <a:pt x="242" y="189"/>
                  </a:cubicBezTo>
                  <a:cubicBezTo>
                    <a:pt x="243" y="189"/>
                    <a:pt x="243" y="189"/>
                    <a:pt x="243" y="189"/>
                  </a:cubicBezTo>
                  <a:cubicBezTo>
                    <a:pt x="244" y="188"/>
                    <a:pt x="244" y="188"/>
                    <a:pt x="244" y="188"/>
                  </a:cubicBezTo>
                  <a:cubicBezTo>
                    <a:pt x="246" y="187"/>
                    <a:pt x="246" y="187"/>
                    <a:pt x="246" y="187"/>
                  </a:cubicBezTo>
                  <a:cubicBezTo>
                    <a:pt x="249" y="187"/>
                    <a:pt x="249" y="187"/>
                    <a:pt x="249" y="187"/>
                  </a:cubicBezTo>
                  <a:cubicBezTo>
                    <a:pt x="252" y="186"/>
                    <a:pt x="252" y="186"/>
                    <a:pt x="252" y="186"/>
                  </a:cubicBezTo>
                  <a:cubicBezTo>
                    <a:pt x="254" y="183"/>
                    <a:pt x="254" y="183"/>
                    <a:pt x="254" y="183"/>
                  </a:cubicBezTo>
                  <a:cubicBezTo>
                    <a:pt x="254" y="177"/>
                    <a:pt x="254" y="177"/>
                    <a:pt x="254" y="177"/>
                  </a:cubicBezTo>
                  <a:cubicBezTo>
                    <a:pt x="254" y="173"/>
                    <a:pt x="254" y="173"/>
                    <a:pt x="254" y="173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50" y="168"/>
                    <a:pt x="250" y="168"/>
                    <a:pt x="250" y="168"/>
                  </a:cubicBezTo>
                  <a:cubicBezTo>
                    <a:pt x="250" y="165"/>
                    <a:pt x="250" y="165"/>
                    <a:pt x="250" y="165"/>
                  </a:cubicBezTo>
                  <a:cubicBezTo>
                    <a:pt x="251" y="161"/>
                    <a:pt x="251" y="161"/>
                    <a:pt x="251" y="161"/>
                  </a:cubicBezTo>
                  <a:cubicBezTo>
                    <a:pt x="246" y="161"/>
                    <a:pt x="246" y="161"/>
                    <a:pt x="246" y="161"/>
                  </a:cubicBezTo>
                  <a:cubicBezTo>
                    <a:pt x="243" y="166"/>
                    <a:pt x="243" y="166"/>
                    <a:pt x="243" y="166"/>
                  </a:cubicBezTo>
                  <a:cubicBezTo>
                    <a:pt x="243" y="161"/>
                    <a:pt x="243" y="161"/>
                    <a:pt x="243" y="161"/>
                  </a:cubicBezTo>
                  <a:cubicBezTo>
                    <a:pt x="238" y="156"/>
                    <a:pt x="238" y="156"/>
                    <a:pt x="238" y="156"/>
                  </a:cubicBezTo>
                  <a:cubicBezTo>
                    <a:pt x="239" y="152"/>
                    <a:pt x="239" y="152"/>
                    <a:pt x="239" y="152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6" y="135"/>
                    <a:pt x="236" y="135"/>
                    <a:pt x="236" y="135"/>
                  </a:cubicBezTo>
                  <a:cubicBezTo>
                    <a:pt x="232" y="131"/>
                    <a:pt x="232" y="131"/>
                    <a:pt x="232" y="131"/>
                  </a:cubicBezTo>
                  <a:cubicBezTo>
                    <a:pt x="219" y="122"/>
                    <a:pt x="219" y="122"/>
                    <a:pt x="219" y="122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08" y="118"/>
                    <a:pt x="208" y="118"/>
                    <a:pt x="208" y="118"/>
                  </a:cubicBezTo>
                  <a:cubicBezTo>
                    <a:pt x="202" y="112"/>
                    <a:pt x="202" y="112"/>
                    <a:pt x="202" y="112"/>
                  </a:cubicBezTo>
                  <a:cubicBezTo>
                    <a:pt x="202" y="106"/>
                    <a:pt x="202" y="106"/>
                    <a:pt x="202" y="106"/>
                  </a:cubicBezTo>
                  <a:cubicBezTo>
                    <a:pt x="204" y="100"/>
                    <a:pt x="204" y="100"/>
                    <a:pt x="204" y="100"/>
                  </a:cubicBezTo>
                  <a:cubicBezTo>
                    <a:pt x="205" y="96"/>
                    <a:pt x="205" y="96"/>
                    <a:pt x="205" y="96"/>
                  </a:cubicBezTo>
                  <a:cubicBezTo>
                    <a:pt x="206" y="91"/>
                    <a:pt x="206" y="91"/>
                    <a:pt x="206" y="91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06" y="80"/>
                    <a:pt x="206" y="80"/>
                    <a:pt x="206" y="80"/>
                  </a:cubicBezTo>
                  <a:cubicBezTo>
                    <a:pt x="202" y="76"/>
                    <a:pt x="202" y="76"/>
                    <a:pt x="202" y="76"/>
                  </a:cubicBezTo>
                  <a:cubicBezTo>
                    <a:pt x="196" y="76"/>
                    <a:pt x="196" y="76"/>
                    <a:pt x="196" y="76"/>
                  </a:cubicBezTo>
                  <a:cubicBezTo>
                    <a:pt x="193" y="78"/>
                    <a:pt x="193" y="78"/>
                    <a:pt x="193" y="78"/>
                  </a:cubicBezTo>
                  <a:cubicBezTo>
                    <a:pt x="191" y="81"/>
                    <a:pt x="191" y="81"/>
                    <a:pt x="191" y="81"/>
                  </a:cubicBezTo>
                  <a:cubicBezTo>
                    <a:pt x="186" y="76"/>
                    <a:pt x="186" y="76"/>
                    <a:pt x="186" y="76"/>
                  </a:cubicBezTo>
                  <a:cubicBezTo>
                    <a:pt x="186" y="67"/>
                    <a:pt x="186" y="67"/>
                    <a:pt x="186" y="67"/>
                  </a:cubicBezTo>
                  <a:cubicBezTo>
                    <a:pt x="181" y="60"/>
                    <a:pt x="181" y="60"/>
                    <a:pt x="181" y="60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56" y="33"/>
                    <a:pt x="156" y="33"/>
                    <a:pt x="156" y="33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56" y="11"/>
                    <a:pt x="156" y="11"/>
                    <a:pt x="156" y="11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4" y="16"/>
                    <a:pt x="5" y="17"/>
                  </a:cubicBezTo>
                  <a:cubicBezTo>
                    <a:pt x="6" y="18"/>
                    <a:pt x="11" y="19"/>
                    <a:pt x="11" y="19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176"/>
                    <a:pt x="42" y="176"/>
                    <a:pt x="42" y="176"/>
                  </a:cubicBezTo>
                  <a:cubicBezTo>
                    <a:pt x="42" y="201"/>
                    <a:pt x="42" y="201"/>
                    <a:pt x="42" y="201"/>
                  </a:cubicBezTo>
                  <a:cubicBezTo>
                    <a:pt x="215" y="197"/>
                    <a:pt x="215" y="197"/>
                    <a:pt x="215" y="197"/>
                  </a:cubicBezTo>
                  <a:cubicBezTo>
                    <a:pt x="216" y="203"/>
                    <a:pt x="216" y="203"/>
                    <a:pt x="216" y="20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33" y="219"/>
                    <a:pt x="233" y="219"/>
                    <a:pt x="233" y="219"/>
                  </a:cubicBezTo>
                  <a:cubicBezTo>
                    <a:pt x="234" y="216"/>
                    <a:pt x="234" y="216"/>
                    <a:pt x="234" y="216"/>
                  </a:cubicBezTo>
                  <a:cubicBezTo>
                    <a:pt x="236" y="213"/>
                    <a:pt x="236" y="213"/>
                    <a:pt x="236" y="213"/>
                  </a:cubicBezTo>
                  <a:cubicBezTo>
                    <a:pt x="236" y="213"/>
                    <a:pt x="238" y="212"/>
                    <a:pt x="237" y="211"/>
                  </a:cubicBezTo>
                  <a:cubicBezTo>
                    <a:pt x="237" y="210"/>
                    <a:pt x="235" y="207"/>
                    <a:pt x="235" y="207"/>
                  </a:cubicBezTo>
                  <a:cubicBezTo>
                    <a:pt x="234" y="206"/>
                    <a:pt x="234" y="206"/>
                    <a:pt x="234" y="206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37" y="203"/>
                    <a:pt x="237" y="203"/>
                    <a:pt x="237" y="203"/>
                  </a:cubicBezTo>
                  <a:cubicBezTo>
                    <a:pt x="238" y="200"/>
                    <a:pt x="238" y="200"/>
                    <a:pt x="238" y="200"/>
                  </a:cubicBezTo>
                  <a:cubicBezTo>
                    <a:pt x="238" y="197"/>
                    <a:pt x="238" y="197"/>
                    <a:pt x="238" y="197"/>
                  </a:cubicBezTo>
                  <a:cubicBezTo>
                    <a:pt x="238" y="194"/>
                    <a:pt x="238" y="194"/>
                    <a:pt x="238" y="194"/>
                  </a:cubicBezTo>
                  <a:lnTo>
                    <a:pt x="238" y="193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0" name="Freeform 47"/>
            <p:cNvSpPr>
              <a:spLocks/>
            </p:cNvSpPr>
            <p:nvPr/>
          </p:nvSpPr>
          <p:spPr bwMode="auto">
            <a:xfrm>
              <a:off x="6642333" y="1820782"/>
              <a:ext cx="350780" cy="408119"/>
            </a:xfrm>
            <a:custGeom>
              <a:avLst/>
              <a:gdLst>
                <a:gd name="T0" fmla="*/ 139 w 208"/>
                <a:gd name="T1" fmla="*/ 135 h 242"/>
                <a:gd name="T2" fmla="*/ 144 w 208"/>
                <a:gd name="T3" fmla="*/ 107 h 242"/>
                <a:gd name="T4" fmla="*/ 169 w 208"/>
                <a:gd name="T5" fmla="*/ 80 h 242"/>
                <a:gd name="T6" fmla="*/ 208 w 208"/>
                <a:gd name="T7" fmla="*/ 55 h 242"/>
                <a:gd name="T8" fmla="*/ 183 w 208"/>
                <a:gd name="T9" fmla="*/ 52 h 242"/>
                <a:gd name="T10" fmla="*/ 166 w 208"/>
                <a:gd name="T11" fmla="*/ 52 h 242"/>
                <a:gd name="T12" fmla="*/ 154 w 208"/>
                <a:gd name="T13" fmla="*/ 55 h 242"/>
                <a:gd name="T14" fmla="*/ 147 w 208"/>
                <a:gd name="T15" fmla="*/ 48 h 242"/>
                <a:gd name="T16" fmla="*/ 133 w 208"/>
                <a:gd name="T17" fmla="*/ 45 h 242"/>
                <a:gd name="T18" fmla="*/ 128 w 208"/>
                <a:gd name="T19" fmla="*/ 42 h 242"/>
                <a:gd name="T20" fmla="*/ 114 w 208"/>
                <a:gd name="T21" fmla="*/ 36 h 242"/>
                <a:gd name="T22" fmla="*/ 123 w 208"/>
                <a:gd name="T23" fmla="*/ 36 h 242"/>
                <a:gd name="T24" fmla="*/ 114 w 208"/>
                <a:gd name="T25" fmla="*/ 35 h 242"/>
                <a:gd name="T26" fmla="*/ 105 w 208"/>
                <a:gd name="T27" fmla="*/ 35 h 242"/>
                <a:gd name="T28" fmla="*/ 97 w 208"/>
                <a:gd name="T29" fmla="*/ 39 h 242"/>
                <a:gd name="T30" fmla="*/ 87 w 208"/>
                <a:gd name="T31" fmla="*/ 34 h 242"/>
                <a:gd name="T32" fmla="*/ 80 w 208"/>
                <a:gd name="T33" fmla="*/ 34 h 242"/>
                <a:gd name="T34" fmla="*/ 68 w 208"/>
                <a:gd name="T35" fmla="*/ 24 h 242"/>
                <a:gd name="T36" fmla="*/ 66 w 208"/>
                <a:gd name="T37" fmla="*/ 20 h 242"/>
                <a:gd name="T38" fmla="*/ 58 w 208"/>
                <a:gd name="T39" fmla="*/ 20 h 242"/>
                <a:gd name="T40" fmla="*/ 54 w 208"/>
                <a:gd name="T41" fmla="*/ 16 h 242"/>
                <a:gd name="T42" fmla="*/ 58 w 208"/>
                <a:gd name="T43" fmla="*/ 8 h 242"/>
                <a:gd name="T44" fmla="*/ 60 w 208"/>
                <a:gd name="T45" fmla="*/ 2 h 242"/>
                <a:gd name="T46" fmla="*/ 56 w 208"/>
                <a:gd name="T47" fmla="*/ 0 h 242"/>
                <a:gd name="T48" fmla="*/ 54 w 208"/>
                <a:gd name="T49" fmla="*/ 12 h 242"/>
                <a:gd name="T50" fmla="*/ 0 w 208"/>
                <a:gd name="T51" fmla="*/ 16 h 242"/>
                <a:gd name="T52" fmla="*/ 1 w 208"/>
                <a:gd name="T53" fmla="*/ 23 h 242"/>
                <a:gd name="T54" fmla="*/ 4 w 208"/>
                <a:gd name="T55" fmla="*/ 26 h 242"/>
                <a:gd name="T56" fmla="*/ 3 w 208"/>
                <a:gd name="T57" fmla="*/ 31 h 242"/>
                <a:gd name="T58" fmla="*/ 1 w 208"/>
                <a:gd name="T59" fmla="*/ 34 h 242"/>
                <a:gd name="T60" fmla="*/ 2 w 208"/>
                <a:gd name="T61" fmla="*/ 40 h 242"/>
                <a:gd name="T62" fmla="*/ 1 w 208"/>
                <a:gd name="T63" fmla="*/ 51 h 242"/>
                <a:gd name="T64" fmla="*/ 6 w 208"/>
                <a:gd name="T65" fmla="*/ 64 h 242"/>
                <a:gd name="T66" fmla="*/ 9 w 208"/>
                <a:gd name="T67" fmla="*/ 78 h 242"/>
                <a:gd name="T68" fmla="*/ 10 w 208"/>
                <a:gd name="T69" fmla="*/ 104 h 242"/>
                <a:gd name="T70" fmla="*/ 12 w 208"/>
                <a:gd name="T71" fmla="*/ 114 h 242"/>
                <a:gd name="T72" fmla="*/ 12 w 208"/>
                <a:gd name="T73" fmla="*/ 122 h 242"/>
                <a:gd name="T74" fmla="*/ 17 w 208"/>
                <a:gd name="T75" fmla="*/ 127 h 242"/>
                <a:gd name="T76" fmla="*/ 18 w 208"/>
                <a:gd name="T77" fmla="*/ 136 h 242"/>
                <a:gd name="T78" fmla="*/ 16 w 208"/>
                <a:gd name="T79" fmla="*/ 142 h 242"/>
                <a:gd name="T80" fmla="*/ 17 w 208"/>
                <a:gd name="T81" fmla="*/ 144 h 242"/>
                <a:gd name="T82" fmla="*/ 11 w 208"/>
                <a:gd name="T83" fmla="*/ 150 h 242"/>
                <a:gd name="T84" fmla="*/ 8 w 208"/>
                <a:gd name="T85" fmla="*/ 154 h 242"/>
                <a:gd name="T86" fmla="*/ 9 w 208"/>
                <a:gd name="T87" fmla="*/ 158 h 242"/>
                <a:gd name="T88" fmla="*/ 12 w 208"/>
                <a:gd name="T89" fmla="*/ 163 h 242"/>
                <a:gd name="T90" fmla="*/ 18 w 208"/>
                <a:gd name="T91" fmla="*/ 167 h 242"/>
                <a:gd name="T92" fmla="*/ 18 w 208"/>
                <a:gd name="T93" fmla="*/ 242 h 242"/>
                <a:gd name="T94" fmla="*/ 173 w 208"/>
                <a:gd name="T95" fmla="*/ 233 h 242"/>
                <a:gd name="T96" fmla="*/ 166 w 208"/>
                <a:gd name="T97" fmla="*/ 220 h 242"/>
                <a:gd name="T98" fmla="*/ 157 w 208"/>
                <a:gd name="T99" fmla="*/ 213 h 242"/>
                <a:gd name="T100" fmla="*/ 138 w 208"/>
                <a:gd name="T101" fmla="*/ 197 h 242"/>
                <a:gd name="T102" fmla="*/ 125 w 208"/>
                <a:gd name="T103" fmla="*/ 189 h 242"/>
                <a:gd name="T104" fmla="*/ 128 w 208"/>
                <a:gd name="T105" fmla="*/ 159 h 242"/>
                <a:gd name="T106" fmla="*/ 122 w 208"/>
                <a:gd name="T107" fmla="*/ 154 h 242"/>
                <a:gd name="T108" fmla="*/ 128 w 208"/>
                <a:gd name="T109" fmla="*/ 1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8" h="242">
                  <a:moveTo>
                    <a:pt x="128" y="141"/>
                  </a:moveTo>
                  <a:lnTo>
                    <a:pt x="139" y="135"/>
                  </a:lnTo>
                  <a:lnTo>
                    <a:pt x="139" y="111"/>
                  </a:lnTo>
                  <a:lnTo>
                    <a:pt x="144" y="107"/>
                  </a:lnTo>
                  <a:lnTo>
                    <a:pt x="161" y="91"/>
                  </a:lnTo>
                  <a:lnTo>
                    <a:pt x="169" y="80"/>
                  </a:lnTo>
                  <a:lnTo>
                    <a:pt x="185" y="69"/>
                  </a:lnTo>
                  <a:lnTo>
                    <a:pt x="208" y="55"/>
                  </a:lnTo>
                  <a:lnTo>
                    <a:pt x="200" y="53"/>
                  </a:lnTo>
                  <a:lnTo>
                    <a:pt x="183" y="52"/>
                  </a:lnTo>
                  <a:lnTo>
                    <a:pt x="169" y="49"/>
                  </a:lnTo>
                  <a:lnTo>
                    <a:pt x="166" y="52"/>
                  </a:lnTo>
                  <a:lnTo>
                    <a:pt x="162" y="55"/>
                  </a:lnTo>
                  <a:lnTo>
                    <a:pt x="154" y="55"/>
                  </a:lnTo>
                  <a:lnTo>
                    <a:pt x="151" y="51"/>
                  </a:lnTo>
                  <a:lnTo>
                    <a:pt x="147" y="48"/>
                  </a:lnTo>
                  <a:lnTo>
                    <a:pt x="136" y="45"/>
                  </a:lnTo>
                  <a:lnTo>
                    <a:pt x="133" y="45"/>
                  </a:lnTo>
                  <a:lnTo>
                    <a:pt x="129" y="43"/>
                  </a:lnTo>
                  <a:lnTo>
                    <a:pt x="128" y="42"/>
                  </a:lnTo>
                  <a:lnTo>
                    <a:pt x="119" y="41"/>
                  </a:lnTo>
                  <a:lnTo>
                    <a:pt x="114" y="36"/>
                  </a:lnTo>
                  <a:lnTo>
                    <a:pt x="120" y="39"/>
                  </a:lnTo>
                  <a:lnTo>
                    <a:pt x="123" y="36"/>
                  </a:lnTo>
                  <a:lnTo>
                    <a:pt x="119" y="35"/>
                  </a:lnTo>
                  <a:lnTo>
                    <a:pt x="114" y="35"/>
                  </a:lnTo>
                  <a:lnTo>
                    <a:pt x="109" y="35"/>
                  </a:lnTo>
                  <a:lnTo>
                    <a:pt x="105" y="35"/>
                  </a:lnTo>
                  <a:lnTo>
                    <a:pt x="100" y="35"/>
                  </a:lnTo>
                  <a:lnTo>
                    <a:pt x="97" y="39"/>
                  </a:lnTo>
                  <a:lnTo>
                    <a:pt x="93" y="39"/>
                  </a:lnTo>
                  <a:lnTo>
                    <a:pt x="87" y="34"/>
                  </a:lnTo>
                  <a:lnTo>
                    <a:pt x="84" y="34"/>
                  </a:lnTo>
                  <a:lnTo>
                    <a:pt x="80" y="34"/>
                  </a:lnTo>
                  <a:lnTo>
                    <a:pt x="73" y="32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20"/>
                  </a:lnTo>
                  <a:lnTo>
                    <a:pt x="55" y="20"/>
                  </a:lnTo>
                  <a:lnTo>
                    <a:pt x="54" y="16"/>
                  </a:lnTo>
                  <a:lnTo>
                    <a:pt x="57" y="12"/>
                  </a:lnTo>
                  <a:lnTo>
                    <a:pt x="58" y="8"/>
                  </a:lnTo>
                  <a:lnTo>
                    <a:pt x="62" y="5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10"/>
                  </a:lnTo>
                  <a:lnTo>
                    <a:pt x="54" y="12"/>
                  </a:lnTo>
                  <a:lnTo>
                    <a:pt x="52" y="16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1" y="23"/>
                  </a:lnTo>
                  <a:lnTo>
                    <a:pt x="1" y="24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8"/>
                  </a:lnTo>
                  <a:lnTo>
                    <a:pt x="2" y="40"/>
                  </a:lnTo>
                  <a:lnTo>
                    <a:pt x="3" y="45"/>
                  </a:lnTo>
                  <a:lnTo>
                    <a:pt x="1" y="51"/>
                  </a:lnTo>
                  <a:lnTo>
                    <a:pt x="3" y="56"/>
                  </a:lnTo>
                  <a:lnTo>
                    <a:pt x="6" y="64"/>
                  </a:lnTo>
                  <a:lnTo>
                    <a:pt x="9" y="70"/>
                  </a:lnTo>
                  <a:lnTo>
                    <a:pt x="9" y="78"/>
                  </a:lnTo>
                  <a:lnTo>
                    <a:pt x="10" y="92"/>
                  </a:lnTo>
                  <a:lnTo>
                    <a:pt x="10" y="104"/>
                  </a:lnTo>
                  <a:lnTo>
                    <a:pt x="10" y="112"/>
                  </a:lnTo>
                  <a:lnTo>
                    <a:pt x="12" y="114"/>
                  </a:lnTo>
                  <a:lnTo>
                    <a:pt x="12" y="116"/>
                  </a:lnTo>
                  <a:lnTo>
                    <a:pt x="12" y="122"/>
                  </a:lnTo>
                  <a:lnTo>
                    <a:pt x="15" y="124"/>
                  </a:lnTo>
                  <a:lnTo>
                    <a:pt x="17" y="127"/>
                  </a:lnTo>
                  <a:lnTo>
                    <a:pt x="18" y="132"/>
                  </a:lnTo>
                  <a:lnTo>
                    <a:pt x="18" y="136"/>
                  </a:lnTo>
                  <a:lnTo>
                    <a:pt x="18" y="141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7" y="144"/>
                  </a:lnTo>
                  <a:lnTo>
                    <a:pt x="13" y="147"/>
                  </a:lnTo>
                  <a:lnTo>
                    <a:pt x="11" y="150"/>
                  </a:lnTo>
                  <a:lnTo>
                    <a:pt x="8" y="152"/>
                  </a:lnTo>
                  <a:lnTo>
                    <a:pt x="8" y="154"/>
                  </a:lnTo>
                  <a:lnTo>
                    <a:pt x="8" y="156"/>
                  </a:lnTo>
                  <a:lnTo>
                    <a:pt x="9" y="158"/>
                  </a:lnTo>
                  <a:lnTo>
                    <a:pt x="12" y="160"/>
                  </a:lnTo>
                  <a:lnTo>
                    <a:pt x="12" y="163"/>
                  </a:lnTo>
                  <a:lnTo>
                    <a:pt x="17" y="164"/>
                  </a:lnTo>
                  <a:lnTo>
                    <a:pt x="18" y="167"/>
                  </a:lnTo>
                  <a:lnTo>
                    <a:pt x="21" y="169"/>
                  </a:lnTo>
                  <a:lnTo>
                    <a:pt x="18" y="242"/>
                  </a:lnTo>
                  <a:lnTo>
                    <a:pt x="172" y="239"/>
                  </a:lnTo>
                  <a:lnTo>
                    <a:pt x="173" y="233"/>
                  </a:lnTo>
                  <a:lnTo>
                    <a:pt x="172" y="227"/>
                  </a:lnTo>
                  <a:lnTo>
                    <a:pt x="166" y="220"/>
                  </a:lnTo>
                  <a:lnTo>
                    <a:pt x="160" y="216"/>
                  </a:lnTo>
                  <a:lnTo>
                    <a:pt x="157" y="213"/>
                  </a:lnTo>
                  <a:lnTo>
                    <a:pt x="150" y="204"/>
                  </a:lnTo>
                  <a:lnTo>
                    <a:pt x="138" y="197"/>
                  </a:lnTo>
                  <a:lnTo>
                    <a:pt x="130" y="193"/>
                  </a:lnTo>
                  <a:lnTo>
                    <a:pt x="125" y="189"/>
                  </a:lnTo>
                  <a:lnTo>
                    <a:pt x="126" y="174"/>
                  </a:lnTo>
                  <a:lnTo>
                    <a:pt x="128" y="159"/>
                  </a:lnTo>
                  <a:lnTo>
                    <a:pt x="126" y="159"/>
                  </a:lnTo>
                  <a:lnTo>
                    <a:pt x="122" y="154"/>
                  </a:lnTo>
                  <a:lnTo>
                    <a:pt x="126" y="145"/>
                  </a:lnTo>
                  <a:lnTo>
                    <a:pt x="128" y="141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1" name="Line 48"/>
            <p:cNvSpPr>
              <a:spLocks noChangeShapeType="1"/>
            </p:cNvSpPr>
            <p:nvPr/>
          </p:nvSpPr>
          <p:spPr bwMode="auto">
            <a:xfrm>
              <a:off x="6881810" y="2014724"/>
              <a:ext cx="0" cy="0"/>
            </a:xfrm>
            <a:prstGeom prst="line">
              <a:avLst/>
            </a:prstGeom>
            <a:grpFill/>
            <a:ln w="6350">
              <a:solidFill>
                <a:schemeClr val="bg2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2" name="Line 49"/>
            <p:cNvSpPr>
              <a:spLocks noChangeShapeType="1"/>
            </p:cNvSpPr>
            <p:nvPr/>
          </p:nvSpPr>
          <p:spPr bwMode="auto">
            <a:xfrm>
              <a:off x="6881810" y="2014724"/>
              <a:ext cx="0" cy="0"/>
            </a:xfrm>
            <a:prstGeom prst="line">
              <a:avLst/>
            </a:pr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/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3" name="Freeform 50"/>
            <p:cNvSpPr>
              <a:spLocks/>
            </p:cNvSpPr>
            <p:nvPr/>
          </p:nvSpPr>
          <p:spPr bwMode="auto">
            <a:xfrm>
              <a:off x="6964446" y="1940520"/>
              <a:ext cx="409805" cy="386196"/>
            </a:xfrm>
            <a:custGeom>
              <a:avLst/>
              <a:gdLst>
                <a:gd name="T0" fmla="*/ 12 w 287"/>
                <a:gd name="T1" fmla="*/ 44 h 270"/>
                <a:gd name="T2" fmla="*/ 29 w 287"/>
                <a:gd name="T3" fmla="*/ 36 h 270"/>
                <a:gd name="T4" fmla="*/ 52 w 287"/>
                <a:gd name="T5" fmla="*/ 17 h 270"/>
                <a:gd name="T6" fmla="*/ 77 w 287"/>
                <a:gd name="T7" fmla="*/ 0 h 270"/>
                <a:gd name="T8" fmla="*/ 75 w 287"/>
                <a:gd name="T9" fmla="*/ 6 h 270"/>
                <a:gd name="T10" fmla="*/ 65 w 287"/>
                <a:gd name="T11" fmla="*/ 19 h 270"/>
                <a:gd name="T12" fmla="*/ 67 w 287"/>
                <a:gd name="T13" fmla="*/ 29 h 270"/>
                <a:gd name="T14" fmla="*/ 77 w 287"/>
                <a:gd name="T15" fmla="*/ 28 h 270"/>
                <a:gd name="T16" fmla="*/ 111 w 287"/>
                <a:gd name="T17" fmla="*/ 45 h 270"/>
                <a:gd name="T18" fmla="*/ 135 w 287"/>
                <a:gd name="T19" fmla="*/ 39 h 270"/>
                <a:gd name="T20" fmla="*/ 169 w 287"/>
                <a:gd name="T21" fmla="*/ 28 h 270"/>
                <a:gd name="T22" fmla="*/ 198 w 287"/>
                <a:gd name="T23" fmla="*/ 38 h 270"/>
                <a:gd name="T24" fmla="*/ 217 w 287"/>
                <a:gd name="T25" fmla="*/ 55 h 270"/>
                <a:gd name="T26" fmla="*/ 232 w 287"/>
                <a:gd name="T27" fmla="*/ 56 h 270"/>
                <a:gd name="T28" fmla="*/ 219 w 287"/>
                <a:gd name="T29" fmla="*/ 62 h 270"/>
                <a:gd name="T30" fmla="*/ 193 w 287"/>
                <a:gd name="T31" fmla="*/ 64 h 270"/>
                <a:gd name="T32" fmla="*/ 201 w 287"/>
                <a:gd name="T33" fmla="*/ 74 h 270"/>
                <a:gd name="T34" fmla="*/ 204 w 287"/>
                <a:gd name="T35" fmla="*/ 75 h 270"/>
                <a:gd name="T36" fmla="*/ 234 w 287"/>
                <a:gd name="T37" fmla="*/ 88 h 270"/>
                <a:gd name="T38" fmla="*/ 246 w 287"/>
                <a:gd name="T39" fmla="*/ 109 h 270"/>
                <a:gd name="T40" fmla="*/ 245 w 287"/>
                <a:gd name="T41" fmla="*/ 141 h 270"/>
                <a:gd name="T42" fmla="*/ 233 w 287"/>
                <a:gd name="T43" fmla="*/ 168 h 270"/>
                <a:gd name="T44" fmla="*/ 246 w 287"/>
                <a:gd name="T45" fmla="*/ 166 h 270"/>
                <a:gd name="T46" fmla="*/ 255 w 287"/>
                <a:gd name="T47" fmla="*/ 153 h 270"/>
                <a:gd name="T48" fmla="*/ 275 w 287"/>
                <a:gd name="T49" fmla="*/ 154 h 270"/>
                <a:gd name="T50" fmla="*/ 287 w 287"/>
                <a:gd name="T51" fmla="*/ 197 h 270"/>
                <a:gd name="T52" fmla="*/ 275 w 287"/>
                <a:gd name="T53" fmla="*/ 220 h 270"/>
                <a:gd name="T54" fmla="*/ 266 w 287"/>
                <a:gd name="T55" fmla="*/ 249 h 270"/>
                <a:gd name="T56" fmla="*/ 141 w 287"/>
                <a:gd name="T57" fmla="*/ 270 h 270"/>
                <a:gd name="T58" fmla="*/ 158 w 287"/>
                <a:gd name="T59" fmla="*/ 235 h 270"/>
                <a:gd name="T60" fmla="*/ 145 w 287"/>
                <a:gd name="T61" fmla="*/ 191 h 270"/>
                <a:gd name="T62" fmla="*/ 144 w 287"/>
                <a:gd name="T63" fmla="*/ 165 h 270"/>
                <a:gd name="T64" fmla="*/ 148 w 287"/>
                <a:gd name="T65" fmla="*/ 147 h 270"/>
                <a:gd name="T66" fmla="*/ 153 w 287"/>
                <a:gd name="T67" fmla="*/ 122 h 270"/>
                <a:gd name="T68" fmla="*/ 166 w 287"/>
                <a:gd name="T69" fmla="*/ 106 h 270"/>
                <a:gd name="T70" fmla="*/ 169 w 287"/>
                <a:gd name="T71" fmla="*/ 122 h 270"/>
                <a:gd name="T72" fmla="*/ 175 w 287"/>
                <a:gd name="T73" fmla="*/ 111 h 270"/>
                <a:gd name="T74" fmla="*/ 180 w 287"/>
                <a:gd name="T75" fmla="*/ 94 h 270"/>
                <a:gd name="T76" fmla="*/ 184 w 287"/>
                <a:gd name="T77" fmla="*/ 81 h 270"/>
                <a:gd name="T78" fmla="*/ 189 w 287"/>
                <a:gd name="T79" fmla="*/ 74 h 270"/>
                <a:gd name="T80" fmla="*/ 187 w 287"/>
                <a:gd name="T81" fmla="*/ 65 h 270"/>
                <a:gd name="T82" fmla="*/ 159 w 287"/>
                <a:gd name="T83" fmla="*/ 68 h 270"/>
                <a:gd name="T84" fmla="*/ 129 w 287"/>
                <a:gd name="T85" fmla="*/ 85 h 270"/>
                <a:gd name="T86" fmla="*/ 127 w 287"/>
                <a:gd name="T87" fmla="*/ 76 h 270"/>
                <a:gd name="T88" fmla="*/ 118 w 287"/>
                <a:gd name="T89" fmla="*/ 75 h 270"/>
                <a:gd name="T90" fmla="*/ 107 w 287"/>
                <a:gd name="T91" fmla="*/ 101 h 270"/>
                <a:gd name="T92" fmla="*/ 95 w 287"/>
                <a:gd name="T93" fmla="*/ 100 h 270"/>
                <a:gd name="T94" fmla="*/ 84 w 287"/>
                <a:gd name="T95" fmla="*/ 81 h 270"/>
                <a:gd name="T96" fmla="*/ 58 w 287"/>
                <a:gd name="T97" fmla="*/ 74 h 270"/>
                <a:gd name="T98" fmla="*/ 29 w 287"/>
                <a:gd name="T99" fmla="*/ 65 h 270"/>
                <a:gd name="T100" fmla="*/ 9 w 287"/>
                <a:gd name="T101" fmla="*/ 57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" h="270">
                  <a:moveTo>
                    <a:pt x="0" y="51"/>
                  </a:moveTo>
                  <a:cubicBezTo>
                    <a:pt x="2" y="49"/>
                    <a:pt x="2" y="49"/>
                    <a:pt x="2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4"/>
                    <a:pt x="68" y="14"/>
                    <a:pt x="68" y="15"/>
                  </a:cubicBezTo>
                  <a:cubicBezTo>
                    <a:pt x="68" y="16"/>
                    <a:pt x="65" y="23"/>
                    <a:pt x="65" y="23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7" y="48"/>
                    <a:pt x="127" y="48"/>
                    <a:pt x="127" y="48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39" y="35"/>
                    <a:pt x="139" y="35"/>
                    <a:pt x="139" y="35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60" y="31"/>
                    <a:pt x="160" y="31"/>
                    <a:pt x="160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8" y="38"/>
                    <a:pt x="198" y="38"/>
                    <a:pt x="198" y="38"/>
                  </a:cubicBezTo>
                  <a:cubicBezTo>
                    <a:pt x="203" y="39"/>
                    <a:pt x="203" y="39"/>
                    <a:pt x="203" y="39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51"/>
                    <a:pt x="213" y="51"/>
                    <a:pt x="213" y="51"/>
                  </a:cubicBezTo>
                  <a:cubicBezTo>
                    <a:pt x="215" y="53"/>
                    <a:pt x="215" y="53"/>
                    <a:pt x="215" y="53"/>
                  </a:cubicBezTo>
                  <a:cubicBezTo>
                    <a:pt x="215" y="53"/>
                    <a:pt x="216" y="54"/>
                    <a:pt x="217" y="55"/>
                  </a:cubicBezTo>
                  <a:cubicBezTo>
                    <a:pt x="218" y="56"/>
                    <a:pt x="219" y="58"/>
                    <a:pt x="219" y="58"/>
                  </a:cubicBezTo>
                  <a:cubicBezTo>
                    <a:pt x="224" y="59"/>
                    <a:pt x="224" y="59"/>
                    <a:pt x="224" y="59"/>
                  </a:cubicBezTo>
                  <a:cubicBezTo>
                    <a:pt x="224" y="59"/>
                    <a:pt x="226" y="57"/>
                    <a:pt x="226" y="57"/>
                  </a:cubicBezTo>
                  <a:cubicBezTo>
                    <a:pt x="226" y="56"/>
                    <a:pt x="230" y="54"/>
                    <a:pt x="230" y="54"/>
                  </a:cubicBezTo>
                  <a:cubicBezTo>
                    <a:pt x="232" y="56"/>
                    <a:pt x="232" y="56"/>
                    <a:pt x="232" y="56"/>
                  </a:cubicBezTo>
                  <a:cubicBezTo>
                    <a:pt x="232" y="56"/>
                    <a:pt x="234" y="57"/>
                    <a:pt x="232" y="58"/>
                  </a:cubicBezTo>
                  <a:cubicBezTo>
                    <a:pt x="231" y="58"/>
                    <a:pt x="230" y="60"/>
                    <a:pt x="229" y="60"/>
                  </a:cubicBezTo>
                  <a:cubicBezTo>
                    <a:pt x="227" y="60"/>
                    <a:pt x="225" y="60"/>
                    <a:pt x="225" y="60"/>
                  </a:cubicBezTo>
                  <a:cubicBezTo>
                    <a:pt x="221" y="60"/>
                    <a:pt x="221" y="60"/>
                    <a:pt x="221" y="60"/>
                  </a:cubicBezTo>
                  <a:cubicBezTo>
                    <a:pt x="219" y="62"/>
                    <a:pt x="219" y="62"/>
                    <a:pt x="219" y="62"/>
                  </a:cubicBezTo>
                  <a:cubicBezTo>
                    <a:pt x="208" y="62"/>
                    <a:pt x="208" y="62"/>
                    <a:pt x="208" y="62"/>
                  </a:cubicBezTo>
                  <a:cubicBezTo>
                    <a:pt x="205" y="63"/>
                    <a:pt x="205" y="63"/>
                    <a:pt x="205" y="63"/>
                  </a:cubicBezTo>
                  <a:cubicBezTo>
                    <a:pt x="201" y="61"/>
                    <a:pt x="201" y="61"/>
                    <a:pt x="201" y="61"/>
                  </a:cubicBezTo>
                  <a:cubicBezTo>
                    <a:pt x="197" y="59"/>
                    <a:pt x="197" y="59"/>
                    <a:pt x="197" y="59"/>
                  </a:cubicBezTo>
                  <a:cubicBezTo>
                    <a:pt x="193" y="64"/>
                    <a:pt x="193" y="64"/>
                    <a:pt x="193" y="64"/>
                  </a:cubicBezTo>
                  <a:cubicBezTo>
                    <a:pt x="194" y="67"/>
                    <a:pt x="194" y="67"/>
                    <a:pt x="194" y="67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69"/>
                    <a:pt x="194" y="71"/>
                    <a:pt x="195" y="71"/>
                  </a:cubicBezTo>
                  <a:cubicBezTo>
                    <a:pt x="195" y="71"/>
                    <a:pt x="196" y="72"/>
                    <a:pt x="196" y="72"/>
                  </a:cubicBezTo>
                  <a:cubicBezTo>
                    <a:pt x="201" y="74"/>
                    <a:pt x="201" y="74"/>
                    <a:pt x="201" y="74"/>
                  </a:cubicBezTo>
                  <a:cubicBezTo>
                    <a:pt x="203" y="72"/>
                    <a:pt x="203" y="72"/>
                    <a:pt x="203" y="72"/>
                  </a:cubicBezTo>
                  <a:cubicBezTo>
                    <a:pt x="203" y="72"/>
                    <a:pt x="200" y="70"/>
                    <a:pt x="201" y="70"/>
                  </a:cubicBezTo>
                  <a:cubicBezTo>
                    <a:pt x="202" y="70"/>
                    <a:pt x="206" y="72"/>
                    <a:pt x="206" y="72"/>
                  </a:cubicBezTo>
                  <a:cubicBezTo>
                    <a:pt x="206" y="72"/>
                    <a:pt x="205" y="74"/>
                    <a:pt x="205" y="74"/>
                  </a:cubicBezTo>
                  <a:cubicBezTo>
                    <a:pt x="204" y="75"/>
                    <a:pt x="204" y="75"/>
                    <a:pt x="204" y="75"/>
                  </a:cubicBezTo>
                  <a:cubicBezTo>
                    <a:pt x="205" y="76"/>
                    <a:pt x="210" y="77"/>
                    <a:pt x="210" y="77"/>
                  </a:cubicBezTo>
                  <a:cubicBezTo>
                    <a:pt x="211" y="77"/>
                    <a:pt x="214" y="79"/>
                    <a:pt x="214" y="79"/>
                  </a:cubicBezTo>
                  <a:cubicBezTo>
                    <a:pt x="219" y="82"/>
                    <a:pt x="219" y="82"/>
                    <a:pt x="219" y="82"/>
                  </a:cubicBezTo>
                  <a:cubicBezTo>
                    <a:pt x="226" y="85"/>
                    <a:pt x="226" y="85"/>
                    <a:pt x="226" y="85"/>
                  </a:cubicBezTo>
                  <a:cubicBezTo>
                    <a:pt x="234" y="88"/>
                    <a:pt x="234" y="88"/>
                    <a:pt x="234" y="88"/>
                  </a:cubicBezTo>
                  <a:cubicBezTo>
                    <a:pt x="242" y="96"/>
                    <a:pt x="242" y="96"/>
                    <a:pt x="242" y="96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4" y="103"/>
                    <a:pt x="244" y="103"/>
                    <a:pt x="244" y="103"/>
                  </a:cubicBezTo>
                  <a:cubicBezTo>
                    <a:pt x="244" y="103"/>
                    <a:pt x="243" y="103"/>
                    <a:pt x="243" y="104"/>
                  </a:cubicBezTo>
                  <a:cubicBezTo>
                    <a:pt x="244" y="105"/>
                    <a:pt x="246" y="109"/>
                    <a:pt x="246" y="109"/>
                  </a:cubicBezTo>
                  <a:cubicBezTo>
                    <a:pt x="245" y="110"/>
                    <a:pt x="247" y="113"/>
                    <a:pt x="247" y="113"/>
                  </a:cubicBezTo>
                  <a:cubicBezTo>
                    <a:pt x="249" y="124"/>
                    <a:pt x="249" y="124"/>
                    <a:pt x="249" y="124"/>
                  </a:cubicBezTo>
                  <a:cubicBezTo>
                    <a:pt x="250" y="130"/>
                    <a:pt x="250" y="130"/>
                    <a:pt x="250" y="130"/>
                  </a:cubicBezTo>
                  <a:cubicBezTo>
                    <a:pt x="249" y="136"/>
                    <a:pt x="249" y="136"/>
                    <a:pt x="249" y="136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2" y="147"/>
                    <a:pt x="242" y="147"/>
                    <a:pt x="242" y="147"/>
                  </a:cubicBezTo>
                  <a:cubicBezTo>
                    <a:pt x="242" y="147"/>
                    <a:pt x="240" y="151"/>
                    <a:pt x="239" y="152"/>
                  </a:cubicBezTo>
                  <a:cubicBezTo>
                    <a:pt x="239" y="152"/>
                    <a:pt x="235" y="155"/>
                    <a:pt x="235" y="156"/>
                  </a:cubicBezTo>
                  <a:cubicBezTo>
                    <a:pt x="235" y="156"/>
                    <a:pt x="233" y="160"/>
                    <a:pt x="233" y="160"/>
                  </a:cubicBezTo>
                  <a:cubicBezTo>
                    <a:pt x="233" y="168"/>
                    <a:pt x="233" y="168"/>
                    <a:pt x="233" y="168"/>
                  </a:cubicBezTo>
                  <a:cubicBezTo>
                    <a:pt x="235" y="170"/>
                    <a:pt x="235" y="170"/>
                    <a:pt x="235" y="170"/>
                  </a:cubicBezTo>
                  <a:cubicBezTo>
                    <a:pt x="240" y="172"/>
                    <a:pt x="240" y="172"/>
                    <a:pt x="240" y="172"/>
                  </a:cubicBezTo>
                  <a:cubicBezTo>
                    <a:pt x="242" y="170"/>
                    <a:pt x="242" y="170"/>
                    <a:pt x="242" y="170"/>
                  </a:cubicBezTo>
                  <a:cubicBezTo>
                    <a:pt x="242" y="170"/>
                    <a:pt x="244" y="169"/>
                    <a:pt x="244" y="168"/>
                  </a:cubicBezTo>
                  <a:cubicBezTo>
                    <a:pt x="245" y="168"/>
                    <a:pt x="246" y="166"/>
                    <a:pt x="246" y="166"/>
                  </a:cubicBezTo>
                  <a:cubicBezTo>
                    <a:pt x="246" y="166"/>
                    <a:pt x="249" y="164"/>
                    <a:pt x="249" y="164"/>
                  </a:cubicBezTo>
                  <a:cubicBezTo>
                    <a:pt x="249" y="164"/>
                    <a:pt x="249" y="161"/>
                    <a:pt x="249" y="161"/>
                  </a:cubicBezTo>
                  <a:cubicBezTo>
                    <a:pt x="249" y="161"/>
                    <a:pt x="250" y="157"/>
                    <a:pt x="250" y="157"/>
                  </a:cubicBezTo>
                  <a:cubicBezTo>
                    <a:pt x="250" y="157"/>
                    <a:pt x="252" y="156"/>
                    <a:pt x="252" y="156"/>
                  </a:cubicBezTo>
                  <a:cubicBezTo>
                    <a:pt x="252" y="155"/>
                    <a:pt x="255" y="153"/>
                    <a:pt x="255" y="153"/>
                  </a:cubicBezTo>
                  <a:cubicBezTo>
                    <a:pt x="255" y="153"/>
                    <a:pt x="259" y="150"/>
                    <a:pt x="259" y="150"/>
                  </a:cubicBezTo>
                  <a:cubicBezTo>
                    <a:pt x="260" y="150"/>
                    <a:pt x="262" y="147"/>
                    <a:pt x="262" y="147"/>
                  </a:cubicBezTo>
                  <a:cubicBezTo>
                    <a:pt x="265" y="147"/>
                    <a:pt x="265" y="147"/>
                    <a:pt x="265" y="147"/>
                  </a:cubicBezTo>
                  <a:cubicBezTo>
                    <a:pt x="269" y="148"/>
                    <a:pt x="269" y="148"/>
                    <a:pt x="269" y="148"/>
                  </a:cubicBezTo>
                  <a:cubicBezTo>
                    <a:pt x="275" y="154"/>
                    <a:pt x="275" y="154"/>
                    <a:pt x="275" y="154"/>
                  </a:cubicBezTo>
                  <a:cubicBezTo>
                    <a:pt x="279" y="162"/>
                    <a:pt x="279" y="162"/>
                    <a:pt x="279" y="162"/>
                  </a:cubicBezTo>
                  <a:cubicBezTo>
                    <a:pt x="283" y="184"/>
                    <a:pt x="283" y="184"/>
                    <a:pt x="283" y="184"/>
                  </a:cubicBezTo>
                  <a:cubicBezTo>
                    <a:pt x="286" y="189"/>
                    <a:pt x="286" y="189"/>
                    <a:pt x="286" y="189"/>
                  </a:cubicBezTo>
                  <a:cubicBezTo>
                    <a:pt x="286" y="193"/>
                    <a:pt x="286" y="193"/>
                    <a:pt x="286" y="193"/>
                  </a:cubicBezTo>
                  <a:cubicBezTo>
                    <a:pt x="286" y="193"/>
                    <a:pt x="287" y="196"/>
                    <a:pt x="287" y="197"/>
                  </a:cubicBezTo>
                  <a:cubicBezTo>
                    <a:pt x="287" y="198"/>
                    <a:pt x="287" y="213"/>
                    <a:pt x="287" y="213"/>
                  </a:cubicBezTo>
                  <a:cubicBezTo>
                    <a:pt x="280" y="213"/>
                    <a:pt x="280" y="213"/>
                    <a:pt x="280" y="213"/>
                  </a:cubicBezTo>
                  <a:cubicBezTo>
                    <a:pt x="278" y="213"/>
                    <a:pt x="278" y="213"/>
                    <a:pt x="278" y="213"/>
                  </a:cubicBezTo>
                  <a:cubicBezTo>
                    <a:pt x="278" y="216"/>
                    <a:pt x="278" y="216"/>
                    <a:pt x="278" y="216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4" y="225"/>
                    <a:pt x="274" y="225"/>
                    <a:pt x="274" y="225"/>
                  </a:cubicBezTo>
                  <a:cubicBezTo>
                    <a:pt x="272" y="229"/>
                    <a:pt x="272" y="229"/>
                    <a:pt x="272" y="229"/>
                  </a:cubicBezTo>
                  <a:cubicBezTo>
                    <a:pt x="269" y="233"/>
                    <a:pt x="269" y="233"/>
                    <a:pt x="269" y="233"/>
                  </a:cubicBezTo>
                  <a:cubicBezTo>
                    <a:pt x="266" y="243"/>
                    <a:pt x="266" y="243"/>
                    <a:pt x="266" y="243"/>
                  </a:cubicBezTo>
                  <a:cubicBezTo>
                    <a:pt x="266" y="249"/>
                    <a:pt x="266" y="249"/>
                    <a:pt x="266" y="249"/>
                  </a:cubicBezTo>
                  <a:cubicBezTo>
                    <a:pt x="262" y="254"/>
                    <a:pt x="262" y="254"/>
                    <a:pt x="262" y="254"/>
                  </a:cubicBezTo>
                  <a:cubicBezTo>
                    <a:pt x="259" y="259"/>
                    <a:pt x="259" y="259"/>
                    <a:pt x="259" y="259"/>
                  </a:cubicBezTo>
                  <a:cubicBezTo>
                    <a:pt x="213" y="267"/>
                    <a:pt x="213" y="267"/>
                    <a:pt x="213" y="267"/>
                  </a:cubicBezTo>
                  <a:cubicBezTo>
                    <a:pt x="212" y="265"/>
                    <a:pt x="212" y="265"/>
                    <a:pt x="212" y="265"/>
                  </a:cubicBezTo>
                  <a:cubicBezTo>
                    <a:pt x="141" y="270"/>
                    <a:pt x="141" y="270"/>
                    <a:pt x="141" y="270"/>
                  </a:cubicBezTo>
                  <a:cubicBezTo>
                    <a:pt x="146" y="265"/>
                    <a:pt x="146" y="265"/>
                    <a:pt x="146" y="265"/>
                  </a:cubicBezTo>
                  <a:cubicBezTo>
                    <a:pt x="148" y="261"/>
                    <a:pt x="148" y="261"/>
                    <a:pt x="148" y="261"/>
                  </a:cubicBezTo>
                  <a:cubicBezTo>
                    <a:pt x="152" y="254"/>
                    <a:pt x="152" y="254"/>
                    <a:pt x="152" y="254"/>
                  </a:cubicBezTo>
                  <a:cubicBezTo>
                    <a:pt x="156" y="245"/>
                    <a:pt x="156" y="245"/>
                    <a:pt x="156" y="24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57" y="217"/>
                    <a:pt x="157" y="217"/>
                    <a:pt x="157" y="217"/>
                  </a:cubicBezTo>
                  <a:cubicBezTo>
                    <a:pt x="157" y="209"/>
                    <a:pt x="157" y="209"/>
                    <a:pt x="157" y="209"/>
                  </a:cubicBezTo>
                  <a:cubicBezTo>
                    <a:pt x="153" y="203"/>
                    <a:pt x="153" y="203"/>
                    <a:pt x="153" y="203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45" y="191"/>
                    <a:pt x="145" y="191"/>
                    <a:pt x="145" y="191"/>
                  </a:cubicBezTo>
                  <a:cubicBezTo>
                    <a:pt x="142" y="184"/>
                    <a:pt x="142" y="184"/>
                    <a:pt x="142" y="18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6" y="177"/>
                    <a:pt x="146" y="177"/>
                    <a:pt x="146" y="177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4" y="165"/>
                    <a:pt x="144" y="165"/>
                    <a:pt x="144" y="165"/>
                  </a:cubicBezTo>
                  <a:cubicBezTo>
                    <a:pt x="141" y="162"/>
                    <a:pt x="141" y="162"/>
                    <a:pt x="141" y="162"/>
                  </a:cubicBezTo>
                  <a:cubicBezTo>
                    <a:pt x="144" y="160"/>
                    <a:pt x="144" y="160"/>
                    <a:pt x="144" y="160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39"/>
                    <a:pt x="148" y="139"/>
                    <a:pt x="148" y="139"/>
                  </a:cubicBezTo>
                  <a:cubicBezTo>
                    <a:pt x="147" y="135"/>
                    <a:pt x="147" y="135"/>
                    <a:pt x="147" y="135"/>
                  </a:cubicBezTo>
                  <a:cubicBezTo>
                    <a:pt x="148" y="130"/>
                    <a:pt x="148" y="130"/>
                    <a:pt x="148" y="13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3" y="122"/>
                    <a:pt x="153" y="122"/>
                    <a:pt x="153" y="122"/>
                  </a:cubicBezTo>
                  <a:cubicBezTo>
                    <a:pt x="153" y="117"/>
                    <a:pt x="153" y="117"/>
                    <a:pt x="153" y="117"/>
                  </a:cubicBezTo>
                  <a:cubicBezTo>
                    <a:pt x="157" y="116"/>
                    <a:pt x="157" y="116"/>
                    <a:pt x="157" y="116"/>
                  </a:cubicBezTo>
                  <a:cubicBezTo>
                    <a:pt x="163" y="116"/>
                    <a:pt x="163" y="116"/>
                    <a:pt x="163" y="116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6" y="106"/>
                    <a:pt x="166" y="106"/>
                    <a:pt x="166" y="106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71" y="114"/>
                    <a:pt x="171" y="114"/>
                    <a:pt x="171" y="114"/>
                  </a:cubicBezTo>
                  <a:cubicBezTo>
                    <a:pt x="167" y="119"/>
                    <a:pt x="167" y="119"/>
                    <a:pt x="167" y="119"/>
                  </a:cubicBezTo>
                  <a:cubicBezTo>
                    <a:pt x="167" y="121"/>
                    <a:pt x="167" y="121"/>
                    <a:pt x="167" y="121"/>
                  </a:cubicBezTo>
                  <a:cubicBezTo>
                    <a:pt x="167" y="121"/>
                    <a:pt x="168" y="122"/>
                    <a:pt x="169" y="122"/>
                  </a:cubicBezTo>
                  <a:cubicBezTo>
                    <a:pt x="170" y="122"/>
                    <a:pt x="170" y="122"/>
                    <a:pt x="170" y="122"/>
                  </a:cubicBezTo>
                  <a:cubicBezTo>
                    <a:pt x="170" y="122"/>
                    <a:pt x="172" y="121"/>
                    <a:pt x="172" y="121"/>
                  </a:cubicBezTo>
                  <a:cubicBezTo>
                    <a:pt x="172" y="120"/>
                    <a:pt x="173" y="117"/>
                    <a:pt x="173" y="117"/>
                  </a:cubicBezTo>
                  <a:cubicBezTo>
                    <a:pt x="174" y="116"/>
                    <a:pt x="174" y="116"/>
                    <a:pt x="174" y="116"/>
                  </a:cubicBezTo>
                  <a:cubicBezTo>
                    <a:pt x="175" y="111"/>
                    <a:pt x="175" y="111"/>
                    <a:pt x="175" y="111"/>
                  </a:cubicBezTo>
                  <a:cubicBezTo>
                    <a:pt x="175" y="108"/>
                    <a:pt x="175" y="108"/>
                    <a:pt x="175" y="108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0"/>
                    <a:pt x="175" y="100"/>
                    <a:pt x="175" y="100"/>
                  </a:cubicBezTo>
                  <a:cubicBezTo>
                    <a:pt x="178" y="96"/>
                    <a:pt x="178" y="96"/>
                    <a:pt x="178" y="96"/>
                  </a:cubicBezTo>
                  <a:cubicBezTo>
                    <a:pt x="180" y="94"/>
                    <a:pt x="180" y="94"/>
                    <a:pt x="180" y="94"/>
                  </a:cubicBezTo>
                  <a:cubicBezTo>
                    <a:pt x="185" y="93"/>
                    <a:pt x="185" y="93"/>
                    <a:pt x="185" y="93"/>
                  </a:cubicBezTo>
                  <a:cubicBezTo>
                    <a:pt x="187" y="91"/>
                    <a:pt x="187" y="91"/>
                    <a:pt x="187" y="91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84"/>
                    <a:pt x="182" y="84"/>
                    <a:pt x="182" y="84"/>
                  </a:cubicBezTo>
                  <a:cubicBezTo>
                    <a:pt x="184" y="81"/>
                    <a:pt x="184" y="81"/>
                    <a:pt x="184" y="81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7" y="77"/>
                    <a:pt x="187" y="77"/>
                    <a:pt x="187" y="77"/>
                  </a:cubicBezTo>
                  <a:cubicBezTo>
                    <a:pt x="187" y="75"/>
                    <a:pt x="187" y="75"/>
                    <a:pt x="187" y="75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8" y="74"/>
                    <a:pt x="188" y="74"/>
                    <a:pt x="189" y="74"/>
                  </a:cubicBezTo>
                  <a:cubicBezTo>
                    <a:pt x="189" y="74"/>
                    <a:pt x="193" y="73"/>
                    <a:pt x="193" y="73"/>
                  </a:cubicBezTo>
                  <a:cubicBezTo>
                    <a:pt x="195" y="73"/>
                    <a:pt x="195" y="73"/>
                    <a:pt x="195" y="73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89" y="67"/>
                    <a:pt x="189" y="67"/>
                    <a:pt x="189" y="67"/>
                  </a:cubicBezTo>
                  <a:cubicBezTo>
                    <a:pt x="187" y="65"/>
                    <a:pt x="187" y="65"/>
                    <a:pt x="187" y="65"/>
                  </a:cubicBezTo>
                  <a:cubicBezTo>
                    <a:pt x="184" y="63"/>
                    <a:pt x="184" y="63"/>
                    <a:pt x="184" y="63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70" y="60"/>
                    <a:pt x="170" y="60"/>
                    <a:pt x="170" y="60"/>
                  </a:cubicBezTo>
                  <a:cubicBezTo>
                    <a:pt x="163" y="64"/>
                    <a:pt x="163" y="64"/>
                    <a:pt x="163" y="64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2" y="69"/>
                    <a:pt x="152" y="69"/>
                    <a:pt x="152" y="69"/>
                  </a:cubicBezTo>
                  <a:cubicBezTo>
                    <a:pt x="144" y="69"/>
                    <a:pt x="144" y="69"/>
                    <a:pt x="144" y="69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35" y="81"/>
                    <a:pt x="135" y="81"/>
                    <a:pt x="135" y="81"/>
                  </a:cubicBezTo>
                  <a:cubicBezTo>
                    <a:pt x="129" y="85"/>
                    <a:pt x="129" y="85"/>
                    <a:pt x="129" y="85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1" y="74"/>
                    <a:pt x="131" y="74"/>
                    <a:pt x="131" y="74"/>
                  </a:cubicBezTo>
                  <a:cubicBezTo>
                    <a:pt x="127" y="76"/>
                    <a:pt x="127" y="76"/>
                    <a:pt x="127" y="76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23" y="81"/>
                    <a:pt x="123" y="81"/>
                    <a:pt x="123" y="81"/>
                  </a:cubicBezTo>
                  <a:cubicBezTo>
                    <a:pt x="121" y="82"/>
                    <a:pt x="121" y="82"/>
                    <a:pt x="121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18" y="75"/>
                    <a:pt x="118" y="75"/>
                    <a:pt x="118" y="75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4" y="85"/>
                    <a:pt x="114" y="85"/>
                    <a:pt x="114" y="85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5" y="107"/>
                    <a:pt x="105" y="107"/>
                    <a:pt x="105" y="107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97" y="108"/>
                    <a:pt x="97" y="108"/>
                    <a:pt x="97" y="108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3" y="97"/>
                    <a:pt x="93" y="97"/>
                    <a:pt x="93" y="97"/>
                  </a:cubicBezTo>
                  <a:cubicBezTo>
                    <a:pt x="94" y="94"/>
                    <a:pt x="94" y="94"/>
                    <a:pt x="94" y="94"/>
                  </a:cubicBezTo>
                  <a:cubicBezTo>
                    <a:pt x="93" y="88"/>
                    <a:pt x="93" y="88"/>
                    <a:pt x="93" y="88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84" y="81"/>
                    <a:pt x="84" y="81"/>
                    <a:pt x="84" y="81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2"/>
                    <a:pt x="0" y="52"/>
                    <a:pt x="0" y="52"/>
                  </a:cubicBezTo>
                  <a:lnTo>
                    <a:pt x="0" y="51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4" name="Freeform 51"/>
            <p:cNvSpPr>
              <a:spLocks/>
            </p:cNvSpPr>
            <p:nvPr/>
          </p:nvSpPr>
          <p:spPr bwMode="auto">
            <a:xfrm>
              <a:off x="6848081" y="1986054"/>
              <a:ext cx="286695" cy="305247"/>
            </a:xfrm>
            <a:custGeom>
              <a:avLst/>
              <a:gdLst>
                <a:gd name="T0" fmla="*/ 175 w 201"/>
                <a:gd name="T1" fmla="*/ 65 h 213"/>
                <a:gd name="T2" fmla="*/ 172 w 201"/>
                <a:gd name="T3" fmla="*/ 53 h 213"/>
                <a:gd name="T4" fmla="*/ 157 w 201"/>
                <a:gd name="T5" fmla="*/ 44 h 213"/>
                <a:gd name="T6" fmla="*/ 140 w 201"/>
                <a:gd name="T7" fmla="*/ 42 h 213"/>
                <a:gd name="T8" fmla="*/ 125 w 201"/>
                <a:gd name="T9" fmla="*/ 36 h 213"/>
                <a:gd name="T10" fmla="*/ 103 w 201"/>
                <a:gd name="T11" fmla="*/ 30 h 213"/>
                <a:gd name="T12" fmla="*/ 93 w 201"/>
                <a:gd name="T13" fmla="*/ 27 h 213"/>
                <a:gd name="T14" fmla="*/ 82 w 201"/>
                <a:gd name="T15" fmla="*/ 20 h 213"/>
                <a:gd name="T16" fmla="*/ 78 w 201"/>
                <a:gd name="T17" fmla="*/ 18 h 213"/>
                <a:gd name="T18" fmla="*/ 70 w 201"/>
                <a:gd name="T19" fmla="*/ 17 h 213"/>
                <a:gd name="T20" fmla="*/ 67 w 201"/>
                <a:gd name="T21" fmla="*/ 15 h 213"/>
                <a:gd name="T22" fmla="*/ 70 w 201"/>
                <a:gd name="T23" fmla="*/ 2 h 213"/>
                <a:gd name="T24" fmla="*/ 61 w 201"/>
                <a:gd name="T25" fmla="*/ 3 h 213"/>
                <a:gd name="T26" fmla="*/ 47 w 201"/>
                <a:gd name="T27" fmla="*/ 9 h 213"/>
                <a:gd name="T28" fmla="*/ 33 w 201"/>
                <a:gd name="T29" fmla="*/ 16 h 213"/>
                <a:gd name="T30" fmla="*/ 21 w 201"/>
                <a:gd name="T31" fmla="*/ 15 h 213"/>
                <a:gd name="T32" fmla="*/ 5 w 201"/>
                <a:gd name="T33" fmla="*/ 55 h 213"/>
                <a:gd name="T34" fmla="*/ 7 w 201"/>
                <a:gd name="T35" fmla="*/ 72 h 213"/>
                <a:gd name="T36" fmla="*/ 10 w 201"/>
                <a:gd name="T37" fmla="*/ 112 h 213"/>
                <a:gd name="T38" fmla="*/ 42 w 201"/>
                <a:gd name="T39" fmla="*/ 135 h 213"/>
                <a:gd name="T40" fmla="*/ 60 w 201"/>
                <a:gd name="T41" fmla="*/ 152 h 213"/>
                <a:gd name="T42" fmla="*/ 63 w 201"/>
                <a:gd name="T43" fmla="*/ 173 h 213"/>
                <a:gd name="T44" fmla="*/ 65 w 201"/>
                <a:gd name="T45" fmla="*/ 187 h 213"/>
                <a:gd name="T46" fmla="*/ 67 w 201"/>
                <a:gd name="T47" fmla="*/ 203 h 213"/>
                <a:gd name="T48" fmla="*/ 82 w 201"/>
                <a:gd name="T49" fmla="*/ 209 h 213"/>
                <a:gd name="T50" fmla="*/ 184 w 201"/>
                <a:gd name="T51" fmla="*/ 195 h 213"/>
                <a:gd name="T52" fmla="*/ 178 w 201"/>
                <a:gd name="T53" fmla="*/ 172 h 213"/>
                <a:gd name="T54" fmla="*/ 182 w 201"/>
                <a:gd name="T55" fmla="*/ 155 h 213"/>
                <a:gd name="T56" fmla="*/ 182 w 201"/>
                <a:gd name="T57" fmla="*/ 140 h 213"/>
                <a:gd name="T58" fmla="*/ 184 w 201"/>
                <a:gd name="T59" fmla="*/ 131 h 213"/>
                <a:gd name="T60" fmla="*/ 186 w 201"/>
                <a:gd name="T61" fmla="*/ 121 h 213"/>
                <a:gd name="T62" fmla="*/ 188 w 201"/>
                <a:gd name="T63" fmla="*/ 105 h 213"/>
                <a:gd name="T64" fmla="*/ 197 w 201"/>
                <a:gd name="T65" fmla="*/ 85 h 213"/>
                <a:gd name="T66" fmla="*/ 201 w 201"/>
                <a:gd name="T67" fmla="*/ 79 h 213"/>
                <a:gd name="T68" fmla="*/ 201 w 201"/>
                <a:gd name="T69" fmla="*/ 73 h 213"/>
                <a:gd name="T70" fmla="*/ 194 w 201"/>
                <a:gd name="T71" fmla="*/ 79 h 213"/>
                <a:gd name="T72" fmla="*/ 187 w 201"/>
                <a:gd name="T73" fmla="*/ 92 h 213"/>
                <a:gd name="T74" fmla="*/ 177 w 201"/>
                <a:gd name="T75" fmla="*/ 101 h 213"/>
                <a:gd name="T76" fmla="*/ 168 w 201"/>
                <a:gd name="T77" fmla="*/ 107 h 213"/>
                <a:gd name="T78" fmla="*/ 174 w 201"/>
                <a:gd name="T79" fmla="*/ 93 h 213"/>
                <a:gd name="T80" fmla="*/ 179 w 201"/>
                <a:gd name="T81" fmla="*/ 87 h 213"/>
                <a:gd name="T82" fmla="*/ 180 w 201"/>
                <a:gd name="T83" fmla="*/ 7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213">
                  <a:moveTo>
                    <a:pt x="178" y="69"/>
                  </a:moveTo>
                  <a:cubicBezTo>
                    <a:pt x="177" y="68"/>
                    <a:pt x="177" y="68"/>
                    <a:pt x="177" y="68"/>
                  </a:cubicBezTo>
                  <a:cubicBezTo>
                    <a:pt x="175" y="65"/>
                    <a:pt x="175" y="65"/>
                    <a:pt x="175" y="65"/>
                  </a:cubicBezTo>
                  <a:cubicBezTo>
                    <a:pt x="176" y="62"/>
                    <a:pt x="176" y="62"/>
                    <a:pt x="176" y="62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48" y="44"/>
                    <a:pt x="148" y="44"/>
                    <a:pt x="148" y="44"/>
                  </a:cubicBezTo>
                  <a:cubicBezTo>
                    <a:pt x="146" y="42"/>
                    <a:pt x="146" y="42"/>
                    <a:pt x="146" y="42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89" y="22"/>
                    <a:pt x="89" y="22"/>
                    <a:pt x="89" y="22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42" y="135"/>
                    <a:pt x="42" y="135"/>
                    <a:pt x="42" y="135"/>
                  </a:cubicBezTo>
                  <a:cubicBezTo>
                    <a:pt x="45" y="139"/>
                    <a:pt x="45" y="139"/>
                    <a:pt x="45" y="139"/>
                  </a:cubicBezTo>
                  <a:cubicBezTo>
                    <a:pt x="52" y="144"/>
                    <a:pt x="52" y="144"/>
                    <a:pt x="52" y="144"/>
                  </a:cubicBezTo>
                  <a:cubicBezTo>
                    <a:pt x="60" y="152"/>
                    <a:pt x="60" y="152"/>
                    <a:pt x="60" y="152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60" y="166"/>
                    <a:pt x="60" y="166"/>
                    <a:pt x="60" y="166"/>
                  </a:cubicBezTo>
                  <a:cubicBezTo>
                    <a:pt x="63" y="173"/>
                    <a:pt x="63" y="173"/>
                    <a:pt x="63" y="173"/>
                  </a:cubicBezTo>
                  <a:cubicBezTo>
                    <a:pt x="65" y="176"/>
                    <a:pt x="65" y="176"/>
                    <a:pt x="65" y="176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5" y="187"/>
                    <a:pt x="65" y="187"/>
                    <a:pt x="65" y="187"/>
                  </a:cubicBezTo>
                  <a:cubicBezTo>
                    <a:pt x="65" y="193"/>
                    <a:pt x="65" y="193"/>
                    <a:pt x="65" y="193"/>
                  </a:cubicBezTo>
                  <a:cubicBezTo>
                    <a:pt x="67" y="198"/>
                    <a:pt x="67" y="198"/>
                    <a:pt x="67" y="198"/>
                  </a:cubicBezTo>
                  <a:cubicBezTo>
                    <a:pt x="67" y="203"/>
                    <a:pt x="67" y="203"/>
                    <a:pt x="67" y="203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3"/>
                    <a:pt x="76" y="207"/>
                    <a:pt x="77" y="207"/>
                  </a:cubicBezTo>
                  <a:cubicBezTo>
                    <a:pt x="78" y="207"/>
                    <a:pt x="82" y="209"/>
                    <a:pt x="82" y="209"/>
                  </a:cubicBezTo>
                  <a:cubicBezTo>
                    <a:pt x="85" y="213"/>
                    <a:pt x="85" y="213"/>
                    <a:pt x="85" y="213"/>
                  </a:cubicBezTo>
                  <a:cubicBezTo>
                    <a:pt x="184" y="207"/>
                    <a:pt x="184" y="207"/>
                    <a:pt x="184" y="207"/>
                  </a:cubicBezTo>
                  <a:cubicBezTo>
                    <a:pt x="184" y="195"/>
                    <a:pt x="184" y="195"/>
                    <a:pt x="184" y="195"/>
                  </a:cubicBezTo>
                  <a:cubicBezTo>
                    <a:pt x="184" y="191"/>
                    <a:pt x="184" y="191"/>
                    <a:pt x="184" y="191"/>
                  </a:cubicBezTo>
                  <a:cubicBezTo>
                    <a:pt x="179" y="179"/>
                    <a:pt x="179" y="179"/>
                    <a:pt x="179" y="179"/>
                  </a:cubicBezTo>
                  <a:cubicBezTo>
                    <a:pt x="178" y="172"/>
                    <a:pt x="178" y="172"/>
                    <a:pt x="178" y="172"/>
                  </a:cubicBezTo>
                  <a:cubicBezTo>
                    <a:pt x="179" y="164"/>
                    <a:pt x="179" y="164"/>
                    <a:pt x="179" y="164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82" y="155"/>
                    <a:pt x="182" y="155"/>
                    <a:pt x="182" y="155"/>
                  </a:cubicBezTo>
                  <a:cubicBezTo>
                    <a:pt x="184" y="152"/>
                    <a:pt x="184" y="152"/>
                    <a:pt x="184" y="152"/>
                  </a:cubicBezTo>
                  <a:cubicBezTo>
                    <a:pt x="182" y="147"/>
                    <a:pt x="182" y="147"/>
                    <a:pt x="182" y="147"/>
                  </a:cubicBezTo>
                  <a:cubicBezTo>
                    <a:pt x="182" y="140"/>
                    <a:pt x="182" y="140"/>
                    <a:pt x="182" y="140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4" y="131"/>
                    <a:pt x="184" y="131"/>
                    <a:pt x="184" y="131"/>
                  </a:cubicBezTo>
                  <a:cubicBezTo>
                    <a:pt x="188" y="127"/>
                    <a:pt x="188" y="127"/>
                    <a:pt x="188" y="127"/>
                  </a:cubicBezTo>
                  <a:cubicBezTo>
                    <a:pt x="188" y="125"/>
                    <a:pt x="188" y="125"/>
                    <a:pt x="188" y="125"/>
                  </a:cubicBezTo>
                  <a:cubicBezTo>
                    <a:pt x="186" y="121"/>
                    <a:pt x="186" y="121"/>
                    <a:pt x="186" y="121"/>
                  </a:cubicBezTo>
                  <a:cubicBezTo>
                    <a:pt x="186" y="118"/>
                    <a:pt x="186" y="118"/>
                    <a:pt x="186" y="118"/>
                  </a:cubicBezTo>
                  <a:cubicBezTo>
                    <a:pt x="187" y="110"/>
                    <a:pt x="187" y="110"/>
                    <a:pt x="187" y="110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1" y="99"/>
                    <a:pt x="191" y="99"/>
                    <a:pt x="191" y="99"/>
                  </a:cubicBezTo>
                  <a:cubicBezTo>
                    <a:pt x="196" y="89"/>
                    <a:pt x="196" y="89"/>
                    <a:pt x="196" y="89"/>
                  </a:cubicBezTo>
                  <a:cubicBezTo>
                    <a:pt x="197" y="85"/>
                    <a:pt x="197" y="85"/>
                    <a:pt x="197" y="85"/>
                  </a:cubicBezTo>
                  <a:cubicBezTo>
                    <a:pt x="197" y="82"/>
                    <a:pt x="197" y="82"/>
                    <a:pt x="197" y="82"/>
                  </a:cubicBezTo>
                  <a:cubicBezTo>
                    <a:pt x="201" y="81"/>
                    <a:pt x="201" y="81"/>
                    <a:pt x="201" y="81"/>
                  </a:cubicBezTo>
                  <a:cubicBezTo>
                    <a:pt x="201" y="79"/>
                    <a:pt x="201" y="79"/>
                    <a:pt x="201" y="79"/>
                  </a:cubicBezTo>
                  <a:cubicBezTo>
                    <a:pt x="201" y="77"/>
                    <a:pt x="201" y="77"/>
                    <a:pt x="201" y="77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3"/>
                    <a:pt x="201" y="73"/>
                    <a:pt x="201" y="73"/>
                  </a:cubicBezTo>
                  <a:cubicBezTo>
                    <a:pt x="201" y="71"/>
                    <a:pt x="201" y="71"/>
                    <a:pt x="201" y="71"/>
                  </a:cubicBezTo>
                  <a:cubicBezTo>
                    <a:pt x="197" y="75"/>
                    <a:pt x="197" y="75"/>
                    <a:pt x="197" y="75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0" y="90"/>
                    <a:pt x="190" y="90"/>
                    <a:pt x="190" y="90"/>
                  </a:cubicBezTo>
                  <a:cubicBezTo>
                    <a:pt x="187" y="92"/>
                    <a:pt x="187" y="92"/>
                    <a:pt x="187" y="92"/>
                  </a:cubicBezTo>
                  <a:cubicBezTo>
                    <a:pt x="181" y="95"/>
                    <a:pt x="181" y="95"/>
                    <a:pt x="181" y="95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7" y="101"/>
                    <a:pt x="177" y="101"/>
                    <a:pt x="177" y="101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1" y="110"/>
                    <a:pt x="171" y="110"/>
                    <a:pt x="171" y="110"/>
                  </a:cubicBezTo>
                  <a:cubicBezTo>
                    <a:pt x="168" y="107"/>
                    <a:pt x="168" y="107"/>
                    <a:pt x="168" y="107"/>
                  </a:cubicBezTo>
                  <a:cubicBezTo>
                    <a:pt x="171" y="103"/>
                    <a:pt x="171" y="103"/>
                    <a:pt x="171" y="103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75" y="91"/>
                    <a:pt x="175" y="91"/>
                    <a:pt x="175" y="91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9" y="87"/>
                    <a:pt x="179" y="87"/>
                    <a:pt x="179" y="87"/>
                  </a:cubicBezTo>
                  <a:cubicBezTo>
                    <a:pt x="180" y="85"/>
                    <a:pt x="180" y="85"/>
                    <a:pt x="180" y="85"/>
                  </a:cubicBezTo>
                  <a:cubicBezTo>
                    <a:pt x="179" y="80"/>
                    <a:pt x="179" y="80"/>
                    <a:pt x="179" y="80"/>
                  </a:cubicBezTo>
                  <a:cubicBezTo>
                    <a:pt x="180" y="78"/>
                    <a:pt x="180" y="78"/>
                    <a:pt x="180" y="78"/>
                  </a:cubicBezTo>
                  <a:cubicBezTo>
                    <a:pt x="179" y="76"/>
                    <a:pt x="179" y="76"/>
                    <a:pt x="179" y="76"/>
                  </a:cubicBezTo>
                  <a:lnTo>
                    <a:pt x="178" y="69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5" name="Freeform 52"/>
            <p:cNvSpPr>
              <a:spLocks/>
            </p:cNvSpPr>
            <p:nvPr/>
          </p:nvSpPr>
          <p:spPr bwMode="auto">
            <a:xfrm>
              <a:off x="7268005" y="2274435"/>
              <a:ext cx="229357" cy="263085"/>
            </a:xfrm>
            <a:custGeom>
              <a:avLst/>
              <a:gdLst>
                <a:gd name="T0" fmla="*/ 114 w 136"/>
                <a:gd name="T1" fmla="*/ 8 h 156"/>
                <a:gd name="T2" fmla="*/ 101 w 136"/>
                <a:gd name="T3" fmla="*/ 17 h 156"/>
                <a:gd name="T4" fmla="*/ 93 w 136"/>
                <a:gd name="T5" fmla="*/ 22 h 156"/>
                <a:gd name="T6" fmla="*/ 88 w 136"/>
                <a:gd name="T7" fmla="*/ 27 h 156"/>
                <a:gd name="T8" fmla="*/ 82 w 136"/>
                <a:gd name="T9" fmla="*/ 27 h 156"/>
                <a:gd name="T10" fmla="*/ 74 w 136"/>
                <a:gd name="T11" fmla="*/ 33 h 156"/>
                <a:gd name="T12" fmla="*/ 69 w 136"/>
                <a:gd name="T13" fmla="*/ 33 h 156"/>
                <a:gd name="T14" fmla="*/ 65 w 136"/>
                <a:gd name="T15" fmla="*/ 31 h 156"/>
                <a:gd name="T16" fmla="*/ 60 w 136"/>
                <a:gd name="T17" fmla="*/ 29 h 156"/>
                <a:gd name="T18" fmla="*/ 55 w 136"/>
                <a:gd name="T19" fmla="*/ 27 h 156"/>
                <a:gd name="T20" fmla="*/ 47 w 136"/>
                <a:gd name="T21" fmla="*/ 23 h 156"/>
                <a:gd name="T22" fmla="*/ 0 w 136"/>
                <a:gd name="T23" fmla="*/ 28 h 156"/>
                <a:gd name="T24" fmla="*/ 16 w 136"/>
                <a:gd name="T25" fmla="*/ 136 h 156"/>
                <a:gd name="T26" fmla="*/ 22 w 136"/>
                <a:gd name="T27" fmla="*/ 133 h 156"/>
                <a:gd name="T28" fmla="*/ 31 w 136"/>
                <a:gd name="T29" fmla="*/ 140 h 156"/>
                <a:gd name="T30" fmla="*/ 34 w 136"/>
                <a:gd name="T31" fmla="*/ 146 h 156"/>
                <a:gd name="T32" fmla="*/ 42 w 136"/>
                <a:gd name="T33" fmla="*/ 148 h 156"/>
                <a:gd name="T34" fmla="*/ 46 w 136"/>
                <a:gd name="T35" fmla="*/ 151 h 156"/>
                <a:gd name="T36" fmla="*/ 49 w 136"/>
                <a:gd name="T37" fmla="*/ 149 h 156"/>
                <a:gd name="T38" fmla="*/ 52 w 136"/>
                <a:gd name="T39" fmla="*/ 146 h 156"/>
                <a:gd name="T40" fmla="*/ 60 w 136"/>
                <a:gd name="T41" fmla="*/ 150 h 156"/>
                <a:gd name="T42" fmla="*/ 67 w 136"/>
                <a:gd name="T43" fmla="*/ 148 h 156"/>
                <a:gd name="T44" fmla="*/ 71 w 136"/>
                <a:gd name="T45" fmla="*/ 144 h 156"/>
                <a:gd name="T46" fmla="*/ 75 w 136"/>
                <a:gd name="T47" fmla="*/ 146 h 156"/>
                <a:gd name="T48" fmla="*/ 83 w 136"/>
                <a:gd name="T49" fmla="*/ 155 h 156"/>
                <a:gd name="T50" fmla="*/ 85 w 136"/>
                <a:gd name="T51" fmla="*/ 156 h 156"/>
                <a:gd name="T52" fmla="*/ 92 w 136"/>
                <a:gd name="T53" fmla="*/ 149 h 156"/>
                <a:gd name="T54" fmla="*/ 94 w 136"/>
                <a:gd name="T55" fmla="*/ 142 h 156"/>
                <a:gd name="T56" fmla="*/ 100 w 136"/>
                <a:gd name="T57" fmla="*/ 128 h 156"/>
                <a:gd name="T58" fmla="*/ 105 w 136"/>
                <a:gd name="T59" fmla="*/ 130 h 156"/>
                <a:gd name="T60" fmla="*/ 109 w 136"/>
                <a:gd name="T61" fmla="*/ 116 h 156"/>
                <a:gd name="T62" fmla="*/ 118 w 136"/>
                <a:gd name="T63" fmla="*/ 110 h 156"/>
                <a:gd name="T64" fmla="*/ 129 w 136"/>
                <a:gd name="T65" fmla="*/ 99 h 156"/>
                <a:gd name="T66" fmla="*/ 131 w 136"/>
                <a:gd name="T67" fmla="*/ 91 h 156"/>
                <a:gd name="T68" fmla="*/ 132 w 136"/>
                <a:gd name="T69" fmla="*/ 77 h 156"/>
                <a:gd name="T70" fmla="*/ 133 w 136"/>
                <a:gd name="T71" fmla="*/ 70 h 156"/>
                <a:gd name="T72" fmla="*/ 133 w 136"/>
                <a:gd name="T73" fmla="*/ 61 h 156"/>
                <a:gd name="T74" fmla="*/ 133 w 136"/>
                <a:gd name="T75" fmla="*/ 55 h 156"/>
                <a:gd name="T76" fmla="*/ 126 w 136"/>
                <a:gd name="T7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6" h="156">
                  <a:moveTo>
                    <a:pt x="121" y="5"/>
                  </a:moveTo>
                  <a:lnTo>
                    <a:pt x="114" y="8"/>
                  </a:lnTo>
                  <a:lnTo>
                    <a:pt x="108" y="13"/>
                  </a:lnTo>
                  <a:lnTo>
                    <a:pt x="101" y="17"/>
                  </a:lnTo>
                  <a:lnTo>
                    <a:pt x="96" y="21"/>
                  </a:lnTo>
                  <a:lnTo>
                    <a:pt x="93" y="22"/>
                  </a:lnTo>
                  <a:lnTo>
                    <a:pt x="91" y="24"/>
                  </a:lnTo>
                  <a:lnTo>
                    <a:pt x="88" y="27"/>
                  </a:lnTo>
                  <a:lnTo>
                    <a:pt x="85" y="27"/>
                  </a:lnTo>
                  <a:lnTo>
                    <a:pt x="82" y="27"/>
                  </a:lnTo>
                  <a:lnTo>
                    <a:pt x="78" y="29"/>
                  </a:lnTo>
                  <a:lnTo>
                    <a:pt x="74" y="33"/>
                  </a:lnTo>
                  <a:lnTo>
                    <a:pt x="71" y="33"/>
                  </a:lnTo>
                  <a:lnTo>
                    <a:pt x="69" y="33"/>
                  </a:lnTo>
                  <a:lnTo>
                    <a:pt x="68" y="33"/>
                  </a:lnTo>
                  <a:lnTo>
                    <a:pt x="65" y="31"/>
                  </a:lnTo>
                  <a:lnTo>
                    <a:pt x="62" y="28"/>
                  </a:lnTo>
                  <a:lnTo>
                    <a:pt x="60" y="29"/>
                  </a:lnTo>
                  <a:lnTo>
                    <a:pt x="56" y="28"/>
                  </a:lnTo>
                  <a:lnTo>
                    <a:pt x="55" y="27"/>
                  </a:lnTo>
                  <a:lnTo>
                    <a:pt x="51" y="24"/>
                  </a:lnTo>
                  <a:lnTo>
                    <a:pt x="47" y="23"/>
                  </a:lnTo>
                  <a:lnTo>
                    <a:pt x="39" y="22"/>
                  </a:lnTo>
                  <a:lnTo>
                    <a:pt x="0" y="28"/>
                  </a:lnTo>
                  <a:lnTo>
                    <a:pt x="11" y="134"/>
                  </a:lnTo>
                  <a:lnTo>
                    <a:pt x="16" y="136"/>
                  </a:lnTo>
                  <a:lnTo>
                    <a:pt x="21" y="134"/>
                  </a:lnTo>
                  <a:lnTo>
                    <a:pt x="22" y="133"/>
                  </a:lnTo>
                  <a:lnTo>
                    <a:pt x="27" y="137"/>
                  </a:lnTo>
                  <a:lnTo>
                    <a:pt x="31" y="140"/>
                  </a:lnTo>
                  <a:lnTo>
                    <a:pt x="33" y="144"/>
                  </a:lnTo>
                  <a:lnTo>
                    <a:pt x="34" y="146"/>
                  </a:lnTo>
                  <a:lnTo>
                    <a:pt x="39" y="147"/>
                  </a:lnTo>
                  <a:lnTo>
                    <a:pt x="42" y="148"/>
                  </a:lnTo>
                  <a:lnTo>
                    <a:pt x="44" y="149"/>
                  </a:lnTo>
                  <a:lnTo>
                    <a:pt x="46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1" y="147"/>
                  </a:lnTo>
                  <a:lnTo>
                    <a:pt x="52" y="146"/>
                  </a:lnTo>
                  <a:lnTo>
                    <a:pt x="55" y="148"/>
                  </a:lnTo>
                  <a:lnTo>
                    <a:pt x="60" y="150"/>
                  </a:lnTo>
                  <a:lnTo>
                    <a:pt x="66" y="149"/>
                  </a:lnTo>
                  <a:lnTo>
                    <a:pt x="67" y="148"/>
                  </a:lnTo>
                  <a:lnTo>
                    <a:pt x="69" y="145"/>
                  </a:lnTo>
                  <a:lnTo>
                    <a:pt x="71" y="144"/>
                  </a:lnTo>
                  <a:lnTo>
                    <a:pt x="72" y="143"/>
                  </a:lnTo>
                  <a:lnTo>
                    <a:pt x="75" y="146"/>
                  </a:lnTo>
                  <a:lnTo>
                    <a:pt x="79" y="151"/>
                  </a:lnTo>
                  <a:lnTo>
                    <a:pt x="83" y="155"/>
                  </a:lnTo>
                  <a:lnTo>
                    <a:pt x="86" y="155"/>
                  </a:lnTo>
                  <a:lnTo>
                    <a:pt x="85" y="156"/>
                  </a:lnTo>
                  <a:lnTo>
                    <a:pt x="88" y="153"/>
                  </a:lnTo>
                  <a:lnTo>
                    <a:pt x="92" y="149"/>
                  </a:lnTo>
                  <a:lnTo>
                    <a:pt x="94" y="146"/>
                  </a:lnTo>
                  <a:lnTo>
                    <a:pt x="94" y="142"/>
                  </a:lnTo>
                  <a:lnTo>
                    <a:pt x="97" y="131"/>
                  </a:lnTo>
                  <a:lnTo>
                    <a:pt x="100" y="128"/>
                  </a:lnTo>
                  <a:lnTo>
                    <a:pt x="104" y="131"/>
                  </a:lnTo>
                  <a:lnTo>
                    <a:pt x="105" y="130"/>
                  </a:lnTo>
                  <a:lnTo>
                    <a:pt x="106" y="120"/>
                  </a:lnTo>
                  <a:lnTo>
                    <a:pt x="109" y="116"/>
                  </a:lnTo>
                  <a:lnTo>
                    <a:pt x="113" y="110"/>
                  </a:lnTo>
                  <a:lnTo>
                    <a:pt x="118" y="110"/>
                  </a:lnTo>
                  <a:lnTo>
                    <a:pt x="121" y="106"/>
                  </a:lnTo>
                  <a:lnTo>
                    <a:pt x="129" y="99"/>
                  </a:lnTo>
                  <a:lnTo>
                    <a:pt x="131" y="94"/>
                  </a:lnTo>
                  <a:lnTo>
                    <a:pt x="131" y="91"/>
                  </a:lnTo>
                  <a:lnTo>
                    <a:pt x="132" y="83"/>
                  </a:lnTo>
                  <a:lnTo>
                    <a:pt x="132" y="77"/>
                  </a:lnTo>
                  <a:lnTo>
                    <a:pt x="133" y="74"/>
                  </a:lnTo>
                  <a:lnTo>
                    <a:pt x="133" y="70"/>
                  </a:lnTo>
                  <a:lnTo>
                    <a:pt x="133" y="62"/>
                  </a:lnTo>
                  <a:lnTo>
                    <a:pt x="133" y="61"/>
                  </a:lnTo>
                  <a:lnTo>
                    <a:pt x="132" y="58"/>
                  </a:lnTo>
                  <a:lnTo>
                    <a:pt x="133" y="55"/>
                  </a:lnTo>
                  <a:lnTo>
                    <a:pt x="136" y="55"/>
                  </a:lnTo>
                  <a:lnTo>
                    <a:pt x="126" y="0"/>
                  </a:lnTo>
                  <a:lnTo>
                    <a:pt x="121" y="5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6" name="Freeform 53"/>
            <p:cNvSpPr>
              <a:spLocks/>
            </p:cNvSpPr>
            <p:nvPr/>
          </p:nvSpPr>
          <p:spPr bwMode="auto">
            <a:xfrm>
              <a:off x="7119598" y="2319970"/>
              <a:ext cx="168644" cy="290068"/>
            </a:xfrm>
            <a:custGeom>
              <a:avLst/>
              <a:gdLst>
                <a:gd name="T0" fmla="*/ 5 w 100"/>
                <a:gd name="T1" fmla="*/ 167 h 172"/>
                <a:gd name="T2" fmla="*/ 16 w 100"/>
                <a:gd name="T3" fmla="*/ 163 h 172"/>
                <a:gd name="T4" fmla="*/ 24 w 100"/>
                <a:gd name="T5" fmla="*/ 163 h 172"/>
                <a:gd name="T6" fmla="*/ 31 w 100"/>
                <a:gd name="T7" fmla="*/ 168 h 172"/>
                <a:gd name="T8" fmla="*/ 32 w 100"/>
                <a:gd name="T9" fmla="*/ 163 h 172"/>
                <a:gd name="T10" fmla="*/ 38 w 100"/>
                <a:gd name="T11" fmla="*/ 161 h 172"/>
                <a:gd name="T12" fmla="*/ 44 w 100"/>
                <a:gd name="T13" fmla="*/ 163 h 172"/>
                <a:gd name="T14" fmla="*/ 49 w 100"/>
                <a:gd name="T15" fmla="*/ 161 h 172"/>
                <a:gd name="T16" fmla="*/ 52 w 100"/>
                <a:gd name="T17" fmla="*/ 154 h 172"/>
                <a:gd name="T18" fmla="*/ 55 w 100"/>
                <a:gd name="T19" fmla="*/ 150 h 172"/>
                <a:gd name="T20" fmla="*/ 59 w 100"/>
                <a:gd name="T21" fmla="*/ 157 h 172"/>
                <a:gd name="T22" fmla="*/ 66 w 100"/>
                <a:gd name="T23" fmla="*/ 157 h 172"/>
                <a:gd name="T24" fmla="*/ 68 w 100"/>
                <a:gd name="T25" fmla="*/ 150 h 172"/>
                <a:gd name="T26" fmla="*/ 74 w 100"/>
                <a:gd name="T27" fmla="*/ 145 h 172"/>
                <a:gd name="T28" fmla="*/ 78 w 100"/>
                <a:gd name="T29" fmla="*/ 139 h 172"/>
                <a:gd name="T30" fmla="*/ 80 w 100"/>
                <a:gd name="T31" fmla="*/ 131 h 172"/>
                <a:gd name="T32" fmla="*/ 81 w 100"/>
                <a:gd name="T33" fmla="*/ 127 h 172"/>
                <a:gd name="T34" fmla="*/ 90 w 100"/>
                <a:gd name="T35" fmla="*/ 125 h 172"/>
                <a:gd name="T36" fmla="*/ 98 w 100"/>
                <a:gd name="T37" fmla="*/ 123 h 172"/>
                <a:gd name="T38" fmla="*/ 99 w 100"/>
                <a:gd name="T39" fmla="*/ 115 h 172"/>
                <a:gd name="T40" fmla="*/ 98 w 100"/>
                <a:gd name="T41" fmla="*/ 112 h 172"/>
                <a:gd name="T42" fmla="*/ 99 w 100"/>
                <a:gd name="T43" fmla="*/ 107 h 172"/>
                <a:gd name="T44" fmla="*/ 88 w 100"/>
                <a:gd name="T45" fmla="*/ 0 h 172"/>
                <a:gd name="T46" fmla="*/ 27 w 100"/>
                <a:gd name="T47" fmla="*/ 5 h 172"/>
                <a:gd name="T48" fmla="*/ 16 w 100"/>
                <a:gd name="T49" fmla="*/ 12 h 172"/>
                <a:gd name="T50" fmla="*/ 8 w 100"/>
                <a:gd name="T51" fmla="*/ 12 h 172"/>
                <a:gd name="T52" fmla="*/ 10 w 100"/>
                <a:gd name="T53" fmla="*/ 106 h 172"/>
                <a:gd name="T54" fmla="*/ 10 w 100"/>
                <a:gd name="T55" fmla="*/ 113 h 172"/>
                <a:gd name="T56" fmla="*/ 15 w 100"/>
                <a:gd name="T57" fmla="*/ 124 h 172"/>
                <a:gd name="T58" fmla="*/ 16 w 100"/>
                <a:gd name="T59" fmla="*/ 134 h 172"/>
                <a:gd name="T60" fmla="*/ 11 w 100"/>
                <a:gd name="T61" fmla="*/ 140 h 172"/>
                <a:gd name="T62" fmla="*/ 8 w 100"/>
                <a:gd name="T63" fmla="*/ 147 h 172"/>
                <a:gd name="T64" fmla="*/ 4 w 100"/>
                <a:gd name="T65" fmla="*/ 156 h 172"/>
                <a:gd name="T66" fmla="*/ 0 w 100"/>
                <a:gd name="T67" fmla="*/ 161 h 172"/>
                <a:gd name="T68" fmla="*/ 1 w 100"/>
                <a:gd name="T69" fmla="*/ 171 h 172"/>
                <a:gd name="T70" fmla="*/ 2 w 100"/>
                <a:gd name="T7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172">
                  <a:moveTo>
                    <a:pt x="5" y="172"/>
                  </a:moveTo>
                  <a:lnTo>
                    <a:pt x="5" y="167"/>
                  </a:lnTo>
                  <a:lnTo>
                    <a:pt x="13" y="167"/>
                  </a:lnTo>
                  <a:lnTo>
                    <a:pt x="16" y="163"/>
                  </a:lnTo>
                  <a:lnTo>
                    <a:pt x="19" y="163"/>
                  </a:lnTo>
                  <a:lnTo>
                    <a:pt x="24" y="163"/>
                  </a:lnTo>
                  <a:lnTo>
                    <a:pt x="27" y="166"/>
                  </a:lnTo>
                  <a:lnTo>
                    <a:pt x="31" y="168"/>
                  </a:lnTo>
                  <a:lnTo>
                    <a:pt x="32" y="167"/>
                  </a:lnTo>
                  <a:lnTo>
                    <a:pt x="32" y="163"/>
                  </a:lnTo>
                  <a:lnTo>
                    <a:pt x="36" y="162"/>
                  </a:lnTo>
                  <a:lnTo>
                    <a:pt x="38" y="161"/>
                  </a:lnTo>
                  <a:lnTo>
                    <a:pt x="42" y="161"/>
                  </a:lnTo>
                  <a:lnTo>
                    <a:pt x="44" y="163"/>
                  </a:lnTo>
                  <a:lnTo>
                    <a:pt x="48" y="164"/>
                  </a:lnTo>
                  <a:lnTo>
                    <a:pt x="49" y="161"/>
                  </a:lnTo>
                  <a:lnTo>
                    <a:pt x="49" y="157"/>
                  </a:lnTo>
                  <a:lnTo>
                    <a:pt x="52" y="154"/>
                  </a:lnTo>
                  <a:lnTo>
                    <a:pt x="53" y="150"/>
                  </a:lnTo>
                  <a:lnTo>
                    <a:pt x="55" y="150"/>
                  </a:lnTo>
                  <a:lnTo>
                    <a:pt x="56" y="154"/>
                  </a:lnTo>
                  <a:lnTo>
                    <a:pt x="59" y="157"/>
                  </a:lnTo>
                  <a:lnTo>
                    <a:pt x="60" y="158"/>
                  </a:lnTo>
                  <a:lnTo>
                    <a:pt x="66" y="157"/>
                  </a:lnTo>
                  <a:lnTo>
                    <a:pt x="68" y="153"/>
                  </a:lnTo>
                  <a:lnTo>
                    <a:pt x="68" y="150"/>
                  </a:lnTo>
                  <a:lnTo>
                    <a:pt x="71" y="145"/>
                  </a:lnTo>
                  <a:lnTo>
                    <a:pt x="74" y="145"/>
                  </a:lnTo>
                  <a:lnTo>
                    <a:pt x="76" y="143"/>
                  </a:lnTo>
                  <a:lnTo>
                    <a:pt x="78" y="139"/>
                  </a:lnTo>
                  <a:lnTo>
                    <a:pt x="80" y="135"/>
                  </a:lnTo>
                  <a:lnTo>
                    <a:pt x="80" y="131"/>
                  </a:lnTo>
                  <a:lnTo>
                    <a:pt x="81" y="129"/>
                  </a:lnTo>
                  <a:lnTo>
                    <a:pt x="81" y="127"/>
                  </a:lnTo>
                  <a:lnTo>
                    <a:pt x="82" y="126"/>
                  </a:lnTo>
                  <a:lnTo>
                    <a:pt x="90" y="125"/>
                  </a:lnTo>
                  <a:lnTo>
                    <a:pt x="94" y="123"/>
                  </a:lnTo>
                  <a:lnTo>
                    <a:pt x="98" y="123"/>
                  </a:lnTo>
                  <a:lnTo>
                    <a:pt x="100" y="121"/>
                  </a:lnTo>
                  <a:lnTo>
                    <a:pt x="99" y="115"/>
                  </a:lnTo>
                  <a:lnTo>
                    <a:pt x="100" y="113"/>
                  </a:lnTo>
                  <a:lnTo>
                    <a:pt x="98" y="112"/>
                  </a:lnTo>
                  <a:lnTo>
                    <a:pt x="97" y="108"/>
                  </a:lnTo>
                  <a:lnTo>
                    <a:pt x="99" y="107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27" y="4"/>
                  </a:lnTo>
                  <a:lnTo>
                    <a:pt x="27" y="5"/>
                  </a:lnTo>
                  <a:lnTo>
                    <a:pt x="20" y="9"/>
                  </a:lnTo>
                  <a:lnTo>
                    <a:pt x="16" y="12"/>
                  </a:lnTo>
                  <a:lnTo>
                    <a:pt x="13" y="13"/>
                  </a:lnTo>
                  <a:lnTo>
                    <a:pt x="8" y="12"/>
                  </a:lnTo>
                  <a:lnTo>
                    <a:pt x="11" y="103"/>
                  </a:lnTo>
                  <a:lnTo>
                    <a:pt x="10" y="106"/>
                  </a:lnTo>
                  <a:lnTo>
                    <a:pt x="10" y="109"/>
                  </a:lnTo>
                  <a:lnTo>
                    <a:pt x="10" y="113"/>
                  </a:lnTo>
                  <a:lnTo>
                    <a:pt x="11" y="117"/>
                  </a:lnTo>
                  <a:lnTo>
                    <a:pt x="15" y="124"/>
                  </a:lnTo>
                  <a:lnTo>
                    <a:pt x="16" y="130"/>
                  </a:lnTo>
                  <a:lnTo>
                    <a:pt x="16" y="134"/>
                  </a:lnTo>
                  <a:lnTo>
                    <a:pt x="13" y="136"/>
                  </a:lnTo>
                  <a:lnTo>
                    <a:pt x="11" y="140"/>
                  </a:lnTo>
                  <a:lnTo>
                    <a:pt x="10" y="145"/>
                  </a:lnTo>
                  <a:lnTo>
                    <a:pt x="8" y="147"/>
                  </a:lnTo>
                  <a:lnTo>
                    <a:pt x="5" y="150"/>
                  </a:lnTo>
                  <a:lnTo>
                    <a:pt x="4" y="156"/>
                  </a:lnTo>
                  <a:lnTo>
                    <a:pt x="2" y="157"/>
                  </a:lnTo>
                  <a:lnTo>
                    <a:pt x="0" y="161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5" y="172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7" name="Freeform 54"/>
            <p:cNvSpPr>
              <a:spLocks/>
            </p:cNvSpPr>
            <p:nvPr/>
          </p:nvSpPr>
          <p:spPr bwMode="auto">
            <a:xfrm>
              <a:off x="6929030" y="2282869"/>
              <a:ext cx="217551" cy="381136"/>
            </a:xfrm>
            <a:custGeom>
              <a:avLst/>
              <a:gdLst>
                <a:gd name="T0" fmla="*/ 88 w 129"/>
                <a:gd name="T1" fmla="*/ 217 h 226"/>
                <a:gd name="T2" fmla="*/ 96 w 129"/>
                <a:gd name="T3" fmla="*/ 222 h 226"/>
                <a:gd name="T4" fmla="*/ 102 w 129"/>
                <a:gd name="T5" fmla="*/ 222 h 226"/>
                <a:gd name="T6" fmla="*/ 102 w 129"/>
                <a:gd name="T7" fmla="*/ 216 h 226"/>
                <a:gd name="T8" fmla="*/ 105 w 129"/>
                <a:gd name="T9" fmla="*/ 209 h 226"/>
                <a:gd name="T10" fmla="*/ 113 w 129"/>
                <a:gd name="T11" fmla="*/ 206 h 226"/>
                <a:gd name="T12" fmla="*/ 112 w 129"/>
                <a:gd name="T13" fmla="*/ 200 h 226"/>
                <a:gd name="T14" fmla="*/ 112 w 129"/>
                <a:gd name="T15" fmla="*/ 195 h 226"/>
                <a:gd name="T16" fmla="*/ 115 w 129"/>
                <a:gd name="T17" fmla="*/ 194 h 226"/>
                <a:gd name="T18" fmla="*/ 113 w 129"/>
                <a:gd name="T19" fmla="*/ 189 h 226"/>
                <a:gd name="T20" fmla="*/ 115 w 129"/>
                <a:gd name="T21" fmla="*/ 179 h 226"/>
                <a:gd name="T22" fmla="*/ 118 w 129"/>
                <a:gd name="T23" fmla="*/ 172 h 226"/>
                <a:gd name="T24" fmla="*/ 123 w 129"/>
                <a:gd name="T25" fmla="*/ 167 h 226"/>
                <a:gd name="T26" fmla="*/ 126 w 129"/>
                <a:gd name="T27" fmla="*/ 158 h 226"/>
                <a:gd name="T28" fmla="*/ 129 w 129"/>
                <a:gd name="T29" fmla="*/ 152 h 226"/>
                <a:gd name="T30" fmla="*/ 124 w 129"/>
                <a:gd name="T31" fmla="*/ 139 h 226"/>
                <a:gd name="T32" fmla="*/ 123 w 129"/>
                <a:gd name="T33" fmla="*/ 131 h 226"/>
                <a:gd name="T34" fmla="*/ 124 w 129"/>
                <a:gd name="T35" fmla="*/ 125 h 226"/>
                <a:gd name="T36" fmla="*/ 122 w 129"/>
                <a:gd name="T37" fmla="*/ 34 h 226"/>
                <a:gd name="T38" fmla="*/ 116 w 129"/>
                <a:gd name="T39" fmla="*/ 26 h 226"/>
                <a:gd name="T40" fmla="*/ 113 w 129"/>
                <a:gd name="T41" fmla="*/ 17 h 226"/>
                <a:gd name="T42" fmla="*/ 107 w 129"/>
                <a:gd name="T43" fmla="*/ 3 h 226"/>
                <a:gd name="T44" fmla="*/ 24 w 129"/>
                <a:gd name="T45" fmla="*/ 5 h 226"/>
                <a:gd name="T46" fmla="*/ 22 w 129"/>
                <a:gd name="T47" fmla="*/ 3 h 226"/>
                <a:gd name="T48" fmla="*/ 21 w 129"/>
                <a:gd name="T49" fmla="*/ 8 h 226"/>
                <a:gd name="T50" fmla="*/ 28 w 129"/>
                <a:gd name="T51" fmla="*/ 14 h 226"/>
                <a:gd name="T52" fmla="*/ 38 w 129"/>
                <a:gd name="T53" fmla="*/ 23 h 226"/>
                <a:gd name="T54" fmla="*/ 36 w 129"/>
                <a:gd name="T55" fmla="*/ 32 h 226"/>
                <a:gd name="T56" fmla="*/ 31 w 129"/>
                <a:gd name="T57" fmla="*/ 43 h 226"/>
                <a:gd name="T58" fmla="*/ 27 w 129"/>
                <a:gd name="T59" fmla="*/ 47 h 226"/>
                <a:gd name="T60" fmla="*/ 15 w 129"/>
                <a:gd name="T61" fmla="*/ 50 h 226"/>
                <a:gd name="T62" fmla="*/ 12 w 129"/>
                <a:gd name="T63" fmla="*/ 55 h 226"/>
                <a:gd name="T64" fmla="*/ 15 w 129"/>
                <a:gd name="T65" fmla="*/ 65 h 226"/>
                <a:gd name="T66" fmla="*/ 13 w 129"/>
                <a:gd name="T67" fmla="*/ 70 h 226"/>
                <a:gd name="T68" fmla="*/ 11 w 129"/>
                <a:gd name="T69" fmla="*/ 77 h 226"/>
                <a:gd name="T70" fmla="*/ 2 w 129"/>
                <a:gd name="T71" fmla="*/ 86 h 226"/>
                <a:gd name="T72" fmla="*/ 0 w 129"/>
                <a:gd name="T73" fmla="*/ 95 h 226"/>
                <a:gd name="T74" fmla="*/ 0 w 129"/>
                <a:gd name="T75" fmla="*/ 113 h 226"/>
                <a:gd name="T76" fmla="*/ 21 w 129"/>
                <a:gd name="T77" fmla="*/ 136 h 226"/>
                <a:gd name="T78" fmla="*/ 25 w 129"/>
                <a:gd name="T79" fmla="*/ 150 h 226"/>
                <a:gd name="T80" fmla="*/ 31 w 129"/>
                <a:gd name="T81" fmla="*/ 151 h 226"/>
                <a:gd name="T82" fmla="*/ 39 w 129"/>
                <a:gd name="T83" fmla="*/ 150 h 226"/>
                <a:gd name="T84" fmla="*/ 45 w 129"/>
                <a:gd name="T85" fmla="*/ 156 h 226"/>
                <a:gd name="T86" fmla="*/ 41 w 129"/>
                <a:gd name="T87" fmla="*/ 167 h 226"/>
                <a:gd name="T88" fmla="*/ 39 w 129"/>
                <a:gd name="T89" fmla="*/ 175 h 226"/>
                <a:gd name="T90" fmla="*/ 44 w 129"/>
                <a:gd name="T91" fmla="*/ 185 h 226"/>
                <a:gd name="T92" fmla="*/ 53 w 129"/>
                <a:gd name="T93" fmla="*/ 189 h 226"/>
                <a:gd name="T94" fmla="*/ 68 w 129"/>
                <a:gd name="T95" fmla="*/ 200 h 226"/>
                <a:gd name="T96" fmla="*/ 70 w 129"/>
                <a:gd name="T97" fmla="*/ 214 h 226"/>
                <a:gd name="T98" fmla="*/ 74 w 129"/>
                <a:gd name="T99" fmla="*/ 222 h 226"/>
                <a:gd name="T100" fmla="*/ 76 w 129"/>
                <a:gd name="T101" fmla="*/ 222 h 226"/>
                <a:gd name="T102" fmla="*/ 83 w 129"/>
                <a:gd name="T103" fmla="*/ 22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9" h="226">
                  <a:moveTo>
                    <a:pt x="86" y="218"/>
                  </a:moveTo>
                  <a:lnTo>
                    <a:pt x="88" y="217"/>
                  </a:lnTo>
                  <a:lnTo>
                    <a:pt x="92" y="219"/>
                  </a:lnTo>
                  <a:lnTo>
                    <a:pt x="96" y="222"/>
                  </a:lnTo>
                  <a:lnTo>
                    <a:pt x="99" y="222"/>
                  </a:lnTo>
                  <a:lnTo>
                    <a:pt x="102" y="222"/>
                  </a:lnTo>
                  <a:lnTo>
                    <a:pt x="104" y="221"/>
                  </a:lnTo>
                  <a:lnTo>
                    <a:pt x="102" y="216"/>
                  </a:lnTo>
                  <a:lnTo>
                    <a:pt x="102" y="211"/>
                  </a:lnTo>
                  <a:lnTo>
                    <a:pt x="105" y="209"/>
                  </a:lnTo>
                  <a:lnTo>
                    <a:pt x="111" y="207"/>
                  </a:lnTo>
                  <a:lnTo>
                    <a:pt x="113" y="206"/>
                  </a:lnTo>
                  <a:lnTo>
                    <a:pt x="112" y="203"/>
                  </a:lnTo>
                  <a:lnTo>
                    <a:pt x="112" y="200"/>
                  </a:lnTo>
                  <a:lnTo>
                    <a:pt x="112" y="199"/>
                  </a:lnTo>
                  <a:lnTo>
                    <a:pt x="112" y="195"/>
                  </a:lnTo>
                  <a:lnTo>
                    <a:pt x="115" y="194"/>
                  </a:lnTo>
                  <a:lnTo>
                    <a:pt x="115" y="194"/>
                  </a:lnTo>
                  <a:lnTo>
                    <a:pt x="114" y="193"/>
                  </a:lnTo>
                  <a:lnTo>
                    <a:pt x="113" y="189"/>
                  </a:lnTo>
                  <a:lnTo>
                    <a:pt x="113" y="183"/>
                  </a:lnTo>
                  <a:lnTo>
                    <a:pt x="115" y="179"/>
                  </a:lnTo>
                  <a:lnTo>
                    <a:pt x="117" y="178"/>
                  </a:lnTo>
                  <a:lnTo>
                    <a:pt x="118" y="172"/>
                  </a:lnTo>
                  <a:lnTo>
                    <a:pt x="121" y="169"/>
                  </a:lnTo>
                  <a:lnTo>
                    <a:pt x="123" y="167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9" y="156"/>
                  </a:lnTo>
                  <a:lnTo>
                    <a:pt x="129" y="152"/>
                  </a:lnTo>
                  <a:lnTo>
                    <a:pt x="128" y="146"/>
                  </a:lnTo>
                  <a:lnTo>
                    <a:pt x="124" y="139"/>
                  </a:lnTo>
                  <a:lnTo>
                    <a:pt x="123" y="135"/>
                  </a:lnTo>
                  <a:lnTo>
                    <a:pt x="123" y="131"/>
                  </a:lnTo>
                  <a:lnTo>
                    <a:pt x="123" y="128"/>
                  </a:lnTo>
                  <a:lnTo>
                    <a:pt x="124" y="125"/>
                  </a:lnTo>
                  <a:lnTo>
                    <a:pt x="121" y="34"/>
                  </a:lnTo>
                  <a:lnTo>
                    <a:pt x="122" y="34"/>
                  </a:lnTo>
                  <a:lnTo>
                    <a:pt x="118" y="31"/>
                  </a:lnTo>
                  <a:lnTo>
                    <a:pt x="116" y="26"/>
                  </a:lnTo>
                  <a:lnTo>
                    <a:pt x="114" y="23"/>
                  </a:lnTo>
                  <a:lnTo>
                    <a:pt x="113" y="17"/>
                  </a:lnTo>
                  <a:lnTo>
                    <a:pt x="109" y="13"/>
                  </a:lnTo>
                  <a:lnTo>
                    <a:pt x="107" y="3"/>
                  </a:lnTo>
                  <a:lnTo>
                    <a:pt x="107" y="0"/>
                  </a:lnTo>
                  <a:lnTo>
                    <a:pt x="24" y="5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1" y="6"/>
                  </a:lnTo>
                  <a:lnTo>
                    <a:pt x="21" y="8"/>
                  </a:lnTo>
                  <a:lnTo>
                    <a:pt x="24" y="11"/>
                  </a:lnTo>
                  <a:lnTo>
                    <a:pt x="28" y="14"/>
                  </a:lnTo>
                  <a:lnTo>
                    <a:pt x="33" y="18"/>
                  </a:lnTo>
                  <a:lnTo>
                    <a:pt x="38" y="23"/>
                  </a:lnTo>
                  <a:lnTo>
                    <a:pt x="38" y="26"/>
                  </a:lnTo>
                  <a:lnTo>
                    <a:pt x="36" y="32"/>
                  </a:lnTo>
                  <a:lnTo>
                    <a:pt x="34" y="35"/>
                  </a:lnTo>
                  <a:lnTo>
                    <a:pt x="31" y="43"/>
                  </a:lnTo>
                  <a:lnTo>
                    <a:pt x="29" y="45"/>
                  </a:lnTo>
                  <a:lnTo>
                    <a:pt x="27" y="47"/>
                  </a:lnTo>
                  <a:lnTo>
                    <a:pt x="21" y="50"/>
                  </a:lnTo>
                  <a:lnTo>
                    <a:pt x="15" y="50"/>
                  </a:lnTo>
                  <a:lnTo>
                    <a:pt x="12" y="51"/>
                  </a:lnTo>
                  <a:lnTo>
                    <a:pt x="12" y="55"/>
                  </a:lnTo>
                  <a:lnTo>
                    <a:pt x="12" y="58"/>
                  </a:lnTo>
                  <a:lnTo>
                    <a:pt x="15" y="65"/>
                  </a:lnTo>
                  <a:lnTo>
                    <a:pt x="17" y="67"/>
                  </a:lnTo>
                  <a:lnTo>
                    <a:pt x="13" y="70"/>
                  </a:lnTo>
                  <a:lnTo>
                    <a:pt x="13" y="77"/>
                  </a:lnTo>
                  <a:lnTo>
                    <a:pt x="11" y="77"/>
                  </a:lnTo>
                  <a:lnTo>
                    <a:pt x="8" y="80"/>
                  </a:lnTo>
                  <a:lnTo>
                    <a:pt x="2" y="86"/>
                  </a:lnTo>
                  <a:lnTo>
                    <a:pt x="3" y="92"/>
                  </a:lnTo>
                  <a:lnTo>
                    <a:pt x="0" y="95"/>
                  </a:lnTo>
                  <a:lnTo>
                    <a:pt x="0" y="104"/>
                  </a:lnTo>
                  <a:lnTo>
                    <a:pt x="0" y="113"/>
                  </a:lnTo>
                  <a:lnTo>
                    <a:pt x="6" y="123"/>
                  </a:lnTo>
                  <a:lnTo>
                    <a:pt x="21" y="136"/>
                  </a:lnTo>
                  <a:lnTo>
                    <a:pt x="25" y="142"/>
                  </a:lnTo>
                  <a:lnTo>
                    <a:pt x="25" y="150"/>
                  </a:lnTo>
                  <a:lnTo>
                    <a:pt x="30" y="154"/>
                  </a:lnTo>
                  <a:lnTo>
                    <a:pt x="31" y="151"/>
                  </a:lnTo>
                  <a:lnTo>
                    <a:pt x="34" y="150"/>
                  </a:lnTo>
                  <a:lnTo>
                    <a:pt x="39" y="150"/>
                  </a:lnTo>
                  <a:lnTo>
                    <a:pt x="42" y="153"/>
                  </a:lnTo>
                  <a:lnTo>
                    <a:pt x="45" y="156"/>
                  </a:lnTo>
                  <a:lnTo>
                    <a:pt x="42" y="162"/>
                  </a:lnTo>
                  <a:lnTo>
                    <a:pt x="41" y="167"/>
                  </a:lnTo>
                  <a:lnTo>
                    <a:pt x="41" y="170"/>
                  </a:lnTo>
                  <a:lnTo>
                    <a:pt x="39" y="175"/>
                  </a:lnTo>
                  <a:lnTo>
                    <a:pt x="39" y="180"/>
                  </a:lnTo>
                  <a:lnTo>
                    <a:pt x="44" y="185"/>
                  </a:lnTo>
                  <a:lnTo>
                    <a:pt x="51" y="190"/>
                  </a:lnTo>
                  <a:lnTo>
                    <a:pt x="53" y="189"/>
                  </a:lnTo>
                  <a:lnTo>
                    <a:pt x="64" y="196"/>
                  </a:lnTo>
                  <a:lnTo>
                    <a:pt x="68" y="200"/>
                  </a:lnTo>
                  <a:lnTo>
                    <a:pt x="71" y="209"/>
                  </a:lnTo>
                  <a:lnTo>
                    <a:pt x="70" y="214"/>
                  </a:lnTo>
                  <a:lnTo>
                    <a:pt x="69" y="217"/>
                  </a:lnTo>
                  <a:lnTo>
                    <a:pt x="74" y="222"/>
                  </a:lnTo>
                  <a:lnTo>
                    <a:pt x="74" y="226"/>
                  </a:lnTo>
                  <a:lnTo>
                    <a:pt x="76" y="222"/>
                  </a:lnTo>
                  <a:lnTo>
                    <a:pt x="80" y="222"/>
                  </a:lnTo>
                  <a:lnTo>
                    <a:pt x="83" y="221"/>
                  </a:lnTo>
                  <a:lnTo>
                    <a:pt x="86" y="218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8" name="Freeform 55"/>
            <p:cNvSpPr>
              <a:spLocks/>
            </p:cNvSpPr>
            <p:nvPr/>
          </p:nvSpPr>
          <p:spPr bwMode="auto">
            <a:xfrm>
              <a:off x="6662572" y="2198545"/>
              <a:ext cx="330543" cy="242848"/>
            </a:xfrm>
            <a:custGeom>
              <a:avLst/>
              <a:gdLst>
                <a:gd name="T0" fmla="*/ 196 w 231"/>
                <a:gd name="T1" fmla="*/ 154 h 170"/>
                <a:gd name="T2" fmla="*/ 201 w 231"/>
                <a:gd name="T3" fmla="*/ 150 h 170"/>
                <a:gd name="T4" fmla="*/ 206 w 231"/>
                <a:gd name="T5" fmla="*/ 139 h 170"/>
                <a:gd name="T6" fmla="*/ 200 w 231"/>
                <a:gd name="T7" fmla="*/ 128 h 170"/>
                <a:gd name="T8" fmla="*/ 200 w 231"/>
                <a:gd name="T9" fmla="*/ 120 h 170"/>
                <a:gd name="T10" fmla="*/ 211 w 231"/>
                <a:gd name="T11" fmla="*/ 118 h 170"/>
                <a:gd name="T12" fmla="*/ 220 w 231"/>
                <a:gd name="T13" fmla="*/ 113 h 170"/>
                <a:gd name="T14" fmla="*/ 226 w 231"/>
                <a:gd name="T15" fmla="*/ 101 h 170"/>
                <a:gd name="T16" fmla="*/ 231 w 231"/>
                <a:gd name="T17" fmla="*/ 90 h 170"/>
                <a:gd name="T18" fmla="*/ 225 w 231"/>
                <a:gd name="T19" fmla="*/ 81 h 170"/>
                <a:gd name="T20" fmla="*/ 215 w 231"/>
                <a:gd name="T21" fmla="*/ 72 h 170"/>
                <a:gd name="T22" fmla="*/ 211 w 231"/>
                <a:gd name="T23" fmla="*/ 66 h 170"/>
                <a:gd name="T24" fmla="*/ 214 w 231"/>
                <a:gd name="T25" fmla="*/ 65 h 170"/>
                <a:gd name="T26" fmla="*/ 206 w 231"/>
                <a:gd name="T27" fmla="*/ 59 h 170"/>
                <a:gd name="T28" fmla="*/ 196 w 231"/>
                <a:gd name="T29" fmla="*/ 55 h 170"/>
                <a:gd name="T30" fmla="*/ 194 w 231"/>
                <a:gd name="T31" fmla="*/ 45 h 170"/>
                <a:gd name="T32" fmla="*/ 194 w 231"/>
                <a:gd name="T33" fmla="*/ 35 h 170"/>
                <a:gd name="T34" fmla="*/ 192 w 231"/>
                <a:gd name="T35" fmla="*/ 25 h 170"/>
                <a:gd name="T36" fmla="*/ 7 w 231"/>
                <a:gd name="T37" fmla="*/ 22 h 170"/>
                <a:gd name="T38" fmla="*/ 8 w 231"/>
                <a:gd name="T39" fmla="*/ 0 h 170"/>
                <a:gd name="T40" fmla="*/ 4 w 231"/>
                <a:gd name="T41" fmla="*/ 23 h 170"/>
                <a:gd name="T42" fmla="*/ 3 w 231"/>
                <a:gd name="T43" fmla="*/ 31 h 170"/>
                <a:gd name="T44" fmla="*/ 7 w 231"/>
                <a:gd name="T45" fmla="*/ 37 h 170"/>
                <a:gd name="T46" fmla="*/ 5 w 231"/>
                <a:gd name="T47" fmla="*/ 42 h 170"/>
                <a:gd name="T48" fmla="*/ 4 w 231"/>
                <a:gd name="T49" fmla="*/ 52 h 170"/>
                <a:gd name="T50" fmla="*/ 0 w 231"/>
                <a:gd name="T51" fmla="*/ 56 h 170"/>
                <a:gd name="T52" fmla="*/ 4 w 231"/>
                <a:gd name="T53" fmla="*/ 62 h 170"/>
                <a:gd name="T54" fmla="*/ 4 w 231"/>
                <a:gd name="T55" fmla="*/ 69 h 170"/>
                <a:gd name="T56" fmla="*/ 6 w 231"/>
                <a:gd name="T57" fmla="*/ 71 h 170"/>
                <a:gd name="T58" fmla="*/ 12 w 231"/>
                <a:gd name="T59" fmla="*/ 85 h 170"/>
                <a:gd name="T60" fmla="*/ 16 w 231"/>
                <a:gd name="T61" fmla="*/ 96 h 170"/>
                <a:gd name="T62" fmla="*/ 19 w 231"/>
                <a:gd name="T63" fmla="*/ 102 h 170"/>
                <a:gd name="T64" fmla="*/ 20 w 231"/>
                <a:gd name="T65" fmla="*/ 104 h 170"/>
                <a:gd name="T66" fmla="*/ 18 w 231"/>
                <a:gd name="T67" fmla="*/ 109 h 170"/>
                <a:gd name="T68" fmla="*/ 20 w 231"/>
                <a:gd name="T69" fmla="*/ 116 h 170"/>
                <a:gd name="T70" fmla="*/ 24 w 231"/>
                <a:gd name="T71" fmla="*/ 118 h 170"/>
                <a:gd name="T72" fmla="*/ 26 w 231"/>
                <a:gd name="T73" fmla="*/ 135 h 170"/>
                <a:gd name="T74" fmla="*/ 27 w 231"/>
                <a:gd name="T75" fmla="*/ 142 h 170"/>
                <a:gd name="T76" fmla="*/ 28 w 231"/>
                <a:gd name="T77" fmla="*/ 154 h 170"/>
                <a:gd name="T78" fmla="*/ 30 w 231"/>
                <a:gd name="T79" fmla="*/ 162 h 170"/>
                <a:gd name="T80" fmla="*/ 188 w 231"/>
                <a:gd name="T81" fmla="*/ 170 h 170"/>
                <a:gd name="T82" fmla="*/ 189 w 231"/>
                <a:gd name="T83" fmla="*/ 16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1" h="170">
                  <a:moveTo>
                    <a:pt x="189" y="161"/>
                  </a:moveTo>
                  <a:cubicBezTo>
                    <a:pt x="196" y="154"/>
                    <a:pt x="196" y="154"/>
                    <a:pt x="196" y="154"/>
                  </a:cubicBezTo>
                  <a:cubicBezTo>
                    <a:pt x="199" y="150"/>
                    <a:pt x="199" y="150"/>
                    <a:pt x="199" y="150"/>
                  </a:cubicBezTo>
                  <a:cubicBezTo>
                    <a:pt x="201" y="150"/>
                    <a:pt x="201" y="150"/>
                    <a:pt x="201" y="150"/>
                  </a:cubicBezTo>
                  <a:cubicBezTo>
                    <a:pt x="202" y="142"/>
                    <a:pt x="202" y="142"/>
                    <a:pt x="202" y="142"/>
                  </a:cubicBezTo>
                  <a:cubicBezTo>
                    <a:pt x="206" y="139"/>
                    <a:pt x="206" y="139"/>
                    <a:pt x="206" y="139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0"/>
                    <a:pt x="200" y="120"/>
                    <a:pt x="200" y="120"/>
                  </a:cubicBezTo>
                  <a:cubicBezTo>
                    <a:pt x="204" y="118"/>
                    <a:pt x="204" y="118"/>
                    <a:pt x="204" y="118"/>
                  </a:cubicBezTo>
                  <a:cubicBezTo>
                    <a:pt x="211" y="118"/>
                    <a:pt x="211" y="118"/>
                    <a:pt x="211" y="118"/>
                  </a:cubicBezTo>
                  <a:cubicBezTo>
                    <a:pt x="218" y="115"/>
                    <a:pt x="218" y="115"/>
                    <a:pt x="218" y="115"/>
                  </a:cubicBezTo>
                  <a:cubicBezTo>
                    <a:pt x="220" y="113"/>
                    <a:pt x="220" y="113"/>
                    <a:pt x="220" y="113"/>
                  </a:cubicBezTo>
                  <a:cubicBezTo>
                    <a:pt x="223" y="110"/>
                    <a:pt x="223" y="110"/>
                    <a:pt x="223" y="110"/>
                  </a:cubicBezTo>
                  <a:cubicBezTo>
                    <a:pt x="226" y="101"/>
                    <a:pt x="226" y="101"/>
                    <a:pt x="226" y="101"/>
                  </a:cubicBezTo>
                  <a:cubicBezTo>
                    <a:pt x="229" y="97"/>
                    <a:pt x="229" y="97"/>
                    <a:pt x="229" y="97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25" y="81"/>
                    <a:pt x="225" y="81"/>
                    <a:pt x="225" y="81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15" y="72"/>
                    <a:pt x="215" y="72"/>
                    <a:pt x="215" y="72"/>
                  </a:cubicBezTo>
                  <a:cubicBezTo>
                    <a:pt x="211" y="69"/>
                    <a:pt x="211" y="69"/>
                    <a:pt x="211" y="69"/>
                  </a:cubicBezTo>
                  <a:cubicBezTo>
                    <a:pt x="211" y="66"/>
                    <a:pt x="211" y="66"/>
                    <a:pt x="211" y="66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1" y="61"/>
                    <a:pt x="211" y="61"/>
                    <a:pt x="211" y="61"/>
                  </a:cubicBezTo>
                  <a:cubicBezTo>
                    <a:pt x="211" y="61"/>
                    <a:pt x="207" y="59"/>
                    <a:pt x="206" y="59"/>
                  </a:cubicBezTo>
                  <a:cubicBezTo>
                    <a:pt x="205" y="59"/>
                    <a:pt x="201" y="55"/>
                    <a:pt x="201" y="55"/>
                  </a:cubicBezTo>
                  <a:cubicBezTo>
                    <a:pt x="196" y="55"/>
                    <a:pt x="196" y="55"/>
                    <a:pt x="196" y="55"/>
                  </a:cubicBezTo>
                  <a:cubicBezTo>
                    <a:pt x="196" y="50"/>
                    <a:pt x="196" y="50"/>
                    <a:pt x="196" y="50"/>
                  </a:cubicBezTo>
                  <a:cubicBezTo>
                    <a:pt x="194" y="45"/>
                    <a:pt x="194" y="45"/>
                    <a:pt x="194" y="45"/>
                  </a:cubicBezTo>
                  <a:cubicBezTo>
                    <a:pt x="194" y="39"/>
                    <a:pt x="194" y="39"/>
                    <a:pt x="194" y="39"/>
                  </a:cubicBezTo>
                  <a:cubicBezTo>
                    <a:pt x="194" y="35"/>
                    <a:pt x="194" y="35"/>
                    <a:pt x="194" y="35"/>
                  </a:cubicBezTo>
                  <a:cubicBezTo>
                    <a:pt x="194" y="28"/>
                    <a:pt x="194" y="28"/>
                    <a:pt x="194" y="28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89" y="18"/>
                    <a:pt x="189" y="18"/>
                    <a:pt x="189" y="18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9" y="102"/>
                    <a:pt x="19" y="102"/>
                    <a:pt x="19" y="102"/>
                  </a:cubicBezTo>
                  <a:cubicBezTo>
                    <a:pt x="20" y="103"/>
                    <a:pt x="20" y="103"/>
                    <a:pt x="20" y="103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6" y="125"/>
                    <a:pt x="26" y="125"/>
                    <a:pt x="26" y="125"/>
                  </a:cubicBezTo>
                  <a:cubicBezTo>
                    <a:pt x="26" y="135"/>
                    <a:pt x="26" y="135"/>
                    <a:pt x="26" y="135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27" y="142"/>
                    <a:pt x="27" y="142"/>
                    <a:pt x="27" y="142"/>
                  </a:cubicBezTo>
                  <a:cubicBezTo>
                    <a:pt x="28" y="144"/>
                    <a:pt x="28" y="144"/>
                    <a:pt x="28" y="144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0" y="162"/>
                    <a:pt x="30" y="162"/>
                    <a:pt x="30" y="162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88" y="170"/>
                    <a:pt x="188" y="170"/>
                    <a:pt x="188" y="170"/>
                  </a:cubicBezTo>
                  <a:cubicBezTo>
                    <a:pt x="190" y="168"/>
                    <a:pt x="190" y="168"/>
                    <a:pt x="190" y="168"/>
                  </a:cubicBezTo>
                  <a:lnTo>
                    <a:pt x="189" y="161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9" name="Freeform 68"/>
            <p:cNvSpPr>
              <a:spLocks/>
            </p:cNvSpPr>
            <p:nvPr/>
          </p:nvSpPr>
          <p:spPr bwMode="auto">
            <a:xfrm>
              <a:off x="5157993" y="3013097"/>
              <a:ext cx="735560" cy="571704"/>
            </a:xfrm>
            <a:custGeom>
              <a:avLst/>
              <a:gdLst>
                <a:gd name="connsiteX0" fmla="*/ 302516 w 770887"/>
                <a:gd name="connsiteY0" fmla="*/ 482511 h 599162"/>
                <a:gd name="connsiteX1" fmla="*/ 307819 w 770887"/>
                <a:gd name="connsiteY1" fmla="*/ 487813 h 599162"/>
                <a:gd name="connsiteX2" fmla="*/ 318423 w 770887"/>
                <a:gd name="connsiteY2" fmla="*/ 494883 h 599162"/>
                <a:gd name="connsiteX3" fmla="*/ 311354 w 770887"/>
                <a:gd name="connsiteY3" fmla="*/ 496651 h 599162"/>
                <a:gd name="connsiteX4" fmla="*/ 307819 w 770887"/>
                <a:gd name="connsiteY4" fmla="*/ 496651 h 599162"/>
                <a:gd name="connsiteX5" fmla="*/ 300749 w 770887"/>
                <a:gd name="connsiteY5" fmla="*/ 501953 h 599162"/>
                <a:gd name="connsiteX6" fmla="*/ 300749 w 770887"/>
                <a:gd name="connsiteY6" fmla="*/ 503720 h 599162"/>
                <a:gd name="connsiteX7" fmla="*/ 300749 w 770887"/>
                <a:gd name="connsiteY7" fmla="*/ 509023 h 599162"/>
                <a:gd name="connsiteX8" fmla="*/ 304284 w 770887"/>
                <a:gd name="connsiteY8" fmla="*/ 509023 h 599162"/>
                <a:gd name="connsiteX9" fmla="*/ 311354 w 770887"/>
                <a:gd name="connsiteY9" fmla="*/ 517860 h 599162"/>
                <a:gd name="connsiteX10" fmla="*/ 311354 w 770887"/>
                <a:gd name="connsiteY10" fmla="*/ 521395 h 599162"/>
                <a:gd name="connsiteX11" fmla="*/ 306051 w 770887"/>
                <a:gd name="connsiteY11" fmla="*/ 523162 h 599162"/>
                <a:gd name="connsiteX12" fmla="*/ 302516 w 770887"/>
                <a:gd name="connsiteY12" fmla="*/ 523162 h 599162"/>
                <a:gd name="connsiteX13" fmla="*/ 298982 w 770887"/>
                <a:gd name="connsiteY13" fmla="*/ 524930 h 599162"/>
                <a:gd name="connsiteX14" fmla="*/ 297214 w 770887"/>
                <a:gd name="connsiteY14" fmla="*/ 524930 h 599162"/>
                <a:gd name="connsiteX15" fmla="*/ 291912 w 770887"/>
                <a:gd name="connsiteY15" fmla="*/ 528465 h 599162"/>
                <a:gd name="connsiteX16" fmla="*/ 291912 w 770887"/>
                <a:gd name="connsiteY16" fmla="*/ 533767 h 599162"/>
                <a:gd name="connsiteX17" fmla="*/ 291912 w 770887"/>
                <a:gd name="connsiteY17" fmla="*/ 535534 h 599162"/>
                <a:gd name="connsiteX18" fmla="*/ 288377 w 770887"/>
                <a:gd name="connsiteY18" fmla="*/ 540837 h 599162"/>
                <a:gd name="connsiteX19" fmla="*/ 283075 w 770887"/>
                <a:gd name="connsiteY19" fmla="*/ 531999 h 599162"/>
                <a:gd name="connsiteX20" fmla="*/ 283075 w 770887"/>
                <a:gd name="connsiteY20" fmla="*/ 533767 h 599162"/>
                <a:gd name="connsiteX21" fmla="*/ 281307 w 770887"/>
                <a:gd name="connsiteY21" fmla="*/ 537302 h 599162"/>
                <a:gd name="connsiteX22" fmla="*/ 276005 w 770887"/>
                <a:gd name="connsiteY22" fmla="*/ 542604 h 599162"/>
                <a:gd name="connsiteX23" fmla="*/ 272470 w 770887"/>
                <a:gd name="connsiteY23" fmla="*/ 549674 h 599162"/>
                <a:gd name="connsiteX24" fmla="*/ 272470 w 770887"/>
                <a:gd name="connsiteY24" fmla="*/ 551441 h 599162"/>
                <a:gd name="connsiteX25" fmla="*/ 272470 w 770887"/>
                <a:gd name="connsiteY25" fmla="*/ 558511 h 599162"/>
                <a:gd name="connsiteX26" fmla="*/ 256563 w 770887"/>
                <a:gd name="connsiteY26" fmla="*/ 558511 h 599162"/>
                <a:gd name="connsiteX27" fmla="*/ 268935 w 770887"/>
                <a:gd name="connsiteY27" fmla="*/ 554976 h 599162"/>
                <a:gd name="connsiteX28" fmla="*/ 270703 w 770887"/>
                <a:gd name="connsiteY28" fmla="*/ 551441 h 599162"/>
                <a:gd name="connsiteX29" fmla="*/ 272470 w 770887"/>
                <a:gd name="connsiteY29" fmla="*/ 547906 h 599162"/>
                <a:gd name="connsiteX30" fmla="*/ 270703 w 770887"/>
                <a:gd name="connsiteY30" fmla="*/ 542604 h 599162"/>
                <a:gd name="connsiteX31" fmla="*/ 267168 w 770887"/>
                <a:gd name="connsiteY31" fmla="*/ 540837 h 599162"/>
                <a:gd name="connsiteX32" fmla="*/ 265400 w 770887"/>
                <a:gd name="connsiteY32" fmla="*/ 540837 h 599162"/>
                <a:gd name="connsiteX33" fmla="*/ 261866 w 770887"/>
                <a:gd name="connsiteY33" fmla="*/ 537302 h 599162"/>
                <a:gd name="connsiteX34" fmla="*/ 261866 w 770887"/>
                <a:gd name="connsiteY34" fmla="*/ 535534 h 599162"/>
                <a:gd name="connsiteX35" fmla="*/ 260098 w 770887"/>
                <a:gd name="connsiteY35" fmla="*/ 524930 h 599162"/>
                <a:gd name="connsiteX36" fmla="*/ 263633 w 770887"/>
                <a:gd name="connsiteY36" fmla="*/ 521395 h 599162"/>
                <a:gd name="connsiteX37" fmla="*/ 265400 w 770887"/>
                <a:gd name="connsiteY37" fmla="*/ 517860 h 599162"/>
                <a:gd name="connsiteX38" fmla="*/ 270703 w 770887"/>
                <a:gd name="connsiteY38" fmla="*/ 514325 h 599162"/>
                <a:gd name="connsiteX39" fmla="*/ 272470 w 770887"/>
                <a:gd name="connsiteY39" fmla="*/ 516093 h 599162"/>
                <a:gd name="connsiteX40" fmla="*/ 277772 w 770887"/>
                <a:gd name="connsiteY40" fmla="*/ 521395 h 599162"/>
                <a:gd name="connsiteX41" fmla="*/ 281307 w 770887"/>
                <a:gd name="connsiteY41" fmla="*/ 528465 h 599162"/>
                <a:gd name="connsiteX42" fmla="*/ 281307 w 770887"/>
                <a:gd name="connsiteY42" fmla="*/ 521395 h 599162"/>
                <a:gd name="connsiteX43" fmla="*/ 279540 w 770887"/>
                <a:gd name="connsiteY43" fmla="*/ 514325 h 599162"/>
                <a:gd name="connsiteX44" fmla="*/ 276005 w 770887"/>
                <a:gd name="connsiteY44" fmla="*/ 509023 h 599162"/>
                <a:gd name="connsiteX45" fmla="*/ 281307 w 770887"/>
                <a:gd name="connsiteY45" fmla="*/ 507255 h 599162"/>
                <a:gd name="connsiteX46" fmla="*/ 288377 w 770887"/>
                <a:gd name="connsiteY46" fmla="*/ 510790 h 599162"/>
                <a:gd name="connsiteX47" fmla="*/ 291912 w 770887"/>
                <a:gd name="connsiteY47" fmla="*/ 510790 h 599162"/>
                <a:gd name="connsiteX48" fmla="*/ 291912 w 770887"/>
                <a:gd name="connsiteY48" fmla="*/ 507255 h 599162"/>
                <a:gd name="connsiteX49" fmla="*/ 291912 w 770887"/>
                <a:gd name="connsiteY49" fmla="*/ 505488 h 599162"/>
                <a:gd name="connsiteX50" fmla="*/ 291912 w 770887"/>
                <a:gd name="connsiteY50" fmla="*/ 501953 h 599162"/>
                <a:gd name="connsiteX51" fmla="*/ 291912 w 770887"/>
                <a:gd name="connsiteY51" fmla="*/ 496651 h 599162"/>
                <a:gd name="connsiteX52" fmla="*/ 290144 w 770887"/>
                <a:gd name="connsiteY52" fmla="*/ 493116 h 599162"/>
                <a:gd name="connsiteX53" fmla="*/ 297214 w 770887"/>
                <a:gd name="connsiteY53" fmla="*/ 487813 h 599162"/>
                <a:gd name="connsiteX54" fmla="*/ 55075 w 770887"/>
                <a:gd name="connsiteY54" fmla="*/ 374697 h 599162"/>
                <a:gd name="connsiteX55" fmla="*/ 58610 w 770887"/>
                <a:gd name="connsiteY55" fmla="*/ 374697 h 599162"/>
                <a:gd name="connsiteX56" fmla="*/ 63912 w 770887"/>
                <a:gd name="connsiteY56" fmla="*/ 385302 h 599162"/>
                <a:gd name="connsiteX57" fmla="*/ 63912 w 770887"/>
                <a:gd name="connsiteY57" fmla="*/ 390604 h 599162"/>
                <a:gd name="connsiteX58" fmla="*/ 60377 w 770887"/>
                <a:gd name="connsiteY58" fmla="*/ 395906 h 599162"/>
                <a:gd name="connsiteX59" fmla="*/ 56842 w 770887"/>
                <a:gd name="connsiteY59" fmla="*/ 395906 h 599162"/>
                <a:gd name="connsiteX60" fmla="*/ 51540 w 770887"/>
                <a:gd name="connsiteY60" fmla="*/ 395906 h 599162"/>
                <a:gd name="connsiteX61" fmla="*/ 44470 w 770887"/>
                <a:gd name="connsiteY61" fmla="*/ 390604 h 599162"/>
                <a:gd name="connsiteX62" fmla="*/ 35633 w 770887"/>
                <a:gd name="connsiteY62" fmla="*/ 383534 h 599162"/>
                <a:gd name="connsiteX63" fmla="*/ 44470 w 770887"/>
                <a:gd name="connsiteY63" fmla="*/ 378232 h 599162"/>
                <a:gd name="connsiteX64" fmla="*/ 49773 w 770887"/>
                <a:gd name="connsiteY64" fmla="*/ 378232 h 599162"/>
                <a:gd name="connsiteX65" fmla="*/ 4447 w 770887"/>
                <a:gd name="connsiteY65" fmla="*/ 224465 h 599162"/>
                <a:gd name="connsiteX66" fmla="*/ 5929 w 770887"/>
                <a:gd name="connsiteY66" fmla="*/ 230488 h 599162"/>
                <a:gd name="connsiteX67" fmla="*/ 8894 w 770887"/>
                <a:gd name="connsiteY67" fmla="*/ 233499 h 599162"/>
                <a:gd name="connsiteX68" fmla="*/ 16306 w 770887"/>
                <a:gd name="connsiteY68" fmla="*/ 235005 h 599162"/>
                <a:gd name="connsiteX69" fmla="*/ 23717 w 770887"/>
                <a:gd name="connsiteY69" fmla="*/ 235005 h 599162"/>
                <a:gd name="connsiteX70" fmla="*/ 28164 w 770887"/>
                <a:gd name="connsiteY70" fmla="*/ 238016 h 599162"/>
                <a:gd name="connsiteX71" fmla="*/ 28164 w 770887"/>
                <a:gd name="connsiteY71" fmla="*/ 242533 h 599162"/>
                <a:gd name="connsiteX72" fmla="*/ 31129 w 770887"/>
                <a:gd name="connsiteY72" fmla="*/ 245544 h 599162"/>
                <a:gd name="connsiteX73" fmla="*/ 37058 w 770887"/>
                <a:gd name="connsiteY73" fmla="*/ 251566 h 599162"/>
                <a:gd name="connsiteX74" fmla="*/ 44470 w 770887"/>
                <a:gd name="connsiteY74" fmla="*/ 262106 h 599162"/>
                <a:gd name="connsiteX75" fmla="*/ 40023 w 770887"/>
                <a:gd name="connsiteY75" fmla="*/ 262106 h 599162"/>
                <a:gd name="connsiteX76" fmla="*/ 31129 w 770887"/>
                <a:gd name="connsiteY76" fmla="*/ 262106 h 599162"/>
                <a:gd name="connsiteX77" fmla="*/ 29647 w 770887"/>
                <a:gd name="connsiteY77" fmla="*/ 265117 h 599162"/>
                <a:gd name="connsiteX78" fmla="*/ 23717 w 770887"/>
                <a:gd name="connsiteY78" fmla="*/ 259095 h 599162"/>
                <a:gd name="connsiteX79" fmla="*/ 20753 w 770887"/>
                <a:gd name="connsiteY79" fmla="*/ 250061 h 599162"/>
                <a:gd name="connsiteX80" fmla="*/ 19270 w 770887"/>
                <a:gd name="connsiteY80" fmla="*/ 247050 h 599162"/>
                <a:gd name="connsiteX81" fmla="*/ 16306 w 770887"/>
                <a:gd name="connsiteY81" fmla="*/ 244038 h 599162"/>
                <a:gd name="connsiteX82" fmla="*/ 14823 w 770887"/>
                <a:gd name="connsiteY82" fmla="*/ 244038 h 599162"/>
                <a:gd name="connsiteX83" fmla="*/ 13341 w 770887"/>
                <a:gd name="connsiteY83" fmla="*/ 244038 h 599162"/>
                <a:gd name="connsiteX84" fmla="*/ 10376 w 770887"/>
                <a:gd name="connsiteY84" fmla="*/ 244038 h 599162"/>
                <a:gd name="connsiteX85" fmla="*/ 8894 w 770887"/>
                <a:gd name="connsiteY85" fmla="*/ 244038 h 599162"/>
                <a:gd name="connsiteX86" fmla="*/ 4447 w 770887"/>
                <a:gd name="connsiteY86" fmla="*/ 244038 h 599162"/>
                <a:gd name="connsiteX87" fmla="*/ 2964 w 770887"/>
                <a:gd name="connsiteY87" fmla="*/ 242533 h 599162"/>
                <a:gd name="connsiteX88" fmla="*/ 1482 w 770887"/>
                <a:gd name="connsiteY88" fmla="*/ 239521 h 599162"/>
                <a:gd name="connsiteX89" fmla="*/ 0 w 770887"/>
                <a:gd name="connsiteY89" fmla="*/ 235005 h 599162"/>
                <a:gd name="connsiteX90" fmla="*/ 0 w 770887"/>
                <a:gd name="connsiteY90" fmla="*/ 230488 h 599162"/>
                <a:gd name="connsiteX91" fmla="*/ 4447 w 770887"/>
                <a:gd name="connsiteY91" fmla="*/ 224465 h 599162"/>
                <a:gd name="connsiteX92" fmla="*/ 277183 w 770887"/>
                <a:gd name="connsiteY92" fmla="*/ 0 h 599162"/>
                <a:gd name="connsiteX93" fmla="*/ 283168 w 770887"/>
                <a:gd name="connsiteY93" fmla="*/ 5977 h 599162"/>
                <a:gd name="connsiteX94" fmla="*/ 286160 w 770887"/>
                <a:gd name="connsiteY94" fmla="*/ 10459 h 599162"/>
                <a:gd name="connsiteX95" fmla="*/ 283168 w 770887"/>
                <a:gd name="connsiteY95" fmla="*/ 10459 h 599162"/>
                <a:gd name="connsiteX96" fmla="*/ 283168 w 770887"/>
                <a:gd name="connsiteY96" fmla="*/ 14942 h 599162"/>
                <a:gd name="connsiteX97" fmla="*/ 287656 w 770887"/>
                <a:gd name="connsiteY97" fmla="*/ 17930 h 599162"/>
                <a:gd name="connsiteX98" fmla="*/ 293640 w 770887"/>
                <a:gd name="connsiteY98" fmla="*/ 17930 h 599162"/>
                <a:gd name="connsiteX99" fmla="*/ 293640 w 770887"/>
                <a:gd name="connsiteY99" fmla="*/ 13447 h 599162"/>
                <a:gd name="connsiteX100" fmla="*/ 296632 w 770887"/>
                <a:gd name="connsiteY100" fmla="*/ 10459 h 599162"/>
                <a:gd name="connsiteX101" fmla="*/ 299624 w 770887"/>
                <a:gd name="connsiteY101" fmla="*/ 13447 h 599162"/>
                <a:gd name="connsiteX102" fmla="*/ 304113 w 770887"/>
                <a:gd name="connsiteY102" fmla="*/ 19424 h 599162"/>
                <a:gd name="connsiteX103" fmla="*/ 313089 w 770887"/>
                <a:gd name="connsiteY103" fmla="*/ 17930 h 599162"/>
                <a:gd name="connsiteX104" fmla="*/ 325058 w 770887"/>
                <a:gd name="connsiteY104" fmla="*/ 20918 h 599162"/>
                <a:gd name="connsiteX105" fmla="*/ 325058 w 770887"/>
                <a:gd name="connsiteY105" fmla="*/ 25401 h 599162"/>
                <a:gd name="connsiteX106" fmla="*/ 328050 w 770887"/>
                <a:gd name="connsiteY106" fmla="*/ 31377 h 599162"/>
                <a:gd name="connsiteX107" fmla="*/ 335530 w 770887"/>
                <a:gd name="connsiteY107" fmla="*/ 37354 h 599162"/>
                <a:gd name="connsiteX108" fmla="*/ 351987 w 770887"/>
                <a:gd name="connsiteY108" fmla="*/ 37354 h 599162"/>
                <a:gd name="connsiteX109" fmla="*/ 356475 w 770887"/>
                <a:gd name="connsiteY109" fmla="*/ 37354 h 599162"/>
                <a:gd name="connsiteX110" fmla="*/ 360963 w 770887"/>
                <a:gd name="connsiteY110" fmla="*/ 34366 h 599162"/>
                <a:gd name="connsiteX111" fmla="*/ 366948 w 770887"/>
                <a:gd name="connsiteY111" fmla="*/ 34366 h 599162"/>
                <a:gd name="connsiteX112" fmla="*/ 374428 w 770887"/>
                <a:gd name="connsiteY112" fmla="*/ 38848 h 599162"/>
                <a:gd name="connsiteX113" fmla="*/ 375924 w 770887"/>
                <a:gd name="connsiteY113" fmla="*/ 43331 h 599162"/>
                <a:gd name="connsiteX114" fmla="*/ 375924 w 770887"/>
                <a:gd name="connsiteY114" fmla="*/ 47813 h 599162"/>
                <a:gd name="connsiteX115" fmla="*/ 375924 w 770887"/>
                <a:gd name="connsiteY115" fmla="*/ 48560 h 599162"/>
                <a:gd name="connsiteX116" fmla="*/ 375924 w 770887"/>
                <a:gd name="connsiteY116" fmla="*/ 50802 h 599162"/>
                <a:gd name="connsiteX117" fmla="*/ 383404 w 770887"/>
                <a:gd name="connsiteY117" fmla="*/ 46319 h 599162"/>
                <a:gd name="connsiteX118" fmla="*/ 392381 w 770887"/>
                <a:gd name="connsiteY118" fmla="*/ 43331 h 599162"/>
                <a:gd name="connsiteX119" fmla="*/ 398365 w 770887"/>
                <a:gd name="connsiteY119" fmla="*/ 43331 h 599162"/>
                <a:gd name="connsiteX120" fmla="*/ 410334 w 770887"/>
                <a:gd name="connsiteY120" fmla="*/ 47813 h 599162"/>
                <a:gd name="connsiteX121" fmla="*/ 420806 w 770887"/>
                <a:gd name="connsiteY121" fmla="*/ 50802 h 599162"/>
                <a:gd name="connsiteX122" fmla="*/ 432775 w 770887"/>
                <a:gd name="connsiteY122" fmla="*/ 47813 h 599162"/>
                <a:gd name="connsiteX123" fmla="*/ 438759 w 770887"/>
                <a:gd name="connsiteY123" fmla="*/ 43331 h 599162"/>
                <a:gd name="connsiteX124" fmla="*/ 444743 w 770887"/>
                <a:gd name="connsiteY124" fmla="*/ 43331 h 599162"/>
                <a:gd name="connsiteX125" fmla="*/ 447736 w 770887"/>
                <a:gd name="connsiteY125" fmla="*/ 43331 h 599162"/>
                <a:gd name="connsiteX126" fmla="*/ 455216 w 770887"/>
                <a:gd name="connsiteY126" fmla="*/ 50802 h 599162"/>
                <a:gd name="connsiteX127" fmla="*/ 462696 w 770887"/>
                <a:gd name="connsiteY127" fmla="*/ 56778 h 599162"/>
                <a:gd name="connsiteX128" fmla="*/ 476161 w 770887"/>
                <a:gd name="connsiteY128" fmla="*/ 58272 h 599162"/>
                <a:gd name="connsiteX129" fmla="*/ 482145 w 770887"/>
                <a:gd name="connsiteY129" fmla="*/ 110568 h 599162"/>
                <a:gd name="connsiteX130" fmla="*/ 500098 w 770887"/>
                <a:gd name="connsiteY130" fmla="*/ 242056 h 599162"/>
                <a:gd name="connsiteX131" fmla="*/ 521043 w 770887"/>
                <a:gd name="connsiteY131" fmla="*/ 400438 h 599162"/>
                <a:gd name="connsiteX132" fmla="*/ 525531 w 770887"/>
                <a:gd name="connsiteY132" fmla="*/ 409403 h 599162"/>
                <a:gd name="connsiteX133" fmla="*/ 540492 w 770887"/>
                <a:gd name="connsiteY133" fmla="*/ 409403 h 599162"/>
                <a:gd name="connsiteX134" fmla="*/ 543484 w 770887"/>
                <a:gd name="connsiteY134" fmla="*/ 400438 h 599162"/>
                <a:gd name="connsiteX135" fmla="*/ 555453 w 770887"/>
                <a:gd name="connsiteY135" fmla="*/ 400438 h 599162"/>
                <a:gd name="connsiteX136" fmla="*/ 555453 w 770887"/>
                <a:gd name="connsiteY136" fmla="*/ 404920 h 599162"/>
                <a:gd name="connsiteX137" fmla="*/ 559941 w 770887"/>
                <a:gd name="connsiteY137" fmla="*/ 410897 h 599162"/>
                <a:gd name="connsiteX138" fmla="*/ 579390 w 770887"/>
                <a:gd name="connsiteY138" fmla="*/ 424344 h 599162"/>
                <a:gd name="connsiteX139" fmla="*/ 595847 w 770887"/>
                <a:gd name="connsiteY139" fmla="*/ 442274 h 599162"/>
                <a:gd name="connsiteX140" fmla="*/ 604823 w 770887"/>
                <a:gd name="connsiteY140" fmla="*/ 434803 h 599162"/>
                <a:gd name="connsiteX141" fmla="*/ 610807 w 770887"/>
                <a:gd name="connsiteY141" fmla="*/ 419862 h 599162"/>
                <a:gd name="connsiteX142" fmla="*/ 618288 w 770887"/>
                <a:gd name="connsiteY142" fmla="*/ 412391 h 599162"/>
                <a:gd name="connsiteX143" fmla="*/ 625768 w 770887"/>
                <a:gd name="connsiteY143" fmla="*/ 407908 h 599162"/>
                <a:gd name="connsiteX144" fmla="*/ 639233 w 770887"/>
                <a:gd name="connsiteY144" fmla="*/ 413885 h 599162"/>
                <a:gd name="connsiteX145" fmla="*/ 655690 w 770887"/>
                <a:gd name="connsiteY145" fmla="*/ 425838 h 599162"/>
                <a:gd name="connsiteX146" fmla="*/ 672146 w 770887"/>
                <a:gd name="connsiteY146" fmla="*/ 442274 h 599162"/>
                <a:gd name="connsiteX147" fmla="*/ 684115 w 770887"/>
                <a:gd name="connsiteY147" fmla="*/ 455722 h 599162"/>
                <a:gd name="connsiteX148" fmla="*/ 708052 w 770887"/>
                <a:gd name="connsiteY148" fmla="*/ 479629 h 599162"/>
                <a:gd name="connsiteX149" fmla="*/ 723013 w 770887"/>
                <a:gd name="connsiteY149" fmla="*/ 500547 h 599162"/>
                <a:gd name="connsiteX150" fmla="*/ 731989 w 770887"/>
                <a:gd name="connsiteY150" fmla="*/ 502041 h 599162"/>
                <a:gd name="connsiteX151" fmla="*/ 742462 w 770887"/>
                <a:gd name="connsiteY151" fmla="*/ 503535 h 599162"/>
                <a:gd name="connsiteX152" fmla="*/ 760415 w 770887"/>
                <a:gd name="connsiteY152" fmla="*/ 509512 h 599162"/>
                <a:gd name="connsiteX153" fmla="*/ 767895 w 770887"/>
                <a:gd name="connsiteY153" fmla="*/ 513994 h 599162"/>
                <a:gd name="connsiteX154" fmla="*/ 767895 w 770887"/>
                <a:gd name="connsiteY154" fmla="*/ 519971 h 599162"/>
                <a:gd name="connsiteX155" fmla="*/ 770887 w 770887"/>
                <a:gd name="connsiteY155" fmla="*/ 533419 h 599162"/>
                <a:gd name="connsiteX156" fmla="*/ 770887 w 770887"/>
                <a:gd name="connsiteY156" fmla="*/ 539395 h 599162"/>
                <a:gd name="connsiteX157" fmla="*/ 770887 w 770887"/>
                <a:gd name="connsiteY157" fmla="*/ 545372 h 599162"/>
                <a:gd name="connsiteX158" fmla="*/ 770887 w 770887"/>
                <a:gd name="connsiteY158" fmla="*/ 558820 h 599162"/>
                <a:gd name="connsiteX159" fmla="*/ 764903 w 770887"/>
                <a:gd name="connsiteY159" fmla="*/ 563302 h 599162"/>
                <a:gd name="connsiteX160" fmla="*/ 760415 w 770887"/>
                <a:gd name="connsiteY160" fmla="*/ 557325 h 599162"/>
                <a:gd name="connsiteX161" fmla="*/ 755926 w 770887"/>
                <a:gd name="connsiteY161" fmla="*/ 549855 h 599162"/>
                <a:gd name="connsiteX162" fmla="*/ 751438 w 770887"/>
                <a:gd name="connsiteY162" fmla="*/ 552843 h 599162"/>
                <a:gd name="connsiteX163" fmla="*/ 755926 w 770887"/>
                <a:gd name="connsiteY163" fmla="*/ 560314 h 599162"/>
                <a:gd name="connsiteX164" fmla="*/ 752934 w 770887"/>
                <a:gd name="connsiteY164" fmla="*/ 561808 h 599162"/>
                <a:gd name="connsiteX165" fmla="*/ 748446 w 770887"/>
                <a:gd name="connsiteY165" fmla="*/ 558820 h 599162"/>
                <a:gd name="connsiteX166" fmla="*/ 739470 w 770887"/>
                <a:gd name="connsiteY166" fmla="*/ 555831 h 599162"/>
                <a:gd name="connsiteX167" fmla="*/ 739470 w 770887"/>
                <a:gd name="connsiteY167" fmla="*/ 549855 h 599162"/>
                <a:gd name="connsiteX168" fmla="*/ 736478 w 770887"/>
                <a:gd name="connsiteY168" fmla="*/ 542384 h 599162"/>
                <a:gd name="connsiteX169" fmla="*/ 731989 w 770887"/>
                <a:gd name="connsiteY169" fmla="*/ 539395 h 599162"/>
                <a:gd name="connsiteX170" fmla="*/ 728997 w 770887"/>
                <a:gd name="connsiteY170" fmla="*/ 533419 h 599162"/>
                <a:gd name="connsiteX171" fmla="*/ 717029 w 770887"/>
                <a:gd name="connsiteY171" fmla="*/ 524454 h 599162"/>
                <a:gd name="connsiteX172" fmla="*/ 706556 w 770887"/>
                <a:gd name="connsiteY172" fmla="*/ 525948 h 599162"/>
                <a:gd name="connsiteX173" fmla="*/ 709548 w 770887"/>
                <a:gd name="connsiteY173" fmla="*/ 530430 h 599162"/>
                <a:gd name="connsiteX174" fmla="*/ 712540 w 770887"/>
                <a:gd name="connsiteY174" fmla="*/ 533419 h 599162"/>
                <a:gd name="connsiteX175" fmla="*/ 723013 w 770887"/>
                <a:gd name="connsiteY175" fmla="*/ 539395 h 599162"/>
                <a:gd name="connsiteX176" fmla="*/ 728997 w 770887"/>
                <a:gd name="connsiteY176" fmla="*/ 545372 h 599162"/>
                <a:gd name="connsiteX177" fmla="*/ 728997 w 770887"/>
                <a:gd name="connsiteY177" fmla="*/ 549855 h 599162"/>
                <a:gd name="connsiteX178" fmla="*/ 733485 w 770887"/>
                <a:gd name="connsiteY178" fmla="*/ 554337 h 599162"/>
                <a:gd name="connsiteX179" fmla="*/ 736478 w 770887"/>
                <a:gd name="connsiteY179" fmla="*/ 558820 h 599162"/>
                <a:gd name="connsiteX180" fmla="*/ 739470 w 770887"/>
                <a:gd name="connsiteY180" fmla="*/ 569279 h 599162"/>
                <a:gd name="connsiteX181" fmla="*/ 739470 w 770887"/>
                <a:gd name="connsiteY181" fmla="*/ 572267 h 599162"/>
                <a:gd name="connsiteX182" fmla="*/ 734981 w 770887"/>
                <a:gd name="connsiteY182" fmla="*/ 573761 h 599162"/>
                <a:gd name="connsiteX183" fmla="*/ 731989 w 770887"/>
                <a:gd name="connsiteY183" fmla="*/ 566290 h 599162"/>
                <a:gd name="connsiteX184" fmla="*/ 731989 w 770887"/>
                <a:gd name="connsiteY184" fmla="*/ 573761 h 599162"/>
                <a:gd name="connsiteX185" fmla="*/ 728997 w 770887"/>
                <a:gd name="connsiteY185" fmla="*/ 579738 h 599162"/>
                <a:gd name="connsiteX186" fmla="*/ 724509 w 770887"/>
                <a:gd name="connsiteY186" fmla="*/ 578244 h 599162"/>
                <a:gd name="connsiteX187" fmla="*/ 717029 w 770887"/>
                <a:gd name="connsiteY187" fmla="*/ 570773 h 599162"/>
                <a:gd name="connsiteX188" fmla="*/ 709548 w 770887"/>
                <a:gd name="connsiteY188" fmla="*/ 561808 h 599162"/>
                <a:gd name="connsiteX189" fmla="*/ 703564 w 770887"/>
                <a:gd name="connsiteY189" fmla="*/ 564796 h 599162"/>
                <a:gd name="connsiteX190" fmla="*/ 699076 w 770887"/>
                <a:gd name="connsiteY190" fmla="*/ 564796 h 599162"/>
                <a:gd name="connsiteX191" fmla="*/ 702068 w 770887"/>
                <a:gd name="connsiteY191" fmla="*/ 555831 h 599162"/>
                <a:gd name="connsiteX192" fmla="*/ 709548 w 770887"/>
                <a:gd name="connsiteY192" fmla="*/ 554337 h 599162"/>
                <a:gd name="connsiteX193" fmla="*/ 706556 w 770887"/>
                <a:gd name="connsiteY193" fmla="*/ 545372 h 599162"/>
                <a:gd name="connsiteX194" fmla="*/ 697580 w 770887"/>
                <a:gd name="connsiteY194" fmla="*/ 549855 h 599162"/>
                <a:gd name="connsiteX195" fmla="*/ 700572 w 770887"/>
                <a:gd name="connsiteY195" fmla="*/ 540890 h 599162"/>
                <a:gd name="connsiteX196" fmla="*/ 696084 w 770887"/>
                <a:gd name="connsiteY196" fmla="*/ 534913 h 599162"/>
                <a:gd name="connsiteX197" fmla="*/ 694588 w 770887"/>
                <a:gd name="connsiteY197" fmla="*/ 530430 h 599162"/>
                <a:gd name="connsiteX198" fmla="*/ 694588 w 770887"/>
                <a:gd name="connsiteY198" fmla="*/ 525948 h 599162"/>
                <a:gd name="connsiteX199" fmla="*/ 700572 w 770887"/>
                <a:gd name="connsiteY199" fmla="*/ 516983 h 599162"/>
                <a:gd name="connsiteX200" fmla="*/ 693091 w 770887"/>
                <a:gd name="connsiteY200" fmla="*/ 516983 h 599162"/>
                <a:gd name="connsiteX201" fmla="*/ 690099 w 770887"/>
                <a:gd name="connsiteY201" fmla="*/ 519971 h 599162"/>
                <a:gd name="connsiteX202" fmla="*/ 690099 w 770887"/>
                <a:gd name="connsiteY202" fmla="*/ 522959 h 599162"/>
                <a:gd name="connsiteX203" fmla="*/ 690099 w 770887"/>
                <a:gd name="connsiteY203" fmla="*/ 531925 h 599162"/>
                <a:gd name="connsiteX204" fmla="*/ 685611 w 770887"/>
                <a:gd name="connsiteY204" fmla="*/ 534913 h 599162"/>
                <a:gd name="connsiteX205" fmla="*/ 682619 w 770887"/>
                <a:gd name="connsiteY205" fmla="*/ 537901 h 599162"/>
                <a:gd name="connsiteX206" fmla="*/ 682619 w 770887"/>
                <a:gd name="connsiteY206" fmla="*/ 533419 h 599162"/>
                <a:gd name="connsiteX207" fmla="*/ 681123 w 770887"/>
                <a:gd name="connsiteY207" fmla="*/ 527442 h 599162"/>
                <a:gd name="connsiteX208" fmla="*/ 679627 w 770887"/>
                <a:gd name="connsiteY208" fmla="*/ 519971 h 599162"/>
                <a:gd name="connsiteX209" fmla="*/ 678131 w 770887"/>
                <a:gd name="connsiteY209" fmla="*/ 515489 h 599162"/>
                <a:gd name="connsiteX210" fmla="*/ 676635 w 770887"/>
                <a:gd name="connsiteY210" fmla="*/ 511006 h 599162"/>
                <a:gd name="connsiteX211" fmla="*/ 676635 w 770887"/>
                <a:gd name="connsiteY211" fmla="*/ 506524 h 599162"/>
                <a:gd name="connsiteX212" fmla="*/ 681123 w 770887"/>
                <a:gd name="connsiteY212" fmla="*/ 503535 h 599162"/>
                <a:gd name="connsiteX213" fmla="*/ 684115 w 770887"/>
                <a:gd name="connsiteY213" fmla="*/ 499053 h 599162"/>
                <a:gd name="connsiteX214" fmla="*/ 690099 w 770887"/>
                <a:gd name="connsiteY214" fmla="*/ 493076 h 599162"/>
                <a:gd name="connsiteX215" fmla="*/ 684115 w 770887"/>
                <a:gd name="connsiteY215" fmla="*/ 482617 h 599162"/>
                <a:gd name="connsiteX216" fmla="*/ 681123 w 770887"/>
                <a:gd name="connsiteY216" fmla="*/ 484111 h 599162"/>
                <a:gd name="connsiteX217" fmla="*/ 678131 w 770887"/>
                <a:gd name="connsiteY217" fmla="*/ 491582 h 599162"/>
                <a:gd name="connsiteX218" fmla="*/ 672146 w 770887"/>
                <a:gd name="connsiteY218" fmla="*/ 499053 h 599162"/>
                <a:gd name="connsiteX219" fmla="*/ 667658 w 770887"/>
                <a:gd name="connsiteY219" fmla="*/ 502041 h 599162"/>
                <a:gd name="connsiteX220" fmla="*/ 666162 w 770887"/>
                <a:gd name="connsiteY220" fmla="*/ 505029 h 599162"/>
                <a:gd name="connsiteX221" fmla="*/ 669154 w 770887"/>
                <a:gd name="connsiteY221" fmla="*/ 516983 h 599162"/>
                <a:gd name="connsiteX222" fmla="*/ 675139 w 770887"/>
                <a:gd name="connsiteY222" fmla="*/ 533419 h 599162"/>
                <a:gd name="connsiteX223" fmla="*/ 669154 w 770887"/>
                <a:gd name="connsiteY223" fmla="*/ 531925 h 599162"/>
                <a:gd name="connsiteX224" fmla="*/ 660178 w 770887"/>
                <a:gd name="connsiteY224" fmla="*/ 513994 h 599162"/>
                <a:gd name="connsiteX225" fmla="*/ 649705 w 770887"/>
                <a:gd name="connsiteY225" fmla="*/ 499053 h 599162"/>
                <a:gd name="connsiteX226" fmla="*/ 646713 w 770887"/>
                <a:gd name="connsiteY226" fmla="*/ 508018 h 599162"/>
                <a:gd name="connsiteX227" fmla="*/ 643721 w 770887"/>
                <a:gd name="connsiteY227" fmla="*/ 506524 h 599162"/>
                <a:gd name="connsiteX228" fmla="*/ 639233 w 770887"/>
                <a:gd name="connsiteY228" fmla="*/ 496064 h 599162"/>
                <a:gd name="connsiteX229" fmla="*/ 633249 w 770887"/>
                <a:gd name="connsiteY229" fmla="*/ 491582 h 599162"/>
                <a:gd name="connsiteX230" fmla="*/ 618288 w 770887"/>
                <a:gd name="connsiteY230" fmla="*/ 475146 h 599162"/>
                <a:gd name="connsiteX231" fmla="*/ 618288 w 770887"/>
                <a:gd name="connsiteY231" fmla="*/ 464687 h 599162"/>
                <a:gd name="connsiteX232" fmla="*/ 615296 w 770887"/>
                <a:gd name="connsiteY232" fmla="*/ 470664 h 599162"/>
                <a:gd name="connsiteX233" fmla="*/ 607815 w 770887"/>
                <a:gd name="connsiteY233" fmla="*/ 467675 h 599162"/>
                <a:gd name="connsiteX234" fmla="*/ 591358 w 770887"/>
                <a:gd name="connsiteY234" fmla="*/ 452734 h 599162"/>
                <a:gd name="connsiteX235" fmla="*/ 580886 w 770887"/>
                <a:gd name="connsiteY235" fmla="*/ 440780 h 599162"/>
                <a:gd name="connsiteX236" fmla="*/ 574902 w 770887"/>
                <a:gd name="connsiteY236" fmla="*/ 442274 h 599162"/>
                <a:gd name="connsiteX237" fmla="*/ 561437 w 770887"/>
                <a:gd name="connsiteY237" fmla="*/ 439286 h 599162"/>
                <a:gd name="connsiteX238" fmla="*/ 552461 w 770887"/>
                <a:gd name="connsiteY238" fmla="*/ 430321 h 599162"/>
                <a:gd name="connsiteX239" fmla="*/ 552461 w 770887"/>
                <a:gd name="connsiteY239" fmla="*/ 419862 h 599162"/>
                <a:gd name="connsiteX240" fmla="*/ 547972 w 770887"/>
                <a:gd name="connsiteY240" fmla="*/ 422850 h 599162"/>
                <a:gd name="connsiteX241" fmla="*/ 530020 w 770887"/>
                <a:gd name="connsiteY241" fmla="*/ 422850 h 599162"/>
                <a:gd name="connsiteX242" fmla="*/ 521043 w 770887"/>
                <a:gd name="connsiteY242" fmla="*/ 421356 h 599162"/>
                <a:gd name="connsiteX243" fmla="*/ 510571 w 770887"/>
                <a:gd name="connsiteY243" fmla="*/ 418368 h 599162"/>
                <a:gd name="connsiteX244" fmla="*/ 491122 w 770887"/>
                <a:gd name="connsiteY244" fmla="*/ 416873 h 599162"/>
                <a:gd name="connsiteX245" fmla="*/ 471673 w 770887"/>
                <a:gd name="connsiteY245" fmla="*/ 421356 h 599162"/>
                <a:gd name="connsiteX246" fmla="*/ 458208 w 770887"/>
                <a:gd name="connsiteY246" fmla="*/ 424344 h 599162"/>
                <a:gd name="connsiteX247" fmla="*/ 461200 w 770887"/>
                <a:gd name="connsiteY247" fmla="*/ 412391 h 599162"/>
                <a:gd name="connsiteX248" fmla="*/ 456712 w 770887"/>
                <a:gd name="connsiteY248" fmla="*/ 415379 h 599162"/>
                <a:gd name="connsiteX249" fmla="*/ 449232 w 770887"/>
                <a:gd name="connsiteY249" fmla="*/ 410897 h 599162"/>
                <a:gd name="connsiteX250" fmla="*/ 443247 w 770887"/>
                <a:gd name="connsiteY250" fmla="*/ 407908 h 599162"/>
                <a:gd name="connsiteX251" fmla="*/ 437263 w 770887"/>
                <a:gd name="connsiteY251" fmla="*/ 407908 h 599162"/>
                <a:gd name="connsiteX252" fmla="*/ 432775 w 770887"/>
                <a:gd name="connsiteY252" fmla="*/ 407908 h 599162"/>
                <a:gd name="connsiteX253" fmla="*/ 425294 w 770887"/>
                <a:gd name="connsiteY253" fmla="*/ 412391 h 599162"/>
                <a:gd name="connsiteX254" fmla="*/ 419310 w 770887"/>
                <a:gd name="connsiteY254" fmla="*/ 415379 h 599162"/>
                <a:gd name="connsiteX255" fmla="*/ 413326 w 770887"/>
                <a:gd name="connsiteY255" fmla="*/ 422850 h 599162"/>
                <a:gd name="connsiteX256" fmla="*/ 410334 w 770887"/>
                <a:gd name="connsiteY256" fmla="*/ 425838 h 599162"/>
                <a:gd name="connsiteX257" fmla="*/ 402853 w 770887"/>
                <a:gd name="connsiteY257" fmla="*/ 424344 h 599162"/>
                <a:gd name="connsiteX258" fmla="*/ 410334 w 770887"/>
                <a:gd name="connsiteY258" fmla="*/ 418368 h 599162"/>
                <a:gd name="connsiteX259" fmla="*/ 419310 w 770887"/>
                <a:gd name="connsiteY259" fmla="*/ 409403 h 599162"/>
                <a:gd name="connsiteX260" fmla="*/ 425294 w 770887"/>
                <a:gd name="connsiteY260" fmla="*/ 403426 h 599162"/>
                <a:gd name="connsiteX261" fmla="*/ 429783 w 770887"/>
                <a:gd name="connsiteY261" fmla="*/ 397449 h 599162"/>
                <a:gd name="connsiteX262" fmla="*/ 426791 w 770887"/>
                <a:gd name="connsiteY262" fmla="*/ 397449 h 599162"/>
                <a:gd name="connsiteX263" fmla="*/ 420806 w 770887"/>
                <a:gd name="connsiteY263" fmla="*/ 394461 h 599162"/>
                <a:gd name="connsiteX264" fmla="*/ 420806 w 770887"/>
                <a:gd name="connsiteY264" fmla="*/ 384002 h 599162"/>
                <a:gd name="connsiteX265" fmla="*/ 414822 w 770887"/>
                <a:gd name="connsiteY265" fmla="*/ 388484 h 599162"/>
                <a:gd name="connsiteX266" fmla="*/ 413326 w 770887"/>
                <a:gd name="connsiteY266" fmla="*/ 389978 h 599162"/>
                <a:gd name="connsiteX267" fmla="*/ 402853 w 770887"/>
                <a:gd name="connsiteY267" fmla="*/ 389978 h 599162"/>
                <a:gd name="connsiteX268" fmla="*/ 393877 w 770887"/>
                <a:gd name="connsiteY268" fmla="*/ 388484 h 599162"/>
                <a:gd name="connsiteX269" fmla="*/ 389389 w 770887"/>
                <a:gd name="connsiteY269" fmla="*/ 392967 h 599162"/>
                <a:gd name="connsiteX270" fmla="*/ 386397 w 770887"/>
                <a:gd name="connsiteY270" fmla="*/ 401932 h 599162"/>
                <a:gd name="connsiteX271" fmla="*/ 392381 w 770887"/>
                <a:gd name="connsiteY271" fmla="*/ 409403 h 599162"/>
                <a:gd name="connsiteX272" fmla="*/ 389389 w 770887"/>
                <a:gd name="connsiteY272" fmla="*/ 421356 h 599162"/>
                <a:gd name="connsiteX273" fmla="*/ 381908 w 770887"/>
                <a:gd name="connsiteY273" fmla="*/ 428827 h 599162"/>
                <a:gd name="connsiteX274" fmla="*/ 374428 w 770887"/>
                <a:gd name="connsiteY274" fmla="*/ 428827 h 599162"/>
                <a:gd name="connsiteX275" fmla="*/ 365452 w 770887"/>
                <a:gd name="connsiteY275" fmla="*/ 428827 h 599162"/>
                <a:gd name="connsiteX276" fmla="*/ 362459 w 770887"/>
                <a:gd name="connsiteY276" fmla="*/ 439286 h 599162"/>
                <a:gd name="connsiteX277" fmla="*/ 350491 w 770887"/>
                <a:gd name="connsiteY277" fmla="*/ 443769 h 599162"/>
                <a:gd name="connsiteX278" fmla="*/ 348995 w 770887"/>
                <a:gd name="connsiteY278" fmla="*/ 446757 h 599162"/>
                <a:gd name="connsiteX279" fmla="*/ 338522 w 770887"/>
                <a:gd name="connsiteY279" fmla="*/ 454228 h 599162"/>
                <a:gd name="connsiteX280" fmla="*/ 328050 w 770887"/>
                <a:gd name="connsiteY280" fmla="*/ 457216 h 599162"/>
                <a:gd name="connsiteX281" fmla="*/ 322065 w 770887"/>
                <a:gd name="connsiteY281" fmla="*/ 458710 h 599162"/>
                <a:gd name="connsiteX282" fmla="*/ 319073 w 770887"/>
                <a:gd name="connsiteY282" fmla="*/ 454228 h 599162"/>
                <a:gd name="connsiteX283" fmla="*/ 317577 w 770887"/>
                <a:gd name="connsiteY283" fmla="*/ 451239 h 599162"/>
                <a:gd name="connsiteX284" fmla="*/ 325058 w 770887"/>
                <a:gd name="connsiteY284" fmla="*/ 448251 h 599162"/>
                <a:gd name="connsiteX285" fmla="*/ 331042 w 770887"/>
                <a:gd name="connsiteY285" fmla="*/ 440780 h 599162"/>
                <a:gd name="connsiteX286" fmla="*/ 323561 w 770887"/>
                <a:gd name="connsiteY286" fmla="*/ 440780 h 599162"/>
                <a:gd name="connsiteX287" fmla="*/ 320569 w 770887"/>
                <a:gd name="connsiteY287" fmla="*/ 436298 h 599162"/>
                <a:gd name="connsiteX288" fmla="*/ 328050 w 770887"/>
                <a:gd name="connsiteY288" fmla="*/ 425838 h 599162"/>
                <a:gd name="connsiteX289" fmla="*/ 331042 w 770887"/>
                <a:gd name="connsiteY289" fmla="*/ 415379 h 599162"/>
                <a:gd name="connsiteX290" fmla="*/ 335530 w 770887"/>
                <a:gd name="connsiteY290" fmla="*/ 400438 h 599162"/>
                <a:gd name="connsiteX291" fmla="*/ 343010 w 770887"/>
                <a:gd name="connsiteY291" fmla="*/ 391473 h 599162"/>
                <a:gd name="connsiteX292" fmla="*/ 369940 w 770887"/>
                <a:gd name="connsiteY292" fmla="*/ 394461 h 599162"/>
                <a:gd name="connsiteX293" fmla="*/ 365452 w 770887"/>
                <a:gd name="connsiteY293" fmla="*/ 388484 h 599162"/>
                <a:gd name="connsiteX294" fmla="*/ 357971 w 770887"/>
                <a:gd name="connsiteY294" fmla="*/ 386990 h 599162"/>
                <a:gd name="connsiteX295" fmla="*/ 344507 w 770887"/>
                <a:gd name="connsiteY295" fmla="*/ 381013 h 599162"/>
                <a:gd name="connsiteX296" fmla="*/ 334034 w 770887"/>
                <a:gd name="connsiteY296" fmla="*/ 385496 h 599162"/>
                <a:gd name="connsiteX297" fmla="*/ 325058 w 770887"/>
                <a:gd name="connsiteY297" fmla="*/ 392967 h 599162"/>
                <a:gd name="connsiteX298" fmla="*/ 316081 w 770887"/>
                <a:gd name="connsiteY298" fmla="*/ 400438 h 599162"/>
                <a:gd name="connsiteX299" fmla="*/ 311593 w 770887"/>
                <a:gd name="connsiteY299" fmla="*/ 409403 h 599162"/>
                <a:gd name="connsiteX300" fmla="*/ 310097 w 770887"/>
                <a:gd name="connsiteY300" fmla="*/ 416873 h 599162"/>
                <a:gd name="connsiteX301" fmla="*/ 304113 w 770887"/>
                <a:gd name="connsiteY301" fmla="*/ 416873 h 599162"/>
                <a:gd name="connsiteX302" fmla="*/ 304113 w 770887"/>
                <a:gd name="connsiteY302" fmla="*/ 419862 h 599162"/>
                <a:gd name="connsiteX303" fmla="*/ 307105 w 770887"/>
                <a:gd name="connsiteY303" fmla="*/ 425838 h 599162"/>
                <a:gd name="connsiteX304" fmla="*/ 305609 w 770887"/>
                <a:gd name="connsiteY304" fmla="*/ 430321 h 599162"/>
                <a:gd name="connsiteX305" fmla="*/ 301120 w 770887"/>
                <a:gd name="connsiteY305" fmla="*/ 434803 h 599162"/>
                <a:gd name="connsiteX306" fmla="*/ 290648 w 770887"/>
                <a:gd name="connsiteY306" fmla="*/ 440780 h 599162"/>
                <a:gd name="connsiteX307" fmla="*/ 284664 w 770887"/>
                <a:gd name="connsiteY307" fmla="*/ 445263 h 599162"/>
                <a:gd name="connsiteX308" fmla="*/ 277183 w 770887"/>
                <a:gd name="connsiteY308" fmla="*/ 452734 h 599162"/>
                <a:gd name="connsiteX309" fmla="*/ 275687 w 770887"/>
                <a:gd name="connsiteY309" fmla="*/ 460204 h 599162"/>
                <a:gd name="connsiteX310" fmla="*/ 286160 w 770887"/>
                <a:gd name="connsiteY310" fmla="*/ 463193 h 599162"/>
                <a:gd name="connsiteX311" fmla="*/ 287656 w 770887"/>
                <a:gd name="connsiteY311" fmla="*/ 473652 h 599162"/>
                <a:gd name="connsiteX312" fmla="*/ 283168 w 770887"/>
                <a:gd name="connsiteY312" fmla="*/ 479629 h 599162"/>
                <a:gd name="connsiteX313" fmla="*/ 275687 w 770887"/>
                <a:gd name="connsiteY313" fmla="*/ 484111 h 599162"/>
                <a:gd name="connsiteX314" fmla="*/ 266711 w 770887"/>
                <a:gd name="connsiteY314" fmla="*/ 496064 h 599162"/>
                <a:gd name="connsiteX315" fmla="*/ 253246 w 770887"/>
                <a:gd name="connsiteY315" fmla="*/ 505029 h 599162"/>
                <a:gd name="connsiteX316" fmla="*/ 226317 w 770887"/>
                <a:gd name="connsiteY316" fmla="*/ 518477 h 599162"/>
                <a:gd name="connsiteX317" fmla="*/ 224821 w 770887"/>
                <a:gd name="connsiteY317" fmla="*/ 530430 h 599162"/>
                <a:gd name="connsiteX318" fmla="*/ 214348 w 770887"/>
                <a:gd name="connsiteY318" fmla="*/ 534913 h 599162"/>
                <a:gd name="connsiteX319" fmla="*/ 203876 w 770887"/>
                <a:gd name="connsiteY319" fmla="*/ 540890 h 599162"/>
                <a:gd name="connsiteX320" fmla="*/ 190411 w 770887"/>
                <a:gd name="connsiteY320" fmla="*/ 545372 h 599162"/>
                <a:gd name="connsiteX321" fmla="*/ 185923 w 770887"/>
                <a:gd name="connsiteY321" fmla="*/ 548360 h 599162"/>
                <a:gd name="connsiteX322" fmla="*/ 179939 w 770887"/>
                <a:gd name="connsiteY322" fmla="*/ 552843 h 599162"/>
                <a:gd name="connsiteX323" fmla="*/ 175450 w 770887"/>
                <a:gd name="connsiteY323" fmla="*/ 557325 h 599162"/>
                <a:gd name="connsiteX324" fmla="*/ 172458 w 770887"/>
                <a:gd name="connsiteY324" fmla="*/ 566290 h 599162"/>
                <a:gd name="connsiteX325" fmla="*/ 164978 w 770887"/>
                <a:gd name="connsiteY325" fmla="*/ 567785 h 599162"/>
                <a:gd name="connsiteX326" fmla="*/ 154505 w 770887"/>
                <a:gd name="connsiteY326" fmla="*/ 570773 h 599162"/>
                <a:gd name="connsiteX327" fmla="*/ 147025 w 770887"/>
                <a:gd name="connsiteY327" fmla="*/ 570773 h 599162"/>
                <a:gd name="connsiteX328" fmla="*/ 139545 w 770887"/>
                <a:gd name="connsiteY328" fmla="*/ 573761 h 599162"/>
                <a:gd name="connsiteX329" fmla="*/ 129072 w 770887"/>
                <a:gd name="connsiteY329" fmla="*/ 579738 h 599162"/>
                <a:gd name="connsiteX330" fmla="*/ 132064 w 770887"/>
                <a:gd name="connsiteY330" fmla="*/ 587209 h 599162"/>
                <a:gd name="connsiteX331" fmla="*/ 129072 w 770887"/>
                <a:gd name="connsiteY331" fmla="*/ 588703 h 599162"/>
                <a:gd name="connsiteX332" fmla="*/ 121592 w 770887"/>
                <a:gd name="connsiteY332" fmla="*/ 584220 h 599162"/>
                <a:gd name="connsiteX333" fmla="*/ 114111 w 770887"/>
                <a:gd name="connsiteY333" fmla="*/ 581232 h 599162"/>
                <a:gd name="connsiteX334" fmla="*/ 108127 w 770887"/>
                <a:gd name="connsiteY334" fmla="*/ 572267 h 599162"/>
                <a:gd name="connsiteX335" fmla="*/ 106631 w 770887"/>
                <a:gd name="connsiteY335" fmla="*/ 575255 h 599162"/>
                <a:gd name="connsiteX336" fmla="*/ 106631 w 770887"/>
                <a:gd name="connsiteY336" fmla="*/ 587209 h 599162"/>
                <a:gd name="connsiteX337" fmla="*/ 97655 w 770887"/>
                <a:gd name="connsiteY337" fmla="*/ 587209 h 599162"/>
                <a:gd name="connsiteX338" fmla="*/ 97655 w 770887"/>
                <a:gd name="connsiteY338" fmla="*/ 591691 h 599162"/>
                <a:gd name="connsiteX339" fmla="*/ 88678 w 770887"/>
                <a:gd name="connsiteY339" fmla="*/ 591691 h 599162"/>
                <a:gd name="connsiteX340" fmla="*/ 88678 w 770887"/>
                <a:gd name="connsiteY340" fmla="*/ 590197 h 599162"/>
                <a:gd name="connsiteX341" fmla="*/ 84190 w 770887"/>
                <a:gd name="connsiteY341" fmla="*/ 588703 h 599162"/>
                <a:gd name="connsiteX342" fmla="*/ 78206 w 770887"/>
                <a:gd name="connsiteY342" fmla="*/ 588703 h 599162"/>
                <a:gd name="connsiteX343" fmla="*/ 70725 w 770887"/>
                <a:gd name="connsiteY343" fmla="*/ 590197 h 599162"/>
                <a:gd name="connsiteX344" fmla="*/ 61749 w 770887"/>
                <a:gd name="connsiteY344" fmla="*/ 599162 h 599162"/>
                <a:gd name="connsiteX345" fmla="*/ 45292 w 770887"/>
                <a:gd name="connsiteY345" fmla="*/ 599162 h 599162"/>
                <a:gd name="connsiteX346" fmla="*/ 30331 w 770887"/>
                <a:gd name="connsiteY346" fmla="*/ 599162 h 599162"/>
                <a:gd name="connsiteX347" fmla="*/ 30331 w 770887"/>
                <a:gd name="connsiteY347" fmla="*/ 593185 h 599162"/>
                <a:gd name="connsiteX348" fmla="*/ 40804 w 770887"/>
                <a:gd name="connsiteY348" fmla="*/ 581232 h 599162"/>
                <a:gd name="connsiteX349" fmla="*/ 58757 w 770887"/>
                <a:gd name="connsiteY349" fmla="*/ 581232 h 599162"/>
                <a:gd name="connsiteX350" fmla="*/ 66237 w 770887"/>
                <a:gd name="connsiteY350" fmla="*/ 581232 h 599162"/>
                <a:gd name="connsiteX351" fmla="*/ 73717 w 770887"/>
                <a:gd name="connsiteY351" fmla="*/ 576750 h 599162"/>
                <a:gd name="connsiteX352" fmla="*/ 84190 w 770887"/>
                <a:gd name="connsiteY352" fmla="*/ 573761 h 599162"/>
                <a:gd name="connsiteX353" fmla="*/ 88678 w 770887"/>
                <a:gd name="connsiteY353" fmla="*/ 570773 h 599162"/>
                <a:gd name="connsiteX354" fmla="*/ 93166 w 770887"/>
                <a:gd name="connsiteY354" fmla="*/ 563302 h 599162"/>
                <a:gd name="connsiteX355" fmla="*/ 102143 w 770887"/>
                <a:gd name="connsiteY355" fmla="*/ 558820 h 599162"/>
                <a:gd name="connsiteX356" fmla="*/ 115607 w 770887"/>
                <a:gd name="connsiteY356" fmla="*/ 557325 h 599162"/>
                <a:gd name="connsiteX357" fmla="*/ 123088 w 770887"/>
                <a:gd name="connsiteY357" fmla="*/ 557325 h 599162"/>
                <a:gd name="connsiteX358" fmla="*/ 129072 w 770887"/>
                <a:gd name="connsiteY358" fmla="*/ 563302 h 599162"/>
                <a:gd name="connsiteX359" fmla="*/ 135056 w 770887"/>
                <a:gd name="connsiteY359" fmla="*/ 558820 h 599162"/>
                <a:gd name="connsiteX360" fmla="*/ 141041 w 770887"/>
                <a:gd name="connsiteY360" fmla="*/ 549855 h 599162"/>
                <a:gd name="connsiteX361" fmla="*/ 148521 w 770887"/>
                <a:gd name="connsiteY361" fmla="*/ 542384 h 599162"/>
                <a:gd name="connsiteX362" fmla="*/ 156001 w 770887"/>
                <a:gd name="connsiteY362" fmla="*/ 537901 h 599162"/>
                <a:gd name="connsiteX363" fmla="*/ 170962 w 770887"/>
                <a:gd name="connsiteY363" fmla="*/ 534913 h 599162"/>
                <a:gd name="connsiteX364" fmla="*/ 176946 w 770887"/>
                <a:gd name="connsiteY364" fmla="*/ 528936 h 599162"/>
                <a:gd name="connsiteX365" fmla="*/ 184427 w 770887"/>
                <a:gd name="connsiteY365" fmla="*/ 521465 h 599162"/>
                <a:gd name="connsiteX366" fmla="*/ 193403 w 770887"/>
                <a:gd name="connsiteY366" fmla="*/ 513994 h 599162"/>
                <a:gd name="connsiteX367" fmla="*/ 200884 w 770887"/>
                <a:gd name="connsiteY367" fmla="*/ 509512 h 599162"/>
                <a:gd name="connsiteX368" fmla="*/ 203876 w 770887"/>
                <a:gd name="connsiteY368" fmla="*/ 500547 h 599162"/>
                <a:gd name="connsiteX369" fmla="*/ 205372 w 770887"/>
                <a:gd name="connsiteY369" fmla="*/ 487099 h 599162"/>
                <a:gd name="connsiteX370" fmla="*/ 208364 w 770887"/>
                <a:gd name="connsiteY370" fmla="*/ 478134 h 599162"/>
                <a:gd name="connsiteX371" fmla="*/ 209860 w 770887"/>
                <a:gd name="connsiteY371" fmla="*/ 475146 h 599162"/>
                <a:gd name="connsiteX372" fmla="*/ 217340 w 770887"/>
                <a:gd name="connsiteY372" fmla="*/ 464687 h 599162"/>
                <a:gd name="connsiteX373" fmla="*/ 212852 w 770887"/>
                <a:gd name="connsiteY373" fmla="*/ 464687 h 599162"/>
                <a:gd name="connsiteX374" fmla="*/ 205372 w 770887"/>
                <a:gd name="connsiteY374" fmla="*/ 466181 h 599162"/>
                <a:gd name="connsiteX375" fmla="*/ 200884 w 770887"/>
                <a:gd name="connsiteY375" fmla="*/ 466181 h 599162"/>
                <a:gd name="connsiteX376" fmla="*/ 193403 w 770887"/>
                <a:gd name="connsiteY376" fmla="*/ 464687 h 599162"/>
                <a:gd name="connsiteX377" fmla="*/ 190411 w 770887"/>
                <a:gd name="connsiteY377" fmla="*/ 461699 h 599162"/>
                <a:gd name="connsiteX378" fmla="*/ 197891 w 770887"/>
                <a:gd name="connsiteY378" fmla="*/ 454228 h 599162"/>
                <a:gd name="connsiteX379" fmla="*/ 190411 w 770887"/>
                <a:gd name="connsiteY379" fmla="*/ 455722 h 599162"/>
                <a:gd name="connsiteX380" fmla="*/ 185923 w 770887"/>
                <a:gd name="connsiteY380" fmla="*/ 460204 h 599162"/>
                <a:gd name="connsiteX381" fmla="*/ 182931 w 770887"/>
                <a:gd name="connsiteY381" fmla="*/ 470664 h 599162"/>
                <a:gd name="connsiteX382" fmla="*/ 178442 w 770887"/>
                <a:gd name="connsiteY382" fmla="*/ 475146 h 599162"/>
                <a:gd name="connsiteX383" fmla="*/ 176946 w 770887"/>
                <a:gd name="connsiteY383" fmla="*/ 470664 h 599162"/>
                <a:gd name="connsiteX384" fmla="*/ 172458 w 770887"/>
                <a:gd name="connsiteY384" fmla="*/ 464687 h 599162"/>
                <a:gd name="connsiteX385" fmla="*/ 164978 w 770887"/>
                <a:gd name="connsiteY385" fmla="*/ 457216 h 599162"/>
                <a:gd name="connsiteX386" fmla="*/ 153009 w 770887"/>
                <a:gd name="connsiteY386" fmla="*/ 449745 h 599162"/>
                <a:gd name="connsiteX387" fmla="*/ 150017 w 770887"/>
                <a:gd name="connsiteY387" fmla="*/ 449745 h 599162"/>
                <a:gd name="connsiteX388" fmla="*/ 139545 w 770887"/>
                <a:gd name="connsiteY388" fmla="*/ 457216 h 599162"/>
                <a:gd name="connsiteX389" fmla="*/ 133560 w 770887"/>
                <a:gd name="connsiteY389" fmla="*/ 457216 h 599162"/>
                <a:gd name="connsiteX390" fmla="*/ 124584 w 770887"/>
                <a:gd name="connsiteY390" fmla="*/ 457216 h 599162"/>
                <a:gd name="connsiteX391" fmla="*/ 126080 w 770887"/>
                <a:gd name="connsiteY391" fmla="*/ 437792 h 599162"/>
                <a:gd name="connsiteX392" fmla="*/ 127576 w 770887"/>
                <a:gd name="connsiteY392" fmla="*/ 431815 h 599162"/>
                <a:gd name="connsiteX393" fmla="*/ 132064 w 770887"/>
                <a:gd name="connsiteY393" fmla="*/ 425838 h 599162"/>
                <a:gd name="connsiteX394" fmla="*/ 132064 w 770887"/>
                <a:gd name="connsiteY394" fmla="*/ 418368 h 599162"/>
                <a:gd name="connsiteX395" fmla="*/ 130568 w 770887"/>
                <a:gd name="connsiteY395" fmla="*/ 406414 h 599162"/>
                <a:gd name="connsiteX396" fmla="*/ 127576 w 770887"/>
                <a:gd name="connsiteY396" fmla="*/ 394461 h 599162"/>
                <a:gd name="connsiteX397" fmla="*/ 124584 w 770887"/>
                <a:gd name="connsiteY397" fmla="*/ 397449 h 599162"/>
                <a:gd name="connsiteX398" fmla="*/ 118600 w 770887"/>
                <a:gd name="connsiteY398" fmla="*/ 403426 h 599162"/>
                <a:gd name="connsiteX399" fmla="*/ 114111 w 770887"/>
                <a:gd name="connsiteY399" fmla="*/ 406414 h 599162"/>
                <a:gd name="connsiteX400" fmla="*/ 109623 w 770887"/>
                <a:gd name="connsiteY400" fmla="*/ 406414 h 599162"/>
                <a:gd name="connsiteX401" fmla="*/ 105135 w 770887"/>
                <a:gd name="connsiteY401" fmla="*/ 401932 h 599162"/>
                <a:gd name="connsiteX402" fmla="*/ 102143 w 770887"/>
                <a:gd name="connsiteY402" fmla="*/ 401932 h 599162"/>
                <a:gd name="connsiteX403" fmla="*/ 96158 w 770887"/>
                <a:gd name="connsiteY403" fmla="*/ 398943 h 599162"/>
                <a:gd name="connsiteX404" fmla="*/ 91670 w 770887"/>
                <a:gd name="connsiteY404" fmla="*/ 394461 h 599162"/>
                <a:gd name="connsiteX405" fmla="*/ 87182 w 770887"/>
                <a:gd name="connsiteY405" fmla="*/ 391473 h 599162"/>
                <a:gd name="connsiteX406" fmla="*/ 82694 w 770887"/>
                <a:gd name="connsiteY406" fmla="*/ 386990 h 599162"/>
                <a:gd name="connsiteX407" fmla="*/ 81198 w 770887"/>
                <a:gd name="connsiteY407" fmla="*/ 382508 h 599162"/>
                <a:gd name="connsiteX408" fmla="*/ 79702 w 770887"/>
                <a:gd name="connsiteY408" fmla="*/ 372048 h 599162"/>
                <a:gd name="connsiteX409" fmla="*/ 85686 w 770887"/>
                <a:gd name="connsiteY409" fmla="*/ 367566 h 599162"/>
                <a:gd name="connsiteX410" fmla="*/ 91670 w 770887"/>
                <a:gd name="connsiteY410" fmla="*/ 367566 h 599162"/>
                <a:gd name="connsiteX411" fmla="*/ 99151 w 770887"/>
                <a:gd name="connsiteY411" fmla="*/ 367566 h 599162"/>
                <a:gd name="connsiteX412" fmla="*/ 106631 w 770887"/>
                <a:gd name="connsiteY412" fmla="*/ 372048 h 599162"/>
                <a:gd name="connsiteX413" fmla="*/ 109623 w 770887"/>
                <a:gd name="connsiteY413" fmla="*/ 364578 h 599162"/>
                <a:gd name="connsiteX414" fmla="*/ 105135 w 770887"/>
                <a:gd name="connsiteY414" fmla="*/ 360095 h 599162"/>
                <a:gd name="connsiteX415" fmla="*/ 103639 w 770887"/>
                <a:gd name="connsiteY415" fmla="*/ 360095 h 599162"/>
                <a:gd name="connsiteX416" fmla="*/ 96158 w 770887"/>
                <a:gd name="connsiteY416" fmla="*/ 360095 h 599162"/>
                <a:gd name="connsiteX417" fmla="*/ 91670 w 770887"/>
                <a:gd name="connsiteY417" fmla="*/ 360095 h 599162"/>
                <a:gd name="connsiteX418" fmla="*/ 82694 w 770887"/>
                <a:gd name="connsiteY418" fmla="*/ 354118 h 599162"/>
                <a:gd name="connsiteX419" fmla="*/ 79702 w 770887"/>
                <a:gd name="connsiteY419" fmla="*/ 348142 h 599162"/>
                <a:gd name="connsiteX420" fmla="*/ 76710 w 770887"/>
                <a:gd name="connsiteY420" fmla="*/ 340671 h 599162"/>
                <a:gd name="connsiteX421" fmla="*/ 73717 w 770887"/>
                <a:gd name="connsiteY421" fmla="*/ 333200 h 599162"/>
                <a:gd name="connsiteX422" fmla="*/ 73717 w 770887"/>
                <a:gd name="connsiteY422" fmla="*/ 330212 h 599162"/>
                <a:gd name="connsiteX423" fmla="*/ 76710 w 770887"/>
                <a:gd name="connsiteY423" fmla="*/ 327223 h 599162"/>
                <a:gd name="connsiteX424" fmla="*/ 81198 w 770887"/>
                <a:gd name="connsiteY424" fmla="*/ 319752 h 599162"/>
                <a:gd name="connsiteX425" fmla="*/ 88678 w 770887"/>
                <a:gd name="connsiteY425" fmla="*/ 310787 h 599162"/>
                <a:gd name="connsiteX426" fmla="*/ 97655 w 770887"/>
                <a:gd name="connsiteY426" fmla="*/ 304811 h 599162"/>
                <a:gd name="connsiteX427" fmla="*/ 103639 w 770887"/>
                <a:gd name="connsiteY427" fmla="*/ 297340 h 599162"/>
                <a:gd name="connsiteX428" fmla="*/ 105135 w 770887"/>
                <a:gd name="connsiteY428" fmla="*/ 289869 h 599162"/>
                <a:gd name="connsiteX429" fmla="*/ 112615 w 770887"/>
                <a:gd name="connsiteY429" fmla="*/ 282398 h 599162"/>
                <a:gd name="connsiteX430" fmla="*/ 118600 w 770887"/>
                <a:gd name="connsiteY430" fmla="*/ 280904 h 599162"/>
                <a:gd name="connsiteX431" fmla="*/ 123088 w 770887"/>
                <a:gd name="connsiteY431" fmla="*/ 283892 h 599162"/>
                <a:gd name="connsiteX432" fmla="*/ 127576 w 770887"/>
                <a:gd name="connsiteY432" fmla="*/ 289869 h 599162"/>
                <a:gd name="connsiteX433" fmla="*/ 130568 w 770887"/>
                <a:gd name="connsiteY433" fmla="*/ 289869 h 599162"/>
                <a:gd name="connsiteX434" fmla="*/ 136552 w 770887"/>
                <a:gd name="connsiteY434" fmla="*/ 289869 h 599162"/>
                <a:gd name="connsiteX435" fmla="*/ 139545 w 770887"/>
                <a:gd name="connsiteY435" fmla="*/ 289869 h 599162"/>
                <a:gd name="connsiteX436" fmla="*/ 144033 w 770887"/>
                <a:gd name="connsiteY436" fmla="*/ 283892 h 599162"/>
                <a:gd name="connsiteX437" fmla="*/ 148521 w 770887"/>
                <a:gd name="connsiteY437" fmla="*/ 283892 h 599162"/>
                <a:gd name="connsiteX438" fmla="*/ 150017 w 770887"/>
                <a:gd name="connsiteY438" fmla="*/ 280904 h 599162"/>
                <a:gd name="connsiteX439" fmla="*/ 153009 w 770887"/>
                <a:gd name="connsiteY439" fmla="*/ 276422 h 599162"/>
                <a:gd name="connsiteX440" fmla="*/ 154505 w 770887"/>
                <a:gd name="connsiteY440" fmla="*/ 280904 h 599162"/>
                <a:gd name="connsiteX441" fmla="*/ 158994 w 770887"/>
                <a:gd name="connsiteY441" fmla="*/ 280904 h 599162"/>
                <a:gd name="connsiteX442" fmla="*/ 161986 w 770887"/>
                <a:gd name="connsiteY442" fmla="*/ 280904 h 599162"/>
                <a:gd name="connsiteX443" fmla="*/ 167970 w 770887"/>
                <a:gd name="connsiteY443" fmla="*/ 280904 h 599162"/>
                <a:gd name="connsiteX444" fmla="*/ 172458 w 770887"/>
                <a:gd name="connsiteY444" fmla="*/ 276422 h 599162"/>
                <a:gd name="connsiteX445" fmla="*/ 176946 w 770887"/>
                <a:gd name="connsiteY445" fmla="*/ 276422 h 599162"/>
                <a:gd name="connsiteX446" fmla="*/ 178442 w 770887"/>
                <a:gd name="connsiteY446" fmla="*/ 265962 h 599162"/>
                <a:gd name="connsiteX447" fmla="*/ 175450 w 770887"/>
                <a:gd name="connsiteY447" fmla="*/ 258491 h 599162"/>
                <a:gd name="connsiteX448" fmla="*/ 172458 w 770887"/>
                <a:gd name="connsiteY448" fmla="*/ 246538 h 599162"/>
                <a:gd name="connsiteX449" fmla="*/ 178442 w 770887"/>
                <a:gd name="connsiteY449" fmla="*/ 246538 h 599162"/>
                <a:gd name="connsiteX450" fmla="*/ 184427 w 770887"/>
                <a:gd name="connsiteY450" fmla="*/ 240561 h 599162"/>
                <a:gd name="connsiteX451" fmla="*/ 182931 w 770887"/>
                <a:gd name="connsiteY451" fmla="*/ 231596 h 599162"/>
                <a:gd name="connsiteX452" fmla="*/ 173954 w 770887"/>
                <a:gd name="connsiteY452" fmla="*/ 230102 h 599162"/>
                <a:gd name="connsiteX453" fmla="*/ 169466 w 770887"/>
                <a:gd name="connsiteY453" fmla="*/ 230102 h 599162"/>
                <a:gd name="connsiteX454" fmla="*/ 164978 w 770887"/>
                <a:gd name="connsiteY454" fmla="*/ 231596 h 599162"/>
                <a:gd name="connsiteX455" fmla="*/ 160490 w 770887"/>
                <a:gd name="connsiteY455" fmla="*/ 234585 h 599162"/>
                <a:gd name="connsiteX456" fmla="*/ 157497 w 770887"/>
                <a:gd name="connsiteY456" fmla="*/ 240561 h 599162"/>
                <a:gd name="connsiteX457" fmla="*/ 153009 w 770887"/>
                <a:gd name="connsiteY457" fmla="*/ 240561 h 599162"/>
                <a:gd name="connsiteX458" fmla="*/ 148521 w 770887"/>
                <a:gd name="connsiteY458" fmla="*/ 231596 h 599162"/>
                <a:gd name="connsiteX459" fmla="*/ 136552 w 770887"/>
                <a:gd name="connsiteY459" fmla="*/ 231596 h 599162"/>
                <a:gd name="connsiteX460" fmla="*/ 123088 w 770887"/>
                <a:gd name="connsiteY460" fmla="*/ 231596 h 599162"/>
                <a:gd name="connsiteX461" fmla="*/ 112615 w 770887"/>
                <a:gd name="connsiteY461" fmla="*/ 228608 h 599162"/>
                <a:gd name="connsiteX462" fmla="*/ 102143 w 770887"/>
                <a:gd name="connsiteY462" fmla="*/ 224125 h 599162"/>
                <a:gd name="connsiteX463" fmla="*/ 96158 w 770887"/>
                <a:gd name="connsiteY463" fmla="*/ 216654 h 599162"/>
                <a:gd name="connsiteX464" fmla="*/ 94662 w 770887"/>
                <a:gd name="connsiteY464" fmla="*/ 201713 h 599162"/>
                <a:gd name="connsiteX465" fmla="*/ 102143 w 770887"/>
                <a:gd name="connsiteY465" fmla="*/ 198724 h 599162"/>
                <a:gd name="connsiteX466" fmla="*/ 106631 w 770887"/>
                <a:gd name="connsiteY466" fmla="*/ 195736 h 599162"/>
                <a:gd name="connsiteX467" fmla="*/ 96158 w 770887"/>
                <a:gd name="connsiteY467" fmla="*/ 191254 h 599162"/>
                <a:gd name="connsiteX468" fmla="*/ 90174 w 770887"/>
                <a:gd name="connsiteY468" fmla="*/ 186771 h 599162"/>
                <a:gd name="connsiteX469" fmla="*/ 82694 w 770887"/>
                <a:gd name="connsiteY469" fmla="*/ 180794 h 599162"/>
                <a:gd name="connsiteX470" fmla="*/ 81198 w 770887"/>
                <a:gd name="connsiteY470" fmla="*/ 177806 h 599162"/>
                <a:gd name="connsiteX471" fmla="*/ 87182 w 770887"/>
                <a:gd name="connsiteY471" fmla="*/ 173324 h 599162"/>
                <a:gd name="connsiteX472" fmla="*/ 91670 w 770887"/>
                <a:gd name="connsiteY472" fmla="*/ 173324 h 599162"/>
                <a:gd name="connsiteX473" fmla="*/ 100647 w 770887"/>
                <a:gd name="connsiteY473" fmla="*/ 171829 h 599162"/>
                <a:gd name="connsiteX474" fmla="*/ 112615 w 770887"/>
                <a:gd name="connsiteY474" fmla="*/ 164359 h 599162"/>
                <a:gd name="connsiteX475" fmla="*/ 114111 w 770887"/>
                <a:gd name="connsiteY475" fmla="*/ 167347 h 599162"/>
                <a:gd name="connsiteX476" fmla="*/ 121592 w 770887"/>
                <a:gd name="connsiteY476" fmla="*/ 164359 h 599162"/>
                <a:gd name="connsiteX477" fmla="*/ 121592 w 770887"/>
                <a:gd name="connsiteY477" fmla="*/ 162864 h 599162"/>
                <a:gd name="connsiteX478" fmla="*/ 126080 w 770887"/>
                <a:gd name="connsiteY478" fmla="*/ 161370 h 599162"/>
                <a:gd name="connsiteX479" fmla="*/ 135056 w 770887"/>
                <a:gd name="connsiteY479" fmla="*/ 159876 h 599162"/>
                <a:gd name="connsiteX480" fmla="*/ 145529 w 770887"/>
                <a:gd name="connsiteY480" fmla="*/ 159876 h 599162"/>
                <a:gd name="connsiteX481" fmla="*/ 150017 w 770887"/>
                <a:gd name="connsiteY481" fmla="*/ 162864 h 599162"/>
                <a:gd name="connsiteX482" fmla="*/ 147025 w 770887"/>
                <a:gd name="connsiteY482" fmla="*/ 170335 h 599162"/>
                <a:gd name="connsiteX483" fmla="*/ 147025 w 770887"/>
                <a:gd name="connsiteY483" fmla="*/ 173324 h 599162"/>
                <a:gd name="connsiteX484" fmla="*/ 151513 w 770887"/>
                <a:gd name="connsiteY484" fmla="*/ 176312 h 599162"/>
                <a:gd name="connsiteX485" fmla="*/ 156001 w 770887"/>
                <a:gd name="connsiteY485" fmla="*/ 180794 h 599162"/>
                <a:gd name="connsiteX486" fmla="*/ 164978 w 770887"/>
                <a:gd name="connsiteY486" fmla="*/ 180794 h 599162"/>
                <a:gd name="connsiteX487" fmla="*/ 176946 w 770887"/>
                <a:gd name="connsiteY487" fmla="*/ 183783 h 599162"/>
                <a:gd name="connsiteX488" fmla="*/ 185923 w 770887"/>
                <a:gd name="connsiteY488" fmla="*/ 179300 h 599162"/>
                <a:gd name="connsiteX489" fmla="*/ 191907 w 770887"/>
                <a:gd name="connsiteY489" fmla="*/ 173324 h 599162"/>
                <a:gd name="connsiteX490" fmla="*/ 199387 w 770887"/>
                <a:gd name="connsiteY490" fmla="*/ 168841 h 599162"/>
                <a:gd name="connsiteX491" fmla="*/ 191907 w 770887"/>
                <a:gd name="connsiteY491" fmla="*/ 165853 h 599162"/>
                <a:gd name="connsiteX492" fmla="*/ 185923 w 770887"/>
                <a:gd name="connsiteY492" fmla="*/ 162864 h 599162"/>
                <a:gd name="connsiteX493" fmla="*/ 181435 w 770887"/>
                <a:gd name="connsiteY493" fmla="*/ 159876 h 599162"/>
                <a:gd name="connsiteX494" fmla="*/ 181435 w 770887"/>
                <a:gd name="connsiteY494" fmla="*/ 153899 h 599162"/>
                <a:gd name="connsiteX495" fmla="*/ 179939 w 770887"/>
                <a:gd name="connsiteY495" fmla="*/ 146428 h 599162"/>
                <a:gd name="connsiteX496" fmla="*/ 157497 w 770887"/>
                <a:gd name="connsiteY496" fmla="*/ 140452 h 599162"/>
                <a:gd name="connsiteX497" fmla="*/ 157497 w 770887"/>
                <a:gd name="connsiteY497" fmla="*/ 118039 h 599162"/>
                <a:gd name="connsiteX498" fmla="*/ 147025 w 770887"/>
                <a:gd name="connsiteY498" fmla="*/ 107580 h 599162"/>
                <a:gd name="connsiteX499" fmla="*/ 126080 w 770887"/>
                <a:gd name="connsiteY499" fmla="*/ 85168 h 599162"/>
                <a:gd name="connsiteX500" fmla="*/ 129072 w 770887"/>
                <a:gd name="connsiteY500" fmla="*/ 85168 h 599162"/>
                <a:gd name="connsiteX501" fmla="*/ 129072 w 770887"/>
                <a:gd name="connsiteY501" fmla="*/ 80685 h 599162"/>
                <a:gd name="connsiteX502" fmla="*/ 136552 w 770887"/>
                <a:gd name="connsiteY502" fmla="*/ 80685 h 599162"/>
                <a:gd name="connsiteX503" fmla="*/ 136552 w 770887"/>
                <a:gd name="connsiteY503" fmla="*/ 74708 h 599162"/>
                <a:gd name="connsiteX504" fmla="*/ 138048 w 770887"/>
                <a:gd name="connsiteY504" fmla="*/ 67238 h 599162"/>
                <a:gd name="connsiteX505" fmla="*/ 142537 w 770887"/>
                <a:gd name="connsiteY505" fmla="*/ 67238 h 599162"/>
                <a:gd name="connsiteX506" fmla="*/ 147025 w 770887"/>
                <a:gd name="connsiteY506" fmla="*/ 70226 h 599162"/>
                <a:gd name="connsiteX507" fmla="*/ 154505 w 770887"/>
                <a:gd name="connsiteY507" fmla="*/ 70226 h 599162"/>
                <a:gd name="connsiteX508" fmla="*/ 157497 w 770887"/>
                <a:gd name="connsiteY508" fmla="*/ 70226 h 599162"/>
                <a:gd name="connsiteX509" fmla="*/ 164978 w 770887"/>
                <a:gd name="connsiteY509" fmla="*/ 70226 h 599162"/>
                <a:gd name="connsiteX510" fmla="*/ 178442 w 770887"/>
                <a:gd name="connsiteY510" fmla="*/ 65743 h 599162"/>
                <a:gd name="connsiteX511" fmla="*/ 182931 w 770887"/>
                <a:gd name="connsiteY511" fmla="*/ 61261 h 599162"/>
                <a:gd name="connsiteX512" fmla="*/ 187419 w 770887"/>
                <a:gd name="connsiteY512" fmla="*/ 53790 h 599162"/>
                <a:gd name="connsiteX513" fmla="*/ 187419 w 770887"/>
                <a:gd name="connsiteY513" fmla="*/ 41837 h 599162"/>
                <a:gd name="connsiteX514" fmla="*/ 191907 w 770887"/>
                <a:gd name="connsiteY514" fmla="*/ 41837 h 599162"/>
                <a:gd name="connsiteX515" fmla="*/ 196395 w 770887"/>
                <a:gd name="connsiteY515" fmla="*/ 37354 h 599162"/>
                <a:gd name="connsiteX516" fmla="*/ 205372 w 770887"/>
                <a:gd name="connsiteY516" fmla="*/ 29883 h 599162"/>
                <a:gd name="connsiteX517" fmla="*/ 221829 w 770887"/>
                <a:gd name="connsiteY517" fmla="*/ 26895 h 599162"/>
                <a:gd name="connsiteX518" fmla="*/ 227813 w 770887"/>
                <a:gd name="connsiteY518" fmla="*/ 19424 h 599162"/>
                <a:gd name="connsiteX519" fmla="*/ 233797 w 770887"/>
                <a:gd name="connsiteY519" fmla="*/ 16436 h 599162"/>
                <a:gd name="connsiteX520" fmla="*/ 238285 w 770887"/>
                <a:gd name="connsiteY520" fmla="*/ 11953 h 599162"/>
                <a:gd name="connsiteX521" fmla="*/ 262223 w 770887"/>
                <a:gd name="connsiteY521" fmla="*/ 13447 h 599162"/>
                <a:gd name="connsiteX522" fmla="*/ 265215 w 770887"/>
                <a:gd name="connsiteY522" fmla="*/ 5977 h 599162"/>
                <a:gd name="connsiteX523" fmla="*/ 277183 w 770887"/>
                <a:gd name="connsiteY523" fmla="*/ 0 h 5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</a:cxnLst>
              <a:rect l="l" t="t" r="r" b="b"/>
              <a:pathLst>
                <a:path w="770887" h="599162">
                  <a:moveTo>
                    <a:pt x="302516" y="482511"/>
                  </a:moveTo>
                  <a:lnTo>
                    <a:pt x="307819" y="487813"/>
                  </a:lnTo>
                  <a:lnTo>
                    <a:pt x="318423" y="494883"/>
                  </a:lnTo>
                  <a:lnTo>
                    <a:pt x="311354" y="496651"/>
                  </a:lnTo>
                  <a:lnTo>
                    <a:pt x="307819" y="496651"/>
                  </a:lnTo>
                  <a:lnTo>
                    <a:pt x="300749" y="501953"/>
                  </a:lnTo>
                  <a:lnTo>
                    <a:pt x="300749" y="503720"/>
                  </a:lnTo>
                  <a:lnTo>
                    <a:pt x="300749" y="509023"/>
                  </a:lnTo>
                  <a:lnTo>
                    <a:pt x="304284" y="509023"/>
                  </a:lnTo>
                  <a:lnTo>
                    <a:pt x="311354" y="517860"/>
                  </a:lnTo>
                  <a:lnTo>
                    <a:pt x="311354" y="521395"/>
                  </a:lnTo>
                  <a:lnTo>
                    <a:pt x="306051" y="523162"/>
                  </a:lnTo>
                  <a:lnTo>
                    <a:pt x="302516" y="523162"/>
                  </a:lnTo>
                  <a:lnTo>
                    <a:pt x="298982" y="524930"/>
                  </a:lnTo>
                  <a:lnTo>
                    <a:pt x="297214" y="524930"/>
                  </a:lnTo>
                  <a:lnTo>
                    <a:pt x="291912" y="528465"/>
                  </a:lnTo>
                  <a:lnTo>
                    <a:pt x="291912" y="533767"/>
                  </a:lnTo>
                  <a:lnTo>
                    <a:pt x="291912" y="535534"/>
                  </a:lnTo>
                  <a:lnTo>
                    <a:pt x="288377" y="540837"/>
                  </a:lnTo>
                  <a:lnTo>
                    <a:pt x="283075" y="531999"/>
                  </a:lnTo>
                  <a:lnTo>
                    <a:pt x="283075" y="533767"/>
                  </a:lnTo>
                  <a:lnTo>
                    <a:pt x="281307" y="537302"/>
                  </a:lnTo>
                  <a:lnTo>
                    <a:pt x="276005" y="542604"/>
                  </a:lnTo>
                  <a:lnTo>
                    <a:pt x="272470" y="549674"/>
                  </a:lnTo>
                  <a:lnTo>
                    <a:pt x="272470" y="551441"/>
                  </a:lnTo>
                  <a:lnTo>
                    <a:pt x="272470" y="558511"/>
                  </a:lnTo>
                  <a:lnTo>
                    <a:pt x="256563" y="558511"/>
                  </a:lnTo>
                  <a:lnTo>
                    <a:pt x="268935" y="554976"/>
                  </a:lnTo>
                  <a:lnTo>
                    <a:pt x="270703" y="551441"/>
                  </a:lnTo>
                  <a:lnTo>
                    <a:pt x="272470" y="547906"/>
                  </a:lnTo>
                  <a:lnTo>
                    <a:pt x="270703" y="542604"/>
                  </a:lnTo>
                  <a:lnTo>
                    <a:pt x="267168" y="540837"/>
                  </a:lnTo>
                  <a:lnTo>
                    <a:pt x="265400" y="540837"/>
                  </a:lnTo>
                  <a:lnTo>
                    <a:pt x="261866" y="537302"/>
                  </a:lnTo>
                  <a:lnTo>
                    <a:pt x="261866" y="535534"/>
                  </a:lnTo>
                  <a:lnTo>
                    <a:pt x="260098" y="524930"/>
                  </a:lnTo>
                  <a:lnTo>
                    <a:pt x="263633" y="521395"/>
                  </a:lnTo>
                  <a:lnTo>
                    <a:pt x="265400" y="517860"/>
                  </a:lnTo>
                  <a:lnTo>
                    <a:pt x="270703" y="514325"/>
                  </a:lnTo>
                  <a:lnTo>
                    <a:pt x="272470" y="516093"/>
                  </a:lnTo>
                  <a:lnTo>
                    <a:pt x="277772" y="521395"/>
                  </a:lnTo>
                  <a:lnTo>
                    <a:pt x="281307" y="528465"/>
                  </a:lnTo>
                  <a:lnTo>
                    <a:pt x="281307" y="521395"/>
                  </a:lnTo>
                  <a:lnTo>
                    <a:pt x="279540" y="514325"/>
                  </a:lnTo>
                  <a:lnTo>
                    <a:pt x="276005" y="509023"/>
                  </a:lnTo>
                  <a:lnTo>
                    <a:pt x="281307" y="507255"/>
                  </a:lnTo>
                  <a:lnTo>
                    <a:pt x="288377" y="510790"/>
                  </a:lnTo>
                  <a:lnTo>
                    <a:pt x="291912" y="510790"/>
                  </a:lnTo>
                  <a:lnTo>
                    <a:pt x="291912" y="507255"/>
                  </a:lnTo>
                  <a:lnTo>
                    <a:pt x="291912" y="505488"/>
                  </a:lnTo>
                  <a:lnTo>
                    <a:pt x="291912" y="501953"/>
                  </a:lnTo>
                  <a:lnTo>
                    <a:pt x="291912" y="496651"/>
                  </a:lnTo>
                  <a:lnTo>
                    <a:pt x="290144" y="493116"/>
                  </a:lnTo>
                  <a:lnTo>
                    <a:pt x="297214" y="487813"/>
                  </a:lnTo>
                  <a:close/>
                  <a:moveTo>
                    <a:pt x="55075" y="374697"/>
                  </a:moveTo>
                  <a:lnTo>
                    <a:pt x="58610" y="374697"/>
                  </a:lnTo>
                  <a:lnTo>
                    <a:pt x="63912" y="385302"/>
                  </a:lnTo>
                  <a:lnTo>
                    <a:pt x="63912" y="390604"/>
                  </a:lnTo>
                  <a:lnTo>
                    <a:pt x="60377" y="395906"/>
                  </a:lnTo>
                  <a:lnTo>
                    <a:pt x="56842" y="395906"/>
                  </a:lnTo>
                  <a:lnTo>
                    <a:pt x="51540" y="395906"/>
                  </a:lnTo>
                  <a:lnTo>
                    <a:pt x="44470" y="390604"/>
                  </a:lnTo>
                  <a:lnTo>
                    <a:pt x="35633" y="383534"/>
                  </a:lnTo>
                  <a:lnTo>
                    <a:pt x="44470" y="378232"/>
                  </a:lnTo>
                  <a:lnTo>
                    <a:pt x="49773" y="378232"/>
                  </a:lnTo>
                  <a:close/>
                  <a:moveTo>
                    <a:pt x="4447" y="224465"/>
                  </a:moveTo>
                  <a:cubicBezTo>
                    <a:pt x="4447" y="224465"/>
                    <a:pt x="4447" y="224465"/>
                    <a:pt x="5929" y="230488"/>
                  </a:cubicBezTo>
                  <a:cubicBezTo>
                    <a:pt x="5929" y="230488"/>
                    <a:pt x="5929" y="230488"/>
                    <a:pt x="8894" y="233499"/>
                  </a:cubicBezTo>
                  <a:cubicBezTo>
                    <a:pt x="8894" y="233499"/>
                    <a:pt x="8894" y="233499"/>
                    <a:pt x="16306" y="235005"/>
                  </a:cubicBezTo>
                  <a:cubicBezTo>
                    <a:pt x="16306" y="235005"/>
                    <a:pt x="16306" y="235005"/>
                    <a:pt x="23717" y="235005"/>
                  </a:cubicBezTo>
                  <a:cubicBezTo>
                    <a:pt x="23717" y="235005"/>
                    <a:pt x="23717" y="235005"/>
                    <a:pt x="28164" y="238016"/>
                  </a:cubicBezTo>
                  <a:cubicBezTo>
                    <a:pt x="28164" y="238016"/>
                    <a:pt x="28164" y="238016"/>
                    <a:pt x="28164" y="242533"/>
                  </a:cubicBezTo>
                  <a:cubicBezTo>
                    <a:pt x="28164" y="242533"/>
                    <a:pt x="28164" y="242533"/>
                    <a:pt x="31129" y="245544"/>
                  </a:cubicBezTo>
                  <a:cubicBezTo>
                    <a:pt x="31129" y="245544"/>
                    <a:pt x="31129" y="245544"/>
                    <a:pt x="37058" y="251566"/>
                  </a:cubicBezTo>
                  <a:cubicBezTo>
                    <a:pt x="37058" y="251566"/>
                    <a:pt x="37058" y="251566"/>
                    <a:pt x="44470" y="262106"/>
                  </a:cubicBezTo>
                  <a:cubicBezTo>
                    <a:pt x="44470" y="262106"/>
                    <a:pt x="44470" y="262106"/>
                    <a:pt x="40023" y="262106"/>
                  </a:cubicBezTo>
                  <a:cubicBezTo>
                    <a:pt x="40023" y="262106"/>
                    <a:pt x="40023" y="262106"/>
                    <a:pt x="31129" y="262106"/>
                  </a:cubicBezTo>
                  <a:lnTo>
                    <a:pt x="29647" y="265117"/>
                  </a:lnTo>
                  <a:cubicBezTo>
                    <a:pt x="29647" y="265117"/>
                    <a:pt x="29647" y="265117"/>
                    <a:pt x="23717" y="259095"/>
                  </a:cubicBezTo>
                  <a:cubicBezTo>
                    <a:pt x="23717" y="259095"/>
                    <a:pt x="23717" y="259095"/>
                    <a:pt x="20753" y="250061"/>
                  </a:cubicBezTo>
                  <a:cubicBezTo>
                    <a:pt x="20753" y="250061"/>
                    <a:pt x="20753" y="250061"/>
                    <a:pt x="19270" y="247050"/>
                  </a:cubicBezTo>
                  <a:cubicBezTo>
                    <a:pt x="19270" y="247050"/>
                    <a:pt x="19270" y="247050"/>
                    <a:pt x="16306" y="244038"/>
                  </a:cubicBezTo>
                  <a:cubicBezTo>
                    <a:pt x="16306" y="244038"/>
                    <a:pt x="16306" y="244038"/>
                    <a:pt x="14823" y="244038"/>
                  </a:cubicBezTo>
                  <a:cubicBezTo>
                    <a:pt x="14823" y="244038"/>
                    <a:pt x="14823" y="244038"/>
                    <a:pt x="13341" y="244038"/>
                  </a:cubicBezTo>
                  <a:cubicBezTo>
                    <a:pt x="13341" y="244038"/>
                    <a:pt x="10376" y="244038"/>
                    <a:pt x="10376" y="244038"/>
                  </a:cubicBezTo>
                  <a:cubicBezTo>
                    <a:pt x="8894" y="242533"/>
                    <a:pt x="8894" y="244038"/>
                    <a:pt x="8894" y="244038"/>
                  </a:cubicBezTo>
                  <a:cubicBezTo>
                    <a:pt x="8894" y="244038"/>
                    <a:pt x="8894" y="244038"/>
                    <a:pt x="4447" y="244038"/>
                  </a:cubicBezTo>
                  <a:cubicBezTo>
                    <a:pt x="-1483" y="242533"/>
                    <a:pt x="2964" y="242533"/>
                    <a:pt x="2964" y="242533"/>
                  </a:cubicBezTo>
                  <a:cubicBezTo>
                    <a:pt x="1482" y="241027"/>
                    <a:pt x="1482" y="241027"/>
                    <a:pt x="1482" y="239521"/>
                  </a:cubicBezTo>
                  <a:cubicBezTo>
                    <a:pt x="1482" y="239521"/>
                    <a:pt x="0" y="236510"/>
                    <a:pt x="0" y="235005"/>
                  </a:cubicBezTo>
                  <a:cubicBezTo>
                    <a:pt x="0" y="235005"/>
                    <a:pt x="0" y="230488"/>
                    <a:pt x="0" y="230488"/>
                  </a:cubicBezTo>
                  <a:cubicBezTo>
                    <a:pt x="0" y="230488"/>
                    <a:pt x="0" y="230488"/>
                    <a:pt x="4447" y="224465"/>
                  </a:cubicBezTo>
                  <a:close/>
                  <a:moveTo>
                    <a:pt x="277183" y="0"/>
                  </a:moveTo>
                  <a:cubicBezTo>
                    <a:pt x="277183" y="0"/>
                    <a:pt x="277183" y="0"/>
                    <a:pt x="283168" y="5977"/>
                  </a:cubicBezTo>
                  <a:cubicBezTo>
                    <a:pt x="283168" y="5977"/>
                    <a:pt x="283168" y="5977"/>
                    <a:pt x="286160" y="10459"/>
                  </a:cubicBezTo>
                  <a:cubicBezTo>
                    <a:pt x="286160" y="10459"/>
                    <a:pt x="286160" y="10459"/>
                    <a:pt x="283168" y="10459"/>
                  </a:cubicBezTo>
                  <a:cubicBezTo>
                    <a:pt x="283168" y="10459"/>
                    <a:pt x="283168" y="10459"/>
                    <a:pt x="283168" y="14942"/>
                  </a:cubicBezTo>
                  <a:cubicBezTo>
                    <a:pt x="283168" y="14942"/>
                    <a:pt x="283168" y="14942"/>
                    <a:pt x="287656" y="17930"/>
                  </a:cubicBezTo>
                  <a:cubicBezTo>
                    <a:pt x="287656" y="17930"/>
                    <a:pt x="287656" y="17930"/>
                    <a:pt x="293640" y="17930"/>
                  </a:cubicBezTo>
                  <a:cubicBezTo>
                    <a:pt x="293640" y="17930"/>
                    <a:pt x="293640" y="17930"/>
                    <a:pt x="293640" y="13447"/>
                  </a:cubicBezTo>
                  <a:cubicBezTo>
                    <a:pt x="293640" y="13447"/>
                    <a:pt x="293640" y="13447"/>
                    <a:pt x="296632" y="10459"/>
                  </a:cubicBezTo>
                  <a:cubicBezTo>
                    <a:pt x="296632" y="10459"/>
                    <a:pt x="296632" y="10459"/>
                    <a:pt x="299624" y="13447"/>
                  </a:cubicBezTo>
                  <a:cubicBezTo>
                    <a:pt x="299624" y="13447"/>
                    <a:pt x="299624" y="13447"/>
                    <a:pt x="304113" y="19424"/>
                  </a:cubicBezTo>
                  <a:cubicBezTo>
                    <a:pt x="304113" y="19424"/>
                    <a:pt x="304113" y="19424"/>
                    <a:pt x="313089" y="17930"/>
                  </a:cubicBezTo>
                  <a:cubicBezTo>
                    <a:pt x="313089" y="17930"/>
                    <a:pt x="313089" y="17930"/>
                    <a:pt x="325058" y="20918"/>
                  </a:cubicBezTo>
                  <a:cubicBezTo>
                    <a:pt x="325058" y="20918"/>
                    <a:pt x="325058" y="20918"/>
                    <a:pt x="325058" y="25401"/>
                  </a:cubicBezTo>
                  <a:cubicBezTo>
                    <a:pt x="325058" y="25401"/>
                    <a:pt x="325058" y="25401"/>
                    <a:pt x="328050" y="31377"/>
                  </a:cubicBezTo>
                  <a:cubicBezTo>
                    <a:pt x="328050" y="31377"/>
                    <a:pt x="328050" y="31377"/>
                    <a:pt x="335530" y="37354"/>
                  </a:cubicBezTo>
                  <a:cubicBezTo>
                    <a:pt x="335530" y="37354"/>
                    <a:pt x="335530" y="37354"/>
                    <a:pt x="351987" y="37354"/>
                  </a:cubicBezTo>
                  <a:cubicBezTo>
                    <a:pt x="351987" y="37354"/>
                    <a:pt x="351987" y="37354"/>
                    <a:pt x="356475" y="37354"/>
                  </a:cubicBezTo>
                  <a:cubicBezTo>
                    <a:pt x="356475" y="37354"/>
                    <a:pt x="356475" y="37354"/>
                    <a:pt x="360963" y="34366"/>
                  </a:cubicBezTo>
                  <a:cubicBezTo>
                    <a:pt x="360963" y="34366"/>
                    <a:pt x="360963" y="34366"/>
                    <a:pt x="366948" y="34366"/>
                  </a:cubicBezTo>
                  <a:cubicBezTo>
                    <a:pt x="366948" y="34366"/>
                    <a:pt x="366948" y="34366"/>
                    <a:pt x="374428" y="38848"/>
                  </a:cubicBezTo>
                  <a:cubicBezTo>
                    <a:pt x="374428" y="38848"/>
                    <a:pt x="374428" y="38848"/>
                    <a:pt x="375924" y="43331"/>
                  </a:cubicBezTo>
                  <a:cubicBezTo>
                    <a:pt x="375924" y="43331"/>
                    <a:pt x="375924" y="43331"/>
                    <a:pt x="375924" y="47813"/>
                  </a:cubicBezTo>
                  <a:cubicBezTo>
                    <a:pt x="375924" y="47813"/>
                    <a:pt x="375924" y="47813"/>
                    <a:pt x="375924" y="48560"/>
                  </a:cubicBezTo>
                  <a:lnTo>
                    <a:pt x="375924" y="50802"/>
                  </a:lnTo>
                  <a:cubicBezTo>
                    <a:pt x="375924" y="50802"/>
                    <a:pt x="375924" y="50802"/>
                    <a:pt x="383404" y="46319"/>
                  </a:cubicBezTo>
                  <a:cubicBezTo>
                    <a:pt x="383404" y="46319"/>
                    <a:pt x="383404" y="46319"/>
                    <a:pt x="392381" y="43331"/>
                  </a:cubicBezTo>
                  <a:cubicBezTo>
                    <a:pt x="392381" y="43331"/>
                    <a:pt x="392381" y="43331"/>
                    <a:pt x="398365" y="43331"/>
                  </a:cubicBezTo>
                  <a:cubicBezTo>
                    <a:pt x="398365" y="43331"/>
                    <a:pt x="398365" y="43331"/>
                    <a:pt x="410334" y="47813"/>
                  </a:cubicBezTo>
                  <a:cubicBezTo>
                    <a:pt x="410334" y="47813"/>
                    <a:pt x="410334" y="47813"/>
                    <a:pt x="420806" y="50802"/>
                  </a:cubicBezTo>
                  <a:cubicBezTo>
                    <a:pt x="420806" y="50802"/>
                    <a:pt x="420806" y="50802"/>
                    <a:pt x="432775" y="47813"/>
                  </a:cubicBezTo>
                  <a:cubicBezTo>
                    <a:pt x="432775" y="47813"/>
                    <a:pt x="432775" y="47813"/>
                    <a:pt x="438759" y="43331"/>
                  </a:cubicBezTo>
                  <a:cubicBezTo>
                    <a:pt x="438759" y="43331"/>
                    <a:pt x="438759" y="43331"/>
                    <a:pt x="444743" y="43331"/>
                  </a:cubicBezTo>
                  <a:cubicBezTo>
                    <a:pt x="444743" y="43331"/>
                    <a:pt x="444743" y="43331"/>
                    <a:pt x="447736" y="43331"/>
                  </a:cubicBezTo>
                  <a:cubicBezTo>
                    <a:pt x="447736" y="43331"/>
                    <a:pt x="447736" y="43331"/>
                    <a:pt x="455216" y="50802"/>
                  </a:cubicBezTo>
                  <a:cubicBezTo>
                    <a:pt x="455216" y="50802"/>
                    <a:pt x="455216" y="50802"/>
                    <a:pt x="462696" y="56778"/>
                  </a:cubicBezTo>
                  <a:cubicBezTo>
                    <a:pt x="462696" y="56778"/>
                    <a:pt x="462696" y="56778"/>
                    <a:pt x="476161" y="58272"/>
                  </a:cubicBezTo>
                  <a:lnTo>
                    <a:pt x="482145" y="110568"/>
                  </a:lnTo>
                  <a:cubicBezTo>
                    <a:pt x="482145" y="110568"/>
                    <a:pt x="482145" y="110568"/>
                    <a:pt x="500098" y="242056"/>
                  </a:cubicBezTo>
                  <a:cubicBezTo>
                    <a:pt x="500098" y="242056"/>
                    <a:pt x="500098" y="242056"/>
                    <a:pt x="521043" y="400438"/>
                  </a:cubicBezTo>
                  <a:cubicBezTo>
                    <a:pt x="521043" y="400438"/>
                    <a:pt x="521043" y="400438"/>
                    <a:pt x="525531" y="409403"/>
                  </a:cubicBezTo>
                  <a:cubicBezTo>
                    <a:pt x="525531" y="409403"/>
                    <a:pt x="525531" y="409403"/>
                    <a:pt x="540492" y="409403"/>
                  </a:cubicBezTo>
                  <a:cubicBezTo>
                    <a:pt x="540492" y="409403"/>
                    <a:pt x="540492" y="409403"/>
                    <a:pt x="543484" y="400438"/>
                  </a:cubicBezTo>
                  <a:cubicBezTo>
                    <a:pt x="543484" y="400438"/>
                    <a:pt x="543484" y="400438"/>
                    <a:pt x="555453" y="400438"/>
                  </a:cubicBezTo>
                  <a:cubicBezTo>
                    <a:pt x="555453" y="400438"/>
                    <a:pt x="555453" y="400438"/>
                    <a:pt x="555453" y="404920"/>
                  </a:cubicBezTo>
                  <a:cubicBezTo>
                    <a:pt x="555453" y="404920"/>
                    <a:pt x="555453" y="404920"/>
                    <a:pt x="559941" y="410897"/>
                  </a:cubicBezTo>
                  <a:cubicBezTo>
                    <a:pt x="559941" y="410897"/>
                    <a:pt x="559941" y="410897"/>
                    <a:pt x="579390" y="424344"/>
                  </a:cubicBezTo>
                  <a:cubicBezTo>
                    <a:pt x="579390" y="424344"/>
                    <a:pt x="579390" y="424344"/>
                    <a:pt x="595847" y="442274"/>
                  </a:cubicBezTo>
                  <a:cubicBezTo>
                    <a:pt x="595847" y="442274"/>
                    <a:pt x="595847" y="442274"/>
                    <a:pt x="604823" y="434803"/>
                  </a:cubicBezTo>
                  <a:cubicBezTo>
                    <a:pt x="604823" y="434803"/>
                    <a:pt x="604823" y="434803"/>
                    <a:pt x="610807" y="419862"/>
                  </a:cubicBezTo>
                  <a:cubicBezTo>
                    <a:pt x="610807" y="419862"/>
                    <a:pt x="610807" y="419862"/>
                    <a:pt x="618288" y="412391"/>
                  </a:cubicBezTo>
                  <a:cubicBezTo>
                    <a:pt x="618288" y="412391"/>
                    <a:pt x="618288" y="412391"/>
                    <a:pt x="625768" y="407908"/>
                  </a:cubicBezTo>
                  <a:cubicBezTo>
                    <a:pt x="625768" y="407908"/>
                    <a:pt x="625768" y="407908"/>
                    <a:pt x="639233" y="413885"/>
                  </a:cubicBezTo>
                  <a:cubicBezTo>
                    <a:pt x="639233" y="413885"/>
                    <a:pt x="639233" y="413885"/>
                    <a:pt x="655690" y="425838"/>
                  </a:cubicBezTo>
                  <a:cubicBezTo>
                    <a:pt x="655690" y="425838"/>
                    <a:pt x="655690" y="425838"/>
                    <a:pt x="672146" y="442274"/>
                  </a:cubicBezTo>
                  <a:cubicBezTo>
                    <a:pt x="672146" y="442274"/>
                    <a:pt x="672146" y="442274"/>
                    <a:pt x="684115" y="455722"/>
                  </a:cubicBezTo>
                  <a:cubicBezTo>
                    <a:pt x="684115" y="455722"/>
                    <a:pt x="684115" y="455722"/>
                    <a:pt x="708052" y="479629"/>
                  </a:cubicBezTo>
                  <a:cubicBezTo>
                    <a:pt x="708052" y="479629"/>
                    <a:pt x="708052" y="479629"/>
                    <a:pt x="723013" y="500547"/>
                  </a:cubicBezTo>
                  <a:cubicBezTo>
                    <a:pt x="723013" y="500547"/>
                    <a:pt x="723013" y="500547"/>
                    <a:pt x="731989" y="502041"/>
                  </a:cubicBezTo>
                  <a:cubicBezTo>
                    <a:pt x="731989" y="502041"/>
                    <a:pt x="731989" y="502041"/>
                    <a:pt x="742462" y="503535"/>
                  </a:cubicBezTo>
                  <a:cubicBezTo>
                    <a:pt x="742462" y="503535"/>
                    <a:pt x="742462" y="503535"/>
                    <a:pt x="760415" y="509512"/>
                  </a:cubicBezTo>
                  <a:cubicBezTo>
                    <a:pt x="760415" y="509512"/>
                    <a:pt x="760415" y="509512"/>
                    <a:pt x="767895" y="513994"/>
                  </a:cubicBezTo>
                  <a:cubicBezTo>
                    <a:pt x="767895" y="513994"/>
                    <a:pt x="767895" y="513994"/>
                    <a:pt x="767895" y="519971"/>
                  </a:cubicBezTo>
                  <a:cubicBezTo>
                    <a:pt x="767895" y="519971"/>
                    <a:pt x="767895" y="519971"/>
                    <a:pt x="770887" y="533419"/>
                  </a:cubicBezTo>
                  <a:cubicBezTo>
                    <a:pt x="770887" y="533419"/>
                    <a:pt x="770887" y="533419"/>
                    <a:pt x="770887" y="539395"/>
                  </a:cubicBezTo>
                  <a:cubicBezTo>
                    <a:pt x="770887" y="539395"/>
                    <a:pt x="770887" y="539395"/>
                    <a:pt x="770887" y="545372"/>
                  </a:cubicBezTo>
                  <a:cubicBezTo>
                    <a:pt x="770887" y="545372"/>
                    <a:pt x="770887" y="545372"/>
                    <a:pt x="770887" y="558820"/>
                  </a:cubicBezTo>
                  <a:cubicBezTo>
                    <a:pt x="770887" y="558820"/>
                    <a:pt x="770887" y="558820"/>
                    <a:pt x="764903" y="563302"/>
                  </a:cubicBezTo>
                  <a:cubicBezTo>
                    <a:pt x="764903" y="563302"/>
                    <a:pt x="764903" y="563302"/>
                    <a:pt x="760415" y="557325"/>
                  </a:cubicBezTo>
                  <a:cubicBezTo>
                    <a:pt x="760415" y="557325"/>
                    <a:pt x="760415" y="557325"/>
                    <a:pt x="755926" y="549855"/>
                  </a:cubicBezTo>
                  <a:cubicBezTo>
                    <a:pt x="755926" y="549855"/>
                    <a:pt x="755926" y="549855"/>
                    <a:pt x="751438" y="552843"/>
                  </a:cubicBezTo>
                  <a:cubicBezTo>
                    <a:pt x="751438" y="552843"/>
                    <a:pt x="751438" y="552843"/>
                    <a:pt x="755926" y="560314"/>
                  </a:cubicBezTo>
                  <a:cubicBezTo>
                    <a:pt x="755926" y="560314"/>
                    <a:pt x="755926" y="560314"/>
                    <a:pt x="752934" y="561808"/>
                  </a:cubicBezTo>
                  <a:cubicBezTo>
                    <a:pt x="752934" y="561808"/>
                    <a:pt x="752934" y="561808"/>
                    <a:pt x="748446" y="558820"/>
                  </a:cubicBezTo>
                  <a:cubicBezTo>
                    <a:pt x="748446" y="558820"/>
                    <a:pt x="748446" y="558820"/>
                    <a:pt x="739470" y="555831"/>
                  </a:cubicBezTo>
                  <a:cubicBezTo>
                    <a:pt x="739470" y="555831"/>
                    <a:pt x="739470" y="555831"/>
                    <a:pt x="739470" y="549855"/>
                  </a:cubicBezTo>
                  <a:cubicBezTo>
                    <a:pt x="739470" y="549855"/>
                    <a:pt x="739470" y="549855"/>
                    <a:pt x="736478" y="542384"/>
                  </a:cubicBezTo>
                  <a:cubicBezTo>
                    <a:pt x="736478" y="542384"/>
                    <a:pt x="736478" y="542384"/>
                    <a:pt x="731989" y="539395"/>
                  </a:cubicBezTo>
                  <a:cubicBezTo>
                    <a:pt x="731989" y="539395"/>
                    <a:pt x="731989" y="539395"/>
                    <a:pt x="728997" y="533419"/>
                  </a:cubicBezTo>
                  <a:cubicBezTo>
                    <a:pt x="728997" y="533419"/>
                    <a:pt x="728997" y="533419"/>
                    <a:pt x="717029" y="524454"/>
                  </a:cubicBezTo>
                  <a:cubicBezTo>
                    <a:pt x="717029" y="524454"/>
                    <a:pt x="717029" y="524454"/>
                    <a:pt x="706556" y="525948"/>
                  </a:cubicBezTo>
                  <a:cubicBezTo>
                    <a:pt x="706556" y="525948"/>
                    <a:pt x="706556" y="525948"/>
                    <a:pt x="709548" y="530430"/>
                  </a:cubicBezTo>
                  <a:cubicBezTo>
                    <a:pt x="709548" y="530430"/>
                    <a:pt x="709548" y="530430"/>
                    <a:pt x="712540" y="533419"/>
                  </a:cubicBezTo>
                  <a:cubicBezTo>
                    <a:pt x="712540" y="533419"/>
                    <a:pt x="712540" y="533419"/>
                    <a:pt x="723013" y="539395"/>
                  </a:cubicBezTo>
                  <a:cubicBezTo>
                    <a:pt x="723013" y="539395"/>
                    <a:pt x="723013" y="539395"/>
                    <a:pt x="728997" y="545372"/>
                  </a:cubicBezTo>
                  <a:cubicBezTo>
                    <a:pt x="728997" y="545372"/>
                    <a:pt x="728997" y="545372"/>
                    <a:pt x="728997" y="549855"/>
                  </a:cubicBezTo>
                  <a:cubicBezTo>
                    <a:pt x="728997" y="549855"/>
                    <a:pt x="728997" y="549855"/>
                    <a:pt x="733485" y="554337"/>
                  </a:cubicBezTo>
                  <a:cubicBezTo>
                    <a:pt x="733485" y="554337"/>
                    <a:pt x="733485" y="554337"/>
                    <a:pt x="736478" y="558820"/>
                  </a:cubicBezTo>
                  <a:cubicBezTo>
                    <a:pt x="736478" y="558820"/>
                    <a:pt x="736478" y="558820"/>
                    <a:pt x="739470" y="569279"/>
                  </a:cubicBezTo>
                  <a:cubicBezTo>
                    <a:pt x="739470" y="569279"/>
                    <a:pt x="739470" y="569279"/>
                    <a:pt x="739470" y="572267"/>
                  </a:cubicBezTo>
                  <a:cubicBezTo>
                    <a:pt x="739470" y="572267"/>
                    <a:pt x="739470" y="572267"/>
                    <a:pt x="734981" y="573761"/>
                  </a:cubicBezTo>
                  <a:cubicBezTo>
                    <a:pt x="734981" y="573761"/>
                    <a:pt x="734981" y="573761"/>
                    <a:pt x="731989" y="566290"/>
                  </a:cubicBezTo>
                  <a:cubicBezTo>
                    <a:pt x="731989" y="566290"/>
                    <a:pt x="731989" y="566290"/>
                    <a:pt x="731989" y="573761"/>
                  </a:cubicBezTo>
                  <a:cubicBezTo>
                    <a:pt x="731989" y="573761"/>
                    <a:pt x="731989" y="573761"/>
                    <a:pt x="728997" y="579738"/>
                  </a:cubicBezTo>
                  <a:cubicBezTo>
                    <a:pt x="728997" y="579738"/>
                    <a:pt x="728997" y="579738"/>
                    <a:pt x="724509" y="578244"/>
                  </a:cubicBezTo>
                  <a:cubicBezTo>
                    <a:pt x="724509" y="578244"/>
                    <a:pt x="724509" y="578244"/>
                    <a:pt x="717029" y="570773"/>
                  </a:cubicBezTo>
                  <a:cubicBezTo>
                    <a:pt x="717029" y="570773"/>
                    <a:pt x="717029" y="570773"/>
                    <a:pt x="709548" y="561808"/>
                  </a:cubicBezTo>
                  <a:cubicBezTo>
                    <a:pt x="709548" y="561808"/>
                    <a:pt x="709548" y="561808"/>
                    <a:pt x="703564" y="564796"/>
                  </a:cubicBezTo>
                  <a:cubicBezTo>
                    <a:pt x="703564" y="564796"/>
                    <a:pt x="703564" y="564796"/>
                    <a:pt x="699076" y="564796"/>
                  </a:cubicBezTo>
                  <a:cubicBezTo>
                    <a:pt x="699076" y="564796"/>
                    <a:pt x="699076" y="564796"/>
                    <a:pt x="702068" y="555831"/>
                  </a:cubicBezTo>
                  <a:cubicBezTo>
                    <a:pt x="702068" y="555831"/>
                    <a:pt x="702068" y="555831"/>
                    <a:pt x="709548" y="554337"/>
                  </a:cubicBezTo>
                  <a:cubicBezTo>
                    <a:pt x="709548" y="554337"/>
                    <a:pt x="709548" y="554337"/>
                    <a:pt x="706556" y="545372"/>
                  </a:cubicBezTo>
                  <a:cubicBezTo>
                    <a:pt x="706556" y="545372"/>
                    <a:pt x="706556" y="545372"/>
                    <a:pt x="697580" y="549855"/>
                  </a:cubicBezTo>
                  <a:cubicBezTo>
                    <a:pt x="697580" y="549855"/>
                    <a:pt x="697580" y="549855"/>
                    <a:pt x="700572" y="540890"/>
                  </a:cubicBezTo>
                  <a:cubicBezTo>
                    <a:pt x="700572" y="540890"/>
                    <a:pt x="700572" y="540890"/>
                    <a:pt x="696084" y="534913"/>
                  </a:cubicBezTo>
                  <a:cubicBezTo>
                    <a:pt x="696084" y="534913"/>
                    <a:pt x="696084" y="534913"/>
                    <a:pt x="694588" y="530430"/>
                  </a:cubicBezTo>
                  <a:cubicBezTo>
                    <a:pt x="694588" y="530430"/>
                    <a:pt x="694588" y="530430"/>
                    <a:pt x="694588" y="525948"/>
                  </a:cubicBezTo>
                  <a:cubicBezTo>
                    <a:pt x="694588" y="525948"/>
                    <a:pt x="694588" y="525948"/>
                    <a:pt x="700572" y="516983"/>
                  </a:cubicBezTo>
                  <a:cubicBezTo>
                    <a:pt x="700572" y="516983"/>
                    <a:pt x="700572" y="516983"/>
                    <a:pt x="693091" y="516983"/>
                  </a:cubicBezTo>
                  <a:cubicBezTo>
                    <a:pt x="693091" y="516983"/>
                    <a:pt x="693091" y="516983"/>
                    <a:pt x="690099" y="519971"/>
                  </a:cubicBezTo>
                  <a:cubicBezTo>
                    <a:pt x="690099" y="519971"/>
                    <a:pt x="690099" y="519971"/>
                    <a:pt x="690099" y="522959"/>
                  </a:cubicBezTo>
                  <a:cubicBezTo>
                    <a:pt x="690099" y="522959"/>
                    <a:pt x="690099" y="522959"/>
                    <a:pt x="690099" y="531925"/>
                  </a:cubicBezTo>
                  <a:cubicBezTo>
                    <a:pt x="690099" y="531925"/>
                    <a:pt x="690099" y="531925"/>
                    <a:pt x="685611" y="534913"/>
                  </a:cubicBezTo>
                  <a:cubicBezTo>
                    <a:pt x="685611" y="534913"/>
                    <a:pt x="685611" y="534913"/>
                    <a:pt x="682619" y="537901"/>
                  </a:cubicBezTo>
                  <a:cubicBezTo>
                    <a:pt x="682619" y="537901"/>
                    <a:pt x="682619" y="534913"/>
                    <a:pt x="682619" y="533419"/>
                  </a:cubicBezTo>
                  <a:cubicBezTo>
                    <a:pt x="682619" y="531925"/>
                    <a:pt x="681123" y="527442"/>
                    <a:pt x="681123" y="527442"/>
                  </a:cubicBezTo>
                  <a:cubicBezTo>
                    <a:pt x="681123" y="527442"/>
                    <a:pt x="679627" y="522959"/>
                    <a:pt x="679627" y="519971"/>
                  </a:cubicBezTo>
                  <a:cubicBezTo>
                    <a:pt x="679627" y="518477"/>
                    <a:pt x="678131" y="515489"/>
                    <a:pt x="678131" y="515489"/>
                  </a:cubicBezTo>
                  <a:cubicBezTo>
                    <a:pt x="678131" y="515489"/>
                    <a:pt x="676635" y="512500"/>
                    <a:pt x="676635" y="511006"/>
                  </a:cubicBezTo>
                  <a:cubicBezTo>
                    <a:pt x="676635" y="508018"/>
                    <a:pt x="676635" y="506524"/>
                    <a:pt x="676635" y="506524"/>
                  </a:cubicBezTo>
                  <a:cubicBezTo>
                    <a:pt x="676635" y="506524"/>
                    <a:pt x="678131" y="503535"/>
                    <a:pt x="681123" y="503535"/>
                  </a:cubicBezTo>
                  <a:cubicBezTo>
                    <a:pt x="682619" y="502041"/>
                    <a:pt x="684115" y="499053"/>
                    <a:pt x="684115" y="499053"/>
                  </a:cubicBezTo>
                  <a:cubicBezTo>
                    <a:pt x="684115" y="499053"/>
                    <a:pt x="684115" y="499053"/>
                    <a:pt x="690099" y="493076"/>
                  </a:cubicBezTo>
                  <a:cubicBezTo>
                    <a:pt x="690099" y="493076"/>
                    <a:pt x="690099" y="493076"/>
                    <a:pt x="684115" y="482617"/>
                  </a:cubicBezTo>
                  <a:cubicBezTo>
                    <a:pt x="684115" y="482617"/>
                    <a:pt x="684115" y="482617"/>
                    <a:pt x="681123" y="484111"/>
                  </a:cubicBezTo>
                  <a:cubicBezTo>
                    <a:pt x="681123" y="484111"/>
                    <a:pt x="681123" y="484111"/>
                    <a:pt x="678131" y="491582"/>
                  </a:cubicBezTo>
                  <a:cubicBezTo>
                    <a:pt x="678131" y="491582"/>
                    <a:pt x="678131" y="491582"/>
                    <a:pt x="672146" y="499053"/>
                  </a:cubicBezTo>
                  <a:cubicBezTo>
                    <a:pt x="672146" y="499053"/>
                    <a:pt x="672146" y="499053"/>
                    <a:pt x="667658" y="502041"/>
                  </a:cubicBezTo>
                  <a:cubicBezTo>
                    <a:pt x="667658" y="502041"/>
                    <a:pt x="667658" y="502041"/>
                    <a:pt x="666162" y="505029"/>
                  </a:cubicBezTo>
                  <a:cubicBezTo>
                    <a:pt x="666162" y="505029"/>
                    <a:pt x="666162" y="505029"/>
                    <a:pt x="669154" y="516983"/>
                  </a:cubicBezTo>
                  <a:cubicBezTo>
                    <a:pt x="669154" y="516983"/>
                    <a:pt x="669154" y="516983"/>
                    <a:pt x="675139" y="533419"/>
                  </a:cubicBezTo>
                  <a:cubicBezTo>
                    <a:pt x="675139" y="533419"/>
                    <a:pt x="675139" y="533419"/>
                    <a:pt x="669154" y="531925"/>
                  </a:cubicBezTo>
                  <a:cubicBezTo>
                    <a:pt x="669154" y="531925"/>
                    <a:pt x="669154" y="531925"/>
                    <a:pt x="660178" y="513994"/>
                  </a:cubicBezTo>
                  <a:cubicBezTo>
                    <a:pt x="660178" y="513994"/>
                    <a:pt x="660178" y="513994"/>
                    <a:pt x="649705" y="499053"/>
                  </a:cubicBezTo>
                  <a:cubicBezTo>
                    <a:pt x="649705" y="499053"/>
                    <a:pt x="649705" y="499053"/>
                    <a:pt x="646713" y="508018"/>
                  </a:cubicBezTo>
                  <a:cubicBezTo>
                    <a:pt x="646713" y="508018"/>
                    <a:pt x="646713" y="508018"/>
                    <a:pt x="643721" y="506524"/>
                  </a:cubicBezTo>
                  <a:cubicBezTo>
                    <a:pt x="643721" y="506524"/>
                    <a:pt x="643721" y="506524"/>
                    <a:pt x="639233" y="496064"/>
                  </a:cubicBezTo>
                  <a:cubicBezTo>
                    <a:pt x="639233" y="496064"/>
                    <a:pt x="639233" y="496064"/>
                    <a:pt x="633249" y="491582"/>
                  </a:cubicBezTo>
                  <a:cubicBezTo>
                    <a:pt x="633249" y="491582"/>
                    <a:pt x="633249" y="491582"/>
                    <a:pt x="618288" y="475146"/>
                  </a:cubicBezTo>
                  <a:cubicBezTo>
                    <a:pt x="618288" y="475146"/>
                    <a:pt x="618288" y="475146"/>
                    <a:pt x="618288" y="464687"/>
                  </a:cubicBezTo>
                  <a:cubicBezTo>
                    <a:pt x="618288" y="464687"/>
                    <a:pt x="618288" y="464687"/>
                    <a:pt x="615296" y="470664"/>
                  </a:cubicBezTo>
                  <a:cubicBezTo>
                    <a:pt x="615296" y="470664"/>
                    <a:pt x="615296" y="470664"/>
                    <a:pt x="607815" y="467675"/>
                  </a:cubicBezTo>
                  <a:cubicBezTo>
                    <a:pt x="607815" y="467675"/>
                    <a:pt x="607815" y="467675"/>
                    <a:pt x="591358" y="452734"/>
                  </a:cubicBezTo>
                  <a:cubicBezTo>
                    <a:pt x="591358" y="452734"/>
                    <a:pt x="591358" y="452734"/>
                    <a:pt x="580886" y="440780"/>
                  </a:cubicBezTo>
                  <a:cubicBezTo>
                    <a:pt x="580886" y="440780"/>
                    <a:pt x="580886" y="440780"/>
                    <a:pt x="574902" y="442274"/>
                  </a:cubicBezTo>
                  <a:cubicBezTo>
                    <a:pt x="574902" y="442274"/>
                    <a:pt x="574902" y="442274"/>
                    <a:pt x="561437" y="439286"/>
                  </a:cubicBezTo>
                  <a:cubicBezTo>
                    <a:pt x="561437" y="439286"/>
                    <a:pt x="561437" y="439286"/>
                    <a:pt x="552461" y="430321"/>
                  </a:cubicBezTo>
                  <a:cubicBezTo>
                    <a:pt x="552461" y="430321"/>
                    <a:pt x="552461" y="430321"/>
                    <a:pt x="552461" y="419862"/>
                  </a:cubicBezTo>
                  <a:cubicBezTo>
                    <a:pt x="552461" y="419862"/>
                    <a:pt x="552461" y="419862"/>
                    <a:pt x="547972" y="422850"/>
                  </a:cubicBezTo>
                  <a:cubicBezTo>
                    <a:pt x="547972" y="422850"/>
                    <a:pt x="547972" y="422850"/>
                    <a:pt x="530020" y="422850"/>
                  </a:cubicBezTo>
                  <a:cubicBezTo>
                    <a:pt x="530020" y="422850"/>
                    <a:pt x="530020" y="422850"/>
                    <a:pt x="521043" y="421356"/>
                  </a:cubicBezTo>
                  <a:cubicBezTo>
                    <a:pt x="521043" y="421356"/>
                    <a:pt x="521043" y="421356"/>
                    <a:pt x="510571" y="418368"/>
                  </a:cubicBezTo>
                  <a:cubicBezTo>
                    <a:pt x="510571" y="418368"/>
                    <a:pt x="510571" y="418368"/>
                    <a:pt x="491122" y="416873"/>
                  </a:cubicBezTo>
                  <a:cubicBezTo>
                    <a:pt x="491122" y="416873"/>
                    <a:pt x="491122" y="416873"/>
                    <a:pt x="471673" y="421356"/>
                  </a:cubicBezTo>
                  <a:cubicBezTo>
                    <a:pt x="471673" y="421356"/>
                    <a:pt x="471673" y="421356"/>
                    <a:pt x="458208" y="424344"/>
                  </a:cubicBezTo>
                  <a:cubicBezTo>
                    <a:pt x="458208" y="424344"/>
                    <a:pt x="458208" y="424344"/>
                    <a:pt x="461200" y="412391"/>
                  </a:cubicBezTo>
                  <a:cubicBezTo>
                    <a:pt x="461200" y="412391"/>
                    <a:pt x="461200" y="412391"/>
                    <a:pt x="456712" y="415379"/>
                  </a:cubicBezTo>
                  <a:cubicBezTo>
                    <a:pt x="456712" y="415379"/>
                    <a:pt x="456712" y="415379"/>
                    <a:pt x="449232" y="410897"/>
                  </a:cubicBezTo>
                  <a:cubicBezTo>
                    <a:pt x="449232" y="410897"/>
                    <a:pt x="449232" y="410897"/>
                    <a:pt x="443247" y="407908"/>
                  </a:cubicBezTo>
                  <a:cubicBezTo>
                    <a:pt x="443247" y="407908"/>
                    <a:pt x="443247" y="407908"/>
                    <a:pt x="437263" y="407908"/>
                  </a:cubicBezTo>
                  <a:cubicBezTo>
                    <a:pt x="437263" y="407908"/>
                    <a:pt x="437263" y="407908"/>
                    <a:pt x="432775" y="407908"/>
                  </a:cubicBezTo>
                  <a:cubicBezTo>
                    <a:pt x="432775" y="407908"/>
                    <a:pt x="432775" y="407908"/>
                    <a:pt x="425294" y="412391"/>
                  </a:cubicBezTo>
                  <a:cubicBezTo>
                    <a:pt x="425294" y="412391"/>
                    <a:pt x="425294" y="412391"/>
                    <a:pt x="419310" y="415379"/>
                  </a:cubicBezTo>
                  <a:cubicBezTo>
                    <a:pt x="419310" y="415379"/>
                    <a:pt x="419310" y="415379"/>
                    <a:pt x="413326" y="422850"/>
                  </a:cubicBezTo>
                  <a:cubicBezTo>
                    <a:pt x="413326" y="422850"/>
                    <a:pt x="413326" y="422850"/>
                    <a:pt x="410334" y="425838"/>
                  </a:cubicBezTo>
                  <a:cubicBezTo>
                    <a:pt x="410334" y="425838"/>
                    <a:pt x="410334" y="425838"/>
                    <a:pt x="402853" y="424344"/>
                  </a:cubicBezTo>
                  <a:cubicBezTo>
                    <a:pt x="402853" y="424344"/>
                    <a:pt x="402853" y="424344"/>
                    <a:pt x="410334" y="418368"/>
                  </a:cubicBezTo>
                  <a:cubicBezTo>
                    <a:pt x="410334" y="418368"/>
                    <a:pt x="410334" y="418368"/>
                    <a:pt x="419310" y="409403"/>
                  </a:cubicBezTo>
                  <a:cubicBezTo>
                    <a:pt x="419310" y="409403"/>
                    <a:pt x="419310" y="409403"/>
                    <a:pt x="425294" y="403426"/>
                  </a:cubicBezTo>
                  <a:cubicBezTo>
                    <a:pt x="425294" y="403426"/>
                    <a:pt x="425294" y="403426"/>
                    <a:pt x="429783" y="397449"/>
                  </a:cubicBezTo>
                  <a:cubicBezTo>
                    <a:pt x="429783" y="397449"/>
                    <a:pt x="429783" y="397449"/>
                    <a:pt x="426791" y="397449"/>
                  </a:cubicBezTo>
                  <a:cubicBezTo>
                    <a:pt x="426791" y="397449"/>
                    <a:pt x="426791" y="397449"/>
                    <a:pt x="420806" y="394461"/>
                  </a:cubicBezTo>
                  <a:cubicBezTo>
                    <a:pt x="420806" y="394461"/>
                    <a:pt x="420806" y="394461"/>
                    <a:pt x="420806" y="384002"/>
                  </a:cubicBezTo>
                  <a:cubicBezTo>
                    <a:pt x="420806" y="384002"/>
                    <a:pt x="420806" y="384002"/>
                    <a:pt x="414822" y="388484"/>
                  </a:cubicBezTo>
                  <a:cubicBezTo>
                    <a:pt x="414822" y="388484"/>
                    <a:pt x="414822" y="388484"/>
                    <a:pt x="413326" y="389978"/>
                  </a:cubicBezTo>
                  <a:cubicBezTo>
                    <a:pt x="413326" y="389978"/>
                    <a:pt x="413326" y="389978"/>
                    <a:pt x="402853" y="389978"/>
                  </a:cubicBezTo>
                  <a:cubicBezTo>
                    <a:pt x="402853" y="389978"/>
                    <a:pt x="402853" y="389978"/>
                    <a:pt x="393877" y="388484"/>
                  </a:cubicBezTo>
                  <a:cubicBezTo>
                    <a:pt x="393877" y="388484"/>
                    <a:pt x="393877" y="388484"/>
                    <a:pt x="389389" y="392967"/>
                  </a:cubicBezTo>
                  <a:cubicBezTo>
                    <a:pt x="389389" y="392967"/>
                    <a:pt x="389389" y="392967"/>
                    <a:pt x="386397" y="401932"/>
                  </a:cubicBezTo>
                  <a:cubicBezTo>
                    <a:pt x="386397" y="401932"/>
                    <a:pt x="386397" y="401932"/>
                    <a:pt x="392381" y="409403"/>
                  </a:cubicBezTo>
                  <a:cubicBezTo>
                    <a:pt x="392381" y="409403"/>
                    <a:pt x="392381" y="409403"/>
                    <a:pt x="389389" y="421356"/>
                  </a:cubicBezTo>
                  <a:cubicBezTo>
                    <a:pt x="389389" y="421356"/>
                    <a:pt x="389389" y="421356"/>
                    <a:pt x="381908" y="428827"/>
                  </a:cubicBezTo>
                  <a:cubicBezTo>
                    <a:pt x="381908" y="428827"/>
                    <a:pt x="381908" y="428827"/>
                    <a:pt x="374428" y="428827"/>
                  </a:cubicBezTo>
                  <a:cubicBezTo>
                    <a:pt x="374428" y="428827"/>
                    <a:pt x="374428" y="428827"/>
                    <a:pt x="365452" y="428827"/>
                  </a:cubicBezTo>
                  <a:cubicBezTo>
                    <a:pt x="365452" y="428827"/>
                    <a:pt x="365452" y="428827"/>
                    <a:pt x="362459" y="439286"/>
                  </a:cubicBezTo>
                  <a:cubicBezTo>
                    <a:pt x="362459" y="439286"/>
                    <a:pt x="362459" y="439286"/>
                    <a:pt x="350491" y="443769"/>
                  </a:cubicBezTo>
                  <a:cubicBezTo>
                    <a:pt x="350491" y="443769"/>
                    <a:pt x="350491" y="443769"/>
                    <a:pt x="348995" y="446757"/>
                  </a:cubicBezTo>
                  <a:cubicBezTo>
                    <a:pt x="348995" y="446757"/>
                    <a:pt x="348995" y="446757"/>
                    <a:pt x="338522" y="454228"/>
                  </a:cubicBezTo>
                  <a:cubicBezTo>
                    <a:pt x="338522" y="454228"/>
                    <a:pt x="338522" y="454228"/>
                    <a:pt x="328050" y="457216"/>
                  </a:cubicBezTo>
                  <a:cubicBezTo>
                    <a:pt x="328050" y="457216"/>
                    <a:pt x="328050" y="457216"/>
                    <a:pt x="322065" y="458710"/>
                  </a:cubicBezTo>
                  <a:cubicBezTo>
                    <a:pt x="322065" y="458710"/>
                    <a:pt x="322065" y="458710"/>
                    <a:pt x="319073" y="454228"/>
                  </a:cubicBezTo>
                  <a:cubicBezTo>
                    <a:pt x="319073" y="454228"/>
                    <a:pt x="319073" y="454228"/>
                    <a:pt x="317577" y="451239"/>
                  </a:cubicBezTo>
                  <a:cubicBezTo>
                    <a:pt x="317577" y="451239"/>
                    <a:pt x="317577" y="451239"/>
                    <a:pt x="325058" y="448251"/>
                  </a:cubicBezTo>
                  <a:cubicBezTo>
                    <a:pt x="325058" y="448251"/>
                    <a:pt x="325058" y="448251"/>
                    <a:pt x="331042" y="440780"/>
                  </a:cubicBezTo>
                  <a:cubicBezTo>
                    <a:pt x="331042" y="440780"/>
                    <a:pt x="331042" y="440780"/>
                    <a:pt x="323561" y="440780"/>
                  </a:cubicBezTo>
                  <a:cubicBezTo>
                    <a:pt x="323561" y="440780"/>
                    <a:pt x="323561" y="440780"/>
                    <a:pt x="320569" y="436298"/>
                  </a:cubicBezTo>
                  <a:cubicBezTo>
                    <a:pt x="320569" y="436298"/>
                    <a:pt x="320569" y="436298"/>
                    <a:pt x="328050" y="425838"/>
                  </a:cubicBezTo>
                  <a:cubicBezTo>
                    <a:pt x="328050" y="425838"/>
                    <a:pt x="328050" y="425838"/>
                    <a:pt x="331042" y="415379"/>
                  </a:cubicBezTo>
                  <a:cubicBezTo>
                    <a:pt x="331042" y="415379"/>
                    <a:pt x="331042" y="415379"/>
                    <a:pt x="335530" y="400438"/>
                  </a:cubicBezTo>
                  <a:cubicBezTo>
                    <a:pt x="335530" y="400438"/>
                    <a:pt x="335530" y="400438"/>
                    <a:pt x="343010" y="391473"/>
                  </a:cubicBezTo>
                  <a:cubicBezTo>
                    <a:pt x="343010" y="391473"/>
                    <a:pt x="343010" y="391473"/>
                    <a:pt x="369940" y="394461"/>
                  </a:cubicBezTo>
                  <a:cubicBezTo>
                    <a:pt x="369940" y="394461"/>
                    <a:pt x="369940" y="394461"/>
                    <a:pt x="365452" y="388484"/>
                  </a:cubicBezTo>
                  <a:cubicBezTo>
                    <a:pt x="365452" y="388484"/>
                    <a:pt x="365452" y="388484"/>
                    <a:pt x="357971" y="386990"/>
                  </a:cubicBezTo>
                  <a:cubicBezTo>
                    <a:pt x="357971" y="386990"/>
                    <a:pt x="357971" y="386990"/>
                    <a:pt x="344507" y="381013"/>
                  </a:cubicBezTo>
                  <a:cubicBezTo>
                    <a:pt x="344507" y="381013"/>
                    <a:pt x="344507" y="381013"/>
                    <a:pt x="334034" y="385496"/>
                  </a:cubicBezTo>
                  <a:cubicBezTo>
                    <a:pt x="334034" y="385496"/>
                    <a:pt x="334034" y="385496"/>
                    <a:pt x="325058" y="392967"/>
                  </a:cubicBezTo>
                  <a:cubicBezTo>
                    <a:pt x="325058" y="392967"/>
                    <a:pt x="325058" y="392967"/>
                    <a:pt x="316081" y="400438"/>
                  </a:cubicBezTo>
                  <a:cubicBezTo>
                    <a:pt x="316081" y="400438"/>
                    <a:pt x="316081" y="400438"/>
                    <a:pt x="311593" y="409403"/>
                  </a:cubicBezTo>
                  <a:cubicBezTo>
                    <a:pt x="311593" y="409403"/>
                    <a:pt x="311593" y="409403"/>
                    <a:pt x="310097" y="416873"/>
                  </a:cubicBezTo>
                  <a:cubicBezTo>
                    <a:pt x="310097" y="416873"/>
                    <a:pt x="310097" y="416873"/>
                    <a:pt x="304113" y="416873"/>
                  </a:cubicBezTo>
                  <a:cubicBezTo>
                    <a:pt x="304113" y="416873"/>
                    <a:pt x="304113" y="416873"/>
                    <a:pt x="304113" y="419862"/>
                  </a:cubicBezTo>
                  <a:cubicBezTo>
                    <a:pt x="304113" y="419862"/>
                    <a:pt x="304113" y="419862"/>
                    <a:pt x="307105" y="425838"/>
                  </a:cubicBezTo>
                  <a:cubicBezTo>
                    <a:pt x="307105" y="425838"/>
                    <a:pt x="307105" y="425838"/>
                    <a:pt x="305609" y="430321"/>
                  </a:cubicBezTo>
                  <a:cubicBezTo>
                    <a:pt x="305609" y="430321"/>
                    <a:pt x="305609" y="430321"/>
                    <a:pt x="301120" y="434803"/>
                  </a:cubicBezTo>
                  <a:cubicBezTo>
                    <a:pt x="301120" y="434803"/>
                    <a:pt x="301120" y="434803"/>
                    <a:pt x="290648" y="440780"/>
                  </a:cubicBezTo>
                  <a:cubicBezTo>
                    <a:pt x="290648" y="440780"/>
                    <a:pt x="290648" y="440780"/>
                    <a:pt x="284664" y="445263"/>
                  </a:cubicBezTo>
                  <a:cubicBezTo>
                    <a:pt x="284664" y="445263"/>
                    <a:pt x="284664" y="445263"/>
                    <a:pt x="277183" y="452734"/>
                  </a:cubicBezTo>
                  <a:cubicBezTo>
                    <a:pt x="277183" y="452734"/>
                    <a:pt x="277183" y="452734"/>
                    <a:pt x="275687" y="460204"/>
                  </a:cubicBezTo>
                  <a:cubicBezTo>
                    <a:pt x="275687" y="460204"/>
                    <a:pt x="275687" y="460204"/>
                    <a:pt x="286160" y="463193"/>
                  </a:cubicBezTo>
                  <a:cubicBezTo>
                    <a:pt x="286160" y="463193"/>
                    <a:pt x="286160" y="463193"/>
                    <a:pt x="287656" y="473652"/>
                  </a:cubicBezTo>
                  <a:cubicBezTo>
                    <a:pt x="287656" y="473652"/>
                    <a:pt x="287656" y="473652"/>
                    <a:pt x="283168" y="479629"/>
                  </a:cubicBezTo>
                  <a:cubicBezTo>
                    <a:pt x="283168" y="479629"/>
                    <a:pt x="283168" y="479629"/>
                    <a:pt x="275687" y="484111"/>
                  </a:cubicBezTo>
                  <a:cubicBezTo>
                    <a:pt x="275687" y="484111"/>
                    <a:pt x="275687" y="484111"/>
                    <a:pt x="266711" y="496064"/>
                  </a:cubicBezTo>
                  <a:cubicBezTo>
                    <a:pt x="266711" y="496064"/>
                    <a:pt x="266711" y="496064"/>
                    <a:pt x="253246" y="505029"/>
                  </a:cubicBezTo>
                  <a:cubicBezTo>
                    <a:pt x="253246" y="505029"/>
                    <a:pt x="253246" y="505029"/>
                    <a:pt x="226317" y="518477"/>
                  </a:cubicBezTo>
                  <a:cubicBezTo>
                    <a:pt x="226317" y="518477"/>
                    <a:pt x="226317" y="518477"/>
                    <a:pt x="224821" y="530430"/>
                  </a:cubicBezTo>
                  <a:cubicBezTo>
                    <a:pt x="224821" y="530430"/>
                    <a:pt x="224821" y="530430"/>
                    <a:pt x="214348" y="534913"/>
                  </a:cubicBezTo>
                  <a:cubicBezTo>
                    <a:pt x="214348" y="534913"/>
                    <a:pt x="214348" y="534913"/>
                    <a:pt x="203876" y="540890"/>
                  </a:cubicBezTo>
                  <a:cubicBezTo>
                    <a:pt x="203876" y="540890"/>
                    <a:pt x="203876" y="540890"/>
                    <a:pt x="190411" y="545372"/>
                  </a:cubicBezTo>
                  <a:cubicBezTo>
                    <a:pt x="190411" y="545372"/>
                    <a:pt x="190411" y="545372"/>
                    <a:pt x="185923" y="548360"/>
                  </a:cubicBezTo>
                  <a:cubicBezTo>
                    <a:pt x="185923" y="548360"/>
                    <a:pt x="185923" y="548360"/>
                    <a:pt x="179939" y="552843"/>
                  </a:cubicBezTo>
                  <a:cubicBezTo>
                    <a:pt x="179939" y="552843"/>
                    <a:pt x="179939" y="552843"/>
                    <a:pt x="175450" y="557325"/>
                  </a:cubicBezTo>
                  <a:cubicBezTo>
                    <a:pt x="175450" y="557325"/>
                    <a:pt x="175450" y="557325"/>
                    <a:pt x="172458" y="566290"/>
                  </a:cubicBezTo>
                  <a:cubicBezTo>
                    <a:pt x="172458" y="566290"/>
                    <a:pt x="172458" y="566290"/>
                    <a:pt x="164978" y="567785"/>
                  </a:cubicBezTo>
                  <a:cubicBezTo>
                    <a:pt x="164978" y="567785"/>
                    <a:pt x="164978" y="567785"/>
                    <a:pt x="154505" y="570773"/>
                  </a:cubicBezTo>
                  <a:cubicBezTo>
                    <a:pt x="154505" y="570773"/>
                    <a:pt x="154505" y="570773"/>
                    <a:pt x="147025" y="570773"/>
                  </a:cubicBezTo>
                  <a:cubicBezTo>
                    <a:pt x="147025" y="570773"/>
                    <a:pt x="147025" y="570773"/>
                    <a:pt x="139545" y="573761"/>
                  </a:cubicBezTo>
                  <a:cubicBezTo>
                    <a:pt x="139545" y="573761"/>
                    <a:pt x="139545" y="573761"/>
                    <a:pt x="129072" y="579738"/>
                  </a:cubicBezTo>
                  <a:cubicBezTo>
                    <a:pt x="129072" y="579738"/>
                    <a:pt x="129072" y="579738"/>
                    <a:pt x="132064" y="587209"/>
                  </a:cubicBezTo>
                  <a:cubicBezTo>
                    <a:pt x="132064" y="587209"/>
                    <a:pt x="132064" y="587209"/>
                    <a:pt x="129072" y="588703"/>
                  </a:cubicBezTo>
                  <a:cubicBezTo>
                    <a:pt x="129072" y="588703"/>
                    <a:pt x="129072" y="588703"/>
                    <a:pt x="121592" y="584220"/>
                  </a:cubicBezTo>
                  <a:cubicBezTo>
                    <a:pt x="121592" y="584220"/>
                    <a:pt x="121592" y="584220"/>
                    <a:pt x="114111" y="581232"/>
                  </a:cubicBezTo>
                  <a:cubicBezTo>
                    <a:pt x="114111" y="581232"/>
                    <a:pt x="114111" y="581232"/>
                    <a:pt x="108127" y="572267"/>
                  </a:cubicBezTo>
                  <a:cubicBezTo>
                    <a:pt x="108127" y="572267"/>
                    <a:pt x="108127" y="572267"/>
                    <a:pt x="106631" y="575255"/>
                  </a:cubicBezTo>
                  <a:cubicBezTo>
                    <a:pt x="106631" y="575255"/>
                    <a:pt x="106631" y="575255"/>
                    <a:pt x="106631" y="587209"/>
                  </a:cubicBezTo>
                  <a:cubicBezTo>
                    <a:pt x="106631" y="587209"/>
                    <a:pt x="106631" y="587209"/>
                    <a:pt x="97655" y="587209"/>
                  </a:cubicBezTo>
                  <a:cubicBezTo>
                    <a:pt x="97655" y="587209"/>
                    <a:pt x="97655" y="587209"/>
                    <a:pt x="97655" y="591691"/>
                  </a:cubicBezTo>
                  <a:cubicBezTo>
                    <a:pt x="97655" y="591691"/>
                    <a:pt x="97655" y="591691"/>
                    <a:pt x="88678" y="591691"/>
                  </a:cubicBezTo>
                  <a:cubicBezTo>
                    <a:pt x="88678" y="591691"/>
                    <a:pt x="88678" y="591691"/>
                    <a:pt x="88678" y="590197"/>
                  </a:cubicBezTo>
                  <a:cubicBezTo>
                    <a:pt x="88678" y="588703"/>
                    <a:pt x="84190" y="588703"/>
                    <a:pt x="84190" y="588703"/>
                  </a:cubicBezTo>
                  <a:cubicBezTo>
                    <a:pt x="84190" y="588703"/>
                    <a:pt x="84190" y="588703"/>
                    <a:pt x="78206" y="588703"/>
                  </a:cubicBezTo>
                  <a:cubicBezTo>
                    <a:pt x="78206" y="588703"/>
                    <a:pt x="78206" y="588703"/>
                    <a:pt x="70725" y="590197"/>
                  </a:cubicBezTo>
                  <a:cubicBezTo>
                    <a:pt x="70725" y="590197"/>
                    <a:pt x="70725" y="590197"/>
                    <a:pt x="61749" y="599162"/>
                  </a:cubicBezTo>
                  <a:cubicBezTo>
                    <a:pt x="61749" y="599162"/>
                    <a:pt x="61749" y="599162"/>
                    <a:pt x="45292" y="599162"/>
                  </a:cubicBezTo>
                  <a:cubicBezTo>
                    <a:pt x="45292" y="599162"/>
                    <a:pt x="45292" y="599162"/>
                    <a:pt x="30331" y="599162"/>
                  </a:cubicBezTo>
                  <a:cubicBezTo>
                    <a:pt x="30331" y="599162"/>
                    <a:pt x="30331" y="599162"/>
                    <a:pt x="30331" y="593185"/>
                  </a:cubicBezTo>
                  <a:cubicBezTo>
                    <a:pt x="30331" y="593185"/>
                    <a:pt x="30331" y="593185"/>
                    <a:pt x="40804" y="581232"/>
                  </a:cubicBezTo>
                  <a:cubicBezTo>
                    <a:pt x="40804" y="581232"/>
                    <a:pt x="40804" y="581232"/>
                    <a:pt x="58757" y="581232"/>
                  </a:cubicBezTo>
                  <a:cubicBezTo>
                    <a:pt x="58757" y="581232"/>
                    <a:pt x="58757" y="581232"/>
                    <a:pt x="66237" y="581232"/>
                  </a:cubicBezTo>
                  <a:cubicBezTo>
                    <a:pt x="66237" y="581232"/>
                    <a:pt x="66237" y="581232"/>
                    <a:pt x="73717" y="576750"/>
                  </a:cubicBezTo>
                  <a:cubicBezTo>
                    <a:pt x="73717" y="576750"/>
                    <a:pt x="73717" y="576750"/>
                    <a:pt x="84190" y="573761"/>
                  </a:cubicBezTo>
                  <a:cubicBezTo>
                    <a:pt x="84190" y="573761"/>
                    <a:pt x="84190" y="573761"/>
                    <a:pt x="88678" y="570773"/>
                  </a:cubicBezTo>
                  <a:cubicBezTo>
                    <a:pt x="88678" y="570773"/>
                    <a:pt x="88678" y="570773"/>
                    <a:pt x="93166" y="563302"/>
                  </a:cubicBezTo>
                  <a:cubicBezTo>
                    <a:pt x="93166" y="563302"/>
                    <a:pt x="93166" y="563302"/>
                    <a:pt x="102143" y="558820"/>
                  </a:cubicBezTo>
                  <a:cubicBezTo>
                    <a:pt x="102143" y="558820"/>
                    <a:pt x="102143" y="558820"/>
                    <a:pt x="115607" y="557325"/>
                  </a:cubicBezTo>
                  <a:cubicBezTo>
                    <a:pt x="115607" y="557325"/>
                    <a:pt x="115607" y="557325"/>
                    <a:pt x="123088" y="557325"/>
                  </a:cubicBezTo>
                  <a:cubicBezTo>
                    <a:pt x="123088" y="557325"/>
                    <a:pt x="123088" y="557325"/>
                    <a:pt x="129072" y="563302"/>
                  </a:cubicBezTo>
                  <a:cubicBezTo>
                    <a:pt x="129072" y="563302"/>
                    <a:pt x="129072" y="563302"/>
                    <a:pt x="135056" y="558820"/>
                  </a:cubicBezTo>
                  <a:cubicBezTo>
                    <a:pt x="135056" y="558820"/>
                    <a:pt x="135056" y="558820"/>
                    <a:pt x="141041" y="549855"/>
                  </a:cubicBezTo>
                  <a:cubicBezTo>
                    <a:pt x="141041" y="549855"/>
                    <a:pt x="141041" y="549855"/>
                    <a:pt x="148521" y="542384"/>
                  </a:cubicBezTo>
                  <a:cubicBezTo>
                    <a:pt x="148521" y="542384"/>
                    <a:pt x="148521" y="542384"/>
                    <a:pt x="156001" y="537901"/>
                  </a:cubicBezTo>
                  <a:cubicBezTo>
                    <a:pt x="156001" y="537901"/>
                    <a:pt x="156001" y="537901"/>
                    <a:pt x="170962" y="534913"/>
                  </a:cubicBezTo>
                  <a:cubicBezTo>
                    <a:pt x="170962" y="534913"/>
                    <a:pt x="170962" y="534913"/>
                    <a:pt x="176946" y="528936"/>
                  </a:cubicBezTo>
                  <a:cubicBezTo>
                    <a:pt x="176946" y="528936"/>
                    <a:pt x="176946" y="528936"/>
                    <a:pt x="184427" y="521465"/>
                  </a:cubicBezTo>
                  <a:cubicBezTo>
                    <a:pt x="184427" y="521465"/>
                    <a:pt x="184427" y="521465"/>
                    <a:pt x="193403" y="513994"/>
                  </a:cubicBezTo>
                  <a:cubicBezTo>
                    <a:pt x="193403" y="513994"/>
                    <a:pt x="193403" y="513994"/>
                    <a:pt x="200884" y="509512"/>
                  </a:cubicBezTo>
                  <a:cubicBezTo>
                    <a:pt x="200884" y="509512"/>
                    <a:pt x="200884" y="509512"/>
                    <a:pt x="203876" y="500547"/>
                  </a:cubicBezTo>
                  <a:cubicBezTo>
                    <a:pt x="203876" y="500547"/>
                    <a:pt x="203876" y="500547"/>
                    <a:pt x="205372" y="487099"/>
                  </a:cubicBezTo>
                  <a:cubicBezTo>
                    <a:pt x="205372" y="487099"/>
                    <a:pt x="205372" y="487099"/>
                    <a:pt x="208364" y="478134"/>
                  </a:cubicBezTo>
                  <a:cubicBezTo>
                    <a:pt x="208364" y="478134"/>
                    <a:pt x="208364" y="478134"/>
                    <a:pt x="209860" y="475146"/>
                  </a:cubicBezTo>
                  <a:cubicBezTo>
                    <a:pt x="209860" y="475146"/>
                    <a:pt x="209860" y="475146"/>
                    <a:pt x="217340" y="464687"/>
                  </a:cubicBezTo>
                  <a:cubicBezTo>
                    <a:pt x="217340" y="464687"/>
                    <a:pt x="217340" y="464687"/>
                    <a:pt x="212852" y="464687"/>
                  </a:cubicBezTo>
                  <a:cubicBezTo>
                    <a:pt x="212852" y="464687"/>
                    <a:pt x="212852" y="464687"/>
                    <a:pt x="205372" y="466181"/>
                  </a:cubicBezTo>
                  <a:cubicBezTo>
                    <a:pt x="205372" y="466181"/>
                    <a:pt x="205372" y="466181"/>
                    <a:pt x="200884" y="466181"/>
                  </a:cubicBezTo>
                  <a:cubicBezTo>
                    <a:pt x="200884" y="466181"/>
                    <a:pt x="200884" y="466181"/>
                    <a:pt x="193403" y="464687"/>
                  </a:cubicBezTo>
                  <a:cubicBezTo>
                    <a:pt x="193403" y="464687"/>
                    <a:pt x="193403" y="464687"/>
                    <a:pt x="190411" y="461699"/>
                  </a:cubicBezTo>
                  <a:cubicBezTo>
                    <a:pt x="190411" y="461699"/>
                    <a:pt x="190411" y="461699"/>
                    <a:pt x="197891" y="454228"/>
                  </a:cubicBezTo>
                  <a:cubicBezTo>
                    <a:pt x="197891" y="454228"/>
                    <a:pt x="197891" y="454228"/>
                    <a:pt x="190411" y="455722"/>
                  </a:cubicBezTo>
                  <a:cubicBezTo>
                    <a:pt x="190411" y="455722"/>
                    <a:pt x="190411" y="455722"/>
                    <a:pt x="185923" y="460204"/>
                  </a:cubicBezTo>
                  <a:cubicBezTo>
                    <a:pt x="185923" y="460204"/>
                    <a:pt x="185923" y="460204"/>
                    <a:pt x="182931" y="470664"/>
                  </a:cubicBezTo>
                  <a:cubicBezTo>
                    <a:pt x="182931" y="470664"/>
                    <a:pt x="182931" y="470664"/>
                    <a:pt x="178442" y="475146"/>
                  </a:cubicBezTo>
                  <a:cubicBezTo>
                    <a:pt x="178442" y="475146"/>
                    <a:pt x="178442" y="475146"/>
                    <a:pt x="176946" y="470664"/>
                  </a:cubicBezTo>
                  <a:cubicBezTo>
                    <a:pt x="176946" y="470664"/>
                    <a:pt x="176946" y="470664"/>
                    <a:pt x="172458" y="464687"/>
                  </a:cubicBezTo>
                  <a:cubicBezTo>
                    <a:pt x="172458" y="464687"/>
                    <a:pt x="172458" y="464687"/>
                    <a:pt x="164978" y="457216"/>
                  </a:cubicBezTo>
                  <a:cubicBezTo>
                    <a:pt x="164978" y="457216"/>
                    <a:pt x="164978" y="457216"/>
                    <a:pt x="153009" y="449745"/>
                  </a:cubicBezTo>
                  <a:cubicBezTo>
                    <a:pt x="153009" y="449745"/>
                    <a:pt x="153009" y="449745"/>
                    <a:pt x="150017" y="449745"/>
                  </a:cubicBezTo>
                  <a:cubicBezTo>
                    <a:pt x="150017" y="449745"/>
                    <a:pt x="150017" y="449745"/>
                    <a:pt x="139545" y="457216"/>
                  </a:cubicBezTo>
                  <a:cubicBezTo>
                    <a:pt x="139545" y="457216"/>
                    <a:pt x="139545" y="457216"/>
                    <a:pt x="133560" y="457216"/>
                  </a:cubicBezTo>
                  <a:cubicBezTo>
                    <a:pt x="133560" y="457216"/>
                    <a:pt x="133560" y="457216"/>
                    <a:pt x="124584" y="457216"/>
                  </a:cubicBezTo>
                  <a:cubicBezTo>
                    <a:pt x="124584" y="457216"/>
                    <a:pt x="124584" y="457216"/>
                    <a:pt x="126080" y="437792"/>
                  </a:cubicBezTo>
                  <a:cubicBezTo>
                    <a:pt x="126080" y="437792"/>
                    <a:pt x="126080" y="437792"/>
                    <a:pt x="127576" y="431815"/>
                  </a:cubicBezTo>
                  <a:cubicBezTo>
                    <a:pt x="127576" y="431815"/>
                    <a:pt x="127576" y="431815"/>
                    <a:pt x="132064" y="425838"/>
                  </a:cubicBezTo>
                  <a:cubicBezTo>
                    <a:pt x="132064" y="425838"/>
                    <a:pt x="132064" y="425838"/>
                    <a:pt x="132064" y="418368"/>
                  </a:cubicBezTo>
                  <a:cubicBezTo>
                    <a:pt x="132064" y="418368"/>
                    <a:pt x="132064" y="418368"/>
                    <a:pt x="130568" y="406414"/>
                  </a:cubicBezTo>
                  <a:cubicBezTo>
                    <a:pt x="130568" y="406414"/>
                    <a:pt x="130568" y="406414"/>
                    <a:pt x="127576" y="394461"/>
                  </a:cubicBezTo>
                  <a:cubicBezTo>
                    <a:pt x="127576" y="394461"/>
                    <a:pt x="127576" y="394461"/>
                    <a:pt x="124584" y="397449"/>
                  </a:cubicBezTo>
                  <a:cubicBezTo>
                    <a:pt x="124584" y="397449"/>
                    <a:pt x="124584" y="397449"/>
                    <a:pt x="118600" y="403426"/>
                  </a:cubicBezTo>
                  <a:cubicBezTo>
                    <a:pt x="118600" y="403426"/>
                    <a:pt x="118600" y="403426"/>
                    <a:pt x="114111" y="406414"/>
                  </a:cubicBezTo>
                  <a:cubicBezTo>
                    <a:pt x="114111" y="406414"/>
                    <a:pt x="114111" y="406414"/>
                    <a:pt x="109623" y="406414"/>
                  </a:cubicBezTo>
                  <a:cubicBezTo>
                    <a:pt x="109623" y="406414"/>
                    <a:pt x="109623" y="406414"/>
                    <a:pt x="105135" y="401932"/>
                  </a:cubicBezTo>
                  <a:cubicBezTo>
                    <a:pt x="105135" y="401932"/>
                    <a:pt x="105135" y="401932"/>
                    <a:pt x="102143" y="401932"/>
                  </a:cubicBezTo>
                  <a:cubicBezTo>
                    <a:pt x="102143" y="401932"/>
                    <a:pt x="102143" y="401932"/>
                    <a:pt x="96158" y="398943"/>
                  </a:cubicBezTo>
                  <a:cubicBezTo>
                    <a:pt x="96158" y="398943"/>
                    <a:pt x="96158" y="398943"/>
                    <a:pt x="91670" y="394461"/>
                  </a:cubicBezTo>
                  <a:cubicBezTo>
                    <a:pt x="91670" y="394461"/>
                    <a:pt x="91670" y="394461"/>
                    <a:pt x="87182" y="391473"/>
                  </a:cubicBezTo>
                  <a:cubicBezTo>
                    <a:pt x="87182" y="391473"/>
                    <a:pt x="87182" y="391473"/>
                    <a:pt x="82694" y="386990"/>
                  </a:cubicBezTo>
                  <a:cubicBezTo>
                    <a:pt x="82694" y="386990"/>
                    <a:pt x="82694" y="386990"/>
                    <a:pt x="81198" y="382508"/>
                  </a:cubicBezTo>
                  <a:cubicBezTo>
                    <a:pt x="81198" y="382508"/>
                    <a:pt x="81198" y="382508"/>
                    <a:pt x="79702" y="372048"/>
                  </a:cubicBezTo>
                  <a:cubicBezTo>
                    <a:pt x="79702" y="372048"/>
                    <a:pt x="79702" y="372048"/>
                    <a:pt x="85686" y="367566"/>
                  </a:cubicBezTo>
                  <a:cubicBezTo>
                    <a:pt x="85686" y="367566"/>
                    <a:pt x="85686" y="367566"/>
                    <a:pt x="91670" y="367566"/>
                  </a:cubicBezTo>
                  <a:cubicBezTo>
                    <a:pt x="91670" y="367566"/>
                    <a:pt x="91670" y="367566"/>
                    <a:pt x="99151" y="367566"/>
                  </a:cubicBezTo>
                  <a:cubicBezTo>
                    <a:pt x="99151" y="367566"/>
                    <a:pt x="99151" y="367566"/>
                    <a:pt x="106631" y="372048"/>
                  </a:cubicBezTo>
                  <a:cubicBezTo>
                    <a:pt x="106631" y="372048"/>
                    <a:pt x="106631" y="372048"/>
                    <a:pt x="109623" y="364578"/>
                  </a:cubicBezTo>
                  <a:cubicBezTo>
                    <a:pt x="109623" y="364578"/>
                    <a:pt x="109623" y="364578"/>
                    <a:pt x="105135" y="360095"/>
                  </a:cubicBezTo>
                  <a:cubicBezTo>
                    <a:pt x="105135" y="360095"/>
                    <a:pt x="105135" y="360095"/>
                    <a:pt x="103639" y="360095"/>
                  </a:cubicBezTo>
                  <a:cubicBezTo>
                    <a:pt x="103639" y="360095"/>
                    <a:pt x="103639" y="360095"/>
                    <a:pt x="96158" y="360095"/>
                  </a:cubicBezTo>
                  <a:cubicBezTo>
                    <a:pt x="96158" y="360095"/>
                    <a:pt x="96158" y="360095"/>
                    <a:pt x="91670" y="360095"/>
                  </a:cubicBezTo>
                  <a:cubicBezTo>
                    <a:pt x="91670" y="360095"/>
                    <a:pt x="91670" y="360095"/>
                    <a:pt x="82694" y="354118"/>
                  </a:cubicBezTo>
                  <a:cubicBezTo>
                    <a:pt x="82694" y="354118"/>
                    <a:pt x="82694" y="354118"/>
                    <a:pt x="79702" y="348142"/>
                  </a:cubicBezTo>
                  <a:cubicBezTo>
                    <a:pt x="79702" y="348142"/>
                    <a:pt x="79702" y="348142"/>
                    <a:pt x="76710" y="340671"/>
                  </a:cubicBezTo>
                  <a:cubicBezTo>
                    <a:pt x="76710" y="340671"/>
                    <a:pt x="76710" y="340671"/>
                    <a:pt x="73717" y="333200"/>
                  </a:cubicBezTo>
                  <a:cubicBezTo>
                    <a:pt x="73717" y="333200"/>
                    <a:pt x="73717" y="333200"/>
                    <a:pt x="73717" y="330212"/>
                  </a:cubicBezTo>
                  <a:cubicBezTo>
                    <a:pt x="73717" y="330212"/>
                    <a:pt x="73717" y="330212"/>
                    <a:pt x="76710" y="327223"/>
                  </a:cubicBezTo>
                  <a:cubicBezTo>
                    <a:pt x="76710" y="327223"/>
                    <a:pt x="76710" y="327223"/>
                    <a:pt x="81198" y="319752"/>
                  </a:cubicBezTo>
                  <a:cubicBezTo>
                    <a:pt x="81198" y="319752"/>
                    <a:pt x="81198" y="319752"/>
                    <a:pt x="88678" y="310787"/>
                  </a:cubicBezTo>
                  <a:cubicBezTo>
                    <a:pt x="88678" y="310787"/>
                    <a:pt x="88678" y="310787"/>
                    <a:pt x="97655" y="304811"/>
                  </a:cubicBezTo>
                  <a:cubicBezTo>
                    <a:pt x="97655" y="304811"/>
                    <a:pt x="97655" y="304811"/>
                    <a:pt x="103639" y="297340"/>
                  </a:cubicBezTo>
                  <a:cubicBezTo>
                    <a:pt x="103639" y="297340"/>
                    <a:pt x="103639" y="297340"/>
                    <a:pt x="105135" y="289869"/>
                  </a:cubicBezTo>
                  <a:cubicBezTo>
                    <a:pt x="105135" y="289869"/>
                    <a:pt x="105135" y="289869"/>
                    <a:pt x="112615" y="282398"/>
                  </a:cubicBezTo>
                  <a:cubicBezTo>
                    <a:pt x="112615" y="282398"/>
                    <a:pt x="112615" y="282398"/>
                    <a:pt x="118600" y="280904"/>
                  </a:cubicBezTo>
                  <a:cubicBezTo>
                    <a:pt x="118600" y="280904"/>
                    <a:pt x="118600" y="280904"/>
                    <a:pt x="123088" y="283892"/>
                  </a:cubicBezTo>
                  <a:cubicBezTo>
                    <a:pt x="123088" y="283892"/>
                    <a:pt x="123088" y="283892"/>
                    <a:pt x="127576" y="289869"/>
                  </a:cubicBezTo>
                  <a:cubicBezTo>
                    <a:pt x="127576" y="289869"/>
                    <a:pt x="127576" y="289869"/>
                    <a:pt x="130568" y="289869"/>
                  </a:cubicBezTo>
                  <a:cubicBezTo>
                    <a:pt x="130568" y="289869"/>
                    <a:pt x="130568" y="289869"/>
                    <a:pt x="136552" y="289869"/>
                  </a:cubicBezTo>
                  <a:cubicBezTo>
                    <a:pt x="136552" y="289869"/>
                    <a:pt x="136552" y="289869"/>
                    <a:pt x="139545" y="289869"/>
                  </a:cubicBezTo>
                  <a:cubicBezTo>
                    <a:pt x="139545" y="289869"/>
                    <a:pt x="139545" y="289869"/>
                    <a:pt x="144033" y="283892"/>
                  </a:cubicBezTo>
                  <a:cubicBezTo>
                    <a:pt x="144033" y="283892"/>
                    <a:pt x="144033" y="283892"/>
                    <a:pt x="148521" y="283892"/>
                  </a:cubicBezTo>
                  <a:cubicBezTo>
                    <a:pt x="148521" y="283892"/>
                    <a:pt x="148521" y="283892"/>
                    <a:pt x="150017" y="280904"/>
                  </a:cubicBezTo>
                  <a:cubicBezTo>
                    <a:pt x="150017" y="280904"/>
                    <a:pt x="150017" y="280904"/>
                    <a:pt x="153009" y="276422"/>
                  </a:cubicBezTo>
                  <a:cubicBezTo>
                    <a:pt x="153009" y="276422"/>
                    <a:pt x="153009" y="276422"/>
                    <a:pt x="154505" y="280904"/>
                  </a:cubicBezTo>
                  <a:cubicBezTo>
                    <a:pt x="154505" y="280904"/>
                    <a:pt x="154505" y="280904"/>
                    <a:pt x="158994" y="280904"/>
                  </a:cubicBezTo>
                  <a:cubicBezTo>
                    <a:pt x="158994" y="280904"/>
                    <a:pt x="158994" y="280904"/>
                    <a:pt x="161986" y="280904"/>
                  </a:cubicBezTo>
                  <a:cubicBezTo>
                    <a:pt x="161986" y="280904"/>
                    <a:pt x="161986" y="280904"/>
                    <a:pt x="167970" y="280904"/>
                  </a:cubicBezTo>
                  <a:cubicBezTo>
                    <a:pt x="167970" y="280904"/>
                    <a:pt x="167970" y="280904"/>
                    <a:pt x="172458" y="276422"/>
                  </a:cubicBezTo>
                  <a:cubicBezTo>
                    <a:pt x="172458" y="276422"/>
                    <a:pt x="172458" y="276422"/>
                    <a:pt x="176946" y="276422"/>
                  </a:cubicBezTo>
                  <a:cubicBezTo>
                    <a:pt x="176946" y="276422"/>
                    <a:pt x="176946" y="276422"/>
                    <a:pt x="178442" y="265962"/>
                  </a:cubicBezTo>
                  <a:cubicBezTo>
                    <a:pt x="178442" y="265962"/>
                    <a:pt x="178442" y="265962"/>
                    <a:pt x="175450" y="258491"/>
                  </a:cubicBezTo>
                  <a:cubicBezTo>
                    <a:pt x="175450" y="258491"/>
                    <a:pt x="175450" y="258491"/>
                    <a:pt x="172458" y="246538"/>
                  </a:cubicBezTo>
                  <a:cubicBezTo>
                    <a:pt x="172458" y="246538"/>
                    <a:pt x="172458" y="246538"/>
                    <a:pt x="178442" y="246538"/>
                  </a:cubicBezTo>
                  <a:cubicBezTo>
                    <a:pt x="178442" y="246538"/>
                    <a:pt x="178442" y="246538"/>
                    <a:pt x="184427" y="240561"/>
                  </a:cubicBezTo>
                  <a:cubicBezTo>
                    <a:pt x="184427" y="240561"/>
                    <a:pt x="184427" y="240561"/>
                    <a:pt x="182931" y="231596"/>
                  </a:cubicBezTo>
                  <a:cubicBezTo>
                    <a:pt x="182931" y="231596"/>
                    <a:pt x="182931" y="231596"/>
                    <a:pt x="173954" y="230102"/>
                  </a:cubicBezTo>
                  <a:cubicBezTo>
                    <a:pt x="173954" y="230102"/>
                    <a:pt x="173954" y="230102"/>
                    <a:pt x="169466" y="230102"/>
                  </a:cubicBezTo>
                  <a:cubicBezTo>
                    <a:pt x="169466" y="230102"/>
                    <a:pt x="169466" y="230102"/>
                    <a:pt x="164978" y="231596"/>
                  </a:cubicBezTo>
                  <a:cubicBezTo>
                    <a:pt x="164978" y="231596"/>
                    <a:pt x="164978" y="231596"/>
                    <a:pt x="160490" y="234585"/>
                  </a:cubicBezTo>
                  <a:cubicBezTo>
                    <a:pt x="160490" y="234585"/>
                    <a:pt x="160490" y="234585"/>
                    <a:pt x="157497" y="240561"/>
                  </a:cubicBezTo>
                  <a:cubicBezTo>
                    <a:pt x="157497" y="240561"/>
                    <a:pt x="157497" y="240561"/>
                    <a:pt x="153009" y="240561"/>
                  </a:cubicBezTo>
                  <a:cubicBezTo>
                    <a:pt x="153009" y="240561"/>
                    <a:pt x="153009" y="240561"/>
                    <a:pt x="148521" y="231596"/>
                  </a:cubicBezTo>
                  <a:cubicBezTo>
                    <a:pt x="148521" y="231596"/>
                    <a:pt x="148521" y="231596"/>
                    <a:pt x="136552" y="231596"/>
                  </a:cubicBezTo>
                  <a:cubicBezTo>
                    <a:pt x="136552" y="231596"/>
                    <a:pt x="136552" y="231596"/>
                    <a:pt x="123088" y="231596"/>
                  </a:cubicBezTo>
                  <a:cubicBezTo>
                    <a:pt x="123088" y="231596"/>
                    <a:pt x="123088" y="231596"/>
                    <a:pt x="112615" y="228608"/>
                  </a:cubicBezTo>
                  <a:cubicBezTo>
                    <a:pt x="112615" y="228608"/>
                    <a:pt x="112615" y="228608"/>
                    <a:pt x="102143" y="224125"/>
                  </a:cubicBezTo>
                  <a:cubicBezTo>
                    <a:pt x="102143" y="224125"/>
                    <a:pt x="102143" y="224125"/>
                    <a:pt x="96158" y="216654"/>
                  </a:cubicBezTo>
                  <a:cubicBezTo>
                    <a:pt x="96158" y="216654"/>
                    <a:pt x="96158" y="216654"/>
                    <a:pt x="94662" y="201713"/>
                  </a:cubicBezTo>
                  <a:cubicBezTo>
                    <a:pt x="94662" y="201713"/>
                    <a:pt x="94662" y="201713"/>
                    <a:pt x="102143" y="198724"/>
                  </a:cubicBezTo>
                  <a:cubicBezTo>
                    <a:pt x="102143" y="198724"/>
                    <a:pt x="102143" y="198724"/>
                    <a:pt x="106631" y="195736"/>
                  </a:cubicBezTo>
                  <a:cubicBezTo>
                    <a:pt x="106631" y="195736"/>
                    <a:pt x="106631" y="195736"/>
                    <a:pt x="96158" y="191254"/>
                  </a:cubicBezTo>
                  <a:cubicBezTo>
                    <a:pt x="96158" y="191254"/>
                    <a:pt x="96158" y="191254"/>
                    <a:pt x="90174" y="186771"/>
                  </a:cubicBezTo>
                  <a:cubicBezTo>
                    <a:pt x="90174" y="186771"/>
                    <a:pt x="90174" y="186771"/>
                    <a:pt x="82694" y="180794"/>
                  </a:cubicBezTo>
                  <a:cubicBezTo>
                    <a:pt x="82694" y="180794"/>
                    <a:pt x="82694" y="180794"/>
                    <a:pt x="81198" y="177806"/>
                  </a:cubicBezTo>
                  <a:cubicBezTo>
                    <a:pt x="81198" y="177806"/>
                    <a:pt x="81198" y="177806"/>
                    <a:pt x="87182" y="173324"/>
                  </a:cubicBezTo>
                  <a:cubicBezTo>
                    <a:pt x="87182" y="173324"/>
                    <a:pt x="87182" y="173324"/>
                    <a:pt x="91670" y="173324"/>
                  </a:cubicBezTo>
                  <a:cubicBezTo>
                    <a:pt x="91670" y="173324"/>
                    <a:pt x="91670" y="173324"/>
                    <a:pt x="100647" y="171829"/>
                  </a:cubicBezTo>
                  <a:cubicBezTo>
                    <a:pt x="100647" y="171829"/>
                    <a:pt x="100647" y="171829"/>
                    <a:pt x="112615" y="164359"/>
                  </a:cubicBezTo>
                  <a:cubicBezTo>
                    <a:pt x="112615" y="164359"/>
                    <a:pt x="112615" y="164359"/>
                    <a:pt x="114111" y="167347"/>
                  </a:cubicBezTo>
                  <a:cubicBezTo>
                    <a:pt x="114111" y="167347"/>
                    <a:pt x="114111" y="167347"/>
                    <a:pt x="121592" y="164359"/>
                  </a:cubicBezTo>
                  <a:cubicBezTo>
                    <a:pt x="121592" y="164359"/>
                    <a:pt x="121592" y="164359"/>
                    <a:pt x="121592" y="162864"/>
                  </a:cubicBezTo>
                  <a:cubicBezTo>
                    <a:pt x="121592" y="162864"/>
                    <a:pt x="121592" y="162864"/>
                    <a:pt x="126080" y="161370"/>
                  </a:cubicBezTo>
                  <a:cubicBezTo>
                    <a:pt x="126080" y="161370"/>
                    <a:pt x="126080" y="161370"/>
                    <a:pt x="135056" y="159876"/>
                  </a:cubicBezTo>
                  <a:cubicBezTo>
                    <a:pt x="135056" y="159876"/>
                    <a:pt x="135056" y="159876"/>
                    <a:pt x="145529" y="159876"/>
                  </a:cubicBezTo>
                  <a:cubicBezTo>
                    <a:pt x="145529" y="159876"/>
                    <a:pt x="145529" y="159876"/>
                    <a:pt x="150017" y="162864"/>
                  </a:cubicBezTo>
                  <a:cubicBezTo>
                    <a:pt x="150017" y="162864"/>
                    <a:pt x="150017" y="162864"/>
                    <a:pt x="147025" y="170335"/>
                  </a:cubicBezTo>
                  <a:cubicBezTo>
                    <a:pt x="147025" y="170335"/>
                    <a:pt x="147025" y="170335"/>
                    <a:pt x="147025" y="173324"/>
                  </a:cubicBezTo>
                  <a:cubicBezTo>
                    <a:pt x="147025" y="173324"/>
                    <a:pt x="147025" y="173324"/>
                    <a:pt x="151513" y="176312"/>
                  </a:cubicBezTo>
                  <a:cubicBezTo>
                    <a:pt x="151513" y="176312"/>
                    <a:pt x="151513" y="176312"/>
                    <a:pt x="156001" y="180794"/>
                  </a:cubicBezTo>
                  <a:cubicBezTo>
                    <a:pt x="156001" y="180794"/>
                    <a:pt x="156001" y="180794"/>
                    <a:pt x="164978" y="180794"/>
                  </a:cubicBezTo>
                  <a:cubicBezTo>
                    <a:pt x="164978" y="180794"/>
                    <a:pt x="164978" y="180794"/>
                    <a:pt x="176946" y="183783"/>
                  </a:cubicBezTo>
                  <a:cubicBezTo>
                    <a:pt x="176946" y="183783"/>
                    <a:pt x="176946" y="183783"/>
                    <a:pt x="185923" y="179300"/>
                  </a:cubicBezTo>
                  <a:cubicBezTo>
                    <a:pt x="185923" y="179300"/>
                    <a:pt x="185923" y="179300"/>
                    <a:pt x="191907" y="173324"/>
                  </a:cubicBezTo>
                  <a:cubicBezTo>
                    <a:pt x="191907" y="173324"/>
                    <a:pt x="191907" y="173324"/>
                    <a:pt x="199387" y="168841"/>
                  </a:cubicBezTo>
                  <a:cubicBezTo>
                    <a:pt x="199387" y="168841"/>
                    <a:pt x="193403" y="165853"/>
                    <a:pt x="191907" y="165853"/>
                  </a:cubicBezTo>
                  <a:cubicBezTo>
                    <a:pt x="188915" y="165853"/>
                    <a:pt x="185923" y="162864"/>
                    <a:pt x="185923" y="162864"/>
                  </a:cubicBezTo>
                  <a:cubicBezTo>
                    <a:pt x="185923" y="162864"/>
                    <a:pt x="185923" y="162864"/>
                    <a:pt x="181435" y="159876"/>
                  </a:cubicBezTo>
                  <a:cubicBezTo>
                    <a:pt x="181435" y="159876"/>
                    <a:pt x="181435" y="159876"/>
                    <a:pt x="181435" y="153899"/>
                  </a:cubicBezTo>
                  <a:cubicBezTo>
                    <a:pt x="181435" y="153899"/>
                    <a:pt x="181435" y="153899"/>
                    <a:pt x="179939" y="146428"/>
                  </a:cubicBezTo>
                  <a:cubicBezTo>
                    <a:pt x="179939" y="146428"/>
                    <a:pt x="179939" y="146428"/>
                    <a:pt x="157497" y="140452"/>
                  </a:cubicBezTo>
                  <a:cubicBezTo>
                    <a:pt x="157497" y="140452"/>
                    <a:pt x="157497" y="140452"/>
                    <a:pt x="157497" y="118039"/>
                  </a:cubicBezTo>
                  <a:cubicBezTo>
                    <a:pt x="157497" y="118039"/>
                    <a:pt x="157497" y="118039"/>
                    <a:pt x="147025" y="107580"/>
                  </a:cubicBezTo>
                  <a:cubicBezTo>
                    <a:pt x="147025" y="107580"/>
                    <a:pt x="147025" y="107580"/>
                    <a:pt x="126080" y="85168"/>
                  </a:cubicBezTo>
                  <a:cubicBezTo>
                    <a:pt x="126080" y="85168"/>
                    <a:pt x="126080" y="85168"/>
                    <a:pt x="129072" y="85168"/>
                  </a:cubicBezTo>
                  <a:cubicBezTo>
                    <a:pt x="129072" y="85168"/>
                    <a:pt x="129072" y="85168"/>
                    <a:pt x="129072" y="80685"/>
                  </a:cubicBezTo>
                  <a:cubicBezTo>
                    <a:pt x="129072" y="80685"/>
                    <a:pt x="129072" y="80685"/>
                    <a:pt x="136552" y="80685"/>
                  </a:cubicBezTo>
                  <a:cubicBezTo>
                    <a:pt x="136552" y="80685"/>
                    <a:pt x="136552" y="80685"/>
                    <a:pt x="136552" y="74708"/>
                  </a:cubicBezTo>
                  <a:cubicBezTo>
                    <a:pt x="136552" y="74708"/>
                    <a:pt x="136552" y="74708"/>
                    <a:pt x="138048" y="67238"/>
                  </a:cubicBezTo>
                  <a:cubicBezTo>
                    <a:pt x="138048" y="67238"/>
                    <a:pt x="138048" y="67238"/>
                    <a:pt x="142537" y="67238"/>
                  </a:cubicBezTo>
                  <a:cubicBezTo>
                    <a:pt x="142537" y="67238"/>
                    <a:pt x="142537" y="67238"/>
                    <a:pt x="147025" y="70226"/>
                  </a:cubicBezTo>
                  <a:cubicBezTo>
                    <a:pt x="147025" y="70226"/>
                    <a:pt x="147025" y="70226"/>
                    <a:pt x="154505" y="70226"/>
                  </a:cubicBezTo>
                  <a:cubicBezTo>
                    <a:pt x="154505" y="70226"/>
                    <a:pt x="154505" y="70226"/>
                    <a:pt x="157497" y="70226"/>
                  </a:cubicBezTo>
                  <a:cubicBezTo>
                    <a:pt x="157497" y="70226"/>
                    <a:pt x="157497" y="70226"/>
                    <a:pt x="164978" y="70226"/>
                  </a:cubicBezTo>
                  <a:cubicBezTo>
                    <a:pt x="164978" y="70226"/>
                    <a:pt x="164978" y="70226"/>
                    <a:pt x="178442" y="65743"/>
                  </a:cubicBezTo>
                  <a:cubicBezTo>
                    <a:pt x="178442" y="65743"/>
                    <a:pt x="178442" y="65743"/>
                    <a:pt x="182931" y="61261"/>
                  </a:cubicBezTo>
                  <a:cubicBezTo>
                    <a:pt x="182931" y="61261"/>
                    <a:pt x="182931" y="61261"/>
                    <a:pt x="187419" y="53790"/>
                  </a:cubicBezTo>
                  <a:cubicBezTo>
                    <a:pt x="187419" y="53790"/>
                    <a:pt x="187419" y="53790"/>
                    <a:pt x="187419" y="41837"/>
                  </a:cubicBezTo>
                  <a:cubicBezTo>
                    <a:pt x="187419" y="41837"/>
                    <a:pt x="187419" y="41837"/>
                    <a:pt x="191907" y="41837"/>
                  </a:cubicBezTo>
                  <a:cubicBezTo>
                    <a:pt x="191907" y="41837"/>
                    <a:pt x="191907" y="41837"/>
                    <a:pt x="196395" y="37354"/>
                  </a:cubicBezTo>
                  <a:cubicBezTo>
                    <a:pt x="196395" y="37354"/>
                    <a:pt x="196395" y="37354"/>
                    <a:pt x="205372" y="29883"/>
                  </a:cubicBezTo>
                  <a:cubicBezTo>
                    <a:pt x="205372" y="29883"/>
                    <a:pt x="205372" y="29883"/>
                    <a:pt x="221829" y="26895"/>
                  </a:cubicBezTo>
                  <a:cubicBezTo>
                    <a:pt x="221829" y="26895"/>
                    <a:pt x="221829" y="26895"/>
                    <a:pt x="227813" y="19424"/>
                  </a:cubicBezTo>
                  <a:cubicBezTo>
                    <a:pt x="227813" y="19424"/>
                    <a:pt x="227813" y="19424"/>
                    <a:pt x="233797" y="16436"/>
                  </a:cubicBezTo>
                  <a:cubicBezTo>
                    <a:pt x="233797" y="16436"/>
                    <a:pt x="233797" y="16436"/>
                    <a:pt x="238285" y="11953"/>
                  </a:cubicBezTo>
                  <a:cubicBezTo>
                    <a:pt x="238285" y="11953"/>
                    <a:pt x="238285" y="11953"/>
                    <a:pt x="262223" y="13447"/>
                  </a:cubicBezTo>
                  <a:cubicBezTo>
                    <a:pt x="262223" y="13447"/>
                    <a:pt x="262223" y="13447"/>
                    <a:pt x="265215" y="5977"/>
                  </a:cubicBezTo>
                  <a:cubicBezTo>
                    <a:pt x="265215" y="5977"/>
                    <a:pt x="265215" y="5977"/>
                    <a:pt x="277183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auto">
            <a:xfrm>
              <a:off x="5957637" y="3282926"/>
              <a:ext cx="448593" cy="285010"/>
            </a:xfrm>
            <a:custGeom>
              <a:avLst/>
              <a:gdLst>
                <a:gd name="connsiteX0" fmla="*/ 373837 w 470138"/>
                <a:gd name="connsiteY0" fmla="*/ 178512 h 298698"/>
                <a:gd name="connsiteX1" fmla="*/ 376847 w 470138"/>
                <a:gd name="connsiteY1" fmla="*/ 178512 h 298698"/>
                <a:gd name="connsiteX2" fmla="*/ 382865 w 470138"/>
                <a:gd name="connsiteY2" fmla="*/ 178512 h 298698"/>
                <a:gd name="connsiteX3" fmla="*/ 391894 w 470138"/>
                <a:gd name="connsiteY3" fmla="*/ 184447 h 298698"/>
                <a:gd name="connsiteX4" fmla="*/ 399417 w 470138"/>
                <a:gd name="connsiteY4" fmla="*/ 191866 h 298698"/>
                <a:gd name="connsiteX5" fmla="*/ 405436 w 470138"/>
                <a:gd name="connsiteY5" fmla="*/ 193350 h 298698"/>
                <a:gd name="connsiteX6" fmla="*/ 409950 w 470138"/>
                <a:gd name="connsiteY6" fmla="*/ 193350 h 298698"/>
                <a:gd name="connsiteX7" fmla="*/ 417474 w 470138"/>
                <a:gd name="connsiteY7" fmla="*/ 193350 h 298698"/>
                <a:gd name="connsiteX8" fmla="*/ 432521 w 470138"/>
                <a:gd name="connsiteY8" fmla="*/ 199285 h 298698"/>
                <a:gd name="connsiteX9" fmla="*/ 441549 w 470138"/>
                <a:gd name="connsiteY9" fmla="*/ 206704 h 298698"/>
                <a:gd name="connsiteX10" fmla="*/ 441549 w 470138"/>
                <a:gd name="connsiteY10" fmla="*/ 212639 h 298698"/>
                <a:gd name="connsiteX11" fmla="*/ 444558 w 470138"/>
                <a:gd name="connsiteY11" fmla="*/ 225993 h 298698"/>
                <a:gd name="connsiteX12" fmla="*/ 449072 w 470138"/>
                <a:gd name="connsiteY12" fmla="*/ 225993 h 298698"/>
                <a:gd name="connsiteX13" fmla="*/ 452082 w 470138"/>
                <a:gd name="connsiteY13" fmla="*/ 225993 h 298698"/>
                <a:gd name="connsiteX14" fmla="*/ 452082 w 470138"/>
                <a:gd name="connsiteY14" fmla="*/ 234896 h 298698"/>
                <a:gd name="connsiteX15" fmla="*/ 456596 w 470138"/>
                <a:gd name="connsiteY15" fmla="*/ 234896 h 298698"/>
                <a:gd name="connsiteX16" fmla="*/ 462615 w 470138"/>
                <a:gd name="connsiteY16" fmla="*/ 240831 h 298698"/>
                <a:gd name="connsiteX17" fmla="*/ 470138 w 470138"/>
                <a:gd name="connsiteY17" fmla="*/ 240831 h 298698"/>
                <a:gd name="connsiteX18" fmla="*/ 462615 w 470138"/>
                <a:gd name="connsiteY18" fmla="*/ 251217 h 298698"/>
                <a:gd name="connsiteX19" fmla="*/ 456596 w 470138"/>
                <a:gd name="connsiteY19" fmla="*/ 254185 h 298698"/>
                <a:gd name="connsiteX20" fmla="*/ 449072 w 470138"/>
                <a:gd name="connsiteY20" fmla="*/ 267539 h 298698"/>
                <a:gd name="connsiteX21" fmla="*/ 440044 w 470138"/>
                <a:gd name="connsiteY21" fmla="*/ 270506 h 298698"/>
                <a:gd name="connsiteX22" fmla="*/ 421988 w 470138"/>
                <a:gd name="connsiteY22" fmla="*/ 270506 h 298698"/>
                <a:gd name="connsiteX23" fmla="*/ 418978 w 470138"/>
                <a:gd name="connsiteY23" fmla="*/ 274958 h 298698"/>
                <a:gd name="connsiteX24" fmla="*/ 406941 w 470138"/>
                <a:gd name="connsiteY24" fmla="*/ 274958 h 298698"/>
                <a:gd name="connsiteX25" fmla="*/ 403931 w 470138"/>
                <a:gd name="connsiteY25" fmla="*/ 285344 h 298698"/>
                <a:gd name="connsiteX26" fmla="*/ 402427 w 470138"/>
                <a:gd name="connsiteY26" fmla="*/ 292763 h 298698"/>
                <a:gd name="connsiteX27" fmla="*/ 399417 w 470138"/>
                <a:gd name="connsiteY27" fmla="*/ 295731 h 298698"/>
                <a:gd name="connsiteX28" fmla="*/ 396408 w 470138"/>
                <a:gd name="connsiteY28" fmla="*/ 298698 h 298698"/>
                <a:gd name="connsiteX29" fmla="*/ 391894 w 470138"/>
                <a:gd name="connsiteY29" fmla="*/ 298698 h 298698"/>
                <a:gd name="connsiteX30" fmla="*/ 387380 w 470138"/>
                <a:gd name="connsiteY30" fmla="*/ 291279 h 298698"/>
                <a:gd name="connsiteX31" fmla="*/ 376847 w 470138"/>
                <a:gd name="connsiteY31" fmla="*/ 286828 h 298698"/>
                <a:gd name="connsiteX32" fmla="*/ 370828 w 470138"/>
                <a:gd name="connsiteY32" fmla="*/ 280893 h 298698"/>
                <a:gd name="connsiteX33" fmla="*/ 370828 w 470138"/>
                <a:gd name="connsiteY33" fmla="*/ 277925 h 298698"/>
                <a:gd name="connsiteX34" fmla="*/ 370828 w 470138"/>
                <a:gd name="connsiteY34" fmla="*/ 273474 h 298698"/>
                <a:gd name="connsiteX35" fmla="*/ 370828 w 470138"/>
                <a:gd name="connsiteY35" fmla="*/ 267539 h 298698"/>
                <a:gd name="connsiteX36" fmla="*/ 370828 w 470138"/>
                <a:gd name="connsiteY36" fmla="*/ 264571 h 298698"/>
                <a:gd name="connsiteX37" fmla="*/ 370828 w 470138"/>
                <a:gd name="connsiteY37" fmla="*/ 252701 h 298698"/>
                <a:gd name="connsiteX38" fmla="*/ 370828 w 470138"/>
                <a:gd name="connsiteY38" fmla="*/ 249733 h 298698"/>
                <a:gd name="connsiteX39" fmla="*/ 370828 w 470138"/>
                <a:gd name="connsiteY39" fmla="*/ 242315 h 298698"/>
                <a:gd name="connsiteX40" fmla="*/ 363304 w 470138"/>
                <a:gd name="connsiteY40" fmla="*/ 231928 h 298698"/>
                <a:gd name="connsiteX41" fmla="*/ 358790 w 470138"/>
                <a:gd name="connsiteY41" fmla="*/ 227477 h 298698"/>
                <a:gd name="connsiteX42" fmla="*/ 358790 w 470138"/>
                <a:gd name="connsiteY42" fmla="*/ 223025 h 298698"/>
                <a:gd name="connsiteX43" fmla="*/ 358790 w 470138"/>
                <a:gd name="connsiteY43" fmla="*/ 220058 h 298698"/>
                <a:gd name="connsiteX44" fmla="*/ 363304 w 470138"/>
                <a:gd name="connsiteY44" fmla="*/ 214123 h 298698"/>
                <a:gd name="connsiteX45" fmla="*/ 370828 w 470138"/>
                <a:gd name="connsiteY45" fmla="*/ 212639 h 298698"/>
                <a:gd name="connsiteX46" fmla="*/ 376847 w 470138"/>
                <a:gd name="connsiteY46" fmla="*/ 206704 h 298698"/>
                <a:gd name="connsiteX47" fmla="*/ 376847 w 470138"/>
                <a:gd name="connsiteY47" fmla="*/ 199285 h 298698"/>
                <a:gd name="connsiteX48" fmla="*/ 373837 w 470138"/>
                <a:gd name="connsiteY48" fmla="*/ 185931 h 298698"/>
                <a:gd name="connsiteX49" fmla="*/ 373837 w 470138"/>
                <a:gd name="connsiteY49" fmla="*/ 182963 h 298698"/>
                <a:gd name="connsiteX50" fmla="*/ 373837 w 470138"/>
                <a:gd name="connsiteY50" fmla="*/ 178512 h 298698"/>
                <a:gd name="connsiteX51" fmla="*/ 275720 w 470138"/>
                <a:gd name="connsiteY51" fmla="*/ 116651 h 298698"/>
                <a:gd name="connsiteX52" fmla="*/ 281022 w 470138"/>
                <a:gd name="connsiteY52" fmla="*/ 116651 h 298698"/>
                <a:gd name="connsiteX53" fmla="*/ 284556 w 470138"/>
                <a:gd name="connsiteY53" fmla="*/ 116651 h 298698"/>
                <a:gd name="connsiteX54" fmla="*/ 288091 w 470138"/>
                <a:gd name="connsiteY54" fmla="*/ 120186 h 298698"/>
                <a:gd name="connsiteX55" fmla="*/ 291626 w 470138"/>
                <a:gd name="connsiteY55" fmla="*/ 125488 h 298698"/>
                <a:gd name="connsiteX56" fmla="*/ 291626 w 470138"/>
                <a:gd name="connsiteY56" fmla="*/ 130790 h 298698"/>
                <a:gd name="connsiteX57" fmla="*/ 284556 w 470138"/>
                <a:gd name="connsiteY57" fmla="*/ 134325 h 298698"/>
                <a:gd name="connsiteX58" fmla="*/ 281022 w 470138"/>
                <a:gd name="connsiteY58" fmla="*/ 130790 h 298698"/>
                <a:gd name="connsiteX59" fmla="*/ 281022 w 470138"/>
                <a:gd name="connsiteY59" fmla="*/ 125488 h 298698"/>
                <a:gd name="connsiteX60" fmla="*/ 275720 w 470138"/>
                <a:gd name="connsiteY60" fmla="*/ 121953 h 298698"/>
                <a:gd name="connsiteX61" fmla="*/ 275720 w 470138"/>
                <a:gd name="connsiteY61" fmla="*/ 120186 h 298698"/>
                <a:gd name="connsiteX62" fmla="*/ 309302 w 470138"/>
                <a:gd name="connsiteY62" fmla="*/ 107814 h 298698"/>
                <a:gd name="connsiteX63" fmla="*/ 314604 w 470138"/>
                <a:gd name="connsiteY63" fmla="*/ 107814 h 298698"/>
                <a:gd name="connsiteX64" fmla="*/ 319906 w 470138"/>
                <a:gd name="connsiteY64" fmla="*/ 113116 h 298698"/>
                <a:gd name="connsiteX65" fmla="*/ 323441 w 470138"/>
                <a:gd name="connsiteY65" fmla="*/ 116651 h 298698"/>
                <a:gd name="connsiteX66" fmla="*/ 330511 w 470138"/>
                <a:gd name="connsiteY66" fmla="*/ 120186 h 298698"/>
                <a:gd name="connsiteX67" fmla="*/ 330511 w 470138"/>
                <a:gd name="connsiteY67" fmla="*/ 116651 h 298698"/>
                <a:gd name="connsiteX68" fmla="*/ 339348 w 470138"/>
                <a:gd name="connsiteY68" fmla="*/ 116651 h 298698"/>
                <a:gd name="connsiteX69" fmla="*/ 344650 w 470138"/>
                <a:gd name="connsiteY69" fmla="*/ 116651 h 298698"/>
                <a:gd name="connsiteX70" fmla="*/ 351720 w 470138"/>
                <a:gd name="connsiteY70" fmla="*/ 121954 h 298698"/>
                <a:gd name="connsiteX71" fmla="*/ 364092 w 470138"/>
                <a:gd name="connsiteY71" fmla="*/ 130791 h 298698"/>
                <a:gd name="connsiteX72" fmla="*/ 364092 w 470138"/>
                <a:gd name="connsiteY72" fmla="*/ 139628 h 298698"/>
                <a:gd name="connsiteX73" fmla="*/ 358789 w 470138"/>
                <a:gd name="connsiteY73" fmla="*/ 144930 h 298698"/>
                <a:gd name="connsiteX74" fmla="*/ 353487 w 470138"/>
                <a:gd name="connsiteY74" fmla="*/ 144930 h 298698"/>
                <a:gd name="connsiteX75" fmla="*/ 348185 w 470138"/>
                <a:gd name="connsiteY75" fmla="*/ 144930 h 298698"/>
                <a:gd name="connsiteX76" fmla="*/ 348185 w 470138"/>
                <a:gd name="connsiteY76" fmla="*/ 146698 h 298698"/>
                <a:gd name="connsiteX77" fmla="*/ 335813 w 470138"/>
                <a:gd name="connsiteY77" fmla="*/ 146698 h 298698"/>
                <a:gd name="connsiteX78" fmla="*/ 330511 w 470138"/>
                <a:gd name="connsiteY78" fmla="*/ 146698 h 298698"/>
                <a:gd name="connsiteX79" fmla="*/ 328743 w 470138"/>
                <a:gd name="connsiteY79" fmla="*/ 146698 h 298698"/>
                <a:gd name="connsiteX80" fmla="*/ 325209 w 470138"/>
                <a:gd name="connsiteY80" fmla="*/ 141396 h 298698"/>
                <a:gd name="connsiteX81" fmla="*/ 323441 w 470138"/>
                <a:gd name="connsiteY81" fmla="*/ 134326 h 298698"/>
                <a:gd name="connsiteX82" fmla="*/ 325209 w 470138"/>
                <a:gd name="connsiteY82" fmla="*/ 127256 h 298698"/>
                <a:gd name="connsiteX83" fmla="*/ 316371 w 470138"/>
                <a:gd name="connsiteY83" fmla="*/ 127256 h 298698"/>
                <a:gd name="connsiteX84" fmla="*/ 309302 w 470138"/>
                <a:gd name="connsiteY84" fmla="*/ 125488 h 298698"/>
                <a:gd name="connsiteX85" fmla="*/ 309302 w 470138"/>
                <a:gd name="connsiteY85" fmla="*/ 120186 h 298698"/>
                <a:gd name="connsiteX86" fmla="*/ 309302 w 470138"/>
                <a:gd name="connsiteY86" fmla="*/ 116651 h 298698"/>
                <a:gd name="connsiteX87" fmla="*/ 309302 w 470138"/>
                <a:gd name="connsiteY87" fmla="*/ 111349 h 298698"/>
                <a:gd name="connsiteX88" fmla="*/ 258045 w 470138"/>
                <a:gd name="connsiteY88" fmla="*/ 93675 h 298698"/>
                <a:gd name="connsiteX89" fmla="*/ 261580 w 470138"/>
                <a:gd name="connsiteY89" fmla="*/ 93675 h 298698"/>
                <a:gd name="connsiteX90" fmla="*/ 272184 w 470138"/>
                <a:gd name="connsiteY90" fmla="*/ 93675 h 298698"/>
                <a:gd name="connsiteX91" fmla="*/ 281021 w 470138"/>
                <a:gd name="connsiteY91" fmla="*/ 93675 h 298698"/>
                <a:gd name="connsiteX92" fmla="*/ 282788 w 470138"/>
                <a:gd name="connsiteY92" fmla="*/ 100745 h 298698"/>
                <a:gd name="connsiteX93" fmla="*/ 302230 w 470138"/>
                <a:gd name="connsiteY93" fmla="*/ 100745 h 298698"/>
                <a:gd name="connsiteX94" fmla="*/ 293393 w 470138"/>
                <a:gd name="connsiteY94" fmla="*/ 106047 h 298698"/>
                <a:gd name="connsiteX95" fmla="*/ 291625 w 470138"/>
                <a:gd name="connsiteY95" fmla="*/ 107815 h 298698"/>
                <a:gd name="connsiteX96" fmla="*/ 291625 w 470138"/>
                <a:gd name="connsiteY96" fmla="*/ 104280 h 298698"/>
                <a:gd name="connsiteX97" fmla="*/ 286323 w 470138"/>
                <a:gd name="connsiteY97" fmla="*/ 104280 h 298698"/>
                <a:gd name="connsiteX98" fmla="*/ 282788 w 470138"/>
                <a:gd name="connsiteY98" fmla="*/ 104280 h 298698"/>
                <a:gd name="connsiteX99" fmla="*/ 277486 w 470138"/>
                <a:gd name="connsiteY99" fmla="*/ 104280 h 298698"/>
                <a:gd name="connsiteX100" fmla="*/ 273951 w 470138"/>
                <a:gd name="connsiteY100" fmla="*/ 104280 h 298698"/>
                <a:gd name="connsiteX101" fmla="*/ 270417 w 470138"/>
                <a:gd name="connsiteY101" fmla="*/ 104280 h 298698"/>
                <a:gd name="connsiteX102" fmla="*/ 265114 w 470138"/>
                <a:gd name="connsiteY102" fmla="*/ 104280 h 298698"/>
                <a:gd name="connsiteX103" fmla="*/ 258045 w 470138"/>
                <a:gd name="connsiteY103" fmla="*/ 102512 h 298698"/>
                <a:gd name="connsiteX104" fmla="*/ 258045 w 470138"/>
                <a:gd name="connsiteY104" fmla="*/ 100745 h 298698"/>
                <a:gd name="connsiteX105" fmla="*/ 258045 w 470138"/>
                <a:gd name="connsiteY105" fmla="*/ 97210 h 298698"/>
                <a:gd name="connsiteX106" fmla="*/ 187348 w 470138"/>
                <a:gd name="connsiteY106" fmla="*/ 51256 h 298698"/>
                <a:gd name="connsiteX107" fmla="*/ 194417 w 470138"/>
                <a:gd name="connsiteY107" fmla="*/ 51256 h 298698"/>
                <a:gd name="connsiteX108" fmla="*/ 197952 w 470138"/>
                <a:gd name="connsiteY108" fmla="*/ 51256 h 298698"/>
                <a:gd name="connsiteX109" fmla="*/ 201487 w 470138"/>
                <a:gd name="connsiteY109" fmla="*/ 53023 h 298698"/>
                <a:gd name="connsiteX110" fmla="*/ 203254 w 470138"/>
                <a:gd name="connsiteY110" fmla="*/ 56558 h 298698"/>
                <a:gd name="connsiteX111" fmla="*/ 208557 w 470138"/>
                <a:gd name="connsiteY111" fmla="*/ 65395 h 298698"/>
                <a:gd name="connsiteX112" fmla="*/ 213859 w 470138"/>
                <a:gd name="connsiteY112" fmla="*/ 65395 h 298698"/>
                <a:gd name="connsiteX113" fmla="*/ 217394 w 470138"/>
                <a:gd name="connsiteY113" fmla="*/ 74233 h 298698"/>
                <a:gd name="connsiteX114" fmla="*/ 217394 w 470138"/>
                <a:gd name="connsiteY114" fmla="*/ 81303 h 298698"/>
                <a:gd name="connsiteX115" fmla="*/ 217394 w 470138"/>
                <a:gd name="connsiteY115" fmla="*/ 86605 h 298698"/>
                <a:gd name="connsiteX116" fmla="*/ 212092 w 470138"/>
                <a:gd name="connsiteY116" fmla="*/ 86605 h 298698"/>
                <a:gd name="connsiteX117" fmla="*/ 206789 w 470138"/>
                <a:gd name="connsiteY117" fmla="*/ 81303 h 298698"/>
                <a:gd name="connsiteX118" fmla="*/ 203254 w 470138"/>
                <a:gd name="connsiteY118" fmla="*/ 77768 h 298698"/>
                <a:gd name="connsiteX119" fmla="*/ 194417 w 470138"/>
                <a:gd name="connsiteY119" fmla="*/ 81303 h 298698"/>
                <a:gd name="connsiteX120" fmla="*/ 187348 w 470138"/>
                <a:gd name="connsiteY120" fmla="*/ 83070 h 298698"/>
                <a:gd name="connsiteX121" fmla="*/ 182046 w 470138"/>
                <a:gd name="connsiteY121" fmla="*/ 79535 h 298698"/>
                <a:gd name="connsiteX122" fmla="*/ 178511 w 470138"/>
                <a:gd name="connsiteY122" fmla="*/ 74233 h 298698"/>
                <a:gd name="connsiteX123" fmla="*/ 169674 w 470138"/>
                <a:gd name="connsiteY123" fmla="*/ 68930 h 298698"/>
                <a:gd name="connsiteX124" fmla="*/ 169674 w 470138"/>
                <a:gd name="connsiteY124" fmla="*/ 63628 h 298698"/>
                <a:gd name="connsiteX125" fmla="*/ 169674 w 470138"/>
                <a:gd name="connsiteY125" fmla="*/ 56558 h 298698"/>
                <a:gd name="connsiteX126" fmla="*/ 174976 w 470138"/>
                <a:gd name="connsiteY126" fmla="*/ 56558 h 298698"/>
                <a:gd name="connsiteX127" fmla="*/ 180278 w 470138"/>
                <a:gd name="connsiteY127" fmla="*/ 56558 h 298698"/>
                <a:gd name="connsiteX128" fmla="*/ 180278 w 470138"/>
                <a:gd name="connsiteY128" fmla="*/ 53023 h 298698"/>
                <a:gd name="connsiteX129" fmla="*/ 12372 w 470138"/>
                <a:gd name="connsiteY129" fmla="*/ 15908 h 298698"/>
                <a:gd name="connsiteX130" fmla="*/ 12372 w 470138"/>
                <a:gd name="connsiteY130" fmla="*/ 21210 h 298698"/>
                <a:gd name="connsiteX131" fmla="*/ 12372 w 470138"/>
                <a:gd name="connsiteY131" fmla="*/ 24745 h 298698"/>
                <a:gd name="connsiteX132" fmla="*/ 8837 w 470138"/>
                <a:gd name="connsiteY132" fmla="*/ 28280 h 298698"/>
                <a:gd name="connsiteX133" fmla="*/ 7069 w 470138"/>
                <a:gd name="connsiteY133" fmla="*/ 31815 h 298698"/>
                <a:gd name="connsiteX134" fmla="*/ 7069 w 470138"/>
                <a:gd name="connsiteY134" fmla="*/ 38885 h 298698"/>
                <a:gd name="connsiteX135" fmla="*/ 0 w 470138"/>
                <a:gd name="connsiteY135" fmla="*/ 35350 h 298698"/>
                <a:gd name="connsiteX136" fmla="*/ 0 w 470138"/>
                <a:gd name="connsiteY136" fmla="*/ 31815 h 298698"/>
                <a:gd name="connsiteX137" fmla="*/ 0 w 470138"/>
                <a:gd name="connsiteY137" fmla="*/ 28280 h 298698"/>
                <a:gd name="connsiteX138" fmla="*/ 7069 w 470138"/>
                <a:gd name="connsiteY138" fmla="*/ 21210 h 298698"/>
                <a:gd name="connsiteX139" fmla="*/ 58325 w 470138"/>
                <a:gd name="connsiteY139" fmla="*/ 0 h 298698"/>
                <a:gd name="connsiteX140" fmla="*/ 63627 w 470138"/>
                <a:gd name="connsiteY140" fmla="*/ 0 h 298698"/>
                <a:gd name="connsiteX141" fmla="*/ 77767 w 470138"/>
                <a:gd name="connsiteY141" fmla="*/ 0 h 298698"/>
                <a:gd name="connsiteX142" fmla="*/ 83069 w 470138"/>
                <a:gd name="connsiteY142" fmla="*/ 0 h 298698"/>
                <a:gd name="connsiteX143" fmla="*/ 88372 w 470138"/>
                <a:gd name="connsiteY143" fmla="*/ 8837 h 298698"/>
                <a:gd name="connsiteX144" fmla="*/ 88372 w 470138"/>
                <a:gd name="connsiteY144" fmla="*/ 10604 h 298698"/>
                <a:gd name="connsiteX145" fmla="*/ 88372 w 470138"/>
                <a:gd name="connsiteY145" fmla="*/ 15907 h 298698"/>
                <a:gd name="connsiteX146" fmla="*/ 86604 w 470138"/>
                <a:gd name="connsiteY146" fmla="*/ 21209 h 298698"/>
                <a:gd name="connsiteX147" fmla="*/ 86604 w 470138"/>
                <a:gd name="connsiteY147" fmla="*/ 22977 h 298698"/>
                <a:gd name="connsiteX148" fmla="*/ 81302 w 470138"/>
                <a:gd name="connsiteY148" fmla="*/ 28279 h 298698"/>
                <a:gd name="connsiteX149" fmla="*/ 77767 w 470138"/>
                <a:gd name="connsiteY149" fmla="*/ 28279 h 298698"/>
                <a:gd name="connsiteX150" fmla="*/ 72465 w 470138"/>
                <a:gd name="connsiteY150" fmla="*/ 28279 h 298698"/>
                <a:gd name="connsiteX151" fmla="*/ 68930 w 470138"/>
                <a:gd name="connsiteY151" fmla="*/ 28279 h 298698"/>
                <a:gd name="connsiteX152" fmla="*/ 60092 w 470138"/>
                <a:gd name="connsiteY152" fmla="*/ 22977 h 298698"/>
                <a:gd name="connsiteX153" fmla="*/ 58325 w 470138"/>
                <a:gd name="connsiteY153" fmla="*/ 22977 h 298698"/>
                <a:gd name="connsiteX154" fmla="*/ 49488 w 470138"/>
                <a:gd name="connsiteY154" fmla="*/ 15907 h 298698"/>
                <a:gd name="connsiteX155" fmla="*/ 49488 w 470138"/>
                <a:gd name="connsiteY155" fmla="*/ 7070 h 298698"/>
                <a:gd name="connsiteX156" fmla="*/ 49488 w 470138"/>
                <a:gd name="connsiteY156" fmla="*/ 3535 h 29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</a:cxnLst>
              <a:rect l="l" t="t" r="r" b="b"/>
              <a:pathLst>
                <a:path w="470138" h="298698">
                  <a:moveTo>
                    <a:pt x="373837" y="178512"/>
                  </a:moveTo>
                  <a:cubicBezTo>
                    <a:pt x="376847" y="178512"/>
                    <a:pt x="376847" y="178512"/>
                    <a:pt x="376847" y="178512"/>
                  </a:cubicBezTo>
                  <a:cubicBezTo>
                    <a:pt x="382865" y="178512"/>
                    <a:pt x="382865" y="178512"/>
                    <a:pt x="382865" y="178512"/>
                  </a:cubicBezTo>
                  <a:cubicBezTo>
                    <a:pt x="391894" y="184447"/>
                    <a:pt x="391894" y="184447"/>
                    <a:pt x="391894" y="184447"/>
                  </a:cubicBezTo>
                  <a:cubicBezTo>
                    <a:pt x="399417" y="191866"/>
                    <a:pt x="399417" y="191866"/>
                    <a:pt x="399417" y="191866"/>
                  </a:cubicBezTo>
                  <a:cubicBezTo>
                    <a:pt x="399417" y="191866"/>
                    <a:pt x="403931" y="193350"/>
                    <a:pt x="405436" y="193350"/>
                  </a:cubicBezTo>
                  <a:cubicBezTo>
                    <a:pt x="406941" y="193350"/>
                    <a:pt x="408445" y="193350"/>
                    <a:pt x="409950" y="193350"/>
                  </a:cubicBezTo>
                  <a:cubicBezTo>
                    <a:pt x="411455" y="193350"/>
                    <a:pt x="417474" y="193350"/>
                    <a:pt x="417474" y="193350"/>
                  </a:cubicBezTo>
                  <a:cubicBezTo>
                    <a:pt x="432521" y="199285"/>
                    <a:pt x="432521" y="199285"/>
                    <a:pt x="432521" y="199285"/>
                  </a:cubicBezTo>
                  <a:cubicBezTo>
                    <a:pt x="441549" y="206704"/>
                    <a:pt x="441549" y="206704"/>
                    <a:pt x="441549" y="206704"/>
                  </a:cubicBezTo>
                  <a:cubicBezTo>
                    <a:pt x="441549" y="212639"/>
                    <a:pt x="441549" y="212639"/>
                    <a:pt x="441549" y="212639"/>
                  </a:cubicBezTo>
                  <a:cubicBezTo>
                    <a:pt x="444558" y="225993"/>
                    <a:pt x="444558" y="225993"/>
                    <a:pt x="444558" y="225993"/>
                  </a:cubicBezTo>
                  <a:cubicBezTo>
                    <a:pt x="449072" y="225993"/>
                    <a:pt x="449072" y="225993"/>
                    <a:pt x="449072" y="225993"/>
                  </a:cubicBezTo>
                  <a:cubicBezTo>
                    <a:pt x="452082" y="225993"/>
                    <a:pt x="452082" y="225993"/>
                    <a:pt x="452082" y="225993"/>
                  </a:cubicBezTo>
                  <a:cubicBezTo>
                    <a:pt x="452082" y="234896"/>
                    <a:pt x="452082" y="234896"/>
                    <a:pt x="452082" y="234896"/>
                  </a:cubicBezTo>
                  <a:cubicBezTo>
                    <a:pt x="456596" y="234896"/>
                    <a:pt x="456596" y="234896"/>
                    <a:pt x="456596" y="234896"/>
                  </a:cubicBezTo>
                  <a:cubicBezTo>
                    <a:pt x="462615" y="240831"/>
                    <a:pt x="462615" y="240831"/>
                    <a:pt x="462615" y="240831"/>
                  </a:cubicBezTo>
                  <a:cubicBezTo>
                    <a:pt x="470138" y="240831"/>
                    <a:pt x="470138" y="240831"/>
                    <a:pt x="470138" y="240831"/>
                  </a:cubicBezTo>
                  <a:cubicBezTo>
                    <a:pt x="462615" y="251217"/>
                    <a:pt x="462615" y="251217"/>
                    <a:pt x="462615" y="251217"/>
                  </a:cubicBezTo>
                  <a:cubicBezTo>
                    <a:pt x="456596" y="254185"/>
                    <a:pt x="456596" y="254185"/>
                    <a:pt x="456596" y="254185"/>
                  </a:cubicBezTo>
                  <a:cubicBezTo>
                    <a:pt x="449072" y="267539"/>
                    <a:pt x="449072" y="267539"/>
                    <a:pt x="449072" y="267539"/>
                  </a:cubicBezTo>
                  <a:cubicBezTo>
                    <a:pt x="440044" y="270506"/>
                    <a:pt x="440044" y="270506"/>
                    <a:pt x="440044" y="270506"/>
                  </a:cubicBezTo>
                  <a:cubicBezTo>
                    <a:pt x="421988" y="270506"/>
                    <a:pt x="421988" y="270506"/>
                    <a:pt x="421988" y="270506"/>
                  </a:cubicBezTo>
                  <a:cubicBezTo>
                    <a:pt x="418978" y="274958"/>
                    <a:pt x="418978" y="274958"/>
                    <a:pt x="418978" y="274958"/>
                  </a:cubicBezTo>
                  <a:cubicBezTo>
                    <a:pt x="406941" y="274958"/>
                    <a:pt x="406941" y="274958"/>
                    <a:pt x="406941" y="274958"/>
                  </a:cubicBezTo>
                  <a:cubicBezTo>
                    <a:pt x="403931" y="285344"/>
                    <a:pt x="403931" y="285344"/>
                    <a:pt x="403931" y="285344"/>
                  </a:cubicBezTo>
                  <a:cubicBezTo>
                    <a:pt x="402427" y="292763"/>
                    <a:pt x="402427" y="292763"/>
                    <a:pt x="402427" y="292763"/>
                  </a:cubicBezTo>
                  <a:cubicBezTo>
                    <a:pt x="399417" y="295731"/>
                    <a:pt x="399417" y="295731"/>
                    <a:pt x="399417" y="295731"/>
                  </a:cubicBezTo>
                  <a:cubicBezTo>
                    <a:pt x="396408" y="298698"/>
                    <a:pt x="396408" y="298698"/>
                    <a:pt x="396408" y="298698"/>
                  </a:cubicBezTo>
                  <a:cubicBezTo>
                    <a:pt x="391894" y="298698"/>
                    <a:pt x="391894" y="298698"/>
                    <a:pt x="391894" y="298698"/>
                  </a:cubicBezTo>
                  <a:cubicBezTo>
                    <a:pt x="387380" y="291279"/>
                    <a:pt x="387380" y="291279"/>
                    <a:pt x="387380" y="291279"/>
                  </a:cubicBezTo>
                  <a:cubicBezTo>
                    <a:pt x="376847" y="286828"/>
                    <a:pt x="376847" y="286828"/>
                    <a:pt x="376847" y="286828"/>
                  </a:cubicBezTo>
                  <a:cubicBezTo>
                    <a:pt x="370828" y="280893"/>
                    <a:pt x="370828" y="280893"/>
                    <a:pt x="370828" y="280893"/>
                  </a:cubicBezTo>
                  <a:cubicBezTo>
                    <a:pt x="370828" y="277925"/>
                    <a:pt x="370828" y="277925"/>
                    <a:pt x="370828" y="277925"/>
                  </a:cubicBezTo>
                  <a:cubicBezTo>
                    <a:pt x="370828" y="273474"/>
                    <a:pt x="370828" y="273474"/>
                    <a:pt x="370828" y="273474"/>
                  </a:cubicBezTo>
                  <a:cubicBezTo>
                    <a:pt x="370828" y="267539"/>
                    <a:pt x="370828" y="267539"/>
                    <a:pt x="370828" y="267539"/>
                  </a:cubicBezTo>
                  <a:cubicBezTo>
                    <a:pt x="370828" y="264571"/>
                    <a:pt x="370828" y="264571"/>
                    <a:pt x="370828" y="264571"/>
                  </a:cubicBezTo>
                  <a:cubicBezTo>
                    <a:pt x="370828" y="252701"/>
                    <a:pt x="370828" y="252701"/>
                    <a:pt x="370828" y="252701"/>
                  </a:cubicBezTo>
                  <a:cubicBezTo>
                    <a:pt x="370828" y="249733"/>
                    <a:pt x="370828" y="249733"/>
                    <a:pt x="370828" y="249733"/>
                  </a:cubicBezTo>
                  <a:cubicBezTo>
                    <a:pt x="370828" y="242315"/>
                    <a:pt x="370828" y="242315"/>
                    <a:pt x="370828" y="242315"/>
                  </a:cubicBezTo>
                  <a:cubicBezTo>
                    <a:pt x="363304" y="231928"/>
                    <a:pt x="363304" y="231928"/>
                    <a:pt x="363304" y="231928"/>
                  </a:cubicBezTo>
                  <a:cubicBezTo>
                    <a:pt x="358790" y="227477"/>
                    <a:pt x="358790" y="227477"/>
                    <a:pt x="358790" y="227477"/>
                  </a:cubicBezTo>
                  <a:cubicBezTo>
                    <a:pt x="358790" y="223025"/>
                    <a:pt x="358790" y="223025"/>
                    <a:pt x="358790" y="223025"/>
                  </a:cubicBezTo>
                  <a:cubicBezTo>
                    <a:pt x="358790" y="220058"/>
                    <a:pt x="358790" y="220058"/>
                    <a:pt x="358790" y="220058"/>
                  </a:cubicBezTo>
                  <a:cubicBezTo>
                    <a:pt x="363304" y="214123"/>
                    <a:pt x="363304" y="214123"/>
                    <a:pt x="363304" y="214123"/>
                  </a:cubicBezTo>
                  <a:cubicBezTo>
                    <a:pt x="370828" y="212639"/>
                    <a:pt x="370828" y="212639"/>
                    <a:pt x="370828" y="212639"/>
                  </a:cubicBezTo>
                  <a:cubicBezTo>
                    <a:pt x="376847" y="206704"/>
                    <a:pt x="376847" y="206704"/>
                    <a:pt x="376847" y="206704"/>
                  </a:cubicBezTo>
                  <a:lnTo>
                    <a:pt x="376847" y="199285"/>
                  </a:lnTo>
                  <a:cubicBezTo>
                    <a:pt x="373837" y="185931"/>
                    <a:pt x="373837" y="185931"/>
                    <a:pt x="373837" y="185931"/>
                  </a:cubicBezTo>
                  <a:cubicBezTo>
                    <a:pt x="373837" y="182963"/>
                    <a:pt x="373837" y="182963"/>
                    <a:pt x="373837" y="182963"/>
                  </a:cubicBezTo>
                  <a:cubicBezTo>
                    <a:pt x="373837" y="178512"/>
                    <a:pt x="373837" y="178512"/>
                    <a:pt x="373837" y="178512"/>
                  </a:cubicBezTo>
                  <a:close/>
                  <a:moveTo>
                    <a:pt x="275720" y="116651"/>
                  </a:moveTo>
                  <a:lnTo>
                    <a:pt x="281022" y="116651"/>
                  </a:lnTo>
                  <a:lnTo>
                    <a:pt x="284556" y="116651"/>
                  </a:lnTo>
                  <a:lnTo>
                    <a:pt x="288091" y="120186"/>
                  </a:lnTo>
                  <a:lnTo>
                    <a:pt x="291626" y="125488"/>
                  </a:lnTo>
                  <a:lnTo>
                    <a:pt x="291626" y="130790"/>
                  </a:lnTo>
                  <a:lnTo>
                    <a:pt x="284556" y="134325"/>
                  </a:lnTo>
                  <a:lnTo>
                    <a:pt x="281022" y="130790"/>
                  </a:lnTo>
                  <a:lnTo>
                    <a:pt x="281022" y="125488"/>
                  </a:lnTo>
                  <a:lnTo>
                    <a:pt x="275720" y="121953"/>
                  </a:lnTo>
                  <a:lnTo>
                    <a:pt x="275720" y="120186"/>
                  </a:lnTo>
                  <a:close/>
                  <a:moveTo>
                    <a:pt x="309302" y="107814"/>
                  </a:moveTo>
                  <a:lnTo>
                    <a:pt x="314604" y="107814"/>
                  </a:lnTo>
                  <a:lnTo>
                    <a:pt x="319906" y="113116"/>
                  </a:lnTo>
                  <a:lnTo>
                    <a:pt x="323441" y="116651"/>
                  </a:lnTo>
                  <a:lnTo>
                    <a:pt x="330511" y="120186"/>
                  </a:lnTo>
                  <a:lnTo>
                    <a:pt x="330511" y="116651"/>
                  </a:lnTo>
                  <a:lnTo>
                    <a:pt x="339348" y="116651"/>
                  </a:lnTo>
                  <a:lnTo>
                    <a:pt x="344650" y="116651"/>
                  </a:lnTo>
                  <a:lnTo>
                    <a:pt x="351720" y="121954"/>
                  </a:lnTo>
                  <a:lnTo>
                    <a:pt x="364092" y="130791"/>
                  </a:lnTo>
                  <a:lnTo>
                    <a:pt x="364092" y="139628"/>
                  </a:lnTo>
                  <a:lnTo>
                    <a:pt x="358789" y="144930"/>
                  </a:lnTo>
                  <a:lnTo>
                    <a:pt x="353487" y="144930"/>
                  </a:lnTo>
                  <a:lnTo>
                    <a:pt x="348185" y="144930"/>
                  </a:lnTo>
                  <a:lnTo>
                    <a:pt x="348185" y="146698"/>
                  </a:lnTo>
                  <a:lnTo>
                    <a:pt x="335813" y="146698"/>
                  </a:lnTo>
                  <a:lnTo>
                    <a:pt x="330511" y="146698"/>
                  </a:lnTo>
                  <a:lnTo>
                    <a:pt x="328743" y="146698"/>
                  </a:lnTo>
                  <a:lnTo>
                    <a:pt x="325209" y="141396"/>
                  </a:lnTo>
                  <a:lnTo>
                    <a:pt x="323441" y="134326"/>
                  </a:lnTo>
                  <a:lnTo>
                    <a:pt x="325209" y="127256"/>
                  </a:lnTo>
                  <a:lnTo>
                    <a:pt x="316371" y="127256"/>
                  </a:lnTo>
                  <a:lnTo>
                    <a:pt x="309302" y="125488"/>
                  </a:lnTo>
                  <a:lnTo>
                    <a:pt x="309302" y="120186"/>
                  </a:lnTo>
                  <a:lnTo>
                    <a:pt x="309302" y="116651"/>
                  </a:lnTo>
                  <a:lnTo>
                    <a:pt x="309302" y="111349"/>
                  </a:lnTo>
                  <a:close/>
                  <a:moveTo>
                    <a:pt x="258045" y="93675"/>
                  </a:moveTo>
                  <a:lnTo>
                    <a:pt x="261580" y="93675"/>
                  </a:lnTo>
                  <a:lnTo>
                    <a:pt x="272184" y="93675"/>
                  </a:lnTo>
                  <a:lnTo>
                    <a:pt x="281021" y="93675"/>
                  </a:lnTo>
                  <a:lnTo>
                    <a:pt x="282788" y="100745"/>
                  </a:lnTo>
                  <a:lnTo>
                    <a:pt x="302230" y="100745"/>
                  </a:lnTo>
                  <a:lnTo>
                    <a:pt x="293393" y="106047"/>
                  </a:lnTo>
                  <a:lnTo>
                    <a:pt x="291625" y="107815"/>
                  </a:lnTo>
                  <a:lnTo>
                    <a:pt x="291625" y="104280"/>
                  </a:lnTo>
                  <a:lnTo>
                    <a:pt x="286323" y="104280"/>
                  </a:lnTo>
                  <a:lnTo>
                    <a:pt x="282788" y="104280"/>
                  </a:lnTo>
                  <a:lnTo>
                    <a:pt x="277486" y="104280"/>
                  </a:lnTo>
                  <a:lnTo>
                    <a:pt x="273951" y="104280"/>
                  </a:lnTo>
                  <a:lnTo>
                    <a:pt x="270417" y="104280"/>
                  </a:lnTo>
                  <a:lnTo>
                    <a:pt x="265114" y="104280"/>
                  </a:lnTo>
                  <a:lnTo>
                    <a:pt x="258045" y="102512"/>
                  </a:lnTo>
                  <a:lnTo>
                    <a:pt x="258045" y="100745"/>
                  </a:lnTo>
                  <a:lnTo>
                    <a:pt x="258045" y="97210"/>
                  </a:lnTo>
                  <a:close/>
                  <a:moveTo>
                    <a:pt x="187348" y="51256"/>
                  </a:moveTo>
                  <a:lnTo>
                    <a:pt x="194417" y="51256"/>
                  </a:lnTo>
                  <a:lnTo>
                    <a:pt x="197952" y="51256"/>
                  </a:lnTo>
                  <a:lnTo>
                    <a:pt x="201487" y="53023"/>
                  </a:lnTo>
                  <a:lnTo>
                    <a:pt x="203254" y="56558"/>
                  </a:lnTo>
                  <a:lnTo>
                    <a:pt x="208557" y="65395"/>
                  </a:lnTo>
                  <a:lnTo>
                    <a:pt x="213859" y="65395"/>
                  </a:lnTo>
                  <a:lnTo>
                    <a:pt x="217394" y="74233"/>
                  </a:lnTo>
                  <a:lnTo>
                    <a:pt x="217394" y="81303"/>
                  </a:lnTo>
                  <a:lnTo>
                    <a:pt x="217394" y="86605"/>
                  </a:lnTo>
                  <a:lnTo>
                    <a:pt x="212092" y="86605"/>
                  </a:lnTo>
                  <a:lnTo>
                    <a:pt x="206789" y="81303"/>
                  </a:lnTo>
                  <a:lnTo>
                    <a:pt x="203254" y="77768"/>
                  </a:lnTo>
                  <a:lnTo>
                    <a:pt x="194417" y="81303"/>
                  </a:lnTo>
                  <a:lnTo>
                    <a:pt x="187348" y="83070"/>
                  </a:lnTo>
                  <a:lnTo>
                    <a:pt x="182046" y="79535"/>
                  </a:lnTo>
                  <a:lnTo>
                    <a:pt x="178511" y="74233"/>
                  </a:lnTo>
                  <a:lnTo>
                    <a:pt x="169674" y="68930"/>
                  </a:lnTo>
                  <a:lnTo>
                    <a:pt x="169674" y="63628"/>
                  </a:lnTo>
                  <a:lnTo>
                    <a:pt x="169674" y="56558"/>
                  </a:lnTo>
                  <a:lnTo>
                    <a:pt x="174976" y="56558"/>
                  </a:lnTo>
                  <a:lnTo>
                    <a:pt x="180278" y="56558"/>
                  </a:lnTo>
                  <a:lnTo>
                    <a:pt x="180278" y="53023"/>
                  </a:lnTo>
                  <a:close/>
                  <a:moveTo>
                    <a:pt x="12372" y="15908"/>
                  </a:moveTo>
                  <a:lnTo>
                    <a:pt x="12372" y="21210"/>
                  </a:lnTo>
                  <a:lnTo>
                    <a:pt x="12372" y="24745"/>
                  </a:lnTo>
                  <a:lnTo>
                    <a:pt x="8837" y="28280"/>
                  </a:lnTo>
                  <a:lnTo>
                    <a:pt x="7069" y="31815"/>
                  </a:lnTo>
                  <a:lnTo>
                    <a:pt x="7069" y="38885"/>
                  </a:lnTo>
                  <a:lnTo>
                    <a:pt x="0" y="35350"/>
                  </a:lnTo>
                  <a:lnTo>
                    <a:pt x="0" y="31815"/>
                  </a:lnTo>
                  <a:lnTo>
                    <a:pt x="0" y="28280"/>
                  </a:lnTo>
                  <a:lnTo>
                    <a:pt x="7069" y="21210"/>
                  </a:lnTo>
                  <a:close/>
                  <a:moveTo>
                    <a:pt x="58325" y="0"/>
                  </a:moveTo>
                  <a:lnTo>
                    <a:pt x="63627" y="0"/>
                  </a:lnTo>
                  <a:lnTo>
                    <a:pt x="77767" y="0"/>
                  </a:lnTo>
                  <a:lnTo>
                    <a:pt x="83069" y="0"/>
                  </a:lnTo>
                  <a:lnTo>
                    <a:pt x="88372" y="8837"/>
                  </a:lnTo>
                  <a:lnTo>
                    <a:pt x="88372" y="10604"/>
                  </a:lnTo>
                  <a:lnTo>
                    <a:pt x="88372" y="15907"/>
                  </a:lnTo>
                  <a:lnTo>
                    <a:pt x="86604" y="21209"/>
                  </a:lnTo>
                  <a:lnTo>
                    <a:pt x="86604" y="22977"/>
                  </a:lnTo>
                  <a:lnTo>
                    <a:pt x="81302" y="28279"/>
                  </a:lnTo>
                  <a:lnTo>
                    <a:pt x="77767" y="28279"/>
                  </a:lnTo>
                  <a:lnTo>
                    <a:pt x="72465" y="28279"/>
                  </a:lnTo>
                  <a:lnTo>
                    <a:pt x="68930" y="28279"/>
                  </a:lnTo>
                  <a:lnTo>
                    <a:pt x="60092" y="22977"/>
                  </a:lnTo>
                  <a:lnTo>
                    <a:pt x="58325" y="22977"/>
                  </a:lnTo>
                  <a:lnTo>
                    <a:pt x="49488" y="15907"/>
                  </a:lnTo>
                  <a:lnTo>
                    <a:pt x="49488" y="7070"/>
                  </a:lnTo>
                  <a:lnTo>
                    <a:pt x="49488" y="3535"/>
                  </a:lnTo>
                  <a:close/>
                </a:path>
              </a:pathLst>
            </a:custGeom>
            <a:grp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</p:grpSp>
      <p:sp>
        <p:nvSpPr>
          <p:cNvPr id="79" name="Shape 2540"/>
          <p:cNvSpPr/>
          <p:nvPr/>
        </p:nvSpPr>
        <p:spPr>
          <a:xfrm>
            <a:off x="13328212" y="6266369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80" name="Shape 2540"/>
          <p:cNvSpPr/>
          <p:nvPr/>
        </p:nvSpPr>
        <p:spPr>
          <a:xfrm>
            <a:off x="13328212" y="7901380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14241446" y="6033132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4241446" y="7684148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83" name="Shape 2540"/>
          <p:cNvSpPr/>
          <p:nvPr/>
        </p:nvSpPr>
        <p:spPr>
          <a:xfrm>
            <a:off x="13328212" y="9552396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4241446" y="9335164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32D260C-BAF0-4174-8EF8-4BD1F2BD6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United States Ma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23563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Group 89"/>
          <p:cNvGrpSpPr/>
          <p:nvPr/>
        </p:nvGrpSpPr>
        <p:grpSpPr>
          <a:xfrm>
            <a:off x="14045304" y="3374015"/>
            <a:ext cx="7018553" cy="8834271"/>
            <a:chOff x="8751671" y="2574043"/>
            <a:chExt cx="7471049" cy="9403830"/>
          </a:xfrm>
          <a:solidFill>
            <a:schemeClr val="bg1">
              <a:lumMod val="85000"/>
            </a:schemeClr>
          </a:solidFill>
        </p:grpSpPr>
        <p:sp>
          <p:nvSpPr>
            <p:cNvPr id="91" name="Freeform 62"/>
            <p:cNvSpPr>
              <a:spLocks noChangeArrowheads="1"/>
            </p:cNvSpPr>
            <p:nvPr/>
          </p:nvSpPr>
          <p:spPr bwMode="auto">
            <a:xfrm>
              <a:off x="15141826" y="3556992"/>
              <a:ext cx="436838" cy="980149"/>
            </a:xfrm>
            <a:custGeom>
              <a:avLst/>
              <a:gdLst>
                <a:gd name="T0" fmla="*/ 24 w 693"/>
                <a:gd name="T1" fmla="*/ 180 h 1550"/>
                <a:gd name="T2" fmla="*/ 24 w 693"/>
                <a:gd name="T3" fmla="*/ 180 h 1550"/>
                <a:gd name="T4" fmla="*/ 15 w 693"/>
                <a:gd name="T5" fmla="*/ 146 h 1550"/>
                <a:gd name="T6" fmla="*/ 39 w 693"/>
                <a:gd name="T7" fmla="*/ 78 h 1550"/>
                <a:gd name="T8" fmla="*/ 82 w 693"/>
                <a:gd name="T9" fmla="*/ 19 h 1550"/>
                <a:gd name="T10" fmla="*/ 156 w 693"/>
                <a:gd name="T11" fmla="*/ 0 h 1550"/>
                <a:gd name="T12" fmla="*/ 156 w 693"/>
                <a:gd name="T13" fmla="*/ 0 h 1550"/>
                <a:gd name="T14" fmla="*/ 555 w 693"/>
                <a:gd name="T15" fmla="*/ 1047 h 1550"/>
                <a:gd name="T16" fmla="*/ 692 w 693"/>
                <a:gd name="T17" fmla="*/ 1101 h 1550"/>
                <a:gd name="T18" fmla="*/ 692 w 693"/>
                <a:gd name="T19" fmla="*/ 1101 h 1550"/>
                <a:gd name="T20" fmla="*/ 677 w 693"/>
                <a:gd name="T21" fmla="*/ 1184 h 1550"/>
                <a:gd name="T22" fmla="*/ 667 w 693"/>
                <a:gd name="T23" fmla="*/ 1217 h 1550"/>
                <a:gd name="T24" fmla="*/ 667 w 693"/>
                <a:gd name="T25" fmla="*/ 1217 h 1550"/>
                <a:gd name="T26" fmla="*/ 589 w 693"/>
                <a:gd name="T27" fmla="*/ 1291 h 1550"/>
                <a:gd name="T28" fmla="*/ 536 w 693"/>
                <a:gd name="T29" fmla="*/ 1383 h 1550"/>
                <a:gd name="T30" fmla="*/ 132 w 693"/>
                <a:gd name="T31" fmla="*/ 1549 h 1550"/>
                <a:gd name="T32" fmla="*/ 132 w 693"/>
                <a:gd name="T33" fmla="*/ 1549 h 1550"/>
                <a:gd name="T34" fmla="*/ 93 w 693"/>
                <a:gd name="T35" fmla="*/ 1471 h 1550"/>
                <a:gd name="T36" fmla="*/ 82 w 693"/>
                <a:gd name="T37" fmla="*/ 1383 h 1550"/>
                <a:gd name="T38" fmla="*/ 54 w 693"/>
                <a:gd name="T39" fmla="*/ 1291 h 1550"/>
                <a:gd name="T40" fmla="*/ 29 w 693"/>
                <a:gd name="T41" fmla="*/ 1169 h 1550"/>
                <a:gd name="T42" fmla="*/ 0 w 693"/>
                <a:gd name="T43" fmla="*/ 1027 h 1550"/>
                <a:gd name="T44" fmla="*/ 10 w 693"/>
                <a:gd name="T45" fmla="*/ 974 h 1550"/>
                <a:gd name="T46" fmla="*/ 15 w 693"/>
                <a:gd name="T47" fmla="*/ 882 h 1550"/>
                <a:gd name="T48" fmla="*/ 29 w 693"/>
                <a:gd name="T49" fmla="*/ 808 h 1550"/>
                <a:gd name="T50" fmla="*/ 29 w 693"/>
                <a:gd name="T51" fmla="*/ 731 h 1550"/>
                <a:gd name="T52" fmla="*/ 44 w 693"/>
                <a:gd name="T53" fmla="*/ 657 h 1550"/>
                <a:gd name="T54" fmla="*/ 29 w 693"/>
                <a:gd name="T55" fmla="*/ 618 h 1550"/>
                <a:gd name="T56" fmla="*/ 73 w 693"/>
                <a:gd name="T57" fmla="*/ 536 h 1550"/>
                <a:gd name="T58" fmla="*/ 98 w 693"/>
                <a:gd name="T59" fmla="*/ 477 h 1550"/>
                <a:gd name="T60" fmla="*/ 132 w 693"/>
                <a:gd name="T61" fmla="*/ 399 h 1550"/>
                <a:gd name="T62" fmla="*/ 58 w 693"/>
                <a:gd name="T63" fmla="*/ 311 h 1550"/>
                <a:gd name="T64" fmla="*/ 24 w 693"/>
                <a:gd name="T65" fmla="*/ 180 h 1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93" h="1550">
                  <a:moveTo>
                    <a:pt x="24" y="180"/>
                  </a:moveTo>
                  <a:lnTo>
                    <a:pt x="24" y="180"/>
                  </a:lnTo>
                  <a:cubicBezTo>
                    <a:pt x="19" y="170"/>
                    <a:pt x="15" y="161"/>
                    <a:pt x="15" y="146"/>
                  </a:cubicBezTo>
                  <a:cubicBezTo>
                    <a:pt x="15" y="117"/>
                    <a:pt x="29" y="102"/>
                    <a:pt x="39" y="78"/>
                  </a:cubicBezTo>
                  <a:cubicBezTo>
                    <a:pt x="54" y="54"/>
                    <a:pt x="58" y="29"/>
                    <a:pt x="82" y="19"/>
                  </a:cubicBezTo>
                  <a:cubicBezTo>
                    <a:pt x="107" y="10"/>
                    <a:pt x="132" y="5"/>
                    <a:pt x="156" y="0"/>
                  </a:cubicBezTo>
                  <a:lnTo>
                    <a:pt x="156" y="0"/>
                  </a:lnTo>
                  <a:cubicBezTo>
                    <a:pt x="555" y="1047"/>
                    <a:pt x="555" y="1047"/>
                    <a:pt x="555" y="1047"/>
                  </a:cubicBezTo>
                  <a:cubicBezTo>
                    <a:pt x="599" y="1071"/>
                    <a:pt x="643" y="1081"/>
                    <a:pt x="692" y="1101"/>
                  </a:cubicBezTo>
                  <a:lnTo>
                    <a:pt x="692" y="1101"/>
                  </a:lnTo>
                  <a:cubicBezTo>
                    <a:pt x="687" y="1130"/>
                    <a:pt x="682" y="1149"/>
                    <a:pt x="677" y="1184"/>
                  </a:cubicBezTo>
                  <a:cubicBezTo>
                    <a:pt x="677" y="1193"/>
                    <a:pt x="667" y="1203"/>
                    <a:pt x="667" y="1217"/>
                  </a:cubicBezTo>
                  <a:lnTo>
                    <a:pt x="667" y="1217"/>
                  </a:lnTo>
                  <a:cubicBezTo>
                    <a:pt x="648" y="1247"/>
                    <a:pt x="614" y="1262"/>
                    <a:pt x="589" y="1291"/>
                  </a:cubicBezTo>
                  <a:cubicBezTo>
                    <a:pt x="565" y="1325"/>
                    <a:pt x="555" y="1344"/>
                    <a:pt x="536" y="1383"/>
                  </a:cubicBezTo>
                  <a:cubicBezTo>
                    <a:pt x="132" y="1549"/>
                    <a:pt x="132" y="1549"/>
                    <a:pt x="132" y="1549"/>
                  </a:cubicBezTo>
                  <a:lnTo>
                    <a:pt x="132" y="1549"/>
                  </a:lnTo>
                  <a:cubicBezTo>
                    <a:pt x="112" y="1519"/>
                    <a:pt x="98" y="1505"/>
                    <a:pt x="93" y="1471"/>
                  </a:cubicBezTo>
                  <a:cubicBezTo>
                    <a:pt x="82" y="1437"/>
                    <a:pt x="88" y="1417"/>
                    <a:pt x="82" y="1383"/>
                  </a:cubicBezTo>
                  <a:cubicBezTo>
                    <a:pt x="78" y="1344"/>
                    <a:pt x="68" y="1325"/>
                    <a:pt x="54" y="1291"/>
                  </a:cubicBezTo>
                  <a:cubicBezTo>
                    <a:pt x="34" y="1247"/>
                    <a:pt x="34" y="1217"/>
                    <a:pt x="29" y="1169"/>
                  </a:cubicBezTo>
                  <a:cubicBezTo>
                    <a:pt x="19" y="1115"/>
                    <a:pt x="0" y="1081"/>
                    <a:pt x="0" y="1027"/>
                  </a:cubicBezTo>
                  <a:cubicBezTo>
                    <a:pt x="0" y="1008"/>
                    <a:pt x="5" y="994"/>
                    <a:pt x="10" y="974"/>
                  </a:cubicBezTo>
                  <a:cubicBezTo>
                    <a:pt x="19" y="940"/>
                    <a:pt x="15" y="921"/>
                    <a:pt x="15" y="882"/>
                  </a:cubicBezTo>
                  <a:cubicBezTo>
                    <a:pt x="19" y="852"/>
                    <a:pt x="29" y="838"/>
                    <a:pt x="29" y="808"/>
                  </a:cubicBezTo>
                  <a:cubicBezTo>
                    <a:pt x="29" y="731"/>
                    <a:pt x="29" y="731"/>
                    <a:pt x="29" y="731"/>
                  </a:cubicBezTo>
                  <a:cubicBezTo>
                    <a:pt x="44" y="657"/>
                    <a:pt x="44" y="657"/>
                    <a:pt x="44" y="657"/>
                  </a:cubicBezTo>
                  <a:cubicBezTo>
                    <a:pt x="39" y="643"/>
                    <a:pt x="29" y="638"/>
                    <a:pt x="29" y="618"/>
                  </a:cubicBezTo>
                  <a:cubicBezTo>
                    <a:pt x="29" y="584"/>
                    <a:pt x="54" y="570"/>
                    <a:pt x="73" y="536"/>
                  </a:cubicBezTo>
                  <a:cubicBezTo>
                    <a:pt x="82" y="516"/>
                    <a:pt x="88" y="496"/>
                    <a:pt x="98" y="477"/>
                  </a:cubicBezTo>
                  <a:cubicBezTo>
                    <a:pt x="112" y="448"/>
                    <a:pt x="132" y="433"/>
                    <a:pt x="132" y="399"/>
                  </a:cubicBezTo>
                  <a:cubicBezTo>
                    <a:pt x="132" y="355"/>
                    <a:pt x="78" y="350"/>
                    <a:pt x="58" y="311"/>
                  </a:cubicBezTo>
                  <a:cubicBezTo>
                    <a:pt x="39" y="268"/>
                    <a:pt x="44" y="229"/>
                    <a:pt x="24" y="180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2" name="Freeform 63"/>
            <p:cNvSpPr>
              <a:spLocks noChangeArrowheads="1"/>
            </p:cNvSpPr>
            <p:nvPr/>
          </p:nvSpPr>
          <p:spPr bwMode="auto">
            <a:xfrm>
              <a:off x="15049418" y="4727570"/>
              <a:ext cx="495643" cy="484474"/>
            </a:xfrm>
            <a:custGeom>
              <a:avLst/>
              <a:gdLst>
                <a:gd name="T0" fmla="*/ 667 w 785"/>
                <a:gd name="T1" fmla="*/ 0 h 766"/>
                <a:gd name="T2" fmla="*/ 667 w 785"/>
                <a:gd name="T3" fmla="*/ 0 h 766"/>
                <a:gd name="T4" fmla="*/ 784 w 785"/>
                <a:gd name="T5" fmla="*/ 316 h 766"/>
                <a:gd name="T6" fmla="*/ 784 w 785"/>
                <a:gd name="T7" fmla="*/ 316 h 766"/>
                <a:gd name="T8" fmla="*/ 721 w 785"/>
                <a:gd name="T9" fmla="*/ 356 h 766"/>
                <a:gd name="T10" fmla="*/ 643 w 785"/>
                <a:gd name="T11" fmla="*/ 409 h 766"/>
                <a:gd name="T12" fmla="*/ 614 w 785"/>
                <a:gd name="T13" fmla="*/ 438 h 766"/>
                <a:gd name="T14" fmla="*/ 463 w 785"/>
                <a:gd name="T15" fmla="*/ 521 h 766"/>
                <a:gd name="T16" fmla="*/ 375 w 785"/>
                <a:gd name="T17" fmla="*/ 570 h 766"/>
                <a:gd name="T18" fmla="*/ 268 w 785"/>
                <a:gd name="T19" fmla="*/ 638 h 766"/>
                <a:gd name="T20" fmla="*/ 224 w 785"/>
                <a:gd name="T21" fmla="*/ 692 h 766"/>
                <a:gd name="T22" fmla="*/ 175 w 785"/>
                <a:gd name="T23" fmla="*/ 726 h 766"/>
                <a:gd name="T24" fmla="*/ 141 w 785"/>
                <a:gd name="T25" fmla="*/ 765 h 766"/>
                <a:gd name="T26" fmla="*/ 141 w 785"/>
                <a:gd name="T27" fmla="*/ 765 h 766"/>
                <a:gd name="T28" fmla="*/ 131 w 785"/>
                <a:gd name="T29" fmla="*/ 677 h 766"/>
                <a:gd name="T30" fmla="*/ 87 w 785"/>
                <a:gd name="T31" fmla="*/ 506 h 766"/>
                <a:gd name="T32" fmla="*/ 34 w 785"/>
                <a:gd name="T33" fmla="*/ 399 h 766"/>
                <a:gd name="T34" fmla="*/ 24 w 785"/>
                <a:gd name="T35" fmla="*/ 356 h 766"/>
                <a:gd name="T36" fmla="*/ 0 w 785"/>
                <a:gd name="T37" fmla="*/ 234 h 766"/>
                <a:gd name="T38" fmla="*/ 0 w 785"/>
                <a:gd name="T39" fmla="*/ 234 h 766"/>
                <a:gd name="T40" fmla="*/ 667 w 785"/>
                <a:gd name="T41" fmla="*/ 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5" h="766">
                  <a:moveTo>
                    <a:pt x="667" y="0"/>
                  </a:moveTo>
                  <a:lnTo>
                    <a:pt x="667" y="0"/>
                  </a:lnTo>
                  <a:cubicBezTo>
                    <a:pt x="784" y="316"/>
                    <a:pt x="784" y="316"/>
                    <a:pt x="784" y="316"/>
                  </a:cubicBezTo>
                  <a:lnTo>
                    <a:pt x="784" y="316"/>
                  </a:lnTo>
                  <a:cubicBezTo>
                    <a:pt x="760" y="326"/>
                    <a:pt x="745" y="341"/>
                    <a:pt x="721" y="356"/>
                  </a:cubicBezTo>
                  <a:cubicBezTo>
                    <a:pt x="692" y="375"/>
                    <a:pt x="672" y="385"/>
                    <a:pt x="643" y="409"/>
                  </a:cubicBezTo>
                  <a:cubicBezTo>
                    <a:pt x="633" y="419"/>
                    <a:pt x="628" y="429"/>
                    <a:pt x="614" y="438"/>
                  </a:cubicBezTo>
                  <a:cubicBezTo>
                    <a:pt x="560" y="473"/>
                    <a:pt x="521" y="487"/>
                    <a:pt x="463" y="521"/>
                  </a:cubicBezTo>
                  <a:cubicBezTo>
                    <a:pt x="429" y="541"/>
                    <a:pt x="409" y="556"/>
                    <a:pt x="375" y="570"/>
                  </a:cubicBezTo>
                  <a:cubicBezTo>
                    <a:pt x="326" y="589"/>
                    <a:pt x="302" y="604"/>
                    <a:pt x="268" y="638"/>
                  </a:cubicBezTo>
                  <a:cubicBezTo>
                    <a:pt x="248" y="658"/>
                    <a:pt x="239" y="672"/>
                    <a:pt x="224" y="692"/>
                  </a:cubicBezTo>
                  <a:cubicBezTo>
                    <a:pt x="209" y="706"/>
                    <a:pt x="195" y="706"/>
                    <a:pt x="175" y="726"/>
                  </a:cubicBezTo>
                  <a:cubicBezTo>
                    <a:pt x="165" y="736"/>
                    <a:pt x="151" y="750"/>
                    <a:pt x="141" y="765"/>
                  </a:cubicBezTo>
                  <a:lnTo>
                    <a:pt x="141" y="765"/>
                  </a:lnTo>
                  <a:cubicBezTo>
                    <a:pt x="137" y="736"/>
                    <a:pt x="131" y="706"/>
                    <a:pt x="131" y="677"/>
                  </a:cubicBezTo>
                  <a:cubicBezTo>
                    <a:pt x="112" y="614"/>
                    <a:pt x="112" y="565"/>
                    <a:pt x="87" y="506"/>
                  </a:cubicBezTo>
                  <a:cubicBezTo>
                    <a:pt x="73" y="463"/>
                    <a:pt x="49" y="443"/>
                    <a:pt x="34" y="399"/>
                  </a:cubicBezTo>
                  <a:cubicBezTo>
                    <a:pt x="29" y="385"/>
                    <a:pt x="29" y="370"/>
                    <a:pt x="24" y="356"/>
                  </a:cubicBezTo>
                  <a:cubicBezTo>
                    <a:pt x="10" y="312"/>
                    <a:pt x="0" y="283"/>
                    <a:pt x="0" y="234"/>
                  </a:cubicBezTo>
                  <a:lnTo>
                    <a:pt x="0" y="234"/>
                  </a:lnTo>
                  <a:cubicBezTo>
                    <a:pt x="667" y="0"/>
                    <a:pt x="667" y="0"/>
                    <a:pt x="667" y="0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3" name="Freeform 64"/>
            <p:cNvSpPr>
              <a:spLocks noChangeArrowheads="1"/>
            </p:cNvSpPr>
            <p:nvPr/>
          </p:nvSpPr>
          <p:spPr bwMode="auto">
            <a:xfrm>
              <a:off x="13330069" y="3837035"/>
              <a:ext cx="2200991" cy="1615846"/>
            </a:xfrm>
            <a:custGeom>
              <a:avLst/>
              <a:gdLst>
                <a:gd name="T0" fmla="*/ 2771 w 3469"/>
                <a:gd name="T1" fmla="*/ 2475 h 2549"/>
                <a:gd name="T2" fmla="*/ 2786 w 3469"/>
                <a:gd name="T3" fmla="*/ 2509 h 2549"/>
                <a:gd name="T4" fmla="*/ 3058 w 3469"/>
                <a:gd name="T5" fmla="*/ 2333 h 2549"/>
                <a:gd name="T6" fmla="*/ 3204 w 3469"/>
                <a:gd name="T7" fmla="*/ 2221 h 2549"/>
                <a:gd name="T8" fmla="*/ 3312 w 3469"/>
                <a:gd name="T9" fmla="*/ 2119 h 2549"/>
                <a:gd name="T10" fmla="*/ 3468 w 3469"/>
                <a:gd name="T11" fmla="*/ 1959 h 2549"/>
                <a:gd name="T12" fmla="*/ 3448 w 3469"/>
                <a:gd name="T13" fmla="*/ 1944 h 2549"/>
                <a:gd name="T14" fmla="*/ 3268 w 3469"/>
                <a:gd name="T15" fmla="*/ 2061 h 2549"/>
                <a:gd name="T16" fmla="*/ 3068 w 3469"/>
                <a:gd name="T17" fmla="*/ 2158 h 2549"/>
                <a:gd name="T18" fmla="*/ 2795 w 3469"/>
                <a:gd name="T19" fmla="*/ 2396 h 2549"/>
                <a:gd name="T20" fmla="*/ 0 w 3469"/>
                <a:gd name="T21" fmla="*/ 2548 h 2549"/>
                <a:gd name="T22" fmla="*/ 0 w 3469"/>
                <a:gd name="T23" fmla="*/ 2548 h 2549"/>
                <a:gd name="T24" fmla="*/ 170 w 3469"/>
                <a:gd name="T25" fmla="*/ 2363 h 2549"/>
                <a:gd name="T26" fmla="*/ 268 w 3469"/>
                <a:gd name="T27" fmla="*/ 2270 h 2549"/>
                <a:gd name="T28" fmla="*/ 355 w 3469"/>
                <a:gd name="T29" fmla="*/ 2177 h 2549"/>
                <a:gd name="T30" fmla="*/ 487 w 3469"/>
                <a:gd name="T31" fmla="*/ 1992 h 2549"/>
                <a:gd name="T32" fmla="*/ 428 w 3469"/>
                <a:gd name="T33" fmla="*/ 1915 h 2549"/>
                <a:gd name="T34" fmla="*/ 409 w 3469"/>
                <a:gd name="T35" fmla="*/ 1939 h 2549"/>
                <a:gd name="T36" fmla="*/ 399 w 3469"/>
                <a:gd name="T37" fmla="*/ 1954 h 2549"/>
                <a:gd name="T38" fmla="*/ 375 w 3469"/>
                <a:gd name="T39" fmla="*/ 1915 h 2549"/>
                <a:gd name="T40" fmla="*/ 360 w 3469"/>
                <a:gd name="T41" fmla="*/ 1880 h 2549"/>
                <a:gd name="T42" fmla="*/ 346 w 3469"/>
                <a:gd name="T43" fmla="*/ 1837 h 2549"/>
                <a:gd name="T44" fmla="*/ 360 w 3469"/>
                <a:gd name="T45" fmla="*/ 1773 h 2549"/>
                <a:gd name="T46" fmla="*/ 341 w 3469"/>
                <a:gd name="T47" fmla="*/ 1729 h 2549"/>
                <a:gd name="T48" fmla="*/ 424 w 3469"/>
                <a:gd name="T49" fmla="*/ 1695 h 2549"/>
                <a:gd name="T50" fmla="*/ 653 w 3469"/>
                <a:gd name="T51" fmla="*/ 1598 h 2549"/>
                <a:gd name="T52" fmla="*/ 818 w 3469"/>
                <a:gd name="T53" fmla="*/ 1593 h 2549"/>
                <a:gd name="T54" fmla="*/ 984 w 3469"/>
                <a:gd name="T55" fmla="*/ 1545 h 2549"/>
                <a:gd name="T56" fmla="*/ 1212 w 3469"/>
                <a:gd name="T57" fmla="*/ 1432 h 2549"/>
                <a:gd name="T58" fmla="*/ 1286 w 3469"/>
                <a:gd name="T59" fmla="*/ 1364 h 2549"/>
                <a:gd name="T60" fmla="*/ 1427 w 3469"/>
                <a:gd name="T61" fmla="*/ 1257 h 2549"/>
                <a:gd name="T62" fmla="*/ 1369 w 3469"/>
                <a:gd name="T63" fmla="*/ 1184 h 2549"/>
                <a:gd name="T64" fmla="*/ 1354 w 3469"/>
                <a:gd name="T65" fmla="*/ 1116 h 2549"/>
                <a:gd name="T66" fmla="*/ 1373 w 3469"/>
                <a:gd name="T67" fmla="*/ 979 h 2549"/>
                <a:gd name="T68" fmla="*/ 1305 w 3469"/>
                <a:gd name="T69" fmla="*/ 984 h 2549"/>
                <a:gd name="T70" fmla="*/ 1208 w 3469"/>
                <a:gd name="T71" fmla="*/ 931 h 2549"/>
                <a:gd name="T72" fmla="*/ 1325 w 3469"/>
                <a:gd name="T73" fmla="*/ 775 h 2549"/>
                <a:gd name="T74" fmla="*/ 1397 w 3469"/>
                <a:gd name="T75" fmla="*/ 629 h 2549"/>
                <a:gd name="T76" fmla="*/ 1388 w 3469"/>
                <a:gd name="T77" fmla="*/ 609 h 2549"/>
                <a:gd name="T78" fmla="*/ 1451 w 3469"/>
                <a:gd name="T79" fmla="*/ 487 h 2549"/>
                <a:gd name="T80" fmla="*/ 1593 w 3469"/>
                <a:gd name="T81" fmla="*/ 288 h 2549"/>
                <a:gd name="T82" fmla="*/ 1763 w 3469"/>
                <a:gd name="T83" fmla="*/ 176 h 2549"/>
                <a:gd name="T84" fmla="*/ 2216 w 3469"/>
                <a:gd name="T85" fmla="*/ 0 h 2549"/>
                <a:gd name="T86" fmla="*/ 2250 w 3469"/>
                <a:gd name="T87" fmla="*/ 195 h 2549"/>
                <a:gd name="T88" fmla="*/ 2342 w 3469"/>
                <a:gd name="T89" fmla="*/ 395 h 2549"/>
                <a:gd name="T90" fmla="*/ 2445 w 3469"/>
                <a:gd name="T91" fmla="*/ 677 h 2549"/>
                <a:gd name="T92" fmla="*/ 2640 w 3469"/>
                <a:gd name="T93" fmla="*/ 1140 h 2549"/>
                <a:gd name="T94" fmla="*/ 2654 w 3469"/>
                <a:gd name="T95" fmla="*/ 1208 h 2549"/>
                <a:gd name="T96" fmla="*/ 2669 w 3469"/>
                <a:gd name="T97" fmla="*/ 1423 h 2549"/>
                <a:gd name="T98" fmla="*/ 2688 w 3469"/>
                <a:gd name="T99" fmla="*/ 1588 h 2549"/>
                <a:gd name="T100" fmla="*/ 2708 w 3469"/>
                <a:gd name="T101" fmla="*/ 1637 h 2549"/>
                <a:gd name="T102" fmla="*/ 2742 w 3469"/>
                <a:gd name="T103" fmla="*/ 1802 h 2549"/>
                <a:gd name="T104" fmla="*/ 2839 w 3469"/>
                <a:gd name="T105" fmla="*/ 2080 h 2549"/>
                <a:gd name="T106" fmla="*/ 2849 w 3469"/>
                <a:gd name="T107" fmla="*/ 2168 h 2549"/>
                <a:gd name="T108" fmla="*/ 2806 w 3469"/>
                <a:gd name="T109" fmla="*/ 2231 h 2549"/>
                <a:gd name="T110" fmla="*/ 2591 w 3469"/>
                <a:gd name="T111" fmla="*/ 2260 h 2549"/>
                <a:gd name="T112" fmla="*/ 2314 w 3469"/>
                <a:gd name="T113" fmla="*/ 2192 h 2549"/>
                <a:gd name="T114" fmla="*/ 2187 w 3469"/>
                <a:gd name="T115" fmla="*/ 2148 h 2549"/>
                <a:gd name="T116" fmla="*/ 2109 w 3469"/>
                <a:gd name="T117" fmla="*/ 2026 h 2549"/>
                <a:gd name="T118" fmla="*/ 2002 w 3469"/>
                <a:gd name="T119" fmla="*/ 1959 h 2549"/>
                <a:gd name="T120" fmla="*/ 0 w 3469"/>
                <a:gd name="T121" fmla="*/ 2548 h 2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69" h="2549">
                  <a:moveTo>
                    <a:pt x="2771" y="2475"/>
                  </a:moveTo>
                  <a:lnTo>
                    <a:pt x="2771" y="2475"/>
                  </a:lnTo>
                  <a:cubicBezTo>
                    <a:pt x="2771" y="2504"/>
                    <a:pt x="2771" y="2504"/>
                    <a:pt x="2771" y="2504"/>
                  </a:cubicBezTo>
                  <a:cubicBezTo>
                    <a:pt x="2786" y="2509"/>
                    <a:pt x="2786" y="2509"/>
                    <a:pt x="2786" y="2509"/>
                  </a:cubicBezTo>
                  <a:cubicBezTo>
                    <a:pt x="2845" y="2475"/>
                    <a:pt x="2883" y="2460"/>
                    <a:pt x="2936" y="2426"/>
                  </a:cubicBezTo>
                  <a:cubicBezTo>
                    <a:pt x="2991" y="2396"/>
                    <a:pt x="3010" y="2363"/>
                    <a:pt x="3058" y="2333"/>
                  </a:cubicBezTo>
                  <a:cubicBezTo>
                    <a:pt x="3093" y="2314"/>
                    <a:pt x="3117" y="2299"/>
                    <a:pt x="3151" y="2275"/>
                  </a:cubicBezTo>
                  <a:cubicBezTo>
                    <a:pt x="3176" y="2260"/>
                    <a:pt x="3180" y="2241"/>
                    <a:pt x="3204" y="2221"/>
                  </a:cubicBezTo>
                  <a:cubicBezTo>
                    <a:pt x="3224" y="2197"/>
                    <a:pt x="3243" y="2192"/>
                    <a:pt x="3263" y="2172"/>
                  </a:cubicBezTo>
                  <a:cubicBezTo>
                    <a:pt x="3282" y="2153"/>
                    <a:pt x="3293" y="2139"/>
                    <a:pt x="3312" y="2119"/>
                  </a:cubicBezTo>
                  <a:cubicBezTo>
                    <a:pt x="3346" y="2090"/>
                    <a:pt x="3370" y="2075"/>
                    <a:pt x="3404" y="2046"/>
                  </a:cubicBezTo>
                  <a:cubicBezTo>
                    <a:pt x="3429" y="2012"/>
                    <a:pt x="3468" y="2002"/>
                    <a:pt x="3468" y="1959"/>
                  </a:cubicBezTo>
                  <a:cubicBezTo>
                    <a:pt x="3468" y="1954"/>
                    <a:pt x="3468" y="1954"/>
                    <a:pt x="3468" y="1944"/>
                  </a:cubicBezTo>
                  <a:cubicBezTo>
                    <a:pt x="3458" y="1948"/>
                    <a:pt x="3453" y="1944"/>
                    <a:pt x="3448" y="1944"/>
                  </a:cubicBezTo>
                  <a:cubicBezTo>
                    <a:pt x="3400" y="1983"/>
                    <a:pt x="3385" y="2022"/>
                    <a:pt x="3331" y="2046"/>
                  </a:cubicBezTo>
                  <a:cubicBezTo>
                    <a:pt x="3307" y="2051"/>
                    <a:pt x="3293" y="2051"/>
                    <a:pt x="3268" y="2061"/>
                  </a:cubicBezTo>
                  <a:cubicBezTo>
                    <a:pt x="3243" y="2075"/>
                    <a:pt x="3234" y="2095"/>
                    <a:pt x="3210" y="2105"/>
                  </a:cubicBezTo>
                  <a:cubicBezTo>
                    <a:pt x="3156" y="2129"/>
                    <a:pt x="3127" y="2144"/>
                    <a:pt x="3068" y="2158"/>
                  </a:cubicBezTo>
                  <a:cubicBezTo>
                    <a:pt x="2981" y="2177"/>
                    <a:pt x="2942" y="2221"/>
                    <a:pt x="2873" y="2280"/>
                  </a:cubicBezTo>
                  <a:cubicBezTo>
                    <a:pt x="2834" y="2318"/>
                    <a:pt x="2815" y="2348"/>
                    <a:pt x="2795" y="2396"/>
                  </a:cubicBezTo>
                  <a:cubicBezTo>
                    <a:pt x="2786" y="2426"/>
                    <a:pt x="2771" y="2440"/>
                    <a:pt x="2771" y="2475"/>
                  </a:cubicBezTo>
                  <a:close/>
                  <a:moveTo>
                    <a:pt x="0" y="2548"/>
                  </a:moveTo>
                  <a:lnTo>
                    <a:pt x="0" y="2548"/>
                  </a:lnTo>
                  <a:lnTo>
                    <a:pt x="0" y="2548"/>
                  </a:lnTo>
                  <a:cubicBezTo>
                    <a:pt x="9" y="2538"/>
                    <a:pt x="24" y="2528"/>
                    <a:pt x="34" y="2514"/>
                  </a:cubicBezTo>
                  <a:cubicBezTo>
                    <a:pt x="82" y="2450"/>
                    <a:pt x="107" y="2411"/>
                    <a:pt x="170" y="2363"/>
                  </a:cubicBezTo>
                  <a:cubicBezTo>
                    <a:pt x="189" y="2348"/>
                    <a:pt x="204" y="2338"/>
                    <a:pt x="219" y="2329"/>
                  </a:cubicBezTo>
                  <a:cubicBezTo>
                    <a:pt x="243" y="2309"/>
                    <a:pt x="253" y="2290"/>
                    <a:pt x="268" y="2270"/>
                  </a:cubicBezTo>
                  <a:cubicBezTo>
                    <a:pt x="282" y="2255"/>
                    <a:pt x="292" y="2255"/>
                    <a:pt x="302" y="2246"/>
                  </a:cubicBezTo>
                  <a:cubicBezTo>
                    <a:pt x="326" y="2221"/>
                    <a:pt x="336" y="2202"/>
                    <a:pt x="355" y="2177"/>
                  </a:cubicBezTo>
                  <a:cubicBezTo>
                    <a:pt x="394" y="2129"/>
                    <a:pt x="424" y="2105"/>
                    <a:pt x="457" y="2051"/>
                  </a:cubicBezTo>
                  <a:cubicBezTo>
                    <a:pt x="472" y="2031"/>
                    <a:pt x="487" y="2017"/>
                    <a:pt x="487" y="1992"/>
                  </a:cubicBezTo>
                  <a:cubicBezTo>
                    <a:pt x="487" y="1978"/>
                    <a:pt x="472" y="1973"/>
                    <a:pt x="462" y="1959"/>
                  </a:cubicBezTo>
                  <a:cubicBezTo>
                    <a:pt x="448" y="1944"/>
                    <a:pt x="438" y="1934"/>
                    <a:pt x="428" y="1915"/>
                  </a:cubicBezTo>
                  <a:cubicBezTo>
                    <a:pt x="424" y="1919"/>
                    <a:pt x="413" y="1919"/>
                    <a:pt x="413" y="1924"/>
                  </a:cubicBezTo>
                  <a:cubicBezTo>
                    <a:pt x="409" y="1929"/>
                    <a:pt x="409" y="1934"/>
                    <a:pt x="409" y="1939"/>
                  </a:cubicBezTo>
                  <a:cubicBezTo>
                    <a:pt x="404" y="1944"/>
                    <a:pt x="399" y="1948"/>
                    <a:pt x="399" y="1954"/>
                  </a:cubicBezTo>
                  <a:lnTo>
                    <a:pt x="399" y="1954"/>
                  </a:lnTo>
                  <a:cubicBezTo>
                    <a:pt x="389" y="1944"/>
                    <a:pt x="389" y="1934"/>
                    <a:pt x="380" y="1924"/>
                  </a:cubicBezTo>
                  <a:cubicBezTo>
                    <a:pt x="380" y="1919"/>
                    <a:pt x="375" y="1919"/>
                    <a:pt x="375" y="1915"/>
                  </a:cubicBezTo>
                  <a:cubicBezTo>
                    <a:pt x="370" y="1909"/>
                    <a:pt x="370" y="1904"/>
                    <a:pt x="365" y="1900"/>
                  </a:cubicBezTo>
                  <a:cubicBezTo>
                    <a:pt x="360" y="1890"/>
                    <a:pt x="360" y="1890"/>
                    <a:pt x="360" y="1880"/>
                  </a:cubicBezTo>
                  <a:cubicBezTo>
                    <a:pt x="355" y="1880"/>
                    <a:pt x="355" y="1876"/>
                    <a:pt x="350" y="1871"/>
                  </a:cubicBezTo>
                  <a:cubicBezTo>
                    <a:pt x="346" y="1856"/>
                    <a:pt x="346" y="1851"/>
                    <a:pt x="346" y="1837"/>
                  </a:cubicBezTo>
                  <a:cubicBezTo>
                    <a:pt x="346" y="1822"/>
                    <a:pt x="350" y="1812"/>
                    <a:pt x="355" y="1802"/>
                  </a:cubicBezTo>
                  <a:cubicBezTo>
                    <a:pt x="355" y="1793"/>
                    <a:pt x="360" y="1783"/>
                    <a:pt x="360" y="1773"/>
                  </a:cubicBezTo>
                  <a:cubicBezTo>
                    <a:pt x="360" y="1763"/>
                    <a:pt x="355" y="1759"/>
                    <a:pt x="350" y="1749"/>
                  </a:cubicBezTo>
                  <a:cubicBezTo>
                    <a:pt x="346" y="1744"/>
                    <a:pt x="341" y="1739"/>
                    <a:pt x="341" y="1729"/>
                  </a:cubicBezTo>
                  <a:lnTo>
                    <a:pt x="341" y="1729"/>
                  </a:lnTo>
                  <a:cubicBezTo>
                    <a:pt x="370" y="1719"/>
                    <a:pt x="389" y="1710"/>
                    <a:pt x="424" y="1695"/>
                  </a:cubicBezTo>
                  <a:cubicBezTo>
                    <a:pt x="462" y="1681"/>
                    <a:pt x="487" y="1666"/>
                    <a:pt x="531" y="1647"/>
                  </a:cubicBezTo>
                  <a:cubicBezTo>
                    <a:pt x="574" y="1627"/>
                    <a:pt x="599" y="1613"/>
                    <a:pt x="653" y="1598"/>
                  </a:cubicBezTo>
                  <a:cubicBezTo>
                    <a:pt x="687" y="1588"/>
                    <a:pt x="711" y="1578"/>
                    <a:pt x="750" y="1578"/>
                  </a:cubicBezTo>
                  <a:cubicBezTo>
                    <a:pt x="774" y="1578"/>
                    <a:pt x="789" y="1593"/>
                    <a:pt x="818" y="1593"/>
                  </a:cubicBezTo>
                  <a:cubicBezTo>
                    <a:pt x="857" y="1593"/>
                    <a:pt x="877" y="1583"/>
                    <a:pt x="916" y="1569"/>
                  </a:cubicBezTo>
                  <a:cubicBezTo>
                    <a:pt x="940" y="1559"/>
                    <a:pt x="960" y="1559"/>
                    <a:pt x="984" y="1545"/>
                  </a:cubicBezTo>
                  <a:cubicBezTo>
                    <a:pt x="1047" y="1515"/>
                    <a:pt x="1076" y="1486"/>
                    <a:pt x="1145" y="1461"/>
                  </a:cubicBezTo>
                  <a:cubicBezTo>
                    <a:pt x="1169" y="1456"/>
                    <a:pt x="1188" y="1447"/>
                    <a:pt x="1212" y="1432"/>
                  </a:cubicBezTo>
                  <a:cubicBezTo>
                    <a:pt x="1232" y="1423"/>
                    <a:pt x="1247" y="1418"/>
                    <a:pt x="1256" y="1403"/>
                  </a:cubicBezTo>
                  <a:cubicBezTo>
                    <a:pt x="1266" y="1388"/>
                    <a:pt x="1271" y="1374"/>
                    <a:pt x="1286" y="1364"/>
                  </a:cubicBezTo>
                  <a:cubicBezTo>
                    <a:pt x="1320" y="1345"/>
                    <a:pt x="1349" y="1340"/>
                    <a:pt x="1378" y="1310"/>
                  </a:cubicBezTo>
                  <a:cubicBezTo>
                    <a:pt x="1397" y="1296"/>
                    <a:pt x="1427" y="1286"/>
                    <a:pt x="1427" y="1257"/>
                  </a:cubicBezTo>
                  <a:cubicBezTo>
                    <a:pt x="1427" y="1242"/>
                    <a:pt x="1412" y="1238"/>
                    <a:pt x="1402" y="1227"/>
                  </a:cubicBezTo>
                  <a:cubicBezTo>
                    <a:pt x="1383" y="1213"/>
                    <a:pt x="1378" y="1203"/>
                    <a:pt x="1369" y="1184"/>
                  </a:cubicBezTo>
                  <a:cubicBezTo>
                    <a:pt x="1354" y="1164"/>
                    <a:pt x="1334" y="1150"/>
                    <a:pt x="1334" y="1125"/>
                  </a:cubicBezTo>
                  <a:cubicBezTo>
                    <a:pt x="1334" y="1116"/>
                    <a:pt x="1349" y="1121"/>
                    <a:pt x="1354" y="1116"/>
                  </a:cubicBezTo>
                  <a:cubicBezTo>
                    <a:pt x="1364" y="1101"/>
                    <a:pt x="1373" y="1086"/>
                    <a:pt x="1373" y="1067"/>
                  </a:cubicBezTo>
                  <a:cubicBezTo>
                    <a:pt x="1373" y="979"/>
                    <a:pt x="1373" y="979"/>
                    <a:pt x="1373" y="979"/>
                  </a:cubicBezTo>
                  <a:cubicBezTo>
                    <a:pt x="1369" y="975"/>
                    <a:pt x="1364" y="970"/>
                    <a:pt x="1358" y="970"/>
                  </a:cubicBezTo>
                  <a:cubicBezTo>
                    <a:pt x="1339" y="970"/>
                    <a:pt x="1330" y="984"/>
                    <a:pt x="1305" y="984"/>
                  </a:cubicBezTo>
                  <a:cubicBezTo>
                    <a:pt x="1276" y="984"/>
                    <a:pt x="1256" y="979"/>
                    <a:pt x="1237" y="960"/>
                  </a:cubicBezTo>
                  <a:cubicBezTo>
                    <a:pt x="1222" y="955"/>
                    <a:pt x="1208" y="945"/>
                    <a:pt x="1208" y="931"/>
                  </a:cubicBezTo>
                  <a:cubicBezTo>
                    <a:pt x="1208" y="906"/>
                    <a:pt x="1227" y="892"/>
                    <a:pt x="1242" y="872"/>
                  </a:cubicBezTo>
                  <a:cubicBezTo>
                    <a:pt x="1266" y="829"/>
                    <a:pt x="1295" y="814"/>
                    <a:pt x="1325" y="775"/>
                  </a:cubicBezTo>
                  <a:cubicBezTo>
                    <a:pt x="1344" y="746"/>
                    <a:pt x="1354" y="726"/>
                    <a:pt x="1369" y="697"/>
                  </a:cubicBezTo>
                  <a:cubicBezTo>
                    <a:pt x="1383" y="672"/>
                    <a:pt x="1397" y="658"/>
                    <a:pt x="1397" y="629"/>
                  </a:cubicBezTo>
                  <a:cubicBezTo>
                    <a:pt x="1397" y="624"/>
                    <a:pt x="1393" y="614"/>
                    <a:pt x="1388" y="609"/>
                  </a:cubicBezTo>
                  <a:lnTo>
                    <a:pt x="1388" y="609"/>
                  </a:lnTo>
                  <a:cubicBezTo>
                    <a:pt x="1402" y="585"/>
                    <a:pt x="1408" y="570"/>
                    <a:pt x="1417" y="546"/>
                  </a:cubicBezTo>
                  <a:cubicBezTo>
                    <a:pt x="1427" y="522"/>
                    <a:pt x="1436" y="512"/>
                    <a:pt x="1451" y="487"/>
                  </a:cubicBezTo>
                  <a:cubicBezTo>
                    <a:pt x="1480" y="434"/>
                    <a:pt x="1485" y="395"/>
                    <a:pt x="1519" y="346"/>
                  </a:cubicBezTo>
                  <a:cubicBezTo>
                    <a:pt x="1544" y="317"/>
                    <a:pt x="1563" y="312"/>
                    <a:pt x="1593" y="288"/>
                  </a:cubicBezTo>
                  <a:cubicBezTo>
                    <a:pt x="1626" y="258"/>
                    <a:pt x="1641" y="229"/>
                    <a:pt x="1680" y="210"/>
                  </a:cubicBezTo>
                  <a:cubicBezTo>
                    <a:pt x="1709" y="195"/>
                    <a:pt x="1734" y="190"/>
                    <a:pt x="1763" y="176"/>
                  </a:cubicBezTo>
                  <a:cubicBezTo>
                    <a:pt x="2216" y="0"/>
                    <a:pt x="2216" y="0"/>
                    <a:pt x="2216" y="0"/>
                  </a:cubicBezTo>
                  <a:lnTo>
                    <a:pt x="2216" y="0"/>
                  </a:lnTo>
                  <a:cubicBezTo>
                    <a:pt x="2216" y="49"/>
                    <a:pt x="2226" y="78"/>
                    <a:pt x="2240" y="122"/>
                  </a:cubicBezTo>
                  <a:cubicBezTo>
                    <a:pt x="2250" y="146"/>
                    <a:pt x="2245" y="171"/>
                    <a:pt x="2250" y="195"/>
                  </a:cubicBezTo>
                  <a:cubicBezTo>
                    <a:pt x="2260" y="215"/>
                    <a:pt x="2274" y="224"/>
                    <a:pt x="2284" y="244"/>
                  </a:cubicBezTo>
                  <a:cubicBezTo>
                    <a:pt x="2314" y="298"/>
                    <a:pt x="2333" y="331"/>
                    <a:pt x="2342" y="395"/>
                  </a:cubicBezTo>
                  <a:cubicBezTo>
                    <a:pt x="2357" y="473"/>
                    <a:pt x="2391" y="512"/>
                    <a:pt x="2406" y="589"/>
                  </a:cubicBezTo>
                  <a:cubicBezTo>
                    <a:pt x="2416" y="629"/>
                    <a:pt x="2425" y="648"/>
                    <a:pt x="2445" y="677"/>
                  </a:cubicBezTo>
                  <a:cubicBezTo>
                    <a:pt x="2469" y="721"/>
                    <a:pt x="2489" y="746"/>
                    <a:pt x="2533" y="765"/>
                  </a:cubicBezTo>
                  <a:cubicBezTo>
                    <a:pt x="2640" y="1140"/>
                    <a:pt x="2640" y="1140"/>
                    <a:pt x="2640" y="1140"/>
                  </a:cubicBezTo>
                  <a:cubicBezTo>
                    <a:pt x="2645" y="1169"/>
                    <a:pt x="2649" y="1179"/>
                    <a:pt x="2654" y="1208"/>
                  </a:cubicBezTo>
                  <a:lnTo>
                    <a:pt x="2654" y="1208"/>
                  </a:lnTo>
                  <a:cubicBezTo>
                    <a:pt x="2659" y="1301"/>
                    <a:pt x="2659" y="1301"/>
                    <a:pt x="2659" y="1301"/>
                  </a:cubicBezTo>
                  <a:cubicBezTo>
                    <a:pt x="2669" y="1423"/>
                    <a:pt x="2669" y="1423"/>
                    <a:pt x="2669" y="1423"/>
                  </a:cubicBezTo>
                  <a:cubicBezTo>
                    <a:pt x="2669" y="1495"/>
                    <a:pt x="2669" y="1495"/>
                    <a:pt x="2669" y="1495"/>
                  </a:cubicBezTo>
                  <a:cubicBezTo>
                    <a:pt x="2669" y="1534"/>
                    <a:pt x="2684" y="1554"/>
                    <a:pt x="2688" y="1588"/>
                  </a:cubicBezTo>
                  <a:cubicBezTo>
                    <a:pt x="2693" y="1613"/>
                    <a:pt x="2703" y="1613"/>
                    <a:pt x="2708" y="1637"/>
                  </a:cubicBezTo>
                  <a:lnTo>
                    <a:pt x="2708" y="1637"/>
                  </a:lnTo>
                  <a:cubicBezTo>
                    <a:pt x="2708" y="1686"/>
                    <a:pt x="2718" y="1715"/>
                    <a:pt x="2732" y="1759"/>
                  </a:cubicBezTo>
                  <a:cubicBezTo>
                    <a:pt x="2737" y="1773"/>
                    <a:pt x="2737" y="1788"/>
                    <a:pt x="2742" y="1802"/>
                  </a:cubicBezTo>
                  <a:cubicBezTo>
                    <a:pt x="2757" y="1846"/>
                    <a:pt x="2781" y="1866"/>
                    <a:pt x="2795" y="1909"/>
                  </a:cubicBezTo>
                  <a:cubicBezTo>
                    <a:pt x="2820" y="1968"/>
                    <a:pt x="2820" y="2017"/>
                    <a:pt x="2839" y="2080"/>
                  </a:cubicBezTo>
                  <a:cubicBezTo>
                    <a:pt x="2839" y="2109"/>
                    <a:pt x="2845" y="2139"/>
                    <a:pt x="2849" y="2168"/>
                  </a:cubicBezTo>
                  <a:lnTo>
                    <a:pt x="2849" y="2168"/>
                  </a:lnTo>
                  <a:cubicBezTo>
                    <a:pt x="2834" y="2187"/>
                    <a:pt x="2820" y="2207"/>
                    <a:pt x="2806" y="2231"/>
                  </a:cubicBezTo>
                  <a:lnTo>
                    <a:pt x="2806" y="2231"/>
                  </a:lnTo>
                  <a:cubicBezTo>
                    <a:pt x="2751" y="2246"/>
                    <a:pt x="2718" y="2246"/>
                    <a:pt x="2659" y="2250"/>
                  </a:cubicBezTo>
                  <a:cubicBezTo>
                    <a:pt x="2635" y="2250"/>
                    <a:pt x="2620" y="2260"/>
                    <a:pt x="2591" y="2260"/>
                  </a:cubicBezTo>
                  <a:cubicBezTo>
                    <a:pt x="2542" y="2260"/>
                    <a:pt x="2513" y="2250"/>
                    <a:pt x="2464" y="2246"/>
                  </a:cubicBezTo>
                  <a:cubicBezTo>
                    <a:pt x="2406" y="2231"/>
                    <a:pt x="2347" y="2236"/>
                    <a:pt x="2314" y="2192"/>
                  </a:cubicBezTo>
                  <a:lnTo>
                    <a:pt x="2314" y="2192"/>
                  </a:lnTo>
                  <a:cubicBezTo>
                    <a:pt x="2270" y="2172"/>
                    <a:pt x="2221" y="2182"/>
                    <a:pt x="2187" y="2148"/>
                  </a:cubicBezTo>
                  <a:cubicBezTo>
                    <a:pt x="2162" y="2129"/>
                    <a:pt x="2157" y="2105"/>
                    <a:pt x="2143" y="2075"/>
                  </a:cubicBezTo>
                  <a:cubicBezTo>
                    <a:pt x="2133" y="2056"/>
                    <a:pt x="2118" y="2046"/>
                    <a:pt x="2109" y="2026"/>
                  </a:cubicBezTo>
                  <a:cubicBezTo>
                    <a:pt x="2099" y="2012"/>
                    <a:pt x="2099" y="1992"/>
                    <a:pt x="2079" y="1983"/>
                  </a:cubicBezTo>
                  <a:cubicBezTo>
                    <a:pt x="2050" y="1968"/>
                    <a:pt x="2031" y="1973"/>
                    <a:pt x="2002" y="1959"/>
                  </a:cubicBezTo>
                  <a:cubicBezTo>
                    <a:pt x="1987" y="1954"/>
                    <a:pt x="1977" y="1948"/>
                    <a:pt x="1958" y="1944"/>
                  </a:cubicBezTo>
                  <a:cubicBezTo>
                    <a:pt x="1369" y="2153"/>
                    <a:pt x="720" y="2353"/>
                    <a:pt x="0" y="2548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4" name="Freeform 65"/>
            <p:cNvSpPr>
              <a:spLocks noChangeArrowheads="1"/>
            </p:cNvSpPr>
            <p:nvPr/>
          </p:nvSpPr>
          <p:spPr bwMode="auto">
            <a:xfrm>
              <a:off x="11501510" y="5830938"/>
              <a:ext cx="884877" cy="1565438"/>
            </a:xfrm>
            <a:custGeom>
              <a:avLst/>
              <a:gdLst>
                <a:gd name="T0" fmla="*/ 1086 w 1399"/>
                <a:gd name="T1" fmla="*/ 53 h 2471"/>
                <a:gd name="T2" fmla="*/ 1086 w 1399"/>
                <a:gd name="T3" fmla="*/ 53 h 2471"/>
                <a:gd name="T4" fmla="*/ 1354 w 1399"/>
                <a:gd name="T5" fmla="*/ 1510 h 2471"/>
                <a:gd name="T6" fmla="*/ 1354 w 1399"/>
                <a:gd name="T7" fmla="*/ 1510 h 2471"/>
                <a:gd name="T8" fmla="*/ 1315 w 1399"/>
                <a:gd name="T9" fmla="*/ 1568 h 2471"/>
                <a:gd name="T10" fmla="*/ 1325 w 1399"/>
                <a:gd name="T11" fmla="*/ 1597 h 2471"/>
                <a:gd name="T12" fmla="*/ 1398 w 1399"/>
                <a:gd name="T13" fmla="*/ 1685 h 2471"/>
                <a:gd name="T14" fmla="*/ 1388 w 1399"/>
                <a:gd name="T15" fmla="*/ 1700 h 2471"/>
                <a:gd name="T16" fmla="*/ 1296 w 1399"/>
                <a:gd name="T17" fmla="*/ 1729 h 2471"/>
                <a:gd name="T18" fmla="*/ 1223 w 1399"/>
                <a:gd name="T19" fmla="*/ 1749 h 2471"/>
                <a:gd name="T20" fmla="*/ 1048 w 1399"/>
                <a:gd name="T21" fmla="*/ 1797 h 2471"/>
                <a:gd name="T22" fmla="*/ 1048 w 1399"/>
                <a:gd name="T23" fmla="*/ 1919 h 2471"/>
                <a:gd name="T24" fmla="*/ 1009 w 1399"/>
                <a:gd name="T25" fmla="*/ 1978 h 2471"/>
                <a:gd name="T26" fmla="*/ 984 w 1399"/>
                <a:gd name="T27" fmla="*/ 2036 h 2471"/>
                <a:gd name="T28" fmla="*/ 940 w 1399"/>
                <a:gd name="T29" fmla="*/ 2143 h 2471"/>
                <a:gd name="T30" fmla="*/ 852 w 1399"/>
                <a:gd name="T31" fmla="*/ 2235 h 2471"/>
                <a:gd name="T32" fmla="*/ 794 w 1399"/>
                <a:gd name="T33" fmla="*/ 2216 h 2471"/>
                <a:gd name="T34" fmla="*/ 745 w 1399"/>
                <a:gd name="T35" fmla="*/ 2153 h 2471"/>
                <a:gd name="T36" fmla="*/ 730 w 1399"/>
                <a:gd name="T37" fmla="*/ 2167 h 2471"/>
                <a:gd name="T38" fmla="*/ 697 w 1399"/>
                <a:gd name="T39" fmla="*/ 2177 h 2471"/>
                <a:gd name="T40" fmla="*/ 697 w 1399"/>
                <a:gd name="T41" fmla="*/ 2206 h 2471"/>
                <a:gd name="T42" fmla="*/ 697 w 1399"/>
                <a:gd name="T43" fmla="*/ 2250 h 2471"/>
                <a:gd name="T44" fmla="*/ 711 w 1399"/>
                <a:gd name="T45" fmla="*/ 2285 h 2471"/>
                <a:gd name="T46" fmla="*/ 697 w 1399"/>
                <a:gd name="T47" fmla="*/ 2304 h 2471"/>
                <a:gd name="T48" fmla="*/ 658 w 1399"/>
                <a:gd name="T49" fmla="*/ 2323 h 2471"/>
                <a:gd name="T50" fmla="*/ 594 w 1399"/>
                <a:gd name="T51" fmla="*/ 2304 h 2471"/>
                <a:gd name="T52" fmla="*/ 565 w 1399"/>
                <a:gd name="T53" fmla="*/ 2328 h 2471"/>
                <a:gd name="T54" fmla="*/ 502 w 1399"/>
                <a:gd name="T55" fmla="*/ 2367 h 2471"/>
                <a:gd name="T56" fmla="*/ 448 w 1399"/>
                <a:gd name="T57" fmla="*/ 2406 h 2471"/>
                <a:gd name="T58" fmla="*/ 395 w 1399"/>
                <a:gd name="T59" fmla="*/ 2450 h 2471"/>
                <a:gd name="T60" fmla="*/ 365 w 1399"/>
                <a:gd name="T61" fmla="*/ 2430 h 2471"/>
                <a:gd name="T62" fmla="*/ 321 w 1399"/>
                <a:gd name="T63" fmla="*/ 2411 h 2471"/>
                <a:gd name="T64" fmla="*/ 263 w 1399"/>
                <a:gd name="T65" fmla="*/ 2401 h 2471"/>
                <a:gd name="T66" fmla="*/ 229 w 1399"/>
                <a:gd name="T67" fmla="*/ 2396 h 2471"/>
                <a:gd name="T68" fmla="*/ 195 w 1399"/>
                <a:gd name="T69" fmla="*/ 2459 h 2471"/>
                <a:gd name="T70" fmla="*/ 166 w 1399"/>
                <a:gd name="T71" fmla="*/ 2470 h 2471"/>
                <a:gd name="T72" fmla="*/ 122 w 1399"/>
                <a:gd name="T73" fmla="*/ 2459 h 2471"/>
                <a:gd name="T74" fmla="*/ 122 w 1399"/>
                <a:gd name="T75" fmla="*/ 2459 h 2471"/>
                <a:gd name="T76" fmla="*/ 64 w 1399"/>
                <a:gd name="T77" fmla="*/ 2401 h 2471"/>
                <a:gd name="T78" fmla="*/ 73 w 1399"/>
                <a:gd name="T79" fmla="*/ 2367 h 2471"/>
                <a:gd name="T80" fmla="*/ 73 w 1399"/>
                <a:gd name="T81" fmla="*/ 2323 h 2471"/>
                <a:gd name="T82" fmla="*/ 83 w 1399"/>
                <a:gd name="T83" fmla="*/ 2280 h 2471"/>
                <a:gd name="T84" fmla="*/ 88 w 1399"/>
                <a:gd name="T85" fmla="*/ 2202 h 2471"/>
                <a:gd name="T86" fmla="*/ 117 w 1399"/>
                <a:gd name="T87" fmla="*/ 2158 h 2471"/>
                <a:gd name="T88" fmla="*/ 156 w 1399"/>
                <a:gd name="T89" fmla="*/ 2036 h 2471"/>
                <a:gd name="T90" fmla="*/ 195 w 1399"/>
                <a:gd name="T91" fmla="*/ 1899 h 2471"/>
                <a:gd name="T92" fmla="*/ 166 w 1399"/>
                <a:gd name="T93" fmla="*/ 1734 h 2471"/>
                <a:gd name="T94" fmla="*/ 132 w 1399"/>
                <a:gd name="T95" fmla="*/ 1602 h 2471"/>
                <a:gd name="T96" fmla="*/ 180 w 1399"/>
                <a:gd name="T97" fmla="*/ 1525 h 2471"/>
                <a:gd name="T98" fmla="*/ 0 w 1399"/>
                <a:gd name="T99" fmla="*/ 248 h 2471"/>
                <a:gd name="T100" fmla="*/ 0 w 1399"/>
                <a:gd name="T101" fmla="*/ 248 h 2471"/>
                <a:gd name="T102" fmla="*/ 25 w 1399"/>
                <a:gd name="T103" fmla="*/ 253 h 2471"/>
                <a:gd name="T104" fmla="*/ 180 w 1399"/>
                <a:gd name="T105" fmla="*/ 185 h 2471"/>
                <a:gd name="T106" fmla="*/ 234 w 1399"/>
                <a:gd name="T107" fmla="*/ 156 h 2471"/>
                <a:gd name="T108" fmla="*/ 234 w 1399"/>
                <a:gd name="T109" fmla="*/ 156 h 2471"/>
                <a:gd name="T110" fmla="*/ 1076 w 1399"/>
                <a:gd name="T111" fmla="*/ 0 h 2471"/>
                <a:gd name="T112" fmla="*/ 1086 w 1399"/>
                <a:gd name="T113" fmla="*/ 53 h 2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99" h="2471">
                  <a:moveTo>
                    <a:pt x="1086" y="53"/>
                  </a:moveTo>
                  <a:lnTo>
                    <a:pt x="1086" y="53"/>
                  </a:lnTo>
                  <a:cubicBezTo>
                    <a:pt x="1354" y="1510"/>
                    <a:pt x="1354" y="1510"/>
                    <a:pt x="1354" y="1510"/>
                  </a:cubicBezTo>
                  <a:lnTo>
                    <a:pt x="1354" y="1510"/>
                  </a:lnTo>
                  <a:cubicBezTo>
                    <a:pt x="1335" y="1529"/>
                    <a:pt x="1315" y="1539"/>
                    <a:pt x="1315" y="1568"/>
                  </a:cubicBezTo>
                  <a:cubicBezTo>
                    <a:pt x="1315" y="1578"/>
                    <a:pt x="1320" y="1588"/>
                    <a:pt x="1325" y="1597"/>
                  </a:cubicBezTo>
                  <a:cubicBezTo>
                    <a:pt x="1344" y="1636"/>
                    <a:pt x="1364" y="1656"/>
                    <a:pt x="1398" y="1685"/>
                  </a:cubicBezTo>
                  <a:cubicBezTo>
                    <a:pt x="1393" y="1690"/>
                    <a:pt x="1393" y="1700"/>
                    <a:pt x="1388" y="1700"/>
                  </a:cubicBezTo>
                  <a:cubicBezTo>
                    <a:pt x="1354" y="1719"/>
                    <a:pt x="1335" y="1719"/>
                    <a:pt x="1296" y="1729"/>
                  </a:cubicBezTo>
                  <a:cubicBezTo>
                    <a:pt x="1266" y="1734"/>
                    <a:pt x="1252" y="1743"/>
                    <a:pt x="1223" y="1749"/>
                  </a:cubicBezTo>
                  <a:cubicBezTo>
                    <a:pt x="1155" y="1763"/>
                    <a:pt x="1120" y="1797"/>
                    <a:pt x="1048" y="1797"/>
                  </a:cubicBezTo>
                  <a:cubicBezTo>
                    <a:pt x="1048" y="1841"/>
                    <a:pt x="1062" y="1870"/>
                    <a:pt x="1048" y="1919"/>
                  </a:cubicBezTo>
                  <a:cubicBezTo>
                    <a:pt x="1042" y="1943"/>
                    <a:pt x="1023" y="1953"/>
                    <a:pt x="1009" y="1978"/>
                  </a:cubicBezTo>
                  <a:cubicBezTo>
                    <a:pt x="998" y="1997"/>
                    <a:pt x="994" y="2011"/>
                    <a:pt x="984" y="2036"/>
                  </a:cubicBezTo>
                  <a:cubicBezTo>
                    <a:pt x="970" y="2080"/>
                    <a:pt x="954" y="2104"/>
                    <a:pt x="940" y="2143"/>
                  </a:cubicBezTo>
                  <a:cubicBezTo>
                    <a:pt x="921" y="2187"/>
                    <a:pt x="901" y="2235"/>
                    <a:pt x="852" y="2235"/>
                  </a:cubicBezTo>
                  <a:cubicBezTo>
                    <a:pt x="828" y="2235"/>
                    <a:pt x="809" y="2235"/>
                    <a:pt x="794" y="2216"/>
                  </a:cubicBezTo>
                  <a:cubicBezTo>
                    <a:pt x="769" y="2196"/>
                    <a:pt x="775" y="2153"/>
                    <a:pt x="745" y="2153"/>
                  </a:cubicBezTo>
                  <a:cubicBezTo>
                    <a:pt x="736" y="2153"/>
                    <a:pt x="736" y="2163"/>
                    <a:pt x="730" y="2167"/>
                  </a:cubicBezTo>
                  <a:cubicBezTo>
                    <a:pt x="716" y="2172"/>
                    <a:pt x="706" y="2167"/>
                    <a:pt x="697" y="2177"/>
                  </a:cubicBezTo>
                  <a:cubicBezTo>
                    <a:pt x="692" y="2187"/>
                    <a:pt x="697" y="2196"/>
                    <a:pt x="697" y="2206"/>
                  </a:cubicBezTo>
                  <a:cubicBezTo>
                    <a:pt x="697" y="2226"/>
                    <a:pt x="692" y="2235"/>
                    <a:pt x="697" y="2250"/>
                  </a:cubicBezTo>
                  <a:cubicBezTo>
                    <a:pt x="702" y="2265"/>
                    <a:pt x="711" y="2269"/>
                    <a:pt x="711" y="2285"/>
                  </a:cubicBezTo>
                  <a:cubicBezTo>
                    <a:pt x="711" y="2294"/>
                    <a:pt x="702" y="2299"/>
                    <a:pt x="697" y="2304"/>
                  </a:cubicBezTo>
                  <a:cubicBezTo>
                    <a:pt x="682" y="2313"/>
                    <a:pt x="672" y="2323"/>
                    <a:pt x="658" y="2323"/>
                  </a:cubicBezTo>
                  <a:cubicBezTo>
                    <a:pt x="633" y="2323"/>
                    <a:pt x="624" y="2304"/>
                    <a:pt x="594" y="2304"/>
                  </a:cubicBezTo>
                  <a:cubicBezTo>
                    <a:pt x="580" y="2304"/>
                    <a:pt x="575" y="2318"/>
                    <a:pt x="565" y="2328"/>
                  </a:cubicBezTo>
                  <a:cubicBezTo>
                    <a:pt x="541" y="2348"/>
                    <a:pt x="526" y="2357"/>
                    <a:pt x="502" y="2367"/>
                  </a:cubicBezTo>
                  <a:cubicBezTo>
                    <a:pt x="482" y="2382"/>
                    <a:pt x="468" y="2391"/>
                    <a:pt x="448" y="2406"/>
                  </a:cubicBezTo>
                  <a:cubicBezTo>
                    <a:pt x="424" y="2421"/>
                    <a:pt x="419" y="2450"/>
                    <a:pt x="395" y="2450"/>
                  </a:cubicBezTo>
                  <a:cubicBezTo>
                    <a:pt x="380" y="2450"/>
                    <a:pt x="375" y="2435"/>
                    <a:pt x="365" y="2430"/>
                  </a:cubicBezTo>
                  <a:cubicBezTo>
                    <a:pt x="351" y="2421"/>
                    <a:pt x="341" y="2416"/>
                    <a:pt x="321" y="2411"/>
                  </a:cubicBezTo>
                  <a:cubicBezTo>
                    <a:pt x="297" y="2406"/>
                    <a:pt x="282" y="2406"/>
                    <a:pt x="263" y="2401"/>
                  </a:cubicBezTo>
                  <a:cubicBezTo>
                    <a:pt x="249" y="2401"/>
                    <a:pt x="244" y="2396"/>
                    <a:pt x="229" y="2396"/>
                  </a:cubicBezTo>
                  <a:cubicBezTo>
                    <a:pt x="205" y="2396"/>
                    <a:pt x="214" y="2440"/>
                    <a:pt x="195" y="2459"/>
                  </a:cubicBezTo>
                  <a:cubicBezTo>
                    <a:pt x="190" y="2470"/>
                    <a:pt x="180" y="2470"/>
                    <a:pt x="166" y="2470"/>
                  </a:cubicBezTo>
                  <a:cubicBezTo>
                    <a:pt x="151" y="2470"/>
                    <a:pt x="136" y="2464"/>
                    <a:pt x="122" y="2459"/>
                  </a:cubicBezTo>
                  <a:lnTo>
                    <a:pt x="122" y="2459"/>
                  </a:lnTo>
                  <a:cubicBezTo>
                    <a:pt x="102" y="2445"/>
                    <a:pt x="64" y="2426"/>
                    <a:pt x="64" y="2401"/>
                  </a:cubicBezTo>
                  <a:cubicBezTo>
                    <a:pt x="64" y="2387"/>
                    <a:pt x="73" y="2382"/>
                    <a:pt x="73" y="2367"/>
                  </a:cubicBezTo>
                  <a:cubicBezTo>
                    <a:pt x="73" y="2352"/>
                    <a:pt x="73" y="2343"/>
                    <a:pt x="73" y="2323"/>
                  </a:cubicBezTo>
                  <a:cubicBezTo>
                    <a:pt x="73" y="2304"/>
                    <a:pt x="83" y="2299"/>
                    <a:pt x="83" y="2280"/>
                  </a:cubicBezTo>
                  <a:cubicBezTo>
                    <a:pt x="88" y="2250"/>
                    <a:pt x="83" y="2230"/>
                    <a:pt x="88" y="2202"/>
                  </a:cubicBezTo>
                  <a:cubicBezTo>
                    <a:pt x="92" y="2182"/>
                    <a:pt x="107" y="2177"/>
                    <a:pt x="117" y="2158"/>
                  </a:cubicBezTo>
                  <a:cubicBezTo>
                    <a:pt x="141" y="2114"/>
                    <a:pt x="146" y="2080"/>
                    <a:pt x="156" y="2036"/>
                  </a:cubicBezTo>
                  <a:cubicBezTo>
                    <a:pt x="166" y="1982"/>
                    <a:pt x="195" y="1953"/>
                    <a:pt x="195" y="1899"/>
                  </a:cubicBezTo>
                  <a:cubicBezTo>
                    <a:pt x="195" y="1832"/>
                    <a:pt x="190" y="1793"/>
                    <a:pt x="166" y="1734"/>
                  </a:cubicBezTo>
                  <a:cubicBezTo>
                    <a:pt x="146" y="1685"/>
                    <a:pt x="132" y="1656"/>
                    <a:pt x="132" y="1602"/>
                  </a:cubicBezTo>
                  <a:cubicBezTo>
                    <a:pt x="132" y="1564"/>
                    <a:pt x="161" y="1559"/>
                    <a:pt x="180" y="1525"/>
                  </a:cubicBezTo>
                  <a:cubicBezTo>
                    <a:pt x="0" y="248"/>
                    <a:pt x="0" y="248"/>
                    <a:pt x="0" y="248"/>
                  </a:cubicBezTo>
                  <a:lnTo>
                    <a:pt x="0" y="248"/>
                  </a:lnTo>
                  <a:cubicBezTo>
                    <a:pt x="5" y="253"/>
                    <a:pt x="15" y="253"/>
                    <a:pt x="25" y="253"/>
                  </a:cubicBezTo>
                  <a:cubicBezTo>
                    <a:pt x="92" y="253"/>
                    <a:pt x="127" y="224"/>
                    <a:pt x="180" y="185"/>
                  </a:cubicBezTo>
                  <a:cubicBezTo>
                    <a:pt x="200" y="175"/>
                    <a:pt x="219" y="165"/>
                    <a:pt x="234" y="156"/>
                  </a:cubicBezTo>
                  <a:lnTo>
                    <a:pt x="234" y="156"/>
                  </a:lnTo>
                  <a:cubicBezTo>
                    <a:pt x="1076" y="0"/>
                    <a:pt x="1076" y="0"/>
                    <a:pt x="1076" y="0"/>
                  </a:cubicBezTo>
                  <a:cubicBezTo>
                    <a:pt x="1086" y="53"/>
                    <a:pt x="1086" y="53"/>
                    <a:pt x="1086" y="53"/>
                  </a:cubicBezTo>
                </a:path>
              </a:pathLst>
            </a:custGeom>
            <a:solidFill>
              <a:schemeClr val="accent1"/>
            </a:solidFill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5" name="Freeform 66"/>
            <p:cNvSpPr>
              <a:spLocks noChangeArrowheads="1"/>
            </p:cNvSpPr>
            <p:nvPr/>
          </p:nvSpPr>
          <p:spPr bwMode="auto">
            <a:xfrm>
              <a:off x="8824477" y="3517787"/>
              <a:ext cx="1814558" cy="2125523"/>
            </a:xfrm>
            <a:custGeom>
              <a:avLst/>
              <a:gdLst>
                <a:gd name="T0" fmla="*/ 2046 w 2860"/>
                <a:gd name="T1" fmla="*/ 1344 h 3351"/>
                <a:gd name="T2" fmla="*/ 1997 w 2860"/>
                <a:gd name="T3" fmla="*/ 1397 h 3351"/>
                <a:gd name="T4" fmla="*/ 1948 w 2860"/>
                <a:gd name="T5" fmla="*/ 1461 h 3351"/>
                <a:gd name="T6" fmla="*/ 1958 w 2860"/>
                <a:gd name="T7" fmla="*/ 1656 h 3351"/>
                <a:gd name="T8" fmla="*/ 1895 w 2860"/>
                <a:gd name="T9" fmla="*/ 1783 h 3351"/>
                <a:gd name="T10" fmla="*/ 1748 w 2860"/>
                <a:gd name="T11" fmla="*/ 2021 h 3351"/>
                <a:gd name="T12" fmla="*/ 1875 w 2860"/>
                <a:gd name="T13" fmla="*/ 2245 h 3351"/>
                <a:gd name="T14" fmla="*/ 1831 w 2860"/>
                <a:gd name="T15" fmla="*/ 2372 h 3351"/>
                <a:gd name="T16" fmla="*/ 1841 w 2860"/>
                <a:gd name="T17" fmla="*/ 2513 h 3351"/>
                <a:gd name="T18" fmla="*/ 1963 w 2860"/>
                <a:gd name="T19" fmla="*/ 2581 h 3351"/>
                <a:gd name="T20" fmla="*/ 2158 w 2860"/>
                <a:gd name="T21" fmla="*/ 2664 h 3351"/>
                <a:gd name="T22" fmla="*/ 2279 w 2860"/>
                <a:gd name="T23" fmla="*/ 2786 h 3351"/>
                <a:gd name="T24" fmla="*/ 2474 w 2860"/>
                <a:gd name="T25" fmla="*/ 2908 h 3351"/>
                <a:gd name="T26" fmla="*/ 2552 w 2860"/>
                <a:gd name="T27" fmla="*/ 3068 h 3351"/>
                <a:gd name="T28" fmla="*/ 2571 w 2860"/>
                <a:gd name="T29" fmla="*/ 3180 h 3351"/>
                <a:gd name="T30" fmla="*/ 429 w 2860"/>
                <a:gd name="T31" fmla="*/ 3350 h 3351"/>
                <a:gd name="T32" fmla="*/ 414 w 2860"/>
                <a:gd name="T33" fmla="*/ 2318 h 3351"/>
                <a:gd name="T34" fmla="*/ 307 w 2860"/>
                <a:gd name="T35" fmla="*/ 2016 h 3351"/>
                <a:gd name="T36" fmla="*/ 297 w 2860"/>
                <a:gd name="T37" fmla="*/ 1962 h 3351"/>
                <a:gd name="T38" fmla="*/ 268 w 2860"/>
                <a:gd name="T39" fmla="*/ 1728 h 3351"/>
                <a:gd name="T40" fmla="*/ 214 w 2860"/>
                <a:gd name="T41" fmla="*/ 1490 h 3351"/>
                <a:gd name="T42" fmla="*/ 214 w 2860"/>
                <a:gd name="T43" fmla="*/ 1232 h 3351"/>
                <a:gd name="T44" fmla="*/ 161 w 2860"/>
                <a:gd name="T45" fmla="*/ 979 h 3351"/>
                <a:gd name="T46" fmla="*/ 49 w 2860"/>
                <a:gd name="T47" fmla="*/ 745 h 3351"/>
                <a:gd name="T48" fmla="*/ 63 w 2860"/>
                <a:gd name="T49" fmla="*/ 662 h 3351"/>
                <a:gd name="T50" fmla="*/ 24 w 2860"/>
                <a:gd name="T51" fmla="*/ 531 h 3351"/>
                <a:gd name="T52" fmla="*/ 10 w 2860"/>
                <a:gd name="T53" fmla="*/ 346 h 3351"/>
                <a:gd name="T54" fmla="*/ 5 w 2860"/>
                <a:gd name="T55" fmla="*/ 253 h 3351"/>
                <a:gd name="T56" fmla="*/ 697 w 2860"/>
                <a:gd name="T57" fmla="*/ 214 h 3351"/>
                <a:gd name="T58" fmla="*/ 711 w 2860"/>
                <a:gd name="T59" fmla="*/ 180 h 3351"/>
                <a:gd name="T60" fmla="*/ 789 w 2860"/>
                <a:gd name="T61" fmla="*/ 4 h 3351"/>
                <a:gd name="T62" fmla="*/ 838 w 2860"/>
                <a:gd name="T63" fmla="*/ 48 h 3351"/>
                <a:gd name="T64" fmla="*/ 940 w 2860"/>
                <a:gd name="T65" fmla="*/ 277 h 3351"/>
                <a:gd name="T66" fmla="*/ 1120 w 2860"/>
                <a:gd name="T67" fmla="*/ 311 h 3351"/>
                <a:gd name="T68" fmla="*/ 1247 w 2860"/>
                <a:gd name="T69" fmla="*/ 336 h 3351"/>
                <a:gd name="T70" fmla="*/ 1339 w 2860"/>
                <a:gd name="T71" fmla="*/ 404 h 3351"/>
                <a:gd name="T72" fmla="*/ 1413 w 2860"/>
                <a:gd name="T73" fmla="*/ 370 h 3351"/>
                <a:gd name="T74" fmla="*/ 1476 w 2860"/>
                <a:gd name="T75" fmla="*/ 389 h 3351"/>
                <a:gd name="T76" fmla="*/ 1739 w 2860"/>
                <a:gd name="T77" fmla="*/ 326 h 3351"/>
                <a:gd name="T78" fmla="*/ 1812 w 2860"/>
                <a:gd name="T79" fmla="*/ 506 h 3351"/>
                <a:gd name="T80" fmla="*/ 1929 w 2860"/>
                <a:gd name="T81" fmla="*/ 453 h 3351"/>
                <a:gd name="T82" fmla="*/ 2036 w 2860"/>
                <a:gd name="T83" fmla="*/ 506 h 3351"/>
                <a:gd name="T84" fmla="*/ 2118 w 2860"/>
                <a:gd name="T85" fmla="*/ 555 h 3351"/>
                <a:gd name="T86" fmla="*/ 2284 w 2860"/>
                <a:gd name="T87" fmla="*/ 531 h 3351"/>
                <a:gd name="T88" fmla="*/ 2348 w 2860"/>
                <a:gd name="T89" fmla="*/ 511 h 3351"/>
                <a:gd name="T90" fmla="*/ 2464 w 2860"/>
                <a:gd name="T91" fmla="*/ 565 h 3351"/>
                <a:gd name="T92" fmla="*/ 2616 w 2860"/>
                <a:gd name="T93" fmla="*/ 531 h 3351"/>
                <a:gd name="T94" fmla="*/ 2859 w 2860"/>
                <a:gd name="T95" fmla="*/ 565 h 3351"/>
                <a:gd name="T96" fmla="*/ 2713 w 2860"/>
                <a:gd name="T97" fmla="*/ 677 h 3351"/>
                <a:gd name="T98" fmla="*/ 2504 w 2860"/>
                <a:gd name="T99" fmla="*/ 789 h 3351"/>
                <a:gd name="T100" fmla="*/ 2435 w 2860"/>
                <a:gd name="T101" fmla="*/ 862 h 3351"/>
                <a:gd name="T102" fmla="*/ 2270 w 2860"/>
                <a:gd name="T103" fmla="*/ 1081 h 3351"/>
                <a:gd name="T104" fmla="*/ 2173 w 2860"/>
                <a:gd name="T105" fmla="*/ 1193 h 3351"/>
                <a:gd name="T106" fmla="*/ 2094 w 2860"/>
                <a:gd name="T107" fmla="*/ 1261 h 3351"/>
                <a:gd name="T108" fmla="*/ 2046 w 2860"/>
                <a:gd name="T109" fmla="*/ 1344 h 3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60" h="3351">
                  <a:moveTo>
                    <a:pt x="2046" y="1344"/>
                  </a:moveTo>
                  <a:lnTo>
                    <a:pt x="2046" y="1344"/>
                  </a:lnTo>
                  <a:cubicBezTo>
                    <a:pt x="2036" y="1358"/>
                    <a:pt x="2026" y="1358"/>
                    <a:pt x="2016" y="1368"/>
                  </a:cubicBezTo>
                  <a:cubicBezTo>
                    <a:pt x="2007" y="1378"/>
                    <a:pt x="2007" y="1393"/>
                    <a:pt x="1997" y="1397"/>
                  </a:cubicBezTo>
                  <a:cubicBezTo>
                    <a:pt x="1982" y="1407"/>
                    <a:pt x="1972" y="1402"/>
                    <a:pt x="1963" y="1412"/>
                  </a:cubicBezTo>
                  <a:cubicBezTo>
                    <a:pt x="1953" y="1427"/>
                    <a:pt x="1953" y="1441"/>
                    <a:pt x="1948" y="1461"/>
                  </a:cubicBezTo>
                  <a:cubicBezTo>
                    <a:pt x="1944" y="1480"/>
                    <a:pt x="1939" y="1490"/>
                    <a:pt x="1939" y="1509"/>
                  </a:cubicBezTo>
                  <a:cubicBezTo>
                    <a:pt x="1939" y="1568"/>
                    <a:pt x="1958" y="1598"/>
                    <a:pt x="1958" y="1656"/>
                  </a:cubicBezTo>
                  <a:cubicBezTo>
                    <a:pt x="1958" y="1689"/>
                    <a:pt x="1958" y="1714"/>
                    <a:pt x="1944" y="1743"/>
                  </a:cubicBezTo>
                  <a:cubicBezTo>
                    <a:pt x="1934" y="1768"/>
                    <a:pt x="1914" y="1768"/>
                    <a:pt x="1895" y="1783"/>
                  </a:cubicBezTo>
                  <a:cubicBezTo>
                    <a:pt x="1875" y="1802"/>
                    <a:pt x="1866" y="1816"/>
                    <a:pt x="1846" y="1841"/>
                  </a:cubicBezTo>
                  <a:cubicBezTo>
                    <a:pt x="1797" y="1899"/>
                    <a:pt x="1792" y="1957"/>
                    <a:pt x="1748" y="2021"/>
                  </a:cubicBezTo>
                  <a:cubicBezTo>
                    <a:pt x="1787" y="2065"/>
                    <a:pt x="1812" y="2099"/>
                    <a:pt x="1841" y="2153"/>
                  </a:cubicBezTo>
                  <a:cubicBezTo>
                    <a:pt x="1861" y="2187"/>
                    <a:pt x="1875" y="2206"/>
                    <a:pt x="1875" y="2245"/>
                  </a:cubicBezTo>
                  <a:cubicBezTo>
                    <a:pt x="1875" y="2269"/>
                    <a:pt x="1851" y="2279"/>
                    <a:pt x="1841" y="2303"/>
                  </a:cubicBezTo>
                  <a:cubicBezTo>
                    <a:pt x="1831" y="2328"/>
                    <a:pt x="1831" y="2342"/>
                    <a:pt x="1831" y="2372"/>
                  </a:cubicBezTo>
                  <a:cubicBezTo>
                    <a:pt x="1831" y="2396"/>
                    <a:pt x="1836" y="2410"/>
                    <a:pt x="1836" y="2440"/>
                  </a:cubicBezTo>
                  <a:cubicBezTo>
                    <a:pt x="1841" y="2469"/>
                    <a:pt x="1836" y="2488"/>
                    <a:pt x="1841" y="2513"/>
                  </a:cubicBezTo>
                  <a:cubicBezTo>
                    <a:pt x="1846" y="2542"/>
                    <a:pt x="1875" y="2542"/>
                    <a:pt x="1900" y="2552"/>
                  </a:cubicBezTo>
                  <a:cubicBezTo>
                    <a:pt x="1924" y="2562"/>
                    <a:pt x="1939" y="2571"/>
                    <a:pt x="1963" y="2581"/>
                  </a:cubicBezTo>
                  <a:cubicBezTo>
                    <a:pt x="1997" y="2601"/>
                    <a:pt x="2012" y="2615"/>
                    <a:pt x="2051" y="2630"/>
                  </a:cubicBezTo>
                  <a:cubicBezTo>
                    <a:pt x="2094" y="2645"/>
                    <a:pt x="2118" y="2645"/>
                    <a:pt x="2158" y="2664"/>
                  </a:cubicBezTo>
                  <a:cubicBezTo>
                    <a:pt x="2187" y="2678"/>
                    <a:pt x="2197" y="2703"/>
                    <a:pt x="2212" y="2732"/>
                  </a:cubicBezTo>
                  <a:cubicBezTo>
                    <a:pt x="2226" y="2761"/>
                    <a:pt x="2250" y="2771"/>
                    <a:pt x="2279" y="2786"/>
                  </a:cubicBezTo>
                  <a:cubicBezTo>
                    <a:pt x="2309" y="2805"/>
                    <a:pt x="2323" y="2825"/>
                    <a:pt x="2353" y="2844"/>
                  </a:cubicBezTo>
                  <a:cubicBezTo>
                    <a:pt x="2401" y="2869"/>
                    <a:pt x="2430" y="2873"/>
                    <a:pt x="2474" y="2908"/>
                  </a:cubicBezTo>
                  <a:cubicBezTo>
                    <a:pt x="2504" y="2927"/>
                    <a:pt x="2513" y="2946"/>
                    <a:pt x="2528" y="2976"/>
                  </a:cubicBezTo>
                  <a:cubicBezTo>
                    <a:pt x="2543" y="3010"/>
                    <a:pt x="2552" y="3034"/>
                    <a:pt x="2552" y="3068"/>
                  </a:cubicBezTo>
                  <a:cubicBezTo>
                    <a:pt x="2557" y="3112"/>
                    <a:pt x="2557" y="3137"/>
                    <a:pt x="2571" y="3180"/>
                  </a:cubicBezTo>
                  <a:lnTo>
                    <a:pt x="2571" y="3180"/>
                  </a:lnTo>
                  <a:cubicBezTo>
                    <a:pt x="1895" y="3258"/>
                    <a:pt x="1184" y="3317"/>
                    <a:pt x="429" y="3350"/>
                  </a:cubicBezTo>
                  <a:lnTo>
                    <a:pt x="429" y="3350"/>
                  </a:lnTo>
                  <a:cubicBezTo>
                    <a:pt x="438" y="3312"/>
                    <a:pt x="438" y="3312"/>
                    <a:pt x="458" y="3278"/>
                  </a:cubicBezTo>
                  <a:cubicBezTo>
                    <a:pt x="414" y="2318"/>
                    <a:pt x="414" y="2318"/>
                    <a:pt x="414" y="2318"/>
                  </a:cubicBezTo>
                  <a:cubicBezTo>
                    <a:pt x="355" y="2274"/>
                    <a:pt x="287" y="2235"/>
                    <a:pt x="287" y="2162"/>
                  </a:cubicBezTo>
                  <a:cubicBezTo>
                    <a:pt x="287" y="2104"/>
                    <a:pt x="307" y="2074"/>
                    <a:pt x="307" y="2016"/>
                  </a:cubicBezTo>
                  <a:cubicBezTo>
                    <a:pt x="307" y="1996"/>
                    <a:pt x="297" y="1982"/>
                    <a:pt x="297" y="1962"/>
                  </a:cubicBezTo>
                  <a:lnTo>
                    <a:pt x="297" y="1962"/>
                  </a:lnTo>
                  <a:cubicBezTo>
                    <a:pt x="287" y="1894"/>
                    <a:pt x="292" y="1846"/>
                    <a:pt x="283" y="1778"/>
                  </a:cubicBezTo>
                  <a:cubicBezTo>
                    <a:pt x="278" y="1758"/>
                    <a:pt x="272" y="1748"/>
                    <a:pt x="268" y="1728"/>
                  </a:cubicBezTo>
                  <a:cubicBezTo>
                    <a:pt x="258" y="1661"/>
                    <a:pt x="248" y="1617"/>
                    <a:pt x="229" y="1548"/>
                  </a:cubicBezTo>
                  <a:cubicBezTo>
                    <a:pt x="219" y="1529"/>
                    <a:pt x="214" y="1515"/>
                    <a:pt x="214" y="1490"/>
                  </a:cubicBezTo>
                  <a:cubicBezTo>
                    <a:pt x="214" y="1432"/>
                    <a:pt x="233" y="1397"/>
                    <a:pt x="233" y="1339"/>
                  </a:cubicBezTo>
                  <a:cubicBezTo>
                    <a:pt x="233" y="1295"/>
                    <a:pt x="219" y="1276"/>
                    <a:pt x="214" y="1232"/>
                  </a:cubicBezTo>
                  <a:cubicBezTo>
                    <a:pt x="209" y="1164"/>
                    <a:pt x="209" y="1120"/>
                    <a:pt x="195" y="1051"/>
                  </a:cubicBezTo>
                  <a:cubicBezTo>
                    <a:pt x="185" y="1023"/>
                    <a:pt x="175" y="1003"/>
                    <a:pt x="161" y="979"/>
                  </a:cubicBezTo>
                  <a:cubicBezTo>
                    <a:pt x="136" y="945"/>
                    <a:pt x="126" y="920"/>
                    <a:pt x="107" y="886"/>
                  </a:cubicBezTo>
                  <a:cubicBezTo>
                    <a:pt x="78" y="832"/>
                    <a:pt x="49" y="803"/>
                    <a:pt x="49" y="745"/>
                  </a:cubicBezTo>
                  <a:cubicBezTo>
                    <a:pt x="49" y="720"/>
                    <a:pt x="49" y="711"/>
                    <a:pt x="54" y="691"/>
                  </a:cubicBezTo>
                  <a:cubicBezTo>
                    <a:pt x="59" y="677"/>
                    <a:pt x="63" y="672"/>
                    <a:pt x="63" y="662"/>
                  </a:cubicBezTo>
                  <a:cubicBezTo>
                    <a:pt x="63" y="623"/>
                    <a:pt x="49" y="604"/>
                    <a:pt x="39" y="570"/>
                  </a:cubicBezTo>
                  <a:cubicBezTo>
                    <a:pt x="34" y="555"/>
                    <a:pt x="24" y="550"/>
                    <a:pt x="24" y="531"/>
                  </a:cubicBezTo>
                  <a:cubicBezTo>
                    <a:pt x="24" y="501"/>
                    <a:pt x="39" y="482"/>
                    <a:pt x="39" y="448"/>
                  </a:cubicBezTo>
                  <a:cubicBezTo>
                    <a:pt x="39" y="409"/>
                    <a:pt x="20" y="384"/>
                    <a:pt x="10" y="346"/>
                  </a:cubicBezTo>
                  <a:cubicBezTo>
                    <a:pt x="5" y="336"/>
                    <a:pt x="0" y="336"/>
                    <a:pt x="0" y="331"/>
                  </a:cubicBezTo>
                  <a:cubicBezTo>
                    <a:pt x="0" y="302"/>
                    <a:pt x="0" y="282"/>
                    <a:pt x="5" y="253"/>
                  </a:cubicBezTo>
                  <a:lnTo>
                    <a:pt x="5" y="253"/>
                  </a:lnTo>
                  <a:cubicBezTo>
                    <a:pt x="233" y="243"/>
                    <a:pt x="468" y="228"/>
                    <a:pt x="697" y="214"/>
                  </a:cubicBezTo>
                  <a:cubicBezTo>
                    <a:pt x="701" y="209"/>
                    <a:pt x="701" y="200"/>
                    <a:pt x="701" y="200"/>
                  </a:cubicBezTo>
                  <a:cubicBezTo>
                    <a:pt x="706" y="194"/>
                    <a:pt x="711" y="185"/>
                    <a:pt x="711" y="180"/>
                  </a:cubicBezTo>
                  <a:cubicBezTo>
                    <a:pt x="726" y="161"/>
                    <a:pt x="731" y="122"/>
                    <a:pt x="740" y="97"/>
                  </a:cubicBezTo>
                  <a:cubicBezTo>
                    <a:pt x="755" y="63"/>
                    <a:pt x="760" y="29"/>
                    <a:pt x="789" y="4"/>
                  </a:cubicBezTo>
                  <a:cubicBezTo>
                    <a:pt x="794" y="0"/>
                    <a:pt x="794" y="0"/>
                    <a:pt x="799" y="0"/>
                  </a:cubicBezTo>
                  <a:cubicBezTo>
                    <a:pt x="813" y="9"/>
                    <a:pt x="828" y="34"/>
                    <a:pt x="838" y="48"/>
                  </a:cubicBezTo>
                  <a:cubicBezTo>
                    <a:pt x="857" y="73"/>
                    <a:pt x="877" y="126"/>
                    <a:pt x="886" y="161"/>
                  </a:cubicBezTo>
                  <a:cubicBezTo>
                    <a:pt x="901" y="194"/>
                    <a:pt x="916" y="233"/>
                    <a:pt x="940" y="277"/>
                  </a:cubicBezTo>
                  <a:cubicBezTo>
                    <a:pt x="960" y="311"/>
                    <a:pt x="989" y="331"/>
                    <a:pt x="1023" y="331"/>
                  </a:cubicBezTo>
                  <a:cubicBezTo>
                    <a:pt x="1062" y="331"/>
                    <a:pt x="1081" y="311"/>
                    <a:pt x="1120" y="311"/>
                  </a:cubicBezTo>
                  <a:cubicBezTo>
                    <a:pt x="1145" y="311"/>
                    <a:pt x="1154" y="321"/>
                    <a:pt x="1174" y="326"/>
                  </a:cubicBezTo>
                  <a:cubicBezTo>
                    <a:pt x="1203" y="331"/>
                    <a:pt x="1223" y="326"/>
                    <a:pt x="1247" y="336"/>
                  </a:cubicBezTo>
                  <a:cubicBezTo>
                    <a:pt x="1266" y="341"/>
                    <a:pt x="1281" y="346"/>
                    <a:pt x="1295" y="360"/>
                  </a:cubicBezTo>
                  <a:cubicBezTo>
                    <a:pt x="1305" y="379"/>
                    <a:pt x="1315" y="404"/>
                    <a:pt x="1339" y="404"/>
                  </a:cubicBezTo>
                  <a:cubicBezTo>
                    <a:pt x="1354" y="404"/>
                    <a:pt x="1359" y="389"/>
                    <a:pt x="1369" y="384"/>
                  </a:cubicBezTo>
                  <a:cubicBezTo>
                    <a:pt x="1383" y="374"/>
                    <a:pt x="1393" y="374"/>
                    <a:pt x="1413" y="370"/>
                  </a:cubicBezTo>
                  <a:cubicBezTo>
                    <a:pt x="1422" y="365"/>
                    <a:pt x="1417" y="365"/>
                    <a:pt x="1427" y="365"/>
                  </a:cubicBezTo>
                  <a:cubicBezTo>
                    <a:pt x="1437" y="374"/>
                    <a:pt x="1466" y="384"/>
                    <a:pt x="1476" y="389"/>
                  </a:cubicBezTo>
                  <a:cubicBezTo>
                    <a:pt x="1524" y="399"/>
                    <a:pt x="1568" y="384"/>
                    <a:pt x="1607" y="370"/>
                  </a:cubicBezTo>
                  <a:cubicBezTo>
                    <a:pt x="1651" y="360"/>
                    <a:pt x="1690" y="316"/>
                    <a:pt x="1739" y="326"/>
                  </a:cubicBezTo>
                  <a:cubicBezTo>
                    <a:pt x="1759" y="365"/>
                    <a:pt x="1759" y="404"/>
                    <a:pt x="1773" y="438"/>
                  </a:cubicBezTo>
                  <a:cubicBezTo>
                    <a:pt x="1783" y="468"/>
                    <a:pt x="1787" y="487"/>
                    <a:pt x="1812" y="506"/>
                  </a:cubicBezTo>
                  <a:cubicBezTo>
                    <a:pt x="1827" y="482"/>
                    <a:pt x="1831" y="448"/>
                    <a:pt x="1866" y="448"/>
                  </a:cubicBezTo>
                  <a:cubicBezTo>
                    <a:pt x="1890" y="448"/>
                    <a:pt x="1905" y="448"/>
                    <a:pt x="1929" y="453"/>
                  </a:cubicBezTo>
                  <a:cubicBezTo>
                    <a:pt x="1944" y="457"/>
                    <a:pt x="1948" y="472"/>
                    <a:pt x="1963" y="477"/>
                  </a:cubicBezTo>
                  <a:cubicBezTo>
                    <a:pt x="1987" y="492"/>
                    <a:pt x="2007" y="496"/>
                    <a:pt x="2036" y="506"/>
                  </a:cubicBezTo>
                  <a:cubicBezTo>
                    <a:pt x="2060" y="511"/>
                    <a:pt x="2075" y="511"/>
                    <a:pt x="2099" y="526"/>
                  </a:cubicBezTo>
                  <a:cubicBezTo>
                    <a:pt x="2109" y="531"/>
                    <a:pt x="2109" y="545"/>
                    <a:pt x="2118" y="555"/>
                  </a:cubicBezTo>
                  <a:cubicBezTo>
                    <a:pt x="2143" y="570"/>
                    <a:pt x="2158" y="579"/>
                    <a:pt x="2187" y="579"/>
                  </a:cubicBezTo>
                  <a:cubicBezTo>
                    <a:pt x="2231" y="579"/>
                    <a:pt x="2250" y="555"/>
                    <a:pt x="2284" y="531"/>
                  </a:cubicBezTo>
                  <a:cubicBezTo>
                    <a:pt x="2299" y="521"/>
                    <a:pt x="2299" y="506"/>
                    <a:pt x="2314" y="506"/>
                  </a:cubicBezTo>
                  <a:cubicBezTo>
                    <a:pt x="2328" y="506"/>
                    <a:pt x="2333" y="511"/>
                    <a:pt x="2348" y="511"/>
                  </a:cubicBezTo>
                  <a:cubicBezTo>
                    <a:pt x="2362" y="516"/>
                    <a:pt x="2377" y="511"/>
                    <a:pt x="2392" y="516"/>
                  </a:cubicBezTo>
                  <a:cubicBezTo>
                    <a:pt x="2421" y="531"/>
                    <a:pt x="2430" y="565"/>
                    <a:pt x="2464" y="565"/>
                  </a:cubicBezTo>
                  <a:cubicBezTo>
                    <a:pt x="2499" y="565"/>
                    <a:pt x="2513" y="555"/>
                    <a:pt x="2543" y="545"/>
                  </a:cubicBezTo>
                  <a:cubicBezTo>
                    <a:pt x="2567" y="535"/>
                    <a:pt x="2586" y="535"/>
                    <a:pt x="2616" y="531"/>
                  </a:cubicBezTo>
                  <a:cubicBezTo>
                    <a:pt x="2859" y="565"/>
                    <a:pt x="2859" y="565"/>
                    <a:pt x="2859" y="565"/>
                  </a:cubicBezTo>
                  <a:lnTo>
                    <a:pt x="2859" y="565"/>
                  </a:lnTo>
                  <a:cubicBezTo>
                    <a:pt x="2820" y="599"/>
                    <a:pt x="2796" y="633"/>
                    <a:pt x="2747" y="657"/>
                  </a:cubicBezTo>
                  <a:cubicBezTo>
                    <a:pt x="2732" y="662"/>
                    <a:pt x="2728" y="672"/>
                    <a:pt x="2713" y="677"/>
                  </a:cubicBezTo>
                  <a:cubicBezTo>
                    <a:pt x="2665" y="701"/>
                    <a:pt x="2630" y="711"/>
                    <a:pt x="2582" y="740"/>
                  </a:cubicBezTo>
                  <a:cubicBezTo>
                    <a:pt x="2547" y="755"/>
                    <a:pt x="2533" y="769"/>
                    <a:pt x="2504" y="789"/>
                  </a:cubicBezTo>
                  <a:cubicBezTo>
                    <a:pt x="2494" y="794"/>
                    <a:pt x="2484" y="794"/>
                    <a:pt x="2474" y="803"/>
                  </a:cubicBezTo>
                  <a:cubicBezTo>
                    <a:pt x="2455" y="818"/>
                    <a:pt x="2450" y="838"/>
                    <a:pt x="2435" y="862"/>
                  </a:cubicBezTo>
                  <a:cubicBezTo>
                    <a:pt x="2411" y="896"/>
                    <a:pt x="2392" y="915"/>
                    <a:pt x="2362" y="945"/>
                  </a:cubicBezTo>
                  <a:cubicBezTo>
                    <a:pt x="2314" y="988"/>
                    <a:pt x="2309" y="1032"/>
                    <a:pt x="2270" y="1081"/>
                  </a:cubicBezTo>
                  <a:cubicBezTo>
                    <a:pt x="2245" y="1115"/>
                    <a:pt x="2226" y="1134"/>
                    <a:pt x="2197" y="1164"/>
                  </a:cubicBezTo>
                  <a:cubicBezTo>
                    <a:pt x="2187" y="1173"/>
                    <a:pt x="2187" y="1183"/>
                    <a:pt x="2173" y="1193"/>
                  </a:cubicBezTo>
                  <a:cubicBezTo>
                    <a:pt x="2168" y="1193"/>
                    <a:pt x="2162" y="1193"/>
                    <a:pt x="2158" y="1193"/>
                  </a:cubicBezTo>
                  <a:cubicBezTo>
                    <a:pt x="2129" y="1217"/>
                    <a:pt x="2118" y="1236"/>
                    <a:pt x="2094" y="1261"/>
                  </a:cubicBezTo>
                  <a:cubicBezTo>
                    <a:pt x="2075" y="1280"/>
                    <a:pt x="2060" y="1291"/>
                    <a:pt x="2046" y="1315"/>
                  </a:cubicBezTo>
                  <a:cubicBezTo>
                    <a:pt x="2046" y="1344"/>
                    <a:pt x="2046" y="1344"/>
                    <a:pt x="2046" y="1344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6" name="Freeform 67"/>
            <p:cNvSpPr>
              <a:spLocks noChangeArrowheads="1"/>
            </p:cNvSpPr>
            <p:nvPr/>
          </p:nvSpPr>
          <p:spPr bwMode="auto">
            <a:xfrm>
              <a:off x="13738904" y="5906550"/>
              <a:ext cx="1243308" cy="579688"/>
            </a:xfrm>
            <a:custGeom>
              <a:avLst/>
              <a:gdLst>
                <a:gd name="T0" fmla="*/ 1841 w 1963"/>
                <a:gd name="T1" fmla="*/ 896 h 917"/>
                <a:gd name="T2" fmla="*/ 1914 w 1963"/>
                <a:gd name="T3" fmla="*/ 877 h 917"/>
                <a:gd name="T4" fmla="*/ 1958 w 1963"/>
                <a:gd name="T5" fmla="*/ 667 h 917"/>
                <a:gd name="T6" fmla="*/ 1962 w 1963"/>
                <a:gd name="T7" fmla="*/ 589 h 917"/>
                <a:gd name="T8" fmla="*/ 1729 w 1963"/>
                <a:gd name="T9" fmla="*/ 662 h 917"/>
                <a:gd name="T10" fmla="*/ 1505 w 1963"/>
                <a:gd name="T11" fmla="*/ 0 h 917"/>
                <a:gd name="T12" fmla="*/ 0 w 1963"/>
                <a:gd name="T13" fmla="*/ 477 h 917"/>
                <a:gd name="T14" fmla="*/ 126 w 1963"/>
                <a:gd name="T15" fmla="*/ 618 h 917"/>
                <a:gd name="T16" fmla="*/ 306 w 1963"/>
                <a:gd name="T17" fmla="*/ 467 h 917"/>
                <a:gd name="T18" fmla="*/ 414 w 1963"/>
                <a:gd name="T19" fmla="*/ 472 h 917"/>
                <a:gd name="T20" fmla="*/ 492 w 1963"/>
                <a:gd name="T21" fmla="*/ 399 h 917"/>
                <a:gd name="T22" fmla="*/ 555 w 1963"/>
                <a:gd name="T23" fmla="*/ 360 h 917"/>
                <a:gd name="T24" fmla="*/ 711 w 1963"/>
                <a:gd name="T25" fmla="*/ 414 h 917"/>
                <a:gd name="T26" fmla="*/ 765 w 1963"/>
                <a:gd name="T27" fmla="*/ 419 h 917"/>
                <a:gd name="T28" fmla="*/ 828 w 1963"/>
                <a:gd name="T29" fmla="*/ 428 h 917"/>
                <a:gd name="T30" fmla="*/ 891 w 1963"/>
                <a:gd name="T31" fmla="*/ 467 h 917"/>
                <a:gd name="T32" fmla="*/ 1057 w 1963"/>
                <a:gd name="T33" fmla="*/ 570 h 917"/>
                <a:gd name="T34" fmla="*/ 1124 w 1963"/>
                <a:gd name="T35" fmla="*/ 599 h 917"/>
                <a:gd name="T36" fmla="*/ 1110 w 1963"/>
                <a:gd name="T37" fmla="*/ 750 h 917"/>
                <a:gd name="T38" fmla="*/ 1057 w 1963"/>
                <a:gd name="T39" fmla="*/ 881 h 917"/>
                <a:gd name="T40" fmla="*/ 1076 w 1963"/>
                <a:gd name="T41" fmla="*/ 916 h 917"/>
                <a:gd name="T42" fmla="*/ 1251 w 1963"/>
                <a:gd name="T43" fmla="*/ 911 h 917"/>
                <a:gd name="T44" fmla="*/ 1417 w 1963"/>
                <a:gd name="T45" fmla="*/ 891 h 917"/>
                <a:gd name="T46" fmla="*/ 1490 w 1963"/>
                <a:gd name="T47" fmla="*/ 867 h 917"/>
                <a:gd name="T48" fmla="*/ 1427 w 1963"/>
                <a:gd name="T49" fmla="*/ 759 h 917"/>
                <a:gd name="T50" fmla="*/ 1334 w 1963"/>
                <a:gd name="T51" fmla="*/ 501 h 917"/>
                <a:gd name="T52" fmla="*/ 1271 w 1963"/>
                <a:gd name="T53" fmla="*/ 370 h 917"/>
                <a:gd name="T54" fmla="*/ 1290 w 1963"/>
                <a:gd name="T55" fmla="*/ 292 h 917"/>
                <a:gd name="T56" fmla="*/ 1388 w 1963"/>
                <a:gd name="T57" fmla="*/ 175 h 917"/>
                <a:gd name="T58" fmla="*/ 1456 w 1963"/>
                <a:gd name="T59" fmla="*/ 190 h 917"/>
                <a:gd name="T60" fmla="*/ 1417 w 1963"/>
                <a:gd name="T61" fmla="*/ 282 h 917"/>
                <a:gd name="T62" fmla="*/ 1417 w 1963"/>
                <a:gd name="T63" fmla="*/ 419 h 917"/>
                <a:gd name="T64" fmla="*/ 1466 w 1963"/>
                <a:gd name="T65" fmla="*/ 458 h 917"/>
                <a:gd name="T66" fmla="*/ 1510 w 1963"/>
                <a:gd name="T67" fmla="*/ 546 h 917"/>
                <a:gd name="T68" fmla="*/ 1510 w 1963"/>
                <a:gd name="T69" fmla="*/ 613 h 917"/>
                <a:gd name="T70" fmla="*/ 1651 w 1963"/>
                <a:gd name="T71" fmla="*/ 716 h 917"/>
                <a:gd name="T72" fmla="*/ 1690 w 1963"/>
                <a:gd name="T73" fmla="*/ 808 h 917"/>
                <a:gd name="T74" fmla="*/ 1841 w 1963"/>
                <a:gd name="T75" fmla="*/ 896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63" h="917">
                  <a:moveTo>
                    <a:pt x="1841" y="896"/>
                  </a:moveTo>
                  <a:lnTo>
                    <a:pt x="1841" y="896"/>
                  </a:lnTo>
                  <a:cubicBezTo>
                    <a:pt x="1865" y="891"/>
                    <a:pt x="1895" y="886"/>
                    <a:pt x="1914" y="877"/>
                  </a:cubicBezTo>
                  <a:lnTo>
                    <a:pt x="1914" y="877"/>
                  </a:lnTo>
                  <a:cubicBezTo>
                    <a:pt x="1919" y="867"/>
                    <a:pt x="1919" y="857"/>
                    <a:pt x="1919" y="847"/>
                  </a:cubicBezTo>
                  <a:cubicBezTo>
                    <a:pt x="1929" y="774"/>
                    <a:pt x="1948" y="735"/>
                    <a:pt x="1958" y="667"/>
                  </a:cubicBezTo>
                  <a:cubicBezTo>
                    <a:pt x="1958" y="652"/>
                    <a:pt x="1962" y="648"/>
                    <a:pt x="1962" y="637"/>
                  </a:cubicBezTo>
                  <a:cubicBezTo>
                    <a:pt x="1962" y="589"/>
                    <a:pt x="1962" y="589"/>
                    <a:pt x="1962" y="589"/>
                  </a:cubicBezTo>
                  <a:lnTo>
                    <a:pt x="1962" y="589"/>
                  </a:lnTo>
                  <a:cubicBezTo>
                    <a:pt x="1729" y="662"/>
                    <a:pt x="1729" y="662"/>
                    <a:pt x="1729" y="662"/>
                  </a:cubicBezTo>
                  <a:cubicBezTo>
                    <a:pt x="1505" y="0"/>
                    <a:pt x="1505" y="0"/>
                    <a:pt x="1505" y="0"/>
                  </a:cubicBezTo>
                  <a:lnTo>
                    <a:pt x="1505" y="0"/>
                  </a:lnTo>
                  <a:cubicBezTo>
                    <a:pt x="0" y="477"/>
                    <a:pt x="0" y="477"/>
                    <a:pt x="0" y="477"/>
                  </a:cubicBezTo>
                  <a:lnTo>
                    <a:pt x="0" y="477"/>
                  </a:lnTo>
                  <a:cubicBezTo>
                    <a:pt x="58" y="701"/>
                    <a:pt x="58" y="701"/>
                    <a:pt x="58" y="701"/>
                  </a:cubicBezTo>
                  <a:cubicBezTo>
                    <a:pt x="87" y="677"/>
                    <a:pt x="97" y="648"/>
                    <a:pt x="126" y="618"/>
                  </a:cubicBezTo>
                  <a:cubicBezTo>
                    <a:pt x="156" y="585"/>
                    <a:pt x="195" y="589"/>
                    <a:pt x="223" y="560"/>
                  </a:cubicBezTo>
                  <a:cubicBezTo>
                    <a:pt x="258" y="526"/>
                    <a:pt x="273" y="491"/>
                    <a:pt x="306" y="467"/>
                  </a:cubicBezTo>
                  <a:cubicBezTo>
                    <a:pt x="341" y="472"/>
                    <a:pt x="341" y="472"/>
                    <a:pt x="341" y="472"/>
                  </a:cubicBezTo>
                  <a:cubicBezTo>
                    <a:pt x="414" y="472"/>
                    <a:pt x="414" y="472"/>
                    <a:pt x="414" y="472"/>
                  </a:cubicBezTo>
                  <a:cubicBezTo>
                    <a:pt x="433" y="472"/>
                    <a:pt x="448" y="458"/>
                    <a:pt x="458" y="443"/>
                  </a:cubicBezTo>
                  <a:cubicBezTo>
                    <a:pt x="472" y="428"/>
                    <a:pt x="482" y="414"/>
                    <a:pt x="492" y="399"/>
                  </a:cubicBezTo>
                  <a:cubicBezTo>
                    <a:pt x="502" y="380"/>
                    <a:pt x="506" y="365"/>
                    <a:pt x="526" y="360"/>
                  </a:cubicBezTo>
                  <a:cubicBezTo>
                    <a:pt x="535" y="355"/>
                    <a:pt x="540" y="360"/>
                    <a:pt x="555" y="360"/>
                  </a:cubicBezTo>
                  <a:cubicBezTo>
                    <a:pt x="594" y="355"/>
                    <a:pt x="613" y="350"/>
                    <a:pt x="652" y="350"/>
                  </a:cubicBezTo>
                  <a:cubicBezTo>
                    <a:pt x="687" y="350"/>
                    <a:pt x="682" y="389"/>
                    <a:pt x="711" y="414"/>
                  </a:cubicBezTo>
                  <a:cubicBezTo>
                    <a:pt x="721" y="424"/>
                    <a:pt x="735" y="419"/>
                    <a:pt x="754" y="419"/>
                  </a:cubicBezTo>
                  <a:cubicBezTo>
                    <a:pt x="759" y="419"/>
                    <a:pt x="759" y="419"/>
                    <a:pt x="765" y="419"/>
                  </a:cubicBezTo>
                  <a:lnTo>
                    <a:pt x="765" y="419"/>
                  </a:lnTo>
                  <a:cubicBezTo>
                    <a:pt x="789" y="419"/>
                    <a:pt x="803" y="424"/>
                    <a:pt x="828" y="428"/>
                  </a:cubicBezTo>
                  <a:cubicBezTo>
                    <a:pt x="847" y="428"/>
                    <a:pt x="862" y="424"/>
                    <a:pt x="876" y="433"/>
                  </a:cubicBezTo>
                  <a:cubicBezTo>
                    <a:pt x="886" y="443"/>
                    <a:pt x="886" y="453"/>
                    <a:pt x="891" y="467"/>
                  </a:cubicBezTo>
                  <a:cubicBezTo>
                    <a:pt x="906" y="496"/>
                    <a:pt x="915" y="531"/>
                    <a:pt x="950" y="535"/>
                  </a:cubicBezTo>
                  <a:cubicBezTo>
                    <a:pt x="994" y="546"/>
                    <a:pt x="1013" y="570"/>
                    <a:pt x="1057" y="570"/>
                  </a:cubicBezTo>
                  <a:cubicBezTo>
                    <a:pt x="1124" y="570"/>
                    <a:pt x="1124" y="570"/>
                    <a:pt x="1124" y="570"/>
                  </a:cubicBezTo>
                  <a:cubicBezTo>
                    <a:pt x="1124" y="599"/>
                    <a:pt x="1124" y="599"/>
                    <a:pt x="1124" y="599"/>
                  </a:cubicBezTo>
                  <a:cubicBezTo>
                    <a:pt x="1124" y="628"/>
                    <a:pt x="1120" y="643"/>
                    <a:pt x="1120" y="672"/>
                  </a:cubicBezTo>
                  <a:cubicBezTo>
                    <a:pt x="1115" y="701"/>
                    <a:pt x="1120" y="721"/>
                    <a:pt x="1110" y="750"/>
                  </a:cubicBezTo>
                  <a:cubicBezTo>
                    <a:pt x="1100" y="789"/>
                    <a:pt x="1081" y="813"/>
                    <a:pt x="1066" y="852"/>
                  </a:cubicBezTo>
                  <a:cubicBezTo>
                    <a:pt x="1061" y="867"/>
                    <a:pt x="1057" y="872"/>
                    <a:pt x="1057" y="881"/>
                  </a:cubicBezTo>
                  <a:cubicBezTo>
                    <a:pt x="1057" y="916"/>
                    <a:pt x="1057" y="916"/>
                    <a:pt x="1057" y="916"/>
                  </a:cubicBezTo>
                  <a:cubicBezTo>
                    <a:pt x="1061" y="916"/>
                    <a:pt x="1066" y="916"/>
                    <a:pt x="1076" y="916"/>
                  </a:cubicBezTo>
                  <a:cubicBezTo>
                    <a:pt x="1110" y="916"/>
                    <a:pt x="1130" y="911"/>
                    <a:pt x="1159" y="905"/>
                  </a:cubicBezTo>
                  <a:cubicBezTo>
                    <a:pt x="1198" y="905"/>
                    <a:pt x="1218" y="911"/>
                    <a:pt x="1251" y="911"/>
                  </a:cubicBezTo>
                  <a:cubicBezTo>
                    <a:pt x="1315" y="911"/>
                    <a:pt x="1354" y="905"/>
                    <a:pt x="1417" y="891"/>
                  </a:cubicBezTo>
                  <a:lnTo>
                    <a:pt x="1417" y="891"/>
                  </a:lnTo>
                  <a:cubicBezTo>
                    <a:pt x="1427" y="877"/>
                    <a:pt x="1427" y="877"/>
                    <a:pt x="1427" y="877"/>
                  </a:cubicBezTo>
                  <a:cubicBezTo>
                    <a:pt x="1451" y="877"/>
                    <a:pt x="1466" y="877"/>
                    <a:pt x="1490" y="867"/>
                  </a:cubicBezTo>
                  <a:cubicBezTo>
                    <a:pt x="1500" y="862"/>
                    <a:pt x="1519" y="852"/>
                    <a:pt x="1519" y="838"/>
                  </a:cubicBezTo>
                  <a:cubicBezTo>
                    <a:pt x="1519" y="789"/>
                    <a:pt x="1461" y="789"/>
                    <a:pt x="1427" y="759"/>
                  </a:cubicBezTo>
                  <a:cubicBezTo>
                    <a:pt x="1383" y="726"/>
                    <a:pt x="1403" y="672"/>
                    <a:pt x="1378" y="623"/>
                  </a:cubicBezTo>
                  <a:cubicBezTo>
                    <a:pt x="1359" y="579"/>
                    <a:pt x="1344" y="550"/>
                    <a:pt x="1334" y="501"/>
                  </a:cubicBezTo>
                  <a:cubicBezTo>
                    <a:pt x="1329" y="487"/>
                    <a:pt x="1329" y="472"/>
                    <a:pt x="1325" y="458"/>
                  </a:cubicBezTo>
                  <a:cubicBezTo>
                    <a:pt x="1305" y="424"/>
                    <a:pt x="1271" y="409"/>
                    <a:pt x="1271" y="370"/>
                  </a:cubicBezTo>
                  <a:cubicBezTo>
                    <a:pt x="1271" y="341"/>
                    <a:pt x="1281" y="331"/>
                    <a:pt x="1290" y="306"/>
                  </a:cubicBezTo>
                  <a:cubicBezTo>
                    <a:pt x="1295" y="302"/>
                    <a:pt x="1290" y="297"/>
                    <a:pt x="1290" y="292"/>
                  </a:cubicBezTo>
                  <a:cubicBezTo>
                    <a:pt x="1305" y="267"/>
                    <a:pt x="1320" y="253"/>
                    <a:pt x="1339" y="234"/>
                  </a:cubicBezTo>
                  <a:cubicBezTo>
                    <a:pt x="1354" y="209"/>
                    <a:pt x="1373" y="200"/>
                    <a:pt x="1388" y="175"/>
                  </a:cubicBezTo>
                  <a:cubicBezTo>
                    <a:pt x="1403" y="151"/>
                    <a:pt x="1412" y="126"/>
                    <a:pt x="1436" y="107"/>
                  </a:cubicBezTo>
                  <a:cubicBezTo>
                    <a:pt x="1436" y="141"/>
                    <a:pt x="1456" y="156"/>
                    <a:pt x="1456" y="190"/>
                  </a:cubicBezTo>
                  <a:cubicBezTo>
                    <a:pt x="1456" y="219"/>
                    <a:pt x="1442" y="234"/>
                    <a:pt x="1427" y="258"/>
                  </a:cubicBezTo>
                  <a:cubicBezTo>
                    <a:pt x="1427" y="267"/>
                    <a:pt x="1417" y="273"/>
                    <a:pt x="1417" y="282"/>
                  </a:cubicBezTo>
                  <a:cubicBezTo>
                    <a:pt x="1417" y="311"/>
                    <a:pt x="1442" y="326"/>
                    <a:pt x="1442" y="355"/>
                  </a:cubicBezTo>
                  <a:cubicBezTo>
                    <a:pt x="1442" y="380"/>
                    <a:pt x="1417" y="389"/>
                    <a:pt x="1417" y="419"/>
                  </a:cubicBezTo>
                  <a:cubicBezTo>
                    <a:pt x="1417" y="433"/>
                    <a:pt x="1422" y="448"/>
                    <a:pt x="1436" y="453"/>
                  </a:cubicBezTo>
                  <a:cubicBezTo>
                    <a:pt x="1446" y="458"/>
                    <a:pt x="1456" y="453"/>
                    <a:pt x="1466" y="458"/>
                  </a:cubicBezTo>
                  <a:cubicBezTo>
                    <a:pt x="1475" y="467"/>
                    <a:pt x="1475" y="477"/>
                    <a:pt x="1475" y="487"/>
                  </a:cubicBezTo>
                  <a:cubicBezTo>
                    <a:pt x="1486" y="511"/>
                    <a:pt x="1486" y="531"/>
                    <a:pt x="1510" y="546"/>
                  </a:cubicBezTo>
                  <a:cubicBezTo>
                    <a:pt x="1524" y="555"/>
                    <a:pt x="1544" y="555"/>
                    <a:pt x="1544" y="574"/>
                  </a:cubicBezTo>
                  <a:cubicBezTo>
                    <a:pt x="1544" y="594"/>
                    <a:pt x="1524" y="599"/>
                    <a:pt x="1510" y="613"/>
                  </a:cubicBezTo>
                  <a:cubicBezTo>
                    <a:pt x="1529" y="662"/>
                    <a:pt x="1558" y="687"/>
                    <a:pt x="1607" y="706"/>
                  </a:cubicBezTo>
                  <a:cubicBezTo>
                    <a:pt x="1622" y="711"/>
                    <a:pt x="1636" y="706"/>
                    <a:pt x="1651" y="716"/>
                  </a:cubicBezTo>
                  <a:cubicBezTo>
                    <a:pt x="1666" y="731"/>
                    <a:pt x="1666" y="745"/>
                    <a:pt x="1675" y="764"/>
                  </a:cubicBezTo>
                  <a:cubicBezTo>
                    <a:pt x="1680" y="779"/>
                    <a:pt x="1690" y="789"/>
                    <a:pt x="1690" y="808"/>
                  </a:cubicBezTo>
                  <a:cubicBezTo>
                    <a:pt x="1699" y="842"/>
                    <a:pt x="1699" y="872"/>
                    <a:pt x="1724" y="896"/>
                  </a:cubicBezTo>
                  <a:cubicBezTo>
                    <a:pt x="1841" y="896"/>
                    <a:pt x="1841" y="896"/>
                    <a:pt x="1841" y="896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7" name="Freeform 68"/>
            <p:cNvSpPr>
              <a:spLocks noChangeArrowheads="1"/>
            </p:cNvSpPr>
            <p:nvPr/>
          </p:nvSpPr>
          <p:spPr bwMode="auto">
            <a:xfrm>
              <a:off x="8751671" y="6850293"/>
              <a:ext cx="980085" cy="1142574"/>
            </a:xfrm>
            <a:custGeom>
              <a:avLst/>
              <a:gdLst>
                <a:gd name="T0" fmla="*/ 0 w 1550"/>
                <a:gd name="T1" fmla="*/ 54 h 1803"/>
                <a:gd name="T2" fmla="*/ 0 w 1550"/>
                <a:gd name="T3" fmla="*/ 54 h 1803"/>
                <a:gd name="T4" fmla="*/ 1072 w 1550"/>
                <a:gd name="T5" fmla="*/ 0 h 1803"/>
                <a:gd name="T6" fmla="*/ 1072 w 1550"/>
                <a:gd name="T7" fmla="*/ 0 h 1803"/>
                <a:gd name="T8" fmla="*/ 1266 w 1550"/>
                <a:gd name="T9" fmla="*/ 132 h 1803"/>
                <a:gd name="T10" fmla="*/ 1325 w 1550"/>
                <a:gd name="T11" fmla="*/ 151 h 1803"/>
                <a:gd name="T12" fmla="*/ 1262 w 1550"/>
                <a:gd name="T13" fmla="*/ 258 h 1803"/>
                <a:gd name="T14" fmla="*/ 1247 w 1550"/>
                <a:gd name="T15" fmla="*/ 302 h 1803"/>
                <a:gd name="T16" fmla="*/ 1281 w 1550"/>
                <a:gd name="T17" fmla="*/ 366 h 1803"/>
                <a:gd name="T18" fmla="*/ 1368 w 1550"/>
                <a:gd name="T19" fmla="*/ 448 h 1803"/>
                <a:gd name="T20" fmla="*/ 1466 w 1550"/>
                <a:gd name="T21" fmla="*/ 589 h 1803"/>
                <a:gd name="T22" fmla="*/ 1549 w 1550"/>
                <a:gd name="T23" fmla="*/ 1725 h 1803"/>
                <a:gd name="T24" fmla="*/ 1549 w 1550"/>
                <a:gd name="T25" fmla="*/ 1725 h 1803"/>
                <a:gd name="T26" fmla="*/ 0 w 1550"/>
                <a:gd name="T27" fmla="*/ 1802 h 1803"/>
                <a:gd name="T28" fmla="*/ 0 w 1550"/>
                <a:gd name="T29" fmla="*/ 1802 h 1803"/>
                <a:gd name="T30" fmla="*/ 0 w 1550"/>
                <a:gd name="T31" fmla="*/ 54 h 1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50" h="1803">
                  <a:moveTo>
                    <a:pt x="0" y="54"/>
                  </a:moveTo>
                  <a:lnTo>
                    <a:pt x="0" y="54"/>
                  </a:lnTo>
                  <a:cubicBezTo>
                    <a:pt x="667" y="30"/>
                    <a:pt x="1072" y="0"/>
                    <a:pt x="1072" y="0"/>
                  </a:cubicBezTo>
                  <a:lnTo>
                    <a:pt x="1072" y="0"/>
                  </a:lnTo>
                  <a:cubicBezTo>
                    <a:pt x="1135" y="69"/>
                    <a:pt x="1188" y="93"/>
                    <a:pt x="1266" y="132"/>
                  </a:cubicBezTo>
                  <a:cubicBezTo>
                    <a:pt x="1291" y="141"/>
                    <a:pt x="1305" y="141"/>
                    <a:pt x="1325" y="151"/>
                  </a:cubicBezTo>
                  <a:cubicBezTo>
                    <a:pt x="1301" y="191"/>
                    <a:pt x="1281" y="215"/>
                    <a:pt x="1262" y="258"/>
                  </a:cubicBezTo>
                  <a:cubicBezTo>
                    <a:pt x="1257" y="273"/>
                    <a:pt x="1247" y="283"/>
                    <a:pt x="1247" y="302"/>
                  </a:cubicBezTo>
                  <a:cubicBezTo>
                    <a:pt x="1247" y="332"/>
                    <a:pt x="1266" y="341"/>
                    <a:pt x="1281" y="366"/>
                  </a:cubicBezTo>
                  <a:cubicBezTo>
                    <a:pt x="1310" y="404"/>
                    <a:pt x="1335" y="415"/>
                    <a:pt x="1368" y="448"/>
                  </a:cubicBezTo>
                  <a:cubicBezTo>
                    <a:pt x="1417" y="492"/>
                    <a:pt x="1432" y="531"/>
                    <a:pt x="1466" y="589"/>
                  </a:cubicBezTo>
                  <a:cubicBezTo>
                    <a:pt x="1549" y="1725"/>
                    <a:pt x="1549" y="1725"/>
                    <a:pt x="1549" y="1725"/>
                  </a:cubicBezTo>
                  <a:lnTo>
                    <a:pt x="1549" y="1725"/>
                  </a:lnTo>
                  <a:cubicBezTo>
                    <a:pt x="1549" y="1725"/>
                    <a:pt x="906" y="1773"/>
                    <a:pt x="0" y="1802"/>
                  </a:cubicBezTo>
                  <a:lnTo>
                    <a:pt x="0" y="1802"/>
                  </a:lnTo>
                  <a:cubicBezTo>
                    <a:pt x="0" y="54"/>
                    <a:pt x="0" y="54"/>
                    <a:pt x="0" y="54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8" name="Freeform 69"/>
            <p:cNvSpPr>
              <a:spLocks noChangeArrowheads="1"/>
            </p:cNvSpPr>
            <p:nvPr/>
          </p:nvSpPr>
          <p:spPr bwMode="auto">
            <a:xfrm>
              <a:off x="8751671" y="9020623"/>
              <a:ext cx="1414123" cy="2957250"/>
            </a:xfrm>
            <a:custGeom>
              <a:avLst/>
              <a:gdLst>
                <a:gd name="T0" fmla="*/ 2036 w 2231"/>
                <a:gd name="T1" fmla="*/ 2436 h 4663"/>
                <a:gd name="T2" fmla="*/ 1714 w 2231"/>
                <a:gd name="T3" fmla="*/ 2567 h 4663"/>
                <a:gd name="T4" fmla="*/ 1690 w 2231"/>
                <a:gd name="T5" fmla="*/ 2445 h 4663"/>
                <a:gd name="T6" fmla="*/ 1612 w 2231"/>
                <a:gd name="T7" fmla="*/ 2445 h 4663"/>
                <a:gd name="T8" fmla="*/ 1588 w 2231"/>
                <a:gd name="T9" fmla="*/ 2528 h 4663"/>
                <a:gd name="T10" fmla="*/ 1559 w 2231"/>
                <a:gd name="T11" fmla="*/ 2680 h 4663"/>
                <a:gd name="T12" fmla="*/ 1462 w 2231"/>
                <a:gd name="T13" fmla="*/ 2777 h 4663"/>
                <a:gd name="T14" fmla="*/ 1330 w 2231"/>
                <a:gd name="T15" fmla="*/ 2933 h 4663"/>
                <a:gd name="T16" fmla="*/ 1091 w 2231"/>
                <a:gd name="T17" fmla="*/ 3030 h 4663"/>
                <a:gd name="T18" fmla="*/ 959 w 2231"/>
                <a:gd name="T19" fmla="*/ 3025 h 4663"/>
                <a:gd name="T20" fmla="*/ 867 w 2231"/>
                <a:gd name="T21" fmla="*/ 3020 h 4663"/>
                <a:gd name="T22" fmla="*/ 774 w 2231"/>
                <a:gd name="T23" fmla="*/ 3147 h 4663"/>
                <a:gd name="T24" fmla="*/ 696 w 2231"/>
                <a:gd name="T25" fmla="*/ 3220 h 4663"/>
                <a:gd name="T26" fmla="*/ 594 w 2231"/>
                <a:gd name="T27" fmla="*/ 3346 h 4663"/>
                <a:gd name="T28" fmla="*/ 497 w 2231"/>
                <a:gd name="T29" fmla="*/ 3390 h 4663"/>
                <a:gd name="T30" fmla="*/ 482 w 2231"/>
                <a:gd name="T31" fmla="*/ 3503 h 4663"/>
                <a:gd name="T32" fmla="*/ 414 w 2231"/>
                <a:gd name="T33" fmla="*/ 3542 h 4663"/>
                <a:gd name="T34" fmla="*/ 419 w 2231"/>
                <a:gd name="T35" fmla="*/ 3619 h 4663"/>
                <a:gd name="T36" fmla="*/ 404 w 2231"/>
                <a:gd name="T37" fmla="*/ 3766 h 4663"/>
                <a:gd name="T38" fmla="*/ 380 w 2231"/>
                <a:gd name="T39" fmla="*/ 3790 h 4663"/>
                <a:gd name="T40" fmla="*/ 360 w 2231"/>
                <a:gd name="T41" fmla="*/ 3877 h 4663"/>
                <a:gd name="T42" fmla="*/ 360 w 2231"/>
                <a:gd name="T43" fmla="*/ 4048 h 4663"/>
                <a:gd name="T44" fmla="*/ 384 w 2231"/>
                <a:gd name="T45" fmla="*/ 4199 h 4663"/>
                <a:gd name="T46" fmla="*/ 467 w 2231"/>
                <a:gd name="T47" fmla="*/ 4433 h 4663"/>
                <a:gd name="T48" fmla="*/ 550 w 2231"/>
                <a:gd name="T49" fmla="*/ 4569 h 4663"/>
                <a:gd name="T50" fmla="*/ 521 w 2231"/>
                <a:gd name="T51" fmla="*/ 4633 h 4663"/>
                <a:gd name="T52" fmla="*/ 360 w 2231"/>
                <a:gd name="T53" fmla="*/ 4613 h 4663"/>
                <a:gd name="T54" fmla="*/ 24 w 2231"/>
                <a:gd name="T55" fmla="*/ 4530 h 4663"/>
                <a:gd name="T56" fmla="*/ 0 w 2231"/>
                <a:gd name="T57" fmla="*/ 0 h 4663"/>
                <a:gd name="T58" fmla="*/ 83 w 2231"/>
                <a:gd name="T59" fmla="*/ 78 h 4663"/>
                <a:gd name="T60" fmla="*/ 254 w 2231"/>
                <a:gd name="T61" fmla="*/ 83 h 4663"/>
                <a:gd name="T62" fmla="*/ 375 w 2231"/>
                <a:gd name="T63" fmla="*/ 132 h 4663"/>
                <a:gd name="T64" fmla="*/ 516 w 2231"/>
                <a:gd name="T65" fmla="*/ 127 h 4663"/>
                <a:gd name="T66" fmla="*/ 828 w 2231"/>
                <a:gd name="T67" fmla="*/ 210 h 4663"/>
                <a:gd name="T68" fmla="*/ 979 w 2231"/>
                <a:gd name="T69" fmla="*/ 137 h 4663"/>
                <a:gd name="T70" fmla="*/ 1193 w 2231"/>
                <a:gd name="T71" fmla="*/ 64 h 4663"/>
                <a:gd name="T72" fmla="*/ 1447 w 2231"/>
                <a:gd name="T73" fmla="*/ 118 h 4663"/>
                <a:gd name="T74" fmla="*/ 1705 w 2231"/>
                <a:gd name="T75" fmla="*/ 190 h 4663"/>
                <a:gd name="T76" fmla="*/ 1953 w 2231"/>
                <a:gd name="T77" fmla="*/ 536 h 4663"/>
                <a:gd name="T78" fmla="*/ 2075 w 2231"/>
                <a:gd name="T79" fmla="*/ 1345 h 4663"/>
                <a:gd name="T80" fmla="*/ 2192 w 2231"/>
                <a:gd name="T81" fmla="*/ 1511 h 4663"/>
                <a:gd name="T82" fmla="*/ 2158 w 2231"/>
                <a:gd name="T83" fmla="*/ 1895 h 4663"/>
                <a:gd name="T84" fmla="*/ 2177 w 2231"/>
                <a:gd name="T85" fmla="*/ 2324 h 4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31" h="4663">
                  <a:moveTo>
                    <a:pt x="2177" y="2387"/>
                  </a:moveTo>
                  <a:lnTo>
                    <a:pt x="2177" y="2387"/>
                  </a:lnTo>
                  <a:cubicBezTo>
                    <a:pt x="2124" y="2397"/>
                    <a:pt x="2089" y="2412"/>
                    <a:pt x="2036" y="2436"/>
                  </a:cubicBezTo>
                  <a:cubicBezTo>
                    <a:pt x="1992" y="2456"/>
                    <a:pt x="1963" y="2460"/>
                    <a:pt x="1924" y="2480"/>
                  </a:cubicBezTo>
                  <a:cubicBezTo>
                    <a:pt x="1875" y="2514"/>
                    <a:pt x="1846" y="2533"/>
                    <a:pt x="1793" y="2553"/>
                  </a:cubicBezTo>
                  <a:cubicBezTo>
                    <a:pt x="1763" y="2562"/>
                    <a:pt x="1744" y="2562"/>
                    <a:pt x="1714" y="2567"/>
                  </a:cubicBezTo>
                  <a:cubicBezTo>
                    <a:pt x="1734" y="2553"/>
                    <a:pt x="1753" y="2543"/>
                    <a:pt x="1753" y="2519"/>
                  </a:cubicBezTo>
                  <a:cubicBezTo>
                    <a:pt x="1753" y="2499"/>
                    <a:pt x="1749" y="2484"/>
                    <a:pt x="1739" y="2475"/>
                  </a:cubicBezTo>
                  <a:cubicBezTo>
                    <a:pt x="1724" y="2460"/>
                    <a:pt x="1705" y="2460"/>
                    <a:pt x="1690" y="2445"/>
                  </a:cubicBezTo>
                  <a:cubicBezTo>
                    <a:pt x="1680" y="2436"/>
                    <a:pt x="1690" y="2421"/>
                    <a:pt x="1690" y="2407"/>
                  </a:cubicBezTo>
                  <a:cubicBezTo>
                    <a:pt x="1690" y="2392"/>
                    <a:pt x="1695" y="2382"/>
                    <a:pt x="1695" y="2363"/>
                  </a:cubicBezTo>
                  <a:cubicBezTo>
                    <a:pt x="1656" y="2387"/>
                    <a:pt x="1646" y="2417"/>
                    <a:pt x="1612" y="2445"/>
                  </a:cubicBezTo>
                  <a:cubicBezTo>
                    <a:pt x="1608" y="2451"/>
                    <a:pt x="1608" y="2456"/>
                    <a:pt x="1598" y="2460"/>
                  </a:cubicBezTo>
                  <a:cubicBezTo>
                    <a:pt x="1588" y="2460"/>
                    <a:pt x="1578" y="2465"/>
                    <a:pt x="1568" y="2465"/>
                  </a:cubicBezTo>
                  <a:cubicBezTo>
                    <a:pt x="1578" y="2489"/>
                    <a:pt x="1588" y="2504"/>
                    <a:pt x="1588" y="2528"/>
                  </a:cubicBezTo>
                  <a:cubicBezTo>
                    <a:pt x="1588" y="2558"/>
                    <a:pt x="1583" y="2572"/>
                    <a:pt x="1578" y="2602"/>
                  </a:cubicBezTo>
                  <a:cubicBezTo>
                    <a:pt x="1578" y="2626"/>
                    <a:pt x="1573" y="2641"/>
                    <a:pt x="1559" y="2660"/>
                  </a:cubicBezTo>
                  <a:cubicBezTo>
                    <a:pt x="1559" y="2665"/>
                    <a:pt x="1559" y="2675"/>
                    <a:pt x="1559" y="2680"/>
                  </a:cubicBezTo>
                  <a:cubicBezTo>
                    <a:pt x="1553" y="2680"/>
                    <a:pt x="1544" y="2680"/>
                    <a:pt x="1544" y="2680"/>
                  </a:cubicBezTo>
                  <a:cubicBezTo>
                    <a:pt x="1525" y="2694"/>
                    <a:pt x="1514" y="2704"/>
                    <a:pt x="1500" y="2719"/>
                  </a:cubicBezTo>
                  <a:cubicBezTo>
                    <a:pt x="1486" y="2738"/>
                    <a:pt x="1476" y="2757"/>
                    <a:pt x="1462" y="2777"/>
                  </a:cubicBezTo>
                  <a:cubicBezTo>
                    <a:pt x="1447" y="2801"/>
                    <a:pt x="1432" y="2816"/>
                    <a:pt x="1422" y="2840"/>
                  </a:cubicBezTo>
                  <a:cubicBezTo>
                    <a:pt x="1417" y="2850"/>
                    <a:pt x="1412" y="2865"/>
                    <a:pt x="1407" y="2874"/>
                  </a:cubicBezTo>
                  <a:cubicBezTo>
                    <a:pt x="1383" y="2904"/>
                    <a:pt x="1359" y="2913"/>
                    <a:pt x="1330" y="2933"/>
                  </a:cubicBezTo>
                  <a:cubicBezTo>
                    <a:pt x="1305" y="2952"/>
                    <a:pt x="1301" y="2972"/>
                    <a:pt x="1276" y="2991"/>
                  </a:cubicBezTo>
                  <a:cubicBezTo>
                    <a:pt x="1252" y="3011"/>
                    <a:pt x="1227" y="3011"/>
                    <a:pt x="1198" y="3015"/>
                  </a:cubicBezTo>
                  <a:cubicBezTo>
                    <a:pt x="1159" y="3025"/>
                    <a:pt x="1135" y="3030"/>
                    <a:pt x="1091" y="3030"/>
                  </a:cubicBezTo>
                  <a:cubicBezTo>
                    <a:pt x="1072" y="3030"/>
                    <a:pt x="1057" y="3030"/>
                    <a:pt x="1033" y="3025"/>
                  </a:cubicBezTo>
                  <a:cubicBezTo>
                    <a:pt x="1013" y="3015"/>
                    <a:pt x="1008" y="3001"/>
                    <a:pt x="989" y="3001"/>
                  </a:cubicBezTo>
                  <a:cubicBezTo>
                    <a:pt x="974" y="3001"/>
                    <a:pt x="969" y="3015"/>
                    <a:pt x="959" y="3025"/>
                  </a:cubicBezTo>
                  <a:cubicBezTo>
                    <a:pt x="945" y="3030"/>
                    <a:pt x="935" y="3035"/>
                    <a:pt x="920" y="3035"/>
                  </a:cubicBezTo>
                  <a:cubicBezTo>
                    <a:pt x="906" y="3035"/>
                    <a:pt x="896" y="3025"/>
                    <a:pt x="882" y="3015"/>
                  </a:cubicBezTo>
                  <a:cubicBezTo>
                    <a:pt x="867" y="3020"/>
                    <a:pt x="867" y="3020"/>
                    <a:pt x="867" y="3020"/>
                  </a:cubicBezTo>
                  <a:cubicBezTo>
                    <a:pt x="872" y="3059"/>
                    <a:pt x="872" y="3094"/>
                    <a:pt x="911" y="3113"/>
                  </a:cubicBezTo>
                  <a:cubicBezTo>
                    <a:pt x="852" y="3133"/>
                    <a:pt x="823" y="3161"/>
                    <a:pt x="774" y="3191"/>
                  </a:cubicBezTo>
                  <a:cubicBezTo>
                    <a:pt x="774" y="3172"/>
                    <a:pt x="774" y="3161"/>
                    <a:pt x="774" y="3147"/>
                  </a:cubicBezTo>
                  <a:cubicBezTo>
                    <a:pt x="745" y="3147"/>
                    <a:pt x="745" y="3147"/>
                    <a:pt x="745" y="3147"/>
                  </a:cubicBezTo>
                  <a:cubicBezTo>
                    <a:pt x="721" y="3152"/>
                    <a:pt x="696" y="3166"/>
                    <a:pt x="696" y="3191"/>
                  </a:cubicBezTo>
                  <a:cubicBezTo>
                    <a:pt x="696" y="3220"/>
                    <a:pt x="696" y="3220"/>
                    <a:pt x="696" y="3220"/>
                  </a:cubicBezTo>
                  <a:cubicBezTo>
                    <a:pt x="740" y="3220"/>
                    <a:pt x="740" y="3220"/>
                    <a:pt x="740" y="3220"/>
                  </a:cubicBezTo>
                  <a:cubicBezTo>
                    <a:pt x="706" y="3239"/>
                    <a:pt x="691" y="3259"/>
                    <a:pt x="667" y="3283"/>
                  </a:cubicBezTo>
                  <a:cubicBezTo>
                    <a:pt x="638" y="3313"/>
                    <a:pt x="614" y="3318"/>
                    <a:pt x="594" y="3346"/>
                  </a:cubicBezTo>
                  <a:cubicBezTo>
                    <a:pt x="580" y="3366"/>
                    <a:pt x="575" y="3381"/>
                    <a:pt x="565" y="3396"/>
                  </a:cubicBezTo>
                  <a:cubicBezTo>
                    <a:pt x="550" y="3376"/>
                    <a:pt x="541" y="3361"/>
                    <a:pt x="521" y="3346"/>
                  </a:cubicBezTo>
                  <a:cubicBezTo>
                    <a:pt x="511" y="3361"/>
                    <a:pt x="506" y="3371"/>
                    <a:pt x="497" y="3390"/>
                  </a:cubicBezTo>
                  <a:cubicBezTo>
                    <a:pt x="492" y="3400"/>
                    <a:pt x="482" y="3405"/>
                    <a:pt x="482" y="3420"/>
                  </a:cubicBezTo>
                  <a:cubicBezTo>
                    <a:pt x="482" y="3434"/>
                    <a:pt x="502" y="3440"/>
                    <a:pt x="516" y="3444"/>
                  </a:cubicBezTo>
                  <a:cubicBezTo>
                    <a:pt x="506" y="3468"/>
                    <a:pt x="492" y="3478"/>
                    <a:pt x="482" y="3503"/>
                  </a:cubicBezTo>
                  <a:cubicBezTo>
                    <a:pt x="477" y="3517"/>
                    <a:pt x="477" y="3542"/>
                    <a:pt x="458" y="3542"/>
                  </a:cubicBezTo>
                  <a:cubicBezTo>
                    <a:pt x="453" y="3542"/>
                    <a:pt x="448" y="3532"/>
                    <a:pt x="439" y="3532"/>
                  </a:cubicBezTo>
                  <a:cubicBezTo>
                    <a:pt x="429" y="3532"/>
                    <a:pt x="424" y="3537"/>
                    <a:pt x="414" y="3542"/>
                  </a:cubicBezTo>
                  <a:cubicBezTo>
                    <a:pt x="399" y="3546"/>
                    <a:pt x="375" y="3546"/>
                    <a:pt x="375" y="3561"/>
                  </a:cubicBezTo>
                  <a:cubicBezTo>
                    <a:pt x="375" y="3576"/>
                    <a:pt x="384" y="3581"/>
                    <a:pt x="390" y="3595"/>
                  </a:cubicBezTo>
                  <a:cubicBezTo>
                    <a:pt x="395" y="3605"/>
                    <a:pt x="404" y="3619"/>
                    <a:pt x="419" y="3619"/>
                  </a:cubicBezTo>
                  <a:cubicBezTo>
                    <a:pt x="434" y="3619"/>
                    <a:pt x="439" y="3610"/>
                    <a:pt x="448" y="3600"/>
                  </a:cubicBezTo>
                  <a:cubicBezTo>
                    <a:pt x="443" y="3639"/>
                    <a:pt x="434" y="3663"/>
                    <a:pt x="424" y="3697"/>
                  </a:cubicBezTo>
                  <a:cubicBezTo>
                    <a:pt x="414" y="3727"/>
                    <a:pt x="404" y="3741"/>
                    <a:pt x="404" y="3766"/>
                  </a:cubicBezTo>
                  <a:cubicBezTo>
                    <a:pt x="404" y="3780"/>
                    <a:pt x="404" y="3790"/>
                    <a:pt x="409" y="3805"/>
                  </a:cubicBezTo>
                  <a:cubicBezTo>
                    <a:pt x="409" y="3785"/>
                    <a:pt x="409" y="3785"/>
                    <a:pt x="409" y="3785"/>
                  </a:cubicBezTo>
                  <a:cubicBezTo>
                    <a:pt x="395" y="3785"/>
                    <a:pt x="390" y="3790"/>
                    <a:pt x="380" y="3790"/>
                  </a:cubicBezTo>
                  <a:cubicBezTo>
                    <a:pt x="370" y="3790"/>
                    <a:pt x="360" y="3780"/>
                    <a:pt x="351" y="3780"/>
                  </a:cubicBezTo>
                  <a:cubicBezTo>
                    <a:pt x="326" y="3780"/>
                    <a:pt x="297" y="3799"/>
                    <a:pt x="297" y="3829"/>
                  </a:cubicBezTo>
                  <a:cubicBezTo>
                    <a:pt x="297" y="3858"/>
                    <a:pt x="331" y="3877"/>
                    <a:pt x="360" y="3877"/>
                  </a:cubicBezTo>
                  <a:cubicBezTo>
                    <a:pt x="375" y="3877"/>
                    <a:pt x="384" y="3873"/>
                    <a:pt x="395" y="3863"/>
                  </a:cubicBezTo>
                  <a:cubicBezTo>
                    <a:pt x="395" y="3985"/>
                    <a:pt x="395" y="3985"/>
                    <a:pt x="395" y="3985"/>
                  </a:cubicBezTo>
                  <a:cubicBezTo>
                    <a:pt x="395" y="4014"/>
                    <a:pt x="380" y="4029"/>
                    <a:pt x="360" y="4048"/>
                  </a:cubicBezTo>
                  <a:cubicBezTo>
                    <a:pt x="356" y="4053"/>
                    <a:pt x="345" y="4058"/>
                    <a:pt x="345" y="4062"/>
                  </a:cubicBezTo>
                  <a:cubicBezTo>
                    <a:pt x="345" y="4092"/>
                    <a:pt x="360" y="4102"/>
                    <a:pt x="370" y="4126"/>
                  </a:cubicBezTo>
                  <a:cubicBezTo>
                    <a:pt x="380" y="4155"/>
                    <a:pt x="380" y="4170"/>
                    <a:pt x="384" y="4199"/>
                  </a:cubicBezTo>
                  <a:cubicBezTo>
                    <a:pt x="390" y="4233"/>
                    <a:pt x="390" y="4258"/>
                    <a:pt x="409" y="4291"/>
                  </a:cubicBezTo>
                  <a:cubicBezTo>
                    <a:pt x="419" y="4316"/>
                    <a:pt x="434" y="4335"/>
                    <a:pt x="443" y="4360"/>
                  </a:cubicBezTo>
                  <a:cubicBezTo>
                    <a:pt x="453" y="4389"/>
                    <a:pt x="467" y="4404"/>
                    <a:pt x="467" y="4433"/>
                  </a:cubicBezTo>
                  <a:cubicBezTo>
                    <a:pt x="467" y="4511"/>
                    <a:pt x="467" y="4511"/>
                    <a:pt x="467" y="4511"/>
                  </a:cubicBezTo>
                  <a:cubicBezTo>
                    <a:pt x="467" y="4526"/>
                    <a:pt x="458" y="4540"/>
                    <a:pt x="467" y="4554"/>
                  </a:cubicBezTo>
                  <a:cubicBezTo>
                    <a:pt x="487" y="4579"/>
                    <a:pt x="516" y="4569"/>
                    <a:pt x="550" y="4569"/>
                  </a:cubicBezTo>
                  <a:cubicBezTo>
                    <a:pt x="550" y="4589"/>
                    <a:pt x="555" y="4603"/>
                    <a:pt x="555" y="4618"/>
                  </a:cubicBezTo>
                  <a:lnTo>
                    <a:pt x="555" y="4618"/>
                  </a:lnTo>
                  <a:cubicBezTo>
                    <a:pt x="545" y="4623"/>
                    <a:pt x="531" y="4628"/>
                    <a:pt x="521" y="4633"/>
                  </a:cubicBezTo>
                  <a:cubicBezTo>
                    <a:pt x="497" y="4647"/>
                    <a:pt x="487" y="4662"/>
                    <a:pt x="458" y="4662"/>
                  </a:cubicBezTo>
                  <a:cubicBezTo>
                    <a:pt x="429" y="4662"/>
                    <a:pt x="409" y="4657"/>
                    <a:pt x="384" y="4642"/>
                  </a:cubicBezTo>
                  <a:cubicBezTo>
                    <a:pt x="375" y="4633"/>
                    <a:pt x="370" y="4623"/>
                    <a:pt x="360" y="4613"/>
                  </a:cubicBezTo>
                  <a:cubicBezTo>
                    <a:pt x="331" y="4598"/>
                    <a:pt x="312" y="4594"/>
                    <a:pt x="282" y="4589"/>
                  </a:cubicBezTo>
                  <a:cubicBezTo>
                    <a:pt x="204" y="4574"/>
                    <a:pt x="161" y="4569"/>
                    <a:pt x="88" y="4545"/>
                  </a:cubicBezTo>
                  <a:cubicBezTo>
                    <a:pt x="63" y="4540"/>
                    <a:pt x="49" y="4535"/>
                    <a:pt x="24" y="4530"/>
                  </a:cubicBezTo>
                  <a:cubicBezTo>
                    <a:pt x="14" y="4530"/>
                    <a:pt x="10" y="4526"/>
                    <a:pt x="0" y="4526"/>
                  </a:cubicBezTo>
                  <a:lnTo>
                    <a:pt x="0" y="4526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19" y="10"/>
                    <a:pt x="34" y="20"/>
                    <a:pt x="58" y="35"/>
                  </a:cubicBezTo>
                  <a:cubicBezTo>
                    <a:pt x="73" y="44"/>
                    <a:pt x="73" y="64"/>
                    <a:pt x="83" y="78"/>
                  </a:cubicBezTo>
                  <a:cubicBezTo>
                    <a:pt x="97" y="113"/>
                    <a:pt x="117" y="137"/>
                    <a:pt x="151" y="137"/>
                  </a:cubicBezTo>
                  <a:cubicBezTo>
                    <a:pt x="166" y="137"/>
                    <a:pt x="175" y="127"/>
                    <a:pt x="185" y="113"/>
                  </a:cubicBezTo>
                  <a:cubicBezTo>
                    <a:pt x="204" y="93"/>
                    <a:pt x="224" y="83"/>
                    <a:pt x="254" y="83"/>
                  </a:cubicBezTo>
                  <a:cubicBezTo>
                    <a:pt x="268" y="83"/>
                    <a:pt x="278" y="88"/>
                    <a:pt x="293" y="98"/>
                  </a:cubicBezTo>
                  <a:cubicBezTo>
                    <a:pt x="293" y="103"/>
                    <a:pt x="293" y="113"/>
                    <a:pt x="297" y="113"/>
                  </a:cubicBezTo>
                  <a:cubicBezTo>
                    <a:pt x="321" y="132"/>
                    <a:pt x="341" y="132"/>
                    <a:pt x="375" y="132"/>
                  </a:cubicBezTo>
                  <a:cubicBezTo>
                    <a:pt x="395" y="132"/>
                    <a:pt x="414" y="127"/>
                    <a:pt x="434" y="137"/>
                  </a:cubicBezTo>
                  <a:cubicBezTo>
                    <a:pt x="453" y="142"/>
                    <a:pt x="463" y="161"/>
                    <a:pt x="487" y="161"/>
                  </a:cubicBezTo>
                  <a:cubicBezTo>
                    <a:pt x="502" y="161"/>
                    <a:pt x="502" y="127"/>
                    <a:pt x="516" y="127"/>
                  </a:cubicBezTo>
                  <a:cubicBezTo>
                    <a:pt x="536" y="127"/>
                    <a:pt x="545" y="137"/>
                    <a:pt x="560" y="142"/>
                  </a:cubicBezTo>
                  <a:cubicBezTo>
                    <a:pt x="638" y="152"/>
                    <a:pt x="682" y="166"/>
                    <a:pt x="760" y="181"/>
                  </a:cubicBezTo>
                  <a:cubicBezTo>
                    <a:pt x="784" y="185"/>
                    <a:pt x="799" y="210"/>
                    <a:pt x="828" y="210"/>
                  </a:cubicBezTo>
                  <a:cubicBezTo>
                    <a:pt x="848" y="210"/>
                    <a:pt x="857" y="205"/>
                    <a:pt x="877" y="195"/>
                  </a:cubicBezTo>
                  <a:cubicBezTo>
                    <a:pt x="911" y="190"/>
                    <a:pt x="930" y="181"/>
                    <a:pt x="955" y="161"/>
                  </a:cubicBezTo>
                  <a:cubicBezTo>
                    <a:pt x="964" y="157"/>
                    <a:pt x="969" y="146"/>
                    <a:pt x="979" y="137"/>
                  </a:cubicBezTo>
                  <a:cubicBezTo>
                    <a:pt x="1018" y="113"/>
                    <a:pt x="1047" y="122"/>
                    <a:pt x="1086" y="103"/>
                  </a:cubicBezTo>
                  <a:cubicBezTo>
                    <a:pt x="1105" y="93"/>
                    <a:pt x="1110" y="78"/>
                    <a:pt x="1130" y="74"/>
                  </a:cubicBezTo>
                  <a:cubicBezTo>
                    <a:pt x="1155" y="64"/>
                    <a:pt x="1169" y="64"/>
                    <a:pt x="1193" y="64"/>
                  </a:cubicBezTo>
                  <a:cubicBezTo>
                    <a:pt x="1213" y="78"/>
                    <a:pt x="1227" y="88"/>
                    <a:pt x="1252" y="88"/>
                  </a:cubicBezTo>
                  <a:cubicBezTo>
                    <a:pt x="1354" y="88"/>
                    <a:pt x="1354" y="88"/>
                    <a:pt x="1354" y="88"/>
                  </a:cubicBezTo>
                  <a:cubicBezTo>
                    <a:pt x="1393" y="88"/>
                    <a:pt x="1412" y="103"/>
                    <a:pt x="1447" y="118"/>
                  </a:cubicBezTo>
                  <a:cubicBezTo>
                    <a:pt x="1490" y="137"/>
                    <a:pt x="1510" y="152"/>
                    <a:pt x="1553" y="171"/>
                  </a:cubicBezTo>
                  <a:cubicBezTo>
                    <a:pt x="1608" y="195"/>
                    <a:pt x="1646" y="190"/>
                    <a:pt x="1705" y="190"/>
                  </a:cubicBezTo>
                  <a:lnTo>
                    <a:pt x="1705" y="190"/>
                  </a:lnTo>
                  <a:cubicBezTo>
                    <a:pt x="1753" y="210"/>
                    <a:pt x="1793" y="215"/>
                    <a:pt x="1846" y="215"/>
                  </a:cubicBezTo>
                  <a:cubicBezTo>
                    <a:pt x="1880" y="215"/>
                    <a:pt x="1899" y="215"/>
                    <a:pt x="1934" y="215"/>
                  </a:cubicBezTo>
                  <a:cubicBezTo>
                    <a:pt x="1953" y="536"/>
                    <a:pt x="1953" y="536"/>
                    <a:pt x="1953" y="536"/>
                  </a:cubicBezTo>
                  <a:lnTo>
                    <a:pt x="1953" y="536"/>
                  </a:lnTo>
                  <a:cubicBezTo>
                    <a:pt x="1978" y="1130"/>
                    <a:pt x="1978" y="1130"/>
                    <a:pt x="1978" y="1130"/>
                  </a:cubicBezTo>
                  <a:cubicBezTo>
                    <a:pt x="2021" y="1213"/>
                    <a:pt x="2031" y="1262"/>
                    <a:pt x="2075" y="1345"/>
                  </a:cubicBezTo>
                  <a:cubicBezTo>
                    <a:pt x="2089" y="1369"/>
                    <a:pt x="2104" y="1379"/>
                    <a:pt x="2124" y="1403"/>
                  </a:cubicBezTo>
                  <a:cubicBezTo>
                    <a:pt x="2138" y="1423"/>
                    <a:pt x="2143" y="1442"/>
                    <a:pt x="2158" y="1462"/>
                  </a:cubicBezTo>
                  <a:cubicBezTo>
                    <a:pt x="2167" y="1481"/>
                    <a:pt x="2182" y="1491"/>
                    <a:pt x="2192" y="1511"/>
                  </a:cubicBezTo>
                  <a:cubicBezTo>
                    <a:pt x="2216" y="1559"/>
                    <a:pt x="2230" y="1594"/>
                    <a:pt x="2230" y="1652"/>
                  </a:cubicBezTo>
                  <a:cubicBezTo>
                    <a:pt x="2230" y="1705"/>
                    <a:pt x="2230" y="1735"/>
                    <a:pt x="2211" y="1779"/>
                  </a:cubicBezTo>
                  <a:cubicBezTo>
                    <a:pt x="2187" y="1822"/>
                    <a:pt x="2158" y="1846"/>
                    <a:pt x="2158" y="1895"/>
                  </a:cubicBezTo>
                  <a:cubicBezTo>
                    <a:pt x="2158" y="1949"/>
                    <a:pt x="2187" y="1978"/>
                    <a:pt x="2187" y="2036"/>
                  </a:cubicBezTo>
                  <a:cubicBezTo>
                    <a:pt x="2187" y="2144"/>
                    <a:pt x="2182" y="2202"/>
                    <a:pt x="2182" y="2309"/>
                  </a:cubicBezTo>
                  <a:cubicBezTo>
                    <a:pt x="2182" y="2314"/>
                    <a:pt x="2177" y="2319"/>
                    <a:pt x="2177" y="2324"/>
                  </a:cubicBezTo>
                  <a:cubicBezTo>
                    <a:pt x="2177" y="2348"/>
                    <a:pt x="2182" y="2363"/>
                    <a:pt x="2177" y="2387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9" name="Freeform 70"/>
            <p:cNvSpPr>
              <a:spLocks noChangeArrowheads="1"/>
            </p:cNvSpPr>
            <p:nvPr/>
          </p:nvSpPr>
          <p:spPr bwMode="auto">
            <a:xfrm>
              <a:off x="15242635" y="2574043"/>
              <a:ext cx="980085" cy="1680256"/>
            </a:xfrm>
            <a:custGeom>
              <a:avLst/>
              <a:gdLst>
                <a:gd name="T0" fmla="*/ 0 w 1550"/>
                <a:gd name="T1" fmla="*/ 1549 h 2651"/>
                <a:gd name="T2" fmla="*/ 536 w 1550"/>
                <a:gd name="T3" fmla="*/ 2650 h 2651"/>
                <a:gd name="T4" fmla="*/ 536 w 1550"/>
                <a:gd name="T5" fmla="*/ 2645 h 2651"/>
                <a:gd name="T6" fmla="*/ 623 w 1550"/>
                <a:gd name="T7" fmla="*/ 2343 h 2651"/>
                <a:gd name="T8" fmla="*/ 760 w 1550"/>
                <a:gd name="T9" fmla="*/ 2100 h 2651"/>
                <a:gd name="T10" fmla="*/ 901 w 1550"/>
                <a:gd name="T11" fmla="*/ 1924 h 2651"/>
                <a:gd name="T12" fmla="*/ 959 w 1550"/>
                <a:gd name="T13" fmla="*/ 1870 h 2651"/>
                <a:gd name="T14" fmla="*/ 979 w 1550"/>
                <a:gd name="T15" fmla="*/ 1734 h 2651"/>
                <a:gd name="T16" fmla="*/ 954 w 1550"/>
                <a:gd name="T17" fmla="*/ 1583 h 2651"/>
                <a:gd name="T18" fmla="*/ 1013 w 1550"/>
                <a:gd name="T19" fmla="*/ 1564 h 2651"/>
                <a:gd name="T20" fmla="*/ 1067 w 1550"/>
                <a:gd name="T21" fmla="*/ 1647 h 2651"/>
                <a:gd name="T22" fmla="*/ 1145 w 1550"/>
                <a:gd name="T23" fmla="*/ 1583 h 2651"/>
                <a:gd name="T24" fmla="*/ 1203 w 1550"/>
                <a:gd name="T25" fmla="*/ 1495 h 2651"/>
                <a:gd name="T26" fmla="*/ 1256 w 1550"/>
                <a:gd name="T27" fmla="*/ 1500 h 2651"/>
                <a:gd name="T28" fmla="*/ 1300 w 1550"/>
                <a:gd name="T29" fmla="*/ 1427 h 2651"/>
                <a:gd name="T30" fmla="*/ 1422 w 1550"/>
                <a:gd name="T31" fmla="*/ 1315 h 2651"/>
                <a:gd name="T32" fmla="*/ 1549 w 1550"/>
                <a:gd name="T33" fmla="*/ 1096 h 2651"/>
                <a:gd name="T34" fmla="*/ 1490 w 1550"/>
                <a:gd name="T35" fmla="*/ 1018 h 2651"/>
                <a:gd name="T36" fmla="*/ 1432 w 1550"/>
                <a:gd name="T37" fmla="*/ 931 h 2651"/>
                <a:gd name="T38" fmla="*/ 1339 w 1550"/>
                <a:gd name="T39" fmla="*/ 887 h 2651"/>
                <a:gd name="T40" fmla="*/ 1261 w 1550"/>
                <a:gd name="T41" fmla="*/ 838 h 2651"/>
                <a:gd name="T42" fmla="*/ 1110 w 1550"/>
                <a:gd name="T43" fmla="*/ 706 h 2651"/>
                <a:gd name="T44" fmla="*/ 1052 w 1550"/>
                <a:gd name="T45" fmla="*/ 653 h 2651"/>
                <a:gd name="T46" fmla="*/ 945 w 1550"/>
                <a:gd name="T47" fmla="*/ 399 h 2651"/>
                <a:gd name="T48" fmla="*/ 828 w 1550"/>
                <a:gd name="T49" fmla="*/ 112 h 2651"/>
                <a:gd name="T50" fmla="*/ 725 w 1550"/>
                <a:gd name="T51" fmla="*/ 39 h 2651"/>
                <a:gd name="T52" fmla="*/ 560 w 1550"/>
                <a:gd name="T53" fmla="*/ 49 h 2651"/>
                <a:gd name="T54" fmla="*/ 424 w 1550"/>
                <a:gd name="T55" fmla="*/ 141 h 2651"/>
                <a:gd name="T56" fmla="*/ 331 w 1550"/>
                <a:gd name="T57" fmla="*/ 229 h 2651"/>
                <a:gd name="T58" fmla="*/ 161 w 1550"/>
                <a:gd name="T59" fmla="*/ 258 h 2651"/>
                <a:gd name="T60" fmla="*/ 117 w 1550"/>
                <a:gd name="T61" fmla="*/ 517 h 2651"/>
                <a:gd name="T62" fmla="*/ 127 w 1550"/>
                <a:gd name="T63" fmla="*/ 984 h 2651"/>
                <a:gd name="T64" fmla="*/ 107 w 1550"/>
                <a:gd name="T65" fmla="*/ 1198 h 2651"/>
                <a:gd name="T66" fmla="*/ 58 w 1550"/>
                <a:gd name="T67" fmla="*/ 1305 h 2651"/>
                <a:gd name="T68" fmla="*/ 78 w 1550"/>
                <a:gd name="T69" fmla="*/ 1369 h 2651"/>
                <a:gd name="T70" fmla="*/ 63 w 1550"/>
                <a:gd name="T71" fmla="*/ 1510 h 2651"/>
                <a:gd name="T72" fmla="*/ 0 w 1550"/>
                <a:gd name="T73" fmla="*/ 1549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50" h="2651">
                  <a:moveTo>
                    <a:pt x="0" y="1549"/>
                  </a:moveTo>
                  <a:lnTo>
                    <a:pt x="0" y="1549"/>
                  </a:lnTo>
                  <a:cubicBezTo>
                    <a:pt x="399" y="2596"/>
                    <a:pt x="399" y="2596"/>
                    <a:pt x="399" y="2596"/>
                  </a:cubicBezTo>
                  <a:cubicBezTo>
                    <a:pt x="443" y="2620"/>
                    <a:pt x="487" y="2630"/>
                    <a:pt x="536" y="2650"/>
                  </a:cubicBezTo>
                  <a:lnTo>
                    <a:pt x="536" y="2650"/>
                  </a:lnTo>
                  <a:cubicBezTo>
                    <a:pt x="536" y="2645"/>
                    <a:pt x="536" y="2645"/>
                    <a:pt x="536" y="2645"/>
                  </a:cubicBezTo>
                  <a:cubicBezTo>
                    <a:pt x="550" y="2548"/>
                    <a:pt x="550" y="2489"/>
                    <a:pt x="589" y="2401"/>
                  </a:cubicBezTo>
                  <a:cubicBezTo>
                    <a:pt x="599" y="2377"/>
                    <a:pt x="614" y="2367"/>
                    <a:pt x="623" y="2343"/>
                  </a:cubicBezTo>
                  <a:cubicBezTo>
                    <a:pt x="648" y="2289"/>
                    <a:pt x="653" y="2250"/>
                    <a:pt x="658" y="2192"/>
                  </a:cubicBezTo>
                  <a:cubicBezTo>
                    <a:pt x="682" y="2143"/>
                    <a:pt x="716" y="2133"/>
                    <a:pt x="760" y="2100"/>
                  </a:cubicBezTo>
                  <a:cubicBezTo>
                    <a:pt x="808" y="2065"/>
                    <a:pt x="823" y="2026"/>
                    <a:pt x="852" y="1978"/>
                  </a:cubicBezTo>
                  <a:cubicBezTo>
                    <a:pt x="867" y="1954"/>
                    <a:pt x="877" y="1934"/>
                    <a:pt x="901" y="1924"/>
                  </a:cubicBezTo>
                  <a:cubicBezTo>
                    <a:pt x="910" y="1919"/>
                    <a:pt x="921" y="1924"/>
                    <a:pt x="930" y="1915"/>
                  </a:cubicBezTo>
                  <a:cubicBezTo>
                    <a:pt x="945" y="1904"/>
                    <a:pt x="954" y="1890"/>
                    <a:pt x="959" y="1870"/>
                  </a:cubicBezTo>
                  <a:cubicBezTo>
                    <a:pt x="969" y="1836"/>
                    <a:pt x="964" y="1817"/>
                    <a:pt x="969" y="1783"/>
                  </a:cubicBezTo>
                  <a:cubicBezTo>
                    <a:pt x="969" y="1763"/>
                    <a:pt x="979" y="1754"/>
                    <a:pt x="979" y="1734"/>
                  </a:cubicBezTo>
                  <a:cubicBezTo>
                    <a:pt x="979" y="1661"/>
                    <a:pt x="979" y="1661"/>
                    <a:pt x="979" y="1661"/>
                  </a:cubicBezTo>
                  <a:cubicBezTo>
                    <a:pt x="954" y="1583"/>
                    <a:pt x="954" y="1583"/>
                    <a:pt x="954" y="1583"/>
                  </a:cubicBezTo>
                  <a:cubicBezTo>
                    <a:pt x="969" y="1583"/>
                    <a:pt x="984" y="1578"/>
                    <a:pt x="998" y="1573"/>
                  </a:cubicBezTo>
                  <a:cubicBezTo>
                    <a:pt x="1004" y="1573"/>
                    <a:pt x="1008" y="1564"/>
                    <a:pt x="1013" y="1564"/>
                  </a:cubicBezTo>
                  <a:cubicBezTo>
                    <a:pt x="1032" y="1564"/>
                    <a:pt x="1037" y="1588"/>
                    <a:pt x="1042" y="1603"/>
                  </a:cubicBezTo>
                  <a:cubicBezTo>
                    <a:pt x="1052" y="1622"/>
                    <a:pt x="1057" y="1632"/>
                    <a:pt x="1067" y="1647"/>
                  </a:cubicBezTo>
                  <a:cubicBezTo>
                    <a:pt x="1095" y="1642"/>
                    <a:pt x="1125" y="1642"/>
                    <a:pt x="1145" y="1612"/>
                  </a:cubicBezTo>
                  <a:cubicBezTo>
                    <a:pt x="1150" y="1608"/>
                    <a:pt x="1145" y="1593"/>
                    <a:pt x="1145" y="1583"/>
                  </a:cubicBezTo>
                  <a:cubicBezTo>
                    <a:pt x="1150" y="1564"/>
                    <a:pt x="1164" y="1554"/>
                    <a:pt x="1174" y="1539"/>
                  </a:cubicBezTo>
                  <a:cubicBezTo>
                    <a:pt x="1184" y="1525"/>
                    <a:pt x="1193" y="1510"/>
                    <a:pt x="1203" y="1495"/>
                  </a:cubicBezTo>
                  <a:cubicBezTo>
                    <a:pt x="1208" y="1486"/>
                    <a:pt x="1208" y="1481"/>
                    <a:pt x="1217" y="1481"/>
                  </a:cubicBezTo>
                  <a:cubicBezTo>
                    <a:pt x="1232" y="1481"/>
                    <a:pt x="1242" y="1495"/>
                    <a:pt x="1256" y="1500"/>
                  </a:cubicBezTo>
                  <a:cubicBezTo>
                    <a:pt x="1261" y="1505"/>
                    <a:pt x="1266" y="1500"/>
                    <a:pt x="1271" y="1500"/>
                  </a:cubicBezTo>
                  <a:cubicBezTo>
                    <a:pt x="1286" y="1476"/>
                    <a:pt x="1286" y="1451"/>
                    <a:pt x="1300" y="1427"/>
                  </a:cubicBezTo>
                  <a:cubicBezTo>
                    <a:pt x="1325" y="1393"/>
                    <a:pt x="1349" y="1379"/>
                    <a:pt x="1378" y="1349"/>
                  </a:cubicBezTo>
                  <a:cubicBezTo>
                    <a:pt x="1393" y="1335"/>
                    <a:pt x="1402" y="1325"/>
                    <a:pt x="1422" y="1315"/>
                  </a:cubicBezTo>
                  <a:cubicBezTo>
                    <a:pt x="1471" y="1276"/>
                    <a:pt x="1485" y="1242"/>
                    <a:pt x="1515" y="1183"/>
                  </a:cubicBezTo>
                  <a:cubicBezTo>
                    <a:pt x="1534" y="1155"/>
                    <a:pt x="1549" y="1130"/>
                    <a:pt x="1549" y="1096"/>
                  </a:cubicBezTo>
                  <a:cubicBezTo>
                    <a:pt x="1549" y="1076"/>
                    <a:pt x="1549" y="1062"/>
                    <a:pt x="1539" y="1047"/>
                  </a:cubicBezTo>
                  <a:cubicBezTo>
                    <a:pt x="1524" y="1033"/>
                    <a:pt x="1505" y="1033"/>
                    <a:pt x="1490" y="1018"/>
                  </a:cubicBezTo>
                  <a:cubicBezTo>
                    <a:pt x="1481" y="1008"/>
                    <a:pt x="1481" y="989"/>
                    <a:pt x="1476" y="974"/>
                  </a:cubicBezTo>
                  <a:cubicBezTo>
                    <a:pt x="1466" y="955"/>
                    <a:pt x="1446" y="945"/>
                    <a:pt x="1432" y="931"/>
                  </a:cubicBezTo>
                  <a:lnTo>
                    <a:pt x="1432" y="931"/>
                  </a:lnTo>
                  <a:cubicBezTo>
                    <a:pt x="1393" y="926"/>
                    <a:pt x="1374" y="896"/>
                    <a:pt x="1339" y="887"/>
                  </a:cubicBezTo>
                  <a:cubicBezTo>
                    <a:pt x="1315" y="882"/>
                    <a:pt x="1296" y="887"/>
                    <a:pt x="1276" y="867"/>
                  </a:cubicBezTo>
                  <a:cubicBezTo>
                    <a:pt x="1266" y="862"/>
                    <a:pt x="1266" y="848"/>
                    <a:pt x="1261" y="838"/>
                  </a:cubicBezTo>
                  <a:cubicBezTo>
                    <a:pt x="1232" y="789"/>
                    <a:pt x="1217" y="755"/>
                    <a:pt x="1169" y="730"/>
                  </a:cubicBezTo>
                  <a:cubicBezTo>
                    <a:pt x="1145" y="716"/>
                    <a:pt x="1135" y="711"/>
                    <a:pt x="1110" y="706"/>
                  </a:cubicBezTo>
                  <a:cubicBezTo>
                    <a:pt x="1091" y="702"/>
                    <a:pt x="1076" y="711"/>
                    <a:pt x="1062" y="697"/>
                  </a:cubicBezTo>
                  <a:cubicBezTo>
                    <a:pt x="1052" y="687"/>
                    <a:pt x="1057" y="672"/>
                    <a:pt x="1052" y="653"/>
                  </a:cubicBezTo>
                  <a:cubicBezTo>
                    <a:pt x="1032" y="589"/>
                    <a:pt x="993" y="565"/>
                    <a:pt x="974" y="502"/>
                  </a:cubicBezTo>
                  <a:cubicBezTo>
                    <a:pt x="959" y="463"/>
                    <a:pt x="954" y="439"/>
                    <a:pt x="945" y="399"/>
                  </a:cubicBezTo>
                  <a:cubicBezTo>
                    <a:pt x="916" y="321"/>
                    <a:pt x="891" y="278"/>
                    <a:pt x="867" y="200"/>
                  </a:cubicBezTo>
                  <a:cubicBezTo>
                    <a:pt x="857" y="166"/>
                    <a:pt x="847" y="146"/>
                    <a:pt x="828" y="112"/>
                  </a:cubicBezTo>
                  <a:cubicBezTo>
                    <a:pt x="823" y="93"/>
                    <a:pt x="818" y="78"/>
                    <a:pt x="804" y="64"/>
                  </a:cubicBezTo>
                  <a:cubicBezTo>
                    <a:pt x="779" y="44"/>
                    <a:pt x="755" y="49"/>
                    <a:pt x="725" y="39"/>
                  </a:cubicBezTo>
                  <a:cubicBezTo>
                    <a:pt x="686" y="25"/>
                    <a:pt x="662" y="0"/>
                    <a:pt x="614" y="0"/>
                  </a:cubicBezTo>
                  <a:cubicBezTo>
                    <a:pt x="584" y="0"/>
                    <a:pt x="575" y="25"/>
                    <a:pt x="560" y="49"/>
                  </a:cubicBezTo>
                  <a:cubicBezTo>
                    <a:pt x="555" y="68"/>
                    <a:pt x="545" y="78"/>
                    <a:pt x="536" y="97"/>
                  </a:cubicBezTo>
                  <a:cubicBezTo>
                    <a:pt x="497" y="122"/>
                    <a:pt x="458" y="112"/>
                    <a:pt x="424" y="141"/>
                  </a:cubicBezTo>
                  <a:cubicBezTo>
                    <a:pt x="424" y="146"/>
                    <a:pt x="424" y="151"/>
                    <a:pt x="419" y="156"/>
                  </a:cubicBezTo>
                  <a:cubicBezTo>
                    <a:pt x="390" y="190"/>
                    <a:pt x="365" y="205"/>
                    <a:pt x="331" y="229"/>
                  </a:cubicBezTo>
                  <a:cubicBezTo>
                    <a:pt x="297" y="180"/>
                    <a:pt x="248" y="171"/>
                    <a:pt x="209" y="122"/>
                  </a:cubicBezTo>
                  <a:cubicBezTo>
                    <a:pt x="209" y="180"/>
                    <a:pt x="170" y="205"/>
                    <a:pt x="161" y="258"/>
                  </a:cubicBezTo>
                  <a:cubicBezTo>
                    <a:pt x="156" y="312"/>
                    <a:pt x="141" y="341"/>
                    <a:pt x="131" y="395"/>
                  </a:cubicBezTo>
                  <a:cubicBezTo>
                    <a:pt x="122" y="439"/>
                    <a:pt x="127" y="467"/>
                    <a:pt x="117" y="517"/>
                  </a:cubicBezTo>
                  <a:cubicBezTo>
                    <a:pt x="107" y="580"/>
                    <a:pt x="97" y="619"/>
                    <a:pt x="97" y="687"/>
                  </a:cubicBezTo>
                  <a:cubicBezTo>
                    <a:pt x="97" y="804"/>
                    <a:pt x="117" y="867"/>
                    <a:pt x="127" y="984"/>
                  </a:cubicBezTo>
                  <a:cubicBezTo>
                    <a:pt x="127" y="1076"/>
                    <a:pt x="127" y="1076"/>
                    <a:pt x="127" y="1076"/>
                  </a:cubicBezTo>
                  <a:cubicBezTo>
                    <a:pt x="127" y="1125"/>
                    <a:pt x="117" y="1155"/>
                    <a:pt x="107" y="1198"/>
                  </a:cubicBezTo>
                  <a:cubicBezTo>
                    <a:pt x="102" y="1233"/>
                    <a:pt x="92" y="1247"/>
                    <a:pt x="78" y="1276"/>
                  </a:cubicBezTo>
                  <a:cubicBezTo>
                    <a:pt x="73" y="1291"/>
                    <a:pt x="63" y="1291"/>
                    <a:pt x="58" y="1305"/>
                  </a:cubicBezTo>
                  <a:cubicBezTo>
                    <a:pt x="53" y="1310"/>
                    <a:pt x="44" y="1315"/>
                    <a:pt x="44" y="1320"/>
                  </a:cubicBezTo>
                  <a:cubicBezTo>
                    <a:pt x="44" y="1344"/>
                    <a:pt x="78" y="1344"/>
                    <a:pt x="78" y="1369"/>
                  </a:cubicBezTo>
                  <a:cubicBezTo>
                    <a:pt x="78" y="1403"/>
                    <a:pt x="68" y="1418"/>
                    <a:pt x="63" y="1447"/>
                  </a:cubicBezTo>
                  <a:cubicBezTo>
                    <a:pt x="63" y="1471"/>
                    <a:pt x="68" y="1486"/>
                    <a:pt x="63" y="1510"/>
                  </a:cubicBezTo>
                  <a:cubicBezTo>
                    <a:pt x="63" y="1515"/>
                    <a:pt x="53" y="1515"/>
                    <a:pt x="48" y="1520"/>
                  </a:cubicBezTo>
                  <a:cubicBezTo>
                    <a:pt x="34" y="1534"/>
                    <a:pt x="15" y="1544"/>
                    <a:pt x="0" y="1549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00" name="Freeform 71"/>
            <p:cNvSpPr>
              <a:spLocks noChangeArrowheads="1"/>
            </p:cNvSpPr>
            <p:nvPr/>
          </p:nvSpPr>
          <p:spPr bwMode="auto">
            <a:xfrm>
              <a:off x="14738591" y="3671810"/>
              <a:ext cx="487242" cy="929741"/>
            </a:xfrm>
            <a:custGeom>
              <a:avLst/>
              <a:gdLst>
                <a:gd name="T0" fmla="*/ 0 w 771"/>
                <a:gd name="T1" fmla="*/ 258 h 1467"/>
                <a:gd name="T2" fmla="*/ 0 w 771"/>
                <a:gd name="T3" fmla="*/ 258 h 1467"/>
                <a:gd name="T4" fmla="*/ 662 w 771"/>
                <a:gd name="T5" fmla="*/ 0 h 1467"/>
                <a:gd name="T6" fmla="*/ 662 w 771"/>
                <a:gd name="T7" fmla="*/ 0 h 1467"/>
                <a:gd name="T8" fmla="*/ 696 w 771"/>
                <a:gd name="T9" fmla="*/ 131 h 1467"/>
                <a:gd name="T10" fmla="*/ 770 w 771"/>
                <a:gd name="T11" fmla="*/ 219 h 1467"/>
                <a:gd name="T12" fmla="*/ 736 w 771"/>
                <a:gd name="T13" fmla="*/ 297 h 1467"/>
                <a:gd name="T14" fmla="*/ 711 w 771"/>
                <a:gd name="T15" fmla="*/ 356 h 1467"/>
                <a:gd name="T16" fmla="*/ 667 w 771"/>
                <a:gd name="T17" fmla="*/ 438 h 1467"/>
                <a:gd name="T18" fmla="*/ 682 w 771"/>
                <a:gd name="T19" fmla="*/ 477 h 1467"/>
                <a:gd name="T20" fmla="*/ 667 w 771"/>
                <a:gd name="T21" fmla="*/ 551 h 1467"/>
                <a:gd name="T22" fmla="*/ 667 w 771"/>
                <a:gd name="T23" fmla="*/ 628 h 1467"/>
                <a:gd name="T24" fmla="*/ 653 w 771"/>
                <a:gd name="T25" fmla="*/ 702 h 1467"/>
                <a:gd name="T26" fmla="*/ 648 w 771"/>
                <a:gd name="T27" fmla="*/ 794 h 1467"/>
                <a:gd name="T28" fmla="*/ 638 w 771"/>
                <a:gd name="T29" fmla="*/ 847 h 1467"/>
                <a:gd name="T30" fmla="*/ 667 w 771"/>
                <a:gd name="T31" fmla="*/ 989 h 1467"/>
                <a:gd name="T32" fmla="*/ 692 w 771"/>
                <a:gd name="T33" fmla="*/ 1111 h 1467"/>
                <a:gd name="T34" fmla="*/ 720 w 771"/>
                <a:gd name="T35" fmla="*/ 1203 h 1467"/>
                <a:gd name="T36" fmla="*/ 731 w 771"/>
                <a:gd name="T37" fmla="*/ 1291 h 1467"/>
                <a:gd name="T38" fmla="*/ 770 w 771"/>
                <a:gd name="T39" fmla="*/ 1369 h 1467"/>
                <a:gd name="T40" fmla="*/ 770 w 771"/>
                <a:gd name="T41" fmla="*/ 1369 h 1467"/>
                <a:gd name="T42" fmla="*/ 438 w 771"/>
                <a:gd name="T43" fmla="*/ 1466 h 1467"/>
                <a:gd name="T44" fmla="*/ 438 w 771"/>
                <a:gd name="T45" fmla="*/ 1466 h 1467"/>
                <a:gd name="T46" fmla="*/ 424 w 771"/>
                <a:gd name="T47" fmla="*/ 1398 h 1467"/>
                <a:gd name="T48" fmla="*/ 317 w 771"/>
                <a:gd name="T49" fmla="*/ 1023 h 1467"/>
                <a:gd name="T50" fmla="*/ 229 w 771"/>
                <a:gd name="T51" fmla="*/ 935 h 1467"/>
                <a:gd name="T52" fmla="*/ 190 w 771"/>
                <a:gd name="T53" fmla="*/ 847 h 1467"/>
                <a:gd name="T54" fmla="*/ 126 w 771"/>
                <a:gd name="T55" fmla="*/ 653 h 1467"/>
                <a:gd name="T56" fmla="*/ 68 w 771"/>
                <a:gd name="T57" fmla="*/ 502 h 1467"/>
                <a:gd name="T58" fmla="*/ 34 w 771"/>
                <a:gd name="T59" fmla="*/ 453 h 1467"/>
                <a:gd name="T60" fmla="*/ 24 w 771"/>
                <a:gd name="T61" fmla="*/ 380 h 1467"/>
                <a:gd name="T62" fmla="*/ 0 w 771"/>
                <a:gd name="T63" fmla="*/ 258 h 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71" h="1467">
                  <a:moveTo>
                    <a:pt x="0" y="258"/>
                  </a:moveTo>
                  <a:lnTo>
                    <a:pt x="0" y="258"/>
                  </a:lnTo>
                  <a:cubicBezTo>
                    <a:pt x="662" y="0"/>
                    <a:pt x="662" y="0"/>
                    <a:pt x="662" y="0"/>
                  </a:cubicBezTo>
                  <a:lnTo>
                    <a:pt x="662" y="0"/>
                  </a:lnTo>
                  <a:cubicBezTo>
                    <a:pt x="682" y="49"/>
                    <a:pt x="677" y="88"/>
                    <a:pt x="696" y="131"/>
                  </a:cubicBezTo>
                  <a:cubicBezTo>
                    <a:pt x="716" y="170"/>
                    <a:pt x="770" y="175"/>
                    <a:pt x="770" y="219"/>
                  </a:cubicBezTo>
                  <a:cubicBezTo>
                    <a:pt x="770" y="253"/>
                    <a:pt x="750" y="268"/>
                    <a:pt x="736" y="297"/>
                  </a:cubicBezTo>
                  <a:cubicBezTo>
                    <a:pt x="726" y="316"/>
                    <a:pt x="720" y="336"/>
                    <a:pt x="711" y="356"/>
                  </a:cubicBezTo>
                  <a:cubicBezTo>
                    <a:pt x="692" y="390"/>
                    <a:pt x="667" y="404"/>
                    <a:pt x="667" y="438"/>
                  </a:cubicBezTo>
                  <a:cubicBezTo>
                    <a:pt x="667" y="458"/>
                    <a:pt x="677" y="463"/>
                    <a:pt x="682" y="477"/>
                  </a:cubicBezTo>
                  <a:cubicBezTo>
                    <a:pt x="667" y="551"/>
                    <a:pt x="667" y="551"/>
                    <a:pt x="667" y="551"/>
                  </a:cubicBezTo>
                  <a:cubicBezTo>
                    <a:pt x="667" y="628"/>
                    <a:pt x="667" y="628"/>
                    <a:pt x="667" y="628"/>
                  </a:cubicBezTo>
                  <a:cubicBezTo>
                    <a:pt x="667" y="658"/>
                    <a:pt x="657" y="672"/>
                    <a:pt x="653" y="702"/>
                  </a:cubicBezTo>
                  <a:cubicBezTo>
                    <a:pt x="653" y="741"/>
                    <a:pt x="657" y="760"/>
                    <a:pt x="648" y="794"/>
                  </a:cubicBezTo>
                  <a:cubicBezTo>
                    <a:pt x="643" y="814"/>
                    <a:pt x="638" y="828"/>
                    <a:pt x="638" y="847"/>
                  </a:cubicBezTo>
                  <a:cubicBezTo>
                    <a:pt x="638" y="901"/>
                    <a:pt x="657" y="935"/>
                    <a:pt x="667" y="989"/>
                  </a:cubicBezTo>
                  <a:cubicBezTo>
                    <a:pt x="672" y="1037"/>
                    <a:pt x="672" y="1067"/>
                    <a:pt x="692" y="1111"/>
                  </a:cubicBezTo>
                  <a:cubicBezTo>
                    <a:pt x="706" y="1145"/>
                    <a:pt x="716" y="1164"/>
                    <a:pt x="720" y="1203"/>
                  </a:cubicBezTo>
                  <a:cubicBezTo>
                    <a:pt x="726" y="1237"/>
                    <a:pt x="720" y="1257"/>
                    <a:pt x="731" y="1291"/>
                  </a:cubicBezTo>
                  <a:cubicBezTo>
                    <a:pt x="736" y="1325"/>
                    <a:pt x="750" y="1339"/>
                    <a:pt x="770" y="1369"/>
                  </a:cubicBezTo>
                  <a:lnTo>
                    <a:pt x="770" y="1369"/>
                  </a:lnTo>
                  <a:cubicBezTo>
                    <a:pt x="438" y="1466"/>
                    <a:pt x="438" y="1466"/>
                    <a:pt x="438" y="1466"/>
                  </a:cubicBezTo>
                  <a:lnTo>
                    <a:pt x="438" y="1466"/>
                  </a:lnTo>
                  <a:cubicBezTo>
                    <a:pt x="433" y="1437"/>
                    <a:pt x="429" y="1427"/>
                    <a:pt x="424" y="1398"/>
                  </a:cubicBezTo>
                  <a:cubicBezTo>
                    <a:pt x="317" y="1023"/>
                    <a:pt x="317" y="1023"/>
                    <a:pt x="317" y="1023"/>
                  </a:cubicBezTo>
                  <a:cubicBezTo>
                    <a:pt x="273" y="1004"/>
                    <a:pt x="253" y="979"/>
                    <a:pt x="229" y="935"/>
                  </a:cubicBezTo>
                  <a:cubicBezTo>
                    <a:pt x="209" y="906"/>
                    <a:pt x="200" y="887"/>
                    <a:pt x="190" y="847"/>
                  </a:cubicBezTo>
                  <a:cubicBezTo>
                    <a:pt x="175" y="770"/>
                    <a:pt x="141" y="731"/>
                    <a:pt x="126" y="653"/>
                  </a:cubicBezTo>
                  <a:cubicBezTo>
                    <a:pt x="117" y="589"/>
                    <a:pt x="98" y="556"/>
                    <a:pt x="68" y="502"/>
                  </a:cubicBezTo>
                  <a:cubicBezTo>
                    <a:pt x="58" y="482"/>
                    <a:pt x="44" y="473"/>
                    <a:pt x="34" y="453"/>
                  </a:cubicBezTo>
                  <a:cubicBezTo>
                    <a:pt x="29" y="429"/>
                    <a:pt x="34" y="404"/>
                    <a:pt x="24" y="380"/>
                  </a:cubicBezTo>
                  <a:cubicBezTo>
                    <a:pt x="10" y="336"/>
                    <a:pt x="0" y="307"/>
                    <a:pt x="0" y="258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01" name="Freeform 72"/>
            <p:cNvSpPr>
              <a:spLocks noChangeArrowheads="1"/>
            </p:cNvSpPr>
            <p:nvPr/>
          </p:nvSpPr>
          <p:spPr bwMode="auto">
            <a:xfrm>
              <a:off x="15015815" y="4329910"/>
              <a:ext cx="952083" cy="543283"/>
            </a:xfrm>
            <a:custGeom>
              <a:avLst/>
              <a:gdLst>
                <a:gd name="T0" fmla="*/ 867 w 1502"/>
                <a:gd name="T1" fmla="*/ 0 h 859"/>
                <a:gd name="T2" fmla="*/ 867 w 1502"/>
                <a:gd name="T3" fmla="*/ 0 h 859"/>
                <a:gd name="T4" fmla="*/ 896 w 1502"/>
                <a:gd name="T5" fmla="*/ 15 h 859"/>
                <a:gd name="T6" fmla="*/ 984 w 1502"/>
                <a:gd name="T7" fmla="*/ 59 h 859"/>
                <a:gd name="T8" fmla="*/ 935 w 1502"/>
                <a:gd name="T9" fmla="*/ 132 h 859"/>
                <a:gd name="T10" fmla="*/ 931 w 1502"/>
                <a:gd name="T11" fmla="*/ 200 h 859"/>
                <a:gd name="T12" fmla="*/ 999 w 1502"/>
                <a:gd name="T13" fmla="*/ 318 h 859"/>
                <a:gd name="T14" fmla="*/ 1042 w 1502"/>
                <a:gd name="T15" fmla="*/ 318 h 859"/>
                <a:gd name="T16" fmla="*/ 1053 w 1502"/>
                <a:gd name="T17" fmla="*/ 327 h 859"/>
                <a:gd name="T18" fmla="*/ 1087 w 1502"/>
                <a:gd name="T19" fmla="*/ 366 h 859"/>
                <a:gd name="T20" fmla="*/ 1130 w 1502"/>
                <a:gd name="T21" fmla="*/ 444 h 859"/>
                <a:gd name="T22" fmla="*/ 1164 w 1502"/>
                <a:gd name="T23" fmla="*/ 483 h 859"/>
                <a:gd name="T24" fmla="*/ 1233 w 1502"/>
                <a:gd name="T25" fmla="*/ 517 h 859"/>
                <a:gd name="T26" fmla="*/ 1315 w 1502"/>
                <a:gd name="T27" fmla="*/ 498 h 859"/>
                <a:gd name="T28" fmla="*/ 1374 w 1502"/>
                <a:gd name="T29" fmla="*/ 473 h 859"/>
                <a:gd name="T30" fmla="*/ 1393 w 1502"/>
                <a:gd name="T31" fmla="*/ 405 h 859"/>
                <a:gd name="T32" fmla="*/ 1374 w 1502"/>
                <a:gd name="T33" fmla="*/ 351 h 859"/>
                <a:gd name="T34" fmla="*/ 1360 w 1502"/>
                <a:gd name="T35" fmla="*/ 346 h 859"/>
                <a:gd name="T36" fmla="*/ 1315 w 1502"/>
                <a:gd name="T37" fmla="*/ 254 h 859"/>
                <a:gd name="T38" fmla="*/ 1413 w 1502"/>
                <a:gd name="T39" fmla="*/ 298 h 859"/>
                <a:gd name="T40" fmla="*/ 1501 w 1502"/>
                <a:gd name="T41" fmla="*/ 366 h 859"/>
                <a:gd name="T42" fmla="*/ 1466 w 1502"/>
                <a:gd name="T43" fmla="*/ 454 h 859"/>
                <a:gd name="T44" fmla="*/ 1437 w 1502"/>
                <a:gd name="T45" fmla="*/ 483 h 859"/>
                <a:gd name="T46" fmla="*/ 1408 w 1502"/>
                <a:gd name="T47" fmla="*/ 527 h 859"/>
                <a:gd name="T48" fmla="*/ 1349 w 1502"/>
                <a:gd name="T49" fmla="*/ 566 h 859"/>
                <a:gd name="T50" fmla="*/ 1266 w 1502"/>
                <a:gd name="T51" fmla="*/ 649 h 859"/>
                <a:gd name="T52" fmla="*/ 1213 w 1502"/>
                <a:gd name="T53" fmla="*/ 600 h 859"/>
                <a:gd name="T54" fmla="*/ 1179 w 1502"/>
                <a:gd name="T55" fmla="*/ 658 h 859"/>
                <a:gd name="T56" fmla="*/ 1150 w 1502"/>
                <a:gd name="T57" fmla="*/ 716 h 859"/>
                <a:gd name="T58" fmla="*/ 1062 w 1502"/>
                <a:gd name="T59" fmla="*/ 760 h 859"/>
                <a:gd name="T60" fmla="*/ 1062 w 1502"/>
                <a:gd name="T61" fmla="*/ 760 h 859"/>
                <a:gd name="T62" fmla="*/ 1014 w 1502"/>
                <a:gd name="T63" fmla="*/ 663 h 859"/>
                <a:gd name="T64" fmla="*/ 940 w 1502"/>
                <a:gd name="T65" fmla="*/ 614 h 859"/>
                <a:gd name="T66" fmla="*/ 916 w 1502"/>
                <a:gd name="T67" fmla="*/ 585 h 859"/>
                <a:gd name="T68" fmla="*/ 896 w 1502"/>
                <a:gd name="T69" fmla="*/ 570 h 859"/>
                <a:gd name="T70" fmla="*/ 824 w 1502"/>
                <a:gd name="T71" fmla="*/ 600 h 859"/>
                <a:gd name="T72" fmla="*/ 794 w 1502"/>
                <a:gd name="T73" fmla="*/ 600 h 859"/>
                <a:gd name="T74" fmla="*/ 721 w 1502"/>
                <a:gd name="T75" fmla="*/ 624 h 859"/>
                <a:gd name="T76" fmla="*/ 721 w 1502"/>
                <a:gd name="T77" fmla="*/ 624 h 859"/>
                <a:gd name="T78" fmla="*/ 54 w 1502"/>
                <a:gd name="T79" fmla="*/ 858 h 859"/>
                <a:gd name="T80" fmla="*/ 54 w 1502"/>
                <a:gd name="T81" fmla="*/ 858 h 859"/>
                <a:gd name="T82" fmla="*/ 34 w 1502"/>
                <a:gd name="T83" fmla="*/ 809 h 859"/>
                <a:gd name="T84" fmla="*/ 15 w 1502"/>
                <a:gd name="T85" fmla="*/ 716 h 859"/>
                <a:gd name="T86" fmla="*/ 15 w 1502"/>
                <a:gd name="T87" fmla="*/ 644 h 859"/>
                <a:gd name="T88" fmla="*/ 5 w 1502"/>
                <a:gd name="T89" fmla="*/ 522 h 859"/>
                <a:gd name="T90" fmla="*/ 0 w 1502"/>
                <a:gd name="T91" fmla="*/ 429 h 859"/>
                <a:gd name="T92" fmla="*/ 0 w 1502"/>
                <a:gd name="T93" fmla="*/ 429 h 859"/>
                <a:gd name="T94" fmla="*/ 332 w 1502"/>
                <a:gd name="T95" fmla="*/ 332 h 859"/>
                <a:gd name="T96" fmla="*/ 332 w 1502"/>
                <a:gd name="T97" fmla="*/ 332 h 859"/>
                <a:gd name="T98" fmla="*/ 736 w 1502"/>
                <a:gd name="T99" fmla="*/ 166 h 859"/>
                <a:gd name="T100" fmla="*/ 789 w 1502"/>
                <a:gd name="T101" fmla="*/ 74 h 859"/>
                <a:gd name="T102" fmla="*/ 867 w 1502"/>
                <a:gd name="T103" fmla="*/ 0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2" h="859">
                  <a:moveTo>
                    <a:pt x="867" y="0"/>
                  </a:moveTo>
                  <a:lnTo>
                    <a:pt x="867" y="0"/>
                  </a:lnTo>
                  <a:cubicBezTo>
                    <a:pt x="867" y="11"/>
                    <a:pt x="887" y="11"/>
                    <a:pt x="896" y="15"/>
                  </a:cubicBezTo>
                  <a:cubicBezTo>
                    <a:pt x="931" y="35"/>
                    <a:pt x="955" y="35"/>
                    <a:pt x="984" y="59"/>
                  </a:cubicBezTo>
                  <a:cubicBezTo>
                    <a:pt x="970" y="88"/>
                    <a:pt x="945" y="103"/>
                    <a:pt x="935" y="132"/>
                  </a:cubicBezTo>
                  <a:cubicBezTo>
                    <a:pt x="931" y="157"/>
                    <a:pt x="931" y="176"/>
                    <a:pt x="931" y="200"/>
                  </a:cubicBezTo>
                  <a:cubicBezTo>
                    <a:pt x="931" y="254"/>
                    <a:pt x="945" y="318"/>
                    <a:pt x="999" y="318"/>
                  </a:cubicBezTo>
                  <a:cubicBezTo>
                    <a:pt x="1014" y="318"/>
                    <a:pt x="1023" y="318"/>
                    <a:pt x="1042" y="318"/>
                  </a:cubicBezTo>
                  <a:cubicBezTo>
                    <a:pt x="1047" y="318"/>
                    <a:pt x="1047" y="322"/>
                    <a:pt x="1053" y="327"/>
                  </a:cubicBezTo>
                  <a:cubicBezTo>
                    <a:pt x="1067" y="337"/>
                    <a:pt x="1077" y="351"/>
                    <a:pt x="1087" y="366"/>
                  </a:cubicBezTo>
                  <a:cubicBezTo>
                    <a:pt x="1106" y="395"/>
                    <a:pt x="1111" y="415"/>
                    <a:pt x="1130" y="444"/>
                  </a:cubicBezTo>
                  <a:cubicBezTo>
                    <a:pt x="1140" y="459"/>
                    <a:pt x="1155" y="468"/>
                    <a:pt x="1164" y="483"/>
                  </a:cubicBezTo>
                  <a:cubicBezTo>
                    <a:pt x="1184" y="503"/>
                    <a:pt x="1203" y="517"/>
                    <a:pt x="1233" y="517"/>
                  </a:cubicBezTo>
                  <a:cubicBezTo>
                    <a:pt x="1262" y="517"/>
                    <a:pt x="1281" y="512"/>
                    <a:pt x="1315" y="498"/>
                  </a:cubicBezTo>
                  <a:cubicBezTo>
                    <a:pt x="1335" y="492"/>
                    <a:pt x="1354" y="492"/>
                    <a:pt x="1374" y="473"/>
                  </a:cubicBezTo>
                  <a:cubicBezTo>
                    <a:pt x="1393" y="454"/>
                    <a:pt x="1393" y="434"/>
                    <a:pt x="1393" y="405"/>
                  </a:cubicBezTo>
                  <a:cubicBezTo>
                    <a:pt x="1393" y="385"/>
                    <a:pt x="1388" y="366"/>
                    <a:pt x="1374" y="351"/>
                  </a:cubicBezTo>
                  <a:cubicBezTo>
                    <a:pt x="1369" y="351"/>
                    <a:pt x="1364" y="351"/>
                    <a:pt x="1360" y="346"/>
                  </a:cubicBezTo>
                  <a:cubicBezTo>
                    <a:pt x="1325" y="327"/>
                    <a:pt x="1320" y="293"/>
                    <a:pt x="1315" y="254"/>
                  </a:cubicBezTo>
                  <a:cubicBezTo>
                    <a:pt x="1354" y="268"/>
                    <a:pt x="1374" y="283"/>
                    <a:pt x="1413" y="298"/>
                  </a:cubicBezTo>
                  <a:cubicBezTo>
                    <a:pt x="1451" y="318"/>
                    <a:pt x="1501" y="322"/>
                    <a:pt x="1501" y="366"/>
                  </a:cubicBezTo>
                  <a:cubicBezTo>
                    <a:pt x="1501" y="400"/>
                    <a:pt x="1486" y="424"/>
                    <a:pt x="1466" y="454"/>
                  </a:cubicBezTo>
                  <a:cubicBezTo>
                    <a:pt x="1462" y="468"/>
                    <a:pt x="1447" y="468"/>
                    <a:pt x="1437" y="483"/>
                  </a:cubicBezTo>
                  <a:cubicBezTo>
                    <a:pt x="1427" y="498"/>
                    <a:pt x="1423" y="512"/>
                    <a:pt x="1408" y="527"/>
                  </a:cubicBezTo>
                  <a:cubicBezTo>
                    <a:pt x="1388" y="546"/>
                    <a:pt x="1369" y="551"/>
                    <a:pt x="1349" y="566"/>
                  </a:cubicBezTo>
                  <a:cubicBezTo>
                    <a:pt x="1315" y="595"/>
                    <a:pt x="1306" y="629"/>
                    <a:pt x="1266" y="649"/>
                  </a:cubicBezTo>
                  <a:cubicBezTo>
                    <a:pt x="1247" y="629"/>
                    <a:pt x="1238" y="619"/>
                    <a:pt x="1213" y="600"/>
                  </a:cubicBezTo>
                  <a:cubicBezTo>
                    <a:pt x="1199" y="619"/>
                    <a:pt x="1189" y="634"/>
                    <a:pt x="1179" y="658"/>
                  </a:cubicBezTo>
                  <a:cubicBezTo>
                    <a:pt x="1164" y="682"/>
                    <a:pt x="1164" y="697"/>
                    <a:pt x="1150" y="716"/>
                  </a:cubicBezTo>
                  <a:cubicBezTo>
                    <a:pt x="1120" y="746"/>
                    <a:pt x="1096" y="751"/>
                    <a:pt x="1062" y="760"/>
                  </a:cubicBezTo>
                  <a:lnTo>
                    <a:pt x="1062" y="760"/>
                  </a:lnTo>
                  <a:cubicBezTo>
                    <a:pt x="1057" y="716"/>
                    <a:pt x="1047" y="688"/>
                    <a:pt x="1014" y="663"/>
                  </a:cubicBezTo>
                  <a:cubicBezTo>
                    <a:pt x="984" y="649"/>
                    <a:pt x="965" y="639"/>
                    <a:pt x="940" y="614"/>
                  </a:cubicBezTo>
                  <a:cubicBezTo>
                    <a:pt x="931" y="605"/>
                    <a:pt x="926" y="595"/>
                    <a:pt x="916" y="585"/>
                  </a:cubicBezTo>
                  <a:cubicBezTo>
                    <a:pt x="906" y="580"/>
                    <a:pt x="906" y="570"/>
                    <a:pt x="896" y="570"/>
                  </a:cubicBezTo>
                  <a:cubicBezTo>
                    <a:pt x="867" y="570"/>
                    <a:pt x="853" y="590"/>
                    <a:pt x="824" y="600"/>
                  </a:cubicBezTo>
                  <a:cubicBezTo>
                    <a:pt x="814" y="600"/>
                    <a:pt x="804" y="595"/>
                    <a:pt x="794" y="600"/>
                  </a:cubicBezTo>
                  <a:cubicBezTo>
                    <a:pt x="770" y="605"/>
                    <a:pt x="746" y="614"/>
                    <a:pt x="721" y="624"/>
                  </a:cubicBezTo>
                  <a:lnTo>
                    <a:pt x="721" y="624"/>
                  </a:lnTo>
                  <a:cubicBezTo>
                    <a:pt x="54" y="858"/>
                    <a:pt x="54" y="858"/>
                    <a:pt x="54" y="858"/>
                  </a:cubicBezTo>
                  <a:lnTo>
                    <a:pt x="54" y="858"/>
                  </a:lnTo>
                  <a:cubicBezTo>
                    <a:pt x="49" y="834"/>
                    <a:pt x="39" y="834"/>
                    <a:pt x="34" y="809"/>
                  </a:cubicBezTo>
                  <a:cubicBezTo>
                    <a:pt x="30" y="775"/>
                    <a:pt x="15" y="755"/>
                    <a:pt x="15" y="716"/>
                  </a:cubicBezTo>
                  <a:cubicBezTo>
                    <a:pt x="15" y="644"/>
                    <a:pt x="15" y="644"/>
                    <a:pt x="15" y="644"/>
                  </a:cubicBezTo>
                  <a:cubicBezTo>
                    <a:pt x="5" y="522"/>
                    <a:pt x="5" y="522"/>
                    <a:pt x="5" y="522"/>
                  </a:cubicBezTo>
                  <a:cubicBezTo>
                    <a:pt x="0" y="429"/>
                    <a:pt x="0" y="429"/>
                    <a:pt x="0" y="429"/>
                  </a:cubicBezTo>
                  <a:lnTo>
                    <a:pt x="0" y="429"/>
                  </a:lnTo>
                  <a:cubicBezTo>
                    <a:pt x="332" y="332"/>
                    <a:pt x="332" y="332"/>
                    <a:pt x="332" y="332"/>
                  </a:cubicBezTo>
                  <a:lnTo>
                    <a:pt x="332" y="332"/>
                  </a:lnTo>
                  <a:cubicBezTo>
                    <a:pt x="736" y="166"/>
                    <a:pt x="736" y="166"/>
                    <a:pt x="736" y="166"/>
                  </a:cubicBezTo>
                  <a:cubicBezTo>
                    <a:pt x="755" y="127"/>
                    <a:pt x="765" y="108"/>
                    <a:pt x="789" y="74"/>
                  </a:cubicBezTo>
                  <a:cubicBezTo>
                    <a:pt x="814" y="45"/>
                    <a:pt x="848" y="30"/>
                    <a:pt x="867" y="0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02" name="Freeform 73"/>
            <p:cNvSpPr>
              <a:spLocks noChangeArrowheads="1"/>
            </p:cNvSpPr>
            <p:nvPr/>
          </p:nvSpPr>
          <p:spPr bwMode="auto">
            <a:xfrm>
              <a:off x="15475055" y="4693965"/>
              <a:ext cx="215619" cy="232435"/>
            </a:xfrm>
            <a:custGeom>
              <a:avLst/>
              <a:gdLst>
                <a:gd name="T0" fmla="*/ 341 w 342"/>
                <a:gd name="T1" fmla="*/ 190 h 371"/>
                <a:gd name="T2" fmla="*/ 341 w 342"/>
                <a:gd name="T3" fmla="*/ 190 h 371"/>
                <a:gd name="T4" fmla="*/ 321 w 342"/>
                <a:gd name="T5" fmla="*/ 196 h 371"/>
                <a:gd name="T6" fmla="*/ 307 w 342"/>
                <a:gd name="T7" fmla="*/ 146 h 371"/>
                <a:gd name="T8" fmla="*/ 293 w 342"/>
                <a:gd name="T9" fmla="*/ 146 h 371"/>
                <a:gd name="T10" fmla="*/ 244 w 342"/>
                <a:gd name="T11" fmla="*/ 122 h 371"/>
                <a:gd name="T12" fmla="*/ 210 w 342"/>
                <a:gd name="T13" fmla="*/ 229 h 371"/>
                <a:gd name="T14" fmla="*/ 205 w 342"/>
                <a:gd name="T15" fmla="*/ 303 h 371"/>
                <a:gd name="T16" fmla="*/ 175 w 342"/>
                <a:gd name="T17" fmla="*/ 346 h 371"/>
                <a:gd name="T18" fmla="*/ 161 w 342"/>
                <a:gd name="T19" fmla="*/ 361 h 371"/>
                <a:gd name="T20" fmla="*/ 127 w 342"/>
                <a:gd name="T21" fmla="*/ 366 h 371"/>
                <a:gd name="T22" fmla="*/ 117 w 342"/>
                <a:gd name="T23" fmla="*/ 370 h 371"/>
                <a:gd name="T24" fmla="*/ 117 w 342"/>
                <a:gd name="T25" fmla="*/ 370 h 371"/>
                <a:gd name="T26" fmla="*/ 0 w 342"/>
                <a:gd name="T27" fmla="*/ 54 h 371"/>
                <a:gd name="T28" fmla="*/ 0 w 342"/>
                <a:gd name="T29" fmla="*/ 54 h 371"/>
                <a:gd name="T30" fmla="*/ 73 w 342"/>
                <a:gd name="T31" fmla="*/ 30 h 371"/>
                <a:gd name="T32" fmla="*/ 103 w 342"/>
                <a:gd name="T33" fmla="*/ 30 h 371"/>
                <a:gd name="T34" fmla="*/ 175 w 342"/>
                <a:gd name="T35" fmla="*/ 0 h 371"/>
                <a:gd name="T36" fmla="*/ 195 w 342"/>
                <a:gd name="T37" fmla="*/ 15 h 371"/>
                <a:gd name="T38" fmla="*/ 219 w 342"/>
                <a:gd name="T39" fmla="*/ 44 h 371"/>
                <a:gd name="T40" fmla="*/ 293 w 342"/>
                <a:gd name="T41" fmla="*/ 93 h 371"/>
                <a:gd name="T42" fmla="*/ 341 w 342"/>
                <a:gd name="T43" fmla="*/ 19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2" h="371">
                  <a:moveTo>
                    <a:pt x="341" y="190"/>
                  </a:moveTo>
                  <a:lnTo>
                    <a:pt x="341" y="190"/>
                  </a:lnTo>
                  <a:cubicBezTo>
                    <a:pt x="332" y="190"/>
                    <a:pt x="326" y="190"/>
                    <a:pt x="321" y="196"/>
                  </a:cubicBezTo>
                  <a:cubicBezTo>
                    <a:pt x="317" y="176"/>
                    <a:pt x="317" y="161"/>
                    <a:pt x="307" y="146"/>
                  </a:cubicBezTo>
                  <a:cubicBezTo>
                    <a:pt x="302" y="146"/>
                    <a:pt x="297" y="146"/>
                    <a:pt x="293" y="146"/>
                  </a:cubicBezTo>
                  <a:cubicBezTo>
                    <a:pt x="273" y="137"/>
                    <a:pt x="263" y="132"/>
                    <a:pt x="244" y="122"/>
                  </a:cubicBezTo>
                  <a:cubicBezTo>
                    <a:pt x="244" y="166"/>
                    <a:pt x="224" y="185"/>
                    <a:pt x="210" y="229"/>
                  </a:cubicBezTo>
                  <a:cubicBezTo>
                    <a:pt x="205" y="254"/>
                    <a:pt x="214" y="273"/>
                    <a:pt x="205" y="303"/>
                  </a:cubicBezTo>
                  <a:cubicBezTo>
                    <a:pt x="200" y="322"/>
                    <a:pt x="185" y="332"/>
                    <a:pt x="175" y="346"/>
                  </a:cubicBezTo>
                  <a:cubicBezTo>
                    <a:pt x="171" y="351"/>
                    <a:pt x="166" y="356"/>
                    <a:pt x="161" y="361"/>
                  </a:cubicBezTo>
                  <a:cubicBezTo>
                    <a:pt x="146" y="361"/>
                    <a:pt x="141" y="361"/>
                    <a:pt x="127" y="366"/>
                  </a:cubicBezTo>
                  <a:cubicBezTo>
                    <a:pt x="127" y="370"/>
                    <a:pt x="122" y="370"/>
                    <a:pt x="117" y="370"/>
                  </a:cubicBezTo>
                  <a:lnTo>
                    <a:pt x="117" y="370"/>
                  </a:lnTo>
                  <a:cubicBezTo>
                    <a:pt x="0" y="54"/>
                    <a:pt x="0" y="54"/>
                    <a:pt x="0" y="54"/>
                  </a:cubicBezTo>
                  <a:lnTo>
                    <a:pt x="0" y="54"/>
                  </a:lnTo>
                  <a:cubicBezTo>
                    <a:pt x="25" y="44"/>
                    <a:pt x="49" y="35"/>
                    <a:pt x="73" y="30"/>
                  </a:cubicBezTo>
                  <a:cubicBezTo>
                    <a:pt x="83" y="25"/>
                    <a:pt x="93" y="30"/>
                    <a:pt x="103" y="30"/>
                  </a:cubicBezTo>
                  <a:cubicBezTo>
                    <a:pt x="132" y="20"/>
                    <a:pt x="146" y="0"/>
                    <a:pt x="175" y="0"/>
                  </a:cubicBezTo>
                  <a:cubicBezTo>
                    <a:pt x="185" y="0"/>
                    <a:pt x="185" y="10"/>
                    <a:pt x="195" y="15"/>
                  </a:cubicBezTo>
                  <a:cubicBezTo>
                    <a:pt x="205" y="25"/>
                    <a:pt x="210" y="35"/>
                    <a:pt x="219" y="44"/>
                  </a:cubicBezTo>
                  <a:cubicBezTo>
                    <a:pt x="244" y="69"/>
                    <a:pt x="263" y="79"/>
                    <a:pt x="293" y="93"/>
                  </a:cubicBezTo>
                  <a:cubicBezTo>
                    <a:pt x="326" y="118"/>
                    <a:pt x="336" y="146"/>
                    <a:pt x="341" y="190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03" name="Freeform 74"/>
            <p:cNvSpPr>
              <a:spLocks noChangeArrowheads="1"/>
            </p:cNvSpPr>
            <p:nvPr/>
          </p:nvSpPr>
          <p:spPr bwMode="auto">
            <a:xfrm>
              <a:off x="14744192" y="5228847"/>
              <a:ext cx="380833" cy="856930"/>
            </a:xfrm>
            <a:custGeom>
              <a:avLst/>
              <a:gdLst>
                <a:gd name="T0" fmla="*/ 88 w 605"/>
                <a:gd name="T1" fmla="*/ 0 h 1355"/>
                <a:gd name="T2" fmla="*/ 88 w 605"/>
                <a:gd name="T3" fmla="*/ 0 h 1355"/>
                <a:gd name="T4" fmla="*/ 238 w 605"/>
                <a:gd name="T5" fmla="*/ 54 h 1355"/>
                <a:gd name="T6" fmla="*/ 365 w 605"/>
                <a:gd name="T7" fmla="*/ 68 h 1355"/>
                <a:gd name="T8" fmla="*/ 433 w 605"/>
                <a:gd name="T9" fmla="*/ 58 h 1355"/>
                <a:gd name="T10" fmla="*/ 580 w 605"/>
                <a:gd name="T11" fmla="*/ 39 h 1355"/>
                <a:gd name="T12" fmla="*/ 580 w 605"/>
                <a:gd name="T13" fmla="*/ 39 h 1355"/>
                <a:gd name="T14" fmla="*/ 560 w 605"/>
                <a:gd name="T15" fmla="*/ 68 h 1355"/>
                <a:gd name="T16" fmla="*/ 511 w 605"/>
                <a:gd name="T17" fmla="*/ 146 h 1355"/>
                <a:gd name="T18" fmla="*/ 497 w 605"/>
                <a:gd name="T19" fmla="*/ 204 h 1355"/>
                <a:gd name="T20" fmla="*/ 467 w 605"/>
                <a:gd name="T21" fmla="*/ 268 h 1355"/>
                <a:gd name="T22" fmla="*/ 443 w 605"/>
                <a:gd name="T23" fmla="*/ 414 h 1355"/>
                <a:gd name="T24" fmla="*/ 448 w 605"/>
                <a:gd name="T25" fmla="*/ 444 h 1355"/>
                <a:gd name="T26" fmla="*/ 525 w 605"/>
                <a:gd name="T27" fmla="*/ 453 h 1355"/>
                <a:gd name="T28" fmla="*/ 584 w 605"/>
                <a:gd name="T29" fmla="*/ 458 h 1355"/>
                <a:gd name="T30" fmla="*/ 599 w 605"/>
                <a:gd name="T31" fmla="*/ 468 h 1355"/>
                <a:gd name="T32" fmla="*/ 599 w 605"/>
                <a:gd name="T33" fmla="*/ 483 h 1355"/>
                <a:gd name="T34" fmla="*/ 604 w 605"/>
                <a:gd name="T35" fmla="*/ 516 h 1355"/>
                <a:gd name="T36" fmla="*/ 536 w 605"/>
                <a:gd name="T37" fmla="*/ 799 h 1355"/>
                <a:gd name="T38" fmla="*/ 525 w 605"/>
                <a:gd name="T39" fmla="*/ 886 h 1355"/>
                <a:gd name="T40" fmla="*/ 511 w 605"/>
                <a:gd name="T41" fmla="*/ 936 h 1355"/>
                <a:gd name="T42" fmla="*/ 497 w 605"/>
                <a:gd name="T43" fmla="*/ 1052 h 1355"/>
                <a:gd name="T44" fmla="*/ 448 w 605"/>
                <a:gd name="T45" fmla="*/ 1174 h 1355"/>
                <a:gd name="T46" fmla="*/ 409 w 605"/>
                <a:gd name="T47" fmla="*/ 1310 h 1355"/>
                <a:gd name="T48" fmla="*/ 375 w 605"/>
                <a:gd name="T49" fmla="*/ 1354 h 1355"/>
                <a:gd name="T50" fmla="*/ 360 w 605"/>
                <a:gd name="T51" fmla="*/ 1295 h 1355"/>
                <a:gd name="T52" fmla="*/ 346 w 605"/>
                <a:gd name="T53" fmla="*/ 1218 h 1355"/>
                <a:gd name="T54" fmla="*/ 287 w 605"/>
                <a:gd name="T55" fmla="*/ 1203 h 1355"/>
                <a:gd name="T56" fmla="*/ 165 w 605"/>
                <a:gd name="T57" fmla="*/ 1164 h 1355"/>
                <a:gd name="T58" fmla="*/ 92 w 605"/>
                <a:gd name="T59" fmla="*/ 1135 h 1355"/>
                <a:gd name="T60" fmla="*/ 92 w 605"/>
                <a:gd name="T61" fmla="*/ 1135 h 1355"/>
                <a:gd name="T62" fmla="*/ 88 w 605"/>
                <a:gd name="T63" fmla="*/ 1101 h 1355"/>
                <a:gd name="T64" fmla="*/ 78 w 605"/>
                <a:gd name="T65" fmla="*/ 1018 h 1355"/>
                <a:gd name="T66" fmla="*/ 78 w 605"/>
                <a:gd name="T67" fmla="*/ 1018 h 1355"/>
                <a:gd name="T68" fmla="*/ 92 w 605"/>
                <a:gd name="T69" fmla="*/ 984 h 1355"/>
                <a:gd name="T70" fmla="*/ 126 w 605"/>
                <a:gd name="T71" fmla="*/ 921 h 1355"/>
                <a:gd name="T72" fmla="*/ 199 w 605"/>
                <a:gd name="T73" fmla="*/ 736 h 1355"/>
                <a:gd name="T74" fmla="*/ 219 w 605"/>
                <a:gd name="T75" fmla="*/ 663 h 1355"/>
                <a:gd name="T76" fmla="*/ 229 w 605"/>
                <a:gd name="T77" fmla="*/ 619 h 1355"/>
                <a:gd name="T78" fmla="*/ 175 w 605"/>
                <a:gd name="T79" fmla="*/ 580 h 1355"/>
                <a:gd name="T80" fmla="*/ 116 w 605"/>
                <a:gd name="T81" fmla="*/ 536 h 1355"/>
                <a:gd name="T82" fmla="*/ 58 w 605"/>
                <a:gd name="T83" fmla="*/ 502 h 1355"/>
                <a:gd name="T84" fmla="*/ 19 w 605"/>
                <a:gd name="T85" fmla="*/ 468 h 1355"/>
                <a:gd name="T86" fmla="*/ 9 w 605"/>
                <a:gd name="T87" fmla="*/ 453 h 1355"/>
                <a:gd name="T88" fmla="*/ 19 w 605"/>
                <a:gd name="T89" fmla="*/ 419 h 1355"/>
                <a:gd name="T90" fmla="*/ 24 w 605"/>
                <a:gd name="T91" fmla="*/ 351 h 1355"/>
                <a:gd name="T92" fmla="*/ 0 w 605"/>
                <a:gd name="T93" fmla="*/ 268 h 1355"/>
                <a:gd name="T94" fmla="*/ 44 w 605"/>
                <a:gd name="T95" fmla="*/ 151 h 1355"/>
                <a:gd name="T96" fmla="*/ 88 w 605"/>
                <a:gd name="T97" fmla="*/ 0 h 1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05" h="1355">
                  <a:moveTo>
                    <a:pt x="88" y="0"/>
                  </a:moveTo>
                  <a:lnTo>
                    <a:pt x="88" y="0"/>
                  </a:lnTo>
                  <a:cubicBezTo>
                    <a:pt x="121" y="44"/>
                    <a:pt x="180" y="39"/>
                    <a:pt x="238" y="54"/>
                  </a:cubicBezTo>
                  <a:cubicBezTo>
                    <a:pt x="287" y="58"/>
                    <a:pt x="316" y="68"/>
                    <a:pt x="365" y="68"/>
                  </a:cubicBezTo>
                  <a:cubicBezTo>
                    <a:pt x="394" y="68"/>
                    <a:pt x="409" y="58"/>
                    <a:pt x="433" y="58"/>
                  </a:cubicBezTo>
                  <a:cubicBezTo>
                    <a:pt x="492" y="54"/>
                    <a:pt x="525" y="54"/>
                    <a:pt x="580" y="39"/>
                  </a:cubicBezTo>
                  <a:lnTo>
                    <a:pt x="580" y="39"/>
                  </a:lnTo>
                  <a:cubicBezTo>
                    <a:pt x="574" y="49"/>
                    <a:pt x="569" y="58"/>
                    <a:pt x="560" y="68"/>
                  </a:cubicBezTo>
                  <a:cubicBezTo>
                    <a:pt x="545" y="98"/>
                    <a:pt x="525" y="112"/>
                    <a:pt x="511" y="146"/>
                  </a:cubicBezTo>
                  <a:cubicBezTo>
                    <a:pt x="501" y="165"/>
                    <a:pt x="506" y="185"/>
                    <a:pt x="497" y="204"/>
                  </a:cubicBezTo>
                  <a:cubicBezTo>
                    <a:pt x="492" y="229"/>
                    <a:pt x="477" y="244"/>
                    <a:pt x="467" y="268"/>
                  </a:cubicBezTo>
                  <a:cubicBezTo>
                    <a:pt x="448" y="322"/>
                    <a:pt x="443" y="356"/>
                    <a:pt x="443" y="414"/>
                  </a:cubicBezTo>
                  <a:cubicBezTo>
                    <a:pt x="443" y="429"/>
                    <a:pt x="448" y="433"/>
                    <a:pt x="448" y="444"/>
                  </a:cubicBezTo>
                  <a:cubicBezTo>
                    <a:pt x="477" y="444"/>
                    <a:pt x="497" y="448"/>
                    <a:pt x="525" y="453"/>
                  </a:cubicBezTo>
                  <a:cubicBezTo>
                    <a:pt x="545" y="453"/>
                    <a:pt x="565" y="448"/>
                    <a:pt x="584" y="458"/>
                  </a:cubicBezTo>
                  <a:cubicBezTo>
                    <a:pt x="589" y="463"/>
                    <a:pt x="599" y="463"/>
                    <a:pt x="599" y="468"/>
                  </a:cubicBezTo>
                  <a:cubicBezTo>
                    <a:pt x="599" y="468"/>
                    <a:pt x="599" y="477"/>
                    <a:pt x="599" y="483"/>
                  </a:cubicBezTo>
                  <a:cubicBezTo>
                    <a:pt x="604" y="497"/>
                    <a:pt x="604" y="502"/>
                    <a:pt x="604" y="516"/>
                  </a:cubicBezTo>
                  <a:cubicBezTo>
                    <a:pt x="604" y="629"/>
                    <a:pt x="545" y="687"/>
                    <a:pt x="536" y="799"/>
                  </a:cubicBezTo>
                  <a:cubicBezTo>
                    <a:pt x="531" y="833"/>
                    <a:pt x="536" y="857"/>
                    <a:pt x="525" y="886"/>
                  </a:cubicBezTo>
                  <a:cubicBezTo>
                    <a:pt x="516" y="906"/>
                    <a:pt x="511" y="916"/>
                    <a:pt x="511" y="936"/>
                  </a:cubicBezTo>
                  <a:cubicBezTo>
                    <a:pt x="506" y="979"/>
                    <a:pt x="511" y="1008"/>
                    <a:pt x="497" y="1052"/>
                  </a:cubicBezTo>
                  <a:cubicBezTo>
                    <a:pt x="487" y="1101"/>
                    <a:pt x="462" y="1125"/>
                    <a:pt x="448" y="1174"/>
                  </a:cubicBezTo>
                  <a:cubicBezTo>
                    <a:pt x="433" y="1227"/>
                    <a:pt x="433" y="1262"/>
                    <a:pt x="409" y="1310"/>
                  </a:cubicBezTo>
                  <a:cubicBezTo>
                    <a:pt x="399" y="1330"/>
                    <a:pt x="384" y="1340"/>
                    <a:pt x="375" y="1354"/>
                  </a:cubicBezTo>
                  <a:cubicBezTo>
                    <a:pt x="370" y="1334"/>
                    <a:pt x="360" y="1320"/>
                    <a:pt x="360" y="1295"/>
                  </a:cubicBezTo>
                  <a:cubicBezTo>
                    <a:pt x="355" y="1262"/>
                    <a:pt x="370" y="1237"/>
                    <a:pt x="346" y="1218"/>
                  </a:cubicBezTo>
                  <a:cubicBezTo>
                    <a:pt x="331" y="1203"/>
                    <a:pt x="312" y="1208"/>
                    <a:pt x="287" y="1203"/>
                  </a:cubicBezTo>
                  <a:cubicBezTo>
                    <a:pt x="238" y="1188"/>
                    <a:pt x="209" y="1184"/>
                    <a:pt x="165" y="1164"/>
                  </a:cubicBezTo>
                  <a:cubicBezTo>
                    <a:pt x="136" y="1149"/>
                    <a:pt x="121" y="1140"/>
                    <a:pt x="92" y="1135"/>
                  </a:cubicBezTo>
                  <a:lnTo>
                    <a:pt x="92" y="1135"/>
                  </a:lnTo>
                  <a:cubicBezTo>
                    <a:pt x="88" y="1101"/>
                    <a:pt x="88" y="1101"/>
                    <a:pt x="88" y="1101"/>
                  </a:cubicBezTo>
                  <a:cubicBezTo>
                    <a:pt x="78" y="1018"/>
                    <a:pt x="78" y="1018"/>
                    <a:pt x="78" y="1018"/>
                  </a:cubicBezTo>
                  <a:lnTo>
                    <a:pt x="78" y="1018"/>
                  </a:lnTo>
                  <a:cubicBezTo>
                    <a:pt x="88" y="999"/>
                    <a:pt x="83" y="999"/>
                    <a:pt x="92" y="984"/>
                  </a:cubicBezTo>
                  <a:cubicBezTo>
                    <a:pt x="102" y="960"/>
                    <a:pt x="112" y="945"/>
                    <a:pt x="126" y="921"/>
                  </a:cubicBezTo>
                  <a:cubicBezTo>
                    <a:pt x="160" y="853"/>
                    <a:pt x="180" y="809"/>
                    <a:pt x="199" y="736"/>
                  </a:cubicBezTo>
                  <a:cubicBezTo>
                    <a:pt x="209" y="711"/>
                    <a:pt x="214" y="692"/>
                    <a:pt x="219" y="663"/>
                  </a:cubicBezTo>
                  <a:cubicBezTo>
                    <a:pt x="224" y="643"/>
                    <a:pt x="229" y="633"/>
                    <a:pt x="229" y="619"/>
                  </a:cubicBezTo>
                  <a:cubicBezTo>
                    <a:pt x="229" y="590"/>
                    <a:pt x="199" y="590"/>
                    <a:pt x="175" y="580"/>
                  </a:cubicBezTo>
                  <a:cubicBezTo>
                    <a:pt x="151" y="565"/>
                    <a:pt x="141" y="550"/>
                    <a:pt x="116" y="536"/>
                  </a:cubicBezTo>
                  <a:cubicBezTo>
                    <a:pt x="92" y="526"/>
                    <a:pt x="78" y="516"/>
                    <a:pt x="58" y="502"/>
                  </a:cubicBezTo>
                  <a:cubicBezTo>
                    <a:pt x="39" y="492"/>
                    <a:pt x="24" y="487"/>
                    <a:pt x="19" y="468"/>
                  </a:cubicBezTo>
                  <a:cubicBezTo>
                    <a:pt x="14" y="458"/>
                    <a:pt x="9" y="458"/>
                    <a:pt x="9" y="453"/>
                  </a:cubicBezTo>
                  <a:cubicBezTo>
                    <a:pt x="9" y="438"/>
                    <a:pt x="14" y="433"/>
                    <a:pt x="19" y="419"/>
                  </a:cubicBezTo>
                  <a:cubicBezTo>
                    <a:pt x="24" y="394"/>
                    <a:pt x="24" y="380"/>
                    <a:pt x="24" y="351"/>
                  </a:cubicBezTo>
                  <a:cubicBezTo>
                    <a:pt x="24" y="317"/>
                    <a:pt x="0" y="302"/>
                    <a:pt x="0" y="268"/>
                  </a:cubicBezTo>
                  <a:cubicBezTo>
                    <a:pt x="0" y="219"/>
                    <a:pt x="29" y="195"/>
                    <a:pt x="44" y="151"/>
                  </a:cubicBezTo>
                  <a:cubicBezTo>
                    <a:pt x="68" y="93"/>
                    <a:pt x="73" y="58"/>
                    <a:pt x="88" y="0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24" name="Freeform 75"/>
            <p:cNvSpPr>
              <a:spLocks noChangeArrowheads="1"/>
            </p:cNvSpPr>
            <p:nvPr/>
          </p:nvSpPr>
          <p:spPr bwMode="auto">
            <a:xfrm>
              <a:off x="13268463" y="5072023"/>
              <a:ext cx="1618541" cy="1220986"/>
            </a:xfrm>
            <a:custGeom>
              <a:avLst/>
              <a:gdLst>
                <a:gd name="T0" fmla="*/ 0 w 2554"/>
                <a:gd name="T1" fmla="*/ 667 h 1929"/>
                <a:gd name="T2" fmla="*/ 0 w 2554"/>
                <a:gd name="T3" fmla="*/ 667 h 1929"/>
                <a:gd name="T4" fmla="*/ 98 w 2554"/>
                <a:gd name="T5" fmla="*/ 604 h 1929"/>
                <a:gd name="T6" fmla="*/ 98 w 2554"/>
                <a:gd name="T7" fmla="*/ 604 h 1929"/>
                <a:gd name="T8" fmla="*/ 2056 w 2554"/>
                <a:gd name="T9" fmla="*/ 0 h 1929"/>
                <a:gd name="T10" fmla="*/ 2100 w 2554"/>
                <a:gd name="T11" fmla="*/ 15 h 1929"/>
                <a:gd name="T12" fmla="*/ 2177 w 2554"/>
                <a:gd name="T13" fmla="*/ 39 h 1929"/>
                <a:gd name="T14" fmla="*/ 2207 w 2554"/>
                <a:gd name="T15" fmla="*/ 82 h 1929"/>
                <a:gd name="T16" fmla="*/ 2241 w 2554"/>
                <a:gd name="T17" fmla="*/ 131 h 1929"/>
                <a:gd name="T18" fmla="*/ 2285 w 2554"/>
                <a:gd name="T19" fmla="*/ 204 h 1929"/>
                <a:gd name="T20" fmla="*/ 2412 w 2554"/>
                <a:gd name="T21" fmla="*/ 248 h 1929"/>
                <a:gd name="T22" fmla="*/ 2412 w 2554"/>
                <a:gd name="T23" fmla="*/ 248 h 1929"/>
                <a:gd name="T24" fmla="*/ 2368 w 2554"/>
                <a:gd name="T25" fmla="*/ 399 h 1929"/>
                <a:gd name="T26" fmla="*/ 2324 w 2554"/>
                <a:gd name="T27" fmla="*/ 516 h 1929"/>
                <a:gd name="T28" fmla="*/ 2348 w 2554"/>
                <a:gd name="T29" fmla="*/ 599 h 1929"/>
                <a:gd name="T30" fmla="*/ 2343 w 2554"/>
                <a:gd name="T31" fmla="*/ 667 h 1929"/>
                <a:gd name="T32" fmla="*/ 2333 w 2554"/>
                <a:gd name="T33" fmla="*/ 701 h 1929"/>
                <a:gd name="T34" fmla="*/ 2343 w 2554"/>
                <a:gd name="T35" fmla="*/ 716 h 1929"/>
                <a:gd name="T36" fmla="*/ 2382 w 2554"/>
                <a:gd name="T37" fmla="*/ 750 h 1929"/>
                <a:gd name="T38" fmla="*/ 2440 w 2554"/>
                <a:gd name="T39" fmla="*/ 784 h 1929"/>
                <a:gd name="T40" fmla="*/ 2499 w 2554"/>
                <a:gd name="T41" fmla="*/ 828 h 1929"/>
                <a:gd name="T42" fmla="*/ 2553 w 2554"/>
                <a:gd name="T43" fmla="*/ 867 h 1929"/>
                <a:gd name="T44" fmla="*/ 2543 w 2554"/>
                <a:gd name="T45" fmla="*/ 911 h 1929"/>
                <a:gd name="T46" fmla="*/ 2523 w 2554"/>
                <a:gd name="T47" fmla="*/ 984 h 1929"/>
                <a:gd name="T48" fmla="*/ 2450 w 2554"/>
                <a:gd name="T49" fmla="*/ 1169 h 1929"/>
                <a:gd name="T50" fmla="*/ 2416 w 2554"/>
                <a:gd name="T51" fmla="*/ 1232 h 1929"/>
                <a:gd name="T52" fmla="*/ 2402 w 2554"/>
                <a:gd name="T53" fmla="*/ 1266 h 1929"/>
                <a:gd name="T54" fmla="*/ 2246 w 2554"/>
                <a:gd name="T55" fmla="*/ 1315 h 1929"/>
                <a:gd name="T56" fmla="*/ 741 w 2554"/>
                <a:gd name="T57" fmla="*/ 1792 h 1929"/>
                <a:gd name="T58" fmla="*/ 741 w 2554"/>
                <a:gd name="T59" fmla="*/ 1792 h 1929"/>
                <a:gd name="T60" fmla="*/ 298 w 2554"/>
                <a:gd name="T61" fmla="*/ 1928 h 1929"/>
                <a:gd name="T62" fmla="*/ 161 w 2554"/>
                <a:gd name="T63" fmla="*/ 1369 h 1929"/>
                <a:gd name="T64" fmla="*/ 161 w 2554"/>
                <a:gd name="T65" fmla="*/ 1369 h 1929"/>
                <a:gd name="T66" fmla="*/ 0 w 2554"/>
                <a:gd name="T67" fmla="*/ 667 h 1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54" h="1929">
                  <a:moveTo>
                    <a:pt x="0" y="667"/>
                  </a:moveTo>
                  <a:lnTo>
                    <a:pt x="0" y="667"/>
                  </a:lnTo>
                  <a:cubicBezTo>
                    <a:pt x="39" y="642"/>
                    <a:pt x="69" y="628"/>
                    <a:pt x="98" y="604"/>
                  </a:cubicBezTo>
                  <a:lnTo>
                    <a:pt x="98" y="604"/>
                  </a:lnTo>
                  <a:cubicBezTo>
                    <a:pt x="818" y="409"/>
                    <a:pt x="1467" y="209"/>
                    <a:pt x="2056" y="0"/>
                  </a:cubicBezTo>
                  <a:cubicBezTo>
                    <a:pt x="2075" y="4"/>
                    <a:pt x="2085" y="10"/>
                    <a:pt x="2100" y="15"/>
                  </a:cubicBezTo>
                  <a:cubicBezTo>
                    <a:pt x="2129" y="29"/>
                    <a:pt x="2148" y="24"/>
                    <a:pt x="2177" y="39"/>
                  </a:cubicBezTo>
                  <a:cubicBezTo>
                    <a:pt x="2197" y="48"/>
                    <a:pt x="2197" y="68"/>
                    <a:pt x="2207" y="82"/>
                  </a:cubicBezTo>
                  <a:cubicBezTo>
                    <a:pt x="2216" y="102"/>
                    <a:pt x="2231" y="112"/>
                    <a:pt x="2241" y="131"/>
                  </a:cubicBezTo>
                  <a:cubicBezTo>
                    <a:pt x="2255" y="161"/>
                    <a:pt x="2260" y="185"/>
                    <a:pt x="2285" y="204"/>
                  </a:cubicBezTo>
                  <a:cubicBezTo>
                    <a:pt x="2319" y="238"/>
                    <a:pt x="2368" y="228"/>
                    <a:pt x="2412" y="248"/>
                  </a:cubicBezTo>
                  <a:lnTo>
                    <a:pt x="2412" y="248"/>
                  </a:lnTo>
                  <a:cubicBezTo>
                    <a:pt x="2397" y="306"/>
                    <a:pt x="2392" y="341"/>
                    <a:pt x="2368" y="399"/>
                  </a:cubicBezTo>
                  <a:cubicBezTo>
                    <a:pt x="2353" y="443"/>
                    <a:pt x="2324" y="467"/>
                    <a:pt x="2324" y="516"/>
                  </a:cubicBezTo>
                  <a:cubicBezTo>
                    <a:pt x="2324" y="550"/>
                    <a:pt x="2348" y="565"/>
                    <a:pt x="2348" y="599"/>
                  </a:cubicBezTo>
                  <a:cubicBezTo>
                    <a:pt x="2348" y="628"/>
                    <a:pt x="2348" y="642"/>
                    <a:pt x="2343" y="667"/>
                  </a:cubicBezTo>
                  <a:cubicBezTo>
                    <a:pt x="2338" y="681"/>
                    <a:pt x="2333" y="686"/>
                    <a:pt x="2333" y="701"/>
                  </a:cubicBezTo>
                  <a:cubicBezTo>
                    <a:pt x="2333" y="706"/>
                    <a:pt x="2338" y="706"/>
                    <a:pt x="2343" y="716"/>
                  </a:cubicBezTo>
                  <a:cubicBezTo>
                    <a:pt x="2348" y="735"/>
                    <a:pt x="2363" y="740"/>
                    <a:pt x="2382" y="750"/>
                  </a:cubicBezTo>
                  <a:cubicBezTo>
                    <a:pt x="2402" y="764"/>
                    <a:pt x="2416" y="774"/>
                    <a:pt x="2440" y="784"/>
                  </a:cubicBezTo>
                  <a:cubicBezTo>
                    <a:pt x="2465" y="798"/>
                    <a:pt x="2475" y="813"/>
                    <a:pt x="2499" y="828"/>
                  </a:cubicBezTo>
                  <a:cubicBezTo>
                    <a:pt x="2523" y="838"/>
                    <a:pt x="2553" y="838"/>
                    <a:pt x="2553" y="867"/>
                  </a:cubicBezTo>
                  <a:cubicBezTo>
                    <a:pt x="2553" y="881"/>
                    <a:pt x="2548" y="891"/>
                    <a:pt x="2543" y="911"/>
                  </a:cubicBezTo>
                  <a:cubicBezTo>
                    <a:pt x="2538" y="940"/>
                    <a:pt x="2533" y="959"/>
                    <a:pt x="2523" y="984"/>
                  </a:cubicBezTo>
                  <a:cubicBezTo>
                    <a:pt x="2504" y="1057"/>
                    <a:pt x="2484" y="1101"/>
                    <a:pt x="2450" y="1169"/>
                  </a:cubicBezTo>
                  <a:cubicBezTo>
                    <a:pt x="2436" y="1193"/>
                    <a:pt x="2426" y="1208"/>
                    <a:pt x="2416" y="1232"/>
                  </a:cubicBezTo>
                  <a:cubicBezTo>
                    <a:pt x="2407" y="1247"/>
                    <a:pt x="2412" y="1247"/>
                    <a:pt x="2402" y="1266"/>
                  </a:cubicBezTo>
                  <a:cubicBezTo>
                    <a:pt x="2246" y="1315"/>
                    <a:pt x="2246" y="1315"/>
                    <a:pt x="2246" y="1315"/>
                  </a:cubicBezTo>
                  <a:cubicBezTo>
                    <a:pt x="741" y="1792"/>
                    <a:pt x="741" y="1792"/>
                    <a:pt x="741" y="1792"/>
                  </a:cubicBezTo>
                  <a:lnTo>
                    <a:pt x="741" y="1792"/>
                  </a:lnTo>
                  <a:cubicBezTo>
                    <a:pt x="298" y="1928"/>
                    <a:pt x="298" y="1928"/>
                    <a:pt x="298" y="1928"/>
                  </a:cubicBezTo>
                  <a:cubicBezTo>
                    <a:pt x="161" y="1369"/>
                    <a:pt x="161" y="1369"/>
                    <a:pt x="161" y="1369"/>
                  </a:cubicBezTo>
                  <a:lnTo>
                    <a:pt x="161" y="1369"/>
                  </a:lnTo>
                  <a:cubicBezTo>
                    <a:pt x="0" y="667"/>
                    <a:pt x="0" y="667"/>
                    <a:pt x="0" y="667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25" name="Freeform 76"/>
            <p:cNvSpPr>
              <a:spLocks noChangeArrowheads="1"/>
            </p:cNvSpPr>
            <p:nvPr/>
          </p:nvSpPr>
          <p:spPr bwMode="auto">
            <a:xfrm>
              <a:off x="12193170" y="5494887"/>
              <a:ext cx="1176102" cy="1391812"/>
            </a:xfrm>
            <a:custGeom>
              <a:avLst/>
              <a:gdLst>
                <a:gd name="T0" fmla="*/ 1856 w 1857"/>
                <a:gd name="T1" fmla="*/ 702 h 2198"/>
                <a:gd name="T2" fmla="*/ 1695 w 1857"/>
                <a:gd name="T3" fmla="*/ 0 h 2198"/>
                <a:gd name="T4" fmla="*/ 1593 w 1857"/>
                <a:gd name="T5" fmla="*/ 78 h 2198"/>
                <a:gd name="T6" fmla="*/ 1501 w 1857"/>
                <a:gd name="T7" fmla="*/ 151 h 2198"/>
                <a:gd name="T8" fmla="*/ 1344 w 1857"/>
                <a:gd name="T9" fmla="*/ 282 h 2198"/>
                <a:gd name="T10" fmla="*/ 1033 w 1857"/>
                <a:gd name="T11" fmla="*/ 497 h 2198"/>
                <a:gd name="T12" fmla="*/ 896 w 1857"/>
                <a:gd name="T13" fmla="*/ 565 h 2198"/>
                <a:gd name="T14" fmla="*/ 809 w 1857"/>
                <a:gd name="T15" fmla="*/ 565 h 2198"/>
                <a:gd name="T16" fmla="*/ 663 w 1857"/>
                <a:gd name="T17" fmla="*/ 517 h 2198"/>
                <a:gd name="T18" fmla="*/ 526 w 1857"/>
                <a:gd name="T19" fmla="*/ 453 h 2198"/>
                <a:gd name="T20" fmla="*/ 0 w 1857"/>
                <a:gd name="T21" fmla="*/ 584 h 2198"/>
                <a:gd name="T22" fmla="*/ 268 w 1857"/>
                <a:gd name="T23" fmla="*/ 2041 h 2198"/>
                <a:gd name="T24" fmla="*/ 312 w 1857"/>
                <a:gd name="T25" fmla="*/ 2051 h 2198"/>
                <a:gd name="T26" fmla="*/ 443 w 1857"/>
                <a:gd name="T27" fmla="*/ 2051 h 2198"/>
                <a:gd name="T28" fmla="*/ 482 w 1857"/>
                <a:gd name="T29" fmla="*/ 2099 h 2198"/>
                <a:gd name="T30" fmla="*/ 546 w 1857"/>
                <a:gd name="T31" fmla="*/ 2099 h 2198"/>
                <a:gd name="T32" fmla="*/ 741 w 1857"/>
                <a:gd name="T33" fmla="*/ 2128 h 2198"/>
                <a:gd name="T34" fmla="*/ 892 w 1857"/>
                <a:gd name="T35" fmla="*/ 2109 h 2198"/>
                <a:gd name="T36" fmla="*/ 1013 w 1857"/>
                <a:gd name="T37" fmla="*/ 2031 h 2198"/>
                <a:gd name="T38" fmla="*/ 1092 w 1857"/>
                <a:gd name="T39" fmla="*/ 2080 h 2198"/>
                <a:gd name="T40" fmla="*/ 1223 w 1857"/>
                <a:gd name="T41" fmla="*/ 2148 h 2198"/>
                <a:gd name="T42" fmla="*/ 1267 w 1857"/>
                <a:gd name="T43" fmla="*/ 2197 h 2198"/>
                <a:gd name="T44" fmla="*/ 1427 w 1857"/>
                <a:gd name="T45" fmla="*/ 1963 h 2198"/>
                <a:gd name="T46" fmla="*/ 1418 w 1857"/>
                <a:gd name="T47" fmla="*/ 1832 h 2198"/>
                <a:gd name="T48" fmla="*/ 1520 w 1857"/>
                <a:gd name="T49" fmla="*/ 1851 h 2198"/>
                <a:gd name="T50" fmla="*/ 1573 w 1857"/>
                <a:gd name="T51" fmla="*/ 1778 h 2198"/>
                <a:gd name="T52" fmla="*/ 1564 w 1857"/>
                <a:gd name="T53" fmla="*/ 1685 h 2198"/>
                <a:gd name="T54" fmla="*/ 1559 w 1857"/>
                <a:gd name="T55" fmla="*/ 1627 h 2198"/>
                <a:gd name="T56" fmla="*/ 1588 w 1857"/>
                <a:gd name="T57" fmla="*/ 1597 h 2198"/>
                <a:gd name="T58" fmla="*/ 1622 w 1857"/>
                <a:gd name="T59" fmla="*/ 1510 h 2198"/>
                <a:gd name="T60" fmla="*/ 1730 w 1857"/>
                <a:gd name="T61" fmla="*/ 1466 h 2198"/>
                <a:gd name="T62" fmla="*/ 1812 w 1857"/>
                <a:gd name="T63" fmla="*/ 1320 h 2198"/>
                <a:gd name="T64" fmla="*/ 1836 w 1857"/>
                <a:gd name="T65" fmla="*/ 1169 h 2198"/>
                <a:gd name="T66" fmla="*/ 1822 w 1857"/>
                <a:gd name="T67" fmla="*/ 848 h 2198"/>
                <a:gd name="T68" fmla="*/ 1856 w 1857"/>
                <a:gd name="T69" fmla="*/ 702 h 2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57" h="2198">
                  <a:moveTo>
                    <a:pt x="1856" y="702"/>
                  </a:moveTo>
                  <a:lnTo>
                    <a:pt x="1856" y="702"/>
                  </a:lnTo>
                  <a:cubicBezTo>
                    <a:pt x="1695" y="0"/>
                    <a:pt x="1695" y="0"/>
                    <a:pt x="1695" y="0"/>
                  </a:cubicBezTo>
                  <a:lnTo>
                    <a:pt x="1695" y="0"/>
                  </a:lnTo>
                  <a:cubicBezTo>
                    <a:pt x="1690" y="0"/>
                    <a:pt x="1690" y="5"/>
                    <a:pt x="1686" y="5"/>
                  </a:cubicBezTo>
                  <a:cubicBezTo>
                    <a:pt x="1647" y="29"/>
                    <a:pt x="1637" y="53"/>
                    <a:pt x="1593" y="78"/>
                  </a:cubicBezTo>
                  <a:cubicBezTo>
                    <a:pt x="1584" y="83"/>
                    <a:pt x="1573" y="83"/>
                    <a:pt x="1559" y="92"/>
                  </a:cubicBezTo>
                  <a:cubicBezTo>
                    <a:pt x="1534" y="112"/>
                    <a:pt x="1525" y="131"/>
                    <a:pt x="1501" y="151"/>
                  </a:cubicBezTo>
                  <a:cubicBezTo>
                    <a:pt x="1462" y="175"/>
                    <a:pt x="1437" y="195"/>
                    <a:pt x="1408" y="234"/>
                  </a:cubicBezTo>
                  <a:cubicBezTo>
                    <a:pt x="1388" y="253"/>
                    <a:pt x="1364" y="263"/>
                    <a:pt x="1344" y="282"/>
                  </a:cubicBezTo>
                  <a:cubicBezTo>
                    <a:pt x="1306" y="331"/>
                    <a:pt x="1281" y="375"/>
                    <a:pt x="1223" y="395"/>
                  </a:cubicBezTo>
                  <a:cubicBezTo>
                    <a:pt x="1140" y="414"/>
                    <a:pt x="1106" y="458"/>
                    <a:pt x="1033" y="497"/>
                  </a:cubicBezTo>
                  <a:cubicBezTo>
                    <a:pt x="989" y="517"/>
                    <a:pt x="960" y="531"/>
                    <a:pt x="911" y="550"/>
                  </a:cubicBezTo>
                  <a:cubicBezTo>
                    <a:pt x="906" y="555"/>
                    <a:pt x="906" y="560"/>
                    <a:pt x="896" y="565"/>
                  </a:cubicBezTo>
                  <a:cubicBezTo>
                    <a:pt x="872" y="570"/>
                    <a:pt x="852" y="570"/>
                    <a:pt x="833" y="584"/>
                  </a:cubicBezTo>
                  <a:cubicBezTo>
                    <a:pt x="824" y="580"/>
                    <a:pt x="813" y="575"/>
                    <a:pt x="809" y="565"/>
                  </a:cubicBezTo>
                  <a:cubicBezTo>
                    <a:pt x="804" y="545"/>
                    <a:pt x="804" y="517"/>
                    <a:pt x="785" y="517"/>
                  </a:cubicBezTo>
                  <a:cubicBezTo>
                    <a:pt x="663" y="517"/>
                    <a:pt x="663" y="517"/>
                    <a:pt x="663" y="517"/>
                  </a:cubicBezTo>
                  <a:cubicBezTo>
                    <a:pt x="633" y="517"/>
                    <a:pt x="619" y="506"/>
                    <a:pt x="590" y="497"/>
                  </a:cubicBezTo>
                  <a:cubicBezTo>
                    <a:pt x="561" y="487"/>
                    <a:pt x="526" y="482"/>
                    <a:pt x="526" y="453"/>
                  </a:cubicBezTo>
                  <a:lnTo>
                    <a:pt x="526" y="453"/>
                  </a:lnTo>
                  <a:cubicBezTo>
                    <a:pt x="0" y="584"/>
                    <a:pt x="0" y="584"/>
                    <a:pt x="0" y="584"/>
                  </a:cubicBezTo>
                  <a:lnTo>
                    <a:pt x="0" y="584"/>
                  </a:lnTo>
                  <a:cubicBezTo>
                    <a:pt x="268" y="2041"/>
                    <a:pt x="268" y="2041"/>
                    <a:pt x="268" y="2041"/>
                  </a:cubicBezTo>
                  <a:lnTo>
                    <a:pt x="268" y="2041"/>
                  </a:lnTo>
                  <a:cubicBezTo>
                    <a:pt x="283" y="2041"/>
                    <a:pt x="297" y="2051"/>
                    <a:pt x="312" y="2051"/>
                  </a:cubicBezTo>
                  <a:cubicBezTo>
                    <a:pt x="341" y="2051"/>
                    <a:pt x="356" y="2031"/>
                    <a:pt x="380" y="2031"/>
                  </a:cubicBezTo>
                  <a:cubicBezTo>
                    <a:pt x="404" y="2031"/>
                    <a:pt x="419" y="2041"/>
                    <a:pt x="443" y="2051"/>
                  </a:cubicBezTo>
                  <a:cubicBezTo>
                    <a:pt x="448" y="2056"/>
                    <a:pt x="453" y="2051"/>
                    <a:pt x="458" y="2051"/>
                  </a:cubicBezTo>
                  <a:cubicBezTo>
                    <a:pt x="473" y="2065"/>
                    <a:pt x="468" y="2084"/>
                    <a:pt x="482" y="2099"/>
                  </a:cubicBezTo>
                  <a:cubicBezTo>
                    <a:pt x="492" y="2104"/>
                    <a:pt x="502" y="2104"/>
                    <a:pt x="512" y="2109"/>
                  </a:cubicBezTo>
                  <a:cubicBezTo>
                    <a:pt x="546" y="2099"/>
                    <a:pt x="546" y="2099"/>
                    <a:pt x="546" y="2099"/>
                  </a:cubicBezTo>
                  <a:cubicBezTo>
                    <a:pt x="619" y="2099"/>
                    <a:pt x="619" y="2099"/>
                    <a:pt x="619" y="2099"/>
                  </a:cubicBezTo>
                  <a:cubicBezTo>
                    <a:pt x="741" y="2128"/>
                    <a:pt x="741" y="2128"/>
                    <a:pt x="741" y="2128"/>
                  </a:cubicBezTo>
                  <a:cubicBezTo>
                    <a:pt x="755" y="2109"/>
                    <a:pt x="765" y="2090"/>
                    <a:pt x="794" y="2090"/>
                  </a:cubicBezTo>
                  <a:cubicBezTo>
                    <a:pt x="833" y="2090"/>
                    <a:pt x="852" y="2109"/>
                    <a:pt x="892" y="2109"/>
                  </a:cubicBezTo>
                  <a:cubicBezTo>
                    <a:pt x="935" y="2109"/>
                    <a:pt x="950" y="2075"/>
                    <a:pt x="984" y="2051"/>
                  </a:cubicBezTo>
                  <a:cubicBezTo>
                    <a:pt x="994" y="2041"/>
                    <a:pt x="1004" y="2036"/>
                    <a:pt x="1013" y="2031"/>
                  </a:cubicBezTo>
                  <a:cubicBezTo>
                    <a:pt x="1023" y="2026"/>
                    <a:pt x="1023" y="2017"/>
                    <a:pt x="1028" y="2017"/>
                  </a:cubicBezTo>
                  <a:cubicBezTo>
                    <a:pt x="1062" y="2017"/>
                    <a:pt x="1062" y="2060"/>
                    <a:pt x="1092" y="2080"/>
                  </a:cubicBezTo>
                  <a:cubicBezTo>
                    <a:pt x="1111" y="2090"/>
                    <a:pt x="1125" y="2095"/>
                    <a:pt x="1150" y="2099"/>
                  </a:cubicBezTo>
                  <a:cubicBezTo>
                    <a:pt x="1184" y="2104"/>
                    <a:pt x="1198" y="2123"/>
                    <a:pt x="1223" y="2148"/>
                  </a:cubicBezTo>
                  <a:cubicBezTo>
                    <a:pt x="1242" y="2167"/>
                    <a:pt x="1257" y="2177"/>
                    <a:pt x="1267" y="2197"/>
                  </a:cubicBezTo>
                  <a:lnTo>
                    <a:pt x="1267" y="2197"/>
                  </a:lnTo>
                  <a:cubicBezTo>
                    <a:pt x="1320" y="2172"/>
                    <a:pt x="1344" y="2138"/>
                    <a:pt x="1379" y="2090"/>
                  </a:cubicBezTo>
                  <a:cubicBezTo>
                    <a:pt x="1403" y="2045"/>
                    <a:pt x="1427" y="2017"/>
                    <a:pt x="1427" y="1963"/>
                  </a:cubicBezTo>
                  <a:cubicBezTo>
                    <a:pt x="1427" y="1938"/>
                    <a:pt x="1418" y="1929"/>
                    <a:pt x="1418" y="1909"/>
                  </a:cubicBezTo>
                  <a:cubicBezTo>
                    <a:pt x="1418" y="1832"/>
                    <a:pt x="1418" y="1832"/>
                    <a:pt x="1418" y="1832"/>
                  </a:cubicBezTo>
                  <a:cubicBezTo>
                    <a:pt x="1437" y="1822"/>
                    <a:pt x="1442" y="1807"/>
                    <a:pt x="1462" y="1807"/>
                  </a:cubicBezTo>
                  <a:cubicBezTo>
                    <a:pt x="1490" y="1807"/>
                    <a:pt x="1490" y="1851"/>
                    <a:pt x="1520" y="1851"/>
                  </a:cubicBezTo>
                  <a:cubicBezTo>
                    <a:pt x="1534" y="1851"/>
                    <a:pt x="1540" y="1836"/>
                    <a:pt x="1549" y="1822"/>
                  </a:cubicBezTo>
                  <a:cubicBezTo>
                    <a:pt x="1559" y="1807"/>
                    <a:pt x="1573" y="1797"/>
                    <a:pt x="1573" y="1778"/>
                  </a:cubicBezTo>
                  <a:cubicBezTo>
                    <a:pt x="1573" y="1705"/>
                    <a:pt x="1573" y="1705"/>
                    <a:pt x="1573" y="1705"/>
                  </a:cubicBezTo>
                  <a:cubicBezTo>
                    <a:pt x="1573" y="1695"/>
                    <a:pt x="1564" y="1690"/>
                    <a:pt x="1564" y="1685"/>
                  </a:cubicBezTo>
                  <a:cubicBezTo>
                    <a:pt x="1564" y="1671"/>
                    <a:pt x="1559" y="1661"/>
                    <a:pt x="1559" y="1642"/>
                  </a:cubicBezTo>
                  <a:cubicBezTo>
                    <a:pt x="1559" y="1636"/>
                    <a:pt x="1559" y="1631"/>
                    <a:pt x="1559" y="1627"/>
                  </a:cubicBezTo>
                  <a:cubicBezTo>
                    <a:pt x="1564" y="1622"/>
                    <a:pt x="1573" y="1631"/>
                    <a:pt x="1579" y="1627"/>
                  </a:cubicBezTo>
                  <a:cubicBezTo>
                    <a:pt x="1584" y="1617"/>
                    <a:pt x="1588" y="1607"/>
                    <a:pt x="1588" y="1597"/>
                  </a:cubicBezTo>
                  <a:cubicBezTo>
                    <a:pt x="1588" y="1573"/>
                    <a:pt x="1584" y="1559"/>
                    <a:pt x="1584" y="1534"/>
                  </a:cubicBezTo>
                  <a:cubicBezTo>
                    <a:pt x="1584" y="1520"/>
                    <a:pt x="1608" y="1515"/>
                    <a:pt x="1622" y="1510"/>
                  </a:cubicBezTo>
                  <a:cubicBezTo>
                    <a:pt x="1632" y="1505"/>
                    <a:pt x="1642" y="1500"/>
                    <a:pt x="1651" y="1495"/>
                  </a:cubicBezTo>
                  <a:cubicBezTo>
                    <a:pt x="1681" y="1486"/>
                    <a:pt x="1700" y="1486"/>
                    <a:pt x="1730" y="1466"/>
                  </a:cubicBezTo>
                  <a:cubicBezTo>
                    <a:pt x="1744" y="1456"/>
                    <a:pt x="1749" y="1437"/>
                    <a:pt x="1764" y="1422"/>
                  </a:cubicBezTo>
                  <a:cubicBezTo>
                    <a:pt x="1793" y="1393"/>
                    <a:pt x="1807" y="1364"/>
                    <a:pt x="1812" y="1320"/>
                  </a:cubicBezTo>
                  <a:cubicBezTo>
                    <a:pt x="1817" y="1291"/>
                    <a:pt x="1822" y="1276"/>
                    <a:pt x="1827" y="1247"/>
                  </a:cubicBezTo>
                  <a:cubicBezTo>
                    <a:pt x="1827" y="1218"/>
                    <a:pt x="1832" y="1198"/>
                    <a:pt x="1836" y="1169"/>
                  </a:cubicBezTo>
                  <a:cubicBezTo>
                    <a:pt x="1841" y="1115"/>
                    <a:pt x="1841" y="1086"/>
                    <a:pt x="1841" y="1033"/>
                  </a:cubicBezTo>
                  <a:cubicBezTo>
                    <a:pt x="1841" y="959"/>
                    <a:pt x="1822" y="921"/>
                    <a:pt x="1822" y="848"/>
                  </a:cubicBezTo>
                  <a:cubicBezTo>
                    <a:pt x="1822" y="813"/>
                    <a:pt x="1817" y="789"/>
                    <a:pt x="1827" y="755"/>
                  </a:cubicBezTo>
                  <a:cubicBezTo>
                    <a:pt x="1832" y="735"/>
                    <a:pt x="1851" y="721"/>
                    <a:pt x="1856" y="702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26" name="Freeform 77"/>
            <p:cNvSpPr>
              <a:spLocks noChangeArrowheads="1"/>
            </p:cNvSpPr>
            <p:nvPr/>
          </p:nvSpPr>
          <p:spPr bwMode="auto">
            <a:xfrm>
              <a:off x="10504623" y="5735724"/>
              <a:ext cx="1117297" cy="2005105"/>
            </a:xfrm>
            <a:custGeom>
              <a:avLst/>
              <a:gdLst>
                <a:gd name="T0" fmla="*/ 201 w 1765"/>
                <a:gd name="T1" fmla="*/ 195 h 3162"/>
                <a:gd name="T2" fmla="*/ 1379 w 1765"/>
                <a:gd name="T3" fmla="*/ 0 h 3162"/>
                <a:gd name="T4" fmla="*/ 1403 w 1765"/>
                <a:gd name="T5" fmla="*/ 170 h 3162"/>
                <a:gd name="T6" fmla="*/ 1540 w 1765"/>
                <a:gd name="T7" fmla="*/ 375 h 3162"/>
                <a:gd name="T8" fmla="*/ 1569 w 1765"/>
                <a:gd name="T9" fmla="*/ 399 h 3162"/>
                <a:gd name="T10" fmla="*/ 1701 w 1765"/>
                <a:gd name="T11" fmla="*/ 1753 h 3162"/>
                <a:gd name="T12" fmla="*/ 1764 w 1765"/>
                <a:gd name="T13" fmla="*/ 2050 h 3162"/>
                <a:gd name="T14" fmla="*/ 1686 w 1765"/>
                <a:gd name="T15" fmla="*/ 2309 h 3162"/>
                <a:gd name="T16" fmla="*/ 1652 w 1765"/>
                <a:gd name="T17" fmla="*/ 2431 h 3162"/>
                <a:gd name="T18" fmla="*/ 1642 w 1765"/>
                <a:gd name="T19" fmla="*/ 2518 h 3162"/>
                <a:gd name="T20" fmla="*/ 1691 w 1765"/>
                <a:gd name="T21" fmla="*/ 2610 h 3162"/>
                <a:gd name="T22" fmla="*/ 1671 w 1765"/>
                <a:gd name="T23" fmla="*/ 2659 h 3162"/>
                <a:gd name="T24" fmla="*/ 1628 w 1765"/>
                <a:gd name="T25" fmla="*/ 2713 h 3162"/>
                <a:gd name="T26" fmla="*/ 1637 w 1765"/>
                <a:gd name="T27" fmla="*/ 2834 h 3162"/>
                <a:gd name="T28" fmla="*/ 1564 w 1765"/>
                <a:gd name="T29" fmla="*/ 2883 h 3162"/>
                <a:gd name="T30" fmla="*/ 1506 w 1765"/>
                <a:gd name="T31" fmla="*/ 3010 h 3162"/>
                <a:gd name="T32" fmla="*/ 1462 w 1765"/>
                <a:gd name="T33" fmla="*/ 3102 h 3162"/>
                <a:gd name="T34" fmla="*/ 1296 w 1765"/>
                <a:gd name="T35" fmla="*/ 3039 h 3162"/>
                <a:gd name="T36" fmla="*/ 1233 w 1765"/>
                <a:gd name="T37" fmla="*/ 3073 h 3162"/>
                <a:gd name="T38" fmla="*/ 1204 w 1765"/>
                <a:gd name="T39" fmla="*/ 3156 h 3162"/>
                <a:gd name="T40" fmla="*/ 1077 w 1765"/>
                <a:gd name="T41" fmla="*/ 3117 h 3162"/>
                <a:gd name="T42" fmla="*/ 980 w 1765"/>
                <a:gd name="T43" fmla="*/ 2883 h 3162"/>
                <a:gd name="T44" fmla="*/ 887 w 1765"/>
                <a:gd name="T45" fmla="*/ 2732 h 3162"/>
                <a:gd name="T46" fmla="*/ 848 w 1765"/>
                <a:gd name="T47" fmla="*/ 2703 h 3162"/>
                <a:gd name="T48" fmla="*/ 668 w 1765"/>
                <a:gd name="T49" fmla="*/ 2581 h 3162"/>
                <a:gd name="T50" fmla="*/ 595 w 1765"/>
                <a:gd name="T51" fmla="*/ 2450 h 3162"/>
                <a:gd name="T52" fmla="*/ 605 w 1765"/>
                <a:gd name="T53" fmla="*/ 2323 h 3162"/>
                <a:gd name="T54" fmla="*/ 546 w 1765"/>
                <a:gd name="T55" fmla="*/ 2192 h 3162"/>
                <a:gd name="T56" fmla="*/ 483 w 1765"/>
                <a:gd name="T57" fmla="*/ 2206 h 3162"/>
                <a:gd name="T58" fmla="*/ 415 w 1765"/>
                <a:gd name="T59" fmla="*/ 2177 h 3162"/>
                <a:gd name="T60" fmla="*/ 327 w 1765"/>
                <a:gd name="T61" fmla="*/ 1983 h 3162"/>
                <a:gd name="T62" fmla="*/ 220 w 1765"/>
                <a:gd name="T63" fmla="*/ 1870 h 3162"/>
                <a:gd name="T64" fmla="*/ 11 w 1765"/>
                <a:gd name="T65" fmla="*/ 1656 h 3162"/>
                <a:gd name="T66" fmla="*/ 11 w 1765"/>
                <a:gd name="T67" fmla="*/ 1461 h 3162"/>
                <a:gd name="T68" fmla="*/ 16 w 1765"/>
                <a:gd name="T69" fmla="*/ 1422 h 3162"/>
                <a:gd name="T70" fmla="*/ 40 w 1765"/>
                <a:gd name="T71" fmla="*/ 1300 h 3162"/>
                <a:gd name="T72" fmla="*/ 137 w 1765"/>
                <a:gd name="T73" fmla="*/ 1110 h 3162"/>
                <a:gd name="T74" fmla="*/ 88 w 1765"/>
                <a:gd name="T75" fmla="*/ 891 h 3162"/>
                <a:gd name="T76" fmla="*/ 191 w 1765"/>
                <a:gd name="T77" fmla="*/ 838 h 3162"/>
                <a:gd name="T78" fmla="*/ 400 w 1765"/>
                <a:gd name="T79" fmla="*/ 687 h 3162"/>
                <a:gd name="T80" fmla="*/ 366 w 1765"/>
                <a:gd name="T81" fmla="*/ 424 h 3162"/>
                <a:gd name="T82" fmla="*/ 264 w 1765"/>
                <a:gd name="T83" fmla="*/ 326 h 3162"/>
                <a:gd name="T84" fmla="*/ 201 w 1765"/>
                <a:gd name="T85" fmla="*/ 195 h 3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65" h="3162">
                  <a:moveTo>
                    <a:pt x="201" y="195"/>
                  </a:moveTo>
                  <a:lnTo>
                    <a:pt x="201" y="195"/>
                  </a:lnTo>
                  <a:cubicBezTo>
                    <a:pt x="1379" y="0"/>
                    <a:pt x="1379" y="0"/>
                    <a:pt x="1379" y="0"/>
                  </a:cubicBezTo>
                  <a:lnTo>
                    <a:pt x="1379" y="0"/>
                  </a:lnTo>
                  <a:cubicBezTo>
                    <a:pt x="1379" y="93"/>
                    <a:pt x="1379" y="93"/>
                    <a:pt x="1379" y="93"/>
                  </a:cubicBezTo>
                  <a:cubicBezTo>
                    <a:pt x="1379" y="122"/>
                    <a:pt x="1394" y="141"/>
                    <a:pt x="1403" y="170"/>
                  </a:cubicBezTo>
                  <a:cubicBezTo>
                    <a:pt x="1423" y="209"/>
                    <a:pt x="1442" y="234"/>
                    <a:pt x="1467" y="273"/>
                  </a:cubicBezTo>
                  <a:cubicBezTo>
                    <a:pt x="1491" y="316"/>
                    <a:pt x="1501" y="346"/>
                    <a:pt x="1540" y="375"/>
                  </a:cubicBezTo>
                  <a:cubicBezTo>
                    <a:pt x="1550" y="385"/>
                    <a:pt x="1559" y="394"/>
                    <a:pt x="1569" y="399"/>
                  </a:cubicBezTo>
                  <a:lnTo>
                    <a:pt x="1569" y="399"/>
                  </a:lnTo>
                  <a:cubicBezTo>
                    <a:pt x="1749" y="1676"/>
                    <a:pt x="1749" y="1676"/>
                    <a:pt x="1749" y="1676"/>
                  </a:cubicBezTo>
                  <a:cubicBezTo>
                    <a:pt x="1730" y="1710"/>
                    <a:pt x="1701" y="1715"/>
                    <a:pt x="1701" y="1753"/>
                  </a:cubicBezTo>
                  <a:cubicBezTo>
                    <a:pt x="1701" y="1807"/>
                    <a:pt x="1715" y="1836"/>
                    <a:pt x="1735" y="1885"/>
                  </a:cubicBezTo>
                  <a:cubicBezTo>
                    <a:pt x="1759" y="1944"/>
                    <a:pt x="1764" y="1983"/>
                    <a:pt x="1764" y="2050"/>
                  </a:cubicBezTo>
                  <a:cubicBezTo>
                    <a:pt x="1764" y="2104"/>
                    <a:pt x="1735" y="2133"/>
                    <a:pt x="1725" y="2187"/>
                  </a:cubicBezTo>
                  <a:cubicBezTo>
                    <a:pt x="1715" y="2231"/>
                    <a:pt x="1710" y="2265"/>
                    <a:pt x="1686" y="2309"/>
                  </a:cubicBezTo>
                  <a:cubicBezTo>
                    <a:pt x="1676" y="2328"/>
                    <a:pt x="1661" y="2333"/>
                    <a:pt x="1657" y="2353"/>
                  </a:cubicBezTo>
                  <a:cubicBezTo>
                    <a:pt x="1652" y="2381"/>
                    <a:pt x="1657" y="2401"/>
                    <a:pt x="1652" y="2431"/>
                  </a:cubicBezTo>
                  <a:cubicBezTo>
                    <a:pt x="1652" y="2450"/>
                    <a:pt x="1642" y="2455"/>
                    <a:pt x="1642" y="2474"/>
                  </a:cubicBezTo>
                  <a:cubicBezTo>
                    <a:pt x="1642" y="2494"/>
                    <a:pt x="1642" y="2503"/>
                    <a:pt x="1642" y="2518"/>
                  </a:cubicBezTo>
                  <a:cubicBezTo>
                    <a:pt x="1642" y="2533"/>
                    <a:pt x="1633" y="2538"/>
                    <a:pt x="1633" y="2552"/>
                  </a:cubicBezTo>
                  <a:cubicBezTo>
                    <a:pt x="1633" y="2577"/>
                    <a:pt x="1671" y="2596"/>
                    <a:pt x="1691" y="2610"/>
                  </a:cubicBezTo>
                  <a:lnTo>
                    <a:pt x="1691" y="2610"/>
                  </a:lnTo>
                  <a:cubicBezTo>
                    <a:pt x="1686" y="2635"/>
                    <a:pt x="1681" y="2640"/>
                    <a:pt x="1671" y="2659"/>
                  </a:cubicBezTo>
                  <a:cubicBezTo>
                    <a:pt x="1661" y="2679"/>
                    <a:pt x="1647" y="2684"/>
                    <a:pt x="1637" y="2698"/>
                  </a:cubicBezTo>
                  <a:cubicBezTo>
                    <a:pt x="1633" y="2703"/>
                    <a:pt x="1628" y="2703"/>
                    <a:pt x="1628" y="2713"/>
                  </a:cubicBezTo>
                  <a:cubicBezTo>
                    <a:pt x="1628" y="2747"/>
                    <a:pt x="1642" y="2762"/>
                    <a:pt x="1642" y="2795"/>
                  </a:cubicBezTo>
                  <a:cubicBezTo>
                    <a:pt x="1642" y="2810"/>
                    <a:pt x="1642" y="2820"/>
                    <a:pt x="1637" y="2834"/>
                  </a:cubicBezTo>
                  <a:cubicBezTo>
                    <a:pt x="1637" y="2840"/>
                    <a:pt x="1628" y="2840"/>
                    <a:pt x="1623" y="2845"/>
                  </a:cubicBezTo>
                  <a:cubicBezTo>
                    <a:pt x="1603" y="2864"/>
                    <a:pt x="1589" y="2869"/>
                    <a:pt x="1564" y="2883"/>
                  </a:cubicBezTo>
                  <a:cubicBezTo>
                    <a:pt x="1535" y="2898"/>
                    <a:pt x="1520" y="2912"/>
                    <a:pt x="1486" y="2917"/>
                  </a:cubicBezTo>
                  <a:cubicBezTo>
                    <a:pt x="1506" y="3010"/>
                    <a:pt x="1506" y="3010"/>
                    <a:pt x="1506" y="3010"/>
                  </a:cubicBezTo>
                  <a:cubicBezTo>
                    <a:pt x="1496" y="3044"/>
                    <a:pt x="1496" y="3063"/>
                    <a:pt x="1491" y="3102"/>
                  </a:cubicBezTo>
                  <a:cubicBezTo>
                    <a:pt x="1462" y="3102"/>
                    <a:pt x="1462" y="3102"/>
                    <a:pt x="1462" y="3102"/>
                  </a:cubicBezTo>
                  <a:cubicBezTo>
                    <a:pt x="1428" y="3102"/>
                    <a:pt x="1413" y="3083"/>
                    <a:pt x="1384" y="3068"/>
                  </a:cubicBezTo>
                  <a:cubicBezTo>
                    <a:pt x="1355" y="3054"/>
                    <a:pt x="1330" y="3054"/>
                    <a:pt x="1296" y="3039"/>
                  </a:cubicBezTo>
                  <a:cubicBezTo>
                    <a:pt x="1282" y="3034"/>
                    <a:pt x="1277" y="3025"/>
                    <a:pt x="1267" y="3025"/>
                  </a:cubicBezTo>
                  <a:cubicBezTo>
                    <a:pt x="1243" y="3025"/>
                    <a:pt x="1238" y="3054"/>
                    <a:pt x="1233" y="3073"/>
                  </a:cubicBezTo>
                  <a:cubicBezTo>
                    <a:pt x="1218" y="3102"/>
                    <a:pt x="1218" y="3132"/>
                    <a:pt x="1204" y="3156"/>
                  </a:cubicBezTo>
                  <a:lnTo>
                    <a:pt x="1204" y="3156"/>
                  </a:lnTo>
                  <a:cubicBezTo>
                    <a:pt x="1169" y="3151"/>
                    <a:pt x="1130" y="3161"/>
                    <a:pt x="1102" y="3141"/>
                  </a:cubicBezTo>
                  <a:cubicBezTo>
                    <a:pt x="1091" y="3137"/>
                    <a:pt x="1087" y="3127"/>
                    <a:pt x="1077" y="3117"/>
                  </a:cubicBezTo>
                  <a:cubicBezTo>
                    <a:pt x="1043" y="3083"/>
                    <a:pt x="1019" y="3058"/>
                    <a:pt x="1014" y="3015"/>
                  </a:cubicBezTo>
                  <a:cubicBezTo>
                    <a:pt x="1009" y="2966"/>
                    <a:pt x="999" y="2932"/>
                    <a:pt x="980" y="2883"/>
                  </a:cubicBezTo>
                  <a:cubicBezTo>
                    <a:pt x="975" y="2864"/>
                    <a:pt x="975" y="2849"/>
                    <a:pt x="965" y="2825"/>
                  </a:cubicBezTo>
                  <a:cubicBezTo>
                    <a:pt x="950" y="2781"/>
                    <a:pt x="921" y="2762"/>
                    <a:pt x="887" y="2732"/>
                  </a:cubicBezTo>
                  <a:cubicBezTo>
                    <a:pt x="878" y="2723"/>
                    <a:pt x="873" y="2713"/>
                    <a:pt x="863" y="2703"/>
                  </a:cubicBezTo>
                  <a:cubicBezTo>
                    <a:pt x="858" y="2703"/>
                    <a:pt x="853" y="2703"/>
                    <a:pt x="848" y="2703"/>
                  </a:cubicBezTo>
                  <a:cubicBezTo>
                    <a:pt x="819" y="2688"/>
                    <a:pt x="809" y="2674"/>
                    <a:pt x="785" y="2659"/>
                  </a:cubicBezTo>
                  <a:cubicBezTo>
                    <a:pt x="741" y="2630"/>
                    <a:pt x="707" y="2621"/>
                    <a:pt x="668" y="2581"/>
                  </a:cubicBezTo>
                  <a:cubicBezTo>
                    <a:pt x="653" y="2567"/>
                    <a:pt x="638" y="2567"/>
                    <a:pt x="624" y="2552"/>
                  </a:cubicBezTo>
                  <a:cubicBezTo>
                    <a:pt x="595" y="2523"/>
                    <a:pt x="595" y="2494"/>
                    <a:pt x="595" y="2450"/>
                  </a:cubicBezTo>
                  <a:cubicBezTo>
                    <a:pt x="595" y="2420"/>
                    <a:pt x="605" y="2401"/>
                    <a:pt x="605" y="2367"/>
                  </a:cubicBezTo>
                  <a:cubicBezTo>
                    <a:pt x="605" y="2353"/>
                    <a:pt x="605" y="2342"/>
                    <a:pt x="605" y="2323"/>
                  </a:cubicBezTo>
                  <a:cubicBezTo>
                    <a:pt x="610" y="2289"/>
                    <a:pt x="624" y="2275"/>
                    <a:pt x="624" y="2240"/>
                  </a:cubicBezTo>
                  <a:cubicBezTo>
                    <a:pt x="624" y="2206"/>
                    <a:pt x="575" y="2206"/>
                    <a:pt x="546" y="2192"/>
                  </a:cubicBezTo>
                  <a:cubicBezTo>
                    <a:pt x="532" y="2187"/>
                    <a:pt x="527" y="2177"/>
                    <a:pt x="517" y="2168"/>
                  </a:cubicBezTo>
                  <a:cubicBezTo>
                    <a:pt x="502" y="2177"/>
                    <a:pt x="492" y="2192"/>
                    <a:pt x="483" y="2206"/>
                  </a:cubicBezTo>
                  <a:cubicBezTo>
                    <a:pt x="478" y="2221"/>
                    <a:pt x="478" y="2240"/>
                    <a:pt x="464" y="2240"/>
                  </a:cubicBezTo>
                  <a:cubicBezTo>
                    <a:pt x="429" y="2240"/>
                    <a:pt x="420" y="2206"/>
                    <a:pt x="415" y="2177"/>
                  </a:cubicBezTo>
                  <a:cubicBezTo>
                    <a:pt x="405" y="2133"/>
                    <a:pt x="395" y="2109"/>
                    <a:pt x="376" y="2070"/>
                  </a:cubicBezTo>
                  <a:cubicBezTo>
                    <a:pt x="356" y="2036"/>
                    <a:pt x="342" y="2016"/>
                    <a:pt x="327" y="1983"/>
                  </a:cubicBezTo>
                  <a:cubicBezTo>
                    <a:pt x="312" y="1944"/>
                    <a:pt x="307" y="1904"/>
                    <a:pt x="264" y="1885"/>
                  </a:cubicBezTo>
                  <a:cubicBezTo>
                    <a:pt x="249" y="1880"/>
                    <a:pt x="240" y="1880"/>
                    <a:pt x="220" y="1870"/>
                  </a:cubicBezTo>
                  <a:cubicBezTo>
                    <a:pt x="147" y="1836"/>
                    <a:pt x="108" y="1802"/>
                    <a:pt x="59" y="1734"/>
                  </a:cubicBezTo>
                  <a:cubicBezTo>
                    <a:pt x="40" y="1704"/>
                    <a:pt x="20" y="1690"/>
                    <a:pt x="11" y="1656"/>
                  </a:cubicBezTo>
                  <a:cubicBezTo>
                    <a:pt x="0" y="1622"/>
                    <a:pt x="6" y="1598"/>
                    <a:pt x="6" y="1558"/>
                  </a:cubicBezTo>
                  <a:cubicBezTo>
                    <a:pt x="6" y="1519"/>
                    <a:pt x="6" y="1500"/>
                    <a:pt x="11" y="1461"/>
                  </a:cubicBezTo>
                  <a:lnTo>
                    <a:pt x="11" y="1461"/>
                  </a:lnTo>
                  <a:cubicBezTo>
                    <a:pt x="11" y="1447"/>
                    <a:pt x="16" y="1437"/>
                    <a:pt x="16" y="1422"/>
                  </a:cubicBezTo>
                  <a:cubicBezTo>
                    <a:pt x="16" y="1398"/>
                    <a:pt x="25" y="1383"/>
                    <a:pt x="30" y="1364"/>
                  </a:cubicBezTo>
                  <a:cubicBezTo>
                    <a:pt x="35" y="1339"/>
                    <a:pt x="30" y="1325"/>
                    <a:pt x="40" y="1300"/>
                  </a:cubicBezTo>
                  <a:cubicBezTo>
                    <a:pt x="64" y="1247"/>
                    <a:pt x="137" y="1247"/>
                    <a:pt x="137" y="1188"/>
                  </a:cubicBezTo>
                  <a:cubicBezTo>
                    <a:pt x="137" y="1110"/>
                    <a:pt x="137" y="1110"/>
                    <a:pt x="137" y="1110"/>
                  </a:cubicBezTo>
                  <a:cubicBezTo>
                    <a:pt x="137" y="1081"/>
                    <a:pt x="161" y="1071"/>
                    <a:pt x="161" y="1042"/>
                  </a:cubicBezTo>
                  <a:cubicBezTo>
                    <a:pt x="161" y="979"/>
                    <a:pt x="88" y="955"/>
                    <a:pt x="88" y="891"/>
                  </a:cubicBezTo>
                  <a:cubicBezTo>
                    <a:pt x="88" y="877"/>
                    <a:pt x="103" y="872"/>
                    <a:pt x="113" y="867"/>
                  </a:cubicBezTo>
                  <a:cubicBezTo>
                    <a:pt x="142" y="853"/>
                    <a:pt x="161" y="842"/>
                    <a:pt x="191" y="838"/>
                  </a:cubicBezTo>
                  <a:cubicBezTo>
                    <a:pt x="244" y="818"/>
                    <a:pt x="279" y="823"/>
                    <a:pt x="327" y="799"/>
                  </a:cubicBezTo>
                  <a:cubicBezTo>
                    <a:pt x="371" y="775"/>
                    <a:pt x="376" y="731"/>
                    <a:pt x="400" y="687"/>
                  </a:cubicBezTo>
                  <a:cubicBezTo>
                    <a:pt x="425" y="638"/>
                    <a:pt x="449" y="609"/>
                    <a:pt x="449" y="550"/>
                  </a:cubicBezTo>
                  <a:cubicBezTo>
                    <a:pt x="449" y="492"/>
                    <a:pt x="410" y="468"/>
                    <a:pt x="366" y="424"/>
                  </a:cubicBezTo>
                  <a:cubicBezTo>
                    <a:pt x="347" y="404"/>
                    <a:pt x="347" y="385"/>
                    <a:pt x="327" y="365"/>
                  </a:cubicBezTo>
                  <a:cubicBezTo>
                    <a:pt x="307" y="346"/>
                    <a:pt x="283" y="346"/>
                    <a:pt x="264" y="326"/>
                  </a:cubicBezTo>
                  <a:cubicBezTo>
                    <a:pt x="254" y="311"/>
                    <a:pt x="259" y="297"/>
                    <a:pt x="249" y="283"/>
                  </a:cubicBezTo>
                  <a:cubicBezTo>
                    <a:pt x="240" y="243"/>
                    <a:pt x="215" y="229"/>
                    <a:pt x="201" y="195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27" name="Freeform 78"/>
            <p:cNvSpPr>
              <a:spLocks noChangeArrowheads="1"/>
            </p:cNvSpPr>
            <p:nvPr/>
          </p:nvSpPr>
          <p:spPr bwMode="auto">
            <a:xfrm>
              <a:off x="9079299" y="5536894"/>
              <a:ext cx="1708148" cy="1148175"/>
            </a:xfrm>
            <a:custGeom>
              <a:avLst/>
              <a:gdLst>
                <a:gd name="T0" fmla="*/ 448 w 2695"/>
                <a:gd name="T1" fmla="*/ 1812 h 1813"/>
                <a:gd name="T2" fmla="*/ 448 w 2695"/>
                <a:gd name="T3" fmla="*/ 1812 h 1813"/>
                <a:gd name="T4" fmla="*/ 2115 w 2695"/>
                <a:gd name="T5" fmla="*/ 1671 h 1813"/>
                <a:gd name="T6" fmla="*/ 2256 w 2695"/>
                <a:gd name="T7" fmla="*/ 1773 h 1813"/>
                <a:gd name="T8" fmla="*/ 2256 w 2695"/>
                <a:gd name="T9" fmla="*/ 1773 h 1813"/>
                <a:gd name="T10" fmla="*/ 2261 w 2695"/>
                <a:gd name="T11" fmla="*/ 1734 h 1813"/>
                <a:gd name="T12" fmla="*/ 2275 w 2695"/>
                <a:gd name="T13" fmla="*/ 1676 h 1813"/>
                <a:gd name="T14" fmla="*/ 2285 w 2695"/>
                <a:gd name="T15" fmla="*/ 1612 h 1813"/>
                <a:gd name="T16" fmla="*/ 2382 w 2695"/>
                <a:gd name="T17" fmla="*/ 1500 h 1813"/>
                <a:gd name="T18" fmla="*/ 2382 w 2695"/>
                <a:gd name="T19" fmla="*/ 1422 h 1813"/>
                <a:gd name="T20" fmla="*/ 2406 w 2695"/>
                <a:gd name="T21" fmla="*/ 1354 h 1813"/>
                <a:gd name="T22" fmla="*/ 2333 w 2695"/>
                <a:gd name="T23" fmla="*/ 1203 h 1813"/>
                <a:gd name="T24" fmla="*/ 2358 w 2695"/>
                <a:gd name="T25" fmla="*/ 1179 h 1813"/>
                <a:gd name="T26" fmla="*/ 2436 w 2695"/>
                <a:gd name="T27" fmla="*/ 1150 h 1813"/>
                <a:gd name="T28" fmla="*/ 2572 w 2695"/>
                <a:gd name="T29" fmla="*/ 1111 h 1813"/>
                <a:gd name="T30" fmla="*/ 2645 w 2695"/>
                <a:gd name="T31" fmla="*/ 999 h 1813"/>
                <a:gd name="T32" fmla="*/ 2694 w 2695"/>
                <a:gd name="T33" fmla="*/ 862 h 1813"/>
                <a:gd name="T34" fmla="*/ 2611 w 2695"/>
                <a:gd name="T35" fmla="*/ 736 h 1813"/>
                <a:gd name="T36" fmla="*/ 2572 w 2695"/>
                <a:gd name="T37" fmla="*/ 677 h 1813"/>
                <a:gd name="T38" fmla="*/ 2509 w 2695"/>
                <a:gd name="T39" fmla="*/ 638 h 1813"/>
                <a:gd name="T40" fmla="*/ 2494 w 2695"/>
                <a:gd name="T41" fmla="*/ 595 h 1813"/>
                <a:gd name="T42" fmla="*/ 2446 w 2695"/>
                <a:gd name="T43" fmla="*/ 507 h 1813"/>
                <a:gd name="T44" fmla="*/ 2446 w 2695"/>
                <a:gd name="T45" fmla="*/ 507 h 1813"/>
                <a:gd name="T46" fmla="*/ 2289 w 2695"/>
                <a:gd name="T47" fmla="*/ 424 h 1813"/>
                <a:gd name="T48" fmla="*/ 2241 w 2695"/>
                <a:gd name="T49" fmla="*/ 380 h 1813"/>
                <a:gd name="T50" fmla="*/ 2206 w 2695"/>
                <a:gd name="T51" fmla="*/ 331 h 1813"/>
                <a:gd name="T52" fmla="*/ 2197 w 2695"/>
                <a:gd name="T53" fmla="*/ 273 h 1813"/>
                <a:gd name="T54" fmla="*/ 2206 w 2695"/>
                <a:gd name="T55" fmla="*/ 205 h 1813"/>
                <a:gd name="T56" fmla="*/ 2202 w 2695"/>
                <a:gd name="T57" fmla="*/ 151 h 1813"/>
                <a:gd name="T58" fmla="*/ 2212 w 2695"/>
                <a:gd name="T59" fmla="*/ 107 h 1813"/>
                <a:gd name="T60" fmla="*/ 2167 w 2695"/>
                <a:gd name="T61" fmla="*/ 0 h 1813"/>
                <a:gd name="T62" fmla="*/ 2167 w 2695"/>
                <a:gd name="T63" fmla="*/ 0 h 1813"/>
                <a:gd name="T64" fmla="*/ 25 w 2695"/>
                <a:gd name="T65" fmla="*/ 170 h 1813"/>
                <a:gd name="T66" fmla="*/ 25 w 2695"/>
                <a:gd name="T67" fmla="*/ 170 h 1813"/>
                <a:gd name="T68" fmla="*/ 44 w 2695"/>
                <a:gd name="T69" fmla="*/ 380 h 1813"/>
                <a:gd name="T70" fmla="*/ 34 w 2695"/>
                <a:gd name="T71" fmla="*/ 458 h 1813"/>
                <a:gd name="T72" fmla="*/ 0 w 2695"/>
                <a:gd name="T73" fmla="*/ 546 h 1813"/>
                <a:gd name="T74" fmla="*/ 54 w 2695"/>
                <a:gd name="T75" fmla="*/ 731 h 1813"/>
                <a:gd name="T76" fmla="*/ 54 w 2695"/>
                <a:gd name="T77" fmla="*/ 731 h 1813"/>
                <a:gd name="T78" fmla="*/ 88 w 2695"/>
                <a:gd name="T79" fmla="*/ 814 h 1813"/>
                <a:gd name="T80" fmla="*/ 127 w 2695"/>
                <a:gd name="T81" fmla="*/ 950 h 1813"/>
                <a:gd name="T82" fmla="*/ 190 w 2695"/>
                <a:gd name="T83" fmla="*/ 1018 h 1813"/>
                <a:gd name="T84" fmla="*/ 239 w 2695"/>
                <a:gd name="T85" fmla="*/ 1111 h 1813"/>
                <a:gd name="T86" fmla="*/ 249 w 2695"/>
                <a:gd name="T87" fmla="*/ 1150 h 1813"/>
                <a:gd name="T88" fmla="*/ 239 w 2695"/>
                <a:gd name="T89" fmla="*/ 1193 h 1813"/>
                <a:gd name="T90" fmla="*/ 278 w 2695"/>
                <a:gd name="T91" fmla="*/ 1262 h 1813"/>
                <a:gd name="T92" fmla="*/ 317 w 2695"/>
                <a:gd name="T93" fmla="*/ 1364 h 1813"/>
                <a:gd name="T94" fmla="*/ 366 w 2695"/>
                <a:gd name="T95" fmla="*/ 1515 h 1813"/>
                <a:gd name="T96" fmla="*/ 399 w 2695"/>
                <a:gd name="T97" fmla="*/ 1637 h 1813"/>
                <a:gd name="T98" fmla="*/ 395 w 2695"/>
                <a:gd name="T99" fmla="*/ 1695 h 1813"/>
                <a:gd name="T100" fmla="*/ 448 w 2695"/>
                <a:gd name="T101" fmla="*/ 1812 h 1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95" h="1813">
                  <a:moveTo>
                    <a:pt x="448" y="1812"/>
                  </a:moveTo>
                  <a:lnTo>
                    <a:pt x="448" y="1812"/>
                  </a:lnTo>
                  <a:cubicBezTo>
                    <a:pt x="1427" y="1764"/>
                    <a:pt x="2115" y="1671"/>
                    <a:pt x="2115" y="1671"/>
                  </a:cubicBezTo>
                  <a:cubicBezTo>
                    <a:pt x="2148" y="1729"/>
                    <a:pt x="2192" y="1744"/>
                    <a:pt x="2256" y="1773"/>
                  </a:cubicBezTo>
                  <a:lnTo>
                    <a:pt x="2256" y="1773"/>
                  </a:lnTo>
                  <a:cubicBezTo>
                    <a:pt x="2256" y="1759"/>
                    <a:pt x="2261" y="1749"/>
                    <a:pt x="2261" y="1734"/>
                  </a:cubicBezTo>
                  <a:cubicBezTo>
                    <a:pt x="2261" y="1710"/>
                    <a:pt x="2270" y="1695"/>
                    <a:pt x="2275" y="1676"/>
                  </a:cubicBezTo>
                  <a:cubicBezTo>
                    <a:pt x="2280" y="1651"/>
                    <a:pt x="2275" y="1637"/>
                    <a:pt x="2285" y="1612"/>
                  </a:cubicBezTo>
                  <a:cubicBezTo>
                    <a:pt x="2309" y="1559"/>
                    <a:pt x="2382" y="1559"/>
                    <a:pt x="2382" y="1500"/>
                  </a:cubicBezTo>
                  <a:cubicBezTo>
                    <a:pt x="2382" y="1422"/>
                    <a:pt x="2382" y="1422"/>
                    <a:pt x="2382" y="1422"/>
                  </a:cubicBezTo>
                  <a:cubicBezTo>
                    <a:pt x="2382" y="1393"/>
                    <a:pt x="2406" y="1383"/>
                    <a:pt x="2406" y="1354"/>
                  </a:cubicBezTo>
                  <a:cubicBezTo>
                    <a:pt x="2406" y="1291"/>
                    <a:pt x="2333" y="1267"/>
                    <a:pt x="2333" y="1203"/>
                  </a:cubicBezTo>
                  <a:cubicBezTo>
                    <a:pt x="2333" y="1189"/>
                    <a:pt x="2348" y="1184"/>
                    <a:pt x="2358" y="1179"/>
                  </a:cubicBezTo>
                  <a:cubicBezTo>
                    <a:pt x="2387" y="1165"/>
                    <a:pt x="2406" y="1154"/>
                    <a:pt x="2436" y="1150"/>
                  </a:cubicBezTo>
                  <a:cubicBezTo>
                    <a:pt x="2489" y="1130"/>
                    <a:pt x="2524" y="1135"/>
                    <a:pt x="2572" y="1111"/>
                  </a:cubicBezTo>
                  <a:cubicBezTo>
                    <a:pt x="2616" y="1087"/>
                    <a:pt x="2621" y="1043"/>
                    <a:pt x="2645" y="999"/>
                  </a:cubicBezTo>
                  <a:cubicBezTo>
                    <a:pt x="2670" y="950"/>
                    <a:pt x="2694" y="921"/>
                    <a:pt x="2694" y="862"/>
                  </a:cubicBezTo>
                  <a:cubicBezTo>
                    <a:pt x="2694" y="804"/>
                    <a:pt x="2655" y="780"/>
                    <a:pt x="2611" y="736"/>
                  </a:cubicBezTo>
                  <a:cubicBezTo>
                    <a:pt x="2592" y="716"/>
                    <a:pt x="2592" y="697"/>
                    <a:pt x="2572" y="677"/>
                  </a:cubicBezTo>
                  <a:cubicBezTo>
                    <a:pt x="2552" y="658"/>
                    <a:pt x="2528" y="658"/>
                    <a:pt x="2509" y="638"/>
                  </a:cubicBezTo>
                  <a:cubicBezTo>
                    <a:pt x="2499" y="623"/>
                    <a:pt x="2504" y="609"/>
                    <a:pt x="2494" y="595"/>
                  </a:cubicBezTo>
                  <a:cubicBezTo>
                    <a:pt x="2485" y="555"/>
                    <a:pt x="2460" y="541"/>
                    <a:pt x="2446" y="507"/>
                  </a:cubicBezTo>
                  <a:lnTo>
                    <a:pt x="2446" y="507"/>
                  </a:lnTo>
                  <a:cubicBezTo>
                    <a:pt x="2406" y="453"/>
                    <a:pt x="2353" y="453"/>
                    <a:pt x="2289" y="424"/>
                  </a:cubicBezTo>
                  <a:cubicBezTo>
                    <a:pt x="2265" y="414"/>
                    <a:pt x="2256" y="399"/>
                    <a:pt x="2241" y="380"/>
                  </a:cubicBezTo>
                  <a:cubicBezTo>
                    <a:pt x="2226" y="360"/>
                    <a:pt x="2212" y="351"/>
                    <a:pt x="2206" y="331"/>
                  </a:cubicBezTo>
                  <a:cubicBezTo>
                    <a:pt x="2197" y="312"/>
                    <a:pt x="2197" y="297"/>
                    <a:pt x="2197" y="273"/>
                  </a:cubicBezTo>
                  <a:cubicBezTo>
                    <a:pt x="2197" y="249"/>
                    <a:pt x="2206" y="229"/>
                    <a:pt x="2206" y="205"/>
                  </a:cubicBezTo>
                  <a:cubicBezTo>
                    <a:pt x="2206" y="185"/>
                    <a:pt x="2202" y="170"/>
                    <a:pt x="2202" y="151"/>
                  </a:cubicBezTo>
                  <a:cubicBezTo>
                    <a:pt x="2202" y="137"/>
                    <a:pt x="2212" y="127"/>
                    <a:pt x="2212" y="107"/>
                  </a:cubicBezTo>
                  <a:cubicBezTo>
                    <a:pt x="2212" y="63"/>
                    <a:pt x="2187" y="34"/>
                    <a:pt x="2167" y="0"/>
                  </a:cubicBezTo>
                  <a:lnTo>
                    <a:pt x="2167" y="0"/>
                  </a:lnTo>
                  <a:cubicBezTo>
                    <a:pt x="1491" y="78"/>
                    <a:pt x="780" y="137"/>
                    <a:pt x="25" y="170"/>
                  </a:cubicBezTo>
                  <a:lnTo>
                    <a:pt x="25" y="170"/>
                  </a:lnTo>
                  <a:cubicBezTo>
                    <a:pt x="34" y="253"/>
                    <a:pt x="44" y="302"/>
                    <a:pt x="44" y="380"/>
                  </a:cubicBezTo>
                  <a:cubicBezTo>
                    <a:pt x="44" y="409"/>
                    <a:pt x="44" y="429"/>
                    <a:pt x="34" y="458"/>
                  </a:cubicBezTo>
                  <a:cubicBezTo>
                    <a:pt x="25" y="492"/>
                    <a:pt x="0" y="512"/>
                    <a:pt x="0" y="546"/>
                  </a:cubicBezTo>
                  <a:cubicBezTo>
                    <a:pt x="0" y="623"/>
                    <a:pt x="49" y="658"/>
                    <a:pt x="54" y="731"/>
                  </a:cubicBezTo>
                  <a:lnTo>
                    <a:pt x="54" y="731"/>
                  </a:lnTo>
                  <a:cubicBezTo>
                    <a:pt x="73" y="760"/>
                    <a:pt x="83" y="780"/>
                    <a:pt x="88" y="814"/>
                  </a:cubicBezTo>
                  <a:cubicBezTo>
                    <a:pt x="93" y="872"/>
                    <a:pt x="93" y="906"/>
                    <a:pt x="127" y="950"/>
                  </a:cubicBezTo>
                  <a:cubicBezTo>
                    <a:pt x="147" y="979"/>
                    <a:pt x="166" y="994"/>
                    <a:pt x="190" y="1018"/>
                  </a:cubicBezTo>
                  <a:cubicBezTo>
                    <a:pt x="214" y="1047"/>
                    <a:pt x="224" y="1071"/>
                    <a:pt x="239" y="1111"/>
                  </a:cubicBezTo>
                  <a:cubicBezTo>
                    <a:pt x="244" y="1126"/>
                    <a:pt x="249" y="1130"/>
                    <a:pt x="249" y="1150"/>
                  </a:cubicBezTo>
                  <a:cubicBezTo>
                    <a:pt x="249" y="1165"/>
                    <a:pt x="239" y="1174"/>
                    <a:pt x="239" y="1193"/>
                  </a:cubicBezTo>
                  <a:cubicBezTo>
                    <a:pt x="239" y="1223"/>
                    <a:pt x="263" y="1232"/>
                    <a:pt x="278" y="1262"/>
                  </a:cubicBezTo>
                  <a:cubicBezTo>
                    <a:pt x="302" y="1296"/>
                    <a:pt x="307" y="1325"/>
                    <a:pt x="317" y="1364"/>
                  </a:cubicBezTo>
                  <a:cubicBezTo>
                    <a:pt x="332" y="1427"/>
                    <a:pt x="361" y="1457"/>
                    <a:pt x="366" y="1515"/>
                  </a:cubicBezTo>
                  <a:cubicBezTo>
                    <a:pt x="371" y="1563"/>
                    <a:pt x="395" y="1588"/>
                    <a:pt x="399" y="1637"/>
                  </a:cubicBezTo>
                  <a:cubicBezTo>
                    <a:pt x="404" y="1661"/>
                    <a:pt x="390" y="1676"/>
                    <a:pt x="395" y="1695"/>
                  </a:cubicBezTo>
                  <a:cubicBezTo>
                    <a:pt x="404" y="1744"/>
                    <a:pt x="443" y="1768"/>
                    <a:pt x="448" y="1812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34" name="Freeform 79"/>
            <p:cNvSpPr>
              <a:spLocks noChangeArrowheads="1"/>
            </p:cNvSpPr>
            <p:nvPr/>
          </p:nvSpPr>
          <p:spPr bwMode="auto">
            <a:xfrm>
              <a:off x="9933374" y="4296305"/>
              <a:ext cx="1492530" cy="1559837"/>
            </a:xfrm>
            <a:custGeom>
              <a:avLst/>
              <a:gdLst>
                <a:gd name="T0" fmla="*/ 1102 w 2354"/>
                <a:gd name="T1" fmla="*/ 2460 h 2461"/>
                <a:gd name="T2" fmla="*/ 2280 w 2354"/>
                <a:gd name="T3" fmla="*/ 2265 h 2461"/>
                <a:gd name="T4" fmla="*/ 2275 w 2354"/>
                <a:gd name="T5" fmla="*/ 2134 h 2461"/>
                <a:gd name="T6" fmla="*/ 2202 w 2354"/>
                <a:gd name="T7" fmla="*/ 1968 h 2461"/>
                <a:gd name="T8" fmla="*/ 2168 w 2354"/>
                <a:gd name="T9" fmla="*/ 1739 h 2461"/>
                <a:gd name="T10" fmla="*/ 2222 w 2354"/>
                <a:gd name="T11" fmla="*/ 1583 h 2461"/>
                <a:gd name="T12" fmla="*/ 2197 w 2354"/>
                <a:gd name="T13" fmla="*/ 1446 h 2461"/>
                <a:gd name="T14" fmla="*/ 2251 w 2354"/>
                <a:gd name="T15" fmla="*/ 1261 h 2461"/>
                <a:gd name="T16" fmla="*/ 2266 w 2354"/>
                <a:gd name="T17" fmla="*/ 1067 h 2461"/>
                <a:gd name="T18" fmla="*/ 2329 w 2354"/>
                <a:gd name="T19" fmla="*/ 901 h 2461"/>
                <a:gd name="T20" fmla="*/ 2349 w 2354"/>
                <a:gd name="T21" fmla="*/ 784 h 2461"/>
                <a:gd name="T22" fmla="*/ 2251 w 2354"/>
                <a:gd name="T23" fmla="*/ 813 h 2461"/>
                <a:gd name="T24" fmla="*/ 2192 w 2354"/>
                <a:gd name="T25" fmla="*/ 965 h 2461"/>
                <a:gd name="T26" fmla="*/ 2129 w 2354"/>
                <a:gd name="T27" fmla="*/ 1042 h 2461"/>
                <a:gd name="T28" fmla="*/ 2022 w 2354"/>
                <a:gd name="T29" fmla="*/ 1120 h 2461"/>
                <a:gd name="T30" fmla="*/ 2066 w 2354"/>
                <a:gd name="T31" fmla="*/ 955 h 2461"/>
                <a:gd name="T32" fmla="*/ 2100 w 2354"/>
                <a:gd name="T33" fmla="*/ 813 h 2461"/>
                <a:gd name="T34" fmla="*/ 2070 w 2354"/>
                <a:gd name="T35" fmla="*/ 721 h 2461"/>
                <a:gd name="T36" fmla="*/ 1988 w 2354"/>
                <a:gd name="T37" fmla="*/ 487 h 2461"/>
                <a:gd name="T38" fmla="*/ 1885 w 2354"/>
                <a:gd name="T39" fmla="*/ 453 h 2461"/>
                <a:gd name="T40" fmla="*/ 1808 w 2354"/>
                <a:gd name="T41" fmla="*/ 399 h 2461"/>
                <a:gd name="T42" fmla="*/ 1462 w 2354"/>
                <a:gd name="T43" fmla="*/ 331 h 2461"/>
                <a:gd name="T44" fmla="*/ 1321 w 2354"/>
                <a:gd name="T45" fmla="*/ 302 h 2461"/>
                <a:gd name="T46" fmla="*/ 1048 w 2354"/>
                <a:gd name="T47" fmla="*/ 253 h 2461"/>
                <a:gd name="T48" fmla="*/ 960 w 2354"/>
                <a:gd name="T49" fmla="*/ 141 h 2461"/>
                <a:gd name="T50" fmla="*/ 736 w 2354"/>
                <a:gd name="T51" fmla="*/ 170 h 2461"/>
                <a:gd name="T52" fmla="*/ 736 w 2354"/>
                <a:gd name="T53" fmla="*/ 34 h 2461"/>
                <a:gd name="T54" fmla="*/ 536 w 2354"/>
                <a:gd name="T55" fmla="*/ 68 h 2461"/>
                <a:gd name="T56" fmla="*/ 298 w 2354"/>
                <a:gd name="T57" fmla="*/ 117 h 2461"/>
                <a:gd name="T58" fmla="*/ 268 w 2354"/>
                <a:gd name="T59" fmla="*/ 141 h 2461"/>
                <a:gd name="T60" fmla="*/ 215 w 2354"/>
                <a:gd name="T61" fmla="*/ 185 h 2461"/>
                <a:gd name="T62" fmla="*/ 191 w 2354"/>
                <a:gd name="T63" fmla="*/ 282 h 2461"/>
                <a:gd name="T64" fmla="*/ 196 w 2354"/>
                <a:gd name="T65" fmla="*/ 516 h 2461"/>
                <a:gd name="T66" fmla="*/ 98 w 2354"/>
                <a:gd name="T67" fmla="*/ 614 h 2461"/>
                <a:gd name="T68" fmla="*/ 93 w 2354"/>
                <a:gd name="T69" fmla="*/ 926 h 2461"/>
                <a:gd name="T70" fmla="*/ 93 w 2354"/>
                <a:gd name="T71" fmla="*/ 1076 h 2461"/>
                <a:gd name="T72" fmla="*/ 88 w 2354"/>
                <a:gd name="T73" fmla="*/ 1213 h 2461"/>
                <a:gd name="T74" fmla="*/ 152 w 2354"/>
                <a:gd name="T75" fmla="*/ 1325 h 2461"/>
                <a:gd name="T76" fmla="*/ 303 w 2354"/>
                <a:gd name="T77" fmla="*/ 1403 h 2461"/>
                <a:gd name="T78" fmla="*/ 464 w 2354"/>
                <a:gd name="T79" fmla="*/ 1505 h 2461"/>
                <a:gd name="T80" fmla="*/ 605 w 2354"/>
                <a:gd name="T81" fmla="*/ 1617 h 2461"/>
                <a:gd name="T82" fmla="*/ 780 w 2354"/>
                <a:gd name="T83" fmla="*/ 1749 h 2461"/>
                <a:gd name="T84" fmla="*/ 823 w 2354"/>
                <a:gd name="T85" fmla="*/ 1953 h 2461"/>
                <a:gd name="T86" fmla="*/ 868 w 2354"/>
                <a:gd name="T87" fmla="*/ 2060 h 2461"/>
                <a:gd name="T88" fmla="*/ 862 w 2354"/>
                <a:gd name="T89" fmla="*/ 2158 h 2461"/>
                <a:gd name="T90" fmla="*/ 862 w 2354"/>
                <a:gd name="T91" fmla="*/ 2284 h 2461"/>
                <a:gd name="T92" fmla="*/ 945 w 2354"/>
                <a:gd name="T93" fmla="*/ 2377 h 2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54" h="2461">
                  <a:moveTo>
                    <a:pt x="1102" y="2460"/>
                  </a:moveTo>
                  <a:lnTo>
                    <a:pt x="1102" y="2460"/>
                  </a:lnTo>
                  <a:cubicBezTo>
                    <a:pt x="2280" y="2265"/>
                    <a:pt x="2280" y="2265"/>
                    <a:pt x="2280" y="2265"/>
                  </a:cubicBezTo>
                  <a:lnTo>
                    <a:pt x="2280" y="2265"/>
                  </a:lnTo>
                  <a:cubicBezTo>
                    <a:pt x="2280" y="2250"/>
                    <a:pt x="2280" y="2250"/>
                    <a:pt x="2280" y="2250"/>
                  </a:cubicBezTo>
                  <a:cubicBezTo>
                    <a:pt x="2280" y="2206"/>
                    <a:pt x="2280" y="2177"/>
                    <a:pt x="2275" y="2134"/>
                  </a:cubicBezTo>
                  <a:cubicBezTo>
                    <a:pt x="2271" y="2075"/>
                    <a:pt x="2227" y="2051"/>
                    <a:pt x="2207" y="1997"/>
                  </a:cubicBezTo>
                  <a:cubicBezTo>
                    <a:pt x="2202" y="1987"/>
                    <a:pt x="2202" y="1977"/>
                    <a:pt x="2202" y="1968"/>
                  </a:cubicBezTo>
                  <a:cubicBezTo>
                    <a:pt x="2197" y="1943"/>
                    <a:pt x="2197" y="1929"/>
                    <a:pt x="2192" y="1904"/>
                  </a:cubicBezTo>
                  <a:cubicBezTo>
                    <a:pt x="2183" y="1841"/>
                    <a:pt x="2168" y="1807"/>
                    <a:pt x="2168" y="1739"/>
                  </a:cubicBezTo>
                  <a:cubicBezTo>
                    <a:pt x="2168" y="1690"/>
                    <a:pt x="2188" y="1666"/>
                    <a:pt x="2207" y="1617"/>
                  </a:cubicBezTo>
                  <a:cubicBezTo>
                    <a:pt x="2212" y="1607"/>
                    <a:pt x="2222" y="1598"/>
                    <a:pt x="2222" y="1583"/>
                  </a:cubicBezTo>
                  <a:cubicBezTo>
                    <a:pt x="2222" y="1559"/>
                    <a:pt x="2217" y="1549"/>
                    <a:pt x="2207" y="1529"/>
                  </a:cubicBezTo>
                  <a:cubicBezTo>
                    <a:pt x="2202" y="1500"/>
                    <a:pt x="2197" y="1476"/>
                    <a:pt x="2197" y="1446"/>
                  </a:cubicBezTo>
                  <a:cubicBezTo>
                    <a:pt x="2197" y="1398"/>
                    <a:pt x="2212" y="1369"/>
                    <a:pt x="2231" y="1320"/>
                  </a:cubicBezTo>
                  <a:cubicBezTo>
                    <a:pt x="2241" y="1300"/>
                    <a:pt x="2251" y="1286"/>
                    <a:pt x="2251" y="1261"/>
                  </a:cubicBezTo>
                  <a:cubicBezTo>
                    <a:pt x="2251" y="1233"/>
                    <a:pt x="2236" y="1218"/>
                    <a:pt x="2236" y="1183"/>
                  </a:cubicBezTo>
                  <a:cubicBezTo>
                    <a:pt x="2236" y="1140"/>
                    <a:pt x="2256" y="1111"/>
                    <a:pt x="2266" y="1067"/>
                  </a:cubicBezTo>
                  <a:cubicBezTo>
                    <a:pt x="2285" y="1013"/>
                    <a:pt x="2290" y="979"/>
                    <a:pt x="2314" y="930"/>
                  </a:cubicBezTo>
                  <a:cubicBezTo>
                    <a:pt x="2319" y="916"/>
                    <a:pt x="2324" y="911"/>
                    <a:pt x="2329" y="901"/>
                  </a:cubicBezTo>
                  <a:cubicBezTo>
                    <a:pt x="2338" y="862"/>
                    <a:pt x="2324" y="838"/>
                    <a:pt x="2334" y="799"/>
                  </a:cubicBezTo>
                  <a:cubicBezTo>
                    <a:pt x="2338" y="794"/>
                    <a:pt x="2343" y="794"/>
                    <a:pt x="2349" y="784"/>
                  </a:cubicBezTo>
                  <a:cubicBezTo>
                    <a:pt x="2353" y="769"/>
                    <a:pt x="2349" y="760"/>
                    <a:pt x="2349" y="741"/>
                  </a:cubicBezTo>
                  <a:cubicBezTo>
                    <a:pt x="2310" y="760"/>
                    <a:pt x="2271" y="769"/>
                    <a:pt x="2251" y="813"/>
                  </a:cubicBezTo>
                  <a:cubicBezTo>
                    <a:pt x="2231" y="857"/>
                    <a:pt x="2236" y="891"/>
                    <a:pt x="2212" y="935"/>
                  </a:cubicBezTo>
                  <a:cubicBezTo>
                    <a:pt x="2207" y="945"/>
                    <a:pt x="2202" y="955"/>
                    <a:pt x="2192" y="965"/>
                  </a:cubicBezTo>
                  <a:cubicBezTo>
                    <a:pt x="2183" y="974"/>
                    <a:pt x="2173" y="974"/>
                    <a:pt x="2163" y="984"/>
                  </a:cubicBezTo>
                  <a:cubicBezTo>
                    <a:pt x="2144" y="1003"/>
                    <a:pt x="2144" y="1023"/>
                    <a:pt x="2129" y="1042"/>
                  </a:cubicBezTo>
                  <a:cubicBezTo>
                    <a:pt x="2095" y="1091"/>
                    <a:pt x="2076" y="1125"/>
                    <a:pt x="2022" y="1150"/>
                  </a:cubicBezTo>
                  <a:cubicBezTo>
                    <a:pt x="2022" y="1120"/>
                    <a:pt x="2022" y="1120"/>
                    <a:pt x="2022" y="1120"/>
                  </a:cubicBezTo>
                  <a:cubicBezTo>
                    <a:pt x="2022" y="1081"/>
                    <a:pt x="2031" y="1057"/>
                    <a:pt x="2046" y="1018"/>
                  </a:cubicBezTo>
                  <a:cubicBezTo>
                    <a:pt x="2051" y="993"/>
                    <a:pt x="2056" y="979"/>
                    <a:pt x="2066" y="955"/>
                  </a:cubicBezTo>
                  <a:cubicBezTo>
                    <a:pt x="2081" y="921"/>
                    <a:pt x="2100" y="901"/>
                    <a:pt x="2100" y="857"/>
                  </a:cubicBezTo>
                  <a:cubicBezTo>
                    <a:pt x="2100" y="813"/>
                    <a:pt x="2100" y="813"/>
                    <a:pt x="2100" y="813"/>
                  </a:cubicBezTo>
                  <a:lnTo>
                    <a:pt x="2100" y="813"/>
                  </a:lnTo>
                  <a:cubicBezTo>
                    <a:pt x="2095" y="784"/>
                    <a:pt x="2086" y="750"/>
                    <a:pt x="2070" y="721"/>
                  </a:cubicBezTo>
                  <a:cubicBezTo>
                    <a:pt x="2061" y="706"/>
                    <a:pt x="2051" y="697"/>
                    <a:pt x="2042" y="677"/>
                  </a:cubicBezTo>
                  <a:cubicBezTo>
                    <a:pt x="2012" y="609"/>
                    <a:pt x="1988" y="565"/>
                    <a:pt x="1988" y="487"/>
                  </a:cubicBezTo>
                  <a:cubicBezTo>
                    <a:pt x="1959" y="482"/>
                    <a:pt x="1940" y="487"/>
                    <a:pt x="1915" y="473"/>
                  </a:cubicBezTo>
                  <a:cubicBezTo>
                    <a:pt x="1900" y="468"/>
                    <a:pt x="1895" y="462"/>
                    <a:pt x="1885" y="453"/>
                  </a:cubicBezTo>
                  <a:cubicBezTo>
                    <a:pt x="1876" y="434"/>
                    <a:pt x="1881" y="419"/>
                    <a:pt x="1866" y="404"/>
                  </a:cubicBezTo>
                  <a:cubicBezTo>
                    <a:pt x="1851" y="390"/>
                    <a:pt x="1832" y="399"/>
                    <a:pt x="1808" y="399"/>
                  </a:cubicBezTo>
                  <a:cubicBezTo>
                    <a:pt x="1779" y="395"/>
                    <a:pt x="1764" y="390"/>
                    <a:pt x="1735" y="385"/>
                  </a:cubicBezTo>
                  <a:cubicBezTo>
                    <a:pt x="1622" y="375"/>
                    <a:pt x="1564" y="355"/>
                    <a:pt x="1462" y="331"/>
                  </a:cubicBezTo>
                  <a:cubicBezTo>
                    <a:pt x="1428" y="321"/>
                    <a:pt x="1413" y="316"/>
                    <a:pt x="1384" y="312"/>
                  </a:cubicBezTo>
                  <a:cubicBezTo>
                    <a:pt x="1360" y="307"/>
                    <a:pt x="1345" y="307"/>
                    <a:pt x="1321" y="302"/>
                  </a:cubicBezTo>
                  <a:cubicBezTo>
                    <a:pt x="1267" y="297"/>
                    <a:pt x="1238" y="288"/>
                    <a:pt x="1184" y="273"/>
                  </a:cubicBezTo>
                  <a:cubicBezTo>
                    <a:pt x="1135" y="263"/>
                    <a:pt x="1102" y="258"/>
                    <a:pt x="1048" y="253"/>
                  </a:cubicBezTo>
                  <a:cubicBezTo>
                    <a:pt x="999" y="244"/>
                    <a:pt x="975" y="190"/>
                    <a:pt x="960" y="141"/>
                  </a:cubicBezTo>
                  <a:lnTo>
                    <a:pt x="960" y="141"/>
                  </a:lnTo>
                  <a:cubicBezTo>
                    <a:pt x="936" y="146"/>
                    <a:pt x="917" y="156"/>
                    <a:pt x="882" y="161"/>
                  </a:cubicBezTo>
                  <a:cubicBezTo>
                    <a:pt x="829" y="170"/>
                    <a:pt x="790" y="146"/>
                    <a:pt x="736" y="170"/>
                  </a:cubicBezTo>
                  <a:cubicBezTo>
                    <a:pt x="736" y="64"/>
                    <a:pt x="736" y="64"/>
                    <a:pt x="736" y="64"/>
                  </a:cubicBezTo>
                  <a:cubicBezTo>
                    <a:pt x="736" y="53"/>
                    <a:pt x="741" y="44"/>
                    <a:pt x="736" y="34"/>
                  </a:cubicBezTo>
                  <a:cubicBezTo>
                    <a:pt x="731" y="20"/>
                    <a:pt x="726" y="14"/>
                    <a:pt x="716" y="0"/>
                  </a:cubicBezTo>
                  <a:cubicBezTo>
                    <a:pt x="653" y="34"/>
                    <a:pt x="605" y="34"/>
                    <a:pt x="536" y="68"/>
                  </a:cubicBezTo>
                  <a:cubicBezTo>
                    <a:pt x="468" y="103"/>
                    <a:pt x="425" y="117"/>
                    <a:pt x="346" y="117"/>
                  </a:cubicBezTo>
                  <a:cubicBezTo>
                    <a:pt x="327" y="117"/>
                    <a:pt x="317" y="117"/>
                    <a:pt x="298" y="117"/>
                  </a:cubicBezTo>
                  <a:lnTo>
                    <a:pt x="298" y="117"/>
                  </a:lnTo>
                  <a:cubicBezTo>
                    <a:pt x="288" y="131"/>
                    <a:pt x="278" y="131"/>
                    <a:pt x="268" y="141"/>
                  </a:cubicBezTo>
                  <a:cubicBezTo>
                    <a:pt x="259" y="151"/>
                    <a:pt x="259" y="166"/>
                    <a:pt x="249" y="170"/>
                  </a:cubicBezTo>
                  <a:cubicBezTo>
                    <a:pt x="234" y="180"/>
                    <a:pt x="224" y="175"/>
                    <a:pt x="215" y="185"/>
                  </a:cubicBezTo>
                  <a:cubicBezTo>
                    <a:pt x="205" y="200"/>
                    <a:pt x="205" y="214"/>
                    <a:pt x="200" y="234"/>
                  </a:cubicBezTo>
                  <a:cubicBezTo>
                    <a:pt x="196" y="253"/>
                    <a:pt x="191" y="263"/>
                    <a:pt x="191" y="282"/>
                  </a:cubicBezTo>
                  <a:cubicBezTo>
                    <a:pt x="191" y="341"/>
                    <a:pt x="210" y="371"/>
                    <a:pt x="210" y="429"/>
                  </a:cubicBezTo>
                  <a:cubicBezTo>
                    <a:pt x="210" y="462"/>
                    <a:pt x="210" y="487"/>
                    <a:pt x="196" y="516"/>
                  </a:cubicBezTo>
                  <a:cubicBezTo>
                    <a:pt x="186" y="541"/>
                    <a:pt x="166" y="541"/>
                    <a:pt x="147" y="556"/>
                  </a:cubicBezTo>
                  <a:cubicBezTo>
                    <a:pt x="127" y="575"/>
                    <a:pt x="118" y="589"/>
                    <a:pt x="98" y="614"/>
                  </a:cubicBezTo>
                  <a:cubicBezTo>
                    <a:pt x="49" y="672"/>
                    <a:pt x="44" y="730"/>
                    <a:pt x="0" y="794"/>
                  </a:cubicBezTo>
                  <a:cubicBezTo>
                    <a:pt x="39" y="838"/>
                    <a:pt x="64" y="872"/>
                    <a:pt x="93" y="926"/>
                  </a:cubicBezTo>
                  <a:cubicBezTo>
                    <a:pt x="113" y="960"/>
                    <a:pt x="127" y="979"/>
                    <a:pt x="127" y="1018"/>
                  </a:cubicBezTo>
                  <a:cubicBezTo>
                    <a:pt x="127" y="1042"/>
                    <a:pt x="103" y="1052"/>
                    <a:pt x="93" y="1076"/>
                  </a:cubicBezTo>
                  <a:cubicBezTo>
                    <a:pt x="83" y="1101"/>
                    <a:pt x="83" y="1115"/>
                    <a:pt x="83" y="1145"/>
                  </a:cubicBezTo>
                  <a:cubicBezTo>
                    <a:pt x="83" y="1169"/>
                    <a:pt x="88" y="1183"/>
                    <a:pt x="88" y="1213"/>
                  </a:cubicBezTo>
                  <a:cubicBezTo>
                    <a:pt x="93" y="1242"/>
                    <a:pt x="88" y="1261"/>
                    <a:pt x="93" y="1286"/>
                  </a:cubicBezTo>
                  <a:cubicBezTo>
                    <a:pt x="98" y="1315"/>
                    <a:pt x="127" y="1315"/>
                    <a:pt x="152" y="1325"/>
                  </a:cubicBezTo>
                  <a:cubicBezTo>
                    <a:pt x="176" y="1335"/>
                    <a:pt x="191" y="1344"/>
                    <a:pt x="215" y="1354"/>
                  </a:cubicBezTo>
                  <a:cubicBezTo>
                    <a:pt x="249" y="1374"/>
                    <a:pt x="264" y="1388"/>
                    <a:pt x="303" y="1403"/>
                  </a:cubicBezTo>
                  <a:cubicBezTo>
                    <a:pt x="346" y="1418"/>
                    <a:pt x="370" y="1418"/>
                    <a:pt x="410" y="1437"/>
                  </a:cubicBezTo>
                  <a:cubicBezTo>
                    <a:pt x="439" y="1451"/>
                    <a:pt x="449" y="1476"/>
                    <a:pt x="464" y="1505"/>
                  </a:cubicBezTo>
                  <a:cubicBezTo>
                    <a:pt x="478" y="1534"/>
                    <a:pt x="502" y="1544"/>
                    <a:pt x="531" y="1559"/>
                  </a:cubicBezTo>
                  <a:cubicBezTo>
                    <a:pt x="561" y="1578"/>
                    <a:pt x="575" y="1598"/>
                    <a:pt x="605" y="1617"/>
                  </a:cubicBezTo>
                  <a:cubicBezTo>
                    <a:pt x="653" y="1642"/>
                    <a:pt x="682" y="1646"/>
                    <a:pt x="726" y="1681"/>
                  </a:cubicBezTo>
                  <a:cubicBezTo>
                    <a:pt x="756" y="1700"/>
                    <a:pt x="765" y="1719"/>
                    <a:pt x="780" y="1749"/>
                  </a:cubicBezTo>
                  <a:cubicBezTo>
                    <a:pt x="795" y="1783"/>
                    <a:pt x="804" y="1807"/>
                    <a:pt x="804" y="1841"/>
                  </a:cubicBezTo>
                  <a:cubicBezTo>
                    <a:pt x="809" y="1885"/>
                    <a:pt x="809" y="1910"/>
                    <a:pt x="823" y="1953"/>
                  </a:cubicBezTo>
                  <a:lnTo>
                    <a:pt x="823" y="1953"/>
                  </a:lnTo>
                  <a:cubicBezTo>
                    <a:pt x="843" y="1987"/>
                    <a:pt x="868" y="2016"/>
                    <a:pt x="868" y="2060"/>
                  </a:cubicBezTo>
                  <a:cubicBezTo>
                    <a:pt x="868" y="2080"/>
                    <a:pt x="858" y="2090"/>
                    <a:pt x="858" y="2104"/>
                  </a:cubicBezTo>
                  <a:cubicBezTo>
                    <a:pt x="858" y="2123"/>
                    <a:pt x="862" y="2138"/>
                    <a:pt x="862" y="2158"/>
                  </a:cubicBezTo>
                  <a:cubicBezTo>
                    <a:pt x="862" y="2182"/>
                    <a:pt x="853" y="2202"/>
                    <a:pt x="853" y="2226"/>
                  </a:cubicBezTo>
                  <a:cubicBezTo>
                    <a:pt x="853" y="2250"/>
                    <a:pt x="853" y="2265"/>
                    <a:pt x="862" y="2284"/>
                  </a:cubicBezTo>
                  <a:cubicBezTo>
                    <a:pt x="868" y="2304"/>
                    <a:pt x="882" y="2313"/>
                    <a:pt x="897" y="2333"/>
                  </a:cubicBezTo>
                  <a:cubicBezTo>
                    <a:pt x="912" y="2352"/>
                    <a:pt x="921" y="2367"/>
                    <a:pt x="945" y="2377"/>
                  </a:cubicBezTo>
                  <a:cubicBezTo>
                    <a:pt x="1009" y="2406"/>
                    <a:pt x="1062" y="2406"/>
                    <a:pt x="1102" y="2460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35" name="Freeform 80"/>
            <p:cNvSpPr>
              <a:spLocks noChangeArrowheads="1"/>
            </p:cNvSpPr>
            <p:nvPr/>
          </p:nvSpPr>
          <p:spPr bwMode="auto">
            <a:xfrm>
              <a:off x="10543827" y="3792228"/>
              <a:ext cx="2172989" cy="2136725"/>
            </a:xfrm>
            <a:custGeom>
              <a:avLst/>
              <a:gdLst>
                <a:gd name="T0" fmla="*/ 390 w 3425"/>
                <a:gd name="T1" fmla="*/ 176 h 3367"/>
                <a:gd name="T2" fmla="*/ 468 w 3425"/>
                <a:gd name="T3" fmla="*/ 20 h 3367"/>
                <a:gd name="T4" fmla="*/ 312 w 3425"/>
                <a:gd name="T5" fmla="*/ 166 h 3367"/>
                <a:gd name="T6" fmla="*/ 78 w 3425"/>
                <a:gd name="T7" fmla="*/ 916 h 3367"/>
                <a:gd name="T8" fmla="*/ 273 w 3425"/>
                <a:gd name="T9" fmla="*/ 784 h 3367"/>
                <a:gd name="T10" fmla="*/ 487 w 3425"/>
                <a:gd name="T11" fmla="*/ 585 h 3367"/>
                <a:gd name="T12" fmla="*/ 789 w 3425"/>
                <a:gd name="T13" fmla="*/ 346 h 3367"/>
                <a:gd name="T14" fmla="*/ 886 w 3425"/>
                <a:gd name="T15" fmla="*/ 375 h 3367"/>
                <a:gd name="T16" fmla="*/ 716 w 3425"/>
                <a:gd name="T17" fmla="*/ 643 h 3367"/>
                <a:gd name="T18" fmla="*/ 853 w 3425"/>
                <a:gd name="T19" fmla="*/ 643 h 3367"/>
                <a:gd name="T20" fmla="*/ 1262 w 3425"/>
                <a:gd name="T21" fmla="*/ 794 h 3367"/>
                <a:gd name="T22" fmla="*/ 1539 w 3425"/>
                <a:gd name="T23" fmla="*/ 711 h 3367"/>
                <a:gd name="T24" fmla="*/ 1963 w 3425"/>
                <a:gd name="T25" fmla="*/ 516 h 3367"/>
                <a:gd name="T26" fmla="*/ 2007 w 3425"/>
                <a:gd name="T27" fmla="*/ 697 h 3367"/>
                <a:gd name="T28" fmla="*/ 2275 w 3425"/>
                <a:gd name="T29" fmla="*/ 672 h 3367"/>
                <a:gd name="T30" fmla="*/ 2436 w 3425"/>
                <a:gd name="T31" fmla="*/ 808 h 3367"/>
                <a:gd name="T32" fmla="*/ 2226 w 3425"/>
                <a:gd name="T33" fmla="*/ 838 h 3367"/>
                <a:gd name="T34" fmla="*/ 2124 w 3425"/>
                <a:gd name="T35" fmla="*/ 911 h 3367"/>
                <a:gd name="T36" fmla="*/ 1885 w 3425"/>
                <a:gd name="T37" fmla="*/ 886 h 3367"/>
                <a:gd name="T38" fmla="*/ 1700 w 3425"/>
                <a:gd name="T39" fmla="*/ 1047 h 3367"/>
                <a:gd name="T40" fmla="*/ 1515 w 3425"/>
                <a:gd name="T41" fmla="*/ 1247 h 3367"/>
                <a:gd name="T42" fmla="*/ 1496 w 3425"/>
                <a:gd name="T43" fmla="*/ 1135 h 3367"/>
                <a:gd name="T44" fmla="*/ 1320 w 3425"/>
                <a:gd name="T45" fmla="*/ 1110 h 3367"/>
                <a:gd name="T46" fmla="*/ 1184 w 3425"/>
                <a:gd name="T47" fmla="*/ 1481 h 3367"/>
                <a:gd name="T48" fmla="*/ 1110 w 3425"/>
                <a:gd name="T49" fmla="*/ 1515 h 3367"/>
                <a:gd name="T50" fmla="*/ 925 w 3425"/>
                <a:gd name="T51" fmla="*/ 1247 h 3367"/>
                <a:gd name="T52" fmla="*/ 502 w 3425"/>
                <a:gd name="T53" fmla="*/ 1125 h 3367"/>
                <a:gd name="T54" fmla="*/ 88 w 3425"/>
                <a:gd name="T55" fmla="*/ 1047 h 3367"/>
                <a:gd name="T56" fmla="*/ 2586 w 3425"/>
                <a:gd name="T57" fmla="*/ 3210 h 3367"/>
                <a:gd name="T58" fmla="*/ 3122 w 3425"/>
                <a:gd name="T59" fmla="*/ 3132 h 3367"/>
                <a:gd name="T60" fmla="*/ 3215 w 3425"/>
                <a:gd name="T61" fmla="*/ 2932 h 3367"/>
                <a:gd name="T62" fmla="*/ 3273 w 3425"/>
                <a:gd name="T63" fmla="*/ 2689 h 3367"/>
                <a:gd name="T64" fmla="*/ 3405 w 3425"/>
                <a:gd name="T65" fmla="*/ 2494 h 3367"/>
                <a:gd name="T66" fmla="*/ 3356 w 3425"/>
                <a:gd name="T67" fmla="*/ 2231 h 3367"/>
                <a:gd name="T68" fmla="*/ 3161 w 3425"/>
                <a:gd name="T69" fmla="*/ 1846 h 3367"/>
                <a:gd name="T70" fmla="*/ 3006 w 3425"/>
                <a:gd name="T71" fmla="*/ 1861 h 3367"/>
                <a:gd name="T72" fmla="*/ 2859 w 3425"/>
                <a:gd name="T73" fmla="*/ 2085 h 3367"/>
                <a:gd name="T74" fmla="*/ 2743 w 3425"/>
                <a:gd name="T75" fmla="*/ 2080 h 3367"/>
                <a:gd name="T76" fmla="*/ 2791 w 3425"/>
                <a:gd name="T77" fmla="*/ 1900 h 3367"/>
                <a:gd name="T78" fmla="*/ 2884 w 3425"/>
                <a:gd name="T79" fmla="*/ 1539 h 3367"/>
                <a:gd name="T80" fmla="*/ 2781 w 3425"/>
                <a:gd name="T81" fmla="*/ 1320 h 3367"/>
                <a:gd name="T82" fmla="*/ 2611 w 3425"/>
                <a:gd name="T83" fmla="*/ 1130 h 3367"/>
                <a:gd name="T84" fmla="*/ 2309 w 3425"/>
                <a:gd name="T85" fmla="*/ 1091 h 3367"/>
                <a:gd name="T86" fmla="*/ 2085 w 3425"/>
                <a:gd name="T87" fmla="*/ 1218 h 3367"/>
                <a:gd name="T88" fmla="*/ 2055 w 3425"/>
                <a:gd name="T89" fmla="*/ 1486 h 3367"/>
                <a:gd name="T90" fmla="*/ 1909 w 3425"/>
                <a:gd name="T91" fmla="*/ 1427 h 3367"/>
                <a:gd name="T92" fmla="*/ 1759 w 3425"/>
                <a:gd name="T93" fmla="*/ 1602 h 3367"/>
                <a:gd name="T94" fmla="*/ 1715 w 3425"/>
                <a:gd name="T95" fmla="*/ 1783 h 3367"/>
                <a:gd name="T96" fmla="*/ 1724 w 3425"/>
                <a:gd name="T97" fmla="*/ 2250 h 3367"/>
                <a:gd name="T98" fmla="*/ 1905 w 3425"/>
                <a:gd name="T99" fmla="*/ 2708 h 3367"/>
                <a:gd name="T100" fmla="*/ 1875 w 3425"/>
                <a:gd name="T101" fmla="*/ 3030 h 3367"/>
                <a:gd name="T102" fmla="*/ 1768 w 3425"/>
                <a:gd name="T103" fmla="*/ 3337 h 3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425" h="3367">
                  <a:moveTo>
                    <a:pt x="312" y="166"/>
                  </a:moveTo>
                  <a:lnTo>
                    <a:pt x="312" y="166"/>
                  </a:lnTo>
                  <a:cubicBezTo>
                    <a:pt x="336" y="171"/>
                    <a:pt x="356" y="181"/>
                    <a:pt x="366" y="205"/>
                  </a:cubicBezTo>
                  <a:cubicBezTo>
                    <a:pt x="370" y="190"/>
                    <a:pt x="380" y="185"/>
                    <a:pt x="390" y="176"/>
                  </a:cubicBezTo>
                  <a:cubicBezTo>
                    <a:pt x="400" y="156"/>
                    <a:pt x="409" y="146"/>
                    <a:pt x="424" y="126"/>
                  </a:cubicBezTo>
                  <a:cubicBezTo>
                    <a:pt x="458" y="88"/>
                    <a:pt x="492" y="68"/>
                    <a:pt x="507" y="10"/>
                  </a:cubicBezTo>
                  <a:cubicBezTo>
                    <a:pt x="497" y="10"/>
                    <a:pt x="487" y="0"/>
                    <a:pt x="477" y="5"/>
                  </a:cubicBezTo>
                  <a:cubicBezTo>
                    <a:pt x="473" y="5"/>
                    <a:pt x="473" y="15"/>
                    <a:pt x="468" y="20"/>
                  </a:cubicBezTo>
                  <a:cubicBezTo>
                    <a:pt x="453" y="35"/>
                    <a:pt x="448" y="44"/>
                    <a:pt x="433" y="63"/>
                  </a:cubicBezTo>
                  <a:cubicBezTo>
                    <a:pt x="429" y="68"/>
                    <a:pt x="424" y="63"/>
                    <a:pt x="419" y="68"/>
                  </a:cubicBezTo>
                  <a:cubicBezTo>
                    <a:pt x="414" y="73"/>
                    <a:pt x="414" y="78"/>
                    <a:pt x="409" y="83"/>
                  </a:cubicBezTo>
                  <a:cubicBezTo>
                    <a:pt x="375" y="117"/>
                    <a:pt x="341" y="126"/>
                    <a:pt x="312" y="166"/>
                  </a:cubicBezTo>
                  <a:close/>
                  <a:moveTo>
                    <a:pt x="0" y="935"/>
                  </a:moveTo>
                  <a:lnTo>
                    <a:pt x="0" y="935"/>
                  </a:lnTo>
                  <a:cubicBezTo>
                    <a:pt x="15" y="930"/>
                    <a:pt x="29" y="925"/>
                    <a:pt x="49" y="921"/>
                  </a:cubicBezTo>
                  <a:cubicBezTo>
                    <a:pt x="59" y="921"/>
                    <a:pt x="68" y="921"/>
                    <a:pt x="78" y="916"/>
                  </a:cubicBezTo>
                  <a:cubicBezTo>
                    <a:pt x="98" y="911"/>
                    <a:pt x="107" y="897"/>
                    <a:pt x="122" y="877"/>
                  </a:cubicBezTo>
                  <a:cubicBezTo>
                    <a:pt x="146" y="853"/>
                    <a:pt x="161" y="833"/>
                    <a:pt x="185" y="808"/>
                  </a:cubicBezTo>
                  <a:cubicBezTo>
                    <a:pt x="195" y="799"/>
                    <a:pt x="200" y="789"/>
                    <a:pt x="209" y="784"/>
                  </a:cubicBezTo>
                  <a:cubicBezTo>
                    <a:pt x="234" y="775"/>
                    <a:pt x="248" y="789"/>
                    <a:pt x="273" y="784"/>
                  </a:cubicBezTo>
                  <a:cubicBezTo>
                    <a:pt x="312" y="775"/>
                    <a:pt x="322" y="745"/>
                    <a:pt x="341" y="711"/>
                  </a:cubicBezTo>
                  <a:cubicBezTo>
                    <a:pt x="366" y="653"/>
                    <a:pt x="429" y="662"/>
                    <a:pt x="468" y="614"/>
                  </a:cubicBezTo>
                  <a:cubicBezTo>
                    <a:pt x="468" y="609"/>
                    <a:pt x="468" y="599"/>
                    <a:pt x="473" y="594"/>
                  </a:cubicBezTo>
                  <a:cubicBezTo>
                    <a:pt x="473" y="590"/>
                    <a:pt x="482" y="590"/>
                    <a:pt x="487" y="585"/>
                  </a:cubicBezTo>
                  <a:cubicBezTo>
                    <a:pt x="512" y="551"/>
                    <a:pt x="521" y="521"/>
                    <a:pt x="555" y="497"/>
                  </a:cubicBezTo>
                  <a:cubicBezTo>
                    <a:pt x="570" y="487"/>
                    <a:pt x="575" y="482"/>
                    <a:pt x="590" y="477"/>
                  </a:cubicBezTo>
                  <a:cubicBezTo>
                    <a:pt x="643" y="433"/>
                    <a:pt x="662" y="394"/>
                    <a:pt x="726" y="366"/>
                  </a:cubicBezTo>
                  <a:cubicBezTo>
                    <a:pt x="750" y="356"/>
                    <a:pt x="765" y="356"/>
                    <a:pt x="789" y="346"/>
                  </a:cubicBezTo>
                  <a:cubicBezTo>
                    <a:pt x="819" y="341"/>
                    <a:pt x="833" y="331"/>
                    <a:pt x="862" y="322"/>
                  </a:cubicBezTo>
                  <a:cubicBezTo>
                    <a:pt x="867" y="322"/>
                    <a:pt x="872" y="312"/>
                    <a:pt x="877" y="312"/>
                  </a:cubicBezTo>
                  <a:cubicBezTo>
                    <a:pt x="906" y="312"/>
                    <a:pt x="906" y="312"/>
                    <a:pt x="906" y="312"/>
                  </a:cubicBezTo>
                  <a:cubicBezTo>
                    <a:pt x="906" y="341"/>
                    <a:pt x="896" y="351"/>
                    <a:pt x="886" y="375"/>
                  </a:cubicBezTo>
                  <a:cubicBezTo>
                    <a:pt x="872" y="394"/>
                    <a:pt x="872" y="414"/>
                    <a:pt x="858" y="433"/>
                  </a:cubicBezTo>
                  <a:cubicBezTo>
                    <a:pt x="833" y="463"/>
                    <a:pt x="819" y="477"/>
                    <a:pt x="784" y="497"/>
                  </a:cubicBezTo>
                  <a:cubicBezTo>
                    <a:pt x="765" y="502"/>
                    <a:pt x="745" y="502"/>
                    <a:pt x="740" y="521"/>
                  </a:cubicBezTo>
                  <a:cubicBezTo>
                    <a:pt x="716" y="560"/>
                    <a:pt x="716" y="594"/>
                    <a:pt x="716" y="643"/>
                  </a:cubicBezTo>
                  <a:cubicBezTo>
                    <a:pt x="716" y="657"/>
                    <a:pt x="711" y="667"/>
                    <a:pt x="716" y="687"/>
                  </a:cubicBezTo>
                  <a:cubicBezTo>
                    <a:pt x="721" y="687"/>
                    <a:pt x="726" y="687"/>
                    <a:pt x="731" y="687"/>
                  </a:cubicBezTo>
                  <a:cubicBezTo>
                    <a:pt x="765" y="672"/>
                    <a:pt x="775" y="633"/>
                    <a:pt x="814" y="633"/>
                  </a:cubicBezTo>
                  <a:cubicBezTo>
                    <a:pt x="828" y="633"/>
                    <a:pt x="838" y="638"/>
                    <a:pt x="853" y="643"/>
                  </a:cubicBezTo>
                  <a:cubicBezTo>
                    <a:pt x="921" y="648"/>
                    <a:pt x="960" y="657"/>
                    <a:pt x="1018" y="697"/>
                  </a:cubicBezTo>
                  <a:cubicBezTo>
                    <a:pt x="1032" y="706"/>
                    <a:pt x="1043" y="716"/>
                    <a:pt x="1057" y="731"/>
                  </a:cubicBezTo>
                  <a:cubicBezTo>
                    <a:pt x="1096" y="775"/>
                    <a:pt x="1126" y="803"/>
                    <a:pt x="1189" y="814"/>
                  </a:cubicBezTo>
                  <a:cubicBezTo>
                    <a:pt x="1262" y="794"/>
                    <a:pt x="1262" y="794"/>
                    <a:pt x="1262" y="794"/>
                  </a:cubicBezTo>
                  <a:cubicBezTo>
                    <a:pt x="1389" y="828"/>
                    <a:pt x="1389" y="828"/>
                    <a:pt x="1389" y="828"/>
                  </a:cubicBezTo>
                  <a:cubicBezTo>
                    <a:pt x="1413" y="823"/>
                    <a:pt x="1422" y="808"/>
                    <a:pt x="1442" y="799"/>
                  </a:cubicBezTo>
                  <a:cubicBezTo>
                    <a:pt x="1466" y="789"/>
                    <a:pt x="1486" y="779"/>
                    <a:pt x="1505" y="760"/>
                  </a:cubicBezTo>
                  <a:cubicBezTo>
                    <a:pt x="1515" y="740"/>
                    <a:pt x="1520" y="726"/>
                    <a:pt x="1539" y="711"/>
                  </a:cubicBezTo>
                  <a:cubicBezTo>
                    <a:pt x="1583" y="677"/>
                    <a:pt x="1617" y="672"/>
                    <a:pt x="1671" y="653"/>
                  </a:cubicBezTo>
                  <a:cubicBezTo>
                    <a:pt x="1710" y="643"/>
                    <a:pt x="1729" y="618"/>
                    <a:pt x="1763" y="609"/>
                  </a:cubicBezTo>
                  <a:cubicBezTo>
                    <a:pt x="1792" y="599"/>
                    <a:pt x="1812" y="594"/>
                    <a:pt x="1842" y="585"/>
                  </a:cubicBezTo>
                  <a:cubicBezTo>
                    <a:pt x="1890" y="565"/>
                    <a:pt x="1914" y="541"/>
                    <a:pt x="1963" y="516"/>
                  </a:cubicBezTo>
                  <a:cubicBezTo>
                    <a:pt x="1978" y="512"/>
                    <a:pt x="1978" y="512"/>
                    <a:pt x="1978" y="512"/>
                  </a:cubicBezTo>
                  <a:cubicBezTo>
                    <a:pt x="1973" y="531"/>
                    <a:pt x="1963" y="541"/>
                    <a:pt x="1963" y="555"/>
                  </a:cubicBezTo>
                  <a:cubicBezTo>
                    <a:pt x="1963" y="648"/>
                    <a:pt x="1963" y="648"/>
                    <a:pt x="1963" y="648"/>
                  </a:cubicBezTo>
                  <a:cubicBezTo>
                    <a:pt x="1963" y="672"/>
                    <a:pt x="1988" y="682"/>
                    <a:pt x="2007" y="697"/>
                  </a:cubicBezTo>
                  <a:cubicBezTo>
                    <a:pt x="2027" y="716"/>
                    <a:pt x="2041" y="731"/>
                    <a:pt x="2070" y="731"/>
                  </a:cubicBezTo>
                  <a:cubicBezTo>
                    <a:pt x="2119" y="731"/>
                    <a:pt x="2149" y="711"/>
                    <a:pt x="2197" y="697"/>
                  </a:cubicBezTo>
                  <a:cubicBezTo>
                    <a:pt x="2212" y="687"/>
                    <a:pt x="2226" y="687"/>
                    <a:pt x="2240" y="682"/>
                  </a:cubicBezTo>
                  <a:cubicBezTo>
                    <a:pt x="2255" y="677"/>
                    <a:pt x="2260" y="672"/>
                    <a:pt x="2275" y="672"/>
                  </a:cubicBezTo>
                  <a:cubicBezTo>
                    <a:pt x="2279" y="672"/>
                    <a:pt x="2279" y="682"/>
                    <a:pt x="2285" y="687"/>
                  </a:cubicBezTo>
                  <a:cubicBezTo>
                    <a:pt x="2319" y="711"/>
                    <a:pt x="2323" y="740"/>
                    <a:pt x="2358" y="760"/>
                  </a:cubicBezTo>
                  <a:cubicBezTo>
                    <a:pt x="2377" y="770"/>
                    <a:pt x="2387" y="779"/>
                    <a:pt x="2406" y="784"/>
                  </a:cubicBezTo>
                  <a:cubicBezTo>
                    <a:pt x="2416" y="789"/>
                    <a:pt x="2436" y="794"/>
                    <a:pt x="2436" y="808"/>
                  </a:cubicBezTo>
                  <a:cubicBezTo>
                    <a:pt x="2436" y="823"/>
                    <a:pt x="2426" y="833"/>
                    <a:pt x="2416" y="843"/>
                  </a:cubicBezTo>
                  <a:cubicBezTo>
                    <a:pt x="2401" y="858"/>
                    <a:pt x="2397" y="867"/>
                    <a:pt x="2377" y="877"/>
                  </a:cubicBezTo>
                  <a:cubicBezTo>
                    <a:pt x="2270" y="838"/>
                    <a:pt x="2270" y="838"/>
                    <a:pt x="2270" y="838"/>
                  </a:cubicBezTo>
                  <a:cubicBezTo>
                    <a:pt x="2226" y="838"/>
                    <a:pt x="2226" y="838"/>
                    <a:pt x="2226" y="838"/>
                  </a:cubicBezTo>
                  <a:cubicBezTo>
                    <a:pt x="2226" y="858"/>
                    <a:pt x="2221" y="867"/>
                    <a:pt x="2221" y="882"/>
                  </a:cubicBezTo>
                  <a:cubicBezTo>
                    <a:pt x="2216" y="901"/>
                    <a:pt x="2216" y="911"/>
                    <a:pt x="2207" y="930"/>
                  </a:cubicBezTo>
                  <a:cubicBezTo>
                    <a:pt x="2202" y="940"/>
                    <a:pt x="2197" y="955"/>
                    <a:pt x="2187" y="955"/>
                  </a:cubicBezTo>
                  <a:cubicBezTo>
                    <a:pt x="2158" y="955"/>
                    <a:pt x="2153" y="921"/>
                    <a:pt x="2124" y="911"/>
                  </a:cubicBezTo>
                  <a:cubicBezTo>
                    <a:pt x="2104" y="906"/>
                    <a:pt x="2090" y="906"/>
                    <a:pt x="2065" y="901"/>
                  </a:cubicBezTo>
                  <a:cubicBezTo>
                    <a:pt x="2060" y="901"/>
                    <a:pt x="2055" y="897"/>
                    <a:pt x="2051" y="897"/>
                  </a:cubicBezTo>
                  <a:cubicBezTo>
                    <a:pt x="2002" y="886"/>
                    <a:pt x="1978" y="877"/>
                    <a:pt x="1929" y="877"/>
                  </a:cubicBezTo>
                  <a:cubicBezTo>
                    <a:pt x="1909" y="877"/>
                    <a:pt x="1900" y="877"/>
                    <a:pt x="1885" y="886"/>
                  </a:cubicBezTo>
                  <a:cubicBezTo>
                    <a:pt x="1880" y="892"/>
                    <a:pt x="1880" y="897"/>
                    <a:pt x="1875" y="901"/>
                  </a:cubicBezTo>
                  <a:cubicBezTo>
                    <a:pt x="1861" y="916"/>
                    <a:pt x="1851" y="925"/>
                    <a:pt x="1837" y="945"/>
                  </a:cubicBezTo>
                  <a:cubicBezTo>
                    <a:pt x="1803" y="974"/>
                    <a:pt x="1783" y="989"/>
                    <a:pt x="1744" y="1013"/>
                  </a:cubicBezTo>
                  <a:cubicBezTo>
                    <a:pt x="1729" y="1023"/>
                    <a:pt x="1720" y="1038"/>
                    <a:pt x="1700" y="1047"/>
                  </a:cubicBezTo>
                  <a:cubicBezTo>
                    <a:pt x="1690" y="1047"/>
                    <a:pt x="1681" y="1047"/>
                    <a:pt x="1671" y="1047"/>
                  </a:cubicBezTo>
                  <a:cubicBezTo>
                    <a:pt x="1642" y="1062"/>
                    <a:pt x="1627" y="1082"/>
                    <a:pt x="1607" y="1110"/>
                  </a:cubicBezTo>
                  <a:cubicBezTo>
                    <a:pt x="1598" y="1130"/>
                    <a:pt x="1583" y="1135"/>
                    <a:pt x="1574" y="1154"/>
                  </a:cubicBezTo>
                  <a:cubicBezTo>
                    <a:pt x="1549" y="1189"/>
                    <a:pt x="1539" y="1213"/>
                    <a:pt x="1515" y="1247"/>
                  </a:cubicBezTo>
                  <a:cubicBezTo>
                    <a:pt x="1496" y="1237"/>
                    <a:pt x="1481" y="1223"/>
                    <a:pt x="1481" y="1198"/>
                  </a:cubicBezTo>
                  <a:cubicBezTo>
                    <a:pt x="1481" y="1189"/>
                    <a:pt x="1496" y="1179"/>
                    <a:pt x="1500" y="1169"/>
                  </a:cubicBezTo>
                  <a:cubicBezTo>
                    <a:pt x="1505" y="1159"/>
                    <a:pt x="1505" y="1149"/>
                    <a:pt x="1505" y="1140"/>
                  </a:cubicBezTo>
                  <a:cubicBezTo>
                    <a:pt x="1500" y="1140"/>
                    <a:pt x="1500" y="1135"/>
                    <a:pt x="1496" y="1135"/>
                  </a:cubicBezTo>
                  <a:cubicBezTo>
                    <a:pt x="1452" y="1135"/>
                    <a:pt x="1417" y="1159"/>
                    <a:pt x="1408" y="1198"/>
                  </a:cubicBezTo>
                  <a:cubicBezTo>
                    <a:pt x="1393" y="1193"/>
                    <a:pt x="1378" y="1189"/>
                    <a:pt x="1364" y="1179"/>
                  </a:cubicBezTo>
                  <a:cubicBezTo>
                    <a:pt x="1339" y="1165"/>
                    <a:pt x="1344" y="1140"/>
                    <a:pt x="1335" y="1115"/>
                  </a:cubicBezTo>
                  <a:cubicBezTo>
                    <a:pt x="1320" y="1110"/>
                    <a:pt x="1320" y="1110"/>
                    <a:pt x="1320" y="1110"/>
                  </a:cubicBezTo>
                  <a:cubicBezTo>
                    <a:pt x="1311" y="1154"/>
                    <a:pt x="1325" y="1179"/>
                    <a:pt x="1320" y="1218"/>
                  </a:cubicBezTo>
                  <a:cubicBezTo>
                    <a:pt x="1315" y="1237"/>
                    <a:pt x="1306" y="1247"/>
                    <a:pt x="1296" y="1262"/>
                  </a:cubicBezTo>
                  <a:cubicBezTo>
                    <a:pt x="1276" y="1295"/>
                    <a:pt x="1267" y="1320"/>
                    <a:pt x="1247" y="1354"/>
                  </a:cubicBezTo>
                  <a:cubicBezTo>
                    <a:pt x="1223" y="1403"/>
                    <a:pt x="1213" y="1432"/>
                    <a:pt x="1184" y="1481"/>
                  </a:cubicBezTo>
                  <a:cubicBezTo>
                    <a:pt x="1164" y="1515"/>
                    <a:pt x="1140" y="1539"/>
                    <a:pt x="1140" y="1583"/>
                  </a:cubicBezTo>
                  <a:cubicBezTo>
                    <a:pt x="1140" y="1607"/>
                    <a:pt x="1140" y="1607"/>
                    <a:pt x="1140" y="1607"/>
                  </a:cubicBezTo>
                  <a:lnTo>
                    <a:pt x="1140" y="1607"/>
                  </a:lnTo>
                  <a:cubicBezTo>
                    <a:pt x="1135" y="1578"/>
                    <a:pt x="1126" y="1544"/>
                    <a:pt x="1110" y="1515"/>
                  </a:cubicBezTo>
                  <a:cubicBezTo>
                    <a:pt x="1101" y="1500"/>
                    <a:pt x="1091" y="1491"/>
                    <a:pt x="1082" y="1471"/>
                  </a:cubicBezTo>
                  <a:cubicBezTo>
                    <a:pt x="1052" y="1403"/>
                    <a:pt x="1028" y="1359"/>
                    <a:pt x="1028" y="1281"/>
                  </a:cubicBezTo>
                  <a:cubicBezTo>
                    <a:pt x="999" y="1276"/>
                    <a:pt x="980" y="1281"/>
                    <a:pt x="955" y="1267"/>
                  </a:cubicBezTo>
                  <a:cubicBezTo>
                    <a:pt x="940" y="1262"/>
                    <a:pt x="935" y="1256"/>
                    <a:pt x="925" y="1247"/>
                  </a:cubicBezTo>
                  <a:cubicBezTo>
                    <a:pt x="916" y="1228"/>
                    <a:pt x="921" y="1213"/>
                    <a:pt x="906" y="1198"/>
                  </a:cubicBezTo>
                  <a:cubicBezTo>
                    <a:pt x="891" y="1184"/>
                    <a:pt x="872" y="1193"/>
                    <a:pt x="848" y="1193"/>
                  </a:cubicBezTo>
                  <a:cubicBezTo>
                    <a:pt x="819" y="1189"/>
                    <a:pt x="804" y="1184"/>
                    <a:pt x="775" y="1179"/>
                  </a:cubicBezTo>
                  <a:cubicBezTo>
                    <a:pt x="662" y="1169"/>
                    <a:pt x="604" y="1149"/>
                    <a:pt x="502" y="1125"/>
                  </a:cubicBezTo>
                  <a:cubicBezTo>
                    <a:pt x="468" y="1115"/>
                    <a:pt x="453" y="1110"/>
                    <a:pt x="424" y="1106"/>
                  </a:cubicBezTo>
                  <a:cubicBezTo>
                    <a:pt x="400" y="1101"/>
                    <a:pt x="385" y="1101"/>
                    <a:pt x="361" y="1096"/>
                  </a:cubicBezTo>
                  <a:cubicBezTo>
                    <a:pt x="307" y="1091"/>
                    <a:pt x="278" y="1082"/>
                    <a:pt x="224" y="1067"/>
                  </a:cubicBezTo>
                  <a:cubicBezTo>
                    <a:pt x="175" y="1057"/>
                    <a:pt x="142" y="1052"/>
                    <a:pt x="88" y="1047"/>
                  </a:cubicBezTo>
                  <a:cubicBezTo>
                    <a:pt x="39" y="1038"/>
                    <a:pt x="15" y="984"/>
                    <a:pt x="0" y="935"/>
                  </a:cubicBezTo>
                  <a:close/>
                  <a:moveTo>
                    <a:pt x="1744" y="3366"/>
                  </a:moveTo>
                  <a:lnTo>
                    <a:pt x="1744" y="3366"/>
                  </a:lnTo>
                  <a:cubicBezTo>
                    <a:pt x="2586" y="3210"/>
                    <a:pt x="2586" y="3210"/>
                    <a:pt x="2586" y="3210"/>
                  </a:cubicBezTo>
                  <a:cubicBezTo>
                    <a:pt x="2596" y="3263"/>
                    <a:pt x="2596" y="3263"/>
                    <a:pt x="2596" y="3263"/>
                  </a:cubicBezTo>
                  <a:lnTo>
                    <a:pt x="2596" y="3263"/>
                  </a:lnTo>
                  <a:cubicBezTo>
                    <a:pt x="3122" y="3132"/>
                    <a:pt x="3122" y="3132"/>
                    <a:pt x="3122" y="3132"/>
                  </a:cubicBezTo>
                  <a:lnTo>
                    <a:pt x="3122" y="3132"/>
                  </a:lnTo>
                  <a:cubicBezTo>
                    <a:pt x="3122" y="3098"/>
                    <a:pt x="3147" y="3083"/>
                    <a:pt x="3171" y="3059"/>
                  </a:cubicBezTo>
                  <a:cubicBezTo>
                    <a:pt x="3200" y="3025"/>
                    <a:pt x="3210" y="2996"/>
                    <a:pt x="3215" y="2952"/>
                  </a:cubicBezTo>
                  <a:lnTo>
                    <a:pt x="3215" y="2952"/>
                  </a:lnTo>
                  <a:cubicBezTo>
                    <a:pt x="3215" y="2932"/>
                    <a:pt x="3215" y="2932"/>
                    <a:pt x="3215" y="2932"/>
                  </a:cubicBezTo>
                  <a:cubicBezTo>
                    <a:pt x="3239" y="2757"/>
                    <a:pt x="3239" y="2757"/>
                    <a:pt x="3239" y="2757"/>
                  </a:cubicBezTo>
                  <a:cubicBezTo>
                    <a:pt x="3249" y="2732"/>
                    <a:pt x="3259" y="2713"/>
                    <a:pt x="3259" y="2704"/>
                  </a:cubicBezTo>
                  <a:cubicBezTo>
                    <a:pt x="3263" y="2704"/>
                    <a:pt x="3268" y="2693"/>
                    <a:pt x="3268" y="2693"/>
                  </a:cubicBezTo>
                  <a:cubicBezTo>
                    <a:pt x="3268" y="2693"/>
                    <a:pt x="3273" y="2693"/>
                    <a:pt x="3273" y="2689"/>
                  </a:cubicBezTo>
                  <a:lnTo>
                    <a:pt x="3278" y="2684"/>
                  </a:lnTo>
                  <a:cubicBezTo>
                    <a:pt x="3293" y="2679"/>
                    <a:pt x="3322" y="2635"/>
                    <a:pt x="3332" y="2625"/>
                  </a:cubicBezTo>
                  <a:cubicBezTo>
                    <a:pt x="3346" y="2601"/>
                    <a:pt x="3361" y="2577"/>
                    <a:pt x="3381" y="2552"/>
                  </a:cubicBezTo>
                  <a:cubicBezTo>
                    <a:pt x="3390" y="2533"/>
                    <a:pt x="3400" y="2523"/>
                    <a:pt x="3405" y="2494"/>
                  </a:cubicBezTo>
                  <a:cubicBezTo>
                    <a:pt x="3424" y="2450"/>
                    <a:pt x="3424" y="2450"/>
                    <a:pt x="3424" y="2450"/>
                  </a:cubicBezTo>
                  <a:cubicBezTo>
                    <a:pt x="3415" y="2406"/>
                    <a:pt x="3420" y="2386"/>
                    <a:pt x="3424" y="2343"/>
                  </a:cubicBezTo>
                  <a:lnTo>
                    <a:pt x="3424" y="2343"/>
                  </a:lnTo>
                  <a:cubicBezTo>
                    <a:pt x="3381" y="2318"/>
                    <a:pt x="3376" y="2279"/>
                    <a:pt x="3356" y="2231"/>
                  </a:cubicBezTo>
                  <a:cubicBezTo>
                    <a:pt x="3327" y="2168"/>
                    <a:pt x="3312" y="2133"/>
                    <a:pt x="3288" y="2065"/>
                  </a:cubicBezTo>
                  <a:cubicBezTo>
                    <a:pt x="3268" y="2002"/>
                    <a:pt x="3244" y="1972"/>
                    <a:pt x="3210" y="1914"/>
                  </a:cubicBezTo>
                  <a:cubicBezTo>
                    <a:pt x="3196" y="1895"/>
                    <a:pt x="3186" y="1880"/>
                    <a:pt x="3171" y="1861"/>
                  </a:cubicBezTo>
                  <a:cubicBezTo>
                    <a:pt x="3166" y="1856"/>
                    <a:pt x="3166" y="1846"/>
                    <a:pt x="3161" y="1846"/>
                  </a:cubicBezTo>
                  <a:cubicBezTo>
                    <a:pt x="3137" y="1827"/>
                    <a:pt x="3117" y="1831"/>
                    <a:pt x="3088" y="1831"/>
                  </a:cubicBezTo>
                  <a:cubicBezTo>
                    <a:pt x="3069" y="1831"/>
                    <a:pt x="3059" y="1841"/>
                    <a:pt x="3039" y="1846"/>
                  </a:cubicBezTo>
                  <a:cubicBezTo>
                    <a:pt x="3030" y="1846"/>
                    <a:pt x="3020" y="1836"/>
                    <a:pt x="3011" y="1846"/>
                  </a:cubicBezTo>
                  <a:cubicBezTo>
                    <a:pt x="3006" y="1846"/>
                    <a:pt x="3006" y="1856"/>
                    <a:pt x="3006" y="1861"/>
                  </a:cubicBezTo>
                  <a:cubicBezTo>
                    <a:pt x="2991" y="1875"/>
                    <a:pt x="2981" y="1885"/>
                    <a:pt x="2971" y="1905"/>
                  </a:cubicBezTo>
                  <a:cubicBezTo>
                    <a:pt x="2956" y="1934"/>
                    <a:pt x="2942" y="1953"/>
                    <a:pt x="2923" y="1977"/>
                  </a:cubicBezTo>
                  <a:cubicBezTo>
                    <a:pt x="2908" y="2002"/>
                    <a:pt x="2893" y="2016"/>
                    <a:pt x="2884" y="2041"/>
                  </a:cubicBezTo>
                  <a:cubicBezTo>
                    <a:pt x="2874" y="2055"/>
                    <a:pt x="2879" y="2075"/>
                    <a:pt x="2859" y="2085"/>
                  </a:cubicBezTo>
                  <a:cubicBezTo>
                    <a:pt x="2854" y="2085"/>
                    <a:pt x="2850" y="2080"/>
                    <a:pt x="2845" y="2080"/>
                  </a:cubicBezTo>
                  <a:cubicBezTo>
                    <a:pt x="2835" y="2085"/>
                    <a:pt x="2825" y="2085"/>
                    <a:pt x="2815" y="2085"/>
                  </a:cubicBezTo>
                  <a:cubicBezTo>
                    <a:pt x="2791" y="2090"/>
                    <a:pt x="2781" y="2104"/>
                    <a:pt x="2757" y="2114"/>
                  </a:cubicBezTo>
                  <a:cubicBezTo>
                    <a:pt x="2752" y="2099"/>
                    <a:pt x="2747" y="2094"/>
                    <a:pt x="2743" y="2080"/>
                  </a:cubicBezTo>
                  <a:cubicBezTo>
                    <a:pt x="2743" y="2065"/>
                    <a:pt x="2747" y="2055"/>
                    <a:pt x="2743" y="2036"/>
                  </a:cubicBezTo>
                  <a:cubicBezTo>
                    <a:pt x="2743" y="2027"/>
                    <a:pt x="2723" y="2022"/>
                    <a:pt x="2723" y="2007"/>
                  </a:cubicBezTo>
                  <a:cubicBezTo>
                    <a:pt x="2723" y="1987"/>
                    <a:pt x="2743" y="1977"/>
                    <a:pt x="2752" y="1963"/>
                  </a:cubicBezTo>
                  <a:cubicBezTo>
                    <a:pt x="2767" y="1939"/>
                    <a:pt x="2771" y="1924"/>
                    <a:pt x="2791" y="1900"/>
                  </a:cubicBezTo>
                  <a:cubicBezTo>
                    <a:pt x="2811" y="1870"/>
                    <a:pt x="2840" y="1861"/>
                    <a:pt x="2845" y="1827"/>
                  </a:cubicBezTo>
                  <a:cubicBezTo>
                    <a:pt x="2850" y="1797"/>
                    <a:pt x="2845" y="1773"/>
                    <a:pt x="2854" y="1739"/>
                  </a:cubicBezTo>
                  <a:cubicBezTo>
                    <a:pt x="2864" y="1700"/>
                    <a:pt x="2884" y="1676"/>
                    <a:pt x="2884" y="1632"/>
                  </a:cubicBezTo>
                  <a:cubicBezTo>
                    <a:pt x="2884" y="1539"/>
                    <a:pt x="2884" y="1539"/>
                    <a:pt x="2884" y="1539"/>
                  </a:cubicBezTo>
                  <a:cubicBezTo>
                    <a:pt x="2884" y="1500"/>
                    <a:pt x="2869" y="1476"/>
                    <a:pt x="2845" y="1437"/>
                  </a:cubicBezTo>
                  <a:cubicBezTo>
                    <a:pt x="2830" y="1413"/>
                    <a:pt x="2820" y="1398"/>
                    <a:pt x="2806" y="1378"/>
                  </a:cubicBezTo>
                  <a:cubicBezTo>
                    <a:pt x="2791" y="1364"/>
                    <a:pt x="2771" y="1354"/>
                    <a:pt x="2771" y="1335"/>
                  </a:cubicBezTo>
                  <a:cubicBezTo>
                    <a:pt x="2771" y="1330"/>
                    <a:pt x="2781" y="1325"/>
                    <a:pt x="2781" y="1320"/>
                  </a:cubicBezTo>
                  <a:cubicBezTo>
                    <a:pt x="2791" y="1286"/>
                    <a:pt x="2806" y="1271"/>
                    <a:pt x="2806" y="1237"/>
                  </a:cubicBezTo>
                  <a:cubicBezTo>
                    <a:pt x="2806" y="1213"/>
                    <a:pt x="2771" y="1203"/>
                    <a:pt x="2747" y="1198"/>
                  </a:cubicBezTo>
                  <a:cubicBezTo>
                    <a:pt x="2723" y="1193"/>
                    <a:pt x="2708" y="1189"/>
                    <a:pt x="2689" y="1179"/>
                  </a:cubicBezTo>
                  <a:cubicBezTo>
                    <a:pt x="2660" y="1165"/>
                    <a:pt x="2645" y="1140"/>
                    <a:pt x="2611" y="1130"/>
                  </a:cubicBezTo>
                  <a:cubicBezTo>
                    <a:pt x="2586" y="1125"/>
                    <a:pt x="2567" y="1130"/>
                    <a:pt x="2538" y="1130"/>
                  </a:cubicBezTo>
                  <a:cubicBezTo>
                    <a:pt x="2494" y="1135"/>
                    <a:pt x="2475" y="1110"/>
                    <a:pt x="2431" y="1096"/>
                  </a:cubicBezTo>
                  <a:cubicBezTo>
                    <a:pt x="2416" y="1091"/>
                    <a:pt x="2401" y="1091"/>
                    <a:pt x="2387" y="1091"/>
                  </a:cubicBezTo>
                  <a:cubicBezTo>
                    <a:pt x="2358" y="1086"/>
                    <a:pt x="2338" y="1096"/>
                    <a:pt x="2309" y="1091"/>
                  </a:cubicBezTo>
                  <a:cubicBezTo>
                    <a:pt x="2279" y="1086"/>
                    <a:pt x="2275" y="1052"/>
                    <a:pt x="2240" y="1052"/>
                  </a:cubicBezTo>
                  <a:cubicBezTo>
                    <a:pt x="2216" y="1052"/>
                    <a:pt x="2207" y="1062"/>
                    <a:pt x="2182" y="1071"/>
                  </a:cubicBezTo>
                  <a:cubicBezTo>
                    <a:pt x="2158" y="1082"/>
                    <a:pt x="2138" y="1091"/>
                    <a:pt x="2124" y="1110"/>
                  </a:cubicBezTo>
                  <a:cubicBezTo>
                    <a:pt x="2099" y="1149"/>
                    <a:pt x="2104" y="1179"/>
                    <a:pt x="2085" y="1218"/>
                  </a:cubicBezTo>
                  <a:cubicBezTo>
                    <a:pt x="2119" y="1232"/>
                    <a:pt x="2143" y="1232"/>
                    <a:pt x="2173" y="1247"/>
                  </a:cubicBezTo>
                  <a:cubicBezTo>
                    <a:pt x="2143" y="1281"/>
                    <a:pt x="2119" y="1306"/>
                    <a:pt x="2075" y="1315"/>
                  </a:cubicBezTo>
                  <a:cubicBezTo>
                    <a:pt x="2060" y="1330"/>
                    <a:pt x="2055" y="1350"/>
                    <a:pt x="2055" y="1364"/>
                  </a:cubicBezTo>
                  <a:cubicBezTo>
                    <a:pt x="2055" y="1486"/>
                    <a:pt x="2055" y="1486"/>
                    <a:pt x="2055" y="1486"/>
                  </a:cubicBezTo>
                  <a:cubicBezTo>
                    <a:pt x="2055" y="1520"/>
                    <a:pt x="2055" y="1544"/>
                    <a:pt x="2046" y="1578"/>
                  </a:cubicBezTo>
                  <a:cubicBezTo>
                    <a:pt x="2017" y="1574"/>
                    <a:pt x="1988" y="1574"/>
                    <a:pt x="1973" y="1544"/>
                  </a:cubicBezTo>
                  <a:cubicBezTo>
                    <a:pt x="1944" y="1505"/>
                    <a:pt x="1948" y="1476"/>
                    <a:pt x="1948" y="1427"/>
                  </a:cubicBezTo>
                  <a:cubicBezTo>
                    <a:pt x="1909" y="1427"/>
                    <a:pt x="1909" y="1427"/>
                    <a:pt x="1909" y="1427"/>
                  </a:cubicBezTo>
                  <a:cubicBezTo>
                    <a:pt x="1895" y="1427"/>
                    <a:pt x="1890" y="1447"/>
                    <a:pt x="1880" y="1461"/>
                  </a:cubicBezTo>
                  <a:cubicBezTo>
                    <a:pt x="1870" y="1476"/>
                    <a:pt x="1861" y="1486"/>
                    <a:pt x="1856" y="1505"/>
                  </a:cubicBezTo>
                  <a:cubicBezTo>
                    <a:pt x="1837" y="1539"/>
                    <a:pt x="1822" y="1563"/>
                    <a:pt x="1787" y="1588"/>
                  </a:cubicBezTo>
                  <a:cubicBezTo>
                    <a:pt x="1778" y="1593"/>
                    <a:pt x="1763" y="1593"/>
                    <a:pt x="1759" y="1602"/>
                  </a:cubicBezTo>
                  <a:cubicBezTo>
                    <a:pt x="1744" y="1622"/>
                    <a:pt x="1748" y="1641"/>
                    <a:pt x="1744" y="1661"/>
                  </a:cubicBezTo>
                  <a:cubicBezTo>
                    <a:pt x="1739" y="1685"/>
                    <a:pt x="1734" y="1700"/>
                    <a:pt x="1724" y="1724"/>
                  </a:cubicBezTo>
                  <a:cubicBezTo>
                    <a:pt x="1720" y="1739"/>
                    <a:pt x="1705" y="1749"/>
                    <a:pt x="1705" y="1768"/>
                  </a:cubicBezTo>
                  <a:cubicBezTo>
                    <a:pt x="1705" y="1773"/>
                    <a:pt x="1715" y="1778"/>
                    <a:pt x="1715" y="1783"/>
                  </a:cubicBezTo>
                  <a:cubicBezTo>
                    <a:pt x="1720" y="1822"/>
                    <a:pt x="1724" y="1841"/>
                    <a:pt x="1724" y="1875"/>
                  </a:cubicBezTo>
                  <a:cubicBezTo>
                    <a:pt x="1724" y="1948"/>
                    <a:pt x="1724" y="1948"/>
                    <a:pt x="1724" y="1948"/>
                  </a:cubicBezTo>
                  <a:cubicBezTo>
                    <a:pt x="1724" y="2012"/>
                    <a:pt x="1690" y="2046"/>
                    <a:pt x="1690" y="2109"/>
                  </a:cubicBezTo>
                  <a:cubicBezTo>
                    <a:pt x="1690" y="2168"/>
                    <a:pt x="1720" y="2192"/>
                    <a:pt x="1724" y="2250"/>
                  </a:cubicBezTo>
                  <a:cubicBezTo>
                    <a:pt x="1734" y="2314"/>
                    <a:pt x="1729" y="2358"/>
                    <a:pt x="1773" y="2401"/>
                  </a:cubicBezTo>
                  <a:cubicBezTo>
                    <a:pt x="1798" y="2425"/>
                    <a:pt x="1817" y="2436"/>
                    <a:pt x="1842" y="2464"/>
                  </a:cubicBezTo>
                  <a:cubicBezTo>
                    <a:pt x="1880" y="2518"/>
                    <a:pt x="1870" y="2567"/>
                    <a:pt x="1885" y="2630"/>
                  </a:cubicBezTo>
                  <a:cubicBezTo>
                    <a:pt x="1890" y="2660"/>
                    <a:pt x="1905" y="2679"/>
                    <a:pt x="1905" y="2708"/>
                  </a:cubicBezTo>
                  <a:cubicBezTo>
                    <a:pt x="1905" y="2801"/>
                    <a:pt x="1905" y="2801"/>
                    <a:pt x="1905" y="2801"/>
                  </a:cubicBezTo>
                  <a:cubicBezTo>
                    <a:pt x="1905" y="2840"/>
                    <a:pt x="1895" y="2864"/>
                    <a:pt x="1890" y="2908"/>
                  </a:cubicBezTo>
                  <a:cubicBezTo>
                    <a:pt x="1890" y="2928"/>
                    <a:pt x="1895" y="2937"/>
                    <a:pt x="1890" y="2956"/>
                  </a:cubicBezTo>
                  <a:cubicBezTo>
                    <a:pt x="1890" y="2986"/>
                    <a:pt x="1875" y="3000"/>
                    <a:pt x="1875" y="3030"/>
                  </a:cubicBezTo>
                  <a:cubicBezTo>
                    <a:pt x="1870" y="3069"/>
                    <a:pt x="1861" y="3088"/>
                    <a:pt x="1856" y="3122"/>
                  </a:cubicBezTo>
                  <a:cubicBezTo>
                    <a:pt x="1846" y="3146"/>
                    <a:pt x="1851" y="3161"/>
                    <a:pt x="1842" y="3185"/>
                  </a:cubicBezTo>
                  <a:cubicBezTo>
                    <a:pt x="1827" y="3229"/>
                    <a:pt x="1812" y="3254"/>
                    <a:pt x="1787" y="3293"/>
                  </a:cubicBezTo>
                  <a:cubicBezTo>
                    <a:pt x="1783" y="3307"/>
                    <a:pt x="1778" y="3322"/>
                    <a:pt x="1768" y="3337"/>
                  </a:cubicBezTo>
                  <a:cubicBezTo>
                    <a:pt x="1759" y="3346"/>
                    <a:pt x="1754" y="3356"/>
                    <a:pt x="1744" y="3366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36" name="Freeform 81"/>
            <p:cNvSpPr>
              <a:spLocks noChangeArrowheads="1"/>
            </p:cNvSpPr>
            <p:nvPr/>
          </p:nvSpPr>
          <p:spPr bwMode="auto">
            <a:xfrm>
              <a:off x="8751671" y="4763976"/>
              <a:ext cx="358431" cy="1234988"/>
            </a:xfrm>
            <a:custGeom>
              <a:avLst/>
              <a:gdLst>
                <a:gd name="T0" fmla="*/ 0 w 571"/>
                <a:gd name="T1" fmla="*/ 15 h 1950"/>
                <a:gd name="T2" fmla="*/ 0 w 571"/>
                <a:gd name="T3" fmla="*/ 15 h 1950"/>
                <a:gd name="T4" fmla="*/ 409 w 571"/>
                <a:gd name="T5" fmla="*/ 0 h 1950"/>
                <a:gd name="T6" fmla="*/ 409 w 571"/>
                <a:gd name="T7" fmla="*/ 0 h 1950"/>
                <a:gd name="T8" fmla="*/ 419 w 571"/>
                <a:gd name="T9" fmla="*/ 54 h 1950"/>
                <a:gd name="T10" fmla="*/ 399 w 571"/>
                <a:gd name="T11" fmla="*/ 200 h 1950"/>
                <a:gd name="T12" fmla="*/ 526 w 571"/>
                <a:gd name="T13" fmla="*/ 356 h 1950"/>
                <a:gd name="T14" fmla="*/ 570 w 571"/>
                <a:gd name="T15" fmla="*/ 1316 h 1950"/>
                <a:gd name="T16" fmla="*/ 541 w 571"/>
                <a:gd name="T17" fmla="*/ 1388 h 1950"/>
                <a:gd name="T18" fmla="*/ 541 w 571"/>
                <a:gd name="T19" fmla="*/ 1388 h 1950"/>
                <a:gd name="T20" fmla="*/ 560 w 571"/>
                <a:gd name="T21" fmla="*/ 1598 h 1950"/>
                <a:gd name="T22" fmla="*/ 550 w 571"/>
                <a:gd name="T23" fmla="*/ 1676 h 1950"/>
                <a:gd name="T24" fmla="*/ 516 w 571"/>
                <a:gd name="T25" fmla="*/ 1764 h 1950"/>
                <a:gd name="T26" fmla="*/ 570 w 571"/>
                <a:gd name="T27" fmla="*/ 1949 h 1950"/>
                <a:gd name="T28" fmla="*/ 570 w 571"/>
                <a:gd name="T29" fmla="*/ 1949 h 1950"/>
                <a:gd name="T30" fmla="*/ 424 w 571"/>
                <a:gd name="T31" fmla="*/ 1856 h 1950"/>
                <a:gd name="T32" fmla="*/ 360 w 571"/>
                <a:gd name="T33" fmla="*/ 1841 h 1950"/>
                <a:gd name="T34" fmla="*/ 258 w 571"/>
                <a:gd name="T35" fmla="*/ 1813 h 1950"/>
                <a:gd name="T36" fmla="*/ 195 w 571"/>
                <a:gd name="T37" fmla="*/ 1783 h 1950"/>
                <a:gd name="T38" fmla="*/ 146 w 571"/>
                <a:gd name="T39" fmla="*/ 1754 h 1950"/>
                <a:gd name="T40" fmla="*/ 78 w 571"/>
                <a:gd name="T41" fmla="*/ 1764 h 1950"/>
                <a:gd name="T42" fmla="*/ 5 w 571"/>
                <a:gd name="T43" fmla="*/ 1773 h 1950"/>
                <a:gd name="T44" fmla="*/ 0 w 571"/>
                <a:gd name="T45" fmla="*/ 1773 h 1950"/>
                <a:gd name="T46" fmla="*/ 0 w 571"/>
                <a:gd name="T47" fmla="*/ 1773 h 1950"/>
                <a:gd name="T48" fmla="*/ 0 w 571"/>
                <a:gd name="T49" fmla="*/ 15 h 1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1" h="1950">
                  <a:moveTo>
                    <a:pt x="0" y="15"/>
                  </a:moveTo>
                  <a:lnTo>
                    <a:pt x="0" y="15"/>
                  </a:lnTo>
                  <a:cubicBezTo>
                    <a:pt x="136" y="15"/>
                    <a:pt x="273" y="6"/>
                    <a:pt x="409" y="0"/>
                  </a:cubicBezTo>
                  <a:lnTo>
                    <a:pt x="409" y="0"/>
                  </a:lnTo>
                  <a:cubicBezTo>
                    <a:pt x="409" y="20"/>
                    <a:pt x="419" y="34"/>
                    <a:pt x="419" y="54"/>
                  </a:cubicBezTo>
                  <a:cubicBezTo>
                    <a:pt x="419" y="112"/>
                    <a:pt x="399" y="142"/>
                    <a:pt x="399" y="200"/>
                  </a:cubicBezTo>
                  <a:cubicBezTo>
                    <a:pt x="399" y="273"/>
                    <a:pt x="467" y="312"/>
                    <a:pt x="526" y="356"/>
                  </a:cubicBezTo>
                  <a:cubicBezTo>
                    <a:pt x="570" y="1316"/>
                    <a:pt x="570" y="1316"/>
                    <a:pt x="570" y="1316"/>
                  </a:cubicBezTo>
                  <a:cubicBezTo>
                    <a:pt x="550" y="1350"/>
                    <a:pt x="550" y="1350"/>
                    <a:pt x="541" y="1388"/>
                  </a:cubicBezTo>
                  <a:lnTo>
                    <a:pt x="541" y="1388"/>
                  </a:lnTo>
                  <a:cubicBezTo>
                    <a:pt x="550" y="1471"/>
                    <a:pt x="560" y="1520"/>
                    <a:pt x="560" y="1598"/>
                  </a:cubicBezTo>
                  <a:cubicBezTo>
                    <a:pt x="560" y="1627"/>
                    <a:pt x="560" y="1647"/>
                    <a:pt x="550" y="1676"/>
                  </a:cubicBezTo>
                  <a:cubicBezTo>
                    <a:pt x="541" y="1710"/>
                    <a:pt x="516" y="1730"/>
                    <a:pt x="516" y="1764"/>
                  </a:cubicBezTo>
                  <a:cubicBezTo>
                    <a:pt x="516" y="1841"/>
                    <a:pt x="565" y="1876"/>
                    <a:pt x="570" y="1949"/>
                  </a:cubicBezTo>
                  <a:lnTo>
                    <a:pt x="570" y="1949"/>
                  </a:lnTo>
                  <a:cubicBezTo>
                    <a:pt x="511" y="1915"/>
                    <a:pt x="487" y="1885"/>
                    <a:pt x="424" y="1856"/>
                  </a:cubicBezTo>
                  <a:cubicBezTo>
                    <a:pt x="404" y="1846"/>
                    <a:pt x="384" y="1846"/>
                    <a:pt x="360" y="1841"/>
                  </a:cubicBezTo>
                  <a:cubicBezTo>
                    <a:pt x="321" y="1832"/>
                    <a:pt x="297" y="1822"/>
                    <a:pt x="258" y="1813"/>
                  </a:cubicBezTo>
                  <a:cubicBezTo>
                    <a:pt x="234" y="1803"/>
                    <a:pt x="219" y="1798"/>
                    <a:pt x="195" y="1783"/>
                  </a:cubicBezTo>
                  <a:cubicBezTo>
                    <a:pt x="180" y="1769"/>
                    <a:pt x="171" y="1754"/>
                    <a:pt x="146" y="1754"/>
                  </a:cubicBezTo>
                  <a:cubicBezTo>
                    <a:pt x="122" y="1754"/>
                    <a:pt x="107" y="1764"/>
                    <a:pt x="78" y="1764"/>
                  </a:cubicBezTo>
                  <a:cubicBezTo>
                    <a:pt x="49" y="1769"/>
                    <a:pt x="34" y="1769"/>
                    <a:pt x="5" y="1773"/>
                  </a:cubicBezTo>
                  <a:cubicBezTo>
                    <a:pt x="0" y="1773"/>
                    <a:pt x="0" y="1773"/>
                    <a:pt x="0" y="1773"/>
                  </a:cubicBezTo>
                  <a:lnTo>
                    <a:pt x="0" y="1773"/>
                  </a:lnTo>
                  <a:cubicBezTo>
                    <a:pt x="0" y="15"/>
                    <a:pt x="0" y="15"/>
                    <a:pt x="0" y="15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37" name="Freeform 82"/>
            <p:cNvSpPr>
              <a:spLocks noChangeArrowheads="1"/>
            </p:cNvSpPr>
            <p:nvPr/>
          </p:nvSpPr>
          <p:spPr bwMode="auto">
            <a:xfrm>
              <a:off x="8751671" y="3680211"/>
              <a:ext cx="257622" cy="1092166"/>
            </a:xfrm>
            <a:custGeom>
              <a:avLst/>
              <a:gdLst>
                <a:gd name="T0" fmla="*/ 117 w 410"/>
                <a:gd name="T1" fmla="*/ 0 h 1725"/>
                <a:gd name="T2" fmla="*/ 117 w 410"/>
                <a:gd name="T3" fmla="*/ 0 h 1725"/>
                <a:gd name="T4" fmla="*/ 112 w 410"/>
                <a:gd name="T5" fmla="*/ 78 h 1725"/>
                <a:gd name="T6" fmla="*/ 122 w 410"/>
                <a:gd name="T7" fmla="*/ 93 h 1725"/>
                <a:gd name="T8" fmla="*/ 151 w 410"/>
                <a:gd name="T9" fmla="*/ 195 h 1725"/>
                <a:gd name="T10" fmla="*/ 136 w 410"/>
                <a:gd name="T11" fmla="*/ 278 h 1725"/>
                <a:gd name="T12" fmla="*/ 151 w 410"/>
                <a:gd name="T13" fmla="*/ 317 h 1725"/>
                <a:gd name="T14" fmla="*/ 175 w 410"/>
                <a:gd name="T15" fmla="*/ 409 h 1725"/>
                <a:gd name="T16" fmla="*/ 166 w 410"/>
                <a:gd name="T17" fmla="*/ 438 h 1725"/>
                <a:gd name="T18" fmla="*/ 161 w 410"/>
                <a:gd name="T19" fmla="*/ 492 h 1725"/>
                <a:gd name="T20" fmla="*/ 219 w 410"/>
                <a:gd name="T21" fmla="*/ 633 h 1725"/>
                <a:gd name="T22" fmla="*/ 273 w 410"/>
                <a:gd name="T23" fmla="*/ 726 h 1725"/>
                <a:gd name="T24" fmla="*/ 307 w 410"/>
                <a:gd name="T25" fmla="*/ 798 h 1725"/>
                <a:gd name="T26" fmla="*/ 326 w 410"/>
                <a:gd name="T27" fmla="*/ 979 h 1725"/>
                <a:gd name="T28" fmla="*/ 345 w 410"/>
                <a:gd name="T29" fmla="*/ 1086 h 1725"/>
                <a:gd name="T30" fmla="*/ 326 w 410"/>
                <a:gd name="T31" fmla="*/ 1237 h 1725"/>
                <a:gd name="T32" fmla="*/ 341 w 410"/>
                <a:gd name="T33" fmla="*/ 1295 h 1725"/>
                <a:gd name="T34" fmla="*/ 380 w 410"/>
                <a:gd name="T35" fmla="*/ 1475 h 1725"/>
                <a:gd name="T36" fmla="*/ 395 w 410"/>
                <a:gd name="T37" fmla="*/ 1525 h 1725"/>
                <a:gd name="T38" fmla="*/ 409 w 410"/>
                <a:gd name="T39" fmla="*/ 1709 h 1725"/>
                <a:gd name="T40" fmla="*/ 409 w 410"/>
                <a:gd name="T41" fmla="*/ 1709 h 1725"/>
                <a:gd name="T42" fmla="*/ 0 w 410"/>
                <a:gd name="T43" fmla="*/ 1724 h 1725"/>
                <a:gd name="T44" fmla="*/ 0 w 410"/>
                <a:gd name="T45" fmla="*/ 1724 h 1725"/>
                <a:gd name="T46" fmla="*/ 0 w 410"/>
                <a:gd name="T47" fmla="*/ 5 h 1725"/>
                <a:gd name="T48" fmla="*/ 0 w 410"/>
                <a:gd name="T49" fmla="*/ 5 h 1725"/>
                <a:gd name="T50" fmla="*/ 117 w 410"/>
                <a:gd name="T51" fmla="*/ 0 h 1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10" h="1725">
                  <a:moveTo>
                    <a:pt x="117" y="0"/>
                  </a:moveTo>
                  <a:lnTo>
                    <a:pt x="117" y="0"/>
                  </a:lnTo>
                  <a:cubicBezTo>
                    <a:pt x="112" y="29"/>
                    <a:pt x="112" y="49"/>
                    <a:pt x="112" y="78"/>
                  </a:cubicBezTo>
                  <a:cubicBezTo>
                    <a:pt x="112" y="83"/>
                    <a:pt x="117" y="83"/>
                    <a:pt x="122" y="93"/>
                  </a:cubicBezTo>
                  <a:cubicBezTo>
                    <a:pt x="132" y="131"/>
                    <a:pt x="151" y="156"/>
                    <a:pt x="151" y="195"/>
                  </a:cubicBezTo>
                  <a:cubicBezTo>
                    <a:pt x="151" y="229"/>
                    <a:pt x="136" y="248"/>
                    <a:pt x="136" y="278"/>
                  </a:cubicBezTo>
                  <a:cubicBezTo>
                    <a:pt x="136" y="297"/>
                    <a:pt x="146" y="302"/>
                    <a:pt x="151" y="317"/>
                  </a:cubicBezTo>
                  <a:cubicBezTo>
                    <a:pt x="161" y="351"/>
                    <a:pt x="175" y="370"/>
                    <a:pt x="175" y="409"/>
                  </a:cubicBezTo>
                  <a:cubicBezTo>
                    <a:pt x="175" y="419"/>
                    <a:pt x="171" y="424"/>
                    <a:pt x="166" y="438"/>
                  </a:cubicBezTo>
                  <a:cubicBezTo>
                    <a:pt x="161" y="458"/>
                    <a:pt x="161" y="467"/>
                    <a:pt x="161" y="492"/>
                  </a:cubicBezTo>
                  <a:cubicBezTo>
                    <a:pt x="161" y="550"/>
                    <a:pt x="190" y="579"/>
                    <a:pt x="219" y="633"/>
                  </a:cubicBezTo>
                  <a:cubicBezTo>
                    <a:pt x="238" y="667"/>
                    <a:pt x="248" y="692"/>
                    <a:pt x="273" y="726"/>
                  </a:cubicBezTo>
                  <a:cubicBezTo>
                    <a:pt x="287" y="750"/>
                    <a:pt x="297" y="770"/>
                    <a:pt x="307" y="798"/>
                  </a:cubicBezTo>
                  <a:cubicBezTo>
                    <a:pt x="321" y="867"/>
                    <a:pt x="321" y="911"/>
                    <a:pt x="326" y="979"/>
                  </a:cubicBezTo>
                  <a:cubicBezTo>
                    <a:pt x="331" y="1023"/>
                    <a:pt x="345" y="1042"/>
                    <a:pt x="345" y="1086"/>
                  </a:cubicBezTo>
                  <a:cubicBezTo>
                    <a:pt x="345" y="1144"/>
                    <a:pt x="326" y="1179"/>
                    <a:pt x="326" y="1237"/>
                  </a:cubicBezTo>
                  <a:cubicBezTo>
                    <a:pt x="326" y="1262"/>
                    <a:pt x="331" y="1276"/>
                    <a:pt x="341" y="1295"/>
                  </a:cubicBezTo>
                  <a:cubicBezTo>
                    <a:pt x="360" y="1364"/>
                    <a:pt x="370" y="1408"/>
                    <a:pt x="380" y="1475"/>
                  </a:cubicBezTo>
                  <a:cubicBezTo>
                    <a:pt x="384" y="1495"/>
                    <a:pt x="390" y="1505"/>
                    <a:pt x="395" y="1525"/>
                  </a:cubicBezTo>
                  <a:cubicBezTo>
                    <a:pt x="404" y="1593"/>
                    <a:pt x="399" y="1641"/>
                    <a:pt x="409" y="1709"/>
                  </a:cubicBezTo>
                  <a:lnTo>
                    <a:pt x="409" y="1709"/>
                  </a:lnTo>
                  <a:cubicBezTo>
                    <a:pt x="273" y="1715"/>
                    <a:pt x="136" y="1724"/>
                    <a:pt x="0" y="1724"/>
                  </a:cubicBezTo>
                  <a:lnTo>
                    <a:pt x="0" y="1724"/>
                  </a:lnTo>
                  <a:cubicBezTo>
                    <a:pt x="0" y="5"/>
                    <a:pt x="0" y="5"/>
                    <a:pt x="0" y="5"/>
                  </a:cubicBezTo>
                  <a:lnTo>
                    <a:pt x="0" y="5"/>
                  </a:lnTo>
                  <a:cubicBezTo>
                    <a:pt x="39" y="5"/>
                    <a:pt x="78" y="0"/>
                    <a:pt x="117" y="0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38" name="Freeform 83"/>
            <p:cNvSpPr>
              <a:spLocks noChangeArrowheads="1"/>
            </p:cNvSpPr>
            <p:nvPr/>
          </p:nvSpPr>
          <p:spPr bwMode="auto">
            <a:xfrm>
              <a:off x="12996840" y="5940155"/>
              <a:ext cx="1226507" cy="1330202"/>
            </a:xfrm>
            <a:custGeom>
              <a:avLst/>
              <a:gdLst>
                <a:gd name="T0" fmla="*/ 589 w 1935"/>
                <a:gd name="T1" fmla="*/ 0 h 2099"/>
                <a:gd name="T2" fmla="*/ 1169 w 1935"/>
                <a:gd name="T3" fmla="*/ 423 h 2099"/>
                <a:gd name="T4" fmla="*/ 1227 w 1935"/>
                <a:gd name="T5" fmla="*/ 647 h 2099"/>
                <a:gd name="T6" fmla="*/ 1392 w 1935"/>
                <a:gd name="T7" fmla="*/ 506 h 2099"/>
                <a:gd name="T8" fmla="*/ 1510 w 1935"/>
                <a:gd name="T9" fmla="*/ 418 h 2099"/>
                <a:gd name="T10" fmla="*/ 1627 w 1935"/>
                <a:gd name="T11" fmla="*/ 389 h 2099"/>
                <a:gd name="T12" fmla="*/ 1695 w 1935"/>
                <a:gd name="T13" fmla="*/ 306 h 2099"/>
                <a:gd name="T14" fmla="*/ 1821 w 1935"/>
                <a:gd name="T15" fmla="*/ 296 h 2099"/>
                <a:gd name="T16" fmla="*/ 1923 w 1935"/>
                <a:gd name="T17" fmla="*/ 365 h 2099"/>
                <a:gd name="T18" fmla="*/ 1934 w 1935"/>
                <a:gd name="T19" fmla="*/ 365 h 2099"/>
                <a:gd name="T20" fmla="*/ 1890 w 1935"/>
                <a:gd name="T21" fmla="*/ 506 h 2099"/>
                <a:gd name="T22" fmla="*/ 1812 w 1935"/>
                <a:gd name="T23" fmla="*/ 477 h 2099"/>
                <a:gd name="T24" fmla="*/ 1724 w 1935"/>
                <a:gd name="T25" fmla="*/ 492 h 2099"/>
                <a:gd name="T26" fmla="*/ 1690 w 1935"/>
                <a:gd name="T27" fmla="*/ 550 h 2099"/>
                <a:gd name="T28" fmla="*/ 1666 w 1935"/>
                <a:gd name="T29" fmla="*/ 647 h 2099"/>
                <a:gd name="T30" fmla="*/ 1544 w 1935"/>
                <a:gd name="T31" fmla="*/ 866 h 2099"/>
                <a:gd name="T32" fmla="*/ 1505 w 1935"/>
                <a:gd name="T33" fmla="*/ 895 h 2099"/>
                <a:gd name="T34" fmla="*/ 1436 w 1935"/>
                <a:gd name="T35" fmla="*/ 1017 h 2099"/>
                <a:gd name="T36" fmla="*/ 1300 w 1935"/>
                <a:gd name="T37" fmla="*/ 1071 h 2099"/>
                <a:gd name="T38" fmla="*/ 1169 w 1935"/>
                <a:gd name="T39" fmla="*/ 1343 h 2099"/>
                <a:gd name="T40" fmla="*/ 1047 w 1935"/>
                <a:gd name="T41" fmla="*/ 1587 h 2099"/>
                <a:gd name="T42" fmla="*/ 1066 w 1935"/>
                <a:gd name="T43" fmla="*/ 1714 h 2099"/>
                <a:gd name="T44" fmla="*/ 1081 w 1935"/>
                <a:gd name="T45" fmla="*/ 1831 h 2099"/>
                <a:gd name="T46" fmla="*/ 1003 w 1935"/>
                <a:gd name="T47" fmla="*/ 1835 h 2099"/>
                <a:gd name="T48" fmla="*/ 852 w 1935"/>
                <a:gd name="T49" fmla="*/ 1909 h 2099"/>
                <a:gd name="T50" fmla="*/ 628 w 1935"/>
                <a:gd name="T51" fmla="*/ 1967 h 2099"/>
                <a:gd name="T52" fmla="*/ 618 w 1935"/>
                <a:gd name="T53" fmla="*/ 2098 h 2099"/>
                <a:gd name="T54" fmla="*/ 526 w 1935"/>
                <a:gd name="T55" fmla="*/ 2064 h 2099"/>
                <a:gd name="T56" fmla="*/ 380 w 1935"/>
                <a:gd name="T57" fmla="*/ 1977 h 2099"/>
                <a:gd name="T58" fmla="*/ 302 w 1935"/>
                <a:gd name="T59" fmla="*/ 1899 h 2099"/>
                <a:gd name="T60" fmla="*/ 248 w 1935"/>
                <a:gd name="T61" fmla="*/ 1889 h 2099"/>
                <a:gd name="T62" fmla="*/ 141 w 1935"/>
                <a:gd name="T63" fmla="*/ 1802 h 2099"/>
                <a:gd name="T64" fmla="*/ 87 w 1935"/>
                <a:gd name="T65" fmla="*/ 1733 h 2099"/>
                <a:gd name="T66" fmla="*/ 49 w 1935"/>
                <a:gd name="T67" fmla="*/ 1646 h 2099"/>
                <a:gd name="T68" fmla="*/ 0 w 1935"/>
                <a:gd name="T69" fmla="*/ 1495 h 2099"/>
                <a:gd name="T70" fmla="*/ 160 w 1935"/>
                <a:gd name="T71" fmla="*/ 1261 h 2099"/>
                <a:gd name="T72" fmla="*/ 151 w 1935"/>
                <a:gd name="T73" fmla="*/ 1130 h 2099"/>
                <a:gd name="T74" fmla="*/ 253 w 1935"/>
                <a:gd name="T75" fmla="*/ 1149 h 2099"/>
                <a:gd name="T76" fmla="*/ 306 w 1935"/>
                <a:gd name="T77" fmla="*/ 1076 h 2099"/>
                <a:gd name="T78" fmla="*/ 297 w 1935"/>
                <a:gd name="T79" fmla="*/ 983 h 2099"/>
                <a:gd name="T80" fmla="*/ 292 w 1935"/>
                <a:gd name="T81" fmla="*/ 925 h 2099"/>
                <a:gd name="T82" fmla="*/ 321 w 1935"/>
                <a:gd name="T83" fmla="*/ 895 h 2099"/>
                <a:gd name="T84" fmla="*/ 355 w 1935"/>
                <a:gd name="T85" fmla="*/ 808 h 2099"/>
                <a:gd name="T86" fmla="*/ 463 w 1935"/>
                <a:gd name="T87" fmla="*/ 764 h 2099"/>
                <a:gd name="T88" fmla="*/ 545 w 1935"/>
                <a:gd name="T89" fmla="*/ 618 h 2099"/>
                <a:gd name="T90" fmla="*/ 569 w 1935"/>
                <a:gd name="T91" fmla="*/ 467 h 2099"/>
                <a:gd name="T92" fmla="*/ 555 w 1935"/>
                <a:gd name="T93" fmla="*/ 146 h 2099"/>
                <a:gd name="T94" fmla="*/ 589 w 1935"/>
                <a:gd name="T95" fmla="*/ 0 h 20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35" h="2099">
                  <a:moveTo>
                    <a:pt x="589" y="0"/>
                  </a:moveTo>
                  <a:lnTo>
                    <a:pt x="589" y="0"/>
                  </a:lnTo>
                  <a:cubicBezTo>
                    <a:pt x="726" y="559"/>
                    <a:pt x="726" y="559"/>
                    <a:pt x="726" y="559"/>
                  </a:cubicBezTo>
                  <a:cubicBezTo>
                    <a:pt x="1169" y="423"/>
                    <a:pt x="1169" y="423"/>
                    <a:pt x="1169" y="423"/>
                  </a:cubicBezTo>
                  <a:lnTo>
                    <a:pt x="1169" y="423"/>
                  </a:lnTo>
                  <a:cubicBezTo>
                    <a:pt x="1227" y="647"/>
                    <a:pt x="1227" y="647"/>
                    <a:pt x="1227" y="647"/>
                  </a:cubicBezTo>
                  <a:cubicBezTo>
                    <a:pt x="1256" y="623"/>
                    <a:pt x="1266" y="594"/>
                    <a:pt x="1295" y="564"/>
                  </a:cubicBezTo>
                  <a:cubicBezTo>
                    <a:pt x="1325" y="531"/>
                    <a:pt x="1364" y="535"/>
                    <a:pt x="1392" y="506"/>
                  </a:cubicBezTo>
                  <a:cubicBezTo>
                    <a:pt x="1427" y="472"/>
                    <a:pt x="1442" y="437"/>
                    <a:pt x="1475" y="413"/>
                  </a:cubicBezTo>
                  <a:cubicBezTo>
                    <a:pt x="1510" y="418"/>
                    <a:pt x="1510" y="418"/>
                    <a:pt x="1510" y="418"/>
                  </a:cubicBezTo>
                  <a:cubicBezTo>
                    <a:pt x="1583" y="418"/>
                    <a:pt x="1583" y="418"/>
                    <a:pt x="1583" y="418"/>
                  </a:cubicBezTo>
                  <a:cubicBezTo>
                    <a:pt x="1602" y="418"/>
                    <a:pt x="1617" y="404"/>
                    <a:pt x="1627" y="389"/>
                  </a:cubicBezTo>
                  <a:cubicBezTo>
                    <a:pt x="1641" y="374"/>
                    <a:pt x="1651" y="360"/>
                    <a:pt x="1661" y="345"/>
                  </a:cubicBezTo>
                  <a:cubicBezTo>
                    <a:pt x="1671" y="326"/>
                    <a:pt x="1675" y="311"/>
                    <a:pt x="1695" y="306"/>
                  </a:cubicBezTo>
                  <a:cubicBezTo>
                    <a:pt x="1704" y="301"/>
                    <a:pt x="1709" y="306"/>
                    <a:pt x="1724" y="306"/>
                  </a:cubicBezTo>
                  <a:cubicBezTo>
                    <a:pt x="1763" y="301"/>
                    <a:pt x="1782" y="296"/>
                    <a:pt x="1821" y="296"/>
                  </a:cubicBezTo>
                  <a:cubicBezTo>
                    <a:pt x="1856" y="296"/>
                    <a:pt x="1851" y="335"/>
                    <a:pt x="1880" y="360"/>
                  </a:cubicBezTo>
                  <a:cubicBezTo>
                    <a:pt x="1890" y="370"/>
                    <a:pt x="1904" y="365"/>
                    <a:pt x="1923" y="365"/>
                  </a:cubicBezTo>
                  <a:cubicBezTo>
                    <a:pt x="1928" y="365"/>
                    <a:pt x="1928" y="365"/>
                    <a:pt x="1934" y="365"/>
                  </a:cubicBezTo>
                  <a:lnTo>
                    <a:pt x="1934" y="365"/>
                  </a:lnTo>
                  <a:cubicBezTo>
                    <a:pt x="1934" y="399"/>
                    <a:pt x="1928" y="418"/>
                    <a:pt x="1919" y="453"/>
                  </a:cubicBezTo>
                  <a:cubicBezTo>
                    <a:pt x="1914" y="477"/>
                    <a:pt x="1914" y="506"/>
                    <a:pt x="1890" y="506"/>
                  </a:cubicBezTo>
                  <a:cubicBezTo>
                    <a:pt x="1875" y="506"/>
                    <a:pt x="1870" y="492"/>
                    <a:pt x="1860" y="486"/>
                  </a:cubicBezTo>
                  <a:cubicBezTo>
                    <a:pt x="1841" y="481"/>
                    <a:pt x="1831" y="481"/>
                    <a:pt x="1812" y="477"/>
                  </a:cubicBezTo>
                  <a:cubicBezTo>
                    <a:pt x="1782" y="467"/>
                    <a:pt x="1768" y="462"/>
                    <a:pt x="1738" y="462"/>
                  </a:cubicBezTo>
                  <a:cubicBezTo>
                    <a:pt x="1724" y="462"/>
                    <a:pt x="1729" y="481"/>
                    <a:pt x="1724" y="492"/>
                  </a:cubicBezTo>
                  <a:cubicBezTo>
                    <a:pt x="1719" y="496"/>
                    <a:pt x="1714" y="501"/>
                    <a:pt x="1709" y="506"/>
                  </a:cubicBezTo>
                  <a:cubicBezTo>
                    <a:pt x="1704" y="520"/>
                    <a:pt x="1695" y="531"/>
                    <a:pt x="1690" y="550"/>
                  </a:cubicBezTo>
                  <a:cubicBezTo>
                    <a:pt x="1685" y="559"/>
                    <a:pt x="1690" y="569"/>
                    <a:pt x="1690" y="579"/>
                  </a:cubicBezTo>
                  <a:cubicBezTo>
                    <a:pt x="1685" y="608"/>
                    <a:pt x="1675" y="623"/>
                    <a:pt x="1666" y="647"/>
                  </a:cubicBezTo>
                  <a:cubicBezTo>
                    <a:pt x="1646" y="715"/>
                    <a:pt x="1617" y="749"/>
                    <a:pt x="1583" y="813"/>
                  </a:cubicBezTo>
                  <a:cubicBezTo>
                    <a:pt x="1573" y="832"/>
                    <a:pt x="1568" y="857"/>
                    <a:pt x="1544" y="866"/>
                  </a:cubicBezTo>
                  <a:cubicBezTo>
                    <a:pt x="1534" y="871"/>
                    <a:pt x="1519" y="862"/>
                    <a:pt x="1510" y="866"/>
                  </a:cubicBezTo>
                  <a:cubicBezTo>
                    <a:pt x="1505" y="876"/>
                    <a:pt x="1505" y="886"/>
                    <a:pt x="1505" y="895"/>
                  </a:cubicBezTo>
                  <a:cubicBezTo>
                    <a:pt x="1500" y="915"/>
                    <a:pt x="1495" y="925"/>
                    <a:pt x="1486" y="945"/>
                  </a:cubicBezTo>
                  <a:cubicBezTo>
                    <a:pt x="1471" y="973"/>
                    <a:pt x="1451" y="988"/>
                    <a:pt x="1436" y="1017"/>
                  </a:cubicBezTo>
                  <a:cubicBezTo>
                    <a:pt x="1417" y="1051"/>
                    <a:pt x="1398" y="1081"/>
                    <a:pt x="1359" y="1081"/>
                  </a:cubicBezTo>
                  <a:cubicBezTo>
                    <a:pt x="1339" y="1081"/>
                    <a:pt x="1325" y="1076"/>
                    <a:pt x="1300" y="1071"/>
                  </a:cubicBezTo>
                  <a:cubicBezTo>
                    <a:pt x="1271" y="1144"/>
                    <a:pt x="1232" y="1178"/>
                    <a:pt x="1203" y="1246"/>
                  </a:cubicBezTo>
                  <a:cubicBezTo>
                    <a:pt x="1188" y="1285"/>
                    <a:pt x="1188" y="1310"/>
                    <a:pt x="1169" y="1343"/>
                  </a:cubicBezTo>
                  <a:cubicBezTo>
                    <a:pt x="1140" y="1402"/>
                    <a:pt x="1110" y="1436"/>
                    <a:pt x="1081" y="1495"/>
                  </a:cubicBezTo>
                  <a:cubicBezTo>
                    <a:pt x="1066" y="1529"/>
                    <a:pt x="1047" y="1548"/>
                    <a:pt x="1047" y="1587"/>
                  </a:cubicBezTo>
                  <a:cubicBezTo>
                    <a:pt x="1047" y="1606"/>
                    <a:pt x="1057" y="1616"/>
                    <a:pt x="1061" y="1631"/>
                  </a:cubicBezTo>
                  <a:cubicBezTo>
                    <a:pt x="1066" y="1665"/>
                    <a:pt x="1061" y="1685"/>
                    <a:pt x="1066" y="1714"/>
                  </a:cubicBezTo>
                  <a:cubicBezTo>
                    <a:pt x="1071" y="1738"/>
                    <a:pt x="1081" y="1752"/>
                    <a:pt x="1081" y="1777"/>
                  </a:cubicBezTo>
                  <a:cubicBezTo>
                    <a:pt x="1081" y="1831"/>
                    <a:pt x="1081" y="1831"/>
                    <a:pt x="1081" y="1831"/>
                  </a:cubicBezTo>
                  <a:cubicBezTo>
                    <a:pt x="1057" y="1831"/>
                    <a:pt x="1042" y="1831"/>
                    <a:pt x="1022" y="1835"/>
                  </a:cubicBezTo>
                  <a:cubicBezTo>
                    <a:pt x="1003" y="1835"/>
                    <a:pt x="1003" y="1835"/>
                    <a:pt x="1003" y="1835"/>
                  </a:cubicBezTo>
                  <a:cubicBezTo>
                    <a:pt x="974" y="1846"/>
                    <a:pt x="954" y="1850"/>
                    <a:pt x="930" y="1865"/>
                  </a:cubicBezTo>
                  <a:cubicBezTo>
                    <a:pt x="896" y="1879"/>
                    <a:pt x="881" y="1899"/>
                    <a:pt x="852" y="1909"/>
                  </a:cubicBezTo>
                  <a:cubicBezTo>
                    <a:pt x="808" y="1923"/>
                    <a:pt x="779" y="1928"/>
                    <a:pt x="730" y="1943"/>
                  </a:cubicBezTo>
                  <a:cubicBezTo>
                    <a:pt x="691" y="1957"/>
                    <a:pt x="667" y="1972"/>
                    <a:pt x="628" y="1967"/>
                  </a:cubicBezTo>
                  <a:cubicBezTo>
                    <a:pt x="628" y="1982"/>
                    <a:pt x="618" y="1992"/>
                    <a:pt x="618" y="2006"/>
                  </a:cubicBezTo>
                  <a:cubicBezTo>
                    <a:pt x="618" y="2098"/>
                    <a:pt x="618" y="2098"/>
                    <a:pt x="618" y="2098"/>
                  </a:cubicBezTo>
                  <a:cubicBezTo>
                    <a:pt x="599" y="2094"/>
                    <a:pt x="579" y="2094"/>
                    <a:pt x="560" y="2084"/>
                  </a:cubicBezTo>
                  <a:cubicBezTo>
                    <a:pt x="545" y="2079"/>
                    <a:pt x="540" y="2070"/>
                    <a:pt x="526" y="2064"/>
                  </a:cubicBezTo>
                  <a:cubicBezTo>
                    <a:pt x="502" y="2045"/>
                    <a:pt x="482" y="2035"/>
                    <a:pt x="453" y="2025"/>
                  </a:cubicBezTo>
                  <a:cubicBezTo>
                    <a:pt x="423" y="2011"/>
                    <a:pt x="399" y="2006"/>
                    <a:pt x="380" y="1977"/>
                  </a:cubicBezTo>
                  <a:cubicBezTo>
                    <a:pt x="365" y="1948"/>
                    <a:pt x="365" y="1918"/>
                    <a:pt x="341" y="1899"/>
                  </a:cubicBezTo>
                  <a:cubicBezTo>
                    <a:pt x="331" y="1894"/>
                    <a:pt x="312" y="1899"/>
                    <a:pt x="302" y="1899"/>
                  </a:cubicBezTo>
                  <a:lnTo>
                    <a:pt x="302" y="1899"/>
                  </a:lnTo>
                  <a:cubicBezTo>
                    <a:pt x="287" y="1894"/>
                    <a:pt x="267" y="1894"/>
                    <a:pt x="248" y="1889"/>
                  </a:cubicBezTo>
                  <a:cubicBezTo>
                    <a:pt x="204" y="1874"/>
                    <a:pt x="180" y="1850"/>
                    <a:pt x="146" y="1816"/>
                  </a:cubicBezTo>
                  <a:cubicBezTo>
                    <a:pt x="141" y="1811"/>
                    <a:pt x="146" y="1807"/>
                    <a:pt x="141" y="1802"/>
                  </a:cubicBezTo>
                  <a:cubicBezTo>
                    <a:pt x="136" y="1797"/>
                    <a:pt x="131" y="1797"/>
                    <a:pt x="126" y="1797"/>
                  </a:cubicBezTo>
                  <a:cubicBezTo>
                    <a:pt x="107" y="1777"/>
                    <a:pt x="97" y="1757"/>
                    <a:pt x="87" y="1733"/>
                  </a:cubicBezTo>
                  <a:cubicBezTo>
                    <a:pt x="82" y="1724"/>
                    <a:pt x="82" y="1714"/>
                    <a:pt x="77" y="1704"/>
                  </a:cubicBezTo>
                  <a:cubicBezTo>
                    <a:pt x="73" y="1680"/>
                    <a:pt x="58" y="1670"/>
                    <a:pt x="49" y="1646"/>
                  </a:cubicBezTo>
                  <a:cubicBezTo>
                    <a:pt x="29" y="1587"/>
                    <a:pt x="24" y="1553"/>
                    <a:pt x="0" y="1495"/>
                  </a:cubicBezTo>
                  <a:lnTo>
                    <a:pt x="0" y="1495"/>
                  </a:lnTo>
                  <a:cubicBezTo>
                    <a:pt x="53" y="1470"/>
                    <a:pt x="77" y="1436"/>
                    <a:pt x="112" y="1388"/>
                  </a:cubicBezTo>
                  <a:cubicBezTo>
                    <a:pt x="136" y="1343"/>
                    <a:pt x="160" y="1315"/>
                    <a:pt x="160" y="1261"/>
                  </a:cubicBezTo>
                  <a:cubicBezTo>
                    <a:pt x="160" y="1236"/>
                    <a:pt x="151" y="1227"/>
                    <a:pt x="151" y="1207"/>
                  </a:cubicBezTo>
                  <a:cubicBezTo>
                    <a:pt x="151" y="1130"/>
                    <a:pt x="151" y="1130"/>
                    <a:pt x="151" y="1130"/>
                  </a:cubicBezTo>
                  <a:cubicBezTo>
                    <a:pt x="170" y="1120"/>
                    <a:pt x="175" y="1105"/>
                    <a:pt x="195" y="1105"/>
                  </a:cubicBezTo>
                  <a:cubicBezTo>
                    <a:pt x="223" y="1105"/>
                    <a:pt x="223" y="1149"/>
                    <a:pt x="253" y="1149"/>
                  </a:cubicBezTo>
                  <a:cubicBezTo>
                    <a:pt x="267" y="1149"/>
                    <a:pt x="273" y="1134"/>
                    <a:pt x="282" y="1120"/>
                  </a:cubicBezTo>
                  <a:cubicBezTo>
                    <a:pt x="292" y="1105"/>
                    <a:pt x="306" y="1095"/>
                    <a:pt x="306" y="1076"/>
                  </a:cubicBezTo>
                  <a:cubicBezTo>
                    <a:pt x="306" y="1003"/>
                    <a:pt x="306" y="1003"/>
                    <a:pt x="306" y="1003"/>
                  </a:cubicBezTo>
                  <a:cubicBezTo>
                    <a:pt x="306" y="993"/>
                    <a:pt x="297" y="988"/>
                    <a:pt x="297" y="983"/>
                  </a:cubicBezTo>
                  <a:cubicBezTo>
                    <a:pt x="297" y="969"/>
                    <a:pt x="292" y="959"/>
                    <a:pt x="292" y="940"/>
                  </a:cubicBezTo>
                  <a:cubicBezTo>
                    <a:pt x="292" y="934"/>
                    <a:pt x="292" y="929"/>
                    <a:pt x="292" y="925"/>
                  </a:cubicBezTo>
                  <a:cubicBezTo>
                    <a:pt x="297" y="920"/>
                    <a:pt x="306" y="929"/>
                    <a:pt x="312" y="925"/>
                  </a:cubicBezTo>
                  <a:cubicBezTo>
                    <a:pt x="317" y="915"/>
                    <a:pt x="321" y="905"/>
                    <a:pt x="321" y="895"/>
                  </a:cubicBezTo>
                  <a:cubicBezTo>
                    <a:pt x="321" y="871"/>
                    <a:pt x="317" y="857"/>
                    <a:pt x="317" y="832"/>
                  </a:cubicBezTo>
                  <a:cubicBezTo>
                    <a:pt x="317" y="818"/>
                    <a:pt x="341" y="813"/>
                    <a:pt x="355" y="808"/>
                  </a:cubicBezTo>
                  <a:cubicBezTo>
                    <a:pt x="365" y="803"/>
                    <a:pt x="375" y="798"/>
                    <a:pt x="384" y="793"/>
                  </a:cubicBezTo>
                  <a:cubicBezTo>
                    <a:pt x="414" y="784"/>
                    <a:pt x="433" y="784"/>
                    <a:pt x="463" y="764"/>
                  </a:cubicBezTo>
                  <a:cubicBezTo>
                    <a:pt x="477" y="754"/>
                    <a:pt x="482" y="735"/>
                    <a:pt x="497" y="720"/>
                  </a:cubicBezTo>
                  <a:cubicBezTo>
                    <a:pt x="526" y="691"/>
                    <a:pt x="540" y="662"/>
                    <a:pt x="545" y="618"/>
                  </a:cubicBezTo>
                  <a:cubicBezTo>
                    <a:pt x="550" y="589"/>
                    <a:pt x="555" y="574"/>
                    <a:pt x="560" y="545"/>
                  </a:cubicBezTo>
                  <a:cubicBezTo>
                    <a:pt x="560" y="516"/>
                    <a:pt x="565" y="496"/>
                    <a:pt x="569" y="467"/>
                  </a:cubicBezTo>
                  <a:cubicBezTo>
                    <a:pt x="574" y="413"/>
                    <a:pt x="574" y="384"/>
                    <a:pt x="574" y="331"/>
                  </a:cubicBezTo>
                  <a:cubicBezTo>
                    <a:pt x="574" y="257"/>
                    <a:pt x="555" y="219"/>
                    <a:pt x="555" y="146"/>
                  </a:cubicBezTo>
                  <a:cubicBezTo>
                    <a:pt x="555" y="111"/>
                    <a:pt x="550" y="87"/>
                    <a:pt x="560" y="53"/>
                  </a:cubicBezTo>
                  <a:cubicBezTo>
                    <a:pt x="565" y="33"/>
                    <a:pt x="584" y="19"/>
                    <a:pt x="589" y="0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39" name="Freeform 84"/>
            <p:cNvSpPr>
              <a:spLocks noChangeArrowheads="1"/>
            </p:cNvSpPr>
            <p:nvPr/>
          </p:nvSpPr>
          <p:spPr bwMode="auto">
            <a:xfrm>
              <a:off x="14693787" y="5875745"/>
              <a:ext cx="288425" cy="448068"/>
            </a:xfrm>
            <a:custGeom>
              <a:avLst/>
              <a:gdLst>
                <a:gd name="T0" fmla="*/ 0 w 458"/>
                <a:gd name="T1" fmla="*/ 49 h 712"/>
                <a:gd name="T2" fmla="*/ 0 w 458"/>
                <a:gd name="T3" fmla="*/ 49 h 712"/>
                <a:gd name="T4" fmla="*/ 156 w 458"/>
                <a:gd name="T5" fmla="*/ 0 h 712"/>
                <a:gd name="T6" fmla="*/ 156 w 458"/>
                <a:gd name="T7" fmla="*/ 0 h 712"/>
                <a:gd name="T8" fmla="*/ 166 w 458"/>
                <a:gd name="T9" fmla="*/ 83 h 712"/>
                <a:gd name="T10" fmla="*/ 170 w 458"/>
                <a:gd name="T11" fmla="*/ 117 h 712"/>
                <a:gd name="T12" fmla="*/ 170 w 458"/>
                <a:gd name="T13" fmla="*/ 117 h 712"/>
                <a:gd name="T14" fmla="*/ 185 w 458"/>
                <a:gd name="T15" fmla="*/ 161 h 712"/>
                <a:gd name="T16" fmla="*/ 219 w 458"/>
                <a:gd name="T17" fmla="*/ 312 h 712"/>
                <a:gd name="T18" fmla="*/ 238 w 458"/>
                <a:gd name="T19" fmla="*/ 322 h 712"/>
                <a:gd name="T20" fmla="*/ 312 w 458"/>
                <a:gd name="T21" fmla="*/ 380 h 712"/>
                <a:gd name="T22" fmla="*/ 390 w 458"/>
                <a:gd name="T23" fmla="*/ 419 h 712"/>
                <a:gd name="T24" fmla="*/ 433 w 458"/>
                <a:gd name="T25" fmla="*/ 458 h 712"/>
                <a:gd name="T26" fmla="*/ 438 w 458"/>
                <a:gd name="T27" fmla="*/ 516 h 712"/>
                <a:gd name="T28" fmla="*/ 457 w 458"/>
                <a:gd name="T29" fmla="*/ 595 h 712"/>
                <a:gd name="T30" fmla="*/ 457 w 458"/>
                <a:gd name="T31" fmla="*/ 638 h 712"/>
                <a:gd name="T32" fmla="*/ 457 w 458"/>
                <a:gd name="T33" fmla="*/ 638 h 712"/>
                <a:gd name="T34" fmla="*/ 224 w 458"/>
                <a:gd name="T35" fmla="*/ 711 h 712"/>
                <a:gd name="T36" fmla="*/ 0 w 458"/>
                <a:gd name="T37" fmla="*/ 49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8" h="712">
                  <a:moveTo>
                    <a:pt x="0" y="49"/>
                  </a:moveTo>
                  <a:lnTo>
                    <a:pt x="0" y="49"/>
                  </a:lnTo>
                  <a:cubicBezTo>
                    <a:pt x="156" y="0"/>
                    <a:pt x="156" y="0"/>
                    <a:pt x="156" y="0"/>
                  </a:cubicBezTo>
                  <a:lnTo>
                    <a:pt x="156" y="0"/>
                  </a:lnTo>
                  <a:cubicBezTo>
                    <a:pt x="166" y="83"/>
                    <a:pt x="166" y="83"/>
                    <a:pt x="166" y="83"/>
                  </a:cubicBezTo>
                  <a:cubicBezTo>
                    <a:pt x="170" y="117"/>
                    <a:pt x="170" y="117"/>
                    <a:pt x="170" y="117"/>
                  </a:cubicBezTo>
                  <a:lnTo>
                    <a:pt x="170" y="117"/>
                  </a:lnTo>
                  <a:cubicBezTo>
                    <a:pt x="170" y="131"/>
                    <a:pt x="180" y="141"/>
                    <a:pt x="185" y="161"/>
                  </a:cubicBezTo>
                  <a:cubicBezTo>
                    <a:pt x="199" y="219"/>
                    <a:pt x="190" y="258"/>
                    <a:pt x="219" y="312"/>
                  </a:cubicBezTo>
                  <a:cubicBezTo>
                    <a:pt x="224" y="316"/>
                    <a:pt x="233" y="316"/>
                    <a:pt x="238" y="322"/>
                  </a:cubicBezTo>
                  <a:cubicBezTo>
                    <a:pt x="263" y="346"/>
                    <a:pt x="282" y="360"/>
                    <a:pt x="312" y="380"/>
                  </a:cubicBezTo>
                  <a:cubicBezTo>
                    <a:pt x="341" y="395"/>
                    <a:pt x="355" y="404"/>
                    <a:pt x="390" y="419"/>
                  </a:cubicBezTo>
                  <a:cubicBezTo>
                    <a:pt x="409" y="424"/>
                    <a:pt x="424" y="438"/>
                    <a:pt x="433" y="458"/>
                  </a:cubicBezTo>
                  <a:cubicBezTo>
                    <a:pt x="438" y="477"/>
                    <a:pt x="433" y="497"/>
                    <a:pt x="438" y="516"/>
                  </a:cubicBezTo>
                  <a:cubicBezTo>
                    <a:pt x="448" y="545"/>
                    <a:pt x="457" y="560"/>
                    <a:pt x="457" y="595"/>
                  </a:cubicBezTo>
                  <a:cubicBezTo>
                    <a:pt x="457" y="638"/>
                    <a:pt x="457" y="638"/>
                    <a:pt x="457" y="638"/>
                  </a:cubicBezTo>
                  <a:lnTo>
                    <a:pt x="457" y="638"/>
                  </a:lnTo>
                  <a:cubicBezTo>
                    <a:pt x="224" y="711"/>
                    <a:pt x="224" y="711"/>
                    <a:pt x="224" y="711"/>
                  </a:cubicBezTo>
                  <a:cubicBezTo>
                    <a:pt x="0" y="49"/>
                    <a:pt x="0" y="49"/>
                    <a:pt x="0" y="49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40" name="Freeform 85"/>
            <p:cNvSpPr>
              <a:spLocks noChangeArrowheads="1"/>
            </p:cNvSpPr>
            <p:nvPr/>
          </p:nvSpPr>
          <p:spPr bwMode="auto">
            <a:xfrm>
              <a:off x="12820424" y="6172590"/>
              <a:ext cx="2136586" cy="1447820"/>
            </a:xfrm>
            <a:custGeom>
              <a:avLst/>
              <a:gdLst>
                <a:gd name="T0" fmla="*/ 2864 w 3371"/>
                <a:gd name="T1" fmla="*/ 472 h 2285"/>
                <a:gd name="T2" fmla="*/ 2961 w 3371"/>
                <a:gd name="T3" fmla="*/ 550 h 2285"/>
                <a:gd name="T4" fmla="*/ 3025 w 3371"/>
                <a:gd name="T5" fmla="*/ 696 h 2285"/>
                <a:gd name="T6" fmla="*/ 2933 w 3371"/>
                <a:gd name="T7" fmla="*/ 682 h 2285"/>
                <a:gd name="T8" fmla="*/ 2839 w 3371"/>
                <a:gd name="T9" fmla="*/ 686 h 2285"/>
                <a:gd name="T10" fmla="*/ 2874 w 3371"/>
                <a:gd name="T11" fmla="*/ 716 h 2285"/>
                <a:gd name="T12" fmla="*/ 3025 w 3371"/>
                <a:gd name="T13" fmla="*/ 798 h 2285"/>
                <a:gd name="T14" fmla="*/ 3039 w 3371"/>
                <a:gd name="T15" fmla="*/ 886 h 2285"/>
                <a:gd name="T16" fmla="*/ 2942 w 3371"/>
                <a:gd name="T17" fmla="*/ 925 h 2285"/>
                <a:gd name="T18" fmla="*/ 3108 w 3371"/>
                <a:gd name="T19" fmla="*/ 1056 h 2285"/>
                <a:gd name="T20" fmla="*/ 3078 w 3371"/>
                <a:gd name="T21" fmla="*/ 1061 h 2285"/>
                <a:gd name="T22" fmla="*/ 2971 w 3371"/>
                <a:gd name="T23" fmla="*/ 1056 h 2285"/>
                <a:gd name="T24" fmla="*/ 3005 w 3371"/>
                <a:gd name="T25" fmla="*/ 1110 h 2285"/>
                <a:gd name="T26" fmla="*/ 3064 w 3371"/>
                <a:gd name="T27" fmla="*/ 1130 h 2285"/>
                <a:gd name="T28" fmla="*/ 3244 w 3371"/>
                <a:gd name="T29" fmla="*/ 1115 h 2285"/>
                <a:gd name="T30" fmla="*/ 3278 w 3371"/>
                <a:gd name="T31" fmla="*/ 1135 h 2285"/>
                <a:gd name="T32" fmla="*/ 3370 w 3371"/>
                <a:gd name="T33" fmla="*/ 1246 h 2285"/>
                <a:gd name="T34" fmla="*/ 3322 w 3371"/>
                <a:gd name="T35" fmla="*/ 1281 h 2285"/>
                <a:gd name="T36" fmla="*/ 3331 w 3371"/>
                <a:gd name="T37" fmla="*/ 1305 h 2285"/>
                <a:gd name="T38" fmla="*/ 828 w 3371"/>
                <a:gd name="T39" fmla="*/ 2070 h 2285"/>
                <a:gd name="T40" fmla="*/ 0 w 3371"/>
                <a:gd name="T41" fmla="*/ 2284 h 2285"/>
                <a:gd name="T42" fmla="*/ 273 w 3371"/>
                <a:gd name="T43" fmla="*/ 2050 h 2285"/>
                <a:gd name="T44" fmla="*/ 322 w 3371"/>
                <a:gd name="T45" fmla="*/ 1967 h 2285"/>
                <a:gd name="T46" fmla="*/ 390 w 3371"/>
                <a:gd name="T47" fmla="*/ 1826 h 2285"/>
                <a:gd name="T48" fmla="*/ 487 w 3371"/>
                <a:gd name="T49" fmla="*/ 1744 h 2285"/>
                <a:gd name="T50" fmla="*/ 536 w 3371"/>
                <a:gd name="T51" fmla="*/ 1680 h 2285"/>
                <a:gd name="T52" fmla="*/ 580 w 3371"/>
                <a:gd name="T53" fmla="*/ 1534 h 2285"/>
                <a:gd name="T54" fmla="*/ 658 w 3371"/>
                <a:gd name="T55" fmla="*/ 1612 h 2285"/>
                <a:gd name="T56" fmla="*/ 804 w 3371"/>
                <a:gd name="T57" fmla="*/ 1699 h 2285"/>
                <a:gd name="T58" fmla="*/ 896 w 3371"/>
                <a:gd name="T59" fmla="*/ 1733 h 2285"/>
                <a:gd name="T60" fmla="*/ 906 w 3371"/>
                <a:gd name="T61" fmla="*/ 1602 h 2285"/>
                <a:gd name="T62" fmla="*/ 1130 w 3371"/>
                <a:gd name="T63" fmla="*/ 1544 h 2285"/>
                <a:gd name="T64" fmla="*/ 1281 w 3371"/>
                <a:gd name="T65" fmla="*/ 1470 h 2285"/>
                <a:gd name="T66" fmla="*/ 1359 w 3371"/>
                <a:gd name="T67" fmla="*/ 1466 h 2285"/>
                <a:gd name="T68" fmla="*/ 1344 w 3371"/>
                <a:gd name="T69" fmla="*/ 1349 h 2285"/>
                <a:gd name="T70" fmla="*/ 1325 w 3371"/>
                <a:gd name="T71" fmla="*/ 1222 h 2285"/>
                <a:gd name="T72" fmla="*/ 1447 w 3371"/>
                <a:gd name="T73" fmla="*/ 978 h 2285"/>
                <a:gd name="T74" fmla="*/ 1578 w 3371"/>
                <a:gd name="T75" fmla="*/ 706 h 2285"/>
                <a:gd name="T76" fmla="*/ 1714 w 3371"/>
                <a:gd name="T77" fmla="*/ 652 h 2285"/>
                <a:gd name="T78" fmla="*/ 1783 w 3371"/>
                <a:gd name="T79" fmla="*/ 530 h 2285"/>
                <a:gd name="T80" fmla="*/ 1822 w 3371"/>
                <a:gd name="T81" fmla="*/ 501 h 2285"/>
                <a:gd name="T82" fmla="*/ 1944 w 3371"/>
                <a:gd name="T83" fmla="*/ 282 h 2285"/>
                <a:gd name="T84" fmla="*/ 1968 w 3371"/>
                <a:gd name="T85" fmla="*/ 185 h 2285"/>
                <a:gd name="T86" fmla="*/ 2002 w 3371"/>
                <a:gd name="T87" fmla="*/ 127 h 2285"/>
                <a:gd name="T88" fmla="*/ 2090 w 3371"/>
                <a:gd name="T89" fmla="*/ 112 h 2285"/>
                <a:gd name="T90" fmla="*/ 2168 w 3371"/>
                <a:gd name="T91" fmla="*/ 141 h 2285"/>
                <a:gd name="T92" fmla="*/ 2212 w 3371"/>
                <a:gd name="T93" fmla="*/ 0 h 2285"/>
                <a:gd name="T94" fmla="*/ 2275 w 3371"/>
                <a:gd name="T95" fmla="*/ 9 h 2285"/>
                <a:gd name="T96" fmla="*/ 2338 w 3371"/>
                <a:gd name="T97" fmla="*/ 48 h 2285"/>
                <a:gd name="T98" fmla="*/ 2504 w 3371"/>
                <a:gd name="T99" fmla="*/ 151 h 2285"/>
                <a:gd name="T100" fmla="*/ 2571 w 3371"/>
                <a:gd name="T101" fmla="*/ 180 h 2285"/>
                <a:gd name="T102" fmla="*/ 2557 w 3371"/>
                <a:gd name="T103" fmla="*/ 331 h 2285"/>
                <a:gd name="T104" fmla="*/ 2504 w 3371"/>
                <a:gd name="T105" fmla="*/ 462 h 2285"/>
                <a:gd name="T106" fmla="*/ 2523 w 3371"/>
                <a:gd name="T107" fmla="*/ 497 h 2285"/>
                <a:gd name="T108" fmla="*/ 2698 w 3371"/>
                <a:gd name="T109" fmla="*/ 492 h 2285"/>
                <a:gd name="T110" fmla="*/ 3288 w 3371"/>
                <a:gd name="T111" fmla="*/ 477 h 2285"/>
                <a:gd name="T112" fmla="*/ 3288 w 3371"/>
                <a:gd name="T113" fmla="*/ 477 h 2285"/>
                <a:gd name="T114" fmla="*/ 3224 w 3371"/>
                <a:gd name="T115" fmla="*/ 686 h 2285"/>
                <a:gd name="T116" fmla="*/ 3273 w 3371"/>
                <a:gd name="T117" fmla="*/ 793 h 2285"/>
                <a:gd name="T118" fmla="*/ 3337 w 3371"/>
                <a:gd name="T119" fmla="*/ 652 h 2285"/>
                <a:gd name="T120" fmla="*/ 3361 w 3371"/>
                <a:gd name="T121" fmla="*/ 458 h 2285"/>
                <a:gd name="T122" fmla="*/ 3288 w 3371"/>
                <a:gd name="T123" fmla="*/ 477 h 2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71" h="2285">
                  <a:moveTo>
                    <a:pt x="2864" y="472"/>
                  </a:moveTo>
                  <a:lnTo>
                    <a:pt x="2864" y="472"/>
                  </a:lnTo>
                  <a:cubicBezTo>
                    <a:pt x="2903" y="492"/>
                    <a:pt x="2908" y="525"/>
                    <a:pt x="2947" y="550"/>
                  </a:cubicBezTo>
                  <a:cubicBezTo>
                    <a:pt x="2952" y="550"/>
                    <a:pt x="2957" y="550"/>
                    <a:pt x="2961" y="550"/>
                  </a:cubicBezTo>
                  <a:cubicBezTo>
                    <a:pt x="2996" y="569"/>
                    <a:pt x="3025" y="589"/>
                    <a:pt x="3025" y="628"/>
                  </a:cubicBezTo>
                  <a:cubicBezTo>
                    <a:pt x="3025" y="696"/>
                    <a:pt x="3025" y="696"/>
                    <a:pt x="3025" y="696"/>
                  </a:cubicBezTo>
                  <a:cubicBezTo>
                    <a:pt x="2961" y="696"/>
                    <a:pt x="2961" y="696"/>
                    <a:pt x="2961" y="696"/>
                  </a:cubicBezTo>
                  <a:cubicBezTo>
                    <a:pt x="2947" y="696"/>
                    <a:pt x="2942" y="686"/>
                    <a:pt x="2933" y="682"/>
                  </a:cubicBezTo>
                  <a:cubicBezTo>
                    <a:pt x="2908" y="672"/>
                    <a:pt x="2893" y="667"/>
                    <a:pt x="2874" y="667"/>
                  </a:cubicBezTo>
                  <a:cubicBezTo>
                    <a:pt x="2859" y="667"/>
                    <a:pt x="2850" y="682"/>
                    <a:pt x="2839" y="686"/>
                  </a:cubicBezTo>
                  <a:cubicBezTo>
                    <a:pt x="2845" y="691"/>
                    <a:pt x="2839" y="701"/>
                    <a:pt x="2845" y="701"/>
                  </a:cubicBezTo>
                  <a:cubicBezTo>
                    <a:pt x="2854" y="706"/>
                    <a:pt x="2864" y="711"/>
                    <a:pt x="2874" y="716"/>
                  </a:cubicBezTo>
                  <a:cubicBezTo>
                    <a:pt x="2913" y="730"/>
                    <a:pt x="2933" y="750"/>
                    <a:pt x="2966" y="769"/>
                  </a:cubicBezTo>
                  <a:cubicBezTo>
                    <a:pt x="2991" y="784"/>
                    <a:pt x="3000" y="789"/>
                    <a:pt x="3025" y="798"/>
                  </a:cubicBezTo>
                  <a:cubicBezTo>
                    <a:pt x="3044" y="808"/>
                    <a:pt x="3064" y="813"/>
                    <a:pt x="3064" y="832"/>
                  </a:cubicBezTo>
                  <a:cubicBezTo>
                    <a:pt x="3064" y="857"/>
                    <a:pt x="3059" y="871"/>
                    <a:pt x="3039" y="886"/>
                  </a:cubicBezTo>
                  <a:cubicBezTo>
                    <a:pt x="3039" y="891"/>
                    <a:pt x="3030" y="886"/>
                    <a:pt x="3025" y="891"/>
                  </a:cubicBezTo>
                  <a:cubicBezTo>
                    <a:pt x="2996" y="911"/>
                    <a:pt x="2976" y="925"/>
                    <a:pt x="2942" y="925"/>
                  </a:cubicBezTo>
                  <a:cubicBezTo>
                    <a:pt x="2961" y="939"/>
                    <a:pt x="2976" y="945"/>
                    <a:pt x="3000" y="954"/>
                  </a:cubicBezTo>
                  <a:cubicBezTo>
                    <a:pt x="3049" y="984"/>
                    <a:pt x="3078" y="1008"/>
                    <a:pt x="3108" y="1056"/>
                  </a:cubicBezTo>
                  <a:cubicBezTo>
                    <a:pt x="3103" y="1056"/>
                    <a:pt x="3103" y="1066"/>
                    <a:pt x="3093" y="1066"/>
                  </a:cubicBezTo>
                  <a:cubicBezTo>
                    <a:pt x="3088" y="1066"/>
                    <a:pt x="3083" y="1061"/>
                    <a:pt x="3078" y="1061"/>
                  </a:cubicBezTo>
                  <a:cubicBezTo>
                    <a:pt x="3054" y="1056"/>
                    <a:pt x="3039" y="1047"/>
                    <a:pt x="3015" y="1047"/>
                  </a:cubicBezTo>
                  <a:cubicBezTo>
                    <a:pt x="2996" y="1047"/>
                    <a:pt x="2986" y="1052"/>
                    <a:pt x="2971" y="1056"/>
                  </a:cubicBezTo>
                  <a:cubicBezTo>
                    <a:pt x="2942" y="1061"/>
                    <a:pt x="2922" y="1061"/>
                    <a:pt x="2893" y="1076"/>
                  </a:cubicBezTo>
                  <a:cubicBezTo>
                    <a:pt x="2937" y="1086"/>
                    <a:pt x="2961" y="1100"/>
                    <a:pt x="3005" y="1110"/>
                  </a:cubicBezTo>
                  <a:cubicBezTo>
                    <a:pt x="3015" y="1110"/>
                    <a:pt x="3025" y="1110"/>
                    <a:pt x="3035" y="1115"/>
                  </a:cubicBezTo>
                  <a:cubicBezTo>
                    <a:pt x="3049" y="1120"/>
                    <a:pt x="3049" y="1130"/>
                    <a:pt x="3064" y="1130"/>
                  </a:cubicBezTo>
                  <a:cubicBezTo>
                    <a:pt x="3098" y="1130"/>
                    <a:pt x="3118" y="1130"/>
                    <a:pt x="3151" y="1130"/>
                  </a:cubicBezTo>
                  <a:cubicBezTo>
                    <a:pt x="3190" y="1130"/>
                    <a:pt x="3210" y="1115"/>
                    <a:pt x="3244" y="1115"/>
                  </a:cubicBezTo>
                  <a:cubicBezTo>
                    <a:pt x="3254" y="1115"/>
                    <a:pt x="3268" y="1115"/>
                    <a:pt x="3273" y="1120"/>
                  </a:cubicBezTo>
                  <a:cubicBezTo>
                    <a:pt x="3278" y="1125"/>
                    <a:pt x="3278" y="1130"/>
                    <a:pt x="3278" y="1135"/>
                  </a:cubicBezTo>
                  <a:cubicBezTo>
                    <a:pt x="3288" y="1154"/>
                    <a:pt x="3293" y="1169"/>
                    <a:pt x="3307" y="1183"/>
                  </a:cubicBezTo>
                  <a:cubicBezTo>
                    <a:pt x="3331" y="1207"/>
                    <a:pt x="3356" y="1217"/>
                    <a:pt x="3370" y="1246"/>
                  </a:cubicBezTo>
                  <a:cubicBezTo>
                    <a:pt x="3351" y="1257"/>
                    <a:pt x="3342" y="1261"/>
                    <a:pt x="3322" y="1266"/>
                  </a:cubicBezTo>
                  <a:cubicBezTo>
                    <a:pt x="3322" y="1281"/>
                    <a:pt x="3322" y="1281"/>
                    <a:pt x="3322" y="1281"/>
                  </a:cubicBezTo>
                  <a:cubicBezTo>
                    <a:pt x="3331" y="1305"/>
                    <a:pt x="3331" y="1305"/>
                    <a:pt x="3331" y="1305"/>
                  </a:cubicBezTo>
                  <a:lnTo>
                    <a:pt x="3331" y="1305"/>
                  </a:lnTo>
                  <a:cubicBezTo>
                    <a:pt x="828" y="2070"/>
                    <a:pt x="828" y="2070"/>
                    <a:pt x="828" y="2070"/>
                  </a:cubicBezTo>
                  <a:lnTo>
                    <a:pt x="828" y="2070"/>
                  </a:lnTo>
                  <a:cubicBezTo>
                    <a:pt x="0" y="2284"/>
                    <a:pt x="0" y="2284"/>
                    <a:pt x="0" y="2284"/>
                  </a:cubicBezTo>
                  <a:lnTo>
                    <a:pt x="0" y="2284"/>
                  </a:lnTo>
                  <a:cubicBezTo>
                    <a:pt x="48" y="2230"/>
                    <a:pt x="78" y="2196"/>
                    <a:pt x="136" y="2147"/>
                  </a:cubicBezTo>
                  <a:cubicBezTo>
                    <a:pt x="190" y="2114"/>
                    <a:pt x="224" y="2099"/>
                    <a:pt x="273" y="2050"/>
                  </a:cubicBezTo>
                  <a:cubicBezTo>
                    <a:pt x="283" y="2040"/>
                    <a:pt x="292" y="2040"/>
                    <a:pt x="302" y="2031"/>
                  </a:cubicBezTo>
                  <a:cubicBezTo>
                    <a:pt x="312" y="2006"/>
                    <a:pt x="312" y="1992"/>
                    <a:pt x="322" y="1967"/>
                  </a:cubicBezTo>
                  <a:cubicBezTo>
                    <a:pt x="336" y="1948"/>
                    <a:pt x="355" y="1948"/>
                    <a:pt x="365" y="1934"/>
                  </a:cubicBezTo>
                  <a:cubicBezTo>
                    <a:pt x="390" y="1899"/>
                    <a:pt x="365" y="1860"/>
                    <a:pt x="390" y="1826"/>
                  </a:cubicBezTo>
                  <a:cubicBezTo>
                    <a:pt x="394" y="1812"/>
                    <a:pt x="404" y="1812"/>
                    <a:pt x="419" y="1802"/>
                  </a:cubicBezTo>
                  <a:cubicBezTo>
                    <a:pt x="448" y="1782"/>
                    <a:pt x="468" y="1773"/>
                    <a:pt x="487" y="1744"/>
                  </a:cubicBezTo>
                  <a:cubicBezTo>
                    <a:pt x="497" y="1733"/>
                    <a:pt x="501" y="1724"/>
                    <a:pt x="507" y="1714"/>
                  </a:cubicBezTo>
                  <a:cubicBezTo>
                    <a:pt x="516" y="1699"/>
                    <a:pt x="526" y="1694"/>
                    <a:pt x="536" y="1680"/>
                  </a:cubicBezTo>
                  <a:cubicBezTo>
                    <a:pt x="560" y="1627"/>
                    <a:pt x="570" y="1592"/>
                    <a:pt x="580" y="1534"/>
                  </a:cubicBezTo>
                  <a:lnTo>
                    <a:pt x="580" y="1534"/>
                  </a:lnTo>
                  <a:cubicBezTo>
                    <a:pt x="590" y="1534"/>
                    <a:pt x="609" y="1529"/>
                    <a:pt x="619" y="1534"/>
                  </a:cubicBezTo>
                  <a:cubicBezTo>
                    <a:pt x="643" y="1553"/>
                    <a:pt x="643" y="1583"/>
                    <a:pt x="658" y="1612"/>
                  </a:cubicBezTo>
                  <a:cubicBezTo>
                    <a:pt x="677" y="1641"/>
                    <a:pt x="701" y="1646"/>
                    <a:pt x="731" y="1660"/>
                  </a:cubicBezTo>
                  <a:cubicBezTo>
                    <a:pt x="760" y="1670"/>
                    <a:pt x="780" y="1680"/>
                    <a:pt x="804" y="1699"/>
                  </a:cubicBezTo>
                  <a:cubicBezTo>
                    <a:pt x="818" y="1705"/>
                    <a:pt x="823" y="1714"/>
                    <a:pt x="838" y="1719"/>
                  </a:cubicBezTo>
                  <a:cubicBezTo>
                    <a:pt x="857" y="1729"/>
                    <a:pt x="877" y="1729"/>
                    <a:pt x="896" y="1733"/>
                  </a:cubicBezTo>
                  <a:cubicBezTo>
                    <a:pt x="896" y="1641"/>
                    <a:pt x="896" y="1641"/>
                    <a:pt x="896" y="1641"/>
                  </a:cubicBezTo>
                  <a:cubicBezTo>
                    <a:pt x="896" y="1627"/>
                    <a:pt x="906" y="1617"/>
                    <a:pt x="906" y="1602"/>
                  </a:cubicBezTo>
                  <a:cubicBezTo>
                    <a:pt x="945" y="1607"/>
                    <a:pt x="969" y="1592"/>
                    <a:pt x="1008" y="1578"/>
                  </a:cubicBezTo>
                  <a:cubicBezTo>
                    <a:pt x="1057" y="1563"/>
                    <a:pt x="1086" y="1558"/>
                    <a:pt x="1130" y="1544"/>
                  </a:cubicBezTo>
                  <a:cubicBezTo>
                    <a:pt x="1159" y="1534"/>
                    <a:pt x="1174" y="1514"/>
                    <a:pt x="1208" y="1500"/>
                  </a:cubicBezTo>
                  <a:cubicBezTo>
                    <a:pt x="1232" y="1485"/>
                    <a:pt x="1252" y="1481"/>
                    <a:pt x="1281" y="1470"/>
                  </a:cubicBezTo>
                  <a:cubicBezTo>
                    <a:pt x="1300" y="1470"/>
                    <a:pt x="1300" y="1470"/>
                    <a:pt x="1300" y="1470"/>
                  </a:cubicBezTo>
                  <a:cubicBezTo>
                    <a:pt x="1320" y="1466"/>
                    <a:pt x="1335" y="1466"/>
                    <a:pt x="1359" y="1466"/>
                  </a:cubicBezTo>
                  <a:cubicBezTo>
                    <a:pt x="1359" y="1412"/>
                    <a:pt x="1359" y="1412"/>
                    <a:pt x="1359" y="1412"/>
                  </a:cubicBezTo>
                  <a:cubicBezTo>
                    <a:pt x="1359" y="1387"/>
                    <a:pt x="1349" y="1373"/>
                    <a:pt x="1344" y="1349"/>
                  </a:cubicBezTo>
                  <a:cubicBezTo>
                    <a:pt x="1339" y="1320"/>
                    <a:pt x="1344" y="1300"/>
                    <a:pt x="1339" y="1266"/>
                  </a:cubicBezTo>
                  <a:cubicBezTo>
                    <a:pt x="1335" y="1251"/>
                    <a:pt x="1325" y="1241"/>
                    <a:pt x="1325" y="1222"/>
                  </a:cubicBezTo>
                  <a:cubicBezTo>
                    <a:pt x="1325" y="1183"/>
                    <a:pt x="1344" y="1164"/>
                    <a:pt x="1359" y="1130"/>
                  </a:cubicBezTo>
                  <a:cubicBezTo>
                    <a:pt x="1388" y="1071"/>
                    <a:pt x="1418" y="1037"/>
                    <a:pt x="1447" y="978"/>
                  </a:cubicBezTo>
                  <a:cubicBezTo>
                    <a:pt x="1466" y="945"/>
                    <a:pt x="1466" y="920"/>
                    <a:pt x="1481" y="881"/>
                  </a:cubicBezTo>
                  <a:cubicBezTo>
                    <a:pt x="1510" y="813"/>
                    <a:pt x="1549" y="779"/>
                    <a:pt x="1578" y="706"/>
                  </a:cubicBezTo>
                  <a:cubicBezTo>
                    <a:pt x="1603" y="711"/>
                    <a:pt x="1617" y="716"/>
                    <a:pt x="1637" y="716"/>
                  </a:cubicBezTo>
                  <a:cubicBezTo>
                    <a:pt x="1676" y="716"/>
                    <a:pt x="1695" y="686"/>
                    <a:pt x="1714" y="652"/>
                  </a:cubicBezTo>
                  <a:cubicBezTo>
                    <a:pt x="1729" y="623"/>
                    <a:pt x="1749" y="608"/>
                    <a:pt x="1764" y="580"/>
                  </a:cubicBezTo>
                  <a:cubicBezTo>
                    <a:pt x="1773" y="560"/>
                    <a:pt x="1778" y="550"/>
                    <a:pt x="1783" y="530"/>
                  </a:cubicBezTo>
                  <a:cubicBezTo>
                    <a:pt x="1783" y="521"/>
                    <a:pt x="1783" y="511"/>
                    <a:pt x="1788" y="501"/>
                  </a:cubicBezTo>
                  <a:cubicBezTo>
                    <a:pt x="1797" y="497"/>
                    <a:pt x="1812" y="506"/>
                    <a:pt x="1822" y="501"/>
                  </a:cubicBezTo>
                  <a:cubicBezTo>
                    <a:pt x="1846" y="492"/>
                    <a:pt x="1851" y="467"/>
                    <a:pt x="1861" y="448"/>
                  </a:cubicBezTo>
                  <a:cubicBezTo>
                    <a:pt x="1895" y="384"/>
                    <a:pt x="1924" y="350"/>
                    <a:pt x="1944" y="282"/>
                  </a:cubicBezTo>
                  <a:cubicBezTo>
                    <a:pt x="1953" y="258"/>
                    <a:pt x="1963" y="243"/>
                    <a:pt x="1968" y="214"/>
                  </a:cubicBezTo>
                  <a:cubicBezTo>
                    <a:pt x="1968" y="204"/>
                    <a:pt x="1963" y="194"/>
                    <a:pt x="1968" y="185"/>
                  </a:cubicBezTo>
                  <a:cubicBezTo>
                    <a:pt x="1973" y="166"/>
                    <a:pt x="1982" y="155"/>
                    <a:pt x="1987" y="141"/>
                  </a:cubicBezTo>
                  <a:cubicBezTo>
                    <a:pt x="1992" y="136"/>
                    <a:pt x="1997" y="131"/>
                    <a:pt x="2002" y="127"/>
                  </a:cubicBezTo>
                  <a:cubicBezTo>
                    <a:pt x="2007" y="116"/>
                    <a:pt x="2002" y="97"/>
                    <a:pt x="2016" y="97"/>
                  </a:cubicBezTo>
                  <a:cubicBezTo>
                    <a:pt x="2046" y="97"/>
                    <a:pt x="2060" y="102"/>
                    <a:pt x="2090" y="112"/>
                  </a:cubicBezTo>
                  <a:cubicBezTo>
                    <a:pt x="2109" y="116"/>
                    <a:pt x="2119" y="116"/>
                    <a:pt x="2138" y="121"/>
                  </a:cubicBezTo>
                  <a:cubicBezTo>
                    <a:pt x="2148" y="127"/>
                    <a:pt x="2153" y="141"/>
                    <a:pt x="2168" y="141"/>
                  </a:cubicBezTo>
                  <a:cubicBezTo>
                    <a:pt x="2192" y="141"/>
                    <a:pt x="2192" y="112"/>
                    <a:pt x="2197" y="88"/>
                  </a:cubicBezTo>
                  <a:cubicBezTo>
                    <a:pt x="2206" y="53"/>
                    <a:pt x="2212" y="34"/>
                    <a:pt x="2212" y="0"/>
                  </a:cubicBezTo>
                  <a:lnTo>
                    <a:pt x="2212" y="0"/>
                  </a:lnTo>
                  <a:cubicBezTo>
                    <a:pt x="2236" y="0"/>
                    <a:pt x="2250" y="5"/>
                    <a:pt x="2275" y="9"/>
                  </a:cubicBezTo>
                  <a:cubicBezTo>
                    <a:pt x="2294" y="9"/>
                    <a:pt x="2309" y="5"/>
                    <a:pt x="2323" y="14"/>
                  </a:cubicBezTo>
                  <a:cubicBezTo>
                    <a:pt x="2333" y="24"/>
                    <a:pt x="2333" y="34"/>
                    <a:pt x="2338" y="48"/>
                  </a:cubicBezTo>
                  <a:cubicBezTo>
                    <a:pt x="2353" y="77"/>
                    <a:pt x="2362" y="112"/>
                    <a:pt x="2397" y="116"/>
                  </a:cubicBezTo>
                  <a:cubicBezTo>
                    <a:pt x="2441" y="127"/>
                    <a:pt x="2460" y="151"/>
                    <a:pt x="2504" y="151"/>
                  </a:cubicBezTo>
                  <a:cubicBezTo>
                    <a:pt x="2571" y="151"/>
                    <a:pt x="2571" y="151"/>
                    <a:pt x="2571" y="151"/>
                  </a:cubicBezTo>
                  <a:cubicBezTo>
                    <a:pt x="2571" y="180"/>
                    <a:pt x="2571" y="180"/>
                    <a:pt x="2571" y="180"/>
                  </a:cubicBezTo>
                  <a:cubicBezTo>
                    <a:pt x="2571" y="209"/>
                    <a:pt x="2567" y="224"/>
                    <a:pt x="2567" y="253"/>
                  </a:cubicBezTo>
                  <a:cubicBezTo>
                    <a:pt x="2562" y="282"/>
                    <a:pt x="2567" y="302"/>
                    <a:pt x="2557" y="331"/>
                  </a:cubicBezTo>
                  <a:cubicBezTo>
                    <a:pt x="2547" y="370"/>
                    <a:pt x="2528" y="394"/>
                    <a:pt x="2513" y="433"/>
                  </a:cubicBezTo>
                  <a:cubicBezTo>
                    <a:pt x="2508" y="448"/>
                    <a:pt x="2504" y="453"/>
                    <a:pt x="2504" y="462"/>
                  </a:cubicBezTo>
                  <a:cubicBezTo>
                    <a:pt x="2504" y="497"/>
                    <a:pt x="2504" y="497"/>
                    <a:pt x="2504" y="497"/>
                  </a:cubicBezTo>
                  <a:cubicBezTo>
                    <a:pt x="2508" y="497"/>
                    <a:pt x="2513" y="497"/>
                    <a:pt x="2523" y="497"/>
                  </a:cubicBezTo>
                  <a:cubicBezTo>
                    <a:pt x="2557" y="497"/>
                    <a:pt x="2577" y="492"/>
                    <a:pt x="2606" y="486"/>
                  </a:cubicBezTo>
                  <a:cubicBezTo>
                    <a:pt x="2645" y="486"/>
                    <a:pt x="2665" y="492"/>
                    <a:pt x="2698" y="492"/>
                  </a:cubicBezTo>
                  <a:cubicBezTo>
                    <a:pt x="2762" y="492"/>
                    <a:pt x="2801" y="486"/>
                    <a:pt x="2864" y="472"/>
                  </a:cubicBezTo>
                  <a:close/>
                  <a:moveTo>
                    <a:pt x="3288" y="477"/>
                  </a:moveTo>
                  <a:lnTo>
                    <a:pt x="3288" y="477"/>
                  </a:lnTo>
                  <a:lnTo>
                    <a:pt x="3288" y="477"/>
                  </a:lnTo>
                  <a:cubicBezTo>
                    <a:pt x="3293" y="486"/>
                    <a:pt x="3293" y="497"/>
                    <a:pt x="3293" y="506"/>
                  </a:cubicBezTo>
                  <a:cubicBezTo>
                    <a:pt x="3293" y="584"/>
                    <a:pt x="3224" y="613"/>
                    <a:pt x="3224" y="686"/>
                  </a:cubicBezTo>
                  <a:cubicBezTo>
                    <a:pt x="3224" y="750"/>
                    <a:pt x="3254" y="779"/>
                    <a:pt x="3254" y="837"/>
                  </a:cubicBezTo>
                  <a:cubicBezTo>
                    <a:pt x="3264" y="823"/>
                    <a:pt x="3268" y="808"/>
                    <a:pt x="3273" y="793"/>
                  </a:cubicBezTo>
                  <a:cubicBezTo>
                    <a:pt x="3288" y="760"/>
                    <a:pt x="3312" y="750"/>
                    <a:pt x="3322" y="716"/>
                  </a:cubicBezTo>
                  <a:cubicBezTo>
                    <a:pt x="3331" y="696"/>
                    <a:pt x="3327" y="677"/>
                    <a:pt x="3337" y="652"/>
                  </a:cubicBezTo>
                  <a:cubicBezTo>
                    <a:pt x="3351" y="608"/>
                    <a:pt x="3356" y="580"/>
                    <a:pt x="3361" y="530"/>
                  </a:cubicBezTo>
                  <a:cubicBezTo>
                    <a:pt x="3366" y="501"/>
                    <a:pt x="3361" y="482"/>
                    <a:pt x="3361" y="458"/>
                  </a:cubicBezTo>
                  <a:lnTo>
                    <a:pt x="3361" y="458"/>
                  </a:lnTo>
                  <a:cubicBezTo>
                    <a:pt x="3342" y="467"/>
                    <a:pt x="3312" y="472"/>
                    <a:pt x="3288" y="477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41" name="Freeform 86"/>
            <p:cNvSpPr>
              <a:spLocks noChangeArrowheads="1"/>
            </p:cNvSpPr>
            <p:nvPr/>
          </p:nvSpPr>
          <p:spPr bwMode="auto">
            <a:xfrm>
              <a:off x="11271890" y="6774682"/>
              <a:ext cx="1915366" cy="1128572"/>
            </a:xfrm>
            <a:custGeom>
              <a:avLst/>
              <a:gdLst>
                <a:gd name="T0" fmla="*/ 0 w 3021"/>
                <a:gd name="T1" fmla="*/ 1519 h 1783"/>
                <a:gd name="T2" fmla="*/ 34 w 3021"/>
                <a:gd name="T3" fmla="*/ 1606 h 1783"/>
                <a:gd name="T4" fmla="*/ 44 w 3021"/>
                <a:gd name="T5" fmla="*/ 1782 h 1783"/>
                <a:gd name="T6" fmla="*/ 244 w 3021"/>
                <a:gd name="T7" fmla="*/ 1758 h 1783"/>
                <a:gd name="T8" fmla="*/ 360 w 3021"/>
                <a:gd name="T9" fmla="*/ 1743 h 1783"/>
                <a:gd name="T10" fmla="*/ 575 w 3021"/>
                <a:gd name="T11" fmla="*/ 1665 h 1783"/>
                <a:gd name="T12" fmla="*/ 1690 w 3021"/>
                <a:gd name="T13" fmla="*/ 1426 h 1783"/>
                <a:gd name="T14" fmla="*/ 1816 w 3021"/>
                <a:gd name="T15" fmla="*/ 1446 h 1783"/>
                <a:gd name="T16" fmla="*/ 2411 w 3021"/>
                <a:gd name="T17" fmla="*/ 1344 h 1783"/>
                <a:gd name="T18" fmla="*/ 2440 w 3021"/>
                <a:gd name="T19" fmla="*/ 1334 h 1783"/>
                <a:gd name="T20" fmla="*/ 2713 w 3021"/>
                <a:gd name="T21" fmla="*/ 1100 h 1783"/>
                <a:gd name="T22" fmla="*/ 2762 w 3021"/>
                <a:gd name="T23" fmla="*/ 1017 h 1783"/>
                <a:gd name="T24" fmla="*/ 2830 w 3021"/>
                <a:gd name="T25" fmla="*/ 876 h 1783"/>
                <a:gd name="T26" fmla="*/ 2927 w 3021"/>
                <a:gd name="T27" fmla="*/ 794 h 1783"/>
                <a:gd name="T28" fmla="*/ 2976 w 3021"/>
                <a:gd name="T29" fmla="*/ 730 h 1783"/>
                <a:gd name="T30" fmla="*/ 3020 w 3021"/>
                <a:gd name="T31" fmla="*/ 584 h 1783"/>
                <a:gd name="T32" fmla="*/ 2864 w 3021"/>
                <a:gd name="T33" fmla="*/ 501 h 1783"/>
                <a:gd name="T34" fmla="*/ 2844 w 3021"/>
                <a:gd name="T35" fmla="*/ 482 h 1783"/>
                <a:gd name="T36" fmla="*/ 2795 w 3021"/>
                <a:gd name="T37" fmla="*/ 389 h 1783"/>
                <a:gd name="T38" fmla="*/ 2718 w 3021"/>
                <a:gd name="T39" fmla="*/ 180 h 1783"/>
                <a:gd name="T40" fmla="*/ 2674 w 3021"/>
                <a:gd name="T41" fmla="*/ 131 h 1783"/>
                <a:gd name="T42" fmla="*/ 2543 w 3021"/>
                <a:gd name="T43" fmla="*/ 63 h 1783"/>
                <a:gd name="T44" fmla="*/ 2464 w 3021"/>
                <a:gd name="T45" fmla="*/ 14 h 1783"/>
                <a:gd name="T46" fmla="*/ 2343 w 3021"/>
                <a:gd name="T47" fmla="*/ 92 h 1783"/>
                <a:gd name="T48" fmla="*/ 2192 w 3021"/>
                <a:gd name="T49" fmla="*/ 111 h 1783"/>
                <a:gd name="T50" fmla="*/ 1997 w 3021"/>
                <a:gd name="T51" fmla="*/ 82 h 1783"/>
                <a:gd name="T52" fmla="*/ 1933 w 3021"/>
                <a:gd name="T53" fmla="*/ 82 h 1783"/>
                <a:gd name="T54" fmla="*/ 1894 w 3021"/>
                <a:gd name="T55" fmla="*/ 34 h 1783"/>
                <a:gd name="T56" fmla="*/ 1763 w 3021"/>
                <a:gd name="T57" fmla="*/ 34 h 1783"/>
                <a:gd name="T58" fmla="*/ 1719 w 3021"/>
                <a:gd name="T59" fmla="*/ 24 h 1783"/>
                <a:gd name="T60" fmla="*/ 1690 w 3021"/>
                <a:gd name="T61" fmla="*/ 111 h 1783"/>
                <a:gd name="T62" fmla="*/ 1753 w 3021"/>
                <a:gd name="T63" fmla="*/ 214 h 1783"/>
                <a:gd name="T64" fmla="*/ 1588 w 3021"/>
                <a:gd name="T65" fmla="*/ 263 h 1783"/>
                <a:gd name="T66" fmla="*/ 1413 w 3021"/>
                <a:gd name="T67" fmla="*/ 433 h 1783"/>
                <a:gd name="T68" fmla="*/ 1349 w 3021"/>
                <a:gd name="T69" fmla="*/ 550 h 1783"/>
                <a:gd name="T70" fmla="*/ 1217 w 3021"/>
                <a:gd name="T71" fmla="*/ 749 h 1783"/>
                <a:gd name="T72" fmla="*/ 1110 w 3021"/>
                <a:gd name="T73" fmla="*/ 667 h 1783"/>
                <a:gd name="T74" fmla="*/ 1062 w 3021"/>
                <a:gd name="T75" fmla="*/ 691 h 1783"/>
                <a:gd name="T76" fmla="*/ 1062 w 3021"/>
                <a:gd name="T77" fmla="*/ 764 h 1783"/>
                <a:gd name="T78" fmla="*/ 1062 w 3021"/>
                <a:gd name="T79" fmla="*/ 818 h 1783"/>
                <a:gd name="T80" fmla="*/ 959 w 3021"/>
                <a:gd name="T81" fmla="*/ 818 h 1783"/>
                <a:gd name="T82" fmla="*/ 867 w 3021"/>
                <a:gd name="T83" fmla="*/ 881 h 1783"/>
                <a:gd name="T84" fmla="*/ 760 w 3021"/>
                <a:gd name="T85" fmla="*/ 964 h 1783"/>
                <a:gd name="T86" fmla="*/ 686 w 3021"/>
                <a:gd name="T87" fmla="*/ 925 h 1783"/>
                <a:gd name="T88" fmla="*/ 594 w 3021"/>
                <a:gd name="T89" fmla="*/ 910 h 1783"/>
                <a:gd name="T90" fmla="*/ 531 w 3021"/>
                <a:gd name="T91" fmla="*/ 984 h 1783"/>
                <a:gd name="T92" fmla="*/ 487 w 3021"/>
                <a:gd name="T93" fmla="*/ 973 h 1783"/>
                <a:gd name="T94" fmla="*/ 433 w 3021"/>
                <a:gd name="T95" fmla="*/ 1061 h 1783"/>
                <a:gd name="T96" fmla="*/ 438 w 3021"/>
                <a:gd name="T97" fmla="*/ 1158 h 1783"/>
                <a:gd name="T98" fmla="*/ 419 w 3021"/>
                <a:gd name="T99" fmla="*/ 1208 h 1783"/>
                <a:gd name="T100" fmla="*/ 282 w 3021"/>
                <a:gd name="T101" fmla="*/ 1280 h 1783"/>
                <a:gd name="T102" fmla="*/ 287 w 3021"/>
                <a:gd name="T103" fmla="*/ 1465 h 1783"/>
                <a:gd name="T104" fmla="*/ 180 w 3021"/>
                <a:gd name="T105" fmla="*/ 1431 h 1783"/>
                <a:gd name="T106" fmla="*/ 63 w 3021"/>
                <a:gd name="T107" fmla="*/ 1388 h 1783"/>
                <a:gd name="T108" fmla="*/ 0 w 3021"/>
                <a:gd name="T109" fmla="*/ 1519 h 1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21" h="1783">
                  <a:moveTo>
                    <a:pt x="0" y="1519"/>
                  </a:moveTo>
                  <a:lnTo>
                    <a:pt x="0" y="1519"/>
                  </a:lnTo>
                  <a:cubicBezTo>
                    <a:pt x="9" y="1524"/>
                    <a:pt x="24" y="1524"/>
                    <a:pt x="29" y="1534"/>
                  </a:cubicBezTo>
                  <a:cubicBezTo>
                    <a:pt x="48" y="1553"/>
                    <a:pt x="34" y="1578"/>
                    <a:pt x="34" y="1606"/>
                  </a:cubicBezTo>
                  <a:cubicBezTo>
                    <a:pt x="34" y="1699"/>
                    <a:pt x="34" y="1699"/>
                    <a:pt x="34" y="1699"/>
                  </a:cubicBezTo>
                  <a:cubicBezTo>
                    <a:pt x="34" y="1728"/>
                    <a:pt x="44" y="1753"/>
                    <a:pt x="44" y="1782"/>
                  </a:cubicBezTo>
                  <a:lnTo>
                    <a:pt x="44" y="1782"/>
                  </a:lnTo>
                  <a:cubicBezTo>
                    <a:pt x="117" y="1772"/>
                    <a:pt x="170" y="1767"/>
                    <a:pt x="244" y="1758"/>
                  </a:cubicBezTo>
                  <a:cubicBezTo>
                    <a:pt x="258" y="1753"/>
                    <a:pt x="268" y="1748"/>
                    <a:pt x="287" y="1748"/>
                  </a:cubicBezTo>
                  <a:cubicBezTo>
                    <a:pt x="316" y="1743"/>
                    <a:pt x="331" y="1743"/>
                    <a:pt x="360" y="1743"/>
                  </a:cubicBezTo>
                  <a:cubicBezTo>
                    <a:pt x="433" y="1733"/>
                    <a:pt x="467" y="1709"/>
                    <a:pt x="526" y="1680"/>
                  </a:cubicBezTo>
                  <a:cubicBezTo>
                    <a:pt x="545" y="1670"/>
                    <a:pt x="555" y="1670"/>
                    <a:pt x="575" y="1665"/>
                  </a:cubicBezTo>
                  <a:cubicBezTo>
                    <a:pt x="609" y="1646"/>
                    <a:pt x="628" y="1636"/>
                    <a:pt x="667" y="1626"/>
                  </a:cubicBezTo>
                  <a:cubicBezTo>
                    <a:pt x="1690" y="1426"/>
                    <a:pt x="1690" y="1426"/>
                    <a:pt x="1690" y="1426"/>
                  </a:cubicBezTo>
                  <a:cubicBezTo>
                    <a:pt x="1714" y="1431"/>
                    <a:pt x="1724" y="1441"/>
                    <a:pt x="1748" y="1446"/>
                  </a:cubicBezTo>
                  <a:cubicBezTo>
                    <a:pt x="1772" y="1446"/>
                    <a:pt x="1792" y="1446"/>
                    <a:pt x="1816" y="1446"/>
                  </a:cubicBezTo>
                  <a:cubicBezTo>
                    <a:pt x="2362" y="1334"/>
                    <a:pt x="2362" y="1334"/>
                    <a:pt x="2362" y="1334"/>
                  </a:cubicBezTo>
                  <a:cubicBezTo>
                    <a:pt x="2411" y="1344"/>
                    <a:pt x="2411" y="1344"/>
                    <a:pt x="2411" y="1344"/>
                  </a:cubicBezTo>
                  <a:cubicBezTo>
                    <a:pt x="2440" y="1334"/>
                    <a:pt x="2440" y="1334"/>
                    <a:pt x="2440" y="1334"/>
                  </a:cubicBezTo>
                  <a:lnTo>
                    <a:pt x="2440" y="1334"/>
                  </a:lnTo>
                  <a:cubicBezTo>
                    <a:pt x="2488" y="1280"/>
                    <a:pt x="2518" y="1246"/>
                    <a:pt x="2576" y="1197"/>
                  </a:cubicBezTo>
                  <a:cubicBezTo>
                    <a:pt x="2630" y="1164"/>
                    <a:pt x="2664" y="1149"/>
                    <a:pt x="2713" y="1100"/>
                  </a:cubicBezTo>
                  <a:cubicBezTo>
                    <a:pt x="2723" y="1090"/>
                    <a:pt x="2732" y="1090"/>
                    <a:pt x="2742" y="1081"/>
                  </a:cubicBezTo>
                  <a:cubicBezTo>
                    <a:pt x="2752" y="1056"/>
                    <a:pt x="2752" y="1042"/>
                    <a:pt x="2762" y="1017"/>
                  </a:cubicBezTo>
                  <a:cubicBezTo>
                    <a:pt x="2776" y="998"/>
                    <a:pt x="2795" y="998"/>
                    <a:pt x="2805" y="984"/>
                  </a:cubicBezTo>
                  <a:cubicBezTo>
                    <a:pt x="2830" y="949"/>
                    <a:pt x="2805" y="910"/>
                    <a:pt x="2830" y="876"/>
                  </a:cubicBezTo>
                  <a:cubicBezTo>
                    <a:pt x="2834" y="862"/>
                    <a:pt x="2844" y="862"/>
                    <a:pt x="2859" y="852"/>
                  </a:cubicBezTo>
                  <a:cubicBezTo>
                    <a:pt x="2888" y="832"/>
                    <a:pt x="2908" y="823"/>
                    <a:pt x="2927" y="794"/>
                  </a:cubicBezTo>
                  <a:cubicBezTo>
                    <a:pt x="2937" y="783"/>
                    <a:pt x="2941" y="774"/>
                    <a:pt x="2947" y="764"/>
                  </a:cubicBezTo>
                  <a:cubicBezTo>
                    <a:pt x="2956" y="749"/>
                    <a:pt x="2966" y="744"/>
                    <a:pt x="2976" y="730"/>
                  </a:cubicBezTo>
                  <a:cubicBezTo>
                    <a:pt x="3000" y="677"/>
                    <a:pt x="3010" y="642"/>
                    <a:pt x="3020" y="584"/>
                  </a:cubicBezTo>
                  <a:lnTo>
                    <a:pt x="3020" y="584"/>
                  </a:lnTo>
                  <a:cubicBezTo>
                    <a:pt x="3005" y="579"/>
                    <a:pt x="2985" y="579"/>
                    <a:pt x="2966" y="574"/>
                  </a:cubicBezTo>
                  <a:cubicBezTo>
                    <a:pt x="2922" y="559"/>
                    <a:pt x="2898" y="535"/>
                    <a:pt x="2864" y="501"/>
                  </a:cubicBezTo>
                  <a:cubicBezTo>
                    <a:pt x="2859" y="496"/>
                    <a:pt x="2864" y="492"/>
                    <a:pt x="2859" y="487"/>
                  </a:cubicBezTo>
                  <a:cubicBezTo>
                    <a:pt x="2854" y="482"/>
                    <a:pt x="2849" y="482"/>
                    <a:pt x="2844" y="482"/>
                  </a:cubicBezTo>
                  <a:cubicBezTo>
                    <a:pt x="2825" y="462"/>
                    <a:pt x="2815" y="442"/>
                    <a:pt x="2805" y="418"/>
                  </a:cubicBezTo>
                  <a:cubicBezTo>
                    <a:pt x="2800" y="409"/>
                    <a:pt x="2800" y="399"/>
                    <a:pt x="2795" y="389"/>
                  </a:cubicBezTo>
                  <a:cubicBezTo>
                    <a:pt x="2791" y="365"/>
                    <a:pt x="2776" y="355"/>
                    <a:pt x="2767" y="331"/>
                  </a:cubicBezTo>
                  <a:cubicBezTo>
                    <a:pt x="2747" y="272"/>
                    <a:pt x="2742" y="238"/>
                    <a:pt x="2718" y="180"/>
                  </a:cubicBezTo>
                  <a:lnTo>
                    <a:pt x="2718" y="180"/>
                  </a:lnTo>
                  <a:cubicBezTo>
                    <a:pt x="2708" y="160"/>
                    <a:pt x="2693" y="150"/>
                    <a:pt x="2674" y="131"/>
                  </a:cubicBezTo>
                  <a:cubicBezTo>
                    <a:pt x="2649" y="106"/>
                    <a:pt x="2635" y="87"/>
                    <a:pt x="2601" y="82"/>
                  </a:cubicBezTo>
                  <a:cubicBezTo>
                    <a:pt x="2576" y="78"/>
                    <a:pt x="2562" y="73"/>
                    <a:pt x="2543" y="63"/>
                  </a:cubicBezTo>
                  <a:cubicBezTo>
                    <a:pt x="2513" y="43"/>
                    <a:pt x="2513" y="0"/>
                    <a:pt x="2479" y="0"/>
                  </a:cubicBezTo>
                  <a:cubicBezTo>
                    <a:pt x="2474" y="0"/>
                    <a:pt x="2474" y="9"/>
                    <a:pt x="2464" y="14"/>
                  </a:cubicBezTo>
                  <a:cubicBezTo>
                    <a:pt x="2455" y="19"/>
                    <a:pt x="2445" y="24"/>
                    <a:pt x="2435" y="34"/>
                  </a:cubicBezTo>
                  <a:cubicBezTo>
                    <a:pt x="2401" y="58"/>
                    <a:pt x="2386" y="92"/>
                    <a:pt x="2343" y="92"/>
                  </a:cubicBezTo>
                  <a:cubicBezTo>
                    <a:pt x="2303" y="92"/>
                    <a:pt x="2284" y="73"/>
                    <a:pt x="2245" y="73"/>
                  </a:cubicBezTo>
                  <a:cubicBezTo>
                    <a:pt x="2216" y="73"/>
                    <a:pt x="2206" y="92"/>
                    <a:pt x="2192" y="111"/>
                  </a:cubicBezTo>
                  <a:cubicBezTo>
                    <a:pt x="2070" y="82"/>
                    <a:pt x="2070" y="82"/>
                    <a:pt x="2070" y="82"/>
                  </a:cubicBezTo>
                  <a:cubicBezTo>
                    <a:pt x="1997" y="82"/>
                    <a:pt x="1997" y="82"/>
                    <a:pt x="1997" y="82"/>
                  </a:cubicBezTo>
                  <a:cubicBezTo>
                    <a:pt x="1963" y="92"/>
                    <a:pt x="1963" y="92"/>
                    <a:pt x="1963" y="92"/>
                  </a:cubicBezTo>
                  <a:cubicBezTo>
                    <a:pt x="1953" y="87"/>
                    <a:pt x="1943" y="87"/>
                    <a:pt x="1933" y="82"/>
                  </a:cubicBezTo>
                  <a:cubicBezTo>
                    <a:pt x="1919" y="67"/>
                    <a:pt x="1924" y="48"/>
                    <a:pt x="1909" y="34"/>
                  </a:cubicBezTo>
                  <a:cubicBezTo>
                    <a:pt x="1904" y="34"/>
                    <a:pt x="1899" y="39"/>
                    <a:pt x="1894" y="34"/>
                  </a:cubicBezTo>
                  <a:cubicBezTo>
                    <a:pt x="1870" y="24"/>
                    <a:pt x="1855" y="14"/>
                    <a:pt x="1831" y="14"/>
                  </a:cubicBezTo>
                  <a:cubicBezTo>
                    <a:pt x="1807" y="14"/>
                    <a:pt x="1792" y="34"/>
                    <a:pt x="1763" y="34"/>
                  </a:cubicBezTo>
                  <a:cubicBezTo>
                    <a:pt x="1748" y="34"/>
                    <a:pt x="1734" y="24"/>
                    <a:pt x="1719" y="24"/>
                  </a:cubicBezTo>
                  <a:lnTo>
                    <a:pt x="1719" y="24"/>
                  </a:lnTo>
                  <a:cubicBezTo>
                    <a:pt x="1700" y="43"/>
                    <a:pt x="1680" y="53"/>
                    <a:pt x="1680" y="82"/>
                  </a:cubicBezTo>
                  <a:cubicBezTo>
                    <a:pt x="1680" y="92"/>
                    <a:pt x="1685" y="102"/>
                    <a:pt x="1690" y="111"/>
                  </a:cubicBezTo>
                  <a:cubicBezTo>
                    <a:pt x="1709" y="150"/>
                    <a:pt x="1729" y="170"/>
                    <a:pt x="1763" y="199"/>
                  </a:cubicBezTo>
                  <a:cubicBezTo>
                    <a:pt x="1758" y="204"/>
                    <a:pt x="1758" y="214"/>
                    <a:pt x="1753" y="214"/>
                  </a:cubicBezTo>
                  <a:cubicBezTo>
                    <a:pt x="1719" y="233"/>
                    <a:pt x="1700" y="233"/>
                    <a:pt x="1661" y="243"/>
                  </a:cubicBezTo>
                  <a:cubicBezTo>
                    <a:pt x="1631" y="248"/>
                    <a:pt x="1617" y="257"/>
                    <a:pt x="1588" y="263"/>
                  </a:cubicBezTo>
                  <a:cubicBezTo>
                    <a:pt x="1520" y="277"/>
                    <a:pt x="1485" y="311"/>
                    <a:pt x="1413" y="311"/>
                  </a:cubicBezTo>
                  <a:cubicBezTo>
                    <a:pt x="1413" y="355"/>
                    <a:pt x="1427" y="384"/>
                    <a:pt x="1413" y="433"/>
                  </a:cubicBezTo>
                  <a:cubicBezTo>
                    <a:pt x="1407" y="457"/>
                    <a:pt x="1388" y="467"/>
                    <a:pt x="1374" y="492"/>
                  </a:cubicBezTo>
                  <a:cubicBezTo>
                    <a:pt x="1363" y="511"/>
                    <a:pt x="1359" y="525"/>
                    <a:pt x="1349" y="550"/>
                  </a:cubicBezTo>
                  <a:cubicBezTo>
                    <a:pt x="1335" y="594"/>
                    <a:pt x="1319" y="618"/>
                    <a:pt x="1305" y="657"/>
                  </a:cubicBezTo>
                  <a:cubicBezTo>
                    <a:pt x="1286" y="701"/>
                    <a:pt x="1266" y="749"/>
                    <a:pt x="1217" y="749"/>
                  </a:cubicBezTo>
                  <a:cubicBezTo>
                    <a:pt x="1193" y="749"/>
                    <a:pt x="1174" y="749"/>
                    <a:pt x="1159" y="730"/>
                  </a:cubicBezTo>
                  <a:cubicBezTo>
                    <a:pt x="1134" y="710"/>
                    <a:pt x="1140" y="667"/>
                    <a:pt x="1110" y="667"/>
                  </a:cubicBezTo>
                  <a:cubicBezTo>
                    <a:pt x="1101" y="667"/>
                    <a:pt x="1101" y="677"/>
                    <a:pt x="1095" y="681"/>
                  </a:cubicBezTo>
                  <a:cubicBezTo>
                    <a:pt x="1081" y="686"/>
                    <a:pt x="1071" y="681"/>
                    <a:pt x="1062" y="691"/>
                  </a:cubicBezTo>
                  <a:cubicBezTo>
                    <a:pt x="1057" y="701"/>
                    <a:pt x="1062" y="710"/>
                    <a:pt x="1062" y="720"/>
                  </a:cubicBezTo>
                  <a:cubicBezTo>
                    <a:pt x="1062" y="740"/>
                    <a:pt x="1057" y="749"/>
                    <a:pt x="1062" y="764"/>
                  </a:cubicBezTo>
                  <a:cubicBezTo>
                    <a:pt x="1067" y="779"/>
                    <a:pt x="1076" y="783"/>
                    <a:pt x="1076" y="799"/>
                  </a:cubicBezTo>
                  <a:cubicBezTo>
                    <a:pt x="1076" y="808"/>
                    <a:pt x="1067" y="813"/>
                    <a:pt x="1062" y="818"/>
                  </a:cubicBezTo>
                  <a:cubicBezTo>
                    <a:pt x="1047" y="827"/>
                    <a:pt x="1037" y="837"/>
                    <a:pt x="1023" y="837"/>
                  </a:cubicBezTo>
                  <a:cubicBezTo>
                    <a:pt x="998" y="837"/>
                    <a:pt x="989" y="818"/>
                    <a:pt x="959" y="818"/>
                  </a:cubicBezTo>
                  <a:cubicBezTo>
                    <a:pt x="945" y="818"/>
                    <a:pt x="940" y="832"/>
                    <a:pt x="930" y="842"/>
                  </a:cubicBezTo>
                  <a:cubicBezTo>
                    <a:pt x="906" y="862"/>
                    <a:pt x="891" y="871"/>
                    <a:pt x="867" y="881"/>
                  </a:cubicBezTo>
                  <a:cubicBezTo>
                    <a:pt x="847" y="896"/>
                    <a:pt x="833" y="905"/>
                    <a:pt x="813" y="920"/>
                  </a:cubicBezTo>
                  <a:cubicBezTo>
                    <a:pt x="789" y="935"/>
                    <a:pt x="784" y="964"/>
                    <a:pt x="760" y="964"/>
                  </a:cubicBezTo>
                  <a:cubicBezTo>
                    <a:pt x="745" y="964"/>
                    <a:pt x="740" y="949"/>
                    <a:pt x="730" y="944"/>
                  </a:cubicBezTo>
                  <a:cubicBezTo>
                    <a:pt x="716" y="935"/>
                    <a:pt x="706" y="930"/>
                    <a:pt x="686" y="925"/>
                  </a:cubicBezTo>
                  <a:cubicBezTo>
                    <a:pt x="662" y="920"/>
                    <a:pt x="647" y="920"/>
                    <a:pt x="628" y="915"/>
                  </a:cubicBezTo>
                  <a:cubicBezTo>
                    <a:pt x="614" y="915"/>
                    <a:pt x="609" y="910"/>
                    <a:pt x="594" y="910"/>
                  </a:cubicBezTo>
                  <a:cubicBezTo>
                    <a:pt x="570" y="910"/>
                    <a:pt x="579" y="954"/>
                    <a:pt x="560" y="973"/>
                  </a:cubicBezTo>
                  <a:cubicBezTo>
                    <a:pt x="555" y="984"/>
                    <a:pt x="545" y="984"/>
                    <a:pt x="531" y="984"/>
                  </a:cubicBezTo>
                  <a:cubicBezTo>
                    <a:pt x="516" y="984"/>
                    <a:pt x="501" y="978"/>
                    <a:pt x="487" y="973"/>
                  </a:cubicBezTo>
                  <a:lnTo>
                    <a:pt x="487" y="973"/>
                  </a:lnTo>
                  <a:cubicBezTo>
                    <a:pt x="482" y="998"/>
                    <a:pt x="477" y="1003"/>
                    <a:pt x="467" y="1022"/>
                  </a:cubicBezTo>
                  <a:cubicBezTo>
                    <a:pt x="457" y="1042"/>
                    <a:pt x="443" y="1047"/>
                    <a:pt x="433" y="1061"/>
                  </a:cubicBezTo>
                  <a:cubicBezTo>
                    <a:pt x="429" y="1066"/>
                    <a:pt x="424" y="1066"/>
                    <a:pt x="424" y="1076"/>
                  </a:cubicBezTo>
                  <a:cubicBezTo>
                    <a:pt x="424" y="1110"/>
                    <a:pt x="438" y="1125"/>
                    <a:pt x="438" y="1158"/>
                  </a:cubicBezTo>
                  <a:cubicBezTo>
                    <a:pt x="438" y="1173"/>
                    <a:pt x="438" y="1183"/>
                    <a:pt x="433" y="1197"/>
                  </a:cubicBezTo>
                  <a:cubicBezTo>
                    <a:pt x="433" y="1203"/>
                    <a:pt x="424" y="1203"/>
                    <a:pt x="419" y="1208"/>
                  </a:cubicBezTo>
                  <a:cubicBezTo>
                    <a:pt x="399" y="1227"/>
                    <a:pt x="385" y="1232"/>
                    <a:pt x="360" y="1246"/>
                  </a:cubicBezTo>
                  <a:cubicBezTo>
                    <a:pt x="331" y="1261"/>
                    <a:pt x="316" y="1275"/>
                    <a:pt x="282" y="1280"/>
                  </a:cubicBezTo>
                  <a:cubicBezTo>
                    <a:pt x="302" y="1373"/>
                    <a:pt x="302" y="1373"/>
                    <a:pt x="302" y="1373"/>
                  </a:cubicBezTo>
                  <a:cubicBezTo>
                    <a:pt x="292" y="1407"/>
                    <a:pt x="292" y="1426"/>
                    <a:pt x="287" y="1465"/>
                  </a:cubicBezTo>
                  <a:cubicBezTo>
                    <a:pt x="258" y="1465"/>
                    <a:pt x="258" y="1465"/>
                    <a:pt x="258" y="1465"/>
                  </a:cubicBezTo>
                  <a:cubicBezTo>
                    <a:pt x="224" y="1465"/>
                    <a:pt x="209" y="1446"/>
                    <a:pt x="180" y="1431"/>
                  </a:cubicBezTo>
                  <a:cubicBezTo>
                    <a:pt x="151" y="1417"/>
                    <a:pt x="126" y="1417"/>
                    <a:pt x="92" y="1402"/>
                  </a:cubicBezTo>
                  <a:cubicBezTo>
                    <a:pt x="78" y="1397"/>
                    <a:pt x="73" y="1388"/>
                    <a:pt x="63" y="1388"/>
                  </a:cubicBezTo>
                  <a:cubicBezTo>
                    <a:pt x="39" y="1388"/>
                    <a:pt x="34" y="1417"/>
                    <a:pt x="29" y="1436"/>
                  </a:cubicBezTo>
                  <a:cubicBezTo>
                    <a:pt x="14" y="1465"/>
                    <a:pt x="14" y="1495"/>
                    <a:pt x="0" y="1519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42" name="Freeform 87"/>
            <p:cNvSpPr>
              <a:spLocks noChangeArrowheads="1"/>
            </p:cNvSpPr>
            <p:nvPr/>
          </p:nvSpPr>
          <p:spPr bwMode="auto">
            <a:xfrm>
              <a:off x="8751671" y="5878546"/>
              <a:ext cx="677659" cy="1002552"/>
            </a:xfrm>
            <a:custGeom>
              <a:avLst/>
              <a:gdLst>
                <a:gd name="T0" fmla="*/ 0 w 1073"/>
                <a:gd name="T1" fmla="*/ 19 h 1584"/>
                <a:gd name="T2" fmla="*/ 0 w 1073"/>
                <a:gd name="T3" fmla="*/ 19 h 1584"/>
                <a:gd name="T4" fmla="*/ 5 w 1073"/>
                <a:gd name="T5" fmla="*/ 19 h 1584"/>
                <a:gd name="T6" fmla="*/ 78 w 1073"/>
                <a:gd name="T7" fmla="*/ 10 h 1584"/>
                <a:gd name="T8" fmla="*/ 146 w 1073"/>
                <a:gd name="T9" fmla="*/ 0 h 1584"/>
                <a:gd name="T10" fmla="*/ 195 w 1073"/>
                <a:gd name="T11" fmla="*/ 29 h 1584"/>
                <a:gd name="T12" fmla="*/ 258 w 1073"/>
                <a:gd name="T13" fmla="*/ 59 h 1584"/>
                <a:gd name="T14" fmla="*/ 360 w 1073"/>
                <a:gd name="T15" fmla="*/ 87 h 1584"/>
                <a:gd name="T16" fmla="*/ 424 w 1073"/>
                <a:gd name="T17" fmla="*/ 102 h 1584"/>
                <a:gd name="T18" fmla="*/ 570 w 1073"/>
                <a:gd name="T19" fmla="*/ 195 h 1584"/>
                <a:gd name="T20" fmla="*/ 570 w 1073"/>
                <a:gd name="T21" fmla="*/ 195 h 1584"/>
                <a:gd name="T22" fmla="*/ 604 w 1073"/>
                <a:gd name="T23" fmla="*/ 278 h 1584"/>
                <a:gd name="T24" fmla="*/ 643 w 1073"/>
                <a:gd name="T25" fmla="*/ 414 h 1584"/>
                <a:gd name="T26" fmla="*/ 706 w 1073"/>
                <a:gd name="T27" fmla="*/ 482 h 1584"/>
                <a:gd name="T28" fmla="*/ 755 w 1073"/>
                <a:gd name="T29" fmla="*/ 575 h 1584"/>
                <a:gd name="T30" fmla="*/ 765 w 1073"/>
                <a:gd name="T31" fmla="*/ 614 h 1584"/>
                <a:gd name="T32" fmla="*/ 755 w 1073"/>
                <a:gd name="T33" fmla="*/ 657 h 1584"/>
                <a:gd name="T34" fmla="*/ 794 w 1073"/>
                <a:gd name="T35" fmla="*/ 726 h 1584"/>
                <a:gd name="T36" fmla="*/ 833 w 1073"/>
                <a:gd name="T37" fmla="*/ 828 h 1584"/>
                <a:gd name="T38" fmla="*/ 882 w 1073"/>
                <a:gd name="T39" fmla="*/ 979 h 1584"/>
                <a:gd name="T40" fmla="*/ 915 w 1073"/>
                <a:gd name="T41" fmla="*/ 1101 h 1584"/>
                <a:gd name="T42" fmla="*/ 911 w 1073"/>
                <a:gd name="T43" fmla="*/ 1159 h 1584"/>
                <a:gd name="T44" fmla="*/ 964 w 1073"/>
                <a:gd name="T45" fmla="*/ 1276 h 1584"/>
                <a:gd name="T46" fmla="*/ 964 w 1073"/>
                <a:gd name="T47" fmla="*/ 1276 h 1584"/>
                <a:gd name="T48" fmla="*/ 964 w 1073"/>
                <a:gd name="T49" fmla="*/ 1286 h 1584"/>
                <a:gd name="T50" fmla="*/ 998 w 1073"/>
                <a:gd name="T51" fmla="*/ 1408 h 1584"/>
                <a:gd name="T52" fmla="*/ 1033 w 1073"/>
                <a:gd name="T53" fmla="*/ 1480 h 1584"/>
                <a:gd name="T54" fmla="*/ 1047 w 1073"/>
                <a:gd name="T55" fmla="*/ 1510 h 1584"/>
                <a:gd name="T56" fmla="*/ 1072 w 1073"/>
                <a:gd name="T57" fmla="*/ 1529 h 1584"/>
                <a:gd name="T58" fmla="*/ 1072 w 1073"/>
                <a:gd name="T59" fmla="*/ 1529 h 1584"/>
                <a:gd name="T60" fmla="*/ 0 w 1073"/>
                <a:gd name="T61" fmla="*/ 1583 h 1584"/>
                <a:gd name="T62" fmla="*/ 0 w 1073"/>
                <a:gd name="T63" fmla="*/ 1583 h 1584"/>
                <a:gd name="T64" fmla="*/ 0 w 1073"/>
                <a:gd name="T65" fmla="*/ 19 h 1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73" h="1584">
                  <a:moveTo>
                    <a:pt x="0" y="19"/>
                  </a:moveTo>
                  <a:lnTo>
                    <a:pt x="0" y="19"/>
                  </a:lnTo>
                  <a:cubicBezTo>
                    <a:pt x="0" y="19"/>
                    <a:pt x="0" y="19"/>
                    <a:pt x="5" y="19"/>
                  </a:cubicBezTo>
                  <a:cubicBezTo>
                    <a:pt x="34" y="15"/>
                    <a:pt x="49" y="15"/>
                    <a:pt x="78" y="10"/>
                  </a:cubicBezTo>
                  <a:cubicBezTo>
                    <a:pt x="107" y="10"/>
                    <a:pt x="122" y="0"/>
                    <a:pt x="146" y="0"/>
                  </a:cubicBezTo>
                  <a:cubicBezTo>
                    <a:pt x="171" y="0"/>
                    <a:pt x="180" y="15"/>
                    <a:pt x="195" y="29"/>
                  </a:cubicBezTo>
                  <a:cubicBezTo>
                    <a:pt x="219" y="44"/>
                    <a:pt x="234" y="49"/>
                    <a:pt x="258" y="59"/>
                  </a:cubicBezTo>
                  <a:cubicBezTo>
                    <a:pt x="297" y="68"/>
                    <a:pt x="321" y="78"/>
                    <a:pt x="360" y="87"/>
                  </a:cubicBezTo>
                  <a:cubicBezTo>
                    <a:pt x="384" y="92"/>
                    <a:pt x="404" y="92"/>
                    <a:pt x="424" y="102"/>
                  </a:cubicBezTo>
                  <a:cubicBezTo>
                    <a:pt x="487" y="131"/>
                    <a:pt x="511" y="161"/>
                    <a:pt x="570" y="195"/>
                  </a:cubicBezTo>
                  <a:lnTo>
                    <a:pt x="570" y="195"/>
                  </a:lnTo>
                  <a:cubicBezTo>
                    <a:pt x="589" y="224"/>
                    <a:pt x="599" y="244"/>
                    <a:pt x="604" y="278"/>
                  </a:cubicBezTo>
                  <a:cubicBezTo>
                    <a:pt x="609" y="336"/>
                    <a:pt x="609" y="370"/>
                    <a:pt x="643" y="414"/>
                  </a:cubicBezTo>
                  <a:cubicBezTo>
                    <a:pt x="663" y="443"/>
                    <a:pt x="682" y="458"/>
                    <a:pt x="706" y="482"/>
                  </a:cubicBezTo>
                  <a:cubicBezTo>
                    <a:pt x="730" y="511"/>
                    <a:pt x="740" y="535"/>
                    <a:pt x="755" y="575"/>
                  </a:cubicBezTo>
                  <a:cubicBezTo>
                    <a:pt x="760" y="590"/>
                    <a:pt x="765" y="594"/>
                    <a:pt x="765" y="614"/>
                  </a:cubicBezTo>
                  <a:cubicBezTo>
                    <a:pt x="765" y="629"/>
                    <a:pt x="755" y="638"/>
                    <a:pt x="755" y="657"/>
                  </a:cubicBezTo>
                  <a:cubicBezTo>
                    <a:pt x="755" y="687"/>
                    <a:pt x="779" y="696"/>
                    <a:pt x="794" y="726"/>
                  </a:cubicBezTo>
                  <a:cubicBezTo>
                    <a:pt x="818" y="760"/>
                    <a:pt x="823" y="789"/>
                    <a:pt x="833" y="828"/>
                  </a:cubicBezTo>
                  <a:cubicBezTo>
                    <a:pt x="848" y="891"/>
                    <a:pt x="877" y="921"/>
                    <a:pt x="882" y="979"/>
                  </a:cubicBezTo>
                  <a:cubicBezTo>
                    <a:pt x="887" y="1027"/>
                    <a:pt x="911" y="1052"/>
                    <a:pt x="915" y="1101"/>
                  </a:cubicBezTo>
                  <a:cubicBezTo>
                    <a:pt x="920" y="1125"/>
                    <a:pt x="906" y="1140"/>
                    <a:pt x="911" y="1159"/>
                  </a:cubicBezTo>
                  <a:cubicBezTo>
                    <a:pt x="920" y="1208"/>
                    <a:pt x="959" y="1232"/>
                    <a:pt x="964" y="1276"/>
                  </a:cubicBezTo>
                  <a:lnTo>
                    <a:pt x="964" y="1276"/>
                  </a:lnTo>
                  <a:cubicBezTo>
                    <a:pt x="964" y="1281"/>
                    <a:pt x="964" y="1286"/>
                    <a:pt x="964" y="1286"/>
                  </a:cubicBezTo>
                  <a:cubicBezTo>
                    <a:pt x="964" y="1334"/>
                    <a:pt x="979" y="1364"/>
                    <a:pt x="998" y="1408"/>
                  </a:cubicBezTo>
                  <a:cubicBezTo>
                    <a:pt x="1008" y="1437"/>
                    <a:pt x="1018" y="1456"/>
                    <a:pt x="1033" y="1480"/>
                  </a:cubicBezTo>
                  <a:cubicBezTo>
                    <a:pt x="1037" y="1495"/>
                    <a:pt x="1037" y="1505"/>
                    <a:pt x="1047" y="1510"/>
                  </a:cubicBezTo>
                  <a:cubicBezTo>
                    <a:pt x="1057" y="1519"/>
                    <a:pt x="1061" y="1524"/>
                    <a:pt x="1072" y="1529"/>
                  </a:cubicBezTo>
                  <a:lnTo>
                    <a:pt x="1072" y="1529"/>
                  </a:lnTo>
                  <a:cubicBezTo>
                    <a:pt x="1072" y="1529"/>
                    <a:pt x="667" y="1559"/>
                    <a:pt x="0" y="1583"/>
                  </a:cubicBezTo>
                  <a:lnTo>
                    <a:pt x="0" y="1583"/>
                  </a:lnTo>
                  <a:cubicBezTo>
                    <a:pt x="0" y="19"/>
                    <a:pt x="0" y="19"/>
                    <a:pt x="0" y="19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43" name="Freeform 88"/>
            <p:cNvSpPr>
              <a:spLocks noChangeArrowheads="1"/>
            </p:cNvSpPr>
            <p:nvPr/>
          </p:nvSpPr>
          <p:spPr bwMode="auto">
            <a:xfrm>
              <a:off x="9364924" y="6598255"/>
              <a:ext cx="1934968" cy="1565438"/>
            </a:xfrm>
            <a:custGeom>
              <a:avLst/>
              <a:gdLst>
                <a:gd name="T0" fmla="*/ 0 w 3050"/>
                <a:gd name="T1" fmla="*/ 141 h 2470"/>
                <a:gd name="T2" fmla="*/ 1808 w 3050"/>
                <a:gd name="T3" fmla="*/ 102 h 2470"/>
                <a:gd name="T4" fmla="*/ 1803 w 3050"/>
                <a:gd name="T5" fmla="*/ 199 h 2470"/>
                <a:gd name="T6" fmla="*/ 1856 w 3050"/>
                <a:gd name="T7" fmla="*/ 375 h 2470"/>
                <a:gd name="T8" fmla="*/ 2061 w 3050"/>
                <a:gd name="T9" fmla="*/ 526 h 2470"/>
                <a:gd name="T10" fmla="*/ 2173 w 3050"/>
                <a:gd name="T11" fmla="*/ 711 h 2470"/>
                <a:gd name="T12" fmla="*/ 2261 w 3050"/>
                <a:gd name="T13" fmla="*/ 881 h 2470"/>
                <a:gd name="T14" fmla="*/ 2314 w 3050"/>
                <a:gd name="T15" fmla="*/ 809 h 2470"/>
                <a:gd name="T16" fmla="*/ 2421 w 3050"/>
                <a:gd name="T17" fmla="*/ 881 h 2470"/>
                <a:gd name="T18" fmla="*/ 2402 w 3050"/>
                <a:gd name="T19" fmla="*/ 1008 h 2470"/>
                <a:gd name="T20" fmla="*/ 2421 w 3050"/>
                <a:gd name="T21" fmla="*/ 1193 h 2470"/>
                <a:gd name="T22" fmla="*/ 2582 w 3050"/>
                <a:gd name="T23" fmla="*/ 1300 h 2470"/>
                <a:gd name="T24" fmla="*/ 2660 w 3050"/>
                <a:gd name="T25" fmla="*/ 1344 h 2470"/>
                <a:gd name="T26" fmla="*/ 2762 w 3050"/>
                <a:gd name="T27" fmla="*/ 1466 h 2470"/>
                <a:gd name="T28" fmla="*/ 2811 w 3050"/>
                <a:gd name="T29" fmla="*/ 1656 h 2470"/>
                <a:gd name="T30" fmla="*/ 2899 w 3050"/>
                <a:gd name="T31" fmla="*/ 1782 h 2470"/>
                <a:gd name="T32" fmla="*/ 3001 w 3050"/>
                <a:gd name="T33" fmla="*/ 1797 h 2470"/>
                <a:gd name="T34" fmla="*/ 3035 w 3050"/>
                <a:gd name="T35" fmla="*/ 1884 h 2470"/>
                <a:gd name="T36" fmla="*/ 3045 w 3050"/>
                <a:gd name="T37" fmla="*/ 2060 h 2470"/>
                <a:gd name="T38" fmla="*/ 2972 w 3050"/>
                <a:gd name="T39" fmla="*/ 2075 h 2470"/>
                <a:gd name="T40" fmla="*/ 2884 w 3050"/>
                <a:gd name="T41" fmla="*/ 2143 h 2470"/>
                <a:gd name="T42" fmla="*/ 2821 w 3050"/>
                <a:gd name="T43" fmla="*/ 2294 h 2470"/>
                <a:gd name="T44" fmla="*/ 2830 w 3050"/>
                <a:gd name="T45" fmla="*/ 2425 h 2470"/>
                <a:gd name="T46" fmla="*/ 2747 w 3050"/>
                <a:gd name="T47" fmla="*/ 2430 h 2470"/>
                <a:gd name="T48" fmla="*/ 2596 w 3050"/>
                <a:gd name="T49" fmla="*/ 2459 h 2470"/>
                <a:gd name="T50" fmla="*/ 2548 w 3050"/>
                <a:gd name="T51" fmla="*/ 2464 h 2470"/>
                <a:gd name="T52" fmla="*/ 2572 w 3050"/>
                <a:gd name="T53" fmla="*/ 2270 h 2470"/>
                <a:gd name="T54" fmla="*/ 2538 w 3050"/>
                <a:gd name="T55" fmla="*/ 2187 h 2470"/>
                <a:gd name="T56" fmla="*/ 609 w 3050"/>
                <a:gd name="T57" fmla="*/ 2416 h 2470"/>
                <a:gd name="T58" fmla="*/ 585 w 3050"/>
                <a:gd name="T59" fmla="*/ 2119 h 2470"/>
                <a:gd name="T60" fmla="*/ 404 w 3050"/>
                <a:gd name="T61" fmla="*/ 842 h 2470"/>
                <a:gd name="T62" fmla="*/ 283 w 3050"/>
                <a:gd name="T63" fmla="*/ 696 h 2470"/>
                <a:gd name="T64" fmla="*/ 361 w 3050"/>
                <a:gd name="T65" fmla="*/ 545 h 2470"/>
                <a:gd name="T66" fmla="*/ 108 w 3050"/>
                <a:gd name="T67" fmla="*/ 394 h 2470"/>
                <a:gd name="T68" fmla="*/ 83 w 3050"/>
                <a:gd name="T69" fmla="*/ 375 h 2470"/>
                <a:gd name="T70" fmla="*/ 34 w 3050"/>
                <a:gd name="T71" fmla="*/ 273 h 2470"/>
                <a:gd name="T72" fmla="*/ 0 w 3050"/>
                <a:gd name="T73" fmla="*/ 141 h 2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050" h="2470">
                  <a:moveTo>
                    <a:pt x="0" y="141"/>
                  </a:moveTo>
                  <a:lnTo>
                    <a:pt x="0" y="141"/>
                  </a:lnTo>
                  <a:cubicBezTo>
                    <a:pt x="979" y="93"/>
                    <a:pt x="1667" y="0"/>
                    <a:pt x="1667" y="0"/>
                  </a:cubicBezTo>
                  <a:cubicBezTo>
                    <a:pt x="1700" y="58"/>
                    <a:pt x="1744" y="73"/>
                    <a:pt x="1808" y="102"/>
                  </a:cubicBezTo>
                  <a:lnTo>
                    <a:pt x="1808" y="102"/>
                  </a:lnTo>
                  <a:cubicBezTo>
                    <a:pt x="1803" y="141"/>
                    <a:pt x="1803" y="160"/>
                    <a:pt x="1803" y="199"/>
                  </a:cubicBezTo>
                  <a:cubicBezTo>
                    <a:pt x="1803" y="239"/>
                    <a:pt x="1797" y="263"/>
                    <a:pt x="1808" y="297"/>
                  </a:cubicBezTo>
                  <a:cubicBezTo>
                    <a:pt x="1817" y="331"/>
                    <a:pt x="1837" y="345"/>
                    <a:pt x="1856" y="375"/>
                  </a:cubicBezTo>
                  <a:cubicBezTo>
                    <a:pt x="1905" y="443"/>
                    <a:pt x="1944" y="477"/>
                    <a:pt x="2017" y="511"/>
                  </a:cubicBezTo>
                  <a:cubicBezTo>
                    <a:pt x="2037" y="521"/>
                    <a:pt x="2046" y="521"/>
                    <a:pt x="2061" y="526"/>
                  </a:cubicBezTo>
                  <a:cubicBezTo>
                    <a:pt x="2104" y="545"/>
                    <a:pt x="2109" y="585"/>
                    <a:pt x="2124" y="624"/>
                  </a:cubicBezTo>
                  <a:cubicBezTo>
                    <a:pt x="2139" y="657"/>
                    <a:pt x="2153" y="677"/>
                    <a:pt x="2173" y="711"/>
                  </a:cubicBezTo>
                  <a:cubicBezTo>
                    <a:pt x="2192" y="750"/>
                    <a:pt x="2202" y="774"/>
                    <a:pt x="2212" y="818"/>
                  </a:cubicBezTo>
                  <a:cubicBezTo>
                    <a:pt x="2217" y="847"/>
                    <a:pt x="2226" y="881"/>
                    <a:pt x="2261" y="881"/>
                  </a:cubicBezTo>
                  <a:cubicBezTo>
                    <a:pt x="2275" y="881"/>
                    <a:pt x="2275" y="862"/>
                    <a:pt x="2280" y="847"/>
                  </a:cubicBezTo>
                  <a:cubicBezTo>
                    <a:pt x="2289" y="833"/>
                    <a:pt x="2299" y="818"/>
                    <a:pt x="2314" y="809"/>
                  </a:cubicBezTo>
                  <a:cubicBezTo>
                    <a:pt x="2324" y="818"/>
                    <a:pt x="2329" y="828"/>
                    <a:pt x="2343" y="833"/>
                  </a:cubicBezTo>
                  <a:cubicBezTo>
                    <a:pt x="2372" y="847"/>
                    <a:pt x="2421" y="847"/>
                    <a:pt x="2421" y="881"/>
                  </a:cubicBezTo>
                  <a:cubicBezTo>
                    <a:pt x="2421" y="916"/>
                    <a:pt x="2407" y="930"/>
                    <a:pt x="2402" y="964"/>
                  </a:cubicBezTo>
                  <a:cubicBezTo>
                    <a:pt x="2402" y="983"/>
                    <a:pt x="2402" y="994"/>
                    <a:pt x="2402" y="1008"/>
                  </a:cubicBezTo>
                  <a:cubicBezTo>
                    <a:pt x="2402" y="1042"/>
                    <a:pt x="2392" y="1061"/>
                    <a:pt x="2392" y="1091"/>
                  </a:cubicBezTo>
                  <a:cubicBezTo>
                    <a:pt x="2392" y="1135"/>
                    <a:pt x="2392" y="1164"/>
                    <a:pt x="2421" y="1193"/>
                  </a:cubicBezTo>
                  <a:cubicBezTo>
                    <a:pt x="2435" y="1208"/>
                    <a:pt x="2450" y="1208"/>
                    <a:pt x="2465" y="1222"/>
                  </a:cubicBezTo>
                  <a:cubicBezTo>
                    <a:pt x="2504" y="1262"/>
                    <a:pt x="2538" y="1271"/>
                    <a:pt x="2582" y="1300"/>
                  </a:cubicBezTo>
                  <a:cubicBezTo>
                    <a:pt x="2606" y="1315"/>
                    <a:pt x="2616" y="1329"/>
                    <a:pt x="2645" y="1344"/>
                  </a:cubicBezTo>
                  <a:cubicBezTo>
                    <a:pt x="2650" y="1344"/>
                    <a:pt x="2655" y="1344"/>
                    <a:pt x="2660" y="1344"/>
                  </a:cubicBezTo>
                  <a:cubicBezTo>
                    <a:pt x="2670" y="1354"/>
                    <a:pt x="2675" y="1364"/>
                    <a:pt x="2684" y="1373"/>
                  </a:cubicBezTo>
                  <a:cubicBezTo>
                    <a:pt x="2718" y="1403"/>
                    <a:pt x="2747" y="1422"/>
                    <a:pt x="2762" y="1466"/>
                  </a:cubicBezTo>
                  <a:cubicBezTo>
                    <a:pt x="2772" y="1490"/>
                    <a:pt x="2772" y="1505"/>
                    <a:pt x="2777" y="1524"/>
                  </a:cubicBezTo>
                  <a:cubicBezTo>
                    <a:pt x="2796" y="1573"/>
                    <a:pt x="2806" y="1607"/>
                    <a:pt x="2811" y="1656"/>
                  </a:cubicBezTo>
                  <a:cubicBezTo>
                    <a:pt x="2816" y="1699"/>
                    <a:pt x="2840" y="1724"/>
                    <a:pt x="2874" y="1758"/>
                  </a:cubicBezTo>
                  <a:cubicBezTo>
                    <a:pt x="2884" y="1768"/>
                    <a:pt x="2888" y="1778"/>
                    <a:pt x="2899" y="1782"/>
                  </a:cubicBezTo>
                  <a:cubicBezTo>
                    <a:pt x="2927" y="1802"/>
                    <a:pt x="2966" y="1792"/>
                    <a:pt x="3001" y="1797"/>
                  </a:cubicBezTo>
                  <a:lnTo>
                    <a:pt x="3001" y="1797"/>
                  </a:lnTo>
                  <a:cubicBezTo>
                    <a:pt x="3010" y="1802"/>
                    <a:pt x="3025" y="1802"/>
                    <a:pt x="3030" y="1812"/>
                  </a:cubicBezTo>
                  <a:cubicBezTo>
                    <a:pt x="3049" y="1831"/>
                    <a:pt x="3035" y="1856"/>
                    <a:pt x="3035" y="1884"/>
                  </a:cubicBezTo>
                  <a:cubicBezTo>
                    <a:pt x="3035" y="1977"/>
                    <a:pt x="3035" y="1977"/>
                    <a:pt x="3035" y="1977"/>
                  </a:cubicBezTo>
                  <a:cubicBezTo>
                    <a:pt x="3035" y="2006"/>
                    <a:pt x="3045" y="2031"/>
                    <a:pt x="3045" y="2060"/>
                  </a:cubicBezTo>
                  <a:lnTo>
                    <a:pt x="3045" y="2060"/>
                  </a:lnTo>
                  <a:cubicBezTo>
                    <a:pt x="3020" y="2070"/>
                    <a:pt x="3001" y="2070"/>
                    <a:pt x="2972" y="2075"/>
                  </a:cubicBezTo>
                  <a:cubicBezTo>
                    <a:pt x="2952" y="2080"/>
                    <a:pt x="2947" y="2104"/>
                    <a:pt x="2927" y="2113"/>
                  </a:cubicBezTo>
                  <a:cubicBezTo>
                    <a:pt x="2913" y="2128"/>
                    <a:pt x="2894" y="2128"/>
                    <a:pt x="2884" y="2143"/>
                  </a:cubicBezTo>
                  <a:cubicBezTo>
                    <a:pt x="2864" y="2177"/>
                    <a:pt x="2860" y="2202"/>
                    <a:pt x="2850" y="2235"/>
                  </a:cubicBezTo>
                  <a:cubicBezTo>
                    <a:pt x="2845" y="2260"/>
                    <a:pt x="2825" y="2270"/>
                    <a:pt x="2821" y="2294"/>
                  </a:cubicBezTo>
                  <a:cubicBezTo>
                    <a:pt x="2816" y="2313"/>
                    <a:pt x="2825" y="2323"/>
                    <a:pt x="2825" y="2343"/>
                  </a:cubicBezTo>
                  <a:cubicBezTo>
                    <a:pt x="2825" y="2376"/>
                    <a:pt x="2821" y="2391"/>
                    <a:pt x="2830" y="2425"/>
                  </a:cubicBezTo>
                  <a:lnTo>
                    <a:pt x="2830" y="2425"/>
                  </a:lnTo>
                  <a:cubicBezTo>
                    <a:pt x="2801" y="2425"/>
                    <a:pt x="2777" y="2430"/>
                    <a:pt x="2747" y="2430"/>
                  </a:cubicBezTo>
                  <a:cubicBezTo>
                    <a:pt x="2709" y="2430"/>
                    <a:pt x="2689" y="2445"/>
                    <a:pt x="2655" y="2450"/>
                  </a:cubicBezTo>
                  <a:cubicBezTo>
                    <a:pt x="2631" y="2455"/>
                    <a:pt x="2616" y="2455"/>
                    <a:pt x="2596" y="2459"/>
                  </a:cubicBezTo>
                  <a:cubicBezTo>
                    <a:pt x="2582" y="2459"/>
                    <a:pt x="2577" y="2469"/>
                    <a:pt x="2562" y="2469"/>
                  </a:cubicBezTo>
                  <a:cubicBezTo>
                    <a:pt x="2557" y="2469"/>
                    <a:pt x="2553" y="2464"/>
                    <a:pt x="2548" y="2464"/>
                  </a:cubicBezTo>
                  <a:cubicBezTo>
                    <a:pt x="2548" y="2425"/>
                    <a:pt x="2543" y="2401"/>
                    <a:pt x="2543" y="2357"/>
                  </a:cubicBezTo>
                  <a:cubicBezTo>
                    <a:pt x="2543" y="2323"/>
                    <a:pt x="2557" y="2304"/>
                    <a:pt x="2572" y="2270"/>
                  </a:cubicBezTo>
                  <a:cubicBezTo>
                    <a:pt x="2577" y="2255"/>
                    <a:pt x="2587" y="2245"/>
                    <a:pt x="2587" y="2230"/>
                  </a:cubicBezTo>
                  <a:cubicBezTo>
                    <a:pt x="2587" y="2206"/>
                    <a:pt x="2562" y="2191"/>
                    <a:pt x="2538" y="2187"/>
                  </a:cubicBezTo>
                  <a:cubicBezTo>
                    <a:pt x="609" y="2416"/>
                    <a:pt x="609" y="2416"/>
                    <a:pt x="609" y="2416"/>
                  </a:cubicBezTo>
                  <a:lnTo>
                    <a:pt x="609" y="2416"/>
                  </a:lnTo>
                  <a:cubicBezTo>
                    <a:pt x="585" y="2119"/>
                    <a:pt x="585" y="2119"/>
                    <a:pt x="585" y="2119"/>
                  </a:cubicBezTo>
                  <a:lnTo>
                    <a:pt x="585" y="2119"/>
                  </a:lnTo>
                  <a:cubicBezTo>
                    <a:pt x="502" y="983"/>
                    <a:pt x="502" y="983"/>
                    <a:pt x="502" y="983"/>
                  </a:cubicBezTo>
                  <a:cubicBezTo>
                    <a:pt x="468" y="925"/>
                    <a:pt x="453" y="886"/>
                    <a:pt x="404" y="842"/>
                  </a:cubicBezTo>
                  <a:cubicBezTo>
                    <a:pt x="371" y="809"/>
                    <a:pt x="346" y="798"/>
                    <a:pt x="317" y="760"/>
                  </a:cubicBezTo>
                  <a:cubicBezTo>
                    <a:pt x="302" y="735"/>
                    <a:pt x="283" y="726"/>
                    <a:pt x="283" y="696"/>
                  </a:cubicBezTo>
                  <a:cubicBezTo>
                    <a:pt x="283" y="677"/>
                    <a:pt x="293" y="667"/>
                    <a:pt x="298" y="652"/>
                  </a:cubicBezTo>
                  <a:cubicBezTo>
                    <a:pt x="317" y="609"/>
                    <a:pt x="337" y="585"/>
                    <a:pt x="361" y="545"/>
                  </a:cubicBezTo>
                  <a:cubicBezTo>
                    <a:pt x="341" y="535"/>
                    <a:pt x="327" y="535"/>
                    <a:pt x="302" y="526"/>
                  </a:cubicBezTo>
                  <a:cubicBezTo>
                    <a:pt x="224" y="487"/>
                    <a:pt x="171" y="463"/>
                    <a:pt x="108" y="394"/>
                  </a:cubicBezTo>
                  <a:lnTo>
                    <a:pt x="108" y="394"/>
                  </a:lnTo>
                  <a:cubicBezTo>
                    <a:pt x="97" y="389"/>
                    <a:pt x="93" y="384"/>
                    <a:pt x="83" y="375"/>
                  </a:cubicBezTo>
                  <a:cubicBezTo>
                    <a:pt x="73" y="370"/>
                    <a:pt x="73" y="360"/>
                    <a:pt x="69" y="345"/>
                  </a:cubicBezTo>
                  <a:cubicBezTo>
                    <a:pt x="54" y="321"/>
                    <a:pt x="44" y="302"/>
                    <a:pt x="34" y="273"/>
                  </a:cubicBezTo>
                  <a:cubicBezTo>
                    <a:pt x="15" y="229"/>
                    <a:pt x="0" y="199"/>
                    <a:pt x="0" y="151"/>
                  </a:cubicBezTo>
                  <a:cubicBezTo>
                    <a:pt x="0" y="151"/>
                    <a:pt x="0" y="146"/>
                    <a:pt x="0" y="141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44" name="Freeform 89"/>
            <p:cNvSpPr>
              <a:spLocks noChangeArrowheads="1"/>
            </p:cNvSpPr>
            <p:nvPr/>
          </p:nvSpPr>
          <p:spPr bwMode="auto">
            <a:xfrm>
              <a:off x="11036669" y="7485990"/>
              <a:ext cx="2318601" cy="1036158"/>
            </a:xfrm>
            <a:custGeom>
              <a:avLst/>
              <a:gdLst>
                <a:gd name="T0" fmla="*/ 199 w 3654"/>
                <a:gd name="T1" fmla="*/ 1027 h 1637"/>
                <a:gd name="T2" fmla="*/ 190 w 3654"/>
                <a:gd name="T3" fmla="*/ 896 h 1637"/>
                <a:gd name="T4" fmla="*/ 253 w 3654"/>
                <a:gd name="T5" fmla="*/ 745 h 1637"/>
                <a:gd name="T6" fmla="*/ 341 w 3654"/>
                <a:gd name="T7" fmla="*/ 677 h 1637"/>
                <a:gd name="T8" fmla="*/ 414 w 3654"/>
                <a:gd name="T9" fmla="*/ 662 h 1637"/>
                <a:gd name="T10" fmla="*/ 657 w 3654"/>
                <a:gd name="T11" fmla="*/ 628 h 1637"/>
                <a:gd name="T12" fmla="*/ 896 w 3654"/>
                <a:gd name="T13" fmla="*/ 560 h 1637"/>
                <a:gd name="T14" fmla="*/ 1037 w 3654"/>
                <a:gd name="T15" fmla="*/ 506 h 1637"/>
                <a:gd name="T16" fmla="*/ 2118 w 3654"/>
                <a:gd name="T17" fmla="*/ 326 h 1637"/>
                <a:gd name="T18" fmla="*/ 2732 w 3654"/>
                <a:gd name="T19" fmla="*/ 214 h 1637"/>
                <a:gd name="T20" fmla="*/ 2810 w 3654"/>
                <a:gd name="T21" fmla="*/ 214 h 1637"/>
                <a:gd name="T22" fmla="*/ 3638 w 3654"/>
                <a:gd name="T23" fmla="*/ 0 h 1637"/>
                <a:gd name="T24" fmla="*/ 3653 w 3654"/>
                <a:gd name="T25" fmla="*/ 97 h 1637"/>
                <a:gd name="T26" fmla="*/ 3623 w 3654"/>
                <a:gd name="T27" fmla="*/ 165 h 1637"/>
                <a:gd name="T28" fmla="*/ 3560 w 3654"/>
                <a:gd name="T29" fmla="*/ 253 h 1637"/>
                <a:gd name="T30" fmla="*/ 3453 w 3654"/>
                <a:gd name="T31" fmla="*/ 268 h 1637"/>
                <a:gd name="T32" fmla="*/ 3419 w 3654"/>
                <a:gd name="T33" fmla="*/ 306 h 1637"/>
                <a:gd name="T34" fmla="*/ 3273 w 3654"/>
                <a:gd name="T35" fmla="*/ 370 h 1637"/>
                <a:gd name="T36" fmla="*/ 3170 w 3654"/>
                <a:gd name="T37" fmla="*/ 511 h 1637"/>
                <a:gd name="T38" fmla="*/ 3015 w 3654"/>
                <a:gd name="T39" fmla="*/ 643 h 1637"/>
                <a:gd name="T40" fmla="*/ 2864 w 3654"/>
                <a:gd name="T41" fmla="*/ 779 h 1637"/>
                <a:gd name="T42" fmla="*/ 2752 w 3654"/>
                <a:gd name="T43" fmla="*/ 876 h 1637"/>
                <a:gd name="T44" fmla="*/ 2717 w 3654"/>
                <a:gd name="T45" fmla="*/ 935 h 1637"/>
                <a:gd name="T46" fmla="*/ 2610 w 3654"/>
                <a:gd name="T47" fmla="*/ 993 h 1637"/>
                <a:gd name="T48" fmla="*/ 2606 w 3654"/>
                <a:gd name="T49" fmla="*/ 1163 h 1637"/>
                <a:gd name="T50" fmla="*/ 2123 w 3654"/>
                <a:gd name="T51" fmla="*/ 1290 h 1637"/>
                <a:gd name="T52" fmla="*/ 1295 w 3654"/>
                <a:gd name="T53" fmla="*/ 1446 h 1637"/>
                <a:gd name="T54" fmla="*/ 1159 w 3654"/>
                <a:gd name="T55" fmla="*/ 1393 h 1637"/>
                <a:gd name="T56" fmla="*/ 979 w 3654"/>
                <a:gd name="T57" fmla="*/ 1442 h 1637"/>
                <a:gd name="T58" fmla="*/ 910 w 3654"/>
                <a:gd name="T59" fmla="*/ 1485 h 1637"/>
                <a:gd name="T60" fmla="*/ 0 w 3654"/>
                <a:gd name="T61" fmla="*/ 1636 h 1637"/>
                <a:gd name="T62" fmla="*/ 48 w 3654"/>
                <a:gd name="T63" fmla="*/ 1461 h 1637"/>
                <a:gd name="T64" fmla="*/ 116 w 3654"/>
                <a:gd name="T65" fmla="*/ 1257 h 1637"/>
                <a:gd name="T66" fmla="*/ 155 w 3654"/>
                <a:gd name="T67" fmla="*/ 1135 h 1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54" h="1637">
                  <a:moveTo>
                    <a:pt x="199" y="1027"/>
                  </a:moveTo>
                  <a:lnTo>
                    <a:pt x="199" y="1027"/>
                  </a:lnTo>
                  <a:cubicBezTo>
                    <a:pt x="190" y="993"/>
                    <a:pt x="194" y="978"/>
                    <a:pt x="194" y="945"/>
                  </a:cubicBezTo>
                  <a:cubicBezTo>
                    <a:pt x="194" y="925"/>
                    <a:pt x="185" y="915"/>
                    <a:pt x="190" y="896"/>
                  </a:cubicBezTo>
                  <a:cubicBezTo>
                    <a:pt x="194" y="872"/>
                    <a:pt x="214" y="862"/>
                    <a:pt x="219" y="837"/>
                  </a:cubicBezTo>
                  <a:cubicBezTo>
                    <a:pt x="229" y="804"/>
                    <a:pt x="233" y="779"/>
                    <a:pt x="253" y="745"/>
                  </a:cubicBezTo>
                  <a:cubicBezTo>
                    <a:pt x="263" y="730"/>
                    <a:pt x="282" y="730"/>
                    <a:pt x="296" y="715"/>
                  </a:cubicBezTo>
                  <a:cubicBezTo>
                    <a:pt x="316" y="706"/>
                    <a:pt x="321" y="682"/>
                    <a:pt x="341" y="677"/>
                  </a:cubicBezTo>
                  <a:cubicBezTo>
                    <a:pt x="370" y="672"/>
                    <a:pt x="389" y="672"/>
                    <a:pt x="414" y="662"/>
                  </a:cubicBezTo>
                  <a:lnTo>
                    <a:pt x="414" y="662"/>
                  </a:lnTo>
                  <a:cubicBezTo>
                    <a:pt x="487" y="652"/>
                    <a:pt x="540" y="647"/>
                    <a:pt x="614" y="638"/>
                  </a:cubicBezTo>
                  <a:cubicBezTo>
                    <a:pt x="628" y="633"/>
                    <a:pt x="638" y="628"/>
                    <a:pt x="657" y="628"/>
                  </a:cubicBezTo>
                  <a:cubicBezTo>
                    <a:pt x="686" y="623"/>
                    <a:pt x="701" y="623"/>
                    <a:pt x="730" y="623"/>
                  </a:cubicBezTo>
                  <a:cubicBezTo>
                    <a:pt x="803" y="613"/>
                    <a:pt x="837" y="589"/>
                    <a:pt x="896" y="560"/>
                  </a:cubicBezTo>
                  <a:cubicBezTo>
                    <a:pt x="915" y="550"/>
                    <a:pt x="925" y="550"/>
                    <a:pt x="945" y="545"/>
                  </a:cubicBezTo>
                  <a:cubicBezTo>
                    <a:pt x="979" y="526"/>
                    <a:pt x="998" y="516"/>
                    <a:pt x="1037" y="506"/>
                  </a:cubicBezTo>
                  <a:cubicBezTo>
                    <a:pt x="2060" y="306"/>
                    <a:pt x="2060" y="306"/>
                    <a:pt x="2060" y="306"/>
                  </a:cubicBezTo>
                  <a:cubicBezTo>
                    <a:pt x="2084" y="311"/>
                    <a:pt x="2094" y="321"/>
                    <a:pt x="2118" y="326"/>
                  </a:cubicBezTo>
                  <a:cubicBezTo>
                    <a:pt x="2142" y="326"/>
                    <a:pt x="2162" y="326"/>
                    <a:pt x="2186" y="326"/>
                  </a:cubicBezTo>
                  <a:cubicBezTo>
                    <a:pt x="2732" y="214"/>
                    <a:pt x="2732" y="214"/>
                    <a:pt x="2732" y="214"/>
                  </a:cubicBezTo>
                  <a:cubicBezTo>
                    <a:pt x="2781" y="224"/>
                    <a:pt x="2781" y="224"/>
                    <a:pt x="2781" y="224"/>
                  </a:cubicBezTo>
                  <a:cubicBezTo>
                    <a:pt x="2810" y="214"/>
                    <a:pt x="2810" y="214"/>
                    <a:pt x="2810" y="214"/>
                  </a:cubicBezTo>
                  <a:lnTo>
                    <a:pt x="2810" y="214"/>
                  </a:lnTo>
                  <a:cubicBezTo>
                    <a:pt x="3638" y="0"/>
                    <a:pt x="3638" y="0"/>
                    <a:pt x="3638" y="0"/>
                  </a:cubicBezTo>
                  <a:lnTo>
                    <a:pt x="3638" y="0"/>
                  </a:lnTo>
                  <a:cubicBezTo>
                    <a:pt x="3643" y="38"/>
                    <a:pt x="3653" y="58"/>
                    <a:pt x="3653" y="97"/>
                  </a:cubicBezTo>
                  <a:cubicBezTo>
                    <a:pt x="3653" y="107"/>
                    <a:pt x="3643" y="112"/>
                    <a:pt x="3643" y="121"/>
                  </a:cubicBezTo>
                  <a:cubicBezTo>
                    <a:pt x="3638" y="141"/>
                    <a:pt x="3628" y="151"/>
                    <a:pt x="3623" y="165"/>
                  </a:cubicBezTo>
                  <a:cubicBezTo>
                    <a:pt x="3618" y="175"/>
                    <a:pt x="3623" y="185"/>
                    <a:pt x="3618" y="195"/>
                  </a:cubicBezTo>
                  <a:cubicBezTo>
                    <a:pt x="3609" y="229"/>
                    <a:pt x="3590" y="243"/>
                    <a:pt x="3560" y="253"/>
                  </a:cubicBezTo>
                  <a:cubicBezTo>
                    <a:pt x="3536" y="263"/>
                    <a:pt x="3521" y="263"/>
                    <a:pt x="3497" y="263"/>
                  </a:cubicBezTo>
                  <a:cubicBezTo>
                    <a:pt x="3482" y="263"/>
                    <a:pt x="3468" y="258"/>
                    <a:pt x="3453" y="268"/>
                  </a:cubicBezTo>
                  <a:cubicBezTo>
                    <a:pt x="3448" y="268"/>
                    <a:pt x="3453" y="277"/>
                    <a:pt x="3448" y="282"/>
                  </a:cubicBezTo>
                  <a:cubicBezTo>
                    <a:pt x="3438" y="297"/>
                    <a:pt x="3429" y="297"/>
                    <a:pt x="3419" y="306"/>
                  </a:cubicBezTo>
                  <a:cubicBezTo>
                    <a:pt x="3390" y="331"/>
                    <a:pt x="3370" y="350"/>
                    <a:pt x="3331" y="360"/>
                  </a:cubicBezTo>
                  <a:cubicBezTo>
                    <a:pt x="3311" y="365"/>
                    <a:pt x="3292" y="360"/>
                    <a:pt x="3273" y="370"/>
                  </a:cubicBezTo>
                  <a:cubicBezTo>
                    <a:pt x="3248" y="384"/>
                    <a:pt x="3248" y="404"/>
                    <a:pt x="3234" y="428"/>
                  </a:cubicBezTo>
                  <a:cubicBezTo>
                    <a:pt x="3214" y="462"/>
                    <a:pt x="3200" y="482"/>
                    <a:pt x="3170" y="511"/>
                  </a:cubicBezTo>
                  <a:cubicBezTo>
                    <a:pt x="3137" y="550"/>
                    <a:pt x="3107" y="560"/>
                    <a:pt x="3068" y="594"/>
                  </a:cubicBezTo>
                  <a:cubicBezTo>
                    <a:pt x="3049" y="613"/>
                    <a:pt x="3034" y="623"/>
                    <a:pt x="3015" y="643"/>
                  </a:cubicBezTo>
                  <a:cubicBezTo>
                    <a:pt x="3000" y="652"/>
                    <a:pt x="2995" y="662"/>
                    <a:pt x="2985" y="672"/>
                  </a:cubicBezTo>
                  <a:cubicBezTo>
                    <a:pt x="2941" y="715"/>
                    <a:pt x="2917" y="745"/>
                    <a:pt x="2864" y="779"/>
                  </a:cubicBezTo>
                  <a:cubicBezTo>
                    <a:pt x="2844" y="798"/>
                    <a:pt x="2830" y="813"/>
                    <a:pt x="2805" y="828"/>
                  </a:cubicBezTo>
                  <a:cubicBezTo>
                    <a:pt x="2781" y="842"/>
                    <a:pt x="2761" y="852"/>
                    <a:pt x="2752" y="876"/>
                  </a:cubicBezTo>
                  <a:cubicBezTo>
                    <a:pt x="2747" y="891"/>
                    <a:pt x="2747" y="901"/>
                    <a:pt x="2747" y="911"/>
                  </a:cubicBezTo>
                  <a:cubicBezTo>
                    <a:pt x="2742" y="920"/>
                    <a:pt x="2727" y="925"/>
                    <a:pt x="2717" y="935"/>
                  </a:cubicBezTo>
                  <a:cubicBezTo>
                    <a:pt x="2693" y="950"/>
                    <a:pt x="2679" y="964"/>
                    <a:pt x="2654" y="974"/>
                  </a:cubicBezTo>
                  <a:cubicBezTo>
                    <a:pt x="2640" y="978"/>
                    <a:pt x="2620" y="978"/>
                    <a:pt x="2610" y="993"/>
                  </a:cubicBezTo>
                  <a:cubicBezTo>
                    <a:pt x="2606" y="998"/>
                    <a:pt x="2615" y="998"/>
                    <a:pt x="2615" y="1008"/>
                  </a:cubicBezTo>
                  <a:cubicBezTo>
                    <a:pt x="2615" y="1061"/>
                    <a:pt x="2610" y="1110"/>
                    <a:pt x="2606" y="1163"/>
                  </a:cubicBezTo>
                  <a:lnTo>
                    <a:pt x="2606" y="1163"/>
                  </a:lnTo>
                  <a:cubicBezTo>
                    <a:pt x="2123" y="1290"/>
                    <a:pt x="2123" y="1290"/>
                    <a:pt x="2123" y="1290"/>
                  </a:cubicBezTo>
                  <a:cubicBezTo>
                    <a:pt x="2118" y="1290"/>
                    <a:pt x="2118" y="1290"/>
                    <a:pt x="2118" y="1290"/>
                  </a:cubicBezTo>
                  <a:cubicBezTo>
                    <a:pt x="1295" y="1446"/>
                    <a:pt x="1295" y="1446"/>
                    <a:pt x="1295" y="1446"/>
                  </a:cubicBezTo>
                  <a:cubicBezTo>
                    <a:pt x="1256" y="1436"/>
                    <a:pt x="1237" y="1431"/>
                    <a:pt x="1203" y="1417"/>
                  </a:cubicBezTo>
                  <a:cubicBezTo>
                    <a:pt x="1188" y="1412"/>
                    <a:pt x="1178" y="1393"/>
                    <a:pt x="1159" y="1393"/>
                  </a:cubicBezTo>
                  <a:cubicBezTo>
                    <a:pt x="1130" y="1393"/>
                    <a:pt x="1115" y="1412"/>
                    <a:pt x="1081" y="1412"/>
                  </a:cubicBezTo>
                  <a:cubicBezTo>
                    <a:pt x="1042" y="1417"/>
                    <a:pt x="1017" y="1431"/>
                    <a:pt x="979" y="1442"/>
                  </a:cubicBezTo>
                  <a:cubicBezTo>
                    <a:pt x="969" y="1442"/>
                    <a:pt x="954" y="1436"/>
                    <a:pt x="949" y="1442"/>
                  </a:cubicBezTo>
                  <a:cubicBezTo>
                    <a:pt x="930" y="1451"/>
                    <a:pt x="925" y="1470"/>
                    <a:pt x="910" y="1485"/>
                  </a:cubicBezTo>
                  <a:lnTo>
                    <a:pt x="910" y="1485"/>
                  </a:lnTo>
                  <a:cubicBezTo>
                    <a:pt x="0" y="1636"/>
                    <a:pt x="0" y="1636"/>
                    <a:pt x="0" y="1636"/>
                  </a:cubicBezTo>
                  <a:lnTo>
                    <a:pt x="0" y="1636"/>
                  </a:lnTo>
                  <a:cubicBezTo>
                    <a:pt x="14" y="1568"/>
                    <a:pt x="48" y="1529"/>
                    <a:pt x="48" y="1461"/>
                  </a:cubicBezTo>
                  <a:cubicBezTo>
                    <a:pt x="48" y="1431"/>
                    <a:pt x="39" y="1417"/>
                    <a:pt x="48" y="1393"/>
                  </a:cubicBezTo>
                  <a:cubicBezTo>
                    <a:pt x="63" y="1334"/>
                    <a:pt x="111" y="1315"/>
                    <a:pt x="116" y="1257"/>
                  </a:cubicBezTo>
                  <a:cubicBezTo>
                    <a:pt x="116" y="1227"/>
                    <a:pt x="111" y="1207"/>
                    <a:pt x="121" y="1179"/>
                  </a:cubicBezTo>
                  <a:cubicBezTo>
                    <a:pt x="126" y="1159"/>
                    <a:pt x="146" y="1154"/>
                    <a:pt x="155" y="1135"/>
                  </a:cubicBezTo>
                  <a:cubicBezTo>
                    <a:pt x="180" y="1100"/>
                    <a:pt x="199" y="1076"/>
                    <a:pt x="199" y="1027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45" name="Freeform 90"/>
            <p:cNvSpPr>
              <a:spLocks noChangeArrowheads="1"/>
            </p:cNvSpPr>
            <p:nvPr/>
          </p:nvSpPr>
          <p:spPr bwMode="auto">
            <a:xfrm>
              <a:off x="12691613" y="7001516"/>
              <a:ext cx="2394208" cy="1220986"/>
            </a:xfrm>
            <a:custGeom>
              <a:avLst/>
              <a:gdLst>
                <a:gd name="T0" fmla="*/ 1032 w 3775"/>
                <a:gd name="T1" fmla="*/ 765 h 1929"/>
                <a:gd name="T2" fmla="*/ 3535 w 3775"/>
                <a:gd name="T3" fmla="*/ 0 h 1929"/>
                <a:gd name="T4" fmla="*/ 3599 w 3775"/>
                <a:gd name="T5" fmla="*/ 180 h 1929"/>
                <a:gd name="T6" fmla="*/ 3541 w 3775"/>
                <a:gd name="T7" fmla="*/ 176 h 1929"/>
                <a:gd name="T8" fmla="*/ 3477 w 3775"/>
                <a:gd name="T9" fmla="*/ 229 h 1929"/>
                <a:gd name="T10" fmla="*/ 3443 w 3775"/>
                <a:gd name="T11" fmla="*/ 258 h 1929"/>
                <a:gd name="T12" fmla="*/ 3336 w 3775"/>
                <a:gd name="T13" fmla="*/ 258 h 1929"/>
                <a:gd name="T14" fmla="*/ 3258 w 3775"/>
                <a:gd name="T15" fmla="*/ 239 h 1929"/>
                <a:gd name="T16" fmla="*/ 3292 w 3775"/>
                <a:gd name="T17" fmla="*/ 375 h 1929"/>
                <a:gd name="T18" fmla="*/ 3404 w 3775"/>
                <a:gd name="T19" fmla="*/ 370 h 1929"/>
                <a:gd name="T20" fmla="*/ 3560 w 3775"/>
                <a:gd name="T21" fmla="*/ 370 h 1929"/>
                <a:gd name="T22" fmla="*/ 3628 w 3775"/>
                <a:gd name="T23" fmla="*/ 404 h 1929"/>
                <a:gd name="T24" fmla="*/ 3692 w 3775"/>
                <a:gd name="T25" fmla="*/ 268 h 1929"/>
                <a:gd name="T26" fmla="*/ 3759 w 3775"/>
                <a:gd name="T27" fmla="*/ 458 h 1929"/>
                <a:gd name="T28" fmla="*/ 3623 w 3775"/>
                <a:gd name="T29" fmla="*/ 677 h 1929"/>
                <a:gd name="T30" fmla="*/ 3546 w 3775"/>
                <a:gd name="T31" fmla="*/ 667 h 1929"/>
                <a:gd name="T32" fmla="*/ 3428 w 3775"/>
                <a:gd name="T33" fmla="*/ 677 h 1929"/>
                <a:gd name="T34" fmla="*/ 3307 w 3775"/>
                <a:gd name="T35" fmla="*/ 775 h 1929"/>
                <a:gd name="T36" fmla="*/ 3472 w 3775"/>
                <a:gd name="T37" fmla="*/ 789 h 1929"/>
                <a:gd name="T38" fmla="*/ 3463 w 3775"/>
                <a:gd name="T39" fmla="*/ 842 h 1929"/>
                <a:gd name="T40" fmla="*/ 3428 w 3775"/>
                <a:gd name="T41" fmla="*/ 964 h 1929"/>
                <a:gd name="T42" fmla="*/ 3389 w 3775"/>
                <a:gd name="T43" fmla="*/ 1047 h 1929"/>
                <a:gd name="T44" fmla="*/ 3477 w 3775"/>
                <a:gd name="T45" fmla="*/ 994 h 1929"/>
                <a:gd name="T46" fmla="*/ 3555 w 3775"/>
                <a:gd name="T47" fmla="*/ 940 h 1929"/>
                <a:gd name="T48" fmla="*/ 3589 w 3775"/>
                <a:gd name="T49" fmla="*/ 1042 h 1929"/>
                <a:gd name="T50" fmla="*/ 3535 w 3775"/>
                <a:gd name="T51" fmla="*/ 1110 h 1929"/>
                <a:gd name="T52" fmla="*/ 3385 w 3775"/>
                <a:gd name="T53" fmla="*/ 1149 h 1929"/>
                <a:gd name="T54" fmla="*/ 3190 w 3775"/>
                <a:gd name="T55" fmla="*/ 1344 h 1929"/>
                <a:gd name="T56" fmla="*/ 3132 w 3775"/>
                <a:gd name="T57" fmla="*/ 1417 h 1929"/>
                <a:gd name="T58" fmla="*/ 3019 w 3775"/>
                <a:gd name="T59" fmla="*/ 1724 h 1929"/>
                <a:gd name="T60" fmla="*/ 2839 w 3775"/>
                <a:gd name="T61" fmla="*/ 1812 h 1929"/>
                <a:gd name="T62" fmla="*/ 2756 w 3775"/>
                <a:gd name="T63" fmla="*/ 1865 h 1929"/>
                <a:gd name="T64" fmla="*/ 1714 w 3775"/>
                <a:gd name="T65" fmla="*/ 1627 h 1929"/>
                <a:gd name="T66" fmla="*/ 1582 w 3775"/>
                <a:gd name="T67" fmla="*/ 1519 h 1929"/>
                <a:gd name="T68" fmla="*/ 1412 w 3775"/>
                <a:gd name="T69" fmla="*/ 1510 h 1929"/>
                <a:gd name="T70" fmla="*/ 1227 w 3775"/>
                <a:gd name="T71" fmla="*/ 1544 h 1929"/>
                <a:gd name="T72" fmla="*/ 1056 w 3775"/>
                <a:gd name="T73" fmla="*/ 1578 h 1929"/>
                <a:gd name="T74" fmla="*/ 769 w 3775"/>
                <a:gd name="T75" fmla="*/ 1676 h 1929"/>
                <a:gd name="T76" fmla="*/ 608 w 3775"/>
                <a:gd name="T77" fmla="*/ 1758 h 1929"/>
                <a:gd name="T78" fmla="*/ 574 w 3775"/>
                <a:gd name="T79" fmla="*/ 1792 h 1929"/>
                <a:gd name="T80" fmla="*/ 0 w 3775"/>
                <a:gd name="T81" fmla="*/ 1928 h 1929"/>
                <a:gd name="T82" fmla="*/ 4 w 3775"/>
                <a:gd name="T83" fmla="*/ 1758 h 1929"/>
                <a:gd name="T84" fmla="*/ 111 w 3775"/>
                <a:gd name="T85" fmla="*/ 1700 h 1929"/>
                <a:gd name="T86" fmla="*/ 146 w 3775"/>
                <a:gd name="T87" fmla="*/ 1641 h 1929"/>
                <a:gd name="T88" fmla="*/ 258 w 3775"/>
                <a:gd name="T89" fmla="*/ 1544 h 1929"/>
                <a:gd name="T90" fmla="*/ 409 w 3775"/>
                <a:gd name="T91" fmla="*/ 1408 h 1929"/>
                <a:gd name="T92" fmla="*/ 564 w 3775"/>
                <a:gd name="T93" fmla="*/ 1276 h 1929"/>
                <a:gd name="T94" fmla="*/ 667 w 3775"/>
                <a:gd name="T95" fmla="*/ 1135 h 1929"/>
                <a:gd name="T96" fmla="*/ 813 w 3775"/>
                <a:gd name="T97" fmla="*/ 1071 h 1929"/>
                <a:gd name="T98" fmla="*/ 847 w 3775"/>
                <a:gd name="T99" fmla="*/ 1033 h 1929"/>
                <a:gd name="T100" fmla="*/ 954 w 3775"/>
                <a:gd name="T101" fmla="*/ 1018 h 1929"/>
                <a:gd name="T102" fmla="*/ 1017 w 3775"/>
                <a:gd name="T103" fmla="*/ 930 h 1929"/>
                <a:gd name="T104" fmla="*/ 1047 w 3775"/>
                <a:gd name="T105" fmla="*/ 862 h 1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75" h="1929">
                  <a:moveTo>
                    <a:pt x="1032" y="765"/>
                  </a:moveTo>
                  <a:lnTo>
                    <a:pt x="1032" y="765"/>
                  </a:lnTo>
                  <a:cubicBezTo>
                    <a:pt x="3535" y="0"/>
                    <a:pt x="3535" y="0"/>
                    <a:pt x="3535" y="0"/>
                  </a:cubicBezTo>
                  <a:lnTo>
                    <a:pt x="3535" y="0"/>
                  </a:lnTo>
                  <a:cubicBezTo>
                    <a:pt x="3618" y="146"/>
                    <a:pt x="3618" y="146"/>
                    <a:pt x="3618" y="146"/>
                  </a:cubicBezTo>
                  <a:cubicBezTo>
                    <a:pt x="3618" y="161"/>
                    <a:pt x="3613" y="180"/>
                    <a:pt x="3599" y="180"/>
                  </a:cubicBezTo>
                  <a:cubicBezTo>
                    <a:pt x="3589" y="180"/>
                    <a:pt x="3580" y="170"/>
                    <a:pt x="3570" y="170"/>
                  </a:cubicBezTo>
                  <a:cubicBezTo>
                    <a:pt x="3560" y="170"/>
                    <a:pt x="3546" y="170"/>
                    <a:pt x="3541" y="176"/>
                  </a:cubicBezTo>
                  <a:cubicBezTo>
                    <a:pt x="3521" y="190"/>
                    <a:pt x="3526" y="214"/>
                    <a:pt x="3511" y="224"/>
                  </a:cubicBezTo>
                  <a:cubicBezTo>
                    <a:pt x="3502" y="229"/>
                    <a:pt x="3487" y="229"/>
                    <a:pt x="3477" y="229"/>
                  </a:cubicBezTo>
                  <a:cubicBezTo>
                    <a:pt x="3472" y="229"/>
                    <a:pt x="3468" y="229"/>
                    <a:pt x="3463" y="229"/>
                  </a:cubicBezTo>
                  <a:cubicBezTo>
                    <a:pt x="3453" y="234"/>
                    <a:pt x="3453" y="253"/>
                    <a:pt x="3443" y="258"/>
                  </a:cubicBezTo>
                  <a:cubicBezTo>
                    <a:pt x="3424" y="283"/>
                    <a:pt x="3404" y="287"/>
                    <a:pt x="3385" y="312"/>
                  </a:cubicBezTo>
                  <a:cubicBezTo>
                    <a:pt x="3360" y="297"/>
                    <a:pt x="3355" y="278"/>
                    <a:pt x="3336" y="258"/>
                  </a:cubicBezTo>
                  <a:cubicBezTo>
                    <a:pt x="3326" y="248"/>
                    <a:pt x="3322" y="239"/>
                    <a:pt x="3307" y="239"/>
                  </a:cubicBezTo>
                  <a:cubicBezTo>
                    <a:pt x="3258" y="239"/>
                    <a:pt x="3258" y="239"/>
                    <a:pt x="3258" y="239"/>
                  </a:cubicBezTo>
                  <a:cubicBezTo>
                    <a:pt x="3263" y="263"/>
                    <a:pt x="3273" y="278"/>
                    <a:pt x="3278" y="302"/>
                  </a:cubicBezTo>
                  <a:cubicBezTo>
                    <a:pt x="3287" y="331"/>
                    <a:pt x="3287" y="350"/>
                    <a:pt x="3292" y="375"/>
                  </a:cubicBezTo>
                  <a:cubicBezTo>
                    <a:pt x="3292" y="400"/>
                    <a:pt x="3302" y="414"/>
                    <a:pt x="3302" y="439"/>
                  </a:cubicBezTo>
                  <a:cubicBezTo>
                    <a:pt x="3346" y="414"/>
                    <a:pt x="3355" y="370"/>
                    <a:pt x="3404" y="370"/>
                  </a:cubicBezTo>
                  <a:cubicBezTo>
                    <a:pt x="3497" y="370"/>
                    <a:pt x="3497" y="370"/>
                    <a:pt x="3497" y="370"/>
                  </a:cubicBezTo>
                  <a:cubicBezTo>
                    <a:pt x="3521" y="370"/>
                    <a:pt x="3535" y="365"/>
                    <a:pt x="3560" y="370"/>
                  </a:cubicBezTo>
                  <a:cubicBezTo>
                    <a:pt x="3565" y="370"/>
                    <a:pt x="3570" y="380"/>
                    <a:pt x="3574" y="380"/>
                  </a:cubicBezTo>
                  <a:cubicBezTo>
                    <a:pt x="3589" y="389"/>
                    <a:pt x="3604" y="404"/>
                    <a:pt x="3628" y="404"/>
                  </a:cubicBezTo>
                  <a:cubicBezTo>
                    <a:pt x="3653" y="404"/>
                    <a:pt x="3657" y="370"/>
                    <a:pt x="3662" y="341"/>
                  </a:cubicBezTo>
                  <a:cubicBezTo>
                    <a:pt x="3672" y="312"/>
                    <a:pt x="3677" y="292"/>
                    <a:pt x="3692" y="268"/>
                  </a:cubicBezTo>
                  <a:cubicBezTo>
                    <a:pt x="3745" y="292"/>
                    <a:pt x="3774" y="331"/>
                    <a:pt x="3774" y="385"/>
                  </a:cubicBezTo>
                  <a:cubicBezTo>
                    <a:pt x="3774" y="414"/>
                    <a:pt x="3765" y="428"/>
                    <a:pt x="3759" y="458"/>
                  </a:cubicBezTo>
                  <a:cubicBezTo>
                    <a:pt x="3750" y="502"/>
                    <a:pt x="3745" y="526"/>
                    <a:pt x="3726" y="565"/>
                  </a:cubicBezTo>
                  <a:cubicBezTo>
                    <a:pt x="3701" y="618"/>
                    <a:pt x="3677" y="653"/>
                    <a:pt x="3623" y="677"/>
                  </a:cubicBezTo>
                  <a:cubicBezTo>
                    <a:pt x="3604" y="682"/>
                    <a:pt x="3599" y="701"/>
                    <a:pt x="3574" y="701"/>
                  </a:cubicBezTo>
                  <a:cubicBezTo>
                    <a:pt x="3560" y="701"/>
                    <a:pt x="3555" y="682"/>
                    <a:pt x="3546" y="667"/>
                  </a:cubicBezTo>
                  <a:cubicBezTo>
                    <a:pt x="3531" y="653"/>
                    <a:pt x="3516" y="643"/>
                    <a:pt x="3492" y="643"/>
                  </a:cubicBezTo>
                  <a:cubicBezTo>
                    <a:pt x="3468" y="643"/>
                    <a:pt x="3448" y="657"/>
                    <a:pt x="3428" y="677"/>
                  </a:cubicBezTo>
                  <a:cubicBezTo>
                    <a:pt x="3443" y="726"/>
                    <a:pt x="3443" y="726"/>
                    <a:pt x="3443" y="726"/>
                  </a:cubicBezTo>
                  <a:cubicBezTo>
                    <a:pt x="3399" y="765"/>
                    <a:pt x="3346" y="735"/>
                    <a:pt x="3307" y="775"/>
                  </a:cubicBezTo>
                  <a:cubicBezTo>
                    <a:pt x="3326" y="784"/>
                    <a:pt x="3341" y="789"/>
                    <a:pt x="3365" y="794"/>
                  </a:cubicBezTo>
                  <a:cubicBezTo>
                    <a:pt x="3404" y="799"/>
                    <a:pt x="3428" y="789"/>
                    <a:pt x="3472" y="789"/>
                  </a:cubicBezTo>
                  <a:cubicBezTo>
                    <a:pt x="3472" y="799"/>
                    <a:pt x="3477" y="803"/>
                    <a:pt x="3477" y="814"/>
                  </a:cubicBezTo>
                  <a:cubicBezTo>
                    <a:pt x="3477" y="828"/>
                    <a:pt x="3468" y="833"/>
                    <a:pt x="3463" y="842"/>
                  </a:cubicBezTo>
                  <a:cubicBezTo>
                    <a:pt x="3458" y="872"/>
                    <a:pt x="3453" y="891"/>
                    <a:pt x="3448" y="920"/>
                  </a:cubicBezTo>
                  <a:cubicBezTo>
                    <a:pt x="3448" y="940"/>
                    <a:pt x="3448" y="960"/>
                    <a:pt x="3428" y="964"/>
                  </a:cubicBezTo>
                  <a:cubicBezTo>
                    <a:pt x="3385" y="984"/>
                    <a:pt x="3355" y="979"/>
                    <a:pt x="3312" y="989"/>
                  </a:cubicBezTo>
                  <a:cubicBezTo>
                    <a:pt x="3331" y="1018"/>
                    <a:pt x="3350" y="1047"/>
                    <a:pt x="3389" y="1047"/>
                  </a:cubicBezTo>
                  <a:cubicBezTo>
                    <a:pt x="3399" y="1047"/>
                    <a:pt x="3409" y="1038"/>
                    <a:pt x="3419" y="1028"/>
                  </a:cubicBezTo>
                  <a:cubicBezTo>
                    <a:pt x="3443" y="1018"/>
                    <a:pt x="3458" y="1008"/>
                    <a:pt x="3477" y="994"/>
                  </a:cubicBezTo>
                  <a:cubicBezTo>
                    <a:pt x="3497" y="984"/>
                    <a:pt x="3507" y="979"/>
                    <a:pt x="3526" y="969"/>
                  </a:cubicBezTo>
                  <a:cubicBezTo>
                    <a:pt x="3541" y="960"/>
                    <a:pt x="3535" y="940"/>
                    <a:pt x="3555" y="940"/>
                  </a:cubicBezTo>
                  <a:cubicBezTo>
                    <a:pt x="3580" y="940"/>
                    <a:pt x="3594" y="955"/>
                    <a:pt x="3613" y="964"/>
                  </a:cubicBezTo>
                  <a:cubicBezTo>
                    <a:pt x="3609" y="999"/>
                    <a:pt x="3599" y="1013"/>
                    <a:pt x="3589" y="1042"/>
                  </a:cubicBezTo>
                  <a:cubicBezTo>
                    <a:pt x="3585" y="1057"/>
                    <a:pt x="3585" y="1071"/>
                    <a:pt x="3580" y="1086"/>
                  </a:cubicBezTo>
                  <a:cubicBezTo>
                    <a:pt x="3574" y="1106"/>
                    <a:pt x="3555" y="1101"/>
                    <a:pt x="3535" y="1110"/>
                  </a:cubicBezTo>
                  <a:cubicBezTo>
                    <a:pt x="3507" y="1121"/>
                    <a:pt x="3492" y="1140"/>
                    <a:pt x="3458" y="1145"/>
                  </a:cubicBezTo>
                  <a:cubicBezTo>
                    <a:pt x="3428" y="1145"/>
                    <a:pt x="3414" y="1140"/>
                    <a:pt x="3385" y="1149"/>
                  </a:cubicBezTo>
                  <a:cubicBezTo>
                    <a:pt x="3317" y="1174"/>
                    <a:pt x="3297" y="1218"/>
                    <a:pt x="3253" y="1271"/>
                  </a:cubicBezTo>
                  <a:cubicBezTo>
                    <a:pt x="3229" y="1301"/>
                    <a:pt x="3209" y="1315"/>
                    <a:pt x="3190" y="1344"/>
                  </a:cubicBezTo>
                  <a:cubicBezTo>
                    <a:pt x="3185" y="1354"/>
                    <a:pt x="3175" y="1369"/>
                    <a:pt x="3170" y="1378"/>
                  </a:cubicBezTo>
                  <a:cubicBezTo>
                    <a:pt x="3156" y="1393"/>
                    <a:pt x="3141" y="1398"/>
                    <a:pt x="3132" y="1417"/>
                  </a:cubicBezTo>
                  <a:cubicBezTo>
                    <a:pt x="3097" y="1480"/>
                    <a:pt x="3097" y="1524"/>
                    <a:pt x="3078" y="1597"/>
                  </a:cubicBezTo>
                  <a:cubicBezTo>
                    <a:pt x="3068" y="1651"/>
                    <a:pt x="3063" y="1695"/>
                    <a:pt x="3019" y="1724"/>
                  </a:cubicBezTo>
                  <a:cubicBezTo>
                    <a:pt x="2985" y="1739"/>
                    <a:pt x="2961" y="1743"/>
                    <a:pt x="2927" y="1758"/>
                  </a:cubicBezTo>
                  <a:cubicBezTo>
                    <a:pt x="2893" y="1773"/>
                    <a:pt x="2873" y="1792"/>
                    <a:pt x="2839" y="1812"/>
                  </a:cubicBezTo>
                  <a:cubicBezTo>
                    <a:pt x="2805" y="1826"/>
                    <a:pt x="2775" y="1841"/>
                    <a:pt x="2756" y="1865"/>
                  </a:cubicBezTo>
                  <a:lnTo>
                    <a:pt x="2756" y="1865"/>
                  </a:lnTo>
                  <a:cubicBezTo>
                    <a:pt x="2186" y="1495"/>
                    <a:pt x="2186" y="1495"/>
                    <a:pt x="2186" y="1495"/>
                  </a:cubicBezTo>
                  <a:cubicBezTo>
                    <a:pt x="1714" y="1627"/>
                    <a:pt x="1714" y="1627"/>
                    <a:pt x="1714" y="1627"/>
                  </a:cubicBezTo>
                  <a:cubicBezTo>
                    <a:pt x="1680" y="1612"/>
                    <a:pt x="1665" y="1588"/>
                    <a:pt x="1641" y="1558"/>
                  </a:cubicBezTo>
                  <a:cubicBezTo>
                    <a:pt x="1626" y="1534"/>
                    <a:pt x="1607" y="1534"/>
                    <a:pt x="1582" y="1519"/>
                  </a:cubicBezTo>
                  <a:cubicBezTo>
                    <a:pt x="1563" y="1510"/>
                    <a:pt x="1553" y="1491"/>
                    <a:pt x="1529" y="1491"/>
                  </a:cubicBezTo>
                  <a:cubicBezTo>
                    <a:pt x="1485" y="1491"/>
                    <a:pt x="1461" y="1500"/>
                    <a:pt x="1412" y="1510"/>
                  </a:cubicBezTo>
                  <a:cubicBezTo>
                    <a:pt x="1378" y="1515"/>
                    <a:pt x="1358" y="1515"/>
                    <a:pt x="1324" y="1519"/>
                  </a:cubicBezTo>
                  <a:cubicBezTo>
                    <a:pt x="1285" y="1524"/>
                    <a:pt x="1266" y="1534"/>
                    <a:pt x="1227" y="1544"/>
                  </a:cubicBezTo>
                  <a:cubicBezTo>
                    <a:pt x="1197" y="1549"/>
                    <a:pt x="1178" y="1549"/>
                    <a:pt x="1144" y="1554"/>
                  </a:cubicBezTo>
                  <a:cubicBezTo>
                    <a:pt x="1110" y="1558"/>
                    <a:pt x="1090" y="1569"/>
                    <a:pt x="1056" y="1578"/>
                  </a:cubicBezTo>
                  <a:cubicBezTo>
                    <a:pt x="959" y="1597"/>
                    <a:pt x="896" y="1597"/>
                    <a:pt x="813" y="1651"/>
                  </a:cubicBezTo>
                  <a:cubicBezTo>
                    <a:pt x="799" y="1661"/>
                    <a:pt x="784" y="1666"/>
                    <a:pt x="769" y="1676"/>
                  </a:cubicBezTo>
                  <a:cubicBezTo>
                    <a:pt x="744" y="1700"/>
                    <a:pt x="730" y="1719"/>
                    <a:pt x="696" y="1729"/>
                  </a:cubicBezTo>
                  <a:cubicBezTo>
                    <a:pt x="662" y="1743"/>
                    <a:pt x="638" y="1739"/>
                    <a:pt x="608" y="1758"/>
                  </a:cubicBezTo>
                  <a:cubicBezTo>
                    <a:pt x="594" y="1763"/>
                    <a:pt x="589" y="1783"/>
                    <a:pt x="574" y="1792"/>
                  </a:cubicBezTo>
                  <a:lnTo>
                    <a:pt x="574" y="1792"/>
                  </a:lnTo>
                  <a:cubicBezTo>
                    <a:pt x="0" y="1928"/>
                    <a:pt x="0" y="1928"/>
                    <a:pt x="0" y="1928"/>
                  </a:cubicBezTo>
                  <a:lnTo>
                    <a:pt x="0" y="1928"/>
                  </a:lnTo>
                  <a:cubicBezTo>
                    <a:pt x="4" y="1875"/>
                    <a:pt x="9" y="1826"/>
                    <a:pt x="9" y="1773"/>
                  </a:cubicBezTo>
                  <a:cubicBezTo>
                    <a:pt x="9" y="1763"/>
                    <a:pt x="0" y="1763"/>
                    <a:pt x="4" y="1758"/>
                  </a:cubicBezTo>
                  <a:cubicBezTo>
                    <a:pt x="14" y="1743"/>
                    <a:pt x="34" y="1743"/>
                    <a:pt x="48" y="1739"/>
                  </a:cubicBezTo>
                  <a:cubicBezTo>
                    <a:pt x="73" y="1729"/>
                    <a:pt x="87" y="1715"/>
                    <a:pt x="111" y="1700"/>
                  </a:cubicBezTo>
                  <a:cubicBezTo>
                    <a:pt x="121" y="1690"/>
                    <a:pt x="136" y="1685"/>
                    <a:pt x="141" y="1676"/>
                  </a:cubicBezTo>
                  <a:cubicBezTo>
                    <a:pt x="141" y="1666"/>
                    <a:pt x="141" y="1656"/>
                    <a:pt x="146" y="1641"/>
                  </a:cubicBezTo>
                  <a:cubicBezTo>
                    <a:pt x="155" y="1617"/>
                    <a:pt x="175" y="1607"/>
                    <a:pt x="199" y="1593"/>
                  </a:cubicBezTo>
                  <a:cubicBezTo>
                    <a:pt x="224" y="1578"/>
                    <a:pt x="238" y="1563"/>
                    <a:pt x="258" y="1544"/>
                  </a:cubicBezTo>
                  <a:cubicBezTo>
                    <a:pt x="311" y="1510"/>
                    <a:pt x="335" y="1480"/>
                    <a:pt x="379" y="1437"/>
                  </a:cubicBezTo>
                  <a:cubicBezTo>
                    <a:pt x="389" y="1427"/>
                    <a:pt x="394" y="1417"/>
                    <a:pt x="409" y="1408"/>
                  </a:cubicBezTo>
                  <a:cubicBezTo>
                    <a:pt x="428" y="1388"/>
                    <a:pt x="443" y="1378"/>
                    <a:pt x="462" y="1359"/>
                  </a:cubicBezTo>
                  <a:cubicBezTo>
                    <a:pt x="501" y="1325"/>
                    <a:pt x="531" y="1315"/>
                    <a:pt x="564" y="1276"/>
                  </a:cubicBezTo>
                  <a:cubicBezTo>
                    <a:pt x="594" y="1247"/>
                    <a:pt x="608" y="1227"/>
                    <a:pt x="628" y="1193"/>
                  </a:cubicBezTo>
                  <a:cubicBezTo>
                    <a:pt x="642" y="1169"/>
                    <a:pt x="642" y="1149"/>
                    <a:pt x="667" y="1135"/>
                  </a:cubicBezTo>
                  <a:cubicBezTo>
                    <a:pt x="686" y="1125"/>
                    <a:pt x="705" y="1130"/>
                    <a:pt x="725" y="1125"/>
                  </a:cubicBezTo>
                  <a:cubicBezTo>
                    <a:pt x="764" y="1115"/>
                    <a:pt x="784" y="1096"/>
                    <a:pt x="813" y="1071"/>
                  </a:cubicBezTo>
                  <a:cubicBezTo>
                    <a:pt x="823" y="1062"/>
                    <a:pt x="832" y="1062"/>
                    <a:pt x="842" y="1047"/>
                  </a:cubicBezTo>
                  <a:cubicBezTo>
                    <a:pt x="847" y="1042"/>
                    <a:pt x="842" y="1033"/>
                    <a:pt x="847" y="1033"/>
                  </a:cubicBezTo>
                  <a:cubicBezTo>
                    <a:pt x="862" y="1023"/>
                    <a:pt x="876" y="1028"/>
                    <a:pt x="891" y="1028"/>
                  </a:cubicBezTo>
                  <a:cubicBezTo>
                    <a:pt x="915" y="1028"/>
                    <a:pt x="930" y="1028"/>
                    <a:pt x="954" y="1018"/>
                  </a:cubicBezTo>
                  <a:cubicBezTo>
                    <a:pt x="984" y="1008"/>
                    <a:pt x="1003" y="994"/>
                    <a:pt x="1012" y="960"/>
                  </a:cubicBezTo>
                  <a:cubicBezTo>
                    <a:pt x="1017" y="950"/>
                    <a:pt x="1012" y="940"/>
                    <a:pt x="1017" y="930"/>
                  </a:cubicBezTo>
                  <a:cubicBezTo>
                    <a:pt x="1022" y="916"/>
                    <a:pt x="1032" y="906"/>
                    <a:pt x="1037" y="886"/>
                  </a:cubicBezTo>
                  <a:cubicBezTo>
                    <a:pt x="1037" y="877"/>
                    <a:pt x="1047" y="872"/>
                    <a:pt x="1047" y="862"/>
                  </a:cubicBezTo>
                  <a:cubicBezTo>
                    <a:pt x="1047" y="823"/>
                    <a:pt x="1037" y="803"/>
                    <a:pt x="1032" y="765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46" name="Freeform 91"/>
            <p:cNvSpPr>
              <a:spLocks noChangeArrowheads="1"/>
            </p:cNvSpPr>
            <p:nvPr/>
          </p:nvSpPr>
          <p:spPr bwMode="auto">
            <a:xfrm>
              <a:off x="13038843" y="7948060"/>
              <a:ext cx="1397321" cy="1064162"/>
            </a:xfrm>
            <a:custGeom>
              <a:avLst/>
              <a:gdLst>
                <a:gd name="T0" fmla="*/ 24 w 2207"/>
                <a:gd name="T1" fmla="*/ 301 h 1681"/>
                <a:gd name="T2" fmla="*/ 24 w 2207"/>
                <a:gd name="T3" fmla="*/ 301 h 1681"/>
                <a:gd name="T4" fmla="*/ 0 w 2207"/>
                <a:gd name="T5" fmla="*/ 404 h 1681"/>
                <a:gd name="T6" fmla="*/ 14 w 2207"/>
                <a:gd name="T7" fmla="*/ 467 h 1681"/>
                <a:gd name="T8" fmla="*/ 44 w 2207"/>
                <a:gd name="T9" fmla="*/ 511 h 1681"/>
                <a:gd name="T10" fmla="*/ 151 w 2207"/>
                <a:gd name="T11" fmla="*/ 569 h 1681"/>
                <a:gd name="T12" fmla="*/ 268 w 2207"/>
                <a:gd name="T13" fmla="*/ 701 h 1681"/>
                <a:gd name="T14" fmla="*/ 316 w 2207"/>
                <a:gd name="T15" fmla="*/ 759 h 1681"/>
                <a:gd name="T16" fmla="*/ 521 w 2207"/>
                <a:gd name="T17" fmla="*/ 857 h 1681"/>
                <a:gd name="T18" fmla="*/ 726 w 2207"/>
                <a:gd name="T19" fmla="*/ 1008 h 1681"/>
                <a:gd name="T20" fmla="*/ 813 w 2207"/>
                <a:gd name="T21" fmla="*/ 1105 h 1681"/>
                <a:gd name="T22" fmla="*/ 843 w 2207"/>
                <a:gd name="T23" fmla="*/ 1110 h 1681"/>
                <a:gd name="T24" fmla="*/ 926 w 2207"/>
                <a:gd name="T25" fmla="*/ 1134 h 1681"/>
                <a:gd name="T26" fmla="*/ 974 w 2207"/>
                <a:gd name="T27" fmla="*/ 1208 h 1681"/>
                <a:gd name="T28" fmla="*/ 998 w 2207"/>
                <a:gd name="T29" fmla="*/ 1329 h 1681"/>
                <a:gd name="T30" fmla="*/ 1101 w 2207"/>
                <a:gd name="T31" fmla="*/ 1451 h 1681"/>
                <a:gd name="T32" fmla="*/ 1174 w 2207"/>
                <a:gd name="T33" fmla="*/ 1519 h 1681"/>
                <a:gd name="T34" fmla="*/ 1232 w 2207"/>
                <a:gd name="T35" fmla="*/ 1636 h 1681"/>
                <a:gd name="T36" fmla="*/ 1252 w 2207"/>
                <a:gd name="T37" fmla="*/ 1670 h 1681"/>
                <a:gd name="T38" fmla="*/ 1320 w 2207"/>
                <a:gd name="T39" fmla="*/ 1675 h 1681"/>
                <a:gd name="T40" fmla="*/ 1320 w 2207"/>
                <a:gd name="T41" fmla="*/ 1675 h 1681"/>
                <a:gd name="T42" fmla="*/ 1315 w 2207"/>
                <a:gd name="T43" fmla="*/ 1650 h 1681"/>
                <a:gd name="T44" fmla="*/ 1359 w 2207"/>
                <a:gd name="T45" fmla="*/ 1548 h 1681"/>
                <a:gd name="T46" fmla="*/ 1335 w 2207"/>
                <a:gd name="T47" fmla="*/ 1456 h 1681"/>
                <a:gd name="T48" fmla="*/ 1349 w 2207"/>
                <a:gd name="T49" fmla="*/ 1451 h 1681"/>
                <a:gd name="T50" fmla="*/ 1393 w 2207"/>
                <a:gd name="T51" fmla="*/ 1475 h 1681"/>
                <a:gd name="T52" fmla="*/ 1432 w 2207"/>
                <a:gd name="T53" fmla="*/ 1407 h 1681"/>
                <a:gd name="T54" fmla="*/ 1495 w 2207"/>
                <a:gd name="T55" fmla="*/ 1368 h 1681"/>
                <a:gd name="T56" fmla="*/ 1588 w 2207"/>
                <a:gd name="T57" fmla="*/ 1334 h 1681"/>
                <a:gd name="T58" fmla="*/ 1627 w 2207"/>
                <a:gd name="T59" fmla="*/ 1276 h 1681"/>
                <a:gd name="T60" fmla="*/ 1719 w 2207"/>
                <a:gd name="T61" fmla="*/ 1202 h 1681"/>
                <a:gd name="T62" fmla="*/ 1763 w 2207"/>
                <a:gd name="T63" fmla="*/ 1130 h 1681"/>
                <a:gd name="T64" fmla="*/ 1763 w 2207"/>
                <a:gd name="T65" fmla="*/ 1100 h 1681"/>
                <a:gd name="T66" fmla="*/ 1816 w 2207"/>
                <a:gd name="T67" fmla="*/ 1066 h 1681"/>
                <a:gd name="T68" fmla="*/ 1855 w 2207"/>
                <a:gd name="T69" fmla="*/ 1003 h 1681"/>
                <a:gd name="T70" fmla="*/ 1870 w 2207"/>
                <a:gd name="T71" fmla="*/ 998 h 1681"/>
                <a:gd name="T72" fmla="*/ 1909 w 2207"/>
                <a:gd name="T73" fmla="*/ 920 h 1681"/>
                <a:gd name="T74" fmla="*/ 1943 w 2207"/>
                <a:gd name="T75" fmla="*/ 862 h 1681"/>
                <a:gd name="T76" fmla="*/ 1943 w 2207"/>
                <a:gd name="T77" fmla="*/ 818 h 1681"/>
                <a:gd name="T78" fmla="*/ 1968 w 2207"/>
                <a:gd name="T79" fmla="*/ 799 h 1681"/>
                <a:gd name="T80" fmla="*/ 2021 w 2207"/>
                <a:gd name="T81" fmla="*/ 720 h 1681"/>
                <a:gd name="T82" fmla="*/ 2070 w 2207"/>
                <a:gd name="T83" fmla="*/ 633 h 1681"/>
                <a:gd name="T84" fmla="*/ 2095 w 2207"/>
                <a:gd name="T85" fmla="*/ 569 h 1681"/>
                <a:gd name="T86" fmla="*/ 2182 w 2207"/>
                <a:gd name="T87" fmla="*/ 404 h 1681"/>
                <a:gd name="T88" fmla="*/ 2206 w 2207"/>
                <a:gd name="T89" fmla="*/ 374 h 1681"/>
                <a:gd name="T90" fmla="*/ 2206 w 2207"/>
                <a:gd name="T91" fmla="*/ 374 h 1681"/>
                <a:gd name="T92" fmla="*/ 1636 w 2207"/>
                <a:gd name="T93" fmla="*/ 4 h 1681"/>
                <a:gd name="T94" fmla="*/ 1164 w 2207"/>
                <a:gd name="T95" fmla="*/ 136 h 1681"/>
                <a:gd name="T96" fmla="*/ 1091 w 2207"/>
                <a:gd name="T97" fmla="*/ 67 h 1681"/>
                <a:gd name="T98" fmla="*/ 1032 w 2207"/>
                <a:gd name="T99" fmla="*/ 28 h 1681"/>
                <a:gd name="T100" fmla="*/ 979 w 2207"/>
                <a:gd name="T101" fmla="*/ 0 h 1681"/>
                <a:gd name="T102" fmla="*/ 862 w 2207"/>
                <a:gd name="T103" fmla="*/ 19 h 1681"/>
                <a:gd name="T104" fmla="*/ 774 w 2207"/>
                <a:gd name="T105" fmla="*/ 28 h 1681"/>
                <a:gd name="T106" fmla="*/ 677 w 2207"/>
                <a:gd name="T107" fmla="*/ 53 h 1681"/>
                <a:gd name="T108" fmla="*/ 594 w 2207"/>
                <a:gd name="T109" fmla="*/ 63 h 1681"/>
                <a:gd name="T110" fmla="*/ 506 w 2207"/>
                <a:gd name="T111" fmla="*/ 87 h 1681"/>
                <a:gd name="T112" fmla="*/ 263 w 2207"/>
                <a:gd name="T113" fmla="*/ 160 h 1681"/>
                <a:gd name="T114" fmla="*/ 219 w 2207"/>
                <a:gd name="T115" fmla="*/ 185 h 1681"/>
                <a:gd name="T116" fmla="*/ 146 w 2207"/>
                <a:gd name="T117" fmla="*/ 238 h 1681"/>
                <a:gd name="T118" fmla="*/ 58 w 2207"/>
                <a:gd name="T119" fmla="*/ 267 h 1681"/>
                <a:gd name="T120" fmla="*/ 24 w 2207"/>
                <a:gd name="T121" fmla="*/ 301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07" h="1681">
                  <a:moveTo>
                    <a:pt x="24" y="301"/>
                  </a:moveTo>
                  <a:lnTo>
                    <a:pt x="24" y="301"/>
                  </a:lnTo>
                  <a:cubicBezTo>
                    <a:pt x="14" y="340"/>
                    <a:pt x="0" y="360"/>
                    <a:pt x="0" y="404"/>
                  </a:cubicBezTo>
                  <a:cubicBezTo>
                    <a:pt x="0" y="428"/>
                    <a:pt x="5" y="442"/>
                    <a:pt x="14" y="467"/>
                  </a:cubicBezTo>
                  <a:cubicBezTo>
                    <a:pt x="24" y="481"/>
                    <a:pt x="29" y="501"/>
                    <a:pt x="44" y="511"/>
                  </a:cubicBezTo>
                  <a:cubicBezTo>
                    <a:pt x="88" y="535"/>
                    <a:pt x="112" y="540"/>
                    <a:pt x="151" y="569"/>
                  </a:cubicBezTo>
                  <a:cubicBezTo>
                    <a:pt x="209" y="608"/>
                    <a:pt x="229" y="642"/>
                    <a:pt x="268" y="701"/>
                  </a:cubicBezTo>
                  <a:cubicBezTo>
                    <a:pt x="282" y="725"/>
                    <a:pt x="297" y="740"/>
                    <a:pt x="316" y="759"/>
                  </a:cubicBezTo>
                  <a:cubicBezTo>
                    <a:pt x="375" y="827"/>
                    <a:pt x="438" y="832"/>
                    <a:pt x="521" y="857"/>
                  </a:cubicBezTo>
                  <a:cubicBezTo>
                    <a:pt x="614" y="890"/>
                    <a:pt x="658" y="940"/>
                    <a:pt x="726" y="1008"/>
                  </a:cubicBezTo>
                  <a:cubicBezTo>
                    <a:pt x="765" y="1042"/>
                    <a:pt x="769" y="1081"/>
                    <a:pt x="813" y="1105"/>
                  </a:cubicBezTo>
                  <a:cubicBezTo>
                    <a:pt x="823" y="1110"/>
                    <a:pt x="833" y="1110"/>
                    <a:pt x="843" y="1110"/>
                  </a:cubicBezTo>
                  <a:cubicBezTo>
                    <a:pt x="877" y="1115"/>
                    <a:pt x="891" y="1125"/>
                    <a:pt x="926" y="1134"/>
                  </a:cubicBezTo>
                  <a:cubicBezTo>
                    <a:pt x="954" y="1144"/>
                    <a:pt x="965" y="1173"/>
                    <a:pt x="974" y="1208"/>
                  </a:cubicBezTo>
                  <a:cubicBezTo>
                    <a:pt x="984" y="1256"/>
                    <a:pt x="984" y="1285"/>
                    <a:pt x="998" y="1329"/>
                  </a:cubicBezTo>
                  <a:cubicBezTo>
                    <a:pt x="1018" y="1388"/>
                    <a:pt x="1052" y="1417"/>
                    <a:pt x="1101" y="1451"/>
                  </a:cubicBezTo>
                  <a:cubicBezTo>
                    <a:pt x="1130" y="1475"/>
                    <a:pt x="1150" y="1485"/>
                    <a:pt x="1174" y="1519"/>
                  </a:cubicBezTo>
                  <a:cubicBezTo>
                    <a:pt x="1203" y="1558"/>
                    <a:pt x="1203" y="1592"/>
                    <a:pt x="1232" y="1636"/>
                  </a:cubicBezTo>
                  <a:cubicBezTo>
                    <a:pt x="1237" y="1646"/>
                    <a:pt x="1242" y="1661"/>
                    <a:pt x="1252" y="1670"/>
                  </a:cubicBezTo>
                  <a:cubicBezTo>
                    <a:pt x="1271" y="1680"/>
                    <a:pt x="1300" y="1670"/>
                    <a:pt x="1320" y="1675"/>
                  </a:cubicBezTo>
                  <a:lnTo>
                    <a:pt x="1320" y="1675"/>
                  </a:lnTo>
                  <a:cubicBezTo>
                    <a:pt x="1320" y="1670"/>
                    <a:pt x="1315" y="1661"/>
                    <a:pt x="1315" y="1650"/>
                  </a:cubicBezTo>
                  <a:cubicBezTo>
                    <a:pt x="1315" y="1606"/>
                    <a:pt x="1359" y="1592"/>
                    <a:pt x="1359" y="1548"/>
                  </a:cubicBezTo>
                  <a:cubicBezTo>
                    <a:pt x="1359" y="1509"/>
                    <a:pt x="1339" y="1495"/>
                    <a:pt x="1335" y="1456"/>
                  </a:cubicBezTo>
                  <a:cubicBezTo>
                    <a:pt x="1339" y="1456"/>
                    <a:pt x="1344" y="1451"/>
                    <a:pt x="1349" y="1451"/>
                  </a:cubicBezTo>
                  <a:cubicBezTo>
                    <a:pt x="1368" y="1451"/>
                    <a:pt x="1374" y="1475"/>
                    <a:pt x="1393" y="1475"/>
                  </a:cubicBezTo>
                  <a:cubicBezTo>
                    <a:pt x="1422" y="1475"/>
                    <a:pt x="1422" y="1436"/>
                    <a:pt x="1432" y="1407"/>
                  </a:cubicBezTo>
                  <a:cubicBezTo>
                    <a:pt x="1442" y="1383"/>
                    <a:pt x="1471" y="1383"/>
                    <a:pt x="1495" y="1368"/>
                  </a:cubicBezTo>
                  <a:cubicBezTo>
                    <a:pt x="1529" y="1354"/>
                    <a:pt x="1559" y="1358"/>
                    <a:pt x="1588" y="1334"/>
                  </a:cubicBezTo>
                  <a:cubicBezTo>
                    <a:pt x="1607" y="1319"/>
                    <a:pt x="1607" y="1295"/>
                    <a:pt x="1627" y="1276"/>
                  </a:cubicBezTo>
                  <a:cubicBezTo>
                    <a:pt x="1661" y="1241"/>
                    <a:pt x="1685" y="1236"/>
                    <a:pt x="1719" y="1202"/>
                  </a:cubicBezTo>
                  <a:cubicBezTo>
                    <a:pt x="1744" y="1183"/>
                    <a:pt x="1758" y="1163"/>
                    <a:pt x="1763" y="1130"/>
                  </a:cubicBezTo>
                  <a:cubicBezTo>
                    <a:pt x="1763" y="1120"/>
                    <a:pt x="1758" y="1110"/>
                    <a:pt x="1763" y="1100"/>
                  </a:cubicBezTo>
                  <a:cubicBezTo>
                    <a:pt x="1773" y="1076"/>
                    <a:pt x="1797" y="1081"/>
                    <a:pt x="1816" y="1066"/>
                  </a:cubicBezTo>
                  <a:cubicBezTo>
                    <a:pt x="1836" y="1047"/>
                    <a:pt x="1836" y="1022"/>
                    <a:pt x="1855" y="1003"/>
                  </a:cubicBezTo>
                  <a:cubicBezTo>
                    <a:pt x="1860" y="998"/>
                    <a:pt x="1866" y="1003"/>
                    <a:pt x="1870" y="998"/>
                  </a:cubicBezTo>
                  <a:cubicBezTo>
                    <a:pt x="1890" y="973"/>
                    <a:pt x="1894" y="949"/>
                    <a:pt x="1909" y="920"/>
                  </a:cubicBezTo>
                  <a:cubicBezTo>
                    <a:pt x="1924" y="901"/>
                    <a:pt x="1938" y="886"/>
                    <a:pt x="1943" y="862"/>
                  </a:cubicBezTo>
                  <a:cubicBezTo>
                    <a:pt x="1943" y="842"/>
                    <a:pt x="1934" y="832"/>
                    <a:pt x="1943" y="818"/>
                  </a:cubicBezTo>
                  <a:cubicBezTo>
                    <a:pt x="1948" y="808"/>
                    <a:pt x="1958" y="803"/>
                    <a:pt x="1968" y="799"/>
                  </a:cubicBezTo>
                  <a:cubicBezTo>
                    <a:pt x="1997" y="779"/>
                    <a:pt x="2007" y="754"/>
                    <a:pt x="2021" y="720"/>
                  </a:cubicBezTo>
                  <a:cubicBezTo>
                    <a:pt x="2040" y="686"/>
                    <a:pt x="2051" y="667"/>
                    <a:pt x="2070" y="633"/>
                  </a:cubicBezTo>
                  <a:cubicBezTo>
                    <a:pt x="2080" y="608"/>
                    <a:pt x="2084" y="594"/>
                    <a:pt x="2095" y="569"/>
                  </a:cubicBezTo>
                  <a:cubicBezTo>
                    <a:pt x="2123" y="506"/>
                    <a:pt x="2143" y="467"/>
                    <a:pt x="2182" y="404"/>
                  </a:cubicBezTo>
                  <a:cubicBezTo>
                    <a:pt x="2192" y="394"/>
                    <a:pt x="2197" y="384"/>
                    <a:pt x="2206" y="374"/>
                  </a:cubicBezTo>
                  <a:lnTo>
                    <a:pt x="2206" y="374"/>
                  </a:lnTo>
                  <a:cubicBezTo>
                    <a:pt x="1636" y="4"/>
                    <a:pt x="1636" y="4"/>
                    <a:pt x="1636" y="4"/>
                  </a:cubicBezTo>
                  <a:cubicBezTo>
                    <a:pt x="1164" y="136"/>
                    <a:pt x="1164" y="136"/>
                    <a:pt x="1164" y="136"/>
                  </a:cubicBezTo>
                  <a:cubicBezTo>
                    <a:pt x="1130" y="121"/>
                    <a:pt x="1115" y="97"/>
                    <a:pt x="1091" y="67"/>
                  </a:cubicBezTo>
                  <a:cubicBezTo>
                    <a:pt x="1076" y="43"/>
                    <a:pt x="1057" y="43"/>
                    <a:pt x="1032" y="28"/>
                  </a:cubicBezTo>
                  <a:cubicBezTo>
                    <a:pt x="1013" y="19"/>
                    <a:pt x="1003" y="0"/>
                    <a:pt x="979" y="0"/>
                  </a:cubicBezTo>
                  <a:cubicBezTo>
                    <a:pt x="935" y="0"/>
                    <a:pt x="911" y="9"/>
                    <a:pt x="862" y="19"/>
                  </a:cubicBezTo>
                  <a:cubicBezTo>
                    <a:pt x="828" y="24"/>
                    <a:pt x="808" y="24"/>
                    <a:pt x="774" y="28"/>
                  </a:cubicBezTo>
                  <a:cubicBezTo>
                    <a:pt x="735" y="33"/>
                    <a:pt x="716" y="43"/>
                    <a:pt x="677" y="53"/>
                  </a:cubicBezTo>
                  <a:cubicBezTo>
                    <a:pt x="647" y="58"/>
                    <a:pt x="628" y="58"/>
                    <a:pt x="594" y="63"/>
                  </a:cubicBezTo>
                  <a:cubicBezTo>
                    <a:pt x="560" y="67"/>
                    <a:pt x="540" y="78"/>
                    <a:pt x="506" y="87"/>
                  </a:cubicBezTo>
                  <a:cubicBezTo>
                    <a:pt x="409" y="106"/>
                    <a:pt x="346" y="106"/>
                    <a:pt x="263" y="160"/>
                  </a:cubicBezTo>
                  <a:cubicBezTo>
                    <a:pt x="249" y="170"/>
                    <a:pt x="234" y="175"/>
                    <a:pt x="219" y="185"/>
                  </a:cubicBezTo>
                  <a:cubicBezTo>
                    <a:pt x="194" y="209"/>
                    <a:pt x="180" y="228"/>
                    <a:pt x="146" y="238"/>
                  </a:cubicBezTo>
                  <a:cubicBezTo>
                    <a:pt x="112" y="252"/>
                    <a:pt x="88" y="248"/>
                    <a:pt x="58" y="267"/>
                  </a:cubicBezTo>
                  <a:cubicBezTo>
                    <a:pt x="44" y="272"/>
                    <a:pt x="39" y="292"/>
                    <a:pt x="24" y="301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47" name="Freeform 92"/>
            <p:cNvSpPr>
              <a:spLocks noChangeArrowheads="1"/>
            </p:cNvSpPr>
            <p:nvPr/>
          </p:nvSpPr>
          <p:spPr bwMode="auto">
            <a:xfrm>
              <a:off x="12380786" y="8138489"/>
              <a:ext cx="1503731" cy="1596243"/>
            </a:xfrm>
            <a:custGeom>
              <a:avLst/>
              <a:gdLst>
                <a:gd name="T0" fmla="*/ 488 w 2374"/>
                <a:gd name="T1" fmla="*/ 136 h 2519"/>
                <a:gd name="T2" fmla="*/ 1062 w 2374"/>
                <a:gd name="T3" fmla="*/ 0 h 2519"/>
                <a:gd name="T4" fmla="*/ 1052 w 2374"/>
                <a:gd name="T5" fmla="*/ 166 h 2519"/>
                <a:gd name="T6" fmla="*/ 1189 w 2374"/>
                <a:gd name="T7" fmla="*/ 268 h 2519"/>
                <a:gd name="T8" fmla="*/ 1354 w 2374"/>
                <a:gd name="T9" fmla="*/ 458 h 2519"/>
                <a:gd name="T10" fmla="*/ 1764 w 2374"/>
                <a:gd name="T11" fmla="*/ 707 h 2519"/>
                <a:gd name="T12" fmla="*/ 1881 w 2374"/>
                <a:gd name="T13" fmla="*/ 809 h 2519"/>
                <a:gd name="T14" fmla="*/ 2012 w 2374"/>
                <a:gd name="T15" fmla="*/ 907 h 2519"/>
                <a:gd name="T16" fmla="*/ 2139 w 2374"/>
                <a:gd name="T17" fmla="*/ 1150 h 2519"/>
                <a:gd name="T18" fmla="*/ 2270 w 2374"/>
                <a:gd name="T19" fmla="*/ 1335 h 2519"/>
                <a:gd name="T20" fmla="*/ 2358 w 2374"/>
                <a:gd name="T21" fmla="*/ 1374 h 2519"/>
                <a:gd name="T22" fmla="*/ 2373 w 2374"/>
                <a:gd name="T23" fmla="*/ 1413 h 2519"/>
                <a:gd name="T24" fmla="*/ 2280 w 2374"/>
                <a:gd name="T25" fmla="*/ 1603 h 2519"/>
                <a:gd name="T26" fmla="*/ 2251 w 2374"/>
                <a:gd name="T27" fmla="*/ 1808 h 2519"/>
                <a:gd name="T28" fmla="*/ 2231 w 2374"/>
                <a:gd name="T29" fmla="*/ 1958 h 2519"/>
                <a:gd name="T30" fmla="*/ 2260 w 2374"/>
                <a:gd name="T31" fmla="*/ 2056 h 2519"/>
                <a:gd name="T32" fmla="*/ 2280 w 2374"/>
                <a:gd name="T33" fmla="*/ 2183 h 2519"/>
                <a:gd name="T34" fmla="*/ 2216 w 2374"/>
                <a:gd name="T35" fmla="*/ 2197 h 2519"/>
                <a:gd name="T36" fmla="*/ 2158 w 2374"/>
                <a:gd name="T37" fmla="*/ 2202 h 2519"/>
                <a:gd name="T38" fmla="*/ 2080 w 2374"/>
                <a:gd name="T39" fmla="*/ 2202 h 2519"/>
                <a:gd name="T40" fmla="*/ 1978 w 2374"/>
                <a:gd name="T41" fmla="*/ 2270 h 2519"/>
                <a:gd name="T42" fmla="*/ 1953 w 2374"/>
                <a:gd name="T43" fmla="*/ 2460 h 2519"/>
                <a:gd name="T44" fmla="*/ 1057 w 2374"/>
                <a:gd name="T45" fmla="*/ 2499 h 2519"/>
                <a:gd name="T46" fmla="*/ 614 w 2374"/>
                <a:gd name="T47" fmla="*/ 2465 h 2519"/>
                <a:gd name="T48" fmla="*/ 478 w 2374"/>
                <a:gd name="T49" fmla="*/ 2407 h 2519"/>
                <a:gd name="T50" fmla="*/ 449 w 2374"/>
                <a:gd name="T51" fmla="*/ 1919 h 2519"/>
                <a:gd name="T52" fmla="*/ 468 w 2374"/>
                <a:gd name="T53" fmla="*/ 1734 h 2519"/>
                <a:gd name="T54" fmla="*/ 522 w 2374"/>
                <a:gd name="T55" fmla="*/ 1661 h 2519"/>
                <a:gd name="T56" fmla="*/ 449 w 2374"/>
                <a:gd name="T57" fmla="*/ 1545 h 2519"/>
                <a:gd name="T58" fmla="*/ 366 w 2374"/>
                <a:gd name="T59" fmla="*/ 1486 h 2519"/>
                <a:gd name="T60" fmla="*/ 336 w 2374"/>
                <a:gd name="T61" fmla="*/ 1369 h 2519"/>
                <a:gd name="T62" fmla="*/ 307 w 2374"/>
                <a:gd name="T63" fmla="*/ 1184 h 2519"/>
                <a:gd name="T64" fmla="*/ 5 w 2374"/>
                <a:gd name="T65" fmla="*/ 263 h 2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74" h="2519">
                  <a:moveTo>
                    <a:pt x="488" y="136"/>
                  </a:moveTo>
                  <a:lnTo>
                    <a:pt x="488" y="136"/>
                  </a:lnTo>
                  <a:cubicBezTo>
                    <a:pt x="1062" y="0"/>
                    <a:pt x="1062" y="0"/>
                    <a:pt x="1062" y="0"/>
                  </a:cubicBezTo>
                  <a:lnTo>
                    <a:pt x="1062" y="0"/>
                  </a:lnTo>
                  <a:cubicBezTo>
                    <a:pt x="1052" y="39"/>
                    <a:pt x="1038" y="59"/>
                    <a:pt x="1038" y="103"/>
                  </a:cubicBezTo>
                  <a:cubicBezTo>
                    <a:pt x="1038" y="127"/>
                    <a:pt x="1043" y="141"/>
                    <a:pt x="1052" y="166"/>
                  </a:cubicBezTo>
                  <a:cubicBezTo>
                    <a:pt x="1062" y="180"/>
                    <a:pt x="1067" y="200"/>
                    <a:pt x="1082" y="210"/>
                  </a:cubicBezTo>
                  <a:cubicBezTo>
                    <a:pt x="1126" y="234"/>
                    <a:pt x="1150" y="239"/>
                    <a:pt x="1189" y="268"/>
                  </a:cubicBezTo>
                  <a:cubicBezTo>
                    <a:pt x="1247" y="307"/>
                    <a:pt x="1267" y="341"/>
                    <a:pt x="1306" y="400"/>
                  </a:cubicBezTo>
                  <a:cubicBezTo>
                    <a:pt x="1320" y="424"/>
                    <a:pt x="1335" y="439"/>
                    <a:pt x="1354" y="458"/>
                  </a:cubicBezTo>
                  <a:cubicBezTo>
                    <a:pt x="1413" y="526"/>
                    <a:pt x="1476" y="531"/>
                    <a:pt x="1559" y="556"/>
                  </a:cubicBezTo>
                  <a:cubicBezTo>
                    <a:pt x="1652" y="589"/>
                    <a:pt x="1696" y="639"/>
                    <a:pt x="1764" y="707"/>
                  </a:cubicBezTo>
                  <a:cubicBezTo>
                    <a:pt x="1803" y="741"/>
                    <a:pt x="1807" y="780"/>
                    <a:pt x="1851" y="804"/>
                  </a:cubicBezTo>
                  <a:cubicBezTo>
                    <a:pt x="1861" y="809"/>
                    <a:pt x="1871" y="809"/>
                    <a:pt x="1881" y="809"/>
                  </a:cubicBezTo>
                  <a:cubicBezTo>
                    <a:pt x="1915" y="814"/>
                    <a:pt x="1929" y="824"/>
                    <a:pt x="1964" y="833"/>
                  </a:cubicBezTo>
                  <a:cubicBezTo>
                    <a:pt x="1992" y="843"/>
                    <a:pt x="2003" y="872"/>
                    <a:pt x="2012" y="907"/>
                  </a:cubicBezTo>
                  <a:cubicBezTo>
                    <a:pt x="2022" y="955"/>
                    <a:pt x="2022" y="984"/>
                    <a:pt x="2036" y="1028"/>
                  </a:cubicBezTo>
                  <a:cubicBezTo>
                    <a:pt x="2056" y="1087"/>
                    <a:pt x="2090" y="1116"/>
                    <a:pt x="2139" y="1150"/>
                  </a:cubicBezTo>
                  <a:cubicBezTo>
                    <a:pt x="2168" y="1174"/>
                    <a:pt x="2188" y="1184"/>
                    <a:pt x="2212" y="1218"/>
                  </a:cubicBezTo>
                  <a:cubicBezTo>
                    <a:pt x="2241" y="1257"/>
                    <a:pt x="2241" y="1291"/>
                    <a:pt x="2270" y="1335"/>
                  </a:cubicBezTo>
                  <a:cubicBezTo>
                    <a:pt x="2275" y="1345"/>
                    <a:pt x="2280" y="1360"/>
                    <a:pt x="2290" y="1369"/>
                  </a:cubicBezTo>
                  <a:cubicBezTo>
                    <a:pt x="2309" y="1379"/>
                    <a:pt x="2338" y="1369"/>
                    <a:pt x="2358" y="1374"/>
                  </a:cubicBezTo>
                  <a:lnTo>
                    <a:pt x="2358" y="1374"/>
                  </a:lnTo>
                  <a:cubicBezTo>
                    <a:pt x="2362" y="1388"/>
                    <a:pt x="2373" y="1398"/>
                    <a:pt x="2373" y="1413"/>
                  </a:cubicBezTo>
                  <a:cubicBezTo>
                    <a:pt x="2373" y="1452"/>
                    <a:pt x="2343" y="1466"/>
                    <a:pt x="2314" y="1501"/>
                  </a:cubicBezTo>
                  <a:cubicBezTo>
                    <a:pt x="2309" y="1545"/>
                    <a:pt x="2295" y="1564"/>
                    <a:pt x="2280" y="1603"/>
                  </a:cubicBezTo>
                  <a:cubicBezTo>
                    <a:pt x="2270" y="1656"/>
                    <a:pt x="2275" y="1686"/>
                    <a:pt x="2265" y="1739"/>
                  </a:cubicBezTo>
                  <a:cubicBezTo>
                    <a:pt x="2265" y="1769"/>
                    <a:pt x="2251" y="1783"/>
                    <a:pt x="2251" y="1808"/>
                  </a:cubicBezTo>
                  <a:cubicBezTo>
                    <a:pt x="2251" y="1827"/>
                    <a:pt x="2265" y="1841"/>
                    <a:pt x="2265" y="1861"/>
                  </a:cubicBezTo>
                  <a:cubicBezTo>
                    <a:pt x="2265" y="1900"/>
                    <a:pt x="2231" y="1919"/>
                    <a:pt x="2231" y="1958"/>
                  </a:cubicBezTo>
                  <a:cubicBezTo>
                    <a:pt x="2231" y="1978"/>
                    <a:pt x="2251" y="1978"/>
                    <a:pt x="2251" y="1998"/>
                  </a:cubicBezTo>
                  <a:cubicBezTo>
                    <a:pt x="2255" y="2017"/>
                    <a:pt x="2255" y="2037"/>
                    <a:pt x="2260" y="2056"/>
                  </a:cubicBezTo>
                  <a:cubicBezTo>
                    <a:pt x="2265" y="2085"/>
                    <a:pt x="2270" y="2104"/>
                    <a:pt x="2270" y="2134"/>
                  </a:cubicBezTo>
                  <a:cubicBezTo>
                    <a:pt x="2275" y="2153"/>
                    <a:pt x="2275" y="2168"/>
                    <a:pt x="2280" y="2183"/>
                  </a:cubicBezTo>
                  <a:lnTo>
                    <a:pt x="2280" y="2183"/>
                  </a:lnTo>
                  <a:cubicBezTo>
                    <a:pt x="2260" y="2187"/>
                    <a:pt x="2236" y="2192"/>
                    <a:pt x="2216" y="2197"/>
                  </a:cubicBezTo>
                  <a:cubicBezTo>
                    <a:pt x="2207" y="2202"/>
                    <a:pt x="2202" y="2207"/>
                    <a:pt x="2188" y="2207"/>
                  </a:cubicBezTo>
                  <a:cubicBezTo>
                    <a:pt x="2178" y="2207"/>
                    <a:pt x="2168" y="2202"/>
                    <a:pt x="2158" y="2202"/>
                  </a:cubicBezTo>
                  <a:cubicBezTo>
                    <a:pt x="2149" y="2207"/>
                    <a:pt x="2139" y="2212"/>
                    <a:pt x="2129" y="2212"/>
                  </a:cubicBezTo>
                  <a:cubicBezTo>
                    <a:pt x="2110" y="2212"/>
                    <a:pt x="2100" y="2207"/>
                    <a:pt x="2080" y="2202"/>
                  </a:cubicBezTo>
                  <a:cubicBezTo>
                    <a:pt x="2075" y="2202"/>
                    <a:pt x="2075" y="2197"/>
                    <a:pt x="2066" y="2197"/>
                  </a:cubicBezTo>
                  <a:cubicBezTo>
                    <a:pt x="2022" y="2197"/>
                    <a:pt x="1992" y="2231"/>
                    <a:pt x="1978" y="2270"/>
                  </a:cubicBezTo>
                  <a:cubicBezTo>
                    <a:pt x="1968" y="2294"/>
                    <a:pt x="1953" y="2309"/>
                    <a:pt x="1953" y="2333"/>
                  </a:cubicBezTo>
                  <a:cubicBezTo>
                    <a:pt x="1953" y="2460"/>
                    <a:pt x="1953" y="2460"/>
                    <a:pt x="1953" y="2460"/>
                  </a:cubicBezTo>
                  <a:cubicBezTo>
                    <a:pt x="1900" y="2450"/>
                    <a:pt x="1871" y="2426"/>
                    <a:pt x="1832" y="2392"/>
                  </a:cubicBezTo>
                  <a:cubicBezTo>
                    <a:pt x="1057" y="2499"/>
                    <a:pt x="1057" y="2499"/>
                    <a:pt x="1057" y="2499"/>
                  </a:cubicBezTo>
                  <a:cubicBezTo>
                    <a:pt x="765" y="2518"/>
                    <a:pt x="765" y="2518"/>
                    <a:pt x="765" y="2518"/>
                  </a:cubicBezTo>
                  <a:cubicBezTo>
                    <a:pt x="707" y="2494"/>
                    <a:pt x="673" y="2490"/>
                    <a:pt x="614" y="2465"/>
                  </a:cubicBezTo>
                  <a:cubicBezTo>
                    <a:pt x="561" y="2446"/>
                    <a:pt x="531" y="2421"/>
                    <a:pt x="478" y="2407"/>
                  </a:cubicBezTo>
                  <a:lnTo>
                    <a:pt x="478" y="2407"/>
                  </a:lnTo>
                  <a:cubicBezTo>
                    <a:pt x="483" y="2329"/>
                    <a:pt x="492" y="2299"/>
                    <a:pt x="497" y="2222"/>
                  </a:cubicBezTo>
                  <a:cubicBezTo>
                    <a:pt x="449" y="1919"/>
                    <a:pt x="449" y="1919"/>
                    <a:pt x="449" y="1919"/>
                  </a:cubicBezTo>
                  <a:cubicBezTo>
                    <a:pt x="453" y="1876"/>
                    <a:pt x="463" y="1851"/>
                    <a:pt x="463" y="1813"/>
                  </a:cubicBezTo>
                  <a:cubicBezTo>
                    <a:pt x="463" y="1783"/>
                    <a:pt x="458" y="1764"/>
                    <a:pt x="468" y="1734"/>
                  </a:cubicBezTo>
                  <a:cubicBezTo>
                    <a:pt x="478" y="1719"/>
                    <a:pt x="488" y="1705"/>
                    <a:pt x="497" y="1691"/>
                  </a:cubicBezTo>
                  <a:cubicBezTo>
                    <a:pt x="507" y="1681"/>
                    <a:pt x="522" y="1676"/>
                    <a:pt x="522" y="1661"/>
                  </a:cubicBezTo>
                  <a:cubicBezTo>
                    <a:pt x="522" y="1632"/>
                    <a:pt x="507" y="1622"/>
                    <a:pt x="492" y="1603"/>
                  </a:cubicBezTo>
                  <a:cubicBezTo>
                    <a:pt x="478" y="1578"/>
                    <a:pt x="463" y="1569"/>
                    <a:pt x="449" y="1545"/>
                  </a:cubicBezTo>
                  <a:cubicBezTo>
                    <a:pt x="434" y="1520"/>
                    <a:pt x="419" y="1510"/>
                    <a:pt x="395" y="1501"/>
                  </a:cubicBezTo>
                  <a:cubicBezTo>
                    <a:pt x="385" y="1496"/>
                    <a:pt x="375" y="1496"/>
                    <a:pt x="366" y="1486"/>
                  </a:cubicBezTo>
                  <a:cubicBezTo>
                    <a:pt x="351" y="1476"/>
                    <a:pt x="346" y="1462"/>
                    <a:pt x="346" y="1442"/>
                  </a:cubicBezTo>
                  <a:cubicBezTo>
                    <a:pt x="336" y="1413"/>
                    <a:pt x="341" y="1393"/>
                    <a:pt x="336" y="1369"/>
                  </a:cubicBezTo>
                  <a:cubicBezTo>
                    <a:pt x="331" y="1345"/>
                    <a:pt x="322" y="1330"/>
                    <a:pt x="317" y="1305"/>
                  </a:cubicBezTo>
                  <a:cubicBezTo>
                    <a:pt x="307" y="1262"/>
                    <a:pt x="312" y="1233"/>
                    <a:pt x="307" y="1184"/>
                  </a:cubicBezTo>
                  <a:cubicBezTo>
                    <a:pt x="0" y="263"/>
                    <a:pt x="0" y="263"/>
                    <a:pt x="0" y="263"/>
                  </a:cubicBezTo>
                  <a:cubicBezTo>
                    <a:pt x="5" y="263"/>
                    <a:pt x="5" y="263"/>
                    <a:pt x="5" y="263"/>
                  </a:cubicBezTo>
                  <a:cubicBezTo>
                    <a:pt x="488" y="136"/>
                    <a:pt x="488" y="136"/>
                    <a:pt x="488" y="136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48" name="Freeform 93"/>
            <p:cNvSpPr>
              <a:spLocks noChangeArrowheads="1"/>
            </p:cNvSpPr>
            <p:nvPr/>
          </p:nvSpPr>
          <p:spPr bwMode="auto">
            <a:xfrm>
              <a:off x="11966350" y="9524700"/>
              <a:ext cx="2503417" cy="1965899"/>
            </a:xfrm>
            <a:custGeom>
              <a:avLst/>
              <a:gdLst>
                <a:gd name="T0" fmla="*/ 1267 w 3947"/>
                <a:gd name="T1" fmla="*/ 282 h 3098"/>
                <a:gd name="T2" fmla="*/ 2485 w 3947"/>
                <a:gd name="T3" fmla="*/ 209 h 3098"/>
                <a:gd name="T4" fmla="*/ 2631 w 3947"/>
                <a:gd name="T5" fmla="*/ 87 h 3098"/>
                <a:gd name="T6" fmla="*/ 2782 w 3947"/>
                <a:gd name="T7" fmla="*/ 29 h 3098"/>
                <a:gd name="T8" fmla="*/ 2869 w 3947"/>
                <a:gd name="T9" fmla="*/ 14 h 3098"/>
                <a:gd name="T10" fmla="*/ 2938 w 3947"/>
                <a:gd name="T11" fmla="*/ 92 h 3098"/>
                <a:gd name="T12" fmla="*/ 2869 w 3947"/>
                <a:gd name="T13" fmla="*/ 185 h 3098"/>
                <a:gd name="T14" fmla="*/ 2904 w 3947"/>
                <a:gd name="T15" fmla="*/ 511 h 3098"/>
                <a:gd name="T16" fmla="*/ 3006 w 3947"/>
                <a:gd name="T17" fmla="*/ 282 h 3098"/>
                <a:gd name="T18" fmla="*/ 3118 w 3947"/>
                <a:gd name="T19" fmla="*/ 555 h 3098"/>
                <a:gd name="T20" fmla="*/ 3332 w 3947"/>
                <a:gd name="T21" fmla="*/ 920 h 3098"/>
                <a:gd name="T22" fmla="*/ 3503 w 3947"/>
                <a:gd name="T23" fmla="*/ 1100 h 3098"/>
                <a:gd name="T24" fmla="*/ 3449 w 3947"/>
                <a:gd name="T25" fmla="*/ 1178 h 3098"/>
                <a:gd name="T26" fmla="*/ 3629 w 3947"/>
                <a:gd name="T27" fmla="*/ 1461 h 3098"/>
                <a:gd name="T28" fmla="*/ 3824 w 3947"/>
                <a:gd name="T29" fmla="*/ 1802 h 3098"/>
                <a:gd name="T30" fmla="*/ 3902 w 3947"/>
                <a:gd name="T31" fmla="*/ 1992 h 3098"/>
                <a:gd name="T32" fmla="*/ 3922 w 3947"/>
                <a:gd name="T33" fmla="*/ 2283 h 3098"/>
                <a:gd name="T34" fmla="*/ 3883 w 3947"/>
                <a:gd name="T35" fmla="*/ 2795 h 3098"/>
                <a:gd name="T36" fmla="*/ 3800 w 3947"/>
                <a:gd name="T37" fmla="*/ 3043 h 3098"/>
                <a:gd name="T38" fmla="*/ 3551 w 3947"/>
                <a:gd name="T39" fmla="*/ 3063 h 3098"/>
                <a:gd name="T40" fmla="*/ 3634 w 3947"/>
                <a:gd name="T41" fmla="*/ 3000 h 3098"/>
                <a:gd name="T42" fmla="*/ 3435 w 3947"/>
                <a:gd name="T43" fmla="*/ 2868 h 3098"/>
                <a:gd name="T44" fmla="*/ 3215 w 3947"/>
                <a:gd name="T45" fmla="*/ 2698 h 3098"/>
                <a:gd name="T46" fmla="*/ 3059 w 3947"/>
                <a:gd name="T47" fmla="*/ 2435 h 3098"/>
                <a:gd name="T48" fmla="*/ 2962 w 3947"/>
                <a:gd name="T49" fmla="*/ 2299 h 3098"/>
                <a:gd name="T50" fmla="*/ 2869 w 3947"/>
                <a:gd name="T51" fmla="*/ 2216 h 3098"/>
                <a:gd name="T52" fmla="*/ 2689 w 3947"/>
                <a:gd name="T53" fmla="*/ 2133 h 3098"/>
                <a:gd name="T54" fmla="*/ 2602 w 3947"/>
                <a:gd name="T55" fmla="*/ 1957 h 3098"/>
                <a:gd name="T56" fmla="*/ 2636 w 3947"/>
                <a:gd name="T57" fmla="*/ 1763 h 3098"/>
                <a:gd name="T58" fmla="*/ 2499 w 3947"/>
                <a:gd name="T59" fmla="*/ 1792 h 3098"/>
                <a:gd name="T60" fmla="*/ 2451 w 3947"/>
                <a:gd name="T61" fmla="*/ 1587 h 3098"/>
                <a:gd name="T62" fmla="*/ 2431 w 3947"/>
                <a:gd name="T63" fmla="*/ 1310 h 3098"/>
                <a:gd name="T64" fmla="*/ 2300 w 3947"/>
                <a:gd name="T65" fmla="*/ 1056 h 3098"/>
                <a:gd name="T66" fmla="*/ 1988 w 3947"/>
                <a:gd name="T67" fmla="*/ 896 h 3098"/>
                <a:gd name="T68" fmla="*/ 1885 w 3947"/>
                <a:gd name="T69" fmla="*/ 720 h 3098"/>
                <a:gd name="T70" fmla="*/ 1754 w 3947"/>
                <a:gd name="T71" fmla="*/ 677 h 3098"/>
                <a:gd name="T72" fmla="*/ 1623 w 3947"/>
                <a:gd name="T73" fmla="*/ 686 h 3098"/>
                <a:gd name="T74" fmla="*/ 1530 w 3947"/>
                <a:gd name="T75" fmla="*/ 808 h 3098"/>
                <a:gd name="T76" fmla="*/ 1365 w 3947"/>
                <a:gd name="T77" fmla="*/ 891 h 3098"/>
                <a:gd name="T78" fmla="*/ 1189 w 3947"/>
                <a:gd name="T79" fmla="*/ 964 h 3098"/>
                <a:gd name="T80" fmla="*/ 1062 w 3947"/>
                <a:gd name="T81" fmla="*/ 837 h 3098"/>
                <a:gd name="T82" fmla="*/ 931 w 3947"/>
                <a:gd name="T83" fmla="*/ 720 h 3098"/>
                <a:gd name="T84" fmla="*/ 697 w 3947"/>
                <a:gd name="T85" fmla="*/ 701 h 3098"/>
                <a:gd name="T86" fmla="*/ 381 w 3947"/>
                <a:gd name="T87" fmla="*/ 705 h 3098"/>
                <a:gd name="T88" fmla="*/ 220 w 3947"/>
                <a:gd name="T89" fmla="*/ 705 h 3098"/>
                <a:gd name="T90" fmla="*/ 166 w 3947"/>
                <a:gd name="T91" fmla="*/ 823 h 3098"/>
                <a:gd name="T92" fmla="*/ 83 w 3947"/>
                <a:gd name="T93" fmla="*/ 832 h 3098"/>
                <a:gd name="T94" fmla="*/ 64 w 3947"/>
                <a:gd name="T95" fmla="*/ 652 h 3098"/>
                <a:gd name="T96" fmla="*/ 30 w 3947"/>
                <a:gd name="T97" fmla="*/ 448 h 3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47" h="3098">
                  <a:moveTo>
                    <a:pt x="1131" y="224"/>
                  </a:moveTo>
                  <a:lnTo>
                    <a:pt x="1131" y="224"/>
                  </a:lnTo>
                  <a:cubicBezTo>
                    <a:pt x="1184" y="238"/>
                    <a:pt x="1214" y="263"/>
                    <a:pt x="1267" y="282"/>
                  </a:cubicBezTo>
                  <a:cubicBezTo>
                    <a:pt x="1326" y="307"/>
                    <a:pt x="1360" y="311"/>
                    <a:pt x="1418" y="335"/>
                  </a:cubicBezTo>
                  <a:cubicBezTo>
                    <a:pt x="1710" y="316"/>
                    <a:pt x="1710" y="316"/>
                    <a:pt x="1710" y="316"/>
                  </a:cubicBezTo>
                  <a:cubicBezTo>
                    <a:pt x="2485" y="209"/>
                    <a:pt x="2485" y="209"/>
                    <a:pt x="2485" y="209"/>
                  </a:cubicBezTo>
                  <a:cubicBezTo>
                    <a:pt x="2524" y="243"/>
                    <a:pt x="2553" y="267"/>
                    <a:pt x="2606" y="277"/>
                  </a:cubicBezTo>
                  <a:cubicBezTo>
                    <a:pt x="2606" y="150"/>
                    <a:pt x="2606" y="150"/>
                    <a:pt x="2606" y="150"/>
                  </a:cubicBezTo>
                  <a:cubicBezTo>
                    <a:pt x="2606" y="126"/>
                    <a:pt x="2621" y="111"/>
                    <a:pt x="2631" y="87"/>
                  </a:cubicBezTo>
                  <a:cubicBezTo>
                    <a:pt x="2645" y="48"/>
                    <a:pt x="2675" y="14"/>
                    <a:pt x="2719" y="14"/>
                  </a:cubicBezTo>
                  <a:cubicBezTo>
                    <a:pt x="2728" y="14"/>
                    <a:pt x="2728" y="19"/>
                    <a:pt x="2733" y="19"/>
                  </a:cubicBezTo>
                  <a:cubicBezTo>
                    <a:pt x="2753" y="24"/>
                    <a:pt x="2763" y="29"/>
                    <a:pt x="2782" y="29"/>
                  </a:cubicBezTo>
                  <a:cubicBezTo>
                    <a:pt x="2792" y="29"/>
                    <a:pt x="2802" y="24"/>
                    <a:pt x="2811" y="19"/>
                  </a:cubicBezTo>
                  <a:cubicBezTo>
                    <a:pt x="2821" y="19"/>
                    <a:pt x="2831" y="24"/>
                    <a:pt x="2841" y="24"/>
                  </a:cubicBezTo>
                  <a:cubicBezTo>
                    <a:pt x="2855" y="24"/>
                    <a:pt x="2860" y="19"/>
                    <a:pt x="2869" y="14"/>
                  </a:cubicBezTo>
                  <a:cubicBezTo>
                    <a:pt x="2889" y="9"/>
                    <a:pt x="2913" y="4"/>
                    <a:pt x="2933" y="0"/>
                  </a:cubicBezTo>
                  <a:lnTo>
                    <a:pt x="2933" y="0"/>
                  </a:lnTo>
                  <a:cubicBezTo>
                    <a:pt x="2933" y="29"/>
                    <a:pt x="2938" y="58"/>
                    <a:pt x="2938" y="92"/>
                  </a:cubicBezTo>
                  <a:cubicBezTo>
                    <a:pt x="2938" y="111"/>
                    <a:pt x="2918" y="116"/>
                    <a:pt x="2908" y="136"/>
                  </a:cubicBezTo>
                  <a:cubicBezTo>
                    <a:pt x="2899" y="150"/>
                    <a:pt x="2894" y="165"/>
                    <a:pt x="2884" y="180"/>
                  </a:cubicBezTo>
                  <a:cubicBezTo>
                    <a:pt x="2879" y="185"/>
                    <a:pt x="2869" y="180"/>
                    <a:pt x="2869" y="185"/>
                  </a:cubicBezTo>
                  <a:cubicBezTo>
                    <a:pt x="2845" y="209"/>
                    <a:pt x="2836" y="228"/>
                    <a:pt x="2836" y="263"/>
                  </a:cubicBezTo>
                  <a:cubicBezTo>
                    <a:pt x="2836" y="311"/>
                    <a:pt x="2865" y="335"/>
                    <a:pt x="2879" y="384"/>
                  </a:cubicBezTo>
                  <a:cubicBezTo>
                    <a:pt x="2894" y="428"/>
                    <a:pt x="2894" y="462"/>
                    <a:pt x="2904" y="511"/>
                  </a:cubicBezTo>
                  <a:cubicBezTo>
                    <a:pt x="2913" y="452"/>
                    <a:pt x="2904" y="418"/>
                    <a:pt x="2904" y="360"/>
                  </a:cubicBezTo>
                  <a:cubicBezTo>
                    <a:pt x="2904" y="277"/>
                    <a:pt x="2908" y="214"/>
                    <a:pt x="2957" y="150"/>
                  </a:cubicBezTo>
                  <a:cubicBezTo>
                    <a:pt x="2987" y="199"/>
                    <a:pt x="2987" y="233"/>
                    <a:pt x="3006" y="282"/>
                  </a:cubicBezTo>
                  <a:cubicBezTo>
                    <a:pt x="3015" y="307"/>
                    <a:pt x="3030" y="321"/>
                    <a:pt x="3035" y="346"/>
                  </a:cubicBezTo>
                  <a:cubicBezTo>
                    <a:pt x="3059" y="409"/>
                    <a:pt x="3065" y="448"/>
                    <a:pt x="3094" y="511"/>
                  </a:cubicBezTo>
                  <a:cubicBezTo>
                    <a:pt x="3098" y="531"/>
                    <a:pt x="3113" y="540"/>
                    <a:pt x="3118" y="555"/>
                  </a:cubicBezTo>
                  <a:cubicBezTo>
                    <a:pt x="3137" y="598"/>
                    <a:pt x="3142" y="628"/>
                    <a:pt x="3167" y="667"/>
                  </a:cubicBezTo>
                  <a:cubicBezTo>
                    <a:pt x="3191" y="711"/>
                    <a:pt x="3225" y="725"/>
                    <a:pt x="3255" y="769"/>
                  </a:cubicBezTo>
                  <a:cubicBezTo>
                    <a:pt x="3294" y="827"/>
                    <a:pt x="3303" y="862"/>
                    <a:pt x="3332" y="920"/>
                  </a:cubicBezTo>
                  <a:cubicBezTo>
                    <a:pt x="3357" y="959"/>
                    <a:pt x="3381" y="973"/>
                    <a:pt x="3405" y="1003"/>
                  </a:cubicBezTo>
                  <a:cubicBezTo>
                    <a:pt x="3420" y="1023"/>
                    <a:pt x="3430" y="1032"/>
                    <a:pt x="3444" y="1051"/>
                  </a:cubicBezTo>
                  <a:cubicBezTo>
                    <a:pt x="3464" y="1071"/>
                    <a:pt x="3483" y="1076"/>
                    <a:pt x="3503" y="1100"/>
                  </a:cubicBezTo>
                  <a:cubicBezTo>
                    <a:pt x="3522" y="1120"/>
                    <a:pt x="3527" y="1134"/>
                    <a:pt x="3537" y="1159"/>
                  </a:cubicBezTo>
                  <a:cubicBezTo>
                    <a:pt x="3488" y="1139"/>
                    <a:pt x="3459" y="1114"/>
                    <a:pt x="3400" y="1110"/>
                  </a:cubicBezTo>
                  <a:cubicBezTo>
                    <a:pt x="3410" y="1139"/>
                    <a:pt x="3435" y="1154"/>
                    <a:pt x="3449" y="1178"/>
                  </a:cubicBezTo>
                  <a:cubicBezTo>
                    <a:pt x="3479" y="1217"/>
                    <a:pt x="3488" y="1241"/>
                    <a:pt x="3513" y="1285"/>
                  </a:cubicBezTo>
                  <a:cubicBezTo>
                    <a:pt x="3527" y="1310"/>
                    <a:pt x="3537" y="1334"/>
                    <a:pt x="3551" y="1358"/>
                  </a:cubicBezTo>
                  <a:cubicBezTo>
                    <a:pt x="3581" y="1397"/>
                    <a:pt x="3610" y="1417"/>
                    <a:pt x="3629" y="1461"/>
                  </a:cubicBezTo>
                  <a:cubicBezTo>
                    <a:pt x="3664" y="1534"/>
                    <a:pt x="3683" y="1578"/>
                    <a:pt x="3731" y="1646"/>
                  </a:cubicBezTo>
                  <a:cubicBezTo>
                    <a:pt x="3746" y="1670"/>
                    <a:pt x="3756" y="1680"/>
                    <a:pt x="3771" y="1704"/>
                  </a:cubicBezTo>
                  <a:cubicBezTo>
                    <a:pt x="3795" y="1743"/>
                    <a:pt x="3824" y="1758"/>
                    <a:pt x="3824" y="1802"/>
                  </a:cubicBezTo>
                  <a:cubicBezTo>
                    <a:pt x="3824" y="1816"/>
                    <a:pt x="3814" y="1821"/>
                    <a:pt x="3814" y="1835"/>
                  </a:cubicBezTo>
                  <a:cubicBezTo>
                    <a:pt x="3814" y="1855"/>
                    <a:pt x="3824" y="1870"/>
                    <a:pt x="3834" y="1885"/>
                  </a:cubicBezTo>
                  <a:cubicBezTo>
                    <a:pt x="3863" y="1924"/>
                    <a:pt x="3878" y="1952"/>
                    <a:pt x="3902" y="1992"/>
                  </a:cubicBezTo>
                  <a:cubicBezTo>
                    <a:pt x="3932" y="2040"/>
                    <a:pt x="3941" y="2079"/>
                    <a:pt x="3941" y="2138"/>
                  </a:cubicBezTo>
                  <a:cubicBezTo>
                    <a:pt x="3941" y="2177"/>
                    <a:pt x="3932" y="2196"/>
                    <a:pt x="3927" y="2230"/>
                  </a:cubicBezTo>
                  <a:cubicBezTo>
                    <a:pt x="3922" y="2250"/>
                    <a:pt x="3927" y="2259"/>
                    <a:pt x="3922" y="2283"/>
                  </a:cubicBezTo>
                  <a:cubicBezTo>
                    <a:pt x="3946" y="2440"/>
                    <a:pt x="3946" y="2440"/>
                    <a:pt x="3946" y="2440"/>
                  </a:cubicBezTo>
                  <a:cubicBezTo>
                    <a:pt x="3932" y="2518"/>
                    <a:pt x="3936" y="2561"/>
                    <a:pt x="3922" y="2634"/>
                  </a:cubicBezTo>
                  <a:cubicBezTo>
                    <a:pt x="3912" y="2698"/>
                    <a:pt x="3892" y="2732"/>
                    <a:pt x="3883" y="2795"/>
                  </a:cubicBezTo>
                  <a:cubicBezTo>
                    <a:pt x="3902" y="2878"/>
                    <a:pt x="3902" y="2878"/>
                    <a:pt x="3902" y="2878"/>
                  </a:cubicBezTo>
                  <a:cubicBezTo>
                    <a:pt x="3897" y="2922"/>
                    <a:pt x="3883" y="2946"/>
                    <a:pt x="3863" y="2985"/>
                  </a:cubicBezTo>
                  <a:cubicBezTo>
                    <a:pt x="3844" y="3010"/>
                    <a:pt x="3834" y="3043"/>
                    <a:pt x="3800" y="3043"/>
                  </a:cubicBezTo>
                  <a:cubicBezTo>
                    <a:pt x="3771" y="3043"/>
                    <a:pt x="3756" y="3034"/>
                    <a:pt x="3731" y="3034"/>
                  </a:cubicBezTo>
                  <a:cubicBezTo>
                    <a:pt x="3683" y="3034"/>
                    <a:pt x="3673" y="3097"/>
                    <a:pt x="3629" y="3097"/>
                  </a:cubicBezTo>
                  <a:cubicBezTo>
                    <a:pt x="3595" y="3097"/>
                    <a:pt x="3571" y="3087"/>
                    <a:pt x="3551" y="3063"/>
                  </a:cubicBezTo>
                  <a:cubicBezTo>
                    <a:pt x="3561" y="3058"/>
                    <a:pt x="3561" y="3054"/>
                    <a:pt x="3566" y="3049"/>
                  </a:cubicBezTo>
                  <a:cubicBezTo>
                    <a:pt x="3581" y="3049"/>
                    <a:pt x="3590" y="3054"/>
                    <a:pt x="3600" y="3049"/>
                  </a:cubicBezTo>
                  <a:cubicBezTo>
                    <a:pt x="3620" y="3039"/>
                    <a:pt x="3634" y="3024"/>
                    <a:pt x="3634" y="3000"/>
                  </a:cubicBezTo>
                  <a:cubicBezTo>
                    <a:pt x="3634" y="2980"/>
                    <a:pt x="3615" y="2976"/>
                    <a:pt x="3600" y="2966"/>
                  </a:cubicBezTo>
                  <a:cubicBezTo>
                    <a:pt x="3595" y="2971"/>
                    <a:pt x="3595" y="2976"/>
                    <a:pt x="3585" y="2976"/>
                  </a:cubicBezTo>
                  <a:cubicBezTo>
                    <a:pt x="3513" y="2976"/>
                    <a:pt x="3488" y="2912"/>
                    <a:pt x="3435" y="2868"/>
                  </a:cubicBezTo>
                  <a:cubicBezTo>
                    <a:pt x="3415" y="2849"/>
                    <a:pt x="3410" y="2829"/>
                    <a:pt x="3391" y="2810"/>
                  </a:cubicBezTo>
                  <a:cubicBezTo>
                    <a:pt x="3357" y="2766"/>
                    <a:pt x="3322" y="2751"/>
                    <a:pt x="3274" y="2732"/>
                  </a:cubicBezTo>
                  <a:cubicBezTo>
                    <a:pt x="3250" y="2722"/>
                    <a:pt x="3225" y="2717"/>
                    <a:pt x="3215" y="2698"/>
                  </a:cubicBezTo>
                  <a:cubicBezTo>
                    <a:pt x="3191" y="2659"/>
                    <a:pt x="3186" y="2634"/>
                    <a:pt x="3176" y="2590"/>
                  </a:cubicBezTo>
                  <a:cubicBezTo>
                    <a:pt x="3167" y="2551"/>
                    <a:pt x="3162" y="2527"/>
                    <a:pt x="3133" y="2498"/>
                  </a:cubicBezTo>
                  <a:cubicBezTo>
                    <a:pt x="3109" y="2474"/>
                    <a:pt x="3059" y="2474"/>
                    <a:pt x="3059" y="2435"/>
                  </a:cubicBezTo>
                  <a:cubicBezTo>
                    <a:pt x="3059" y="2415"/>
                    <a:pt x="3074" y="2401"/>
                    <a:pt x="3084" y="2386"/>
                  </a:cubicBezTo>
                  <a:cubicBezTo>
                    <a:pt x="3059" y="2377"/>
                    <a:pt x="3040" y="2371"/>
                    <a:pt x="3011" y="2362"/>
                  </a:cubicBezTo>
                  <a:cubicBezTo>
                    <a:pt x="2982" y="2352"/>
                    <a:pt x="2977" y="2328"/>
                    <a:pt x="2962" y="2299"/>
                  </a:cubicBezTo>
                  <a:cubicBezTo>
                    <a:pt x="2943" y="2269"/>
                    <a:pt x="2938" y="2245"/>
                    <a:pt x="2933" y="2206"/>
                  </a:cubicBezTo>
                  <a:cubicBezTo>
                    <a:pt x="2884" y="2206"/>
                    <a:pt x="2884" y="2206"/>
                    <a:pt x="2884" y="2206"/>
                  </a:cubicBezTo>
                  <a:cubicBezTo>
                    <a:pt x="2879" y="2211"/>
                    <a:pt x="2874" y="2211"/>
                    <a:pt x="2869" y="2216"/>
                  </a:cubicBezTo>
                  <a:cubicBezTo>
                    <a:pt x="2865" y="2230"/>
                    <a:pt x="2865" y="2245"/>
                    <a:pt x="2850" y="2259"/>
                  </a:cubicBezTo>
                  <a:cubicBezTo>
                    <a:pt x="2831" y="2245"/>
                    <a:pt x="2821" y="2235"/>
                    <a:pt x="2802" y="2225"/>
                  </a:cubicBezTo>
                  <a:cubicBezTo>
                    <a:pt x="2753" y="2196"/>
                    <a:pt x="2723" y="2181"/>
                    <a:pt x="2689" y="2133"/>
                  </a:cubicBezTo>
                  <a:cubicBezTo>
                    <a:pt x="2670" y="2103"/>
                    <a:pt x="2660" y="2084"/>
                    <a:pt x="2650" y="2045"/>
                  </a:cubicBezTo>
                  <a:cubicBezTo>
                    <a:pt x="2645" y="2026"/>
                    <a:pt x="2641" y="2011"/>
                    <a:pt x="2631" y="2001"/>
                  </a:cubicBezTo>
                  <a:cubicBezTo>
                    <a:pt x="2617" y="1987"/>
                    <a:pt x="2602" y="1977"/>
                    <a:pt x="2602" y="1957"/>
                  </a:cubicBezTo>
                  <a:cubicBezTo>
                    <a:pt x="2602" y="1933"/>
                    <a:pt x="2617" y="1918"/>
                    <a:pt x="2631" y="1899"/>
                  </a:cubicBezTo>
                  <a:cubicBezTo>
                    <a:pt x="2645" y="1870"/>
                    <a:pt x="2650" y="1850"/>
                    <a:pt x="2650" y="1821"/>
                  </a:cubicBezTo>
                  <a:cubicBezTo>
                    <a:pt x="2650" y="1797"/>
                    <a:pt x="2650" y="1782"/>
                    <a:pt x="2636" y="1763"/>
                  </a:cubicBezTo>
                  <a:cubicBezTo>
                    <a:pt x="2617" y="1738"/>
                    <a:pt x="2592" y="1733"/>
                    <a:pt x="2562" y="1728"/>
                  </a:cubicBezTo>
                  <a:cubicBezTo>
                    <a:pt x="2553" y="1743"/>
                    <a:pt x="2553" y="1758"/>
                    <a:pt x="2548" y="1772"/>
                  </a:cubicBezTo>
                  <a:cubicBezTo>
                    <a:pt x="2538" y="1792"/>
                    <a:pt x="2519" y="1792"/>
                    <a:pt x="2499" y="1792"/>
                  </a:cubicBezTo>
                  <a:cubicBezTo>
                    <a:pt x="2490" y="1792"/>
                    <a:pt x="2490" y="1772"/>
                    <a:pt x="2485" y="1763"/>
                  </a:cubicBezTo>
                  <a:cubicBezTo>
                    <a:pt x="2475" y="1738"/>
                    <a:pt x="2470" y="1724"/>
                    <a:pt x="2465" y="1699"/>
                  </a:cubicBezTo>
                  <a:cubicBezTo>
                    <a:pt x="2460" y="1661"/>
                    <a:pt x="2451" y="1636"/>
                    <a:pt x="2451" y="1587"/>
                  </a:cubicBezTo>
                  <a:cubicBezTo>
                    <a:pt x="2451" y="1568"/>
                    <a:pt x="2451" y="1568"/>
                    <a:pt x="2451" y="1568"/>
                  </a:cubicBezTo>
                  <a:cubicBezTo>
                    <a:pt x="2451" y="1514"/>
                    <a:pt x="2451" y="1485"/>
                    <a:pt x="2451" y="1432"/>
                  </a:cubicBezTo>
                  <a:cubicBezTo>
                    <a:pt x="2451" y="1382"/>
                    <a:pt x="2431" y="1358"/>
                    <a:pt x="2431" y="1310"/>
                  </a:cubicBezTo>
                  <a:cubicBezTo>
                    <a:pt x="2431" y="1232"/>
                    <a:pt x="2431" y="1232"/>
                    <a:pt x="2431" y="1232"/>
                  </a:cubicBezTo>
                  <a:cubicBezTo>
                    <a:pt x="2431" y="1208"/>
                    <a:pt x="2407" y="1197"/>
                    <a:pt x="2402" y="1173"/>
                  </a:cubicBezTo>
                  <a:cubicBezTo>
                    <a:pt x="2377" y="1120"/>
                    <a:pt x="2349" y="1086"/>
                    <a:pt x="2300" y="1056"/>
                  </a:cubicBezTo>
                  <a:cubicBezTo>
                    <a:pt x="2217" y="1012"/>
                    <a:pt x="2168" y="998"/>
                    <a:pt x="2086" y="949"/>
                  </a:cubicBezTo>
                  <a:cubicBezTo>
                    <a:pt x="2071" y="944"/>
                    <a:pt x="2061" y="929"/>
                    <a:pt x="2042" y="925"/>
                  </a:cubicBezTo>
                  <a:cubicBezTo>
                    <a:pt x="2022" y="915"/>
                    <a:pt x="1998" y="915"/>
                    <a:pt x="1988" y="896"/>
                  </a:cubicBezTo>
                  <a:cubicBezTo>
                    <a:pt x="1983" y="886"/>
                    <a:pt x="1993" y="876"/>
                    <a:pt x="1988" y="866"/>
                  </a:cubicBezTo>
                  <a:cubicBezTo>
                    <a:pt x="1983" y="832"/>
                    <a:pt x="1964" y="818"/>
                    <a:pt x="1944" y="788"/>
                  </a:cubicBezTo>
                  <a:cubicBezTo>
                    <a:pt x="1925" y="764"/>
                    <a:pt x="1905" y="744"/>
                    <a:pt x="1885" y="720"/>
                  </a:cubicBezTo>
                  <a:cubicBezTo>
                    <a:pt x="1881" y="716"/>
                    <a:pt x="1881" y="711"/>
                    <a:pt x="1876" y="705"/>
                  </a:cubicBezTo>
                  <a:cubicBezTo>
                    <a:pt x="1857" y="691"/>
                    <a:pt x="1837" y="696"/>
                    <a:pt x="1818" y="691"/>
                  </a:cubicBezTo>
                  <a:cubicBezTo>
                    <a:pt x="1793" y="686"/>
                    <a:pt x="1779" y="677"/>
                    <a:pt x="1754" y="677"/>
                  </a:cubicBezTo>
                  <a:cubicBezTo>
                    <a:pt x="1744" y="677"/>
                    <a:pt x="1739" y="686"/>
                    <a:pt x="1725" y="686"/>
                  </a:cubicBezTo>
                  <a:cubicBezTo>
                    <a:pt x="1715" y="686"/>
                    <a:pt x="1705" y="686"/>
                    <a:pt x="1696" y="686"/>
                  </a:cubicBezTo>
                  <a:cubicBezTo>
                    <a:pt x="1623" y="686"/>
                    <a:pt x="1623" y="686"/>
                    <a:pt x="1623" y="686"/>
                  </a:cubicBezTo>
                  <a:cubicBezTo>
                    <a:pt x="1589" y="686"/>
                    <a:pt x="1574" y="696"/>
                    <a:pt x="1545" y="696"/>
                  </a:cubicBezTo>
                  <a:cubicBezTo>
                    <a:pt x="1545" y="720"/>
                    <a:pt x="1540" y="735"/>
                    <a:pt x="1540" y="764"/>
                  </a:cubicBezTo>
                  <a:cubicBezTo>
                    <a:pt x="1540" y="779"/>
                    <a:pt x="1540" y="799"/>
                    <a:pt x="1530" y="808"/>
                  </a:cubicBezTo>
                  <a:cubicBezTo>
                    <a:pt x="1511" y="823"/>
                    <a:pt x="1491" y="813"/>
                    <a:pt x="1467" y="823"/>
                  </a:cubicBezTo>
                  <a:cubicBezTo>
                    <a:pt x="1448" y="832"/>
                    <a:pt x="1442" y="857"/>
                    <a:pt x="1423" y="876"/>
                  </a:cubicBezTo>
                  <a:cubicBezTo>
                    <a:pt x="1409" y="891"/>
                    <a:pt x="1384" y="886"/>
                    <a:pt x="1365" y="891"/>
                  </a:cubicBezTo>
                  <a:cubicBezTo>
                    <a:pt x="1340" y="896"/>
                    <a:pt x="1326" y="910"/>
                    <a:pt x="1301" y="920"/>
                  </a:cubicBezTo>
                  <a:cubicBezTo>
                    <a:pt x="1257" y="935"/>
                    <a:pt x="1223" y="959"/>
                    <a:pt x="1175" y="964"/>
                  </a:cubicBezTo>
                  <a:cubicBezTo>
                    <a:pt x="1189" y="964"/>
                    <a:pt x="1189" y="964"/>
                    <a:pt x="1189" y="964"/>
                  </a:cubicBezTo>
                  <a:cubicBezTo>
                    <a:pt x="1175" y="949"/>
                    <a:pt x="1160" y="949"/>
                    <a:pt x="1145" y="935"/>
                  </a:cubicBezTo>
                  <a:cubicBezTo>
                    <a:pt x="1126" y="915"/>
                    <a:pt x="1131" y="891"/>
                    <a:pt x="1116" y="871"/>
                  </a:cubicBezTo>
                  <a:cubicBezTo>
                    <a:pt x="1106" y="852"/>
                    <a:pt x="1087" y="847"/>
                    <a:pt x="1062" y="837"/>
                  </a:cubicBezTo>
                  <a:cubicBezTo>
                    <a:pt x="1028" y="832"/>
                    <a:pt x="1004" y="827"/>
                    <a:pt x="984" y="803"/>
                  </a:cubicBezTo>
                  <a:cubicBezTo>
                    <a:pt x="970" y="788"/>
                    <a:pt x="975" y="774"/>
                    <a:pt x="965" y="759"/>
                  </a:cubicBezTo>
                  <a:cubicBezTo>
                    <a:pt x="960" y="740"/>
                    <a:pt x="951" y="730"/>
                    <a:pt x="931" y="720"/>
                  </a:cubicBezTo>
                  <a:cubicBezTo>
                    <a:pt x="838" y="735"/>
                    <a:pt x="838" y="735"/>
                    <a:pt x="838" y="735"/>
                  </a:cubicBezTo>
                  <a:cubicBezTo>
                    <a:pt x="804" y="725"/>
                    <a:pt x="790" y="711"/>
                    <a:pt x="756" y="701"/>
                  </a:cubicBezTo>
                  <a:cubicBezTo>
                    <a:pt x="731" y="696"/>
                    <a:pt x="716" y="705"/>
                    <a:pt x="697" y="701"/>
                  </a:cubicBezTo>
                  <a:cubicBezTo>
                    <a:pt x="649" y="686"/>
                    <a:pt x="624" y="652"/>
                    <a:pt x="575" y="652"/>
                  </a:cubicBezTo>
                  <a:cubicBezTo>
                    <a:pt x="527" y="652"/>
                    <a:pt x="503" y="667"/>
                    <a:pt x="454" y="686"/>
                  </a:cubicBezTo>
                  <a:cubicBezTo>
                    <a:pt x="425" y="696"/>
                    <a:pt x="410" y="705"/>
                    <a:pt x="381" y="705"/>
                  </a:cubicBezTo>
                  <a:cubicBezTo>
                    <a:pt x="361" y="705"/>
                    <a:pt x="351" y="705"/>
                    <a:pt x="332" y="701"/>
                  </a:cubicBezTo>
                  <a:cubicBezTo>
                    <a:pt x="322" y="696"/>
                    <a:pt x="318" y="686"/>
                    <a:pt x="303" y="686"/>
                  </a:cubicBezTo>
                  <a:cubicBezTo>
                    <a:pt x="268" y="686"/>
                    <a:pt x="254" y="705"/>
                    <a:pt x="220" y="705"/>
                  </a:cubicBezTo>
                  <a:cubicBezTo>
                    <a:pt x="210" y="705"/>
                    <a:pt x="205" y="705"/>
                    <a:pt x="196" y="701"/>
                  </a:cubicBezTo>
                  <a:cubicBezTo>
                    <a:pt x="196" y="730"/>
                    <a:pt x="196" y="750"/>
                    <a:pt x="186" y="779"/>
                  </a:cubicBezTo>
                  <a:cubicBezTo>
                    <a:pt x="186" y="799"/>
                    <a:pt x="186" y="813"/>
                    <a:pt x="166" y="823"/>
                  </a:cubicBezTo>
                  <a:cubicBezTo>
                    <a:pt x="157" y="832"/>
                    <a:pt x="142" y="827"/>
                    <a:pt x="122" y="827"/>
                  </a:cubicBezTo>
                  <a:cubicBezTo>
                    <a:pt x="108" y="827"/>
                    <a:pt x="98" y="827"/>
                    <a:pt x="83" y="832"/>
                  </a:cubicBezTo>
                  <a:lnTo>
                    <a:pt x="83" y="832"/>
                  </a:lnTo>
                  <a:cubicBezTo>
                    <a:pt x="79" y="803"/>
                    <a:pt x="79" y="788"/>
                    <a:pt x="69" y="759"/>
                  </a:cubicBezTo>
                  <a:cubicBezTo>
                    <a:pt x="64" y="740"/>
                    <a:pt x="59" y="725"/>
                    <a:pt x="59" y="705"/>
                  </a:cubicBezTo>
                  <a:cubicBezTo>
                    <a:pt x="59" y="686"/>
                    <a:pt x="64" y="672"/>
                    <a:pt x="64" y="652"/>
                  </a:cubicBezTo>
                  <a:cubicBezTo>
                    <a:pt x="59" y="633"/>
                    <a:pt x="35" y="628"/>
                    <a:pt x="20" y="613"/>
                  </a:cubicBezTo>
                  <a:cubicBezTo>
                    <a:pt x="6" y="594"/>
                    <a:pt x="0" y="574"/>
                    <a:pt x="0" y="550"/>
                  </a:cubicBezTo>
                  <a:cubicBezTo>
                    <a:pt x="0" y="511"/>
                    <a:pt x="20" y="487"/>
                    <a:pt x="30" y="448"/>
                  </a:cubicBezTo>
                  <a:cubicBezTo>
                    <a:pt x="1131" y="224"/>
                    <a:pt x="1131" y="224"/>
                    <a:pt x="1131" y="224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49" name="Freeform 94"/>
            <p:cNvSpPr>
              <a:spLocks noChangeArrowheads="1"/>
            </p:cNvSpPr>
            <p:nvPr/>
          </p:nvSpPr>
          <p:spPr bwMode="auto">
            <a:xfrm>
              <a:off x="11613520" y="8306515"/>
              <a:ext cx="1097695" cy="1769869"/>
            </a:xfrm>
            <a:custGeom>
              <a:avLst/>
              <a:gdLst>
                <a:gd name="T0" fmla="*/ 638 w 1731"/>
                <a:gd name="T1" fmla="*/ 2752 h 2792"/>
                <a:gd name="T2" fmla="*/ 638 w 1731"/>
                <a:gd name="T3" fmla="*/ 2752 h 2792"/>
                <a:gd name="T4" fmla="*/ 507 w 1731"/>
                <a:gd name="T5" fmla="*/ 2772 h 2792"/>
                <a:gd name="T6" fmla="*/ 439 w 1731"/>
                <a:gd name="T7" fmla="*/ 2719 h 2792"/>
                <a:gd name="T8" fmla="*/ 385 w 1731"/>
                <a:gd name="T9" fmla="*/ 2625 h 2792"/>
                <a:gd name="T10" fmla="*/ 307 w 1731"/>
                <a:gd name="T11" fmla="*/ 2747 h 2792"/>
                <a:gd name="T12" fmla="*/ 278 w 1731"/>
                <a:gd name="T13" fmla="*/ 2772 h 2792"/>
                <a:gd name="T14" fmla="*/ 200 w 1731"/>
                <a:gd name="T15" fmla="*/ 2786 h 2792"/>
                <a:gd name="T16" fmla="*/ 185 w 1731"/>
                <a:gd name="T17" fmla="*/ 2791 h 2792"/>
                <a:gd name="T18" fmla="*/ 185 w 1731"/>
                <a:gd name="T19" fmla="*/ 2791 h 2792"/>
                <a:gd name="T20" fmla="*/ 74 w 1731"/>
                <a:gd name="T21" fmla="*/ 1973 h 2792"/>
                <a:gd name="T22" fmla="*/ 63 w 1731"/>
                <a:gd name="T23" fmla="*/ 298 h 2792"/>
                <a:gd name="T24" fmla="*/ 0 w 1731"/>
                <a:gd name="T25" fmla="*/ 195 h 2792"/>
                <a:gd name="T26" fmla="*/ 0 w 1731"/>
                <a:gd name="T27" fmla="*/ 195 h 2792"/>
                <a:gd name="T28" fmla="*/ 39 w 1731"/>
                <a:gd name="T29" fmla="*/ 152 h 2792"/>
                <a:gd name="T30" fmla="*/ 69 w 1731"/>
                <a:gd name="T31" fmla="*/ 152 h 2792"/>
                <a:gd name="T32" fmla="*/ 171 w 1731"/>
                <a:gd name="T33" fmla="*/ 122 h 2792"/>
                <a:gd name="T34" fmla="*/ 249 w 1731"/>
                <a:gd name="T35" fmla="*/ 103 h 2792"/>
                <a:gd name="T36" fmla="*/ 293 w 1731"/>
                <a:gd name="T37" fmla="*/ 127 h 2792"/>
                <a:gd name="T38" fmla="*/ 385 w 1731"/>
                <a:gd name="T39" fmla="*/ 156 h 2792"/>
                <a:gd name="T40" fmla="*/ 1208 w 1731"/>
                <a:gd name="T41" fmla="*/ 0 h 2792"/>
                <a:gd name="T42" fmla="*/ 1208 w 1731"/>
                <a:gd name="T43" fmla="*/ 0 h 2792"/>
                <a:gd name="T44" fmla="*/ 1515 w 1731"/>
                <a:gd name="T45" fmla="*/ 921 h 2792"/>
                <a:gd name="T46" fmla="*/ 1525 w 1731"/>
                <a:gd name="T47" fmla="*/ 1042 h 2792"/>
                <a:gd name="T48" fmla="*/ 1544 w 1731"/>
                <a:gd name="T49" fmla="*/ 1106 h 2792"/>
                <a:gd name="T50" fmla="*/ 1554 w 1731"/>
                <a:gd name="T51" fmla="*/ 1179 h 2792"/>
                <a:gd name="T52" fmla="*/ 1574 w 1731"/>
                <a:gd name="T53" fmla="*/ 1223 h 2792"/>
                <a:gd name="T54" fmla="*/ 1603 w 1731"/>
                <a:gd name="T55" fmla="*/ 1238 h 2792"/>
                <a:gd name="T56" fmla="*/ 1657 w 1731"/>
                <a:gd name="T57" fmla="*/ 1282 h 2792"/>
                <a:gd name="T58" fmla="*/ 1700 w 1731"/>
                <a:gd name="T59" fmla="*/ 1340 h 2792"/>
                <a:gd name="T60" fmla="*/ 1730 w 1731"/>
                <a:gd name="T61" fmla="*/ 1398 h 2792"/>
                <a:gd name="T62" fmla="*/ 1705 w 1731"/>
                <a:gd name="T63" fmla="*/ 1428 h 2792"/>
                <a:gd name="T64" fmla="*/ 1676 w 1731"/>
                <a:gd name="T65" fmla="*/ 1471 h 2792"/>
                <a:gd name="T66" fmla="*/ 1671 w 1731"/>
                <a:gd name="T67" fmla="*/ 1550 h 2792"/>
                <a:gd name="T68" fmla="*/ 1657 w 1731"/>
                <a:gd name="T69" fmla="*/ 1656 h 2792"/>
                <a:gd name="T70" fmla="*/ 1705 w 1731"/>
                <a:gd name="T71" fmla="*/ 1959 h 2792"/>
                <a:gd name="T72" fmla="*/ 1686 w 1731"/>
                <a:gd name="T73" fmla="*/ 2144 h 2792"/>
                <a:gd name="T74" fmla="*/ 1686 w 1731"/>
                <a:gd name="T75" fmla="*/ 2144 h 2792"/>
                <a:gd name="T76" fmla="*/ 585 w 1731"/>
                <a:gd name="T77" fmla="*/ 2368 h 2792"/>
                <a:gd name="T78" fmla="*/ 555 w 1731"/>
                <a:gd name="T79" fmla="*/ 2470 h 2792"/>
                <a:gd name="T80" fmla="*/ 575 w 1731"/>
                <a:gd name="T81" fmla="*/ 2533 h 2792"/>
                <a:gd name="T82" fmla="*/ 619 w 1731"/>
                <a:gd name="T83" fmla="*/ 2572 h 2792"/>
                <a:gd name="T84" fmla="*/ 614 w 1731"/>
                <a:gd name="T85" fmla="*/ 2625 h 2792"/>
                <a:gd name="T86" fmla="*/ 624 w 1731"/>
                <a:gd name="T87" fmla="*/ 2679 h 2792"/>
                <a:gd name="T88" fmla="*/ 638 w 1731"/>
                <a:gd name="T89" fmla="*/ 2752 h 2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31" h="2792">
                  <a:moveTo>
                    <a:pt x="638" y="2752"/>
                  </a:moveTo>
                  <a:lnTo>
                    <a:pt x="638" y="2752"/>
                  </a:lnTo>
                  <a:cubicBezTo>
                    <a:pt x="594" y="2757"/>
                    <a:pt x="561" y="2772"/>
                    <a:pt x="507" y="2772"/>
                  </a:cubicBezTo>
                  <a:cubicBezTo>
                    <a:pt x="478" y="2772"/>
                    <a:pt x="458" y="2743"/>
                    <a:pt x="439" y="2719"/>
                  </a:cubicBezTo>
                  <a:cubicBezTo>
                    <a:pt x="414" y="2684"/>
                    <a:pt x="395" y="2664"/>
                    <a:pt x="385" y="2625"/>
                  </a:cubicBezTo>
                  <a:cubicBezTo>
                    <a:pt x="361" y="2679"/>
                    <a:pt x="346" y="2708"/>
                    <a:pt x="307" y="2747"/>
                  </a:cubicBezTo>
                  <a:cubicBezTo>
                    <a:pt x="298" y="2757"/>
                    <a:pt x="293" y="2767"/>
                    <a:pt x="278" y="2772"/>
                  </a:cubicBezTo>
                  <a:cubicBezTo>
                    <a:pt x="254" y="2786"/>
                    <a:pt x="229" y="2786"/>
                    <a:pt x="200" y="2786"/>
                  </a:cubicBezTo>
                  <a:cubicBezTo>
                    <a:pt x="195" y="2786"/>
                    <a:pt x="190" y="2791"/>
                    <a:pt x="185" y="2791"/>
                  </a:cubicBezTo>
                  <a:lnTo>
                    <a:pt x="185" y="2791"/>
                  </a:lnTo>
                  <a:cubicBezTo>
                    <a:pt x="74" y="1973"/>
                    <a:pt x="74" y="1973"/>
                    <a:pt x="74" y="1973"/>
                  </a:cubicBezTo>
                  <a:cubicBezTo>
                    <a:pt x="63" y="298"/>
                    <a:pt x="63" y="298"/>
                    <a:pt x="63" y="298"/>
                  </a:cubicBezTo>
                  <a:cubicBezTo>
                    <a:pt x="44" y="254"/>
                    <a:pt x="30" y="229"/>
                    <a:pt x="0" y="195"/>
                  </a:cubicBezTo>
                  <a:lnTo>
                    <a:pt x="0" y="195"/>
                  </a:lnTo>
                  <a:cubicBezTo>
                    <a:pt x="15" y="180"/>
                    <a:pt x="20" y="161"/>
                    <a:pt x="39" y="152"/>
                  </a:cubicBezTo>
                  <a:cubicBezTo>
                    <a:pt x="44" y="146"/>
                    <a:pt x="59" y="152"/>
                    <a:pt x="69" y="152"/>
                  </a:cubicBezTo>
                  <a:cubicBezTo>
                    <a:pt x="107" y="141"/>
                    <a:pt x="132" y="127"/>
                    <a:pt x="171" y="122"/>
                  </a:cubicBezTo>
                  <a:cubicBezTo>
                    <a:pt x="205" y="122"/>
                    <a:pt x="220" y="103"/>
                    <a:pt x="249" y="103"/>
                  </a:cubicBezTo>
                  <a:cubicBezTo>
                    <a:pt x="268" y="103"/>
                    <a:pt x="278" y="122"/>
                    <a:pt x="293" y="127"/>
                  </a:cubicBezTo>
                  <a:cubicBezTo>
                    <a:pt x="327" y="141"/>
                    <a:pt x="346" y="146"/>
                    <a:pt x="385" y="156"/>
                  </a:cubicBezTo>
                  <a:cubicBezTo>
                    <a:pt x="1208" y="0"/>
                    <a:pt x="1208" y="0"/>
                    <a:pt x="1208" y="0"/>
                  </a:cubicBezTo>
                  <a:lnTo>
                    <a:pt x="1208" y="0"/>
                  </a:lnTo>
                  <a:cubicBezTo>
                    <a:pt x="1515" y="921"/>
                    <a:pt x="1515" y="921"/>
                    <a:pt x="1515" y="921"/>
                  </a:cubicBezTo>
                  <a:cubicBezTo>
                    <a:pt x="1520" y="970"/>
                    <a:pt x="1515" y="999"/>
                    <a:pt x="1525" y="1042"/>
                  </a:cubicBezTo>
                  <a:cubicBezTo>
                    <a:pt x="1530" y="1067"/>
                    <a:pt x="1539" y="1082"/>
                    <a:pt x="1544" y="1106"/>
                  </a:cubicBezTo>
                  <a:cubicBezTo>
                    <a:pt x="1549" y="1130"/>
                    <a:pt x="1544" y="1150"/>
                    <a:pt x="1554" y="1179"/>
                  </a:cubicBezTo>
                  <a:cubicBezTo>
                    <a:pt x="1554" y="1199"/>
                    <a:pt x="1559" y="1213"/>
                    <a:pt x="1574" y="1223"/>
                  </a:cubicBezTo>
                  <a:cubicBezTo>
                    <a:pt x="1583" y="1233"/>
                    <a:pt x="1593" y="1233"/>
                    <a:pt x="1603" y="1238"/>
                  </a:cubicBezTo>
                  <a:cubicBezTo>
                    <a:pt x="1627" y="1247"/>
                    <a:pt x="1642" y="1257"/>
                    <a:pt x="1657" y="1282"/>
                  </a:cubicBezTo>
                  <a:cubicBezTo>
                    <a:pt x="1671" y="1306"/>
                    <a:pt x="1686" y="1315"/>
                    <a:pt x="1700" y="1340"/>
                  </a:cubicBezTo>
                  <a:cubicBezTo>
                    <a:pt x="1715" y="1359"/>
                    <a:pt x="1730" y="1369"/>
                    <a:pt x="1730" y="1398"/>
                  </a:cubicBezTo>
                  <a:cubicBezTo>
                    <a:pt x="1730" y="1413"/>
                    <a:pt x="1715" y="1418"/>
                    <a:pt x="1705" y="1428"/>
                  </a:cubicBezTo>
                  <a:cubicBezTo>
                    <a:pt x="1696" y="1442"/>
                    <a:pt x="1686" y="1456"/>
                    <a:pt x="1676" y="1471"/>
                  </a:cubicBezTo>
                  <a:cubicBezTo>
                    <a:pt x="1666" y="1501"/>
                    <a:pt x="1671" y="1520"/>
                    <a:pt x="1671" y="1550"/>
                  </a:cubicBezTo>
                  <a:cubicBezTo>
                    <a:pt x="1671" y="1588"/>
                    <a:pt x="1661" y="1613"/>
                    <a:pt x="1657" y="1656"/>
                  </a:cubicBezTo>
                  <a:cubicBezTo>
                    <a:pt x="1705" y="1959"/>
                    <a:pt x="1705" y="1959"/>
                    <a:pt x="1705" y="1959"/>
                  </a:cubicBezTo>
                  <a:cubicBezTo>
                    <a:pt x="1700" y="2036"/>
                    <a:pt x="1691" y="2066"/>
                    <a:pt x="1686" y="2144"/>
                  </a:cubicBezTo>
                  <a:lnTo>
                    <a:pt x="1686" y="2144"/>
                  </a:lnTo>
                  <a:cubicBezTo>
                    <a:pt x="585" y="2368"/>
                    <a:pt x="585" y="2368"/>
                    <a:pt x="585" y="2368"/>
                  </a:cubicBezTo>
                  <a:cubicBezTo>
                    <a:pt x="575" y="2407"/>
                    <a:pt x="555" y="2431"/>
                    <a:pt x="555" y="2470"/>
                  </a:cubicBezTo>
                  <a:cubicBezTo>
                    <a:pt x="555" y="2494"/>
                    <a:pt x="561" y="2514"/>
                    <a:pt x="575" y="2533"/>
                  </a:cubicBezTo>
                  <a:cubicBezTo>
                    <a:pt x="590" y="2548"/>
                    <a:pt x="614" y="2553"/>
                    <a:pt x="619" y="2572"/>
                  </a:cubicBezTo>
                  <a:cubicBezTo>
                    <a:pt x="619" y="2592"/>
                    <a:pt x="614" y="2606"/>
                    <a:pt x="614" y="2625"/>
                  </a:cubicBezTo>
                  <a:cubicBezTo>
                    <a:pt x="614" y="2645"/>
                    <a:pt x="619" y="2660"/>
                    <a:pt x="624" y="2679"/>
                  </a:cubicBezTo>
                  <a:cubicBezTo>
                    <a:pt x="634" y="2708"/>
                    <a:pt x="634" y="2723"/>
                    <a:pt x="638" y="2752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50" name="Freeform 95"/>
            <p:cNvSpPr>
              <a:spLocks noChangeArrowheads="1"/>
            </p:cNvSpPr>
            <p:nvPr/>
          </p:nvSpPr>
          <p:spPr bwMode="auto">
            <a:xfrm>
              <a:off x="10748244" y="8429733"/>
              <a:ext cx="980085" cy="1764268"/>
            </a:xfrm>
            <a:custGeom>
              <a:avLst/>
              <a:gdLst>
                <a:gd name="T0" fmla="*/ 453 w 1549"/>
                <a:gd name="T1" fmla="*/ 151 h 2782"/>
                <a:gd name="T2" fmla="*/ 375 w 1549"/>
                <a:gd name="T3" fmla="*/ 288 h 2782"/>
                <a:gd name="T4" fmla="*/ 336 w 1549"/>
                <a:gd name="T5" fmla="*/ 371 h 2782"/>
                <a:gd name="T6" fmla="*/ 316 w 1549"/>
                <a:gd name="T7" fmla="*/ 497 h 2782"/>
                <a:gd name="T8" fmla="*/ 219 w 1549"/>
                <a:gd name="T9" fmla="*/ 580 h 2782"/>
                <a:gd name="T10" fmla="*/ 199 w 1549"/>
                <a:gd name="T11" fmla="*/ 692 h 2782"/>
                <a:gd name="T12" fmla="*/ 131 w 1549"/>
                <a:gd name="T13" fmla="*/ 784 h 2782"/>
                <a:gd name="T14" fmla="*/ 126 w 1549"/>
                <a:gd name="T15" fmla="*/ 891 h 2782"/>
                <a:gd name="T16" fmla="*/ 121 w 1549"/>
                <a:gd name="T17" fmla="*/ 979 h 2782"/>
                <a:gd name="T18" fmla="*/ 146 w 1549"/>
                <a:gd name="T19" fmla="*/ 1145 h 2782"/>
                <a:gd name="T20" fmla="*/ 160 w 1549"/>
                <a:gd name="T21" fmla="*/ 1325 h 2782"/>
                <a:gd name="T22" fmla="*/ 170 w 1549"/>
                <a:gd name="T23" fmla="*/ 1403 h 2782"/>
                <a:gd name="T24" fmla="*/ 185 w 1549"/>
                <a:gd name="T25" fmla="*/ 1476 h 2782"/>
                <a:gd name="T26" fmla="*/ 248 w 1549"/>
                <a:gd name="T27" fmla="*/ 1627 h 2782"/>
                <a:gd name="T28" fmla="*/ 238 w 1549"/>
                <a:gd name="T29" fmla="*/ 1734 h 2782"/>
                <a:gd name="T30" fmla="*/ 185 w 1549"/>
                <a:gd name="T31" fmla="*/ 1807 h 2782"/>
                <a:gd name="T32" fmla="*/ 190 w 1549"/>
                <a:gd name="T33" fmla="*/ 1924 h 2782"/>
                <a:gd name="T34" fmla="*/ 151 w 1549"/>
                <a:gd name="T35" fmla="*/ 1992 h 2782"/>
                <a:gd name="T36" fmla="*/ 116 w 1549"/>
                <a:gd name="T37" fmla="*/ 2032 h 2782"/>
                <a:gd name="T38" fmla="*/ 53 w 1549"/>
                <a:gd name="T39" fmla="*/ 2129 h 2782"/>
                <a:gd name="T40" fmla="*/ 83 w 1549"/>
                <a:gd name="T41" fmla="*/ 2192 h 2782"/>
                <a:gd name="T42" fmla="*/ 34 w 1549"/>
                <a:gd name="T43" fmla="*/ 2280 h 2782"/>
                <a:gd name="T44" fmla="*/ 24 w 1549"/>
                <a:gd name="T45" fmla="*/ 2377 h 2782"/>
                <a:gd name="T46" fmla="*/ 44 w 1549"/>
                <a:gd name="T47" fmla="*/ 2469 h 2782"/>
                <a:gd name="T48" fmla="*/ 901 w 1549"/>
                <a:gd name="T49" fmla="*/ 2397 h 2782"/>
                <a:gd name="T50" fmla="*/ 886 w 1549"/>
                <a:gd name="T51" fmla="*/ 2518 h 2782"/>
                <a:gd name="T52" fmla="*/ 989 w 1549"/>
                <a:gd name="T53" fmla="*/ 2640 h 2782"/>
                <a:gd name="T54" fmla="*/ 1008 w 1549"/>
                <a:gd name="T55" fmla="*/ 2781 h 2782"/>
                <a:gd name="T56" fmla="*/ 1086 w 1549"/>
                <a:gd name="T57" fmla="*/ 2757 h 2782"/>
                <a:gd name="T58" fmla="*/ 1290 w 1549"/>
                <a:gd name="T59" fmla="*/ 2616 h 2782"/>
                <a:gd name="T60" fmla="*/ 1548 w 1549"/>
                <a:gd name="T61" fmla="*/ 2596 h 2782"/>
                <a:gd name="T62" fmla="*/ 1437 w 1549"/>
                <a:gd name="T63" fmla="*/ 1778 h 2782"/>
                <a:gd name="T64" fmla="*/ 1363 w 1549"/>
                <a:gd name="T65" fmla="*/ 0 h 2782"/>
                <a:gd name="T66" fmla="*/ 453 w 1549"/>
                <a:gd name="T67" fmla="*/ 151 h 2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49" h="2782">
                  <a:moveTo>
                    <a:pt x="453" y="151"/>
                  </a:moveTo>
                  <a:lnTo>
                    <a:pt x="453" y="151"/>
                  </a:lnTo>
                  <a:cubicBezTo>
                    <a:pt x="448" y="195"/>
                    <a:pt x="448" y="214"/>
                    <a:pt x="418" y="249"/>
                  </a:cubicBezTo>
                  <a:cubicBezTo>
                    <a:pt x="409" y="268"/>
                    <a:pt x="384" y="268"/>
                    <a:pt x="375" y="288"/>
                  </a:cubicBezTo>
                  <a:cubicBezTo>
                    <a:pt x="365" y="302"/>
                    <a:pt x="365" y="317"/>
                    <a:pt x="355" y="331"/>
                  </a:cubicBezTo>
                  <a:cubicBezTo>
                    <a:pt x="351" y="346"/>
                    <a:pt x="336" y="351"/>
                    <a:pt x="336" y="371"/>
                  </a:cubicBezTo>
                  <a:cubicBezTo>
                    <a:pt x="336" y="390"/>
                    <a:pt x="340" y="395"/>
                    <a:pt x="340" y="414"/>
                  </a:cubicBezTo>
                  <a:cubicBezTo>
                    <a:pt x="340" y="449"/>
                    <a:pt x="336" y="468"/>
                    <a:pt x="316" y="497"/>
                  </a:cubicBezTo>
                  <a:cubicBezTo>
                    <a:pt x="307" y="517"/>
                    <a:pt x="287" y="517"/>
                    <a:pt x="272" y="531"/>
                  </a:cubicBezTo>
                  <a:cubicBezTo>
                    <a:pt x="253" y="551"/>
                    <a:pt x="238" y="565"/>
                    <a:pt x="219" y="580"/>
                  </a:cubicBezTo>
                  <a:cubicBezTo>
                    <a:pt x="229" y="604"/>
                    <a:pt x="233" y="624"/>
                    <a:pt x="233" y="648"/>
                  </a:cubicBezTo>
                  <a:cubicBezTo>
                    <a:pt x="233" y="672"/>
                    <a:pt x="219" y="682"/>
                    <a:pt x="199" y="692"/>
                  </a:cubicBezTo>
                  <a:cubicBezTo>
                    <a:pt x="175" y="706"/>
                    <a:pt x="155" y="716"/>
                    <a:pt x="141" y="741"/>
                  </a:cubicBezTo>
                  <a:cubicBezTo>
                    <a:pt x="131" y="755"/>
                    <a:pt x="136" y="770"/>
                    <a:pt x="131" y="784"/>
                  </a:cubicBezTo>
                  <a:cubicBezTo>
                    <a:pt x="126" y="804"/>
                    <a:pt x="116" y="814"/>
                    <a:pt x="116" y="838"/>
                  </a:cubicBezTo>
                  <a:cubicBezTo>
                    <a:pt x="116" y="858"/>
                    <a:pt x="126" y="867"/>
                    <a:pt x="126" y="891"/>
                  </a:cubicBezTo>
                  <a:cubicBezTo>
                    <a:pt x="126" y="916"/>
                    <a:pt x="116" y="930"/>
                    <a:pt x="116" y="960"/>
                  </a:cubicBezTo>
                  <a:cubicBezTo>
                    <a:pt x="116" y="969"/>
                    <a:pt x="121" y="974"/>
                    <a:pt x="121" y="979"/>
                  </a:cubicBezTo>
                  <a:cubicBezTo>
                    <a:pt x="126" y="1008"/>
                    <a:pt x="136" y="1028"/>
                    <a:pt x="141" y="1057"/>
                  </a:cubicBezTo>
                  <a:cubicBezTo>
                    <a:pt x="151" y="1091"/>
                    <a:pt x="146" y="1111"/>
                    <a:pt x="146" y="1145"/>
                  </a:cubicBezTo>
                  <a:cubicBezTo>
                    <a:pt x="146" y="1252"/>
                    <a:pt x="146" y="1252"/>
                    <a:pt x="146" y="1252"/>
                  </a:cubicBezTo>
                  <a:cubicBezTo>
                    <a:pt x="146" y="1281"/>
                    <a:pt x="160" y="1296"/>
                    <a:pt x="160" y="1325"/>
                  </a:cubicBezTo>
                  <a:lnTo>
                    <a:pt x="160" y="1325"/>
                  </a:lnTo>
                  <a:cubicBezTo>
                    <a:pt x="165" y="1355"/>
                    <a:pt x="165" y="1374"/>
                    <a:pt x="170" y="1403"/>
                  </a:cubicBezTo>
                  <a:cubicBezTo>
                    <a:pt x="175" y="1413"/>
                    <a:pt x="185" y="1422"/>
                    <a:pt x="185" y="1432"/>
                  </a:cubicBezTo>
                  <a:cubicBezTo>
                    <a:pt x="190" y="1452"/>
                    <a:pt x="185" y="1461"/>
                    <a:pt x="185" y="1476"/>
                  </a:cubicBezTo>
                  <a:cubicBezTo>
                    <a:pt x="185" y="1500"/>
                    <a:pt x="204" y="1505"/>
                    <a:pt x="214" y="1525"/>
                  </a:cubicBezTo>
                  <a:cubicBezTo>
                    <a:pt x="233" y="1559"/>
                    <a:pt x="248" y="1583"/>
                    <a:pt x="248" y="1627"/>
                  </a:cubicBezTo>
                  <a:cubicBezTo>
                    <a:pt x="248" y="1720"/>
                    <a:pt x="248" y="1720"/>
                    <a:pt x="248" y="1720"/>
                  </a:cubicBezTo>
                  <a:cubicBezTo>
                    <a:pt x="248" y="1725"/>
                    <a:pt x="243" y="1729"/>
                    <a:pt x="238" y="1734"/>
                  </a:cubicBezTo>
                  <a:cubicBezTo>
                    <a:pt x="229" y="1759"/>
                    <a:pt x="209" y="1768"/>
                    <a:pt x="199" y="1792"/>
                  </a:cubicBezTo>
                  <a:cubicBezTo>
                    <a:pt x="194" y="1803"/>
                    <a:pt x="190" y="1803"/>
                    <a:pt x="185" y="1807"/>
                  </a:cubicBezTo>
                  <a:cubicBezTo>
                    <a:pt x="185" y="1822"/>
                    <a:pt x="190" y="1827"/>
                    <a:pt x="190" y="1836"/>
                  </a:cubicBezTo>
                  <a:cubicBezTo>
                    <a:pt x="190" y="1924"/>
                    <a:pt x="190" y="1924"/>
                    <a:pt x="190" y="1924"/>
                  </a:cubicBezTo>
                  <a:cubicBezTo>
                    <a:pt x="190" y="1934"/>
                    <a:pt x="185" y="1939"/>
                    <a:pt x="185" y="1944"/>
                  </a:cubicBezTo>
                  <a:cubicBezTo>
                    <a:pt x="175" y="1963"/>
                    <a:pt x="170" y="1982"/>
                    <a:pt x="151" y="1992"/>
                  </a:cubicBezTo>
                  <a:cubicBezTo>
                    <a:pt x="141" y="1997"/>
                    <a:pt x="131" y="1992"/>
                    <a:pt x="121" y="2002"/>
                  </a:cubicBezTo>
                  <a:cubicBezTo>
                    <a:pt x="116" y="2007"/>
                    <a:pt x="116" y="2021"/>
                    <a:pt x="116" y="2032"/>
                  </a:cubicBezTo>
                  <a:cubicBezTo>
                    <a:pt x="111" y="2056"/>
                    <a:pt x="111" y="2080"/>
                    <a:pt x="92" y="2095"/>
                  </a:cubicBezTo>
                  <a:cubicBezTo>
                    <a:pt x="78" y="2104"/>
                    <a:pt x="53" y="2109"/>
                    <a:pt x="53" y="2129"/>
                  </a:cubicBezTo>
                  <a:cubicBezTo>
                    <a:pt x="53" y="2138"/>
                    <a:pt x="68" y="2138"/>
                    <a:pt x="68" y="2143"/>
                  </a:cubicBezTo>
                  <a:cubicBezTo>
                    <a:pt x="78" y="2163"/>
                    <a:pt x="83" y="2173"/>
                    <a:pt x="83" y="2192"/>
                  </a:cubicBezTo>
                  <a:cubicBezTo>
                    <a:pt x="83" y="2212"/>
                    <a:pt x="73" y="2217"/>
                    <a:pt x="63" y="2236"/>
                  </a:cubicBezTo>
                  <a:cubicBezTo>
                    <a:pt x="53" y="2250"/>
                    <a:pt x="48" y="2265"/>
                    <a:pt x="34" y="2280"/>
                  </a:cubicBezTo>
                  <a:cubicBezTo>
                    <a:pt x="19" y="2299"/>
                    <a:pt x="0" y="2309"/>
                    <a:pt x="0" y="2333"/>
                  </a:cubicBezTo>
                  <a:cubicBezTo>
                    <a:pt x="0" y="2353"/>
                    <a:pt x="19" y="2363"/>
                    <a:pt x="24" y="2377"/>
                  </a:cubicBezTo>
                  <a:cubicBezTo>
                    <a:pt x="34" y="2402"/>
                    <a:pt x="24" y="2416"/>
                    <a:pt x="29" y="2441"/>
                  </a:cubicBezTo>
                  <a:cubicBezTo>
                    <a:pt x="29" y="2450"/>
                    <a:pt x="39" y="2460"/>
                    <a:pt x="44" y="2469"/>
                  </a:cubicBezTo>
                  <a:cubicBezTo>
                    <a:pt x="842" y="2348"/>
                    <a:pt x="842" y="2348"/>
                    <a:pt x="842" y="2348"/>
                  </a:cubicBezTo>
                  <a:cubicBezTo>
                    <a:pt x="862" y="2372"/>
                    <a:pt x="901" y="2367"/>
                    <a:pt x="901" y="2397"/>
                  </a:cubicBezTo>
                  <a:cubicBezTo>
                    <a:pt x="901" y="2430"/>
                    <a:pt x="901" y="2455"/>
                    <a:pt x="896" y="2489"/>
                  </a:cubicBezTo>
                  <a:cubicBezTo>
                    <a:pt x="896" y="2499"/>
                    <a:pt x="886" y="2508"/>
                    <a:pt x="886" y="2518"/>
                  </a:cubicBezTo>
                  <a:cubicBezTo>
                    <a:pt x="886" y="2538"/>
                    <a:pt x="906" y="2548"/>
                    <a:pt x="915" y="2557"/>
                  </a:cubicBezTo>
                  <a:cubicBezTo>
                    <a:pt x="949" y="2587"/>
                    <a:pt x="974" y="2601"/>
                    <a:pt x="989" y="2640"/>
                  </a:cubicBezTo>
                  <a:cubicBezTo>
                    <a:pt x="1008" y="2694"/>
                    <a:pt x="1008" y="2728"/>
                    <a:pt x="1008" y="2781"/>
                  </a:cubicBezTo>
                  <a:lnTo>
                    <a:pt x="1008" y="2781"/>
                  </a:lnTo>
                  <a:cubicBezTo>
                    <a:pt x="1017" y="2781"/>
                    <a:pt x="1028" y="2781"/>
                    <a:pt x="1032" y="2781"/>
                  </a:cubicBezTo>
                  <a:cubicBezTo>
                    <a:pt x="1056" y="2781"/>
                    <a:pt x="1071" y="2772"/>
                    <a:pt x="1086" y="2757"/>
                  </a:cubicBezTo>
                  <a:cubicBezTo>
                    <a:pt x="1115" y="2742"/>
                    <a:pt x="1130" y="2723"/>
                    <a:pt x="1154" y="2703"/>
                  </a:cubicBezTo>
                  <a:cubicBezTo>
                    <a:pt x="1203" y="2665"/>
                    <a:pt x="1232" y="2635"/>
                    <a:pt x="1290" y="2616"/>
                  </a:cubicBezTo>
                  <a:cubicBezTo>
                    <a:pt x="1320" y="2626"/>
                    <a:pt x="1320" y="2626"/>
                    <a:pt x="1320" y="2626"/>
                  </a:cubicBezTo>
                  <a:cubicBezTo>
                    <a:pt x="1412" y="2611"/>
                    <a:pt x="1465" y="2601"/>
                    <a:pt x="1548" y="2596"/>
                  </a:cubicBezTo>
                  <a:lnTo>
                    <a:pt x="1548" y="2596"/>
                  </a:lnTo>
                  <a:cubicBezTo>
                    <a:pt x="1437" y="1778"/>
                    <a:pt x="1437" y="1778"/>
                    <a:pt x="1437" y="1778"/>
                  </a:cubicBezTo>
                  <a:cubicBezTo>
                    <a:pt x="1426" y="103"/>
                    <a:pt x="1426" y="103"/>
                    <a:pt x="1426" y="103"/>
                  </a:cubicBezTo>
                  <a:cubicBezTo>
                    <a:pt x="1407" y="59"/>
                    <a:pt x="1393" y="34"/>
                    <a:pt x="1363" y="0"/>
                  </a:cubicBezTo>
                  <a:lnTo>
                    <a:pt x="1363" y="0"/>
                  </a:lnTo>
                  <a:cubicBezTo>
                    <a:pt x="453" y="151"/>
                    <a:pt x="453" y="151"/>
                    <a:pt x="453" y="151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51" name="Freeform 96"/>
            <p:cNvSpPr>
              <a:spLocks noChangeArrowheads="1"/>
            </p:cNvSpPr>
            <p:nvPr/>
          </p:nvSpPr>
          <p:spPr bwMode="auto">
            <a:xfrm>
              <a:off x="9751358" y="7987266"/>
              <a:ext cx="1408522" cy="1372209"/>
            </a:xfrm>
            <a:custGeom>
              <a:avLst/>
              <a:gdLst>
                <a:gd name="T0" fmla="*/ 2022 w 2222"/>
                <a:gd name="T1" fmla="*/ 847 h 2163"/>
                <a:gd name="T2" fmla="*/ 2022 w 2222"/>
                <a:gd name="T3" fmla="*/ 847 h 2163"/>
                <a:gd name="T4" fmla="*/ 1987 w 2222"/>
                <a:gd name="T5" fmla="*/ 945 h 2163"/>
                <a:gd name="T6" fmla="*/ 1944 w 2222"/>
                <a:gd name="T7" fmla="*/ 984 h 2163"/>
                <a:gd name="T8" fmla="*/ 1924 w 2222"/>
                <a:gd name="T9" fmla="*/ 1027 h 2163"/>
                <a:gd name="T10" fmla="*/ 1905 w 2222"/>
                <a:gd name="T11" fmla="*/ 1067 h 2163"/>
                <a:gd name="T12" fmla="*/ 1909 w 2222"/>
                <a:gd name="T13" fmla="*/ 1110 h 2163"/>
                <a:gd name="T14" fmla="*/ 1885 w 2222"/>
                <a:gd name="T15" fmla="*/ 1193 h 2163"/>
                <a:gd name="T16" fmla="*/ 1841 w 2222"/>
                <a:gd name="T17" fmla="*/ 1227 h 2163"/>
                <a:gd name="T18" fmla="*/ 1788 w 2222"/>
                <a:gd name="T19" fmla="*/ 1276 h 2163"/>
                <a:gd name="T20" fmla="*/ 1802 w 2222"/>
                <a:gd name="T21" fmla="*/ 1344 h 2163"/>
                <a:gd name="T22" fmla="*/ 1768 w 2222"/>
                <a:gd name="T23" fmla="*/ 1388 h 2163"/>
                <a:gd name="T24" fmla="*/ 1710 w 2222"/>
                <a:gd name="T25" fmla="*/ 1437 h 2163"/>
                <a:gd name="T26" fmla="*/ 1700 w 2222"/>
                <a:gd name="T27" fmla="*/ 1480 h 2163"/>
                <a:gd name="T28" fmla="*/ 1685 w 2222"/>
                <a:gd name="T29" fmla="*/ 1534 h 2163"/>
                <a:gd name="T30" fmla="*/ 1695 w 2222"/>
                <a:gd name="T31" fmla="*/ 1587 h 2163"/>
                <a:gd name="T32" fmla="*/ 1685 w 2222"/>
                <a:gd name="T33" fmla="*/ 1656 h 2163"/>
                <a:gd name="T34" fmla="*/ 1690 w 2222"/>
                <a:gd name="T35" fmla="*/ 1675 h 2163"/>
                <a:gd name="T36" fmla="*/ 1710 w 2222"/>
                <a:gd name="T37" fmla="*/ 1753 h 2163"/>
                <a:gd name="T38" fmla="*/ 1715 w 2222"/>
                <a:gd name="T39" fmla="*/ 1841 h 2163"/>
                <a:gd name="T40" fmla="*/ 1715 w 2222"/>
                <a:gd name="T41" fmla="*/ 1948 h 2163"/>
                <a:gd name="T42" fmla="*/ 1729 w 2222"/>
                <a:gd name="T43" fmla="*/ 2021 h 2163"/>
                <a:gd name="T44" fmla="*/ 1729 w 2222"/>
                <a:gd name="T45" fmla="*/ 2021 h 2163"/>
                <a:gd name="T46" fmla="*/ 380 w 2222"/>
                <a:gd name="T47" fmla="*/ 2162 h 2163"/>
                <a:gd name="T48" fmla="*/ 380 w 2222"/>
                <a:gd name="T49" fmla="*/ 2162 h 2163"/>
                <a:gd name="T50" fmla="*/ 361 w 2222"/>
                <a:gd name="T51" fmla="*/ 1841 h 2163"/>
                <a:gd name="T52" fmla="*/ 273 w 2222"/>
                <a:gd name="T53" fmla="*/ 1841 h 2163"/>
                <a:gd name="T54" fmla="*/ 132 w 2222"/>
                <a:gd name="T55" fmla="*/ 1816 h 2163"/>
                <a:gd name="T56" fmla="*/ 132 w 2222"/>
                <a:gd name="T57" fmla="*/ 1816 h 2163"/>
                <a:gd name="T58" fmla="*/ 88 w 2222"/>
                <a:gd name="T59" fmla="*/ 755 h 2163"/>
                <a:gd name="T60" fmla="*/ 0 w 2222"/>
                <a:gd name="T61" fmla="*/ 229 h 2163"/>
                <a:gd name="T62" fmla="*/ 0 w 2222"/>
                <a:gd name="T63" fmla="*/ 229 h 2163"/>
                <a:gd name="T64" fmla="*/ 1929 w 2222"/>
                <a:gd name="T65" fmla="*/ 0 h 2163"/>
                <a:gd name="T66" fmla="*/ 1978 w 2222"/>
                <a:gd name="T67" fmla="*/ 43 h 2163"/>
                <a:gd name="T68" fmla="*/ 1963 w 2222"/>
                <a:gd name="T69" fmla="*/ 83 h 2163"/>
                <a:gd name="T70" fmla="*/ 1934 w 2222"/>
                <a:gd name="T71" fmla="*/ 170 h 2163"/>
                <a:gd name="T72" fmla="*/ 1939 w 2222"/>
                <a:gd name="T73" fmla="*/ 277 h 2163"/>
                <a:gd name="T74" fmla="*/ 1953 w 2222"/>
                <a:gd name="T75" fmla="*/ 282 h 2163"/>
                <a:gd name="T76" fmla="*/ 1987 w 2222"/>
                <a:gd name="T77" fmla="*/ 272 h 2163"/>
                <a:gd name="T78" fmla="*/ 2046 w 2222"/>
                <a:gd name="T79" fmla="*/ 263 h 2163"/>
                <a:gd name="T80" fmla="*/ 2138 w 2222"/>
                <a:gd name="T81" fmla="*/ 243 h 2163"/>
                <a:gd name="T82" fmla="*/ 2221 w 2222"/>
                <a:gd name="T83" fmla="*/ 238 h 2163"/>
                <a:gd name="T84" fmla="*/ 2221 w 2222"/>
                <a:gd name="T85" fmla="*/ 238 h 2163"/>
                <a:gd name="T86" fmla="*/ 2177 w 2222"/>
                <a:gd name="T87" fmla="*/ 346 h 2163"/>
                <a:gd name="T88" fmla="*/ 2143 w 2222"/>
                <a:gd name="T89" fmla="*/ 390 h 2163"/>
                <a:gd name="T90" fmla="*/ 2138 w 2222"/>
                <a:gd name="T91" fmla="*/ 468 h 2163"/>
                <a:gd name="T92" fmla="*/ 2070 w 2222"/>
                <a:gd name="T93" fmla="*/ 604 h 2163"/>
                <a:gd name="T94" fmla="*/ 2070 w 2222"/>
                <a:gd name="T95" fmla="*/ 672 h 2163"/>
                <a:gd name="T96" fmla="*/ 2022 w 2222"/>
                <a:gd name="T97" fmla="*/ 847 h 2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22" h="2163">
                  <a:moveTo>
                    <a:pt x="2022" y="847"/>
                  </a:moveTo>
                  <a:lnTo>
                    <a:pt x="2022" y="847"/>
                  </a:lnTo>
                  <a:cubicBezTo>
                    <a:pt x="2017" y="891"/>
                    <a:pt x="2017" y="910"/>
                    <a:pt x="1987" y="945"/>
                  </a:cubicBezTo>
                  <a:cubicBezTo>
                    <a:pt x="1978" y="964"/>
                    <a:pt x="1953" y="964"/>
                    <a:pt x="1944" y="984"/>
                  </a:cubicBezTo>
                  <a:cubicBezTo>
                    <a:pt x="1934" y="998"/>
                    <a:pt x="1934" y="1013"/>
                    <a:pt x="1924" y="1027"/>
                  </a:cubicBezTo>
                  <a:cubicBezTo>
                    <a:pt x="1920" y="1042"/>
                    <a:pt x="1905" y="1047"/>
                    <a:pt x="1905" y="1067"/>
                  </a:cubicBezTo>
                  <a:cubicBezTo>
                    <a:pt x="1905" y="1086"/>
                    <a:pt x="1909" y="1091"/>
                    <a:pt x="1909" y="1110"/>
                  </a:cubicBezTo>
                  <a:cubicBezTo>
                    <a:pt x="1909" y="1145"/>
                    <a:pt x="1905" y="1164"/>
                    <a:pt x="1885" y="1193"/>
                  </a:cubicBezTo>
                  <a:cubicBezTo>
                    <a:pt x="1876" y="1213"/>
                    <a:pt x="1856" y="1213"/>
                    <a:pt x="1841" y="1227"/>
                  </a:cubicBezTo>
                  <a:cubicBezTo>
                    <a:pt x="1822" y="1247"/>
                    <a:pt x="1807" y="1261"/>
                    <a:pt x="1788" y="1276"/>
                  </a:cubicBezTo>
                  <a:cubicBezTo>
                    <a:pt x="1798" y="1300"/>
                    <a:pt x="1802" y="1320"/>
                    <a:pt x="1802" y="1344"/>
                  </a:cubicBezTo>
                  <a:cubicBezTo>
                    <a:pt x="1802" y="1368"/>
                    <a:pt x="1788" y="1378"/>
                    <a:pt x="1768" y="1388"/>
                  </a:cubicBezTo>
                  <a:cubicBezTo>
                    <a:pt x="1744" y="1402"/>
                    <a:pt x="1724" y="1412"/>
                    <a:pt x="1710" y="1437"/>
                  </a:cubicBezTo>
                  <a:cubicBezTo>
                    <a:pt x="1700" y="1451"/>
                    <a:pt x="1705" y="1466"/>
                    <a:pt x="1700" y="1480"/>
                  </a:cubicBezTo>
                  <a:cubicBezTo>
                    <a:pt x="1695" y="1500"/>
                    <a:pt x="1685" y="1510"/>
                    <a:pt x="1685" y="1534"/>
                  </a:cubicBezTo>
                  <a:cubicBezTo>
                    <a:pt x="1685" y="1554"/>
                    <a:pt x="1695" y="1563"/>
                    <a:pt x="1695" y="1587"/>
                  </a:cubicBezTo>
                  <a:cubicBezTo>
                    <a:pt x="1695" y="1612"/>
                    <a:pt x="1685" y="1626"/>
                    <a:pt x="1685" y="1656"/>
                  </a:cubicBezTo>
                  <a:cubicBezTo>
                    <a:pt x="1685" y="1665"/>
                    <a:pt x="1690" y="1670"/>
                    <a:pt x="1690" y="1675"/>
                  </a:cubicBezTo>
                  <a:cubicBezTo>
                    <a:pt x="1695" y="1704"/>
                    <a:pt x="1705" y="1724"/>
                    <a:pt x="1710" y="1753"/>
                  </a:cubicBezTo>
                  <a:cubicBezTo>
                    <a:pt x="1720" y="1787"/>
                    <a:pt x="1715" y="1807"/>
                    <a:pt x="1715" y="1841"/>
                  </a:cubicBezTo>
                  <a:cubicBezTo>
                    <a:pt x="1715" y="1948"/>
                    <a:pt x="1715" y="1948"/>
                    <a:pt x="1715" y="1948"/>
                  </a:cubicBezTo>
                  <a:cubicBezTo>
                    <a:pt x="1715" y="1977"/>
                    <a:pt x="1729" y="1992"/>
                    <a:pt x="1729" y="2021"/>
                  </a:cubicBezTo>
                  <a:lnTo>
                    <a:pt x="1729" y="2021"/>
                  </a:lnTo>
                  <a:cubicBezTo>
                    <a:pt x="380" y="2162"/>
                    <a:pt x="380" y="2162"/>
                    <a:pt x="380" y="2162"/>
                  </a:cubicBezTo>
                  <a:lnTo>
                    <a:pt x="380" y="2162"/>
                  </a:lnTo>
                  <a:cubicBezTo>
                    <a:pt x="361" y="1841"/>
                    <a:pt x="361" y="1841"/>
                    <a:pt x="361" y="1841"/>
                  </a:cubicBezTo>
                  <a:cubicBezTo>
                    <a:pt x="326" y="1841"/>
                    <a:pt x="307" y="1841"/>
                    <a:pt x="273" y="1841"/>
                  </a:cubicBezTo>
                  <a:cubicBezTo>
                    <a:pt x="220" y="1841"/>
                    <a:pt x="180" y="1836"/>
                    <a:pt x="132" y="1816"/>
                  </a:cubicBezTo>
                  <a:lnTo>
                    <a:pt x="132" y="1816"/>
                  </a:lnTo>
                  <a:cubicBezTo>
                    <a:pt x="88" y="755"/>
                    <a:pt x="88" y="755"/>
                    <a:pt x="88" y="755"/>
                  </a:cubicBezTo>
                  <a:cubicBezTo>
                    <a:pt x="0" y="229"/>
                    <a:pt x="0" y="229"/>
                    <a:pt x="0" y="229"/>
                  </a:cubicBezTo>
                  <a:lnTo>
                    <a:pt x="0" y="229"/>
                  </a:lnTo>
                  <a:cubicBezTo>
                    <a:pt x="1929" y="0"/>
                    <a:pt x="1929" y="0"/>
                    <a:pt x="1929" y="0"/>
                  </a:cubicBezTo>
                  <a:cubicBezTo>
                    <a:pt x="1953" y="4"/>
                    <a:pt x="1978" y="19"/>
                    <a:pt x="1978" y="43"/>
                  </a:cubicBezTo>
                  <a:cubicBezTo>
                    <a:pt x="1978" y="58"/>
                    <a:pt x="1968" y="68"/>
                    <a:pt x="1963" y="83"/>
                  </a:cubicBezTo>
                  <a:cubicBezTo>
                    <a:pt x="1948" y="117"/>
                    <a:pt x="1934" y="136"/>
                    <a:pt x="1934" y="170"/>
                  </a:cubicBezTo>
                  <a:cubicBezTo>
                    <a:pt x="1934" y="214"/>
                    <a:pt x="1939" y="238"/>
                    <a:pt x="1939" y="277"/>
                  </a:cubicBezTo>
                  <a:cubicBezTo>
                    <a:pt x="1944" y="277"/>
                    <a:pt x="1948" y="282"/>
                    <a:pt x="1953" y="282"/>
                  </a:cubicBezTo>
                  <a:cubicBezTo>
                    <a:pt x="1968" y="282"/>
                    <a:pt x="1973" y="272"/>
                    <a:pt x="1987" y="272"/>
                  </a:cubicBezTo>
                  <a:cubicBezTo>
                    <a:pt x="2007" y="268"/>
                    <a:pt x="2022" y="268"/>
                    <a:pt x="2046" y="263"/>
                  </a:cubicBezTo>
                  <a:cubicBezTo>
                    <a:pt x="2080" y="258"/>
                    <a:pt x="2100" y="243"/>
                    <a:pt x="2138" y="243"/>
                  </a:cubicBezTo>
                  <a:cubicBezTo>
                    <a:pt x="2168" y="243"/>
                    <a:pt x="2192" y="238"/>
                    <a:pt x="2221" y="238"/>
                  </a:cubicBezTo>
                  <a:lnTo>
                    <a:pt x="2221" y="238"/>
                  </a:lnTo>
                  <a:cubicBezTo>
                    <a:pt x="2221" y="287"/>
                    <a:pt x="2202" y="311"/>
                    <a:pt x="2177" y="346"/>
                  </a:cubicBezTo>
                  <a:cubicBezTo>
                    <a:pt x="2168" y="365"/>
                    <a:pt x="2148" y="370"/>
                    <a:pt x="2143" y="390"/>
                  </a:cubicBezTo>
                  <a:cubicBezTo>
                    <a:pt x="2133" y="418"/>
                    <a:pt x="2138" y="438"/>
                    <a:pt x="2138" y="468"/>
                  </a:cubicBezTo>
                  <a:cubicBezTo>
                    <a:pt x="2133" y="526"/>
                    <a:pt x="2085" y="545"/>
                    <a:pt x="2070" y="604"/>
                  </a:cubicBezTo>
                  <a:cubicBezTo>
                    <a:pt x="2061" y="628"/>
                    <a:pt x="2070" y="642"/>
                    <a:pt x="2070" y="672"/>
                  </a:cubicBezTo>
                  <a:cubicBezTo>
                    <a:pt x="2070" y="740"/>
                    <a:pt x="2036" y="779"/>
                    <a:pt x="2022" y="847"/>
                  </a:cubicBezTo>
                </a:path>
              </a:pathLst>
            </a:custGeom>
            <a:solidFill>
              <a:schemeClr val="accent2"/>
            </a:solidFill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52" name="Freeform 97"/>
            <p:cNvSpPr>
              <a:spLocks noChangeArrowheads="1"/>
            </p:cNvSpPr>
            <p:nvPr/>
          </p:nvSpPr>
          <p:spPr bwMode="auto">
            <a:xfrm>
              <a:off x="8751671" y="7945260"/>
              <a:ext cx="1080894" cy="1206984"/>
            </a:xfrm>
            <a:custGeom>
              <a:avLst/>
              <a:gdLst>
                <a:gd name="T0" fmla="*/ 0 w 1706"/>
                <a:gd name="T1" fmla="*/ 1694 h 1905"/>
                <a:gd name="T2" fmla="*/ 0 w 1706"/>
                <a:gd name="T3" fmla="*/ 1694 h 1905"/>
                <a:gd name="T4" fmla="*/ 58 w 1706"/>
                <a:gd name="T5" fmla="*/ 1729 h 1905"/>
                <a:gd name="T6" fmla="*/ 83 w 1706"/>
                <a:gd name="T7" fmla="*/ 1772 h 1905"/>
                <a:gd name="T8" fmla="*/ 151 w 1706"/>
                <a:gd name="T9" fmla="*/ 1831 h 1905"/>
                <a:gd name="T10" fmla="*/ 185 w 1706"/>
                <a:gd name="T11" fmla="*/ 1807 h 1905"/>
                <a:gd name="T12" fmla="*/ 254 w 1706"/>
                <a:gd name="T13" fmla="*/ 1777 h 1905"/>
                <a:gd name="T14" fmla="*/ 293 w 1706"/>
                <a:gd name="T15" fmla="*/ 1792 h 1905"/>
                <a:gd name="T16" fmla="*/ 297 w 1706"/>
                <a:gd name="T17" fmla="*/ 1807 h 1905"/>
                <a:gd name="T18" fmla="*/ 375 w 1706"/>
                <a:gd name="T19" fmla="*/ 1826 h 1905"/>
                <a:gd name="T20" fmla="*/ 434 w 1706"/>
                <a:gd name="T21" fmla="*/ 1831 h 1905"/>
                <a:gd name="T22" fmla="*/ 487 w 1706"/>
                <a:gd name="T23" fmla="*/ 1855 h 1905"/>
                <a:gd name="T24" fmla="*/ 516 w 1706"/>
                <a:gd name="T25" fmla="*/ 1821 h 1905"/>
                <a:gd name="T26" fmla="*/ 560 w 1706"/>
                <a:gd name="T27" fmla="*/ 1836 h 1905"/>
                <a:gd name="T28" fmla="*/ 760 w 1706"/>
                <a:gd name="T29" fmla="*/ 1875 h 1905"/>
                <a:gd name="T30" fmla="*/ 828 w 1706"/>
                <a:gd name="T31" fmla="*/ 1904 h 1905"/>
                <a:gd name="T32" fmla="*/ 877 w 1706"/>
                <a:gd name="T33" fmla="*/ 1889 h 1905"/>
                <a:gd name="T34" fmla="*/ 955 w 1706"/>
                <a:gd name="T35" fmla="*/ 1855 h 1905"/>
                <a:gd name="T36" fmla="*/ 979 w 1706"/>
                <a:gd name="T37" fmla="*/ 1831 h 1905"/>
                <a:gd name="T38" fmla="*/ 1086 w 1706"/>
                <a:gd name="T39" fmla="*/ 1797 h 1905"/>
                <a:gd name="T40" fmla="*/ 1130 w 1706"/>
                <a:gd name="T41" fmla="*/ 1768 h 1905"/>
                <a:gd name="T42" fmla="*/ 1193 w 1706"/>
                <a:gd name="T43" fmla="*/ 1758 h 1905"/>
                <a:gd name="T44" fmla="*/ 1252 w 1706"/>
                <a:gd name="T45" fmla="*/ 1782 h 1905"/>
                <a:gd name="T46" fmla="*/ 1354 w 1706"/>
                <a:gd name="T47" fmla="*/ 1782 h 1905"/>
                <a:gd name="T48" fmla="*/ 1447 w 1706"/>
                <a:gd name="T49" fmla="*/ 1812 h 1905"/>
                <a:gd name="T50" fmla="*/ 1553 w 1706"/>
                <a:gd name="T51" fmla="*/ 1865 h 1905"/>
                <a:gd name="T52" fmla="*/ 1705 w 1706"/>
                <a:gd name="T53" fmla="*/ 1884 h 1905"/>
                <a:gd name="T54" fmla="*/ 1705 w 1706"/>
                <a:gd name="T55" fmla="*/ 1884 h 1905"/>
                <a:gd name="T56" fmla="*/ 1661 w 1706"/>
                <a:gd name="T57" fmla="*/ 823 h 1905"/>
                <a:gd name="T58" fmla="*/ 1573 w 1706"/>
                <a:gd name="T59" fmla="*/ 297 h 1905"/>
                <a:gd name="T60" fmla="*/ 1573 w 1706"/>
                <a:gd name="T61" fmla="*/ 297 h 1905"/>
                <a:gd name="T62" fmla="*/ 1549 w 1706"/>
                <a:gd name="T63" fmla="*/ 0 h 1905"/>
                <a:gd name="T64" fmla="*/ 1549 w 1706"/>
                <a:gd name="T65" fmla="*/ 0 h 1905"/>
                <a:gd name="T66" fmla="*/ 0 w 1706"/>
                <a:gd name="T67" fmla="*/ 77 h 1905"/>
                <a:gd name="T68" fmla="*/ 0 w 1706"/>
                <a:gd name="T69" fmla="*/ 77 h 1905"/>
                <a:gd name="T70" fmla="*/ 0 w 1706"/>
                <a:gd name="T71" fmla="*/ 1694 h 1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06" h="1905">
                  <a:moveTo>
                    <a:pt x="0" y="1694"/>
                  </a:moveTo>
                  <a:lnTo>
                    <a:pt x="0" y="1694"/>
                  </a:lnTo>
                  <a:cubicBezTo>
                    <a:pt x="19" y="1704"/>
                    <a:pt x="34" y="1714"/>
                    <a:pt x="58" y="1729"/>
                  </a:cubicBezTo>
                  <a:cubicBezTo>
                    <a:pt x="73" y="1738"/>
                    <a:pt x="73" y="1758"/>
                    <a:pt x="83" y="1772"/>
                  </a:cubicBezTo>
                  <a:cubicBezTo>
                    <a:pt x="97" y="1807"/>
                    <a:pt x="117" y="1831"/>
                    <a:pt x="151" y="1831"/>
                  </a:cubicBezTo>
                  <a:cubicBezTo>
                    <a:pt x="166" y="1831"/>
                    <a:pt x="175" y="1821"/>
                    <a:pt x="185" y="1807"/>
                  </a:cubicBezTo>
                  <a:cubicBezTo>
                    <a:pt x="204" y="1787"/>
                    <a:pt x="224" y="1777"/>
                    <a:pt x="254" y="1777"/>
                  </a:cubicBezTo>
                  <a:cubicBezTo>
                    <a:pt x="268" y="1777"/>
                    <a:pt x="278" y="1782"/>
                    <a:pt x="293" y="1792"/>
                  </a:cubicBezTo>
                  <a:cubicBezTo>
                    <a:pt x="293" y="1797"/>
                    <a:pt x="293" y="1807"/>
                    <a:pt x="297" y="1807"/>
                  </a:cubicBezTo>
                  <a:cubicBezTo>
                    <a:pt x="321" y="1826"/>
                    <a:pt x="341" y="1826"/>
                    <a:pt x="375" y="1826"/>
                  </a:cubicBezTo>
                  <a:cubicBezTo>
                    <a:pt x="395" y="1826"/>
                    <a:pt x="414" y="1821"/>
                    <a:pt x="434" y="1831"/>
                  </a:cubicBezTo>
                  <a:cubicBezTo>
                    <a:pt x="453" y="1836"/>
                    <a:pt x="463" y="1855"/>
                    <a:pt x="487" y="1855"/>
                  </a:cubicBezTo>
                  <a:cubicBezTo>
                    <a:pt x="502" y="1855"/>
                    <a:pt x="502" y="1821"/>
                    <a:pt x="516" y="1821"/>
                  </a:cubicBezTo>
                  <a:cubicBezTo>
                    <a:pt x="536" y="1821"/>
                    <a:pt x="545" y="1831"/>
                    <a:pt x="560" y="1836"/>
                  </a:cubicBezTo>
                  <a:cubicBezTo>
                    <a:pt x="638" y="1846"/>
                    <a:pt x="682" y="1860"/>
                    <a:pt x="760" y="1875"/>
                  </a:cubicBezTo>
                  <a:cubicBezTo>
                    <a:pt x="784" y="1879"/>
                    <a:pt x="799" y="1904"/>
                    <a:pt x="828" y="1904"/>
                  </a:cubicBezTo>
                  <a:cubicBezTo>
                    <a:pt x="848" y="1904"/>
                    <a:pt x="857" y="1899"/>
                    <a:pt x="877" y="1889"/>
                  </a:cubicBezTo>
                  <a:cubicBezTo>
                    <a:pt x="911" y="1884"/>
                    <a:pt x="930" y="1875"/>
                    <a:pt x="955" y="1855"/>
                  </a:cubicBezTo>
                  <a:cubicBezTo>
                    <a:pt x="964" y="1851"/>
                    <a:pt x="969" y="1840"/>
                    <a:pt x="979" y="1831"/>
                  </a:cubicBezTo>
                  <a:cubicBezTo>
                    <a:pt x="1018" y="1807"/>
                    <a:pt x="1047" y="1816"/>
                    <a:pt x="1086" y="1797"/>
                  </a:cubicBezTo>
                  <a:cubicBezTo>
                    <a:pt x="1105" y="1787"/>
                    <a:pt x="1110" y="1772"/>
                    <a:pt x="1130" y="1768"/>
                  </a:cubicBezTo>
                  <a:cubicBezTo>
                    <a:pt x="1155" y="1758"/>
                    <a:pt x="1169" y="1758"/>
                    <a:pt x="1193" y="1758"/>
                  </a:cubicBezTo>
                  <a:cubicBezTo>
                    <a:pt x="1213" y="1772"/>
                    <a:pt x="1227" y="1782"/>
                    <a:pt x="1252" y="1782"/>
                  </a:cubicBezTo>
                  <a:cubicBezTo>
                    <a:pt x="1354" y="1782"/>
                    <a:pt x="1354" y="1782"/>
                    <a:pt x="1354" y="1782"/>
                  </a:cubicBezTo>
                  <a:cubicBezTo>
                    <a:pt x="1393" y="1782"/>
                    <a:pt x="1412" y="1797"/>
                    <a:pt x="1447" y="1812"/>
                  </a:cubicBezTo>
                  <a:cubicBezTo>
                    <a:pt x="1490" y="1831"/>
                    <a:pt x="1510" y="1846"/>
                    <a:pt x="1553" y="1865"/>
                  </a:cubicBezTo>
                  <a:cubicBezTo>
                    <a:pt x="1608" y="1889"/>
                    <a:pt x="1646" y="1884"/>
                    <a:pt x="1705" y="1884"/>
                  </a:cubicBezTo>
                  <a:lnTo>
                    <a:pt x="1705" y="1884"/>
                  </a:lnTo>
                  <a:cubicBezTo>
                    <a:pt x="1661" y="823"/>
                    <a:pt x="1661" y="823"/>
                    <a:pt x="1661" y="823"/>
                  </a:cubicBezTo>
                  <a:cubicBezTo>
                    <a:pt x="1573" y="297"/>
                    <a:pt x="1573" y="297"/>
                    <a:pt x="1573" y="297"/>
                  </a:cubicBezTo>
                  <a:lnTo>
                    <a:pt x="1573" y="297"/>
                  </a:lnTo>
                  <a:cubicBezTo>
                    <a:pt x="1549" y="0"/>
                    <a:pt x="1549" y="0"/>
                    <a:pt x="1549" y="0"/>
                  </a:cubicBezTo>
                  <a:lnTo>
                    <a:pt x="1549" y="0"/>
                  </a:lnTo>
                  <a:cubicBezTo>
                    <a:pt x="1549" y="0"/>
                    <a:pt x="906" y="48"/>
                    <a:pt x="0" y="77"/>
                  </a:cubicBezTo>
                  <a:lnTo>
                    <a:pt x="0" y="77"/>
                  </a:lnTo>
                  <a:cubicBezTo>
                    <a:pt x="0" y="1694"/>
                    <a:pt x="0" y="1694"/>
                    <a:pt x="0" y="1694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53" name="Freeform 98"/>
            <p:cNvSpPr>
              <a:spLocks noChangeArrowheads="1"/>
            </p:cNvSpPr>
            <p:nvPr/>
          </p:nvSpPr>
          <p:spPr bwMode="auto">
            <a:xfrm>
              <a:off x="9992179" y="9272662"/>
              <a:ext cx="1596139" cy="1405814"/>
            </a:xfrm>
            <a:custGeom>
              <a:avLst/>
              <a:gdLst>
                <a:gd name="T0" fmla="*/ 25 w 2519"/>
                <a:gd name="T1" fmla="*/ 735 h 2217"/>
                <a:gd name="T2" fmla="*/ 205 w 2519"/>
                <a:gd name="T3" fmla="*/ 1067 h 2217"/>
                <a:gd name="T4" fmla="*/ 258 w 2519"/>
                <a:gd name="T5" fmla="*/ 1384 h 2217"/>
                <a:gd name="T6" fmla="*/ 229 w 2519"/>
                <a:gd name="T7" fmla="*/ 1914 h 2217"/>
                <a:gd name="T8" fmla="*/ 224 w 2519"/>
                <a:gd name="T9" fmla="*/ 1992 h 2217"/>
                <a:gd name="T10" fmla="*/ 497 w 2519"/>
                <a:gd name="T11" fmla="*/ 1934 h 2217"/>
                <a:gd name="T12" fmla="*/ 741 w 2519"/>
                <a:gd name="T13" fmla="*/ 2002 h 2217"/>
                <a:gd name="T14" fmla="*/ 994 w 2519"/>
                <a:gd name="T15" fmla="*/ 1924 h 2217"/>
                <a:gd name="T16" fmla="*/ 1111 w 2519"/>
                <a:gd name="T17" fmla="*/ 1851 h 2217"/>
                <a:gd name="T18" fmla="*/ 1237 w 2519"/>
                <a:gd name="T19" fmla="*/ 1880 h 2217"/>
                <a:gd name="T20" fmla="*/ 1393 w 2519"/>
                <a:gd name="T21" fmla="*/ 1968 h 2217"/>
                <a:gd name="T22" fmla="*/ 1379 w 2519"/>
                <a:gd name="T23" fmla="*/ 1876 h 2217"/>
                <a:gd name="T24" fmla="*/ 1305 w 2519"/>
                <a:gd name="T25" fmla="*/ 1705 h 2217"/>
                <a:gd name="T26" fmla="*/ 1457 w 2519"/>
                <a:gd name="T27" fmla="*/ 1851 h 2217"/>
                <a:gd name="T28" fmla="*/ 1442 w 2519"/>
                <a:gd name="T29" fmla="*/ 2128 h 2217"/>
                <a:gd name="T30" fmla="*/ 1642 w 2519"/>
                <a:gd name="T31" fmla="*/ 2207 h 2217"/>
                <a:gd name="T32" fmla="*/ 1817 w 2519"/>
                <a:gd name="T33" fmla="*/ 2133 h 2217"/>
                <a:gd name="T34" fmla="*/ 1968 w 2519"/>
                <a:gd name="T35" fmla="*/ 2124 h 2217"/>
                <a:gd name="T36" fmla="*/ 1993 w 2519"/>
                <a:gd name="T37" fmla="*/ 1900 h 2217"/>
                <a:gd name="T38" fmla="*/ 1890 w 2519"/>
                <a:gd name="T39" fmla="*/ 1851 h 2217"/>
                <a:gd name="T40" fmla="*/ 1963 w 2519"/>
                <a:gd name="T41" fmla="*/ 1797 h 2217"/>
                <a:gd name="T42" fmla="*/ 2095 w 2519"/>
                <a:gd name="T43" fmla="*/ 1934 h 2217"/>
                <a:gd name="T44" fmla="*/ 2406 w 2519"/>
                <a:gd name="T45" fmla="*/ 2153 h 2217"/>
                <a:gd name="T46" fmla="*/ 2518 w 2519"/>
                <a:gd name="T47" fmla="*/ 2002 h 2217"/>
                <a:gd name="T48" fmla="*/ 2358 w 2519"/>
                <a:gd name="T49" fmla="*/ 1885 h 2217"/>
                <a:gd name="T50" fmla="*/ 2265 w 2519"/>
                <a:gd name="T51" fmla="*/ 1763 h 2217"/>
                <a:gd name="T52" fmla="*/ 2416 w 2519"/>
                <a:gd name="T53" fmla="*/ 1656 h 2217"/>
                <a:gd name="T54" fmla="*/ 2338 w 2519"/>
                <a:gd name="T55" fmla="*/ 1569 h 2217"/>
                <a:gd name="T56" fmla="*/ 2148 w 2519"/>
                <a:gd name="T57" fmla="*/ 1603 h 2217"/>
                <a:gd name="T58" fmla="*/ 2114 w 2519"/>
                <a:gd name="T59" fmla="*/ 1514 h 2217"/>
                <a:gd name="T60" fmla="*/ 1983 w 2519"/>
                <a:gd name="T61" fmla="*/ 1564 h 2217"/>
                <a:gd name="T62" fmla="*/ 1734 w 2519"/>
                <a:gd name="T63" fmla="*/ 1417 h 2217"/>
                <a:gd name="T64" fmla="*/ 1914 w 2519"/>
                <a:gd name="T65" fmla="*/ 1349 h 2217"/>
                <a:gd name="T66" fmla="*/ 2197 w 2519"/>
                <a:gd name="T67" fmla="*/ 1456 h 2217"/>
                <a:gd name="T68" fmla="*/ 2104 w 2519"/>
                <a:gd name="T69" fmla="*/ 1232 h 2217"/>
                <a:gd name="T70" fmla="*/ 2090 w 2519"/>
                <a:gd name="T71" fmla="*/ 1072 h 2217"/>
                <a:gd name="T72" fmla="*/ 1218 w 2519"/>
                <a:gd name="T73" fmla="*/ 1116 h 2217"/>
                <a:gd name="T74" fmla="*/ 1223 w 2519"/>
                <a:gd name="T75" fmla="*/ 955 h 2217"/>
                <a:gd name="T76" fmla="*/ 1257 w 2519"/>
                <a:gd name="T77" fmla="*/ 818 h 2217"/>
                <a:gd name="T78" fmla="*/ 1305 w 2519"/>
                <a:gd name="T79" fmla="*/ 707 h 2217"/>
                <a:gd name="T80" fmla="*/ 1374 w 2519"/>
                <a:gd name="T81" fmla="*/ 619 h 2217"/>
                <a:gd name="T82" fmla="*/ 1374 w 2519"/>
                <a:gd name="T83" fmla="*/ 482 h 2217"/>
                <a:gd name="T84" fmla="*/ 1437 w 2519"/>
                <a:gd name="T85" fmla="*/ 395 h 2217"/>
                <a:gd name="T86" fmla="*/ 1374 w 2519"/>
                <a:gd name="T87" fmla="*/ 151 h 2217"/>
                <a:gd name="T88" fmla="*/ 1349 w 2519"/>
                <a:gd name="T89" fmla="*/ 0 h 2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19" h="2217">
                  <a:moveTo>
                    <a:pt x="0" y="141"/>
                  </a:moveTo>
                  <a:lnTo>
                    <a:pt x="0" y="141"/>
                  </a:lnTo>
                  <a:cubicBezTo>
                    <a:pt x="25" y="735"/>
                    <a:pt x="25" y="735"/>
                    <a:pt x="25" y="735"/>
                  </a:cubicBezTo>
                  <a:cubicBezTo>
                    <a:pt x="68" y="818"/>
                    <a:pt x="78" y="867"/>
                    <a:pt x="122" y="950"/>
                  </a:cubicBezTo>
                  <a:cubicBezTo>
                    <a:pt x="136" y="974"/>
                    <a:pt x="151" y="984"/>
                    <a:pt x="171" y="1008"/>
                  </a:cubicBezTo>
                  <a:cubicBezTo>
                    <a:pt x="185" y="1028"/>
                    <a:pt x="190" y="1047"/>
                    <a:pt x="205" y="1067"/>
                  </a:cubicBezTo>
                  <a:cubicBezTo>
                    <a:pt x="214" y="1086"/>
                    <a:pt x="229" y="1096"/>
                    <a:pt x="239" y="1116"/>
                  </a:cubicBezTo>
                  <a:cubicBezTo>
                    <a:pt x="263" y="1164"/>
                    <a:pt x="277" y="1199"/>
                    <a:pt x="277" y="1257"/>
                  </a:cubicBezTo>
                  <a:cubicBezTo>
                    <a:pt x="277" y="1310"/>
                    <a:pt x="277" y="1340"/>
                    <a:pt x="258" y="1384"/>
                  </a:cubicBezTo>
                  <a:cubicBezTo>
                    <a:pt x="234" y="1427"/>
                    <a:pt x="205" y="1451"/>
                    <a:pt x="205" y="1500"/>
                  </a:cubicBezTo>
                  <a:cubicBezTo>
                    <a:pt x="205" y="1554"/>
                    <a:pt x="234" y="1583"/>
                    <a:pt x="234" y="1641"/>
                  </a:cubicBezTo>
                  <a:cubicBezTo>
                    <a:pt x="234" y="1749"/>
                    <a:pt x="229" y="1807"/>
                    <a:pt x="229" y="1914"/>
                  </a:cubicBezTo>
                  <a:cubicBezTo>
                    <a:pt x="229" y="1919"/>
                    <a:pt x="224" y="1924"/>
                    <a:pt x="224" y="1929"/>
                  </a:cubicBezTo>
                  <a:cubicBezTo>
                    <a:pt x="224" y="1953"/>
                    <a:pt x="229" y="1968"/>
                    <a:pt x="224" y="1992"/>
                  </a:cubicBezTo>
                  <a:lnTo>
                    <a:pt x="224" y="1992"/>
                  </a:lnTo>
                  <a:cubicBezTo>
                    <a:pt x="229" y="1987"/>
                    <a:pt x="239" y="1987"/>
                    <a:pt x="244" y="1982"/>
                  </a:cubicBezTo>
                  <a:cubicBezTo>
                    <a:pt x="317" y="1968"/>
                    <a:pt x="356" y="1963"/>
                    <a:pt x="429" y="1953"/>
                  </a:cubicBezTo>
                  <a:cubicBezTo>
                    <a:pt x="453" y="1948"/>
                    <a:pt x="473" y="1934"/>
                    <a:pt x="497" y="1934"/>
                  </a:cubicBezTo>
                  <a:cubicBezTo>
                    <a:pt x="517" y="1934"/>
                    <a:pt x="531" y="1948"/>
                    <a:pt x="551" y="1953"/>
                  </a:cubicBezTo>
                  <a:cubicBezTo>
                    <a:pt x="594" y="1973"/>
                    <a:pt x="623" y="1978"/>
                    <a:pt x="672" y="1982"/>
                  </a:cubicBezTo>
                  <a:cubicBezTo>
                    <a:pt x="697" y="1987"/>
                    <a:pt x="711" y="2002"/>
                    <a:pt x="741" y="2002"/>
                  </a:cubicBezTo>
                  <a:cubicBezTo>
                    <a:pt x="838" y="2002"/>
                    <a:pt x="896" y="2002"/>
                    <a:pt x="999" y="2002"/>
                  </a:cubicBezTo>
                  <a:cubicBezTo>
                    <a:pt x="994" y="1987"/>
                    <a:pt x="989" y="1978"/>
                    <a:pt x="989" y="1963"/>
                  </a:cubicBezTo>
                  <a:cubicBezTo>
                    <a:pt x="989" y="1948"/>
                    <a:pt x="984" y="1934"/>
                    <a:pt x="994" y="1924"/>
                  </a:cubicBezTo>
                  <a:cubicBezTo>
                    <a:pt x="1004" y="1914"/>
                    <a:pt x="1013" y="1919"/>
                    <a:pt x="1023" y="1919"/>
                  </a:cubicBezTo>
                  <a:cubicBezTo>
                    <a:pt x="1033" y="1914"/>
                    <a:pt x="1033" y="1909"/>
                    <a:pt x="1037" y="1904"/>
                  </a:cubicBezTo>
                  <a:cubicBezTo>
                    <a:pt x="1072" y="1890"/>
                    <a:pt x="1076" y="1851"/>
                    <a:pt x="1111" y="1851"/>
                  </a:cubicBezTo>
                  <a:cubicBezTo>
                    <a:pt x="1125" y="1851"/>
                    <a:pt x="1130" y="1861"/>
                    <a:pt x="1140" y="1865"/>
                  </a:cubicBezTo>
                  <a:cubicBezTo>
                    <a:pt x="1164" y="1880"/>
                    <a:pt x="1179" y="1880"/>
                    <a:pt x="1203" y="1885"/>
                  </a:cubicBezTo>
                  <a:cubicBezTo>
                    <a:pt x="1218" y="1885"/>
                    <a:pt x="1223" y="1880"/>
                    <a:pt x="1237" y="1880"/>
                  </a:cubicBezTo>
                  <a:cubicBezTo>
                    <a:pt x="1247" y="1880"/>
                    <a:pt x="1252" y="1890"/>
                    <a:pt x="1257" y="1895"/>
                  </a:cubicBezTo>
                  <a:cubicBezTo>
                    <a:pt x="1272" y="1904"/>
                    <a:pt x="1276" y="1909"/>
                    <a:pt x="1291" y="1919"/>
                  </a:cubicBezTo>
                  <a:cubicBezTo>
                    <a:pt x="1325" y="1943"/>
                    <a:pt x="1349" y="1958"/>
                    <a:pt x="1393" y="1968"/>
                  </a:cubicBezTo>
                  <a:cubicBezTo>
                    <a:pt x="1398" y="1958"/>
                    <a:pt x="1403" y="1953"/>
                    <a:pt x="1403" y="1943"/>
                  </a:cubicBezTo>
                  <a:cubicBezTo>
                    <a:pt x="1403" y="1929"/>
                    <a:pt x="1393" y="1919"/>
                    <a:pt x="1388" y="1904"/>
                  </a:cubicBezTo>
                  <a:cubicBezTo>
                    <a:pt x="1383" y="1895"/>
                    <a:pt x="1383" y="1885"/>
                    <a:pt x="1379" y="1876"/>
                  </a:cubicBezTo>
                  <a:cubicBezTo>
                    <a:pt x="1364" y="1841"/>
                    <a:pt x="1335" y="1832"/>
                    <a:pt x="1315" y="1802"/>
                  </a:cubicBezTo>
                  <a:cubicBezTo>
                    <a:pt x="1296" y="1768"/>
                    <a:pt x="1296" y="1749"/>
                    <a:pt x="1291" y="1710"/>
                  </a:cubicBezTo>
                  <a:cubicBezTo>
                    <a:pt x="1305" y="1705"/>
                    <a:pt x="1305" y="1705"/>
                    <a:pt x="1305" y="1705"/>
                  </a:cubicBezTo>
                  <a:cubicBezTo>
                    <a:pt x="1325" y="1724"/>
                    <a:pt x="1335" y="1739"/>
                    <a:pt x="1359" y="1749"/>
                  </a:cubicBezTo>
                  <a:cubicBezTo>
                    <a:pt x="1383" y="1763"/>
                    <a:pt x="1403" y="1758"/>
                    <a:pt x="1422" y="1778"/>
                  </a:cubicBezTo>
                  <a:cubicBezTo>
                    <a:pt x="1442" y="1797"/>
                    <a:pt x="1452" y="1821"/>
                    <a:pt x="1457" y="1851"/>
                  </a:cubicBezTo>
                  <a:cubicBezTo>
                    <a:pt x="1461" y="1904"/>
                    <a:pt x="1446" y="1934"/>
                    <a:pt x="1457" y="1987"/>
                  </a:cubicBezTo>
                  <a:cubicBezTo>
                    <a:pt x="1457" y="2002"/>
                    <a:pt x="1461" y="2012"/>
                    <a:pt x="1461" y="2026"/>
                  </a:cubicBezTo>
                  <a:cubicBezTo>
                    <a:pt x="1442" y="2128"/>
                    <a:pt x="1442" y="2128"/>
                    <a:pt x="1442" y="2128"/>
                  </a:cubicBezTo>
                  <a:cubicBezTo>
                    <a:pt x="1471" y="2143"/>
                    <a:pt x="1490" y="2153"/>
                    <a:pt x="1520" y="2167"/>
                  </a:cubicBezTo>
                  <a:cubicBezTo>
                    <a:pt x="1554" y="2187"/>
                    <a:pt x="1568" y="2216"/>
                    <a:pt x="1607" y="2216"/>
                  </a:cubicBezTo>
                  <a:cubicBezTo>
                    <a:pt x="1622" y="2216"/>
                    <a:pt x="1627" y="2211"/>
                    <a:pt x="1642" y="2207"/>
                  </a:cubicBezTo>
                  <a:cubicBezTo>
                    <a:pt x="1656" y="2202"/>
                    <a:pt x="1671" y="2192"/>
                    <a:pt x="1681" y="2177"/>
                  </a:cubicBezTo>
                  <a:cubicBezTo>
                    <a:pt x="1695" y="2158"/>
                    <a:pt x="1700" y="2128"/>
                    <a:pt x="1729" y="2128"/>
                  </a:cubicBezTo>
                  <a:cubicBezTo>
                    <a:pt x="1763" y="2128"/>
                    <a:pt x="1783" y="2133"/>
                    <a:pt x="1817" y="2133"/>
                  </a:cubicBezTo>
                  <a:cubicBezTo>
                    <a:pt x="1847" y="2133"/>
                    <a:pt x="1861" y="2167"/>
                    <a:pt x="1890" y="2167"/>
                  </a:cubicBezTo>
                  <a:cubicBezTo>
                    <a:pt x="1905" y="2167"/>
                    <a:pt x="1910" y="2158"/>
                    <a:pt x="1924" y="2153"/>
                  </a:cubicBezTo>
                  <a:cubicBezTo>
                    <a:pt x="1938" y="2138"/>
                    <a:pt x="1949" y="2133"/>
                    <a:pt x="1968" y="2124"/>
                  </a:cubicBezTo>
                  <a:cubicBezTo>
                    <a:pt x="1993" y="2109"/>
                    <a:pt x="2021" y="2099"/>
                    <a:pt x="2021" y="2065"/>
                  </a:cubicBezTo>
                  <a:cubicBezTo>
                    <a:pt x="2021" y="2012"/>
                    <a:pt x="2012" y="1982"/>
                    <a:pt x="2002" y="1934"/>
                  </a:cubicBezTo>
                  <a:cubicBezTo>
                    <a:pt x="1997" y="1924"/>
                    <a:pt x="2002" y="1909"/>
                    <a:pt x="1993" y="1900"/>
                  </a:cubicBezTo>
                  <a:cubicBezTo>
                    <a:pt x="1988" y="1895"/>
                    <a:pt x="1973" y="1895"/>
                    <a:pt x="1963" y="1895"/>
                  </a:cubicBezTo>
                  <a:cubicBezTo>
                    <a:pt x="1953" y="1890"/>
                    <a:pt x="1944" y="1885"/>
                    <a:pt x="1934" y="1880"/>
                  </a:cubicBezTo>
                  <a:cubicBezTo>
                    <a:pt x="1914" y="1871"/>
                    <a:pt x="1890" y="1871"/>
                    <a:pt x="1890" y="1851"/>
                  </a:cubicBezTo>
                  <a:cubicBezTo>
                    <a:pt x="1890" y="1841"/>
                    <a:pt x="1905" y="1841"/>
                    <a:pt x="1905" y="1836"/>
                  </a:cubicBezTo>
                  <a:cubicBezTo>
                    <a:pt x="1919" y="1773"/>
                    <a:pt x="1919" y="1773"/>
                    <a:pt x="1919" y="1773"/>
                  </a:cubicBezTo>
                  <a:cubicBezTo>
                    <a:pt x="1938" y="1778"/>
                    <a:pt x="1949" y="1788"/>
                    <a:pt x="1963" y="1797"/>
                  </a:cubicBezTo>
                  <a:cubicBezTo>
                    <a:pt x="1983" y="1807"/>
                    <a:pt x="2002" y="1807"/>
                    <a:pt x="2007" y="1821"/>
                  </a:cubicBezTo>
                  <a:cubicBezTo>
                    <a:pt x="2021" y="1846"/>
                    <a:pt x="2021" y="1861"/>
                    <a:pt x="2036" y="1885"/>
                  </a:cubicBezTo>
                  <a:cubicBezTo>
                    <a:pt x="2051" y="1909"/>
                    <a:pt x="2070" y="1914"/>
                    <a:pt x="2095" y="1934"/>
                  </a:cubicBezTo>
                  <a:cubicBezTo>
                    <a:pt x="2119" y="1948"/>
                    <a:pt x="2134" y="1963"/>
                    <a:pt x="2158" y="1973"/>
                  </a:cubicBezTo>
                  <a:cubicBezTo>
                    <a:pt x="2211" y="2002"/>
                    <a:pt x="2250" y="2007"/>
                    <a:pt x="2309" y="2036"/>
                  </a:cubicBezTo>
                  <a:cubicBezTo>
                    <a:pt x="2358" y="2065"/>
                    <a:pt x="2372" y="2104"/>
                    <a:pt x="2406" y="2153"/>
                  </a:cubicBezTo>
                  <a:cubicBezTo>
                    <a:pt x="2436" y="2133"/>
                    <a:pt x="2445" y="2109"/>
                    <a:pt x="2469" y="2085"/>
                  </a:cubicBezTo>
                  <a:cubicBezTo>
                    <a:pt x="2484" y="2075"/>
                    <a:pt x="2489" y="2065"/>
                    <a:pt x="2499" y="2046"/>
                  </a:cubicBezTo>
                  <a:cubicBezTo>
                    <a:pt x="2504" y="2031"/>
                    <a:pt x="2518" y="2022"/>
                    <a:pt x="2518" y="2002"/>
                  </a:cubicBezTo>
                  <a:cubicBezTo>
                    <a:pt x="2518" y="1987"/>
                    <a:pt x="2504" y="1978"/>
                    <a:pt x="2494" y="1968"/>
                  </a:cubicBezTo>
                  <a:cubicBezTo>
                    <a:pt x="2465" y="1924"/>
                    <a:pt x="2441" y="1895"/>
                    <a:pt x="2392" y="1885"/>
                  </a:cubicBezTo>
                  <a:cubicBezTo>
                    <a:pt x="2377" y="1885"/>
                    <a:pt x="2372" y="1890"/>
                    <a:pt x="2358" y="1885"/>
                  </a:cubicBezTo>
                  <a:cubicBezTo>
                    <a:pt x="2328" y="1885"/>
                    <a:pt x="2314" y="1871"/>
                    <a:pt x="2284" y="1856"/>
                  </a:cubicBezTo>
                  <a:cubicBezTo>
                    <a:pt x="2265" y="1851"/>
                    <a:pt x="2245" y="1846"/>
                    <a:pt x="2245" y="1826"/>
                  </a:cubicBezTo>
                  <a:cubicBezTo>
                    <a:pt x="2245" y="1802"/>
                    <a:pt x="2265" y="1793"/>
                    <a:pt x="2265" y="1763"/>
                  </a:cubicBezTo>
                  <a:cubicBezTo>
                    <a:pt x="2265" y="1695"/>
                    <a:pt x="2265" y="1695"/>
                    <a:pt x="2265" y="1695"/>
                  </a:cubicBezTo>
                  <a:cubicBezTo>
                    <a:pt x="2289" y="1695"/>
                    <a:pt x="2304" y="1690"/>
                    <a:pt x="2323" y="1685"/>
                  </a:cubicBezTo>
                  <a:cubicBezTo>
                    <a:pt x="2363" y="1675"/>
                    <a:pt x="2382" y="1675"/>
                    <a:pt x="2416" y="1656"/>
                  </a:cubicBezTo>
                  <a:cubicBezTo>
                    <a:pt x="2421" y="1656"/>
                    <a:pt x="2421" y="1646"/>
                    <a:pt x="2426" y="1641"/>
                  </a:cubicBezTo>
                  <a:cubicBezTo>
                    <a:pt x="2402" y="1617"/>
                    <a:pt x="2397" y="1588"/>
                    <a:pt x="2367" y="1578"/>
                  </a:cubicBezTo>
                  <a:cubicBezTo>
                    <a:pt x="2358" y="1573"/>
                    <a:pt x="2348" y="1573"/>
                    <a:pt x="2338" y="1569"/>
                  </a:cubicBezTo>
                  <a:cubicBezTo>
                    <a:pt x="2323" y="1564"/>
                    <a:pt x="2323" y="1544"/>
                    <a:pt x="2309" y="1544"/>
                  </a:cubicBezTo>
                  <a:cubicBezTo>
                    <a:pt x="2284" y="1544"/>
                    <a:pt x="2275" y="1559"/>
                    <a:pt x="2256" y="1569"/>
                  </a:cubicBezTo>
                  <a:cubicBezTo>
                    <a:pt x="2217" y="1593"/>
                    <a:pt x="2192" y="1603"/>
                    <a:pt x="2148" y="1603"/>
                  </a:cubicBezTo>
                  <a:cubicBezTo>
                    <a:pt x="2104" y="1603"/>
                    <a:pt x="2104" y="1603"/>
                    <a:pt x="2104" y="1603"/>
                  </a:cubicBezTo>
                  <a:cubicBezTo>
                    <a:pt x="2109" y="1583"/>
                    <a:pt x="2124" y="1573"/>
                    <a:pt x="2124" y="1549"/>
                  </a:cubicBezTo>
                  <a:cubicBezTo>
                    <a:pt x="2124" y="1534"/>
                    <a:pt x="2129" y="1520"/>
                    <a:pt x="2114" y="1514"/>
                  </a:cubicBezTo>
                  <a:cubicBezTo>
                    <a:pt x="2095" y="1500"/>
                    <a:pt x="2075" y="1495"/>
                    <a:pt x="2056" y="1486"/>
                  </a:cubicBezTo>
                  <a:cubicBezTo>
                    <a:pt x="2046" y="1500"/>
                    <a:pt x="2036" y="1510"/>
                    <a:pt x="2021" y="1525"/>
                  </a:cubicBezTo>
                  <a:cubicBezTo>
                    <a:pt x="2012" y="1539"/>
                    <a:pt x="2002" y="1564"/>
                    <a:pt x="1983" y="1564"/>
                  </a:cubicBezTo>
                  <a:cubicBezTo>
                    <a:pt x="1890" y="1564"/>
                    <a:pt x="1890" y="1564"/>
                    <a:pt x="1890" y="1564"/>
                  </a:cubicBezTo>
                  <a:cubicBezTo>
                    <a:pt x="1847" y="1564"/>
                    <a:pt x="1812" y="1549"/>
                    <a:pt x="1792" y="1510"/>
                  </a:cubicBezTo>
                  <a:cubicBezTo>
                    <a:pt x="1773" y="1471"/>
                    <a:pt x="1734" y="1461"/>
                    <a:pt x="1734" y="1417"/>
                  </a:cubicBezTo>
                  <a:cubicBezTo>
                    <a:pt x="1768" y="1412"/>
                    <a:pt x="1792" y="1417"/>
                    <a:pt x="1822" y="1408"/>
                  </a:cubicBezTo>
                  <a:cubicBezTo>
                    <a:pt x="1847" y="1403"/>
                    <a:pt x="1851" y="1388"/>
                    <a:pt x="1871" y="1378"/>
                  </a:cubicBezTo>
                  <a:cubicBezTo>
                    <a:pt x="1885" y="1369"/>
                    <a:pt x="1899" y="1364"/>
                    <a:pt x="1914" y="1349"/>
                  </a:cubicBezTo>
                  <a:cubicBezTo>
                    <a:pt x="1934" y="1373"/>
                    <a:pt x="1958" y="1378"/>
                    <a:pt x="1988" y="1388"/>
                  </a:cubicBezTo>
                  <a:cubicBezTo>
                    <a:pt x="2021" y="1403"/>
                    <a:pt x="2041" y="1412"/>
                    <a:pt x="2075" y="1417"/>
                  </a:cubicBezTo>
                  <a:cubicBezTo>
                    <a:pt x="2124" y="1432"/>
                    <a:pt x="2153" y="1451"/>
                    <a:pt x="2197" y="1456"/>
                  </a:cubicBezTo>
                  <a:lnTo>
                    <a:pt x="2197" y="1456"/>
                  </a:lnTo>
                  <a:cubicBezTo>
                    <a:pt x="2197" y="1403"/>
                    <a:pt x="2197" y="1369"/>
                    <a:pt x="2178" y="1315"/>
                  </a:cubicBezTo>
                  <a:cubicBezTo>
                    <a:pt x="2163" y="1276"/>
                    <a:pt x="2138" y="1262"/>
                    <a:pt x="2104" y="1232"/>
                  </a:cubicBezTo>
                  <a:cubicBezTo>
                    <a:pt x="2095" y="1223"/>
                    <a:pt x="2075" y="1213"/>
                    <a:pt x="2075" y="1193"/>
                  </a:cubicBezTo>
                  <a:cubicBezTo>
                    <a:pt x="2075" y="1183"/>
                    <a:pt x="2085" y="1174"/>
                    <a:pt x="2085" y="1164"/>
                  </a:cubicBezTo>
                  <a:cubicBezTo>
                    <a:pt x="2090" y="1130"/>
                    <a:pt x="2090" y="1105"/>
                    <a:pt x="2090" y="1072"/>
                  </a:cubicBezTo>
                  <a:cubicBezTo>
                    <a:pt x="2090" y="1042"/>
                    <a:pt x="2051" y="1047"/>
                    <a:pt x="2031" y="1023"/>
                  </a:cubicBezTo>
                  <a:cubicBezTo>
                    <a:pt x="1233" y="1144"/>
                    <a:pt x="1233" y="1144"/>
                    <a:pt x="1233" y="1144"/>
                  </a:cubicBezTo>
                  <a:cubicBezTo>
                    <a:pt x="1228" y="1135"/>
                    <a:pt x="1218" y="1125"/>
                    <a:pt x="1218" y="1116"/>
                  </a:cubicBezTo>
                  <a:cubicBezTo>
                    <a:pt x="1213" y="1091"/>
                    <a:pt x="1223" y="1077"/>
                    <a:pt x="1213" y="1052"/>
                  </a:cubicBezTo>
                  <a:cubicBezTo>
                    <a:pt x="1208" y="1038"/>
                    <a:pt x="1189" y="1028"/>
                    <a:pt x="1189" y="1008"/>
                  </a:cubicBezTo>
                  <a:cubicBezTo>
                    <a:pt x="1189" y="984"/>
                    <a:pt x="1208" y="974"/>
                    <a:pt x="1223" y="955"/>
                  </a:cubicBezTo>
                  <a:cubicBezTo>
                    <a:pt x="1237" y="940"/>
                    <a:pt x="1242" y="925"/>
                    <a:pt x="1252" y="911"/>
                  </a:cubicBezTo>
                  <a:cubicBezTo>
                    <a:pt x="1262" y="892"/>
                    <a:pt x="1272" y="887"/>
                    <a:pt x="1272" y="867"/>
                  </a:cubicBezTo>
                  <a:cubicBezTo>
                    <a:pt x="1272" y="848"/>
                    <a:pt x="1267" y="838"/>
                    <a:pt x="1257" y="818"/>
                  </a:cubicBezTo>
                  <a:cubicBezTo>
                    <a:pt x="1257" y="813"/>
                    <a:pt x="1242" y="813"/>
                    <a:pt x="1242" y="804"/>
                  </a:cubicBezTo>
                  <a:cubicBezTo>
                    <a:pt x="1242" y="784"/>
                    <a:pt x="1267" y="779"/>
                    <a:pt x="1281" y="770"/>
                  </a:cubicBezTo>
                  <a:cubicBezTo>
                    <a:pt x="1300" y="755"/>
                    <a:pt x="1300" y="731"/>
                    <a:pt x="1305" y="707"/>
                  </a:cubicBezTo>
                  <a:cubicBezTo>
                    <a:pt x="1305" y="696"/>
                    <a:pt x="1305" y="682"/>
                    <a:pt x="1310" y="677"/>
                  </a:cubicBezTo>
                  <a:cubicBezTo>
                    <a:pt x="1320" y="667"/>
                    <a:pt x="1330" y="672"/>
                    <a:pt x="1340" y="667"/>
                  </a:cubicBezTo>
                  <a:cubicBezTo>
                    <a:pt x="1359" y="657"/>
                    <a:pt x="1364" y="638"/>
                    <a:pt x="1374" y="619"/>
                  </a:cubicBezTo>
                  <a:cubicBezTo>
                    <a:pt x="1374" y="614"/>
                    <a:pt x="1379" y="609"/>
                    <a:pt x="1379" y="599"/>
                  </a:cubicBezTo>
                  <a:cubicBezTo>
                    <a:pt x="1379" y="511"/>
                    <a:pt x="1379" y="511"/>
                    <a:pt x="1379" y="511"/>
                  </a:cubicBezTo>
                  <a:cubicBezTo>
                    <a:pt x="1379" y="502"/>
                    <a:pt x="1374" y="497"/>
                    <a:pt x="1374" y="482"/>
                  </a:cubicBezTo>
                  <a:cubicBezTo>
                    <a:pt x="1379" y="478"/>
                    <a:pt x="1383" y="478"/>
                    <a:pt x="1388" y="467"/>
                  </a:cubicBezTo>
                  <a:cubicBezTo>
                    <a:pt x="1398" y="443"/>
                    <a:pt x="1418" y="434"/>
                    <a:pt x="1427" y="409"/>
                  </a:cubicBezTo>
                  <a:cubicBezTo>
                    <a:pt x="1432" y="404"/>
                    <a:pt x="1437" y="400"/>
                    <a:pt x="1437" y="395"/>
                  </a:cubicBezTo>
                  <a:cubicBezTo>
                    <a:pt x="1437" y="302"/>
                    <a:pt x="1437" y="302"/>
                    <a:pt x="1437" y="302"/>
                  </a:cubicBezTo>
                  <a:cubicBezTo>
                    <a:pt x="1437" y="258"/>
                    <a:pt x="1422" y="234"/>
                    <a:pt x="1403" y="200"/>
                  </a:cubicBezTo>
                  <a:cubicBezTo>
                    <a:pt x="1393" y="180"/>
                    <a:pt x="1374" y="175"/>
                    <a:pt x="1374" y="151"/>
                  </a:cubicBezTo>
                  <a:cubicBezTo>
                    <a:pt x="1374" y="136"/>
                    <a:pt x="1379" y="127"/>
                    <a:pt x="1374" y="107"/>
                  </a:cubicBezTo>
                  <a:cubicBezTo>
                    <a:pt x="1374" y="97"/>
                    <a:pt x="1364" y="88"/>
                    <a:pt x="1359" y="78"/>
                  </a:cubicBezTo>
                  <a:cubicBezTo>
                    <a:pt x="1354" y="49"/>
                    <a:pt x="1354" y="30"/>
                    <a:pt x="1349" y="0"/>
                  </a:cubicBezTo>
                  <a:lnTo>
                    <a:pt x="1349" y="0"/>
                  </a:lnTo>
                  <a:cubicBezTo>
                    <a:pt x="0" y="141"/>
                    <a:pt x="0" y="141"/>
                    <a:pt x="0" y="141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</p:grpSp>
      <p:sp>
        <p:nvSpPr>
          <p:cNvPr id="61" name="Shape 2540"/>
          <p:cNvSpPr/>
          <p:nvPr/>
        </p:nvSpPr>
        <p:spPr>
          <a:xfrm>
            <a:off x="1054385" y="5942740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62" name="Shape 2540"/>
          <p:cNvSpPr/>
          <p:nvPr/>
        </p:nvSpPr>
        <p:spPr>
          <a:xfrm>
            <a:off x="1054385" y="7577751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967619" y="5709503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1967619" y="7360519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65" name="Shape 2540"/>
          <p:cNvSpPr/>
          <p:nvPr/>
        </p:nvSpPr>
        <p:spPr>
          <a:xfrm>
            <a:off x="1054385" y="9228767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967619" y="9011535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8E0588A-D479-46ED-B6C8-B11EEF387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United States East Coast Ma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369218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Group 89"/>
          <p:cNvGrpSpPr/>
          <p:nvPr/>
        </p:nvGrpSpPr>
        <p:grpSpPr>
          <a:xfrm>
            <a:off x="2720747" y="4252265"/>
            <a:ext cx="6350122" cy="8501452"/>
            <a:chOff x="3366645" y="2581680"/>
            <a:chExt cx="7359460" cy="9852739"/>
          </a:xfrm>
          <a:solidFill>
            <a:schemeClr val="bg1">
              <a:lumMod val="85000"/>
            </a:schemeClr>
          </a:solidFill>
        </p:grpSpPr>
        <p:sp>
          <p:nvSpPr>
            <p:cNvPr id="91" name="Freeform 90"/>
            <p:cNvSpPr>
              <a:spLocks noChangeArrowheads="1"/>
            </p:cNvSpPr>
            <p:nvPr/>
          </p:nvSpPr>
          <p:spPr bwMode="auto">
            <a:xfrm>
              <a:off x="7853453" y="3772691"/>
              <a:ext cx="1824" cy="182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2" name="Freeform 91"/>
            <p:cNvSpPr>
              <a:spLocks noChangeArrowheads="1"/>
            </p:cNvSpPr>
            <p:nvPr/>
          </p:nvSpPr>
          <p:spPr bwMode="auto">
            <a:xfrm>
              <a:off x="7853453" y="3772691"/>
              <a:ext cx="3648" cy="5471"/>
            </a:xfrm>
            <a:custGeom>
              <a:avLst/>
              <a:gdLst>
                <a:gd name="T0" fmla="*/ 0 w 9"/>
                <a:gd name="T1" fmla="*/ 0 h 16"/>
                <a:gd name="T2" fmla="*/ 0 w 9"/>
                <a:gd name="T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6">
                  <a:moveTo>
                    <a:pt x="0" y="0"/>
                  </a:moveTo>
                  <a:cubicBezTo>
                    <a:pt x="0" y="0"/>
                    <a:pt x="8" y="15"/>
                    <a:pt x="0" y="0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3" name="Freeform 92"/>
            <p:cNvSpPr>
              <a:spLocks noChangeArrowheads="1"/>
            </p:cNvSpPr>
            <p:nvPr/>
          </p:nvSpPr>
          <p:spPr bwMode="auto">
            <a:xfrm>
              <a:off x="7851630" y="3754452"/>
              <a:ext cx="3648" cy="18239"/>
            </a:xfrm>
            <a:custGeom>
              <a:avLst/>
              <a:gdLst>
                <a:gd name="T0" fmla="*/ 7 w 8"/>
                <a:gd name="T1" fmla="*/ 44 h 45"/>
                <a:gd name="T2" fmla="*/ 7 w 8"/>
                <a:gd name="T3" fmla="*/ 44 h 45"/>
                <a:gd name="T4" fmla="*/ 7 w 8"/>
                <a:gd name="T5" fmla="*/ 22 h 45"/>
                <a:gd name="T6" fmla="*/ 0 w 8"/>
                <a:gd name="T7" fmla="*/ 0 h 45"/>
                <a:gd name="T8" fmla="*/ 7 w 8"/>
                <a:gd name="T9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5">
                  <a:moveTo>
                    <a:pt x="7" y="44"/>
                  </a:moveTo>
                  <a:lnTo>
                    <a:pt x="7" y="44"/>
                  </a:lnTo>
                  <a:cubicBezTo>
                    <a:pt x="7" y="37"/>
                    <a:pt x="7" y="30"/>
                    <a:pt x="7" y="22"/>
                  </a:cubicBezTo>
                  <a:cubicBezTo>
                    <a:pt x="7" y="8"/>
                    <a:pt x="0" y="0"/>
                    <a:pt x="0" y="0"/>
                  </a:cubicBezTo>
                  <a:cubicBezTo>
                    <a:pt x="0" y="0"/>
                    <a:pt x="7" y="22"/>
                    <a:pt x="7" y="44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4" name="Freeform 93"/>
            <p:cNvSpPr>
              <a:spLocks noChangeArrowheads="1"/>
            </p:cNvSpPr>
            <p:nvPr/>
          </p:nvSpPr>
          <p:spPr bwMode="auto">
            <a:xfrm>
              <a:off x="3693125" y="9424974"/>
              <a:ext cx="871827" cy="673022"/>
            </a:xfrm>
            <a:custGeom>
              <a:avLst/>
              <a:gdLst>
                <a:gd name="T0" fmla="*/ 2169 w 2266"/>
                <a:gd name="T1" fmla="*/ 923 h 1767"/>
                <a:gd name="T2" fmla="*/ 2169 w 2266"/>
                <a:gd name="T3" fmla="*/ 923 h 1767"/>
                <a:gd name="T4" fmla="*/ 2045 w 2266"/>
                <a:gd name="T5" fmla="*/ 842 h 1767"/>
                <a:gd name="T6" fmla="*/ 1971 w 2266"/>
                <a:gd name="T7" fmla="*/ 725 h 1767"/>
                <a:gd name="T8" fmla="*/ 2023 w 2266"/>
                <a:gd name="T9" fmla="*/ 622 h 1767"/>
                <a:gd name="T10" fmla="*/ 2008 w 2266"/>
                <a:gd name="T11" fmla="*/ 461 h 1767"/>
                <a:gd name="T12" fmla="*/ 2037 w 2266"/>
                <a:gd name="T13" fmla="*/ 337 h 1767"/>
                <a:gd name="T14" fmla="*/ 1935 w 2266"/>
                <a:gd name="T15" fmla="*/ 263 h 1767"/>
                <a:gd name="T16" fmla="*/ 1796 w 2266"/>
                <a:gd name="T17" fmla="*/ 205 h 1767"/>
                <a:gd name="T18" fmla="*/ 1715 w 2266"/>
                <a:gd name="T19" fmla="*/ 183 h 1767"/>
                <a:gd name="T20" fmla="*/ 1583 w 2266"/>
                <a:gd name="T21" fmla="*/ 110 h 1767"/>
                <a:gd name="T22" fmla="*/ 1459 w 2266"/>
                <a:gd name="T23" fmla="*/ 14 h 1767"/>
                <a:gd name="T24" fmla="*/ 1231 w 2266"/>
                <a:gd name="T25" fmla="*/ 66 h 1767"/>
                <a:gd name="T26" fmla="*/ 1034 w 2266"/>
                <a:gd name="T27" fmla="*/ 161 h 1767"/>
                <a:gd name="T28" fmla="*/ 880 w 2266"/>
                <a:gd name="T29" fmla="*/ 241 h 1767"/>
                <a:gd name="T30" fmla="*/ 755 w 2266"/>
                <a:gd name="T31" fmla="*/ 300 h 1767"/>
                <a:gd name="T32" fmla="*/ 609 w 2266"/>
                <a:gd name="T33" fmla="*/ 315 h 1767"/>
                <a:gd name="T34" fmla="*/ 499 w 2266"/>
                <a:gd name="T35" fmla="*/ 373 h 1767"/>
                <a:gd name="T36" fmla="*/ 389 w 2266"/>
                <a:gd name="T37" fmla="*/ 329 h 1767"/>
                <a:gd name="T38" fmla="*/ 132 w 2266"/>
                <a:gd name="T39" fmla="*/ 278 h 1767"/>
                <a:gd name="T40" fmla="*/ 8 w 2266"/>
                <a:gd name="T41" fmla="*/ 300 h 1767"/>
                <a:gd name="T42" fmla="*/ 8 w 2266"/>
                <a:gd name="T43" fmla="*/ 366 h 1767"/>
                <a:gd name="T44" fmla="*/ 132 w 2266"/>
                <a:gd name="T45" fmla="*/ 535 h 1767"/>
                <a:gd name="T46" fmla="*/ 279 w 2266"/>
                <a:gd name="T47" fmla="*/ 586 h 1767"/>
                <a:gd name="T48" fmla="*/ 418 w 2266"/>
                <a:gd name="T49" fmla="*/ 710 h 1767"/>
                <a:gd name="T50" fmla="*/ 469 w 2266"/>
                <a:gd name="T51" fmla="*/ 842 h 1767"/>
                <a:gd name="T52" fmla="*/ 469 w 2266"/>
                <a:gd name="T53" fmla="*/ 908 h 1767"/>
                <a:gd name="T54" fmla="*/ 521 w 2266"/>
                <a:gd name="T55" fmla="*/ 1040 h 1767"/>
                <a:gd name="T56" fmla="*/ 675 w 2266"/>
                <a:gd name="T57" fmla="*/ 1245 h 1767"/>
                <a:gd name="T58" fmla="*/ 770 w 2266"/>
                <a:gd name="T59" fmla="*/ 1370 h 1767"/>
                <a:gd name="T60" fmla="*/ 755 w 2266"/>
                <a:gd name="T61" fmla="*/ 1465 h 1767"/>
                <a:gd name="T62" fmla="*/ 858 w 2266"/>
                <a:gd name="T63" fmla="*/ 1568 h 1767"/>
                <a:gd name="T64" fmla="*/ 968 w 2266"/>
                <a:gd name="T65" fmla="*/ 1619 h 1767"/>
                <a:gd name="T66" fmla="*/ 1063 w 2266"/>
                <a:gd name="T67" fmla="*/ 1495 h 1767"/>
                <a:gd name="T68" fmla="*/ 1041 w 2266"/>
                <a:gd name="T69" fmla="*/ 1392 h 1767"/>
                <a:gd name="T70" fmla="*/ 1231 w 2266"/>
                <a:gd name="T71" fmla="*/ 1385 h 1767"/>
                <a:gd name="T72" fmla="*/ 1400 w 2266"/>
                <a:gd name="T73" fmla="*/ 1472 h 1767"/>
                <a:gd name="T74" fmla="*/ 1459 w 2266"/>
                <a:gd name="T75" fmla="*/ 1656 h 1767"/>
                <a:gd name="T76" fmla="*/ 1561 w 2266"/>
                <a:gd name="T77" fmla="*/ 1663 h 1767"/>
                <a:gd name="T78" fmla="*/ 1664 w 2266"/>
                <a:gd name="T79" fmla="*/ 1663 h 1767"/>
                <a:gd name="T80" fmla="*/ 1913 w 2266"/>
                <a:gd name="T81" fmla="*/ 1736 h 1767"/>
                <a:gd name="T82" fmla="*/ 2037 w 2266"/>
                <a:gd name="T83" fmla="*/ 1714 h 1767"/>
                <a:gd name="T84" fmla="*/ 2125 w 2266"/>
                <a:gd name="T85" fmla="*/ 1619 h 1767"/>
                <a:gd name="T86" fmla="*/ 2111 w 2266"/>
                <a:gd name="T87" fmla="*/ 1538 h 1767"/>
                <a:gd name="T88" fmla="*/ 2008 w 2266"/>
                <a:gd name="T89" fmla="*/ 1436 h 1767"/>
                <a:gd name="T90" fmla="*/ 2037 w 2266"/>
                <a:gd name="T91" fmla="*/ 1311 h 1767"/>
                <a:gd name="T92" fmla="*/ 2133 w 2266"/>
                <a:gd name="T93" fmla="*/ 1209 h 1767"/>
                <a:gd name="T94" fmla="*/ 2206 w 2266"/>
                <a:gd name="T95" fmla="*/ 1165 h 1767"/>
                <a:gd name="T96" fmla="*/ 2257 w 2266"/>
                <a:gd name="T97" fmla="*/ 1003 h 1767"/>
                <a:gd name="T98" fmla="*/ 2169 w 2266"/>
                <a:gd name="T99" fmla="*/ 923 h 1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66" h="1767">
                  <a:moveTo>
                    <a:pt x="2169" y="923"/>
                  </a:moveTo>
                  <a:lnTo>
                    <a:pt x="2169" y="923"/>
                  </a:lnTo>
                  <a:cubicBezTo>
                    <a:pt x="2111" y="930"/>
                    <a:pt x="2052" y="872"/>
                    <a:pt x="2045" y="842"/>
                  </a:cubicBezTo>
                  <a:cubicBezTo>
                    <a:pt x="2037" y="820"/>
                    <a:pt x="2023" y="776"/>
                    <a:pt x="1971" y="725"/>
                  </a:cubicBezTo>
                  <a:cubicBezTo>
                    <a:pt x="1920" y="674"/>
                    <a:pt x="1949" y="652"/>
                    <a:pt x="2023" y="622"/>
                  </a:cubicBezTo>
                  <a:cubicBezTo>
                    <a:pt x="2089" y="600"/>
                    <a:pt x="1994" y="512"/>
                    <a:pt x="2008" y="461"/>
                  </a:cubicBezTo>
                  <a:cubicBezTo>
                    <a:pt x="2030" y="410"/>
                    <a:pt x="2045" y="373"/>
                    <a:pt x="2037" y="337"/>
                  </a:cubicBezTo>
                  <a:cubicBezTo>
                    <a:pt x="2030" y="293"/>
                    <a:pt x="1971" y="249"/>
                    <a:pt x="1935" y="263"/>
                  </a:cubicBezTo>
                  <a:cubicBezTo>
                    <a:pt x="1898" y="286"/>
                    <a:pt x="1832" y="256"/>
                    <a:pt x="1796" y="205"/>
                  </a:cubicBezTo>
                  <a:cubicBezTo>
                    <a:pt x="1766" y="153"/>
                    <a:pt x="1744" y="131"/>
                    <a:pt x="1715" y="183"/>
                  </a:cubicBezTo>
                  <a:cubicBezTo>
                    <a:pt x="1678" y="234"/>
                    <a:pt x="1627" y="139"/>
                    <a:pt x="1583" y="110"/>
                  </a:cubicBezTo>
                  <a:cubicBezTo>
                    <a:pt x="1547" y="88"/>
                    <a:pt x="1510" y="22"/>
                    <a:pt x="1459" y="14"/>
                  </a:cubicBezTo>
                  <a:cubicBezTo>
                    <a:pt x="1407" y="0"/>
                    <a:pt x="1312" y="22"/>
                    <a:pt x="1231" y="66"/>
                  </a:cubicBezTo>
                  <a:cubicBezTo>
                    <a:pt x="1144" y="102"/>
                    <a:pt x="1092" y="131"/>
                    <a:pt x="1034" y="161"/>
                  </a:cubicBezTo>
                  <a:cubicBezTo>
                    <a:pt x="975" y="198"/>
                    <a:pt x="924" y="234"/>
                    <a:pt x="880" y="241"/>
                  </a:cubicBezTo>
                  <a:cubicBezTo>
                    <a:pt x="836" y="249"/>
                    <a:pt x="806" y="263"/>
                    <a:pt x="755" y="300"/>
                  </a:cubicBezTo>
                  <a:cubicBezTo>
                    <a:pt x="704" y="337"/>
                    <a:pt x="653" y="263"/>
                    <a:pt x="609" y="315"/>
                  </a:cubicBezTo>
                  <a:cubicBezTo>
                    <a:pt x="565" y="366"/>
                    <a:pt x="521" y="373"/>
                    <a:pt x="499" y="373"/>
                  </a:cubicBezTo>
                  <a:cubicBezTo>
                    <a:pt x="469" y="373"/>
                    <a:pt x="447" y="315"/>
                    <a:pt x="389" y="329"/>
                  </a:cubicBezTo>
                  <a:cubicBezTo>
                    <a:pt x="330" y="337"/>
                    <a:pt x="206" y="307"/>
                    <a:pt x="132" y="278"/>
                  </a:cubicBezTo>
                  <a:cubicBezTo>
                    <a:pt x="88" y="256"/>
                    <a:pt x="37" y="278"/>
                    <a:pt x="8" y="300"/>
                  </a:cubicBezTo>
                  <a:cubicBezTo>
                    <a:pt x="0" y="322"/>
                    <a:pt x="0" y="344"/>
                    <a:pt x="8" y="366"/>
                  </a:cubicBezTo>
                  <a:cubicBezTo>
                    <a:pt x="30" y="417"/>
                    <a:pt x="30" y="586"/>
                    <a:pt x="132" y="535"/>
                  </a:cubicBezTo>
                  <a:cubicBezTo>
                    <a:pt x="235" y="476"/>
                    <a:pt x="235" y="564"/>
                    <a:pt x="279" y="586"/>
                  </a:cubicBezTo>
                  <a:cubicBezTo>
                    <a:pt x="323" y="615"/>
                    <a:pt x="440" y="659"/>
                    <a:pt x="418" y="710"/>
                  </a:cubicBezTo>
                  <a:cubicBezTo>
                    <a:pt x="396" y="769"/>
                    <a:pt x="425" y="813"/>
                    <a:pt x="469" y="842"/>
                  </a:cubicBezTo>
                  <a:cubicBezTo>
                    <a:pt x="521" y="864"/>
                    <a:pt x="506" y="872"/>
                    <a:pt x="469" y="908"/>
                  </a:cubicBezTo>
                  <a:cubicBezTo>
                    <a:pt x="440" y="938"/>
                    <a:pt x="462" y="974"/>
                    <a:pt x="521" y="1040"/>
                  </a:cubicBezTo>
                  <a:cubicBezTo>
                    <a:pt x="572" y="1113"/>
                    <a:pt x="675" y="1179"/>
                    <a:pt x="675" y="1245"/>
                  </a:cubicBezTo>
                  <a:cubicBezTo>
                    <a:pt x="675" y="1311"/>
                    <a:pt x="711" y="1392"/>
                    <a:pt x="770" y="1370"/>
                  </a:cubicBezTo>
                  <a:cubicBezTo>
                    <a:pt x="821" y="1348"/>
                    <a:pt x="770" y="1392"/>
                    <a:pt x="755" y="1465"/>
                  </a:cubicBezTo>
                  <a:cubicBezTo>
                    <a:pt x="748" y="1531"/>
                    <a:pt x="777" y="1553"/>
                    <a:pt x="858" y="1568"/>
                  </a:cubicBezTo>
                  <a:cubicBezTo>
                    <a:pt x="938" y="1575"/>
                    <a:pt x="924" y="1619"/>
                    <a:pt x="968" y="1619"/>
                  </a:cubicBezTo>
                  <a:cubicBezTo>
                    <a:pt x="1019" y="1619"/>
                    <a:pt x="1070" y="1538"/>
                    <a:pt x="1063" y="1495"/>
                  </a:cubicBezTo>
                  <a:cubicBezTo>
                    <a:pt x="1048" y="1450"/>
                    <a:pt x="997" y="1407"/>
                    <a:pt x="1041" y="1392"/>
                  </a:cubicBezTo>
                  <a:cubicBezTo>
                    <a:pt x="1085" y="1385"/>
                    <a:pt x="1173" y="1348"/>
                    <a:pt x="1231" y="1385"/>
                  </a:cubicBezTo>
                  <a:cubicBezTo>
                    <a:pt x="1290" y="1414"/>
                    <a:pt x="1371" y="1392"/>
                    <a:pt x="1400" y="1472"/>
                  </a:cubicBezTo>
                  <a:cubicBezTo>
                    <a:pt x="1437" y="1553"/>
                    <a:pt x="1437" y="1590"/>
                    <a:pt x="1459" y="1656"/>
                  </a:cubicBezTo>
                  <a:cubicBezTo>
                    <a:pt x="1480" y="1722"/>
                    <a:pt x="1561" y="1722"/>
                    <a:pt x="1561" y="1663"/>
                  </a:cubicBezTo>
                  <a:cubicBezTo>
                    <a:pt x="1561" y="1612"/>
                    <a:pt x="1605" y="1619"/>
                    <a:pt x="1664" y="1663"/>
                  </a:cubicBezTo>
                  <a:cubicBezTo>
                    <a:pt x="1722" y="1714"/>
                    <a:pt x="1854" y="1766"/>
                    <a:pt x="1913" y="1736"/>
                  </a:cubicBezTo>
                  <a:cubicBezTo>
                    <a:pt x="1971" y="1700"/>
                    <a:pt x="1979" y="1766"/>
                    <a:pt x="2037" y="1714"/>
                  </a:cubicBezTo>
                  <a:cubicBezTo>
                    <a:pt x="2067" y="1678"/>
                    <a:pt x="2103" y="1641"/>
                    <a:pt x="2125" y="1619"/>
                  </a:cubicBezTo>
                  <a:cubicBezTo>
                    <a:pt x="2118" y="1582"/>
                    <a:pt x="2118" y="1560"/>
                    <a:pt x="2111" y="1538"/>
                  </a:cubicBezTo>
                  <a:cubicBezTo>
                    <a:pt x="2103" y="1502"/>
                    <a:pt x="2052" y="1487"/>
                    <a:pt x="2008" y="1436"/>
                  </a:cubicBezTo>
                  <a:cubicBezTo>
                    <a:pt x="1971" y="1392"/>
                    <a:pt x="1994" y="1370"/>
                    <a:pt x="2037" y="1311"/>
                  </a:cubicBezTo>
                  <a:cubicBezTo>
                    <a:pt x="2081" y="1253"/>
                    <a:pt x="2089" y="1245"/>
                    <a:pt x="2133" y="1209"/>
                  </a:cubicBezTo>
                  <a:cubicBezTo>
                    <a:pt x="2169" y="1179"/>
                    <a:pt x="2169" y="1201"/>
                    <a:pt x="2206" y="1165"/>
                  </a:cubicBezTo>
                  <a:cubicBezTo>
                    <a:pt x="2243" y="1136"/>
                    <a:pt x="2250" y="1055"/>
                    <a:pt x="2257" y="1003"/>
                  </a:cubicBezTo>
                  <a:cubicBezTo>
                    <a:pt x="2265" y="952"/>
                    <a:pt x="2235" y="916"/>
                    <a:pt x="2169" y="923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5" name="Freeform 94"/>
            <p:cNvSpPr>
              <a:spLocks noChangeArrowheads="1"/>
            </p:cNvSpPr>
            <p:nvPr/>
          </p:nvSpPr>
          <p:spPr bwMode="auto">
            <a:xfrm>
              <a:off x="4595957" y="9242584"/>
              <a:ext cx="2558940" cy="2910954"/>
            </a:xfrm>
            <a:custGeom>
              <a:avLst/>
              <a:gdLst>
                <a:gd name="T0" fmla="*/ 3824 w 6660"/>
                <a:gd name="T1" fmla="*/ 7181 h 7659"/>
                <a:gd name="T2" fmla="*/ 3055 w 6660"/>
                <a:gd name="T3" fmla="*/ 7079 h 7659"/>
                <a:gd name="T4" fmla="*/ 2916 w 6660"/>
                <a:gd name="T5" fmla="*/ 7064 h 7659"/>
                <a:gd name="T6" fmla="*/ 2637 w 6660"/>
                <a:gd name="T7" fmla="*/ 6932 h 7659"/>
                <a:gd name="T8" fmla="*/ 2506 w 6660"/>
                <a:gd name="T9" fmla="*/ 6727 h 7659"/>
                <a:gd name="T10" fmla="*/ 2125 w 6660"/>
                <a:gd name="T11" fmla="*/ 6896 h 7659"/>
                <a:gd name="T12" fmla="*/ 2403 w 6660"/>
                <a:gd name="T13" fmla="*/ 7013 h 7659"/>
                <a:gd name="T14" fmla="*/ 2403 w 6660"/>
                <a:gd name="T15" fmla="*/ 7306 h 7659"/>
                <a:gd name="T16" fmla="*/ 2146 w 6660"/>
                <a:gd name="T17" fmla="*/ 7394 h 7659"/>
                <a:gd name="T18" fmla="*/ 930 w 6660"/>
                <a:gd name="T19" fmla="*/ 7475 h 7659"/>
                <a:gd name="T20" fmla="*/ 344 w 6660"/>
                <a:gd name="T21" fmla="*/ 7467 h 7659"/>
                <a:gd name="T22" fmla="*/ 263 w 6660"/>
                <a:gd name="T23" fmla="*/ 7379 h 7659"/>
                <a:gd name="T24" fmla="*/ 80 w 6660"/>
                <a:gd name="T25" fmla="*/ 6786 h 7659"/>
                <a:gd name="T26" fmla="*/ 271 w 6660"/>
                <a:gd name="T27" fmla="*/ 5994 h 7659"/>
                <a:gd name="T28" fmla="*/ 366 w 6660"/>
                <a:gd name="T29" fmla="*/ 5203 h 7659"/>
                <a:gd name="T30" fmla="*/ 593 w 6660"/>
                <a:gd name="T31" fmla="*/ 4448 h 7659"/>
                <a:gd name="T32" fmla="*/ 1157 w 6660"/>
                <a:gd name="T33" fmla="*/ 3415 h 7659"/>
                <a:gd name="T34" fmla="*/ 1604 w 6660"/>
                <a:gd name="T35" fmla="*/ 2777 h 7659"/>
                <a:gd name="T36" fmla="*/ 1963 w 6660"/>
                <a:gd name="T37" fmla="*/ 2184 h 7659"/>
                <a:gd name="T38" fmla="*/ 2205 w 6660"/>
                <a:gd name="T39" fmla="*/ 1664 h 7659"/>
                <a:gd name="T40" fmla="*/ 2271 w 6660"/>
                <a:gd name="T41" fmla="*/ 1217 h 7659"/>
                <a:gd name="T42" fmla="*/ 2103 w 6660"/>
                <a:gd name="T43" fmla="*/ 704 h 7659"/>
                <a:gd name="T44" fmla="*/ 2183 w 6660"/>
                <a:gd name="T45" fmla="*/ 667 h 7659"/>
                <a:gd name="T46" fmla="*/ 2506 w 6660"/>
                <a:gd name="T47" fmla="*/ 616 h 7659"/>
                <a:gd name="T48" fmla="*/ 2975 w 6660"/>
                <a:gd name="T49" fmla="*/ 880 h 7659"/>
                <a:gd name="T50" fmla="*/ 3055 w 6660"/>
                <a:gd name="T51" fmla="*/ 1092 h 7659"/>
                <a:gd name="T52" fmla="*/ 3187 w 6660"/>
                <a:gd name="T53" fmla="*/ 1165 h 7659"/>
                <a:gd name="T54" fmla="*/ 3444 w 6660"/>
                <a:gd name="T55" fmla="*/ 953 h 7659"/>
                <a:gd name="T56" fmla="*/ 3583 w 6660"/>
                <a:gd name="T57" fmla="*/ 748 h 7659"/>
                <a:gd name="T58" fmla="*/ 3766 w 6660"/>
                <a:gd name="T59" fmla="*/ 740 h 7659"/>
                <a:gd name="T60" fmla="*/ 4227 w 6660"/>
                <a:gd name="T61" fmla="*/ 447 h 7659"/>
                <a:gd name="T62" fmla="*/ 4081 w 6660"/>
                <a:gd name="T63" fmla="*/ 257 h 7659"/>
                <a:gd name="T64" fmla="*/ 4337 w 6660"/>
                <a:gd name="T65" fmla="*/ 66 h 7659"/>
                <a:gd name="T66" fmla="*/ 4506 w 6660"/>
                <a:gd name="T67" fmla="*/ 103 h 7659"/>
                <a:gd name="T68" fmla="*/ 4733 w 6660"/>
                <a:gd name="T69" fmla="*/ 8 h 7659"/>
                <a:gd name="T70" fmla="*/ 4909 w 6660"/>
                <a:gd name="T71" fmla="*/ 308 h 7659"/>
                <a:gd name="T72" fmla="*/ 5173 w 6660"/>
                <a:gd name="T73" fmla="*/ 403 h 7659"/>
                <a:gd name="T74" fmla="*/ 5187 w 6660"/>
                <a:gd name="T75" fmla="*/ 777 h 7659"/>
                <a:gd name="T76" fmla="*/ 5495 w 6660"/>
                <a:gd name="T77" fmla="*/ 997 h 7659"/>
                <a:gd name="T78" fmla="*/ 5774 w 6660"/>
                <a:gd name="T79" fmla="*/ 1070 h 7659"/>
                <a:gd name="T80" fmla="*/ 5876 w 6660"/>
                <a:gd name="T81" fmla="*/ 1341 h 7659"/>
                <a:gd name="T82" fmla="*/ 6111 w 6660"/>
                <a:gd name="T83" fmla="*/ 2155 h 7659"/>
                <a:gd name="T84" fmla="*/ 6162 w 6660"/>
                <a:gd name="T85" fmla="*/ 2477 h 7659"/>
                <a:gd name="T86" fmla="*/ 6505 w 6660"/>
                <a:gd name="T87" fmla="*/ 3488 h 7659"/>
                <a:gd name="T88" fmla="*/ 6513 w 6660"/>
                <a:gd name="T89" fmla="*/ 3730 h 7659"/>
                <a:gd name="T90" fmla="*/ 6140 w 6660"/>
                <a:gd name="T91" fmla="*/ 3730 h 7659"/>
                <a:gd name="T92" fmla="*/ 6265 w 6660"/>
                <a:gd name="T93" fmla="*/ 4214 h 7659"/>
                <a:gd name="T94" fmla="*/ 6162 w 6660"/>
                <a:gd name="T95" fmla="*/ 4316 h 7659"/>
                <a:gd name="T96" fmla="*/ 5810 w 6660"/>
                <a:gd name="T97" fmla="*/ 4390 h 7659"/>
                <a:gd name="T98" fmla="*/ 5759 w 6660"/>
                <a:gd name="T99" fmla="*/ 5013 h 7659"/>
                <a:gd name="T100" fmla="*/ 5803 w 6660"/>
                <a:gd name="T101" fmla="*/ 6053 h 7659"/>
                <a:gd name="T102" fmla="*/ 5876 w 6660"/>
                <a:gd name="T103" fmla="*/ 6595 h 7659"/>
                <a:gd name="T104" fmla="*/ 5781 w 6660"/>
                <a:gd name="T105" fmla="*/ 7079 h 7659"/>
                <a:gd name="T106" fmla="*/ 5202 w 6660"/>
                <a:gd name="T107" fmla="*/ 7152 h 7659"/>
                <a:gd name="T108" fmla="*/ 4806 w 6660"/>
                <a:gd name="T109" fmla="*/ 7394 h 7659"/>
                <a:gd name="T110" fmla="*/ 4982 w 6660"/>
                <a:gd name="T111" fmla="*/ 7599 h 7659"/>
                <a:gd name="T112" fmla="*/ 4462 w 6660"/>
                <a:gd name="T113" fmla="*/ 7658 h 7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660" h="7659">
                  <a:moveTo>
                    <a:pt x="4462" y="7658"/>
                  </a:moveTo>
                  <a:lnTo>
                    <a:pt x="4462" y="7658"/>
                  </a:lnTo>
                  <a:cubicBezTo>
                    <a:pt x="4455" y="7658"/>
                    <a:pt x="4440" y="7658"/>
                    <a:pt x="4433" y="7658"/>
                  </a:cubicBezTo>
                  <a:cubicBezTo>
                    <a:pt x="4367" y="7650"/>
                    <a:pt x="4301" y="7548"/>
                    <a:pt x="4213" y="7350"/>
                  </a:cubicBezTo>
                  <a:cubicBezTo>
                    <a:pt x="4191" y="7306"/>
                    <a:pt x="4037" y="7255"/>
                    <a:pt x="3934" y="7218"/>
                  </a:cubicBezTo>
                  <a:cubicBezTo>
                    <a:pt x="3883" y="7203"/>
                    <a:pt x="3846" y="7189"/>
                    <a:pt x="3824" y="7181"/>
                  </a:cubicBezTo>
                  <a:cubicBezTo>
                    <a:pt x="3766" y="7145"/>
                    <a:pt x="3619" y="7086"/>
                    <a:pt x="3509" y="7064"/>
                  </a:cubicBezTo>
                  <a:cubicBezTo>
                    <a:pt x="3495" y="7064"/>
                    <a:pt x="3473" y="7057"/>
                    <a:pt x="3451" y="7057"/>
                  </a:cubicBezTo>
                  <a:cubicBezTo>
                    <a:pt x="3377" y="7057"/>
                    <a:pt x="3304" y="7086"/>
                    <a:pt x="3231" y="7130"/>
                  </a:cubicBezTo>
                  <a:cubicBezTo>
                    <a:pt x="3194" y="7152"/>
                    <a:pt x="3165" y="7167"/>
                    <a:pt x="3136" y="7167"/>
                  </a:cubicBezTo>
                  <a:cubicBezTo>
                    <a:pt x="3106" y="7167"/>
                    <a:pt x="3084" y="7152"/>
                    <a:pt x="3070" y="7137"/>
                  </a:cubicBezTo>
                  <a:cubicBezTo>
                    <a:pt x="3055" y="7123"/>
                    <a:pt x="3055" y="7101"/>
                    <a:pt x="3055" y="7079"/>
                  </a:cubicBezTo>
                  <a:cubicBezTo>
                    <a:pt x="3070" y="7027"/>
                    <a:pt x="3055" y="6991"/>
                    <a:pt x="2975" y="6940"/>
                  </a:cubicBezTo>
                  <a:cubicBezTo>
                    <a:pt x="2938" y="6918"/>
                    <a:pt x="2916" y="6910"/>
                    <a:pt x="2908" y="6910"/>
                  </a:cubicBezTo>
                  <a:cubicBezTo>
                    <a:pt x="2901" y="6910"/>
                    <a:pt x="2901" y="6910"/>
                    <a:pt x="2901" y="6910"/>
                  </a:cubicBezTo>
                  <a:cubicBezTo>
                    <a:pt x="2894" y="6918"/>
                    <a:pt x="2901" y="6925"/>
                    <a:pt x="2916" y="6940"/>
                  </a:cubicBezTo>
                  <a:cubicBezTo>
                    <a:pt x="2945" y="6969"/>
                    <a:pt x="2960" y="7013"/>
                    <a:pt x="2953" y="7042"/>
                  </a:cubicBezTo>
                  <a:cubicBezTo>
                    <a:pt x="2945" y="7057"/>
                    <a:pt x="2930" y="7064"/>
                    <a:pt x="2916" y="7064"/>
                  </a:cubicBezTo>
                  <a:cubicBezTo>
                    <a:pt x="2894" y="7064"/>
                    <a:pt x="2879" y="7057"/>
                    <a:pt x="2857" y="7042"/>
                  </a:cubicBezTo>
                  <a:cubicBezTo>
                    <a:pt x="2843" y="7035"/>
                    <a:pt x="2821" y="7020"/>
                    <a:pt x="2799" y="7020"/>
                  </a:cubicBezTo>
                  <a:cubicBezTo>
                    <a:pt x="2799" y="7020"/>
                    <a:pt x="2799" y="7020"/>
                    <a:pt x="2791" y="7020"/>
                  </a:cubicBezTo>
                  <a:cubicBezTo>
                    <a:pt x="2784" y="7027"/>
                    <a:pt x="2769" y="7027"/>
                    <a:pt x="2755" y="7027"/>
                  </a:cubicBezTo>
                  <a:cubicBezTo>
                    <a:pt x="2733" y="7027"/>
                    <a:pt x="2674" y="7020"/>
                    <a:pt x="2645" y="6984"/>
                  </a:cubicBezTo>
                  <a:cubicBezTo>
                    <a:pt x="2637" y="6976"/>
                    <a:pt x="2630" y="6962"/>
                    <a:pt x="2637" y="6932"/>
                  </a:cubicBezTo>
                  <a:cubicBezTo>
                    <a:pt x="2652" y="6888"/>
                    <a:pt x="2689" y="6874"/>
                    <a:pt x="2718" y="6859"/>
                  </a:cubicBezTo>
                  <a:cubicBezTo>
                    <a:pt x="2740" y="6844"/>
                    <a:pt x="2769" y="6837"/>
                    <a:pt x="2791" y="6808"/>
                  </a:cubicBezTo>
                  <a:cubicBezTo>
                    <a:pt x="2791" y="6800"/>
                    <a:pt x="2791" y="6793"/>
                    <a:pt x="2791" y="6793"/>
                  </a:cubicBezTo>
                  <a:cubicBezTo>
                    <a:pt x="2777" y="6756"/>
                    <a:pt x="2689" y="6713"/>
                    <a:pt x="2623" y="6690"/>
                  </a:cubicBezTo>
                  <a:cubicBezTo>
                    <a:pt x="2615" y="6742"/>
                    <a:pt x="2579" y="6778"/>
                    <a:pt x="2549" y="6778"/>
                  </a:cubicBezTo>
                  <a:cubicBezTo>
                    <a:pt x="2542" y="6778"/>
                    <a:pt x="2513" y="6778"/>
                    <a:pt x="2506" y="6727"/>
                  </a:cubicBezTo>
                  <a:cubicBezTo>
                    <a:pt x="2498" y="6698"/>
                    <a:pt x="2484" y="6661"/>
                    <a:pt x="2454" y="6661"/>
                  </a:cubicBezTo>
                  <a:cubicBezTo>
                    <a:pt x="2439" y="6661"/>
                    <a:pt x="2417" y="6668"/>
                    <a:pt x="2403" y="6676"/>
                  </a:cubicBezTo>
                  <a:cubicBezTo>
                    <a:pt x="2366" y="6698"/>
                    <a:pt x="2322" y="6713"/>
                    <a:pt x="2286" y="6720"/>
                  </a:cubicBezTo>
                  <a:cubicBezTo>
                    <a:pt x="2242" y="6727"/>
                    <a:pt x="2205" y="6734"/>
                    <a:pt x="2205" y="6749"/>
                  </a:cubicBezTo>
                  <a:cubicBezTo>
                    <a:pt x="2198" y="6756"/>
                    <a:pt x="2198" y="6764"/>
                    <a:pt x="2198" y="6778"/>
                  </a:cubicBezTo>
                  <a:cubicBezTo>
                    <a:pt x="2190" y="6822"/>
                    <a:pt x="2183" y="6874"/>
                    <a:pt x="2125" y="6896"/>
                  </a:cubicBezTo>
                  <a:cubicBezTo>
                    <a:pt x="2103" y="6903"/>
                    <a:pt x="2088" y="6932"/>
                    <a:pt x="2080" y="6962"/>
                  </a:cubicBezTo>
                  <a:cubicBezTo>
                    <a:pt x="2066" y="7006"/>
                    <a:pt x="2073" y="7049"/>
                    <a:pt x="2095" y="7079"/>
                  </a:cubicBezTo>
                  <a:cubicBezTo>
                    <a:pt x="2132" y="7115"/>
                    <a:pt x="2168" y="7123"/>
                    <a:pt x="2198" y="7123"/>
                  </a:cubicBezTo>
                  <a:cubicBezTo>
                    <a:pt x="2234" y="7123"/>
                    <a:pt x="2271" y="7108"/>
                    <a:pt x="2293" y="7094"/>
                  </a:cubicBezTo>
                  <a:cubicBezTo>
                    <a:pt x="2308" y="7086"/>
                    <a:pt x="2315" y="7072"/>
                    <a:pt x="2330" y="7064"/>
                  </a:cubicBezTo>
                  <a:cubicBezTo>
                    <a:pt x="2344" y="7042"/>
                    <a:pt x="2359" y="7013"/>
                    <a:pt x="2403" y="7013"/>
                  </a:cubicBezTo>
                  <a:cubicBezTo>
                    <a:pt x="2425" y="7013"/>
                    <a:pt x="2447" y="7020"/>
                    <a:pt x="2476" y="7035"/>
                  </a:cubicBezTo>
                  <a:cubicBezTo>
                    <a:pt x="2520" y="7057"/>
                    <a:pt x="2542" y="7079"/>
                    <a:pt x="2549" y="7094"/>
                  </a:cubicBezTo>
                  <a:cubicBezTo>
                    <a:pt x="2557" y="7115"/>
                    <a:pt x="2542" y="7137"/>
                    <a:pt x="2535" y="7152"/>
                  </a:cubicBezTo>
                  <a:cubicBezTo>
                    <a:pt x="2520" y="7174"/>
                    <a:pt x="2513" y="7189"/>
                    <a:pt x="2513" y="7211"/>
                  </a:cubicBezTo>
                  <a:cubicBezTo>
                    <a:pt x="2498" y="7284"/>
                    <a:pt x="2447" y="7306"/>
                    <a:pt x="2417" y="7306"/>
                  </a:cubicBezTo>
                  <a:cubicBezTo>
                    <a:pt x="2403" y="7306"/>
                    <a:pt x="2403" y="7306"/>
                    <a:pt x="2403" y="7306"/>
                  </a:cubicBezTo>
                  <a:cubicBezTo>
                    <a:pt x="2403" y="7291"/>
                    <a:pt x="2403" y="7291"/>
                    <a:pt x="2403" y="7291"/>
                  </a:cubicBezTo>
                  <a:cubicBezTo>
                    <a:pt x="2396" y="7277"/>
                    <a:pt x="2352" y="7233"/>
                    <a:pt x="2286" y="7233"/>
                  </a:cubicBezTo>
                  <a:cubicBezTo>
                    <a:pt x="2264" y="7233"/>
                    <a:pt x="2249" y="7240"/>
                    <a:pt x="2227" y="7247"/>
                  </a:cubicBezTo>
                  <a:cubicBezTo>
                    <a:pt x="2139" y="7284"/>
                    <a:pt x="2154" y="7372"/>
                    <a:pt x="2161" y="7379"/>
                  </a:cubicBezTo>
                  <a:cubicBezTo>
                    <a:pt x="2161" y="7394"/>
                    <a:pt x="2161" y="7394"/>
                    <a:pt x="2161" y="7394"/>
                  </a:cubicBezTo>
                  <a:cubicBezTo>
                    <a:pt x="2146" y="7394"/>
                    <a:pt x="2146" y="7394"/>
                    <a:pt x="2146" y="7394"/>
                  </a:cubicBezTo>
                  <a:cubicBezTo>
                    <a:pt x="2073" y="7408"/>
                    <a:pt x="2015" y="7416"/>
                    <a:pt x="1971" y="7416"/>
                  </a:cubicBezTo>
                  <a:cubicBezTo>
                    <a:pt x="1861" y="7416"/>
                    <a:pt x="1795" y="7372"/>
                    <a:pt x="1758" y="7284"/>
                  </a:cubicBezTo>
                  <a:cubicBezTo>
                    <a:pt x="1744" y="7262"/>
                    <a:pt x="1722" y="7255"/>
                    <a:pt x="1685" y="7255"/>
                  </a:cubicBezTo>
                  <a:cubicBezTo>
                    <a:pt x="1589" y="7255"/>
                    <a:pt x="1436" y="7328"/>
                    <a:pt x="1370" y="7394"/>
                  </a:cubicBezTo>
                  <a:cubicBezTo>
                    <a:pt x="1289" y="7475"/>
                    <a:pt x="1055" y="7482"/>
                    <a:pt x="1011" y="7482"/>
                  </a:cubicBezTo>
                  <a:cubicBezTo>
                    <a:pt x="974" y="7482"/>
                    <a:pt x="937" y="7475"/>
                    <a:pt x="930" y="7475"/>
                  </a:cubicBezTo>
                  <a:cubicBezTo>
                    <a:pt x="894" y="7467"/>
                    <a:pt x="886" y="7431"/>
                    <a:pt x="879" y="7394"/>
                  </a:cubicBezTo>
                  <a:cubicBezTo>
                    <a:pt x="864" y="7357"/>
                    <a:pt x="857" y="7328"/>
                    <a:pt x="842" y="7328"/>
                  </a:cubicBezTo>
                  <a:cubicBezTo>
                    <a:pt x="806" y="7328"/>
                    <a:pt x="725" y="7379"/>
                    <a:pt x="652" y="7416"/>
                  </a:cubicBezTo>
                  <a:cubicBezTo>
                    <a:pt x="600" y="7445"/>
                    <a:pt x="549" y="7482"/>
                    <a:pt x="505" y="7496"/>
                  </a:cubicBezTo>
                  <a:cubicBezTo>
                    <a:pt x="483" y="7504"/>
                    <a:pt x="461" y="7511"/>
                    <a:pt x="432" y="7511"/>
                  </a:cubicBezTo>
                  <a:cubicBezTo>
                    <a:pt x="395" y="7511"/>
                    <a:pt x="358" y="7496"/>
                    <a:pt x="344" y="7467"/>
                  </a:cubicBezTo>
                  <a:cubicBezTo>
                    <a:pt x="329" y="7445"/>
                    <a:pt x="329" y="7423"/>
                    <a:pt x="337" y="7408"/>
                  </a:cubicBezTo>
                  <a:cubicBezTo>
                    <a:pt x="344" y="7387"/>
                    <a:pt x="358" y="7372"/>
                    <a:pt x="373" y="7357"/>
                  </a:cubicBezTo>
                  <a:cubicBezTo>
                    <a:pt x="395" y="7335"/>
                    <a:pt x="410" y="7306"/>
                    <a:pt x="403" y="7291"/>
                  </a:cubicBezTo>
                  <a:cubicBezTo>
                    <a:pt x="403" y="7284"/>
                    <a:pt x="403" y="7284"/>
                    <a:pt x="395" y="7284"/>
                  </a:cubicBezTo>
                  <a:cubicBezTo>
                    <a:pt x="395" y="7284"/>
                    <a:pt x="373" y="7284"/>
                    <a:pt x="344" y="7335"/>
                  </a:cubicBezTo>
                  <a:cubicBezTo>
                    <a:pt x="322" y="7365"/>
                    <a:pt x="293" y="7379"/>
                    <a:pt x="263" y="7379"/>
                  </a:cubicBezTo>
                  <a:cubicBezTo>
                    <a:pt x="227" y="7379"/>
                    <a:pt x="197" y="7350"/>
                    <a:pt x="190" y="7328"/>
                  </a:cubicBezTo>
                  <a:cubicBezTo>
                    <a:pt x="190" y="7321"/>
                    <a:pt x="183" y="7306"/>
                    <a:pt x="183" y="7291"/>
                  </a:cubicBezTo>
                  <a:cubicBezTo>
                    <a:pt x="183" y="7262"/>
                    <a:pt x="183" y="7211"/>
                    <a:pt x="117" y="7152"/>
                  </a:cubicBezTo>
                  <a:cubicBezTo>
                    <a:pt x="29" y="7079"/>
                    <a:pt x="0" y="6991"/>
                    <a:pt x="44" y="6910"/>
                  </a:cubicBezTo>
                  <a:cubicBezTo>
                    <a:pt x="51" y="6896"/>
                    <a:pt x="58" y="6881"/>
                    <a:pt x="65" y="6866"/>
                  </a:cubicBezTo>
                  <a:cubicBezTo>
                    <a:pt x="87" y="6830"/>
                    <a:pt x="95" y="6822"/>
                    <a:pt x="80" y="6786"/>
                  </a:cubicBezTo>
                  <a:cubicBezTo>
                    <a:pt x="51" y="6720"/>
                    <a:pt x="58" y="6654"/>
                    <a:pt x="102" y="6588"/>
                  </a:cubicBezTo>
                  <a:cubicBezTo>
                    <a:pt x="117" y="6566"/>
                    <a:pt x="117" y="6566"/>
                    <a:pt x="117" y="6566"/>
                  </a:cubicBezTo>
                  <a:cubicBezTo>
                    <a:pt x="146" y="6522"/>
                    <a:pt x="153" y="6515"/>
                    <a:pt x="132" y="6456"/>
                  </a:cubicBezTo>
                  <a:cubicBezTo>
                    <a:pt x="109" y="6383"/>
                    <a:pt x="161" y="6309"/>
                    <a:pt x="175" y="6287"/>
                  </a:cubicBezTo>
                  <a:cubicBezTo>
                    <a:pt x="168" y="6236"/>
                    <a:pt x="190" y="6170"/>
                    <a:pt x="241" y="6126"/>
                  </a:cubicBezTo>
                  <a:cubicBezTo>
                    <a:pt x="278" y="6082"/>
                    <a:pt x="293" y="6031"/>
                    <a:pt x="271" y="5994"/>
                  </a:cubicBezTo>
                  <a:cubicBezTo>
                    <a:pt x="263" y="5980"/>
                    <a:pt x="256" y="5972"/>
                    <a:pt x="249" y="5958"/>
                  </a:cubicBezTo>
                  <a:cubicBezTo>
                    <a:pt x="219" y="5906"/>
                    <a:pt x="183" y="5840"/>
                    <a:pt x="168" y="5760"/>
                  </a:cubicBezTo>
                  <a:cubicBezTo>
                    <a:pt x="146" y="5650"/>
                    <a:pt x="183" y="5547"/>
                    <a:pt x="212" y="5503"/>
                  </a:cubicBezTo>
                  <a:cubicBezTo>
                    <a:pt x="234" y="5481"/>
                    <a:pt x="241" y="5452"/>
                    <a:pt x="256" y="5415"/>
                  </a:cubicBezTo>
                  <a:cubicBezTo>
                    <a:pt x="271" y="5386"/>
                    <a:pt x="285" y="5342"/>
                    <a:pt x="315" y="5291"/>
                  </a:cubicBezTo>
                  <a:cubicBezTo>
                    <a:pt x="337" y="5254"/>
                    <a:pt x="351" y="5225"/>
                    <a:pt x="366" y="5203"/>
                  </a:cubicBezTo>
                  <a:cubicBezTo>
                    <a:pt x="403" y="5152"/>
                    <a:pt x="425" y="5115"/>
                    <a:pt x="439" y="5049"/>
                  </a:cubicBezTo>
                  <a:cubicBezTo>
                    <a:pt x="461" y="4961"/>
                    <a:pt x="498" y="4932"/>
                    <a:pt x="542" y="4903"/>
                  </a:cubicBezTo>
                  <a:cubicBezTo>
                    <a:pt x="549" y="4895"/>
                    <a:pt x="549" y="4895"/>
                    <a:pt x="549" y="4895"/>
                  </a:cubicBezTo>
                  <a:cubicBezTo>
                    <a:pt x="571" y="4881"/>
                    <a:pt x="571" y="4771"/>
                    <a:pt x="571" y="4690"/>
                  </a:cubicBezTo>
                  <a:cubicBezTo>
                    <a:pt x="578" y="4624"/>
                    <a:pt x="578" y="4565"/>
                    <a:pt x="586" y="4529"/>
                  </a:cubicBezTo>
                  <a:cubicBezTo>
                    <a:pt x="593" y="4507"/>
                    <a:pt x="593" y="4477"/>
                    <a:pt x="593" y="4448"/>
                  </a:cubicBezTo>
                  <a:cubicBezTo>
                    <a:pt x="593" y="4404"/>
                    <a:pt x="586" y="4360"/>
                    <a:pt x="637" y="4316"/>
                  </a:cubicBezTo>
                  <a:cubicBezTo>
                    <a:pt x="703" y="4265"/>
                    <a:pt x="732" y="4184"/>
                    <a:pt x="732" y="4067"/>
                  </a:cubicBezTo>
                  <a:cubicBezTo>
                    <a:pt x="732" y="3943"/>
                    <a:pt x="820" y="3818"/>
                    <a:pt x="886" y="3767"/>
                  </a:cubicBezTo>
                  <a:cubicBezTo>
                    <a:pt x="945" y="3723"/>
                    <a:pt x="1018" y="3642"/>
                    <a:pt x="1040" y="3606"/>
                  </a:cubicBezTo>
                  <a:cubicBezTo>
                    <a:pt x="1047" y="3598"/>
                    <a:pt x="1062" y="3576"/>
                    <a:pt x="1069" y="3554"/>
                  </a:cubicBezTo>
                  <a:cubicBezTo>
                    <a:pt x="1099" y="3510"/>
                    <a:pt x="1128" y="3452"/>
                    <a:pt x="1157" y="3415"/>
                  </a:cubicBezTo>
                  <a:cubicBezTo>
                    <a:pt x="1201" y="3356"/>
                    <a:pt x="1245" y="3327"/>
                    <a:pt x="1326" y="3305"/>
                  </a:cubicBezTo>
                  <a:cubicBezTo>
                    <a:pt x="1370" y="3290"/>
                    <a:pt x="1392" y="3210"/>
                    <a:pt x="1414" y="3137"/>
                  </a:cubicBezTo>
                  <a:cubicBezTo>
                    <a:pt x="1421" y="3100"/>
                    <a:pt x="1428" y="3071"/>
                    <a:pt x="1436" y="3041"/>
                  </a:cubicBezTo>
                  <a:cubicBezTo>
                    <a:pt x="1465" y="2968"/>
                    <a:pt x="1568" y="2851"/>
                    <a:pt x="1604" y="2814"/>
                  </a:cubicBezTo>
                  <a:cubicBezTo>
                    <a:pt x="1626" y="2792"/>
                    <a:pt x="1626" y="2792"/>
                    <a:pt x="1626" y="2792"/>
                  </a:cubicBezTo>
                  <a:cubicBezTo>
                    <a:pt x="1604" y="2777"/>
                    <a:pt x="1604" y="2777"/>
                    <a:pt x="1604" y="2777"/>
                  </a:cubicBezTo>
                  <a:cubicBezTo>
                    <a:pt x="1670" y="2741"/>
                    <a:pt x="1670" y="2741"/>
                    <a:pt x="1670" y="2741"/>
                  </a:cubicBezTo>
                  <a:cubicBezTo>
                    <a:pt x="1677" y="2741"/>
                    <a:pt x="1677" y="2741"/>
                    <a:pt x="1677" y="2741"/>
                  </a:cubicBezTo>
                  <a:cubicBezTo>
                    <a:pt x="1677" y="2741"/>
                    <a:pt x="1736" y="2734"/>
                    <a:pt x="1787" y="2602"/>
                  </a:cubicBezTo>
                  <a:cubicBezTo>
                    <a:pt x="1824" y="2514"/>
                    <a:pt x="1868" y="2455"/>
                    <a:pt x="1897" y="2404"/>
                  </a:cubicBezTo>
                  <a:cubicBezTo>
                    <a:pt x="1927" y="2353"/>
                    <a:pt x="1956" y="2316"/>
                    <a:pt x="1956" y="2279"/>
                  </a:cubicBezTo>
                  <a:cubicBezTo>
                    <a:pt x="1963" y="2243"/>
                    <a:pt x="1963" y="2213"/>
                    <a:pt x="1963" y="2184"/>
                  </a:cubicBezTo>
                  <a:cubicBezTo>
                    <a:pt x="1956" y="2147"/>
                    <a:pt x="1956" y="2111"/>
                    <a:pt x="1971" y="2089"/>
                  </a:cubicBezTo>
                  <a:cubicBezTo>
                    <a:pt x="1978" y="2081"/>
                    <a:pt x="1985" y="2067"/>
                    <a:pt x="2000" y="2059"/>
                  </a:cubicBezTo>
                  <a:cubicBezTo>
                    <a:pt x="2022" y="2037"/>
                    <a:pt x="2051" y="2008"/>
                    <a:pt x="2037" y="1964"/>
                  </a:cubicBezTo>
                  <a:cubicBezTo>
                    <a:pt x="2022" y="1920"/>
                    <a:pt x="2022" y="1847"/>
                    <a:pt x="2125" y="1781"/>
                  </a:cubicBezTo>
                  <a:cubicBezTo>
                    <a:pt x="2139" y="1766"/>
                    <a:pt x="2154" y="1759"/>
                    <a:pt x="2161" y="1759"/>
                  </a:cubicBezTo>
                  <a:cubicBezTo>
                    <a:pt x="2198" y="1737"/>
                    <a:pt x="2205" y="1730"/>
                    <a:pt x="2205" y="1664"/>
                  </a:cubicBezTo>
                  <a:cubicBezTo>
                    <a:pt x="2205" y="1627"/>
                    <a:pt x="2198" y="1620"/>
                    <a:pt x="2183" y="1605"/>
                  </a:cubicBezTo>
                  <a:cubicBezTo>
                    <a:pt x="2168" y="1590"/>
                    <a:pt x="2161" y="1576"/>
                    <a:pt x="2176" y="1539"/>
                  </a:cubicBezTo>
                  <a:cubicBezTo>
                    <a:pt x="2183" y="1503"/>
                    <a:pt x="2205" y="1480"/>
                    <a:pt x="2220" y="1466"/>
                  </a:cubicBezTo>
                  <a:cubicBezTo>
                    <a:pt x="2242" y="1444"/>
                    <a:pt x="2256" y="1429"/>
                    <a:pt x="2256" y="1407"/>
                  </a:cubicBezTo>
                  <a:cubicBezTo>
                    <a:pt x="2256" y="1385"/>
                    <a:pt x="2256" y="1356"/>
                    <a:pt x="2264" y="1327"/>
                  </a:cubicBezTo>
                  <a:cubicBezTo>
                    <a:pt x="2271" y="1297"/>
                    <a:pt x="2286" y="1224"/>
                    <a:pt x="2271" y="1217"/>
                  </a:cubicBezTo>
                  <a:cubicBezTo>
                    <a:pt x="2264" y="1217"/>
                    <a:pt x="2256" y="1217"/>
                    <a:pt x="2249" y="1217"/>
                  </a:cubicBezTo>
                  <a:cubicBezTo>
                    <a:pt x="2213" y="1217"/>
                    <a:pt x="2176" y="1202"/>
                    <a:pt x="2161" y="1173"/>
                  </a:cubicBezTo>
                  <a:cubicBezTo>
                    <a:pt x="2161" y="1158"/>
                    <a:pt x="2154" y="1136"/>
                    <a:pt x="2176" y="1099"/>
                  </a:cubicBezTo>
                  <a:cubicBezTo>
                    <a:pt x="2198" y="1070"/>
                    <a:pt x="2190" y="1063"/>
                    <a:pt x="2161" y="1019"/>
                  </a:cubicBezTo>
                  <a:cubicBezTo>
                    <a:pt x="2146" y="1012"/>
                    <a:pt x="2132" y="989"/>
                    <a:pt x="2117" y="975"/>
                  </a:cubicBezTo>
                  <a:cubicBezTo>
                    <a:pt x="2073" y="902"/>
                    <a:pt x="2103" y="726"/>
                    <a:pt x="2103" y="704"/>
                  </a:cubicBezTo>
                  <a:cubicBezTo>
                    <a:pt x="2103" y="696"/>
                    <a:pt x="2103" y="696"/>
                    <a:pt x="2103" y="696"/>
                  </a:cubicBezTo>
                  <a:cubicBezTo>
                    <a:pt x="2110" y="689"/>
                    <a:pt x="2110" y="689"/>
                    <a:pt x="2110" y="689"/>
                  </a:cubicBezTo>
                  <a:lnTo>
                    <a:pt x="2110" y="689"/>
                  </a:lnTo>
                  <a:cubicBezTo>
                    <a:pt x="2117" y="689"/>
                    <a:pt x="2117" y="689"/>
                    <a:pt x="2117" y="689"/>
                  </a:cubicBezTo>
                  <a:cubicBezTo>
                    <a:pt x="2168" y="667"/>
                    <a:pt x="2168" y="667"/>
                    <a:pt x="2168" y="667"/>
                  </a:cubicBezTo>
                  <a:cubicBezTo>
                    <a:pt x="2176" y="667"/>
                    <a:pt x="2183" y="667"/>
                    <a:pt x="2183" y="667"/>
                  </a:cubicBezTo>
                  <a:cubicBezTo>
                    <a:pt x="2227" y="667"/>
                    <a:pt x="2264" y="718"/>
                    <a:pt x="2308" y="777"/>
                  </a:cubicBezTo>
                  <a:cubicBezTo>
                    <a:pt x="2344" y="828"/>
                    <a:pt x="2381" y="880"/>
                    <a:pt x="2410" y="894"/>
                  </a:cubicBezTo>
                  <a:cubicBezTo>
                    <a:pt x="2425" y="902"/>
                    <a:pt x="2432" y="902"/>
                    <a:pt x="2439" y="902"/>
                  </a:cubicBezTo>
                  <a:cubicBezTo>
                    <a:pt x="2454" y="902"/>
                    <a:pt x="2462" y="894"/>
                    <a:pt x="2476" y="887"/>
                  </a:cubicBezTo>
                  <a:cubicBezTo>
                    <a:pt x="2498" y="858"/>
                    <a:pt x="2506" y="806"/>
                    <a:pt x="2491" y="763"/>
                  </a:cubicBezTo>
                  <a:cubicBezTo>
                    <a:pt x="2476" y="704"/>
                    <a:pt x="2484" y="653"/>
                    <a:pt x="2506" y="616"/>
                  </a:cubicBezTo>
                  <a:cubicBezTo>
                    <a:pt x="2527" y="587"/>
                    <a:pt x="2557" y="572"/>
                    <a:pt x="2594" y="565"/>
                  </a:cubicBezTo>
                  <a:cubicBezTo>
                    <a:pt x="2601" y="565"/>
                    <a:pt x="2615" y="565"/>
                    <a:pt x="2615" y="565"/>
                  </a:cubicBezTo>
                  <a:cubicBezTo>
                    <a:pt x="2689" y="565"/>
                    <a:pt x="2696" y="608"/>
                    <a:pt x="2711" y="726"/>
                  </a:cubicBezTo>
                  <a:cubicBezTo>
                    <a:pt x="2718" y="755"/>
                    <a:pt x="2718" y="784"/>
                    <a:pt x="2725" y="814"/>
                  </a:cubicBezTo>
                  <a:cubicBezTo>
                    <a:pt x="2740" y="887"/>
                    <a:pt x="2777" y="916"/>
                    <a:pt x="2843" y="916"/>
                  </a:cubicBezTo>
                  <a:cubicBezTo>
                    <a:pt x="2908" y="916"/>
                    <a:pt x="2975" y="880"/>
                    <a:pt x="2975" y="880"/>
                  </a:cubicBezTo>
                  <a:cubicBezTo>
                    <a:pt x="2996" y="872"/>
                    <a:pt x="2996" y="872"/>
                    <a:pt x="2996" y="872"/>
                  </a:cubicBezTo>
                  <a:cubicBezTo>
                    <a:pt x="2996" y="894"/>
                    <a:pt x="2996" y="894"/>
                    <a:pt x="2996" y="894"/>
                  </a:cubicBezTo>
                  <a:cubicBezTo>
                    <a:pt x="3004" y="938"/>
                    <a:pt x="3018" y="946"/>
                    <a:pt x="3106" y="946"/>
                  </a:cubicBezTo>
                  <a:cubicBezTo>
                    <a:pt x="3158" y="946"/>
                    <a:pt x="3165" y="982"/>
                    <a:pt x="3172" y="989"/>
                  </a:cubicBezTo>
                  <a:cubicBezTo>
                    <a:pt x="3172" y="1034"/>
                    <a:pt x="3128" y="1085"/>
                    <a:pt x="3077" y="1092"/>
                  </a:cubicBezTo>
                  <a:cubicBezTo>
                    <a:pt x="3070" y="1092"/>
                    <a:pt x="3062" y="1092"/>
                    <a:pt x="3055" y="1092"/>
                  </a:cubicBezTo>
                  <a:cubicBezTo>
                    <a:pt x="3026" y="1099"/>
                    <a:pt x="3026" y="1099"/>
                    <a:pt x="3026" y="1180"/>
                  </a:cubicBezTo>
                  <a:cubicBezTo>
                    <a:pt x="3018" y="1239"/>
                    <a:pt x="3018" y="1239"/>
                    <a:pt x="3018" y="1239"/>
                  </a:cubicBezTo>
                  <a:cubicBezTo>
                    <a:pt x="3018" y="1275"/>
                    <a:pt x="3026" y="1283"/>
                    <a:pt x="3026" y="1290"/>
                  </a:cubicBezTo>
                  <a:lnTo>
                    <a:pt x="3026" y="1290"/>
                  </a:lnTo>
                  <a:cubicBezTo>
                    <a:pt x="3055" y="1290"/>
                    <a:pt x="3099" y="1246"/>
                    <a:pt x="3136" y="1217"/>
                  </a:cubicBezTo>
                  <a:cubicBezTo>
                    <a:pt x="3158" y="1187"/>
                    <a:pt x="3180" y="1173"/>
                    <a:pt x="3187" y="1165"/>
                  </a:cubicBezTo>
                  <a:cubicBezTo>
                    <a:pt x="3209" y="1158"/>
                    <a:pt x="3209" y="1151"/>
                    <a:pt x="3216" y="1122"/>
                  </a:cubicBezTo>
                  <a:cubicBezTo>
                    <a:pt x="3216" y="1107"/>
                    <a:pt x="3216" y="1085"/>
                    <a:pt x="3231" y="1048"/>
                  </a:cubicBezTo>
                  <a:cubicBezTo>
                    <a:pt x="3238" y="1004"/>
                    <a:pt x="3260" y="953"/>
                    <a:pt x="3304" y="953"/>
                  </a:cubicBezTo>
                  <a:cubicBezTo>
                    <a:pt x="3326" y="953"/>
                    <a:pt x="3348" y="968"/>
                    <a:pt x="3377" y="982"/>
                  </a:cubicBezTo>
                  <a:cubicBezTo>
                    <a:pt x="3392" y="997"/>
                    <a:pt x="3407" y="1004"/>
                    <a:pt x="3414" y="1004"/>
                  </a:cubicBezTo>
                  <a:cubicBezTo>
                    <a:pt x="3429" y="1004"/>
                    <a:pt x="3436" y="982"/>
                    <a:pt x="3444" y="953"/>
                  </a:cubicBezTo>
                  <a:cubicBezTo>
                    <a:pt x="3451" y="938"/>
                    <a:pt x="3458" y="924"/>
                    <a:pt x="3465" y="909"/>
                  </a:cubicBezTo>
                  <a:cubicBezTo>
                    <a:pt x="3473" y="902"/>
                    <a:pt x="3487" y="880"/>
                    <a:pt x="3524" y="880"/>
                  </a:cubicBezTo>
                  <a:cubicBezTo>
                    <a:pt x="3539" y="880"/>
                    <a:pt x="3561" y="887"/>
                    <a:pt x="3583" y="902"/>
                  </a:cubicBezTo>
                  <a:cubicBezTo>
                    <a:pt x="3517" y="799"/>
                    <a:pt x="3517" y="799"/>
                    <a:pt x="3517" y="799"/>
                  </a:cubicBezTo>
                  <a:cubicBezTo>
                    <a:pt x="3583" y="755"/>
                    <a:pt x="3583" y="755"/>
                    <a:pt x="3583" y="755"/>
                  </a:cubicBezTo>
                  <a:cubicBezTo>
                    <a:pt x="3583" y="748"/>
                    <a:pt x="3583" y="748"/>
                    <a:pt x="3583" y="748"/>
                  </a:cubicBezTo>
                  <a:cubicBezTo>
                    <a:pt x="3590" y="748"/>
                    <a:pt x="3590" y="748"/>
                    <a:pt x="3590" y="748"/>
                  </a:cubicBezTo>
                  <a:cubicBezTo>
                    <a:pt x="3605" y="733"/>
                    <a:pt x="3605" y="733"/>
                    <a:pt x="3605" y="733"/>
                  </a:cubicBezTo>
                  <a:cubicBezTo>
                    <a:pt x="3612" y="733"/>
                    <a:pt x="3612" y="733"/>
                    <a:pt x="3612" y="733"/>
                  </a:cubicBezTo>
                  <a:cubicBezTo>
                    <a:pt x="3619" y="733"/>
                    <a:pt x="3634" y="726"/>
                    <a:pt x="3649" y="726"/>
                  </a:cubicBezTo>
                  <a:cubicBezTo>
                    <a:pt x="3663" y="726"/>
                    <a:pt x="3685" y="733"/>
                    <a:pt x="3707" y="733"/>
                  </a:cubicBezTo>
                  <a:cubicBezTo>
                    <a:pt x="3722" y="740"/>
                    <a:pt x="3744" y="740"/>
                    <a:pt x="3766" y="740"/>
                  </a:cubicBezTo>
                  <a:cubicBezTo>
                    <a:pt x="3780" y="740"/>
                    <a:pt x="3795" y="740"/>
                    <a:pt x="3803" y="733"/>
                  </a:cubicBezTo>
                  <a:cubicBezTo>
                    <a:pt x="3817" y="726"/>
                    <a:pt x="3839" y="718"/>
                    <a:pt x="3854" y="718"/>
                  </a:cubicBezTo>
                  <a:cubicBezTo>
                    <a:pt x="3898" y="696"/>
                    <a:pt x="3927" y="689"/>
                    <a:pt x="3927" y="616"/>
                  </a:cubicBezTo>
                  <a:cubicBezTo>
                    <a:pt x="3927" y="499"/>
                    <a:pt x="4030" y="491"/>
                    <a:pt x="4125" y="491"/>
                  </a:cubicBezTo>
                  <a:cubicBezTo>
                    <a:pt x="4139" y="484"/>
                    <a:pt x="4154" y="484"/>
                    <a:pt x="4169" y="484"/>
                  </a:cubicBezTo>
                  <a:cubicBezTo>
                    <a:pt x="4235" y="477"/>
                    <a:pt x="4235" y="469"/>
                    <a:pt x="4227" y="447"/>
                  </a:cubicBezTo>
                  <a:cubicBezTo>
                    <a:pt x="4227" y="440"/>
                    <a:pt x="4227" y="418"/>
                    <a:pt x="4235" y="403"/>
                  </a:cubicBezTo>
                  <a:cubicBezTo>
                    <a:pt x="4249" y="381"/>
                    <a:pt x="4271" y="323"/>
                    <a:pt x="4220" y="271"/>
                  </a:cubicBezTo>
                  <a:cubicBezTo>
                    <a:pt x="4206" y="257"/>
                    <a:pt x="4191" y="249"/>
                    <a:pt x="4169" y="249"/>
                  </a:cubicBezTo>
                  <a:cubicBezTo>
                    <a:pt x="4161" y="249"/>
                    <a:pt x="4154" y="257"/>
                    <a:pt x="4139" y="257"/>
                  </a:cubicBezTo>
                  <a:cubicBezTo>
                    <a:pt x="4132" y="257"/>
                    <a:pt x="4118" y="257"/>
                    <a:pt x="4110" y="257"/>
                  </a:cubicBezTo>
                  <a:cubicBezTo>
                    <a:pt x="4096" y="257"/>
                    <a:pt x="4088" y="257"/>
                    <a:pt x="4081" y="257"/>
                  </a:cubicBezTo>
                  <a:cubicBezTo>
                    <a:pt x="4015" y="242"/>
                    <a:pt x="4008" y="213"/>
                    <a:pt x="4008" y="206"/>
                  </a:cubicBezTo>
                  <a:cubicBezTo>
                    <a:pt x="4015" y="198"/>
                    <a:pt x="4037" y="125"/>
                    <a:pt x="4081" y="88"/>
                  </a:cubicBezTo>
                  <a:cubicBezTo>
                    <a:pt x="4132" y="52"/>
                    <a:pt x="4191" y="44"/>
                    <a:pt x="4249" y="30"/>
                  </a:cubicBezTo>
                  <a:cubicBezTo>
                    <a:pt x="4257" y="30"/>
                    <a:pt x="4257" y="30"/>
                    <a:pt x="4264" y="30"/>
                  </a:cubicBezTo>
                  <a:cubicBezTo>
                    <a:pt x="4294" y="30"/>
                    <a:pt x="4308" y="44"/>
                    <a:pt x="4315" y="59"/>
                  </a:cubicBezTo>
                  <a:cubicBezTo>
                    <a:pt x="4323" y="66"/>
                    <a:pt x="4330" y="66"/>
                    <a:pt x="4337" y="66"/>
                  </a:cubicBezTo>
                  <a:lnTo>
                    <a:pt x="4345" y="66"/>
                  </a:lnTo>
                  <a:cubicBezTo>
                    <a:pt x="4367" y="59"/>
                    <a:pt x="4374" y="52"/>
                    <a:pt x="4381" y="37"/>
                  </a:cubicBezTo>
                  <a:cubicBezTo>
                    <a:pt x="4389" y="30"/>
                    <a:pt x="4403" y="15"/>
                    <a:pt x="4418" y="15"/>
                  </a:cubicBezTo>
                  <a:cubicBezTo>
                    <a:pt x="4425" y="15"/>
                    <a:pt x="4433" y="15"/>
                    <a:pt x="4440" y="22"/>
                  </a:cubicBezTo>
                  <a:cubicBezTo>
                    <a:pt x="4462" y="30"/>
                    <a:pt x="4469" y="52"/>
                    <a:pt x="4484" y="66"/>
                  </a:cubicBezTo>
                  <a:cubicBezTo>
                    <a:pt x="4491" y="81"/>
                    <a:pt x="4499" y="96"/>
                    <a:pt x="4506" y="103"/>
                  </a:cubicBezTo>
                  <a:cubicBezTo>
                    <a:pt x="4513" y="103"/>
                    <a:pt x="4513" y="103"/>
                    <a:pt x="4520" y="103"/>
                  </a:cubicBezTo>
                  <a:cubicBezTo>
                    <a:pt x="4535" y="103"/>
                    <a:pt x="4550" y="88"/>
                    <a:pt x="4572" y="74"/>
                  </a:cubicBezTo>
                  <a:cubicBezTo>
                    <a:pt x="4587" y="66"/>
                    <a:pt x="4601" y="52"/>
                    <a:pt x="4616" y="44"/>
                  </a:cubicBezTo>
                  <a:cubicBezTo>
                    <a:pt x="4638" y="30"/>
                    <a:pt x="4638" y="30"/>
                    <a:pt x="4638" y="30"/>
                  </a:cubicBezTo>
                  <a:cubicBezTo>
                    <a:pt x="4667" y="15"/>
                    <a:pt x="4682" y="0"/>
                    <a:pt x="4704" y="0"/>
                  </a:cubicBezTo>
                  <a:cubicBezTo>
                    <a:pt x="4711" y="0"/>
                    <a:pt x="4726" y="8"/>
                    <a:pt x="4733" y="8"/>
                  </a:cubicBezTo>
                  <a:cubicBezTo>
                    <a:pt x="4770" y="22"/>
                    <a:pt x="4770" y="110"/>
                    <a:pt x="4755" y="242"/>
                  </a:cubicBezTo>
                  <a:cubicBezTo>
                    <a:pt x="4740" y="323"/>
                    <a:pt x="4748" y="352"/>
                    <a:pt x="4755" y="352"/>
                  </a:cubicBezTo>
                  <a:cubicBezTo>
                    <a:pt x="4755" y="352"/>
                    <a:pt x="4762" y="345"/>
                    <a:pt x="4770" y="330"/>
                  </a:cubicBezTo>
                  <a:cubicBezTo>
                    <a:pt x="4784" y="315"/>
                    <a:pt x="4792" y="301"/>
                    <a:pt x="4799" y="286"/>
                  </a:cubicBezTo>
                  <a:cubicBezTo>
                    <a:pt x="4814" y="271"/>
                    <a:pt x="4821" y="257"/>
                    <a:pt x="4836" y="257"/>
                  </a:cubicBezTo>
                  <a:cubicBezTo>
                    <a:pt x="4858" y="257"/>
                    <a:pt x="4872" y="271"/>
                    <a:pt x="4909" y="308"/>
                  </a:cubicBezTo>
                  <a:cubicBezTo>
                    <a:pt x="4924" y="323"/>
                    <a:pt x="4931" y="330"/>
                    <a:pt x="4946" y="330"/>
                  </a:cubicBezTo>
                  <a:cubicBezTo>
                    <a:pt x="4960" y="330"/>
                    <a:pt x="4975" y="308"/>
                    <a:pt x="4997" y="286"/>
                  </a:cubicBezTo>
                  <a:cubicBezTo>
                    <a:pt x="5011" y="264"/>
                    <a:pt x="5034" y="235"/>
                    <a:pt x="5063" y="227"/>
                  </a:cubicBezTo>
                  <a:cubicBezTo>
                    <a:pt x="5070" y="220"/>
                    <a:pt x="5077" y="220"/>
                    <a:pt x="5085" y="220"/>
                  </a:cubicBezTo>
                  <a:cubicBezTo>
                    <a:pt x="5099" y="220"/>
                    <a:pt x="5121" y="235"/>
                    <a:pt x="5136" y="249"/>
                  </a:cubicBezTo>
                  <a:cubicBezTo>
                    <a:pt x="5165" y="294"/>
                    <a:pt x="5180" y="367"/>
                    <a:pt x="5173" y="403"/>
                  </a:cubicBezTo>
                  <a:cubicBezTo>
                    <a:pt x="5165" y="440"/>
                    <a:pt x="5173" y="462"/>
                    <a:pt x="5224" y="484"/>
                  </a:cubicBezTo>
                  <a:cubicBezTo>
                    <a:pt x="5224" y="491"/>
                    <a:pt x="5231" y="491"/>
                    <a:pt x="5239" y="491"/>
                  </a:cubicBezTo>
                  <a:cubicBezTo>
                    <a:pt x="5246" y="499"/>
                    <a:pt x="5261" y="499"/>
                    <a:pt x="5261" y="506"/>
                  </a:cubicBezTo>
                  <a:cubicBezTo>
                    <a:pt x="5268" y="521"/>
                    <a:pt x="5268" y="535"/>
                    <a:pt x="5246" y="579"/>
                  </a:cubicBezTo>
                  <a:cubicBezTo>
                    <a:pt x="5239" y="601"/>
                    <a:pt x="5224" y="645"/>
                    <a:pt x="5209" y="696"/>
                  </a:cubicBezTo>
                  <a:cubicBezTo>
                    <a:pt x="5187" y="748"/>
                    <a:pt x="5187" y="770"/>
                    <a:pt x="5187" y="777"/>
                  </a:cubicBezTo>
                  <a:cubicBezTo>
                    <a:pt x="5202" y="770"/>
                    <a:pt x="5246" y="726"/>
                    <a:pt x="5268" y="682"/>
                  </a:cubicBezTo>
                  <a:cubicBezTo>
                    <a:pt x="5283" y="667"/>
                    <a:pt x="5290" y="667"/>
                    <a:pt x="5297" y="667"/>
                  </a:cubicBezTo>
                  <a:cubicBezTo>
                    <a:pt x="5349" y="667"/>
                    <a:pt x="5378" y="821"/>
                    <a:pt x="5378" y="872"/>
                  </a:cubicBezTo>
                  <a:cubicBezTo>
                    <a:pt x="5378" y="909"/>
                    <a:pt x="5385" y="938"/>
                    <a:pt x="5393" y="960"/>
                  </a:cubicBezTo>
                  <a:cubicBezTo>
                    <a:pt x="5407" y="989"/>
                    <a:pt x="5429" y="997"/>
                    <a:pt x="5458" y="997"/>
                  </a:cubicBezTo>
                  <a:cubicBezTo>
                    <a:pt x="5473" y="997"/>
                    <a:pt x="5480" y="997"/>
                    <a:pt x="5495" y="997"/>
                  </a:cubicBezTo>
                  <a:cubicBezTo>
                    <a:pt x="5568" y="982"/>
                    <a:pt x="5568" y="968"/>
                    <a:pt x="5583" y="938"/>
                  </a:cubicBezTo>
                  <a:cubicBezTo>
                    <a:pt x="5583" y="924"/>
                    <a:pt x="5590" y="909"/>
                    <a:pt x="5598" y="887"/>
                  </a:cubicBezTo>
                  <a:cubicBezTo>
                    <a:pt x="5620" y="843"/>
                    <a:pt x="5656" y="814"/>
                    <a:pt x="5686" y="814"/>
                  </a:cubicBezTo>
                  <a:cubicBezTo>
                    <a:pt x="5700" y="814"/>
                    <a:pt x="5730" y="821"/>
                    <a:pt x="5737" y="880"/>
                  </a:cubicBezTo>
                  <a:cubicBezTo>
                    <a:pt x="5744" y="916"/>
                    <a:pt x="5751" y="946"/>
                    <a:pt x="5759" y="960"/>
                  </a:cubicBezTo>
                  <a:cubicBezTo>
                    <a:pt x="5774" y="989"/>
                    <a:pt x="5781" y="1019"/>
                    <a:pt x="5774" y="1070"/>
                  </a:cubicBezTo>
                  <a:cubicBezTo>
                    <a:pt x="5766" y="1129"/>
                    <a:pt x="5788" y="1144"/>
                    <a:pt x="5825" y="1165"/>
                  </a:cubicBezTo>
                  <a:cubicBezTo>
                    <a:pt x="5832" y="1165"/>
                    <a:pt x="5832" y="1165"/>
                    <a:pt x="5832" y="1165"/>
                  </a:cubicBezTo>
                  <a:cubicBezTo>
                    <a:pt x="5884" y="1195"/>
                    <a:pt x="5898" y="1312"/>
                    <a:pt x="5898" y="1327"/>
                  </a:cubicBezTo>
                  <a:cubicBezTo>
                    <a:pt x="5898" y="1349"/>
                    <a:pt x="5898" y="1349"/>
                    <a:pt x="5898" y="1349"/>
                  </a:cubicBezTo>
                  <a:cubicBezTo>
                    <a:pt x="5884" y="1341"/>
                    <a:pt x="5884" y="1341"/>
                    <a:pt x="5884" y="1341"/>
                  </a:cubicBezTo>
                  <a:lnTo>
                    <a:pt x="5876" y="1341"/>
                  </a:lnTo>
                  <a:cubicBezTo>
                    <a:pt x="5854" y="1341"/>
                    <a:pt x="5818" y="1349"/>
                    <a:pt x="5796" y="1393"/>
                  </a:cubicBezTo>
                  <a:cubicBezTo>
                    <a:pt x="5766" y="1451"/>
                    <a:pt x="5810" y="1568"/>
                    <a:pt x="5847" y="1613"/>
                  </a:cubicBezTo>
                  <a:cubicBezTo>
                    <a:pt x="5884" y="1642"/>
                    <a:pt x="5869" y="1686"/>
                    <a:pt x="5854" y="1737"/>
                  </a:cubicBezTo>
                  <a:cubicBezTo>
                    <a:pt x="5839" y="1774"/>
                    <a:pt x="5832" y="1810"/>
                    <a:pt x="5832" y="1847"/>
                  </a:cubicBezTo>
                  <a:cubicBezTo>
                    <a:pt x="5832" y="1942"/>
                    <a:pt x="5964" y="2052"/>
                    <a:pt x="6037" y="2081"/>
                  </a:cubicBezTo>
                  <a:cubicBezTo>
                    <a:pt x="6081" y="2103"/>
                    <a:pt x="6111" y="2125"/>
                    <a:pt x="6111" y="2155"/>
                  </a:cubicBezTo>
                  <a:cubicBezTo>
                    <a:pt x="6111" y="2177"/>
                    <a:pt x="6111" y="2199"/>
                    <a:pt x="6074" y="2221"/>
                  </a:cubicBezTo>
                  <a:cubicBezTo>
                    <a:pt x="6008" y="2272"/>
                    <a:pt x="6008" y="2294"/>
                    <a:pt x="6023" y="2301"/>
                  </a:cubicBezTo>
                  <a:cubicBezTo>
                    <a:pt x="6030" y="2316"/>
                    <a:pt x="6045" y="2323"/>
                    <a:pt x="6059" y="2323"/>
                  </a:cubicBezTo>
                  <a:cubicBezTo>
                    <a:pt x="6081" y="2338"/>
                    <a:pt x="6103" y="2345"/>
                    <a:pt x="6111" y="2375"/>
                  </a:cubicBezTo>
                  <a:cubicBezTo>
                    <a:pt x="6118" y="2389"/>
                    <a:pt x="6118" y="2404"/>
                    <a:pt x="6118" y="2418"/>
                  </a:cubicBezTo>
                  <a:cubicBezTo>
                    <a:pt x="6118" y="2448"/>
                    <a:pt x="6118" y="2470"/>
                    <a:pt x="6162" y="2477"/>
                  </a:cubicBezTo>
                  <a:cubicBezTo>
                    <a:pt x="6242" y="2506"/>
                    <a:pt x="6316" y="2543"/>
                    <a:pt x="6439" y="2668"/>
                  </a:cubicBezTo>
                  <a:cubicBezTo>
                    <a:pt x="6564" y="2792"/>
                    <a:pt x="6579" y="3012"/>
                    <a:pt x="6564" y="3063"/>
                  </a:cubicBezTo>
                  <a:cubicBezTo>
                    <a:pt x="6557" y="3093"/>
                    <a:pt x="6535" y="3107"/>
                    <a:pt x="6520" y="3107"/>
                  </a:cubicBezTo>
                  <a:lnTo>
                    <a:pt x="6520" y="3107"/>
                  </a:lnTo>
                  <a:cubicBezTo>
                    <a:pt x="6557" y="3173"/>
                    <a:pt x="6557" y="3232"/>
                    <a:pt x="6520" y="3283"/>
                  </a:cubicBezTo>
                  <a:cubicBezTo>
                    <a:pt x="6476" y="3349"/>
                    <a:pt x="6476" y="3415"/>
                    <a:pt x="6505" y="3488"/>
                  </a:cubicBezTo>
                  <a:cubicBezTo>
                    <a:pt x="6520" y="3510"/>
                    <a:pt x="6535" y="3518"/>
                    <a:pt x="6557" y="3518"/>
                  </a:cubicBezTo>
                  <a:cubicBezTo>
                    <a:pt x="6579" y="3525"/>
                    <a:pt x="6608" y="3525"/>
                    <a:pt x="6630" y="3576"/>
                  </a:cubicBezTo>
                  <a:cubicBezTo>
                    <a:pt x="6652" y="3613"/>
                    <a:pt x="6659" y="3649"/>
                    <a:pt x="6637" y="3686"/>
                  </a:cubicBezTo>
                  <a:cubicBezTo>
                    <a:pt x="6615" y="3715"/>
                    <a:pt x="6586" y="3737"/>
                    <a:pt x="6564" y="3737"/>
                  </a:cubicBezTo>
                  <a:cubicBezTo>
                    <a:pt x="6557" y="3737"/>
                    <a:pt x="6549" y="3730"/>
                    <a:pt x="6542" y="3730"/>
                  </a:cubicBezTo>
                  <a:cubicBezTo>
                    <a:pt x="6535" y="3730"/>
                    <a:pt x="6520" y="3730"/>
                    <a:pt x="6513" y="3730"/>
                  </a:cubicBezTo>
                  <a:cubicBezTo>
                    <a:pt x="6476" y="3730"/>
                    <a:pt x="6454" y="3737"/>
                    <a:pt x="6439" y="3752"/>
                  </a:cubicBezTo>
                  <a:cubicBezTo>
                    <a:pt x="6432" y="3759"/>
                    <a:pt x="6425" y="3767"/>
                    <a:pt x="6410" y="3767"/>
                  </a:cubicBezTo>
                  <a:cubicBezTo>
                    <a:pt x="6395" y="3767"/>
                    <a:pt x="6381" y="3752"/>
                    <a:pt x="6360" y="3730"/>
                  </a:cubicBezTo>
                  <a:cubicBezTo>
                    <a:pt x="6338" y="3708"/>
                    <a:pt x="6301" y="3679"/>
                    <a:pt x="6257" y="3664"/>
                  </a:cubicBezTo>
                  <a:cubicBezTo>
                    <a:pt x="6220" y="3657"/>
                    <a:pt x="6206" y="3657"/>
                    <a:pt x="6191" y="3657"/>
                  </a:cubicBezTo>
                  <a:cubicBezTo>
                    <a:pt x="6162" y="3657"/>
                    <a:pt x="6155" y="3664"/>
                    <a:pt x="6140" y="3730"/>
                  </a:cubicBezTo>
                  <a:cubicBezTo>
                    <a:pt x="6118" y="3796"/>
                    <a:pt x="6242" y="3877"/>
                    <a:pt x="6286" y="3899"/>
                  </a:cubicBezTo>
                  <a:cubicBezTo>
                    <a:pt x="6279" y="3928"/>
                    <a:pt x="6279" y="3928"/>
                    <a:pt x="6279" y="3928"/>
                  </a:cubicBezTo>
                  <a:cubicBezTo>
                    <a:pt x="6272" y="3928"/>
                    <a:pt x="6257" y="3921"/>
                    <a:pt x="6250" y="3921"/>
                  </a:cubicBezTo>
                  <a:cubicBezTo>
                    <a:pt x="6235" y="3921"/>
                    <a:pt x="6228" y="3928"/>
                    <a:pt x="6228" y="3928"/>
                  </a:cubicBezTo>
                  <a:cubicBezTo>
                    <a:pt x="6228" y="3935"/>
                    <a:pt x="6220" y="3950"/>
                    <a:pt x="6257" y="3994"/>
                  </a:cubicBezTo>
                  <a:cubicBezTo>
                    <a:pt x="6308" y="4053"/>
                    <a:pt x="6294" y="4155"/>
                    <a:pt x="6265" y="4214"/>
                  </a:cubicBezTo>
                  <a:cubicBezTo>
                    <a:pt x="6250" y="4243"/>
                    <a:pt x="6235" y="4258"/>
                    <a:pt x="6220" y="4258"/>
                  </a:cubicBezTo>
                  <a:cubicBezTo>
                    <a:pt x="6213" y="4258"/>
                    <a:pt x="6206" y="4258"/>
                    <a:pt x="6199" y="4250"/>
                  </a:cubicBezTo>
                  <a:cubicBezTo>
                    <a:pt x="6184" y="4236"/>
                    <a:pt x="6169" y="4228"/>
                    <a:pt x="6147" y="4228"/>
                  </a:cubicBezTo>
                  <a:cubicBezTo>
                    <a:pt x="6133" y="4228"/>
                    <a:pt x="6125" y="4228"/>
                    <a:pt x="6125" y="4243"/>
                  </a:cubicBezTo>
                  <a:cubicBezTo>
                    <a:pt x="6125" y="4258"/>
                    <a:pt x="6133" y="4265"/>
                    <a:pt x="6147" y="4280"/>
                  </a:cubicBezTo>
                  <a:cubicBezTo>
                    <a:pt x="6155" y="4294"/>
                    <a:pt x="6169" y="4302"/>
                    <a:pt x="6162" y="4316"/>
                  </a:cubicBezTo>
                  <a:cubicBezTo>
                    <a:pt x="6155" y="4331"/>
                    <a:pt x="6140" y="4331"/>
                    <a:pt x="6140" y="4331"/>
                  </a:cubicBezTo>
                  <a:cubicBezTo>
                    <a:pt x="6103" y="4346"/>
                    <a:pt x="6045" y="4360"/>
                    <a:pt x="5971" y="4419"/>
                  </a:cubicBezTo>
                  <a:cubicBezTo>
                    <a:pt x="5949" y="4441"/>
                    <a:pt x="5935" y="4448"/>
                    <a:pt x="5913" y="4448"/>
                  </a:cubicBezTo>
                  <a:cubicBezTo>
                    <a:pt x="5884" y="4448"/>
                    <a:pt x="5861" y="4426"/>
                    <a:pt x="5839" y="4412"/>
                  </a:cubicBezTo>
                  <a:cubicBezTo>
                    <a:pt x="5832" y="4404"/>
                    <a:pt x="5818" y="4397"/>
                    <a:pt x="5810" y="4390"/>
                  </a:cubicBezTo>
                  <a:lnTo>
                    <a:pt x="5810" y="4390"/>
                  </a:lnTo>
                  <a:cubicBezTo>
                    <a:pt x="5766" y="4390"/>
                    <a:pt x="5678" y="4485"/>
                    <a:pt x="5627" y="4609"/>
                  </a:cubicBezTo>
                  <a:cubicBezTo>
                    <a:pt x="5598" y="4668"/>
                    <a:pt x="5568" y="4697"/>
                    <a:pt x="5546" y="4719"/>
                  </a:cubicBezTo>
                  <a:cubicBezTo>
                    <a:pt x="5539" y="4719"/>
                    <a:pt x="5532" y="4734"/>
                    <a:pt x="5532" y="4734"/>
                  </a:cubicBezTo>
                  <a:lnTo>
                    <a:pt x="5532" y="4734"/>
                  </a:lnTo>
                  <a:cubicBezTo>
                    <a:pt x="5532" y="4734"/>
                    <a:pt x="5539" y="4741"/>
                    <a:pt x="5554" y="4749"/>
                  </a:cubicBezTo>
                  <a:cubicBezTo>
                    <a:pt x="5620" y="4793"/>
                    <a:pt x="5751" y="5005"/>
                    <a:pt x="5759" y="5013"/>
                  </a:cubicBezTo>
                  <a:cubicBezTo>
                    <a:pt x="5766" y="5020"/>
                    <a:pt x="5766" y="5020"/>
                    <a:pt x="5766" y="5020"/>
                  </a:cubicBezTo>
                  <a:cubicBezTo>
                    <a:pt x="5759" y="5027"/>
                    <a:pt x="5759" y="5027"/>
                    <a:pt x="5759" y="5027"/>
                  </a:cubicBezTo>
                  <a:cubicBezTo>
                    <a:pt x="5759" y="5027"/>
                    <a:pt x="5751" y="5071"/>
                    <a:pt x="5766" y="5225"/>
                  </a:cubicBezTo>
                  <a:cubicBezTo>
                    <a:pt x="5766" y="5306"/>
                    <a:pt x="5818" y="5408"/>
                    <a:pt x="5869" y="5503"/>
                  </a:cubicBezTo>
                  <a:cubicBezTo>
                    <a:pt x="5906" y="5591"/>
                    <a:pt x="5942" y="5665"/>
                    <a:pt x="5942" y="5716"/>
                  </a:cubicBezTo>
                  <a:cubicBezTo>
                    <a:pt x="5942" y="5826"/>
                    <a:pt x="5876" y="5994"/>
                    <a:pt x="5803" y="6053"/>
                  </a:cubicBezTo>
                  <a:cubicBezTo>
                    <a:pt x="5781" y="6075"/>
                    <a:pt x="5788" y="6082"/>
                    <a:pt x="5810" y="6119"/>
                  </a:cubicBezTo>
                  <a:cubicBezTo>
                    <a:pt x="5832" y="6156"/>
                    <a:pt x="5861" y="6199"/>
                    <a:pt x="5839" y="6265"/>
                  </a:cubicBezTo>
                  <a:cubicBezTo>
                    <a:pt x="5839" y="6280"/>
                    <a:pt x="5832" y="6295"/>
                    <a:pt x="5825" y="6309"/>
                  </a:cubicBezTo>
                  <a:cubicBezTo>
                    <a:pt x="5803" y="6383"/>
                    <a:pt x="5796" y="6405"/>
                    <a:pt x="5869" y="6471"/>
                  </a:cubicBezTo>
                  <a:cubicBezTo>
                    <a:pt x="5913" y="6507"/>
                    <a:pt x="5927" y="6537"/>
                    <a:pt x="5927" y="6551"/>
                  </a:cubicBezTo>
                  <a:cubicBezTo>
                    <a:pt x="5920" y="6573"/>
                    <a:pt x="5898" y="6588"/>
                    <a:pt x="5876" y="6595"/>
                  </a:cubicBezTo>
                  <a:cubicBezTo>
                    <a:pt x="5854" y="6603"/>
                    <a:pt x="5839" y="6610"/>
                    <a:pt x="5825" y="6625"/>
                  </a:cubicBezTo>
                  <a:cubicBezTo>
                    <a:pt x="5796" y="6639"/>
                    <a:pt x="5803" y="6661"/>
                    <a:pt x="5839" y="6727"/>
                  </a:cubicBezTo>
                  <a:cubicBezTo>
                    <a:pt x="5854" y="6756"/>
                    <a:pt x="5876" y="6793"/>
                    <a:pt x="5898" y="6844"/>
                  </a:cubicBezTo>
                  <a:cubicBezTo>
                    <a:pt x="5942" y="6940"/>
                    <a:pt x="5891" y="7020"/>
                    <a:pt x="5876" y="7049"/>
                  </a:cubicBezTo>
                  <a:cubicBezTo>
                    <a:pt x="5854" y="7079"/>
                    <a:pt x="5825" y="7101"/>
                    <a:pt x="5810" y="7101"/>
                  </a:cubicBezTo>
                  <a:cubicBezTo>
                    <a:pt x="5796" y="7101"/>
                    <a:pt x="5788" y="7094"/>
                    <a:pt x="5781" y="7079"/>
                  </a:cubicBezTo>
                  <a:cubicBezTo>
                    <a:pt x="5766" y="7057"/>
                    <a:pt x="5730" y="7027"/>
                    <a:pt x="5693" y="7027"/>
                  </a:cubicBezTo>
                  <a:cubicBezTo>
                    <a:pt x="5671" y="7027"/>
                    <a:pt x="5649" y="7035"/>
                    <a:pt x="5634" y="7049"/>
                  </a:cubicBezTo>
                  <a:cubicBezTo>
                    <a:pt x="5590" y="7086"/>
                    <a:pt x="5532" y="7130"/>
                    <a:pt x="5466" y="7130"/>
                  </a:cubicBezTo>
                  <a:cubicBezTo>
                    <a:pt x="5437" y="7130"/>
                    <a:pt x="5400" y="7115"/>
                    <a:pt x="5363" y="7101"/>
                  </a:cubicBezTo>
                  <a:cubicBezTo>
                    <a:pt x="5341" y="7086"/>
                    <a:pt x="5319" y="7079"/>
                    <a:pt x="5305" y="7079"/>
                  </a:cubicBezTo>
                  <a:cubicBezTo>
                    <a:pt x="5261" y="7079"/>
                    <a:pt x="5231" y="7115"/>
                    <a:pt x="5202" y="7152"/>
                  </a:cubicBezTo>
                  <a:cubicBezTo>
                    <a:pt x="5195" y="7167"/>
                    <a:pt x="5195" y="7167"/>
                    <a:pt x="5195" y="7167"/>
                  </a:cubicBezTo>
                  <a:cubicBezTo>
                    <a:pt x="5143" y="7218"/>
                    <a:pt x="5063" y="7269"/>
                    <a:pt x="4989" y="7284"/>
                  </a:cubicBezTo>
                  <a:cubicBezTo>
                    <a:pt x="4960" y="7284"/>
                    <a:pt x="4960" y="7284"/>
                    <a:pt x="4960" y="7284"/>
                  </a:cubicBezTo>
                  <a:cubicBezTo>
                    <a:pt x="4894" y="7299"/>
                    <a:pt x="4806" y="7313"/>
                    <a:pt x="4770" y="7343"/>
                  </a:cubicBezTo>
                  <a:cubicBezTo>
                    <a:pt x="4762" y="7357"/>
                    <a:pt x="4762" y="7365"/>
                    <a:pt x="4762" y="7365"/>
                  </a:cubicBezTo>
                  <a:cubicBezTo>
                    <a:pt x="4762" y="7372"/>
                    <a:pt x="4784" y="7387"/>
                    <a:pt x="4806" y="7394"/>
                  </a:cubicBezTo>
                  <a:cubicBezTo>
                    <a:pt x="4821" y="7408"/>
                    <a:pt x="4836" y="7416"/>
                    <a:pt x="4850" y="7423"/>
                  </a:cubicBezTo>
                  <a:cubicBezTo>
                    <a:pt x="4894" y="7453"/>
                    <a:pt x="4989" y="7467"/>
                    <a:pt x="5034" y="7475"/>
                  </a:cubicBezTo>
                  <a:cubicBezTo>
                    <a:pt x="5048" y="7475"/>
                    <a:pt x="5048" y="7475"/>
                    <a:pt x="5048" y="7475"/>
                  </a:cubicBezTo>
                  <a:cubicBezTo>
                    <a:pt x="5048" y="7489"/>
                    <a:pt x="5048" y="7489"/>
                    <a:pt x="5048" y="7489"/>
                  </a:cubicBezTo>
                  <a:cubicBezTo>
                    <a:pt x="5056" y="7504"/>
                    <a:pt x="5056" y="7548"/>
                    <a:pt x="5034" y="7584"/>
                  </a:cubicBezTo>
                  <a:cubicBezTo>
                    <a:pt x="5026" y="7592"/>
                    <a:pt x="5011" y="7599"/>
                    <a:pt x="4982" y="7599"/>
                  </a:cubicBezTo>
                  <a:cubicBezTo>
                    <a:pt x="4946" y="7599"/>
                    <a:pt x="4894" y="7584"/>
                    <a:pt x="4879" y="7577"/>
                  </a:cubicBezTo>
                  <a:cubicBezTo>
                    <a:pt x="4784" y="7636"/>
                    <a:pt x="4784" y="7636"/>
                    <a:pt x="4784" y="7636"/>
                  </a:cubicBezTo>
                  <a:cubicBezTo>
                    <a:pt x="4770" y="7628"/>
                    <a:pt x="4770" y="7628"/>
                    <a:pt x="4770" y="7628"/>
                  </a:cubicBezTo>
                  <a:cubicBezTo>
                    <a:pt x="4770" y="7628"/>
                    <a:pt x="4726" y="7577"/>
                    <a:pt x="4682" y="7577"/>
                  </a:cubicBezTo>
                  <a:cubicBezTo>
                    <a:pt x="4667" y="7577"/>
                    <a:pt x="4652" y="7577"/>
                    <a:pt x="4645" y="7584"/>
                  </a:cubicBezTo>
                  <a:cubicBezTo>
                    <a:pt x="4587" y="7628"/>
                    <a:pt x="4528" y="7658"/>
                    <a:pt x="4462" y="7658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6" name="Freeform 95"/>
            <p:cNvSpPr>
              <a:spLocks noChangeArrowheads="1"/>
            </p:cNvSpPr>
            <p:nvPr/>
          </p:nvSpPr>
          <p:spPr bwMode="auto">
            <a:xfrm>
              <a:off x="4588662" y="9238936"/>
              <a:ext cx="2573531" cy="2918249"/>
            </a:xfrm>
            <a:custGeom>
              <a:avLst/>
              <a:gdLst>
                <a:gd name="T0" fmla="*/ 4969 w 6698"/>
                <a:gd name="T1" fmla="*/ 359 h 7687"/>
                <a:gd name="T2" fmla="*/ 5386 w 6698"/>
                <a:gd name="T3" fmla="*/ 886 h 7687"/>
                <a:gd name="T4" fmla="*/ 5899 w 6698"/>
                <a:gd name="T5" fmla="*/ 1341 h 7687"/>
                <a:gd name="T6" fmla="*/ 6448 w 6698"/>
                <a:gd name="T7" fmla="*/ 2689 h 7687"/>
                <a:gd name="T8" fmla="*/ 6433 w 6698"/>
                <a:gd name="T9" fmla="*/ 3759 h 7687"/>
                <a:gd name="T10" fmla="*/ 6170 w 6698"/>
                <a:gd name="T11" fmla="*/ 4228 h 7687"/>
                <a:gd name="T12" fmla="*/ 5767 w 6698"/>
                <a:gd name="T13" fmla="*/ 5034 h 7687"/>
                <a:gd name="T14" fmla="*/ 5819 w 6698"/>
                <a:gd name="T15" fmla="*/ 7086 h 7687"/>
                <a:gd name="T16" fmla="*/ 4866 w 6698"/>
                <a:gd name="T17" fmla="*/ 7452 h 7687"/>
                <a:gd name="T18" fmla="*/ 4456 w 6698"/>
                <a:gd name="T19" fmla="*/ 7657 h 7687"/>
                <a:gd name="T20" fmla="*/ 2931 w 6698"/>
                <a:gd name="T21" fmla="*/ 6910 h 7687"/>
                <a:gd name="T22" fmla="*/ 2572 w 6698"/>
                <a:gd name="T23" fmla="*/ 6778 h 7687"/>
                <a:gd name="T24" fmla="*/ 2426 w 6698"/>
                <a:gd name="T25" fmla="*/ 7049 h 7687"/>
                <a:gd name="T26" fmla="*/ 1708 w 6698"/>
                <a:gd name="T27" fmla="*/ 7254 h 7687"/>
                <a:gd name="T28" fmla="*/ 418 w 6698"/>
                <a:gd name="T29" fmla="*/ 7283 h 7687"/>
                <a:gd name="T30" fmla="*/ 213 w 6698"/>
                <a:gd name="T31" fmla="*/ 6309 h 7687"/>
                <a:gd name="T32" fmla="*/ 667 w 6698"/>
                <a:gd name="T33" fmla="*/ 4345 h 7687"/>
                <a:gd name="T34" fmla="*/ 1657 w 6698"/>
                <a:gd name="T35" fmla="*/ 2791 h 7687"/>
                <a:gd name="T36" fmla="*/ 2213 w 6698"/>
                <a:gd name="T37" fmla="*/ 1553 h 7687"/>
                <a:gd name="T38" fmla="*/ 2162 w 6698"/>
                <a:gd name="T39" fmla="*/ 747 h 7687"/>
                <a:gd name="T40" fmla="*/ 2734 w 6698"/>
                <a:gd name="T41" fmla="*/ 828 h 7687"/>
                <a:gd name="T42" fmla="*/ 3327 w 6698"/>
                <a:gd name="T43" fmla="*/ 982 h 7687"/>
                <a:gd name="T44" fmla="*/ 3620 w 6698"/>
                <a:gd name="T45" fmla="*/ 791 h 7687"/>
                <a:gd name="T46" fmla="*/ 4272 w 6698"/>
                <a:gd name="T47" fmla="*/ 425 h 7687"/>
                <a:gd name="T48" fmla="*/ 4360 w 6698"/>
                <a:gd name="T49" fmla="*/ 102 h 7687"/>
                <a:gd name="T50" fmla="*/ 4727 w 6698"/>
                <a:gd name="T51" fmla="*/ 0 h 7687"/>
                <a:gd name="T52" fmla="*/ 4397 w 6698"/>
                <a:gd name="T53" fmla="*/ 44 h 7687"/>
                <a:gd name="T54" fmla="*/ 4016 w 6698"/>
                <a:gd name="T55" fmla="*/ 220 h 7687"/>
                <a:gd name="T56" fmla="*/ 4192 w 6698"/>
                <a:gd name="T57" fmla="*/ 483 h 7687"/>
                <a:gd name="T58" fmla="*/ 3650 w 6698"/>
                <a:gd name="T59" fmla="*/ 710 h 7687"/>
                <a:gd name="T60" fmla="*/ 3481 w 6698"/>
                <a:gd name="T61" fmla="*/ 916 h 7687"/>
                <a:gd name="T62" fmla="*/ 3056 w 6698"/>
                <a:gd name="T63" fmla="*/ 1289 h 7687"/>
                <a:gd name="T64" fmla="*/ 3027 w 6698"/>
                <a:gd name="T65" fmla="*/ 864 h 7687"/>
                <a:gd name="T66" fmla="*/ 2485 w 6698"/>
                <a:gd name="T67" fmla="*/ 886 h 7687"/>
                <a:gd name="T68" fmla="*/ 2126 w 6698"/>
                <a:gd name="T69" fmla="*/ 696 h 7687"/>
                <a:gd name="T70" fmla="*/ 2272 w 6698"/>
                <a:gd name="T71" fmla="*/ 1341 h 7687"/>
                <a:gd name="T72" fmla="*/ 2008 w 6698"/>
                <a:gd name="T73" fmla="*/ 2066 h 7687"/>
                <a:gd name="T74" fmla="*/ 1642 w 6698"/>
                <a:gd name="T75" fmla="*/ 2770 h 7687"/>
                <a:gd name="T76" fmla="*/ 1056 w 6698"/>
                <a:gd name="T77" fmla="*/ 3612 h 7687"/>
                <a:gd name="T78" fmla="*/ 448 w 6698"/>
                <a:gd name="T79" fmla="*/ 5063 h 7687"/>
                <a:gd name="T80" fmla="*/ 184 w 6698"/>
                <a:gd name="T81" fmla="*/ 6301 h 7687"/>
                <a:gd name="T82" fmla="*/ 198 w 6698"/>
                <a:gd name="T83" fmla="*/ 7349 h 7687"/>
                <a:gd name="T84" fmla="*/ 682 w 6698"/>
                <a:gd name="T85" fmla="*/ 7445 h 7687"/>
                <a:gd name="T86" fmla="*/ 2169 w 6698"/>
                <a:gd name="T87" fmla="*/ 7422 h 7687"/>
                <a:gd name="T88" fmla="*/ 2572 w 6698"/>
                <a:gd name="T89" fmla="*/ 7181 h 7687"/>
                <a:gd name="T90" fmla="*/ 2155 w 6698"/>
                <a:gd name="T91" fmla="*/ 6924 h 7687"/>
                <a:gd name="T92" fmla="*/ 2800 w 6698"/>
                <a:gd name="T93" fmla="*/ 6807 h 7687"/>
                <a:gd name="T94" fmla="*/ 2990 w 6698"/>
                <a:gd name="T95" fmla="*/ 7063 h 7687"/>
                <a:gd name="T96" fmla="*/ 3840 w 6698"/>
                <a:gd name="T97" fmla="*/ 7203 h 7687"/>
                <a:gd name="T98" fmla="*/ 4822 w 6698"/>
                <a:gd name="T99" fmla="*/ 7657 h 7687"/>
                <a:gd name="T100" fmla="*/ 4800 w 6698"/>
                <a:gd name="T101" fmla="*/ 7379 h 7687"/>
                <a:gd name="T102" fmla="*/ 5665 w 6698"/>
                <a:gd name="T103" fmla="*/ 7078 h 7687"/>
                <a:gd name="T104" fmla="*/ 5965 w 6698"/>
                <a:gd name="T105" fmla="*/ 6572 h 7687"/>
                <a:gd name="T106" fmla="*/ 5804 w 6698"/>
                <a:gd name="T107" fmla="*/ 5041 h 7687"/>
                <a:gd name="T108" fmla="*/ 5936 w 6698"/>
                <a:gd name="T109" fmla="*/ 4477 h 7687"/>
                <a:gd name="T110" fmla="*/ 6302 w 6698"/>
                <a:gd name="T111" fmla="*/ 4235 h 7687"/>
                <a:gd name="T112" fmla="*/ 6375 w 6698"/>
                <a:gd name="T113" fmla="*/ 3759 h 7687"/>
                <a:gd name="T114" fmla="*/ 6543 w 6698"/>
                <a:gd name="T115" fmla="*/ 3495 h 7687"/>
                <a:gd name="T116" fmla="*/ 6060 w 6698"/>
                <a:gd name="T117" fmla="*/ 2308 h 7687"/>
                <a:gd name="T118" fmla="*/ 5899 w 6698"/>
                <a:gd name="T119" fmla="*/ 1370 h 7687"/>
                <a:gd name="T120" fmla="*/ 5606 w 6698"/>
                <a:gd name="T121" fmla="*/ 894 h 7687"/>
                <a:gd name="T122" fmla="*/ 5284 w 6698"/>
                <a:gd name="T123" fmla="*/ 601 h 7687"/>
                <a:gd name="T124" fmla="*/ 4969 w 6698"/>
                <a:gd name="T125" fmla="*/ 329 h 7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98" h="7687">
                  <a:moveTo>
                    <a:pt x="4727" y="36"/>
                  </a:moveTo>
                  <a:lnTo>
                    <a:pt x="4727" y="36"/>
                  </a:lnTo>
                  <a:cubicBezTo>
                    <a:pt x="4734" y="36"/>
                    <a:pt x="4741" y="36"/>
                    <a:pt x="4749" y="36"/>
                  </a:cubicBezTo>
                  <a:cubicBezTo>
                    <a:pt x="4785" y="51"/>
                    <a:pt x="4771" y="161"/>
                    <a:pt x="4763" y="256"/>
                  </a:cubicBezTo>
                  <a:cubicBezTo>
                    <a:pt x="4756" y="322"/>
                    <a:pt x="4749" y="388"/>
                    <a:pt x="4771" y="388"/>
                  </a:cubicBezTo>
                  <a:cubicBezTo>
                    <a:pt x="4778" y="388"/>
                    <a:pt x="4793" y="373"/>
                    <a:pt x="4807" y="351"/>
                  </a:cubicBezTo>
                  <a:cubicBezTo>
                    <a:pt x="4837" y="308"/>
                    <a:pt x="4844" y="285"/>
                    <a:pt x="4859" y="285"/>
                  </a:cubicBezTo>
                  <a:cubicBezTo>
                    <a:pt x="4873" y="285"/>
                    <a:pt x="4888" y="300"/>
                    <a:pt x="4917" y="329"/>
                  </a:cubicBezTo>
                  <a:cubicBezTo>
                    <a:pt x="4939" y="351"/>
                    <a:pt x="4954" y="359"/>
                    <a:pt x="4969" y="359"/>
                  </a:cubicBezTo>
                  <a:cubicBezTo>
                    <a:pt x="5012" y="359"/>
                    <a:pt x="5034" y="271"/>
                    <a:pt x="5093" y="256"/>
                  </a:cubicBezTo>
                  <a:cubicBezTo>
                    <a:pt x="5093" y="249"/>
                    <a:pt x="5100" y="249"/>
                    <a:pt x="5108" y="249"/>
                  </a:cubicBezTo>
                  <a:cubicBezTo>
                    <a:pt x="5166" y="249"/>
                    <a:pt x="5188" y="366"/>
                    <a:pt x="5181" y="410"/>
                  </a:cubicBezTo>
                  <a:cubicBezTo>
                    <a:pt x="5174" y="454"/>
                    <a:pt x="5181" y="491"/>
                    <a:pt x="5240" y="513"/>
                  </a:cubicBezTo>
                  <a:cubicBezTo>
                    <a:pt x="5298" y="535"/>
                    <a:pt x="5284" y="505"/>
                    <a:pt x="5218" y="703"/>
                  </a:cubicBezTo>
                  <a:cubicBezTo>
                    <a:pt x="5188" y="784"/>
                    <a:pt x="5188" y="813"/>
                    <a:pt x="5203" y="813"/>
                  </a:cubicBezTo>
                  <a:cubicBezTo>
                    <a:pt x="5232" y="813"/>
                    <a:pt x="5284" y="740"/>
                    <a:pt x="5306" y="703"/>
                  </a:cubicBezTo>
                  <a:cubicBezTo>
                    <a:pt x="5313" y="696"/>
                    <a:pt x="5313" y="696"/>
                    <a:pt x="5320" y="696"/>
                  </a:cubicBezTo>
                  <a:cubicBezTo>
                    <a:pt x="5350" y="696"/>
                    <a:pt x="5386" y="820"/>
                    <a:pt x="5386" y="886"/>
                  </a:cubicBezTo>
                  <a:cubicBezTo>
                    <a:pt x="5386" y="960"/>
                    <a:pt x="5401" y="1026"/>
                    <a:pt x="5481" y="1026"/>
                  </a:cubicBezTo>
                  <a:cubicBezTo>
                    <a:pt x="5496" y="1026"/>
                    <a:pt x="5511" y="1026"/>
                    <a:pt x="5518" y="1026"/>
                  </a:cubicBezTo>
                  <a:cubicBezTo>
                    <a:pt x="5635" y="1003"/>
                    <a:pt x="5599" y="982"/>
                    <a:pt x="5635" y="908"/>
                  </a:cubicBezTo>
                  <a:cubicBezTo>
                    <a:pt x="5657" y="872"/>
                    <a:pt x="5687" y="842"/>
                    <a:pt x="5709" y="842"/>
                  </a:cubicBezTo>
                  <a:cubicBezTo>
                    <a:pt x="5731" y="842"/>
                    <a:pt x="5745" y="857"/>
                    <a:pt x="5745" y="901"/>
                  </a:cubicBezTo>
                  <a:cubicBezTo>
                    <a:pt x="5760" y="989"/>
                    <a:pt x="5797" y="1003"/>
                    <a:pt x="5782" y="1077"/>
                  </a:cubicBezTo>
                  <a:cubicBezTo>
                    <a:pt x="5767" y="1158"/>
                    <a:pt x="5804" y="1172"/>
                    <a:pt x="5848" y="1194"/>
                  </a:cubicBezTo>
                  <a:cubicBezTo>
                    <a:pt x="5899" y="1216"/>
                    <a:pt x="5907" y="1341"/>
                    <a:pt x="5907" y="1341"/>
                  </a:cubicBezTo>
                  <a:lnTo>
                    <a:pt x="5899" y="1341"/>
                  </a:lnTo>
                  <a:cubicBezTo>
                    <a:pt x="5877" y="1341"/>
                    <a:pt x="5833" y="1348"/>
                    <a:pt x="5804" y="1399"/>
                  </a:cubicBezTo>
                  <a:cubicBezTo>
                    <a:pt x="5767" y="1465"/>
                    <a:pt x="5819" y="1590"/>
                    <a:pt x="5862" y="1634"/>
                  </a:cubicBezTo>
                  <a:cubicBezTo>
                    <a:pt x="5907" y="1678"/>
                    <a:pt x="5841" y="1758"/>
                    <a:pt x="5841" y="1861"/>
                  </a:cubicBezTo>
                  <a:cubicBezTo>
                    <a:pt x="5841" y="1963"/>
                    <a:pt x="5972" y="2081"/>
                    <a:pt x="6053" y="2110"/>
                  </a:cubicBezTo>
                  <a:cubicBezTo>
                    <a:pt x="6134" y="2147"/>
                    <a:pt x="6134" y="2191"/>
                    <a:pt x="6090" y="2227"/>
                  </a:cubicBezTo>
                  <a:cubicBezTo>
                    <a:pt x="6046" y="2257"/>
                    <a:pt x="6009" y="2293"/>
                    <a:pt x="6031" y="2330"/>
                  </a:cubicBezTo>
                  <a:cubicBezTo>
                    <a:pt x="6053" y="2359"/>
                    <a:pt x="6112" y="2352"/>
                    <a:pt x="6119" y="2396"/>
                  </a:cubicBezTo>
                  <a:cubicBezTo>
                    <a:pt x="6134" y="2440"/>
                    <a:pt x="6097" y="2484"/>
                    <a:pt x="6178" y="2506"/>
                  </a:cubicBezTo>
                  <a:cubicBezTo>
                    <a:pt x="6258" y="2528"/>
                    <a:pt x="6324" y="2564"/>
                    <a:pt x="6448" y="2689"/>
                  </a:cubicBezTo>
                  <a:cubicBezTo>
                    <a:pt x="6572" y="2813"/>
                    <a:pt x="6587" y="3033"/>
                    <a:pt x="6572" y="3077"/>
                  </a:cubicBezTo>
                  <a:cubicBezTo>
                    <a:pt x="6565" y="3121"/>
                    <a:pt x="6506" y="3099"/>
                    <a:pt x="6528" y="3129"/>
                  </a:cubicBezTo>
                  <a:cubicBezTo>
                    <a:pt x="6550" y="3165"/>
                    <a:pt x="6572" y="3224"/>
                    <a:pt x="6528" y="3290"/>
                  </a:cubicBezTo>
                  <a:cubicBezTo>
                    <a:pt x="6484" y="3356"/>
                    <a:pt x="6484" y="3436"/>
                    <a:pt x="6521" y="3510"/>
                  </a:cubicBezTo>
                  <a:cubicBezTo>
                    <a:pt x="6550" y="3576"/>
                    <a:pt x="6594" y="3517"/>
                    <a:pt x="6646" y="3598"/>
                  </a:cubicBezTo>
                  <a:cubicBezTo>
                    <a:pt x="6690" y="3678"/>
                    <a:pt x="6623" y="3729"/>
                    <a:pt x="6587" y="3729"/>
                  </a:cubicBezTo>
                  <a:cubicBezTo>
                    <a:pt x="6572" y="3729"/>
                    <a:pt x="6550" y="3729"/>
                    <a:pt x="6536" y="3729"/>
                  </a:cubicBezTo>
                  <a:cubicBezTo>
                    <a:pt x="6506" y="3729"/>
                    <a:pt x="6470" y="3737"/>
                    <a:pt x="6448" y="3759"/>
                  </a:cubicBezTo>
                  <a:cubicBezTo>
                    <a:pt x="6448" y="3759"/>
                    <a:pt x="6440" y="3759"/>
                    <a:pt x="6433" y="3759"/>
                  </a:cubicBezTo>
                  <a:cubicBezTo>
                    <a:pt x="6404" y="3759"/>
                    <a:pt x="6368" y="3686"/>
                    <a:pt x="6280" y="3663"/>
                  </a:cubicBezTo>
                  <a:cubicBezTo>
                    <a:pt x="6251" y="3656"/>
                    <a:pt x="6229" y="3656"/>
                    <a:pt x="6214" y="3656"/>
                  </a:cubicBezTo>
                  <a:cubicBezTo>
                    <a:pt x="6170" y="3656"/>
                    <a:pt x="6163" y="3678"/>
                    <a:pt x="6148" y="3744"/>
                  </a:cubicBezTo>
                  <a:cubicBezTo>
                    <a:pt x="6119" y="3832"/>
                    <a:pt x="6302" y="3927"/>
                    <a:pt x="6302" y="3927"/>
                  </a:cubicBezTo>
                  <a:cubicBezTo>
                    <a:pt x="6295" y="3927"/>
                    <a:pt x="6280" y="3920"/>
                    <a:pt x="6273" y="3920"/>
                  </a:cubicBezTo>
                  <a:cubicBezTo>
                    <a:pt x="6229" y="3920"/>
                    <a:pt x="6214" y="3949"/>
                    <a:pt x="6273" y="4015"/>
                  </a:cubicBezTo>
                  <a:cubicBezTo>
                    <a:pt x="6331" y="4089"/>
                    <a:pt x="6280" y="4257"/>
                    <a:pt x="6243" y="4257"/>
                  </a:cubicBezTo>
                  <a:lnTo>
                    <a:pt x="6236" y="4257"/>
                  </a:lnTo>
                  <a:cubicBezTo>
                    <a:pt x="6214" y="4235"/>
                    <a:pt x="6192" y="4228"/>
                    <a:pt x="6170" y="4228"/>
                  </a:cubicBezTo>
                  <a:cubicBezTo>
                    <a:pt x="6156" y="4228"/>
                    <a:pt x="6141" y="4235"/>
                    <a:pt x="6134" y="4257"/>
                  </a:cubicBezTo>
                  <a:cubicBezTo>
                    <a:pt x="6119" y="4301"/>
                    <a:pt x="6200" y="4323"/>
                    <a:pt x="6156" y="4330"/>
                  </a:cubicBezTo>
                  <a:cubicBezTo>
                    <a:pt x="6112" y="4345"/>
                    <a:pt x="6053" y="4367"/>
                    <a:pt x="5987" y="4426"/>
                  </a:cubicBezTo>
                  <a:cubicBezTo>
                    <a:pt x="5965" y="4440"/>
                    <a:pt x="5950" y="4448"/>
                    <a:pt x="5936" y="4448"/>
                  </a:cubicBezTo>
                  <a:cubicBezTo>
                    <a:pt x="5899" y="4448"/>
                    <a:pt x="5870" y="4404"/>
                    <a:pt x="5841" y="4389"/>
                  </a:cubicBezTo>
                  <a:cubicBezTo>
                    <a:pt x="5833" y="4389"/>
                    <a:pt x="5833" y="4389"/>
                    <a:pt x="5826" y="4389"/>
                  </a:cubicBezTo>
                  <a:cubicBezTo>
                    <a:pt x="5774" y="4389"/>
                    <a:pt x="5687" y="4499"/>
                    <a:pt x="5635" y="4616"/>
                  </a:cubicBezTo>
                  <a:cubicBezTo>
                    <a:pt x="5577" y="4741"/>
                    <a:pt x="5496" y="4733"/>
                    <a:pt x="5569" y="4777"/>
                  </a:cubicBezTo>
                  <a:cubicBezTo>
                    <a:pt x="5635" y="4821"/>
                    <a:pt x="5767" y="5034"/>
                    <a:pt x="5767" y="5034"/>
                  </a:cubicBezTo>
                  <a:cubicBezTo>
                    <a:pt x="5767" y="5034"/>
                    <a:pt x="5760" y="5085"/>
                    <a:pt x="5767" y="5239"/>
                  </a:cubicBezTo>
                  <a:cubicBezTo>
                    <a:pt x="5782" y="5400"/>
                    <a:pt x="5950" y="5627"/>
                    <a:pt x="5950" y="5730"/>
                  </a:cubicBezTo>
                  <a:cubicBezTo>
                    <a:pt x="5950" y="5832"/>
                    <a:pt x="5884" y="6001"/>
                    <a:pt x="5819" y="6060"/>
                  </a:cubicBezTo>
                  <a:cubicBezTo>
                    <a:pt x="5745" y="6111"/>
                    <a:pt x="5884" y="6162"/>
                    <a:pt x="5848" y="6272"/>
                  </a:cubicBezTo>
                  <a:cubicBezTo>
                    <a:pt x="5819" y="6382"/>
                    <a:pt x="5782" y="6411"/>
                    <a:pt x="5884" y="6499"/>
                  </a:cubicBezTo>
                  <a:cubicBezTo>
                    <a:pt x="5987" y="6587"/>
                    <a:pt x="5907" y="6580"/>
                    <a:pt x="5841" y="6624"/>
                  </a:cubicBezTo>
                  <a:cubicBezTo>
                    <a:pt x="5767" y="6668"/>
                    <a:pt x="5848" y="6727"/>
                    <a:pt x="5907" y="6858"/>
                  </a:cubicBezTo>
                  <a:cubicBezTo>
                    <a:pt x="5958" y="6983"/>
                    <a:pt x="5870" y="7100"/>
                    <a:pt x="5833" y="7100"/>
                  </a:cubicBezTo>
                  <a:cubicBezTo>
                    <a:pt x="5826" y="7100"/>
                    <a:pt x="5819" y="7093"/>
                    <a:pt x="5819" y="7086"/>
                  </a:cubicBezTo>
                  <a:cubicBezTo>
                    <a:pt x="5804" y="7056"/>
                    <a:pt x="5760" y="7027"/>
                    <a:pt x="5716" y="7027"/>
                  </a:cubicBezTo>
                  <a:cubicBezTo>
                    <a:pt x="5694" y="7027"/>
                    <a:pt x="5672" y="7034"/>
                    <a:pt x="5643" y="7056"/>
                  </a:cubicBezTo>
                  <a:cubicBezTo>
                    <a:pt x="5599" y="7093"/>
                    <a:pt x="5548" y="7122"/>
                    <a:pt x="5489" y="7122"/>
                  </a:cubicBezTo>
                  <a:cubicBezTo>
                    <a:pt x="5460" y="7122"/>
                    <a:pt x="5430" y="7115"/>
                    <a:pt x="5393" y="7100"/>
                  </a:cubicBezTo>
                  <a:cubicBezTo>
                    <a:pt x="5372" y="7086"/>
                    <a:pt x="5350" y="7078"/>
                    <a:pt x="5328" y="7078"/>
                  </a:cubicBezTo>
                  <a:cubicBezTo>
                    <a:pt x="5269" y="7078"/>
                    <a:pt x="5240" y="7129"/>
                    <a:pt x="5203" y="7166"/>
                  </a:cubicBezTo>
                  <a:cubicBezTo>
                    <a:pt x="5159" y="7225"/>
                    <a:pt x="5079" y="7269"/>
                    <a:pt x="5012" y="7283"/>
                  </a:cubicBezTo>
                  <a:cubicBezTo>
                    <a:pt x="4947" y="7291"/>
                    <a:pt x="4829" y="7305"/>
                    <a:pt x="4785" y="7349"/>
                  </a:cubicBezTo>
                  <a:cubicBezTo>
                    <a:pt x="4741" y="7393"/>
                    <a:pt x="4793" y="7408"/>
                    <a:pt x="4866" y="7452"/>
                  </a:cubicBezTo>
                  <a:cubicBezTo>
                    <a:pt x="4910" y="7481"/>
                    <a:pt x="5005" y="7496"/>
                    <a:pt x="5057" y="7503"/>
                  </a:cubicBezTo>
                  <a:cubicBezTo>
                    <a:pt x="5057" y="7518"/>
                    <a:pt x="5064" y="7562"/>
                    <a:pt x="5042" y="7584"/>
                  </a:cubicBezTo>
                  <a:cubicBezTo>
                    <a:pt x="5042" y="7598"/>
                    <a:pt x="5027" y="7598"/>
                    <a:pt x="5005" y="7598"/>
                  </a:cubicBezTo>
                  <a:cubicBezTo>
                    <a:pt x="4961" y="7598"/>
                    <a:pt x="4895" y="7577"/>
                    <a:pt x="4895" y="7577"/>
                  </a:cubicBezTo>
                  <a:cubicBezTo>
                    <a:pt x="4807" y="7635"/>
                    <a:pt x="4807" y="7635"/>
                    <a:pt x="4807" y="7635"/>
                  </a:cubicBezTo>
                  <a:cubicBezTo>
                    <a:pt x="4807" y="7635"/>
                    <a:pt x="4756" y="7577"/>
                    <a:pt x="4705" y="7577"/>
                  </a:cubicBezTo>
                  <a:cubicBezTo>
                    <a:pt x="4690" y="7577"/>
                    <a:pt x="4675" y="7577"/>
                    <a:pt x="4661" y="7584"/>
                  </a:cubicBezTo>
                  <a:cubicBezTo>
                    <a:pt x="4602" y="7628"/>
                    <a:pt x="4551" y="7657"/>
                    <a:pt x="4485" y="7657"/>
                  </a:cubicBezTo>
                  <a:cubicBezTo>
                    <a:pt x="4478" y="7657"/>
                    <a:pt x="4463" y="7657"/>
                    <a:pt x="4456" y="7657"/>
                  </a:cubicBezTo>
                  <a:cubicBezTo>
                    <a:pt x="4375" y="7642"/>
                    <a:pt x="4287" y="7437"/>
                    <a:pt x="4250" y="7364"/>
                  </a:cubicBezTo>
                  <a:cubicBezTo>
                    <a:pt x="4221" y="7283"/>
                    <a:pt x="3921" y="7210"/>
                    <a:pt x="3855" y="7181"/>
                  </a:cubicBezTo>
                  <a:cubicBezTo>
                    <a:pt x="3789" y="7144"/>
                    <a:pt x="3642" y="7086"/>
                    <a:pt x="3540" y="7063"/>
                  </a:cubicBezTo>
                  <a:cubicBezTo>
                    <a:pt x="3518" y="7063"/>
                    <a:pt x="3496" y="7056"/>
                    <a:pt x="3474" y="7056"/>
                  </a:cubicBezTo>
                  <a:cubicBezTo>
                    <a:pt x="3393" y="7056"/>
                    <a:pt x="3312" y="7086"/>
                    <a:pt x="3247" y="7137"/>
                  </a:cubicBezTo>
                  <a:cubicBezTo>
                    <a:pt x="3210" y="7151"/>
                    <a:pt x="3181" y="7166"/>
                    <a:pt x="3159" y="7166"/>
                  </a:cubicBezTo>
                  <a:cubicBezTo>
                    <a:pt x="3115" y="7166"/>
                    <a:pt x="3085" y="7137"/>
                    <a:pt x="3093" y="7100"/>
                  </a:cubicBezTo>
                  <a:cubicBezTo>
                    <a:pt x="3107" y="7041"/>
                    <a:pt x="3093" y="6998"/>
                    <a:pt x="3005" y="6939"/>
                  </a:cubicBezTo>
                  <a:cubicBezTo>
                    <a:pt x="2968" y="6917"/>
                    <a:pt x="2946" y="6910"/>
                    <a:pt x="2931" y="6910"/>
                  </a:cubicBezTo>
                  <a:cubicBezTo>
                    <a:pt x="2902" y="6910"/>
                    <a:pt x="2895" y="6932"/>
                    <a:pt x="2924" y="6961"/>
                  </a:cubicBezTo>
                  <a:cubicBezTo>
                    <a:pt x="2968" y="7012"/>
                    <a:pt x="2968" y="7063"/>
                    <a:pt x="2939" y="7063"/>
                  </a:cubicBezTo>
                  <a:cubicBezTo>
                    <a:pt x="2910" y="7063"/>
                    <a:pt x="2866" y="7020"/>
                    <a:pt x="2822" y="7020"/>
                  </a:cubicBezTo>
                  <a:lnTo>
                    <a:pt x="2814" y="7020"/>
                  </a:lnTo>
                  <a:cubicBezTo>
                    <a:pt x="2800" y="7020"/>
                    <a:pt x="2792" y="7027"/>
                    <a:pt x="2778" y="7027"/>
                  </a:cubicBezTo>
                  <a:cubicBezTo>
                    <a:pt x="2726" y="7027"/>
                    <a:pt x="2660" y="7005"/>
                    <a:pt x="2675" y="6954"/>
                  </a:cubicBezTo>
                  <a:cubicBezTo>
                    <a:pt x="2697" y="6888"/>
                    <a:pt x="2778" y="6895"/>
                    <a:pt x="2822" y="6829"/>
                  </a:cubicBezTo>
                  <a:cubicBezTo>
                    <a:pt x="2866" y="6763"/>
                    <a:pt x="2631" y="6682"/>
                    <a:pt x="2631" y="6682"/>
                  </a:cubicBezTo>
                  <a:cubicBezTo>
                    <a:pt x="2631" y="6741"/>
                    <a:pt x="2602" y="6778"/>
                    <a:pt x="2572" y="6778"/>
                  </a:cubicBezTo>
                  <a:cubicBezTo>
                    <a:pt x="2558" y="6778"/>
                    <a:pt x="2543" y="6763"/>
                    <a:pt x="2543" y="6734"/>
                  </a:cubicBezTo>
                  <a:cubicBezTo>
                    <a:pt x="2536" y="6682"/>
                    <a:pt x="2514" y="6660"/>
                    <a:pt x="2477" y="6660"/>
                  </a:cubicBezTo>
                  <a:cubicBezTo>
                    <a:pt x="2462" y="6660"/>
                    <a:pt x="2440" y="6668"/>
                    <a:pt x="2419" y="6682"/>
                  </a:cubicBezTo>
                  <a:cubicBezTo>
                    <a:pt x="2345" y="6727"/>
                    <a:pt x="2221" y="6712"/>
                    <a:pt x="2213" y="6763"/>
                  </a:cubicBezTo>
                  <a:cubicBezTo>
                    <a:pt x="2199" y="6807"/>
                    <a:pt x="2199" y="6873"/>
                    <a:pt x="2140" y="6895"/>
                  </a:cubicBezTo>
                  <a:cubicBezTo>
                    <a:pt x="2089" y="6917"/>
                    <a:pt x="2052" y="7034"/>
                    <a:pt x="2111" y="7100"/>
                  </a:cubicBezTo>
                  <a:cubicBezTo>
                    <a:pt x="2140" y="7137"/>
                    <a:pt x="2184" y="7151"/>
                    <a:pt x="2221" y="7151"/>
                  </a:cubicBezTo>
                  <a:cubicBezTo>
                    <a:pt x="2265" y="7151"/>
                    <a:pt x="2301" y="7137"/>
                    <a:pt x="2323" y="7122"/>
                  </a:cubicBezTo>
                  <a:cubicBezTo>
                    <a:pt x="2367" y="7100"/>
                    <a:pt x="2375" y="7049"/>
                    <a:pt x="2426" y="7049"/>
                  </a:cubicBezTo>
                  <a:cubicBezTo>
                    <a:pt x="2440" y="7049"/>
                    <a:pt x="2462" y="7049"/>
                    <a:pt x="2492" y="7063"/>
                  </a:cubicBezTo>
                  <a:cubicBezTo>
                    <a:pt x="2617" y="7122"/>
                    <a:pt x="2529" y="7144"/>
                    <a:pt x="2514" y="7225"/>
                  </a:cubicBezTo>
                  <a:cubicBezTo>
                    <a:pt x="2507" y="7305"/>
                    <a:pt x="2440" y="7305"/>
                    <a:pt x="2440" y="7305"/>
                  </a:cubicBezTo>
                  <a:cubicBezTo>
                    <a:pt x="2440" y="7283"/>
                    <a:pt x="2382" y="7232"/>
                    <a:pt x="2309" y="7232"/>
                  </a:cubicBezTo>
                  <a:cubicBezTo>
                    <a:pt x="2287" y="7232"/>
                    <a:pt x="2265" y="7239"/>
                    <a:pt x="2243" y="7247"/>
                  </a:cubicBezTo>
                  <a:cubicBezTo>
                    <a:pt x="2140" y="7291"/>
                    <a:pt x="2169" y="7393"/>
                    <a:pt x="2169" y="7393"/>
                  </a:cubicBezTo>
                  <a:cubicBezTo>
                    <a:pt x="2103" y="7408"/>
                    <a:pt x="2045" y="7415"/>
                    <a:pt x="1994" y="7415"/>
                  </a:cubicBezTo>
                  <a:cubicBezTo>
                    <a:pt x="1898" y="7415"/>
                    <a:pt x="1832" y="7386"/>
                    <a:pt x="1796" y="7291"/>
                  </a:cubicBezTo>
                  <a:cubicBezTo>
                    <a:pt x="1781" y="7261"/>
                    <a:pt x="1752" y="7254"/>
                    <a:pt x="1708" y="7254"/>
                  </a:cubicBezTo>
                  <a:cubicBezTo>
                    <a:pt x="1612" y="7254"/>
                    <a:pt x="1451" y="7327"/>
                    <a:pt x="1386" y="7393"/>
                  </a:cubicBezTo>
                  <a:cubicBezTo>
                    <a:pt x="1319" y="7459"/>
                    <a:pt x="1136" y="7481"/>
                    <a:pt x="1034" y="7481"/>
                  </a:cubicBezTo>
                  <a:cubicBezTo>
                    <a:pt x="997" y="7481"/>
                    <a:pt x="968" y="7474"/>
                    <a:pt x="953" y="7474"/>
                  </a:cubicBezTo>
                  <a:cubicBezTo>
                    <a:pt x="909" y="7459"/>
                    <a:pt x="917" y="7327"/>
                    <a:pt x="865" y="7327"/>
                  </a:cubicBezTo>
                  <a:cubicBezTo>
                    <a:pt x="807" y="7327"/>
                    <a:pt x="623" y="7452"/>
                    <a:pt x="521" y="7496"/>
                  </a:cubicBezTo>
                  <a:cubicBezTo>
                    <a:pt x="499" y="7510"/>
                    <a:pt x="477" y="7510"/>
                    <a:pt x="455" y="7510"/>
                  </a:cubicBezTo>
                  <a:cubicBezTo>
                    <a:pt x="396" y="7510"/>
                    <a:pt x="360" y="7467"/>
                    <a:pt x="374" y="7430"/>
                  </a:cubicBezTo>
                  <a:cubicBezTo>
                    <a:pt x="396" y="7386"/>
                    <a:pt x="455" y="7335"/>
                    <a:pt x="440" y="7305"/>
                  </a:cubicBezTo>
                  <a:cubicBezTo>
                    <a:pt x="440" y="7291"/>
                    <a:pt x="433" y="7283"/>
                    <a:pt x="418" y="7283"/>
                  </a:cubicBezTo>
                  <a:cubicBezTo>
                    <a:pt x="404" y="7283"/>
                    <a:pt x="381" y="7298"/>
                    <a:pt x="352" y="7335"/>
                  </a:cubicBezTo>
                  <a:cubicBezTo>
                    <a:pt x="330" y="7364"/>
                    <a:pt x="308" y="7379"/>
                    <a:pt x="286" y="7379"/>
                  </a:cubicBezTo>
                  <a:cubicBezTo>
                    <a:pt x="257" y="7379"/>
                    <a:pt x="235" y="7357"/>
                    <a:pt x="228" y="7335"/>
                  </a:cubicBezTo>
                  <a:cubicBezTo>
                    <a:pt x="213" y="7305"/>
                    <a:pt x="242" y="7232"/>
                    <a:pt x="147" y="7159"/>
                  </a:cubicBezTo>
                  <a:cubicBezTo>
                    <a:pt x="59" y="7078"/>
                    <a:pt x="45" y="6998"/>
                    <a:pt x="81" y="6932"/>
                  </a:cubicBezTo>
                  <a:cubicBezTo>
                    <a:pt x="118" y="6858"/>
                    <a:pt x="140" y="6851"/>
                    <a:pt x="118" y="6792"/>
                  </a:cubicBezTo>
                  <a:cubicBezTo>
                    <a:pt x="88" y="6734"/>
                    <a:pt x="88" y="6682"/>
                    <a:pt x="140" y="6609"/>
                  </a:cubicBezTo>
                  <a:cubicBezTo>
                    <a:pt x="184" y="6543"/>
                    <a:pt x="191" y="6543"/>
                    <a:pt x="169" y="6463"/>
                  </a:cubicBezTo>
                  <a:cubicBezTo>
                    <a:pt x="147" y="6382"/>
                    <a:pt x="213" y="6309"/>
                    <a:pt x="213" y="6309"/>
                  </a:cubicBezTo>
                  <a:cubicBezTo>
                    <a:pt x="206" y="6258"/>
                    <a:pt x="228" y="6191"/>
                    <a:pt x="272" y="6148"/>
                  </a:cubicBezTo>
                  <a:cubicBezTo>
                    <a:pt x="316" y="6104"/>
                    <a:pt x="330" y="6045"/>
                    <a:pt x="308" y="6001"/>
                  </a:cubicBezTo>
                  <a:cubicBezTo>
                    <a:pt x="286" y="5957"/>
                    <a:pt x="228" y="5877"/>
                    <a:pt x="206" y="5774"/>
                  </a:cubicBezTo>
                  <a:cubicBezTo>
                    <a:pt x="184" y="5671"/>
                    <a:pt x="213" y="5569"/>
                    <a:pt x="250" y="5525"/>
                  </a:cubicBezTo>
                  <a:cubicBezTo>
                    <a:pt x="286" y="5481"/>
                    <a:pt x="294" y="5408"/>
                    <a:pt x="352" y="5312"/>
                  </a:cubicBezTo>
                  <a:cubicBezTo>
                    <a:pt x="411" y="5210"/>
                    <a:pt x="455" y="5158"/>
                    <a:pt x="477" y="5070"/>
                  </a:cubicBezTo>
                  <a:cubicBezTo>
                    <a:pt x="499" y="4982"/>
                    <a:pt x="536" y="4960"/>
                    <a:pt x="579" y="4924"/>
                  </a:cubicBezTo>
                  <a:cubicBezTo>
                    <a:pt x="623" y="4887"/>
                    <a:pt x="601" y="4631"/>
                    <a:pt x="623" y="4550"/>
                  </a:cubicBezTo>
                  <a:cubicBezTo>
                    <a:pt x="645" y="4470"/>
                    <a:pt x="601" y="4404"/>
                    <a:pt x="667" y="4345"/>
                  </a:cubicBezTo>
                  <a:cubicBezTo>
                    <a:pt x="741" y="4286"/>
                    <a:pt x="770" y="4206"/>
                    <a:pt x="770" y="4081"/>
                  </a:cubicBezTo>
                  <a:cubicBezTo>
                    <a:pt x="770" y="3957"/>
                    <a:pt x="865" y="3832"/>
                    <a:pt x="917" y="3788"/>
                  </a:cubicBezTo>
                  <a:cubicBezTo>
                    <a:pt x="975" y="3744"/>
                    <a:pt x="1056" y="3663"/>
                    <a:pt x="1078" y="3634"/>
                  </a:cubicBezTo>
                  <a:cubicBezTo>
                    <a:pt x="1100" y="3598"/>
                    <a:pt x="1144" y="3495"/>
                    <a:pt x="1195" y="3436"/>
                  </a:cubicBezTo>
                  <a:cubicBezTo>
                    <a:pt x="1239" y="3378"/>
                    <a:pt x="1268" y="3356"/>
                    <a:pt x="1349" y="3334"/>
                  </a:cubicBezTo>
                  <a:cubicBezTo>
                    <a:pt x="1429" y="3312"/>
                    <a:pt x="1444" y="3158"/>
                    <a:pt x="1473" y="3063"/>
                  </a:cubicBezTo>
                  <a:cubicBezTo>
                    <a:pt x="1503" y="2989"/>
                    <a:pt x="1598" y="2887"/>
                    <a:pt x="1635" y="2843"/>
                  </a:cubicBezTo>
                  <a:cubicBezTo>
                    <a:pt x="1664" y="2806"/>
                    <a:pt x="1664" y="2806"/>
                    <a:pt x="1664" y="2806"/>
                  </a:cubicBezTo>
                  <a:cubicBezTo>
                    <a:pt x="1664" y="2806"/>
                    <a:pt x="1664" y="2799"/>
                    <a:pt x="1657" y="2791"/>
                  </a:cubicBezTo>
                  <a:cubicBezTo>
                    <a:pt x="1700" y="2770"/>
                    <a:pt x="1700" y="2770"/>
                    <a:pt x="1700" y="2770"/>
                  </a:cubicBezTo>
                  <a:lnTo>
                    <a:pt x="1700" y="2770"/>
                  </a:lnTo>
                  <a:cubicBezTo>
                    <a:pt x="1708" y="2770"/>
                    <a:pt x="1767" y="2762"/>
                    <a:pt x="1825" y="2623"/>
                  </a:cubicBezTo>
                  <a:cubicBezTo>
                    <a:pt x="1898" y="2447"/>
                    <a:pt x="1986" y="2374"/>
                    <a:pt x="1994" y="2293"/>
                  </a:cubicBezTo>
                  <a:cubicBezTo>
                    <a:pt x="2008" y="2213"/>
                    <a:pt x="1986" y="2147"/>
                    <a:pt x="2008" y="2110"/>
                  </a:cubicBezTo>
                  <a:cubicBezTo>
                    <a:pt x="2030" y="2081"/>
                    <a:pt x="2096" y="2044"/>
                    <a:pt x="2074" y="1978"/>
                  </a:cubicBezTo>
                  <a:cubicBezTo>
                    <a:pt x="2052" y="1905"/>
                    <a:pt x="2089" y="1853"/>
                    <a:pt x="2155" y="1802"/>
                  </a:cubicBezTo>
                  <a:cubicBezTo>
                    <a:pt x="2221" y="1758"/>
                    <a:pt x="2243" y="1773"/>
                    <a:pt x="2243" y="1678"/>
                  </a:cubicBezTo>
                  <a:cubicBezTo>
                    <a:pt x="2243" y="1590"/>
                    <a:pt x="2191" y="1627"/>
                    <a:pt x="2213" y="1553"/>
                  </a:cubicBezTo>
                  <a:cubicBezTo>
                    <a:pt x="2236" y="1487"/>
                    <a:pt x="2294" y="1480"/>
                    <a:pt x="2294" y="1421"/>
                  </a:cubicBezTo>
                  <a:cubicBezTo>
                    <a:pt x="2294" y="1363"/>
                    <a:pt x="2345" y="1216"/>
                    <a:pt x="2294" y="1216"/>
                  </a:cubicBezTo>
                  <a:lnTo>
                    <a:pt x="2294" y="1216"/>
                  </a:lnTo>
                  <a:cubicBezTo>
                    <a:pt x="2287" y="1216"/>
                    <a:pt x="2279" y="1216"/>
                    <a:pt x="2272" y="1216"/>
                  </a:cubicBezTo>
                  <a:cubicBezTo>
                    <a:pt x="2221" y="1216"/>
                    <a:pt x="2169" y="1179"/>
                    <a:pt x="2213" y="1128"/>
                  </a:cubicBezTo>
                  <a:cubicBezTo>
                    <a:pt x="2257" y="1070"/>
                    <a:pt x="2199" y="1048"/>
                    <a:pt x="2155" y="982"/>
                  </a:cubicBezTo>
                  <a:cubicBezTo>
                    <a:pt x="2111" y="908"/>
                    <a:pt x="2140" y="718"/>
                    <a:pt x="2140" y="718"/>
                  </a:cubicBezTo>
                  <a:cubicBezTo>
                    <a:pt x="2140" y="718"/>
                    <a:pt x="2140" y="718"/>
                    <a:pt x="2148" y="718"/>
                  </a:cubicBezTo>
                  <a:cubicBezTo>
                    <a:pt x="2155" y="732"/>
                    <a:pt x="2162" y="747"/>
                    <a:pt x="2162" y="747"/>
                  </a:cubicBezTo>
                  <a:cubicBezTo>
                    <a:pt x="2162" y="747"/>
                    <a:pt x="2155" y="732"/>
                    <a:pt x="2148" y="718"/>
                  </a:cubicBezTo>
                  <a:cubicBezTo>
                    <a:pt x="2148" y="718"/>
                    <a:pt x="2162" y="710"/>
                    <a:pt x="2199" y="696"/>
                  </a:cubicBezTo>
                  <a:cubicBezTo>
                    <a:pt x="2206" y="696"/>
                    <a:pt x="2206" y="696"/>
                    <a:pt x="2206" y="696"/>
                  </a:cubicBezTo>
                  <a:cubicBezTo>
                    <a:pt x="2265" y="696"/>
                    <a:pt x="2353" y="879"/>
                    <a:pt x="2426" y="923"/>
                  </a:cubicBezTo>
                  <a:cubicBezTo>
                    <a:pt x="2440" y="930"/>
                    <a:pt x="2455" y="930"/>
                    <a:pt x="2462" y="930"/>
                  </a:cubicBezTo>
                  <a:cubicBezTo>
                    <a:pt x="2521" y="930"/>
                    <a:pt x="2550" y="850"/>
                    <a:pt x="2529" y="777"/>
                  </a:cubicBezTo>
                  <a:cubicBezTo>
                    <a:pt x="2507" y="681"/>
                    <a:pt x="2529" y="601"/>
                    <a:pt x="2617" y="593"/>
                  </a:cubicBezTo>
                  <a:cubicBezTo>
                    <a:pt x="2631" y="593"/>
                    <a:pt x="2638" y="593"/>
                    <a:pt x="2638" y="593"/>
                  </a:cubicBezTo>
                  <a:cubicBezTo>
                    <a:pt x="2712" y="593"/>
                    <a:pt x="2704" y="644"/>
                    <a:pt x="2734" y="828"/>
                  </a:cubicBezTo>
                  <a:cubicBezTo>
                    <a:pt x="2748" y="923"/>
                    <a:pt x="2807" y="945"/>
                    <a:pt x="2866" y="945"/>
                  </a:cubicBezTo>
                  <a:cubicBezTo>
                    <a:pt x="2931" y="945"/>
                    <a:pt x="3005" y="908"/>
                    <a:pt x="3005" y="908"/>
                  </a:cubicBezTo>
                  <a:cubicBezTo>
                    <a:pt x="3019" y="967"/>
                    <a:pt x="3041" y="982"/>
                    <a:pt x="3129" y="982"/>
                  </a:cubicBezTo>
                  <a:cubicBezTo>
                    <a:pt x="3217" y="982"/>
                    <a:pt x="3166" y="1077"/>
                    <a:pt x="3093" y="1091"/>
                  </a:cubicBezTo>
                  <a:cubicBezTo>
                    <a:pt x="3027" y="1106"/>
                    <a:pt x="3041" y="1077"/>
                    <a:pt x="3027" y="1253"/>
                  </a:cubicBezTo>
                  <a:cubicBezTo>
                    <a:pt x="3027" y="1297"/>
                    <a:pt x="3034" y="1319"/>
                    <a:pt x="3056" y="1319"/>
                  </a:cubicBezTo>
                  <a:cubicBezTo>
                    <a:pt x="3100" y="1319"/>
                    <a:pt x="3188" y="1209"/>
                    <a:pt x="3217" y="1194"/>
                  </a:cubicBezTo>
                  <a:cubicBezTo>
                    <a:pt x="3269" y="1172"/>
                    <a:pt x="3247" y="1150"/>
                    <a:pt x="3269" y="1070"/>
                  </a:cubicBezTo>
                  <a:cubicBezTo>
                    <a:pt x="3283" y="1018"/>
                    <a:pt x="3298" y="982"/>
                    <a:pt x="3327" y="982"/>
                  </a:cubicBezTo>
                  <a:cubicBezTo>
                    <a:pt x="3342" y="982"/>
                    <a:pt x="3364" y="996"/>
                    <a:pt x="3393" y="1011"/>
                  </a:cubicBezTo>
                  <a:cubicBezTo>
                    <a:pt x="3408" y="1026"/>
                    <a:pt x="3422" y="1033"/>
                    <a:pt x="3437" y="1033"/>
                  </a:cubicBezTo>
                  <a:cubicBezTo>
                    <a:pt x="3474" y="1033"/>
                    <a:pt x="3481" y="974"/>
                    <a:pt x="3503" y="930"/>
                  </a:cubicBezTo>
                  <a:cubicBezTo>
                    <a:pt x="3510" y="916"/>
                    <a:pt x="3525" y="916"/>
                    <a:pt x="3547" y="916"/>
                  </a:cubicBezTo>
                  <a:cubicBezTo>
                    <a:pt x="3591" y="916"/>
                    <a:pt x="3650" y="952"/>
                    <a:pt x="3650" y="952"/>
                  </a:cubicBezTo>
                  <a:cubicBezTo>
                    <a:pt x="3562" y="820"/>
                    <a:pt x="3562" y="820"/>
                    <a:pt x="3562" y="820"/>
                  </a:cubicBezTo>
                  <a:cubicBezTo>
                    <a:pt x="3562" y="820"/>
                    <a:pt x="3562" y="820"/>
                    <a:pt x="3620" y="777"/>
                  </a:cubicBezTo>
                  <a:cubicBezTo>
                    <a:pt x="3620" y="777"/>
                    <a:pt x="3620" y="777"/>
                    <a:pt x="3620" y="769"/>
                  </a:cubicBezTo>
                  <a:cubicBezTo>
                    <a:pt x="3620" y="777"/>
                    <a:pt x="3620" y="784"/>
                    <a:pt x="3620" y="791"/>
                  </a:cubicBezTo>
                  <a:cubicBezTo>
                    <a:pt x="3620" y="813"/>
                    <a:pt x="3620" y="828"/>
                    <a:pt x="3620" y="828"/>
                  </a:cubicBezTo>
                  <a:cubicBezTo>
                    <a:pt x="3620" y="828"/>
                    <a:pt x="3620" y="813"/>
                    <a:pt x="3620" y="791"/>
                  </a:cubicBezTo>
                  <a:cubicBezTo>
                    <a:pt x="3620" y="784"/>
                    <a:pt x="3620" y="777"/>
                    <a:pt x="3620" y="769"/>
                  </a:cubicBezTo>
                  <a:cubicBezTo>
                    <a:pt x="3635" y="762"/>
                    <a:pt x="3650" y="762"/>
                    <a:pt x="3672" y="762"/>
                  </a:cubicBezTo>
                  <a:cubicBezTo>
                    <a:pt x="3708" y="762"/>
                    <a:pt x="3745" y="769"/>
                    <a:pt x="3789" y="769"/>
                  </a:cubicBezTo>
                  <a:cubicBezTo>
                    <a:pt x="3803" y="769"/>
                    <a:pt x="3818" y="769"/>
                    <a:pt x="3833" y="762"/>
                  </a:cubicBezTo>
                  <a:cubicBezTo>
                    <a:pt x="3899" y="725"/>
                    <a:pt x="3972" y="740"/>
                    <a:pt x="3972" y="630"/>
                  </a:cubicBezTo>
                  <a:cubicBezTo>
                    <a:pt x="3972" y="513"/>
                    <a:pt x="4082" y="527"/>
                    <a:pt x="4192" y="513"/>
                  </a:cubicBezTo>
                  <a:cubicBezTo>
                    <a:pt x="4309" y="505"/>
                    <a:pt x="4250" y="469"/>
                    <a:pt x="4272" y="425"/>
                  </a:cubicBezTo>
                  <a:cubicBezTo>
                    <a:pt x="4294" y="381"/>
                    <a:pt x="4294" y="322"/>
                    <a:pt x="4250" y="278"/>
                  </a:cubicBezTo>
                  <a:cubicBezTo>
                    <a:pt x="4236" y="256"/>
                    <a:pt x="4214" y="249"/>
                    <a:pt x="4192" y="249"/>
                  </a:cubicBezTo>
                  <a:cubicBezTo>
                    <a:pt x="4170" y="249"/>
                    <a:pt x="4155" y="256"/>
                    <a:pt x="4133" y="256"/>
                  </a:cubicBezTo>
                  <a:cubicBezTo>
                    <a:pt x="4126" y="256"/>
                    <a:pt x="4111" y="256"/>
                    <a:pt x="4104" y="256"/>
                  </a:cubicBezTo>
                  <a:cubicBezTo>
                    <a:pt x="4045" y="241"/>
                    <a:pt x="4045" y="220"/>
                    <a:pt x="4045" y="220"/>
                  </a:cubicBezTo>
                  <a:cubicBezTo>
                    <a:pt x="4045" y="220"/>
                    <a:pt x="4067" y="153"/>
                    <a:pt x="4119" y="117"/>
                  </a:cubicBezTo>
                  <a:cubicBezTo>
                    <a:pt x="4162" y="80"/>
                    <a:pt x="4221" y="73"/>
                    <a:pt x="4272" y="58"/>
                  </a:cubicBezTo>
                  <a:cubicBezTo>
                    <a:pt x="4280" y="58"/>
                    <a:pt x="4280" y="58"/>
                    <a:pt x="4287" y="58"/>
                  </a:cubicBezTo>
                  <a:cubicBezTo>
                    <a:pt x="4324" y="58"/>
                    <a:pt x="4331" y="102"/>
                    <a:pt x="4360" y="102"/>
                  </a:cubicBezTo>
                  <a:cubicBezTo>
                    <a:pt x="4368" y="102"/>
                    <a:pt x="4368" y="95"/>
                    <a:pt x="4375" y="95"/>
                  </a:cubicBezTo>
                  <a:cubicBezTo>
                    <a:pt x="4419" y="73"/>
                    <a:pt x="4419" y="44"/>
                    <a:pt x="4441" y="44"/>
                  </a:cubicBezTo>
                  <a:cubicBezTo>
                    <a:pt x="4448" y="44"/>
                    <a:pt x="4448" y="44"/>
                    <a:pt x="4456" y="51"/>
                  </a:cubicBezTo>
                  <a:cubicBezTo>
                    <a:pt x="4492" y="58"/>
                    <a:pt x="4492" y="102"/>
                    <a:pt x="4522" y="132"/>
                  </a:cubicBezTo>
                  <a:cubicBezTo>
                    <a:pt x="4529" y="132"/>
                    <a:pt x="4536" y="132"/>
                    <a:pt x="4543" y="132"/>
                  </a:cubicBezTo>
                  <a:cubicBezTo>
                    <a:pt x="4573" y="132"/>
                    <a:pt x="4602" y="102"/>
                    <a:pt x="4646" y="73"/>
                  </a:cubicBezTo>
                  <a:cubicBezTo>
                    <a:pt x="4690" y="44"/>
                    <a:pt x="4705" y="36"/>
                    <a:pt x="4727" y="36"/>
                  </a:cubicBezTo>
                  <a:lnTo>
                    <a:pt x="4727" y="0"/>
                  </a:lnTo>
                  <a:lnTo>
                    <a:pt x="4727" y="0"/>
                  </a:lnTo>
                  <a:lnTo>
                    <a:pt x="4727" y="0"/>
                  </a:lnTo>
                  <a:cubicBezTo>
                    <a:pt x="4705" y="0"/>
                    <a:pt x="4683" y="14"/>
                    <a:pt x="4653" y="36"/>
                  </a:cubicBezTo>
                  <a:cubicBezTo>
                    <a:pt x="4631" y="44"/>
                    <a:pt x="4631" y="44"/>
                    <a:pt x="4631" y="44"/>
                  </a:cubicBezTo>
                  <a:cubicBezTo>
                    <a:pt x="4617" y="58"/>
                    <a:pt x="4602" y="66"/>
                    <a:pt x="4588" y="80"/>
                  </a:cubicBezTo>
                  <a:cubicBezTo>
                    <a:pt x="4573" y="88"/>
                    <a:pt x="4551" y="102"/>
                    <a:pt x="4543" y="102"/>
                  </a:cubicBezTo>
                  <a:cubicBezTo>
                    <a:pt x="4529" y="95"/>
                    <a:pt x="4522" y="88"/>
                    <a:pt x="4522" y="73"/>
                  </a:cubicBezTo>
                  <a:cubicBezTo>
                    <a:pt x="4507" y="51"/>
                    <a:pt x="4492" y="29"/>
                    <a:pt x="4463" y="22"/>
                  </a:cubicBezTo>
                  <a:cubicBezTo>
                    <a:pt x="4456" y="14"/>
                    <a:pt x="4448" y="14"/>
                    <a:pt x="4441" y="14"/>
                  </a:cubicBezTo>
                  <a:cubicBezTo>
                    <a:pt x="4419" y="14"/>
                    <a:pt x="4404" y="29"/>
                    <a:pt x="4397" y="44"/>
                  </a:cubicBezTo>
                  <a:cubicBezTo>
                    <a:pt x="4382" y="51"/>
                    <a:pt x="4375" y="58"/>
                    <a:pt x="4360" y="66"/>
                  </a:cubicBezTo>
                  <a:lnTo>
                    <a:pt x="4360" y="66"/>
                  </a:lnTo>
                  <a:cubicBezTo>
                    <a:pt x="4360" y="66"/>
                    <a:pt x="4353" y="66"/>
                    <a:pt x="4353" y="58"/>
                  </a:cubicBezTo>
                  <a:cubicBezTo>
                    <a:pt x="4338" y="44"/>
                    <a:pt x="4317" y="29"/>
                    <a:pt x="4287" y="29"/>
                  </a:cubicBezTo>
                  <a:cubicBezTo>
                    <a:pt x="4280" y="29"/>
                    <a:pt x="4272" y="29"/>
                    <a:pt x="4265" y="29"/>
                  </a:cubicBezTo>
                  <a:cubicBezTo>
                    <a:pt x="4207" y="44"/>
                    <a:pt x="4148" y="51"/>
                    <a:pt x="4097" y="95"/>
                  </a:cubicBezTo>
                  <a:cubicBezTo>
                    <a:pt x="4045" y="132"/>
                    <a:pt x="4023" y="205"/>
                    <a:pt x="4016" y="212"/>
                  </a:cubicBezTo>
                  <a:lnTo>
                    <a:pt x="4016" y="212"/>
                  </a:lnTo>
                  <a:cubicBezTo>
                    <a:pt x="4016" y="220"/>
                    <a:pt x="4016" y="220"/>
                    <a:pt x="4016" y="220"/>
                  </a:cubicBezTo>
                  <a:cubicBezTo>
                    <a:pt x="4016" y="227"/>
                    <a:pt x="4023" y="271"/>
                    <a:pt x="4097" y="285"/>
                  </a:cubicBezTo>
                  <a:cubicBezTo>
                    <a:pt x="4111" y="285"/>
                    <a:pt x="4119" y="285"/>
                    <a:pt x="4133" y="285"/>
                  </a:cubicBezTo>
                  <a:cubicBezTo>
                    <a:pt x="4141" y="285"/>
                    <a:pt x="4155" y="285"/>
                    <a:pt x="4170" y="285"/>
                  </a:cubicBezTo>
                  <a:cubicBezTo>
                    <a:pt x="4177" y="285"/>
                    <a:pt x="4184" y="278"/>
                    <a:pt x="4192" y="278"/>
                  </a:cubicBezTo>
                  <a:cubicBezTo>
                    <a:pt x="4207" y="278"/>
                    <a:pt x="4214" y="285"/>
                    <a:pt x="4229" y="300"/>
                  </a:cubicBezTo>
                  <a:cubicBezTo>
                    <a:pt x="4272" y="344"/>
                    <a:pt x="4258" y="388"/>
                    <a:pt x="4250" y="410"/>
                  </a:cubicBezTo>
                  <a:cubicBezTo>
                    <a:pt x="4236" y="432"/>
                    <a:pt x="4236" y="454"/>
                    <a:pt x="4236" y="461"/>
                  </a:cubicBezTo>
                  <a:cubicBezTo>
                    <a:pt x="4236" y="469"/>
                    <a:pt x="4236" y="469"/>
                    <a:pt x="4236" y="476"/>
                  </a:cubicBezTo>
                  <a:cubicBezTo>
                    <a:pt x="4236" y="476"/>
                    <a:pt x="4221" y="483"/>
                    <a:pt x="4192" y="483"/>
                  </a:cubicBezTo>
                  <a:cubicBezTo>
                    <a:pt x="4177" y="483"/>
                    <a:pt x="4162" y="483"/>
                    <a:pt x="4148" y="491"/>
                  </a:cubicBezTo>
                  <a:cubicBezTo>
                    <a:pt x="4045" y="491"/>
                    <a:pt x="3935" y="498"/>
                    <a:pt x="3935" y="630"/>
                  </a:cubicBezTo>
                  <a:cubicBezTo>
                    <a:pt x="3935" y="689"/>
                    <a:pt x="3913" y="696"/>
                    <a:pt x="3869" y="718"/>
                  </a:cubicBezTo>
                  <a:cubicBezTo>
                    <a:pt x="3855" y="718"/>
                    <a:pt x="3840" y="725"/>
                    <a:pt x="3818" y="732"/>
                  </a:cubicBezTo>
                  <a:cubicBezTo>
                    <a:pt x="3811" y="740"/>
                    <a:pt x="3796" y="740"/>
                    <a:pt x="3789" y="740"/>
                  </a:cubicBezTo>
                  <a:cubicBezTo>
                    <a:pt x="3767" y="740"/>
                    <a:pt x="3752" y="740"/>
                    <a:pt x="3730" y="732"/>
                  </a:cubicBezTo>
                  <a:cubicBezTo>
                    <a:pt x="3708" y="732"/>
                    <a:pt x="3686" y="725"/>
                    <a:pt x="3672" y="725"/>
                  </a:cubicBezTo>
                  <a:cubicBezTo>
                    <a:pt x="3664" y="725"/>
                    <a:pt x="3657" y="725"/>
                    <a:pt x="3650" y="732"/>
                  </a:cubicBezTo>
                  <a:cubicBezTo>
                    <a:pt x="3650" y="710"/>
                    <a:pt x="3650" y="710"/>
                    <a:pt x="3650" y="710"/>
                  </a:cubicBezTo>
                  <a:cubicBezTo>
                    <a:pt x="3598" y="747"/>
                    <a:pt x="3598" y="747"/>
                    <a:pt x="3598" y="747"/>
                  </a:cubicBezTo>
                  <a:cubicBezTo>
                    <a:pt x="3591" y="754"/>
                    <a:pt x="3591" y="754"/>
                    <a:pt x="3591" y="754"/>
                  </a:cubicBezTo>
                  <a:cubicBezTo>
                    <a:pt x="3591" y="762"/>
                    <a:pt x="3591" y="762"/>
                    <a:pt x="3591" y="762"/>
                  </a:cubicBezTo>
                  <a:cubicBezTo>
                    <a:pt x="3540" y="798"/>
                    <a:pt x="3540" y="798"/>
                    <a:pt x="3540" y="798"/>
                  </a:cubicBezTo>
                  <a:cubicBezTo>
                    <a:pt x="3518" y="813"/>
                    <a:pt x="3518" y="813"/>
                    <a:pt x="3518" y="813"/>
                  </a:cubicBezTo>
                  <a:cubicBezTo>
                    <a:pt x="3532" y="835"/>
                    <a:pt x="3532" y="835"/>
                    <a:pt x="3532" y="835"/>
                  </a:cubicBezTo>
                  <a:cubicBezTo>
                    <a:pt x="3569" y="886"/>
                    <a:pt x="3569" y="886"/>
                    <a:pt x="3569" y="886"/>
                  </a:cubicBezTo>
                  <a:cubicBezTo>
                    <a:pt x="3562" y="886"/>
                    <a:pt x="3554" y="879"/>
                    <a:pt x="3547" y="879"/>
                  </a:cubicBezTo>
                  <a:cubicBezTo>
                    <a:pt x="3518" y="879"/>
                    <a:pt x="3488" y="894"/>
                    <a:pt x="3481" y="916"/>
                  </a:cubicBezTo>
                  <a:cubicBezTo>
                    <a:pt x="3467" y="930"/>
                    <a:pt x="3459" y="952"/>
                    <a:pt x="3452" y="967"/>
                  </a:cubicBezTo>
                  <a:cubicBezTo>
                    <a:pt x="3452" y="974"/>
                    <a:pt x="3444" y="996"/>
                    <a:pt x="3437" y="1003"/>
                  </a:cubicBezTo>
                  <a:cubicBezTo>
                    <a:pt x="3437" y="1003"/>
                    <a:pt x="3430" y="1003"/>
                    <a:pt x="3408" y="989"/>
                  </a:cubicBezTo>
                  <a:cubicBezTo>
                    <a:pt x="3379" y="967"/>
                    <a:pt x="3349" y="952"/>
                    <a:pt x="3327" y="952"/>
                  </a:cubicBezTo>
                  <a:cubicBezTo>
                    <a:pt x="3269" y="952"/>
                    <a:pt x="3247" y="1018"/>
                    <a:pt x="3239" y="1062"/>
                  </a:cubicBezTo>
                  <a:cubicBezTo>
                    <a:pt x="3225" y="1091"/>
                    <a:pt x="3225" y="1113"/>
                    <a:pt x="3225" y="1136"/>
                  </a:cubicBezTo>
                  <a:cubicBezTo>
                    <a:pt x="3217" y="1158"/>
                    <a:pt x="3217" y="1158"/>
                    <a:pt x="3210" y="1165"/>
                  </a:cubicBezTo>
                  <a:cubicBezTo>
                    <a:pt x="3195" y="1172"/>
                    <a:pt x="3173" y="1187"/>
                    <a:pt x="3144" y="1216"/>
                  </a:cubicBezTo>
                  <a:cubicBezTo>
                    <a:pt x="3122" y="1238"/>
                    <a:pt x="3078" y="1275"/>
                    <a:pt x="3056" y="1289"/>
                  </a:cubicBezTo>
                  <a:cubicBezTo>
                    <a:pt x="3056" y="1282"/>
                    <a:pt x="3056" y="1267"/>
                    <a:pt x="3056" y="1253"/>
                  </a:cubicBezTo>
                  <a:cubicBezTo>
                    <a:pt x="3056" y="1231"/>
                    <a:pt x="3063" y="1209"/>
                    <a:pt x="3063" y="1194"/>
                  </a:cubicBezTo>
                  <a:cubicBezTo>
                    <a:pt x="3063" y="1165"/>
                    <a:pt x="3063" y="1136"/>
                    <a:pt x="3071" y="1128"/>
                  </a:cubicBezTo>
                  <a:lnTo>
                    <a:pt x="3078" y="1128"/>
                  </a:lnTo>
                  <a:cubicBezTo>
                    <a:pt x="3085" y="1121"/>
                    <a:pt x="3093" y="1121"/>
                    <a:pt x="3100" y="1121"/>
                  </a:cubicBezTo>
                  <a:cubicBezTo>
                    <a:pt x="3159" y="1113"/>
                    <a:pt x="3210" y="1055"/>
                    <a:pt x="3210" y="1003"/>
                  </a:cubicBezTo>
                  <a:cubicBezTo>
                    <a:pt x="3203" y="974"/>
                    <a:pt x="3181" y="945"/>
                    <a:pt x="3129" y="945"/>
                  </a:cubicBezTo>
                  <a:cubicBezTo>
                    <a:pt x="3041" y="945"/>
                    <a:pt x="3041" y="938"/>
                    <a:pt x="3034" y="901"/>
                  </a:cubicBezTo>
                  <a:cubicBezTo>
                    <a:pt x="3027" y="864"/>
                    <a:pt x="3027" y="864"/>
                    <a:pt x="3027" y="864"/>
                  </a:cubicBezTo>
                  <a:cubicBezTo>
                    <a:pt x="2990" y="886"/>
                    <a:pt x="2990" y="886"/>
                    <a:pt x="2990" y="886"/>
                  </a:cubicBezTo>
                  <a:cubicBezTo>
                    <a:pt x="2990" y="886"/>
                    <a:pt x="2924" y="916"/>
                    <a:pt x="2866" y="916"/>
                  </a:cubicBezTo>
                  <a:cubicBezTo>
                    <a:pt x="2807" y="916"/>
                    <a:pt x="2770" y="886"/>
                    <a:pt x="2763" y="828"/>
                  </a:cubicBezTo>
                  <a:cubicBezTo>
                    <a:pt x="2756" y="791"/>
                    <a:pt x="2756" y="762"/>
                    <a:pt x="2748" y="740"/>
                  </a:cubicBezTo>
                  <a:cubicBezTo>
                    <a:pt x="2734" y="622"/>
                    <a:pt x="2726" y="564"/>
                    <a:pt x="2638" y="564"/>
                  </a:cubicBezTo>
                  <a:cubicBezTo>
                    <a:pt x="2631" y="564"/>
                    <a:pt x="2624" y="564"/>
                    <a:pt x="2617" y="564"/>
                  </a:cubicBezTo>
                  <a:cubicBezTo>
                    <a:pt x="2572" y="571"/>
                    <a:pt x="2536" y="586"/>
                    <a:pt x="2514" y="622"/>
                  </a:cubicBezTo>
                  <a:cubicBezTo>
                    <a:pt x="2492" y="659"/>
                    <a:pt x="2485" y="718"/>
                    <a:pt x="2499" y="784"/>
                  </a:cubicBezTo>
                  <a:cubicBezTo>
                    <a:pt x="2507" y="820"/>
                    <a:pt x="2507" y="864"/>
                    <a:pt x="2485" y="886"/>
                  </a:cubicBezTo>
                  <a:cubicBezTo>
                    <a:pt x="2477" y="901"/>
                    <a:pt x="2470" y="901"/>
                    <a:pt x="2462" y="901"/>
                  </a:cubicBezTo>
                  <a:cubicBezTo>
                    <a:pt x="2455" y="901"/>
                    <a:pt x="2448" y="901"/>
                    <a:pt x="2440" y="894"/>
                  </a:cubicBezTo>
                  <a:cubicBezTo>
                    <a:pt x="2411" y="879"/>
                    <a:pt x="2375" y="828"/>
                    <a:pt x="2345" y="784"/>
                  </a:cubicBezTo>
                  <a:cubicBezTo>
                    <a:pt x="2294" y="718"/>
                    <a:pt x="2257" y="659"/>
                    <a:pt x="2206" y="659"/>
                  </a:cubicBezTo>
                  <a:cubicBezTo>
                    <a:pt x="2199" y="659"/>
                    <a:pt x="2199" y="667"/>
                    <a:pt x="2191" y="667"/>
                  </a:cubicBezTo>
                  <a:cubicBezTo>
                    <a:pt x="2133" y="689"/>
                    <a:pt x="2133" y="689"/>
                    <a:pt x="2133" y="689"/>
                  </a:cubicBezTo>
                  <a:lnTo>
                    <a:pt x="2133" y="689"/>
                  </a:lnTo>
                  <a:cubicBezTo>
                    <a:pt x="2126" y="689"/>
                    <a:pt x="2126" y="689"/>
                    <a:pt x="2126" y="689"/>
                  </a:cubicBezTo>
                  <a:cubicBezTo>
                    <a:pt x="2126" y="696"/>
                    <a:pt x="2126" y="696"/>
                    <a:pt x="2126" y="696"/>
                  </a:cubicBezTo>
                  <a:cubicBezTo>
                    <a:pt x="2103" y="703"/>
                    <a:pt x="2103" y="703"/>
                    <a:pt x="2103" y="703"/>
                  </a:cubicBezTo>
                  <a:cubicBezTo>
                    <a:pt x="2111" y="718"/>
                    <a:pt x="2111" y="718"/>
                    <a:pt x="2111" y="718"/>
                  </a:cubicBezTo>
                  <a:cubicBezTo>
                    <a:pt x="2103" y="762"/>
                    <a:pt x="2081" y="923"/>
                    <a:pt x="2133" y="996"/>
                  </a:cubicBezTo>
                  <a:cubicBezTo>
                    <a:pt x="2140" y="1018"/>
                    <a:pt x="2155" y="1033"/>
                    <a:pt x="2169" y="1048"/>
                  </a:cubicBezTo>
                  <a:cubicBezTo>
                    <a:pt x="2206" y="1084"/>
                    <a:pt x="2206" y="1084"/>
                    <a:pt x="2184" y="1106"/>
                  </a:cubicBezTo>
                  <a:cubicBezTo>
                    <a:pt x="2162" y="1136"/>
                    <a:pt x="2162" y="1165"/>
                    <a:pt x="2177" y="1194"/>
                  </a:cubicBezTo>
                  <a:cubicBezTo>
                    <a:pt x="2191" y="1223"/>
                    <a:pt x="2228" y="1245"/>
                    <a:pt x="2272" y="1245"/>
                  </a:cubicBezTo>
                  <a:cubicBezTo>
                    <a:pt x="2279" y="1245"/>
                    <a:pt x="2279" y="1245"/>
                    <a:pt x="2287" y="1245"/>
                  </a:cubicBezTo>
                  <a:cubicBezTo>
                    <a:pt x="2287" y="1267"/>
                    <a:pt x="2279" y="1311"/>
                    <a:pt x="2272" y="1341"/>
                  </a:cubicBezTo>
                  <a:cubicBezTo>
                    <a:pt x="2265" y="1370"/>
                    <a:pt x="2257" y="1399"/>
                    <a:pt x="2257" y="1421"/>
                  </a:cubicBezTo>
                  <a:cubicBezTo>
                    <a:pt x="2257" y="1436"/>
                    <a:pt x="2250" y="1451"/>
                    <a:pt x="2236" y="1465"/>
                  </a:cubicBezTo>
                  <a:cubicBezTo>
                    <a:pt x="2213" y="1487"/>
                    <a:pt x="2199" y="1509"/>
                    <a:pt x="2184" y="1546"/>
                  </a:cubicBezTo>
                  <a:cubicBezTo>
                    <a:pt x="2169" y="1597"/>
                    <a:pt x="2184" y="1612"/>
                    <a:pt x="2199" y="1634"/>
                  </a:cubicBezTo>
                  <a:cubicBezTo>
                    <a:pt x="2206" y="1641"/>
                    <a:pt x="2213" y="1648"/>
                    <a:pt x="2213" y="1678"/>
                  </a:cubicBezTo>
                  <a:cubicBezTo>
                    <a:pt x="2213" y="1736"/>
                    <a:pt x="2213" y="1736"/>
                    <a:pt x="2177" y="1758"/>
                  </a:cubicBezTo>
                  <a:cubicBezTo>
                    <a:pt x="2169" y="1766"/>
                    <a:pt x="2155" y="1773"/>
                    <a:pt x="2140" y="1780"/>
                  </a:cubicBezTo>
                  <a:cubicBezTo>
                    <a:pt x="2030" y="1853"/>
                    <a:pt x="2030" y="1934"/>
                    <a:pt x="2045" y="1986"/>
                  </a:cubicBezTo>
                  <a:cubicBezTo>
                    <a:pt x="2060" y="2015"/>
                    <a:pt x="2045" y="2029"/>
                    <a:pt x="2008" y="2066"/>
                  </a:cubicBezTo>
                  <a:cubicBezTo>
                    <a:pt x="2001" y="2073"/>
                    <a:pt x="1994" y="2081"/>
                    <a:pt x="1979" y="2095"/>
                  </a:cubicBezTo>
                  <a:cubicBezTo>
                    <a:pt x="1964" y="2125"/>
                    <a:pt x="1964" y="2154"/>
                    <a:pt x="1964" y="2198"/>
                  </a:cubicBezTo>
                  <a:cubicBezTo>
                    <a:pt x="1972" y="2227"/>
                    <a:pt x="1972" y="2257"/>
                    <a:pt x="1964" y="2286"/>
                  </a:cubicBezTo>
                  <a:cubicBezTo>
                    <a:pt x="1964" y="2322"/>
                    <a:pt x="1935" y="2359"/>
                    <a:pt x="1906" y="2410"/>
                  </a:cubicBezTo>
                  <a:cubicBezTo>
                    <a:pt x="1876" y="2462"/>
                    <a:pt x="1832" y="2520"/>
                    <a:pt x="1796" y="2608"/>
                  </a:cubicBezTo>
                  <a:cubicBezTo>
                    <a:pt x="1745" y="2733"/>
                    <a:pt x="1700" y="2740"/>
                    <a:pt x="1700" y="2740"/>
                  </a:cubicBezTo>
                  <a:cubicBezTo>
                    <a:pt x="1693" y="2740"/>
                    <a:pt x="1693" y="2740"/>
                    <a:pt x="1693" y="2740"/>
                  </a:cubicBezTo>
                  <a:cubicBezTo>
                    <a:pt x="1686" y="2740"/>
                    <a:pt x="1686" y="2740"/>
                    <a:pt x="1686" y="2740"/>
                  </a:cubicBezTo>
                  <a:cubicBezTo>
                    <a:pt x="1642" y="2770"/>
                    <a:pt x="1642" y="2770"/>
                    <a:pt x="1642" y="2770"/>
                  </a:cubicBezTo>
                  <a:cubicBezTo>
                    <a:pt x="1605" y="2784"/>
                    <a:pt x="1605" y="2784"/>
                    <a:pt x="1605" y="2784"/>
                  </a:cubicBezTo>
                  <a:cubicBezTo>
                    <a:pt x="1627" y="2806"/>
                    <a:pt x="1627" y="2806"/>
                    <a:pt x="1627" y="2806"/>
                  </a:cubicBezTo>
                  <a:cubicBezTo>
                    <a:pt x="1612" y="2821"/>
                    <a:pt x="1612" y="2821"/>
                    <a:pt x="1612" y="2821"/>
                  </a:cubicBezTo>
                  <a:cubicBezTo>
                    <a:pt x="1554" y="2887"/>
                    <a:pt x="1473" y="2982"/>
                    <a:pt x="1444" y="3055"/>
                  </a:cubicBezTo>
                  <a:cubicBezTo>
                    <a:pt x="1437" y="3077"/>
                    <a:pt x="1429" y="3114"/>
                    <a:pt x="1422" y="3143"/>
                  </a:cubicBezTo>
                  <a:cubicBezTo>
                    <a:pt x="1400" y="3209"/>
                    <a:pt x="1386" y="3297"/>
                    <a:pt x="1341" y="3304"/>
                  </a:cubicBezTo>
                  <a:cubicBezTo>
                    <a:pt x="1254" y="3334"/>
                    <a:pt x="1217" y="3356"/>
                    <a:pt x="1166" y="3422"/>
                  </a:cubicBezTo>
                  <a:cubicBezTo>
                    <a:pt x="1136" y="3458"/>
                    <a:pt x="1107" y="3517"/>
                    <a:pt x="1085" y="3561"/>
                  </a:cubicBezTo>
                  <a:cubicBezTo>
                    <a:pt x="1070" y="3583"/>
                    <a:pt x="1063" y="3605"/>
                    <a:pt x="1056" y="3612"/>
                  </a:cubicBezTo>
                  <a:cubicBezTo>
                    <a:pt x="1034" y="3641"/>
                    <a:pt x="960" y="3722"/>
                    <a:pt x="902" y="3766"/>
                  </a:cubicBezTo>
                  <a:cubicBezTo>
                    <a:pt x="836" y="3817"/>
                    <a:pt x="741" y="3949"/>
                    <a:pt x="741" y="4081"/>
                  </a:cubicBezTo>
                  <a:cubicBezTo>
                    <a:pt x="741" y="4198"/>
                    <a:pt x="711" y="4272"/>
                    <a:pt x="653" y="4323"/>
                  </a:cubicBezTo>
                  <a:cubicBezTo>
                    <a:pt x="594" y="4367"/>
                    <a:pt x="601" y="4418"/>
                    <a:pt x="601" y="4462"/>
                  </a:cubicBezTo>
                  <a:cubicBezTo>
                    <a:pt x="601" y="4491"/>
                    <a:pt x="601" y="4513"/>
                    <a:pt x="594" y="4543"/>
                  </a:cubicBezTo>
                  <a:cubicBezTo>
                    <a:pt x="587" y="4579"/>
                    <a:pt x="587" y="4638"/>
                    <a:pt x="579" y="4704"/>
                  </a:cubicBezTo>
                  <a:cubicBezTo>
                    <a:pt x="579" y="4770"/>
                    <a:pt x="579" y="4880"/>
                    <a:pt x="557" y="4902"/>
                  </a:cubicBezTo>
                  <a:lnTo>
                    <a:pt x="557" y="4902"/>
                  </a:lnTo>
                  <a:cubicBezTo>
                    <a:pt x="513" y="4939"/>
                    <a:pt x="469" y="4968"/>
                    <a:pt x="448" y="5063"/>
                  </a:cubicBezTo>
                  <a:cubicBezTo>
                    <a:pt x="433" y="5122"/>
                    <a:pt x="411" y="5158"/>
                    <a:pt x="381" y="5210"/>
                  </a:cubicBezTo>
                  <a:cubicBezTo>
                    <a:pt x="360" y="5232"/>
                    <a:pt x="345" y="5261"/>
                    <a:pt x="323" y="5298"/>
                  </a:cubicBezTo>
                  <a:cubicBezTo>
                    <a:pt x="294" y="5349"/>
                    <a:pt x="279" y="5393"/>
                    <a:pt x="264" y="5429"/>
                  </a:cubicBezTo>
                  <a:cubicBezTo>
                    <a:pt x="250" y="5459"/>
                    <a:pt x="242" y="5488"/>
                    <a:pt x="228" y="5503"/>
                  </a:cubicBezTo>
                  <a:cubicBezTo>
                    <a:pt x="184" y="5561"/>
                    <a:pt x="155" y="5679"/>
                    <a:pt x="176" y="5781"/>
                  </a:cubicBezTo>
                  <a:cubicBezTo>
                    <a:pt x="191" y="5862"/>
                    <a:pt x="235" y="5928"/>
                    <a:pt x="257" y="5979"/>
                  </a:cubicBezTo>
                  <a:cubicBezTo>
                    <a:pt x="272" y="5994"/>
                    <a:pt x="272" y="6001"/>
                    <a:pt x="279" y="6016"/>
                  </a:cubicBezTo>
                  <a:cubicBezTo>
                    <a:pt x="294" y="6045"/>
                    <a:pt x="286" y="6089"/>
                    <a:pt x="250" y="6126"/>
                  </a:cubicBezTo>
                  <a:cubicBezTo>
                    <a:pt x="206" y="6170"/>
                    <a:pt x="176" y="6243"/>
                    <a:pt x="184" y="6301"/>
                  </a:cubicBezTo>
                  <a:cubicBezTo>
                    <a:pt x="162" y="6323"/>
                    <a:pt x="118" y="6397"/>
                    <a:pt x="140" y="6470"/>
                  </a:cubicBezTo>
                  <a:cubicBezTo>
                    <a:pt x="155" y="6529"/>
                    <a:pt x="155" y="6529"/>
                    <a:pt x="125" y="6572"/>
                  </a:cubicBezTo>
                  <a:cubicBezTo>
                    <a:pt x="125" y="6580"/>
                    <a:pt x="118" y="6587"/>
                    <a:pt x="110" y="6595"/>
                  </a:cubicBezTo>
                  <a:cubicBezTo>
                    <a:pt x="67" y="6668"/>
                    <a:pt x="59" y="6734"/>
                    <a:pt x="88" y="6807"/>
                  </a:cubicBezTo>
                  <a:cubicBezTo>
                    <a:pt x="96" y="6836"/>
                    <a:pt x="96" y="6844"/>
                    <a:pt x="74" y="6873"/>
                  </a:cubicBezTo>
                  <a:cubicBezTo>
                    <a:pt x="67" y="6888"/>
                    <a:pt x="59" y="6902"/>
                    <a:pt x="52" y="6917"/>
                  </a:cubicBezTo>
                  <a:cubicBezTo>
                    <a:pt x="30" y="6968"/>
                    <a:pt x="0" y="7071"/>
                    <a:pt x="125" y="7181"/>
                  </a:cubicBezTo>
                  <a:cubicBezTo>
                    <a:pt x="191" y="7232"/>
                    <a:pt x="191" y="7276"/>
                    <a:pt x="191" y="7313"/>
                  </a:cubicBezTo>
                  <a:cubicBezTo>
                    <a:pt x="191" y="7320"/>
                    <a:pt x="198" y="7335"/>
                    <a:pt x="198" y="7349"/>
                  </a:cubicBezTo>
                  <a:cubicBezTo>
                    <a:pt x="213" y="7379"/>
                    <a:pt x="250" y="7408"/>
                    <a:pt x="286" y="7408"/>
                  </a:cubicBezTo>
                  <a:cubicBezTo>
                    <a:pt x="323" y="7408"/>
                    <a:pt x="352" y="7386"/>
                    <a:pt x="381" y="7357"/>
                  </a:cubicBezTo>
                  <a:cubicBezTo>
                    <a:pt x="396" y="7327"/>
                    <a:pt x="411" y="7320"/>
                    <a:pt x="411" y="7313"/>
                  </a:cubicBezTo>
                  <a:cubicBezTo>
                    <a:pt x="411" y="7320"/>
                    <a:pt x="396" y="7349"/>
                    <a:pt x="381" y="7364"/>
                  </a:cubicBezTo>
                  <a:cubicBezTo>
                    <a:pt x="374" y="7379"/>
                    <a:pt x="360" y="7393"/>
                    <a:pt x="345" y="7415"/>
                  </a:cubicBezTo>
                  <a:cubicBezTo>
                    <a:pt x="338" y="7437"/>
                    <a:pt x="338" y="7467"/>
                    <a:pt x="352" y="7489"/>
                  </a:cubicBezTo>
                  <a:cubicBezTo>
                    <a:pt x="374" y="7525"/>
                    <a:pt x="411" y="7540"/>
                    <a:pt x="455" y="7540"/>
                  </a:cubicBezTo>
                  <a:cubicBezTo>
                    <a:pt x="484" y="7540"/>
                    <a:pt x="506" y="7532"/>
                    <a:pt x="536" y="7525"/>
                  </a:cubicBezTo>
                  <a:cubicBezTo>
                    <a:pt x="579" y="7503"/>
                    <a:pt x="631" y="7474"/>
                    <a:pt x="682" y="7445"/>
                  </a:cubicBezTo>
                  <a:cubicBezTo>
                    <a:pt x="748" y="7408"/>
                    <a:pt x="836" y="7357"/>
                    <a:pt x="865" y="7357"/>
                  </a:cubicBezTo>
                  <a:cubicBezTo>
                    <a:pt x="872" y="7364"/>
                    <a:pt x="880" y="7393"/>
                    <a:pt x="887" y="7415"/>
                  </a:cubicBezTo>
                  <a:cubicBezTo>
                    <a:pt x="895" y="7452"/>
                    <a:pt x="909" y="7496"/>
                    <a:pt x="946" y="7503"/>
                  </a:cubicBezTo>
                  <a:cubicBezTo>
                    <a:pt x="968" y="7510"/>
                    <a:pt x="1012" y="7510"/>
                    <a:pt x="1034" y="7510"/>
                  </a:cubicBezTo>
                  <a:cubicBezTo>
                    <a:pt x="1078" y="7510"/>
                    <a:pt x="1319" y="7503"/>
                    <a:pt x="1407" y="7415"/>
                  </a:cubicBezTo>
                  <a:cubicBezTo>
                    <a:pt x="1466" y="7357"/>
                    <a:pt x="1620" y="7283"/>
                    <a:pt x="1708" y="7283"/>
                  </a:cubicBezTo>
                  <a:cubicBezTo>
                    <a:pt x="1737" y="7283"/>
                    <a:pt x="1759" y="7291"/>
                    <a:pt x="1767" y="7305"/>
                  </a:cubicBezTo>
                  <a:cubicBezTo>
                    <a:pt x="1818" y="7430"/>
                    <a:pt x="1920" y="7445"/>
                    <a:pt x="1994" y="7445"/>
                  </a:cubicBezTo>
                  <a:cubicBezTo>
                    <a:pt x="2045" y="7445"/>
                    <a:pt x="2096" y="7437"/>
                    <a:pt x="2169" y="7422"/>
                  </a:cubicBezTo>
                  <a:cubicBezTo>
                    <a:pt x="2206" y="7415"/>
                    <a:pt x="2206" y="7415"/>
                    <a:pt x="2206" y="7415"/>
                  </a:cubicBezTo>
                  <a:cubicBezTo>
                    <a:pt x="2199" y="7386"/>
                    <a:pt x="2199" y="7386"/>
                    <a:pt x="2199" y="7386"/>
                  </a:cubicBezTo>
                  <a:cubicBezTo>
                    <a:pt x="2191" y="7379"/>
                    <a:pt x="2184" y="7305"/>
                    <a:pt x="2257" y="7276"/>
                  </a:cubicBezTo>
                  <a:cubicBezTo>
                    <a:pt x="2272" y="7269"/>
                    <a:pt x="2294" y="7261"/>
                    <a:pt x="2309" y="7261"/>
                  </a:cubicBezTo>
                  <a:cubicBezTo>
                    <a:pt x="2360" y="7261"/>
                    <a:pt x="2397" y="7298"/>
                    <a:pt x="2411" y="7305"/>
                  </a:cubicBezTo>
                  <a:cubicBezTo>
                    <a:pt x="2411" y="7335"/>
                    <a:pt x="2411" y="7335"/>
                    <a:pt x="2411" y="7335"/>
                  </a:cubicBezTo>
                  <a:cubicBezTo>
                    <a:pt x="2440" y="7335"/>
                    <a:pt x="2440" y="7335"/>
                    <a:pt x="2440" y="7335"/>
                  </a:cubicBezTo>
                  <a:cubicBezTo>
                    <a:pt x="2470" y="7335"/>
                    <a:pt x="2536" y="7313"/>
                    <a:pt x="2550" y="7232"/>
                  </a:cubicBezTo>
                  <a:cubicBezTo>
                    <a:pt x="2550" y="7210"/>
                    <a:pt x="2558" y="7195"/>
                    <a:pt x="2572" y="7181"/>
                  </a:cubicBezTo>
                  <a:cubicBezTo>
                    <a:pt x="2580" y="7159"/>
                    <a:pt x="2594" y="7137"/>
                    <a:pt x="2587" y="7108"/>
                  </a:cubicBezTo>
                  <a:cubicBezTo>
                    <a:pt x="2580" y="7078"/>
                    <a:pt x="2558" y="7063"/>
                    <a:pt x="2507" y="7034"/>
                  </a:cubicBezTo>
                  <a:cubicBezTo>
                    <a:pt x="2477" y="7020"/>
                    <a:pt x="2448" y="7012"/>
                    <a:pt x="2426" y="7012"/>
                  </a:cubicBezTo>
                  <a:cubicBezTo>
                    <a:pt x="2375" y="7012"/>
                    <a:pt x="2353" y="7041"/>
                    <a:pt x="2338" y="7063"/>
                  </a:cubicBezTo>
                  <a:cubicBezTo>
                    <a:pt x="2331" y="7078"/>
                    <a:pt x="2323" y="7086"/>
                    <a:pt x="2309" y="7093"/>
                  </a:cubicBezTo>
                  <a:cubicBezTo>
                    <a:pt x="2287" y="7108"/>
                    <a:pt x="2250" y="7122"/>
                    <a:pt x="2221" y="7122"/>
                  </a:cubicBezTo>
                  <a:cubicBezTo>
                    <a:pt x="2199" y="7122"/>
                    <a:pt x="2162" y="7115"/>
                    <a:pt x="2133" y="7078"/>
                  </a:cubicBezTo>
                  <a:cubicBezTo>
                    <a:pt x="2111" y="7056"/>
                    <a:pt x="2103" y="7020"/>
                    <a:pt x="2118" y="6983"/>
                  </a:cubicBezTo>
                  <a:cubicBezTo>
                    <a:pt x="2126" y="6954"/>
                    <a:pt x="2140" y="6932"/>
                    <a:pt x="2155" y="6924"/>
                  </a:cubicBezTo>
                  <a:cubicBezTo>
                    <a:pt x="2213" y="6902"/>
                    <a:pt x="2228" y="6836"/>
                    <a:pt x="2236" y="6792"/>
                  </a:cubicBezTo>
                  <a:cubicBezTo>
                    <a:pt x="2236" y="6785"/>
                    <a:pt x="2236" y="6778"/>
                    <a:pt x="2243" y="6770"/>
                  </a:cubicBezTo>
                  <a:cubicBezTo>
                    <a:pt x="2250" y="6763"/>
                    <a:pt x="2287" y="6756"/>
                    <a:pt x="2309" y="6748"/>
                  </a:cubicBezTo>
                  <a:cubicBezTo>
                    <a:pt x="2353" y="6741"/>
                    <a:pt x="2397" y="6727"/>
                    <a:pt x="2433" y="6704"/>
                  </a:cubicBezTo>
                  <a:cubicBezTo>
                    <a:pt x="2455" y="6690"/>
                    <a:pt x="2470" y="6690"/>
                    <a:pt x="2477" y="6690"/>
                  </a:cubicBezTo>
                  <a:cubicBezTo>
                    <a:pt x="2499" y="6690"/>
                    <a:pt x="2507" y="6719"/>
                    <a:pt x="2514" y="6741"/>
                  </a:cubicBezTo>
                  <a:cubicBezTo>
                    <a:pt x="2514" y="6792"/>
                    <a:pt x="2543" y="6807"/>
                    <a:pt x="2572" y="6807"/>
                  </a:cubicBezTo>
                  <a:cubicBezTo>
                    <a:pt x="2609" y="6807"/>
                    <a:pt x="2646" y="6778"/>
                    <a:pt x="2653" y="6719"/>
                  </a:cubicBezTo>
                  <a:cubicBezTo>
                    <a:pt x="2741" y="6756"/>
                    <a:pt x="2800" y="6792"/>
                    <a:pt x="2800" y="6807"/>
                  </a:cubicBezTo>
                  <a:cubicBezTo>
                    <a:pt x="2785" y="6836"/>
                    <a:pt x="2756" y="6851"/>
                    <a:pt x="2734" y="6858"/>
                  </a:cubicBezTo>
                  <a:cubicBezTo>
                    <a:pt x="2697" y="6873"/>
                    <a:pt x="2660" y="6895"/>
                    <a:pt x="2646" y="6939"/>
                  </a:cubicBezTo>
                  <a:cubicBezTo>
                    <a:pt x="2638" y="6976"/>
                    <a:pt x="2646" y="6998"/>
                    <a:pt x="2653" y="7012"/>
                  </a:cubicBezTo>
                  <a:cubicBezTo>
                    <a:pt x="2682" y="7049"/>
                    <a:pt x="2756" y="7056"/>
                    <a:pt x="2778" y="7056"/>
                  </a:cubicBezTo>
                  <a:cubicBezTo>
                    <a:pt x="2792" y="7056"/>
                    <a:pt x="2807" y="7056"/>
                    <a:pt x="2822" y="7049"/>
                  </a:cubicBezTo>
                  <a:lnTo>
                    <a:pt x="2822" y="7049"/>
                  </a:lnTo>
                  <a:cubicBezTo>
                    <a:pt x="2836" y="7049"/>
                    <a:pt x="2858" y="7063"/>
                    <a:pt x="2873" y="7071"/>
                  </a:cubicBezTo>
                  <a:cubicBezTo>
                    <a:pt x="2895" y="7086"/>
                    <a:pt x="2917" y="7093"/>
                    <a:pt x="2939" y="7093"/>
                  </a:cubicBezTo>
                  <a:cubicBezTo>
                    <a:pt x="2961" y="7093"/>
                    <a:pt x="2976" y="7086"/>
                    <a:pt x="2990" y="7063"/>
                  </a:cubicBezTo>
                  <a:cubicBezTo>
                    <a:pt x="2998" y="7034"/>
                    <a:pt x="2983" y="6983"/>
                    <a:pt x="2953" y="6946"/>
                  </a:cubicBezTo>
                  <a:cubicBezTo>
                    <a:pt x="2961" y="6954"/>
                    <a:pt x="2976" y="6961"/>
                    <a:pt x="2990" y="6968"/>
                  </a:cubicBezTo>
                  <a:cubicBezTo>
                    <a:pt x="3071" y="7020"/>
                    <a:pt x="3071" y="7056"/>
                    <a:pt x="3063" y="7093"/>
                  </a:cubicBezTo>
                  <a:cubicBezTo>
                    <a:pt x="3063" y="7122"/>
                    <a:pt x="3063" y="7144"/>
                    <a:pt x="3078" y="7159"/>
                  </a:cubicBezTo>
                  <a:cubicBezTo>
                    <a:pt x="3100" y="7181"/>
                    <a:pt x="3122" y="7195"/>
                    <a:pt x="3159" y="7195"/>
                  </a:cubicBezTo>
                  <a:cubicBezTo>
                    <a:pt x="3188" y="7195"/>
                    <a:pt x="3225" y="7181"/>
                    <a:pt x="3261" y="7159"/>
                  </a:cubicBezTo>
                  <a:cubicBezTo>
                    <a:pt x="3335" y="7115"/>
                    <a:pt x="3408" y="7086"/>
                    <a:pt x="3474" y="7086"/>
                  </a:cubicBezTo>
                  <a:cubicBezTo>
                    <a:pt x="3496" y="7086"/>
                    <a:pt x="3510" y="7093"/>
                    <a:pt x="3532" y="7093"/>
                  </a:cubicBezTo>
                  <a:cubicBezTo>
                    <a:pt x="3635" y="7115"/>
                    <a:pt x="3781" y="7173"/>
                    <a:pt x="3840" y="7203"/>
                  </a:cubicBezTo>
                  <a:cubicBezTo>
                    <a:pt x="3862" y="7217"/>
                    <a:pt x="3906" y="7232"/>
                    <a:pt x="3950" y="7247"/>
                  </a:cubicBezTo>
                  <a:cubicBezTo>
                    <a:pt x="4038" y="7276"/>
                    <a:pt x="4207" y="7327"/>
                    <a:pt x="4221" y="7371"/>
                  </a:cubicBezTo>
                  <a:cubicBezTo>
                    <a:pt x="4309" y="7577"/>
                    <a:pt x="4382" y="7679"/>
                    <a:pt x="4448" y="7686"/>
                  </a:cubicBezTo>
                  <a:cubicBezTo>
                    <a:pt x="4463" y="7686"/>
                    <a:pt x="4478" y="7686"/>
                    <a:pt x="4485" y="7686"/>
                  </a:cubicBezTo>
                  <a:cubicBezTo>
                    <a:pt x="4558" y="7686"/>
                    <a:pt x="4617" y="7650"/>
                    <a:pt x="4675" y="7613"/>
                  </a:cubicBezTo>
                  <a:cubicBezTo>
                    <a:pt x="4683" y="7606"/>
                    <a:pt x="4690" y="7606"/>
                    <a:pt x="4705" y="7606"/>
                  </a:cubicBezTo>
                  <a:cubicBezTo>
                    <a:pt x="4734" y="7606"/>
                    <a:pt x="4771" y="7642"/>
                    <a:pt x="4785" y="7650"/>
                  </a:cubicBezTo>
                  <a:cubicBezTo>
                    <a:pt x="4800" y="7672"/>
                    <a:pt x="4800" y="7672"/>
                    <a:pt x="4800" y="7672"/>
                  </a:cubicBezTo>
                  <a:cubicBezTo>
                    <a:pt x="4822" y="7657"/>
                    <a:pt x="4822" y="7657"/>
                    <a:pt x="4822" y="7657"/>
                  </a:cubicBezTo>
                  <a:cubicBezTo>
                    <a:pt x="4902" y="7606"/>
                    <a:pt x="4902" y="7606"/>
                    <a:pt x="4902" y="7606"/>
                  </a:cubicBezTo>
                  <a:cubicBezTo>
                    <a:pt x="4925" y="7613"/>
                    <a:pt x="4969" y="7628"/>
                    <a:pt x="5005" y="7628"/>
                  </a:cubicBezTo>
                  <a:cubicBezTo>
                    <a:pt x="5034" y="7628"/>
                    <a:pt x="5057" y="7620"/>
                    <a:pt x="5071" y="7606"/>
                  </a:cubicBezTo>
                  <a:cubicBezTo>
                    <a:pt x="5093" y="7569"/>
                    <a:pt x="5093" y="7525"/>
                    <a:pt x="5086" y="7503"/>
                  </a:cubicBezTo>
                  <a:cubicBezTo>
                    <a:pt x="5086" y="7474"/>
                    <a:pt x="5086" y="7474"/>
                    <a:pt x="5086" y="7474"/>
                  </a:cubicBezTo>
                  <a:cubicBezTo>
                    <a:pt x="5064" y="7474"/>
                    <a:pt x="5064" y="7474"/>
                    <a:pt x="5064" y="7474"/>
                  </a:cubicBezTo>
                  <a:cubicBezTo>
                    <a:pt x="4976" y="7467"/>
                    <a:pt x="4910" y="7445"/>
                    <a:pt x="4881" y="7422"/>
                  </a:cubicBezTo>
                  <a:cubicBezTo>
                    <a:pt x="4866" y="7415"/>
                    <a:pt x="4851" y="7408"/>
                    <a:pt x="4837" y="7401"/>
                  </a:cubicBezTo>
                  <a:cubicBezTo>
                    <a:pt x="4822" y="7393"/>
                    <a:pt x="4807" y="7379"/>
                    <a:pt x="4800" y="7379"/>
                  </a:cubicBezTo>
                  <a:cubicBezTo>
                    <a:pt x="4800" y="7371"/>
                    <a:pt x="4807" y="7371"/>
                    <a:pt x="4807" y="7371"/>
                  </a:cubicBezTo>
                  <a:cubicBezTo>
                    <a:pt x="4837" y="7342"/>
                    <a:pt x="4925" y="7327"/>
                    <a:pt x="4983" y="7313"/>
                  </a:cubicBezTo>
                  <a:cubicBezTo>
                    <a:pt x="4998" y="7313"/>
                    <a:pt x="5005" y="7313"/>
                    <a:pt x="5020" y="7313"/>
                  </a:cubicBezTo>
                  <a:cubicBezTo>
                    <a:pt x="5093" y="7298"/>
                    <a:pt x="5181" y="7247"/>
                    <a:pt x="5225" y="7188"/>
                  </a:cubicBezTo>
                  <a:cubicBezTo>
                    <a:pt x="5232" y="7173"/>
                    <a:pt x="5232" y="7173"/>
                    <a:pt x="5232" y="7173"/>
                  </a:cubicBezTo>
                  <a:cubicBezTo>
                    <a:pt x="5262" y="7144"/>
                    <a:pt x="5291" y="7108"/>
                    <a:pt x="5328" y="7108"/>
                  </a:cubicBezTo>
                  <a:cubicBezTo>
                    <a:pt x="5342" y="7108"/>
                    <a:pt x="5364" y="7115"/>
                    <a:pt x="5379" y="7129"/>
                  </a:cubicBezTo>
                  <a:cubicBezTo>
                    <a:pt x="5416" y="7144"/>
                    <a:pt x="5452" y="7159"/>
                    <a:pt x="5489" y="7159"/>
                  </a:cubicBezTo>
                  <a:cubicBezTo>
                    <a:pt x="5562" y="7159"/>
                    <a:pt x="5621" y="7115"/>
                    <a:pt x="5665" y="7078"/>
                  </a:cubicBezTo>
                  <a:cubicBezTo>
                    <a:pt x="5679" y="7063"/>
                    <a:pt x="5701" y="7056"/>
                    <a:pt x="5716" y="7056"/>
                  </a:cubicBezTo>
                  <a:cubicBezTo>
                    <a:pt x="5745" y="7056"/>
                    <a:pt x="5782" y="7078"/>
                    <a:pt x="5789" y="7100"/>
                  </a:cubicBezTo>
                  <a:cubicBezTo>
                    <a:pt x="5797" y="7115"/>
                    <a:pt x="5811" y="7129"/>
                    <a:pt x="5833" y="7129"/>
                  </a:cubicBezTo>
                  <a:cubicBezTo>
                    <a:pt x="5870" y="7129"/>
                    <a:pt x="5899" y="7086"/>
                    <a:pt x="5914" y="7071"/>
                  </a:cubicBezTo>
                  <a:cubicBezTo>
                    <a:pt x="5929" y="7041"/>
                    <a:pt x="5980" y="6954"/>
                    <a:pt x="5936" y="6851"/>
                  </a:cubicBezTo>
                  <a:cubicBezTo>
                    <a:pt x="5914" y="6800"/>
                    <a:pt x="5892" y="6763"/>
                    <a:pt x="5877" y="6734"/>
                  </a:cubicBezTo>
                  <a:cubicBezTo>
                    <a:pt x="5833" y="6660"/>
                    <a:pt x="5841" y="6660"/>
                    <a:pt x="5855" y="6646"/>
                  </a:cubicBezTo>
                  <a:cubicBezTo>
                    <a:pt x="5870" y="6639"/>
                    <a:pt x="5884" y="6631"/>
                    <a:pt x="5899" y="6624"/>
                  </a:cubicBezTo>
                  <a:cubicBezTo>
                    <a:pt x="5929" y="6617"/>
                    <a:pt x="5958" y="6602"/>
                    <a:pt x="5965" y="6572"/>
                  </a:cubicBezTo>
                  <a:cubicBezTo>
                    <a:pt x="5965" y="6536"/>
                    <a:pt x="5943" y="6514"/>
                    <a:pt x="5907" y="6477"/>
                  </a:cubicBezTo>
                  <a:cubicBezTo>
                    <a:pt x="5833" y="6411"/>
                    <a:pt x="5841" y="6404"/>
                    <a:pt x="5862" y="6331"/>
                  </a:cubicBezTo>
                  <a:cubicBezTo>
                    <a:pt x="5870" y="6316"/>
                    <a:pt x="5877" y="6301"/>
                    <a:pt x="5877" y="6279"/>
                  </a:cubicBezTo>
                  <a:cubicBezTo>
                    <a:pt x="5899" y="6213"/>
                    <a:pt x="5870" y="6162"/>
                    <a:pt x="5848" y="6126"/>
                  </a:cubicBezTo>
                  <a:cubicBezTo>
                    <a:pt x="5826" y="6089"/>
                    <a:pt x="5826" y="6089"/>
                    <a:pt x="5833" y="6082"/>
                  </a:cubicBezTo>
                  <a:cubicBezTo>
                    <a:pt x="5914" y="6016"/>
                    <a:pt x="5980" y="5832"/>
                    <a:pt x="5980" y="5730"/>
                  </a:cubicBezTo>
                  <a:cubicBezTo>
                    <a:pt x="5980" y="5671"/>
                    <a:pt x="5943" y="5598"/>
                    <a:pt x="5899" y="5510"/>
                  </a:cubicBezTo>
                  <a:cubicBezTo>
                    <a:pt x="5855" y="5422"/>
                    <a:pt x="5804" y="5320"/>
                    <a:pt x="5804" y="5239"/>
                  </a:cubicBezTo>
                  <a:cubicBezTo>
                    <a:pt x="5789" y="5092"/>
                    <a:pt x="5804" y="5041"/>
                    <a:pt x="5804" y="5041"/>
                  </a:cubicBezTo>
                  <a:cubicBezTo>
                    <a:pt x="5804" y="5034"/>
                    <a:pt x="5804" y="5034"/>
                    <a:pt x="5804" y="5034"/>
                  </a:cubicBezTo>
                  <a:cubicBezTo>
                    <a:pt x="5797" y="5019"/>
                    <a:pt x="5797" y="5019"/>
                    <a:pt x="5797" y="5019"/>
                  </a:cubicBezTo>
                  <a:cubicBezTo>
                    <a:pt x="5782" y="4997"/>
                    <a:pt x="5657" y="4799"/>
                    <a:pt x="5584" y="4748"/>
                  </a:cubicBezTo>
                  <a:lnTo>
                    <a:pt x="5577" y="4748"/>
                  </a:lnTo>
                  <a:lnTo>
                    <a:pt x="5584" y="4741"/>
                  </a:lnTo>
                  <a:cubicBezTo>
                    <a:pt x="5599" y="4719"/>
                    <a:pt x="5635" y="4689"/>
                    <a:pt x="5665" y="4631"/>
                  </a:cubicBezTo>
                  <a:cubicBezTo>
                    <a:pt x="5723" y="4499"/>
                    <a:pt x="5804" y="4418"/>
                    <a:pt x="5826" y="4418"/>
                  </a:cubicBezTo>
                  <a:cubicBezTo>
                    <a:pt x="5833" y="4426"/>
                    <a:pt x="5841" y="4433"/>
                    <a:pt x="5855" y="4440"/>
                  </a:cubicBezTo>
                  <a:cubicBezTo>
                    <a:pt x="5877" y="4455"/>
                    <a:pt x="5899" y="4477"/>
                    <a:pt x="5936" y="4477"/>
                  </a:cubicBezTo>
                  <a:cubicBezTo>
                    <a:pt x="5958" y="4477"/>
                    <a:pt x="5980" y="4470"/>
                    <a:pt x="6009" y="4448"/>
                  </a:cubicBezTo>
                  <a:cubicBezTo>
                    <a:pt x="6075" y="4389"/>
                    <a:pt x="6126" y="4374"/>
                    <a:pt x="6163" y="4360"/>
                  </a:cubicBezTo>
                  <a:cubicBezTo>
                    <a:pt x="6185" y="4360"/>
                    <a:pt x="6192" y="4345"/>
                    <a:pt x="6200" y="4330"/>
                  </a:cubicBezTo>
                  <a:cubicBezTo>
                    <a:pt x="6207" y="4308"/>
                    <a:pt x="6192" y="4294"/>
                    <a:pt x="6178" y="4286"/>
                  </a:cubicBezTo>
                  <a:cubicBezTo>
                    <a:pt x="6170" y="4279"/>
                    <a:pt x="6163" y="4264"/>
                    <a:pt x="6163" y="4264"/>
                  </a:cubicBezTo>
                  <a:cubicBezTo>
                    <a:pt x="6163" y="4257"/>
                    <a:pt x="6163" y="4257"/>
                    <a:pt x="6170" y="4257"/>
                  </a:cubicBezTo>
                  <a:cubicBezTo>
                    <a:pt x="6185" y="4257"/>
                    <a:pt x="6200" y="4264"/>
                    <a:pt x="6214" y="4279"/>
                  </a:cubicBezTo>
                  <a:cubicBezTo>
                    <a:pt x="6222" y="4286"/>
                    <a:pt x="6236" y="4286"/>
                    <a:pt x="6243" y="4286"/>
                  </a:cubicBezTo>
                  <a:cubicBezTo>
                    <a:pt x="6265" y="4286"/>
                    <a:pt x="6288" y="4272"/>
                    <a:pt x="6302" y="4235"/>
                  </a:cubicBezTo>
                  <a:cubicBezTo>
                    <a:pt x="6331" y="4177"/>
                    <a:pt x="6346" y="4059"/>
                    <a:pt x="6295" y="3993"/>
                  </a:cubicBezTo>
                  <a:cubicBezTo>
                    <a:pt x="6273" y="3971"/>
                    <a:pt x="6265" y="3964"/>
                    <a:pt x="6265" y="3957"/>
                  </a:cubicBezTo>
                  <a:lnTo>
                    <a:pt x="6273" y="3957"/>
                  </a:lnTo>
                  <a:cubicBezTo>
                    <a:pt x="6280" y="3957"/>
                    <a:pt x="6288" y="3957"/>
                    <a:pt x="6302" y="3957"/>
                  </a:cubicBezTo>
                  <a:cubicBezTo>
                    <a:pt x="6317" y="3898"/>
                    <a:pt x="6317" y="3898"/>
                    <a:pt x="6317" y="3898"/>
                  </a:cubicBezTo>
                  <a:cubicBezTo>
                    <a:pt x="6265" y="3869"/>
                    <a:pt x="6163" y="3803"/>
                    <a:pt x="6178" y="3751"/>
                  </a:cubicBezTo>
                  <a:cubicBezTo>
                    <a:pt x="6192" y="3686"/>
                    <a:pt x="6200" y="3686"/>
                    <a:pt x="6214" y="3686"/>
                  </a:cubicBezTo>
                  <a:cubicBezTo>
                    <a:pt x="6229" y="3686"/>
                    <a:pt x="6243" y="3686"/>
                    <a:pt x="6273" y="3693"/>
                  </a:cubicBezTo>
                  <a:cubicBezTo>
                    <a:pt x="6317" y="3708"/>
                    <a:pt x="6346" y="3729"/>
                    <a:pt x="6375" y="3759"/>
                  </a:cubicBezTo>
                  <a:cubicBezTo>
                    <a:pt x="6397" y="3773"/>
                    <a:pt x="6411" y="3795"/>
                    <a:pt x="6433" y="3795"/>
                  </a:cubicBezTo>
                  <a:cubicBezTo>
                    <a:pt x="6448" y="3795"/>
                    <a:pt x="6455" y="3788"/>
                    <a:pt x="6470" y="3773"/>
                  </a:cubicBezTo>
                  <a:cubicBezTo>
                    <a:pt x="6484" y="3766"/>
                    <a:pt x="6499" y="3759"/>
                    <a:pt x="6536" y="3759"/>
                  </a:cubicBezTo>
                  <a:cubicBezTo>
                    <a:pt x="6543" y="3759"/>
                    <a:pt x="6550" y="3759"/>
                    <a:pt x="6565" y="3766"/>
                  </a:cubicBezTo>
                  <a:cubicBezTo>
                    <a:pt x="6572" y="3766"/>
                    <a:pt x="6580" y="3766"/>
                    <a:pt x="6587" y="3766"/>
                  </a:cubicBezTo>
                  <a:cubicBezTo>
                    <a:pt x="6616" y="3766"/>
                    <a:pt x="6653" y="3737"/>
                    <a:pt x="6675" y="3708"/>
                  </a:cubicBezTo>
                  <a:cubicBezTo>
                    <a:pt x="6697" y="3671"/>
                    <a:pt x="6697" y="3627"/>
                    <a:pt x="6668" y="3583"/>
                  </a:cubicBezTo>
                  <a:cubicBezTo>
                    <a:pt x="6638" y="3532"/>
                    <a:pt x="6602" y="3524"/>
                    <a:pt x="6580" y="3517"/>
                  </a:cubicBezTo>
                  <a:cubicBezTo>
                    <a:pt x="6565" y="3517"/>
                    <a:pt x="6558" y="3510"/>
                    <a:pt x="6543" y="3495"/>
                  </a:cubicBezTo>
                  <a:cubicBezTo>
                    <a:pt x="6514" y="3429"/>
                    <a:pt x="6521" y="3363"/>
                    <a:pt x="6558" y="3304"/>
                  </a:cubicBezTo>
                  <a:cubicBezTo>
                    <a:pt x="6594" y="3253"/>
                    <a:pt x="6594" y="3187"/>
                    <a:pt x="6565" y="3129"/>
                  </a:cubicBezTo>
                  <a:cubicBezTo>
                    <a:pt x="6580" y="3121"/>
                    <a:pt x="6594" y="3114"/>
                    <a:pt x="6602" y="3085"/>
                  </a:cubicBezTo>
                  <a:cubicBezTo>
                    <a:pt x="6616" y="3026"/>
                    <a:pt x="6602" y="2799"/>
                    <a:pt x="6470" y="2667"/>
                  </a:cubicBezTo>
                  <a:cubicBezTo>
                    <a:pt x="6346" y="2542"/>
                    <a:pt x="6273" y="2506"/>
                    <a:pt x="6185" y="2477"/>
                  </a:cubicBezTo>
                  <a:cubicBezTo>
                    <a:pt x="6156" y="2469"/>
                    <a:pt x="6156" y="2462"/>
                    <a:pt x="6156" y="2432"/>
                  </a:cubicBezTo>
                  <a:cubicBezTo>
                    <a:pt x="6156" y="2418"/>
                    <a:pt x="6156" y="2403"/>
                    <a:pt x="6148" y="2389"/>
                  </a:cubicBezTo>
                  <a:cubicBezTo>
                    <a:pt x="6141" y="2344"/>
                    <a:pt x="6104" y="2337"/>
                    <a:pt x="6082" y="2322"/>
                  </a:cubicBezTo>
                  <a:cubicBezTo>
                    <a:pt x="6075" y="2322"/>
                    <a:pt x="6060" y="2315"/>
                    <a:pt x="6060" y="2308"/>
                  </a:cubicBezTo>
                  <a:cubicBezTo>
                    <a:pt x="6053" y="2301"/>
                    <a:pt x="6068" y="2279"/>
                    <a:pt x="6104" y="2249"/>
                  </a:cubicBezTo>
                  <a:cubicBezTo>
                    <a:pt x="6141" y="2227"/>
                    <a:pt x="6156" y="2198"/>
                    <a:pt x="6148" y="2169"/>
                  </a:cubicBezTo>
                  <a:cubicBezTo>
                    <a:pt x="6148" y="2132"/>
                    <a:pt x="6119" y="2103"/>
                    <a:pt x="6068" y="2081"/>
                  </a:cubicBezTo>
                  <a:cubicBezTo>
                    <a:pt x="5987" y="2051"/>
                    <a:pt x="5870" y="1941"/>
                    <a:pt x="5870" y="1861"/>
                  </a:cubicBezTo>
                  <a:cubicBezTo>
                    <a:pt x="5870" y="1824"/>
                    <a:pt x="5877" y="1788"/>
                    <a:pt x="5892" y="1758"/>
                  </a:cubicBezTo>
                  <a:cubicBezTo>
                    <a:pt x="5907" y="1707"/>
                    <a:pt x="5921" y="1656"/>
                    <a:pt x="5884" y="1612"/>
                  </a:cubicBezTo>
                  <a:cubicBezTo>
                    <a:pt x="5848" y="1575"/>
                    <a:pt x="5804" y="1465"/>
                    <a:pt x="5833" y="1414"/>
                  </a:cubicBezTo>
                  <a:cubicBezTo>
                    <a:pt x="5848" y="1377"/>
                    <a:pt x="5877" y="1370"/>
                    <a:pt x="5899" y="1370"/>
                  </a:cubicBezTo>
                  <a:lnTo>
                    <a:pt x="5899" y="1370"/>
                  </a:lnTo>
                  <a:cubicBezTo>
                    <a:pt x="5943" y="1377"/>
                    <a:pt x="5943" y="1377"/>
                    <a:pt x="5943" y="1377"/>
                  </a:cubicBezTo>
                  <a:cubicBezTo>
                    <a:pt x="5936" y="1341"/>
                    <a:pt x="5936" y="1341"/>
                    <a:pt x="5936" y="1341"/>
                  </a:cubicBezTo>
                  <a:cubicBezTo>
                    <a:pt x="5936" y="1304"/>
                    <a:pt x="5921" y="1194"/>
                    <a:pt x="5862" y="1165"/>
                  </a:cubicBezTo>
                  <a:cubicBezTo>
                    <a:pt x="5855" y="1165"/>
                    <a:pt x="5855" y="1165"/>
                    <a:pt x="5855" y="1165"/>
                  </a:cubicBezTo>
                  <a:cubicBezTo>
                    <a:pt x="5819" y="1143"/>
                    <a:pt x="5804" y="1136"/>
                    <a:pt x="5811" y="1084"/>
                  </a:cubicBezTo>
                  <a:cubicBezTo>
                    <a:pt x="5819" y="1033"/>
                    <a:pt x="5811" y="1003"/>
                    <a:pt x="5797" y="974"/>
                  </a:cubicBezTo>
                  <a:cubicBezTo>
                    <a:pt x="5789" y="952"/>
                    <a:pt x="5782" y="930"/>
                    <a:pt x="5782" y="894"/>
                  </a:cubicBezTo>
                  <a:cubicBezTo>
                    <a:pt x="5767" y="820"/>
                    <a:pt x="5723" y="813"/>
                    <a:pt x="5709" y="813"/>
                  </a:cubicBezTo>
                  <a:cubicBezTo>
                    <a:pt x="5672" y="813"/>
                    <a:pt x="5635" y="842"/>
                    <a:pt x="5606" y="894"/>
                  </a:cubicBezTo>
                  <a:cubicBezTo>
                    <a:pt x="5599" y="916"/>
                    <a:pt x="5591" y="938"/>
                    <a:pt x="5591" y="952"/>
                  </a:cubicBezTo>
                  <a:cubicBezTo>
                    <a:pt x="5584" y="974"/>
                    <a:pt x="5577" y="982"/>
                    <a:pt x="5518" y="996"/>
                  </a:cubicBezTo>
                  <a:cubicBezTo>
                    <a:pt x="5503" y="996"/>
                    <a:pt x="5496" y="996"/>
                    <a:pt x="5481" y="996"/>
                  </a:cubicBezTo>
                  <a:cubicBezTo>
                    <a:pt x="5460" y="996"/>
                    <a:pt x="5416" y="996"/>
                    <a:pt x="5416" y="886"/>
                  </a:cubicBezTo>
                  <a:cubicBezTo>
                    <a:pt x="5416" y="842"/>
                    <a:pt x="5393" y="667"/>
                    <a:pt x="5320" y="667"/>
                  </a:cubicBezTo>
                  <a:cubicBezTo>
                    <a:pt x="5313" y="667"/>
                    <a:pt x="5291" y="667"/>
                    <a:pt x="5276" y="689"/>
                  </a:cubicBezTo>
                  <a:cubicBezTo>
                    <a:pt x="5269" y="710"/>
                    <a:pt x="5247" y="732"/>
                    <a:pt x="5232" y="754"/>
                  </a:cubicBezTo>
                  <a:cubicBezTo>
                    <a:pt x="5232" y="740"/>
                    <a:pt x="5240" y="732"/>
                    <a:pt x="5247" y="718"/>
                  </a:cubicBezTo>
                  <a:cubicBezTo>
                    <a:pt x="5262" y="659"/>
                    <a:pt x="5276" y="622"/>
                    <a:pt x="5284" y="601"/>
                  </a:cubicBezTo>
                  <a:cubicBezTo>
                    <a:pt x="5306" y="549"/>
                    <a:pt x="5313" y="535"/>
                    <a:pt x="5298" y="520"/>
                  </a:cubicBezTo>
                  <a:cubicBezTo>
                    <a:pt x="5291" y="498"/>
                    <a:pt x="5276" y="498"/>
                    <a:pt x="5262" y="491"/>
                  </a:cubicBezTo>
                  <a:cubicBezTo>
                    <a:pt x="5262" y="491"/>
                    <a:pt x="5254" y="491"/>
                    <a:pt x="5247" y="483"/>
                  </a:cubicBezTo>
                  <a:cubicBezTo>
                    <a:pt x="5210" y="469"/>
                    <a:pt x="5203" y="447"/>
                    <a:pt x="5210" y="417"/>
                  </a:cubicBezTo>
                  <a:cubicBezTo>
                    <a:pt x="5218" y="381"/>
                    <a:pt x="5203" y="300"/>
                    <a:pt x="5174" y="256"/>
                  </a:cubicBezTo>
                  <a:cubicBezTo>
                    <a:pt x="5152" y="227"/>
                    <a:pt x="5122" y="220"/>
                    <a:pt x="5108" y="220"/>
                  </a:cubicBezTo>
                  <a:cubicBezTo>
                    <a:pt x="5100" y="220"/>
                    <a:pt x="5086" y="220"/>
                    <a:pt x="5079" y="227"/>
                  </a:cubicBezTo>
                  <a:cubicBezTo>
                    <a:pt x="5049" y="234"/>
                    <a:pt x="5027" y="263"/>
                    <a:pt x="5005" y="293"/>
                  </a:cubicBezTo>
                  <a:cubicBezTo>
                    <a:pt x="4991" y="308"/>
                    <a:pt x="4976" y="329"/>
                    <a:pt x="4969" y="329"/>
                  </a:cubicBezTo>
                  <a:cubicBezTo>
                    <a:pt x="4961" y="329"/>
                    <a:pt x="4954" y="322"/>
                    <a:pt x="4939" y="308"/>
                  </a:cubicBezTo>
                  <a:cubicBezTo>
                    <a:pt x="4902" y="271"/>
                    <a:pt x="4881" y="249"/>
                    <a:pt x="4859" y="249"/>
                  </a:cubicBezTo>
                  <a:cubicBezTo>
                    <a:pt x="4837" y="249"/>
                    <a:pt x="4822" y="271"/>
                    <a:pt x="4807" y="293"/>
                  </a:cubicBezTo>
                  <a:cubicBezTo>
                    <a:pt x="4800" y="308"/>
                    <a:pt x="4793" y="315"/>
                    <a:pt x="4785" y="329"/>
                  </a:cubicBezTo>
                  <a:cubicBezTo>
                    <a:pt x="4785" y="315"/>
                    <a:pt x="4785" y="293"/>
                    <a:pt x="4793" y="256"/>
                  </a:cubicBezTo>
                  <a:cubicBezTo>
                    <a:pt x="4807" y="110"/>
                    <a:pt x="4815" y="29"/>
                    <a:pt x="4763" y="7"/>
                  </a:cubicBezTo>
                  <a:cubicBezTo>
                    <a:pt x="4749" y="7"/>
                    <a:pt x="4741" y="0"/>
                    <a:pt x="4727" y="0"/>
                  </a:cubicBezTo>
                  <a:lnTo>
                    <a:pt x="4727" y="36"/>
                  </a:ln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7" name="Freeform 96"/>
            <p:cNvSpPr>
              <a:spLocks noChangeArrowheads="1"/>
            </p:cNvSpPr>
            <p:nvPr/>
          </p:nvSpPr>
          <p:spPr bwMode="auto">
            <a:xfrm>
              <a:off x="5863572" y="8279562"/>
              <a:ext cx="4125675" cy="4147562"/>
            </a:xfrm>
            <a:custGeom>
              <a:avLst/>
              <a:gdLst>
                <a:gd name="T0" fmla="*/ 2616 w 10735"/>
                <a:gd name="T1" fmla="*/ 10618 h 10919"/>
                <a:gd name="T2" fmla="*/ 2183 w 10735"/>
                <a:gd name="T3" fmla="*/ 10031 h 10919"/>
                <a:gd name="T4" fmla="*/ 1759 w 10735"/>
                <a:gd name="T5" fmla="*/ 10039 h 10919"/>
                <a:gd name="T6" fmla="*/ 2008 w 10735"/>
                <a:gd name="T7" fmla="*/ 9584 h 10919"/>
                <a:gd name="T8" fmla="*/ 2513 w 10735"/>
                <a:gd name="T9" fmla="*/ 9130 h 10919"/>
                <a:gd name="T10" fmla="*/ 2433 w 10735"/>
                <a:gd name="T11" fmla="*/ 7760 h 10919"/>
                <a:gd name="T12" fmla="*/ 2660 w 10735"/>
                <a:gd name="T13" fmla="*/ 6932 h 10919"/>
                <a:gd name="T14" fmla="*/ 2814 w 10735"/>
                <a:gd name="T15" fmla="*/ 6258 h 10919"/>
                <a:gd name="T16" fmla="*/ 3252 w 10735"/>
                <a:gd name="T17" fmla="*/ 6082 h 10919"/>
                <a:gd name="T18" fmla="*/ 2784 w 10735"/>
                <a:gd name="T19" fmla="*/ 4917 h 10919"/>
                <a:gd name="T20" fmla="*/ 2572 w 10735"/>
                <a:gd name="T21" fmla="*/ 3847 h 10919"/>
                <a:gd name="T22" fmla="*/ 2161 w 10735"/>
                <a:gd name="T23" fmla="*/ 3561 h 10919"/>
                <a:gd name="T24" fmla="*/ 1927 w 10735"/>
                <a:gd name="T25" fmla="*/ 3056 h 10919"/>
                <a:gd name="T26" fmla="*/ 1531 w 10735"/>
                <a:gd name="T27" fmla="*/ 2843 h 10919"/>
                <a:gd name="T28" fmla="*/ 1223 w 10735"/>
                <a:gd name="T29" fmla="*/ 2667 h 10919"/>
                <a:gd name="T30" fmla="*/ 960 w 10735"/>
                <a:gd name="T31" fmla="*/ 2594 h 10919"/>
                <a:gd name="T32" fmla="*/ 879 w 10735"/>
                <a:gd name="T33" fmla="*/ 3048 h 10919"/>
                <a:gd name="T34" fmla="*/ 286 w 10735"/>
                <a:gd name="T35" fmla="*/ 3298 h 10919"/>
                <a:gd name="T36" fmla="*/ 300 w 10735"/>
                <a:gd name="T37" fmla="*/ 2865 h 10919"/>
                <a:gd name="T38" fmla="*/ 51 w 10735"/>
                <a:gd name="T39" fmla="*/ 1590 h 10919"/>
                <a:gd name="T40" fmla="*/ 659 w 10735"/>
                <a:gd name="T41" fmla="*/ 1363 h 10919"/>
                <a:gd name="T42" fmla="*/ 1121 w 10735"/>
                <a:gd name="T43" fmla="*/ 1062 h 10919"/>
                <a:gd name="T44" fmla="*/ 1590 w 10735"/>
                <a:gd name="T45" fmla="*/ 879 h 10919"/>
                <a:gd name="T46" fmla="*/ 2220 w 10735"/>
                <a:gd name="T47" fmla="*/ 286 h 10919"/>
                <a:gd name="T48" fmla="*/ 2506 w 10735"/>
                <a:gd name="T49" fmla="*/ 29 h 10919"/>
                <a:gd name="T50" fmla="*/ 3098 w 10735"/>
                <a:gd name="T51" fmla="*/ 542 h 10919"/>
                <a:gd name="T52" fmla="*/ 3523 w 10735"/>
                <a:gd name="T53" fmla="*/ 1062 h 10919"/>
                <a:gd name="T54" fmla="*/ 3919 w 10735"/>
                <a:gd name="T55" fmla="*/ 1004 h 10919"/>
                <a:gd name="T56" fmla="*/ 4007 w 10735"/>
                <a:gd name="T57" fmla="*/ 506 h 10919"/>
                <a:gd name="T58" fmla="*/ 4622 w 10735"/>
                <a:gd name="T59" fmla="*/ 623 h 10919"/>
                <a:gd name="T60" fmla="*/ 4886 w 10735"/>
                <a:gd name="T61" fmla="*/ 872 h 10919"/>
                <a:gd name="T62" fmla="*/ 5128 w 10735"/>
                <a:gd name="T63" fmla="*/ 51 h 10919"/>
                <a:gd name="T64" fmla="*/ 5560 w 10735"/>
                <a:gd name="T65" fmla="*/ 410 h 10919"/>
                <a:gd name="T66" fmla="*/ 6286 w 10735"/>
                <a:gd name="T67" fmla="*/ 352 h 10919"/>
                <a:gd name="T68" fmla="*/ 6682 w 10735"/>
                <a:gd name="T69" fmla="*/ 901 h 10919"/>
                <a:gd name="T70" fmla="*/ 7158 w 10735"/>
                <a:gd name="T71" fmla="*/ 1546 h 10919"/>
                <a:gd name="T72" fmla="*/ 7539 w 10735"/>
                <a:gd name="T73" fmla="*/ 2293 h 10919"/>
                <a:gd name="T74" fmla="*/ 7700 w 10735"/>
                <a:gd name="T75" fmla="*/ 2909 h 10919"/>
                <a:gd name="T76" fmla="*/ 8477 w 10735"/>
                <a:gd name="T77" fmla="*/ 3803 h 10919"/>
                <a:gd name="T78" fmla="*/ 9708 w 10735"/>
                <a:gd name="T79" fmla="*/ 4778 h 10919"/>
                <a:gd name="T80" fmla="*/ 10331 w 10735"/>
                <a:gd name="T81" fmla="*/ 5239 h 10919"/>
                <a:gd name="T82" fmla="*/ 10682 w 10735"/>
                <a:gd name="T83" fmla="*/ 5884 h 10919"/>
                <a:gd name="T84" fmla="*/ 10360 w 10735"/>
                <a:gd name="T85" fmla="*/ 6419 h 10919"/>
                <a:gd name="T86" fmla="*/ 9869 w 10735"/>
                <a:gd name="T87" fmla="*/ 6390 h 10919"/>
                <a:gd name="T88" fmla="*/ 9100 w 10735"/>
                <a:gd name="T89" fmla="*/ 7379 h 10919"/>
                <a:gd name="T90" fmla="*/ 8418 w 10735"/>
                <a:gd name="T91" fmla="*/ 8031 h 10919"/>
                <a:gd name="T92" fmla="*/ 8836 w 10735"/>
                <a:gd name="T93" fmla="*/ 9174 h 10919"/>
                <a:gd name="T94" fmla="*/ 9165 w 10735"/>
                <a:gd name="T95" fmla="*/ 9812 h 10919"/>
                <a:gd name="T96" fmla="*/ 8557 w 10735"/>
                <a:gd name="T97" fmla="*/ 9636 h 10919"/>
                <a:gd name="T98" fmla="*/ 8081 w 10735"/>
                <a:gd name="T99" fmla="*/ 9526 h 10919"/>
                <a:gd name="T100" fmla="*/ 7334 w 10735"/>
                <a:gd name="T101" fmla="*/ 9350 h 10919"/>
                <a:gd name="T102" fmla="*/ 6938 w 10735"/>
                <a:gd name="T103" fmla="*/ 9665 h 10919"/>
                <a:gd name="T104" fmla="*/ 5883 w 10735"/>
                <a:gd name="T105" fmla="*/ 9973 h 10919"/>
                <a:gd name="T106" fmla="*/ 5516 w 10735"/>
                <a:gd name="T107" fmla="*/ 10302 h 10919"/>
                <a:gd name="T108" fmla="*/ 4989 w 10735"/>
                <a:gd name="T109" fmla="*/ 10369 h 10919"/>
                <a:gd name="T110" fmla="*/ 4256 w 10735"/>
                <a:gd name="T111" fmla="*/ 10017 h 10919"/>
                <a:gd name="T112" fmla="*/ 3355 w 10735"/>
                <a:gd name="T113" fmla="*/ 9951 h 10919"/>
                <a:gd name="T114" fmla="*/ 2784 w 10735"/>
                <a:gd name="T115" fmla="*/ 10918 h 10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735" h="10919">
                  <a:moveTo>
                    <a:pt x="2784" y="10918"/>
                  </a:moveTo>
                  <a:lnTo>
                    <a:pt x="2784" y="10918"/>
                  </a:lnTo>
                  <a:cubicBezTo>
                    <a:pt x="2755" y="10918"/>
                    <a:pt x="2733" y="10911"/>
                    <a:pt x="2726" y="10889"/>
                  </a:cubicBezTo>
                  <a:cubicBezTo>
                    <a:pt x="2718" y="10860"/>
                    <a:pt x="2733" y="10830"/>
                    <a:pt x="2762" y="10808"/>
                  </a:cubicBezTo>
                  <a:cubicBezTo>
                    <a:pt x="2792" y="10786"/>
                    <a:pt x="2799" y="10750"/>
                    <a:pt x="2806" y="10684"/>
                  </a:cubicBezTo>
                  <a:cubicBezTo>
                    <a:pt x="2814" y="10662"/>
                    <a:pt x="2814" y="10640"/>
                    <a:pt x="2821" y="10618"/>
                  </a:cubicBezTo>
                  <a:cubicBezTo>
                    <a:pt x="2828" y="10574"/>
                    <a:pt x="2814" y="10552"/>
                    <a:pt x="2806" y="10537"/>
                  </a:cubicBezTo>
                  <a:cubicBezTo>
                    <a:pt x="2799" y="10530"/>
                    <a:pt x="2784" y="10522"/>
                    <a:pt x="2777" y="10522"/>
                  </a:cubicBezTo>
                  <a:cubicBezTo>
                    <a:pt x="2762" y="10522"/>
                    <a:pt x="2755" y="10530"/>
                    <a:pt x="2748" y="10544"/>
                  </a:cubicBezTo>
                  <a:cubicBezTo>
                    <a:pt x="2733" y="10588"/>
                    <a:pt x="2682" y="10618"/>
                    <a:pt x="2616" y="10618"/>
                  </a:cubicBezTo>
                  <a:cubicBezTo>
                    <a:pt x="2587" y="10618"/>
                    <a:pt x="2557" y="10610"/>
                    <a:pt x="2535" y="10596"/>
                  </a:cubicBezTo>
                  <a:cubicBezTo>
                    <a:pt x="2506" y="10581"/>
                    <a:pt x="2491" y="10552"/>
                    <a:pt x="2484" y="10522"/>
                  </a:cubicBezTo>
                  <a:cubicBezTo>
                    <a:pt x="2477" y="10486"/>
                    <a:pt x="2499" y="10449"/>
                    <a:pt x="2528" y="10412"/>
                  </a:cubicBezTo>
                  <a:cubicBezTo>
                    <a:pt x="2557" y="10391"/>
                    <a:pt x="2542" y="10339"/>
                    <a:pt x="2535" y="10325"/>
                  </a:cubicBezTo>
                  <a:cubicBezTo>
                    <a:pt x="2513" y="10281"/>
                    <a:pt x="2484" y="10244"/>
                    <a:pt x="2477" y="10244"/>
                  </a:cubicBezTo>
                  <a:cubicBezTo>
                    <a:pt x="2469" y="10251"/>
                    <a:pt x="2462" y="10251"/>
                    <a:pt x="2454" y="10251"/>
                  </a:cubicBezTo>
                  <a:cubicBezTo>
                    <a:pt x="2411" y="10251"/>
                    <a:pt x="2345" y="10229"/>
                    <a:pt x="2301" y="10185"/>
                  </a:cubicBezTo>
                  <a:cubicBezTo>
                    <a:pt x="2271" y="10156"/>
                    <a:pt x="2257" y="10112"/>
                    <a:pt x="2242" y="10083"/>
                  </a:cubicBezTo>
                  <a:cubicBezTo>
                    <a:pt x="2235" y="10068"/>
                    <a:pt x="2228" y="10046"/>
                    <a:pt x="2220" y="10039"/>
                  </a:cubicBezTo>
                  <a:cubicBezTo>
                    <a:pt x="2220" y="10039"/>
                    <a:pt x="2220" y="10031"/>
                    <a:pt x="2183" y="10031"/>
                  </a:cubicBezTo>
                  <a:cubicBezTo>
                    <a:pt x="2147" y="10031"/>
                    <a:pt x="2096" y="10039"/>
                    <a:pt x="2052" y="10046"/>
                  </a:cubicBezTo>
                  <a:cubicBezTo>
                    <a:pt x="2037" y="10053"/>
                    <a:pt x="2022" y="10053"/>
                    <a:pt x="2015" y="10053"/>
                  </a:cubicBezTo>
                  <a:cubicBezTo>
                    <a:pt x="2000" y="10053"/>
                    <a:pt x="1993" y="10053"/>
                    <a:pt x="1986" y="10053"/>
                  </a:cubicBezTo>
                  <a:cubicBezTo>
                    <a:pt x="1964" y="10053"/>
                    <a:pt x="1942" y="10046"/>
                    <a:pt x="1927" y="10024"/>
                  </a:cubicBezTo>
                  <a:cubicBezTo>
                    <a:pt x="1905" y="10002"/>
                    <a:pt x="1905" y="9966"/>
                    <a:pt x="1912" y="9922"/>
                  </a:cubicBezTo>
                  <a:cubicBezTo>
                    <a:pt x="1920" y="9907"/>
                    <a:pt x="1920" y="9892"/>
                    <a:pt x="1912" y="9878"/>
                  </a:cubicBezTo>
                  <a:cubicBezTo>
                    <a:pt x="1898" y="9870"/>
                    <a:pt x="1876" y="9856"/>
                    <a:pt x="1854" y="9856"/>
                  </a:cubicBezTo>
                  <a:cubicBezTo>
                    <a:pt x="1839" y="9856"/>
                    <a:pt x="1824" y="9863"/>
                    <a:pt x="1817" y="9870"/>
                  </a:cubicBezTo>
                  <a:cubicBezTo>
                    <a:pt x="1780" y="9892"/>
                    <a:pt x="1759" y="9980"/>
                    <a:pt x="1751" y="10017"/>
                  </a:cubicBezTo>
                  <a:lnTo>
                    <a:pt x="1759" y="10039"/>
                  </a:lnTo>
                  <a:cubicBezTo>
                    <a:pt x="1737" y="10039"/>
                    <a:pt x="1737" y="10039"/>
                    <a:pt x="1737" y="10039"/>
                  </a:cubicBezTo>
                  <a:cubicBezTo>
                    <a:pt x="1685" y="10031"/>
                    <a:pt x="1582" y="10017"/>
                    <a:pt x="1539" y="9988"/>
                  </a:cubicBezTo>
                  <a:cubicBezTo>
                    <a:pt x="1524" y="9973"/>
                    <a:pt x="1509" y="9966"/>
                    <a:pt x="1495" y="9958"/>
                  </a:cubicBezTo>
                  <a:cubicBezTo>
                    <a:pt x="1458" y="9943"/>
                    <a:pt x="1436" y="9929"/>
                    <a:pt x="1436" y="9900"/>
                  </a:cubicBezTo>
                  <a:cubicBezTo>
                    <a:pt x="1429" y="9885"/>
                    <a:pt x="1443" y="9870"/>
                    <a:pt x="1451" y="9856"/>
                  </a:cubicBezTo>
                  <a:cubicBezTo>
                    <a:pt x="1495" y="9819"/>
                    <a:pt x="1582" y="9804"/>
                    <a:pt x="1656" y="9790"/>
                  </a:cubicBezTo>
                  <a:cubicBezTo>
                    <a:pt x="1685" y="9790"/>
                    <a:pt x="1685" y="9790"/>
                    <a:pt x="1685" y="9790"/>
                  </a:cubicBezTo>
                  <a:cubicBezTo>
                    <a:pt x="1751" y="9775"/>
                    <a:pt x="1832" y="9731"/>
                    <a:pt x="1876" y="9680"/>
                  </a:cubicBezTo>
                  <a:cubicBezTo>
                    <a:pt x="1883" y="9672"/>
                    <a:pt x="1883" y="9672"/>
                    <a:pt x="1883" y="9672"/>
                  </a:cubicBezTo>
                  <a:cubicBezTo>
                    <a:pt x="1912" y="9629"/>
                    <a:pt x="1949" y="9584"/>
                    <a:pt x="2008" y="9584"/>
                  </a:cubicBezTo>
                  <a:cubicBezTo>
                    <a:pt x="2030" y="9584"/>
                    <a:pt x="2059" y="9592"/>
                    <a:pt x="2081" y="9607"/>
                  </a:cubicBezTo>
                  <a:cubicBezTo>
                    <a:pt x="2110" y="9621"/>
                    <a:pt x="2140" y="9629"/>
                    <a:pt x="2169" y="9629"/>
                  </a:cubicBezTo>
                  <a:cubicBezTo>
                    <a:pt x="2228" y="9629"/>
                    <a:pt x="2279" y="9592"/>
                    <a:pt x="2315" y="9562"/>
                  </a:cubicBezTo>
                  <a:cubicBezTo>
                    <a:pt x="2337" y="9541"/>
                    <a:pt x="2367" y="9533"/>
                    <a:pt x="2396" y="9533"/>
                  </a:cubicBezTo>
                  <a:cubicBezTo>
                    <a:pt x="2447" y="9533"/>
                    <a:pt x="2491" y="9570"/>
                    <a:pt x="2513" y="9599"/>
                  </a:cubicBezTo>
                  <a:lnTo>
                    <a:pt x="2513" y="9599"/>
                  </a:lnTo>
                  <a:cubicBezTo>
                    <a:pt x="2521" y="9599"/>
                    <a:pt x="2535" y="9592"/>
                    <a:pt x="2550" y="9562"/>
                  </a:cubicBezTo>
                  <a:cubicBezTo>
                    <a:pt x="2579" y="9526"/>
                    <a:pt x="2601" y="9453"/>
                    <a:pt x="2572" y="9387"/>
                  </a:cubicBezTo>
                  <a:cubicBezTo>
                    <a:pt x="2557" y="9343"/>
                    <a:pt x="2535" y="9306"/>
                    <a:pt x="2513" y="9277"/>
                  </a:cubicBezTo>
                  <a:cubicBezTo>
                    <a:pt x="2484" y="9218"/>
                    <a:pt x="2454" y="9167"/>
                    <a:pt x="2513" y="9130"/>
                  </a:cubicBezTo>
                  <a:cubicBezTo>
                    <a:pt x="2528" y="9123"/>
                    <a:pt x="2550" y="9108"/>
                    <a:pt x="2564" y="9101"/>
                  </a:cubicBezTo>
                  <a:cubicBezTo>
                    <a:pt x="2579" y="9101"/>
                    <a:pt x="2594" y="9086"/>
                    <a:pt x="2601" y="9086"/>
                  </a:cubicBezTo>
                  <a:cubicBezTo>
                    <a:pt x="2601" y="9079"/>
                    <a:pt x="2594" y="9072"/>
                    <a:pt x="2557" y="9028"/>
                  </a:cubicBezTo>
                  <a:cubicBezTo>
                    <a:pt x="2462" y="8954"/>
                    <a:pt x="2469" y="8918"/>
                    <a:pt x="2499" y="8837"/>
                  </a:cubicBezTo>
                  <a:cubicBezTo>
                    <a:pt x="2506" y="8822"/>
                    <a:pt x="2513" y="8808"/>
                    <a:pt x="2513" y="8786"/>
                  </a:cubicBezTo>
                  <a:cubicBezTo>
                    <a:pt x="2528" y="8742"/>
                    <a:pt x="2506" y="8705"/>
                    <a:pt x="2484" y="8669"/>
                  </a:cubicBezTo>
                  <a:cubicBezTo>
                    <a:pt x="2469" y="8639"/>
                    <a:pt x="2440" y="8603"/>
                    <a:pt x="2484" y="8566"/>
                  </a:cubicBezTo>
                  <a:cubicBezTo>
                    <a:pt x="2550" y="8515"/>
                    <a:pt x="2616" y="8346"/>
                    <a:pt x="2616" y="8251"/>
                  </a:cubicBezTo>
                  <a:cubicBezTo>
                    <a:pt x="2616" y="8207"/>
                    <a:pt x="2579" y="8134"/>
                    <a:pt x="2542" y="8053"/>
                  </a:cubicBezTo>
                  <a:cubicBezTo>
                    <a:pt x="2491" y="7958"/>
                    <a:pt x="2440" y="7848"/>
                    <a:pt x="2433" y="7760"/>
                  </a:cubicBezTo>
                  <a:cubicBezTo>
                    <a:pt x="2425" y="7635"/>
                    <a:pt x="2433" y="7577"/>
                    <a:pt x="2433" y="7562"/>
                  </a:cubicBezTo>
                  <a:cubicBezTo>
                    <a:pt x="2411" y="7525"/>
                    <a:pt x="2301" y="7350"/>
                    <a:pt x="2242" y="7313"/>
                  </a:cubicBezTo>
                  <a:cubicBezTo>
                    <a:pt x="2220" y="7298"/>
                    <a:pt x="2205" y="7284"/>
                    <a:pt x="2205" y="7269"/>
                  </a:cubicBezTo>
                  <a:cubicBezTo>
                    <a:pt x="2205" y="7254"/>
                    <a:pt x="2213" y="7247"/>
                    <a:pt x="2228" y="7232"/>
                  </a:cubicBezTo>
                  <a:cubicBezTo>
                    <a:pt x="2249" y="7210"/>
                    <a:pt x="2279" y="7181"/>
                    <a:pt x="2301" y="7130"/>
                  </a:cubicBezTo>
                  <a:cubicBezTo>
                    <a:pt x="2352" y="7020"/>
                    <a:pt x="2447" y="6895"/>
                    <a:pt x="2506" y="6895"/>
                  </a:cubicBezTo>
                  <a:cubicBezTo>
                    <a:pt x="2513" y="6895"/>
                    <a:pt x="2521" y="6895"/>
                    <a:pt x="2528" y="6895"/>
                  </a:cubicBezTo>
                  <a:cubicBezTo>
                    <a:pt x="2542" y="6903"/>
                    <a:pt x="2550" y="6917"/>
                    <a:pt x="2564" y="6925"/>
                  </a:cubicBezTo>
                  <a:cubicBezTo>
                    <a:pt x="2579" y="6939"/>
                    <a:pt x="2601" y="6954"/>
                    <a:pt x="2616" y="6954"/>
                  </a:cubicBezTo>
                  <a:cubicBezTo>
                    <a:pt x="2630" y="6954"/>
                    <a:pt x="2645" y="6947"/>
                    <a:pt x="2660" y="6932"/>
                  </a:cubicBezTo>
                  <a:cubicBezTo>
                    <a:pt x="2711" y="6888"/>
                    <a:pt x="2770" y="6859"/>
                    <a:pt x="2828" y="6844"/>
                  </a:cubicBezTo>
                  <a:cubicBezTo>
                    <a:pt x="2828" y="6837"/>
                    <a:pt x="2828" y="6837"/>
                    <a:pt x="2828" y="6837"/>
                  </a:cubicBezTo>
                  <a:cubicBezTo>
                    <a:pt x="2814" y="6822"/>
                    <a:pt x="2792" y="6800"/>
                    <a:pt x="2799" y="6771"/>
                  </a:cubicBezTo>
                  <a:cubicBezTo>
                    <a:pt x="2806" y="6749"/>
                    <a:pt x="2828" y="6727"/>
                    <a:pt x="2850" y="6727"/>
                  </a:cubicBezTo>
                  <a:cubicBezTo>
                    <a:pt x="2880" y="6727"/>
                    <a:pt x="2902" y="6741"/>
                    <a:pt x="2923" y="6763"/>
                  </a:cubicBezTo>
                  <a:cubicBezTo>
                    <a:pt x="2931" y="6763"/>
                    <a:pt x="2945" y="6741"/>
                    <a:pt x="2953" y="6705"/>
                  </a:cubicBezTo>
                  <a:cubicBezTo>
                    <a:pt x="2968" y="6653"/>
                    <a:pt x="2968" y="6588"/>
                    <a:pt x="2938" y="6551"/>
                  </a:cubicBezTo>
                  <a:cubicBezTo>
                    <a:pt x="2902" y="6507"/>
                    <a:pt x="2894" y="6478"/>
                    <a:pt x="2902" y="6456"/>
                  </a:cubicBezTo>
                  <a:cubicBezTo>
                    <a:pt x="2902" y="6448"/>
                    <a:pt x="2909" y="6434"/>
                    <a:pt x="2931" y="6434"/>
                  </a:cubicBezTo>
                  <a:cubicBezTo>
                    <a:pt x="2872" y="6397"/>
                    <a:pt x="2792" y="6331"/>
                    <a:pt x="2814" y="6258"/>
                  </a:cubicBezTo>
                  <a:cubicBezTo>
                    <a:pt x="2828" y="6199"/>
                    <a:pt x="2836" y="6162"/>
                    <a:pt x="2894" y="6162"/>
                  </a:cubicBezTo>
                  <a:cubicBezTo>
                    <a:pt x="2909" y="6162"/>
                    <a:pt x="2931" y="6162"/>
                    <a:pt x="2968" y="6170"/>
                  </a:cubicBezTo>
                  <a:cubicBezTo>
                    <a:pt x="3019" y="6184"/>
                    <a:pt x="3055" y="6221"/>
                    <a:pt x="3084" y="6243"/>
                  </a:cubicBezTo>
                  <a:cubicBezTo>
                    <a:pt x="3098" y="6258"/>
                    <a:pt x="3106" y="6265"/>
                    <a:pt x="3113" y="6265"/>
                  </a:cubicBezTo>
                  <a:cubicBezTo>
                    <a:pt x="3142" y="6243"/>
                    <a:pt x="3186" y="6236"/>
                    <a:pt x="3216" y="6236"/>
                  </a:cubicBezTo>
                  <a:cubicBezTo>
                    <a:pt x="3223" y="6236"/>
                    <a:pt x="3238" y="6236"/>
                    <a:pt x="3245" y="6236"/>
                  </a:cubicBezTo>
                  <a:cubicBezTo>
                    <a:pt x="3252" y="6236"/>
                    <a:pt x="3260" y="6236"/>
                    <a:pt x="3267" y="6236"/>
                  </a:cubicBezTo>
                  <a:cubicBezTo>
                    <a:pt x="3274" y="6236"/>
                    <a:pt x="3303" y="6229"/>
                    <a:pt x="3311" y="6207"/>
                  </a:cubicBezTo>
                  <a:cubicBezTo>
                    <a:pt x="3326" y="6184"/>
                    <a:pt x="3333" y="6162"/>
                    <a:pt x="3311" y="6126"/>
                  </a:cubicBezTo>
                  <a:cubicBezTo>
                    <a:pt x="3289" y="6089"/>
                    <a:pt x="3274" y="6089"/>
                    <a:pt x="3252" y="6082"/>
                  </a:cubicBezTo>
                  <a:cubicBezTo>
                    <a:pt x="3230" y="6082"/>
                    <a:pt x="3201" y="6074"/>
                    <a:pt x="3186" y="6031"/>
                  </a:cubicBezTo>
                  <a:cubicBezTo>
                    <a:pt x="3150" y="5957"/>
                    <a:pt x="3150" y="5869"/>
                    <a:pt x="3194" y="5803"/>
                  </a:cubicBezTo>
                  <a:cubicBezTo>
                    <a:pt x="3230" y="5760"/>
                    <a:pt x="3230" y="5708"/>
                    <a:pt x="3194" y="5664"/>
                  </a:cubicBezTo>
                  <a:cubicBezTo>
                    <a:pt x="3194" y="5657"/>
                    <a:pt x="3186" y="5642"/>
                    <a:pt x="3194" y="5635"/>
                  </a:cubicBezTo>
                  <a:cubicBezTo>
                    <a:pt x="3194" y="5620"/>
                    <a:pt x="3208" y="5620"/>
                    <a:pt x="3216" y="5613"/>
                  </a:cubicBezTo>
                  <a:cubicBezTo>
                    <a:pt x="3230" y="5613"/>
                    <a:pt x="3238" y="5606"/>
                    <a:pt x="3238" y="5591"/>
                  </a:cubicBezTo>
                  <a:cubicBezTo>
                    <a:pt x="3252" y="5547"/>
                    <a:pt x="3238" y="5342"/>
                    <a:pt x="3120" y="5224"/>
                  </a:cubicBezTo>
                  <a:cubicBezTo>
                    <a:pt x="2997" y="5100"/>
                    <a:pt x="2931" y="5063"/>
                    <a:pt x="2858" y="5041"/>
                  </a:cubicBezTo>
                  <a:cubicBezTo>
                    <a:pt x="2784" y="5027"/>
                    <a:pt x="2792" y="4983"/>
                    <a:pt x="2792" y="4953"/>
                  </a:cubicBezTo>
                  <a:cubicBezTo>
                    <a:pt x="2792" y="4939"/>
                    <a:pt x="2792" y="4931"/>
                    <a:pt x="2784" y="4917"/>
                  </a:cubicBezTo>
                  <a:cubicBezTo>
                    <a:pt x="2784" y="4902"/>
                    <a:pt x="2770" y="4895"/>
                    <a:pt x="2748" y="4888"/>
                  </a:cubicBezTo>
                  <a:cubicBezTo>
                    <a:pt x="2733" y="4880"/>
                    <a:pt x="2711" y="4873"/>
                    <a:pt x="2696" y="4858"/>
                  </a:cubicBezTo>
                  <a:cubicBezTo>
                    <a:pt x="2667" y="4807"/>
                    <a:pt x="2726" y="4756"/>
                    <a:pt x="2762" y="4734"/>
                  </a:cubicBezTo>
                  <a:cubicBezTo>
                    <a:pt x="2770" y="4726"/>
                    <a:pt x="2784" y="4712"/>
                    <a:pt x="2784" y="4697"/>
                  </a:cubicBezTo>
                  <a:cubicBezTo>
                    <a:pt x="2784" y="4675"/>
                    <a:pt x="2762" y="4660"/>
                    <a:pt x="2726" y="4646"/>
                  </a:cubicBezTo>
                  <a:cubicBezTo>
                    <a:pt x="2645" y="4609"/>
                    <a:pt x="2506" y="4492"/>
                    <a:pt x="2506" y="4382"/>
                  </a:cubicBezTo>
                  <a:cubicBezTo>
                    <a:pt x="2506" y="4338"/>
                    <a:pt x="2513" y="4301"/>
                    <a:pt x="2528" y="4265"/>
                  </a:cubicBezTo>
                  <a:cubicBezTo>
                    <a:pt x="2542" y="4213"/>
                    <a:pt x="2550" y="4184"/>
                    <a:pt x="2528" y="4169"/>
                  </a:cubicBezTo>
                  <a:cubicBezTo>
                    <a:pt x="2484" y="4118"/>
                    <a:pt x="2433" y="3986"/>
                    <a:pt x="2469" y="3913"/>
                  </a:cubicBezTo>
                  <a:cubicBezTo>
                    <a:pt x="2499" y="3854"/>
                    <a:pt x="2542" y="3847"/>
                    <a:pt x="2572" y="3847"/>
                  </a:cubicBezTo>
                  <a:cubicBezTo>
                    <a:pt x="2564" y="3803"/>
                    <a:pt x="2550" y="3737"/>
                    <a:pt x="2521" y="3730"/>
                  </a:cubicBezTo>
                  <a:cubicBezTo>
                    <a:pt x="2513" y="3722"/>
                    <a:pt x="2513" y="3722"/>
                    <a:pt x="2513" y="3722"/>
                  </a:cubicBezTo>
                  <a:cubicBezTo>
                    <a:pt x="2477" y="3700"/>
                    <a:pt x="2433" y="3686"/>
                    <a:pt x="2447" y="3598"/>
                  </a:cubicBezTo>
                  <a:cubicBezTo>
                    <a:pt x="2454" y="3554"/>
                    <a:pt x="2447" y="3539"/>
                    <a:pt x="2433" y="3510"/>
                  </a:cubicBezTo>
                  <a:cubicBezTo>
                    <a:pt x="2425" y="3488"/>
                    <a:pt x="2418" y="3459"/>
                    <a:pt x="2411" y="3422"/>
                  </a:cubicBezTo>
                  <a:cubicBezTo>
                    <a:pt x="2411" y="3407"/>
                    <a:pt x="2403" y="3378"/>
                    <a:pt x="2389" y="3378"/>
                  </a:cubicBezTo>
                  <a:cubicBezTo>
                    <a:pt x="2374" y="3378"/>
                    <a:pt x="2345" y="3400"/>
                    <a:pt x="2330" y="3437"/>
                  </a:cubicBezTo>
                  <a:cubicBezTo>
                    <a:pt x="2323" y="3459"/>
                    <a:pt x="2315" y="3466"/>
                    <a:pt x="2315" y="3481"/>
                  </a:cubicBezTo>
                  <a:cubicBezTo>
                    <a:pt x="2301" y="3524"/>
                    <a:pt x="2293" y="3539"/>
                    <a:pt x="2205" y="3561"/>
                  </a:cubicBezTo>
                  <a:cubicBezTo>
                    <a:pt x="2191" y="3561"/>
                    <a:pt x="2176" y="3561"/>
                    <a:pt x="2161" y="3561"/>
                  </a:cubicBezTo>
                  <a:cubicBezTo>
                    <a:pt x="2088" y="3561"/>
                    <a:pt x="2052" y="3510"/>
                    <a:pt x="2052" y="3407"/>
                  </a:cubicBezTo>
                  <a:cubicBezTo>
                    <a:pt x="2052" y="3341"/>
                    <a:pt x="2015" y="3239"/>
                    <a:pt x="2000" y="3231"/>
                  </a:cubicBezTo>
                  <a:lnTo>
                    <a:pt x="2000" y="3231"/>
                  </a:lnTo>
                  <a:cubicBezTo>
                    <a:pt x="2000" y="3239"/>
                    <a:pt x="1927" y="3349"/>
                    <a:pt x="1883" y="3349"/>
                  </a:cubicBezTo>
                  <a:cubicBezTo>
                    <a:pt x="1876" y="3349"/>
                    <a:pt x="1868" y="3341"/>
                    <a:pt x="1868" y="3334"/>
                  </a:cubicBezTo>
                  <a:cubicBezTo>
                    <a:pt x="1861" y="3327"/>
                    <a:pt x="1854" y="3305"/>
                    <a:pt x="1883" y="3224"/>
                  </a:cubicBezTo>
                  <a:cubicBezTo>
                    <a:pt x="1898" y="3165"/>
                    <a:pt x="1912" y="3129"/>
                    <a:pt x="1927" y="3100"/>
                  </a:cubicBezTo>
                  <a:cubicBezTo>
                    <a:pt x="1934" y="3078"/>
                    <a:pt x="1942" y="3063"/>
                    <a:pt x="1942" y="3056"/>
                  </a:cubicBezTo>
                  <a:cubicBezTo>
                    <a:pt x="1942" y="3056"/>
                    <a:pt x="1942" y="3056"/>
                    <a:pt x="1934" y="3056"/>
                  </a:cubicBezTo>
                  <a:cubicBezTo>
                    <a:pt x="1934" y="3056"/>
                    <a:pt x="1934" y="3056"/>
                    <a:pt x="1927" y="3056"/>
                  </a:cubicBezTo>
                  <a:cubicBezTo>
                    <a:pt x="1927" y="3056"/>
                    <a:pt x="1920" y="3048"/>
                    <a:pt x="1912" y="3048"/>
                  </a:cubicBezTo>
                  <a:cubicBezTo>
                    <a:pt x="1854" y="3026"/>
                    <a:pt x="1832" y="2990"/>
                    <a:pt x="1846" y="2931"/>
                  </a:cubicBezTo>
                  <a:cubicBezTo>
                    <a:pt x="1854" y="2902"/>
                    <a:pt x="1839" y="2836"/>
                    <a:pt x="1817" y="2806"/>
                  </a:cubicBezTo>
                  <a:cubicBezTo>
                    <a:pt x="1802" y="2792"/>
                    <a:pt x="1795" y="2784"/>
                    <a:pt x="1788" y="2784"/>
                  </a:cubicBezTo>
                  <a:cubicBezTo>
                    <a:pt x="1780" y="2784"/>
                    <a:pt x="1780" y="2784"/>
                    <a:pt x="1773" y="2792"/>
                  </a:cubicBezTo>
                  <a:cubicBezTo>
                    <a:pt x="1751" y="2792"/>
                    <a:pt x="1737" y="2814"/>
                    <a:pt x="1722" y="2836"/>
                  </a:cubicBezTo>
                  <a:cubicBezTo>
                    <a:pt x="1700" y="2865"/>
                    <a:pt x="1678" y="2894"/>
                    <a:pt x="1649" y="2894"/>
                  </a:cubicBezTo>
                  <a:cubicBezTo>
                    <a:pt x="1627" y="2894"/>
                    <a:pt x="1612" y="2887"/>
                    <a:pt x="1590" y="2865"/>
                  </a:cubicBezTo>
                  <a:cubicBezTo>
                    <a:pt x="1568" y="2843"/>
                    <a:pt x="1546" y="2821"/>
                    <a:pt x="1539" y="2821"/>
                  </a:cubicBezTo>
                  <a:cubicBezTo>
                    <a:pt x="1539" y="2821"/>
                    <a:pt x="1531" y="2829"/>
                    <a:pt x="1531" y="2843"/>
                  </a:cubicBezTo>
                  <a:cubicBezTo>
                    <a:pt x="1524" y="2850"/>
                    <a:pt x="1509" y="2865"/>
                    <a:pt x="1502" y="2887"/>
                  </a:cubicBezTo>
                  <a:cubicBezTo>
                    <a:pt x="1480" y="2909"/>
                    <a:pt x="1465" y="2924"/>
                    <a:pt x="1451" y="2924"/>
                  </a:cubicBezTo>
                  <a:cubicBezTo>
                    <a:pt x="1443" y="2924"/>
                    <a:pt x="1436" y="2916"/>
                    <a:pt x="1436" y="2909"/>
                  </a:cubicBezTo>
                  <a:cubicBezTo>
                    <a:pt x="1429" y="2909"/>
                    <a:pt x="1414" y="2887"/>
                    <a:pt x="1429" y="2770"/>
                  </a:cubicBezTo>
                  <a:cubicBezTo>
                    <a:pt x="1451" y="2601"/>
                    <a:pt x="1436" y="2572"/>
                    <a:pt x="1429" y="2572"/>
                  </a:cubicBezTo>
                  <a:cubicBezTo>
                    <a:pt x="1421" y="2572"/>
                    <a:pt x="1414" y="2572"/>
                    <a:pt x="1407" y="2572"/>
                  </a:cubicBezTo>
                  <a:cubicBezTo>
                    <a:pt x="1399" y="2572"/>
                    <a:pt x="1385" y="2579"/>
                    <a:pt x="1355" y="2594"/>
                  </a:cubicBezTo>
                  <a:cubicBezTo>
                    <a:pt x="1333" y="2609"/>
                    <a:pt x="1333" y="2609"/>
                    <a:pt x="1333" y="2609"/>
                  </a:cubicBezTo>
                  <a:cubicBezTo>
                    <a:pt x="1319" y="2616"/>
                    <a:pt x="1304" y="2623"/>
                    <a:pt x="1290" y="2638"/>
                  </a:cubicBezTo>
                  <a:cubicBezTo>
                    <a:pt x="1268" y="2653"/>
                    <a:pt x="1246" y="2667"/>
                    <a:pt x="1223" y="2667"/>
                  </a:cubicBezTo>
                  <a:cubicBezTo>
                    <a:pt x="1216" y="2667"/>
                    <a:pt x="1202" y="2667"/>
                    <a:pt x="1194" y="2660"/>
                  </a:cubicBezTo>
                  <a:cubicBezTo>
                    <a:pt x="1180" y="2645"/>
                    <a:pt x="1165" y="2631"/>
                    <a:pt x="1158" y="2616"/>
                  </a:cubicBezTo>
                  <a:cubicBezTo>
                    <a:pt x="1150" y="2601"/>
                    <a:pt x="1143" y="2587"/>
                    <a:pt x="1128" y="2587"/>
                  </a:cubicBezTo>
                  <a:cubicBezTo>
                    <a:pt x="1128" y="2587"/>
                    <a:pt x="1128" y="2579"/>
                    <a:pt x="1121" y="2579"/>
                  </a:cubicBezTo>
                  <a:cubicBezTo>
                    <a:pt x="1121" y="2579"/>
                    <a:pt x="1114" y="2587"/>
                    <a:pt x="1106" y="2594"/>
                  </a:cubicBezTo>
                  <a:cubicBezTo>
                    <a:pt x="1099" y="2601"/>
                    <a:pt x="1084" y="2616"/>
                    <a:pt x="1062" y="2631"/>
                  </a:cubicBezTo>
                  <a:cubicBezTo>
                    <a:pt x="1055" y="2631"/>
                    <a:pt x="1048" y="2638"/>
                    <a:pt x="1040" y="2638"/>
                  </a:cubicBezTo>
                  <a:cubicBezTo>
                    <a:pt x="1018" y="2638"/>
                    <a:pt x="1011" y="2623"/>
                    <a:pt x="997" y="2616"/>
                  </a:cubicBezTo>
                  <a:cubicBezTo>
                    <a:pt x="989" y="2601"/>
                    <a:pt x="982" y="2594"/>
                    <a:pt x="967" y="2594"/>
                  </a:cubicBezTo>
                  <a:lnTo>
                    <a:pt x="960" y="2594"/>
                  </a:lnTo>
                  <a:cubicBezTo>
                    <a:pt x="901" y="2609"/>
                    <a:pt x="850" y="2616"/>
                    <a:pt x="806" y="2653"/>
                  </a:cubicBezTo>
                  <a:cubicBezTo>
                    <a:pt x="769" y="2674"/>
                    <a:pt x="747" y="2726"/>
                    <a:pt x="747" y="2741"/>
                  </a:cubicBezTo>
                  <a:cubicBezTo>
                    <a:pt x="747" y="2748"/>
                    <a:pt x="762" y="2755"/>
                    <a:pt x="791" y="2755"/>
                  </a:cubicBezTo>
                  <a:cubicBezTo>
                    <a:pt x="799" y="2762"/>
                    <a:pt x="806" y="2762"/>
                    <a:pt x="813" y="2762"/>
                  </a:cubicBezTo>
                  <a:cubicBezTo>
                    <a:pt x="821" y="2762"/>
                    <a:pt x="835" y="2762"/>
                    <a:pt x="842" y="2762"/>
                  </a:cubicBezTo>
                  <a:cubicBezTo>
                    <a:pt x="850" y="2755"/>
                    <a:pt x="864" y="2755"/>
                    <a:pt x="872" y="2755"/>
                  </a:cubicBezTo>
                  <a:cubicBezTo>
                    <a:pt x="894" y="2755"/>
                    <a:pt x="916" y="2762"/>
                    <a:pt x="945" y="2784"/>
                  </a:cubicBezTo>
                  <a:cubicBezTo>
                    <a:pt x="989" y="2829"/>
                    <a:pt x="997" y="2894"/>
                    <a:pt x="967" y="2953"/>
                  </a:cubicBezTo>
                  <a:cubicBezTo>
                    <a:pt x="960" y="2960"/>
                    <a:pt x="960" y="2975"/>
                    <a:pt x="967" y="2982"/>
                  </a:cubicBezTo>
                  <a:cubicBezTo>
                    <a:pt x="967" y="3019"/>
                    <a:pt x="952" y="3041"/>
                    <a:pt x="879" y="3048"/>
                  </a:cubicBezTo>
                  <a:cubicBezTo>
                    <a:pt x="857" y="3048"/>
                    <a:pt x="842" y="3056"/>
                    <a:pt x="828" y="3056"/>
                  </a:cubicBezTo>
                  <a:cubicBezTo>
                    <a:pt x="725" y="3063"/>
                    <a:pt x="667" y="3070"/>
                    <a:pt x="667" y="3151"/>
                  </a:cubicBezTo>
                  <a:cubicBezTo>
                    <a:pt x="667" y="3246"/>
                    <a:pt x="615" y="3261"/>
                    <a:pt x="564" y="3283"/>
                  </a:cubicBezTo>
                  <a:cubicBezTo>
                    <a:pt x="549" y="3283"/>
                    <a:pt x="535" y="3290"/>
                    <a:pt x="520" y="3298"/>
                  </a:cubicBezTo>
                  <a:cubicBezTo>
                    <a:pt x="506" y="3305"/>
                    <a:pt x="483" y="3312"/>
                    <a:pt x="469" y="3312"/>
                  </a:cubicBezTo>
                  <a:cubicBezTo>
                    <a:pt x="447" y="3312"/>
                    <a:pt x="425" y="3305"/>
                    <a:pt x="403" y="3305"/>
                  </a:cubicBezTo>
                  <a:cubicBezTo>
                    <a:pt x="381" y="3298"/>
                    <a:pt x="366" y="3298"/>
                    <a:pt x="352" y="3298"/>
                  </a:cubicBezTo>
                  <a:cubicBezTo>
                    <a:pt x="330" y="3298"/>
                    <a:pt x="322" y="3298"/>
                    <a:pt x="308" y="3305"/>
                  </a:cubicBezTo>
                  <a:cubicBezTo>
                    <a:pt x="286" y="3319"/>
                    <a:pt x="286" y="3319"/>
                    <a:pt x="286" y="3319"/>
                  </a:cubicBezTo>
                  <a:cubicBezTo>
                    <a:pt x="286" y="3298"/>
                    <a:pt x="286" y="3298"/>
                    <a:pt x="286" y="3298"/>
                  </a:cubicBezTo>
                  <a:cubicBezTo>
                    <a:pt x="286" y="3268"/>
                    <a:pt x="278" y="3253"/>
                    <a:pt x="271" y="3246"/>
                  </a:cubicBezTo>
                  <a:cubicBezTo>
                    <a:pt x="271" y="3246"/>
                    <a:pt x="271" y="3239"/>
                    <a:pt x="256" y="3239"/>
                  </a:cubicBezTo>
                  <a:lnTo>
                    <a:pt x="242" y="3239"/>
                  </a:lnTo>
                  <a:cubicBezTo>
                    <a:pt x="234" y="3239"/>
                    <a:pt x="220" y="3239"/>
                    <a:pt x="212" y="3231"/>
                  </a:cubicBezTo>
                  <a:cubicBezTo>
                    <a:pt x="205" y="3224"/>
                    <a:pt x="198" y="3202"/>
                    <a:pt x="205" y="3180"/>
                  </a:cubicBezTo>
                  <a:cubicBezTo>
                    <a:pt x="212" y="3129"/>
                    <a:pt x="227" y="3122"/>
                    <a:pt x="242" y="3114"/>
                  </a:cubicBezTo>
                  <a:cubicBezTo>
                    <a:pt x="256" y="3114"/>
                    <a:pt x="264" y="3114"/>
                    <a:pt x="271" y="3085"/>
                  </a:cubicBezTo>
                  <a:cubicBezTo>
                    <a:pt x="286" y="3048"/>
                    <a:pt x="278" y="3026"/>
                    <a:pt x="278" y="2997"/>
                  </a:cubicBezTo>
                  <a:cubicBezTo>
                    <a:pt x="271" y="2975"/>
                    <a:pt x="271" y="2960"/>
                    <a:pt x="271" y="2931"/>
                  </a:cubicBezTo>
                  <a:cubicBezTo>
                    <a:pt x="271" y="2894"/>
                    <a:pt x="278" y="2880"/>
                    <a:pt x="300" y="2865"/>
                  </a:cubicBezTo>
                  <a:cubicBezTo>
                    <a:pt x="308" y="2858"/>
                    <a:pt x="315" y="2850"/>
                    <a:pt x="330" y="2814"/>
                  </a:cubicBezTo>
                  <a:cubicBezTo>
                    <a:pt x="344" y="2762"/>
                    <a:pt x="337" y="2741"/>
                    <a:pt x="330" y="2697"/>
                  </a:cubicBezTo>
                  <a:cubicBezTo>
                    <a:pt x="322" y="2682"/>
                    <a:pt x="322" y="2667"/>
                    <a:pt x="315" y="2638"/>
                  </a:cubicBezTo>
                  <a:cubicBezTo>
                    <a:pt x="308" y="2572"/>
                    <a:pt x="278" y="2535"/>
                    <a:pt x="249" y="2484"/>
                  </a:cubicBezTo>
                  <a:cubicBezTo>
                    <a:pt x="227" y="2440"/>
                    <a:pt x="227" y="2440"/>
                    <a:pt x="227" y="2440"/>
                  </a:cubicBezTo>
                  <a:cubicBezTo>
                    <a:pt x="190" y="2381"/>
                    <a:pt x="132" y="2293"/>
                    <a:pt x="110" y="2198"/>
                  </a:cubicBezTo>
                  <a:cubicBezTo>
                    <a:pt x="88" y="2096"/>
                    <a:pt x="88" y="1964"/>
                    <a:pt x="110" y="1920"/>
                  </a:cubicBezTo>
                  <a:cubicBezTo>
                    <a:pt x="124" y="1891"/>
                    <a:pt x="168" y="1795"/>
                    <a:pt x="117" y="1766"/>
                  </a:cubicBezTo>
                  <a:cubicBezTo>
                    <a:pt x="73" y="1737"/>
                    <a:pt x="0" y="1700"/>
                    <a:pt x="44" y="1597"/>
                  </a:cubicBezTo>
                  <a:cubicBezTo>
                    <a:pt x="51" y="1590"/>
                    <a:pt x="51" y="1590"/>
                    <a:pt x="51" y="1590"/>
                  </a:cubicBezTo>
                  <a:cubicBezTo>
                    <a:pt x="80" y="1517"/>
                    <a:pt x="95" y="1480"/>
                    <a:pt x="190" y="1443"/>
                  </a:cubicBezTo>
                  <a:cubicBezTo>
                    <a:pt x="212" y="1436"/>
                    <a:pt x="234" y="1436"/>
                    <a:pt x="249" y="1436"/>
                  </a:cubicBezTo>
                  <a:cubicBezTo>
                    <a:pt x="278" y="1436"/>
                    <a:pt x="308" y="1443"/>
                    <a:pt x="322" y="1451"/>
                  </a:cubicBezTo>
                  <a:cubicBezTo>
                    <a:pt x="337" y="1451"/>
                    <a:pt x="352" y="1458"/>
                    <a:pt x="366" y="1458"/>
                  </a:cubicBezTo>
                  <a:cubicBezTo>
                    <a:pt x="366" y="1458"/>
                    <a:pt x="366" y="1458"/>
                    <a:pt x="373" y="1458"/>
                  </a:cubicBezTo>
                  <a:cubicBezTo>
                    <a:pt x="373" y="1451"/>
                    <a:pt x="381" y="1451"/>
                    <a:pt x="381" y="1451"/>
                  </a:cubicBezTo>
                  <a:cubicBezTo>
                    <a:pt x="396" y="1451"/>
                    <a:pt x="403" y="1458"/>
                    <a:pt x="410" y="1465"/>
                  </a:cubicBezTo>
                  <a:lnTo>
                    <a:pt x="410" y="1465"/>
                  </a:lnTo>
                  <a:cubicBezTo>
                    <a:pt x="440" y="1429"/>
                    <a:pt x="483" y="1385"/>
                    <a:pt x="520" y="1378"/>
                  </a:cubicBezTo>
                  <a:cubicBezTo>
                    <a:pt x="557" y="1370"/>
                    <a:pt x="608" y="1363"/>
                    <a:pt x="659" y="1363"/>
                  </a:cubicBezTo>
                  <a:cubicBezTo>
                    <a:pt x="703" y="1363"/>
                    <a:pt x="740" y="1370"/>
                    <a:pt x="755" y="1378"/>
                  </a:cubicBezTo>
                  <a:cubicBezTo>
                    <a:pt x="791" y="1392"/>
                    <a:pt x="850" y="1429"/>
                    <a:pt x="887" y="1488"/>
                  </a:cubicBezTo>
                  <a:cubicBezTo>
                    <a:pt x="916" y="1517"/>
                    <a:pt x="967" y="1553"/>
                    <a:pt x="1018" y="1553"/>
                  </a:cubicBezTo>
                  <a:cubicBezTo>
                    <a:pt x="1033" y="1553"/>
                    <a:pt x="1040" y="1553"/>
                    <a:pt x="1055" y="1546"/>
                  </a:cubicBezTo>
                  <a:cubicBezTo>
                    <a:pt x="1114" y="1524"/>
                    <a:pt x="1143" y="1495"/>
                    <a:pt x="1143" y="1451"/>
                  </a:cubicBezTo>
                  <a:cubicBezTo>
                    <a:pt x="1143" y="1414"/>
                    <a:pt x="1165" y="1392"/>
                    <a:pt x="1180" y="1370"/>
                  </a:cubicBezTo>
                  <a:cubicBezTo>
                    <a:pt x="1187" y="1356"/>
                    <a:pt x="1202" y="1341"/>
                    <a:pt x="1202" y="1326"/>
                  </a:cubicBezTo>
                  <a:cubicBezTo>
                    <a:pt x="1202" y="1312"/>
                    <a:pt x="1194" y="1304"/>
                    <a:pt x="1180" y="1297"/>
                  </a:cubicBezTo>
                  <a:cubicBezTo>
                    <a:pt x="1158" y="1282"/>
                    <a:pt x="1136" y="1268"/>
                    <a:pt x="1136" y="1231"/>
                  </a:cubicBezTo>
                  <a:cubicBezTo>
                    <a:pt x="1136" y="1180"/>
                    <a:pt x="1121" y="1062"/>
                    <a:pt x="1121" y="1062"/>
                  </a:cubicBezTo>
                  <a:cubicBezTo>
                    <a:pt x="1121" y="1048"/>
                    <a:pt x="1121" y="1048"/>
                    <a:pt x="1121" y="1048"/>
                  </a:cubicBezTo>
                  <a:cubicBezTo>
                    <a:pt x="1136" y="1048"/>
                    <a:pt x="1136" y="1048"/>
                    <a:pt x="1136" y="1048"/>
                  </a:cubicBezTo>
                  <a:cubicBezTo>
                    <a:pt x="1150" y="1048"/>
                    <a:pt x="1260" y="1048"/>
                    <a:pt x="1297" y="1084"/>
                  </a:cubicBezTo>
                  <a:cubicBezTo>
                    <a:pt x="1297" y="1084"/>
                    <a:pt x="1304" y="1092"/>
                    <a:pt x="1326" y="1092"/>
                  </a:cubicBezTo>
                  <a:cubicBezTo>
                    <a:pt x="1355" y="1092"/>
                    <a:pt x="1407" y="1084"/>
                    <a:pt x="1436" y="1070"/>
                  </a:cubicBezTo>
                  <a:cubicBezTo>
                    <a:pt x="1421" y="1062"/>
                    <a:pt x="1407" y="1055"/>
                    <a:pt x="1399" y="1033"/>
                  </a:cubicBezTo>
                  <a:cubicBezTo>
                    <a:pt x="1399" y="1026"/>
                    <a:pt x="1399" y="1004"/>
                    <a:pt x="1421" y="982"/>
                  </a:cubicBezTo>
                  <a:cubicBezTo>
                    <a:pt x="1451" y="953"/>
                    <a:pt x="1480" y="945"/>
                    <a:pt x="1502" y="938"/>
                  </a:cubicBezTo>
                  <a:cubicBezTo>
                    <a:pt x="1531" y="938"/>
                    <a:pt x="1546" y="931"/>
                    <a:pt x="1568" y="909"/>
                  </a:cubicBezTo>
                  <a:cubicBezTo>
                    <a:pt x="1575" y="894"/>
                    <a:pt x="1582" y="887"/>
                    <a:pt x="1590" y="879"/>
                  </a:cubicBezTo>
                  <a:cubicBezTo>
                    <a:pt x="1619" y="843"/>
                    <a:pt x="1641" y="813"/>
                    <a:pt x="1641" y="755"/>
                  </a:cubicBezTo>
                  <a:cubicBezTo>
                    <a:pt x="1641" y="733"/>
                    <a:pt x="1634" y="711"/>
                    <a:pt x="1627" y="681"/>
                  </a:cubicBezTo>
                  <a:cubicBezTo>
                    <a:pt x="1605" y="638"/>
                    <a:pt x="1582" y="586"/>
                    <a:pt x="1634" y="520"/>
                  </a:cubicBezTo>
                  <a:cubicBezTo>
                    <a:pt x="1671" y="469"/>
                    <a:pt x="1692" y="447"/>
                    <a:pt x="1722" y="447"/>
                  </a:cubicBezTo>
                  <a:cubicBezTo>
                    <a:pt x="1737" y="447"/>
                    <a:pt x="1751" y="462"/>
                    <a:pt x="1773" y="469"/>
                  </a:cubicBezTo>
                  <a:cubicBezTo>
                    <a:pt x="1788" y="484"/>
                    <a:pt x="1788" y="484"/>
                    <a:pt x="1788" y="484"/>
                  </a:cubicBezTo>
                  <a:cubicBezTo>
                    <a:pt x="1810" y="491"/>
                    <a:pt x="1839" y="498"/>
                    <a:pt x="1868" y="498"/>
                  </a:cubicBezTo>
                  <a:cubicBezTo>
                    <a:pt x="1920" y="498"/>
                    <a:pt x="2000" y="484"/>
                    <a:pt x="2044" y="440"/>
                  </a:cubicBezTo>
                  <a:cubicBezTo>
                    <a:pt x="2073" y="410"/>
                    <a:pt x="2103" y="388"/>
                    <a:pt x="2132" y="366"/>
                  </a:cubicBezTo>
                  <a:cubicBezTo>
                    <a:pt x="2169" y="337"/>
                    <a:pt x="2205" y="315"/>
                    <a:pt x="2220" y="286"/>
                  </a:cubicBezTo>
                  <a:cubicBezTo>
                    <a:pt x="2235" y="264"/>
                    <a:pt x="2235" y="242"/>
                    <a:pt x="2235" y="220"/>
                  </a:cubicBezTo>
                  <a:cubicBezTo>
                    <a:pt x="2242" y="191"/>
                    <a:pt x="2242" y="154"/>
                    <a:pt x="2271" y="124"/>
                  </a:cubicBezTo>
                  <a:cubicBezTo>
                    <a:pt x="2286" y="103"/>
                    <a:pt x="2301" y="88"/>
                    <a:pt x="2323" y="73"/>
                  </a:cubicBezTo>
                  <a:cubicBezTo>
                    <a:pt x="2323" y="66"/>
                    <a:pt x="2323" y="66"/>
                    <a:pt x="2323" y="66"/>
                  </a:cubicBezTo>
                  <a:cubicBezTo>
                    <a:pt x="2345" y="51"/>
                    <a:pt x="2345" y="51"/>
                    <a:pt x="2345" y="51"/>
                  </a:cubicBezTo>
                  <a:lnTo>
                    <a:pt x="2345" y="51"/>
                  </a:lnTo>
                  <a:cubicBezTo>
                    <a:pt x="2374" y="29"/>
                    <a:pt x="2403" y="15"/>
                    <a:pt x="2425" y="7"/>
                  </a:cubicBezTo>
                  <a:cubicBezTo>
                    <a:pt x="2433" y="0"/>
                    <a:pt x="2433" y="0"/>
                    <a:pt x="2440" y="0"/>
                  </a:cubicBezTo>
                  <a:cubicBezTo>
                    <a:pt x="2454" y="0"/>
                    <a:pt x="2462" y="7"/>
                    <a:pt x="2462" y="15"/>
                  </a:cubicBezTo>
                  <a:cubicBezTo>
                    <a:pt x="2469" y="22"/>
                    <a:pt x="2477" y="29"/>
                    <a:pt x="2506" y="29"/>
                  </a:cubicBezTo>
                  <a:cubicBezTo>
                    <a:pt x="2528" y="29"/>
                    <a:pt x="2542" y="15"/>
                    <a:pt x="2557" y="7"/>
                  </a:cubicBezTo>
                  <a:cubicBezTo>
                    <a:pt x="2572" y="0"/>
                    <a:pt x="2587" y="0"/>
                    <a:pt x="2601" y="0"/>
                  </a:cubicBezTo>
                  <a:cubicBezTo>
                    <a:pt x="2616" y="0"/>
                    <a:pt x="2638" y="7"/>
                    <a:pt x="2652" y="29"/>
                  </a:cubicBezTo>
                  <a:cubicBezTo>
                    <a:pt x="2674" y="51"/>
                    <a:pt x="2689" y="73"/>
                    <a:pt x="2696" y="95"/>
                  </a:cubicBezTo>
                  <a:cubicBezTo>
                    <a:pt x="2733" y="147"/>
                    <a:pt x="2762" y="191"/>
                    <a:pt x="2814" y="198"/>
                  </a:cubicBezTo>
                  <a:cubicBezTo>
                    <a:pt x="2872" y="205"/>
                    <a:pt x="2880" y="227"/>
                    <a:pt x="2894" y="256"/>
                  </a:cubicBezTo>
                  <a:cubicBezTo>
                    <a:pt x="2902" y="271"/>
                    <a:pt x="2909" y="293"/>
                    <a:pt x="2931" y="315"/>
                  </a:cubicBezTo>
                  <a:cubicBezTo>
                    <a:pt x="2982" y="374"/>
                    <a:pt x="2997" y="403"/>
                    <a:pt x="3019" y="447"/>
                  </a:cubicBezTo>
                  <a:cubicBezTo>
                    <a:pt x="3041" y="484"/>
                    <a:pt x="3041" y="484"/>
                    <a:pt x="3041" y="484"/>
                  </a:cubicBezTo>
                  <a:cubicBezTo>
                    <a:pt x="3063" y="520"/>
                    <a:pt x="3077" y="542"/>
                    <a:pt x="3098" y="542"/>
                  </a:cubicBezTo>
                  <a:cubicBezTo>
                    <a:pt x="3106" y="542"/>
                    <a:pt x="3113" y="535"/>
                    <a:pt x="3113" y="535"/>
                  </a:cubicBezTo>
                  <a:cubicBezTo>
                    <a:pt x="3120" y="535"/>
                    <a:pt x="3128" y="535"/>
                    <a:pt x="3128" y="535"/>
                  </a:cubicBezTo>
                  <a:cubicBezTo>
                    <a:pt x="3164" y="535"/>
                    <a:pt x="3179" y="564"/>
                    <a:pt x="3194" y="586"/>
                  </a:cubicBezTo>
                  <a:cubicBezTo>
                    <a:pt x="3208" y="601"/>
                    <a:pt x="3216" y="615"/>
                    <a:pt x="3230" y="630"/>
                  </a:cubicBezTo>
                  <a:cubicBezTo>
                    <a:pt x="3245" y="645"/>
                    <a:pt x="3282" y="652"/>
                    <a:pt x="3326" y="652"/>
                  </a:cubicBezTo>
                  <a:cubicBezTo>
                    <a:pt x="3348" y="652"/>
                    <a:pt x="3370" y="652"/>
                    <a:pt x="3370" y="652"/>
                  </a:cubicBezTo>
                  <a:cubicBezTo>
                    <a:pt x="3399" y="652"/>
                    <a:pt x="3450" y="681"/>
                    <a:pt x="3450" y="747"/>
                  </a:cubicBezTo>
                  <a:cubicBezTo>
                    <a:pt x="3450" y="769"/>
                    <a:pt x="3458" y="791"/>
                    <a:pt x="3472" y="813"/>
                  </a:cubicBezTo>
                  <a:cubicBezTo>
                    <a:pt x="3479" y="835"/>
                    <a:pt x="3494" y="865"/>
                    <a:pt x="3487" y="909"/>
                  </a:cubicBezTo>
                  <a:cubicBezTo>
                    <a:pt x="3472" y="982"/>
                    <a:pt x="3465" y="1041"/>
                    <a:pt x="3523" y="1062"/>
                  </a:cubicBezTo>
                  <a:cubicBezTo>
                    <a:pt x="3589" y="1077"/>
                    <a:pt x="3655" y="1092"/>
                    <a:pt x="3655" y="1092"/>
                  </a:cubicBezTo>
                  <a:cubicBezTo>
                    <a:pt x="3655" y="1092"/>
                    <a:pt x="3677" y="1099"/>
                    <a:pt x="3692" y="1099"/>
                  </a:cubicBezTo>
                  <a:cubicBezTo>
                    <a:pt x="3707" y="1099"/>
                    <a:pt x="3714" y="1099"/>
                    <a:pt x="3721" y="1092"/>
                  </a:cubicBezTo>
                  <a:cubicBezTo>
                    <a:pt x="3729" y="1077"/>
                    <a:pt x="3736" y="1055"/>
                    <a:pt x="3729" y="1033"/>
                  </a:cubicBezTo>
                  <a:cubicBezTo>
                    <a:pt x="3721" y="997"/>
                    <a:pt x="3721" y="997"/>
                    <a:pt x="3721" y="997"/>
                  </a:cubicBezTo>
                  <a:cubicBezTo>
                    <a:pt x="3751" y="1019"/>
                    <a:pt x="3751" y="1019"/>
                    <a:pt x="3751" y="1019"/>
                  </a:cubicBezTo>
                  <a:cubicBezTo>
                    <a:pt x="3751" y="1019"/>
                    <a:pt x="3794" y="1041"/>
                    <a:pt x="3824" y="1041"/>
                  </a:cubicBezTo>
                  <a:cubicBezTo>
                    <a:pt x="3839" y="1041"/>
                    <a:pt x="3846" y="1041"/>
                    <a:pt x="3853" y="1033"/>
                  </a:cubicBezTo>
                  <a:cubicBezTo>
                    <a:pt x="3868" y="1011"/>
                    <a:pt x="3882" y="1004"/>
                    <a:pt x="3897" y="1004"/>
                  </a:cubicBezTo>
                  <a:cubicBezTo>
                    <a:pt x="3904" y="1004"/>
                    <a:pt x="3912" y="1004"/>
                    <a:pt x="3919" y="1004"/>
                  </a:cubicBezTo>
                  <a:cubicBezTo>
                    <a:pt x="3926" y="1011"/>
                    <a:pt x="3934" y="1011"/>
                    <a:pt x="3948" y="1011"/>
                  </a:cubicBezTo>
                  <a:cubicBezTo>
                    <a:pt x="3963" y="1011"/>
                    <a:pt x="3978" y="997"/>
                    <a:pt x="3985" y="974"/>
                  </a:cubicBezTo>
                  <a:cubicBezTo>
                    <a:pt x="3992" y="953"/>
                    <a:pt x="3978" y="931"/>
                    <a:pt x="3948" y="916"/>
                  </a:cubicBezTo>
                  <a:cubicBezTo>
                    <a:pt x="3926" y="901"/>
                    <a:pt x="3897" y="894"/>
                    <a:pt x="3868" y="879"/>
                  </a:cubicBezTo>
                  <a:cubicBezTo>
                    <a:pt x="3809" y="857"/>
                    <a:pt x="3758" y="835"/>
                    <a:pt x="3736" y="784"/>
                  </a:cubicBezTo>
                  <a:cubicBezTo>
                    <a:pt x="3736" y="762"/>
                    <a:pt x="3736" y="762"/>
                    <a:pt x="3736" y="762"/>
                  </a:cubicBezTo>
                  <a:cubicBezTo>
                    <a:pt x="3714" y="711"/>
                    <a:pt x="3699" y="667"/>
                    <a:pt x="3780" y="608"/>
                  </a:cubicBezTo>
                  <a:cubicBezTo>
                    <a:pt x="3802" y="593"/>
                    <a:pt x="3802" y="593"/>
                    <a:pt x="3802" y="593"/>
                  </a:cubicBezTo>
                  <a:cubicBezTo>
                    <a:pt x="3860" y="550"/>
                    <a:pt x="3875" y="535"/>
                    <a:pt x="3941" y="513"/>
                  </a:cubicBezTo>
                  <a:cubicBezTo>
                    <a:pt x="3963" y="506"/>
                    <a:pt x="3985" y="506"/>
                    <a:pt x="4007" y="506"/>
                  </a:cubicBezTo>
                  <a:cubicBezTo>
                    <a:pt x="4022" y="506"/>
                    <a:pt x="4036" y="506"/>
                    <a:pt x="4051" y="513"/>
                  </a:cubicBezTo>
                  <a:cubicBezTo>
                    <a:pt x="4066" y="513"/>
                    <a:pt x="4080" y="513"/>
                    <a:pt x="4095" y="513"/>
                  </a:cubicBezTo>
                  <a:cubicBezTo>
                    <a:pt x="4117" y="513"/>
                    <a:pt x="4227" y="520"/>
                    <a:pt x="4256" y="579"/>
                  </a:cubicBezTo>
                  <a:cubicBezTo>
                    <a:pt x="4271" y="608"/>
                    <a:pt x="4293" y="623"/>
                    <a:pt x="4293" y="623"/>
                  </a:cubicBezTo>
                  <a:cubicBezTo>
                    <a:pt x="4293" y="601"/>
                    <a:pt x="4308" y="593"/>
                    <a:pt x="4322" y="593"/>
                  </a:cubicBezTo>
                  <a:cubicBezTo>
                    <a:pt x="4337" y="593"/>
                    <a:pt x="4366" y="601"/>
                    <a:pt x="4410" y="630"/>
                  </a:cubicBezTo>
                  <a:lnTo>
                    <a:pt x="4417" y="630"/>
                  </a:lnTo>
                  <a:cubicBezTo>
                    <a:pt x="4454" y="630"/>
                    <a:pt x="4498" y="608"/>
                    <a:pt x="4513" y="593"/>
                  </a:cubicBezTo>
                  <a:cubicBezTo>
                    <a:pt x="4520" y="593"/>
                    <a:pt x="4534" y="593"/>
                    <a:pt x="4549" y="593"/>
                  </a:cubicBezTo>
                  <a:cubicBezTo>
                    <a:pt x="4571" y="593"/>
                    <a:pt x="4601" y="593"/>
                    <a:pt x="4622" y="623"/>
                  </a:cubicBezTo>
                  <a:cubicBezTo>
                    <a:pt x="4666" y="660"/>
                    <a:pt x="4644" y="747"/>
                    <a:pt x="4644" y="762"/>
                  </a:cubicBezTo>
                  <a:cubicBezTo>
                    <a:pt x="4637" y="762"/>
                    <a:pt x="4622" y="806"/>
                    <a:pt x="4652" y="835"/>
                  </a:cubicBezTo>
                  <a:cubicBezTo>
                    <a:pt x="4674" y="865"/>
                    <a:pt x="4703" y="879"/>
                    <a:pt x="4718" y="879"/>
                  </a:cubicBezTo>
                  <a:cubicBezTo>
                    <a:pt x="4725" y="879"/>
                    <a:pt x="4732" y="879"/>
                    <a:pt x="4740" y="872"/>
                  </a:cubicBezTo>
                  <a:cubicBezTo>
                    <a:pt x="4754" y="857"/>
                    <a:pt x="4762" y="850"/>
                    <a:pt x="4776" y="850"/>
                  </a:cubicBezTo>
                  <a:cubicBezTo>
                    <a:pt x="4791" y="850"/>
                    <a:pt x="4798" y="857"/>
                    <a:pt x="4806" y="865"/>
                  </a:cubicBezTo>
                  <a:cubicBezTo>
                    <a:pt x="4813" y="872"/>
                    <a:pt x="4820" y="879"/>
                    <a:pt x="4828" y="879"/>
                  </a:cubicBezTo>
                  <a:cubicBezTo>
                    <a:pt x="4835" y="879"/>
                    <a:pt x="4842" y="879"/>
                    <a:pt x="4842" y="879"/>
                  </a:cubicBezTo>
                  <a:cubicBezTo>
                    <a:pt x="4850" y="879"/>
                    <a:pt x="4857" y="879"/>
                    <a:pt x="4857" y="879"/>
                  </a:cubicBezTo>
                  <a:cubicBezTo>
                    <a:pt x="4872" y="879"/>
                    <a:pt x="4879" y="879"/>
                    <a:pt x="4886" y="872"/>
                  </a:cubicBezTo>
                  <a:cubicBezTo>
                    <a:pt x="4894" y="865"/>
                    <a:pt x="4901" y="835"/>
                    <a:pt x="4894" y="777"/>
                  </a:cubicBezTo>
                  <a:cubicBezTo>
                    <a:pt x="4894" y="725"/>
                    <a:pt x="4894" y="681"/>
                    <a:pt x="4894" y="638"/>
                  </a:cubicBezTo>
                  <a:cubicBezTo>
                    <a:pt x="4901" y="572"/>
                    <a:pt x="4901" y="513"/>
                    <a:pt x="4872" y="469"/>
                  </a:cubicBezTo>
                  <a:cubicBezTo>
                    <a:pt x="4828" y="388"/>
                    <a:pt x="4813" y="249"/>
                    <a:pt x="4813" y="249"/>
                  </a:cubicBezTo>
                  <a:cubicBezTo>
                    <a:pt x="4813" y="242"/>
                    <a:pt x="4813" y="242"/>
                    <a:pt x="4813" y="242"/>
                  </a:cubicBezTo>
                  <a:cubicBezTo>
                    <a:pt x="4820" y="234"/>
                    <a:pt x="4820" y="234"/>
                    <a:pt x="4820" y="234"/>
                  </a:cubicBezTo>
                  <a:cubicBezTo>
                    <a:pt x="4820" y="234"/>
                    <a:pt x="4864" y="198"/>
                    <a:pt x="4923" y="161"/>
                  </a:cubicBezTo>
                  <a:cubicBezTo>
                    <a:pt x="4974" y="132"/>
                    <a:pt x="5011" y="110"/>
                    <a:pt x="5018" y="81"/>
                  </a:cubicBezTo>
                  <a:cubicBezTo>
                    <a:pt x="5033" y="44"/>
                    <a:pt x="5077" y="44"/>
                    <a:pt x="5091" y="44"/>
                  </a:cubicBezTo>
                  <a:cubicBezTo>
                    <a:pt x="5106" y="44"/>
                    <a:pt x="5113" y="51"/>
                    <a:pt x="5128" y="51"/>
                  </a:cubicBezTo>
                  <a:cubicBezTo>
                    <a:pt x="5135" y="51"/>
                    <a:pt x="5150" y="51"/>
                    <a:pt x="5157" y="51"/>
                  </a:cubicBezTo>
                  <a:cubicBezTo>
                    <a:pt x="5179" y="51"/>
                    <a:pt x="5194" y="59"/>
                    <a:pt x="5209" y="73"/>
                  </a:cubicBezTo>
                  <a:cubicBezTo>
                    <a:pt x="5231" y="110"/>
                    <a:pt x="5231" y="176"/>
                    <a:pt x="5216" y="205"/>
                  </a:cubicBezTo>
                  <a:cubicBezTo>
                    <a:pt x="5216" y="220"/>
                    <a:pt x="5216" y="256"/>
                    <a:pt x="5238" y="286"/>
                  </a:cubicBezTo>
                  <a:cubicBezTo>
                    <a:pt x="5245" y="300"/>
                    <a:pt x="5253" y="315"/>
                    <a:pt x="5275" y="322"/>
                  </a:cubicBezTo>
                  <a:cubicBezTo>
                    <a:pt x="5341" y="337"/>
                    <a:pt x="5355" y="381"/>
                    <a:pt x="5370" y="425"/>
                  </a:cubicBezTo>
                  <a:cubicBezTo>
                    <a:pt x="5377" y="462"/>
                    <a:pt x="5407" y="513"/>
                    <a:pt x="5436" y="513"/>
                  </a:cubicBezTo>
                  <a:cubicBezTo>
                    <a:pt x="5443" y="513"/>
                    <a:pt x="5451" y="513"/>
                    <a:pt x="5458" y="506"/>
                  </a:cubicBezTo>
                  <a:cubicBezTo>
                    <a:pt x="5472" y="491"/>
                    <a:pt x="5487" y="469"/>
                    <a:pt x="5502" y="454"/>
                  </a:cubicBezTo>
                  <a:cubicBezTo>
                    <a:pt x="5524" y="432"/>
                    <a:pt x="5539" y="410"/>
                    <a:pt x="5560" y="410"/>
                  </a:cubicBezTo>
                  <a:cubicBezTo>
                    <a:pt x="5568" y="410"/>
                    <a:pt x="5575" y="410"/>
                    <a:pt x="5582" y="410"/>
                  </a:cubicBezTo>
                  <a:cubicBezTo>
                    <a:pt x="5604" y="425"/>
                    <a:pt x="5612" y="432"/>
                    <a:pt x="5626" y="447"/>
                  </a:cubicBezTo>
                  <a:cubicBezTo>
                    <a:pt x="5641" y="462"/>
                    <a:pt x="5648" y="469"/>
                    <a:pt x="5663" y="469"/>
                  </a:cubicBezTo>
                  <a:cubicBezTo>
                    <a:pt x="5678" y="469"/>
                    <a:pt x="5685" y="462"/>
                    <a:pt x="5700" y="462"/>
                  </a:cubicBezTo>
                  <a:cubicBezTo>
                    <a:pt x="5773" y="425"/>
                    <a:pt x="5883" y="381"/>
                    <a:pt x="5956" y="381"/>
                  </a:cubicBezTo>
                  <a:cubicBezTo>
                    <a:pt x="5985" y="381"/>
                    <a:pt x="6000" y="381"/>
                    <a:pt x="6000" y="403"/>
                  </a:cubicBezTo>
                  <a:cubicBezTo>
                    <a:pt x="6007" y="410"/>
                    <a:pt x="6007" y="410"/>
                    <a:pt x="6044" y="410"/>
                  </a:cubicBezTo>
                  <a:cubicBezTo>
                    <a:pt x="6132" y="410"/>
                    <a:pt x="6139" y="410"/>
                    <a:pt x="6198" y="381"/>
                  </a:cubicBezTo>
                  <a:cubicBezTo>
                    <a:pt x="6220" y="366"/>
                    <a:pt x="6249" y="359"/>
                    <a:pt x="6271" y="352"/>
                  </a:cubicBezTo>
                  <a:cubicBezTo>
                    <a:pt x="6271" y="352"/>
                    <a:pt x="6279" y="352"/>
                    <a:pt x="6286" y="352"/>
                  </a:cubicBezTo>
                  <a:cubicBezTo>
                    <a:pt x="6315" y="352"/>
                    <a:pt x="6337" y="366"/>
                    <a:pt x="6352" y="381"/>
                  </a:cubicBezTo>
                  <a:cubicBezTo>
                    <a:pt x="6359" y="403"/>
                    <a:pt x="6366" y="425"/>
                    <a:pt x="6366" y="462"/>
                  </a:cubicBezTo>
                  <a:cubicBezTo>
                    <a:pt x="6374" y="506"/>
                    <a:pt x="6381" y="564"/>
                    <a:pt x="6410" y="572"/>
                  </a:cubicBezTo>
                  <a:cubicBezTo>
                    <a:pt x="6469" y="593"/>
                    <a:pt x="6520" y="615"/>
                    <a:pt x="6564" y="615"/>
                  </a:cubicBezTo>
                  <a:cubicBezTo>
                    <a:pt x="6572" y="615"/>
                    <a:pt x="6601" y="615"/>
                    <a:pt x="6718" y="681"/>
                  </a:cubicBezTo>
                  <a:cubicBezTo>
                    <a:pt x="6725" y="681"/>
                    <a:pt x="6725" y="681"/>
                    <a:pt x="6725" y="681"/>
                  </a:cubicBezTo>
                  <a:cubicBezTo>
                    <a:pt x="6725" y="689"/>
                    <a:pt x="6725" y="689"/>
                    <a:pt x="6725" y="689"/>
                  </a:cubicBezTo>
                  <a:cubicBezTo>
                    <a:pt x="6740" y="711"/>
                    <a:pt x="6770" y="762"/>
                    <a:pt x="6755" y="806"/>
                  </a:cubicBezTo>
                  <a:cubicBezTo>
                    <a:pt x="6747" y="828"/>
                    <a:pt x="6733" y="843"/>
                    <a:pt x="6718" y="850"/>
                  </a:cubicBezTo>
                  <a:cubicBezTo>
                    <a:pt x="6696" y="865"/>
                    <a:pt x="6682" y="879"/>
                    <a:pt x="6682" y="901"/>
                  </a:cubicBezTo>
                  <a:cubicBezTo>
                    <a:pt x="6682" y="931"/>
                    <a:pt x="6703" y="945"/>
                    <a:pt x="6725" y="960"/>
                  </a:cubicBezTo>
                  <a:cubicBezTo>
                    <a:pt x="6762" y="967"/>
                    <a:pt x="6777" y="982"/>
                    <a:pt x="6791" y="989"/>
                  </a:cubicBezTo>
                  <a:cubicBezTo>
                    <a:pt x="6813" y="1004"/>
                    <a:pt x="6828" y="1019"/>
                    <a:pt x="6872" y="1026"/>
                  </a:cubicBezTo>
                  <a:cubicBezTo>
                    <a:pt x="6909" y="1026"/>
                    <a:pt x="6931" y="1048"/>
                    <a:pt x="6938" y="1077"/>
                  </a:cubicBezTo>
                  <a:cubicBezTo>
                    <a:pt x="6953" y="1121"/>
                    <a:pt x="6945" y="1172"/>
                    <a:pt x="6916" y="1194"/>
                  </a:cubicBezTo>
                  <a:cubicBezTo>
                    <a:pt x="6901" y="1216"/>
                    <a:pt x="6887" y="1253"/>
                    <a:pt x="6894" y="1290"/>
                  </a:cubicBezTo>
                  <a:cubicBezTo>
                    <a:pt x="6894" y="1312"/>
                    <a:pt x="6901" y="1334"/>
                    <a:pt x="6916" y="1348"/>
                  </a:cubicBezTo>
                  <a:cubicBezTo>
                    <a:pt x="6923" y="1356"/>
                    <a:pt x="6938" y="1363"/>
                    <a:pt x="6953" y="1370"/>
                  </a:cubicBezTo>
                  <a:cubicBezTo>
                    <a:pt x="6989" y="1385"/>
                    <a:pt x="7026" y="1407"/>
                    <a:pt x="7055" y="1465"/>
                  </a:cubicBezTo>
                  <a:cubicBezTo>
                    <a:pt x="7077" y="1510"/>
                    <a:pt x="7106" y="1524"/>
                    <a:pt x="7158" y="1546"/>
                  </a:cubicBezTo>
                  <a:cubicBezTo>
                    <a:pt x="7187" y="1561"/>
                    <a:pt x="7216" y="1575"/>
                    <a:pt x="7253" y="1605"/>
                  </a:cubicBezTo>
                  <a:cubicBezTo>
                    <a:pt x="7275" y="1619"/>
                    <a:pt x="7290" y="1634"/>
                    <a:pt x="7304" y="1641"/>
                  </a:cubicBezTo>
                  <a:cubicBezTo>
                    <a:pt x="7348" y="1678"/>
                    <a:pt x="7370" y="1693"/>
                    <a:pt x="7429" y="1707"/>
                  </a:cubicBezTo>
                  <a:cubicBezTo>
                    <a:pt x="7488" y="1715"/>
                    <a:pt x="7546" y="1744"/>
                    <a:pt x="7553" y="1781"/>
                  </a:cubicBezTo>
                  <a:cubicBezTo>
                    <a:pt x="7561" y="1803"/>
                    <a:pt x="7553" y="1824"/>
                    <a:pt x="7539" y="1847"/>
                  </a:cubicBezTo>
                  <a:cubicBezTo>
                    <a:pt x="7524" y="1854"/>
                    <a:pt x="7524" y="1869"/>
                    <a:pt x="7524" y="1876"/>
                  </a:cubicBezTo>
                  <a:cubicBezTo>
                    <a:pt x="7524" y="1883"/>
                    <a:pt x="7546" y="1905"/>
                    <a:pt x="7612" y="1934"/>
                  </a:cubicBezTo>
                  <a:cubicBezTo>
                    <a:pt x="7649" y="1949"/>
                    <a:pt x="7678" y="1964"/>
                    <a:pt x="7678" y="1993"/>
                  </a:cubicBezTo>
                  <a:cubicBezTo>
                    <a:pt x="7693" y="2037"/>
                    <a:pt x="7663" y="2081"/>
                    <a:pt x="7634" y="2118"/>
                  </a:cubicBezTo>
                  <a:cubicBezTo>
                    <a:pt x="7575" y="2176"/>
                    <a:pt x="7568" y="2206"/>
                    <a:pt x="7539" y="2293"/>
                  </a:cubicBezTo>
                  <a:cubicBezTo>
                    <a:pt x="7532" y="2301"/>
                    <a:pt x="7532" y="2301"/>
                    <a:pt x="7532" y="2301"/>
                  </a:cubicBezTo>
                  <a:cubicBezTo>
                    <a:pt x="7524" y="2330"/>
                    <a:pt x="7517" y="2352"/>
                    <a:pt x="7524" y="2360"/>
                  </a:cubicBezTo>
                  <a:cubicBezTo>
                    <a:pt x="7539" y="2374"/>
                    <a:pt x="7553" y="2374"/>
                    <a:pt x="7553" y="2374"/>
                  </a:cubicBezTo>
                  <a:cubicBezTo>
                    <a:pt x="7605" y="2374"/>
                    <a:pt x="7605" y="2374"/>
                    <a:pt x="7605" y="2374"/>
                  </a:cubicBezTo>
                  <a:cubicBezTo>
                    <a:pt x="7561" y="2403"/>
                    <a:pt x="7561" y="2403"/>
                    <a:pt x="7561" y="2403"/>
                  </a:cubicBezTo>
                  <a:cubicBezTo>
                    <a:pt x="7561" y="2403"/>
                    <a:pt x="7480" y="2448"/>
                    <a:pt x="7436" y="2499"/>
                  </a:cubicBezTo>
                  <a:cubicBezTo>
                    <a:pt x="7400" y="2550"/>
                    <a:pt x="7414" y="2572"/>
                    <a:pt x="7451" y="2616"/>
                  </a:cubicBezTo>
                  <a:cubicBezTo>
                    <a:pt x="7480" y="2653"/>
                    <a:pt x="7568" y="2689"/>
                    <a:pt x="7620" y="2704"/>
                  </a:cubicBezTo>
                  <a:cubicBezTo>
                    <a:pt x="7685" y="2719"/>
                    <a:pt x="7663" y="2821"/>
                    <a:pt x="7656" y="2865"/>
                  </a:cubicBezTo>
                  <a:cubicBezTo>
                    <a:pt x="7649" y="2887"/>
                    <a:pt x="7663" y="2894"/>
                    <a:pt x="7700" y="2909"/>
                  </a:cubicBezTo>
                  <a:cubicBezTo>
                    <a:pt x="7715" y="2924"/>
                    <a:pt x="7737" y="2931"/>
                    <a:pt x="7744" y="2946"/>
                  </a:cubicBezTo>
                  <a:cubicBezTo>
                    <a:pt x="7766" y="2982"/>
                    <a:pt x="7832" y="3165"/>
                    <a:pt x="7846" y="3217"/>
                  </a:cubicBezTo>
                  <a:cubicBezTo>
                    <a:pt x="7869" y="3224"/>
                    <a:pt x="7942" y="3253"/>
                    <a:pt x="7949" y="3312"/>
                  </a:cubicBezTo>
                  <a:cubicBezTo>
                    <a:pt x="7956" y="3334"/>
                    <a:pt x="7956" y="3363"/>
                    <a:pt x="7956" y="3393"/>
                  </a:cubicBezTo>
                  <a:cubicBezTo>
                    <a:pt x="7956" y="3451"/>
                    <a:pt x="7956" y="3524"/>
                    <a:pt x="7979" y="3554"/>
                  </a:cubicBezTo>
                  <a:cubicBezTo>
                    <a:pt x="7986" y="3561"/>
                    <a:pt x="7993" y="3561"/>
                    <a:pt x="8008" y="3561"/>
                  </a:cubicBezTo>
                  <a:cubicBezTo>
                    <a:pt x="8103" y="3561"/>
                    <a:pt x="8220" y="3679"/>
                    <a:pt x="8257" y="3774"/>
                  </a:cubicBezTo>
                  <a:cubicBezTo>
                    <a:pt x="8272" y="3825"/>
                    <a:pt x="8301" y="3832"/>
                    <a:pt x="8330" y="3832"/>
                  </a:cubicBezTo>
                  <a:cubicBezTo>
                    <a:pt x="8360" y="3832"/>
                    <a:pt x="8403" y="3818"/>
                    <a:pt x="8455" y="3810"/>
                  </a:cubicBezTo>
                  <a:cubicBezTo>
                    <a:pt x="8477" y="3803"/>
                    <a:pt x="8477" y="3803"/>
                    <a:pt x="8477" y="3803"/>
                  </a:cubicBezTo>
                  <a:cubicBezTo>
                    <a:pt x="8491" y="3796"/>
                    <a:pt x="8513" y="3796"/>
                    <a:pt x="8528" y="3796"/>
                  </a:cubicBezTo>
                  <a:cubicBezTo>
                    <a:pt x="8638" y="3796"/>
                    <a:pt x="8733" y="3891"/>
                    <a:pt x="8784" y="3942"/>
                  </a:cubicBezTo>
                  <a:cubicBezTo>
                    <a:pt x="8799" y="3957"/>
                    <a:pt x="8799" y="3957"/>
                    <a:pt x="8799" y="3957"/>
                  </a:cubicBezTo>
                  <a:cubicBezTo>
                    <a:pt x="8843" y="4001"/>
                    <a:pt x="8887" y="4052"/>
                    <a:pt x="8931" y="4111"/>
                  </a:cubicBezTo>
                  <a:cubicBezTo>
                    <a:pt x="8946" y="4133"/>
                    <a:pt x="8953" y="4155"/>
                    <a:pt x="8968" y="4169"/>
                  </a:cubicBezTo>
                  <a:cubicBezTo>
                    <a:pt x="8975" y="4199"/>
                    <a:pt x="8990" y="4228"/>
                    <a:pt x="9019" y="4243"/>
                  </a:cubicBezTo>
                  <a:cubicBezTo>
                    <a:pt x="9070" y="4272"/>
                    <a:pt x="9165" y="4345"/>
                    <a:pt x="9173" y="4411"/>
                  </a:cubicBezTo>
                  <a:cubicBezTo>
                    <a:pt x="9187" y="4455"/>
                    <a:pt x="9232" y="4499"/>
                    <a:pt x="9246" y="4514"/>
                  </a:cubicBezTo>
                  <a:cubicBezTo>
                    <a:pt x="9275" y="4514"/>
                    <a:pt x="9415" y="4514"/>
                    <a:pt x="9466" y="4529"/>
                  </a:cubicBezTo>
                  <a:cubicBezTo>
                    <a:pt x="9532" y="4543"/>
                    <a:pt x="9686" y="4719"/>
                    <a:pt x="9708" y="4778"/>
                  </a:cubicBezTo>
                  <a:cubicBezTo>
                    <a:pt x="9722" y="4807"/>
                    <a:pt x="9708" y="4851"/>
                    <a:pt x="9701" y="4895"/>
                  </a:cubicBezTo>
                  <a:cubicBezTo>
                    <a:pt x="9693" y="4910"/>
                    <a:pt x="9686" y="4939"/>
                    <a:pt x="9686" y="4946"/>
                  </a:cubicBezTo>
                  <a:cubicBezTo>
                    <a:pt x="9693" y="4953"/>
                    <a:pt x="9693" y="4953"/>
                    <a:pt x="9693" y="4953"/>
                  </a:cubicBezTo>
                  <a:cubicBezTo>
                    <a:pt x="9737" y="4961"/>
                    <a:pt x="9810" y="4990"/>
                    <a:pt x="9884" y="5049"/>
                  </a:cubicBezTo>
                  <a:cubicBezTo>
                    <a:pt x="9898" y="5063"/>
                    <a:pt x="9906" y="5063"/>
                    <a:pt x="9906" y="5063"/>
                  </a:cubicBezTo>
                  <a:cubicBezTo>
                    <a:pt x="9913" y="5063"/>
                    <a:pt x="9920" y="5049"/>
                    <a:pt x="9927" y="5034"/>
                  </a:cubicBezTo>
                  <a:cubicBezTo>
                    <a:pt x="9935" y="5012"/>
                    <a:pt x="9950" y="4975"/>
                    <a:pt x="9986" y="4975"/>
                  </a:cubicBezTo>
                  <a:cubicBezTo>
                    <a:pt x="9994" y="4975"/>
                    <a:pt x="9994" y="4975"/>
                    <a:pt x="10001" y="4983"/>
                  </a:cubicBezTo>
                  <a:cubicBezTo>
                    <a:pt x="10082" y="5005"/>
                    <a:pt x="10169" y="5027"/>
                    <a:pt x="10206" y="5115"/>
                  </a:cubicBezTo>
                  <a:cubicBezTo>
                    <a:pt x="10243" y="5195"/>
                    <a:pt x="10272" y="5232"/>
                    <a:pt x="10331" y="5239"/>
                  </a:cubicBezTo>
                  <a:cubicBezTo>
                    <a:pt x="10338" y="5239"/>
                    <a:pt x="10345" y="5239"/>
                    <a:pt x="10353" y="5239"/>
                  </a:cubicBezTo>
                  <a:cubicBezTo>
                    <a:pt x="10375" y="5239"/>
                    <a:pt x="10389" y="5239"/>
                    <a:pt x="10411" y="5232"/>
                  </a:cubicBezTo>
                  <a:cubicBezTo>
                    <a:pt x="10426" y="5232"/>
                    <a:pt x="10433" y="5224"/>
                    <a:pt x="10448" y="5224"/>
                  </a:cubicBezTo>
                  <a:cubicBezTo>
                    <a:pt x="10470" y="5224"/>
                    <a:pt x="10477" y="5239"/>
                    <a:pt x="10477" y="5254"/>
                  </a:cubicBezTo>
                  <a:cubicBezTo>
                    <a:pt x="10492" y="5283"/>
                    <a:pt x="10543" y="5371"/>
                    <a:pt x="10580" y="5415"/>
                  </a:cubicBezTo>
                  <a:cubicBezTo>
                    <a:pt x="10602" y="5452"/>
                    <a:pt x="10616" y="5481"/>
                    <a:pt x="10638" y="5518"/>
                  </a:cubicBezTo>
                  <a:cubicBezTo>
                    <a:pt x="10646" y="5532"/>
                    <a:pt x="10653" y="5547"/>
                    <a:pt x="10660" y="5569"/>
                  </a:cubicBezTo>
                  <a:cubicBezTo>
                    <a:pt x="10690" y="5620"/>
                    <a:pt x="10682" y="5657"/>
                    <a:pt x="10668" y="5708"/>
                  </a:cubicBezTo>
                  <a:cubicBezTo>
                    <a:pt x="10668" y="5730"/>
                    <a:pt x="10660" y="5752"/>
                    <a:pt x="10660" y="5781"/>
                  </a:cubicBezTo>
                  <a:cubicBezTo>
                    <a:pt x="10653" y="5848"/>
                    <a:pt x="10660" y="5862"/>
                    <a:pt x="10682" y="5884"/>
                  </a:cubicBezTo>
                  <a:cubicBezTo>
                    <a:pt x="10690" y="5891"/>
                    <a:pt x="10697" y="5899"/>
                    <a:pt x="10704" y="5921"/>
                  </a:cubicBezTo>
                  <a:cubicBezTo>
                    <a:pt x="10734" y="5965"/>
                    <a:pt x="10719" y="6016"/>
                    <a:pt x="10697" y="6082"/>
                  </a:cubicBezTo>
                  <a:cubicBezTo>
                    <a:pt x="10690" y="6111"/>
                    <a:pt x="10682" y="6141"/>
                    <a:pt x="10675" y="6177"/>
                  </a:cubicBezTo>
                  <a:cubicBezTo>
                    <a:pt x="10653" y="6250"/>
                    <a:pt x="10638" y="6272"/>
                    <a:pt x="10609" y="6287"/>
                  </a:cubicBezTo>
                  <a:cubicBezTo>
                    <a:pt x="10594" y="6294"/>
                    <a:pt x="10580" y="6309"/>
                    <a:pt x="10565" y="6331"/>
                  </a:cubicBezTo>
                  <a:cubicBezTo>
                    <a:pt x="10551" y="6360"/>
                    <a:pt x="10543" y="6382"/>
                    <a:pt x="10536" y="6404"/>
                  </a:cubicBezTo>
                  <a:cubicBezTo>
                    <a:pt x="10521" y="6434"/>
                    <a:pt x="10514" y="6463"/>
                    <a:pt x="10484" y="6478"/>
                  </a:cubicBezTo>
                  <a:cubicBezTo>
                    <a:pt x="10477" y="6485"/>
                    <a:pt x="10470" y="6492"/>
                    <a:pt x="10455" y="6492"/>
                  </a:cubicBezTo>
                  <a:lnTo>
                    <a:pt x="10455" y="6492"/>
                  </a:lnTo>
                  <a:cubicBezTo>
                    <a:pt x="10426" y="6492"/>
                    <a:pt x="10389" y="6456"/>
                    <a:pt x="10360" y="6419"/>
                  </a:cubicBezTo>
                  <a:cubicBezTo>
                    <a:pt x="10345" y="6404"/>
                    <a:pt x="10331" y="6390"/>
                    <a:pt x="10316" y="6382"/>
                  </a:cubicBezTo>
                  <a:cubicBezTo>
                    <a:pt x="10294" y="6360"/>
                    <a:pt x="10257" y="6353"/>
                    <a:pt x="10221" y="6346"/>
                  </a:cubicBezTo>
                  <a:cubicBezTo>
                    <a:pt x="10184" y="6338"/>
                    <a:pt x="10147" y="6331"/>
                    <a:pt x="10111" y="6316"/>
                  </a:cubicBezTo>
                  <a:cubicBezTo>
                    <a:pt x="10060" y="6294"/>
                    <a:pt x="10045" y="6272"/>
                    <a:pt x="10030" y="6258"/>
                  </a:cubicBezTo>
                  <a:lnTo>
                    <a:pt x="10023" y="6250"/>
                  </a:lnTo>
                  <a:cubicBezTo>
                    <a:pt x="10023" y="6250"/>
                    <a:pt x="10015" y="6258"/>
                    <a:pt x="10008" y="6265"/>
                  </a:cubicBezTo>
                  <a:cubicBezTo>
                    <a:pt x="9994" y="6280"/>
                    <a:pt x="9986" y="6294"/>
                    <a:pt x="9986" y="6302"/>
                  </a:cubicBezTo>
                  <a:cubicBezTo>
                    <a:pt x="9979" y="6316"/>
                    <a:pt x="9972" y="6331"/>
                    <a:pt x="9927" y="6360"/>
                  </a:cubicBezTo>
                  <a:cubicBezTo>
                    <a:pt x="9898" y="6375"/>
                    <a:pt x="9884" y="6382"/>
                    <a:pt x="9876" y="6382"/>
                  </a:cubicBezTo>
                  <a:cubicBezTo>
                    <a:pt x="9869" y="6390"/>
                    <a:pt x="9869" y="6390"/>
                    <a:pt x="9869" y="6390"/>
                  </a:cubicBezTo>
                  <a:cubicBezTo>
                    <a:pt x="9869" y="6390"/>
                    <a:pt x="9869" y="6397"/>
                    <a:pt x="9869" y="6412"/>
                  </a:cubicBezTo>
                  <a:cubicBezTo>
                    <a:pt x="9869" y="6463"/>
                    <a:pt x="9913" y="6588"/>
                    <a:pt x="9913" y="6588"/>
                  </a:cubicBezTo>
                  <a:cubicBezTo>
                    <a:pt x="9913" y="6595"/>
                    <a:pt x="9913" y="6595"/>
                    <a:pt x="9913" y="6595"/>
                  </a:cubicBezTo>
                  <a:cubicBezTo>
                    <a:pt x="9913" y="6602"/>
                    <a:pt x="9913" y="6602"/>
                    <a:pt x="9913" y="6602"/>
                  </a:cubicBezTo>
                  <a:cubicBezTo>
                    <a:pt x="9913" y="6602"/>
                    <a:pt x="9891" y="6668"/>
                    <a:pt x="9869" y="6749"/>
                  </a:cubicBezTo>
                  <a:cubicBezTo>
                    <a:pt x="9854" y="6785"/>
                    <a:pt x="9854" y="6815"/>
                    <a:pt x="9854" y="6851"/>
                  </a:cubicBezTo>
                  <a:cubicBezTo>
                    <a:pt x="9854" y="6888"/>
                    <a:pt x="9854" y="6932"/>
                    <a:pt x="9847" y="6983"/>
                  </a:cubicBezTo>
                  <a:cubicBezTo>
                    <a:pt x="9818" y="7100"/>
                    <a:pt x="9503" y="7276"/>
                    <a:pt x="9415" y="7298"/>
                  </a:cubicBezTo>
                  <a:cubicBezTo>
                    <a:pt x="9385" y="7306"/>
                    <a:pt x="9349" y="7313"/>
                    <a:pt x="9319" y="7320"/>
                  </a:cubicBezTo>
                  <a:cubicBezTo>
                    <a:pt x="9246" y="7335"/>
                    <a:pt x="9158" y="7357"/>
                    <a:pt x="9100" y="7379"/>
                  </a:cubicBezTo>
                  <a:cubicBezTo>
                    <a:pt x="9012" y="7416"/>
                    <a:pt x="8887" y="7548"/>
                    <a:pt x="8865" y="7577"/>
                  </a:cubicBezTo>
                  <a:cubicBezTo>
                    <a:pt x="8851" y="7599"/>
                    <a:pt x="8828" y="7599"/>
                    <a:pt x="8814" y="7599"/>
                  </a:cubicBezTo>
                  <a:cubicBezTo>
                    <a:pt x="8799" y="7599"/>
                    <a:pt x="8792" y="7599"/>
                    <a:pt x="8784" y="7599"/>
                  </a:cubicBezTo>
                  <a:cubicBezTo>
                    <a:pt x="8777" y="7599"/>
                    <a:pt x="8762" y="7599"/>
                    <a:pt x="8755" y="7599"/>
                  </a:cubicBezTo>
                  <a:cubicBezTo>
                    <a:pt x="8733" y="7599"/>
                    <a:pt x="8719" y="7599"/>
                    <a:pt x="8704" y="7606"/>
                  </a:cubicBezTo>
                  <a:cubicBezTo>
                    <a:pt x="8667" y="7613"/>
                    <a:pt x="8667" y="7635"/>
                    <a:pt x="8660" y="7665"/>
                  </a:cubicBezTo>
                  <a:cubicBezTo>
                    <a:pt x="8653" y="7694"/>
                    <a:pt x="8645" y="7731"/>
                    <a:pt x="8616" y="7767"/>
                  </a:cubicBezTo>
                  <a:cubicBezTo>
                    <a:pt x="8587" y="7819"/>
                    <a:pt x="8550" y="7841"/>
                    <a:pt x="8513" y="7862"/>
                  </a:cubicBezTo>
                  <a:cubicBezTo>
                    <a:pt x="8484" y="7877"/>
                    <a:pt x="8455" y="7892"/>
                    <a:pt x="8440" y="7929"/>
                  </a:cubicBezTo>
                  <a:cubicBezTo>
                    <a:pt x="8418" y="7965"/>
                    <a:pt x="8411" y="7994"/>
                    <a:pt x="8418" y="8031"/>
                  </a:cubicBezTo>
                  <a:cubicBezTo>
                    <a:pt x="8433" y="8060"/>
                    <a:pt x="8455" y="8090"/>
                    <a:pt x="8499" y="8112"/>
                  </a:cubicBezTo>
                  <a:cubicBezTo>
                    <a:pt x="8521" y="8119"/>
                    <a:pt x="8543" y="8134"/>
                    <a:pt x="8565" y="8141"/>
                  </a:cubicBezTo>
                  <a:cubicBezTo>
                    <a:pt x="8623" y="8163"/>
                    <a:pt x="8667" y="8178"/>
                    <a:pt x="8675" y="8243"/>
                  </a:cubicBezTo>
                  <a:cubicBezTo>
                    <a:pt x="8689" y="8317"/>
                    <a:pt x="8741" y="8383"/>
                    <a:pt x="8799" y="8405"/>
                  </a:cubicBezTo>
                  <a:cubicBezTo>
                    <a:pt x="8851" y="8419"/>
                    <a:pt x="8880" y="8478"/>
                    <a:pt x="8909" y="8544"/>
                  </a:cubicBezTo>
                  <a:cubicBezTo>
                    <a:pt x="8931" y="8581"/>
                    <a:pt x="8953" y="8625"/>
                    <a:pt x="8982" y="8669"/>
                  </a:cubicBezTo>
                  <a:cubicBezTo>
                    <a:pt x="9041" y="8771"/>
                    <a:pt x="8982" y="8852"/>
                    <a:pt x="8938" y="8925"/>
                  </a:cubicBezTo>
                  <a:cubicBezTo>
                    <a:pt x="8916" y="8954"/>
                    <a:pt x="8902" y="8976"/>
                    <a:pt x="8894" y="9006"/>
                  </a:cubicBezTo>
                  <a:cubicBezTo>
                    <a:pt x="8880" y="9035"/>
                    <a:pt x="8865" y="9057"/>
                    <a:pt x="8851" y="9079"/>
                  </a:cubicBezTo>
                  <a:cubicBezTo>
                    <a:pt x="8828" y="9108"/>
                    <a:pt x="8814" y="9123"/>
                    <a:pt x="8836" y="9174"/>
                  </a:cubicBezTo>
                  <a:cubicBezTo>
                    <a:pt x="8836" y="9189"/>
                    <a:pt x="8836" y="9189"/>
                    <a:pt x="8836" y="9189"/>
                  </a:cubicBezTo>
                  <a:cubicBezTo>
                    <a:pt x="8858" y="9225"/>
                    <a:pt x="8865" y="9240"/>
                    <a:pt x="8872" y="9240"/>
                  </a:cubicBezTo>
                  <a:cubicBezTo>
                    <a:pt x="8894" y="9240"/>
                    <a:pt x="8938" y="9218"/>
                    <a:pt x="8982" y="9189"/>
                  </a:cubicBezTo>
                  <a:cubicBezTo>
                    <a:pt x="9004" y="9174"/>
                    <a:pt x="9034" y="9167"/>
                    <a:pt x="9056" y="9167"/>
                  </a:cubicBezTo>
                  <a:cubicBezTo>
                    <a:pt x="9136" y="9167"/>
                    <a:pt x="9180" y="9255"/>
                    <a:pt x="9217" y="9335"/>
                  </a:cubicBezTo>
                  <a:cubicBezTo>
                    <a:pt x="9232" y="9357"/>
                    <a:pt x="9239" y="9379"/>
                    <a:pt x="9253" y="9394"/>
                  </a:cubicBezTo>
                  <a:cubicBezTo>
                    <a:pt x="9312" y="9489"/>
                    <a:pt x="9261" y="9541"/>
                    <a:pt x="9202" y="9607"/>
                  </a:cubicBezTo>
                  <a:cubicBezTo>
                    <a:pt x="9180" y="9629"/>
                    <a:pt x="9180" y="9629"/>
                    <a:pt x="9180" y="9629"/>
                  </a:cubicBezTo>
                  <a:cubicBezTo>
                    <a:pt x="9136" y="9680"/>
                    <a:pt x="9151" y="9724"/>
                    <a:pt x="9158" y="9760"/>
                  </a:cubicBezTo>
                  <a:cubicBezTo>
                    <a:pt x="9158" y="9782"/>
                    <a:pt x="9165" y="9797"/>
                    <a:pt x="9165" y="9812"/>
                  </a:cubicBezTo>
                  <a:cubicBezTo>
                    <a:pt x="9165" y="9834"/>
                    <a:pt x="9173" y="9848"/>
                    <a:pt x="9180" y="9863"/>
                  </a:cubicBezTo>
                  <a:cubicBezTo>
                    <a:pt x="9202" y="9892"/>
                    <a:pt x="9217" y="9922"/>
                    <a:pt x="9180" y="9958"/>
                  </a:cubicBezTo>
                  <a:cubicBezTo>
                    <a:pt x="9165" y="9973"/>
                    <a:pt x="9158" y="9988"/>
                    <a:pt x="9151" y="10002"/>
                  </a:cubicBezTo>
                  <a:cubicBezTo>
                    <a:pt x="9136" y="10024"/>
                    <a:pt x="9122" y="10046"/>
                    <a:pt x="9085" y="10046"/>
                  </a:cubicBezTo>
                  <a:cubicBezTo>
                    <a:pt x="9078" y="10046"/>
                    <a:pt x="9078" y="10046"/>
                    <a:pt x="9070" y="10046"/>
                  </a:cubicBezTo>
                  <a:cubicBezTo>
                    <a:pt x="9012" y="10031"/>
                    <a:pt x="9012" y="10031"/>
                    <a:pt x="8916" y="10010"/>
                  </a:cubicBezTo>
                  <a:cubicBezTo>
                    <a:pt x="8865" y="9995"/>
                    <a:pt x="8828" y="9958"/>
                    <a:pt x="8784" y="9914"/>
                  </a:cubicBezTo>
                  <a:cubicBezTo>
                    <a:pt x="8755" y="9878"/>
                    <a:pt x="8719" y="9841"/>
                    <a:pt x="8682" y="9826"/>
                  </a:cubicBezTo>
                  <a:cubicBezTo>
                    <a:pt x="8609" y="9804"/>
                    <a:pt x="8557" y="9746"/>
                    <a:pt x="8543" y="9694"/>
                  </a:cubicBezTo>
                  <a:cubicBezTo>
                    <a:pt x="8535" y="9672"/>
                    <a:pt x="8543" y="9650"/>
                    <a:pt x="8557" y="9636"/>
                  </a:cubicBezTo>
                  <a:cubicBezTo>
                    <a:pt x="8565" y="9629"/>
                    <a:pt x="8572" y="9621"/>
                    <a:pt x="8579" y="9614"/>
                  </a:cubicBezTo>
                  <a:cubicBezTo>
                    <a:pt x="8594" y="9599"/>
                    <a:pt x="8609" y="9584"/>
                    <a:pt x="8609" y="9577"/>
                  </a:cubicBezTo>
                  <a:cubicBezTo>
                    <a:pt x="8609" y="9577"/>
                    <a:pt x="8609" y="9570"/>
                    <a:pt x="8579" y="9555"/>
                  </a:cubicBezTo>
                  <a:cubicBezTo>
                    <a:pt x="8521" y="9533"/>
                    <a:pt x="8506" y="9497"/>
                    <a:pt x="8491" y="9460"/>
                  </a:cubicBezTo>
                  <a:cubicBezTo>
                    <a:pt x="8484" y="9438"/>
                    <a:pt x="8477" y="9423"/>
                    <a:pt x="8455" y="9401"/>
                  </a:cubicBezTo>
                  <a:cubicBezTo>
                    <a:pt x="8440" y="9387"/>
                    <a:pt x="8418" y="9379"/>
                    <a:pt x="8381" y="9379"/>
                  </a:cubicBezTo>
                  <a:cubicBezTo>
                    <a:pt x="8352" y="9379"/>
                    <a:pt x="8323" y="9379"/>
                    <a:pt x="8294" y="9387"/>
                  </a:cubicBezTo>
                  <a:cubicBezTo>
                    <a:pt x="8264" y="9387"/>
                    <a:pt x="8264" y="9387"/>
                    <a:pt x="8264" y="9387"/>
                  </a:cubicBezTo>
                  <a:cubicBezTo>
                    <a:pt x="8191" y="9394"/>
                    <a:pt x="8162" y="9431"/>
                    <a:pt x="8118" y="9482"/>
                  </a:cubicBezTo>
                  <a:cubicBezTo>
                    <a:pt x="8110" y="9497"/>
                    <a:pt x="8096" y="9511"/>
                    <a:pt x="8081" y="9526"/>
                  </a:cubicBezTo>
                  <a:cubicBezTo>
                    <a:pt x="8052" y="9570"/>
                    <a:pt x="8022" y="9584"/>
                    <a:pt x="7993" y="9584"/>
                  </a:cubicBezTo>
                  <a:cubicBezTo>
                    <a:pt x="7971" y="9584"/>
                    <a:pt x="7949" y="9577"/>
                    <a:pt x="7927" y="9570"/>
                  </a:cubicBezTo>
                  <a:cubicBezTo>
                    <a:pt x="7920" y="9562"/>
                    <a:pt x="7905" y="9562"/>
                    <a:pt x="7898" y="9555"/>
                  </a:cubicBezTo>
                  <a:cubicBezTo>
                    <a:pt x="7839" y="9533"/>
                    <a:pt x="7803" y="9467"/>
                    <a:pt x="7781" y="9416"/>
                  </a:cubicBezTo>
                  <a:cubicBezTo>
                    <a:pt x="7766" y="9394"/>
                    <a:pt x="7759" y="9379"/>
                    <a:pt x="7751" y="9365"/>
                  </a:cubicBezTo>
                  <a:cubicBezTo>
                    <a:pt x="7744" y="9350"/>
                    <a:pt x="7707" y="9335"/>
                    <a:pt x="7656" y="9335"/>
                  </a:cubicBezTo>
                  <a:cubicBezTo>
                    <a:pt x="7605" y="9335"/>
                    <a:pt x="7539" y="9350"/>
                    <a:pt x="7480" y="9372"/>
                  </a:cubicBezTo>
                  <a:cubicBezTo>
                    <a:pt x="7414" y="9401"/>
                    <a:pt x="7378" y="9409"/>
                    <a:pt x="7356" y="9409"/>
                  </a:cubicBezTo>
                  <a:cubicBezTo>
                    <a:pt x="7341" y="9409"/>
                    <a:pt x="7334" y="9401"/>
                    <a:pt x="7326" y="9394"/>
                  </a:cubicBezTo>
                  <a:cubicBezTo>
                    <a:pt x="7319" y="9379"/>
                    <a:pt x="7326" y="9365"/>
                    <a:pt x="7334" y="9350"/>
                  </a:cubicBezTo>
                  <a:cubicBezTo>
                    <a:pt x="7356" y="9306"/>
                    <a:pt x="7363" y="9225"/>
                    <a:pt x="7356" y="9218"/>
                  </a:cubicBezTo>
                  <a:cubicBezTo>
                    <a:pt x="7326" y="9218"/>
                    <a:pt x="7304" y="9248"/>
                    <a:pt x="7275" y="9284"/>
                  </a:cubicBezTo>
                  <a:cubicBezTo>
                    <a:pt x="7260" y="9306"/>
                    <a:pt x="7238" y="9335"/>
                    <a:pt x="7209" y="9357"/>
                  </a:cubicBezTo>
                  <a:cubicBezTo>
                    <a:pt x="7158" y="9409"/>
                    <a:pt x="7180" y="9453"/>
                    <a:pt x="7231" y="9533"/>
                  </a:cubicBezTo>
                  <a:cubicBezTo>
                    <a:pt x="7246" y="9555"/>
                    <a:pt x="7246" y="9555"/>
                    <a:pt x="7246" y="9555"/>
                  </a:cubicBezTo>
                  <a:cubicBezTo>
                    <a:pt x="7282" y="9607"/>
                    <a:pt x="7290" y="9636"/>
                    <a:pt x="7282" y="9650"/>
                  </a:cubicBezTo>
                  <a:cubicBezTo>
                    <a:pt x="7275" y="9672"/>
                    <a:pt x="7253" y="9672"/>
                    <a:pt x="7216" y="9680"/>
                  </a:cubicBezTo>
                  <a:cubicBezTo>
                    <a:pt x="7180" y="9687"/>
                    <a:pt x="7158" y="9687"/>
                    <a:pt x="7129" y="9687"/>
                  </a:cubicBezTo>
                  <a:cubicBezTo>
                    <a:pt x="7106" y="9687"/>
                    <a:pt x="7084" y="9687"/>
                    <a:pt x="7048" y="9680"/>
                  </a:cubicBezTo>
                  <a:cubicBezTo>
                    <a:pt x="7019" y="9672"/>
                    <a:pt x="6975" y="9672"/>
                    <a:pt x="6938" y="9665"/>
                  </a:cubicBezTo>
                  <a:cubicBezTo>
                    <a:pt x="6894" y="9658"/>
                    <a:pt x="6857" y="9650"/>
                    <a:pt x="6821" y="9650"/>
                  </a:cubicBezTo>
                  <a:cubicBezTo>
                    <a:pt x="6821" y="9643"/>
                    <a:pt x="6813" y="9643"/>
                    <a:pt x="6806" y="9643"/>
                  </a:cubicBezTo>
                  <a:cubicBezTo>
                    <a:pt x="6725" y="9643"/>
                    <a:pt x="6528" y="9709"/>
                    <a:pt x="6462" y="9768"/>
                  </a:cubicBezTo>
                  <a:cubicBezTo>
                    <a:pt x="6432" y="9797"/>
                    <a:pt x="6389" y="9804"/>
                    <a:pt x="6330" y="9804"/>
                  </a:cubicBezTo>
                  <a:cubicBezTo>
                    <a:pt x="6293" y="9804"/>
                    <a:pt x="6256" y="9804"/>
                    <a:pt x="6227" y="9797"/>
                  </a:cubicBezTo>
                  <a:cubicBezTo>
                    <a:pt x="6191" y="9797"/>
                    <a:pt x="6169" y="9790"/>
                    <a:pt x="6139" y="9790"/>
                  </a:cubicBezTo>
                  <a:cubicBezTo>
                    <a:pt x="6132" y="9790"/>
                    <a:pt x="6125" y="9797"/>
                    <a:pt x="6110" y="9797"/>
                  </a:cubicBezTo>
                  <a:cubicBezTo>
                    <a:pt x="6088" y="9797"/>
                    <a:pt x="6088" y="9797"/>
                    <a:pt x="6088" y="9797"/>
                  </a:cubicBezTo>
                  <a:cubicBezTo>
                    <a:pt x="6015" y="9804"/>
                    <a:pt x="5956" y="9812"/>
                    <a:pt x="5898" y="9892"/>
                  </a:cubicBezTo>
                  <a:cubicBezTo>
                    <a:pt x="5868" y="9936"/>
                    <a:pt x="5875" y="9951"/>
                    <a:pt x="5883" y="9973"/>
                  </a:cubicBezTo>
                  <a:cubicBezTo>
                    <a:pt x="5883" y="9988"/>
                    <a:pt x="5898" y="10010"/>
                    <a:pt x="5861" y="10039"/>
                  </a:cubicBezTo>
                  <a:cubicBezTo>
                    <a:pt x="5824" y="10068"/>
                    <a:pt x="5773" y="10075"/>
                    <a:pt x="5736" y="10075"/>
                  </a:cubicBezTo>
                  <a:cubicBezTo>
                    <a:pt x="5707" y="10075"/>
                    <a:pt x="5685" y="10068"/>
                    <a:pt x="5656" y="10068"/>
                  </a:cubicBezTo>
                  <a:cubicBezTo>
                    <a:pt x="5634" y="10068"/>
                    <a:pt x="5612" y="10068"/>
                    <a:pt x="5590" y="10068"/>
                  </a:cubicBezTo>
                  <a:cubicBezTo>
                    <a:pt x="5509" y="10068"/>
                    <a:pt x="5502" y="10090"/>
                    <a:pt x="5494" y="10185"/>
                  </a:cubicBezTo>
                  <a:cubicBezTo>
                    <a:pt x="5487" y="10222"/>
                    <a:pt x="5494" y="10229"/>
                    <a:pt x="5494" y="10229"/>
                  </a:cubicBezTo>
                  <a:cubicBezTo>
                    <a:pt x="5494" y="10229"/>
                    <a:pt x="5502" y="10222"/>
                    <a:pt x="5509" y="10215"/>
                  </a:cubicBezTo>
                  <a:cubicBezTo>
                    <a:pt x="5539" y="10178"/>
                    <a:pt x="5539" y="10178"/>
                    <a:pt x="5539" y="10178"/>
                  </a:cubicBezTo>
                  <a:cubicBezTo>
                    <a:pt x="5539" y="10310"/>
                    <a:pt x="5539" y="10310"/>
                    <a:pt x="5539" y="10310"/>
                  </a:cubicBezTo>
                  <a:cubicBezTo>
                    <a:pt x="5516" y="10302"/>
                    <a:pt x="5516" y="10302"/>
                    <a:pt x="5516" y="10302"/>
                  </a:cubicBezTo>
                  <a:cubicBezTo>
                    <a:pt x="5516" y="10302"/>
                    <a:pt x="5472" y="10295"/>
                    <a:pt x="5392" y="10281"/>
                  </a:cubicBezTo>
                  <a:cubicBezTo>
                    <a:pt x="5392" y="10281"/>
                    <a:pt x="5384" y="10281"/>
                    <a:pt x="5377" y="10281"/>
                  </a:cubicBezTo>
                  <a:cubicBezTo>
                    <a:pt x="5326" y="10281"/>
                    <a:pt x="5297" y="10325"/>
                    <a:pt x="5253" y="10383"/>
                  </a:cubicBezTo>
                  <a:cubicBezTo>
                    <a:pt x="5238" y="10398"/>
                    <a:pt x="5238" y="10398"/>
                    <a:pt x="5238" y="10398"/>
                  </a:cubicBezTo>
                  <a:cubicBezTo>
                    <a:pt x="5209" y="10442"/>
                    <a:pt x="5194" y="10464"/>
                    <a:pt x="5165" y="10464"/>
                  </a:cubicBezTo>
                  <a:cubicBezTo>
                    <a:pt x="5150" y="10464"/>
                    <a:pt x="5135" y="10457"/>
                    <a:pt x="5113" y="10449"/>
                  </a:cubicBezTo>
                  <a:cubicBezTo>
                    <a:pt x="5099" y="10442"/>
                    <a:pt x="5099" y="10442"/>
                    <a:pt x="5099" y="10442"/>
                  </a:cubicBezTo>
                  <a:cubicBezTo>
                    <a:pt x="5070" y="10427"/>
                    <a:pt x="5062" y="10412"/>
                    <a:pt x="5062" y="10398"/>
                  </a:cubicBezTo>
                  <a:cubicBezTo>
                    <a:pt x="5062" y="10376"/>
                    <a:pt x="5070" y="10354"/>
                    <a:pt x="5084" y="10339"/>
                  </a:cubicBezTo>
                  <a:cubicBezTo>
                    <a:pt x="5055" y="10347"/>
                    <a:pt x="5025" y="10361"/>
                    <a:pt x="4989" y="10369"/>
                  </a:cubicBezTo>
                  <a:cubicBezTo>
                    <a:pt x="4894" y="10405"/>
                    <a:pt x="4776" y="10442"/>
                    <a:pt x="4681" y="10449"/>
                  </a:cubicBezTo>
                  <a:cubicBezTo>
                    <a:pt x="4674" y="10449"/>
                    <a:pt x="4666" y="10457"/>
                    <a:pt x="4652" y="10457"/>
                  </a:cubicBezTo>
                  <a:cubicBezTo>
                    <a:pt x="4534" y="10457"/>
                    <a:pt x="4520" y="10383"/>
                    <a:pt x="4513" y="10339"/>
                  </a:cubicBezTo>
                  <a:cubicBezTo>
                    <a:pt x="4513" y="10325"/>
                    <a:pt x="4513" y="10325"/>
                    <a:pt x="4513" y="10325"/>
                  </a:cubicBezTo>
                  <a:cubicBezTo>
                    <a:pt x="4498" y="10288"/>
                    <a:pt x="4454" y="10193"/>
                    <a:pt x="4403" y="10193"/>
                  </a:cubicBezTo>
                  <a:cubicBezTo>
                    <a:pt x="4344" y="10193"/>
                    <a:pt x="4344" y="10193"/>
                    <a:pt x="4344" y="10193"/>
                  </a:cubicBezTo>
                  <a:cubicBezTo>
                    <a:pt x="4293" y="10193"/>
                    <a:pt x="4256" y="10185"/>
                    <a:pt x="4249" y="10163"/>
                  </a:cubicBezTo>
                  <a:cubicBezTo>
                    <a:pt x="4241" y="10141"/>
                    <a:pt x="4271" y="10119"/>
                    <a:pt x="4285" y="10105"/>
                  </a:cubicBezTo>
                  <a:cubicBezTo>
                    <a:pt x="4315" y="10090"/>
                    <a:pt x="4322" y="10068"/>
                    <a:pt x="4315" y="10053"/>
                  </a:cubicBezTo>
                  <a:cubicBezTo>
                    <a:pt x="4308" y="10031"/>
                    <a:pt x="4285" y="10017"/>
                    <a:pt x="4256" y="10017"/>
                  </a:cubicBezTo>
                  <a:cubicBezTo>
                    <a:pt x="4241" y="10017"/>
                    <a:pt x="4227" y="10024"/>
                    <a:pt x="4212" y="10031"/>
                  </a:cubicBezTo>
                  <a:cubicBezTo>
                    <a:pt x="4168" y="10053"/>
                    <a:pt x="4132" y="10068"/>
                    <a:pt x="4095" y="10068"/>
                  </a:cubicBezTo>
                  <a:cubicBezTo>
                    <a:pt x="4066" y="10068"/>
                    <a:pt x="4044" y="10061"/>
                    <a:pt x="4014" y="10039"/>
                  </a:cubicBezTo>
                  <a:cubicBezTo>
                    <a:pt x="3992" y="10024"/>
                    <a:pt x="3948" y="10002"/>
                    <a:pt x="3897" y="9988"/>
                  </a:cubicBezTo>
                  <a:cubicBezTo>
                    <a:pt x="3860" y="9973"/>
                    <a:pt x="3817" y="9958"/>
                    <a:pt x="3794" y="9943"/>
                  </a:cubicBezTo>
                  <a:cubicBezTo>
                    <a:pt x="3765" y="9922"/>
                    <a:pt x="3736" y="9914"/>
                    <a:pt x="3714" y="9914"/>
                  </a:cubicBezTo>
                  <a:cubicBezTo>
                    <a:pt x="3685" y="9914"/>
                    <a:pt x="3663" y="9929"/>
                    <a:pt x="3655" y="9951"/>
                  </a:cubicBezTo>
                  <a:cubicBezTo>
                    <a:pt x="3633" y="10017"/>
                    <a:pt x="3531" y="10024"/>
                    <a:pt x="3487" y="10024"/>
                  </a:cubicBezTo>
                  <a:cubicBezTo>
                    <a:pt x="3465" y="10024"/>
                    <a:pt x="3443" y="10024"/>
                    <a:pt x="3421" y="10024"/>
                  </a:cubicBezTo>
                  <a:cubicBezTo>
                    <a:pt x="3391" y="10017"/>
                    <a:pt x="3370" y="9988"/>
                    <a:pt x="3355" y="9951"/>
                  </a:cubicBezTo>
                  <a:cubicBezTo>
                    <a:pt x="3355" y="9980"/>
                    <a:pt x="3348" y="10002"/>
                    <a:pt x="3340" y="10046"/>
                  </a:cubicBezTo>
                  <a:cubicBezTo>
                    <a:pt x="3318" y="10119"/>
                    <a:pt x="3340" y="10134"/>
                    <a:pt x="3377" y="10149"/>
                  </a:cubicBezTo>
                  <a:cubicBezTo>
                    <a:pt x="3391" y="10156"/>
                    <a:pt x="3406" y="10178"/>
                    <a:pt x="3413" y="10200"/>
                  </a:cubicBezTo>
                  <a:cubicBezTo>
                    <a:pt x="3428" y="10259"/>
                    <a:pt x="3421" y="10347"/>
                    <a:pt x="3391" y="10391"/>
                  </a:cubicBezTo>
                  <a:cubicBezTo>
                    <a:pt x="3384" y="10405"/>
                    <a:pt x="3370" y="10427"/>
                    <a:pt x="3362" y="10449"/>
                  </a:cubicBezTo>
                  <a:cubicBezTo>
                    <a:pt x="3348" y="10493"/>
                    <a:pt x="3333" y="10530"/>
                    <a:pt x="3289" y="10544"/>
                  </a:cubicBezTo>
                  <a:cubicBezTo>
                    <a:pt x="3252" y="10552"/>
                    <a:pt x="3164" y="10625"/>
                    <a:pt x="3120" y="10735"/>
                  </a:cubicBezTo>
                  <a:cubicBezTo>
                    <a:pt x="3077" y="10845"/>
                    <a:pt x="2931" y="10889"/>
                    <a:pt x="2843" y="10911"/>
                  </a:cubicBezTo>
                  <a:cubicBezTo>
                    <a:pt x="2821" y="10918"/>
                    <a:pt x="2821" y="10918"/>
                    <a:pt x="2821" y="10918"/>
                  </a:cubicBezTo>
                  <a:cubicBezTo>
                    <a:pt x="2806" y="10918"/>
                    <a:pt x="2792" y="10918"/>
                    <a:pt x="2784" y="10918"/>
                  </a:cubicBezTo>
                </a:path>
              </a:pathLst>
            </a:custGeom>
            <a:solidFill>
              <a:schemeClr val="accent2"/>
            </a:solidFill>
            <a:ln w="28575" cmpd="sng">
              <a:solidFill>
                <a:schemeClr val="bg2"/>
              </a:solidFill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8" name="Freeform 97"/>
            <p:cNvSpPr>
              <a:spLocks noChangeArrowheads="1"/>
            </p:cNvSpPr>
            <p:nvPr/>
          </p:nvSpPr>
          <p:spPr bwMode="auto">
            <a:xfrm>
              <a:off x="5858100" y="8272266"/>
              <a:ext cx="4134795" cy="4162153"/>
            </a:xfrm>
            <a:custGeom>
              <a:avLst/>
              <a:gdLst>
                <a:gd name="T0" fmla="*/ 3663 w 10764"/>
                <a:gd name="T1" fmla="*/ 1128 h 10956"/>
                <a:gd name="T2" fmla="*/ 4337 w 10764"/>
                <a:gd name="T3" fmla="*/ 630 h 10956"/>
                <a:gd name="T4" fmla="*/ 4945 w 10764"/>
                <a:gd name="T5" fmla="*/ 198 h 10956"/>
                <a:gd name="T6" fmla="*/ 6286 w 10764"/>
                <a:gd name="T7" fmla="*/ 388 h 10956"/>
                <a:gd name="T8" fmla="*/ 7547 w 10764"/>
                <a:gd name="T9" fmla="*/ 1854 h 10956"/>
                <a:gd name="T10" fmla="*/ 8543 w 10764"/>
                <a:gd name="T11" fmla="*/ 3832 h 10956"/>
                <a:gd name="T12" fmla="*/ 10463 w 10764"/>
                <a:gd name="T13" fmla="*/ 5269 h 10956"/>
                <a:gd name="T14" fmla="*/ 9913 w 10764"/>
                <a:gd name="T15" fmla="*/ 6617 h 10956"/>
                <a:gd name="T16" fmla="*/ 8836 w 10764"/>
                <a:gd name="T17" fmla="*/ 9203 h 10956"/>
                <a:gd name="T18" fmla="*/ 8279 w 10764"/>
                <a:gd name="T19" fmla="*/ 9394 h 10956"/>
                <a:gd name="T20" fmla="*/ 6843 w 10764"/>
                <a:gd name="T21" fmla="*/ 9651 h 10956"/>
                <a:gd name="T22" fmla="*/ 5246 w 10764"/>
                <a:gd name="T23" fmla="*/ 10413 h 10956"/>
                <a:gd name="T24" fmla="*/ 3656 w 10764"/>
                <a:gd name="T25" fmla="*/ 9973 h 10956"/>
                <a:gd name="T26" fmla="*/ 2631 w 10764"/>
                <a:gd name="T27" fmla="*/ 10625 h 10956"/>
                <a:gd name="T28" fmla="*/ 1561 w 10764"/>
                <a:gd name="T29" fmla="*/ 9995 h 10956"/>
                <a:gd name="T30" fmla="*/ 2645 w 10764"/>
                <a:gd name="T31" fmla="*/ 8273 h 10956"/>
                <a:gd name="T32" fmla="*/ 2997 w 10764"/>
                <a:gd name="T33" fmla="*/ 6470 h 10956"/>
                <a:gd name="T34" fmla="*/ 2726 w 10764"/>
                <a:gd name="T35" fmla="*/ 4873 h 10956"/>
                <a:gd name="T36" fmla="*/ 2015 w 10764"/>
                <a:gd name="T37" fmla="*/ 3239 h 10956"/>
                <a:gd name="T38" fmla="*/ 1341 w 10764"/>
                <a:gd name="T39" fmla="*/ 2616 h 10956"/>
                <a:gd name="T40" fmla="*/ 887 w 10764"/>
                <a:gd name="T41" fmla="*/ 3056 h 10956"/>
                <a:gd name="T42" fmla="*/ 139 w 10764"/>
                <a:gd name="T43" fmla="*/ 1949 h 10956"/>
                <a:gd name="T44" fmla="*/ 1231 w 10764"/>
                <a:gd name="T45" fmla="*/ 1348 h 10956"/>
                <a:gd name="T46" fmla="*/ 2360 w 10764"/>
                <a:gd name="T47" fmla="*/ 95 h 10956"/>
                <a:gd name="T48" fmla="*/ 2360 w 10764"/>
                <a:gd name="T49" fmla="*/ 51 h 10956"/>
                <a:gd name="T50" fmla="*/ 1642 w 10764"/>
                <a:gd name="T51" fmla="*/ 777 h 10956"/>
                <a:gd name="T52" fmla="*/ 1143 w 10764"/>
                <a:gd name="T53" fmla="*/ 1473 h 10956"/>
                <a:gd name="T54" fmla="*/ 44 w 10764"/>
                <a:gd name="T55" fmla="*/ 1619 h 10956"/>
                <a:gd name="T56" fmla="*/ 213 w 10764"/>
                <a:gd name="T57" fmla="*/ 3261 h 10956"/>
                <a:gd name="T58" fmla="*/ 997 w 10764"/>
                <a:gd name="T59" fmla="*/ 3004 h 10956"/>
                <a:gd name="T60" fmla="*/ 1158 w 10764"/>
                <a:gd name="T61" fmla="*/ 2645 h 10956"/>
                <a:gd name="T62" fmla="*/ 1744 w 10764"/>
                <a:gd name="T63" fmla="*/ 2872 h 10956"/>
                <a:gd name="T64" fmla="*/ 2360 w 10764"/>
                <a:gd name="T65" fmla="*/ 3466 h 10956"/>
                <a:gd name="T66" fmla="*/ 2763 w 10764"/>
                <a:gd name="T67" fmla="*/ 4924 h 10956"/>
                <a:gd name="T68" fmla="*/ 3231 w 10764"/>
                <a:gd name="T69" fmla="*/ 6243 h 10956"/>
                <a:gd name="T70" fmla="*/ 2587 w 10764"/>
                <a:gd name="T71" fmla="*/ 6932 h 10956"/>
                <a:gd name="T72" fmla="*/ 2594 w 10764"/>
                <a:gd name="T73" fmla="*/ 9101 h 10956"/>
                <a:gd name="T74" fmla="*/ 1458 w 10764"/>
                <a:gd name="T75" fmla="*/ 9870 h 10956"/>
                <a:gd name="T76" fmla="*/ 2198 w 10764"/>
                <a:gd name="T77" fmla="*/ 10068 h 10956"/>
                <a:gd name="T78" fmla="*/ 2763 w 10764"/>
                <a:gd name="T79" fmla="*/ 10823 h 10956"/>
                <a:gd name="T80" fmla="*/ 3729 w 10764"/>
                <a:gd name="T81" fmla="*/ 9951 h 10956"/>
                <a:gd name="T82" fmla="*/ 4704 w 10764"/>
                <a:gd name="T83" fmla="*/ 10486 h 10956"/>
                <a:gd name="T84" fmla="*/ 5524 w 10764"/>
                <a:gd name="T85" fmla="*/ 10215 h 10956"/>
                <a:gd name="T86" fmla="*/ 6946 w 10764"/>
                <a:gd name="T87" fmla="*/ 9702 h 10956"/>
                <a:gd name="T88" fmla="*/ 7759 w 10764"/>
                <a:gd name="T89" fmla="*/ 9394 h 10956"/>
                <a:gd name="T90" fmla="*/ 8543 w 10764"/>
                <a:gd name="T91" fmla="*/ 9724 h 10956"/>
                <a:gd name="T92" fmla="*/ 8990 w 10764"/>
                <a:gd name="T93" fmla="*/ 9196 h 10956"/>
                <a:gd name="T94" fmla="*/ 8646 w 10764"/>
                <a:gd name="T95" fmla="*/ 7797 h 10956"/>
                <a:gd name="T96" fmla="*/ 9899 w 10764"/>
                <a:gd name="T97" fmla="*/ 6434 h 10956"/>
                <a:gd name="T98" fmla="*/ 10727 w 10764"/>
                <a:gd name="T99" fmla="*/ 6111 h 10956"/>
                <a:gd name="T100" fmla="*/ 9928 w 10764"/>
                <a:gd name="T101" fmla="*/ 5056 h 10956"/>
                <a:gd name="T102" fmla="*/ 8470 w 10764"/>
                <a:gd name="T103" fmla="*/ 3818 h 10956"/>
                <a:gd name="T104" fmla="*/ 7568 w 10764"/>
                <a:gd name="T105" fmla="*/ 2382 h 10956"/>
                <a:gd name="T106" fmla="*/ 6938 w 10764"/>
                <a:gd name="T107" fmla="*/ 1356 h 10956"/>
                <a:gd name="T108" fmla="*/ 6381 w 10764"/>
                <a:gd name="T109" fmla="*/ 396 h 10956"/>
                <a:gd name="T110" fmla="*/ 5451 w 10764"/>
                <a:gd name="T111" fmla="*/ 520 h 10956"/>
                <a:gd name="T112" fmla="*/ 4894 w 10764"/>
                <a:gd name="T113" fmla="*/ 806 h 10956"/>
                <a:gd name="T114" fmla="*/ 4528 w 10764"/>
                <a:gd name="T115" fmla="*/ 601 h 10956"/>
                <a:gd name="T116" fmla="*/ 3883 w 10764"/>
                <a:gd name="T117" fmla="*/ 916 h 10956"/>
                <a:gd name="T118" fmla="*/ 3538 w 10764"/>
                <a:gd name="T119" fmla="*/ 1070 h 10956"/>
                <a:gd name="T120" fmla="*/ 2953 w 10764"/>
                <a:gd name="T121" fmla="*/ 330 h 10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764" h="10956">
                  <a:moveTo>
                    <a:pt x="2616" y="37"/>
                  </a:moveTo>
                  <a:lnTo>
                    <a:pt x="2616" y="37"/>
                  </a:lnTo>
                  <a:cubicBezTo>
                    <a:pt x="2624" y="37"/>
                    <a:pt x="2638" y="44"/>
                    <a:pt x="2660" y="66"/>
                  </a:cubicBezTo>
                  <a:cubicBezTo>
                    <a:pt x="2719" y="132"/>
                    <a:pt x="2748" y="220"/>
                    <a:pt x="2829" y="234"/>
                  </a:cubicBezTo>
                  <a:cubicBezTo>
                    <a:pt x="2909" y="242"/>
                    <a:pt x="2873" y="278"/>
                    <a:pt x="2931" y="344"/>
                  </a:cubicBezTo>
                  <a:cubicBezTo>
                    <a:pt x="2990" y="418"/>
                    <a:pt x="2997" y="440"/>
                    <a:pt x="3034" y="498"/>
                  </a:cubicBezTo>
                  <a:cubicBezTo>
                    <a:pt x="3063" y="542"/>
                    <a:pt x="3078" y="579"/>
                    <a:pt x="3113" y="579"/>
                  </a:cubicBezTo>
                  <a:cubicBezTo>
                    <a:pt x="3121" y="579"/>
                    <a:pt x="3128" y="579"/>
                    <a:pt x="3135" y="572"/>
                  </a:cubicBezTo>
                  <a:lnTo>
                    <a:pt x="3143" y="572"/>
                  </a:lnTo>
                  <a:cubicBezTo>
                    <a:pt x="3194" y="572"/>
                    <a:pt x="3194" y="630"/>
                    <a:pt x="3238" y="667"/>
                  </a:cubicBezTo>
                  <a:cubicBezTo>
                    <a:pt x="3260" y="682"/>
                    <a:pt x="3311" y="689"/>
                    <a:pt x="3348" y="689"/>
                  </a:cubicBezTo>
                  <a:cubicBezTo>
                    <a:pt x="3370" y="689"/>
                    <a:pt x="3385" y="689"/>
                    <a:pt x="3385" y="689"/>
                  </a:cubicBezTo>
                  <a:cubicBezTo>
                    <a:pt x="3385" y="689"/>
                    <a:pt x="3450" y="696"/>
                    <a:pt x="3450" y="769"/>
                  </a:cubicBezTo>
                  <a:cubicBezTo>
                    <a:pt x="3450" y="835"/>
                    <a:pt x="3494" y="857"/>
                    <a:pt x="3487" y="923"/>
                  </a:cubicBezTo>
                  <a:cubicBezTo>
                    <a:pt x="3473" y="996"/>
                    <a:pt x="3465" y="1070"/>
                    <a:pt x="3531" y="1092"/>
                  </a:cubicBezTo>
                  <a:cubicBezTo>
                    <a:pt x="3597" y="1121"/>
                    <a:pt x="3663" y="1128"/>
                    <a:pt x="3663" y="1128"/>
                  </a:cubicBezTo>
                  <a:cubicBezTo>
                    <a:pt x="3663" y="1128"/>
                    <a:pt x="3685" y="1136"/>
                    <a:pt x="3707" y="1136"/>
                  </a:cubicBezTo>
                  <a:cubicBezTo>
                    <a:pt x="3736" y="1136"/>
                    <a:pt x="3773" y="1121"/>
                    <a:pt x="3758" y="1048"/>
                  </a:cubicBezTo>
                  <a:cubicBezTo>
                    <a:pt x="3758" y="1048"/>
                    <a:pt x="3802" y="1077"/>
                    <a:pt x="3839" y="1077"/>
                  </a:cubicBezTo>
                  <a:cubicBezTo>
                    <a:pt x="3861" y="1077"/>
                    <a:pt x="3875" y="1077"/>
                    <a:pt x="3883" y="1063"/>
                  </a:cubicBezTo>
                  <a:cubicBezTo>
                    <a:pt x="3897" y="1041"/>
                    <a:pt x="3905" y="1041"/>
                    <a:pt x="3912" y="1041"/>
                  </a:cubicBezTo>
                  <a:cubicBezTo>
                    <a:pt x="3927" y="1041"/>
                    <a:pt x="3934" y="1048"/>
                    <a:pt x="3963" y="1048"/>
                  </a:cubicBezTo>
                  <a:cubicBezTo>
                    <a:pt x="4007" y="1048"/>
                    <a:pt x="4051" y="967"/>
                    <a:pt x="3971" y="923"/>
                  </a:cubicBezTo>
                  <a:cubicBezTo>
                    <a:pt x="3890" y="879"/>
                    <a:pt x="3787" y="872"/>
                    <a:pt x="3766" y="799"/>
                  </a:cubicBezTo>
                  <a:cubicBezTo>
                    <a:pt x="3744" y="733"/>
                    <a:pt x="3722" y="696"/>
                    <a:pt x="3802" y="645"/>
                  </a:cubicBezTo>
                  <a:cubicBezTo>
                    <a:pt x="3883" y="586"/>
                    <a:pt x="3890" y="572"/>
                    <a:pt x="3963" y="550"/>
                  </a:cubicBezTo>
                  <a:cubicBezTo>
                    <a:pt x="3985" y="542"/>
                    <a:pt x="4000" y="542"/>
                    <a:pt x="4022" y="542"/>
                  </a:cubicBezTo>
                  <a:cubicBezTo>
                    <a:pt x="4051" y="542"/>
                    <a:pt x="4081" y="550"/>
                    <a:pt x="4110" y="550"/>
                  </a:cubicBezTo>
                  <a:cubicBezTo>
                    <a:pt x="4154" y="550"/>
                    <a:pt x="4235" y="564"/>
                    <a:pt x="4256" y="608"/>
                  </a:cubicBezTo>
                  <a:cubicBezTo>
                    <a:pt x="4271" y="637"/>
                    <a:pt x="4293" y="660"/>
                    <a:pt x="4308" y="660"/>
                  </a:cubicBezTo>
                  <a:cubicBezTo>
                    <a:pt x="4323" y="660"/>
                    <a:pt x="4323" y="652"/>
                    <a:pt x="4323" y="645"/>
                  </a:cubicBezTo>
                  <a:cubicBezTo>
                    <a:pt x="4323" y="630"/>
                    <a:pt x="4330" y="630"/>
                    <a:pt x="4337" y="630"/>
                  </a:cubicBezTo>
                  <a:cubicBezTo>
                    <a:pt x="4359" y="630"/>
                    <a:pt x="4388" y="652"/>
                    <a:pt x="4418" y="667"/>
                  </a:cubicBezTo>
                  <a:cubicBezTo>
                    <a:pt x="4418" y="667"/>
                    <a:pt x="4425" y="667"/>
                    <a:pt x="4432" y="667"/>
                  </a:cubicBezTo>
                  <a:cubicBezTo>
                    <a:pt x="4476" y="667"/>
                    <a:pt x="4542" y="630"/>
                    <a:pt x="4542" y="630"/>
                  </a:cubicBezTo>
                  <a:cubicBezTo>
                    <a:pt x="4542" y="630"/>
                    <a:pt x="4549" y="630"/>
                    <a:pt x="4564" y="630"/>
                  </a:cubicBezTo>
                  <a:cubicBezTo>
                    <a:pt x="4579" y="630"/>
                    <a:pt x="4608" y="630"/>
                    <a:pt x="4630" y="652"/>
                  </a:cubicBezTo>
                  <a:cubicBezTo>
                    <a:pt x="4667" y="689"/>
                    <a:pt x="4645" y="777"/>
                    <a:pt x="4645" y="777"/>
                  </a:cubicBezTo>
                  <a:cubicBezTo>
                    <a:pt x="4645" y="777"/>
                    <a:pt x="4616" y="835"/>
                    <a:pt x="4652" y="872"/>
                  </a:cubicBezTo>
                  <a:cubicBezTo>
                    <a:pt x="4674" y="894"/>
                    <a:pt x="4704" y="916"/>
                    <a:pt x="4733" y="916"/>
                  </a:cubicBezTo>
                  <a:cubicBezTo>
                    <a:pt x="4747" y="916"/>
                    <a:pt x="4755" y="916"/>
                    <a:pt x="4769" y="901"/>
                  </a:cubicBezTo>
                  <a:cubicBezTo>
                    <a:pt x="4777" y="894"/>
                    <a:pt x="4784" y="887"/>
                    <a:pt x="4791" y="887"/>
                  </a:cubicBezTo>
                  <a:cubicBezTo>
                    <a:pt x="4806" y="887"/>
                    <a:pt x="4821" y="916"/>
                    <a:pt x="4843" y="916"/>
                  </a:cubicBezTo>
                  <a:cubicBezTo>
                    <a:pt x="4857" y="916"/>
                    <a:pt x="4865" y="916"/>
                    <a:pt x="4872" y="916"/>
                  </a:cubicBezTo>
                  <a:cubicBezTo>
                    <a:pt x="4901" y="916"/>
                    <a:pt x="4931" y="901"/>
                    <a:pt x="4923" y="799"/>
                  </a:cubicBezTo>
                  <a:cubicBezTo>
                    <a:pt x="4916" y="667"/>
                    <a:pt x="4945" y="564"/>
                    <a:pt x="4901" y="484"/>
                  </a:cubicBezTo>
                  <a:cubicBezTo>
                    <a:pt x="4857" y="403"/>
                    <a:pt x="4843" y="271"/>
                    <a:pt x="4843" y="271"/>
                  </a:cubicBezTo>
                  <a:cubicBezTo>
                    <a:pt x="4843" y="271"/>
                    <a:pt x="4894" y="234"/>
                    <a:pt x="4945" y="198"/>
                  </a:cubicBezTo>
                  <a:cubicBezTo>
                    <a:pt x="5004" y="169"/>
                    <a:pt x="5040" y="146"/>
                    <a:pt x="5048" y="110"/>
                  </a:cubicBezTo>
                  <a:cubicBezTo>
                    <a:pt x="5055" y="88"/>
                    <a:pt x="5077" y="88"/>
                    <a:pt x="5106" y="88"/>
                  </a:cubicBezTo>
                  <a:cubicBezTo>
                    <a:pt x="5128" y="88"/>
                    <a:pt x="5150" y="88"/>
                    <a:pt x="5172" y="88"/>
                  </a:cubicBezTo>
                  <a:cubicBezTo>
                    <a:pt x="5231" y="88"/>
                    <a:pt x="5231" y="191"/>
                    <a:pt x="5216" y="220"/>
                  </a:cubicBezTo>
                  <a:cubicBezTo>
                    <a:pt x="5209" y="256"/>
                    <a:pt x="5231" y="344"/>
                    <a:pt x="5290" y="359"/>
                  </a:cubicBezTo>
                  <a:cubicBezTo>
                    <a:pt x="5341" y="366"/>
                    <a:pt x="5356" y="403"/>
                    <a:pt x="5370" y="447"/>
                  </a:cubicBezTo>
                  <a:cubicBezTo>
                    <a:pt x="5378" y="484"/>
                    <a:pt x="5407" y="550"/>
                    <a:pt x="5451" y="550"/>
                  </a:cubicBezTo>
                  <a:cubicBezTo>
                    <a:pt x="5458" y="550"/>
                    <a:pt x="5473" y="550"/>
                    <a:pt x="5480" y="542"/>
                  </a:cubicBezTo>
                  <a:cubicBezTo>
                    <a:pt x="5531" y="498"/>
                    <a:pt x="5546" y="447"/>
                    <a:pt x="5575" y="447"/>
                  </a:cubicBezTo>
                  <a:cubicBezTo>
                    <a:pt x="5583" y="447"/>
                    <a:pt x="5590" y="447"/>
                    <a:pt x="5590" y="447"/>
                  </a:cubicBezTo>
                  <a:cubicBezTo>
                    <a:pt x="5627" y="469"/>
                    <a:pt x="5641" y="506"/>
                    <a:pt x="5678" y="506"/>
                  </a:cubicBezTo>
                  <a:cubicBezTo>
                    <a:pt x="5693" y="506"/>
                    <a:pt x="5700" y="506"/>
                    <a:pt x="5715" y="498"/>
                  </a:cubicBezTo>
                  <a:cubicBezTo>
                    <a:pt x="5788" y="462"/>
                    <a:pt x="5898" y="418"/>
                    <a:pt x="5971" y="418"/>
                  </a:cubicBezTo>
                  <a:cubicBezTo>
                    <a:pt x="6037" y="418"/>
                    <a:pt x="5971" y="447"/>
                    <a:pt x="6059" y="447"/>
                  </a:cubicBezTo>
                  <a:cubicBezTo>
                    <a:pt x="6147" y="447"/>
                    <a:pt x="6162" y="447"/>
                    <a:pt x="6220" y="418"/>
                  </a:cubicBezTo>
                  <a:cubicBezTo>
                    <a:pt x="6242" y="403"/>
                    <a:pt x="6264" y="396"/>
                    <a:pt x="6286" y="388"/>
                  </a:cubicBezTo>
                  <a:cubicBezTo>
                    <a:pt x="6294" y="388"/>
                    <a:pt x="6294" y="396"/>
                    <a:pt x="6294" y="396"/>
                  </a:cubicBezTo>
                  <a:cubicBezTo>
                    <a:pt x="6294" y="396"/>
                    <a:pt x="6294" y="388"/>
                    <a:pt x="6286" y="388"/>
                  </a:cubicBezTo>
                  <a:cubicBezTo>
                    <a:pt x="6294" y="388"/>
                    <a:pt x="6294" y="388"/>
                    <a:pt x="6301" y="388"/>
                  </a:cubicBezTo>
                  <a:cubicBezTo>
                    <a:pt x="6323" y="388"/>
                    <a:pt x="6345" y="396"/>
                    <a:pt x="6352" y="418"/>
                  </a:cubicBezTo>
                  <a:cubicBezTo>
                    <a:pt x="6374" y="447"/>
                    <a:pt x="6367" y="586"/>
                    <a:pt x="6418" y="608"/>
                  </a:cubicBezTo>
                  <a:cubicBezTo>
                    <a:pt x="6477" y="630"/>
                    <a:pt x="6535" y="652"/>
                    <a:pt x="6579" y="652"/>
                  </a:cubicBezTo>
                  <a:cubicBezTo>
                    <a:pt x="6609" y="652"/>
                    <a:pt x="6682" y="689"/>
                    <a:pt x="6733" y="718"/>
                  </a:cubicBezTo>
                  <a:cubicBezTo>
                    <a:pt x="6740" y="733"/>
                    <a:pt x="6785" y="828"/>
                    <a:pt x="6726" y="857"/>
                  </a:cubicBezTo>
                  <a:cubicBezTo>
                    <a:pt x="6660" y="894"/>
                    <a:pt x="6667" y="967"/>
                    <a:pt x="6740" y="996"/>
                  </a:cubicBezTo>
                  <a:cubicBezTo>
                    <a:pt x="6806" y="1019"/>
                    <a:pt x="6806" y="1048"/>
                    <a:pt x="6887" y="1063"/>
                  </a:cubicBezTo>
                  <a:cubicBezTo>
                    <a:pt x="6968" y="1070"/>
                    <a:pt x="6953" y="1172"/>
                    <a:pt x="6916" y="1209"/>
                  </a:cubicBezTo>
                  <a:cubicBezTo>
                    <a:pt x="6887" y="1246"/>
                    <a:pt x="6872" y="1348"/>
                    <a:pt x="6916" y="1378"/>
                  </a:cubicBezTo>
                  <a:cubicBezTo>
                    <a:pt x="6968" y="1414"/>
                    <a:pt x="7019" y="1414"/>
                    <a:pt x="7056" y="1495"/>
                  </a:cubicBezTo>
                  <a:cubicBezTo>
                    <a:pt x="7092" y="1568"/>
                    <a:pt x="7173" y="1568"/>
                    <a:pt x="7261" y="1641"/>
                  </a:cubicBezTo>
                  <a:cubicBezTo>
                    <a:pt x="7349" y="1707"/>
                    <a:pt x="7363" y="1729"/>
                    <a:pt x="7444" y="1744"/>
                  </a:cubicBezTo>
                  <a:cubicBezTo>
                    <a:pt x="7517" y="1751"/>
                    <a:pt x="7590" y="1810"/>
                    <a:pt x="7547" y="1854"/>
                  </a:cubicBezTo>
                  <a:cubicBezTo>
                    <a:pt x="7495" y="1898"/>
                    <a:pt x="7532" y="1934"/>
                    <a:pt x="7620" y="1971"/>
                  </a:cubicBezTo>
                  <a:cubicBezTo>
                    <a:pt x="7715" y="2001"/>
                    <a:pt x="7693" y="2059"/>
                    <a:pt x="7635" y="2125"/>
                  </a:cubicBezTo>
                  <a:cubicBezTo>
                    <a:pt x="7576" y="2198"/>
                    <a:pt x="7568" y="2228"/>
                    <a:pt x="7532" y="2323"/>
                  </a:cubicBezTo>
                  <a:cubicBezTo>
                    <a:pt x="7495" y="2411"/>
                    <a:pt x="7568" y="2411"/>
                    <a:pt x="7568" y="2411"/>
                  </a:cubicBezTo>
                  <a:cubicBezTo>
                    <a:pt x="7568" y="2411"/>
                    <a:pt x="7488" y="2455"/>
                    <a:pt x="7444" y="2513"/>
                  </a:cubicBezTo>
                  <a:cubicBezTo>
                    <a:pt x="7393" y="2572"/>
                    <a:pt x="7422" y="2601"/>
                    <a:pt x="7451" y="2645"/>
                  </a:cubicBezTo>
                  <a:cubicBezTo>
                    <a:pt x="7488" y="2696"/>
                    <a:pt x="7590" y="2726"/>
                    <a:pt x="7635" y="2741"/>
                  </a:cubicBezTo>
                  <a:cubicBezTo>
                    <a:pt x="7678" y="2748"/>
                    <a:pt x="7671" y="2828"/>
                    <a:pt x="7656" y="2887"/>
                  </a:cubicBezTo>
                  <a:cubicBezTo>
                    <a:pt x="7642" y="2946"/>
                    <a:pt x="7722" y="2946"/>
                    <a:pt x="7744" y="2975"/>
                  </a:cubicBezTo>
                  <a:cubicBezTo>
                    <a:pt x="7766" y="3012"/>
                    <a:pt x="7847" y="3246"/>
                    <a:pt x="7847" y="3246"/>
                  </a:cubicBezTo>
                  <a:cubicBezTo>
                    <a:pt x="7847" y="3246"/>
                    <a:pt x="7942" y="3268"/>
                    <a:pt x="7949" y="3341"/>
                  </a:cubicBezTo>
                  <a:cubicBezTo>
                    <a:pt x="7964" y="3407"/>
                    <a:pt x="7928" y="3598"/>
                    <a:pt x="8023" y="3598"/>
                  </a:cubicBezTo>
                  <a:cubicBezTo>
                    <a:pt x="8111" y="3598"/>
                    <a:pt x="8221" y="3715"/>
                    <a:pt x="8257" y="3803"/>
                  </a:cubicBezTo>
                  <a:cubicBezTo>
                    <a:pt x="8272" y="3854"/>
                    <a:pt x="8301" y="3869"/>
                    <a:pt x="8345" y="3869"/>
                  </a:cubicBezTo>
                  <a:cubicBezTo>
                    <a:pt x="8382" y="3869"/>
                    <a:pt x="8433" y="3854"/>
                    <a:pt x="8499" y="3840"/>
                  </a:cubicBezTo>
                  <a:cubicBezTo>
                    <a:pt x="8514" y="3832"/>
                    <a:pt x="8528" y="3832"/>
                    <a:pt x="8543" y="3832"/>
                  </a:cubicBezTo>
                  <a:cubicBezTo>
                    <a:pt x="8660" y="3832"/>
                    <a:pt x="8748" y="3935"/>
                    <a:pt x="8799" y="3986"/>
                  </a:cubicBezTo>
                  <a:cubicBezTo>
                    <a:pt x="8858" y="4045"/>
                    <a:pt x="8902" y="4096"/>
                    <a:pt x="8939" y="4147"/>
                  </a:cubicBezTo>
                  <a:cubicBezTo>
                    <a:pt x="8968" y="4191"/>
                    <a:pt x="8968" y="4250"/>
                    <a:pt x="9027" y="4279"/>
                  </a:cubicBezTo>
                  <a:cubicBezTo>
                    <a:pt x="9085" y="4316"/>
                    <a:pt x="9166" y="4382"/>
                    <a:pt x="9173" y="4441"/>
                  </a:cubicBezTo>
                  <a:cubicBezTo>
                    <a:pt x="9188" y="4499"/>
                    <a:pt x="9254" y="4551"/>
                    <a:pt x="9254" y="4551"/>
                  </a:cubicBezTo>
                  <a:cubicBezTo>
                    <a:pt x="9254" y="4551"/>
                    <a:pt x="9422" y="4551"/>
                    <a:pt x="9481" y="4565"/>
                  </a:cubicBezTo>
                  <a:cubicBezTo>
                    <a:pt x="9540" y="4572"/>
                    <a:pt x="9686" y="4748"/>
                    <a:pt x="9708" y="4800"/>
                  </a:cubicBezTo>
                  <a:cubicBezTo>
                    <a:pt x="9730" y="4858"/>
                    <a:pt x="9664" y="4975"/>
                    <a:pt x="9693" y="4983"/>
                  </a:cubicBezTo>
                  <a:cubicBezTo>
                    <a:pt x="9730" y="4997"/>
                    <a:pt x="9811" y="5020"/>
                    <a:pt x="9891" y="5085"/>
                  </a:cubicBezTo>
                  <a:cubicBezTo>
                    <a:pt x="9906" y="5100"/>
                    <a:pt x="9913" y="5100"/>
                    <a:pt x="9921" y="5100"/>
                  </a:cubicBezTo>
                  <a:cubicBezTo>
                    <a:pt x="9957" y="5100"/>
                    <a:pt x="9950" y="5012"/>
                    <a:pt x="10001" y="5012"/>
                  </a:cubicBezTo>
                  <a:cubicBezTo>
                    <a:pt x="10001" y="5012"/>
                    <a:pt x="10009" y="5020"/>
                    <a:pt x="10016" y="5020"/>
                  </a:cubicBezTo>
                  <a:cubicBezTo>
                    <a:pt x="10097" y="5041"/>
                    <a:pt x="10170" y="5063"/>
                    <a:pt x="10206" y="5144"/>
                  </a:cubicBezTo>
                  <a:cubicBezTo>
                    <a:pt x="10243" y="5225"/>
                    <a:pt x="10272" y="5269"/>
                    <a:pt x="10346" y="5276"/>
                  </a:cubicBezTo>
                  <a:cubicBezTo>
                    <a:pt x="10353" y="5276"/>
                    <a:pt x="10360" y="5283"/>
                    <a:pt x="10368" y="5283"/>
                  </a:cubicBezTo>
                  <a:cubicBezTo>
                    <a:pt x="10404" y="5283"/>
                    <a:pt x="10441" y="5269"/>
                    <a:pt x="10463" y="5269"/>
                  </a:cubicBezTo>
                  <a:cubicBezTo>
                    <a:pt x="10470" y="5269"/>
                    <a:pt x="10478" y="5269"/>
                    <a:pt x="10478" y="5276"/>
                  </a:cubicBezTo>
                  <a:cubicBezTo>
                    <a:pt x="10492" y="5313"/>
                    <a:pt x="10551" y="5401"/>
                    <a:pt x="10580" y="5452"/>
                  </a:cubicBezTo>
                  <a:cubicBezTo>
                    <a:pt x="10617" y="5496"/>
                    <a:pt x="10624" y="5525"/>
                    <a:pt x="10661" y="5598"/>
                  </a:cubicBezTo>
                  <a:cubicBezTo>
                    <a:pt x="10697" y="5664"/>
                    <a:pt x="10675" y="5701"/>
                    <a:pt x="10661" y="5796"/>
                  </a:cubicBezTo>
                  <a:cubicBezTo>
                    <a:pt x="10646" y="5899"/>
                    <a:pt x="10675" y="5891"/>
                    <a:pt x="10705" y="5950"/>
                  </a:cubicBezTo>
                  <a:cubicBezTo>
                    <a:pt x="10741" y="6001"/>
                    <a:pt x="10697" y="6082"/>
                    <a:pt x="10675" y="6199"/>
                  </a:cubicBezTo>
                  <a:cubicBezTo>
                    <a:pt x="10646" y="6309"/>
                    <a:pt x="10617" y="6272"/>
                    <a:pt x="10573" y="6346"/>
                  </a:cubicBezTo>
                  <a:cubicBezTo>
                    <a:pt x="10521" y="6412"/>
                    <a:pt x="10536" y="6456"/>
                    <a:pt x="10492" y="6492"/>
                  </a:cubicBezTo>
                  <a:cubicBezTo>
                    <a:pt x="10485" y="6492"/>
                    <a:pt x="10478" y="6500"/>
                    <a:pt x="10470" y="6500"/>
                  </a:cubicBezTo>
                  <a:cubicBezTo>
                    <a:pt x="10426" y="6500"/>
                    <a:pt x="10382" y="6419"/>
                    <a:pt x="10346" y="6390"/>
                  </a:cubicBezTo>
                  <a:cubicBezTo>
                    <a:pt x="10294" y="6353"/>
                    <a:pt x="10221" y="6353"/>
                    <a:pt x="10126" y="6324"/>
                  </a:cubicBezTo>
                  <a:cubicBezTo>
                    <a:pt x="10060" y="6294"/>
                    <a:pt x="10052" y="6258"/>
                    <a:pt x="10038" y="6258"/>
                  </a:cubicBezTo>
                  <a:cubicBezTo>
                    <a:pt x="10030" y="6258"/>
                    <a:pt x="10023" y="6265"/>
                    <a:pt x="10016" y="6272"/>
                  </a:cubicBezTo>
                  <a:cubicBezTo>
                    <a:pt x="9972" y="6324"/>
                    <a:pt x="10001" y="6324"/>
                    <a:pt x="9935" y="6368"/>
                  </a:cubicBezTo>
                  <a:cubicBezTo>
                    <a:pt x="9869" y="6412"/>
                    <a:pt x="9869" y="6375"/>
                    <a:pt x="9869" y="6434"/>
                  </a:cubicBezTo>
                  <a:cubicBezTo>
                    <a:pt x="9869" y="6492"/>
                    <a:pt x="9913" y="6617"/>
                    <a:pt x="9913" y="6617"/>
                  </a:cubicBezTo>
                  <a:cubicBezTo>
                    <a:pt x="9913" y="6617"/>
                    <a:pt x="9891" y="6683"/>
                    <a:pt x="9869" y="6763"/>
                  </a:cubicBezTo>
                  <a:cubicBezTo>
                    <a:pt x="9847" y="6844"/>
                    <a:pt x="9869" y="6903"/>
                    <a:pt x="9847" y="6998"/>
                  </a:cubicBezTo>
                  <a:cubicBezTo>
                    <a:pt x="9825" y="7101"/>
                    <a:pt x="9518" y="7284"/>
                    <a:pt x="9422" y="7306"/>
                  </a:cubicBezTo>
                  <a:cubicBezTo>
                    <a:pt x="9334" y="7328"/>
                    <a:pt x="9195" y="7350"/>
                    <a:pt x="9107" y="7386"/>
                  </a:cubicBezTo>
                  <a:cubicBezTo>
                    <a:pt x="9019" y="7423"/>
                    <a:pt x="8895" y="7555"/>
                    <a:pt x="8873" y="7591"/>
                  </a:cubicBezTo>
                  <a:cubicBezTo>
                    <a:pt x="8858" y="7606"/>
                    <a:pt x="8843" y="7606"/>
                    <a:pt x="8829" y="7606"/>
                  </a:cubicBezTo>
                  <a:cubicBezTo>
                    <a:pt x="8807" y="7606"/>
                    <a:pt x="8792" y="7606"/>
                    <a:pt x="8770" y="7606"/>
                  </a:cubicBezTo>
                  <a:cubicBezTo>
                    <a:pt x="8748" y="7606"/>
                    <a:pt x="8734" y="7606"/>
                    <a:pt x="8711" y="7613"/>
                  </a:cubicBezTo>
                  <a:cubicBezTo>
                    <a:pt x="8646" y="7635"/>
                    <a:pt x="8675" y="7694"/>
                    <a:pt x="8624" y="7782"/>
                  </a:cubicBezTo>
                  <a:cubicBezTo>
                    <a:pt x="8565" y="7877"/>
                    <a:pt x="8485" y="7863"/>
                    <a:pt x="8440" y="7943"/>
                  </a:cubicBezTo>
                  <a:cubicBezTo>
                    <a:pt x="8396" y="8024"/>
                    <a:pt x="8418" y="8104"/>
                    <a:pt x="8506" y="8148"/>
                  </a:cubicBezTo>
                  <a:cubicBezTo>
                    <a:pt x="8594" y="8192"/>
                    <a:pt x="8668" y="8192"/>
                    <a:pt x="8675" y="8273"/>
                  </a:cubicBezTo>
                  <a:cubicBezTo>
                    <a:pt x="8690" y="8353"/>
                    <a:pt x="8748" y="8420"/>
                    <a:pt x="8814" y="8441"/>
                  </a:cubicBezTo>
                  <a:cubicBezTo>
                    <a:pt x="8880" y="8463"/>
                    <a:pt x="8902" y="8581"/>
                    <a:pt x="8983" y="8705"/>
                  </a:cubicBezTo>
                  <a:cubicBezTo>
                    <a:pt x="9063" y="8830"/>
                    <a:pt x="8924" y="8925"/>
                    <a:pt x="8895" y="9020"/>
                  </a:cubicBezTo>
                  <a:cubicBezTo>
                    <a:pt x="8858" y="9108"/>
                    <a:pt x="8799" y="9108"/>
                    <a:pt x="8836" y="9203"/>
                  </a:cubicBezTo>
                  <a:cubicBezTo>
                    <a:pt x="8858" y="9255"/>
                    <a:pt x="8866" y="9284"/>
                    <a:pt x="8887" y="9284"/>
                  </a:cubicBezTo>
                  <a:cubicBezTo>
                    <a:pt x="8909" y="9284"/>
                    <a:pt x="8946" y="9262"/>
                    <a:pt x="9005" y="9225"/>
                  </a:cubicBezTo>
                  <a:cubicBezTo>
                    <a:pt x="9027" y="9211"/>
                    <a:pt x="9049" y="9203"/>
                    <a:pt x="9071" y="9203"/>
                  </a:cubicBezTo>
                  <a:cubicBezTo>
                    <a:pt x="9159" y="9203"/>
                    <a:pt x="9210" y="9350"/>
                    <a:pt x="9254" y="9431"/>
                  </a:cubicBezTo>
                  <a:cubicBezTo>
                    <a:pt x="9312" y="9519"/>
                    <a:pt x="9254" y="9563"/>
                    <a:pt x="9188" y="9643"/>
                  </a:cubicBezTo>
                  <a:cubicBezTo>
                    <a:pt x="9122" y="9724"/>
                    <a:pt x="9166" y="9775"/>
                    <a:pt x="9166" y="9834"/>
                  </a:cubicBezTo>
                  <a:cubicBezTo>
                    <a:pt x="9166" y="9892"/>
                    <a:pt x="9232" y="9929"/>
                    <a:pt x="9188" y="9973"/>
                  </a:cubicBezTo>
                  <a:cubicBezTo>
                    <a:pt x="9144" y="10010"/>
                    <a:pt x="9144" y="10053"/>
                    <a:pt x="9100" y="10053"/>
                  </a:cubicBezTo>
                  <a:cubicBezTo>
                    <a:pt x="9093" y="10053"/>
                    <a:pt x="9093" y="10053"/>
                    <a:pt x="9085" y="10053"/>
                  </a:cubicBezTo>
                  <a:cubicBezTo>
                    <a:pt x="9027" y="10039"/>
                    <a:pt x="9027" y="10039"/>
                    <a:pt x="8939" y="10017"/>
                  </a:cubicBezTo>
                  <a:cubicBezTo>
                    <a:pt x="8843" y="9995"/>
                    <a:pt x="8792" y="9870"/>
                    <a:pt x="8697" y="9834"/>
                  </a:cubicBezTo>
                  <a:cubicBezTo>
                    <a:pt x="8609" y="9804"/>
                    <a:pt x="8543" y="9709"/>
                    <a:pt x="8587" y="9665"/>
                  </a:cubicBezTo>
                  <a:cubicBezTo>
                    <a:pt x="8631" y="9621"/>
                    <a:pt x="8675" y="9599"/>
                    <a:pt x="8594" y="9563"/>
                  </a:cubicBezTo>
                  <a:cubicBezTo>
                    <a:pt x="8521" y="9526"/>
                    <a:pt x="8528" y="9460"/>
                    <a:pt x="8485" y="9416"/>
                  </a:cubicBezTo>
                  <a:cubicBezTo>
                    <a:pt x="8462" y="9394"/>
                    <a:pt x="8433" y="9379"/>
                    <a:pt x="8396" y="9379"/>
                  </a:cubicBezTo>
                  <a:cubicBezTo>
                    <a:pt x="8360" y="9379"/>
                    <a:pt x="8323" y="9387"/>
                    <a:pt x="8279" y="9394"/>
                  </a:cubicBezTo>
                  <a:cubicBezTo>
                    <a:pt x="8177" y="9401"/>
                    <a:pt x="8155" y="9460"/>
                    <a:pt x="8089" y="9541"/>
                  </a:cubicBezTo>
                  <a:cubicBezTo>
                    <a:pt x="8052" y="9577"/>
                    <a:pt x="8030" y="9592"/>
                    <a:pt x="8008" y="9592"/>
                  </a:cubicBezTo>
                  <a:cubicBezTo>
                    <a:pt x="7979" y="9592"/>
                    <a:pt x="7949" y="9577"/>
                    <a:pt x="7920" y="9563"/>
                  </a:cubicBezTo>
                  <a:cubicBezTo>
                    <a:pt x="7847" y="9541"/>
                    <a:pt x="7818" y="9438"/>
                    <a:pt x="7781" y="9379"/>
                  </a:cubicBezTo>
                  <a:cubicBezTo>
                    <a:pt x="7766" y="9357"/>
                    <a:pt x="7722" y="9343"/>
                    <a:pt x="7671" y="9343"/>
                  </a:cubicBezTo>
                  <a:cubicBezTo>
                    <a:pt x="7612" y="9343"/>
                    <a:pt x="7547" y="9357"/>
                    <a:pt x="7488" y="9379"/>
                  </a:cubicBezTo>
                  <a:cubicBezTo>
                    <a:pt x="7429" y="9401"/>
                    <a:pt x="7393" y="9416"/>
                    <a:pt x="7371" y="9416"/>
                  </a:cubicBezTo>
                  <a:cubicBezTo>
                    <a:pt x="7356" y="9416"/>
                    <a:pt x="7349" y="9401"/>
                    <a:pt x="7363" y="9379"/>
                  </a:cubicBezTo>
                  <a:cubicBezTo>
                    <a:pt x="7385" y="9335"/>
                    <a:pt x="7407" y="9225"/>
                    <a:pt x="7371" y="9225"/>
                  </a:cubicBezTo>
                  <a:cubicBezTo>
                    <a:pt x="7363" y="9225"/>
                    <a:pt x="7363" y="9225"/>
                    <a:pt x="7363" y="9225"/>
                  </a:cubicBezTo>
                  <a:cubicBezTo>
                    <a:pt x="7319" y="9233"/>
                    <a:pt x="7283" y="9306"/>
                    <a:pt x="7217" y="9372"/>
                  </a:cubicBezTo>
                  <a:cubicBezTo>
                    <a:pt x="7144" y="9438"/>
                    <a:pt x="7195" y="9497"/>
                    <a:pt x="7246" y="9584"/>
                  </a:cubicBezTo>
                  <a:cubicBezTo>
                    <a:pt x="7305" y="9680"/>
                    <a:pt x="7297" y="9680"/>
                    <a:pt x="7224" y="9687"/>
                  </a:cubicBezTo>
                  <a:cubicBezTo>
                    <a:pt x="7195" y="9694"/>
                    <a:pt x="7173" y="9694"/>
                    <a:pt x="7144" y="9694"/>
                  </a:cubicBezTo>
                  <a:cubicBezTo>
                    <a:pt x="7121" y="9694"/>
                    <a:pt x="7099" y="9694"/>
                    <a:pt x="7070" y="9687"/>
                  </a:cubicBezTo>
                  <a:cubicBezTo>
                    <a:pt x="6997" y="9680"/>
                    <a:pt x="6909" y="9665"/>
                    <a:pt x="6843" y="9651"/>
                  </a:cubicBezTo>
                  <a:cubicBezTo>
                    <a:pt x="6836" y="9651"/>
                    <a:pt x="6828" y="9651"/>
                    <a:pt x="6821" y="9651"/>
                  </a:cubicBezTo>
                  <a:cubicBezTo>
                    <a:pt x="6740" y="9651"/>
                    <a:pt x="6543" y="9716"/>
                    <a:pt x="6469" y="9775"/>
                  </a:cubicBezTo>
                  <a:cubicBezTo>
                    <a:pt x="6433" y="9804"/>
                    <a:pt x="6389" y="9812"/>
                    <a:pt x="6345" y="9812"/>
                  </a:cubicBezTo>
                  <a:cubicBezTo>
                    <a:pt x="6279" y="9812"/>
                    <a:pt x="6206" y="9797"/>
                    <a:pt x="6154" y="9797"/>
                  </a:cubicBezTo>
                  <a:cubicBezTo>
                    <a:pt x="6147" y="9797"/>
                    <a:pt x="6132" y="9797"/>
                    <a:pt x="6125" y="9804"/>
                  </a:cubicBezTo>
                  <a:cubicBezTo>
                    <a:pt x="6037" y="9812"/>
                    <a:pt x="5971" y="9812"/>
                    <a:pt x="5898" y="9907"/>
                  </a:cubicBezTo>
                  <a:cubicBezTo>
                    <a:pt x="5832" y="9995"/>
                    <a:pt x="5920" y="10002"/>
                    <a:pt x="5868" y="10053"/>
                  </a:cubicBezTo>
                  <a:cubicBezTo>
                    <a:pt x="5839" y="10075"/>
                    <a:pt x="5795" y="10075"/>
                    <a:pt x="5751" y="10075"/>
                  </a:cubicBezTo>
                  <a:cubicBezTo>
                    <a:pt x="5700" y="10075"/>
                    <a:pt x="5649" y="10075"/>
                    <a:pt x="5605" y="10075"/>
                  </a:cubicBezTo>
                  <a:cubicBezTo>
                    <a:pt x="5517" y="10075"/>
                    <a:pt x="5502" y="10105"/>
                    <a:pt x="5495" y="10207"/>
                  </a:cubicBezTo>
                  <a:cubicBezTo>
                    <a:pt x="5487" y="10251"/>
                    <a:pt x="5495" y="10266"/>
                    <a:pt x="5502" y="10266"/>
                  </a:cubicBezTo>
                  <a:cubicBezTo>
                    <a:pt x="5517" y="10266"/>
                    <a:pt x="5539" y="10244"/>
                    <a:pt x="5539" y="10244"/>
                  </a:cubicBezTo>
                  <a:cubicBezTo>
                    <a:pt x="5539" y="10310"/>
                    <a:pt x="5539" y="10310"/>
                    <a:pt x="5539" y="10310"/>
                  </a:cubicBezTo>
                  <a:cubicBezTo>
                    <a:pt x="5539" y="10310"/>
                    <a:pt x="5495" y="10303"/>
                    <a:pt x="5414" y="10288"/>
                  </a:cubicBezTo>
                  <a:cubicBezTo>
                    <a:pt x="5407" y="10288"/>
                    <a:pt x="5399" y="10288"/>
                    <a:pt x="5392" y="10288"/>
                  </a:cubicBezTo>
                  <a:cubicBezTo>
                    <a:pt x="5326" y="10288"/>
                    <a:pt x="5297" y="10339"/>
                    <a:pt x="5246" y="10413"/>
                  </a:cubicBezTo>
                  <a:cubicBezTo>
                    <a:pt x="5209" y="10456"/>
                    <a:pt x="5194" y="10471"/>
                    <a:pt x="5180" y="10471"/>
                  </a:cubicBezTo>
                  <a:cubicBezTo>
                    <a:pt x="5165" y="10471"/>
                    <a:pt x="5150" y="10464"/>
                    <a:pt x="5121" y="10449"/>
                  </a:cubicBezTo>
                  <a:cubicBezTo>
                    <a:pt x="5048" y="10413"/>
                    <a:pt x="5143" y="10332"/>
                    <a:pt x="5143" y="10332"/>
                  </a:cubicBezTo>
                  <a:cubicBezTo>
                    <a:pt x="5063" y="10347"/>
                    <a:pt x="4843" y="10449"/>
                    <a:pt x="4696" y="10456"/>
                  </a:cubicBezTo>
                  <a:cubicBezTo>
                    <a:pt x="4689" y="10456"/>
                    <a:pt x="4681" y="10456"/>
                    <a:pt x="4667" y="10456"/>
                  </a:cubicBezTo>
                  <a:cubicBezTo>
                    <a:pt x="4549" y="10456"/>
                    <a:pt x="4549" y="10391"/>
                    <a:pt x="4542" y="10347"/>
                  </a:cubicBezTo>
                  <a:cubicBezTo>
                    <a:pt x="4528" y="10303"/>
                    <a:pt x="4484" y="10200"/>
                    <a:pt x="4418" y="10200"/>
                  </a:cubicBezTo>
                  <a:cubicBezTo>
                    <a:pt x="4396" y="10200"/>
                    <a:pt x="4374" y="10200"/>
                    <a:pt x="4359" y="10200"/>
                  </a:cubicBezTo>
                  <a:cubicBezTo>
                    <a:pt x="4300" y="10200"/>
                    <a:pt x="4242" y="10193"/>
                    <a:pt x="4315" y="10141"/>
                  </a:cubicBezTo>
                  <a:cubicBezTo>
                    <a:pt x="4381" y="10090"/>
                    <a:pt x="4337" y="10024"/>
                    <a:pt x="4271" y="10024"/>
                  </a:cubicBezTo>
                  <a:cubicBezTo>
                    <a:pt x="4256" y="10024"/>
                    <a:pt x="4235" y="10032"/>
                    <a:pt x="4220" y="10039"/>
                  </a:cubicBezTo>
                  <a:cubicBezTo>
                    <a:pt x="4176" y="10061"/>
                    <a:pt x="4147" y="10075"/>
                    <a:pt x="4110" y="10075"/>
                  </a:cubicBezTo>
                  <a:cubicBezTo>
                    <a:pt x="4088" y="10075"/>
                    <a:pt x="4059" y="10068"/>
                    <a:pt x="4044" y="10053"/>
                  </a:cubicBezTo>
                  <a:cubicBezTo>
                    <a:pt x="3993" y="10017"/>
                    <a:pt x="3868" y="9980"/>
                    <a:pt x="3817" y="9951"/>
                  </a:cubicBezTo>
                  <a:cubicBezTo>
                    <a:pt x="3787" y="9936"/>
                    <a:pt x="3758" y="9922"/>
                    <a:pt x="3729" y="9922"/>
                  </a:cubicBezTo>
                  <a:cubicBezTo>
                    <a:pt x="3692" y="9922"/>
                    <a:pt x="3670" y="9936"/>
                    <a:pt x="3656" y="9973"/>
                  </a:cubicBezTo>
                  <a:cubicBezTo>
                    <a:pt x="3641" y="10017"/>
                    <a:pt x="3568" y="10032"/>
                    <a:pt x="3502" y="10032"/>
                  </a:cubicBezTo>
                  <a:cubicBezTo>
                    <a:pt x="3480" y="10032"/>
                    <a:pt x="3458" y="10032"/>
                    <a:pt x="3443" y="10032"/>
                  </a:cubicBezTo>
                  <a:cubicBezTo>
                    <a:pt x="3392" y="10017"/>
                    <a:pt x="3355" y="9907"/>
                    <a:pt x="3348" y="9907"/>
                  </a:cubicBezTo>
                  <a:lnTo>
                    <a:pt x="3348" y="9914"/>
                  </a:lnTo>
                  <a:cubicBezTo>
                    <a:pt x="3348" y="9951"/>
                    <a:pt x="3363" y="9980"/>
                    <a:pt x="3341" y="10061"/>
                  </a:cubicBezTo>
                  <a:cubicBezTo>
                    <a:pt x="3318" y="10141"/>
                    <a:pt x="3341" y="10163"/>
                    <a:pt x="3385" y="10185"/>
                  </a:cubicBezTo>
                  <a:cubicBezTo>
                    <a:pt x="3428" y="10207"/>
                    <a:pt x="3428" y="10347"/>
                    <a:pt x="3392" y="10405"/>
                  </a:cubicBezTo>
                  <a:cubicBezTo>
                    <a:pt x="3363" y="10456"/>
                    <a:pt x="3348" y="10537"/>
                    <a:pt x="3304" y="10552"/>
                  </a:cubicBezTo>
                  <a:cubicBezTo>
                    <a:pt x="3260" y="10559"/>
                    <a:pt x="3165" y="10640"/>
                    <a:pt x="3121" y="10757"/>
                  </a:cubicBezTo>
                  <a:cubicBezTo>
                    <a:pt x="3078" y="10867"/>
                    <a:pt x="2909" y="10903"/>
                    <a:pt x="2829" y="10925"/>
                  </a:cubicBezTo>
                  <a:cubicBezTo>
                    <a:pt x="2821" y="10925"/>
                    <a:pt x="2807" y="10925"/>
                    <a:pt x="2799" y="10925"/>
                  </a:cubicBezTo>
                  <a:cubicBezTo>
                    <a:pt x="2748" y="10925"/>
                    <a:pt x="2741" y="10874"/>
                    <a:pt x="2785" y="10845"/>
                  </a:cubicBezTo>
                  <a:cubicBezTo>
                    <a:pt x="2829" y="10808"/>
                    <a:pt x="2829" y="10742"/>
                    <a:pt x="2851" y="10640"/>
                  </a:cubicBezTo>
                  <a:cubicBezTo>
                    <a:pt x="2865" y="10574"/>
                    <a:pt x="2829" y="10530"/>
                    <a:pt x="2792" y="10530"/>
                  </a:cubicBezTo>
                  <a:cubicBezTo>
                    <a:pt x="2770" y="10530"/>
                    <a:pt x="2755" y="10537"/>
                    <a:pt x="2748" y="10559"/>
                  </a:cubicBezTo>
                  <a:cubicBezTo>
                    <a:pt x="2733" y="10603"/>
                    <a:pt x="2682" y="10625"/>
                    <a:pt x="2631" y="10625"/>
                  </a:cubicBezTo>
                  <a:cubicBezTo>
                    <a:pt x="2602" y="10625"/>
                    <a:pt x="2579" y="10618"/>
                    <a:pt x="2557" y="10603"/>
                  </a:cubicBezTo>
                  <a:cubicBezTo>
                    <a:pt x="2499" y="10574"/>
                    <a:pt x="2499" y="10508"/>
                    <a:pt x="2557" y="10449"/>
                  </a:cubicBezTo>
                  <a:cubicBezTo>
                    <a:pt x="2609" y="10391"/>
                    <a:pt x="2528" y="10251"/>
                    <a:pt x="2492" y="10251"/>
                  </a:cubicBezTo>
                  <a:lnTo>
                    <a:pt x="2492" y="10251"/>
                  </a:lnTo>
                  <a:cubicBezTo>
                    <a:pt x="2484" y="10259"/>
                    <a:pt x="2477" y="10259"/>
                    <a:pt x="2469" y="10259"/>
                  </a:cubicBezTo>
                  <a:cubicBezTo>
                    <a:pt x="2426" y="10259"/>
                    <a:pt x="2367" y="10237"/>
                    <a:pt x="2330" y="10200"/>
                  </a:cubicBezTo>
                  <a:cubicBezTo>
                    <a:pt x="2286" y="10156"/>
                    <a:pt x="2272" y="10083"/>
                    <a:pt x="2250" y="10053"/>
                  </a:cubicBezTo>
                  <a:cubicBezTo>
                    <a:pt x="2243" y="10039"/>
                    <a:pt x="2228" y="10039"/>
                    <a:pt x="2198" y="10039"/>
                  </a:cubicBezTo>
                  <a:cubicBezTo>
                    <a:pt x="2147" y="10039"/>
                    <a:pt x="2074" y="10053"/>
                    <a:pt x="2023" y="10061"/>
                  </a:cubicBezTo>
                  <a:cubicBezTo>
                    <a:pt x="2015" y="10061"/>
                    <a:pt x="2008" y="10061"/>
                    <a:pt x="2001" y="10061"/>
                  </a:cubicBezTo>
                  <a:cubicBezTo>
                    <a:pt x="1949" y="10061"/>
                    <a:pt x="1927" y="10017"/>
                    <a:pt x="1942" y="9951"/>
                  </a:cubicBezTo>
                  <a:cubicBezTo>
                    <a:pt x="1957" y="9892"/>
                    <a:pt x="1913" y="9863"/>
                    <a:pt x="1869" y="9863"/>
                  </a:cubicBezTo>
                  <a:cubicBezTo>
                    <a:pt x="1854" y="9863"/>
                    <a:pt x="1832" y="9870"/>
                    <a:pt x="1817" y="9878"/>
                  </a:cubicBezTo>
                  <a:cubicBezTo>
                    <a:pt x="1774" y="9914"/>
                    <a:pt x="1752" y="10039"/>
                    <a:pt x="1752" y="10039"/>
                  </a:cubicBezTo>
                  <a:cubicBezTo>
                    <a:pt x="1752" y="10039"/>
                    <a:pt x="1752" y="10039"/>
                    <a:pt x="1752" y="10046"/>
                  </a:cubicBezTo>
                  <a:cubicBezTo>
                    <a:pt x="1700" y="10039"/>
                    <a:pt x="1605" y="10024"/>
                    <a:pt x="1561" y="9995"/>
                  </a:cubicBezTo>
                  <a:cubicBezTo>
                    <a:pt x="1488" y="9951"/>
                    <a:pt x="1436" y="9936"/>
                    <a:pt x="1480" y="9892"/>
                  </a:cubicBezTo>
                  <a:cubicBezTo>
                    <a:pt x="1524" y="9848"/>
                    <a:pt x="1642" y="9834"/>
                    <a:pt x="1707" y="9826"/>
                  </a:cubicBezTo>
                  <a:cubicBezTo>
                    <a:pt x="1774" y="9812"/>
                    <a:pt x="1854" y="9768"/>
                    <a:pt x="1898" y="9709"/>
                  </a:cubicBezTo>
                  <a:cubicBezTo>
                    <a:pt x="1935" y="9672"/>
                    <a:pt x="1964" y="9621"/>
                    <a:pt x="2023" y="9621"/>
                  </a:cubicBezTo>
                  <a:cubicBezTo>
                    <a:pt x="2045" y="9621"/>
                    <a:pt x="2067" y="9629"/>
                    <a:pt x="2088" y="9643"/>
                  </a:cubicBezTo>
                  <a:cubicBezTo>
                    <a:pt x="2125" y="9658"/>
                    <a:pt x="2155" y="9665"/>
                    <a:pt x="2184" y="9665"/>
                  </a:cubicBezTo>
                  <a:cubicBezTo>
                    <a:pt x="2243" y="9665"/>
                    <a:pt x="2294" y="9636"/>
                    <a:pt x="2338" y="9599"/>
                  </a:cubicBezTo>
                  <a:cubicBezTo>
                    <a:pt x="2367" y="9577"/>
                    <a:pt x="2389" y="9570"/>
                    <a:pt x="2411" y="9570"/>
                  </a:cubicBezTo>
                  <a:cubicBezTo>
                    <a:pt x="2455" y="9570"/>
                    <a:pt x="2499" y="9599"/>
                    <a:pt x="2514" y="9629"/>
                  </a:cubicBezTo>
                  <a:cubicBezTo>
                    <a:pt x="2514" y="9636"/>
                    <a:pt x="2521" y="9643"/>
                    <a:pt x="2528" y="9643"/>
                  </a:cubicBezTo>
                  <a:cubicBezTo>
                    <a:pt x="2565" y="9643"/>
                    <a:pt x="2653" y="9526"/>
                    <a:pt x="2602" y="9401"/>
                  </a:cubicBezTo>
                  <a:cubicBezTo>
                    <a:pt x="2543" y="9270"/>
                    <a:pt x="2462" y="9211"/>
                    <a:pt x="2536" y="9167"/>
                  </a:cubicBezTo>
                  <a:cubicBezTo>
                    <a:pt x="2602" y="9123"/>
                    <a:pt x="2682" y="9130"/>
                    <a:pt x="2579" y="9042"/>
                  </a:cubicBezTo>
                  <a:cubicBezTo>
                    <a:pt x="2477" y="8954"/>
                    <a:pt x="2514" y="8925"/>
                    <a:pt x="2543" y="8815"/>
                  </a:cubicBezTo>
                  <a:cubicBezTo>
                    <a:pt x="2579" y="8705"/>
                    <a:pt x="2440" y="8654"/>
                    <a:pt x="2514" y="8603"/>
                  </a:cubicBezTo>
                  <a:cubicBezTo>
                    <a:pt x="2579" y="8544"/>
                    <a:pt x="2645" y="8375"/>
                    <a:pt x="2645" y="8273"/>
                  </a:cubicBezTo>
                  <a:cubicBezTo>
                    <a:pt x="2645" y="8170"/>
                    <a:pt x="2477" y="7943"/>
                    <a:pt x="2462" y="7782"/>
                  </a:cubicBezTo>
                  <a:cubicBezTo>
                    <a:pt x="2455" y="7628"/>
                    <a:pt x="2462" y="7577"/>
                    <a:pt x="2462" y="7577"/>
                  </a:cubicBezTo>
                  <a:cubicBezTo>
                    <a:pt x="2462" y="7577"/>
                    <a:pt x="2330" y="7364"/>
                    <a:pt x="2264" y="7320"/>
                  </a:cubicBezTo>
                  <a:cubicBezTo>
                    <a:pt x="2191" y="7276"/>
                    <a:pt x="2272" y="7284"/>
                    <a:pt x="2330" y="7159"/>
                  </a:cubicBezTo>
                  <a:cubicBezTo>
                    <a:pt x="2382" y="7042"/>
                    <a:pt x="2469" y="6932"/>
                    <a:pt x="2521" y="6932"/>
                  </a:cubicBezTo>
                  <a:cubicBezTo>
                    <a:pt x="2528" y="6932"/>
                    <a:pt x="2528" y="6932"/>
                    <a:pt x="2536" y="6932"/>
                  </a:cubicBezTo>
                  <a:cubicBezTo>
                    <a:pt x="2565" y="6947"/>
                    <a:pt x="2594" y="6991"/>
                    <a:pt x="2631" y="6991"/>
                  </a:cubicBezTo>
                  <a:cubicBezTo>
                    <a:pt x="2645" y="6991"/>
                    <a:pt x="2660" y="6983"/>
                    <a:pt x="2682" y="6969"/>
                  </a:cubicBezTo>
                  <a:cubicBezTo>
                    <a:pt x="2748" y="6910"/>
                    <a:pt x="2807" y="6888"/>
                    <a:pt x="2851" y="6873"/>
                  </a:cubicBezTo>
                  <a:cubicBezTo>
                    <a:pt x="2895" y="6866"/>
                    <a:pt x="2814" y="6844"/>
                    <a:pt x="2829" y="6800"/>
                  </a:cubicBezTo>
                  <a:cubicBezTo>
                    <a:pt x="2836" y="6778"/>
                    <a:pt x="2851" y="6771"/>
                    <a:pt x="2865" y="6771"/>
                  </a:cubicBezTo>
                  <a:cubicBezTo>
                    <a:pt x="2887" y="6771"/>
                    <a:pt x="2909" y="6778"/>
                    <a:pt x="2931" y="6800"/>
                  </a:cubicBezTo>
                  <a:lnTo>
                    <a:pt x="2938" y="6800"/>
                  </a:lnTo>
                  <a:cubicBezTo>
                    <a:pt x="2975" y="6800"/>
                    <a:pt x="3026" y="6632"/>
                    <a:pt x="2968" y="6558"/>
                  </a:cubicBezTo>
                  <a:cubicBezTo>
                    <a:pt x="2909" y="6492"/>
                    <a:pt x="2924" y="6463"/>
                    <a:pt x="2968" y="6463"/>
                  </a:cubicBezTo>
                  <a:cubicBezTo>
                    <a:pt x="2975" y="6463"/>
                    <a:pt x="2990" y="6470"/>
                    <a:pt x="2997" y="6470"/>
                  </a:cubicBezTo>
                  <a:cubicBezTo>
                    <a:pt x="2997" y="6470"/>
                    <a:pt x="2814" y="6375"/>
                    <a:pt x="2843" y="6287"/>
                  </a:cubicBezTo>
                  <a:cubicBezTo>
                    <a:pt x="2858" y="6221"/>
                    <a:pt x="2865" y="6199"/>
                    <a:pt x="2909" y="6199"/>
                  </a:cubicBezTo>
                  <a:cubicBezTo>
                    <a:pt x="2924" y="6199"/>
                    <a:pt x="2946" y="6199"/>
                    <a:pt x="2975" y="6206"/>
                  </a:cubicBezTo>
                  <a:cubicBezTo>
                    <a:pt x="3063" y="6229"/>
                    <a:pt x="3099" y="6302"/>
                    <a:pt x="3128" y="6302"/>
                  </a:cubicBezTo>
                  <a:cubicBezTo>
                    <a:pt x="3135" y="6302"/>
                    <a:pt x="3143" y="6302"/>
                    <a:pt x="3143" y="6302"/>
                  </a:cubicBezTo>
                  <a:cubicBezTo>
                    <a:pt x="3165" y="6280"/>
                    <a:pt x="3201" y="6272"/>
                    <a:pt x="3231" y="6272"/>
                  </a:cubicBezTo>
                  <a:cubicBezTo>
                    <a:pt x="3245" y="6272"/>
                    <a:pt x="3267" y="6272"/>
                    <a:pt x="3282" y="6272"/>
                  </a:cubicBezTo>
                  <a:cubicBezTo>
                    <a:pt x="3318" y="6272"/>
                    <a:pt x="3385" y="6221"/>
                    <a:pt x="3341" y="6141"/>
                  </a:cubicBezTo>
                  <a:cubicBezTo>
                    <a:pt x="3289" y="6060"/>
                    <a:pt x="3245" y="6119"/>
                    <a:pt x="3216" y="6053"/>
                  </a:cubicBezTo>
                  <a:cubicBezTo>
                    <a:pt x="3179" y="5979"/>
                    <a:pt x="3179" y="5899"/>
                    <a:pt x="3223" y="5833"/>
                  </a:cubicBezTo>
                  <a:cubicBezTo>
                    <a:pt x="3267" y="5767"/>
                    <a:pt x="3245" y="5708"/>
                    <a:pt x="3223" y="5672"/>
                  </a:cubicBezTo>
                  <a:cubicBezTo>
                    <a:pt x="3201" y="5642"/>
                    <a:pt x="3260" y="5664"/>
                    <a:pt x="3267" y="5620"/>
                  </a:cubicBezTo>
                  <a:cubicBezTo>
                    <a:pt x="3282" y="5576"/>
                    <a:pt x="3267" y="5356"/>
                    <a:pt x="3143" y="5232"/>
                  </a:cubicBezTo>
                  <a:cubicBezTo>
                    <a:pt x="3019" y="5107"/>
                    <a:pt x="2953" y="5071"/>
                    <a:pt x="2873" y="5049"/>
                  </a:cubicBezTo>
                  <a:cubicBezTo>
                    <a:pt x="2792" y="5027"/>
                    <a:pt x="2829" y="4983"/>
                    <a:pt x="2814" y="4939"/>
                  </a:cubicBezTo>
                  <a:cubicBezTo>
                    <a:pt x="2807" y="4895"/>
                    <a:pt x="2748" y="4902"/>
                    <a:pt x="2726" y="4873"/>
                  </a:cubicBezTo>
                  <a:cubicBezTo>
                    <a:pt x="2704" y="4836"/>
                    <a:pt x="2741" y="4800"/>
                    <a:pt x="2785" y="4770"/>
                  </a:cubicBezTo>
                  <a:cubicBezTo>
                    <a:pt x="2829" y="4734"/>
                    <a:pt x="2829" y="4690"/>
                    <a:pt x="2748" y="4653"/>
                  </a:cubicBezTo>
                  <a:cubicBezTo>
                    <a:pt x="2667" y="4624"/>
                    <a:pt x="2536" y="4506"/>
                    <a:pt x="2536" y="4404"/>
                  </a:cubicBezTo>
                  <a:cubicBezTo>
                    <a:pt x="2536" y="4301"/>
                    <a:pt x="2602" y="4221"/>
                    <a:pt x="2557" y="4177"/>
                  </a:cubicBezTo>
                  <a:cubicBezTo>
                    <a:pt x="2514" y="4133"/>
                    <a:pt x="2462" y="4008"/>
                    <a:pt x="2499" y="3942"/>
                  </a:cubicBezTo>
                  <a:cubicBezTo>
                    <a:pt x="2528" y="3891"/>
                    <a:pt x="2572" y="3884"/>
                    <a:pt x="2594" y="3884"/>
                  </a:cubicBezTo>
                  <a:lnTo>
                    <a:pt x="2602" y="3884"/>
                  </a:lnTo>
                  <a:cubicBezTo>
                    <a:pt x="2602" y="3884"/>
                    <a:pt x="2594" y="3759"/>
                    <a:pt x="2543" y="3737"/>
                  </a:cubicBezTo>
                  <a:cubicBezTo>
                    <a:pt x="2499" y="3715"/>
                    <a:pt x="2462" y="3701"/>
                    <a:pt x="2477" y="3620"/>
                  </a:cubicBezTo>
                  <a:cubicBezTo>
                    <a:pt x="2492" y="3546"/>
                    <a:pt x="2455" y="3532"/>
                    <a:pt x="2440" y="3444"/>
                  </a:cubicBezTo>
                  <a:cubicBezTo>
                    <a:pt x="2440" y="3400"/>
                    <a:pt x="2426" y="3385"/>
                    <a:pt x="2404" y="3385"/>
                  </a:cubicBezTo>
                  <a:cubicBezTo>
                    <a:pt x="2382" y="3385"/>
                    <a:pt x="2352" y="3415"/>
                    <a:pt x="2330" y="3451"/>
                  </a:cubicBezTo>
                  <a:cubicBezTo>
                    <a:pt x="2294" y="3525"/>
                    <a:pt x="2330" y="3546"/>
                    <a:pt x="2213" y="3569"/>
                  </a:cubicBezTo>
                  <a:cubicBezTo>
                    <a:pt x="2206" y="3569"/>
                    <a:pt x="2191" y="3569"/>
                    <a:pt x="2176" y="3569"/>
                  </a:cubicBezTo>
                  <a:cubicBezTo>
                    <a:pt x="2096" y="3569"/>
                    <a:pt x="2081" y="3503"/>
                    <a:pt x="2081" y="3429"/>
                  </a:cubicBezTo>
                  <a:cubicBezTo>
                    <a:pt x="2081" y="3363"/>
                    <a:pt x="2045" y="3239"/>
                    <a:pt x="2015" y="3239"/>
                  </a:cubicBezTo>
                  <a:cubicBezTo>
                    <a:pt x="2008" y="3239"/>
                    <a:pt x="2008" y="3239"/>
                    <a:pt x="2001" y="3246"/>
                  </a:cubicBezTo>
                  <a:cubicBezTo>
                    <a:pt x="1979" y="3283"/>
                    <a:pt x="1927" y="3356"/>
                    <a:pt x="1898" y="3356"/>
                  </a:cubicBezTo>
                  <a:cubicBezTo>
                    <a:pt x="1883" y="3356"/>
                    <a:pt x="1883" y="3327"/>
                    <a:pt x="1913" y="3246"/>
                  </a:cubicBezTo>
                  <a:cubicBezTo>
                    <a:pt x="1979" y="3048"/>
                    <a:pt x="1993" y="3078"/>
                    <a:pt x="1935" y="3056"/>
                  </a:cubicBezTo>
                  <a:cubicBezTo>
                    <a:pt x="1876" y="3034"/>
                    <a:pt x="1869" y="2997"/>
                    <a:pt x="1876" y="2953"/>
                  </a:cubicBezTo>
                  <a:cubicBezTo>
                    <a:pt x="1883" y="2909"/>
                    <a:pt x="1861" y="2792"/>
                    <a:pt x="1803" y="2792"/>
                  </a:cubicBezTo>
                  <a:cubicBezTo>
                    <a:pt x="1795" y="2792"/>
                    <a:pt x="1788" y="2792"/>
                    <a:pt x="1788" y="2799"/>
                  </a:cubicBezTo>
                  <a:cubicBezTo>
                    <a:pt x="1729" y="2814"/>
                    <a:pt x="1707" y="2902"/>
                    <a:pt x="1664" y="2902"/>
                  </a:cubicBezTo>
                  <a:cubicBezTo>
                    <a:pt x="1649" y="2902"/>
                    <a:pt x="1634" y="2894"/>
                    <a:pt x="1612" y="2872"/>
                  </a:cubicBezTo>
                  <a:cubicBezTo>
                    <a:pt x="1583" y="2843"/>
                    <a:pt x="1568" y="2828"/>
                    <a:pt x="1554" y="2828"/>
                  </a:cubicBezTo>
                  <a:cubicBezTo>
                    <a:pt x="1539" y="2828"/>
                    <a:pt x="1532" y="2851"/>
                    <a:pt x="1502" y="2894"/>
                  </a:cubicBezTo>
                  <a:cubicBezTo>
                    <a:pt x="1488" y="2916"/>
                    <a:pt x="1473" y="2931"/>
                    <a:pt x="1466" y="2931"/>
                  </a:cubicBezTo>
                  <a:cubicBezTo>
                    <a:pt x="1444" y="2931"/>
                    <a:pt x="1451" y="2865"/>
                    <a:pt x="1458" y="2799"/>
                  </a:cubicBezTo>
                  <a:cubicBezTo>
                    <a:pt x="1466" y="2704"/>
                    <a:pt x="1480" y="2594"/>
                    <a:pt x="1444" y="2579"/>
                  </a:cubicBezTo>
                  <a:cubicBezTo>
                    <a:pt x="1436" y="2579"/>
                    <a:pt x="1429" y="2579"/>
                    <a:pt x="1422" y="2579"/>
                  </a:cubicBezTo>
                  <a:cubicBezTo>
                    <a:pt x="1400" y="2579"/>
                    <a:pt x="1385" y="2587"/>
                    <a:pt x="1341" y="2616"/>
                  </a:cubicBezTo>
                  <a:cubicBezTo>
                    <a:pt x="1297" y="2645"/>
                    <a:pt x="1268" y="2675"/>
                    <a:pt x="1238" y="2675"/>
                  </a:cubicBezTo>
                  <a:cubicBezTo>
                    <a:pt x="1231" y="2675"/>
                    <a:pt x="1224" y="2675"/>
                    <a:pt x="1217" y="2675"/>
                  </a:cubicBezTo>
                  <a:cubicBezTo>
                    <a:pt x="1187" y="2645"/>
                    <a:pt x="1187" y="2601"/>
                    <a:pt x="1151" y="2594"/>
                  </a:cubicBezTo>
                  <a:cubicBezTo>
                    <a:pt x="1143" y="2587"/>
                    <a:pt x="1143" y="2587"/>
                    <a:pt x="1136" y="2587"/>
                  </a:cubicBezTo>
                  <a:cubicBezTo>
                    <a:pt x="1114" y="2587"/>
                    <a:pt x="1114" y="2616"/>
                    <a:pt x="1070" y="2638"/>
                  </a:cubicBezTo>
                  <a:cubicBezTo>
                    <a:pt x="1063" y="2638"/>
                    <a:pt x="1063" y="2645"/>
                    <a:pt x="1055" y="2645"/>
                  </a:cubicBezTo>
                  <a:cubicBezTo>
                    <a:pt x="1026" y="2645"/>
                    <a:pt x="1019" y="2601"/>
                    <a:pt x="982" y="2601"/>
                  </a:cubicBezTo>
                  <a:cubicBezTo>
                    <a:pt x="975" y="2601"/>
                    <a:pt x="975" y="2601"/>
                    <a:pt x="967" y="2601"/>
                  </a:cubicBezTo>
                  <a:cubicBezTo>
                    <a:pt x="916" y="2616"/>
                    <a:pt x="857" y="2623"/>
                    <a:pt x="814" y="2660"/>
                  </a:cubicBezTo>
                  <a:cubicBezTo>
                    <a:pt x="762" y="2696"/>
                    <a:pt x="740" y="2763"/>
                    <a:pt x="740" y="2763"/>
                  </a:cubicBezTo>
                  <a:cubicBezTo>
                    <a:pt x="740" y="2763"/>
                    <a:pt x="740" y="2784"/>
                    <a:pt x="799" y="2799"/>
                  </a:cubicBezTo>
                  <a:cubicBezTo>
                    <a:pt x="806" y="2799"/>
                    <a:pt x="821" y="2799"/>
                    <a:pt x="828" y="2799"/>
                  </a:cubicBezTo>
                  <a:cubicBezTo>
                    <a:pt x="850" y="2799"/>
                    <a:pt x="865" y="2792"/>
                    <a:pt x="887" y="2792"/>
                  </a:cubicBezTo>
                  <a:cubicBezTo>
                    <a:pt x="909" y="2792"/>
                    <a:pt x="931" y="2799"/>
                    <a:pt x="945" y="2821"/>
                  </a:cubicBezTo>
                  <a:cubicBezTo>
                    <a:pt x="989" y="2865"/>
                    <a:pt x="989" y="2924"/>
                    <a:pt x="967" y="2968"/>
                  </a:cubicBezTo>
                  <a:cubicBezTo>
                    <a:pt x="945" y="3012"/>
                    <a:pt x="1004" y="3048"/>
                    <a:pt x="887" y="3056"/>
                  </a:cubicBezTo>
                  <a:cubicBezTo>
                    <a:pt x="777" y="3070"/>
                    <a:pt x="667" y="3056"/>
                    <a:pt x="667" y="3173"/>
                  </a:cubicBezTo>
                  <a:cubicBezTo>
                    <a:pt x="667" y="3283"/>
                    <a:pt x="594" y="3268"/>
                    <a:pt x="528" y="3305"/>
                  </a:cubicBezTo>
                  <a:cubicBezTo>
                    <a:pt x="513" y="3312"/>
                    <a:pt x="498" y="3312"/>
                    <a:pt x="484" y="3312"/>
                  </a:cubicBezTo>
                  <a:cubicBezTo>
                    <a:pt x="440" y="3312"/>
                    <a:pt x="403" y="3305"/>
                    <a:pt x="367" y="3305"/>
                  </a:cubicBezTo>
                  <a:cubicBezTo>
                    <a:pt x="345" y="3305"/>
                    <a:pt x="330" y="3305"/>
                    <a:pt x="315" y="3312"/>
                  </a:cubicBezTo>
                  <a:cubicBezTo>
                    <a:pt x="315" y="3297"/>
                    <a:pt x="308" y="3275"/>
                    <a:pt x="301" y="3261"/>
                  </a:cubicBezTo>
                  <a:cubicBezTo>
                    <a:pt x="293" y="3253"/>
                    <a:pt x="286" y="3246"/>
                    <a:pt x="271" y="3246"/>
                  </a:cubicBezTo>
                  <a:cubicBezTo>
                    <a:pt x="264" y="3246"/>
                    <a:pt x="264" y="3246"/>
                    <a:pt x="257" y="3246"/>
                  </a:cubicBezTo>
                  <a:cubicBezTo>
                    <a:pt x="242" y="3246"/>
                    <a:pt x="227" y="3246"/>
                    <a:pt x="235" y="3202"/>
                  </a:cubicBezTo>
                  <a:cubicBezTo>
                    <a:pt x="242" y="3122"/>
                    <a:pt x="279" y="3180"/>
                    <a:pt x="301" y="3114"/>
                  </a:cubicBezTo>
                  <a:cubicBezTo>
                    <a:pt x="323" y="3048"/>
                    <a:pt x="301" y="3019"/>
                    <a:pt x="301" y="2953"/>
                  </a:cubicBezTo>
                  <a:cubicBezTo>
                    <a:pt x="301" y="2887"/>
                    <a:pt x="337" y="2924"/>
                    <a:pt x="359" y="2843"/>
                  </a:cubicBezTo>
                  <a:cubicBezTo>
                    <a:pt x="381" y="2763"/>
                    <a:pt x="359" y="2741"/>
                    <a:pt x="345" y="2660"/>
                  </a:cubicBezTo>
                  <a:cubicBezTo>
                    <a:pt x="337" y="2579"/>
                    <a:pt x="301" y="2535"/>
                    <a:pt x="264" y="2477"/>
                  </a:cubicBezTo>
                  <a:cubicBezTo>
                    <a:pt x="235" y="2418"/>
                    <a:pt x="162" y="2323"/>
                    <a:pt x="139" y="2220"/>
                  </a:cubicBezTo>
                  <a:cubicBezTo>
                    <a:pt x="117" y="2118"/>
                    <a:pt x="117" y="1993"/>
                    <a:pt x="139" y="1949"/>
                  </a:cubicBezTo>
                  <a:cubicBezTo>
                    <a:pt x="162" y="1898"/>
                    <a:pt x="198" y="1810"/>
                    <a:pt x="139" y="1773"/>
                  </a:cubicBezTo>
                  <a:cubicBezTo>
                    <a:pt x="88" y="1744"/>
                    <a:pt x="37" y="1707"/>
                    <a:pt x="74" y="1627"/>
                  </a:cubicBezTo>
                  <a:cubicBezTo>
                    <a:pt x="110" y="1546"/>
                    <a:pt x="117" y="1517"/>
                    <a:pt x="213" y="1480"/>
                  </a:cubicBezTo>
                  <a:cubicBezTo>
                    <a:pt x="235" y="1473"/>
                    <a:pt x="249" y="1473"/>
                    <a:pt x="264" y="1473"/>
                  </a:cubicBezTo>
                  <a:cubicBezTo>
                    <a:pt x="315" y="1473"/>
                    <a:pt x="345" y="1495"/>
                    <a:pt x="381" y="1495"/>
                  </a:cubicBezTo>
                  <a:lnTo>
                    <a:pt x="388" y="1495"/>
                  </a:lnTo>
                  <a:cubicBezTo>
                    <a:pt x="396" y="1495"/>
                    <a:pt x="396" y="1487"/>
                    <a:pt x="396" y="1487"/>
                  </a:cubicBezTo>
                  <a:cubicBezTo>
                    <a:pt x="433" y="1487"/>
                    <a:pt x="388" y="1561"/>
                    <a:pt x="388" y="1561"/>
                  </a:cubicBezTo>
                  <a:cubicBezTo>
                    <a:pt x="388" y="1561"/>
                    <a:pt x="484" y="1422"/>
                    <a:pt x="542" y="1414"/>
                  </a:cubicBezTo>
                  <a:cubicBezTo>
                    <a:pt x="572" y="1407"/>
                    <a:pt x="630" y="1400"/>
                    <a:pt x="674" y="1400"/>
                  </a:cubicBezTo>
                  <a:cubicBezTo>
                    <a:pt x="711" y="1400"/>
                    <a:pt x="748" y="1400"/>
                    <a:pt x="762" y="1414"/>
                  </a:cubicBezTo>
                  <a:cubicBezTo>
                    <a:pt x="814" y="1436"/>
                    <a:pt x="857" y="1473"/>
                    <a:pt x="887" y="1517"/>
                  </a:cubicBezTo>
                  <a:cubicBezTo>
                    <a:pt x="916" y="1553"/>
                    <a:pt x="975" y="1590"/>
                    <a:pt x="1033" y="1590"/>
                  </a:cubicBezTo>
                  <a:cubicBezTo>
                    <a:pt x="1048" y="1590"/>
                    <a:pt x="1063" y="1590"/>
                    <a:pt x="1070" y="1583"/>
                  </a:cubicBezTo>
                  <a:cubicBezTo>
                    <a:pt x="1143" y="1561"/>
                    <a:pt x="1173" y="1524"/>
                    <a:pt x="1173" y="1473"/>
                  </a:cubicBezTo>
                  <a:cubicBezTo>
                    <a:pt x="1173" y="1414"/>
                    <a:pt x="1231" y="1392"/>
                    <a:pt x="1231" y="1348"/>
                  </a:cubicBezTo>
                  <a:cubicBezTo>
                    <a:pt x="1231" y="1297"/>
                    <a:pt x="1165" y="1312"/>
                    <a:pt x="1165" y="1253"/>
                  </a:cubicBezTo>
                  <a:cubicBezTo>
                    <a:pt x="1165" y="1194"/>
                    <a:pt x="1151" y="1084"/>
                    <a:pt x="1151" y="1084"/>
                  </a:cubicBezTo>
                  <a:cubicBezTo>
                    <a:pt x="1151" y="1084"/>
                    <a:pt x="1268" y="1084"/>
                    <a:pt x="1297" y="1121"/>
                  </a:cubicBezTo>
                  <a:cubicBezTo>
                    <a:pt x="1305" y="1128"/>
                    <a:pt x="1319" y="1128"/>
                    <a:pt x="1341" y="1128"/>
                  </a:cubicBezTo>
                  <a:cubicBezTo>
                    <a:pt x="1400" y="1128"/>
                    <a:pt x="1502" y="1092"/>
                    <a:pt x="1502" y="1092"/>
                  </a:cubicBezTo>
                  <a:cubicBezTo>
                    <a:pt x="1502" y="1092"/>
                    <a:pt x="1393" y="1070"/>
                    <a:pt x="1444" y="1019"/>
                  </a:cubicBezTo>
                  <a:cubicBezTo>
                    <a:pt x="1502" y="960"/>
                    <a:pt x="1546" y="996"/>
                    <a:pt x="1590" y="938"/>
                  </a:cubicBezTo>
                  <a:cubicBezTo>
                    <a:pt x="1642" y="879"/>
                    <a:pt x="1671" y="857"/>
                    <a:pt x="1671" y="777"/>
                  </a:cubicBezTo>
                  <a:cubicBezTo>
                    <a:pt x="1671" y="696"/>
                    <a:pt x="1590" y="645"/>
                    <a:pt x="1664" y="550"/>
                  </a:cubicBezTo>
                  <a:cubicBezTo>
                    <a:pt x="1700" y="506"/>
                    <a:pt x="1715" y="484"/>
                    <a:pt x="1737" y="484"/>
                  </a:cubicBezTo>
                  <a:cubicBezTo>
                    <a:pt x="1752" y="484"/>
                    <a:pt x="1774" y="498"/>
                    <a:pt x="1795" y="520"/>
                  </a:cubicBezTo>
                  <a:cubicBezTo>
                    <a:pt x="1817" y="528"/>
                    <a:pt x="1847" y="535"/>
                    <a:pt x="1883" y="535"/>
                  </a:cubicBezTo>
                  <a:cubicBezTo>
                    <a:pt x="1949" y="535"/>
                    <a:pt x="2023" y="513"/>
                    <a:pt x="2067" y="469"/>
                  </a:cubicBezTo>
                  <a:cubicBezTo>
                    <a:pt x="2140" y="403"/>
                    <a:pt x="2213" y="366"/>
                    <a:pt x="2250" y="315"/>
                  </a:cubicBezTo>
                  <a:cubicBezTo>
                    <a:pt x="2286" y="256"/>
                    <a:pt x="2250" y="213"/>
                    <a:pt x="2294" y="154"/>
                  </a:cubicBezTo>
                  <a:cubicBezTo>
                    <a:pt x="2316" y="132"/>
                    <a:pt x="2338" y="110"/>
                    <a:pt x="2360" y="95"/>
                  </a:cubicBezTo>
                  <a:cubicBezTo>
                    <a:pt x="2374" y="117"/>
                    <a:pt x="2374" y="117"/>
                    <a:pt x="2374" y="117"/>
                  </a:cubicBezTo>
                  <a:cubicBezTo>
                    <a:pt x="2360" y="95"/>
                    <a:pt x="2360" y="95"/>
                    <a:pt x="2360" y="95"/>
                  </a:cubicBezTo>
                  <a:cubicBezTo>
                    <a:pt x="2389" y="66"/>
                    <a:pt x="2426" y="51"/>
                    <a:pt x="2440" y="44"/>
                  </a:cubicBezTo>
                  <a:cubicBezTo>
                    <a:pt x="2448" y="37"/>
                    <a:pt x="2455" y="37"/>
                    <a:pt x="2455" y="37"/>
                  </a:cubicBezTo>
                  <a:cubicBezTo>
                    <a:pt x="2469" y="37"/>
                    <a:pt x="2462" y="66"/>
                    <a:pt x="2521" y="66"/>
                  </a:cubicBezTo>
                  <a:cubicBezTo>
                    <a:pt x="2565" y="66"/>
                    <a:pt x="2587" y="37"/>
                    <a:pt x="2616" y="37"/>
                  </a:cubicBezTo>
                  <a:lnTo>
                    <a:pt x="2616" y="0"/>
                  </a:lnTo>
                  <a:lnTo>
                    <a:pt x="2616" y="0"/>
                  </a:lnTo>
                  <a:lnTo>
                    <a:pt x="2616" y="0"/>
                  </a:lnTo>
                  <a:cubicBezTo>
                    <a:pt x="2594" y="0"/>
                    <a:pt x="2579" y="15"/>
                    <a:pt x="2565" y="22"/>
                  </a:cubicBezTo>
                  <a:cubicBezTo>
                    <a:pt x="2550" y="29"/>
                    <a:pt x="2543" y="37"/>
                    <a:pt x="2521" y="37"/>
                  </a:cubicBezTo>
                  <a:cubicBezTo>
                    <a:pt x="2499" y="37"/>
                    <a:pt x="2492" y="29"/>
                    <a:pt x="2492" y="22"/>
                  </a:cubicBezTo>
                  <a:cubicBezTo>
                    <a:pt x="2484" y="22"/>
                    <a:pt x="2477" y="7"/>
                    <a:pt x="2455" y="7"/>
                  </a:cubicBezTo>
                  <a:cubicBezTo>
                    <a:pt x="2448" y="7"/>
                    <a:pt x="2440" y="7"/>
                    <a:pt x="2433" y="15"/>
                  </a:cubicBezTo>
                  <a:cubicBezTo>
                    <a:pt x="2411" y="22"/>
                    <a:pt x="2389" y="29"/>
                    <a:pt x="2360" y="51"/>
                  </a:cubicBezTo>
                  <a:lnTo>
                    <a:pt x="2360" y="51"/>
                  </a:lnTo>
                  <a:cubicBezTo>
                    <a:pt x="2338" y="73"/>
                    <a:pt x="2338" y="73"/>
                    <a:pt x="2338" y="73"/>
                  </a:cubicBezTo>
                  <a:lnTo>
                    <a:pt x="2338" y="73"/>
                  </a:lnTo>
                  <a:cubicBezTo>
                    <a:pt x="2316" y="88"/>
                    <a:pt x="2316" y="88"/>
                    <a:pt x="2316" y="88"/>
                  </a:cubicBezTo>
                  <a:lnTo>
                    <a:pt x="2316" y="88"/>
                  </a:lnTo>
                  <a:cubicBezTo>
                    <a:pt x="2301" y="103"/>
                    <a:pt x="2286" y="117"/>
                    <a:pt x="2272" y="139"/>
                  </a:cubicBezTo>
                  <a:cubicBezTo>
                    <a:pt x="2243" y="176"/>
                    <a:pt x="2243" y="213"/>
                    <a:pt x="2235" y="234"/>
                  </a:cubicBezTo>
                  <a:cubicBezTo>
                    <a:pt x="2235" y="264"/>
                    <a:pt x="2235" y="278"/>
                    <a:pt x="2228" y="301"/>
                  </a:cubicBezTo>
                  <a:cubicBezTo>
                    <a:pt x="2206" y="322"/>
                    <a:pt x="2176" y="344"/>
                    <a:pt x="2140" y="374"/>
                  </a:cubicBezTo>
                  <a:cubicBezTo>
                    <a:pt x="2111" y="396"/>
                    <a:pt x="2081" y="418"/>
                    <a:pt x="2045" y="447"/>
                  </a:cubicBezTo>
                  <a:cubicBezTo>
                    <a:pt x="2015" y="484"/>
                    <a:pt x="1949" y="506"/>
                    <a:pt x="1883" y="506"/>
                  </a:cubicBezTo>
                  <a:cubicBezTo>
                    <a:pt x="1854" y="506"/>
                    <a:pt x="1825" y="498"/>
                    <a:pt x="1810" y="491"/>
                  </a:cubicBezTo>
                  <a:cubicBezTo>
                    <a:pt x="1810" y="491"/>
                    <a:pt x="1803" y="484"/>
                    <a:pt x="1795" y="484"/>
                  </a:cubicBezTo>
                  <a:cubicBezTo>
                    <a:pt x="1774" y="469"/>
                    <a:pt x="1759" y="454"/>
                    <a:pt x="1737" y="454"/>
                  </a:cubicBezTo>
                  <a:cubicBezTo>
                    <a:pt x="1700" y="454"/>
                    <a:pt x="1671" y="484"/>
                    <a:pt x="1634" y="535"/>
                  </a:cubicBezTo>
                  <a:cubicBezTo>
                    <a:pt x="1583" y="608"/>
                    <a:pt x="1605" y="667"/>
                    <a:pt x="1627" y="711"/>
                  </a:cubicBezTo>
                  <a:cubicBezTo>
                    <a:pt x="1634" y="733"/>
                    <a:pt x="1642" y="755"/>
                    <a:pt x="1642" y="777"/>
                  </a:cubicBezTo>
                  <a:cubicBezTo>
                    <a:pt x="1642" y="835"/>
                    <a:pt x="1627" y="850"/>
                    <a:pt x="1590" y="887"/>
                  </a:cubicBezTo>
                  <a:cubicBezTo>
                    <a:pt x="1583" y="901"/>
                    <a:pt x="1576" y="909"/>
                    <a:pt x="1568" y="916"/>
                  </a:cubicBezTo>
                  <a:cubicBezTo>
                    <a:pt x="1554" y="938"/>
                    <a:pt x="1539" y="945"/>
                    <a:pt x="1517" y="945"/>
                  </a:cubicBezTo>
                  <a:cubicBezTo>
                    <a:pt x="1488" y="953"/>
                    <a:pt x="1458" y="960"/>
                    <a:pt x="1422" y="996"/>
                  </a:cubicBezTo>
                  <a:cubicBezTo>
                    <a:pt x="1400" y="1019"/>
                    <a:pt x="1400" y="1048"/>
                    <a:pt x="1400" y="1063"/>
                  </a:cubicBezTo>
                  <a:cubicBezTo>
                    <a:pt x="1407" y="1070"/>
                    <a:pt x="1407" y="1077"/>
                    <a:pt x="1414" y="1084"/>
                  </a:cubicBezTo>
                  <a:cubicBezTo>
                    <a:pt x="1393" y="1092"/>
                    <a:pt x="1363" y="1099"/>
                    <a:pt x="1341" y="1099"/>
                  </a:cubicBezTo>
                  <a:cubicBezTo>
                    <a:pt x="1326" y="1099"/>
                    <a:pt x="1319" y="1099"/>
                    <a:pt x="1319" y="1099"/>
                  </a:cubicBezTo>
                  <a:cubicBezTo>
                    <a:pt x="1283" y="1055"/>
                    <a:pt x="1173" y="1055"/>
                    <a:pt x="1151" y="1055"/>
                  </a:cubicBezTo>
                  <a:cubicBezTo>
                    <a:pt x="1114" y="1055"/>
                    <a:pt x="1114" y="1055"/>
                    <a:pt x="1114" y="1055"/>
                  </a:cubicBezTo>
                  <a:cubicBezTo>
                    <a:pt x="1121" y="1084"/>
                    <a:pt x="1121" y="1084"/>
                    <a:pt x="1121" y="1084"/>
                  </a:cubicBezTo>
                  <a:cubicBezTo>
                    <a:pt x="1121" y="1092"/>
                    <a:pt x="1129" y="1202"/>
                    <a:pt x="1129" y="1253"/>
                  </a:cubicBezTo>
                  <a:cubicBezTo>
                    <a:pt x="1129" y="1304"/>
                    <a:pt x="1165" y="1319"/>
                    <a:pt x="1187" y="1334"/>
                  </a:cubicBezTo>
                  <a:cubicBezTo>
                    <a:pt x="1202" y="1341"/>
                    <a:pt x="1202" y="1341"/>
                    <a:pt x="1202" y="1348"/>
                  </a:cubicBezTo>
                  <a:cubicBezTo>
                    <a:pt x="1202" y="1356"/>
                    <a:pt x="1195" y="1363"/>
                    <a:pt x="1180" y="1378"/>
                  </a:cubicBezTo>
                  <a:cubicBezTo>
                    <a:pt x="1165" y="1400"/>
                    <a:pt x="1143" y="1429"/>
                    <a:pt x="1143" y="1473"/>
                  </a:cubicBezTo>
                  <a:cubicBezTo>
                    <a:pt x="1143" y="1502"/>
                    <a:pt x="1136" y="1532"/>
                    <a:pt x="1063" y="1553"/>
                  </a:cubicBezTo>
                  <a:cubicBezTo>
                    <a:pt x="1055" y="1553"/>
                    <a:pt x="1041" y="1561"/>
                    <a:pt x="1033" y="1561"/>
                  </a:cubicBezTo>
                  <a:cubicBezTo>
                    <a:pt x="989" y="1561"/>
                    <a:pt x="938" y="1524"/>
                    <a:pt x="916" y="1495"/>
                  </a:cubicBezTo>
                  <a:cubicBezTo>
                    <a:pt x="872" y="1436"/>
                    <a:pt x="821" y="1407"/>
                    <a:pt x="777" y="1385"/>
                  </a:cubicBezTo>
                  <a:cubicBezTo>
                    <a:pt x="755" y="1378"/>
                    <a:pt x="726" y="1370"/>
                    <a:pt x="674" y="1370"/>
                  </a:cubicBezTo>
                  <a:cubicBezTo>
                    <a:pt x="623" y="1370"/>
                    <a:pt x="564" y="1378"/>
                    <a:pt x="535" y="1385"/>
                  </a:cubicBezTo>
                  <a:cubicBezTo>
                    <a:pt x="498" y="1392"/>
                    <a:pt x="455" y="1429"/>
                    <a:pt x="425" y="1465"/>
                  </a:cubicBezTo>
                  <a:cubicBezTo>
                    <a:pt x="418" y="1465"/>
                    <a:pt x="411" y="1458"/>
                    <a:pt x="396" y="1458"/>
                  </a:cubicBezTo>
                  <a:lnTo>
                    <a:pt x="396" y="1458"/>
                  </a:lnTo>
                  <a:cubicBezTo>
                    <a:pt x="396" y="1458"/>
                    <a:pt x="388" y="1458"/>
                    <a:pt x="381" y="1465"/>
                  </a:cubicBezTo>
                  <a:lnTo>
                    <a:pt x="381" y="1465"/>
                  </a:lnTo>
                  <a:cubicBezTo>
                    <a:pt x="367" y="1465"/>
                    <a:pt x="359" y="1458"/>
                    <a:pt x="345" y="1458"/>
                  </a:cubicBezTo>
                  <a:cubicBezTo>
                    <a:pt x="323" y="1451"/>
                    <a:pt x="301" y="1436"/>
                    <a:pt x="264" y="1436"/>
                  </a:cubicBezTo>
                  <a:cubicBezTo>
                    <a:pt x="242" y="1436"/>
                    <a:pt x="220" y="1444"/>
                    <a:pt x="198" y="1451"/>
                  </a:cubicBezTo>
                  <a:cubicBezTo>
                    <a:pt x="103" y="1487"/>
                    <a:pt x="81" y="1532"/>
                    <a:pt x="52" y="1605"/>
                  </a:cubicBezTo>
                  <a:cubicBezTo>
                    <a:pt x="44" y="1619"/>
                    <a:pt x="44" y="1619"/>
                    <a:pt x="44" y="1619"/>
                  </a:cubicBezTo>
                  <a:cubicBezTo>
                    <a:pt x="0" y="1722"/>
                    <a:pt x="81" y="1773"/>
                    <a:pt x="125" y="1803"/>
                  </a:cubicBezTo>
                  <a:cubicBezTo>
                    <a:pt x="169" y="1825"/>
                    <a:pt x="117" y="1920"/>
                    <a:pt x="117" y="1934"/>
                  </a:cubicBezTo>
                  <a:cubicBezTo>
                    <a:pt x="88" y="1993"/>
                    <a:pt x="88" y="2125"/>
                    <a:pt x="110" y="2228"/>
                  </a:cubicBezTo>
                  <a:cubicBezTo>
                    <a:pt x="132" y="2315"/>
                    <a:pt x="191" y="2411"/>
                    <a:pt x="227" y="2470"/>
                  </a:cubicBezTo>
                  <a:cubicBezTo>
                    <a:pt x="242" y="2491"/>
                    <a:pt x="242" y="2491"/>
                    <a:pt x="242" y="2491"/>
                  </a:cubicBezTo>
                  <a:cubicBezTo>
                    <a:pt x="257" y="2513"/>
                    <a:pt x="257" y="2513"/>
                    <a:pt x="257" y="2513"/>
                  </a:cubicBezTo>
                  <a:cubicBezTo>
                    <a:pt x="286" y="2565"/>
                    <a:pt x="308" y="2601"/>
                    <a:pt x="315" y="2667"/>
                  </a:cubicBezTo>
                  <a:cubicBezTo>
                    <a:pt x="323" y="2689"/>
                    <a:pt x="323" y="2711"/>
                    <a:pt x="330" y="2726"/>
                  </a:cubicBezTo>
                  <a:cubicBezTo>
                    <a:pt x="337" y="2763"/>
                    <a:pt x="345" y="2784"/>
                    <a:pt x="330" y="2836"/>
                  </a:cubicBezTo>
                  <a:cubicBezTo>
                    <a:pt x="323" y="2865"/>
                    <a:pt x="308" y="2872"/>
                    <a:pt x="301" y="2880"/>
                  </a:cubicBezTo>
                  <a:cubicBezTo>
                    <a:pt x="286" y="2894"/>
                    <a:pt x="271" y="2909"/>
                    <a:pt x="271" y="2953"/>
                  </a:cubicBezTo>
                  <a:cubicBezTo>
                    <a:pt x="271" y="2982"/>
                    <a:pt x="271" y="3004"/>
                    <a:pt x="279" y="3019"/>
                  </a:cubicBezTo>
                  <a:cubicBezTo>
                    <a:pt x="279" y="3048"/>
                    <a:pt x="286" y="3070"/>
                    <a:pt x="271" y="3107"/>
                  </a:cubicBezTo>
                  <a:cubicBezTo>
                    <a:pt x="264" y="3122"/>
                    <a:pt x="264" y="3122"/>
                    <a:pt x="257" y="3122"/>
                  </a:cubicBezTo>
                  <a:cubicBezTo>
                    <a:pt x="227" y="3136"/>
                    <a:pt x="213" y="3151"/>
                    <a:pt x="205" y="3202"/>
                  </a:cubicBezTo>
                  <a:cubicBezTo>
                    <a:pt x="198" y="3217"/>
                    <a:pt x="198" y="3246"/>
                    <a:pt x="213" y="3261"/>
                  </a:cubicBezTo>
                  <a:cubicBezTo>
                    <a:pt x="227" y="3283"/>
                    <a:pt x="249" y="3283"/>
                    <a:pt x="257" y="3283"/>
                  </a:cubicBezTo>
                  <a:lnTo>
                    <a:pt x="264" y="3283"/>
                  </a:lnTo>
                  <a:cubicBezTo>
                    <a:pt x="271" y="3275"/>
                    <a:pt x="271" y="3275"/>
                    <a:pt x="271" y="3275"/>
                  </a:cubicBezTo>
                  <a:cubicBezTo>
                    <a:pt x="279" y="3275"/>
                    <a:pt x="279" y="3283"/>
                    <a:pt x="279" y="3283"/>
                  </a:cubicBezTo>
                  <a:cubicBezTo>
                    <a:pt x="279" y="3283"/>
                    <a:pt x="286" y="3290"/>
                    <a:pt x="286" y="3320"/>
                  </a:cubicBezTo>
                  <a:cubicBezTo>
                    <a:pt x="286" y="3371"/>
                    <a:pt x="286" y="3371"/>
                    <a:pt x="286" y="3371"/>
                  </a:cubicBezTo>
                  <a:cubicBezTo>
                    <a:pt x="330" y="3341"/>
                    <a:pt x="330" y="3341"/>
                    <a:pt x="330" y="3341"/>
                  </a:cubicBezTo>
                  <a:cubicBezTo>
                    <a:pt x="337" y="3334"/>
                    <a:pt x="352" y="3334"/>
                    <a:pt x="367" y="3334"/>
                  </a:cubicBezTo>
                  <a:cubicBezTo>
                    <a:pt x="381" y="3334"/>
                    <a:pt x="396" y="3334"/>
                    <a:pt x="418" y="3341"/>
                  </a:cubicBezTo>
                  <a:cubicBezTo>
                    <a:pt x="440" y="3341"/>
                    <a:pt x="462" y="3349"/>
                    <a:pt x="484" y="3349"/>
                  </a:cubicBezTo>
                  <a:cubicBezTo>
                    <a:pt x="506" y="3349"/>
                    <a:pt x="521" y="3341"/>
                    <a:pt x="542" y="3334"/>
                  </a:cubicBezTo>
                  <a:cubicBezTo>
                    <a:pt x="557" y="3327"/>
                    <a:pt x="572" y="3320"/>
                    <a:pt x="586" y="3320"/>
                  </a:cubicBezTo>
                  <a:cubicBezTo>
                    <a:pt x="638" y="3297"/>
                    <a:pt x="696" y="3275"/>
                    <a:pt x="696" y="3173"/>
                  </a:cubicBezTo>
                  <a:cubicBezTo>
                    <a:pt x="696" y="3107"/>
                    <a:pt x="733" y="3100"/>
                    <a:pt x="843" y="3092"/>
                  </a:cubicBezTo>
                  <a:cubicBezTo>
                    <a:pt x="857" y="3092"/>
                    <a:pt x="879" y="3085"/>
                    <a:pt x="894" y="3085"/>
                  </a:cubicBezTo>
                  <a:cubicBezTo>
                    <a:pt x="975" y="3078"/>
                    <a:pt x="997" y="3056"/>
                    <a:pt x="997" y="3004"/>
                  </a:cubicBezTo>
                  <a:cubicBezTo>
                    <a:pt x="997" y="2990"/>
                    <a:pt x="997" y="2990"/>
                    <a:pt x="997" y="2982"/>
                  </a:cubicBezTo>
                  <a:cubicBezTo>
                    <a:pt x="1026" y="2916"/>
                    <a:pt x="1019" y="2843"/>
                    <a:pt x="967" y="2799"/>
                  </a:cubicBezTo>
                  <a:cubicBezTo>
                    <a:pt x="938" y="2770"/>
                    <a:pt x="909" y="2763"/>
                    <a:pt x="887" y="2763"/>
                  </a:cubicBezTo>
                  <a:cubicBezTo>
                    <a:pt x="879" y="2763"/>
                    <a:pt x="865" y="2763"/>
                    <a:pt x="857" y="2763"/>
                  </a:cubicBezTo>
                  <a:cubicBezTo>
                    <a:pt x="843" y="2770"/>
                    <a:pt x="836" y="2770"/>
                    <a:pt x="828" y="2770"/>
                  </a:cubicBezTo>
                  <a:cubicBezTo>
                    <a:pt x="821" y="2770"/>
                    <a:pt x="814" y="2770"/>
                    <a:pt x="806" y="2763"/>
                  </a:cubicBezTo>
                  <a:cubicBezTo>
                    <a:pt x="792" y="2763"/>
                    <a:pt x="784" y="2763"/>
                    <a:pt x="777" y="2755"/>
                  </a:cubicBezTo>
                  <a:cubicBezTo>
                    <a:pt x="784" y="2741"/>
                    <a:pt x="806" y="2704"/>
                    <a:pt x="828" y="2682"/>
                  </a:cubicBezTo>
                  <a:cubicBezTo>
                    <a:pt x="872" y="2653"/>
                    <a:pt x="924" y="2645"/>
                    <a:pt x="975" y="2631"/>
                  </a:cubicBezTo>
                  <a:lnTo>
                    <a:pt x="982" y="2631"/>
                  </a:lnTo>
                  <a:cubicBezTo>
                    <a:pt x="989" y="2631"/>
                    <a:pt x="997" y="2638"/>
                    <a:pt x="1004" y="2645"/>
                  </a:cubicBezTo>
                  <a:cubicBezTo>
                    <a:pt x="1012" y="2660"/>
                    <a:pt x="1033" y="2675"/>
                    <a:pt x="1055" y="2675"/>
                  </a:cubicBezTo>
                  <a:cubicBezTo>
                    <a:pt x="1063" y="2675"/>
                    <a:pt x="1077" y="2667"/>
                    <a:pt x="1085" y="2667"/>
                  </a:cubicBezTo>
                  <a:cubicBezTo>
                    <a:pt x="1107" y="2653"/>
                    <a:pt x="1121" y="2638"/>
                    <a:pt x="1136" y="2631"/>
                  </a:cubicBezTo>
                  <a:cubicBezTo>
                    <a:pt x="1136" y="2623"/>
                    <a:pt x="1143" y="2623"/>
                    <a:pt x="1143" y="2616"/>
                  </a:cubicBezTo>
                  <a:cubicBezTo>
                    <a:pt x="1151" y="2623"/>
                    <a:pt x="1151" y="2631"/>
                    <a:pt x="1158" y="2645"/>
                  </a:cubicBezTo>
                  <a:cubicBezTo>
                    <a:pt x="1165" y="2660"/>
                    <a:pt x="1180" y="2682"/>
                    <a:pt x="1202" y="2696"/>
                  </a:cubicBezTo>
                  <a:cubicBezTo>
                    <a:pt x="1217" y="2704"/>
                    <a:pt x="1224" y="2704"/>
                    <a:pt x="1238" y="2704"/>
                  </a:cubicBezTo>
                  <a:cubicBezTo>
                    <a:pt x="1268" y="2704"/>
                    <a:pt x="1290" y="2689"/>
                    <a:pt x="1319" y="2667"/>
                  </a:cubicBezTo>
                  <a:cubicBezTo>
                    <a:pt x="1334" y="2660"/>
                    <a:pt x="1341" y="2653"/>
                    <a:pt x="1356" y="2638"/>
                  </a:cubicBezTo>
                  <a:cubicBezTo>
                    <a:pt x="1378" y="2631"/>
                    <a:pt x="1378" y="2631"/>
                    <a:pt x="1378" y="2631"/>
                  </a:cubicBezTo>
                  <a:cubicBezTo>
                    <a:pt x="1407" y="2616"/>
                    <a:pt x="1414" y="2609"/>
                    <a:pt x="1422" y="2609"/>
                  </a:cubicBezTo>
                  <a:cubicBezTo>
                    <a:pt x="1429" y="2609"/>
                    <a:pt x="1429" y="2609"/>
                    <a:pt x="1429" y="2609"/>
                  </a:cubicBezTo>
                  <a:cubicBezTo>
                    <a:pt x="1436" y="2623"/>
                    <a:pt x="1444" y="2660"/>
                    <a:pt x="1429" y="2792"/>
                  </a:cubicBezTo>
                  <a:cubicBezTo>
                    <a:pt x="1414" y="2902"/>
                    <a:pt x="1422" y="2931"/>
                    <a:pt x="1436" y="2946"/>
                  </a:cubicBezTo>
                  <a:cubicBezTo>
                    <a:pt x="1444" y="2953"/>
                    <a:pt x="1458" y="2960"/>
                    <a:pt x="1466" y="2960"/>
                  </a:cubicBezTo>
                  <a:cubicBezTo>
                    <a:pt x="1495" y="2960"/>
                    <a:pt x="1510" y="2938"/>
                    <a:pt x="1524" y="2916"/>
                  </a:cubicBezTo>
                  <a:cubicBezTo>
                    <a:pt x="1539" y="2894"/>
                    <a:pt x="1546" y="2880"/>
                    <a:pt x="1554" y="2872"/>
                  </a:cubicBezTo>
                  <a:cubicBezTo>
                    <a:pt x="1561" y="2865"/>
                    <a:pt x="1561" y="2865"/>
                    <a:pt x="1561" y="2865"/>
                  </a:cubicBezTo>
                  <a:cubicBezTo>
                    <a:pt x="1568" y="2872"/>
                    <a:pt x="1583" y="2887"/>
                    <a:pt x="1597" y="2894"/>
                  </a:cubicBezTo>
                  <a:cubicBezTo>
                    <a:pt x="1620" y="2916"/>
                    <a:pt x="1642" y="2931"/>
                    <a:pt x="1664" y="2931"/>
                  </a:cubicBezTo>
                  <a:cubicBezTo>
                    <a:pt x="1700" y="2931"/>
                    <a:pt x="1722" y="2902"/>
                    <a:pt x="1744" y="2872"/>
                  </a:cubicBezTo>
                  <a:cubicBezTo>
                    <a:pt x="1766" y="2851"/>
                    <a:pt x="1781" y="2828"/>
                    <a:pt x="1795" y="2821"/>
                  </a:cubicBezTo>
                  <a:cubicBezTo>
                    <a:pt x="1795" y="2821"/>
                    <a:pt x="1795" y="2821"/>
                    <a:pt x="1803" y="2821"/>
                  </a:cubicBezTo>
                  <a:cubicBezTo>
                    <a:pt x="1810" y="2821"/>
                    <a:pt x="1817" y="2828"/>
                    <a:pt x="1817" y="2836"/>
                  </a:cubicBezTo>
                  <a:cubicBezTo>
                    <a:pt x="1839" y="2865"/>
                    <a:pt x="1854" y="2924"/>
                    <a:pt x="1847" y="2946"/>
                  </a:cubicBezTo>
                  <a:cubicBezTo>
                    <a:pt x="1832" y="3012"/>
                    <a:pt x="1854" y="3056"/>
                    <a:pt x="1920" y="3085"/>
                  </a:cubicBezTo>
                  <a:cubicBezTo>
                    <a:pt x="1927" y="3085"/>
                    <a:pt x="1935" y="3085"/>
                    <a:pt x="1935" y="3092"/>
                  </a:cubicBezTo>
                  <a:cubicBezTo>
                    <a:pt x="1935" y="3100"/>
                    <a:pt x="1927" y="3107"/>
                    <a:pt x="1927" y="3122"/>
                  </a:cubicBezTo>
                  <a:cubicBezTo>
                    <a:pt x="1913" y="3144"/>
                    <a:pt x="1898" y="3180"/>
                    <a:pt x="1883" y="3239"/>
                  </a:cubicBezTo>
                  <a:cubicBezTo>
                    <a:pt x="1854" y="3320"/>
                    <a:pt x="1854" y="3349"/>
                    <a:pt x="1869" y="3371"/>
                  </a:cubicBezTo>
                  <a:cubicBezTo>
                    <a:pt x="1876" y="3378"/>
                    <a:pt x="1891" y="3385"/>
                    <a:pt x="1898" y="3385"/>
                  </a:cubicBezTo>
                  <a:cubicBezTo>
                    <a:pt x="1942" y="3385"/>
                    <a:pt x="1993" y="3312"/>
                    <a:pt x="2015" y="3283"/>
                  </a:cubicBezTo>
                  <a:cubicBezTo>
                    <a:pt x="2030" y="3312"/>
                    <a:pt x="2052" y="3378"/>
                    <a:pt x="2052" y="3429"/>
                  </a:cubicBezTo>
                  <a:cubicBezTo>
                    <a:pt x="2052" y="3569"/>
                    <a:pt x="2118" y="3598"/>
                    <a:pt x="2176" y="3598"/>
                  </a:cubicBezTo>
                  <a:cubicBezTo>
                    <a:pt x="2191" y="3598"/>
                    <a:pt x="2206" y="3598"/>
                    <a:pt x="2220" y="3598"/>
                  </a:cubicBezTo>
                  <a:cubicBezTo>
                    <a:pt x="2316" y="3576"/>
                    <a:pt x="2330" y="3554"/>
                    <a:pt x="2345" y="3510"/>
                  </a:cubicBezTo>
                  <a:cubicBezTo>
                    <a:pt x="2345" y="3495"/>
                    <a:pt x="2352" y="3481"/>
                    <a:pt x="2360" y="3466"/>
                  </a:cubicBezTo>
                  <a:cubicBezTo>
                    <a:pt x="2374" y="3429"/>
                    <a:pt x="2396" y="3415"/>
                    <a:pt x="2404" y="3415"/>
                  </a:cubicBezTo>
                  <a:cubicBezTo>
                    <a:pt x="2404" y="3415"/>
                    <a:pt x="2411" y="3429"/>
                    <a:pt x="2411" y="3444"/>
                  </a:cubicBezTo>
                  <a:cubicBezTo>
                    <a:pt x="2418" y="3488"/>
                    <a:pt x="2426" y="3517"/>
                    <a:pt x="2433" y="3539"/>
                  </a:cubicBezTo>
                  <a:cubicBezTo>
                    <a:pt x="2448" y="3561"/>
                    <a:pt x="2455" y="3583"/>
                    <a:pt x="2448" y="3620"/>
                  </a:cubicBezTo>
                  <a:cubicBezTo>
                    <a:pt x="2433" y="3715"/>
                    <a:pt x="2484" y="3737"/>
                    <a:pt x="2521" y="3759"/>
                  </a:cubicBezTo>
                  <a:cubicBezTo>
                    <a:pt x="2528" y="3766"/>
                    <a:pt x="2528" y="3766"/>
                    <a:pt x="2528" y="3766"/>
                  </a:cubicBezTo>
                  <a:cubicBezTo>
                    <a:pt x="2543" y="3774"/>
                    <a:pt x="2557" y="3810"/>
                    <a:pt x="2565" y="3854"/>
                  </a:cubicBezTo>
                  <a:cubicBezTo>
                    <a:pt x="2536" y="3862"/>
                    <a:pt x="2499" y="3876"/>
                    <a:pt x="2469" y="3928"/>
                  </a:cubicBezTo>
                  <a:cubicBezTo>
                    <a:pt x="2433" y="4008"/>
                    <a:pt x="2484" y="4147"/>
                    <a:pt x="2536" y="4199"/>
                  </a:cubicBezTo>
                  <a:cubicBezTo>
                    <a:pt x="2550" y="4213"/>
                    <a:pt x="2543" y="4235"/>
                    <a:pt x="2528" y="4279"/>
                  </a:cubicBezTo>
                  <a:cubicBezTo>
                    <a:pt x="2514" y="4316"/>
                    <a:pt x="2506" y="4360"/>
                    <a:pt x="2506" y="4404"/>
                  </a:cubicBezTo>
                  <a:cubicBezTo>
                    <a:pt x="2506" y="4529"/>
                    <a:pt x="2660" y="4646"/>
                    <a:pt x="2741" y="4682"/>
                  </a:cubicBezTo>
                  <a:cubicBezTo>
                    <a:pt x="2770" y="4697"/>
                    <a:pt x="2785" y="4712"/>
                    <a:pt x="2785" y="4719"/>
                  </a:cubicBezTo>
                  <a:cubicBezTo>
                    <a:pt x="2785" y="4726"/>
                    <a:pt x="2777" y="4734"/>
                    <a:pt x="2763" y="4741"/>
                  </a:cubicBezTo>
                  <a:cubicBezTo>
                    <a:pt x="2733" y="4770"/>
                    <a:pt x="2660" y="4822"/>
                    <a:pt x="2704" y="4887"/>
                  </a:cubicBezTo>
                  <a:cubicBezTo>
                    <a:pt x="2719" y="4910"/>
                    <a:pt x="2741" y="4917"/>
                    <a:pt x="2763" y="4924"/>
                  </a:cubicBezTo>
                  <a:cubicBezTo>
                    <a:pt x="2777" y="4932"/>
                    <a:pt x="2785" y="4939"/>
                    <a:pt x="2785" y="4946"/>
                  </a:cubicBezTo>
                  <a:cubicBezTo>
                    <a:pt x="2792" y="4953"/>
                    <a:pt x="2792" y="4968"/>
                    <a:pt x="2792" y="4975"/>
                  </a:cubicBezTo>
                  <a:cubicBezTo>
                    <a:pt x="2785" y="5005"/>
                    <a:pt x="2785" y="5056"/>
                    <a:pt x="2865" y="5078"/>
                  </a:cubicBezTo>
                  <a:cubicBezTo>
                    <a:pt x="2946" y="5100"/>
                    <a:pt x="3004" y="5137"/>
                    <a:pt x="3121" y="5254"/>
                  </a:cubicBezTo>
                  <a:cubicBezTo>
                    <a:pt x="3238" y="5371"/>
                    <a:pt x="3253" y="5569"/>
                    <a:pt x="3238" y="5613"/>
                  </a:cubicBezTo>
                  <a:cubicBezTo>
                    <a:pt x="3238" y="5613"/>
                    <a:pt x="3238" y="5620"/>
                    <a:pt x="3223" y="5620"/>
                  </a:cubicBezTo>
                  <a:cubicBezTo>
                    <a:pt x="3216" y="5628"/>
                    <a:pt x="3194" y="5635"/>
                    <a:pt x="3194" y="5650"/>
                  </a:cubicBezTo>
                  <a:cubicBezTo>
                    <a:pt x="3187" y="5672"/>
                    <a:pt x="3194" y="5686"/>
                    <a:pt x="3201" y="5694"/>
                  </a:cubicBezTo>
                  <a:cubicBezTo>
                    <a:pt x="3231" y="5738"/>
                    <a:pt x="3231" y="5774"/>
                    <a:pt x="3201" y="5818"/>
                  </a:cubicBezTo>
                  <a:cubicBezTo>
                    <a:pt x="3150" y="5891"/>
                    <a:pt x="3143" y="5979"/>
                    <a:pt x="3187" y="6060"/>
                  </a:cubicBezTo>
                  <a:cubicBezTo>
                    <a:pt x="3209" y="6111"/>
                    <a:pt x="3238" y="6119"/>
                    <a:pt x="3260" y="6119"/>
                  </a:cubicBezTo>
                  <a:cubicBezTo>
                    <a:pt x="3282" y="6126"/>
                    <a:pt x="3297" y="6126"/>
                    <a:pt x="3311" y="6155"/>
                  </a:cubicBezTo>
                  <a:cubicBezTo>
                    <a:pt x="3326" y="6177"/>
                    <a:pt x="3326" y="6199"/>
                    <a:pt x="3318" y="6221"/>
                  </a:cubicBezTo>
                  <a:cubicBezTo>
                    <a:pt x="3304" y="6236"/>
                    <a:pt x="3289" y="6243"/>
                    <a:pt x="3282" y="6243"/>
                  </a:cubicBezTo>
                  <a:cubicBezTo>
                    <a:pt x="3275" y="6243"/>
                    <a:pt x="3267" y="6243"/>
                    <a:pt x="3260" y="6243"/>
                  </a:cubicBezTo>
                  <a:cubicBezTo>
                    <a:pt x="3253" y="6243"/>
                    <a:pt x="3238" y="6243"/>
                    <a:pt x="3231" y="6243"/>
                  </a:cubicBezTo>
                  <a:cubicBezTo>
                    <a:pt x="3201" y="6243"/>
                    <a:pt x="3157" y="6251"/>
                    <a:pt x="3128" y="6272"/>
                  </a:cubicBezTo>
                  <a:cubicBezTo>
                    <a:pt x="3121" y="6272"/>
                    <a:pt x="3113" y="6258"/>
                    <a:pt x="3106" y="6258"/>
                  </a:cubicBezTo>
                  <a:cubicBezTo>
                    <a:pt x="3085" y="6229"/>
                    <a:pt x="3041" y="6192"/>
                    <a:pt x="2983" y="6177"/>
                  </a:cubicBezTo>
                  <a:cubicBezTo>
                    <a:pt x="2946" y="6170"/>
                    <a:pt x="2924" y="6170"/>
                    <a:pt x="2909" y="6170"/>
                  </a:cubicBezTo>
                  <a:cubicBezTo>
                    <a:pt x="2836" y="6170"/>
                    <a:pt x="2821" y="6221"/>
                    <a:pt x="2814" y="6280"/>
                  </a:cubicBezTo>
                  <a:cubicBezTo>
                    <a:pt x="2792" y="6353"/>
                    <a:pt x="2858" y="6412"/>
                    <a:pt x="2917" y="6456"/>
                  </a:cubicBezTo>
                  <a:cubicBezTo>
                    <a:pt x="2909" y="6456"/>
                    <a:pt x="2902" y="6463"/>
                    <a:pt x="2902" y="6470"/>
                  </a:cubicBezTo>
                  <a:cubicBezTo>
                    <a:pt x="2887" y="6507"/>
                    <a:pt x="2917" y="6551"/>
                    <a:pt x="2938" y="6580"/>
                  </a:cubicBezTo>
                  <a:cubicBezTo>
                    <a:pt x="2960" y="6602"/>
                    <a:pt x="2968" y="6639"/>
                    <a:pt x="2960" y="6683"/>
                  </a:cubicBezTo>
                  <a:cubicBezTo>
                    <a:pt x="2960" y="6720"/>
                    <a:pt x="2946" y="6749"/>
                    <a:pt x="2938" y="6763"/>
                  </a:cubicBezTo>
                  <a:cubicBezTo>
                    <a:pt x="2917" y="6749"/>
                    <a:pt x="2887" y="6734"/>
                    <a:pt x="2865" y="6734"/>
                  </a:cubicBezTo>
                  <a:cubicBezTo>
                    <a:pt x="2836" y="6734"/>
                    <a:pt x="2807" y="6756"/>
                    <a:pt x="2799" y="6793"/>
                  </a:cubicBezTo>
                  <a:cubicBezTo>
                    <a:pt x="2792" y="6815"/>
                    <a:pt x="2807" y="6837"/>
                    <a:pt x="2814" y="6859"/>
                  </a:cubicBezTo>
                  <a:cubicBezTo>
                    <a:pt x="2763" y="6873"/>
                    <a:pt x="2711" y="6903"/>
                    <a:pt x="2660" y="6947"/>
                  </a:cubicBezTo>
                  <a:cubicBezTo>
                    <a:pt x="2653" y="6954"/>
                    <a:pt x="2638" y="6961"/>
                    <a:pt x="2631" y="6961"/>
                  </a:cubicBezTo>
                  <a:cubicBezTo>
                    <a:pt x="2616" y="6961"/>
                    <a:pt x="2602" y="6947"/>
                    <a:pt x="2587" y="6932"/>
                  </a:cubicBezTo>
                  <a:cubicBezTo>
                    <a:pt x="2572" y="6925"/>
                    <a:pt x="2565" y="6917"/>
                    <a:pt x="2550" y="6903"/>
                  </a:cubicBezTo>
                  <a:cubicBezTo>
                    <a:pt x="2543" y="6903"/>
                    <a:pt x="2528" y="6903"/>
                    <a:pt x="2521" y="6903"/>
                  </a:cubicBezTo>
                  <a:cubicBezTo>
                    <a:pt x="2440" y="6903"/>
                    <a:pt x="2345" y="7049"/>
                    <a:pt x="2301" y="7144"/>
                  </a:cubicBezTo>
                  <a:cubicBezTo>
                    <a:pt x="2279" y="7196"/>
                    <a:pt x="2257" y="7225"/>
                    <a:pt x="2235" y="7240"/>
                  </a:cubicBezTo>
                  <a:cubicBezTo>
                    <a:pt x="2220" y="7254"/>
                    <a:pt x="2206" y="7269"/>
                    <a:pt x="2206" y="7291"/>
                  </a:cubicBezTo>
                  <a:cubicBezTo>
                    <a:pt x="2206" y="7320"/>
                    <a:pt x="2228" y="7335"/>
                    <a:pt x="2243" y="7342"/>
                  </a:cubicBezTo>
                  <a:cubicBezTo>
                    <a:pt x="2294" y="7379"/>
                    <a:pt x="2389" y="7518"/>
                    <a:pt x="2433" y="7584"/>
                  </a:cubicBezTo>
                  <a:cubicBezTo>
                    <a:pt x="2433" y="7613"/>
                    <a:pt x="2426" y="7665"/>
                    <a:pt x="2433" y="7782"/>
                  </a:cubicBezTo>
                  <a:cubicBezTo>
                    <a:pt x="2440" y="7877"/>
                    <a:pt x="2499" y="7987"/>
                    <a:pt x="2543" y="8082"/>
                  </a:cubicBezTo>
                  <a:cubicBezTo>
                    <a:pt x="2579" y="8156"/>
                    <a:pt x="2616" y="8229"/>
                    <a:pt x="2616" y="8273"/>
                  </a:cubicBezTo>
                  <a:cubicBezTo>
                    <a:pt x="2616" y="8368"/>
                    <a:pt x="2550" y="8529"/>
                    <a:pt x="2492" y="8573"/>
                  </a:cubicBezTo>
                  <a:cubicBezTo>
                    <a:pt x="2440" y="8625"/>
                    <a:pt x="2469" y="8669"/>
                    <a:pt x="2492" y="8705"/>
                  </a:cubicBezTo>
                  <a:cubicBezTo>
                    <a:pt x="2506" y="8734"/>
                    <a:pt x="2528" y="8764"/>
                    <a:pt x="2514" y="8808"/>
                  </a:cubicBezTo>
                  <a:cubicBezTo>
                    <a:pt x="2514" y="8822"/>
                    <a:pt x="2506" y="8837"/>
                    <a:pt x="2499" y="8852"/>
                  </a:cubicBezTo>
                  <a:cubicBezTo>
                    <a:pt x="2469" y="8932"/>
                    <a:pt x="2462" y="8976"/>
                    <a:pt x="2557" y="9064"/>
                  </a:cubicBezTo>
                  <a:cubicBezTo>
                    <a:pt x="2579" y="9086"/>
                    <a:pt x="2594" y="9094"/>
                    <a:pt x="2594" y="9101"/>
                  </a:cubicBezTo>
                  <a:cubicBezTo>
                    <a:pt x="2587" y="9108"/>
                    <a:pt x="2579" y="9108"/>
                    <a:pt x="2572" y="9115"/>
                  </a:cubicBezTo>
                  <a:cubicBezTo>
                    <a:pt x="2557" y="9123"/>
                    <a:pt x="2536" y="9130"/>
                    <a:pt x="2514" y="9138"/>
                  </a:cubicBezTo>
                  <a:cubicBezTo>
                    <a:pt x="2448" y="9189"/>
                    <a:pt x="2484" y="9247"/>
                    <a:pt x="2521" y="9306"/>
                  </a:cubicBezTo>
                  <a:cubicBezTo>
                    <a:pt x="2536" y="9343"/>
                    <a:pt x="2557" y="9372"/>
                    <a:pt x="2572" y="9416"/>
                  </a:cubicBezTo>
                  <a:cubicBezTo>
                    <a:pt x="2602" y="9475"/>
                    <a:pt x="2579" y="9533"/>
                    <a:pt x="2565" y="9555"/>
                  </a:cubicBezTo>
                  <a:cubicBezTo>
                    <a:pt x="2557" y="9584"/>
                    <a:pt x="2543" y="9599"/>
                    <a:pt x="2528" y="9606"/>
                  </a:cubicBezTo>
                  <a:cubicBezTo>
                    <a:pt x="2506" y="9570"/>
                    <a:pt x="2462" y="9541"/>
                    <a:pt x="2411" y="9541"/>
                  </a:cubicBezTo>
                  <a:cubicBezTo>
                    <a:pt x="2382" y="9541"/>
                    <a:pt x="2345" y="9555"/>
                    <a:pt x="2323" y="9577"/>
                  </a:cubicBezTo>
                  <a:cubicBezTo>
                    <a:pt x="2286" y="9606"/>
                    <a:pt x="2235" y="9636"/>
                    <a:pt x="2184" y="9636"/>
                  </a:cubicBezTo>
                  <a:cubicBezTo>
                    <a:pt x="2162" y="9636"/>
                    <a:pt x="2133" y="9629"/>
                    <a:pt x="2103" y="9614"/>
                  </a:cubicBezTo>
                  <a:cubicBezTo>
                    <a:pt x="2074" y="9599"/>
                    <a:pt x="2052" y="9592"/>
                    <a:pt x="2023" y="9592"/>
                  </a:cubicBezTo>
                  <a:cubicBezTo>
                    <a:pt x="1957" y="9592"/>
                    <a:pt x="1913" y="9643"/>
                    <a:pt x="1883" y="9680"/>
                  </a:cubicBezTo>
                  <a:cubicBezTo>
                    <a:pt x="1876" y="9694"/>
                    <a:pt x="1876" y="9694"/>
                    <a:pt x="1876" y="9694"/>
                  </a:cubicBezTo>
                  <a:cubicBezTo>
                    <a:pt x="1832" y="9738"/>
                    <a:pt x="1766" y="9782"/>
                    <a:pt x="1700" y="9797"/>
                  </a:cubicBezTo>
                  <a:cubicBezTo>
                    <a:pt x="1693" y="9797"/>
                    <a:pt x="1678" y="9797"/>
                    <a:pt x="1671" y="9797"/>
                  </a:cubicBezTo>
                  <a:cubicBezTo>
                    <a:pt x="1597" y="9812"/>
                    <a:pt x="1502" y="9826"/>
                    <a:pt x="1458" y="9870"/>
                  </a:cubicBezTo>
                  <a:cubicBezTo>
                    <a:pt x="1451" y="9878"/>
                    <a:pt x="1429" y="9900"/>
                    <a:pt x="1436" y="9929"/>
                  </a:cubicBezTo>
                  <a:cubicBezTo>
                    <a:pt x="1436" y="9958"/>
                    <a:pt x="1466" y="9973"/>
                    <a:pt x="1502" y="9995"/>
                  </a:cubicBezTo>
                  <a:cubicBezTo>
                    <a:pt x="1510" y="10002"/>
                    <a:pt x="1524" y="10010"/>
                    <a:pt x="1539" y="10017"/>
                  </a:cubicBezTo>
                  <a:cubicBezTo>
                    <a:pt x="1590" y="10053"/>
                    <a:pt x="1686" y="10068"/>
                    <a:pt x="1752" y="10075"/>
                  </a:cubicBezTo>
                  <a:cubicBezTo>
                    <a:pt x="1788" y="10083"/>
                    <a:pt x="1788" y="10083"/>
                    <a:pt x="1788" y="10083"/>
                  </a:cubicBezTo>
                  <a:cubicBezTo>
                    <a:pt x="1781" y="10046"/>
                    <a:pt x="1781" y="10046"/>
                    <a:pt x="1781" y="10046"/>
                  </a:cubicBezTo>
                  <a:cubicBezTo>
                    <a:pt x="1781" y="10039"/>
                    <a:pt x="1781" y="10039"/>
                    <a:pt x="1781" y="10039"/>
                  </a:cubicBezTo>
                  <a:cubicBezTo>
                    <a:pt x="1795" y="9995"/>
                    <a:pt x="1817" y="9922"/>
                    <a:pt x="1839" y="9907"/>
                  </a:cubicBezTo>
                  <a:cubicBezTo>
                    <a:pt x="1847" y="9900"/>
                    <a:pt x="1861" y="9892"/>
                    <a:pt x="1869" y="9892"/>
                  </a:cubicBezTo>
                  <a:cubicBezTo>
                    <a:pt x="1891" y="9892"/>
                    <a:pt x="1905" y="9900"/>
                    <a:pt x="1913" y="9914"/>
                  </a:cubicBezTo>
                  <a:cubicBezTo>
                    <a:pt x="1913" y="9914"/>
                    <a:pt x="1920" y="9922"/>
                    <a:pt x="1913" y="9944"/>
                  </a:cubicBezTo>
                  <a:cubicBezTo>
                    <a:pt x="1898" y="10002"/>
                    <a:pt x="1913" y="10039"/>
                    <a:pt x="1927" y="10061"/>
                  </a:cubicBezTo>
                  <a:cubicBezTo>
                    <a:pt x="1942" y="10083"/>
                    <a:pt x="1971" y="10097"/>
                    <a:pt x="2001" y="10097"/>
                  </a:cubicBezTo>
                  <a:cubicBezTo>
                    <a:pt x="2015" y="10097"/>
                    <a:pt x="2023" y="10090"/>
                    <a:pt x="2030" y="10090"/>
                  </a:cubicBezTo>
                  <a:cubicBezTo>
                    <a:pt x="2037" y="10090"/>
                    <a:pt x="2052" y="10090"/>
                    <a:pt x="2067" y="10083"/>
                  </a:cubicBezTo>
                  <a:cubicBezTo>
                    <a:pt x="2111" y="10075"/>
                    <a:pt x="2162" y="10068"/>
                    <a:pt x="2198" y="10068"/>
                  </a:cubicBezTo>
                  <a:cubicBezTo>
                    <a:pt x="2220" y="10068"/>
                    <a:pt x="2220" y="10068"/>
                    <a:pt x="2228" y="10068"/>
                  </a:cubicBezTo>
                  <a:cubicBezTo>
                    <a:pt x="2235" y="10083"/>
                    <a:pt x="2235" y="10097"/>
                    <a:pt x="2243" y="10112"/>
                  </a:cubicBezTo>
                  <a:cubicBezTo>
                    <a:pt x="2257" y="10141"/>
                    <a:pt x="2272" y="10185"/>
                    <a:pt x="2308" y="10222"/>
                  </a:cubicBezTo>
                  <a:cubicBezTo>
                    <a:pt x="2352" y="10266"/>
                    <a:pt x="2426" y="10288"/>
                    <a:pt x="2469" y="10288"/>
                  </a:cubicBezTo>
                  <a:cubicBezTo>
                    <a:pt x="2477" y="10288"/>
                    <a:pt x="2484" y="10288"/>
                    <a:pt x="2492" y="10288"/>
                  </a:cubicBezTo>
                  <a:cubicBezTo>
                    <a:pt x="2506" y="10295"/>
                    <a:pt x="2536" y="10332"/>
                    <a:pt x="2543" y="10376"/>
                  </a:cubicBezTo>
                  <a:cubicBezTo>
                    <a:pt x="2543" y="10391"/>
                    <a:pt x="2550" y="10413"/>
                    <a:pt x="2536" y="10427"/>
                  </a:cubicBezTo>
                  <a:cubicBezTo>
                    <a:pt x="2499" y="10464"/>
                    <a:pt x="2477" y="10508"/>
                    <a:pt x="2484" y="10552"/>
                  </a:cubicBezTo>
                  <a:cubicBezTo>
                    <a:pt x="2492" y="10581"/>
                    <a:pt x="2506" y="10610"/>
                    <a:pt x="2543" y="10632"/>
                  </a:cubicBezTo>
                  <a:cubicBezTo>
                    <a:pt x="2565" y="10647"/>
                    <a:pt x="2602" y="10654"/>
                    <a:pt x="2631" y="10654"/>
                  </a:cubicBezTo>
                  <a:cubicBezTo>
                    <a:pt x="2704" y="10654"/>
                    <a:pt x="2763" y="10625"/>
                    <a:pt x="2777" y="10574"/>
                  </a:cubicBezTo>
                  <a:cubicBezTo>
                    <a:pt x="2785" y="10559"/>
                    <a:pt x="2785" y="10559"/>
                    <a:pt x="2792" y="10559"/>
                  </a:cubicBezTo>
                  <a:cubicBezTo>
                    <a:pt x="2792" y="10559"/>
                    <a:pt x="2807" y="10559"/>
                    <a:pt x="2814" y="10574"/>
                  </a:cubicBezTo>
                  <a:cubicBezTo>
                    <a:pt x="2821" y="10581"/>
                    <a:pt x="2829" y="10603"/>
                    <a:pt x="2821" y="10632"/>
                  </a:cubicBezTo>
                  <a:cubicBezTo>
                    <a:pt x="2814" y="10662"/>
                    <a:pt x="2814" y="10684"/>
                    <a:pt x="2807" y="10706"/>
                  </a:cubicBezTo>
                  <a:cubicBezTo>
                    <a:pt x="2799" y="10764"/>
                    <a:pt x="2792" y="10801"/>
                    <a:pt x="2763" y="10823"/>
                  </a:cubicBezTo>
                  <a:cubicBezTo>
                    <a:pt x="2733" y="10845"/>
                    <a:pt x="2719" y="10882"/>
                    <a:pt x="2733" y="10911"/>
                  </a:cubicBezTo>
                  <a:cubicBezTo>
                    <a:pt x="2741" y="10940"/>
                    <a:pt x="2763" y="10955"/>
                    <a:pt x="2799" y="10955"/>
                  </a:cubicBezTo>
                  <a:cubicBezTo>
                    <a:pt x="2814" y="10955"/>
                    <a:pt x="2821" y="10955"/>
                    <a:pt x="2836" y="10955"/>
                  </a:cubicBezTo>
                  <a:cubicBezTo>
                    <a:pt x="2843" y="10947"/>
                    <a:pt x="2851" y="10947"/>
                    <a:pt x="2865" y="10947"/>
                  </a:cubicBezTo>
                  <a:cubicBezTo>
                    <a:pt x="2953" y="10918"/>
                    <a:pt x="3106" y="10882"/>
                    <a:pt x="3150" y="10764"/>
                  </a:cubicBezTo>
                  <a:cubicBezTo>
                    <a:pt x="3194" y="10662"/>
                    <a:pt x="3275" y="10589"/>
                    <a:pt x="3311" y="10581"/>
                  </a:cubicBezTo>
                  <a:cubicBezTo>
                    <a:pt x="3355" y="10566"/>
                    <a:pt x="3377" y="10522"/>
                    <a:pt x="3392" y="10479"/>
                  </a:cubicBezTo>
                  <a:cubicBezTo>
                    <a:pt x="3399" y="10456"/>
                    <a:pt x="3414" y="10434"/>
                    <a:pt x="3421" y="10420"/>
                  </a:cubicBezTo>
                  <a:cubicBezTo>
                    <a:pt x="3450" y="10369"/>
                    <a:pt x="3458" y="10281"/>
                    <a:pt x="3443" y="10222"/>
                  </a:cubicBezTo>
                  <a:cubicBezTo>
                    <a:pt x="3428" y="10193"/>
                    <a:pt x="3414" y="10171"/>
                    <a:pt x="3399" y="10156"/>
                  </a:cubicBezTo>
                  <a:cubicBezTo>
                    <a:pt x="3363" y="10141"/>
                    <a:pt x="3348" y="10134"/>
                    <a:pt x="3370" y="10068"/>
                  </a:cubicBezTo>
                  <a:cubicBezTo>
                    <a:pt x="3370" y="10053"/>
                    <a:pt x="3377" y="10032"/>
                    <a:pt x="3377" y="10017"/>
                  </a:cubicBezTo>
                  <a:cubicBezTo>
                    <a:pt x="3392" y="10039"/>
                    <a:pt x="3414" y="10053"/>
                    <a:pt x="3436" y="10061"/>
                  </a:cubicBezTo>
                  <a:cubicBezTo>
                    <a:pt x="3450" y="10061"/>
                    <a:pt x="3480" y="10061"/>
                    <a:pt x="3502" y="10061"/>
                  </a:cubicBezTo>
                  <a:cubicBezTo>
                    <a:pt x="3560" y="10061"/>
                    <a:pt x="3663" y="10053"/>
                    <a:pt x="3685" y="9980"/>
                  </a:cubicBezTo>
                  <a:cubicBezTo>
                    <a:pt x="3685" y="9965"/>
                    <a:pt x="3700" y="9951"/>
                    <a:pt x="3729" y="9951"/>
                  </a:cubicBezTo>
                  <a:cubicBezTo>
                    <a:pt x="3751" y="9951"/>
                    <a:pt x="3773" y="9958"/>
                    <a:pt x="3795" y="9973"/>
                  </a:cubicBezTo>
                  <a:cubicBezTo>
                    <a:pt x="3824" y="9995"/>
                    <a:pt x="3868" y="10010"/>
                    <a:pt x="3912" y="10024"/>
                  </a:cubicBezTo>
                  <a:cubicBezTo>
                    <a:pt x="3956" y="10039"/>
                    <a:pt x="4000" y="10061"/>
                    <a:pt x="4022" y="10075"/>
                  </a:cubicBezTo>
                  <a:cubicBezTo>
                    <a:pt x="4051" y="10097"/>
                    <a:pt x="4081" y="10105"/>
                    <a:pt x="4110" y="10105"/>
                  </a:cubicBezTo>
                  <a:cubicBezTo>
                    <a:pt x="4147" y="10105"/>
                    <a:pt x="4191" y="10090"/>
                    <a:pt x="4235" y="10068"/>
                  </a:cubicBezTo>
                  <a:cubicBezTo>
                    <a:pt x="4249" y="10061"/>
                    <a:pt x="4256" y="10053"/>
                    <a:pt x="4271" y="10053"/>
                  </a:cubicBezTo>
                  <a:cubicBezTo>
                    <a:pt x="4293" y="10053"/>
                    <a:pt x="4315" y="10068"/>
                    <a:pt x="4315" y="10083"/>
                  </a:cubicBezTo>
                  <a:cubicBezTo>
                    <a:pt x="4323" y="10097"/>
                    <a:pt x="4300" y="10112"/>
                    <a:pt x="4293" y="10120"/>
                  </a:cubicBezTo>
                  <a:cubicBezTo>
                    <a:pt x="4278" y="10127"/>
                    <a:pt x="4242" y="10156"/>
                    <a:pt x="4249" y="10193"/>
                  </a:cubicBezTo>
                  <a:cubicBezTo>
                    <a:pt x="4264" y="10229"/>
                    <a:pt x="4308" y="10229"/>
                    <a:pt x="4359" y="10229"/>
                  </a:cubicBezTo>
                  <a:cubicBezTo>
                    <a:pt x="4366" y="10229"/>
                    <a:pt x="4381" y="10229"/>
                    <a:pt x="4388" y="10229"/>
                  </a:cubicBezTo>
                  <a:cubicBezTo>
                    <a:pt x="4396" y="10229"/>
                    <a:pt x="4403" y="10229"/>
                    <a:pt x="4418" y="10229"/>
                  </a:cubicBezTo>
                  <a:cubicBezTo>
                    <a:pt x="4462" y="10229"/>
                    <a:pt x="4498" y="10310"/>
                    <a:pt x="4513" y="10354"/>
                  </a:cubicBezTo>
                  <a:cubicBezTo>
                    <a:pt x="4513" y="10354"/>
                    <a:pt x="4513" y="10361"/>
                    <a:pt x="4513" y="10369"/>
                  </a:cubicBezTo>
                  <a:cubicBezTo>
                    <a:pt x="4520" y="10413"/>
                    <a:pt x="4535" y="10493"/>
                    <a:pt x="4667" y="10493"/>
                  </a:cubicBezTo>
                  <a:cubicBezTo>
                    <a:pt x="4681" y="10493"/>
                    <a:pt x="4689" y="10493"/>
                    <a:pt x="4704" y="10486"/>
                  </a:cubicBezTo>
                  <a:cubicBezTo>
                    <a:pt x="4791" y="10479"/>
                    <a:pt x="4916" y="10442"/>
                    <a:pt x="5011" y="10405"/>
                  </a:cubicBezTo>
                  <a:cubicBezTo>
                    <a:pt x="5026" y="10398"/>
                    <a:pt x="5048" y="10391"/>
                    <a:pt x="5070" y="10383"/>
                  </a:cubicBezTo>
                  <a:cubicBezTo>
                    <a:pt x="5063" y="10398"/>
                    <a:pt x="5063" y="10413"/>
                    <a:pt x="5063" y="10420"/>
                  </a:cubicBezTo>
                  <a:cubicBezTo>
                    <a:pt x="5063" y="10434"/>
                    <a:pt x="5070" y="10456"/>
                    <a:pt x="5106" y="10471"/>
                  </a:cubicBezTo>
                  <a:cubicBezTo>
                    <a:pt x="5121" y="10486"/>
                    <a:pt x="5121" y="10486"/>
                    <a:pt x="5121" y="10486"/>
                  </a:cubicBezTo>
                  <a:cubicBezTo>
                    <a:pt x="5143" y="10493"/>
                    <a:pt x="5158" y="10501"/>
                    <a:pt x="5180" y="10501"/>
                  </a:cubicBezTo>
                  <a:cubicBezTo>
                    <a:pt x="5216" y="10501"/>
                    <a:pt x="5231" y="10479"/>
                    <a:pt x="5268" y="10434"/>
                  </a:cubicBezTo>
                  <a:cubicBezTo>
                    <a:pt x="5275" y="10420"/>
                    <a:pt x="5275" y="10420"/>
                    <a:pt x="5275" y="10420"/>
                  </a:cubicBezTo>
                  <a:cubicBezTo>
                    <a:pt x="5326" y="10347"/>
                    <a:pt x="5348" y="10317"/>
                    <a:pt x="5392" y="10317"/>
                  </a:cubicBezTo>
                  <a:cubicBezTo>
                    <a:pt x="5399" y="10317"/>
                    <a:pt x="5399" y="10317"/>
                    <a:pt x="5407" y="10317"/>
                  </a:cubicBezTo>
                  <a:cubicBezTo>
                    <a:pt x="5487" y="10332"/>
                    <a:pt x="5531" y="10339"/>
                    <a:pt x="5531" y="10339"/>
                  </a:cubicBezTo>
                  <a:cubicBezTo>
                    <a:pt x="5568" y="10347"/>
                    <a:pt x="5568" y="10347"/>
                    <a:pt x="5568" y="10347"/>
                  </a:cubicBezTo>
                  <a:cubicBezTo>
                    <a:pt x="5568" y="10310"/>
                    <a:pt x="5568" y="10310"/>
                    <a:pt x="5568" y="10310"/>
                  </a:cubicBezTo>
                  <a:cubicBezTo>
                    <a:pt x="5568" y="10244"/>
                    <a:pt x="5568" y="10244"/>
                    <a:pt x="5568" y="10244"/>
                  </a:cubicBezTo>
                  <a:cubicBezTo>
                    <a:pt x="5568" y="10156"/>
                    <a:pt x="5568" y="10156"/>
                    <a:pt x="5568" y="10156"/>
                  </a:cubicBezTo>
                  <a:cubicBezTo>
                    <a:pt x="5524" y="10215"/>
                    <a:pt x="5524" y="10215"/>
                    <a:pt x="5524" y="10215"/>
                  </a:cubicBezTo>
                  <a:lnTo>
                    <a:pt x="5524" y="10215"/>
                  </a:lnTo>
                  <a:cubicBezTo>
                    <a:pt x="5531" y="10112"/>
                    <a:pt x="5539" y="10105"/>
                    <a:pt x="5605" y="10105"/>
                  </a:cubicBezTo>
                  <a:cubicBezTo>
                    <a:pt x="5627" y="10105"/>
                    <a:pt x="5649" y="10105"/>
                    <a:pt x="5671" y="10105"/>
                  </a:cubicBezTo>
                  <a:cubicBezTo>
                    <a:pt x="5700" y="10105"/>
                    <a:pt x="5722" y="10112"/>
                    <a:pt x="5751" y="10112"/>
                  </a:cubicBezTo>
                  <a:cubicBezTo>
                    <a:pt x="5788" y="10112"/>
                    <a:pt x="5847" y="10105"/>
                    <a:pt x="5883" y="10075"/>
                  </a:cubicBezTo>
                  <a:cubicBezTo>
                    <a:pt x="5927" y="10039"/>
                    <a:pt x="5913" y="10010"/>
                    <a:pt x="5905" y="9988"/>
                  </a:cubicBezTo>
                  <a:cubicBezTo>
                    <a:pt x="5905" y="9973"/>
                    <a:pt x="5898" y="9958"/>
                    <a:pt x="5927" y="9922"/>
                  </a:cubicBezTo>
                  <a:cubicBezTo>
                    <a:pt x="5978" y="9848"/>
                    <a:pt x="6030" y="9841"/>
                    <a:pt x="6103" y="9834"/>
                  </a:cubicBezTo>
                  <a:cubicBezTo>
                    <a:pt x="6132" y="9834"/>
                    <a:pt x="6132" y="9834"/>
                    <a:pt x="6132" y="9834"/>
                  </a:cubicBezTo>
                  <a:cubicBezTo>
                    <a:pt x="6140" y="9834"/>
                    <a:pt x="6147" y="9834"/>
                    <a:pt x="6154" y="9834"/>
                  </a:cubicBezTo>
                  <a:cubicBezTo>
                    <a:pt x="6176" y="9834"/>
                    <a:pt x="6206" y="9834"/>
                    <a:pt x="6235" y="9834"/>
                  </a:cubicBezTo>
                  <a:cubicBezTo>
                    <a:pt x="6271" y="9841"/>
                    <a:pt x="6308" y="9841"/>
                    <a:pt x="6345" y="9841"/>
                  </a:cubicBezTo>
                  <a:cubicBezTo>
                    <a:pt x="6411" y="9841"/>
                    <a:pt x="6455" y="9826"/>
                    <a:pt x="6484" y="9804"/>
                  </a:cubicBezTo>
                  <a:cubicBezTo>
                    <a:pt x="6550" y="9746"/>
                    <a:pt x="6740" y="9680"/>
                    <a:pt x="6821" y="9680"/>
                  </a:cubicBezTo>
                  <a:cubicBezTo>
                    <a:pt x="6828" y="9680"/>
                    <a:pt x="6828" y="9680"/>
                    <a:pt x="6836" y="9687"/>
                  </a:cubicBezTo>
                  <a:cubicBezTo>
                    <a:pt x="6872" y="9687"/>
                    <a:pt x="6909" y="9694"/>
                    <a:pt x="6946" y="9702"/>
                  </a:cubicBezTo>
                  <a:cubicBezTo>
                    <a:pt x="6990" y="9709"/>
                    <a:pt x="7026" y="9709"/>
                    <a:pt x="7063" y="9716"/>
                  </a:cubicBezTo>
                  <a:cubicBezTo>
                    <a:pt x="7092" y="9724"/>
                    <a:pt x="7121" y="9724"/>
                    <a:pt x="7144" y="9724"/>
                  </a:cubicBezTo>
                  <a:cubicBezTo>
                    <a:pt x="7173" y="9724"/>
                    <a:pt x="7195" y="9724"/>
                    <a:pt x="7231" y="9716"/>
                  </a:cubicBezTo>
                  <a:lnTo>
                    <a:pt x="7231" y="9716"/>
                  </a:lnTo>
                  <a:cubicBezTo>
                    <a:pt x="7275" y="9709"/>
                    <a:pt x="7297" y="9709"/>
                    <a:pt x="7312" y="9680"/>
                  </a:cubicBezTo>
                  <a:cubicBezTo>
                    <a:pt x="7327" y="9651"/>
                    <a:pt x="7312" y="9621"/>
                    <a:pt x="7275" y="9570"/>
                  </a:cubicBezTo>
                  <a:cubicBezTo>
                    <a:pt x="7261" y="9548"/>
                    <a:pt x="7261" y="9548"/>
                    <a:pt x="7261" y="9548"/>
                  </a:cubicBezTo>
                  <a:cubicBezTo>
                    <a:pt x="7209" y="9467"/>
                    <a:pt x="7195" y="9438"/>
                    <a:pt x="7239" y="9394"/>
                  </a:cubicBezTo>
                  <a:cubicBezTo>
                    <a:pt x="7261" y="9365"/>
                    <a:pt x="7283" y="9343"/>
                    <a:pt x="7305" y="9313"/>
                  </a:cubicBezTo>
                  <a:cubicBezTo>
                    <a:pt x="7327" y="9291"/>
                    <a:pt x="7341" y="9270"/>
                    <a:pt x="7356" y="9255"/>
                  </a:cubicBezTo>
                  <a:cubicBezTo>
                    <a:pt x="7356" y="9284"/>
                    <a:pt x="7349" y="9335"/>
                    <a:pt x="7334" y="9365"/>
                  </a:cubicBezTo>
                  <a:cubicBezTo>
                    <a:pt x="7327" y="9379"/>
                    <a:pt x="7319" y="9401"/>
                    <a:pt x="7334" y="9423"/>
                  </a:cubicBezTo>
                  <a:cubicBezTo>
                    <a:pt x="7334" y="9438"/>
                    <a:pt x="7349" y="9445"/>
                    <a:pt x="7371" y="9445"/>
                  </a:cubicBezTo>
                  <a:cubicBezTo>
                    <a:pt x="7400" y="9445"/>
                    <a:pt x="7437" y="9438"/>
                    <a:pt x="7495" y="9409"/>
                  </a:cubicBezTo>
                  <a:cubicBezTo>
                    <a:pt x="7554" y="9387"/>
                    <a:pt x="7620" y="9372"/>
                    <a:pt x="7671" y="9372"/>
                  </a:cubicBezTo>
                  <a:cubicBezTo>
                    <a:pt x="7722" y="9372"/>
                    <a:pt x="7752" y="9387"/>
                    <a:pt x="7759" y="9394"/>
                  </a:cubicBezTo>
                  <a:cubicBezTo>
                    <a:pt x="7766" y="9409"/>
                    <a:pt x="7774" y="9423"/>
                    <a:pt x="7781" y="9438"/>
                  </a:cubicBezTo>
                  <a:cubicBezTo>
                    <a:pt x="7810" y="9497"/>
                    <a:pt x="7847" y="9570"/>
                    <a:pt x="7906" y="9592"/>
                  </a:cubicBezTo>
                  <a:cubicBezTo>
                    <a:pt x="7920" y="9599"/>
                    <a:pt x="7928" y="9599"/>
                    <a:pt x="7935" y="9606"/>
                  </a:cubicBezTo>
                  <a:cubicBezTo>
                    <a:pt x="7957" y="9614"/>
                    <a:pt x="7979" y="9621"/>
                    <a:pt x="8008" y="9621"/>
                  </a:cubicBezTo>
                  <a:cubicBezTo>
                    <a:pt x="8045" y="9621"/>
                    <a:pt x="8074" y="9599"/>
                    <a:pt x="8111" y="9563"/>
                  </a:cubicBezTo>
                  <a:cubicBezTo>
                    <a:pt x="8125" y="9548"/>
                    <a:pt x="8133" y="9533"/>
                    <a:pt x="8147" y="9519"/>
                  </a:cubicBezTo>
                  <a:cubicBezTo>
                    <a:pt x="8191" y="9460"/>
                    <a:pt x="8213" y="9431"/>
                    <a:pt x="8287" y="9423"/>
                  </a:cubicBezTo>
                  <a:cubicBezTo>
                    <a:pt x="8309" y="9423"/>
                    <a:pt x="8309" y="9423"/>
                    <a:pt x="8309" y="9423"/>
                  </a:cubicBezTo>
                  <a:cubicBezTo>
                    <a:pt x="8345" y="9416"/>
                    <a:pt x="8367" y="9416"/>
                    <a:pt x="8396" y="9416"/>
                  </a:cubicBezTo>
                  <a:cubicBezTo>
                    <a:pt x="8426" y="9416"/>
                    <a:pt x="8448" y="9423"/>
                    <a:pt x="8462" y="9438"/>
                  </a:cubicBezTo>
                  <a:cubicBezTo>
                    <a:pt x="8477" y="9453"/>
                    <a:pt x="8485" y="9467"/>
                    <a:pt x="8492" y="9489"/>
                  </a:cubicBezTo>
                  <a:cubicBezTo>
                    <a:pt x="8506" y="9526"/>
                    <a:pt x="8528" y="9563"/>
                    <a:pt x="8587" y="9592"/>
                  </a:cubicBezTo>
                  <a:cubicBezTo>
                    <a:pt x="8594" y="9599"/>
                    <a:pt x="8602" y="9599"/>
                    <a:pt x="8609" y="9599"/>
                  </a:cubicBezTo>
                  <a:cubicBezTo>
                    <a:pt x="8602" y="9606"/>
                    <a:pt x="8594" y="9614"/>
                    <a:pt x="8587" y="9621"/>
                  </a:cubicBezTo>
                  <a:cubicBezTo>
                    <a:pt x="8580" y="9629"/>
                    <a:pt x="8572" y="9636"/>
                    <a:pt x="8565" y="9643"/>
                  </a:cubicBezTo>
                  <a:cubicBezTo>
                    <a:pt x="8543" y="9665"/>
                    <a:pt x="8536" y="9694"/>
                    <a:pt x="8543" y="9724"/>
                  </a:cubicBezTo>
                  <a:cubicBezTo>
                    <a:pt x="8558" y="9775"/>
                    <a:pt x="8616" y="9834"/>
                    <a:pt x="8690" y="9863"/>
                  </a:cubicBezTo>
                  <a:cubicBezTo>
                    <a:pt x="8726" y="9878"/>
                    <a:pt x="8756" y="9914"/>
                    <a:pt x="8792" y="9944"/>
                  </a:cubicBezTo>
                  <a:cubicBezTo>
                    <a:pt x="8829" y="9988"/>
                    <a:pt x="8873" y="10032"/>
                    <a:pt x="8931" y="10046"/>
                  </a:cubicBezTo>
                  <a:cubicBezTo>
                    <a:pt x="9019" y="10068"/>
                    <a:pt x="9019" y="10068"/>
                    <a:pt x="9078" y="10083"/>
                  </a:cubicBezTo>
                  <a:cubicBezTo>
                    <a:pt x="9085" y="10083"/>
                    <a:pt x="9093" y="10083"/>
                    <a:pt x="9100" y="10083"/>
                  </a:cubicBezTo>
                  <a:cubicBezTo>
                    <a:pt x="9144" y="10083"/>
                    <a:pt x="9166" y="10053"/>
                    <a:pt x="9180" y="10032"/>
                  </a:cubicBezTo>
                  <a:cubicBezTo>
                    <a:pt x="9188" y="10017"/>
                    <a:pt x="9195" y="10002"/>
                    <a:pt x="9210" y="9995"/>
                  </a:cubicBezTo>
                  <a:cubicBezTo>
                    <a:pt x="9254" y="9951"/>
                    <a:pt x="9225" y="9907"/>
                    <a:pt x="9210" y="9878"/>
                  </a:cubicBezTo>
                  <a:cubicBezTo>
                    <a:pt x="9202" y="9863"/>
                    <a:pt x="9195" y="9848"/>
                    <a:pt x="9195" y="9834"/>
                  </a:cubicBezTo>
                  <a:cubicBezTo>
                    <a:pt x="9195" y="9819"/>
                    <a:pt x="9188" y="9797"/>
                    <a:pt x="9188" y="9782"/>
                  </a:cubicBezTo>
                  <a:cubicBezTo>
                    <a:pt x="9180" y="9738"/>
                    <a:pt x="9173" y="9709"/>
                    <a:pt x="9210" y="9665"/>
                  </a:cubicBezTo>
                  <a:cubicBezTo>
                    <a:pt x="9217" y="9651"/>
                    <a:pt x="9225" y="9643"/>
                    <a:pt x="9232" y="9636"/>
                  </a:cubicBezTo>
                  <a:cubicBezTo>
                    <a:pt x="9290" y="9570"/>
                    <a:pt x="9342" y="9511"/>
                    <a:pt x="9283" y="9409"/>
                  </a:cubicBezTo>
                  <a:cubicBezTo>
                    <a:pt x="9268" y="9394"/>
                    <a:pt x="9261" y="9372"/>
                    <a:pt x="9247" y="9350"/>
                  </a:cubicBezTo>
                  <a:cubicBezTo>
                    <a:pt x="9210" y="9270"/>
                    <a:pt x="9159" y="9167"/>
                    <a:pt x="9071" y="9167"/>
                  </a:cubicBezTo>
                  <a:cubicBezTo>
                    <a:pt x="9041" y="9167"/>
                    <a:pt x="9019" y="9182"/>
                    <a:pt x="8990" y="9196"/>
                  </a:cubicBezTo>
                  <a:cubicBezTo>
                    <a:pt x="8968" y="9211"/>
                    <a:pt x="8909" y="9247"/>
                    <a:pt x="8887" y="9247"/>
                  </a:cubicBezTo>
                  <a:cubicBezTo>
                    <a:pt x="8887" y="9247"/>
                    <a:pt x="8873" y="9225"/>
                    <a:pt x="8866" y="9203"/>
                  </a:cubicBezTo>
                  <a:cubicBezTo>
                    <a:pt x="8866" y="9189"/>
                    <a:pt x="8866" y="9189"/>
                    <a:pt x="8866" y="9189"/>
                  </a:cubicBezTo>
                  <a:cubicBezTo>
                    <a:pt x="8851" y="9145"/>
                    <a:pt x="8858" y="9138"/>
                    <a:pt x="8873" y="9108"/>
                  </a:cubicBezTo>
                  <a:cubicBezTo>
                    <a:pt x="8887" y="9086"/>
                    <a:pt x="8909" y="9064"/>
                    <a:pt x="8924" y="9028"/>
                  </a:cubicBezTo>
                  <a:cubicBezTo>
                    <a:pt x="8931" y="9006"/>
                    <a:pt x="8946" y="8984"/>
                    <a:pt x="8968" y="8954"/>
                  </a:cubicBezTo>
                  <a:cubicBezTo>
                    <a:pt x="9012" y="8881"/>
                    <a:pt x="9078" y="8793"/>
                    <a:pt x="9012" y="8683"/>
                  </a:cubicBezTo>
                  <a:cubicBezTo>
                    <a:pt x="8983" y="8639"/>
                    <a:pt x="8961" y="8595"/>
                    <a:pt x="8939" y="8559"/>
                  </a:cubicBezTo>
                  <a:cubicBezTo>
                    <a:pt x="8909" y="8485"/>
                    <a:pt x="8880" y="8434"/>
                    <a:pt x="8821" y="8412"/>
                  </a:cubicBezTo>
                  <a:cubicBezTo>
                    <a:pt x="8763" y="8390"/>
                    <a:pt x="8719" y="8332"/>
                    <a:pt x="8704" y="8265"/>
                  </a:cubicBezTo>
                  <a:cubicBezTo>
                    <a:pt x="8697" y="8192"/>
                    <a:pt x="8638" y="8170"/>
                    <a:pt x="8587" y="8148"/>
                  </a:cubicBezTo>
                  <a:cubicBezTo>
                    <a:pt x="8565" y="8141"/>
                    <a:pt x="8543" y="8134"/>
                    <a:pt x="8521" y="8119"/>
                  </a:cubicBezTo>
                  <a:cubicBezTo>
                    <a:pt x="8485" y="8097"/>
                    <a:pt x="8462" y="8075"/>
                    <a:pt x="8448" y="8046"/>
                  </a:cubicBezTo>
                  <a:cubicBezTo>
                    <a:pt x="8440" y="8016"/>
                    <a:pt x="8448" y="7987"/>
                    <a:pt x="8462" y="7958"/>
                  </a:cubicBezTo>
                  <a:cubicBezTo>
                    <a:pt x="8485" y="7929"/>
                    <a:pt x="8506" y="7914"/>
                    <a:pt x="8536" y="7892"/>
                  </a:cubicBezTo>
                  <a:cubicBezTo>
                    <a:pt x="8572" y="7877"/>
                    <a:pt x="8616" y="7855"/>
                    <a:pt x="8646" y="7797"/>
                  </a:cubicBezTo>
                  <a:cubicBezTo>
                    <a:pt x="8675" y="7753"/>
                    <a:pt x="8682" y="7716"/>
                    <a:pt x="8690" y="7694"/>
                  </a:cubicBezTo>
                  <a:cubicBezTo>
                    <a:pt x="8697" y="7657"/>
                    <a:pt x="8697" y="7650"/>
                    <a:pt x="8719" y="7643"/>
                  </a:cubicBezTo>
                  <a:cubicBezTo>
                    <a:pt x="8734" y="7635"/>
                    <a:pt x="8748" y="7635"/>
                    <a:pt x="8770" y="7635"/>
                  </a:cubicBezTo>
                  <a:cubicBezTo>
                    <a:pt x="8777" y="7635"/>
                    <a:pt x="8792" y="7635"/>
                    <a:pt x="8799" y="7635"/>
                  </a:cubicBezTo>
                  <a:cubicBezTo>
                    <a:pt x="8807" y="7635"/>
                    <a:pt x="8814" y="7635"/>
                    <a:pt x="8829" y="7635"/>
                  </a:cubicBezTo>
                  <a:cubicBezTo>
                    <a:pt x="8836" y="7635"/>
                    <a:pt x="8873" y="7635"/>
                    <a:pt x="8895" y="7606"/>
                  </a:cubicBezTo>
                  <a:cubicBezTo>
                    <a:pt x="8917" y="7570"/>
                    <a:pt x="9041" y="7445"/>
                    <a:pt x="9122" y="7415"/>
                  </a:cubicBezTo>
                  <a:cubicBezTo>
                    <a:pt x="9180" y="7394"/>
                    <a:pt x="9261" y="7372"/>
                    <a:pt x="9334" y="7357"/>
                  </a:cubicBezTo>
                  <a:cubicBezTo>
                    <a:pt x="9371" y="7350"/>
                    <a:pt x="9400" y="7342"/>
                    <a:pt x="9430" y="7335"/>
                  </a:cubicBezTo>
                  <a:cubicBezTo>
                    <a:pt x="9525" y="7313"/>
                    <a:pt x="9847" y="7130"/>
                    <a:pt x="9877" y="7005"/>
                  </a:cubicBezTo>
                  <a:cubicBezTo>
                    <a:pt x="9884" y="6954"/>
                    <a:pt x="9884" y="6910"/>
                    <a:pt x="9884" y="6873"/>
                  </a:cubicBezTo>
                  <a:cubicBezTo>
                    <a:pt x="9884" y="6837"/>
                    <a:pt x="9884" y="6807"/>
                    <a:pt x="9899" y="6771"/>
                  </a:cubicBezTo>
                  <a:cubicBezTo>
                    <a:pt x="9921" y="6697"/>
                    <a:pt x="9942" y="6624"/>
                    <a:pt x="9942" y="6624"/>
                  </a:cubicBezTo>
                  <a:cubicBezTo>
                    <a:pt x="9942" y="6617"/>
                    <a:pt x="9942" y="6617"/>
                    <a:pt x="9942" y="6617"/>
                  </a:cubicBezTo>
                  <a:cubicBezTo>
                    <a:pt x="9942" y="6602"/>
                    <a:pt x="9942" y="6602"/>
                    <a:pt x="9942" y="6602"/>
                  </a:cubicBezTo>
                  <a:cubicBezTo>
                    <a:pt x="9928" y="6573"/>
                    <a:pt x="9899" y="6478"/>
                    <a:pt x="9899" y="6434"/>
                  </a:cubicBezTo>
                  <a:cubicBezTo>
                    <a:pt x="9899" y="6426"/>
                    <a:pt x="9899" y="6426"/>
                    <a:pt x="9899" y="6419"/>
                  </a:cubicBezTo>
                  <a:cubicBezTo>
                    <a:pt x="9906" y="6419"/>
                    <a:pt x="9928" y="6412"/>
                    <a:pt x="9950" y="6390"/>
                  </a:cubicBezTo>
                  <a:cubicBezTo>
                    <a:pt x="9994" y="6360"/>
                    <a:pt x="10001" y="6346"/>
                    <a:pt x="10016" y="6331"/>
                  </a:cubicBezTo>
                  <a:cubicBezTo>
                    <a:pt x="10016" y="6316"/>
                    <a:pt x="10023" y="6309"/>
                    <a:pt x="10038" y="6294"/>
                  </a:cubicBezTo>
                  <a:lnTo>
                    <a:pt x="10038" y="6294"/>
                  </a:lnTo>
                  <a:cubicBezTo>
                    <a:pt x="10052" y="6309"/>
                    <a:pt x="10075" y="6331"/>
                    <a:pt x="10118" y="6353"/>
                  </a:cubicBezTo>
                  <a:cubicBezTo>
                    <a:pt x="10155" y="6368"/>
                    <a:pt x="10199" y="6375"/>
                    <a:pt x="10228" y="6382"/>
                  </a:cubicBezTo>
                  <a:cubicBezTo>
                    <a:pt x="10272" y="6390"/>
                    <a:pt x="10302" y="6397"/>
                    <a:pt x="10324" y="6412"/>
                  </a:cubicBezTo>
                  <a:cubicBezTo>
                    <a:pt x="10338" y="6419"/>
                    <a:pt x="10353" y="6441"/>
                    <a:pt x="10368" y="6456"/>
                  </a:cubicBezTo>
                  <a:cubicBezTo>
                    <a:pt x="10397" y="6492"/>
                    <a:pt x="10433" y="6529"/>
                    <a:pt x="10470" y="6529"/>
                  </a:cubicBezTo>
                  <a:cubicBezTo>
                    <a:pt x="10485" y="6529"/>
                    <a:pt x="10499" y="6522"/>
                    <a:pt x="10507" y="6514"/>
                  </a:cubicBezTo>
                  <a:cubicBezTo>
                    <a:pt x="10543" y="6492"/>
                    <a:pt x="10551" y="6463"/>
                    <a:pt x="10558" y="6434"/>
                  </a:cubicBezTo>
                  <a:cubicBezTo>
                    <a:pt x="10573" y="6412"/>
                    <a:pt x="10580" y="6390"/>
                    <a:pt x="10595" y="6360"/>
                  </a:cubicBezTo>
                  <a:cubicBezTo>
                    <a:pt x="10609" y="6338"/>
                    <a:pt x="10624" y="6331"/>
                    <a:pt x="10631" y="6324"/>
                  </a:cubicBezTo>
                  <a:cubicBezTo>
                    <a:pt x="10661" y="6302"/>
                    <a:pt x="10690" y="6280"/>
                    <a:pt x="10705" y="6199"/>
                  </a:cubicBezTo>
                  <a:cubicBezTo>
                    <a:pt x="10712" y="6170"/>
                    <a:pt x="10719" y="6141"/>
                    <a:pt x="10727" y="6111"/>
                  </a:cubicBezTo>
                  <a:cubicBezTo>
                    <a:pt x="10749" y="6038"/>
                    <a:pt x="10763" y="5979"/>
                    <a:pt x="10734" y="5928"/>
                  </a:cubicBezTo>
                  <a:cubicBezTo>
                    <a:pt x="10719" y="5913"/>
                    <a:pt x="10712" y="5906"/>
                    <a:pt x="10705" y="5899"/>
                  </a:cubicBezTo>
                  <a:cubicBezTo>
                    <a:pt x="10690" y="5877"/>
                    <a:pt x="10683" y="5870"/>
                    <a:pt x="10690" y="5803"/>
                  </a:cubicBezTo>
                  <a:cubicBezTo>
                    <a:pt x="10697" y="5774"/>
                    <a:pt x="10697" y="5752"/>
                    <a:pt x="10697" y="5738"/>
                  </a:cubicBezTo>
                  <a:cubicBezTo>
                    <a:pt x="10712" y="5679"/>
                    <a:pt x="10719" y="5642"/>
                    <a:pt x="10690" y="5584"/>
                  </a:cubicBezTo>
                  <a:cubicBezTo>
                    <a:pt x="10675" y="5562"/>
                    <a:pt x="10668" y="5547"/>
                    <a:pt x="10661" y="5532"/>
                  </a:cubicBezTo>
                  <a:cubicBezTo>
                    <a:pt x="10646" y="5496"/>
                    <a:pt x="10631" y="5466"/>
                    <a:pt x="10602" y="5430"/>
                  </a:cubicBezTo>
                  <a:cubicBezTo>
                    <a:pt x="10573" y="5386"/>
                    <a:pt x="10514" y="5298"/>
                    <a:pt x="10507" y="5269"/>
                  </a:cubicBezTo>
                  <a:cubicBezTo>
                    <a:pt x="10499" y="5246"/>
                    <a:pt x="10485" y="5232"/>
                    <a:pt x="10463" y="5232"/>
                  </a:cubicBezTo>
                  <a:cubicBezTo>
                    <a:pt x="10448" y="5232"/>
                    <a:pt x="10433" y="5239"/>
                    <a:pt x="10419" y="5239"/>
                  </a:cubicBezTo>
                  <a:cubicBezTo>
                    <a:pt x="10404" y="5246"/>
                    <a:pt x="10382" y="5246"/>
                    <a:pt x="10368" y="5246"/>
                  </a:cubicBezTo>
                  <a:cubicBezTo>
                    <a:pt x="10360" y="5246"/>
                    <a:pt x="10353" y="5246"/>
                    <a:pt x="10346" y="5246"/>
                  </a:cubicBezTo>
                  <a:cubicBezTo>
                    <a:pt x="10294" y="5239"/>
                    <a:pt x="10272" y="5210"/>
                    <a:pt x="10236" y="5129"/>
                  </a:cubicBezTo>
                  <a:cubicBezTo>
                    <a:pt x="10192" y="5034"/>
                    <a:pt x="10104" y="5012"/>
                    <a:pt x="10023" y="4990"/>
                  </a:cubicBezTo>
                  <a:cubicBezTo>
                    <a:pt x="10016" y="4983"/>
                    <a:pt x="10009" y="4983"/>
                    <a:pt x="10001" y="4983"/>
                  </a:cubicBezTo>
                  <a:cubicBezTo>
                    <a:pt x="9950" y="4983"/>
                    <a:pt x="9935" y="5027"/>
                    <a:pt x="9928" y="5056"/>
                  </a:cubicBezTo>
                  <a:cubicBezTo>
                    <a:pt x="9921" y="5056"/>
                    <a:pt x="9921" y="5063"/>
                    <a:pt x="9921" y="5071"/>
                  </a:cubicBezTo>
                  <a:cubicBezTo>
                    <a:pt x="9913" y="5071"/>
                    <a:pt x="9913" y="5063"/>
                    <a:pt x="9906" y="5063"/>
                  </a:cubicBezTo>
                  <a:cubicBezTo>
                    <a:pt x="9833" y="4997"/>
                    <a:pt x="9759" y="4968"/>
                    <a:pt x="9716" y="4961"/>
                  </a:cubicBezTo>
                  <a:cubicBezTo>
                    <a:pt x="9723" y="4946"/>
                    <a:pt x="9723" y="4932"/>
                    <a:pt x="9730" y="4917"/>
                  </a:cubicBezTo>
                  <a:cubicBezTo>
                    <a:pt x="9737" y="4873"/>
                    <a:pt x="9752" y="4829"/>
                    <a:pt x="9737" y="4792"/>
                  </a:cubicBezTo>
                  <a:cubicBezTo>
                    <a:pt x="9716" y="4726"/>
                    <a:pt x="9561" y="4551"/>
                    <a:pt x="9488" y="4536"/>
                  </a:cubicBezTo>
                  <a:cubicBezTo>
                    <a:pt x="9437" y="4521"/>
                    <a:pt x="9305" y="4521"/>
                    <a:pt x="9268" y="4521"/>
                  </a:cubicBezTo>
                  <a:cubicBezTo>
                    <a:pt x="9247" y="4506"/>
                    <a:pt x="9210" y="4463"/>
                    <a:pt x="9202" y="4433"/>
                  </a:cubicBezTo>
                  <a:cubicBezTo>
                    <a:pt x="9188" y="4360"/>
                    <a:pt x="9100" y="4287"/>
                    <a:pt x="9041" y="4257"/>
                  </a:cubicBezTo>
                  <a:cubicBezTo>
                    <a:pt x="9019" y="4235"/>
                    <a:pt x="9005" y="4213"/>
                    <a:pt x="8990" y="4184"/>
                  </a:cubicBezTo>
                  <a:cubicBezTo>
                    <a:pt x="8983" y="4170"/>
                    <a:pt x="8975" y="4147"/>
                    <a:pt x="8961" y="4125"/>
                  </a:cubicBezTo>
                  <a:cubicBezTo>
                    <a:pt x="8917" y="4067"/>
                    <a:pt x="8873" y="4008"/>
                    <a:pt x="8821" y="3964"/>
                  </a:cubicBezTo>
                  <a:cubicBezTo>
                    <a:pt x="8814" y="3957"/>
                    <a:pt x="8814" y="3957"/>
                    <a:pt x="8814" y="3957"/>
                  </a:cubicBezTo>
                  <a:cubicBezTo>
                    <a:pt x="8756" y="3898"/>
                    <a:pt x="8660" y="3803"/>
                    <a:pt x="8543" y="3803"/>
                  </a:cubicBezTo>
                  <a:cubicBezTo>
                    <a:pt x="8521" y="3803"/>
                    <a:pt x="8506" y="3803"/>
                    <a:pt x="8485" y="3810"/>
                  </a:cubicBezTo>
                  <a:cubicBezTo>
                    <a:pt x="8470" y="3818"/>
                    <a:pt x="8470" y="3818"/>
                    <a:pt x="8470" y="3818"/>
                  </a:cubicBezTo>
                  <a:cubicBezTo>
                    <a:pt x="8418" y="3825"/>
                    <a:pt x="8375" y="3840"/>
                    <a:pt x="8345" y="3840"/>
                  </a:cubicBezTo>
                  <a:cubicBezTo>
                    <a:pt x="8316" y="3840"/>
                    <a:pt x="8301" y="3832"/>
                    <a:pt x="8287" y="3796"/>
                  </a:cubicBezTo>
                  <a:cubicBezTo>
                    <a:pt x="8250" y="3693"/>
                    <a:pt x="8125" y="3569"/>
                    <a:pt x="8023" y="3569"/>
                  </a:cubicBezTo>
                  <a:cubicBezTo>
                    <a:pt x="8008" y="3569"/>
                    <a:pt x="8008" y="3569"/>
                    <a:pt x="8008" y="3569"/>
                  </a:cubicBezTo>
                  <a:cubicBezTo>
                    <a:pt x="7986" y="3539"/>
                    <a:pt x="7986" y="3466"/>
                    <a:pt x="7986" y="3415"/>
                  </a:cubicBezTo>
                  <a:cubicBezTo>
                    <a:pt x="7986" y="3385"/>
                    <a:pt x="7986" y="3356"/>
                    <a:pt x="7979" y="3334"/>
                  </a:cubicBezTo>
                  <a:cubicBezTo>
                    <a:pt x="7971" y="3268"/>
                    <a:pt x="7906" y="3239"/>
                    <a:pt x="7876" y="3224"/>
                  </a:cubicBezTo>
                  <a:cubicBezTo>
                    <a:pt x="7854" y="3165"/>
                    <a:pt x="7796" y="2990"/>
                    <a:pt x="7774" y="2960"/>
                  </a:cubicBezTo>
                  <a:cubicBezTo>
                    <a:pt x="7759" y="2938"/>
                    <a:pt x="7737" y="2931"/>
                    <a:pt x="7715" y="2924"/>
                  </a:cubicBezTo>
                  <a:cubicBezTo>
                    <a:pt x="7686" y="2902"/>
                    <a:pt x="7686" y="2902"/>
                    <a:pt x="7686" y="2894"/>
                  </a:cubicBezTo>
                  <a:cubicBezTo>
                    <a:pt x="7693" y="2851"/>
                    <a:pt x="7722" y="2726"/>
                    <a:pt x="7642" y="2711"/>
                  </a:cubicBezTo>
                  <a:cubicBezTo>
                    <a:pt x="7576" y="2696"/>
                    <a:pt x="7503" y="2660"/>
                    <a:pt x="7473" y="2631"/>
                  </a:cubicBezTo>
                  <a:cubicBezTo>
                    <a:pt x="7444" y="2587"/>
                    <a:pt x="7437" y="2572"/>
                    <a:pt x="7466" y="2528"/>
                  </a:cubicBezTo>
                  <a:cubicBezTo>
                    <a:pt x="7503" y="2477"/>
                    <a:pt x="7583" y="2440"/>
                    <a:pt x="7583" y="2440"/>
                  </a:cubicBezTo>
                  <a:cubicBezTo>
                    <a:pt x="7678" y="2382"/>
                    <a:pt x="7678" y="2382"/>
                    <a:pt x="7678" y="2382"/>
                  </a:cubicBezTo>
                  <a:cubicBezTo>
                    <a:pt x="7568" y="2382"/>
                    <a:pt x="7568" y="2382"/>
                    <a:pt x="7568" y="2382"/>
                  </a:cubicBezTo>
                  <a:cubicBezTo>
                    <a:pt x="7568" y="2382"/>
                    <a:pt x="7561" y="2382"/>
                    <a:pt x="7554" y="2374"/>
                  </a:cubicBezTo>
                  <a:cubicBezTo>
                    <a:pt x="7554" y="2367"/>
                    <a:pt x="7554" y="2352"/>
                    <a:pt x="7561" y="2330"/>
                  </a:cubicBezTo>
                  <a:cubicBezTo>
                    <a:pt x="7561" y="2323"/>
                    <a:pt x="7561" y="2323"/>
                    <a:pt x="7561" y="2323"/>
                  </a:cubicBezTo>
                  <a:cubicBezTo>
                    <a:pt x="7598" y="2235"/>
                    <a:pt x="7605" y="2206"/>
                    <a:pt x="7656" y="2147"/>
                  </a:cubicBezTo>
                  <a:cubicBezTo>
                    <a:pt x="7693" y="2103"/>
                    <a:pt x="7722" y="2059"/>
                    <a:pt x="7708" y="2008"/>
                  </a:cubicBezTo>
                  <a:cubicBezTo>
                    <a:pt x="7700" y="1978"/>
                    <a:pt x="7678" y="1956"/>
                    <a:pt x="7635" y="1942"/>
                  </a:cubicBezTo>
                  <a:cubicBezTo>
                    <a:pt x="7561" y="1913"/>
                    <a:pt x="7554" y="1898"/>
                    <a:pt x="7554" y="1891"/>
                  </a:cubicBezTo>
                  <a:cubicBezTo>
                    <a:pt x="7554" y="1891"/>
                    <a:pt x="7554" y="1883"/>
                    <a:pt x="7561" y="1876"/>
                  </a:cubicBezTo>
                  <a:cubicBezTo>
                    <a:pt x="7583" y="1854"/>
                    <a:pt x="7590" y="1825"/>
                    <a:pt x="7583" y="1803"/>
                  </a:cubicBezTo>
                  <a:cubicBezTo>
                    <a:pt x="7568" y="1759"/>
                    <a:pt x="7510" y="1722"/>
                    <a:pt x="7444" y="1715"/>
                  </a:cubicBezTo>
                  <a:cubicBezTo>
                    <a:pt x="7393" y="1700"/>
                    <a:pt x="7378" y="1693"/>
                    <a:pt x="7327" y="1656"/>
                  </a:cubicBezTo>
                  <a:cubicBezTo>
                    <a:pt x="7312" y="1641"/>
                    <a:pt x="7297" y="1627"/>
                    <a:pt x="7275" y="1612"/>
                  </a:cubicBezTo>
                  <a:cubicBezTo>
                    <a:pt x="7239" y="1590"/>
                    <a:pt x="7209" y="1568"/>
                    <a:pt x="7173" y="1553"/>
                  </a:cubicBezTo>
                  <a:cubicBezTo>
                    <a:pt x="7129" y="1532"/>
                    <a:pt x="7099" y="1517"/>
                    <a:pt x="7085" y="1480"/>
                  </a:cubicBezTo>
                  <a:cubicBezTo>
                    <a:pt x="7056" y="1414"/>
                    <a:pt x="7012" y="1392"/>
                    <a:pt x="6975" y="1378"/>
                  </a:cubicBezTo>
                  <a:cubicBezTo>
                    <a:pt x="6960" y="1370"/>
                    <a:pt x="6946" y="1363"/>
                    <a:pt x="6938" y="1356"/>
                  </a:cubicBezTo>
                  <a:cubicBezTo>
                    <a:pt x="6931" y="1348"/>
                    <a:pt x="6924" y="1334"/>
                    <a:pt x="6924" y="1312"/>
                  </a:cubicBezTo>
                  <a:cubicBezTo>
                    <a:pt x="6916" y="1275"/>
                    <a:pt x="6931" y="1238"/>
                    <a:pt x="6938" y="1231"/>
                  </a:cubicBezTo>
                  <a:cubicBezTo>
                    <a:pt x="6975" y="1202"/>
                    <a:pt x="6982" y="1143"/>
                    <a:pt x="6968" y="1099"/>
                  </a:cubicBezTo>
                  <a:cubicBezTo>
                    <a:pt x="6960" y="1063"/>
                    <a:pt x="6931" y="1041"/>
                    <a:pt x="6887" y="1033"/>
                  </a:cubicBezTo>
                  <a:cubicBezTo>
                    <a:pt x="6850" y="1026"/>
                    <a:pt x="6836" y="1019"/>
                    <a:pt x="6821" y="1004"/>
                  </a:cubicBezTo>
                  <a:cubicBezTo>
                    <a:pt x="6799" y="989"/>
                    <a:pt x="6785" y="975"/>
                    <a:pt x="6748" y="967"/>
                  </a:cubicBezTo>
                  <a:cubicBezTo>
                    <a:pt x="6726" y="960"/>
                    <a:pt x="6711" y="945"/>
                    <a:pt x="6711" y="923"/>
                  </a:cubicBezTo>
                  <a:cubicBezTo>
                    <a:pt x="6711" y="909"/>
                    <a:pt x="6718" y="894"/>
                    <a:pt x="6740" y="887"/>
                  </a:cubicBezTo>
                  <a:cubicBezTo>
                    <a:pt x="6762" y="872"/>
                    <a:pt x="6777" y="857"/>
                    <a:pt x="6785" y="835"/>
                  </a:cubicBezTo>
                  <a:cubicBezTo>
                    <a:pt x="6799" y="784"/>
                    <a:pt x="6770" y="725"/>
                    <a:pt x="6755" y="703"/>
                  </a:cubicBezTo>
                  <a:cubicBezTo>
                    <a:pt x="6755" y="689"/>
                    <a:pt x="6755" y="689"/>
                    <a:pt x="6755" y="689"/>
                  </a:cubicBezTo>
                  <a:cubicBezTo>
                    <a:pt x="6740" y="689"/>
                    <a:pt x="6740" y="689"/>
                    <a:pt x="6740" y="689"/>
                  </a:cubicBezTo>
                  <a:cubicBezTo>
                    <a:pt x="6623" y="623"/>
                    <a:pt x="6594" y="623"/>
                    <a:pt x="6579" y="623"/>
                  </a:cubicBezTo>
                  <a:cubicBezTo>
                    <a:pt x="6543" y="623"/>
                    <a:pt x="6484" y="601"/>
                    <a:pt x="6433" y="579"/>
                  </a:cubicBezTo>
                  <a:cubicBezTo>
                    <a:pt x="6411" y="572"/>
                    <a:pt x="6404" y="513"/>
                    <a:pt x="6396" y="476"/>
                  </a:cubicBezTo>
                  <a:cubicBezTo>
                    <a:pt x="6396" y="447"/>
                    <a:pt x="6389" y="418"/>
                    <a:pt x="6381" y="396"/>
                  </a:cubicBezTo>
                  <a:cubicBezTo>
                    <a:pt x="6359" y="374"/>
                    <a:pt x="6330" y="359"/>
                    <a:pt x="6301" y="359"/>
                  </a:cubicBezTo>
                  <a:cubicBezTo>
                    <a:pt x="6294" y="359"/>
                    <a:pt x="6294" y="359"/>
                    <a:pt x="6294" y="359"/>
                  </a:cubicBezTo>
                  <a:lnTo>
                    <a:pt x="6294" y="359"/>
                  </a:lnTo>
                  <a:cubicBezTo>
                    <a:pt x="6286" y="359"/>
                    <a:pt x="6286" y="359"/>
                    <a:pt x="6286" y="359"/>
                  </a:cubicBezTo>
                  <a:cubicBezTo>
                    <a:pt x="6257" y="359"/>
                    <a:pt x="6228" y="374"/>
                    <a:pt x="6198" y="388"/>
                  </a:cubicBezTo>
                  <a:cubicBezTo>
                    <a:pt x="6154" y="418"/>
                    <a:pt x="6147" y="418"/>
                    <a:pt x="6059" y="418"/>
                  </a:cubicBezTo>
                  <a:cubicBezTo>
                    <a:pt x="6044" y="418"/>
                    <a:pt x="6037" y="418"/>
                    <a:pt x="6030" y="418"/>
                  </a:cubicBezTo>
                  <a:cubicBezTo>
                    <a:pt x="6022" y="388"/>
                    <a:pt x="5993" y="381"/>
                    <a:pt x="5971" y="381"/>
                  </a:cubicBezTo>
                  <a:cubicBezTo>
                    <a:pt x="5898" y="381"/>
                    <a:pt x="5780" y="432"/>
                    <a:pt x="5707" y="469"/>
                  </a:cubicBezTo>
                  <a:cubicBezTo>
                    <a:pt x="5693" y="469"/>
                    <a:pt x="5685" y="476"/>
                    <a:pt x="5678" y="476"/>
                  </a:cubicBezTo>
                  <a:cubicBezTo>
                    <a:pt x="5671" y="476"/>
                    <a:pt x="5663" y="469"/>
                    <a:pt x="5649" y="454"/>
                  </a:cubicBezTo>
                  <a:cubicBezTo>
                    <a:pt x="5641" y="447"/>
                    <a:pt x="5627" y="432"/>
                    <a:pt x="5605" y="425"/>
                  </a:cubicBezTo>
                  <a:cubicBezTo>
                    <a:pt x="5597" y="418"/>
                    <a:pt x="5590" y="418"/>
                    <a:pt x="5575" y="418"/>
                  </a:cubicBezTo>
                  <a:cubicBezTo>
                    <a:pt x="5546" y="418"/>
                    <a:pt x="5524" y="440"/>
                    <a:pt x="5502" y="469"/>
                  </a:cubicBezTo>
                  <a:cubicBezTo>
                    <a:pt x="5495" y="484"/>
                    <a:pt x="5480" y="498"/>
                    <a:pt x="5458" y="513"/>
                  </a:cubicBezTo>
                  <a:cubicBezTo>
                    <a:pt x="5458" y="520"/>
                    <a:pt x="5451" y="520"/>
                    <a:pt x="5451" y="520"/>
                  </a:cubicBezTo>
                  <a:cubicBezTo>
                    <a:pt x="5436" y="520"/>
                    <a:pt x="5407" y="484"/>
                    <a:pt x="5399" y="440"/>
                  </a:cubicBezTo>
                  <a:cubicBezTo>
                    <a:pt x="5385" y="403"/>
                    <a:pt x="5370" y="344"/>
                    <a:pt x="5297" y="330"/>
                  </a:cubicBezTo>
                  <a:cubicBezTo>
                    <a:pt x="5282" y="322"/>
                    <a:pt x="5268" y="315"/>
                    <a:pt x="5260" y="301"/>
                  </a:cubicBezTo>
                  <a:cubicBezTo>
                    <a:pt x="5246" y="271"/>
                    <a:pt x="5246" y="242"/>
                    <a:pt x="5246" y="234"/>
                  </a:cubicBezTo>
                  <a:cubicBezTo>
                    <a:pt x="5260" y="205"/>
                    <a:pt x="5260" y="132"/>
                    <a:pt x="5231" y="88"/>
                  </a:cubicBezTo>
                  <a:cubicBezTo>
                    <a:pt x="5216" y="66"/>
                    <a:pt x="5194" y="59"/>
                    <a:pt x="5172" y="59"/>
                  </a:cubicBezTo>
                  <a:cubicBezTo>
                    <a:pt x="5165" y="59"/>
                    <a:pt x="5150" y="59"/>
                    <a:pt x="5143" y="59"/>
                  </a:cubicBezTo>
                  <a:cubicBezTo>
                    <a:pt x="5128" y="51"/>
                    <a:pt x="5121" y="51"/>
                    <a:pt x="5106" y="51"/>
                  </a:cubicBezTo>
                  <a:cubicBezTo>
                    <a:pt x="5085" y="51"/>
                    <a:pt x="5033" y="51"/>
                    <a:pt x="5018" y="103"/>
                  </a:cubicBezTo>
                  <a:cubicBezTo>
                    <a:pt x="5011" y="125"/>
                    <a:pt x="4982" y="146"/>
                    <a:pt x="4931" y="176"/>
                  </a:cubicBezTo>
                  <a:cubicBezTo>
                    <a:pt x="4872" y="205"/>
                    <a:pt x="4828" y="242"/>
                    <a:pt x="4828" y="242"/>
                  </a:cubicBezTo>
                  <a:cubicBezTo>
                    <a:pt x="4813" y="256"/>
                    <a:pt x="4813" y="256"/>
                    <a:pt x="4813" y="256"/>
                  </a:cubicBezTo>
                  <a:cubicBezTo>
                    <a:pt x="4813" y="271"/>
                    <a:pt x="4813" y="271"/>
                    <a:pt x="4813" y="271"/>
                  </a:cubicBezTo>
                  <a:cubicBezTo>
                    <a:pt x="4813" y="278"/>
                    <a:pt x="4828" y="410"/>
                    <a:pt x="4872" y="498"/>
                  </a:cubicBezTo>
                  <a:cubicBezTo>
                    <a:pt x="4901" y="542"/>
                    <a:pt x="4894" y="594"/>
                    <a:pt x="4894" y="660"/>
                  </a:cubicBezTo>
                  <a:cubicBezTo>
                    <a:pt x="4894" y="703"/>
                    <a:pt x="4887" y="747"/>
                    <a:pt x="4894" y="806"/>
                  </a:cubicBezTo>
                  <a:cubicBezTo>
                    <a:pt x="4901" y="865"/>
                    <a:pt x="4887" y="879"/>
                    <a:pt x="4887" y="879"/>
                  </a:cubicBezTo>
                  <a:cubicBezTo>
                    <a:pt x="4887" y="879"/>
                    <a:pt x="4887" y="887"/>
                    <a:pt x="4872" y="887"/>
                  </a:cubicBezTo>
                  <a:cubicBezTo>
                    <a:pt x="4872" y="887"/>
                    <a:pt x="4865" y="887"/>
                    <a:pt x="4857" y="887"/>
                  </a:cubicBezTo>
                  <a:cubicBezTo>
                    <a:pt x="4857" y="887"/>
                    <a:pt x="4850" y="887"/>
                    <a:pt x="4843" y="887"/>
                  </a:cubicBezTo>
                  <a:cubicBezTo>
                    <a:pt x="4843" y="887"/>
                    <a:pt x="4835" y="879"/>
                    <a:pt x="4828" y="879"/>
                  </a:cubicBezTo>
                  <a:cubicBezTo>
                    <a:pt x="4821" y="872"/>
                    <a:pt x="4806" y="857"/>
                    <a:pt x="4791" y="857"/>
                  </a:cubicBezTo>
                  <a:cubicBezTo>
                    <a:pt x="4777" y="857"/>
                    <a:pt x="4762" y="865"/>
                    <a:pt x="4747" y="879"/>
                  </a:cubicBezTo>
                  <a:cubicBezTo>
                    <a:pt x="4740" y="887"/>
                    <a:pt x="4740" y="887"/>
                    <a:pt x="4733" y="887"/>
                  </a:cubicBezTo>
                  <a:cubicBezTo>
                    <a:pt x="4725" y="887"/>
                    <a:pt x="4711" y="879"/>
                    <a:pt x="4674" y="850"/>
                  </a:cubicBezTo>
                  <a:cubicBezTo>
                    <a:pt x="4652" y="828"/>
                    <a:pt x="4667" y="791"/>
                    <a:pt x="4667" y="791"/>
                  </a:cubicBezTo>
                  <a:cubicBezTo>
                    <a:pt x="4667" y="784"/>
                    <a:pt x="4667" y="784"/>
                    <a:pt x="4667" y="784"/>
                  </a:cubicBezTo>
                  <a:cubicBezTo>
                    <a:pt x="4674" y="784"/>
                    <a:pt x="4674" y="784"/>
                    <a:pt x="4674" y="784"/>
                  </a:cubicBezTo>
                  <a:cubicBezTo>
                    <a:pt x="4674" y="769"/>
                    <a:pt x="4696" y="674"/>
                    <a:pt x="4652" y="630"/>
                  </a:cubicBezTo>
                  <a:cubicBezTo>
                    <a:pt x="4623" y="601"/>
                    <a:pt x="4586" y="601"/>
                    <a:pt x="4564" y="601"/>
                  </a:cubicBezTo>
                  <a:cubicBezTo>
                    <a:pt x="4549" y="601"/>
                    <a:pt x="4535" y="601"/>
                    <a:pt x="4535" y="601"/>
                  </a:cubicBezTo>
                  <a:cubicBezTo>
                    <a:pt x="4528" y="601"/>
                    <a:pt x="4528" y="601"/>
                    <a:pt x="4528" y="601"/>
                  </a:cubicBezTo>
                  <a:cubicBezTo>
                    <a:pt x="4520" y="608"/>
                    <a:pt x="4520" y="608"/>
                    <a:pt x="4520" y="608"/>
                  </a:cubicBezTo>
                  <a:cubicBezTo>
                    <a:pt x="4498" y="615"/>
                    <a:pt x="4462" y="637"/>
                    <a:pt x="4432" y="637"/>
                  </a:cubicBezTo>
                  <a:lnTo>
                    <a:pt x="4432" y="637"/>
                  </a:lnTo>
                  <a:cubicBezTo>
                    <a:pt x="4388" y="608"/>
                    <a:pt x="4359" y="594"/>
                    <a:pt x="4337" y="594"/>
                  </a:cubicBezTo>
                  <a:cubicBezTo>
                    <a:pt x="4323" y="594"/>
                    <a:pt x="4315" y="601"/>
                    <a:pt x="4308" y="608"/>
                  </a:cubicBezTo>
                  <a:cubicBezTo>
                    <a:pt x="4300" y="608"/>
                    <a:pt x="4300" y="615"/>
                    <a:pt x="4300" y="615"/>
                  </a:cubicBezTo>
                  <a:cubicBezTo>
                    <a:pt x="4293" y="615"/>
                    <a:pt x="4286" y="608"/>
                    <a:pt x="4286" y="594"/>
                  </a:cubicBezTo>
                  <a:cubicBezTo>
                    <a:pt x="4249" y="528"/>
                    <a:pt x="4139" y="520"/>
                    <a:pt x="4110" y="520"/>
                  </a:cubicBezTo>
                  <a:cubicBezTo>
                    <a:pt x="4095" y="520"/>
                    <a:pt x="4088" y="520"/>
                    <a:pt x="4073" y="513"/>
                  </a:cubicBezTo>
                  <a:cubicBezTo>
                    <a:pt x="4059" y="513"/>
                    <a:pt x="4037" y="513"/>
                    <a:pt x="4022" y="513"/>
                  </a:cubicBezTo>
                  <a:cubicBezTo>
                    <a:pt x="4000" y="513"/>
                    <a:pt x="3978" y="513"/>
                    <a:pt x="3949" y="520"/>
                  </a:cubicBezTo>
                  <a:cubicBezTo>
                    <a:pt x="3883" y="542"/>
                    <a:pt x="3868" y="557"/>
                    <a:pt x="3809" y="601"/>
                  </a:cubicBezTo>
                  <a:cubicBezTo>
                    <a:pt x="3787" y="615"/>
                    <a:pt x="3787" y="615"/>
                    <a:pt x="3787" y="615"/>
                  </a:cubicBezTo>
                  <a:cubicBezTo>
                    <a:pt x="3692" y="682"/>
                    <a:pt x="3714" y="733"/>
                    <a:pt x="3736" y="791"/>
                  </a:cubicBezTo>
                  <a:cubicBezTo>
                    <a:pt x="3736" y="813"/>
                    <a:pt x="3736" y="813"/>
                    <a:pt x="3736" y="813"/>
                  </a:cubicBezTo>
                  <a:cubicBezTo>
                    <a:pt x="3758" y="872"/>
                    <a:pt x="3817" y="894"/>
                    <a:pt x="3883" y="916"/>
                  </a:cubicBezTo>
                  <a:cubicBezTo>
                    <a:pt x="3905" y="931"/>
                    <a:pt x="3934" y="938"/>
                    <a:pt x="3956" y="953"/>
                  </a:cubicBezTo>
                  <a:cubicBezTo>
                    <a:pt x="3971" y="960"/>
                    <a:pt x="3993" y="975"/>
                    <a:pt x="3985" y="996"/>
                  </a:cubicBezTo>
                  <a:cubicBezTo>
                    <a:pt x="3978" y="1011"/>
                    <a:pt x="3971" y="1019"/>
                    <a:pt x="3963" y="1019"/>
                  </a:cubicBezTo>
                  <a:cubicBezTo>
                    <a:pt x="3949" y="1019"/>
                    <a:pt x="3941" y="1019"/>
                    <a:pt x="3941" y="1011"/>
                  </a:cubicBezTo>
                  <a:cubicBezTo>
                    <a:pt x="3934" y="1011"/>
                    <a:pt x="3919" y="1004"/>
                    <a:pt x="3912" y="1004"/>
                  </a:cubicBezTo>
                  <a:cubicBezTo>
                    <a:pt x="3890" y="1004"/>
                    <a:pt x="3868" y="1026"/>
                    <a:pt x="3861" y="1041"/>
                  </a:cubicBezTo>
                  <a:cubicBezTo>
                    <a:pt x="3854" y="1048"/>
                    <a:pt x="3854" y="1048"/>
                    <a:pt x="3839" y="1048"/>
                  </a:cubicBezTo>
                  <a:cubicBezTo>
                    <a:pt x="3817" y="1048"/>
                    <a:pt x="3780" y="1033"/>
                    <a:pt x="3773" y="1026"/>
                  </a:cubicBezTo>
                  <a:cubicBezTo>
                    <a:pt x="3714" y="989"/>
                    <a:pt x="3714" y="989"/>
                    <a:pt x="3714" y="989"/>
                  </a:cubicBezTo>
                  <a:cubicBezTo>
                    <a:pt x="3729" y="1055"/>
                    <a:pt x="3729" y="1055"/>
                    <a:pt x="3729" y="1055"/>
                  </a:cubicBezTo>
                  <a:cubicBezTo>
                    <a:pt x="3736" y="1092"/>
                    <a:pt x="3729" y="1099"/>
                    <a:pt x="3722" y="1099"/>
                  </a:cubicBezTo>
                  <a:cubicBezTo>
                    <a:pt x="3722" y="1106"/>
                    <a:pt x="3714" y="1106"/>
                    <a:pt x="3707" y="1106"/>
                  </a:cubicBezTo>
                  <a:cubicBezTo>
                    <a:pt x="3692" y="1106"/>
                    <a:pt x="3678" y="1099"/>
                    <a:pt x="3678" y="1099"/>
                  </a:cubicBezTo>
                  <a:lnTo>
                    <a:pt x="3678" y="1099"/>
                  </a:lnTo>
                  <a:cubicBezTo>
                    <a:pt x="3670" y="1099"/>
                    <a:pt x="3670" y="1099"/>
                    <a:pt x="3670" y="1099"/>
                  </a:cubicBezTo>
                  <a:cubicBezTo>
                    <a:pt x="3670" y="1099"/>
                    <a:pt x="3604" y="1084"/>
                    <a:pt x="3538" y="1070"/>
                  </a:cubicBezTo>
                  <a:cubicBezTo>
                    <a:pt x="3502" y="1055"/>
                    <a:pt x="3502" y="1011"/>
                    <a:pt x="3516" y="931"/>
                  </a:cubicBezTo>
                  <a:cubicBezTo>
                    <a:pt x="3524" y="887"/>
                    <a:pt x="3509" y="857"/>
                    <a:pt x="3494" y="828"/>
                  </a:cubicBezTo>
                  <a:cubicBezTo>
                    <a:pt x="3487" y="806"/>
                    <a:pt x="3480" y="791"/>
                    <a:pt x="3480" y="769"/>
                  </a:cubicBezTo>
                  <a:cubicBezTo>
                    <a:pt x="3480" y="689"/>
                    <a:pt x="3421" y="660"/>
                    <a:pt x="3385" y="660"/>
                  </a:cubicBezTo>
                  <a:lnTo>
                    <a:pt x="3385" y="660"/>
                  </a:lnTo>
                  <a:cubicBezTo>
                    <a:pt x="3377" y="660"/>
                    <a:pt x="3377" y="660"/>
                    <a:pt x="3377" y="660"/>
                  </a:cubicBezTo>
                  <a:cubicBezTo>
                    <a:pt x="3377" y="660"/>
                    <a:pt x="3363" y="660"/>
                    <a:pt x="3348" y="660"/>
                  </a:cubicBezTo>
                  <a:cubicBezTo>
                    <a:pt x="3304" y="660"/>
                    <a:pt x="3267" y="652"/>
                    <a:pt x="3253" y="637"/>
                  </a:cubicBezTo>
                  <a:cubicBezTo>
                    <a:pt x="3238" y="630"/>
                    <a:pt x="3231" y="615"/>
                    <a:pt x="3223" y="601"/>
                  </a:cubicBezTo>
                  <a:cubicBezTo>
                    <a:pt x="3209" y="579"/>
                    <a:pt x="3187" y="542"/>
                    <a:pt x="3143" y="542"/>
                  </a:cubicBezTo>
                  <a:cubicBezTo>
                    <a:pt x="3143" y="542"/>
                    <a:pt x="3135" y="542"/>
                    <a:pt x="3128" y="542"/>
                  </a:cubicBezTo>
                  <a:cubicBezTo>
                    <a:pt x="3121" y="542"/>
                    <a:pt x="3121" y="542"/>
                    <a:pt x="3113" y="542"/>
                  </a:cubicBezTo>
                  <a:cubicBezTo>
                    <a:pt x="3099" y="542"/>
                    <a:pt x="3092" y="542"/>
                    <a:pt x="3070" y="498"/>
                  </a:cubicBezTo>
                  <a:cubicBezTo>
                    <a:pt x="3063" y="491"/>
                    <a:pt x="3063" y="484"/>
                    <a:pt x="3056" y="476"/>
                  </a:cubicBezTo>
                  <a:cubicBezTo>
                    <a:pt x="3048" y="462"/>
                    <a:pt x="3048" y="462"/>
                    <a:pt x="3048" y="462"/>
                  </a:cubicBezTo>
                  <a:cubicBezTo>
                    <a:pt x="3019" y="418"/>
                    <a:pt x="3004" y="388"/>
                    <a:pt x="2953" y="330"/>
                  </a:cubicBezTo>
                  <a:cubicBezTo>
                    <a:pt x="2938" y="308"/>
                    <a:pt x="2931" y="286"/>
                    <a:pt x="2924" y="271"/>
                  </a:cubicBezTo>
                  <a:cubicBezTo>
                    <a:pt x="2909" y="234"/>
                    <a:pt x="2895" y="213"/>
                    <a:pt x="2836" y="205"/>
                  </a:cubicBezTo>
                  <a:cubicBezTo>
                    <a:pt x="2792" y="198"/>
                    <a:pt x="2763" y="154"/>
                    <a:pt x="2726" y="110"/>
                  </a:cubicBezTo>
                  <a:cubicBezTo>
                    <a:pt x="2711" y="88"/>
                    <a:pt x="2697" y="66"/>
                    <a:pt x="2682" y="44"/>
                  </a:cubicBezTo>
                  <a:cubicBezTo>
                    <a:pt x="2667" y="22"/>
                    <a:pt x="2645" y="0"/>
                    <a:pt x="2616" y="0"/>
                  </a:cubicBezTo>
                  <a:lnTo>
                    <a:pt x="2616" y="37"/>
                  </a:ln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99" name="Freeform 98"/>
            <p:cNvSpPr>
              <a:spLocks noChangeArrowheads="1"/>
            </p:cNvSpPr>
            <p:nvPr/>
          </p:nvSpPr>
          <p:spPr bwMode="auto">
            <a:xfrm>
              <a:off x="3501614" y="7785284"/>
              <a:ext cx="1986234" cy="2522461"/>
            </a:xfrm>
            <a:custGeom>
              <a:avLst/>
              <a:gdLst>
                <a:gd name="T0" fmla="*/ 4082 w 5167"/>
                <a:gd name="T1" fmla="*/ 6426 h 6639"/>
                <a:gd name="T2" fmla="*/ 3686 w 5167"/>
                <a:gd name="T3" fmla="*/ 6345 h 6639"/>
                <a:gd name="T4" fmla="*/ 3444 w 5167"/>
                <a:gd name="T5" fmla="*/ 6323 h 6639"/>
                <a:gd name="T6" fmla="*/ 3173 w 5167"/>
                <a:gd name="T7" fmla="*/ 6206 h 6639"/>
                <a:gd name="T8" fmla="*/ 2938 w 5167"/>
                <a:gd name="T9" fmla="*/ 5950 h 6639"/>
                <a:gd name="T10" fmla="*/ 2609 w 5167"/>
                <a:gd name="T11" fmla="*/ 5935 h 6639"/>
                <a:gd name="T12" fmla="*/ 2616 w 5167"/>
                <a:gd name="T13" fmla="*/ 5517 h 6639"/>
                <a:gd name="T14" fmla="*/ 2682 w 5167"/>
                <a:gd name="T15" fmla="*/ 5254 h 6639"/>
                <a:gd name="T16" fmla="*/ 2514 w 5167"/>
                <a:gd name="T17" fmla="*/ 4924 h 6639"/>
                <a:gd name="T18" fmla="*/ 2447 w 5167"/>
                <a:gd name="T19" fmla="*/ 4594 h 6639"/>
                <a:gd name="T20" fmla="*/ 2191 w 5167"/>
                <a:gd name="T21" fmla="*/ 4528 h 6639"/>
                <a:gd name="T22" fmla="*/ 1737 w 5167"/>
                <a:gd name="T23" fmla="*/ 4389 h 6639"/>
                <a:gd name="T24" fmla="*/ 1173 w 5167"/>
                <a:gd name="T25" fmla="*/ 4631 h 6639"/>
                <a:gd name="T26" fmla="*/ 887 w 5167"/>
                <a:gd name="T27" fmla="*/ 4660 h 6639"/>
                <a:gd name="T28" fmla="*/ 491 w 5167"/>
                <a:gd name="T29" fmla="*/ 4616 h 6639"/>
                <a:gd name="T30" fmla="*/ 777 w 5167"/>
                <a:gd name="T31" fmla="*/ 4066 h 6639"/>
                <a:gd name="T32" fmla="*/ 616 w 5167"/>
                <a:gd name="T33" fmla="*/ 3627 h 6639"/>
                <a:gd name="T34" fmla="*/ 249 w 5167"/>
                <a:gd name="T35" fmla="*/ 3283 h 6639"/>
                <a:gd name="T36" fmla="*/ 95 w 5167"/>
                <a:gd name="T37" fmla="*/ 2608 h 6639"/>
                <a:gd name="T38" fmla="*/ 249 w 5167"/>
                <a:gd name="T39" fmla="*/ 2220 h 6639"/>
                <a:gd name="T40" fmla="*/ 696 w 5167"/>
                <a:gd name="T41" fmla="*/ 1978 h 6639"/>
                <a:gd name="T42" fmla="*/ 696 w 5167"/>
                <a:gd name="T43" fmla="*/ 1788 h 6639"/>
                <a:gd name="T44" fmla="*/ 1048 w 5167"/>
                <a:gd name="T45" fmla="*/ 1810 h 6639"/>
                <a:gd name="T46" fmla="*/ 1319 w 5167"/>
                <a:gd name="T47" fmla="*/ 1905 h 6639"/>
                <a:gd name="T48" fmla="*/ 1510 w 5167"/>
                <a:gd name="T49" fmla="*/ 1722 h 6639"/>
                <a:gd name="T50" fmla="*/ 1590 w 5167"/>
                <a:gd name="T51" fmla="*/ 1524 h 6639"/>
                <a:gd name="T52" fmla="*/ 1803 w 5167"/>
                <a:gd name="T53" fmla="*/ 1326 h 6639"/>
                <a:gd name="T54" fmla="*/ 2037 w 5167"/>
                <a:gd name="T55" fmla="*/ 1143 h 6639"/>
                <a:gd name="T56" fmla="*/ 2433 w 5167"/>
                <a:gd name="T57" fmla="*/ 996 h 6639"/>
                <a:gd name="T58" fmla="*/ 2748 w 5167"/>
                <a:gd name="T59" fmla="*/ 908 h 6639"/>
                <a:gd name="T60" fmla="*/ 3173 w 5167"/>
                <a:gd name="T61" fmla="*/ 637 h 6639"/>
                <a:gd name="T62" fmla="*/ 3393 w 5167"/>
                <a:gd name="T63" fmla="*/ 571 h 6639"/>
                <a:gd name="T64" fmla="*/ 3561 w 5167"/>
                <a:gd name="T65" fmla="*/ 322 h 6639"/>
                <a:gd name="T66" fmla="*/ 3788 w 5167"/>
                <a:gd name="T67" fmla="*/ 22 h 6639"/>
                <a:gd name="T68" fmla="*/ 3979 w 5167"/>
                <a:gd name="T69" fmla="*/ 337 h 6639"/>
                <a:gd name="T70" fmla="*/ 4104 w 5167"/>
                <a:gd name="T71" fmla="*/ 637 h 6639"/>
                <a:gd name="T72" fmla="*/ 4279 w 5167"/>
                <a:gd name="T73" fmla="*/ 828 h 6639"/>
                <a:gd name="T74" fmla="*/ 4375 w 5167"/>
                <a:gd name="T75" fmla="*/ 908 h 6639"/>
                <a:gd name="T76" fmla="*/ 4250 w 5167"/>
                <a:gd name="T77" fmla="*/ 1370 h 6639"/>
                <a:gd name="T78" fmla="*/ 4089 w 5167"/>
                <a:gd name="T79" fmla="*/ 1553 h 6639"/>
                <a:gd name="T80" fmla="*/ 4023 w 5167"/>
                <a:gd name="T81" fmla="*/ 1810 h 6639"/>
                <a:gd name="T82" fmla="*/ 4287 w 5167"/>
                <a:gd name="T83" fmla="*/ 2051 h 6639"/>
                <a:gd name="T84" fmla="*/ 4155 w 5167"/>
                <a:gd name="T85" fmla="*/ 2301 h 6639"/>
                <a:gd name="T86" fmla="*/ 4126 w 5167"/>
                <a:gd name="T87" fmla="*/ 2454 h 6639"/>
                <a:gd name="T88" fmla="*/ 3876 w 5167"/>
                <a:gd name="T89" fmla="*/ 2542 h 6639"/>
                <a:gd name="T90" fmla="*/ 3920 w 5167"/>
                <a:gd name="T91" fmla="*/ 2806 h 6639"/>
                <a:gd name="T92" fmla="*/ 3745 w 5167"/>
                <a:gd name="T93" fmla="*/ 2857 h 6639"/>
                <a:gd name="T94" fmla="*/ 3766 w 5167"/>
                <a:gd name="T95" fmla="*/ 3107 h 6639"/>
                <a:gd name="T96" fmla="*/ 4228 w 5167"/>
                <a:gd name="T97" fmla="*/ 3114 h 6639"/>
                <a:gd name="T98" fmla="*/ 4653 w 5167"/>
                <a:gd name="T99" fmla="*/ 3092 h 6639"/>
                <a:gd name="T100" fmla="*/ 4888 w 5167"/>
                <a:gd name="T101" fmla="*/ 3605 h 6639"/>
                <a:gd name="T102" fmla="*/ 5056 w 5167"/>
                <a:gd name="T103" fmla="*/ 3920 h 6639"/>
                <a:gd name="T104" fmla="*/ 4844 w 5167"/>
                <a:gd name="T105" fmla="*/ 4220 h 6639"/>
                <a:gd name="T106" fmla="*/ 4997 w 5167"/>
                <a:gd name="T107" fmla="*/ 4792 h 6639"/>
                <a:gd name="T108" fmla="*/ 5122 w 5167"/>
                <a:gd name="T109" fmla="*/ 5026 h 6639"/>
                <a:gd name="T110" fmla="*/ 5056 w 5167"/>
                <a:gd name="T111" fmla="*/ 5422 h 6639"/>
                <a:gd name="T112" fmla="*/ 4851 w 5167"/>
                <a:gd name="T113" fmla="*/ 5942 h 6639"/>
                <a:gd name="T114" fmla="*/ 4485 w 5167"/>
                <a:gd name="T115" fmla="*/ 6638 h 6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67" h="6639">
                  <a:moveTo>
                    <a:pt x="4477" y="6631"/>
                  </a:moveTo>
                  <a:lnTo>
                    <a:pt x="4477" y="6631"/>
                  </a:lnTo>
                  <a:cubicBezTo>
                    <a:pt x="4455" y="6609"/>
                    <a:pt x="4389" y="6551"/>
                    <a:pt x="4338" y="6551"/>
                  </a:cubicBezTo>
                  <a:cubicBezTo>
                    <a:pt x="4272" y="6551"/>
                    <a:pt x="4228" y="6514"/>
                    <a:pt x="4191" y="6485"/>
                  </a:cubicBezTo>
                  <a:cubicBezTo>
                    <a:pt x="4184" y="6485"/>
                    <a:pt x="4177" y="6477"/>
                    <a:pt x="4169" y="6470"/>
                  </a:cubicBezTo>
                  <a:cubicBezTo>
                    <a:pt x="4147" y="6455"/>
                    <a:pt x="4118" y="6441"/>
                    <a:pt x="4082" y="6426"/>
                  </a:cubicBezTo>
                  <a:cubicBezTo>
                    <a:pt x="4045" y="6404"/>
                    <a:pt x="3994" y="6382"/>
                    <a:pt x="3964" y="6360"/>
                  </a:cubicBezTo>
                  <a:cubicBezTo>
                    <a:pt x="3935" y="6331"/>
                    <a:pt x="3913" y="6323"/>
                    <a:pt x="3898" y="6323"/>
                  </a:cubicBezTo>
                  <a:cubicBezTo>
                    <a:pt x="3884" y="6323"/>
                    <a:pt x="3869" y="6331"/>
                    <a:pt x="3847" y="6345"/>
                  </a:cubicBezTo>
                  <a:cubicBezTo>
                    <a:pt x="3825" y="6367"/>
                    <a:pt x="3796" y="6375"/>
                    <a:pt x="3774" y="6375"/>
                  </a:cubicBezTo>
                  <a:cubicBezTo>
                    <a:pt x="3752" y="6375"/>
                    <a:pt x="3730" y="6367"/>
                    <a:pt x="3700" y="6353"/>
                  </a:cubicBezTo>
                  <a:cubicBezTo>
                    <a:pt x="3686" y="6345"/>
                    <a:pt x="3686" y="6345"/>
                    <a:pt x="3686" y="6345"/>
                  </a:cubicBezTo>
                  <a:cubicBezTo>
                    <a:pt x="3657" y="6338"/>
                    <a:pt x="3642" y="6316"/>
                    <a:pt x="3627" y="6294"/>
                  </a:cubicBezTo>
                  <a:cubicBezTo>
                    <a:pt x="3620" y="6287"/>
                    <a:pt x="3613" y="6279"/>
                    <a:pt x="3605" y="6279"/>
                  </a:cubicBezTo>
                  <a:lnTo>
                    <a:pt x="3598" y="6279"/>
                  </a:lnTo>
                  <a:cubicBezTo>
                    <a:pt x="3583" y="6287"/>
                    <a:pt x="3576" y="6294"/>
                    <a:pt x="3561" y="6302"/>
                  </a:cubicBezTo>
                  <a:cubicBezTo>
                    <a:pt x="3539" y="6316"/>
                    <a:pt x="3517" y="6331"/>
                    <a:pt x="3481" y="6331"/>
                  </a:cubicBezTo>
                  <a:cubicBezTo>
                    <a:pt x="3473" y="6331"/>
                    <a:pt x="3459" y="6331"/>
                    <a:pt x="3444" y="6323"/>
                  </a:cubicBezTo>
                  <a:cubicBezTo>
                    <a:pt x="3437" y="6323"/>
                    <a:pt x="3429" y="6316"/>
                    <a:pt x="3422" y="6316"/>
                  </a:cubicBezTo>
                  <a:cubicBezTo>
                    <a:pt x="3415" y="6309"/>
                    <a:pt x="3407" y="6309"/>
                    <a:pt x="3400" y="6309"/>
                  </a:cubicBezTo>
                  <a:cubicBezTo>
                    <a:pt x="3393" y="6309"/>
                    <a:pt x="3378" y="6316"/>
                    <a:pt x="3364" y="6331"/>
                  </a:cubicBezTo>
                  <a:cubicBezTo>
                    <a:pt x="3349" y="6345"/>
                    <a:pt x="3334" y="6345"/>
                    <a:pt x="3319" y="6345"/>
                  </a:cubicBezTo>
                  <a:cubicBezTo>
                    <a:pt x="3261" y="6345"/>
                    <a:pt x="3209" y="6250"/>
                    <a:pt x="3202" y="6228"/>
                  </a:cubicBezTo>
                  <a:cubicBezTo>
                    <a:pt x="3195" y="6214"/>
                    <a:pt x="3188" y="6206"/>
                    <a:pt x="3173" y="6206"/>
                  </a:cubicBezTo>
                  <a:cubicBezTo>
                    <a:pt x="3166" y="6206"/>
                    <a:pt x="3158" y="6206"/>
                    <a:pt x="3151" y="6221"/>
                  </a:cubicBezTo>
                  <a:cubicBezTo>
                    <a:pt x="3136" y="6228"/>
                    <a:pt x="3129" y="6235"/>
                    <a:pt x="3122" y="6235"/>
                  </a:cubicBezTo>
                  <a:cubicBezTo>
                    <a:pt x="3100" y="6235"/>
                    <a:pt x="3078" y="6214"/>
                    <a:pt x="3048" y="6192"/>
                  </a:cubicBezTo>
                  <a:cubicBezTo>
                    <a:pt x="3034" y="6177"/>
                    <a:pt x="3012" y="6155"/>
                    <a:pt x="2990" y="6140"/>
                  </a:cubicBezTo>
                  <a:cubicBezTo>
                    <a:pt x="2938" y="6104"/>
                    <a:pt x="2938" y="6060"/>
                    <a:pt x="2938" y="6008"/>
                  </a:cubicBezTo>
                  <a:cubicBezTo>
                    <a:pt x="2938" y="5994"/>
                    <a:pt x="2938" y="5972"/>
                    <a:pt x="2938" y="5950"/>
                  </a:cubicBezTo>
                  <a:cubicBezTo>
                    <a:pt x="2931" y="5920"/>
                    <a:pt x="2902" y="5913"/>
                    <a:pt x="2858" y="5906"/>
                  </a:cubicBezTo>
                  <a:cubicBezTo>
                    <a:pt x="2836" y="5906"/>
                    <a:pt x="2814" y="5906"/>
                    <a:pt x="2799" y="5891"/>
                  </a:cubicBezTo>
                  <a:cubicBezTo>
                    <a:pt x="2799" y="5891"/>
                    <a:pt x="2792" y="5891"/>
                    <a:pt x="2777" y="5891"/>
                  </a:cubicBezTo>
                  <a:cubicBezTo>
                    <a:pt x="2733" y="5891"/>
                    <a:pt x="2675" y="5913"/>
                    <a:pt x="2660" y="5913"/>
                  </a:cubicBezTo>
                  <a:cubicBezTo>
                    <a:pt x="2653" y="5920"/>
                    <a:pt x="2609" y="5964"/>
                    <a:pt x="2609" y="5964"/>
                  </a:cubicBezTo>
                  <a:cubicBezTo>
                    <a:pt x="2609" y="5935"/>
                    <a:pt x="2609" y="5935"/>
                    <a:pt x="2609" y="5935"/>
                  </a:cubicBezTo>
                  <a:cubicBezTo>
                    <a:pt x="2601" y="5906"/>
                    <a:pt x="2601" y="5876"/>
                    <a:pt x="2594" y="5862"/>
                  </a:cubicBezTo>
                  <a:cubicBezTo>
                    <a:pt x="2594" y="5840"/>
                    <a:pt x="2579" y="5833"/>
                    <a:pt x="2557" y="5818"/>
                  </a:cubicBezTo>
                  <a:cubicBezTo>
                    <a:pt x="2535" y="5803"/>
                    <a:pt x="2514" y="5788"/>
                    <a:pt x="2499" y="5766"/>
                  </a:cubicBezTo>
                  <a:cubicBezTo>
                    <a:pt x="2455" y="5715"/>
                    <a:pt x="2477" y="5686"/>
                    <a:pt x="2506" y="5642"/>
                  </a:cubicBezTo>
                  <a:cubicBezTo>
                    <a:pt x="2514" y="5635"/>
                    <a:pt x="2514" y="5627"/>
                    <a:pt x="2521" y="5620"/>
                  </a:cubicBezTo>
                  <a:cubicBezTo>
                    <a:pt x="2565" y="5561"/>
                    <a:pt x="2572" y="5547"/>
                    <a:pt x="2616" y="5517"/>
                  </a:cubicBezTo>
                  <a:cubicBezTo>
                    <a:pt x="2645" y="5495"/>
                    <a:pt x="2653" y="5495"/>
                    <a:pt x="2667" y="5488"/>
                  </a:cubicBezTo>
                  <a:cubicBezTo>
                    <a:pt x="2675" y="5488"/>
                    <a:pt x="2682" y="5488"/>
                    <a:pt x="2697" y="5473"/>
                  </a:cubicBezTo>
                  <a:cubicBezTo>
                    <a:pt x="2719" y="5444"/>
                    <a:pt x="2733" y="5385"/>
                    <a:pt x="2741" y="5334"/>
                  </a:cubicBezTo>
                  <a:cubicBezTo>
                    <a:pt x="2741" y="5319"/>
                    <a:pt x="2741" y="5319"/>
                    <a:pt x="2741" y="5319"/>
                  </a:cubicBezTo>
                  <a:cubicBezTo>
                    <a:pt x="2741" y="5297"/>
                    <a:pt x="2741" y="5283"/>
                    <a:pt x="2726" y="5268"/>
                  </a:cubicBezTo>
                  <a:cubicBezTo>
                    <a:pt x="2719" y="5254"/>
                    <a:pt x="2704" y="5254"/>
                    <a:pt x="2682" y="5254"/>
                  </a:cubicBezTo>
                  <a:lnTo>
                    <a:pt x="2675" y="5254"/>
                  </a:lnTo>
                  <a:cubicBezTo>
                    <a:pt x="2667" y="5254"/>
                    <a:pt x="2660" y="5254"/>
                    <a:pt x="2660" y="5254"/>
                  </a:cubicBezTo>
                  <a:cubicBezTo>
                    <a:pt x="2594" y="5254"/>
                    <a:pt x="2535" y="5195"/>
                    <a:pt x="2528" y="5166"/>
                  </a:cubicBezTo>
                  <a:cubicBezTo>
                    <a:pt x="2521" y="5136"/>
                    <a:pt x="2506" y="5100"/>
                    <a:pt x="2455" y="5048"/>
                  </a:cubicBezTo>
                  <a:cubicBezTo>
                    <a:pt x="2433" y="5026"/>
                    <a:pt x="2426" y="5012"/>
                    <a:pt x="2426" y="4990"/>
                  </a:cubicBezTo>
                  <a:cubicBezTo>
                    <a:pt x="2433" y="4961"/>
                    <a:pt x="2462" y="4946"/>
                    <a:pt x="2514" y="4924"/>
                  </a:cubicBezTo>
                  <a:cubicBezTo>
                    <a:pt x="2521" y="4924"/>
                    <a:pt x="2528" y="4916"/>
                    <a:pt x="2528" y="4916"/>
                  </a:cubicBezTo>
                  <a:cubicBezTo>
                    <a:pt x="2528" y="4902"/>
                    <a:pt x="2521" y="4880"/>
                    <a:pt x="2514" y="4858"/>
                  </a:cubicBezTo>
                  <a:cubicBezTo>
                    <a:pt x="2499" y="4828"/>
                    <a:pt x="2484" y="4799"/>
                    <a:pt x="2492" y="4770"/>
                  </a:cubicBezTo>
                  <a:cubicBezTo>
                    <a:pt x="2506" y="4748"/>
                    <a:pt x="2506" y="4748"/>
                    <a:pt x="2506" y="4748"/>
                  </a:cubicBezTo>
                  <a:cubicBezTo>
                    <a:pt x="2514" y="4711"/>
                    <a:pt x="2528" y="4682"/>
                    <a:pt x="2521" y="4653"/>
                  </a:cubicBezTo>
                  <a:cubicBezTo>
                    <a:pt x="2514" y="4623"/>
                    <a:pt x="2477" y="4594"/>
                    <a:pt x="2447" y="4594"/>
                  </a:cubicBezTo>
                  <a:lnTo>
                    <a:pt x="2440" y="4594"/>
                  </a:lnTo>
                  <a:cubicBezTo>
                    <a:pt x="2433" y="4602"/>
                    <a:pt x="2418" y="4602"/>
                    <a:pt x="2411" y="4602"/>
                  </a:cubicBezTo>
                  <a:cubicBezTo>
                    <a:pt x="2367" y="4602"/>
                    <a:pt x="2308" y="4572"/>
                    <a:pt x="2286" y="4528"/>
                  </a:cubicBezTo>
                  <a:cubicBezTo>
                    <a:pt x="2272" y="4514"/>
                    <a:pt x="2250" y="4484"/>
                    <a:pt x="2242" y="4484"/>
                  </a:cubicBezTo>
                  <a:cubicBezTo>
                    <a:pt x="2242" y="4484"/>
                    <a:pt x="2235" y="4484"/>
                    <a:pt x="2220" y="4506"/>
                  </a:cubicBezTo>
                  <a:cubicBezTo>
                    <a:pt x="2213" y="4521"/>
                    <a:pt x="2198" y="4528"/>
                    <a:pt x="2191" y="4528"/>
                  </a:cubicBezTo>
                  <a:cubicBezTo>
                    <a:pt x="2162" y="4528"/>
                    <a:pt x="2140" y="4506"/>
                    <a:pt x="2118" y="4477"/>
                  </a:cubicBezTo>
                  <a:cubicBezTo>
                    <a:pt x="2103" y="4462"/>
                    <a:pt x="2088" y="4447"/>
                    <a:pt x="2074" y="4440"/>
                  </a:cubicBezTo>
                  <a:cubicBezTo>
                    <a:pt x="2059" y="4433"/>
                    <a:pt x="2037" y="4411"/>
                    <a:pt x="2023" y="4396"/>
                  </a:cubicBezTo>
                  <a:cubicBezTo>
                    <a:pt x="2001" y="4374"/>
                    <a:pt x="1978" y="4345"/>
                    <a:pt x="1957" y="4345"/>
                  </a:cubicBezTo>
                  <a:cubicBezTo>
                    <a:pt x="1949" y="4338"/>
                    <a:pt x="1935" y="4338"/>
                    <a:pt x="1927" y="4338"/>
                  </a:cubicBezTo>
                  <a:cubicBezTo>
                    <a:pt x="1883" y="4338"/>
                    <a:pt x="1810" y="4352"/>
                    <a:pt x="1737" y="4389"/>
                  </a:cubicBezTo>
                  <a:cubicBezTo>
                    <a:pt x="1649" y="4433"/>
                    <a:pt x="1597" y="4462"/>
                    <a:pt x="1539" y="4492"/>
                  </a:cubicBezTo>
                  <a:cubicBezTo>
                    <a:pt x="1502" y="4514"/>
                    <a:pt x="1502" y="4514"/>
                    <a:pt x="1502" y="4514"/>
                  </a:cubicBezTo>
                  <a:cubicBezTo>
                    <a:pt x="1458" y="4543"/>
                    <a:pt x="1414" y="4565"/>
                    <a:pt x="1378" y="4572"/>
                  </a:cubicBezTo>
                  <a:cubicBezTo>
                    <a:pt x="1341" y="4579"/>
                    <a:pt x="1312" y="4594"/>
                    <a:pt x="1261" y="4631"/>
                  </a:cubicBezTo>
                  <a:cubicBezTo>
                    <a:pt x="1246" y="4638"/>
                    <a:pt x="1231" y="4638"/>
                    <a:pt x="1216" y="4638"/>
                  </a:cubicBezTo>
                  <a:cubicBezTo>
                    <a:pt x="1202" y="4638"/>
                    <a:pt x="1187" y="4638"/>
                    <a:pt x="1173" y="4631"/>
                  </a:cubicBezTo>
                  <a:cubicBezTo>
                    <a:pt x="1165" y="4631"/>
                    <a:pt x="1158" y="4631"/>
                    <a:pt x="1143" y="4631"/>
                  </a:cubicBezTo>
                  <a:cubicBezTo>
                    <a:pt x="1136" y="4631"/>
                    <a:pt x="1128" y="4631"/>
                    <a:pt x="1121" y="4645"/>
                  </a:cubicBezTo>
                  <a:cubicBezTo>
                    <a:pt x="1070" y="4697"/>
                    <a:pt x="1026" y="4711"/>
                    <a:pt x="997" y="4711"/>
                  </a:cubicBezTo>
                  <a:cubicBezTo>
                    <a:pt x="982" y="4711"/>
                    <a:pt x="967" y="4697"/>
                    <a:pt x="953" y="4682"/>
                  </a:cubicBezTo>
                  <a:cubicBezTo>
                    <a:pt x="938" y="4675"/>
                    <a:pt x="923" y="4653"/>
                    <a:pt x="894" y="4653"/>
                  </a:cubicBezTo>
                  <a:cubicBezTo>
                    <a:pt x="894" y="4653"/>
                    <a:pt x="894" y="4653"/>
                    <a:pt x="887" y="4660"/>
                  </a:cubicBezTo>
                  <a:cubicBezTo>
                    <a:pt x="879" y="4660"/>
                    <a:pt x="872" y="4660"/>
                    <a:pt x="857" y="4660"/>
                  </a:cubicBezTo>
                  <a:cubicBezTo>
                    <a:pt x="792" y="4660"/>
                    <a:pt x="696" y="4638"/>
                    <a:pt x="623" y="4602"/>
                  </a:cubicBezTo>
                  <a:cubicBezTo>
                    <a:pt x="616" y="4602"/>
                    <a:pt x="601" y="4602"/>
                    <a:pt x="594" y="4602"/>
                  </a:cubicBezTo>
                  <a:cubicBezTo>
                    <a:pt x="572" y="4602"/>
                    <a:pt x="542" y="4609"/>
                    <a:pt x="513" y="4631"/>
                  </a:cubicBezTo>
                  <a:cubicBezTo>
                    <a:pt x="476" y="4653"/>
                    <a:pt x="476" y="4653"/>
                    <a:pt x="476" y="4653"/>
                  </a:cubicBezTo>
                  <a:cubicBezTo>
                    <a:pt x="491" y="4616"/>
                    <a:pt x="491" y="4616"/>
                    <a:pt x="491" y="4616"/>
                  </a:cubicBezTo>
                  <a:cubicBezTo>
                    <a:pt x="491" y="4594"/>
                    <a:pt x="498" y="4579"/>
                    <a:pt x="506" y="4557"/>
                  </a:cubicBezTo>
                  <a:cubicBezTo>
                    <a:pt x="513" y="4543"/>
                    <a:pt x="520" y="4521"/>
                    <a:pt x="528" y="4506"/>
                  </a:cubicBezTo>
                  <a:cubicBezTo>
                    <a:pt x="535" y="4440"/>
                    <a:pt x="579" y="4396"/>
                    <a:pt x="630" y="4338"/>
                  </a:cubicBezTo>
                  <a:cubicBezTo>
                    <a:pt x="674" y="4301"/>
                    <a:pt x="674" y="4272"/>
                    <a:pt x="674" y="4228"/>
                  </a:cubicBezTo>
                  <a:cubicBezTo>
                    <a:pt x="682" y="4213"/>
                    <a:pt x="682" y="4198"/>
                    <a:pt x="682" y="4176"/>
                  </a:cubicBezTo>
                  <a:cubicBezTo>
                    <a:pt x="696" y="4103"/>
                    <a:pt x="726" y="4088"/>
                    <a:pt x="777" y="4066"/>
                  </a:cubicBezTo>
                  <a:cubicBezTo>
                    <a:pt x="784" y="4059"/>
                    <a:pt x="799" y="4052"/>
                    <a:pt x="813" y="4045"/>
                  </a:cubicBezTo>
                  <a:cubicBezTo>
                    <a:pt x="850" y="4023"/>
                    <a:pt x="850" y="3986"/>
                    <a:pt x="850" y="3927"/>
                  </a:cubicBezTo>
                  <a:cubicBezTo>
                    <a:pt x="850" y="3891"/>
                    <a:pt x="850" y="3854"/>
                    <a:pt x="865" y="3825"/>
                  </a:cubicBezTo>
                  <a:cubicBezTo>
                    <a:pt x="872" y="3795"/>
                    <a:pt x="879" y="3781"/>
                    <a:pt x="865" y="3766"/>
                  </a:cubicBezTo>
                  <a:cubicBezTo>
                    <a:pt x="850" y="3744"/>
                    <a:pt x="821" y="3729"/>
                    <a:pt x="777" y="3729"/>
                  </a:cubicBezTo>
                  <a:cubicBezTo>
                    <a:pt x="696" y="3729"/>
                    <a:pt x="616" y="3700"/>
                    <a:pt x="616" y="3627"/>
                  </a:cubicBezTo>
                  <a:cubicBezTo>
                    <a:pt x="616" y="3576"/>
                    <a:pt x="608" y="3576"/>
                    <a:pt x="594" y="3576"/>
                  </a:cubicBezTo>
                  <a:cubicBezTo>
                    <a:pt x="579" y="3576"/>
                    <a:pt x="564" y="3583"/>
                    <a:pt x="542" y="3583"/>
                  </a:cubicBezTo>
                  <a:cubicBezTo>
                    <a:pt x="535" y="3583"/>
                    <a:pt x="528" y="3583"/>
                    <a:pt x="520" y="3583"/>
                  </a:cubicBezTo>
                  <a:cubicBezTo>
                    <a:pt x="476" y="3583"/>
                    <a:pt x="447" y="3554"/>
                    <a:pt x="418" y="3532"/>
                  </a:cubicBezTo>
                  <a:cubicBezTo>
                    <a:pt x="403" y="3517"/>
                    <a:pt x="388" y="3502"/>
                    <a:pt x="374" y="3488"/>
                  </a:cubicBezTo>
                  <a:cubicBezTo>
                    <a:pt x="301" y="3451"/>
                    <a:pt x="264" y="3378"/>
                    <a:pt x="249" y="3283"/>
                  </a:cubicBezTo>
                  <a:cubicBezTo>
                    <a:pt x="242" y="3209"/>
                    <a:pt x="220" y="3195"/>
                    <a:pt x="183" y="3165"/>
                  </a:cubicBezTo>
                  <a:cubicBezTo>
                    <a:pt x="176" y="3158"/>
                    <a:pt x="161" y="3143"/>
                    <a:pt x="154" y="3136"/>
                  </a:cubicBezTo>
                  <a:cubicBezTo>
                    <a:pt x="125" y="3107"/>
                    <a:pt x="110" y="3055"/>
                    <a:pt x="88" y="3004"/>
                  </a:cubicBezTo>
                  <a:cubicBezTo>
                    <a:pt x="73" y="2967"/>
                    <a:pt x="59" y="2931"/>
                    <a:pt x="37" y="2894"/>
                  </a:cubicBezTo>
                  <a:cubicBezTo>
                    <a:pt x="0" y="2828"/>
                    <a:pt x="29" y="2762"/>
                    <a:pt x="66" y="2689"/>
                  </a:cubicBezTo>
                  <a:cubicBezTo>
                    <a:pt x="73" y="2660"/>
                    <a:pt x="88" y="2638"/>
                    <a:pt x="95" y="2608"/>
                  </a:cubicBezTo>
                  <a:cubicBezTo>
                    <a:pt x="110" y="2572"/>
                    <a:pt x="110" y="2550"/>
                    <a:pt x="110" y="2535"/>
                  </a:cubicBezTo>
                  <a:cubicBezTo>
                    <a:pt x="117" y="2506"/>
                    <a:pt x="117" y="2498"/>
                    <a:pt x="154" y="2469"/>
                  </a:cubicBezTo>
                  <a:cubicBezTo>
                    <a:pt x="176" y="2447"/>
                    <a:pt x="191" y="2447"/>
                    <a:pt x="205" y="2440"/>
                  </a:cubicBezTo>
                  <a:cubicBezTo>
                    <a:pt x="205" y="2440"/>
                    <a:pt x="213" y="2440"/>
                    <a:pt x="213" y="2433"/>
                  </a:cubicBezTo>
                  <a:cubicBezTo>
                    <a:pt x="213" y="2433"/>
                    <a:pt x="198" y="2418"/>
                    <a:pt x="198" y="2403"/>
                  </a:cubicBezTo>
                  <a:cubicBezTo>
                    <a:pt x="161" y="2330"/>
                    <a:pt x="198" y="2257"/>
                    <a:pt x="249" y="2220"/>
                  </a:cubicBezTo>
                  <a:cubicBezTo>
                    <a:pt x="264" y="2205"/>
                    <a:pt x="286" y="2198"/>
                    <a:pt x="315" y="2191"/>
                  </a:cubicBezTo>
                  <a:cubicBezTo>
                    <a:pt x="359" y="2176"/>
                    <a:pt x="403" y="2154"/>
                    <a:pt x="425" y="2110"/>
                  </a:cubicBezTo>
                  <a:cubicBezTo>
                    <a:pt x="447" y="2051"/>
                    <a:pt x="484" y="2015"/>
                    <a:pt x="528" y="2015"/>
                  </a:cubicBezTo>
                  <a:cubicBezTo>
                    <a:pt x="542" y="2015"/>
                    <a:pt x="564" y="2022"/>
                    <a:pt x="579" y="2037"/>
                  </a:cubicBezTo>
                  <a:cubicBezTo>
                    <a:pt x="594" y="2044"/>
                    <a:pt x="601" y="2044"/>
                    <a:pt x="608" y="2044"/>
                  </a:cubicBezTo>
                  <a:cubicBezTo>
                    <a:pt x="637" y="2044"/>
                    <a:pt x="660" y="2015"/>
                    <a:pt x="696" y="1978"/>
                  </a:cubicBezTo>
                  <a:cubicBezTo>
                    <a:pt x="704" y="1964"/>
                    <a:pt x="704" y="1956"/>
                    <a:pt x="704" y="1949"/>
                  </a:cubicBezTo>
                  <a:cubicBezTo>
                    <a:pt x="704" y="1942"/>
                    <a:pt x="689" y="1927"/>
                    <a:pt x="674" y="1919"/>
                  </a:cubicBezTo>
                  <a:cubicBezTo>
                    <a:pt x="667" y="1912"/>
                    <a:pt x="652" y="1905"/>
                    <a:pt x="645" y="1897"/>
                  </a:cubicBezTo>
                  <a:cubicBezTo>
                    <a:pt x="637" y="1890"/>
                    <a:pt x="637" y="1890"/>
                    <a:pt x="637" y="1890"/>
                  </a:cubicBezTo>
                  <a:cubicBezTo>
                    <a:pt x="645" y="1868"/>
                    <a:pt x="645" y="1868"/>
                    <a:pt x="645" y="1868"/>
                  </a:cubicBezTo>
                  <a:cubicBezTo>
                    <a:pt x="652" y="1832"/>
                    <a:pt x="660" y="1795"/>
                    <a:pt x="696" y="1788"/>
                  </a:cubicBezTo>
                  <a:cubicBezTo>
                    <a:pt x="704" y="1788"/>
                    <a:pt x="711" y="1788"/>
                    <a:pt x="718" y="1788"/>
                  </a:cubicBezTo>
                  <a:cubicBezTo>
                    <a:pt x="755" y="1788"/>
                    <a:pt x="777" y="1810"/>
                    <a:pt x="799" y="1846"/>
                  </a:cubicBezTo>
                  <a:cubicBezTo>
                    <a:pt x="799" y="1854"/>
                    <a:pt x="806" y="1868"/>
                    <a:pt x="813" y="1883"/>
                  </a:cubicBezTo>
                  <a:cubicBezTo>
                    <a:pt x="828" y="1912"/>
                    <a:pt x="843" y="1949"/>
                    <a:pt x="857" y="1949"/>
                  </a:cubicBezTo>
                  <a:cubicBezTo>
                    <a:pt x="872" y="1949"/>
                    <a:pt x="879" y="1942"/>
                    <a:pt x="894" y="1927"/>
                  </a:cubicBezTo>
                  <a:cubicBezTo>
                    <a:pt x="960" y="1854"/>
                    <a:pt x="989" y="1832"/>
                    <a:pt x="1048" y="1810"/>
                  </a:cubicBezTo>
                  <a:cubicBezTo>
                    <a:pt x="1063" y="1810"/>
                    <a:pt x="1070" y="1810"/>
                    <a:pt x="1077" y="1810"/>
                  </a:cubicBezTo>
                  <a:cubicBezTo>
                    <a:pt x="1136" y="1810"/>
                    <a:pt x="1180" y="1861"/>
                    <a:pt x="1195" y="1883"/>
                  </a:cubicBezTo>
                  <a:cubicBezTo>
                    <a:pt x="1209" y="1905"/>
                    <a:pt x="1224" y="1912"/>
                    <a:pt x="1238" y="1912"/>
                  </a:cubicBezTo>
                  <a:cubicBezTo>
                    <a:pt x="1246" y="1912"/>
                    <a:pt x="1253" y="1912"/>
                    <a:pt x="1253" y="1897"/>
                  </a:cubicBezTo>
                  <a:cubicBezTo>
                    <a:pt x="1261" y="1876"/>
                    <a:pt x="1268" y="1876"/>
                    <a:pt x="1275" y="1876"/>
                  </a:cubicBezTo>
                  <a:cubicBezTo>
                    <a:pt x="1290" y="1876"/>
                    <a:pt x="1304" y="1890"/>
                    <a:pt x="1319" y="1905"/>
                  </a:cubicBezTo>
                  <a:cubicBezTo>
                    <a:pt x="1326" y="1912"/>
                    <a:pt x="1334" y="1919"/>
                    <a:pt x="1341" y="1927"/>
                  </a:cubicBezTo>
                  <a:cubicBezTo>
                    <a:pt x="1348" y="1934"/>
                    <a:pt x="1356" y="1942"/>
                    <a:pt x="1370" y="1942"/>
                  </a:cubicBezTo>
                  <a:cubicBezTo>
                    <a:pt x="1400" y="1942"/>
                    <a:pt x="1422" y="1927"/>
                    <a:pt x="1444" y="1919"/>
                  </a:cubicBezTo>
                  <a:cubicBezTo>
                    <a:pt x="1480" y="1897"/>
                    <a:pt x="1488" y="1868"/>
                    <a:pt x="1480" y="1832"/>
                  </a:cubicBezTo>
                  <a:cubicBezTo>
                    <a:pt x="1480" y="1810"/>
                    <a:pt x="1488" y="1780"/>
                    <a:pt x="1502" y="1766"/>
                  </a:cubicBezTo>
                  <a:cubicBezTo>
                    <a:pt x="1517" y="1736"/>
                    <a:pt x="1524" y="1729"/>
                    <a:pt x="1510" y="1722"/>
                  </a:cubicBezTo>
                  <a:cubicBezTo>
                    <a:pt x="1502" y="1707"/>
                    <a:pt x="1495" y="1707"/>
                    <a:pt x="1480" y="1700"/>
                  </a:cubicBezTo>
                  <a:cubicBezTo>
                    <a:pt x="1458" y="1685"/>
                    <a:pt x="1436" y="1670"/>
                    <a:pt x="1436" y="1626"/>
                  </a:cubicBezTo>
                  <a:cubicBezTo>
                    <a:pt x="1436" y="1612"/>
                    <a:pt x="1436" y="1604"/>
                    <a:pt x="1436" y="1597"/>
                  </a:cubicBezTo>
                  <a:cubicBezTo>
                    <a:pt x="1436" y="1560"/>
                    <a:pt x="1436" y="1531"/>
                    <a:pt x="1480" y="1495"/>
                  </a:cubicBezTo>
                  <a:cubicBezTo>
                    <a:pt x="1488" y="1480"/>
                    <a:pt x="1502" y="1473"/>
                    <a:pt x="1517" y="1473"/>
                  </a:cubicBezTo>
                  <a:cubicBezTo>
                    <a:pt x="1546" y="1473"/>
                    <a:pt x="1568" y="1502"/>
                    <a:pt x="1590" y="1524"/>
                  </a:cubicBezTo>
                  <a:cubicBezTo>
                    <a:pt x="1590" y="1524"/>
                    <a:pt x="1597" y="1531"/>
                    <a:pt x="1605" y="1538"/>
                  </a:cubicBezTo>
                  <a:cubicBezTo>
                    <a:pt x="1619" y="1553"/>
                    <a:pt x="1649" y="1583"/>
                    <a:pt x="1678" y="1583"/>
                  </a:cubicBezTo>
                  <a:cubicBezTo>
                    <a:pt x="1693" y="1583"/>
                    <a:pt x="1700" y="1583"/>
                    <a:pt x="1707" y="1568"/>
                  </a:cubicBezTo>
                  <a:cubicBezTo>
                    <a:pt x="1751" y="1516"/>
                    <a:pt x="1766" y="1473"/>
                    <a:pt x="1759" y="1451"/>
                  </a:cubicBezTo>
                  <a:cubicBezTo>
                    <a:pt x="1744" y="1428"/>
                    <a:pt x="1737" y="1392"/>
                    <a:pt x="1751" y="1363"/>
                  </a:cubicBezTo>
                  <a:cubicBezTo>
                    <a:pt x="1759" y="1341"/>
                    <a:pt x="1781" y="1333"/>
                    <a:pt x="1803" y="1326"/>
                  </a:cubicBezTo>
                  <a:cubicBezTo>
                    <a:pt x="1832" y="1326"/>
                    <a:pt x="1832" y="1319"/>
                    <a:pt x="1832" y="1289"/>
                  </a:cubicBezTo>
                  <a:cubicBezTo>
                    <a:pt x="1839" y="1282"/>
                    <a:pt x="1839" y="1282"/>
                    <a:pt x="1839" y="1275"/>
                  </a:cubicBezTo>
                  <a:cubicBezTo>
                    <a:pt x="1847" y="1238"/>
                    <a:pt x="1898" y="1231"/>
                    <a:pt x="1942" y="1231"/>
                  </a:cubicBezTo>
                  <a:cubicBezTo>
                    <a:pt x="1957" y="1231"/>
                    <a:pt x="1971" y="1231"/>
                    <a:pt x="1978" y="1223"/>
                  </a:cubicBezTo>
                  <a:cubicBezTo>
                    <a:pt x="1986" y="1223"/>
                    <a:pt x="1993" y="1216"/>
                    <a:pt x="2008" y="1194"/>
                  </a:cubicBezTo>
                  <a:cubicBezTo>
                    <a:pt x="2015" y="1179"/>
                    <a:pt x="2023" y="1165"/>
                    <a:pt x="2037" y="1143"/>
                  </a:cubicBezTo>
                  <a:cubicBezTo>
                    <a:pt x="2052" y="1128"/>
                    <a:pt x="2066" y="1121"/>
                    <a:pt x="2088" y="1121"/>
                  </a:cubicBezTo>
                  <a:cubicBezTo>
                    <a:pt x="2103" y="1121"/>
                    <a:pt x="2125" y="1128"/>
                    <a:pt x="2140" y="1135"/>
                  </a:cubicBezTo>
                  <a:cubicBezTo>
                    <a:pt x="2154" y="1135"/>
                    <a:pt x="2169" y="1143"/>
                    <a:pt x="2176" y="1143"/>
                  </a:cubicBezTo>
                  <a:cubicBezTo>
                    <a:pt x="2213" y="1143"/>
                    <a:pt x="2242" y="1128"/>
                    <a:pt x="2286" y="1092"/>
                  </a:cubicBezTo>
                  <a:cubicBezTo>
                    <a:pt x="2301" y="1084"/>
                    <a:pt x="2308" y="1077"/>
                    <a:pt x="2323" y="1062"/>
                  </a:cubicBezTo>
                  <a:cubicBezTo>
                    <a:pt x="2360" y="1033"/>
                    <a:pt x="2396" y="996"/>
                    <a:pt x="2433" y="996"/>
                  </a:cubicBezTo>
                  <a:cubicBezTo>
                    <a:pt x="2455" y="996"/>
                    <a:pt x="2477" y="1011"/>
                    <a:pt x="2499" y="1018"/>
                  </a:cubicBezTo>
                  <a:cubicBezTo>
                    <a:pt x="2521" y="1033"/>
                    <a:pt x="2543" y="1047"/>
                    <a:pt x="2565" y="1047"/>
                  </a:cubicBezTo>
                  <a:cubicBezTo>
                    <a:pt x="2572" y="1047"/>
                    <a:pt x="2572" y="1040"/>
                    <a:pt x="2579" y="1040"/>
                  </a:cubicBezTo>
                  <a:cubicBezTo>
                    <a:pt x="2594" y="1033"/>
                    <a:pt x="2609" y="1026"/>
                    <a:pt x="2631" y="1011"/>
                  </a:cubicBezTo>
                  <a:cubicBezTo>
                    <a:pt x="2660" y="996"/>
                    <a:pt x="2704" y="982"/>
                    <a:pt x="2719" y="960"/>
                  </a:cubicBezTo>
                  <a:cubicBezTo>
                    <a:pt x="2733" y="938"/>
                    <a:pt x="2741" y="930"/>
                    <a:pt x="2748" y="908"/>
                  </a:cubicBezTo>
                  <a:cubicBezTo>
                    <a:pt x="2755" y="894"/>
                    <a:pt x="2763" y="879"/>
                    <a:pt x="2777" y="857"/>
                  </a:cubicBezTo>
                  <a:cubicBezTo>
                    <a:pt x="2814" y="798"/>
                    <a:pt x="2880" y="762"/>
                    <a:pt x="2924" y="747"/>
                  </a:cubicBezTo>
                  <a:cubicBezTo>
                    <a:pt x="2931" y="747"/>
                    <a:pt x="2938" y="747"/>
                    <a:pt x="2953" y="747"/>
                  </a:cubicBezTo>
                  <a:cubicBezTo>
                    <a:pt x="2983" y="740"/>
                    <a:pt x="3026" y="733"/>
                    <a:pt x="3070" y="703"/>
                  </a:cubicBezTo>
                  <a:cubicBezTo>
                    <a:pt x="3078" y="696"/>
                    <a:pt x="3092" y="688"/>
                    <a:pt x="3100" y="681"/>
                  </a:cubicBezTo>
                  <a:cubicBezTo>
                    <a:pt x="3129" y="659"/>
                    <a:pt x="3151" y="637"/>
                    <a:pt x="3173" y="637"/>
                  </a:cubicBezTo>
                  <a:cubicBezTo>
                    <a:pt x="3180" y="637"/>
                    <a:pt x="3202" y="645"/>
                    <a:pt x="3202" y="666"/>
                  </a:cubicBezTo>
                  <a:cubicBezTo>
                    <a:pt x="3202" y="674"/>
                    <a:pt x="3209" y="674"/>
                    <a:pt x="3209" y="674"/>
                  </a:cubicBezTo>
                  <a:cubicBezTo>
                    <a:pt x="3209" y="674"/>
                    <a:pt x="3232" y="659"/>
                    <a:pt x="3232" y="637"/>
                  </a:cubicBezTo>
                  <a:cubicBezTo>
                    <a:pt x="3239" y="593"/>
                    <a:pt x="3268" y="593"/>
                    <a:pt x="3297" y="586"/>
                  </a:cubicBezTo>
                  <a:cubicBezTo>
                    <a:pt x="3312" y="586"/>
                    <a:pt x="3334" y="586"/>
                    <a:pt x="3356" y="578"/>
                  </a:cubicBezTo>
                  <a:cubicBezTo>
                    <a:pt x="3378" y="578"/>
                    <a:pt x="3385" y="571"/>
                    <a:pt x="3393" y="571"/>
                  </a:cubicBezTo>
                  <a:lnTo>
                    <a:pt x="3393" y="571"/>
                  </a:lnTo>
                  <a:cubicBezTo>
                    <a:pt x="3400" y="564"/>
                    <a:pt x="3400" y="557"/>
                    <a:pt x="3407" y="542"/>
                  </a:cubicBezTo>
                  <a:cubicBezTo>
                    <a:pt x="3407" y="527"/>
                    <a:pt x="3407" y="513"/>
                    <a:pt x="3415" y="505"/>
                  </a:cubicBezTo>
                  <a:cubicBezTo>
                    <a:pt x="3422" y="469"/>
                    <a:pt x="3429" y="439"/>
                    <a:pt x="3459" y="410"/>
                  </a:cubicBezTo>
                  <a:cubicBezTo>
                    <a:pt x="3481" y="381"/>
                    <a:pt x="3503" y="359"/>
                    <a:pt x="3525" y="344"/>
                  </a:cubicBezTo>
                  <a:cubicBezTo>
                    <a:pt x="3539" y="337"/>
                    <a:pt x="3554" y="329"/>
                    <a:pt x="3561" y="322"/>
                  </a:cubicBezTo>
                  <a:cubicBezTo>
                    <a:pt x="3576" y="307"/>
                    <a:pt x="3583" y="271"/>
                    <a:pt x="3583" y="242"/>
                  </a:cubicBezTo>
                  <a:cubicBezTo>
                    <a:pt x="3583" y="227"/>
                    <a:pt x="3591" y="212"/>
                    <a:pt x="3591" y="197"/>
                  </a:cubicBezTo>
                  <a:cubicBezTo>
                    <a:pt x="3591" y="190"/>
                    <a:pt x="3591" y="176"/>
                    <a:pt x="3591" y="168"/>
                  </a:cubicBezTo>
                  <a:cubicBezTo>
                    <a:pt x="3591" y="124"/>
                    <a:pt x="3591" y="80"/>
                    <a:pt x="3642" y="44"/>
                  </a:cubicBezTo>
                  <a:cubicBezTo>
                    <a:pt x="3686" y="14"/>
                    <a:pt x="3715" y="0"/>
                    <a:pt x="3737" y="0"/>
                  </a:cubicBezTo>
                  <a:cubicBezTo>
                    <a:pt x="3759" y="0"/>
                    <a:pt x="3774" y="7"/>
                    <a:pt x="3788" y="22"/>
                  </a:cubicBezTo>
                  <a:cubicBezTo>
                    <a:pt x="3818" y="66"/>
                    <a:pt x="3818" y="124"/>
                    <a:pt x="3788" y="168"/>
                  </a:cubicBezTo>
                  <a:cubicBezTo>
                    <a:pt x="3781" y="176"/>
                    <a:pt x="3781" y="183"/>
                    <a:pt x="3788" y="183"/>
                  </a:cubicBezTo>
                  <a:cubicBezTo>
                    <a:pt x="3788" y="205"/>
                    <a:pt x="3825" y="219"/>
                    <a:pt x="3847" y="227"/>
                  </a:cubicBezTo>
                  <a:cubicBezTo>
                    <a:pt x="3847" y="234"/>
                    <a:pt x="3847" y="234"/>
                    <a:pt x="3847" y="234"/>
                  </a:cubicBezTo>
                  <a:cubicBezTo>
                    <a:pt x="3884" y="249"/>
                    <a:pt x="3913" y="278"/>
                    <a:pt x="3935" y="315"/>
                  </a:cubicBezTo>
                  <a:cubicBezTo>
                    <a:pt x="3942" y="329"/>
                    <a:pt x="3964" y="337"/>
                    <a:pt x="3979" y="337"/>
                  </a:cubicBezTo>
                  <a:cubicBezTo>
                    <a:pt x="3986" y="337"/>
                    <a:pt x="3994" y="337"/>
                    <a:pt x="3994" y="337"/>
                  </a:cubicBezTo>
                  <a:cubicBezTo>
                    <a:pt x="4008" y="337"/>
                    <a:pt x="4067" y="344"/>
                    <a:pt x="4082" y="388"/>
                  </a:cubicBezTo>
                  <a:cubicBezTo>
                    <a:pt x="4089" y="417"/>
                    <a:pt x="4074" y="461"/>
                    <a:pt x="4059" y="491"/>
                  </a:cubicBezTo>
                  <a:cubicBezTo>
                    <a:pt x="4059" y="498"/>
                    <a:pt x="4052" y="498"/>
                    <a:pt x="4052" y="505"/>
                  </a:cubicBezTo>
                  <a:cubicBezTo>
                    <a:pt x="4045" y="527"/>
                    <a:pt x="4045" y="593"/>
                    <a:pt x="4067" y="608"/>
                  </a:cubicBezTo>
                  <a:cubicBezTo>
                    <a:pt x="4074" y="623"/>
                    <a:pt x="4089" y="630"/>
                    <a:pt x="4104" y="637"/>
                  </a:cubicBezTo>
                  <a:cubicBezTo>
                    <a:pt x="4118" y="652"/>
                    <a:pt x="4147" y="674"/>
                    <a:pt x="4162" y="696"/>
                  </a:cubicBezTo>
                  <a:cubicBezTo>
                    <a:pt x="4169" y="703"/>
                    <a:pt x="4177" y="718"/>
                    <a:pt x="4191" y="725"/>
                  </a:cubicBezTo>
                  <a:cubicBezTo>
                    <a:pt x="4214" y="740"/>
                    <a:pt x="4243" y="762"/>
                    <a:pt x="4235" y="798"/>
                  </a:cubicBezTo>
                  <a:cubicBezTo>
                    <a:pt x="4228" y="806"/>
                    <a:pt x="4228" y="820"/>
                    <a:pt x="4235" y="820"/>
                  </a:cubicBezTo>
                  <a:cubicBezTo>
                    <a:pt x="4235" y="828"/>
                    <a:pt x="4250" y="828"/>
                    <a:pt x="4257" y="828"/>
                  </a:cubicBezTo>
                  <a:cubicBezTo>
                    <a:pt x="4265" y="828"/>
                    <a:pt x="4272" y="828"/>
                    <a:pt x="4279" y="828"/>
                  </a:cubicBezTo>
                  <a:cubicBezTo>
                    <a:pt x="4287" y="828"/>
                    <a:pt x="4294" y="820"/>
                    <a:pt x="4301" y="820"/>
                  </a:cubicBezTo>
                  <a:cubicBezTo>
                    <a:pt x="4316" y="820"/>
                    <a:pt x="4331" y="813"/>
                    <a:pt x="4338" y="813"/>
                  </a:cubicBezTo>
                  <a:cubicBezTo>
                    <a:pt x="4353" y="813"/>
                    <a:pt x="4375" y="820"/>
                    <a:pt x="4375" y="850"/>
                  </a:cubicBezTo>
                  <a:lnTo>
                    <a:pt x="4375" y="850"/>
                  </a:lnTo>
                  <a:lnTo>
                    <a:pt x="4375" y="857"/>
                  </a:lnTo>
                  <a:cubicBezTo>
                    <a:pt x="4375" y="908"/>
                    <a:pt x="4375" y="908"/>
                    <a:pt x="4375" y="908"/>
                  </a:cubicBezTo>
                  <a:cubicBezTo>
                    <a:pt x="4375" y="945"/>
                    <a:pt x="4382" y="982"/>
                    <a:pt x="4404" y="1018"/>
                  </a:cubicBezTo>
                  <a:cubicBezTo>
                    <a:pt x="4433" y="1077"/>
                    <a:pt x="4477" y="1187"/>
                    <a:pt x="4433" y="1260"/>
                  </a:cubicBezTo>
                  <a:cubicBezTo>
                    <a:pt x="4426" y="1267"/>
                    <a:pt x="4419" y="1282"/>
                    <a:pt x="4411" y="1297"/>
                  </a:cubicBezTo>
                  <a:cubicBezTo>
                    <a:pt x="4382" y="1355"/>
                    <a:pt x="4360" y="1407"/>
                    <a:pt x="4316" y="1407"/>
                  </a:cubicBezTo>
                  <a:cubicBezTo>
                    <a:pt x="4309" y="1407"/>
                    <a:pt x="4309" y="1407"/>
                    <a:pt x="4309" y="1407"/>
                  </a:cubicBezTo>
                  <a:cubicBezTo>
                    <a:pt x="4279" y="1407"/>
                    <a:pt x="4265" y="1385"/>
                    <a:pt x="4250" y="1370"/>
                  </a:cubicBezTo>
                  <a:cubicBezTo>
                    <a:pt x="4243" y="1355"/>
                    <a:pt x="4228" y="1341"/>
                    <a:pt x="4214" y="1341"/>
                  </a:cubicBezTo>
                  <a:lnTo>
                    <a:pt x="4206" y="1341"/>
                  </a:lnTo>
                  <a:cubicBezTo>
                    <a:pt x="4177" y="1341"/>
                    <a:pt x="4155" y="1363"/>
                    <a:pt x="4140" y="1392"/>
                  </a:cubicBezTo>
                  <a:cubicBezTo>
                    <a:pt x="4133" y="1407"/>
                    <a:pt x="4118" y="1414"/>
                    <a:pt x="4111" y="1421"/>
                  </a:cubicBezTo>
                  <a:cubicBezTo>
                    <a:pt x="4089" y="1451"/>
                    <a:pt x="4067" y="1473"/>
                    <a:pt x="4074" y="1502"/>
                  </a:cubicBezTo>
                  <a:cubicBezTo>
                    <a:pt x="4074" y="1516"/>
                    <a:pt x="4082" y="1538"/>
                    <a:pt x="4089" y="1553"/>
                  </a:cubicBezTo>
                  <a:cubicBezTo>
                    <a:pt x="4096" y="1583"/>
                    <a:pt x="4111" y="1619"/>
                    <a:pt x="4104" y="1648"/>
                  </a:cubicBezTo>
                  <a:cubicBezTo>
                    <a:pt x="4104" y="1663"/>
                    <a:pt x="4104" y="1670"/>
                    <a:pt x="4104" y="1678"/>
                  </a:cubicBezTo>
                  <a:cubicBezTo>
                    <a:pt x="4096" y="1714"/>
                    <a:pt x="4096" y="1736"/>
                    <a:pt x="4059" y="1773"/>
                  </a:cubicBezTo>
                  <a:cubicBezTo>
                    <a:pt x="4045" y="1780"/>
                    <a:pt x="4045" y="1780"/>
                    <a:pt x="4045" y="1780"/>
                  </a:cubicBezTo>
                  <a:cubicBezTo>
                    <a:pt x="4038" y="1788"/>
                    <a:pt x="4023" y="1802"/>
                    <a:pt x="4023" y="1810"/>
                  </a:cubicBezTo>
                  <a:lnTo>
                    <a:pt x="4023" y="1810"/>
                  </a:lnTo>
                  <a:cubicBezTo>
                    <a:pt x="4030" y="1810"/>
                    <a:pt x="4038" y="1810"/>
                    <a:pt x="4059" y="1810"/>
                  </a:cubicBezTo>
                  <a:cubicBezTo>
                    <a:pt x="4133" y="1824"/>
                    <a:pt x="4169" y="1861"/>
                    <a:pt x="4199" y="1890"/>
                  </a:cubicBezTo>
                  <a:cubicBezTo>
                    <a:pt x="4214" y="1905"/>
                    <a:pt x="4214" y="1905"/>
                    <a:pt x="4214" y="1905"/>
                  </a:cubicBezTo>
                  <a:cubicBezTo>
                    <a:pt x="4235" y="1927"/>
                    <a:pt x="4243" y="1949"/>
                    <a:pt x="4250" y="1971"/>
                  </a:cubicBezTo>
                  <a:cubicBezTo>
                    <a:pt x="4250" y="1985"/>
                    <a:pt x="4250" y="1993"/>
                    <a:pt x="4257" y="2007"/>
                  </a:cubicBezTo>
                  <a:cubicBezTo>
                    <a:pt x="4265" y="2029"/>
                    <a:pt x="4272" y="2037"/>
                    <a:pt x="4287" y="2051"/>
                  </a:cubicBezTo>
                  <a:cubicBezTo>
                    <a:pt x="4294" y="2059"/>
                    <a:pt x="4301" y="2066"/>
                    <a:pt x="4316" y="2081"/>
                  </a:cubicBezTo>
                  <a:cubicBezTo>
                    <a:pt x="4345" y="2125"/>
                    <a:pt x="4360" y="2183"/>
                    <a:pt x="4353" y="2227"/>
                  </a:cubicBezTo>
                  <a:cubicBezTo>
                    <a:pt x="4345" y="2249"/>
                    <a:pt x="4338" y="2315"/>
                    <a:pt x="4294" y="2315"/>
                  </a:cubicBezTo>
                  <a:cubicBezTo>
                    <a:pt x="4279" y="2315"/>
                    <a:pt x="4265" y="2308"/>
                    <a:pt x="4250" y="2301"/>
                  </a:cubicBezTo>
                  <a:cubicBezTo>
                    <a:pt x="4235" y="2286"/>
                    <a:pt x="4214" y="2286"/>
                    <a:pt x="4206" y="2286"/>
                  </a:cubicBezTo>
                  <a:cubicBezTo>
                    <a:pt x="4184" y="2286"/>
                    <a:pt x="4162" y="2293"/>
                    <a:pt x="4155" y="2301"/>
                  </a:cubicBezTo>
                  <a:cubicBezTo>
                    <a:pt x="4155" y="2308"/>
                    <a:pt x="4155" y="2308"/>
                    <a:pt x="4155" y="2308"/>
                  </a:cubicBezTo>
                  <a:cubicBezTo>
                    <a:pt x="4155" y="2315"/>
                    <a:pt x="4162" y="2315"/>
                    <a:pt x="4177" y="2323"/>
                  </a:cubicBezTo>
                  <a:cubicBezTo>
                    <a:pt x="4191" y="2323"/>
                    <a:pt x="4221" y="2330"/>
                    <a:pt x="4221" y="2359"/>
                  </a:cubicBezTo>
                  <a:cubicBezTo>
                    <a:pt x="4228" y="2388"/>
                    <a:pt x="4221" y="2425"/>
                    <a:pt x="4206" y="2440"/>
                  </a:cubicBezTo>
                  <a:cubicBezTo>
                    <a:pt x="4191" y="2454"/>
                    <a:pt x="4177" y="2462"/>
                    <a:pt x="4162" y="2462"/>
                  </a:cubicBezTo>
                  <a:cubicBezTo>
                    <a:pt x="4147" y="2462"/>
                    <a:pt x="4140" y="2462"/>
                    <a:pt x="4126" y="2454"/>
                  </a:cubicBezTo>
                  <a:cubicBezTo>
                    <a:pt x="4111" y="2447"/>
                    <a:pt x="4096" y="2433"/>
                    <a:pt x="4082" y="2425"/>
                  </a:cubicBezTo>
                  <a:cubicBezTo>
                    <a:pt x="4067" y="2410"/>
                    <a:pt x="4052" y="2403"/>
                    <a:pt x="4045" y="2403"/>
                  </a:cubicBezTo>
                  <a:cubicBezTo>
                    <a:pt x="4038" y="2403"/>
                    <a:pt x="4038" y="2403"/>
                    <a:pt x="4023" y="2418"/>
                  </a:cubicBezTo>
                  <a:cubicBezTo>
                    <a:pt x="4008" y="2440"/>
                    <a:pt x="3979" y="2454"/>
                    <a:pt x="3957" y="2476"/>
                  </a:cubicBezTo>
                  <a:cubicBezTo>
                    <a:pt x="3942" y="2484"/>
                    <a:pt x="3928" y="2498"/>
                    <a:pt x="3913" y="2513"/>
                  </a:cubicBezTo>
                  <a:cubicBezTo>
                    <a:pt x="3906" y="2520"/>
                    <a:pt x="3891" y="2528"/>
                    <a:pt x="3876" y="2542"/>
                  </a:cubicBezTo>
                  <a:cubicBezTo>
                    <a:pt x="3854" y="2557"/>
                    <a:pt x="3825" y="2579"/>
                    <a:pt x="3825" y="2594"/>
                  </a:cubicBezTo>
                  <a:cubicBezTo>
                    <a:pt x="3825" y="2594"/>
                    <a:pt x="3825" y="2594"/>
                    <a:pt x="3832" y="2601"/>
                  </a:cubicBezTo>
                  <a:cubicBezTo>
                    <a:pt x="3854" y="2630"/>
                    <a:pt x="3884" y="2638"/>
                    <a:pt x="3906" y="2645"/>
                  </a:cubicBezTo>
                  <a:cubicBezTo>
                    <a:pt x="3913" y="2645"/>
                    <a:pt x="3913" y="2645"/>
                    <a:pt x="3913" y="2645"/>
                  </a:cubicBezTo>
                  <a:cubicBezTo>
                    <a:pt x="3950" y="2660"/>
                    <a:pt x="3972" y="2704"/>
                    <a:pt x="3957" y="2747"/>
                  </a:cubicBezTo>
                  <a:cubicBezTo>
                    <a:pt x="3957" y="2777"/>
                    <a:pt x="3950" y="2806"/>
                    <a:pt x="3920" y="2806"/>
                  </a:cubicBezTo>
                  <a:cubicBezTo>
                    <a:pt x="3913" y="2806"/>
                    <a:pt x="3898" y="2799"/>
                    <a:pt x="3884" y="2792"/>
                  </a:cubicBezTo>
                  <a:cubicBezTo>
                    <a:pt x="3869" y="2792"/>
                    <a:pt x="3854" y="2784"/>
                    <a:pt x="3840" y="2777"/>
                  </a:cubicBezTo>
                  <a:cubicBezTo>
                    <a:pt x="3818" y="2769"/>
                    <a:pt x="3796" y="2762"/>
                    <a:pt x="3788" y="2762"/>
                  </a:cubicBezTo>
                  <a:cubicBezTo>
                    <a:pt x="3781" y="2762"/>
                    <a:pt x="3781" y="2762"/>
                    <a:pt x="3781" y="2762"/>
                  </a:cubicBezTo>
                  <a:cubicBezTo>
                    <a:pt x="3766" y="2777"/>
                    <a:pt x="3759" y="2806"/>
                    <a:pt x="3759" y="2828"/>
                  </a:cubicBezTo>
                  <a:cubicBezTo>
                    <a:pt x="3752" y="2843"/>
                    <a:pt x="3752" y="2850"/>
                    <a:pt x="3745" y="2857"/>
                  </a:cubicBezTo>
                  <a:cubicBezTo>
                    <a:pt x="3737" y="2879"/>
                    <a:pt x="3723" y="2887"/>
                    <a:pt x="3715" y="2887"/>
                  </a:cubicBezTo>
                  <a:cubicBezTo>
                    <a:pt x="3700" y="2887"/>
                    <a:pt x="3693" y="2887"/>
                    <a:pt x="3678" y="2901"/>
                  </a:cubicBezTo>
                  <a:cubicBezTo>
                    <a:pt x="3649" y="2923"/>
                    <a:pt x="3627" y="2960"/>
                    <a:pt x="3635" y="2989"/>
                  </a:cubicBezTo>
                  <a:cubicBezTo>
                    <a:pt x="3635" y="2989"/>
                    <a:pt x="3635" y="2997"/>
                    <a:pt x="3649" y="3004"/>
                  </a:cubicBezTo>
                  <a:cubicBezTo>
                    <a:pt x="3657" y="3011"/>
                    <a:pt x="3671" y="3011"/>
                    <a:pt x="3678" y="3019"/>
                  </a:cubicBezTo>
                  <a:cubicBezTo>
                    <a:pt x="3715" y="3033"/>
                    <a:pt x="3752" y="3048"/>
                    <a:pt x="3766" y="3107"/>
                  </a:cubicBezTo>
                  <a:cubicBezTo>
                    <a:pt x="3781" y="3173"/>
                    <a:pt x="3796" y="3231"/>
                    <a:pt x="3832" y="3238"/>
                  </a:cubicBezTo>
                  <a:cubicBezTo>
                    <a:pt x="3840" y="3246"/>
                    <a:pt x="3854" y="3246"/>
                    <a:pt x="3884" y="3246"/>
                  </a:cubicBezTo>
                  <a:cubicBezTo>
                    <a:pt x="3920" y="3246"/>
                    <a:pt x="3964" y="3246"/>
                    <a:pt x="3972" y="3238"/>
                  </a:cubicBezTo>
                  <a:cubicBezTo>
                    <a:pt x="4001" y="3216"/>
                    <a:pt x="4030" y="3209"/>
                    <a:pt x="4052" y="3202"/>
                  </a:cubicBezTo>
                  <a:cubicBezTo>
                    <a:pt x="4074" y="3195"/>
                    <a:pt x="4089" y="3187"/>
                    <a:pt x="4104" y="3173"/>
                  </a:cubicBezTo>
                  <a:cubicBezTo>
                    <a:pt x="4140" y="3143"/>
                    <a:pt x="4177" y="3136"/>
                    <a:pt x="4228" y="3114"/>
                  </a:cubicBezTo>
                  <a:cubicBezTo>
                    <a:pt x="4294" y="3092"/>
                    <a:pt x="4294" y="3092"/>
                    <a:pt x="4294" y="3092"/>
                  </a:cubicBezTo>
                  <a:cubicBezTo>
                    <a:pt x="4353" y="3070"/>
                    <a:pt x="4419" y="3041"/>
                    <a:pt x="4455" y="3041"/>
                  </a:cubicBezTo>
                  <a:cubicBezTo>
                    <a:pt x="4463" y="3033"/>
                    <a:pt x="4463" y="3033"/>
                    <a:pt x="4463" y="3033"/>
                  </a:cubicBezTo>
                  <a:cubicBezTo>
                    <a:pt x="4477" y="3033"/>
                    <a:pt x="4507" y="3026"/>
                    <a:pt x="4536" y="3026"/>
                  </a:cubicBezTo>
                  <a:cubicBezTo>
                    <a:pt x="4573" y="3026"/>
                    <a:pt x="4602" y="3033"/>
                    <a:pt x="4616" y="3055"/>
                  </a:cubicBezTo>
                  <a:cubicBezTo>
                    <a:pt x="4631" y="3070"/>
                    <a:pt x="4638" y="3077"/>
                    <a:pt x="4653" y="3092"/>
                  </a:cubicBezTo>
                  <a:cubicBezTo>
                    <a:pt x="4682" y="3114"/>
                    <a:pt x="4704" y="3143"/>
                    <a:pt x="4734" y="3180"/>
                  </a:cubicBezTo>
                  <a:cubicBezTo>
                    <a:pt x="4741" y="3195"/>
                    <a:pt x="4756" y="3209"/>
                    <a:pt x="4770" y="3224"/>
                  </a:cubicBezTo>
                  <a:cubicBezTo>
                    <a:pt x="4800" y="3253"/>
                    <a:pt x="4836" y="3290"/>
                    <a:pt x="4829" y="3341"/>
                  </a:cubicBezTo>
                  <a:cubicBezTo>
                    <a:pt x="4822" y="3378"/>
                    <a:pt x="4807" y="3495"/>
                    <a:pt x="4829" y="3546"/>
                  </a:cubicBezTo>
                  <a:cubicBezTo>
                    <a:pt x="4836" y="3568"/>
                    <a:pt x="4844" y="3576"/>
                    <a:pt x="4851" y="3576"/>
                  </a:cubicBezTo>
                  <a:cubicBezTo>
                    <a:pt x="4858" y="3583"/>
                    <a:pt x="4873" y="3583"/>
                    <a:pt x="4888" y="3605"/>
                  </a:cubicBezTo>
                  <a:cubicBezTo>
                    <a:pt x="4902" y="3627"/>
                    <a:pt x="4902" y="3664"/>
                    <a:pt x="4902" y="3700"/>
                  </a:cubicBezTo>
                  <a:cubicBezTo>
                    <a:pt x="4902" y="3722"/>
                    <a:pt x="4902" y="3737"/>
                    <a:pt x="4902" y="3752"/>
                  </a:cubicBezTo>
                  <a:cubicBezTo>
                    <a:pt x="4909" y="3766"/>
                    <a:pt x="4909" y="3773"/>
                    <a:pt x="4909" y="3781"/>
                  </a:cubicBezTo>
                  <a:cubicBezTo>
                    <a:pt x="4917" y="3817"/>
                    <a:pt x="4917" y="3869"/>
                    <a:pt x="4946" y="3869"/>
                  </a:cubicBezTo>
                  <a:cubicBezTo>
                    <a:pt x="4968" y="3876"/>
                    <a:pt x="4983" y="3883"/>
                    <a:pt x="4997" y="3898"/>
                  </a:cubicBezTo>
                  <a:cubicBezTo>
                    <a:pt x="5012" y="3905"/>
                    <a:pt x="5027" y="3920"/>
                    <a:pt x="5056" y="3920"/>
                  </a:cubicBezTo>
                  <a:cubicBezTo>
                    <a:pt x="5071" y="3920"/>
                    <a:pt x="5071" y="3920"/>
                    <a:pt x="5071" y="3920"/>
                  </a:cubicBezTo>
                  <a:cubicBezTo>
                    <a:pt x="5085" y="3927"/>
                    <a:pt x="5100" y="3927"/>
                    <a:pt x="5107" y="3942"/>
                  </a:cubicBezTo>
                  <a:cubicBezTo>
                    <a:pt x="5115" y="3957"/>
                    <a:pt x="5100" y="3971"/>
                    <a:pt x="5064" y="4015"/>
                  </a:cubicBezTo>
                  <a:cubicBezTo>
                    <a:pt x="5041" y="4037"/>
                    <a:pt x="5034" y="4059"/>
                    <a:pt x="5019" y="4081"/>
                  </a:cubicBezTo>
                  <a:cubicBezTo>
                    <a:pt x="5012" y="4110"/>
                    <a:pt x="4997" y="4133"/>
                    <a:pt x="4946" y="4147"/>
                  </a:cubicBezTo>
                  <a:cubicBezTo>
                    <a:pt x="4866" y="4162"/>
                    <a:pt x="4851" y="4176"/>
                    <a:pt x="4844" y="4220"/>
                  </a:cubicBezTo>
                  <a:cubicBezTo>
                    <a:pt x="4836" y="4272"/>
                    <a:pt x="4851" y="4301"/>
                    <a:pt x="4880" y="4330"/>
                  </a:cubicBezTo>
                  <a:cubicBezTo>
                    <a:pt x="4931" y="4367"/>
                    <a:pt x="4954" y="4433"/>
                    <a:pt x="4961" y="4477"/>
                  </a:cubicBezTo>
                  <a:cubicBezTo>
                    <a:pt x="4968" y="4499"/>
                    <a:pt x="4983" y="4521"/>
                    <a:pt x="4983" y="4535"/>
                  </a:cubicBezTo>
                  <a:cubicBezTo>
                    <a:pt x="4997" y="4550"/>
                    <a:pt x="4997" y="4550"/>
                    <a:pt x="4997" y="4550"/>
                  </a:cubicBezTo>
                  <a:cubicBezTo>
                    <a:pt x="4983" y="4557"/>
                    <a:pt x="4983" y="4557"/>
                    <a:pt x="4983" y="4557"/>
                  </a:cubicBezTo>
                  <a:cubicBezTo>
                    <a:pt x="4976" y="4609"/>
                    <a:pt x="4961" y="4748"/>
                    <a:pt x="4997" y="4792"/>
                  </a:cubicBezTo>
                  <a:cubicBezTo>
                    <a:pt x="5005" y="4814"/>
                    <a:pt x="5019" y="4828"/>
                    <a:pt x="5034" y="4843"/>
                  </a:cubicBezTo>
                  <a:cubicBezTo>
                    <a:pt x="5064" y="4880"/>
                    <a:pt x="5093" y="4909"/>
                    <a:pt x="5049" y="4961"/>
                  </a:cubicBezTo>
                  <a:cubicBezTo>
                    <a:pt x="5041" y="4975"/>
                    <a:pt x="5034" y="4990"/>
                    <a:pt x="5041" y="4997"/>
                  </a:cubicBezTo>
                  <a:cubicBezTo>
                    <a:pt x="5049" y="5019"/>
                    <a:pt x="5078" y="5026"/>
                    <a:pt x="5100" y="5026"/>
                  </a:cubicBezTo>
                  <a:cubicBezTo>
                    <a:pt x="5107" y="5026"/>
                    <a:pt x="5115" y="5026"/>
                    <a:pt x="5115" y="5026"/>
                  </a:cubicBezTo>
                  <a:cubicBezTo>
                    <a:pt x="5122" y="5026"/>
                    <a:pt x="5122" y="5026"/>
                    <a:pt x="5122" y="5026"/>
                  </a:cubicBezTo>
                  <a:cubicBezTo>
                    <a:pt x="5137" y="5026"/>
                    <a:pt x="5144" y="5026"/>
                    <a:pt x="5151" y="5034"/>
                  </a:cubicBezTo>
                  <a:cubicBezTo>
                    <a:pt x="5166" y="5056"/>
                    <a:pt x="5159" y="5107"/>
                    <a:pt x="5144" y="5173"/>
                  </a:cubicBezTo>
                  <a:cubicBezTo>
                    <a:pt x="5137" y="5202"/>
                    <a:pt x="5137" y="5232"/>
                    <a:pt x="5137" y="5246"/>
                  </a:cubicBezTo>
                  <a:cubicBezTo>
                    <a:pt x="5137" y="5283"/>
                    <a:pt x="5115" y="5305"/>
                    <a:pt x="5093" y="5319"/>
                  </a:cubicBezTo>
                  <a:cubicBezTo>
                    <a:pt x="5078" y="5342"/>
                    <a:pt x="5064" y="5356"/>
                    <a:pt x="5056" y="5385"/>
                  </a:cubicBezTo>
                  <a:cubicBezTo>
                    <a:pt x="5049" y="5415"/>
                    <a:pt x="5049" y="5415"/>
                    <a:pt x="5056" y="5422"/>
                  </a:cubicBezTo>
                  <a:cubicBezTo>
                    <a:pt x="5071" y="5437"/>
                    <a:pt x="5085" y="5452"/>
                    <a:pt x="5085" y="5503"/>
                  </a:cubicBezTo>
                  <a:cubicBezTo>
                    <a:pt x="5085" y="5583"/>
                    <a:pt x="5071" y="5598"/>
                    <a:pt x="5027" y="5620"/>
                  </a:cubicBezTo>
                  <a:cubicBezTo>
                    <a:pt x="5019" y="5627"/>
                    <a:pt x="5005" y="5635"/>
                    <a:pt x="4990" y="5642"/>
                  </a:cubicBezTo>
                  <a:cubicBezTo>
                    <a:pt x="4924" y="5686"/>
                    <a:pt x="4902" y="5737"/>
                    <a:pt x="4917" y="5796"/>
                  </a:cubicBezTo>
                  <a:cubicBezTo>
                    <a:pt x="4939" y="5854"/>
                    <a:pt x="4902" y="5891"/>
                    <a:pt x="4873" y="5920"/>
                  </a:cubicBezTo>
                  <a:cubicBezTo>
                    <a:pt x="4866" y="5928"/>
                    <a:pt x="4851" y="5935"/>
                    <a:pt x="4851" y="5942"/>
                  </a:cubicBezTo>
                  <a:cubicBezTo>
                    <a:pt x="4836" y="5957"/>
                    <a:pt x="4836" y="5986"/>
                    <a:pt x="4844" y="6023"/>
                  </a:cubicBezTo>
                  <a:cubicBezTo>
                    <a:pt x="4844" y="6052"/>
                    <a:pt x="4844" y="6082"/>
                    <a:pt x="4836" y="6118"/>
                  </a:cubicBezTo>
                  <a:cubicBezTo>
                    <a:pt x="4836" y="6162"/>
                    <a:pt x="4807" y="6206"/>
                    <a:pt x="4778" y="6257"/>
                  </a:cubicBezTo>
                  <a:cubicBezTo>
                    <a:pt x="4741" y="6309"/>
                    <a:pt x="4704" y="6367"/>
                    <a:pt x="4668" y="6455"/>
                  </a:cubicBezTo>
                  <a:cubicBezTo>
                    <a:pt x="4609" y="6587"/>
                    <a:pt x="4550" y="6609"/>
                    <a:pt x="4536" y="6609"/>
                  </a:cubicBezTo>
                  <a:cubicBezTo>
                    <a:pt x="4485" y="6638"/>
                    <a:pt x="4485" y="6638"/>
                    <a:pt x="4485" y="6638"/>
                  </a:cubicBezTo>
                  <a:lnTo>
                    <a:pt x="4477" y="6631"/>
                  </a:lnTo>
                </a:path>
              </a:pathLst>
            </a:custGeom>
            <a:grpFill/>
            <a:ln w="28575" cmpd="sng">
              <a:solidFill>
                <a:schemeClr val="bg2"/>
              </a:solidFill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00" name="Freeform 99"/>
            <p:cNvSpPr>
              <a:spLocks noChangeArrowheads="1"/>
            </p:cNvSpPr>
            <p:nvPr/>
          </p:nvSpPr>
          <p:spPr bwMode="auto">
            <a:xfrm>
              <a:off x="3494318" y="7779811"/>
              <a:ext cx="1999001" cy="2531581"/>
            </a:xfrm>
            <a:custGeom>
              <a:avLst/>
              <a:gdLst>
                <a:gd name="T0" fmla="*/ 4053 w 5197"/>
                <a:gd name="T1" fmla="*/ 513 h 6669"/>
                <a:gd name="T2" fmla="*/ 4375 w 5197"/>
                <a:gd name="T3" fmla="*/ 916 h 6669"/>
                <a:gd name="T4" fmla="*/ 4060 w 5197"/>
                <a:gd name="T5" fmla="*/ 1773 h 6669"/>
                <a:gd name="T6" fmla="*/ 4221 w 5197"/>
                <a:gd name="T7" fmla="*/ 2381 h 6669"/>
                <a:gd name="T8" fmla="*/ 3899 w 5197"/>
                <a:gd name="T9" fmla="*/ 2792 h 6669"/>
                <a:gd name="T10" fmla="*/ 4133 w 5197"/>
                <a:gd name="T11" fmla="*/ 3202 h 6669"/>
                <a:gd name="T12" fmla="*/ 4954 w 5197"/>
                <a:gd name="T13" fmla="*/ 3898 h 6669"/>
                <a:gd name="T14" fmla="*/ 5056 w 5197"/>
                <a:gd name="T15" fmla="*/ 4968 h 6669"/>
                <a:gd name="T16" fmla="*/ 4837 w 5197"/>
                <a:gd name="T17" fmla="*/ 6133 h 6669"/>
                <a:gd name="T18" fmla="*/ 3789 w 5197"/>
                <a:gd name="T19" fmla="*/ 6375 h 6669"/>
                <a:gd name="T20" fmla="*/ 3188 w 5197"/>
                <a:gd name="T21" fmla="*/ 6207 h 6669"/>
                <a:gd name="T22" fmla="*/ 2521 w 5197"/>
                <a:gd name="T23" fmla="*/ 5767 h 6669"/>
                <a:gd name="T24" fmla="*/ 2536 w 5197"/>
                <a:gd name="T25" fmla="*/ 4953 h 6669"/>
                <a:gd name="T26" fmla="*/ 2096 w 5197"/>
                <a:gd name="T27" fmla="*/ 4441 h 6669"/>
                <a:gd name="T28" fmla="*/ 1012 w 5197"/>
                <a:gd name="T29" fmla="*/ 4704 h 6669"/>
                <a:gd name="T30" fmla="*/ 836 w 5197"/>
                <a:gd name="T31" fmla="*/ 4067 h 6669"/>
                <a:gd name="T32" fmla="*/ 67 w 5197"/>
                <a:gd name="T33" fmla="*/ 2902 h 6669"/>
                <a:gd name="T34" fmla="*/ 667 w 5197"/>
                <a:gd name="T35" fmla="*/ 1898 h 6669"/>
                <a:gd name="T36" fmla="*/ 1283 w 5197"/>
                <a:gd name="T37" fmla="*/ 1920 h 6669"/>
                <a:gd name="T38" fmla="*/ 1605 w 5197"/>
                <a:gd name="T39" fmla="*/ 1561 h 6669"/>
                <a:gd name="T40" fmla="*/ 2309 w 5197"/>
                <a:gd name="T41" fmla="*/ 1121 h 6669"/>
                <a:gd name="T42" fmla="*/ 3217 w 5197"/>
                <a:gd name="T43" fmla="*/ 703 h 6669"/>
                <a:gd name="T44" fmla="*/ 3752 w 5197"/>
                <a:gd name="T45" fmla="*/ 0 h 6669"/>
                <a:gd name="T46" fmla="*/ 3408 w 5197"/>
                <a:gd name="T47" fmla="*/ 550 h 6669"/>
                <a:gd name="T48" fmla="*/ 2931 w 5197"/>
                <a:gd name="T49" fmla="*/ 748 h 6669"/>
                <a:gd name="T50" fmla="*/ 2294 w 5197"/>
                <a:gd name="T51" fmla="*/ 1099 h 6669"/>
                <a:gd name="T52" fmla="*/ 1810 w 5197"/>
                <a:gd name="T53" fmla="*/ 1326 h 6669"/>
                <a:gd name="T54" fmla="*/ 1437 w 5197"/>
                <a:gd name="T55" fmla="*/ 1641 h 6669"/>
                <a:gd name="T56" fmla="*/ 1253 w 5197"/>
                <a:gd name="T57" fmla="*/ 1912 h 6669"/>
                <a:gd name="T58" fmla="*/ 704 w 5197"/>
                <a:gd name="T59" fmla="*/ 1788 h 6669"/>
                <a:gd name="T60" fmla="*/ 601 w 5197"/>
                <a:gd name="T61" fmla="*/ 2037 h 6669"/>
                <a:gd name="T62" fmla="*/ 67 w 5197"/>
                <a:gd name="T63" fmla="*/ 2697 h 6669"/>
                <a:gd name="T64" fmla="*/ 609 w 5197"/>
                <a:gd name="T65" fmla="*/ 3605 h 6669"/>
                <a:gd name="T66" fmla="*/ 675 w 5197"/>
                <a:gd name="T67" fmla="*/ 4235 h 6669"/>
                <a:gd name="T68" fmla="*/ 902 w 5197"/>
                <a:gd name="T69" fmla="*/ 4690 h 6669"/>
                <a:gd name="T70" fmla="*/ 1525 w 5197"/>
                <a:gd name="T71" fmla="*/ 4543 h 6669"/>
                <a:gd name="T72" fmla="*/ 2257 w 5197"/>
                <a:gd name="T73" fmla="*/ 4521 h 6669"/>
                <a:gd name="T74" fmla="*/ 2529 w 5197"/>
                <a:gd name="T75" fmla="*/ 4924 h 6669"/>
                <a:gd name="T76" fmla="*/ 2741 w 5197"/>
                <a:gd name="T77" fmla="*/ 5349 h 6669"/>
                <a:gd name="T78" fmla="*/ 2616 w 5197"/>
                <a:gd name="T79" fmla="*/ 6016 h 6669"/>
                <a:gd name="T80" fmla="*/ 3137 w 5197"/>
                <a:gd name="T81" fmla="*/ 6265 h 6669"/>
                <a:gd name="T82" fmla="*/ 3584 w 5197"/>
                <a:gd name="T83" fmla="*/ 6324 h 6669"/>
                <a:gd name="T84" fmla="*/ 4097 w 5197"/>
                <a:gd name="T85" fmla="*/ 6456 h 6669"/>
                <a:gd name="T86" fmla="*/ 4866 w 5197"/>
                <a:gd name="T87" fmla="*/ 6141 h 6669"/>
                <a:gd name="T88" fmla="*/ 5079 w 5197"/>
                <a:gd name="T89" fmla="*/ 5422 h 6669"/>
                <a:gd name="T90" fmla="*/ 5079 w 5197"/>
                <a:gd name="T91" fmla="*/ 4983 h 6669"/>
                <a:gd name="T92" fmla="*/ 5049 w 5197"/>
                <a:gd name="T93" fmla="*/ 4103 h 6669"/>
                <a:gd name="T94" fmla="*/ 4910 w 5197"/>
                <a:gd name="T95" fmla="*/ 3612 h 6669"/>
                <a:gd name="T96" fmla="*/ 4463 w 5197"/>
                <a:gd name="T97" fmla="*/ 3034 h 6669"/>
                <a:gd name="T98" fmla="*/ 3701 w 5197"/>
                <a:gd name="T99" fmla="*/ 3019 h 6669"/>
                <a:gd name="T100" fmla="*/ 3935 w 5197"/>
                <a:gd name="T101" fmla="*/ 2836 h 6669"/>
                <a:gd name="T102" fmla="*/ 4060 w 5197"/>
                <a:gd name="T103" fmla="*/ 2433 h 6669"/>
                <a:gd name="T104" fmla="*/ 4382 w 5197"/>
                <a:gd name="T105" fmla="*/ 2250 h 6669"/>
                <a:gd name="T106" fmla="*/ 4082 w 5197"/>
                <a:gd name="T107" fmla="*/ 1795 h 6669"/>
                <a:gd name="T108" fmla="*/ 4324 w 5197"/>
                <a:gd name="T109" fmla="*/ 1436 h 6669"/>
                <a:gd name="T110" fmla="*/ 4404 w 5197"/>
                <a:gd name="T111" fmla="*/ 872 h 6669"/>
                <a:gd name="T112" fmla="*/ 4214 w 5197"/>
                <a:gd name="T113" fmla="*/ 725 h 6669"/>
                <a:gd name="T114" fmla="*/ 3994 w 5197"/>
                <a:gd name="T115" fmla="*/ 337 h 6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97" h="6669">
                  <a:moveTo>
                    <a:pt x="3752" y="29"/>
                  </a:moveTo>
                  <a:lnTo>
                    <a:pt x="3752" y="29"/>
                  </a:lnTo>
                  <a:cubicBezTo>
                    <a:pt x="3767" y="29"/>
                    <a:pt x="3781" y="37"/>
                    <a:pt x="3789" y="51"/>
                  </a:cubicBezTo>
                  <a:cubicBezTo>
                    <a:pt x="3818" y="81"/>
                    <a:pt x="3818" y="132"/>
                    <a:pt x="3789" y="176"/>
                  </a:cubicBezTo>
                  <a:cubicBezTo>
                    <a:pt x="3767" y="220"/>
                    <a:pt x="3825" y="242"/>
                    <a:pt x="3862" y="264"/>
                  </a:cubicBezTo>
                  <a:cubicBezTo>
                    <a:pt x="3891" y="279"/>
                    <a:pt x="3921" y="300"/>
                    <a:pt x="3935" y="337"/>
                  </a:cubicBezTo>
                  <a:cubicBezTo>
                    <a:pt x="3950" y="359"/>
                    <a:pt x="3979" y="366"/>
                    <a:pt x="3994" y="366"/>
                  </a:cubicBezTo>
                  <a:cubicBezTo>
                    <a:pt x="4009" y="366"/>
                    <a:pt x="4009" y="366"/>
                    <a:pt x="4009" y="366"/>
                  </a:cubicBezTo>
                  <a:cubicBezTo>
                    <a:pt x="4009" y="366"/>
                    <a:pt x="4074" y="374"/>
                    <a:pt x="4082" y="403"/>
                  </a:cubicBezTo>
                  <a:cubicBezTo>
                    <a:pt x="4089" y="440"/>
                    <a:pt x="4060" y="491"/>
                    <a:pt x="4053" y="513"/>
                  </a:cubicBezTo>
                  <a:cubicBezTo>
                    <a:pt x="4045" y="542"/>
                    <a:pt x="4045" y="608"/>
                    <a:pt x="4074" y="638"/>
                  </a:cubicBezTo>
                  <a:cubicBezTo>
                    <a:pt x="4097" y="660"/>
                    <a:pt x="4141" y="689"/>
                    <a:pt x="4162" y="718"/>
                  </a:cubicBezTo>
                  <a:cubicBezTo>
                    <a:pt x="4192" y="755"/>
                    <a:pt x="4243" y="769"/>
                    <a:pt x="4236" y="813"/>
                  </a:cubicBezTo>
                  <a:cubicBezTo>
                    <a:pt x="4229" y="850"/>
                    <a:pt x="4243" y="857"/>
                    <a:pt x="4272" y="857"/>
                  </a:cubicBezTo>
                  <a:cubicBezTo>
                    <a:pt x="4280" y="857"/>
                    <a:pt x="4294" y="857"/>
                    <a:pt x="4302" y="857"/>
                  </a:cubicBezTo>
                  <a:cubicBezTo>
                    <a:pt x="4324" y="850"/>
                    <a:pt x="4338" y="843"/>
                    <a:pt x="4353" y="843"/>
                  </a:cubicBezTo>
                  <a:cubicBezTo>
                    <a:pt x="4368" y="843"/>
                    <a:pt x="4375" y="850"/>
                    <a:pt x="4375" y="872"/>
                  </a:cubicBezTo>
                  <a:cubicBezTo>
                    <a:pt x="4375" y="887"/>
                    <a:pt x="4375" y="901"/>
                    <a:pt x="4375" y="916"/>
                  </a:cubicBezTo>
                  <a:cubicBezTo>
                    <a:pt x="4346" y="960"/>
                    <a:pt x="4324" y="1004"/>
                    <a:pt x="4324" y="1004"/>
                  </a:cubicBezTo>
                  <a:cubicBezTo>
                    <a:pt x="4324" y="1004"/>
                    <a:pt x="4346" y="960"/>
                    <a:pt x="4375" y="916"/>
                  </a:cubicBezTo>
                  <a:cubicBezTo>
                    <a:pt x="4375" y="953"/>
                    <a:pt x="4375" y="1004"/>
                    <a:pt x="4404" y="1041"/>
                  </a:cubicBezTo>
                  <a:cubicBezTo>
                    <a:pt x="4434" y="1107"/>
                    <a:pt x="4470" y="1202"/>
                    <a:pt x="4434" y="1268"/>
                  </a:cubicBezTo>
                  <a:cubicBezTo>
                    <a:pt x="4404" y="1319"/>
                    <a:pt x="4375" y="1407"/>
                    <a:pt x="4331" y="1407"/>
                  </a:cubicBezTo>
                  <a:cubicBezTo>
                    <a:pt x="4331" y="1407"/>
                    <a:pt x="4331" y="1407"/>
                    <a:pt x="4324" y="1407"/>
                  </a:cubicBezTo>
                  <a:cubicBezTo>
                    <a:pt x="4287" y="1400"/>
                    <a:pt x="4272" y="1348"/>
                    <a:pt x="4236" y="1341"/>
                  </a:cubicBezTo>
                  <a:cubicBezTo>
                    <a:pt x="4229" y="1341"/>
                    <a:pt x="4221" y="1341"/>
                    <a:pt x="4221" y="1341"/>
                  </a:cubicBezTo>
                  <a:cubicBezTo>
                    <a:pt x="4184" y="1341"/>
                    <a:pt x="4162" y="1370"/>
                    <a:pt x="4141" y="1400"/>
                  </a:cubicBezTo>
                  <a:cubicBezTo>
                    <a:pt x="4111" y="1436"/>
                    <a:pt x="4060" y="1466"/>
                    <a:pt x="4074" y="1517"/>
                  </a:cubicBezTo>
                  <a:cubicBezTo>
                    <a:pt x="4082" y="1568"/>
                    <a:pt x="4111" y="1612"/>
                    <a:pt x="4104" y="1663"/>
                  </a:cubicBezTo>
                  <a:cubicBezTo>
                    <a:pt x="4097" y="1715"/>
                    <a:pt x="4104" y="1729"/>
                    <a:pt x="4060" y="1773"/>
                  </a:cubicBezTo>
                  <a:cubicBezTo>
                    <a:pt x="4023" y="1817"/>
                    <a:pt x="3994" y="1832"/>
                    <a:pt x="4074" y="1839"/>
                  </a:cubicBezTo>
                  <a:cubicBezTo>
                    <a:pt x="4148" y="1854"/>
                    <a:pt x="4184" y="1891"/>
                    <a:pt x="4214" y="1927"/>
                  </a:cubicBezTo>
                  <a:cubicBezTo>
                    <a:pt x="4250" y="1964"/>
                    <a:pt x="4243" y="1986"/>
                    <a:pt x="4258" y="2030"/>
                  </a:cubicBezTo>
                  <a:cubicBezTo>
                    <a:pt x="4272" y="2074"/>
                    <a:pt x="4294" y="2074"/>
                    <a:pt x="4316" y="2103"/>
                  </a:cubicBezTo>
                  <a:cubicBezTo>
                    <a:pt x="4346" y="2140"/>
                    <a:pt x="4360" y="2191"/>
                    <a:pt x="4353" y="2242"/>
                  </a:cubicBezTo>
                  <a:cubicBezTo>
                    <a:pt x="4346" y="2279"/>
                    <a:pt x="4331" y="2316"/>
                    <a:pt x="4309" y="2316"/>
                  </a:cubicBezTo>
                  <a:cubicBezTo>
                    <a:pt x="4302" y="2316"/>
                    <a:pt x="4287" y="2308"/>
                    <a:pt x="4272" y="2301"/>
                  </a:cubicBezTo>
                  <a:cubicBezTo>
                    <a:pt x="4258" y="2293"/>
                    <a:pt x="4236" y="2286"/>
                    <a:pt x="4221" y="2286"/>
                  </a:cubicBezTo>
                  <a:cubicBezTo>
                    <a:pt x="4184" y="2286"/>
                    <a:pt x="4148" y="2301"/>
                    <a:pt x="4155" y="2330"/>
                  </a:cubicBezTo>
                  <a:cubicBezTo>
                    <a:pt x="4162" y="2360"/>
                    <a:pt x="4214" y="2338"/>
                    <a:pt x="4221" y="2381"/>
                  </a:cubicBezTo>
                  <a:cubicBezTo>
                    <a:pt x="4229" y="2411"/>
                    <a:pt x="4214" y="2462"/>
                    <a:pt x="4177" y="2462"/>
                  </a:cubicBezTo>
                  <a:cubicBezTo>
                    <a:pt x="4170" y="2462"/>
                    <a:pt x="4162" y="2462"/>
                    <a:pt x="4148" y="2455"/>
                  </a:cubicBezTo>
                  <a:cubicBezTo>
                    <a:pt x="4104" y="2433"/>
                    <a:pt x="4082" y="2403"/>
                    <a:pt x="4060" y="2403"/>
                  </a:cubicBezTo>
                  <a:cubicBezTo>
                    <a:pt x="4045" y="2403"/>
                    <a:pt x="4038" y="2411"/>
                    <a:pt x="4031" y="2418"/>
                  </a:cubicBezTo>
                  <a:cubicBezTo>
                    <a:pt x="3994" y="2462"/>
                    <a:pt x="3950" y="2477"/>
                    <a:pt x="3921" y="2513"/>
                  </a:cubicBezTo>
                  <a:cubicBezTo>
                    <a:pt x="3884" y="2550"/>
                    <a:pt x="3796" y="2594"/>
                    <a:pt x="3833" y="2623"/>
                  </a:cubicBezTo>
                  <a:cubicBezTo>
                    <a:pt x="3869" y="2660"/>
                    <a:pt x="3899" y="2667"/>
                    <a:pt x="3928" y="2675"/>
                  </a:cubicBezTo>
                  <a:cubicBezTo>
                    <a:pt x="3950" y="2682"/>
                    <a:pt x="3972" y="2719"/>
                    <a:pt x="3957" y="2762"/>
                  </a:cubicBezTo>
                  <a:cubicBezTo>
                    <a:pt x="3957" y="2792"/>
                    <a:pt x="3950" y="2807"/>
                    <a:pt x="3935" y="2807"/>
                  </a:cubicBezTo>
                  <a:cubicBezTo>
                    <a:pt x="3928" y="2807"/>
                    <a:pt x="3921" y="2799"/>
                    <a:pt x="3899" y="2792"/>
                  </a:cubicBezTo>
                  <a:cubicBezTo>
                    <a:pt x="3862" y="2784"/>
                    <a:pt x="3825" y="2762"/>
                    <a:pt x="3803" y="2762"/>
                  </a:cubicBezTo>
                  <a:cubicBezTo>
                    <a:pt x="3796" y="2762"/>
                    <a:pt x="3789" y="2762"/>
                    <a:pt x="3781" y="2770"/>
                  </a:cubicBezTo>
                  <a:cubicBezTo>
                    <a:pt x="3767" y="2792"/>
                    <a:pt x="3760" y="2843"/>
                    <a:pt x="3745" y="2872"/>
                  </a:cubicBezTo>
                  <a:cubicBezTo>
                    <a:pt x="3738" y="2894"/>
                    <a:pt x="3715" y="2872"/>
                    <a:pt x="3679" y="2902"/>
                  </a:cubicBezTo>
                  <a:cubicBezTo>
                    <a:pt x="3650" y="2938"/>
                    <a:pt x="3606" y="3004"/>
                    <a:pt x="3657" y="3034"/>
                  </a:cubicBezTo>
                  <a:cubicBezTo>
                    <a:pt x="3708" y="3056"/>
                    <a:pt x="3745" y="3056"/>
                    <a:pt x="3767" y="3129"/>
                  </a:cubicBezTo>
                  <a:cubicBezTo>
                    <a:pt x="3781" y="3195"/>
                    <a:pt x="3796" y="3253"/>
                    <a:pt x="3840" y="3268"/>
                  </a:cubicBezTo>
                  <a:cubicBezTo>
                    <a:pt x="3855" y="3275"/>
                    <a:pt x="3877" y="3275"/>
                    <a:pt x="3899" y="3275"/>
                  </a:cubicBezTo>
                  <a:cubicBezTo>
                    <a:pt x="3943" y="3275"/>
                    <a:pt x="3994" y="3268"/>
                    <a:pt x="3994" y="3268"/>
                  </a:cubicBezTo>
                  <a:cubicBezTo>
                    <a:pt x="4045" y="3231"/>
                    <a:pt x="4089" y="3239"/>
                    <a:pt x="4133" y="3202"/>
                  </a:cubicBezTo>
                  <a:cubicBezTo>
                    <a:pt x="4170" y="3166"/>
                    <a:pt x="4206" y="3158"/>
                    <a:pt x="4272" y="3136"/>
                  </a:cubicBezTo>
                  <a:cubicBezTo>
                    <a:pt x="4346" y="3107"/>
                    <a:pt x="4426" y="3078"/>
                    <a:pt x="4470" y="3070"/>
                  </a:cubicBezTo>
                  <a:cubicBezTo>
                    <a:pt x="4492" y="3063"/>
                    <a:pt x="4522" y="3056"/>
                    <a:pt x="4551" y="3056"/>
                  </a:cubicBezTo>
                  <a:cubicBezTo>
                    <a:pt x="4573" y="3056"/>
                    <a:pt x="4602" y="3063"/>
                    <a:pt x="4624" y="3085"/>
                  </a:cubicBezTo>
                  <a:cubicBezTo>
                    <a:pt x="4668" y="3129"/>
                    <a:pt x="4697" y="3151"/>
                    <a:pt x="4734" y="3202"/>
                  </a:cubicBezTo>
                  <a:cubicBezTo>
                    <a:pt x="4771" y="3253"/>
                    <a:pt x="4837" y="3290"/>
                    <a:pt x="4829" y="3356"/>
                  </a:cubicBezTo>
                  <a:cubicBezTo>
                    <a:pt x="4822" y="3422"/>
                    <a:pt x="4807" y="3517"/>
                    <a:pt x="4829" y="3569"/>
                  </a:cubicBezTo>
                  <a:cubicBezTo>
                    <a:pt x="4844" y="3620"/>
                    <a:pt x="4859" y="3591"/>
                    <a:pt x="4888" y="3627"/>
                  </a:cubicBezTo>
                  <a:cubicBezTo>
                    <a:pt x="4910" y="3664"/>
                    <a:pt x="4895" y="3730"/>
                    <a:pt x="4903" y="3774"/>
                  </a:cubicBezTo>
                  <a:cubicBezTo>
                    <a:pt x="4910" y="3818"/>
                    <a:pt x="4910" y="3891"/>
                    <a:pt x="4954" y="3898"/>
                  </a:cubicBezTo>
                  <a:cubicBezTo>
                    <a:pt x="4998" y="3906"/>
                    <a:pt x="5012" y="3942"/>
                    <a:pt x="5064" y="3950"/>
                  </a:cubicBezTo>
                  <a:cubicBezTo>
                    <a:pt x="5115" y="3957"/>
                    <a:pt x="5122" y="3950"/>
                    <a:pt x="5064" y="4016"/>
                  </a:cubicBezTo>
                  <a:cubicBezTo>
                    <a:pt x="5005" y="4089"/>
                    <a:pt x="5034" y="4133"/>
                    <a:pt x="4954" y="4148"/>
                  </a:cubicBezTo>
                  <a:cubicBezTo>
                    <a:pt x="4881" y="4162"/>
                    <a:pt x="4851" y="4184"/>
                    <a:pt x="4844" y="4235"/>
                  </a:cubicBezTo>
                  <a:cubicBezTo>
                    <a:pt x="4837" y="4279"/>
                    <a:pt x="4844" y="4323"/>
                    <a:pt x="4888" y="4360"/>
                  </a:cubicBezTo>
                  <a:cubicBezTo>
                    <a:pt x="4932" y="4397"/>
                    <a:pt x="4954" y="4455"/>
                    <a:pt x="4961" y="4492"/>
                  </a:cubicBezTo>
                  <a:cubicBezTo>
                    <a:pt x="4969" y="4514"/>
                    <a:pt x="4976" y="4536"/>
                    <a:pt x="4991" y="4558"/>
                  </a:cubicBezTo>
                  <a:cubicBezTo>
                    <a:pt x="4983" y="4558"/>
                    <a:pt x="4983" y="4558"/>
                    <a:pt x="4983" y="4558"/>
                  </a:cubicBezTo>
                  <a:cubicBezTo>
                    <a:pt x="4983" y="4558"/>
                    <a:pt x="4954" y="4748"/>
                    <a:pt x="4998" y="4822"/>
                  </a:cubicBezTo>
                  <a:cubicBezTo>
                    <a:pt x="5042" y="4888"/>
                    <a:pt x="5100" y="4910"/>
                    <a:pt x="5056" y="4968"/>
                  </a:cubicBezTo>
                  <a:cubicBezTo>
                    <a:pt x="5012" y="5019"/>
                    <a:pt x="5064" y="5056"/>
                    <a:pt x="5115" y="5056"/>
                  </a:cubicBezTo>
                  <a:cubicBezTo>
                    <a:pt x="5122" y="5056"/>
                    <a:pt x="5130" y="5056"/>
                    <a:pt x="5137" y="5056"/>
                  </a:cubicBezTo>
                  <a:lnTo>
                    <a:pt x="5137" y="5056"/>
                  </a:lnTo>
                  <a:cubicBezTo>
                    <a:pt x="5188" y="5056"/>
                    <a:pt x="5137" y="5203"/>
                    <a:pt x="5137" y="5261"/>
                  </a:cubicBezTo>
                  <a:cubicBezTo>
                    <a:pt x="5137" y="5320"/>
                    <a:pt x="5079" y="5327"/>
                    <a:pt x="5056" y="5393"/>
                  </a:cubicBezTo>
                  <a:cubicBezTo>
                    <a:pt x="5034" y="5467"/>
                    <a:pt x="5086" y="5430"/>
                    <a:pt x="5086" y="5518"/>
                  </a:cubicBezTo>
                  <a:cubicBezTo>
                    <a:pt x="5086" y="5613"/>
                    <a:pt x="5064" y="5598"/>
                    <a:pt x="4998" y="5642"/>
                  </a:cubicBezTo>
                  <a:cubicBezTo>
                    <a:pt x="4932" y="5693"/>
                    <a:pt x="4895" y="5745"/>
                    <a:pt x="4917" y="5818"/>
                  </a:cubicBezTo>
                  <a:cubicBezTo>
                    <a:pt x="4939" y="5884"/>
                    <a:pt x="4873" y="5921"/>
                    <a:pt x="4851" y="5950"/>
                  </a:cubicBezTo>
                  <a:cubicBezTo>
                    <a:pt x="4829" y="5987"/>
                    <a:pt x="4851" y="6053"/>
                    <a:pt x="4837" y="6133"/>
                  </a:cubicBezTo>
                  <a:cubicBezTo>
                    <a:pt x="4829" y="6214"/>
                    <a:pt x="4741" y="6287"/>
                    <a:pt x="4668" y="6463"/>
                  </a:cubicBezTo>
                  <a:cubicBezTo>
                    <a:pt x="4610" y="6602"/>
                    <a:pt x="4551" y="6610"/>
                    <a:pt x="4543" y="6610"/>
                  </a:cubicBezTo>
                  <a:lnTo>
                    <a:pt x="4543" y="6610"/>
                  </a:lnTo>
                  <a:cubicBezTo>
                    <a:pt x="4500" y="6631"/>
                    <a:pt x="4500" y="6631"/>
                    <a:pt x="4500" y="6631"/>
                  </a:cubicBezTo>
                  <a:cubicBezTo>
                    <a:pt x="4470" y="6610"/>
                    <a:pt x="4404" y="6551"/>
                    <a:pt x="4353" y="6551"/>
                  </a:cubicBezTo>
                  <a:cubicBezTo>
                    <a:pt x="4287" y="6551"/>
                    <a:pt x="4236" y="6507"/>
                    <a:pt x="4192" y="6470"/>
                  </a:cubicBezTo>
                  <a:cubicBezTo>
                    <a:pt x="4148" y="6441"/>
                    <a:pt x="4045" y="6404"/>
                    <a:pt x="3987" y="6360"/>
                  </a:cubicBezTo>
                  <a:cubicBezTo>
                    <a:pt x="3957" y="6331"/>
                    <a:pt x="3935" y="6317"/>
                    <a:pt x="3913" y="6317"/>
                  </a:cubicBezTo>
                  <a:cubicBezTo>
                    <a:pt x="3899" y="6317"/>
                    <a:pt x="3877" y="6331"/>
                    <a:pt x="3855" y="6346"/>
                  </a:cubicBezTo>
                  <a:cubicBezTo>
                    <a:pt x="3825" y="6368"/>
                    <a:pt x="3811" y="6375"/>
                    <a:pt x="3789" y="6375"/>
                  </a:cubicBezTo>
                  <a:cubicBezTo>
                    <a:pt x="3767" y="6375"/>
                    <a:pt x="3738" y="6360"/>
                    <a:pt x="3708" y="6346"/>
                  </a:cubicBezTo>
                  <a:cubicBezTo>
                    <a:pt x="3657" y="6331"/>
                    <a:pt x="3650" y="6272"/>
                    <a:pt x="3620" y="6272"/>
                  </a:cubicBezTo>
                  <a:cubicBezTo>
                    <a:pt x="3613" y="6272"/>
                    <a:pt x="3613" y="6280"/>
                    <a:pt x="3606" y="6280"/>
                  </a:cubicBezTo>
                  <a:cubicBezTo>
                    <a:pt x="3569" y="6302"/>
                    <a:pt x="3540" y="6331"/>
                    <a:pt x="3496" y="6331"/>
                  </a:cubicBezTo>
                  <a:cubicBezTo>
                    <a:pt x="3488" y="6331"/>
                    <a:pt x="3481" y="6331"/>
                    <a:pt x="3466" y="6324"/>
                  </a:cubicBezTo>
                  <a:cubicBezTo>
                    <a:pt x="3437" y="6317"/>
                    <a:pt x="3430" y="6309"/>
                    <a:pt x="3415" y="6309"/>
                  </a:cubicBezTo>
                  <a:cubicBezTo>
                    <a:pt x="3408" y="6309"/>
                    <a:pt x="3393" y="6317"/>
                    <a:pt x="3364" y="6338"/>
                  </a:cubicBezTo>
                  <a:cubicBezTo>
                    <a:pt x="3356" y="6346"/>
                    <a:pt x="3349" y="6346"/>
                    <a:pt x="3334" y="6346"/>
                  </a:cubicBezTo>
                  <a:cubicBezTo>
                    <a:pt x="3291" y="6346"/>
                    <a:pt x="3239" y="6265"/>
                    <a:pt x="3232" y="6236"/>
                  </a:cubicBezTo>
                  <a:cubicBezTo>
                    <a:pt x="3224" y="6214"/>
                    <a:pt x="3203" y="6207"/>
                    <a:pt x="3188" y="6207"/>
                  </a:cubicBezTo>
                  <a:cubicBezTo>
                    <a:pt x="3173" y="6207"/>
                    <a:pt x="3159" y="6207"/>
                    <a:pt x="3151" y="6221"/>
                  </a:cubicBezTo>
                  <a:cubicBezTo>
                    <a:pt x="3144" y="6229"/>
                    <a:pt x="3144" y="6236"/>
                    <a:pt x="3137" y="6236"/>
                  </a:cubicBezTo>
                  <a:cubicBezTo>
                    <a:pt x="3107" y="6236"/>
                    <a:pt x="3071" y="6184"/>
                    <a:pt x="3012" y="6148"/>
                  </a:cubicBezTo>
                  <a:cubicBezTo>
                    <a:pt x="2946" y="6097"/>
                    <a:pt x="2983" y="6031"/>
                    <a:pt x="2968" y="5965"/>
                  </a:cubicBezTo>
                  <a:cubicBezTo>
                    <a:pt x="2961" y="5899"/>
                    <a:pt x="2858" y="5921"/>
                    <a:pt x="2822" y="5899"/>
                  </a:cubicBezTo>
                  <a:cubicBezTo>
                    <a:pt x="2814" y="5891"/>
                    <a:pt x="2807" y="5891"/>
                    <a:pt x="2792" y="5891"/>
                  </a:cubicBezTo>
                  <a:cubicBezTo>
                    <a:pt x="2741" y="5891"/>
                    <a:pt x="2660" y="5921"/>
                    <a:pt x="2660" y="5921"/>
                  </a:cubicBezTo>
                  <a:cubicBezTo>
                    <a:pt x="2660" y="5921"/>
                    <a:pt x="2653" y="5928"/>
                    <a:pt x="2638" y="5950"/>
                  </a:cubicBezTo>
                  <a:cubicBezTo>
                    <a:pt x="2631" y="5913"/>
                    <a:pt x="2631" y="5891"/>
                    <a:pt x="2624" y="5869"/>
                  </a:cubicBezTo>
                  <a:cubicBezTo>
                    <a:pt x="2616" y="5833"/>
                    <a:pt x="2565" y="5818"/>
                    <a:pt x="2521" y="5767"/>
                  </a:cubicBezTo>
                  <a:cubicBezTo>
                    <a:pt x="2484" y="5723"/>
                    <a:pt x="2507" y="5701"/>
                    <a:pt x="2550" y="5642"/>
                  </a:cubicBezTo>
                  <a:cubicBezTo>
                    <a:pt x="2594" y="5584"/>
                    <a:pt x="2602" y="5576"/>
                    <a:pt x="2646" y="5540"/>
                  </a:cubicBezTo>
                  <a:cubicBezTo>
                    <a:pt x="2682" y="5510"/>
                    <a:pt x="2682" y="5532"/>
                    <a:pt x="2719" y="5496"/>
                  </a:cubicBezTo>
                  <a:cubicBezTo>
                    <a:pt x="2756" y="5467"/>
                    <a:pt x="2763" y="5386"/>
                    <a:pt x="2770" y="5334"/>
                  </a:cubicBezTo>
                  <a:cubicBezTo>
                    <a:pt x="2778" y="5291"/>
                    <a:pt x="2748" y="5254"/>
                    <a:pt x="2697" y="5254"/>
                  </a:cubicBezTo>
                  <a:cubicBezTo>
                    <a:pt x="2697" y="5254"/>
                    <a:pt x="2690" y="5254"/>
                    <a:pt x="2682" y="5254"/>
                  </a:cubicBezTo>
                  <a:lnTo>
                    <a:pt x="2675" y="5254"/>
                  </a:lnTo>
                  <a:cubicBezTo>
                    <a:pt x="2616" y="5254"/>
                    <a:pt x="2565" y="5203"/>
                    <a:pt x="2558" y="5173"/>
                  </a:cubicBezTo>
                  <a:cubicBezTo>
                    <a:pt x="2550" y="5151"/>
                    <a:pt x="2536" y="5107"/>
                    <a:pt x="2484" y="5056"/>
                  </a:cubicBezTo>
                  <a:cubicBezTo>
                    <a:pt x="2433" y="5005"/>
                    <a:pt x="2462" y="4983"/>
                    <a:pt x="2536" y="4953"/>
                  </a:cubicBezTo>
                  <a:cubicBezTo>
                    <a:pt x="2602" y="4931"/>
                    <a:pt x="2507" y="4843"/>
                    <a:pt x="2521" y="4792"/>
                  </a:cubicBezTo>
                  <a:cubicBezTo>
                    <a:pt x="2543" y="4741"/>
                    <a:pt x="2558" y="4704"/>
                    <a:pt x="2550" y="4668"/>
                  </a:cubicBezTo>
                  <a:cubicBezTo>
                    <a:pt x="2543" y="4631"/>
                    <a:pt x="2499" y="4594"/>
                    <a:pt x="2462" y="4594"/>
                  </a:cubicBezTo>
                  <a:cubicBezTo>
                    <a:pt x="2455" y="4594"/>
                    <a:pt x="2455" y="4594"/>
                    <a:pt x="2448" y="4594"/>
                  </a:cubicBezTo>
                  <a:cubicBezTo>
                    <a:pt x="2441" y="4602"/>
                    <a:pt x="2433" y="4602"/>
                    <a:pt x="2426" y="4602"/>
                  </a:cubicBezTo>
                  <a:cubicBezTo>
                    <a:pt x="2389" y="4602"/>
                    <a:pt x="2338" y="4580"/>
                    <a:pt x="2309" y="4536"/>
                  </a:cubicBezTo>
                  <a:cubicBezTo>
                    <a:pt x="2294" y="4507"/>
                    <a:pt x="2279" y="4484"/>
                    <a:pt x="2257" y="4484"/>
                  </a:cubicBezTo>
                  <a:cubicBezTo>
                    <a:pt x="2250" y="4484"/>
                    <a:pt x="2243" y="4492"/>
                    <a:pt x="2228" y="4514"/>
                  </a:cubicBezTo>
                  <a:cubicBezTo>
                    <a:pt x="2221" y="4521"/>
                    <a:pt x="2213" y="4529"/>
                    <a:pt x="2206" y="4529"/>
                  </a:cubicBezTo>
                  <a:cubicBezTo>
                    <a:pt x="2169" y="4529"/>
                    <a:pt x="2133" y="4462"/>
                    <a:pt x="2096" y="4441"/>
                  </a:cubicBezTo>
                  <a:cubicBezTo>
                    <a:pt x="2060" y="4419"/>
                    <a:pt x="2023" y="4353"/>
                    <a:pt x="1972" y="4345"/>
                  </a:cubicBezTo>
                  <a:cubicBezTo>
                    <a:pt x="1964" y="4338"/>
                    <a:pt x="1950" y="4338"/>
                    <a:pt x="1942" y="4338"/>
                  </a:cubicBezTo>
                  <a:cubicBezTo>
                    <a:pt x="1891" y="4338"/>
                    <a:pt x="1810" y="4360"/>
                    <a:pt x="1744" y="4397"/>
                  </a:cubicBezTo>
                  <a:cubicBezTo>
                    <a:pt x="1657" y="4433"/>
                    <a:pt x="1605" y="4462"/>
                    <a:pt x="1547" y="4492"/>
                  </a:cubicBezTo>
                  <a:cubicBezTo>
                    <a:pt x="1488" y="4529"/>
                    <a:pt x="1437" y="4565"/>
                    <a:pt x="1393" y="4572"/>
                  </a:cubicBezTo>
                  <a:cubicBezTo>
                    <a:pt x="1349" y="4580"/>
                    <a:pt x="1319" y="4594"/>
                    <a:pt x="1268" y="4631"/>
                  </a:cubicBezTo>
                  <a:cubicBezTo>
                    <a:pt x="1253" y="4638"/>
                    <a:pt x="1246" y="4638"/>
                    <a:pt x="1231" y="4638"/>
                  </a:cubicBezTo>
                  <a:cubicBezTo>
                    <a:pt x="1210" y="4638"/>
                    <a:pt x="1180" y="4631"/>
                    <a:pt x="1158" y="4631"/>
                  </a:cubicBezTo>
                  <a:cubicBezTo>
                    <a:pt x="1143" y="4631"/>
                    <a:pt x="1136" y="4631"/>
                    <a:pt x="1122" y="4646"/>
                  </a:cubicBezTo>
                  <a:cubicBezTo>
                    <a:pt x="1078" y="4697"/>
                    <a:pt x="1034" y="4704"/>
                    <a:pt x="1012" y="4704"/>
                  </a:cubicBezTo>
                  <a:cubicBezTo>
                    <a:pt x="990" y="4704"/>
                    <a:pt x="960" y="4653"/>
                    <a:pt x="909" y="4653"/>
                  </a:cubicBezTo>
                  <a:cubicBezTo>
                    <a:pt x="909" y="4653"/>
                    <a:pt x="902" y="4653"/>
                    <a:pt x="902" y="4660"/>
                  </a:cubicBezTo>
                  <a:cubicBezTo>
                    <a:pt x="894" y="4660"/>
                    <a:pt x="880" y="4660"/>
                    <a:pt x="872" y="4660"/>
                  </a:cubicBezTo>
                  <a:cubicBezTo>
                    <a:pt x="807" y="4660"/>
                    <a:pt x="711" y="4638"/>
                    <a:pt x="645" y="4609"/>
                  </a:cubicBezTo>
                  <a:cubicBezTo>
                    <a:pt x="631" y="4602"/>
                    <a:pt x="623" y="4602"/>
                    <a:pt x="609" y="4602"/>
                  </a:cubicBezTo>
                  <a:cubicBezTo>
                    <a:pt x="579" y="4602"/>
                    <a:pt x="543" y="4617"/>
                    <a:pt x="521" y="4631"/>
                  </a:cubicBezTo>
                  <a:cubicBezTo>
                    <a:pt x="528" y="4594"/>
                    <a:pt x="550" y="4558"/>
                    <a:pt x="557" y="4521"/>
                  </a:cubicBezTo>
                  <a:cubicBezTo>
                    <a:pt x="565" y="4470"/>
                    <a:pt x="601" y="4419"/>
                    <a:pt x="652" y="4367"/>
                  </a:cubicBezTo>
                  <a:cubicBezTo>
                    <a:pt x="711" y="4309"/>
                    <a:pt x="704" y="4272"/>
                    <a:pt x="711" y="4191"/>
                  </a:cubicBezTo>
                  <a:cubicBezTo>
                    <a:pt x="726" y="4118"/>
                    <a:pt x="755" y="4118"/>
                    <a:pt x="836" y="4067"/>
                  </a:cubicBezTo>
                  <a:cubicBezTo>
                    <a:pt x="917" y="4023"/>
                    <a:pt x="858" y="3920"/>
                    <a:pt x="894" y="3840"/>
                  </a:cubicBezTo>
                  <a:cubicBezTo>
                    <a:pt x="931" y="3767"/>
                    <a:pt x="858" y="3730"/>
                    <a:pt x="792" y="3730"/>
                  </a:cubicBezTo>
                  <a:cubicBezTo>
                    <a:pt x="726" y="3730"/>
                    <a:pt x="645" y="3708"/>
                    <a:pt x="645" y="3642"/>
                  </a:cubicBezTo>
                  <a:cubicBezTo>
                    <a:pt x="645" y="3591"/>
                    <a:pt x="638" y="3576"/>
                    <a:pt x="609" y="3576"/>
                  </a:cubicBezTo>
                  <a:cubicBezTo>
                    <a:pt x="594" y="3576"/>
                    <a:pt x="579" y="3576"/>
                    <a:pt x="557" y="3583"/>
                  </a:cubicBezTo>
                  <a:cubicBezTo>
                    <a:pt x="550" y="3583"/>
                    <a:pt x="543" y="3583"/>
                    <a:pt x="535" y="3583"/>
                  </a:cubicBezTo>
                  <a:cubicBezTo>
                    <a:pt x="469" y="3583"/>
                    <a:pt x="448" y="3525"/>
                    <a:pt x="396" y="3495"/>
                  </a:cubicBezTo>
                  <a:cubicBezTo>
                    <a:pt x="338" y="3459"/>
                    <a:pt x="294" y="3400"/>
                    <a:pt x="279" y="3298"/>
                  </a:cubicBezTo>
                  <a:cubicBezTo>
                    <a:pt x="272" y="3195"/>
                    <a:pt x="228" y="3188"/>
                    <a:pt x="184" y="3143"/>
                  </a:cubicBezTo>
                  <a:cubicBezTo>
                    <a:pt x="132" y="3092"/>
                    <a:pt x="110" y="2982"/>
                    <a:pt x="67" y="2902"/>
                  </a:cubicBezTo>
                  <a:cubicBezTo>
                    <a:pt x="22" y="2821"/>
                    <a:pt x="88" y="2733"/>
                    <a:pt x="125" y="2631"/>
                  </a:cubicBezTo>
                  <a:cubicBezTo>
                    <a:pt x="154" y="2528"/>
                    <a:pt x="125" y="2543"/>
                    <a:pt x="184" y="2491"/>
                  </a:cubicBezTo>
                  <a:cubicBezTo>
                    <a:pt x="235" y="2448"/>
                    <a:pt x="257" y="2484"/>
                    <a:pt x="228" y="2418"/>
                  </a:cubicBezTo>
                  <a:cubicBezTo>
                    <a:pt x="191" y="2345"/>
                    <a:pt x="228" y="2279"/>
                    <a:pt x="272" y="2242"/>
                  </a:cubicBezTo>
                  <a:cubicBezTo>
                    <a:pt x="316" y="2213"/>
                    <a:pt x="418" y="2213"/>
                    <a:pt x="455" y="2132"/>
                  </a:cubicBezTo>
                  <a:cubicBezTo>
                    <a:pt x="477" y="2074"/>
                    <a:pt x="506" y="2052"/>
                    <a:pt x="543" y="2052"/>
                  </a:cubicBezTo>
                  <a:cubicBezTo>
                    <a:pt x="557" y="2052"/>
                    <a:pt x="572" y="2052"/>
                    <a:pt x="587" y="2066"/>
                  </a:cubicBezTo>
                  <a:cubicBezTo>
                    <a:pt x="601" y="2074"/>
                    <a:pt x="616" y="2074"/>
                    <a:pt x="623" y="2074"/>
                  </a:cubicBezTo>
                  <a:cubicBezTo>
                    <a:pt x="660" y="2074"/>
                    <a:pt x="689" y="2037"/>
                    <a:pt x="726" y="1993"/>
                  </a:cubicBezTo>
                  <a:cubicBezTo>
                    <a:pt x="762" y="1949"/>
                    <a:pt x="711" y="1934"/>
                    <a:pt x="667" y="1898"/>
                  </a:cubicBezTo>
                  <a:cubicBezTo>
                    <a:pt x="682" y="1861"/>
                    <a:pt x="682" y="1825"/>
                    <a:pt x="711" y="1817"/>
                  </a:cubicBezTo>
                  <a:cubicBezTo>
                    <a:pt x="719" y="1817"/>
                    <a:pt x="726" y="1817"/>
                    <a:pt x="733" y="1817"/>
                  </a:cubicBezTo>
                  <a:cubicBezTo>
                    <a:pt x="762" y="1817"/>
                    <a:pt x="777" y="1832"/>
                    <a:pt x="799" y="1869"/>
                  </a:cubicBezTo>
                  <a:cubicBezTo>
                    <a:pt x="821" y="1898"/>
                    <a:pt x="836" y="1979"/>
                    <a:pt x="872" y="1979"/>
                  </a:cubicBezTo>
                  <a:cubicBezTo>
                    <a:pt x="887" y="1979"/>
                    <a:pt x="902" y="1971"/>
                    <a:pt x="917" y="1957"/>
                  </a:cubicBezTo>
                  <a:cubicBezTo>
                    <a:pt x="982" y="1876"/>
                    <a:pt x="1012" y="1861"/>
                    <a:pt x="1070" y="1839"/>
                  </a:cubicBezTo>
                  <a:cubicBezTo>
                    <a:pt x="1078" y="1839"/>
                    <a:pt x="1085" y="1839"/>
                    <a:pt x="1092" y="1839"/>
                  </a:cubicBezTo>
                  <a:cubicBezTo>
                    <a:pt x="1143" y="1839"/>
                    <a:pt x="1173" y="1883"/>
                    <a:pt x="1195" y="1912"/>
                  </a:cubicBezTo>
                  <a:cubicBezTo>
                    <a:pt x="1210" y="1927"/>
                    <a:pt x="1239" y="1942"/>
                    <a:pt x="1253" y="1942"/>
                  </a:cubicBezTo>
                  <a:cubicBezTo>
                    <a:pt x="1268" y="1942"/>
                    <a:pt x="1276" y="1934"/>
                    <a:pt x="1283" y="1920"/>
                  </a:cubicBezTo>
                  <a:cubicBezTo>
                    <a:pt x="1283" y="1905"/>
                    <a:pt x="1290" y="1905"/>
                    <a:pt x="1290" y="1905"/>
                  </a:cubicBezTo>
                  <a:cubicBezTo>
                    <a:pt x="1305" y="1905"/>
                    <a:pt x="1327" y="1934"/>
                    <a:pt x="1341" y="1957"/>
                  </a:cubicBezTo>
                  <a:cubicBezTo>
                    <a:pt x="1356" y="1964"/>
                    <a:pt x="1371" y="1971"/>
                    <a:pt x="1385" y="1971"/>
                  </a:cubicBezTo>
                  <a:cubicBezTo>
                    <a:pt x="1415" y="1971"/>
                    <a:pt x="1444" y="1957"/>
                    <a:pt x="1466" y="1942"/>
                  </a:cubicBezTo>
                  <a:cubicBezTo>
                    <a:pt x="1510" y="1920"/>
                    <a:pt x="1517" y="1883"/>
                    <a:pt x="1510" y="1839"/>
                  </a:cubicBezTo>
                  <a:cubicBezTo>
                    <a:pt x="1503" y="1803"/>
                    <a:pt x="1569" y="1759"/>
                    <a:pt x="1539" y="1722"/>
                  </a:cubicBezTo>
                  <a:cubicBezTo>
                    <a:pt x="1503" y="1693"/>
                    <a:pt x="1466" y="1700"/>
                    <a:pt x="1466" y="1641"/>
                  </a:cubicBezTo>
                  <a:cubicBezTo>
                    <a:pt x="1466" y="1575"/>
                    <a:pt x="1459" y="1561"/>
                    <a:pt x="1503" y="1517"/>
                  </a:cubicBezTo>
                  <a:cubicBezTo>
                    <a:pt x="1517" y="1510"/>
                    <a:pt x="1525" y="1502"/>
                    <a:pt x="1532" y="1502"/>
                  </a:cubicBezTo>
                  <a:cubicBezTo>
                    <a:pt x="1561" y="1502"/>
                    <a:pt x="1583" y="1546"/>
                    <a:pt x="1605" y="1561"/>
                  </a:cubicBezTo>
                  <a:cubicBezTo>
                    <a:pt x="1627" y="1583"/>
                    <a:pt x="1657" y="1619"/>
                    <a:pt x="1693" y="1619"/>
                  </a:cubicBezTo>
                  <a:cubicBezTo>
                    <a:pt x="1708" y="1619"/>
                    <a:pt x="1722" y="1612"/>
                    <a:pt x="1730" y="1598"/>
                  </a:cubicBezTo>
                  <a:cubicBezTo>
                    <a:pt x="1774" y="1546"/>
                    <a:pt x="1803" y="1495"/>
                    <a:pt x="1781" y="1458"/>
                  </a:cubicBezTo>
                  <a:cubicBezTo>
                    <a:pt x="1766" y="1429"/>
                    <a:pt x="1766" y="1363"/>
                    <a:pt x="1818" y="1356"/>
                  </a:cubicBezTo>
                  <a:cubicBezTo>
                    <a:pt x="1869" y="1348"/>
                    <a:pt x="1862" y="1326"/>
                    <a:pt x="1869" y="1290"/>
                  </a:cubicBezTo>
                  <a:cubicBezTo>
                    <a:pt x="1876" y="1253"/>
                    <a:pt x="1972" y="1268"/>
                    <a:pt x="1993" y="1253"/>
                  </a:cubicBezTo>
                  <a:cubicBezTo>
                    <a:pt x="2023" y="1246"/>
                    <a:pt x="2030" y="1216"/>
                    <a:pt x="2067" y="1172"/>
                  </a:cubicBezTo>
                  <a:cubicBezTo>
                    <a:pt x="2074" y="1158"/>
                    <a:pt x="2089" y="1150"/>
                    <a:pt x="2103" y="1150"/>
                  </a:cubicBezTo>
                  <a:cubicBezTo>
                    <a:pt x="2133" y="1150"/>
                    <a:pt x="2162" y="1172"/>
                    <a:pt x="2191" y="1172"/>
                  </a:cubicBezTo>
                  <a:cubicBezTo>
                    <a:pt x="2235" y="1172"/>
                    <a:pt x="2272" y="1150"/>
                    <a:pt x="2309" y="1121"/>
                  </a:cubicBezTo>
                  <a:cubicBezTo>
                    <a:pt x="2353" y="1084"/>
                    <a:pt x="2404" y="1026"/>
                    <a:pt x="2448" y="1026"/>
                  </a:cubicBezTo>
                  <a:cubicBezTo>
                    <a:pt x="2484" y="1026"/>
                    <a:pt x="2536" y="1077"/>
                    <a:pt x="2580" y="1077"/>
                  </a:cubicBezTo>
                  <a:cubicBezTo>
                    <a:pt x="2587" y="1077"/>
                    <a:pt x="2594" y="1070"/>
                    <a:pt x="2602" y="1070"/>
                  </a:cubicBezTo>
                  <a:cubicBezTo>
                    <a:pt x="2646" y="1041"/>
                    <a:pt x="2719" y="1019"/>
                    <a:pt x="2748" y="982"/>
                  </a:cubicBezTo>
                  <a:cubicBezTo>
                    <a:pt x="2770" y="953"/>
                    <a:pt x="2770" y="938"/>
                    <a:pt x="2807" y="879"/>
                  </a:cubicBezTo>
                  <a:cubicBezTo>
                    <a:pt x="2836" y="821"/>
                    <a:pt x="2910" y="791"/>
                    <a:pt x="2939" y="777"/>
                  </a:cubicBezTo>
                  <a:cubicBezTo>
                    <a:pt x="2975" y="769"/>
                    <a:pt x="3034" y="769"/>
                    <a:pt x="3093" y="725"/>
                  </a:cubicBezTo>
                  <a:cubicBezTo>
                    <a:pt x="3137" y="696"/>
                    <a:pt x="3166" y="667"/>
                    <a:pt x="3188" y="667"/>
                  </a:cubicBezTo>
                  <a:cubicBezTo>
                    <a:pt x="3195" y="667"/>
                    <a:pt x="3203" y="674"/>
                    <a:pt x="3203" y="689"/>
                  </a:cubicBezTo>
                  <a:cubicBezTo>
                    <a:pt x="3210" y="703"/>
                    <a:pt x="3210" y="703"/>
                    <a:pt x="3217" y="703"/>
                  </a:cubicBezTo>
                  <a:cubicBezTo>
                    <a:pt x="3239" y="703"/>
                    <a:pt x="3261" y="681"/>
                    <a:pt x="3261" y="652"/>
                  </a:cubicBezTo>
                  <a:cubicBezTo>
                    <a:pt x="3269" y="608"/>
                    <a:pt x="3305" y="630"/>
                    <a:pt x="3371" y="608"/>
                  </a:cubicBezTo>
                  <a:cubicBezTo>
                    <a:pt x="3444" y="593"/>
                    <a:pt x="3415" y="616"/>
                    <a:pt x="3437" y="557"/>
                  </a:cubicBezTo>
                  <a:cubicBezTo>
                    <a:pt x="3452" y="498"/>
                    <a:pt x="3452" y="476"/>
                    <a:pt x="3481" y="432"/>
                  </a:cubicBezTo>
                  <a:cubicBezTo>
                    <a:pt x="3518" y="388"/>
                    <a:pt x="3562" y="374"/>
                    <a:pt x="3584" y="344"/>
                  </a:cubicBezTo>
                  <a:cubicBezTo>
                    <a:pt x="3613" y="322"/>
                    <a:pt x="3613" y="264"/>
                    <a:pt x="3620" y="220"/>
                  </a:cubicBezTo>
                  <a:cubicBezTo>
                    <a:pt x="3628" y="176"/>
                    <a:pt x="3606" y="117"/>
                    <a:pt x="3664" y="73"/>
                  </a:cubicBezTo>
                  <a:cubicBezTo>
                    <a:pt x="3701" y="44"/>
                    <a:pt x="3730" y="29"/>
                    <a:pt x="3752" y="29"/>
                  </a:cubicBezTo>
                  <a:lnTo>
                    <a:pt x="3752" y="0"/>
                  </a:lnTo>
                  <a:lnTo>
                    <a:pt x="3752" y="0"/>
                  </a:lnTo>
                  <a:lnTo>
                    <a:pt x="3752" y="0"/>
                  </a:lnTo>
                  <a:cubicBezTo>
                    <a:pt x="3730" y="0"/>
                    <a:pt x="3693" y="15"/>
                    <a:pt x="3642" y="51"/>
                  </a:cubicBezTo>
                  <a:cubicBezTo>
                    <a:pt x="3591" y="88"/>
                    <a:pt x="3591" y="139"/>
                    <a:pt x="3591" y="183"/>
                  </a:cubicBezTo>
                  <a:cubicBezTo>
                    <a:pt x="3591" y="191"/>
                    <a:pt x="3591" y="205"/>
                    <a:pt x="3591" y="212"/>
                  </a:cubicBezTo>
                  <a:cubicBezTo>
                    <a:pt x="3591" y="227"/>
                    <a:pt x="3584" y="234"/>
                    <a:pt x="3584" y="249"/>
                  </a:cubicBezTo>
                  <a:cubicBezTo>
                    <a:pt x="3584" y="279"/>
                    <a:pt x="3576" y="315"/>
                    <a:pt x="3562" y="322"/>
                  </a:cubicBezTo>
                  <a:cubicBezTo>
                    <a:pt x="3554" y="330"/>
                    <a:pt x="3547" y="337"/>
                    <a:pt x="3532" y="352"/>
                  </a:cubicBezTo>
                  <a:cubicBezTo>
                    <a:pt x="3510" y="366"/>
                    <a:pt x="3481" y="381"/>
                    <a:pt x="3459" y="410"/>
                  </a:cubicBezTo>
                  <a:cubicBezTo>
                    <a:pt x="3430" y="447"/>
                    <a:pt x="3422" y="476"/>
                    <a:pt x="3415" y="520"/>
                  </a:cubicBezTo>
                  <a:cubicBezTo>
                    <a:pt x="3408" y="528"/>
                    <a:pt x="3408" y="535"/>
                    <a:pt x="3408" y="550"/>
                  </a:cubicBezTo>
                  <a:cubicBezTo>
                    <a:pt x="3400" y="557"/>
                    <a:pt x="3400" y="564"/>
                    <a:pt x="3400" y="572"/>
                  </a:cubicBezTo>
                  <a:cubicBezTo>
                    <a:pt x="3393" y="572"/>
                    <a:pt x="3379" y="579"/>
                    <a:pt x="3364" y="579"/>
                  </a:cubicBezTo>
                  <a:cubicBezTo>
                    <a:pt x="3349" y="586"/>
                    <a:pt x="3327" y="586"/>
                    <a:pt x="3312" y="586"/>
                  </a:cubicBezTo>
                  <a:cubicBezTo>
                    <a:pt x="3283" y="593"/>
                    <a:pt x="3247" y="593"/>
                    <a:pt x="3232" y="645"/>
                  </a:cubicBezTo>
                  <a:cubicBezTo>
                    <a:pt x="3232" y="652"/>
                    <a:pt x="3232" y="660"/>
                    <a:pt x="3224" y="660"/>
                  </a:cubicBezTo>
                  <a:cubicBezTo>
                    <a:pt x="3217" y="638"/>
                    <a:pt x="3195" y="638"/>
                    <a:pt x="3188" y="638"/>
                  </a:cubicBezTo>
                  <a:cubicBezTo>
                    <a:pt x="3166" y="638"/>
                    <a:pt x="3137" y="660"/>
                    <a:pt x="3107" y="681"/>
                  </a:cubicBezTo>
                  <a:cubicBezTo>
                    <a:pt x="3093" y="689"/>
                    <a:pt x="3085" y="696"/>
                    <a:pt x="3078" y="703"/>
                  </a:cubicBezTo>
                  <a:cubicBezTo>
                    <a:pt x="3034" y="733"/>
                    <a:pt x="2998" y="740"/>
                    <a:pt x="2961" y="748"/>
                  </a:cubicBezTo>
                  <a:cubicBezTo>
                    <a:pt x="2953" y="748"/>
                    <a:pt x="2939" y="748"/>
                    <a:pt x="2931" y="748"/>
                  </a:cubicBezTo>
                  <a:cubicBezTo>
                    <a:pt x="2895" y="762"/>
                    <a:pt x="2814" y="799"/>
                    <a:pt x="2778" y="865"/>
                  </a:cubicBezTo>
                  <a:cubicBezTo>
                    <a:pt x="2763" y="887"/>
                    <a:pt x="2756" y="901"/>
                    <a:pt x="2748" y="916"/>
                  </a:cubicBezTo>
                  <a:cubicBezTo>
                    <a:pt x="2741" y="938"/>
                    <a:pt x="2734" y="945"/>
                    <a:pt x="2719" y="967"/>
                  </a:cubicBezTo>
                  <a:cubicBezTo>
                    <a:pt x="2704" y="982"/>
                    <a:pt x="2668" y="1004"/>
                    <a:pt x="2638" y="1019"/>
                  </a:cubicBezTo>
                  <a:cubicBezTo>
                    <a:pt x="2616" y="1026"/>
                    <a:pt x="2602" y="1033"/>
                    <a:pt x="2587" y="1041"/>
                  </a:cubicBezTo>
                  <a:lnTo>
                    <a:pt x="2580" y="1041"/>
                  </a:lnTo>
                  <a:cubicBezTo>
                    <a:pt x="2565" y="1041"/>
                    <a:pt x="2543" y="1033"/>
                    <a:pt x="2521" y="1026"/>
                  </a:cubicBezTo>
                  <a:cubicBezTo>
                    <a:pt x="2499" y="1011"/>
                    <a:pt x="2470" y="997"/>
                    <a:pt x="2448" y="997"/>
                  </a:cubicBezTo>
                  <a:cubicBezTo>
                    <a:pt x="2404" y="997"/>
                    <a:pt x="2367" y="1033"/>
                    <a:pt x="2323" y="1070"/>
                  </a:cubicBezTo>
                  <a:cubicBezTo>
                    <a:pt x="2316" y="1077"/>
                    <a:pt x="2301" y="1084"/>
                    <a:pt x="2294" y="1099"/>
                  </a:cubicBezTo>
                  <a:cubicBezTo>
                    <a:pt x="2250" y="1129"/>
                    <a:pt x="2228" y="1143"/>
                    <a:pt x="2191" y="1143"/>
                  </a:cubicBezTo>
                  <a:cubicBezTo>
                    <a:pt x="2184" y="1143"/>
                    <a:pt x="2169" y="1136"/>
                    <a:pt x="2155" y="1136"/>
                  </a:cubicBezTo>
                  <a:cubicBezTo>
                    <a:pt x="2140" y="1129"/>
                    <a:pt x="2125" y="1121"/>
                    <a:pt x="2103" y="1121"/>
                  </a:cubicBezTo>
                  <a:cubicBezTo>
                    <a:pt x="2081" y="1121"/>
                    <a:pt x="2060" y="1129"/>
                    <a:pt x="2038" y="1150"/>
                  </a:cubicBezTo>
                  <a:cubicBezTo>
                    <a:pt x="2030" y="1172"/>
                    <a:pt x="2016" y="1187"/>
                    <a:pt x="2008" y="1202"/>
                  </a:cubicBezTo>
                  <a:cubicBezTo>
                    <a:pt x="2001" y="1209"/>
                    <a:pt x="1993" y="1224"/>
                    <a:pt x="1986" y="1224"/>
                  </a:cubicBezTo>
                  <a:cubicBezTo>
                    <a:pt x="1986" y="1231"/>
                    <a:pt x="1964" y="1231"/>
                    <a:pt x="1957" y="1231"/>
                  </a:cubicBezTo>
                  <a:cubicBezTo>
                    <a:pt x="1906" y="1231"/>
                    <a:pt x="1854" y="1238"/>
                    <a:pt x="1840" y="1282"/>
                  </a:cubicBezTo>
                  <a:cubicBezTo>
                    <a:pt x="1840" y="1290"/>
                    <a:pt x="1840" y="1297"/>
                    <a:pt x="1832" y="1304"/>
                  </a:cubicBezTo>
                  <a:cubicBezTo>
                    <a:pt x="1832" y="1326"/>
                    <a:pt x="1832" y="1326"/>
                    <a:pt x="1810" y="1326"/>
                  </a:cubicBezTo>
                  <a:cubicBezTo>
                    <a:pt x="1788" y="1334"/>
                    <a:pt x="1766" y="1348"/>
                    <a:pt x="1752" y="1370"/>
                  </a:cubicBezTo>
                  <a:cubicBezTo>
                    <a:pt x="1737" y="1407"/>
                    <a:pt x="1744" y="1443"/>
                    <a:pt x="1759" y="1473"/>
                  </a:cubicBezTo>
                  <a:cubicBezTo>
                    <a:pt x="1766" y="1488"/>
                    <a:pt x="1752" y="1524"/>
                    <a:pt x="1708" y="1575"/>
                  </a:cubicBezTo>
                  <a:cubicBezTo>
                    <a:pt x="1700" y="1583"/>
                    <a:pt x="1700" y="1583"/>
                    <a:pt x="1693" y="1583"/>
                  </a:cubicBezTo>
                  <a:cubicBezTo>
                    <a:pt x="1671" y="1583"/>
                    <a:pt x="1642" y="1553"/>
                    <a:pt x="1627" y="1539"/>
                  </a:cubicBezTo>
                  <a:cubicBezTo>
                    <a:pt x="1620" y="1539"/>
                    <a:pt x="1620" y="1531"/>
                    <a:pt x="1612" y="1524"/>
                  </a:cubicBezTo>
                  <a:cubicBezTo>
                    <a:pt x="1598" y="1502"/>
                    <a:pt x="1569" y="1473"/>
                    <a:pt x="1532" y="1473"/>
                  </a:cubicBezTo>
                  <a:cubicBezTo>
                    <a:pt x="1517" y="1473"/>
                    <a:pt x="1495" y="1480"/>
                    <a:pt x="1481" y="1495"/>
                  </a:cubicBezTo>
                  <a:cubicBezTo>
                    <a:pt x="1437" y="1539"/>
                    <a:pt x="1437" y="1568"/>
                    <a:pt x="1437" y="1612"/>
                  </a:cubicBezTo>
                  <a:cubicBezTo>
                    <a:pt x="1437" y="1619"/>
                    <a:pt x="1437" y="1627"/>
                    <a:pt x="1437" y="1641"/>
                  </a:cubicBezTo>
                  <a:cubicBezTo>
                    <a:pt x="1437" y="1693"/>
                    <a:pt x="1466" y="1715"/>
                    <a:pt x="1488" y="1729"/>
                  </a:cubicBezTo>
                  <a:cubicBezTo>
                    <a:pt x="1503" y="1729"/>
                    <a:pt x="1510" y="1737"/>
                    <a:pt x="1517" y="1744"/>
                  </a:cubicBezTo>
                  <a:cubicBezTo>
                    <a:pt x="1517" y="1751"/>
                    <a:pt x="1510" y="1766"/>
                    <a:pt x="1503" y="1773"/>
                  </a:cubicBezTo>
                  <a:cubicBezTo>
                    <a:pt x="1495" y="1795"/>
                    <a:pt x="1473" y="1817"/>
                    <a:pt x="1481" y="1847"/>
                  </a:cubicBezTo>
                  <a:cubicBezTo>
                    <a:pt x="1488" y="1883"/>
                    <a:pt x="1481" y="1905"/>
                    <a:pt x="1451" y="1920"/>
                  </a:cubicBezTo>
                  <a:cubicBezTo>
                    <a:pt x="1437" y="1927"/>
                    <a:pt x="1407" y="1934"/>
                    <a:pt x="1385" y="1934"/>
                  </a:cubicBezTo>
                  <a:cubicBezTo>
                    <a:pt x="1378" y="1934"/>
                    <a:pt x="1371" y="1934"/>
                    <a:pt x="1363" y="1934"/>
                  </a:cubicBezTo>
                  <a:cubicBezTo>
                    <a:pt x="1356" y="1927"/>
                    <a:pt x="1349" y="1920"/>
                    <a:pt x="1349" y="1912"/>
                  </a:cubicBezTo>
                  <a:cubicBezTo>
                    <a:pt x="1327" y="1891"/>
                    <a:pt x="1312" y="1876"/>
                    <a:pt x="1290" y="1876"/>
                  </a:cubicBezTo>
                  <a:cubicBezTo>
                    <a:pt x="1283" y="1876"/>
                    <a:pt x="1261" y="1876"/>
                    <a:pt x="1253" y="1912"/>
                  </a:cubicBezTo>
                  <a:lnTo>
                    <a:pt x="1253" y="1912"/>
                  </a:lnTo>
                  <a:cubicBezTo>
                    <a:pt x="1246" y="1912"/>
                    <a:pt x="1231" y="1905"/>
                    <a:pt x="1224" y="1891"/>
                  </a:cubicBezTo>
                  <a:cubicBezTo>
                    <a:pt x="1202" y="1869"/>
                    <a:pt x="1158" y="1810"/>
                    <a:pt x="1092" y="1810"/>
                  </a:cubicBezTo>
                  <a:cubicBezTo>
                    <a:pt x="1085" y="1810"/>
                    <a:pt x="1070" y="1810"/>
                    <a:pt x="1063" y="1810"/>
                  </a:cubicBezTo>
                  <a:cubicBezTo>
                    <a:pt x="997" y="1832"/>
                    <a:pt x="968" y="1854"/>
                    <a:pt x="894" y="1934"/>
                  </a:cubicBezTo>
                  <a:cubicBezTo>
                    <a:pt x="880" y="1949"/>
                    <a:pt x="872" y="1949"/>
                    <a:pt x="872" y="1949"/>
                  </a:cubicBezTo>
                  <a:cubicBezTo>
                    <a:pt x="865" y="1942"/>
                    <a:pt x="850" y="1905"/>
                    <a:pt x="843" y="1891"/>
                  </a:cubicBezTo>
                  <a:cubicBezTo>
                    <a:pt x="836" y="1876"/>
                    <a:pt x="828" y="1861"/>
                    <a:pt x="821" y="1854"/>
                  </a:cubicBezTo>
                  <a:cubicBezTo>
                    <a:pt x="799" y="1817"/>
                    <a:pt x="777" y="1788"/>
                    <a:pt x="733" y="1788"/>
                  </a:cubicBezTo>
                  <a:cubicBezTo>
                    <a:pt x="726" y="1788"/>
                    <a:pt x="719" y="1788"/>
                    <a:pt x="704" y="1788"/>
                  </a:cubicBezTo>
                  <a:cubicBezTo>
                    <a:pt x="660" y="1795"/>
                    <a:pt x="652" y="1847"/>
                    <a:pt x="645" y="1883"/>
                  </a:cubicBezTo>
                  <a:cubicBezTo>
                    <a:pt x="638" y="1891"/>
                    <a:pt x="638" y="1891"/>
                    <a:pt x="638" y="1891"/>
                  </a:cubicBezTo>
                  <a:cubicBezTo>
                    <a:pt x="638" y="1912"/>
                    <a:pt x="638" y="1912"/>
                    <a:pt x="638" y="1912"/>
                  </a:cubicBezTo>
                  <a:cubicBezTo>
                    <a:pt x="652" y="1920"/>
                    <a:pt x="652" y="1920"/>
                    <a:pt x="652" y="1920"/>
                  </a:cubicBezTo>
                  <a:cubicBezTo>
                    <a:pt x="660" y="1934"/>
                    <a:pt x="667" y="1934"/>
                    <a:pt x="682" y="1942"/>
                  </a:cubicBezTo>
                  <a:cubicBezTo>
                    <a:pt x="689" y="1949"/>
                    <a:pt x="704" y="1964"/>
                    <a:pt x="704" y="1971"/>
                  </a:cubicBezTo>
                  <a:cubicBezTo>
                    <a:pt x="704" y="1971"/>
                    <a:pt x="704" y="1971"/>
                    <a:pt x="704" y="1979"/>
                  </a:cubicBezTo>
                  <a:cubicBezTo>
                    <a:pt x="697" y="1979"/>
                    <a:pt x="697" y="1979"/>
                    <a:pt x="697" y="1979"/>
                  </a:cubicBezTo>
                  <a:cubicBezTo>
                    <a:pt x="667" y="2015"/>
                    <a:pt x="645" y="2044"/>
                    <a:pt x="623" y="2044"/>
                  </a:cubicBezTo>
                  <a:cubicBezTo>
                    <a:pt x="616" y="2044"/>
                    <a:pt x="609" y="2044"/>
                    <a:pt x="601" y="2037"/>
                  </a:cubicBezTo>
                  <a:cubicBezTo>
                    <a:pt x="579" y="2022"/>
                    <a:pt x="557" y="2015"/>
                    <a:pt x="543" y="2015"/>
                  </a:cubicBezTo>
                  <a:cubicBezTo>
                    <a:pt x="491" y="2015"/>
                    <a:pt x="455" y="2052"/>
                    <a:pt x="426" y="2118"/>
                  </a:cubicBezTo>
                  <a:cubicBezTo>
                    <a:pt x="411" y="2162"/>
                    <a:pt x="367" y="2176"/>
                    <a:pt x="323" y="2191"/>
                  </a:cubicBezTo>
                  <a:cubicBezTo>
                    <a:pt x="294" y="2198"/>
                    <a:pt x="272" y="2206"/>
                    <a:pt x="250" y="2220"/>
                  </a:cubicBezTo>
                  <a:cubicBezTo>
                    <a:pt x="198" y="2264"/>
                    <a:pt x="154" y="2345"/>
                    <a:pt x="198" y="2425"/>
                  </a:cubicBezTo>
                  <a:cubicBezTo>
                    <a:pt x="198" y="2433"/>
                    <a:pt x="206" y="2440"/>
                    <a:pt x="206" y="2440"/>
                  </a:cubicBezTo>
                  <a:cubicBezTo>
                    <a:pt x="191" y="2448"/>
                    <a:pt x="176" y="2455"/>
                    <a:pt x="162" y="2469"/>
                  </a:cubicBezTo>
                  <a:cubicBezTo>
                    <a:pt x="125" y="2499"/>
                    <a:pt x="118" y="2513"/>
                    <a:pt x="110" y="2550"/>
                  </a:cubicBezTo>
                  <a:cubicBezTo>
                    <a:pt x="110" y="2565"/>
                    <a:pt x="110" y="2587"/>
                    <a:pt x="96" y="2623"/>
                  </a:cubicBezTo>
                  <a:cubicBezTo>
                    <a:pt x="88" y="2645"/>
                    <a:pt x="74" y="2675"/>
                    <a:pt x="67" y="2697"/>
                  </a:cubicBezTo>
                  <a:cubicBezTo>
                    <a:pt x="30" y="2770"/>
                    <a:pt x="0" y="2843"/>
                    <a:pt x="37" y="2916"/>
                  </a:cubicBezTo>
                  <a:cubicBezTo>
                    <a:pt x="59" y="2946"/>
                    <a:pt x="74" y="2990"/>
                    <a:pt x="88" y="3026"/>
                  </a:cubicBezTo>
                  <a:cubicBezTo>
                    <a:pt x="110" y="3078"/>
                    <a:pt x="125" y="3129"/>
                    <a:pt x="162" y="3166"/>
                  </a:cubicBezTo>
                  <a:cubicBezTo>
                    <a:pt x="169" y="3173"/>
                    <a:pt x="184" y="3180"/>
                    <a:pt x="191" y="3188"/>
                  </a:cubicBezTo>
                  <a:cubicBezTo>
                    <a:pt x="220" y="3217"/>
                    <a:pt x="242" y="3239"/>
                    <a:pt x="250" y="3305"/>
                  </a:cubicBezTo>
                  <a:cubicBezTo>
                    <a:pt x="264" y="3400"/>
                    <a:pt x="308" y="3473"/>
                    <a:pt x="381" y="3517"/>
                  </a:cubicBezTo>
                  <a:cubicBezTo>
                    <a:pt x="396" y="3525"/>
                    <a:pt x="411" y="3539"/>
                    <a:pt x="426" y="3554"/>
                  </a:cubicBezTo>
                  <a:cubicBezTo>
                    <a:pt x="448" y="3583"/>
                    <a:pt x="484" y="3612"/>
                    <a:pt x="535" y="3612"/>
                  </a:cubicBezTo>
                  <a:cubicBezTo>
                    <a:pt x="543" y="3612"/>
                    <a:pt x="550" y="3612"/>
                    <a:pt x="557" y="3612"/>
                  </a:cubicBezTo>
                  <a:cubicBezTo>
                    <a:pt x="579" y="3612"/>
                    <a:pt x="594" y="3605"/>
                    <a:pt x="609" y="3605"/>
                  </a:cubicBezTo>
                  <a:cubicBezTo>
                    <a:pt x="609" y="3605"/>
                    <a:pt x="609" y="3605"/>
                    <a:pt x="616" y="3605"/>
                  </a:cubicBezTo>
                  <a:cubicBezTo>
                    <a:pt x="616" y="3612"/>
                    <a:pt x="616" y="3620"/>
                    <a:pt x="616" y="3642"/>
                  </a:cubicBezTo>
                  <a:cubicBezTo>
                    <a:pt x="616" y="3715"/>
                    <a:pt x="682" y="3759"/>
                    <a:pt x="792" y="3759"/>
                  </a:cubicBezTo>
                  <a:cubicBezTo>
                    <a:pt x="828" y="3759"/>
                    <a:pt x="858" y="3774"/>
                    <a:pt x="865" y="3788"/>
                  </a:cubicBezTo>
                  <a:cubicBezTo>
                    <a:pt x="872" y="3796"/>
                    <a:pt x="872" y="3810"/>
                    <a:pt x="865" y="3832"/>
                  </a:cubicBezTo>
                  <a:cubicBezTo>
                    <a:pt x="850" y="3869"/>
                    <a:pt x="850" y="3913"/>
                    <a:pt x="850" y="3942"/>
                  </a:cubicBezTo>
                  <a:cubicBezTo>
                    <a:pt x="850" y="4001"/>
                    <a:pt x="850" y="4023"/>
                    <a:pt x="821" y="4045"/>
                  </a:cubicBezTo>
                  <a:cubicBezTo>
                    <a:pt x="807" y="4052"/>
                    <a:pt x="792" y="4060"/>
                    <a:pt x="785" y="4067"/>
                  </a:cubicBezTo>
                  <a:cubicBezTo>
                    <a:pt x="726" y="4096"/>
                    <a:pt x="697" y="4111"/>
                    <a:pt x="682" y="4191"/>
                  </a:cubicBezTo>
                  <a:cubicBezTo>
                    <a:pt x="682" y="4206"/>
                    <a:pt x="682" y="4221"/>
                    <a:pt x="675" y="4235"/>
                  </a:cubicBezTo>
                  <a:cubicBezTo>
                    <a:pt x="675" y="4287"/>
                    <a:pt x="675" y="4309"/>
                    <a:pt x="638" y="4345"/>
                  </a:cubicBezTo>
                  <a:cubicBezTo>
                    <a:pt x="579" y="4397"/>
                    <a:pt x="535" y="4448"/>
                    <a:pt x="528" y="4521"/>
                  </a:cubicBezTo>
                  <a:cubicBezTo>
                    <a:pt x="521" y="4536"/>
                    <a:pt x="513" y="4550"/>
                    <a:pt x="506" y="4572"/>
                  </a:cubicBezTo>
                  <a:cubicBezTo>
                    <a:pt x="499" y="4587"/>
                    <a:pt x="491" y="4602"/>
                    <a:pt x="491" y="4624"/>
                  </a:cubicBezTo>
                  <a:cubicBezTo>
                    <a:pt x="469" y="4697"/>
                    <a:pt x="469" y="4697"/>
                    <a:pt x="469" y="4697"/>
                  </a:cubicBezTo>
                  <a:cubicBezTo>
                    <a:pt x="535" y="4653"/>
                    <a:pt x="535" y="4653"/>
                    <a:pt x="535" y="4653"/>
                  </a:cubicBezTo>
                  <a:cubicBezTo>
                    <a:pt x="565" y="4638"/>
                    <a:pt x="587" y="4631"/>
                    <a:pt x="609" y="4631"/>
                  </a:cubicBezTo>
                  <a:cubicBezTo>
                    <a:pt x="616" y="4631"/>
                    <a:pt x="623" y="4631"/>
                    <a:pt x="631" y="4631"/>
                  </a:cubicBezTo>
                  <a:cubicBezTo>
                    <a:pt x="704" y="4668"/>
                    <a:pt x="807" y="4690"/>
                    <a:pt x="872" y="4690"/>
                  </a:cubicBezTo>
                  <a:cubicBezTo>
                    <a:pt x="887" y="4690"/>
                    <a:pt x="894" y="4690"/>
                    <a:pt x="902" y="4690"/>
                  </a:cubicBezTo>
                  <a:cubicBezTo>
                    <a:pt x="909" y="4690"/>
                    <a:pt x="909" y="4690"/>
                    <a:pt x="909" y="4690"/>
                  </a:cubicBezTo>
                  <a:cubicBezTo>
                    <a:pt x="931" y="4690"/>
                    <a:pt x="946" y="4697"/>
                    <a:pt x="960" y="4712"/>
                  </a:cubicBezTo>
                  <a:cubicBezTo>
                    <a:pt x="975" y="4726"/>
                    <a:pt x="990" y="4741"/>
                    <a:pt x="1012" y="4741"/>
                  </a:cubicBezTo>
                  <a:cubicBezTo>
                    <a:pt x="1048" y="4741"/>
                    <a:pt x="1092" y="4726"/>
                    <a:pt x="1143" y="4668"/>
                  </a:cubicBezTo>
                  <a:cubicBezTo>
                    <a:pt x="1151" y="4660"/>
                    <a:pt x="1158" y="4660"/>
                    <a:pt x="1158" y="4660"/>
                  </a:cubicBezTo>
                  <a:cubicBezTo>
                    <a:pt x="1166" y="4660"/>
                    <a:pt x="1180" y="4660"/>
                    <a:pt x="1188" y="4660"/>
                  </a:cubicBezTo>
                  <a:cubicBezTo>
                    <a:pt x="1202" y="4668"/>
                    <a:pt x="1217" y="4675"/>
                    <a:pt x="1231" y="4675"/>
                  </a:cubicBezTo>
                  <a:cubicBezTo>
                    <a:pt x="1253" y="4675"/>
                    <a:pt x="1268" y="4668"/>
                    <a:pt x="1283" y="4653"/>
                  </a:cubicBezTo>
                  <a:cubicBezTo>
                    <a:pt x="1334" y="4624"/>
                    <a:pt x="1363" y="4609"/>
                    <a:pt x="1400" y="4602"/>
                  </a:cubicBezTo>
                  <a:cubicBezTo>
                    <a:pt x="1437" y="4594"/>
                    <a:pt x="1481" y="4572"/>
                    <a:pt x="1525" y="4543"/>
                  </a:cubicBezTo>
                  <a:cubicBezTo>
                    <a:pt x="1539" y="4536"/>
                    <a:pt x="1547" y="4529"/>
                    <a:pt x="1561" y="4521"/>
                  </a:cubicBezTo>
                  <a:cubicBezTo>
                    <a:pt x="1620" y="4492"/>
                    <a:pt x="1664" y="4462"/>
                    <a:pt x="1752" y="4419"/>
                  </a:cubicBezTo>
                  <a:cubicBezTo>
                    <a:pt x="1818" y="4389"/>
                    <a:pt x="1891" y="4367"/>
                    <a:pt x="1942" y="4367"/>
                  </a:cubicBezTo>
                  <a:cubicBezTo>
                    <a:pt x="1950" y="4367"/>
                    <a:pt x="1957" y="4375"/>
                    <a:pt x="1964" y="4375"/>
                  </a:cubicBezTo>
                  <a:cubicBezTo>
                    <a:pt x="1986" y="4375"/>
                    <a:pt x="2008" y="4397"/>
                    <a:pt x="2030" y="4419"/>
                  </a:cubicBezTo>
                  <a:cubicBezTo>
                    <a:pt x="2045" y="4441"/>
                    <a:pt x="2060" y="4455"/>
                    <a:pt x="2081" y="4470"/>
                  </a:cubicBezTo>
                  <a:cubicBezTo>
                    <a:pt x="2096" y="4477"/>
                    <a:pt x="2103" y="4492"/>
                    <a:pt x="2118" y="4507"/>
                  </a:cubicBezTo>
                  <a:cubicBezTo>
                    <a:pt x="2148" y="4529"/>
                    <a:pt x="2169" y="4558"/>
                    <a:pt x="2206" y="4558"/>
                  </a:cubicBezTo>
                  <a:cubicBezTo>
                    <a:pt x="2213" y="4558"/>
                    <a:pt x="2235" y="4550"/>
                    <a:pt x="2250" y="4529"/>
                  </a:cubicBezTo>
                  <a:cubicBezTo>
                    <a:pt x="2257" y="4521"/>
                    <a:pt x="2257" y="4521"/>
                    <a:pt x="2257" y="4521"/>
                  </a:cubicBezTo>
                  <a:cubicBezTo>
                    <a:pt x="2265" y="4529"/>
                    <a:pt x="2279" y="4543"/>
                    <a:pt x="2287" y="4558"/>
                  </a:cubicBezTo>
                  <a:cubicBezTo>
                    <a:pt x="2316" y="4602"/>
                    <a:pt x="2375" y="4631"/>
                    <a:pt x="2426" y="4631"/>
                  </a:cubicBezTo>
                  <a:cubicBezTo>
                    <a:pt x="2433" y="4631"/>
                    <a:pt x="2448" y="4631"/>
                    <a:pt x="2462" y="4624"/>
                  </a:cubicBezTo>
                  <a:lnTo>
                    <a:pt x="2462" y="4624"/>
                  </a:lnTo>
                  <a:cubicBezTo>
                    <a:pt x="2484" y="4624"/>
                    <a:pt x="2514" y="4646"/>
                    <a:pt x="2521" y="4668"/>
                  </a:cubicBezTo>
                  <a:cubicBezTo>
                    <a:pt x="2529" y="4697"/>
                    <a:pt x="2514" y="4719"/>
                    <a:pt x="2507" y="4756"/>
                  </a:cubicBezTo>
                  <a:cubicBezTo>
                    <a:pt x="2499" y="4763"/>
                    <a:pt x="2499" y="4778"/>
                    <a:pt x="2492" y="4785"/>
                  </a:cubicBezTo>
                  <a:cubicBezTo>
                    <a:pt x="2484" y="4814"/>
                    <a:pt x="2499" y="4851"/>
                    <a:pt x="2514" y="4880"/>
                  </a:cubicBezTo>
                  <a:cubicBezTo>
                    <a:pt x="2521" y="4895"/>
                    <a:pt x="2529" y="4917"/>
                    <a:pt x="2529" y="4924"/>
                  </a:cubicBezTo>
                  <a:lnTo>
                    <a:pt x="2529" y="4924"/>
                  </a:lnTo>
                  <a:cubicBezTo>
                    <a:pt x="2529" y="4924"/>
                    <a:pt x="2529" y="4924"/>
                    <a:pt x="2521" y="4924"/>
                  </a:cubicBezTo>
                  <a:cubicBezTo>
                    <a:pt x="2477" y="4939"/>
                    <a:pt x="2433" y="4961"/>
                    <a:pt x="2426" y="4998"/>
                  </a:cubicBezTo>
                  <a:cubicBezTo>
                    <a:pt x="2419" y="5034"/>
                    <a:pt x="2448" y="5071"/>
                    <a:pt x="2462" y="5078"/>
                  </a:cubicBezTo>
                  <a:cubicBezTo>
                    <a:pt x="2507" y="5122"/>
                    <a:pt x="2521" y="5159"/>
                    <a:pt x="2529" y="5188"/>
                  </a:cubicBezTo>
                  <a:cubicBezTo>
                    <a:pt x="2543" y="5217"/>
                    <a:pt x="2602" y="5283"/>
                    <a:pt x="2675" y="5283"/>
                  </a:cubicBezTo>
                  <a:cubicBezTo>
                    <a:pt x="2682" y="5283"/>
                    <a:pt x="2682" y="5283"/>
                    <a:pt x="2690" y="5283"/>
                  </a:cubicBezTo>
                  <a:cubicBezTo>
                    <a:pt x="2697" y="5283"/>
                    <a:pt x="2697" y="5283"/>
                    <a:pt x="2697" y="5283"/>
                  </a:cubicBezTo>
                  <a:cubicBezTo>
                    <a:pt x="2712" y="5283"/>
                    <a:pt x="2726" y="5283"/>
                    <a:pt x="2734" y="5291"/>
                  </a:cubicBezTo>
                  <a:cubicBezTo>
                    <a:pt x="2741" y="5305"/>
                    <a:pt x="2741" y="5320"/>
                    <a:pt x="2741" y="5334"/>
                  </a:cubicBezTo>
                  <a:cubicBezTo>
                    <a:pt x="2741" y="5349"/>
                    <a:pt x="2741" y="5349"/>
                    <a:pt x="2741" y="5349"/>
                  </a:cubicBezTo>
                  <a:cubicBezTo>
                    <a:pt x="2734" y="5393"/>
                    <a:pt x="2719" y="5452"/>
                    <a:pt x="2697" y="5474"/>
                  </a:cubicBezTo>
                  <a:cubicBezTo>
                    <a:pt x="2690" y="5488"/>
                    <a:pt x="2682" y="5488"/>
                    <a:pt x="2675" y="5488"/>
                  </a:cubicBezTo>
                  <a:cubicBezTo>
                    <a:pt x="2660" y="5496"/>
                    <a:pt x="2646" y="5496"/>
                    <a:pt x="2624" y="5518"/>
                  </a:cubicBezTo>
                  <a:cubicBezTo>
                    <a:pt x="2580" y="5554"/>
                    <a:pt x="2572" y="5562"/>
                    <a:pt x="2521" y="5628"/>
                  </a:cubicBezTo>
                  <a:cubicBezTo>
                    <a:pt x="2521" y="5635"/>
                    <a:pt x="2514" y="5642"/>
                    <a:pt x="2507" y="5650"/>
                  </a:cubicBezTo>
                  <a:cubicBezTo>
                    <a:pt x="2477" y="5693"/>
                    <a:pt x="2448" y="5730"/>
                    <a:pt x="2499" y="5789"/>
                  </a:cubicBezTo>
                  <a:cubicBezTo>
                    <a:pt x="2521" y="5818"/>
                    <a:pt x="2543" y="5833"/>
                    <a:pt x="2565" y="5840"/>
                  </a:cubicBezTo>
                  <a:cubicBezTo>
                    <a:pt x="2580" y="5855"/>
                    <a:pt x="2594" y="5869"/>
                    <a:pt x="2594" y="5877"/>
                  </a:cubicBezTo>
                  <a:cubicBezTo>
                    <a:pt x="2602" y="5891"/>
                    <a:pt x="2602" y="5913"/>
                    <a:pt x="2609" y="5950"/>
                  </a:cubicBezTo>
                  <a:cubicBezTo>
                    <a:pt x="2616" y="6016"/>
                    <a:pt x="2616" y="6016"/>
                    <a:pt x="2616" y="6016"/>
                  </a:cubicBezTo>
                  <a:cubicBezTo>
                    <a:pt x="2660" y="5965"/>
                    <a:pt x="2660" y="5965"/>
                    <a:pt x="2660" y="5965"/>
                  </a:cubicBezTo>
                  <a:cubicBezTo>
                    <a:pt x="2668" y="5957"/>
                    <a:pt x="2675" y="5950"/>
                    <a:pt x="2682" y="5943"/>
                  </a:cubicBezTo>
                  <a:cubicBezTo>
                    <a:pt x="2704" y="5935"/>
                    <a:pt x="2763" y="5921"/>
                    <a:pt x="2792" y="5921"/>
                  </a:cubicBezTo>
                  <a:cubicBezTo>
                    <a:pt x="2800" y="5921"/>
                    <a:pt x="2807" y="5921"/>
                    <a:pt x="2807" y="5921"/>
                  </a:cubicBezTo>
                  <a:cubicBezTo>
                    <a:pt x="2822" y="5935"/>
                    <a:pt x="2843" y="5935"/>
                    <a:pt x="2873" y="5935"/>
                  </a:cubicBezTo>
                  <a:cubicBezTo>
                    <a:pt x="2917" y="5943"/>
                    <a:pt x="2939" y="5950"/>
                    <a:pt x="2939" y="5965"/>
                  </a:cubicBezTo>
                  <a:cubicBezTo>
                    <a:pt x="2939" y="5987"/>
                    <a:pt x="2939" y="6001"/>
                    <a:pt x="2939" y="6023"/>
                  </a:cubicBezTo>
                  <a:cubicBezTo>
                    <a:pt x="2939" y="6075"/>
                    <a:pt x="2939" y="6126"/>
                    <a:pt x="2998" y="6170"/>
                  </a:cubicBezTo>
                  <a:cubicBezTo>
                    <a:pt x="3019" y="6184"/>
                    <a:pt x="3041" y="6199"/>
                    <a:pt x="3056" y="6214"/>
                  </a:cubicBezTo>
                  <a:cubicBezTo>
                    <a:pt x="3085" y="6243"/>
                    <a:pt x="3107" y="6265"/>
                    <a:pt x="3137" y="6265"/>
                  </a:cubicBezTo>
                  <a:cubicBezTo>
                    <a:pt x="3151" y="6265"/>
                    <a:pt x="3166" y="6258"/>
                    <a:pt x="3173" y="6243"/>
                  </a:cubicBezTo>
                  <a:cubicBezTo>
                    <a:pt x="3181" y="6236"/>
                    <a:pt x="3181" y="6236"/>
                    <a:pt x="3188" y="6236"/>
                  </a:cubicBezTo>
                  <a:cubicBezTo>
                    <a:pt x="3188" y="6236"/>
                    <a:pt x="3195" y="6236"/>
                    <a:pt x="3203" y="6243"/>
                  </a:cubicBezTo>
                  <a:cubicBezTo>
                    <a:pt x="3210" y="6265"/>
                    <a:pt x="3261" y="6375"/>
                    <a:pt x="3334" y="6375"/>
                  </a:cubicBezTo>
                  <a:cubicBezTo>
                    <a:pt x="3356" y="6375"/>
                    <a:pt x="3371" y="6375"/>
                    <a:pt x="3386" y="6360"/>
                  </a:cubicBezTo>
                  <a:cubicBezTo>
                    <a:pt x="3393" y="6353"/>
                    <a:pt x="3415" y="6338"/>
                    <a:pt x="3415" y="6338"/>
                  </a:cubicBezTo>
                  <a:cubicBezTo>
                    <a:pt x="3415" y="6338"/>
                    <a:pt x="3422" y="6338"/>
                    <a:pt x="3430" y="6346"/>
                  </a:cubicBezTo>
                  <a:cubicBezTo>
                    <a:pt x="3437" y="6346"/>
                    <a:pt x="3444" y="6353"/>
                    <a:pt x="3459" y="6353"/>
                  </a:cubicBezTo>
                  <a:cubicBezTo>
                    <a:pt x="3474" y="6360"/>
                    <a:pt x="3481" y="6360"/>
                    <a:pt x="3496" y="6360"/>
                  </a:cubicBezTo>
                  <a:cubicBezTo>
                    <a:pt x="3532" y="6360"/>
                    <a:pt x="3562" y="6346"/>
                    <a:pt x="3584" y="6324"/>
                  </a:cubicBezTo>
                  <a:cubicBezTo>
                    <a:pt x="3598" y="6317"/>
                    <a:pt x="3606" y="6309"/>
                    <a:pt x="3620" y="6309"/>
                  </a:cubicBezTo>
                  <a:lnTo>
                    <a:pt x="3620" y="6309"/>
                  </a:lnTo>
                  <a:cubicBezTo>
                    <a:pt x="3620" y="6309"/>
                    <a:pt x="3628" y="6317"/>
                    <a:pt x="3628" y="6324"/>
                  </a:cubicBezTo>
                  <a:cubicBezTo>
                    <a:pt x="3642" y="6338"/>
                    <a:pt x="3664" y="6360"/>
                    <a:pt x="3693" y="6375"/>
                  </a:cubicBezTo>
                  <a:cubicBezTo>
                    <a:pt x="3701" y="6382"/>
                    <a:pt x="3708" y="6382"/>
                    <a:pt x="3715" y="6382"/>
                  </a:cubicBezTo>
                  <a:cubicBezTo>
                    <a:pt x="3738" y="6397"/>
                    <a:pt x="3760" y="6404"/>
                    <a:pt x="3789" y="6404"/>
                  </a:cubicBezTo>
                  <a:cubicBezTo>
                    <a:pt x="3818" y="6404"/>
                    <a:pt x="3847" y="6397"/>
                    <a:pt x="3869" y="6375"/>
                  </a:cubicBezTo>
                  <a:cubicBezTo>
                    <a:pt x="3891" y="6360"/>
                    <a:pt x="3906" y="6353"/>
                    <a:pt x="3913" y="6353"/>
                  </a:cubicBezTo>
                  <a:cubicBezTo>
                    <a:pt x="3928" y="6353"/>
                    <a:pt x="3943" y="6360"/>
                    <a:pt x="3972" y="6382"/>
                  </a:cubicBezTo>
                  <a:cubicBezTo>
                    <a:pt x="4001" y="6412"/>
                    <a:pt x="4053" y="6434"/>
                    <a:pt x="4097" y="6456"/>
                  </a:cubicBezTo>
                  <a:cubicBezTo>
                    <a:pt x="4126" y="6470"/>
                    <a:pt x="4155" y="6485"/>
                    <a:pt x="4177" y="6500"/>
                  </a:cubicBezTo>
                  <a:cubicBezTo>
                    <a:pt x="4184" y="6500"/>
                    <a:pt x="4184" y="6507"/>
                    <a:pt x="4192" y="6514"/>
                  </a:cubicBezTo>
                  <a:cubicBezTo>
                    <a:pt x="4236" y="6543"/>
                    <a:pt x="4287" y="6580"/>
                    <a:pt x="4353" y="6580"/>
                  </a:cubicBezTo>
                  <a:cubicBezTo>
                    <a:pt x="4390" y="6580"/>
                    <a:pt x="4441" y="6617"/>
                    <a:pt x="4478" y="6653"/>
                  </a:cubicBezTo>
                  <a:cubicBezTo>
                    <a:pt x="4492" y="6668"/>
                    <a:pt x="4492" y="6668"/>
                    <a:pt x="4492" y="6668"/>
                  </a:cubicBezTo>
                  <a:cubicBezTo>
                    <a:pt x="4514" y="6661"/>
                    <a:pt x="4514" y="6661"/>
                    <a:pt x="4514" y="6661"/>
                  </a:cubicBezTo>
                  <a:cubicBezTo>
                    <a:pt x="4551" y="6639"/>
                    <a:pt x="4551" y="6639"/>
                    <a:pt x="4551" y="6639"/>
                  </a:cubicBezTo>
                  <a:cubicBezTo>
                    <a:pt x="4580" y="6631"/>
                    <a:pt x="4646" y="6602"/>
                    <a:pt x="4697" y="6470"/>
                  </a:cubicBezTo>
                  <a:cubicBezTo>
                    <a:pt x="4734" y="6390"/>
                    <a:pt x="4771" y="6331"/>
                    <a:pt x="4800" y="6280"/>
                  </a:cubicBezTo>
                  <a:cubicBezTo>
                    <a:pt x="4837" y="6229"/>
                    <a:pt x="4866" y="6184"/>
                    <a:pt x="4866" y="6141"/>
                  </a:cubicBezTo>
                  <a:cubicBezTo>
                    <a:pt x="4873" y="6097"/>
                    <a:pt x="4873" y="6067"/>
                    <a:pt x="4873" y="6038"/>
                  </a:cubicBezTo>
                  <a:cubicBezTo>
                    <a:pt x="4873" y="6009"/>
                    <a:pt x="4866" y="5979"/>
                    <a:pt x="4873" y="5972"/>
                  </a:cubicBezTo>
                  <a:cubicBezTo>
                    <a:pt x="4881" y="5965"/>
                    <a:pt x="4888" y="5957"/>
                    <a:pt x="4895" y="5943"/>
                  </a:cubicBezTo>
                  <a:cubicBezTo>
                    <a:pt x="4924" y="5921"/>
                    <a:pt x="4969" y="5877"/>
                    <a:pt x="4946" y="5803"/>
                  </a:cubicBezTo>
                  <a:cubicBezTo>
                    <a:pt x="4939" y="5789"/>
                    <a:pt x="4924" y="5730"/>
                    <a:pt x="5012" y="5672"/>
                  </a:cubicBezTo>
                  <a:cubicBezTo>
                    <a:pt x="5027" y="5664"/>
                    <a:pt x="5042" y="5657"/>
                    <a:pt x="5049" y="5650"/>
                  </a:cubicBezTo>
                  <a:cubicBezTo>
                    <a:pt x="5100" y="5620"/>
                    <a:pt x="5122" y="5606"/>
                    <a:pt x="5122" y="5518"/>
                  </a:cubicBezTo>
                  <a:cubicBezTo>
                    <a:pt x="5122" y="5467"/>
                    <a:pt x="5100" y="5444"/>
                    <a:pt x="5086" y="5430"/>
                  </a:cubicBezTo>
                  <a:lnTo>
                    <a:pt x="5079" y="5422"/>
                  </a:lnTo>
                  <a:lnTo>
                    <a:pt x="5079" y="5422"/>
                  </a:lnTo>
                  <a:cubicBezTo>
                    <a:pt x="5079" y="5422"/>
                    <a:pt x="5079" y="5415"/>
                    <a:pt x="5086" y="5408"/>
                  </a:cubicBezTo>
                  <a:cubicBezTo>
                    <a:pt x="5093" y="5379"/>
                    <a:pt x="5108" y="5364"/>
                    <a:pt x="5122" y="5349"/>
                  </a:cubicBezTo>
                  <a:cubicBezTo>
                    <a:pt x="5144" y="5327"/>
                    <a:pt x="5166" y="5305"/>
                    <a:pt x="5166" y="5261"/>
                  </a:cubicBezTo>
                  <a:cubicBezTo>
                    <a:pt x="5166" y="5247"/>
                    <a:pt x="5166" y="5217"/>
                    <a:pt x="5174" y="5188"/>
                  </a:cubicBezTo>
                  <a:cubicBezTo>
                    <a:pt x="5188" y="5115"/>
                    <a:pt x="5196" y="5071"/>
                    <a:pt x="5174" y="5041"/>
                  </a:cubicBezTo>
                  <a:cubicBezTo>
                    <a:pt x="5166" y="5034"/>
                    <a:pt x="5152" y="5027"/>
                    <a:pt x="5137" y="5027"/>
                  </a:cubicBezTo>
                  <a:lnTo>
                    <a:pt x="5130" y="5027"/>
                  </a:lnTo>
                  <a:cubicBezTo>
                    <a:pt x="5122" y="5027"/>
                    <a:pt x="5122" y="5027"/>
                    <a:pt x="5115" y="5027"/>
                  </a:cubicBezTo>
                  <a:cubicBezTo>
                    <a:pt x="5093" y="5027"/>
                    <a:pt x="5079" y="5019"/>
                    <a:pt x="5071" y="5005"/>
                  </a:cubicBezTo>
                  <a:cubicBezTo>
                    <a:pt x="5071" y="5005"/>
                    <a:pt x="5071" y="4998"/>
                    <a:pt x="5079" y="4983"/>
                  </a:cubicBezTo>
                  <a:cubicBezTo>
                    <a:pt x="5130" y="4924"/>
                    <a:pt x="5086" y="4880"/>
                    <a:pt x="5056" y="4843"/>
                  </a:cubicBezTo>
                  <a:cubicBezTo>
                    <a:pt x="5049" y="4836"/>
                    <a:pt x="5034" y="4822"/>
                    <a:pt x="5020" y="4800"/>
                  </a:cubicBezTo>
                  <a:cubicBezTo>
                    <a:pt x="4998" y="4763"/>
                    <a:pt x="5005" y="4653"/>
                    <a:pt x="5012" y="4580"/>
                  </a:cubicBezTo>
                  <a:cubicBezTo>
                    <a:pt x="5034" y="4580"/>
                    <a:pt x="5034" y="4580"/>
                    <a:pt x="5034" y="4580"/>
                  </a:cubicBezTo>
                  <a:cubicBezTo>
                    <a:pt x="5012" y="4543"/>
                    <a:pt x="5012" y="4543"/>
                    <a:pt x="5012" y="4543"/>
                  </a:cubicBezTo>
                  <a:cubicBezTo>
                    <a:pt x="5005" y="4521"/>
                    <a:pt x="4998" y="4507"/>
                    <a:pt x="4991" y="4492"/>
                  </a:cubicBezTo>
                  <a:cubicBezTo>
                    <a:pt x="4983" y="4441"/>
                    <a:pt x="4954" y="4375"/>
                    <a:pt x="4910" y="4338"/>
                  </a:cubicBezTo>
                  <a:cubicBezTo>
                    <a:pt x="4873" y="4309"/>
                    <a:pt x="4866" y="4279"/>
                    <a:pt x="4873" y="4235"/>
                  </a:cubicBezTo>
                  <a:cubicBezTo>
                    <a:pt x="4881" y="4206"/>
                    <a:pt x="4888" y="4191"/>
                    <a:pt x="4961" y="4177"/>
                  </a:cubicBezTo>
                  <a:cubicBezTo>
                    <a:pt x="5020" y="4162"/>
                    <a:pt x="5034" y="4133"/>
                    <a:pt x="5049" y="4103"/>
                  </a:cubicBezTo>
                  <a:cubicBezTo>
                    <a:pt x="5056" y="4081"/>
                    <a:pt x="5071" y="4060"/>
                    <a:pt x="5086" y="4038"/>
                  </a:cubicBezTo>
                  <a:cubicBezTo>
                    <a:pt x="5130" y="3993"/>
                    <a:pt x="5144" y="3979"/>
                    <a:pt x="5137" y="3950"/>
                  </a:cubicBezTo>
                  <a:cubicBezTo>
                    <a:pt x="5130" y="3928"/>
                    <a:pt x="5108" y="3928"/>
                    <a:pt x="5086" y="3920"/>
                  </a:cubicBezTo>
                  <a:cubicBezTo>
                    <a:pt x="5079" y="3920"/>
                    <a:pt x="5079" y="3920"/>
                    <a:pt x="5071" y="3920"/>
                  </a:cubicBezTo>
                  <a:cubicBezTo>
                    <a:pt x="5049" y="3920"/>
                    <a:pt x="5034" y="3906"/>
                    <a:pt x="5020" y="3898"/>
                  </a:cubicBezTo>
                  <a:cubicBezTo>
                    <a:pt x="5005" y="3891"/>
                    <a:pt x="4991" y="3876"/>
                    <a:pt x="4961" y="3869"/>
                  </a:cubicBezTo>
                  <a:cubicBezTo>
                    <a:pt x="4946" y="3869"/>
                    <a:pt x="4939" y="3818"/>
                    <a:pt x="4939" y="3796"/>
                  </a:cubicBezTo>
                  <a:cubicBezTo>
                    <a:pt x="4939" y="3788"/>
                    <a:pt x="4939" y="3774"/>
                    <a:pt x="4932" y="3767"/>
                  </a:cubicBezTo>
                  <a:cubicBezTo>
                    <a:pt x="4932" y="3752"/>
                    <a:pt x="4932" y="3737"/>
                    <a:pt x="4932" y="3715"/>
                  </a:cubicBezTo>
                  <a:cubicBezTo>
                    <a:pt x="4932" y="3679"/>
                    <a:pt x="4932" y="3642"/>
                    <a:pt x="4910" y="3612"/>
                  </a:cubicBezTo>
                  <a:cubicBezTo>
                    <a:pt x="4895" y="3591"/>
                    <a:pt x="4881" y="3583"/>
                    <a:pt x="4873" y="3576"/>
                  </a:cubicBezTo>
                  <a:cubicBezTo>
                    <a:pt x="4866" y="3576"/>
                    <a:pt x="4859" y="3576"/>
                    <a:pt x="4859" y="3561"/>
                  </a:cubicBezTo>
                  <a:cubicBezTo>
                    <a:pt x="4837" y="3510"/>
                    <a:pt x="4851" y="3393"/>
                    <a:pt x="4859" y="3356"/>
                  </a:cubicBezTo>
                  <a:cubicBezTo>
                    <a:pt x="4866" y="3298"/>
                    <a:pt x="4829" y="3261"/>
                    <a:pt x="4793" y="3224"/>
                  </a:cubicBezTo>
                  <a:cubicBezTo>
                    <a:pt x="4778" y="3210"/>
                    <a:pt x="4771" y="3202"/>
                    <a:pt x="4756" y="3188"/>
                  </a:cubicBezTo>
                  <a:cubicBezTo>
                    <a:pt x="4734" y="3143"/>
                    <a:pt x="4705" y="3122"/>
                    <a:pt x="4675" y="3092"/>
                  </a:cubicBezTo>
                  <a:cubicBezTo>
                    <a:pt x="4668" y="3085"/>
                    <a:pt x="4653" y="3070"/>
                    <a:pt x="4646" y="3063"/>
                  </a:cubicBezTo>
                  <a:cubicBezTo>
                    <a:pt x="4624" y="3041"/>
                    <a:pt x="4588" y="3026"/>
                    <a:pt x="4551" y="3026"/>
                  </a:cubicBezTo>
                  <a:cubicBezTo>
                    <a:pt x="4522" y="3026"/>
                    <a:pt x="4492" y="3034"/>
                    <a:pt x="4470" y="3034"/>
                  </a:cubicBezTo>
                  <a:cubicBezTo>
                    <a:pt x="4463" y="3034"/>
                    <a:pt x="4463" y="3034"/>
                    <a:pt x="4463" y="3034"/>
                  </a:cubicBezTo>
                  <a:cubicBezTo>
                    <a:pt x="4426" y="3041"/>
                    <a:pt x="4368" y="3070"/>
                    <a:pt x="4302" y="3092"/>
                  </a:cubicBezTo>
                  <a:cubicBezTo>
                    <a:pt x="4265" y="3107"/>
                    <a:pt x="4265" y="3107"/>
                    <a:pt x="4265" y="3107"/>
                  </a:cubicBezTo>
                  <a:cubicBezTo>
                    <a:pt x="4236" y="3114"/>
                    <a:pt x="4236" y="3114"/>
                    <a:pt x="4236" y="3114"/>
                  </a:cubicBezTo>
                  <a:cubicBezTo>
                    <a:pt x="4184" y="3136"/>
                    <a:pt x="4148" y="3151"/>
                    <a:pt x="4111" y="3180"/>
                  </a:cubicBezTo>
                  <a:cubicBezTo>
                    <a:pt x="4097" y="3195"/>
                    <a:pt x="4082" y="3195"/>
                    <a:pt x="4060" y="3202"/>
                  </a:cubicBezTo>
                  <a:cubicBezTo>
                    <a:pt x="4038" y="3210"/>
                    <a:pt x="4009" y="3217"/>
                    <a:pt x="3979" y="3239"/>
                  </a:cubicBezTo>
                  <a:cubicBezTo>
                    <a:pt x="3965" y="3246"/>
                    <a:pt x="3935" y="3246"/>
                    <a:pt x="3899" y="3246"/>
                  </a:cubicBezTo>
                  <a:cubicBezTo>
                    <a:pt x="3869" y="3246"/>
                    <a:pt x="3855" y="3246"/>
                    <a:pt x="3855" y="3246"/>
                  </a:cubicBezTo>
                  <a:cubicBezTo>
                    <a:pt x="3825" y="3231"/>
                    <a:pt x="3811" y="3180"/>
                    <a:pt x="3796" y="3122"/>
                  </a:cubicBezTo>
                  <a:cubicBezTo>
                    <a:pt x="3774" y="3048"/>
                    <a:pt x="3738" y="3034"/>
                    <a:pt x="3701" y="3019"/>
                  </a:cubicBezTo>
                  <a:cubicBezTo>
                    <a:pt x="3686" y="3012"/>
                    <a:pt x="3679" y="3012"/>
                    <a:pt x="3672" y="3004"/>
                  </a:cubicBezTo>
                  <a:cubicBezTo>
                    <a:pt x="3664" y="3004"/>
                    <a:pt x="3664" y="2997"/>
                    <a:pt x="3664" y="2997"/>
                  </a:cubicBezTo>
                  <a:cubicBezTo>
                    <a:pt x="3657" y="2982"/>
                    <a:pt x="3679" y="2953"/>
                    <a:pt x="3701" y="2924"/>
                  </a:cubicBezTo>
                  <a:cubicBezTo>
                    <a:pt x="3708" y="2916"/>
                    <a:pt x="3715" y="2916"/>
                    <a:pt x="3730" y="2916"/>
                  </a:cubicBezTo>
                  <a:cubicBezTo>
                    <a:pt x="3738" y="2916"/>
                    <a:pt x="3767" y="2909"/>
                    <a:pt x="3774" y="2880"/>
                  </a:cubicBezTo>
                  <a:cubicBezTo>
                    <a:pt x="3781" y="2872"/>
                    <a:pt x="3781" y="2865"/>
                    <a:pt x="3789" y="2850"/>
                  </a:cubicBezTo>
                  <a:cubicBezTo>
                    <a:pt x="3789" y="2829"/>
                    <a:pt x="3796" y="2807"/>
                    <a:pt x="3803" y="2792"/>
                  </a:cubicBezTo>
                  <a:cubicBezTo>
                    <a:pt x="3818" y="2792"/>
                    <a:pt x="3833" y="2799"/>
                    <a:pt x="3847" y="2807"/>
                  </a:cubicBezTo>
                  <a:cubicBezTo>
                    <a:pt x="3862" y="2814"/>
                    <a:pt x="3877" y="2821"/>
                    <a:pt x="3891" y="2821"/>
                  </a:cubicBezTo>
                  <a:cubicBezTo>
                    <a:pt x="3913" y="2829"/>
                    <a:pt x="3928" y="2836"/>
                    <a:pt x="3935" y="2836"/>
                  </a:cubicBezTo>
                  <a:cubicBezTo>
                    <a:pt x="3979" y="2836"/>
                    <a:pt x="3987" y="2799"/>
                    <a:pt x="3987" y="2770"/>
                  </a:cubicBezTo>
                  <a:cubicBezTo>
                    <a:pt x="3994" y="2770"/>
                    <a:pt x="3994" y="2770"/>
                    <a:pt x="3994" y="2770"/>
                  </a:cubicBezTo>
                  <a:cubicBezTo>
                    <a:pt x="4001" y="2711"/>
                    <a:pt x="3979" y="2660"/>
                    <a:pt x="3935" y="2645"/>
                  </a:cubicBezTo>
                  <a:cubicBezTo>
                    <a:pt x="3928" y="2645"/>
                    <a:pt x="3928" y="2645"/>
                    <a:pt x="3928" y="2645"/>
                  </a:cubicBezTo>
                  <a:cubicBezTo>
                    <a:pt x="3906" y="2638"/>
                    <a:pt x="3884" y="2631"/>
                    <a:pt x="3855" y="2609"/>
                  </a:cubicBezTo>
                  <a:cubicBezTo>
                    <a:pt x="3862" y="2594"/>
                    <a:pt x="3891" y="2579"/>
                    <a:pt x="3899" y="2565"/>
                  </a:cubicBezTo>
                  <a:cubicBezTo>
                    <a:pt x="3913" y="2557"/>
                    <a:pt x="3928" y="2543"/>
                    <a:pt x="3943" y="2535"/>
                  </a:cubicBezTo>
                  <a:cubicBezTo>
                    <a:pt x="3950" y="2521"/>
                    <a:pt x="3965" y="2513"/>
                    <a:pt x="3979" y="2499"/>
                  </a:cubicBezTo>
                  <a:cubicBezTo>
                    <a:pt x="4001" y="2484"/>
                    <a:pt x="4031" y="2469"/>
                    <a:pt x="4053" y="2440"/>
                  </a:cubicBezTo>
                  <a:cubicBezTo>
                    <a:pt x="4060" y="2433"/>
                    <a:pt x="4060" y="2433"/>
                    <a:pt x="4060" y="2433"/>
                  </a:cubicBezTo>
                  <a:cubicBezTo>
                    <a:pt x="4060" y="2433"/>
                    <a:pt x="4074" y="2448"/>
                    <a:pt x="4089" y="2455"/>
                  </a:cubicBezTo>
                  <a:cubicBezTo>
                    <a:pt x="4104" y="2462"/>
                    <a:pt x="4119" y="2469"/>
                    <a:pt x="4133" y="2484"/>
                  </a:cubicBezTo>
                  <a:cubicBezTo>
                    <a:pt x="4148" y="2491"/>
                    <a:pt x="4162" y="2491"/>
                    <a:pt x="4177" y="2491"/>
                  </a:cubicBezTo>
                  <a:cubicBezTo>
                    <a:pt x="4199" y="2491"/>
                    <a:pt x="4221" y="2484"/>
                    <a:pt x="4236" y="2469"/>
                  </a:cubicBezTo>
                  <a:cubicBezTo>
                    <a:pt x="4258" y="2440"/>
                    <a:pt x="4258" y="2396"/>
                    <a:pt x="4250" y="2374"/>
                  </a:cubicBezTo>
                  <a:cubicBezTo>
                    <a:pt x="4243" y="2330"/>
                    <a:pt x="4214" y="2323"/>
                    <a:pt x="4199" y="2323"/>
                  </a:cubicBezTo>
                  <a:cubicBezTo>
                    <a:pt x="4199" y="2316"/>
                    <a:pt x="4206" y="2316"/>
                    <a:pt x="4221" y="2316"/>
                  </a:cubicBezTo>
                  <a:cubicBezTo>
                    <a:pt x="4229" y="2316"/>
                    <a:pt x="4243" y="2316"/>
                    <a:pt x="4258" y="2330"/>
                  </a:cubicBezTo>
                  <a:cubicBezTo>
                    <a:pt x="4272" y="2338"/>
                    <a:pt x="4294" y="2345"/>
                    <a:pt x="4309" y="2345"/>
                  </a:cubicBezTo>
                  <a:cubicBezTo>
                    <a:pt x="4368" y="2345"/>
                    <a:pt x="4375" y="2272"/>
                    <a:pt x="4382" y="2250"/>
                  </a:cubicBezTo>
                  <a:cubicBezTo>
                    <a:pt x="4390" y="2191"/>
                    <a:pt x="4375" y="2132"/>
                    <a:pt x="4338" y="2088"/>
                  </a:cubicBezTo>
                  <a:cubicBezTo>
                    <a:pt x="4331" y="2074"/>
                    <a:pt x="4324" y="2066"/>
                    <a:pt x="4309" y="2059"/>
                  </a:cubicBezTo>
                  <a:cubicBezTo>
                    <a:pt x="4302" y="2044"/>
                    <a:pt x="4294" y="2037"/>
                    <a:pt x="4287" y="2015"/>
                  </a:cubicBezTo>
                  <a:cubicBezTo>
                    <a:pt x="4280" y="2008"/>
                    <a:pt x="4280" y="1993"/>
                    <a:pt x="4280" y="1986"/>
                  </a:cubicBezTo>
                  <a:cubicBezTo>
                    <a:pt x="4272" y="1964"/>
                    <a:pt x="4265" y="1934"/>
                    <a:pt x="4236" y="1905"/>
                  </a:cubicBezTo>
                  <a:cubicBezTo>
                    <a:pt x="4229" y="1898"/>
                    <a:pt x="4229" y="1898"/>
                    <a:pt x="4229" y="1898"/>
                  </a:cubicBezTo>
                  <a:cubicBezTo>
                    <a:pt x="4192" y="1861"/>
                    <a:pt x="4155" y="1825"/>
                    <a:pt x="4074" y="1810"/>
                  </a:cubicBezTo>
                  <a:lnTo>
                    <a:pt x="4067" y="1810"/>
                  </a:lnTo>
                  <a:lnTo>
                    <a:pt x="4074" y="1810"/>
                  </a:lnTo>
                  <a:cubicBezTo>
                    <a:pt x="4082" y="1795"/>
                    <a:pt x="4082" y="1795"/>
                    <a:pt x="4082" y="1795"/>
                  </a:cubicBezTo>
                  <a:cubicBezTo>
                    <a:pt x="4126" y="1759"/>
                    <a:pt x="4126" y="1729"/>
                    <a:pt x="4133" y="1693"/>
                  </a:cubicBezTo>
                  <a:cubicBezTo>
                    <a:pt x="4133" y="1685"/>
                    <a:pt x="4133" y="1678"/>
                    <a:pt x="4133" y="1671"/>
                  </a:cubicBezTo>
                  <a:cubicBezTo>
                    <a:pt x="4141" y="1627"/>
                    <a:pt x="4126" y="1598"/>
                    <a:pt x="4119" y="1568"/>
                  </a:cubicBezTo>
                  <a:cubicBezTo>
                    <a:pt x="4111" y="1546"/>
                    <a:pt x="4104" y="1531"/>
                    <a:pt x="4104" y="1517"/>
                  </a:cubicBezTo>
                  <a:cubicBezTo>
                    <a:pt x="4097" y="1495"/>
                    <a:pt x="4111" y="1473"/>
                    <a:pt x="4141" y="1451"/>
                  </a:cubicBezTo>
                  <a:cubicBezTo>
                    <a:pt x="4148" y="1436"/>
                    <a:pt x="4155" y="1429"/>
                    <a:pt x="4162" y="1422"/>
                  </a:cubicBezTo>
                  <a:cubicBezTo>
                    <a:pt x="4184" y="1385"/>
                    <a:pt x="4199" y="1370"/>
                    <a:pt x="4221" y="1370"/>
                  </a:cubicBezTo>
                  <a:cubicBezTo>
                    <a:pt x="4221" y="1370"/>
                    <a:pt x="4221" y="1370"/>
                    <a:pt x="4229" y="1370"/>
                  </a:cubicBezTo>
                  <a:cubicBezTo>
                    <a:pt x="4236" y="1370"/>
                    <a:pt x="4243" y="1378"/>
                    <a:pt x="4258" y="1392"/>
                  </a:cubicBezTo>
                  <a:cubicBezTo>
                    <a:pt x="4272" y="1414"/>
                    <a:pt x="4287" y="1429"/>
                    <a:pt x="4324" y="1436"/>
                  </a:cubicBezTo>
                  <a:lnTo>
                    <a:pt x="4331" y="1436"/>
                  </a:lnTo>
                  <a:cubicBezTo>
                    <a:pt x="4382" y="1436"/>
                    <a:pt x="4412" y="1385"/>
                    <a:pt x="4441" y="1319"/>
                  </a:cubicBezTo>
                  <a:cubicBezTo>
                    <a:pt x="4448" y="1304"/>
                    <a:pt x="4455" y="1290"/>
                    <a:pt x="4463" y="1282"/>
                  </a:cubicBezTo>
                  <a:cubicBezTo>
                    <a:pt x="4507" y="1202"/>
                    <a:pt x="4463" y="1084"/>
                    <a:pt x="4426" y="1026"/>
                  </a:cubicBezTo>
                  <a:cubicBezTo>
                    <a:pt x="4412" y="997"/>
                    <a:pt x="4404" y="960"/>
                    <a:pt x="4404" y="923"/>
                  </a:cubicBezTo>
                  <a:cubicBezTo>
                    <a:pt x="4404" y="916"/>
                    <a:pt x="4404" y="916"/>
                    <a:pt x="4404" y="916"/>
                  </a:cubicBezTo>
                  <a:lnTo>
                    <a:pt x="4404" y="916"/>
                  </a:lnTo>
                  <a:cubicBezTo>
                    <a:pt x="4404" y="909"/>
                    <a:pt x="4404" y="909"/>
                    <a:pt x="4404" y="909"/>
                  </a:cubicBezTo>
                  <a:cubicBezTo>
                    <a:pt x="4404" y="901"/>
                    <a:pt x="4404" y="901"/>
                    <a:pt x="4404" y="894"/>
                  </a:cubicBezTo>
                  <a:cubicBezTo>
                    <a:pt x="4404" y="887"/>
                    <a:pt x="4404" y="879"/>
                    <a:pt x="4404" y="872"/>
                  </a:cubicBezTo>
                  <a:cubicBezTo>
                    <a:pt x="4404" y="872"/>
                    <a:pt x="4404" y="872"/>
                    <a:pt x="4404" y="865"/>
                  </a:cubicBezTo>
                  <a:cubicBezTo>
                    <a:pt x="4412" y="806"/>
                    <a:pt x="4412" y="806"/>
                    <a:pt x="4412" y="806"/>
                  </a:cubicBezTo>
                  <a:cubicBezTo>
                    <a:pt x="4397" y="828"/>
                    <a:pt x="4397" y="828"/>
                    <a:pt x="4397" y="828"/>
                  </a:cubicBezTo>
                  <a:cubicBezTo>
                    <a:pt x="4382" y="821"/>
                    <a:pt x="4368" y="813"/>
                    <a:pt x="4353" y="813"/>
                  </a:cubicBezTo>
                  <a:cubicBezTo>
                    <a:pt x="4346" y="813"/>
                    <a:pt x="4331" y="821"/>
                    <a:pt x="4316" y="821"/>
                  </a:cubicBezTo>
                  <a:cubicBezTo>
                    <a:pt x="4309" y="821"/>
                    <a:pt x="4302" y="828"/>
                    <a:pt x="4294" y="828"/>
                  </a:cubicBezTo>
                  <a:cubicBezTo>
                    <a:pt x="4287" y="828"/>
                    <a:pt x="4280" y="828"/>
                    <a:pt x="4272" y="828"/>
                  </a:cubicBezTo>
                  <a:cubicBezTo>
                    <a:pt x="4265" y="828"/>
                    <a:pt x="4265" y="828"/>
                    <a:pt x="4265" y="828"/>
                  </a:cubicBezTo>
                  <a:lnTo>
                    <a:pt x="4265" y="821"/>
                  </a:lnTo>
                  <a:cubicBezTo>
                    <a:pt x="4272" y="777"/>
                    <a:pt x="4236" y="748"/>
                    <a:pt x="4214" y="725"/>
                  </a:cubicBezTo>
                  <a:cubicBezTo>
                    <a:pt x="4206" y="718"/>
                    <a:pt x="4199" y="711"/>
                    <a:pt x="4192" y="703"/>
                  </a:cubicBezTo>
                  <a:cubicBezTo>
                    <a:pt x="4170" y="681"/>
                    <a:pt x="4148" y="660"/>
                    <a:pt x="4126" y="645"/>
                  </a:cubicBezTo>
                  <a:cubicBezTo>
                    <a:pt x="4111" y="630"/>
                    <a:pt x="4104" y="623"/>
                    <a:pt x="4089" y="616"/>
                  </a:cubicBezTo>
                  <a:cubicBezTo>
                    <a:pt x="4082" y="601"/>
                    <a:pt x="4074" y="550"/>
                    <a:pt x="4082" y="528"/>
                  </a:cubicBezTo>
                  <a:cubicBezTo>
                    <a:pt x="4082" y="520"/>
                    <a:pt x="4089" y="513"/>
                    <a:pt x="4089" y="513"/>
                  </a:cubicBezTo>
                  <a:cubicBezTo>
                    <a:pt x="4104" y="476"/>
                    <a:pt x="4119" y="432"/>
                    <a:pt x="4111" y="396"/>
                  </a:cubicBezTo>
                  <a:cubicBezTo>
                    <a:pt x="4097" y="344"/>
                    <a:pt x="4023" y="337"/>
                    <a:pt x="4016" y="330"/>
                  </a:cubicBezTo>
                  <a:cubicBezTo>
                    <a:pt x="4009" y="330"/>
                    <a:pt x="4009" y="330"/>
                    <a:pt x="4009" y="330"/>
                  </a:cubicBezTo>
                  <a:lnTo>
                    <a:pt x="4009" y="330"/>
                  </a:lnTo>
                  <a:cubicBezTo>
                    <a:pt x="4009" y="330"/>
                    <a:pt x="4001" y="337"/>
                    <a:pt x="3994" y="337"/>
                  </a:cubicBezTo>
                  <a:cubicBezTo>
                    <a:pt x="3979" y="337"/>
                    <a:pt x="3965" y="330"/>
                    <a:pt x="3965" y="322"/>
                  </a:cubicBezTo>
                  <a:cubicBezTo>
                    <a:pt x="3943" y="286"/>
                    <a:pt x="3913" y="257"/>
                    <a:pt x="3869" y="234"/>
                  </a:cubicBezTo>
                  <a:cubicBezTo>
                    <a:pt x="3862" y="227"/>
                    <a:pt x="3862" y="227"/>
                    <a:pt x="3862" y="227"/>
                  </a:cubicBezTo>
                  <a:cubicBezTo>
                    <a:pt x="3855" y="227"/>
                    <a:pt x="3818" y="205"/>
                    <a:pt x="3818" y="198"/>
                  </a:cubicBezTo>
                  <a:cubicBezTo>
                    <a:pt x="3818" y="198"/>
                    <a:pt x="3818" y="198"/>
                    <a:pt x="3818" y="191"/>
                  </a:cubicBezTo>
                  <a:cubicBezTo>
                    <a:pt x="3847" y="139"/>
                    <a:pt x="3847" y="73"/>
                    <a:pt x="3818" y="29"/>
                  </a:cubicBezTo>
                  <a:cubicBezTo>
                    <a:pt x="3803" y="7"/>
                    <a:pt x="3781" y="0"/>
                    <a:pt x="3752" y="0"/>
                  </a:cubicBezTo>
                  <a:lnTo>
                    <a:pt x="3752" y="29"/>
                  </a:ln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01" name="Freeform 100"/>
            <p:cNvSpPr>
              <a:spLocks noChangeArrowheads="1"/>
            </p:cNvSpPr>
            <p:nvPr/>
          </p:nvSpPr>
          <p:spPr bwMode="auto">
            <a:xfrm>
              <a:off x="4884135" y="6902513"/>
              <a:ext cx="2000825" cy="2841645"/>
            </a:xfrm>
            <a:custGeom>
              <a:avLst/>
              <a:gdLst>
                <a:gd name="T0" fmla="*/ 2323 w 5203"/>
                <a:gd name="T1" fmla="*/ 7224 h 7481"/>
                <a:gd name="T2" fmla="*/ 1868 w 5203"/>
                <a:gd name="T3" fmla="*/ 6755 h 7481"/>
                <a:gd name="T4" fmla="*/ 1539 w 5203"/>
                <a:gd name="T5" fmla="*/ 6960 h 7481"/>
                <a:gd name="T6" fmla="*/ 1341 w 5203"/>
                <a:gd name="T7" fmla="*/ 6440 h 7481"/>
                <a:gd name="T8" fmla="*/ 1282 w 5203"/>
                <a:gd name="T9" fmla="*/ 6110 h 7481"/>
                <a:gd name="T10" fmla="*/ 1150 w 5203"/>
                <a:gd name="T11" fmla="*/ 5568 h 7481"/>
                <a:gd name="T12" fmla="*/ 711 w 5203"/>
                <a:gd name="T13" fmla="*/ 5443 h 7481"/>
                <a:gd name="T14" fmla="*/ 286 w 5203"/>
                <a:gd name="T15" fmla="*/ 5597 h 7481"/>
                <a:gd name="T16" fmla="*/ 110 w 5203"/>
                <a:gd name="T17" fmla="*/ 5179 h 7481"/>
                <a:gd name="T18" fmla="*/ 322 w 5203"/>
                <a:gd name="T19" fmla="*/ 5091 h 7481"/>
                <a:gd name="T20" fmla="*/ 293 w 5203"/>
                <a:gd name="T21" fmla="*/ 4813 h 7481"/>
                <a:gd name="T22" fmla="*/ 586 w 5203"/>
                <a:gd name="T23" fmla="*/ 4747 h 7481"/>
                <a:gd name="T24" fmla="*/ 696 w 5203"/>
                <a:gd name="T25" fmla="*/ 4608 h 7481"/>
                <a:gd name="T26" fmla="*/ 579 w 5203"/>
                <a:gd name="T27" fmla="*/ 4234 h 7481"/>
                <a:gd name="T28" fmla="*/ 461 w 5203"/>
                <a:gd name="T29" fmla="*/ 3890 h 7481"/>
                <a:gd name="T30" fmla="*/ 718 w 5203"/>
                <a:gd name="T31" fmla="*/ 3699 h 7481"/>
                <a:gd name="T32" fmla="*/ 747 w 5203"/>
                <a:gd name="T33" fmla="*/ 3216 h 7481"/>
                <a:gd name="T34" fmla="*/ 850 w 5203"/>
                <a:gd name="T35" fmla="*/ 2776 h 7481"/>
                <a:gd name="T36" fmla="*/ 1216 w 5203"/>
                <a:gd name="T37" fmla="*/ 2615 h 7481"/>
                <a:gd name="T38" fmla="*/ 1473 w 5203"/>
                <a:gd name="T39" fmla="*/ 2402 h 7481"/>
                <a:gd name="T40" fmla="*/ 1634 w 5203"/>
                <a:gd name="T41" fmla="*/ 2095 h 7481"/>
                <a:gd name="T42" fmla="*/ 1912 w 5203"/>
                <a:gd name="T43" fmla="*/ 1845 h 7481"/>
                <a:gd name="T44" fmla="*/ 2096 w 5203"/>
                <a:gd name="T45" fmla="*/ 1568 h 7481"/>
                <a:gd name="T46" fmla="*/ 1802 w 5203"/>
                <a:gd name="T47" fmla="*/ 1377 h 7481"/>
                <a:gd name="T48" fmla="*/ 1876 w 5203"/>
                <a:gd name="T49" fmla="*/ 989 h 7481"/>
                <a:gd name="T50" fmla="*/ 2271 w 5203"/>
                <a:gd name="T51" fmla="*/ 879 h 7481"/>
                <a:gd name="T52" fmla="*/ 2403 w 5203"/>
                <a:gd name="T53" fmla="*/ 674 h 7481"/>
                <a:gd name="T54" fmla="*/ 2777 w 5203"/>
                <a:gd name="T55" fmla="*/ 506 h 7481"/>
                <a:gd name="T56" fmla="*/ 3041 w 5203"/>
                <a:gd name="T57" fmla="*/ 608 h 7481"/>
                <a:gd name="T58" fmla="*/ 3459 w 5203"/>
                <a:gd name="T59" fmla="*/ 73 h 7481"/>
                <a:gd name="T60" fmla="*/ 3722 w 5203"/>
                <a:gd name="T61" fmla="*/ 88 h 7481"/>
                <a:gd name="T62" fmla="*/ 3979 w 5203"/>
                <a:gd name="T63" fmla="*/ 286 h 7481"/>
                <a:gd name="T64" fmla="*/ 3905 w 5203"/>
                <a:gd name="T65" fmla="*/ 366 h 7481"/>
                <a:gd name="T66" fmla="*/ 3949 w 5203"/>
                <a:gd name="T67" fmla="*/ 806 h 7481"/>
                <a:gd name="T68" fmla="*/ 4125 w 5203"/>
                <a:gd name="T69" fmla="*/ 1187 h 7481"/>
                <a:gd name="T70" fmla="*/ 4147 w 5203"/>
                <a:gd name="T71" fmla="*/ 930 h 7481"/>
                <a:gd name="T72" fmla="*/ 4514 w 5203"/>
                <a:gd name="T73" fmla="*/ 791 h 7481"/>
                <a:gd name="T74" fmla="*/ 4616 w 5203"/>
                <a:gd name="T75" fmla="*/ 1106 h 7481"/>
                <a:gd name="T76" fmla="*/ 5202 w 5203"/>
                <a:gd name="T77" fmla="*/ 1560 h 7481"/>
                <a:gd name="T78" fmla="*/ 4997 w 5203"/>
                <a:gd name="T79" fmla="*/ 1684 h 7481"/>
                <a:gd name="T80" fmla="*/ 5063 w 5203"/>
                <a:gd name="T81" fmla="*/ 1875 h 7481"/>
                <a:gd name="T82" fmla="*/ 5137 w 5203"/>
                <a:gd name="T83" fmla="*/ 2146 h 7481"/>
                <a:gd name="T84" fmla="*/ 4799 w 5203"/>
                <a:gd name="T85" fmla="*/ 2124 h 7481"/>
                <a:gd name="T86" fmla="*/ 4653 w 5203"/>
                <a:gd name="T87" fmla="*/ 2358 h 7481"/>
                <a:gd name="T88" fmla="*/ 4887 w 5203"/>
                <a:gd name="T89" fmla="*/ 2564 h 7481"/>
                <a:gd name="T90" fmla="*/ 4638 w 5203"/>
                <a:gd name="T91" fmla="*/ 2857 h 7481"/>
                <a:gd name="T92" fmla="*/ 4506 w 5203"/>
                <a:gd name="T93" fmla="*/ 3238 h 7481"/>
                <a:gd name="T94" fmla="*/ 4638 w 5203"/>
                <a:gd name="T95" fmla="*/ 3274 h 7481"/>
                <a:gd name="T96" fmla="*/ 4902 w 5203"/>
                <a:gd name="T97" fmla="*/ 3421 h 7481"/>
                <a:gd name="T98" fmla="*/ 4917 w 5203"/>
                <a:gd name="T99" fmla="*/ 3699 h 7481"/>
                <a:gd name="T100" fmla="*/ 4418 w 5203"/>
                <a:gd name="T101" fmla="*/ 4154 h 7481"/>
                <a:gd name="T102" fmla="*/ 4162 w 5203"/>
                <a:gd name="T103" fmla="*/ 4520 h 7481"/>
                <a:gd name="T104" fmla="*/ 4045 w 5203"/>
                <a:gd name="T105" fmla="*/ 4710 h 7481"/>
                <a:gd name="T106" fmla="*/ 3752 w 5203"/>
                <a:gd name="T107" fmla="*/ 5011 h 7481"/>
                <a:gd name="T108" fmla="*/ 3077 w 5203"/>
                <a:gd name="T109" fmla="*/ 5033 h 7481"/>
                <a:gd name="T110" fmla="*/ 2748 w 5203"/>
                <a:gd name="T111" fmla="*/ 5099 h 7481"/>
                <a:gd name="T112" fmla="*/ 2828 w 5203"/>
                <a:gd name="T113" fmla="*/ 6095 h 7481"/>
                <a:gd name="T114" fmla="*/ 2850 w 5203"/>
                <a:gd name="T115" fmla="*/ 6718 h 7481"/>
                <a:gd name="T116" fmla="*/ 2865 w 5203"/>
                <a:gd name="T117" fmla="*/ 6916 h 7481"/>
                <a:gd name="T118" fmla="*/ 2726 w 5203"/>
                <a:gd name="T119" fmla="*/ 7129 h 7481"/>
                <a:gd name="T120" fmla="*/ 2411 w 5203"/>
                <a:gd name="T121" fmla="*/ 7400 h 7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203" h="7481">
                  <a:moveTo>
                    <a:pt x="2286" y="7480"/>
                  </a:moveTo>
                  <a:lnTo>
                    <a:pt x="2286" y="7480"/>
                  </a:lnTo>
                  <a:cubicBezTo>
                    <a:pt x="2271" y="7480"/>
                    <a:pt x="2264" y="7473"/>
                    <a:pt x="2257" y="7466"/>
                  </a:cubicBezTo>
                  <a:cubicBezTo>
                    <a:pt x="2242" y="7458"/>
                    <a:pt x="2242" y="7429"/>
                    <a:pt x="2242" y="7400"/>
                  </a:cubicBezTo>
                  <a:cubicBezTo>
                    <a:pt x="2249" y="7341"/>
                    <a:pt x="2249" y="7341"/>
                    <a:pt x="2249" y="7341"/>
                  </a:cubicBezTo>
                  <a:cubicBezTo>
                    <a:pt x="2249" y="7246"/>
                    <a:pt x="2249" y="7231"/>
                    <a:pt x="2301" y="7224"/>
                  </a:cubicBezTo>
                  <a:cubicBezTo>
                    <a:pt x="2308" y="7224"/>
                    <a:pt x="2315" y="7224"/>
                    <a:pt x="2323" y="7224"/>
                  </a:cubicBezTo>
                  <a:cubicBezTo>
                    <a:pt x="2359" y="7217"/>
                    <a:pt x="2396" y="7180"/>
                    <a:pt x="2389" y="7158"/>
                  </a:cubicBezTo>
                  <a:cubicBezTo>
                    <a:pt x="2389" y="7143"/>
                    <a:pt x="2374" y="7143"/>
                    <a:pt x="2359" y="7143"/>
                  </a:cubicBezTo>
                  <a:cubicBezTo>
                    <a:pt x="2279" y="7143"/>
                    <a:pt x="2242" y="7129"/>
                    <a:pt x="2228" y="7077"/>
                  </a:cubicBezTo>
                  <a:cubicBezTo>
                    <a:pt x="2198" y="7092"/>
                    <a:pt x="2147" y="7107"/>
                    <a:pt x="2096" y="7107"/>
                  </a:cubicBezTo>
                  <a:cubicBezTo>
                    <a:pt x="2037" y="7107"/>
                    <a:pt x="1964" y="7085"/>
                    <a:pt x="1949" y="6982"/>
                  </a:cubicBezTo>
                  <a:cubicBezTo>
                    <a:pt x="1942" y="6945"/>
                    <a:pt x="1934" y="6916"/>
                    <a:pt x="1934" y="6894"/>
                  </a:cubicBezTo>
                  <a:cubicBezTo>
                    <a:pt x="1912" y="6769"/>
                    <a:pt x="1912" y="6755"/>
                    <a:pt x="1868" y="6755"/>
                  </a:cubicBezTo>
                  <a:cubicBezTo>
                    <a:pt x="1868" y="6755"/>
                    <a:pt x="1861" y="6755"/>
                    <a:pt x="1854" y="6755"/>
                  </a:cubicBezTo>
                  <a:cubicBezTo>
                    <a:pt x="1824" y="6762"/>
                    <a:pt x="1795" y="6769"/>
                    <a:pt x="1780" y="6791"/>
                  </a:cubicBezTo>
                  <a:cubicBezTo>
                    <a:pt x="1766" y="6821"/>
                    <a:pt x="1759" y="6865"/>
                    <a:pt x="1773" y="6916"/>
                  </a:cubicBezTo>
                  <a:cubicBezTo>
                    <a:pt x="1788" y="6975"/>
                    <a:pt x="1780" y="7033"/>
                    <a:pt x="1751" y="7063"/>
                  </a:cubicBezTo>
                  <a:cubicBezTo>
                    <a:pt x="1737" y="7085"/>
                    <a:pt x="1715" y="7092"/>
                    <a:pt x="1692" y="7092"/>
                  </a:cubicBezTo>
                  <a:cubicBezTo>
                    <a:pt x="1678" y="7092"/>
                    <a:pt x="1663" y="7092"/>
                    <a:pt x="1649" y="7085"/>
                  </a:cubicBezTo>
                  <a:cubicBezTo>
                    <a:pt x="1612" y="7063"/>
                    <a:pt x="1575" y="7011"/>
                    <a:pt x="1539" y="6960"/>
                  </a:cubicBezTo>
                  <a:cubicBezTo>
                    <a:pt x="1502" y="6909"/>
                    <a:pt x="1466" y="6857"/>
                    <a:pt x="1436" y="6857"/>
                  </a:cubicBezTo>
                  <a:cubicBezTo>
                    <a:pt x="1370" y="6879"/>
                    <a:pt x="1370" y="6879"/>
                    <a:pt x="1370" y="6879"/>
                  </a:cubicBezTo>
                  <a:cubicBezTo>
                    <a:pt x="1363" y="6872"/>
                    <a:pt x="1363" y="6872"/>
                    <a:pt x="1363" y="6872"/>
                  </a:cubicBezTo>
                  <a:cubicBezTo>
                    <a:pt x="1356" y="6857"/>
                    <a:pt x="1341" y="6828"/>
                    <a:pt x="1333" y="6806"/>
                  </a:cubicBezTo>
                  <a:cubicBezTo>
                    <a:pt x="1326" y="6762"/>
                    <a:pt x="1304" y="6711"/>
                    <a:pt x="1268" y="6674"/>
                  </a:cubicBezTo>
                  <a:cubicBezTo>
                    <a:pt x="1224" y="6645"/>
                    <a:pt x="1209" y="6601"/>
                    <a:pt x="1216" y="6535"/>
                  </a:cubicBezTo>
                  <a:cubicBezTo>
                    <a:pt x="1224" y="6476"/>
                    <a:pt x="1260" y="6455"/>
                    <a:pt x="1341" y="6440"/>
                  </a:cubicBezTo>
                  <a:cubicBezTo>
                    <a:pt x="1378" y="6432"/>
                    <a:pt x="1385" y="6418"/>
                    <a:pt x="1399" y="6388"/>
                  </a:cubicBezTo>
                  <a:cubicBezTo>
                    <a:pt x="1407" y="6367"/>
                    <a:pt x="1414" y="6345"/>
                    <a:pt x="1443" y="6315"/>
                  </a:cubicBezTo>
                  <a:cubicBezTo>
                    <a:pt x="1451" y="6300"/>
                    <a:pt x="1466" y="6286"/>
                    <a:pt x="1473" y="6279"/>
                  </a:cubicBezTo>
                  <a:lnTo>
                    <a:pt x="1451" y="6271"/>
                  </a:lnTo>
                  <a:cubicBezTo>
                    <a:pt x="1421" y="6271"/>
                    <a:pt x="1399" y="6257"/>
                    <a:pt x="1385" y="6242"/>
                  </a:cubicBezTo>
                  <a:cubicBezTo>
                    <a:pt x="1370" y="6235"/>
                    <a:pt x="1356" y="6227"/>
                    <a:pt x="1341" y="6220"/>
                  </a:cubicBezTo>
                  <a:cubicBezTo>
                    <a:pt x="1297" y="6213"/>
                    <a:pt x="1290" y="6154"/>
                    <a:pt x="1282" y="6110"/>
                  </a:cubicBezTo>
                  <a:cubicBezTo>
                    <a:pt x="1282" y="6103"/>
                    <a:pt x="1275" y="6088"/>
                    <a:pt x="1275" y="6081"/>
                  </a:cubicBezTo>
                  <a:cubicBezTo>
                    <a:pt x="1275" y="6066"/>
                    <a:pt x="1275" y="6044"/>
                    <a:pt x="1275" y="6022"/>
                  </a:cubicBezTo>
                  <a:cubicBezTo>
                    <a:pt x="1275" y="5993"/>
                    <a:pt x="1275" y="5964"/>
                    <a:pt x="1260" y="5941"/>
                  </a:cubicBezTo>
                  <a:cubicBezTo>
                    <a:pt x="1253" y="5934"/>
                    <a:pt x="1246" y="5934"/>
                    <a:pt x="1238" y="5927"/>
                  </a:cubicBezTo>
                  <a:cubicBezTo>
                    <a:pt x="1224" y="5919"/>
                    <a:pt x="1209" y="5912"/>
                    <a:pt x="1202" y="5883"/>
                  </a:cubicBezTo>
                  <a:cubicBezTo>
                    <a:pt x="1180" y="5824"/>
                    <a:pt x="1194" y="5729"/>
                    <a:pt x="1202" y="5663"/>
                  </a:cubicBezTo>
                  <a:cubicBezTo>
                    <a:pt x="1202" y="5619"/>
                    <a:pt x="1180" y="5597"/>
                    <a:pt x="1150" y="5568"/>
                  </a:cubicBezTo>
                  <a:cubicBezTo>
                    <a:pt x="1136" y="5553"/>
                    <a:pt x="1121" y="5538"/>
                    <a:pt x="1106" y="5517"/>
                  </a:cubicBezTo>
                  <a:cubicBezTo>
                    <a:pt x="1084" y="5480"/>
                    <a:pt x="1062" y="5458"/>
                    <a:pt x="1033" y="5436"/>
                  </a:cubicBezTo>
                  <a:cubicBezTo>
                    <a:pt x="1018" y="5421"/>
                    <a:pt x="1011" y="5414"/>
                    <a:pt x="997" y="5399"/>
                  </a:cubicBezTo>
                  <a:cubicBezTo>
                    <a:pt x="982" y="5385"/>
                    <a:pt x="960" y="5377"/>
                    <a:pt x="938" y="5377"/>
                  </a:cubicBezTo>
                  <a:cubicBezTo>
                    <a:pt x="909" y="5377"/>
                    <a:pt x="887" y="5385"/>
                    <a:pt x="865" y="5385"/>
                  </a:cubicBezTo>
                  <a:cubicBezTo>
                    <a:pt x="857" y="5392"/>
                    <a:pt x="857" y="5392"/>
                    <a:pt x="857" y="5392"/>
                  </a:cubicBezTo>
                  <a:cubicBezTo>
                    <a:pt x="828" y="5392"/>
                    <a:pt x="762" y="5421"/>
                    <a:pt x="711" y="5443"/>
                  </a:cubicBezTo>
                  <a:cubicBezTo>
                    <a:pt x="637" y="5465"/>
                    <a:pt x="637" y="5465"/>
                    <a:pt x="637" y="5465"/>
                  </a:cubicBezTo>
                  <a:cubicBezTo>
                    <a:pt x="586" y="5487"/>
                    <a:pt x="564" y="5495"/>
                    <a:pt x="528" y="5524"/>
                  </a:cubicBezTo>
                  <a:cubicBezTo>
                    <a:pt x="506" y="5538"/>
                    <a:pt x="484" y="5546"/>
                    <a:pt x="461" y="5553"/>
                  </a:cubicBezTo>
                  <a:cubicBezTo>
                    <a:pt x="440" y="5560"/>
                    <a:pt x="418" y="5568"/>
                    <a:pt x="388" y="5590"/>
                  </a:cubicBezTo>
                  <a:lnTo>
                    <a:pt x="388" y="5590"/>
                  </a:lnTo>
                  <a:cubicBezTo>
                    <a:pt x="381" y="5590"/>
                    <a:pt x="381" y="5590"/>
                    <a:pt x="381" y="5590"/>
                  </a:cubicBezTo>
                  <a:cubicBezTo>
                    <a:pt x="381" y="5590"/>
                    <a:pt x="330" y="5597"/>
                    <a:pt x="286" y="5597"/>
                  </a:cubicBezTo>
                  <a:cubicBezTo>
                    <a:pt x="256" y="5597"/>
                    <a:pt x="234" y="5597"/>
                    <a:pt x="220" y="5590"/>
                  </a:cubicBezTo>
                  <a:cubicBezTo>
                    <a:pt x="168" y="5568"/>
                    <a:pt x="154" y="5502"/>
                    <a:pt x="139" y="5436"/>
                  </a:cubicBezTo>
                  <a:cubicBezTo>
                    <a:pt x="125" y="5392"/>
                    <a:pt x="102" y="5385"/>
                    <a:pt x="66" y="5370"/>
                  </a:cubicBezTo>
                  <a:cubicBezTo>
                    <a:pt x="59" y="5363"/>
                    <a:pt x="44" y="5363"/>
                    <a:pt x="37" y="5355"/>
                  </a:cubicBezTo>
                  <a:cubicBezTo>
                    <a:pt x="15" y="5348"/>
                    <a:pt x="7" y="5333"/>
                    <a:pt x="0" y="5311"/>
                  </a:cubicBezTo>
                  <a:cubicBezTo>
                    <a:pt x="0" y="5275"/>
                    <a:pt x="29" y="5231"/>
                    <a:pt x="59" y="5201"/>
                  </a:cubicBezTo>
                  <a:cubicBezTo>
                    <a:pt x="80" y="5179"/>
                    <a:pt x="95" y="5179"/>
                    <a:pt x="110" y="5179"/>
                  </a:cubicBezTo>
                  <a:cubicBezTo>
                    <a:pt x="117" y="5179"/>
                    <a:pt x="117" y="5179"/>
                    <a:pt x="117" y="5172"/>
                  </a:cubicBezTo>
                  <a:cubicBezTo>
                    <a:pt x="125" y="5165"/>
                    <a:pt x="125" y="5157"/>
                    <a:pt x="132" y="5143"/>
                  </a:cubicBezTo>
                  <a:cubicBezTo>
                    <a:pt x="132" y="5121"/>
                    <a:pt x="147" y="5084"/>
                    <a:pt x="154" y="5069"/>
                  </a:cubicBezTo>
                  <a:cubicBezTo>
                    <a:pt x="161" y="5062"/>
                    <a:pt x="168" y="5055"/>
                    <a:pt x="190" y="5055"/>
                  </a:cubicBezTo>
                  <a:cubicBezTo>
                    <a:pt x="205" y="5055"/>
                    <a:pt x="227" y="5062"/>
                    <a:pt x="249" y="5069"/>
                  </a:cubicBezTo>
                  <a:cubicBezTo>
                    <a:pt x="264" y="5077"/>
                    <a:pt x="278" y="5084"/>
                    <a:pt x="293" y="5084"/>
                  </a:cubicBezTo>
                  <a:cubicBezTo>
                    <a:pt x="300" y="5091"/>
                    <a:pt x="315" y="5091"/>
                    <a:pt x="322" y="5091"/>
                  </a:cubicBezTo>
                  <a:cubicBezTo>
                    <a:pt x="330" y="5091"/>
                    <a:pt x="330" y="5077"/>
                    <a:pt x="330" y="5069"/>
                  </a:cubicBezTo>
                  <a:cubicBezTo>
                    <a:pt x="337" y="5026"/>
                    <a:pt x="322" y="5004"/>
                    <a:pt x="308" y="4996"/>
                  </a:cubicBezTo>
                  <a:cubicBezTo>
                    <a:pt x="300" y="4996"/>
                    <a:pt x="300" y="4996"/>
                    <a:pt x="300" y="4996"/>
                  </a:cubicBezTo>
                  <a:cubicBezTo>
                    <a:pt x="278" y="4989"/>
                    <a:pt x="242" y="4974"/>
                    <a:pt x="212" y="4945"/>
                  </a:cubicBezTo>
                  <a:cubicBezTo>
                    <a:pt x="198" y="4930"/>
                    <a:pt x="198" y="4923"/>
                    <a:pt x="198" y="4916"/>
                  </a:cubicBezTo>
                  <a:cubicBezTo>
                    <a:pt x="198" y="4886"/>
                    <a:pt x="227" y="4864"/>
                    <a:pt x="264" y="4835"/>
                  </a:cubicBezTo>
                  <a:cubicBezTo>
                    <a:pt x="271" y="4828"/>
                    <a:pt x="286" y="4820"/>
                    <a:pt x="293" y="4813"/>
                  </a:cubicBezTo>
                  <a:cubicBezTo>
                    <a:pt x="308" y="4798"/>
                    <a:pt x="330" y="4784"/>
                    <a:pt x="344" y="4769"/>
                  </a:cubicBezTo>
                  <a:cubicBezTo>
                    <a:pt x="366" y="4755"/>
                    <a:pt x="388" y="4740"/>
                    <a:pt x="403" y="4718"/>
                  </a:cubicBezTo>
                  <a:cubicBezTo>
                    <a:pt x="418" y="4703"/>
                    <a:pt x="432" y="4696"/>
                    <a:pt x="447" y="4696"/>
                  </a:cubicBezTo>
                  <a:cubicBezTo>
                    <a:pt x="461" y="4696"/>
                    <a:pt x="484" y="4710"/>
                    <a:pt x="506" y="4725"/>
                  </a:cubicBezTo>
                  <a:cubicBezTo>
                    <a:pt x="513" y="4732"/>
                    <a:pt x="528" y="4740"/>
                    <a:pt x="542" y="4747"/>
                  </a:cubicBezTo>
                  <a:cubicBezTo>
                    <a:pt x="549" y="4755"/>
                    <a:pt x="557" y="4755"/>
                    <a:pt x="564" y="4755"/>
                  </a:cubicBezTo>
                  <a:cubicBezTo>
                    <a:pt x="571" y="4755"/>
                    <a:pt x="579" y="4755"/>
                    <a:pt x="586" y="4747"/>
                  </a:cubicBezTo>
                  <a:cubicBezTo>
                    <a:pt x="593" y="4732"/>
                    <a:pt x="601" y="4710"/>
                    <a:pt x="593" y="4688"/>
                  </a:cubicBezTo>
                  <a:cubicBezTo>
                    <a:pt x="593" y="4674"/>
                    <a:pt x="586" y="4674"/>
                    <a:pt x="571" y="4674"/>
                  </a:cubicBezTo>
                  <a:cubicBezTo>
                    <a:pt x="557" y="4667"/>
                    <a:pt x="535" y="4667"/>
                    <a:pt x="528" y="4637"/>
                  </a:cubicBezTo>
                  <a:cubicBezTo>
                    <a:pt x="528" y="4630"/>
                    <a:pt x="528" y="4615"/>
                    <a:pt x="535" y="4608"/>
                  </a:cubicBezTo>
                  <a:cubicBezTo>
                    <a:pt x="549" y="4586"/>
                    <a:pt x="579" y="4579"/>
                    <a:pt x="608" y="4579"/>
                  </a:cubicBezTo>
                  <a:cubicBezTo>
                    <a:pt x="623" y="4579"/>
                    <a:pt x="645" y="4579"/>
                    <a:pt x="674" y="4593"/>
                  </a:cubicBezTo>
                  <a:cubicBezTo>
                    <a:pt x="681" y="4600"/>
                    <a:pt x="689" y="4608"/>
                    <a:pt x="696" y="4608"/>
                  </a:cubicBezTo>
                  <a:cubicBezTo>
                    <a:pt x="711" y="4608"/>
                    <a:pt x="718" y="4586"/>
                    <a:pt x="725" y="4549"/>
                  </a:cubicBezTo>
                  <a:cubicBezTo>
                    <a:pt x="733" y="4498"/>
                    <a:pt x="711" y="4447"/>
                    <a:pt x="696" y="4425"/>
                  </a:cubicBezTo>
                  <a:cubicBezTo>
                    <a:pt x="681" y="4410"/>
                    <a:pt x="674" y="4403"/>
                    <a:pt x="667" y="4395"/>
                  </a:cubicBezTo>
                  <a:cubicBezTo>
                    <a:pt x="652" y="4381"/>
                    <a:pt x="645" y="4373"/>
                    <a:pt x="630" y="4344"/>
                  </a:cubicBezTo>
                  <a:cubicBezTo>
                    <a:pt x="623" y="4329"/>
                    <a:pt x="623" y="4315"/>
                    <a:pt x="616" y="4300"/>
                  </a:cubicBezTo>
                  <a:cubicBezTo>
                    <a:pt x="616" y="4278"/>
                    <a:pt x="608" y="4264"/>
                    <a:pt x="593" y="4249"/>
                  </a:cubicBezTo>
                  <a:cubicBezTo>
                    <a:pt x="579" y="4234"/>
                    <a:pt x="579" y="4234"/>
                    <a:pt x="579" y="4234"/>
                  </a:cubicBezTo>
                  <a:cubicBezTo>
                    <a:pt x="549" y="4205"/>
                    <a:pt x="520" y="4168"/>
                    <a:pt x="454" y="4168"/>
                  </a:cubicBezTo>
                  <a:cubicBezTo>
                    <a:pt x="425" y="4161"/>
                    <a:pt x="403" y="4154"/>
                    <a:pt x="396" y="4139"/>
                  </a:cubicBezTo>
                  <a:cubicBezTo>
                    <a:pt x="388" y="4117"/>
                    <a:pt x="403" y="4102"/>
                    <a:pt x="425" y="4080"/>
                  </a:cubicBezTo>
                  <a:cubicBezTo>
                    <a:pt x="440" y="4073"/>
                    <a:pt x="440" y="4073"/>
                    <a:pt x="440" y="4073"/>
                  </a:cubicBezTo>
                  <a:cubicBezTo>
                    <a:pt x="469" y="4044"/>
                    <a:pt x="469" y="4029"/>
                    <a:pt x="476" y="4000"/>
                  </a:cubicBezTo>
                  <a:cubicBezTo>
                    <a:pt x="476" y="3992"/>
                    <a:pt x="476" y="3978"/>
                    <a:pt x="476" y="3970"/>
                  </a:cubicBezTo>
                  <a:cubicBezTo>
                    <a:pt x="484" y="3941"/>
                    <a:pt x="469" y="3912"/>
                    <a:pt x="461" y="3890"/>
                  </a:cubicBezTo>
                  <a:cubicBezTo>
                    <a:pt x="454" y="3868"/>
                    <a:pt x="447" y="3853"/>
                    <a:pt x="440" y="3831"/>
                  </a:cubicBezTo>
                  <a:cubicBezTo>
                    <a:pt x="432" y="3780"/>
                    <a:pt x="469" y="3750"/>
                    <a:pt x="491" y="3721"/>
                  </a:cubicBezTo>
                  <a:cubicBezTo>
                    <a:pt x="498" y="3714"/>
                    <a:pt x="506" y="3707"/>
                    <a:pt x="513" y="3699"/>
                  </a:cubicBezTo>
                  <a:cubicBezTo>
                    <a:pt x="535" y="3670"/>
                    <a:pt x="564" y="3633"/>
                    <a:pt x="608" y="3633"/>
                  </a:cubicBezTo>
                  <a:cubicBezTo>
                    <a:pt x="616" y="3633"/>
                    <a:pt x="616" y="3633"/>
                    <a:pt x="623" y="3633"/>
                  </a:cubicBezTo>
                  <a:cubicBezTo>
                    <a:pt x="652" y="3641"/>
                    <a:pt x="667" y="3655"/>
                    <a:pt x="681" y="3670"/>
                  </a:cubicBezTo>
                  <a:cubicBezTo>
                    <a:pt x="689" y="3685"/>
                    <a:pt x="703" y="3699"/>
                    <a:pt x="718" y="3699"/>
                  </a:cubicBezTo>
                  <a:lnTo>
                    <a:pt x="718" y="3699"/>
                  </a:lnTo>
                  <a:cubicBezTo>
                    <a:pt x="740" y="3699"/>
                    <a:pt x="769" y="3648"/>
                    <a:pt x="784" y="3611"/>
                  </a:cubicBezTo>
                  <a:cubicBezTo>
                    <a:pt x="799" y="3589"/>
                    <a:pt x="806" y="3575"/>
                    <a:pt x="813" y="3567"/>
                  </a:cubicBezTo>
                  <a:cubicBezTo>
                    <a:pt x="842" y="3509"/>
                    <a:pt x="806" y="3414"/>
                    <a:pt x="777" y="3355"/>
                  </a:cubicBezTo>
                  <a:cubicBezTo>
                    <a:pt x="747" y="3311"/>
                    <a:pt x="747" y="3267"/>
                    <a:pt x="747" y="3223"/>
                  </a:cubicBezTo>
                  <a:cubicBezTo>
                    <a:pt x="747" y="3216"/>
                    <a:pt x="747" y="3216"/>
                    <a:pt x="747" y="3216"/>
                  </a:cubicBezTo>
                  <a:lnTo>
                    <a:pt x="747" y="3216"/>
                  </a:lnTo>
                  <a:cubicBezTo>
                    <a:pt x="769" y="3186"/>
                    <a:pt x="784" y="3164"/>
                    <a:pt x="806" y="3135"/>
                  </a:cubicBezTo>
                  <a:cubicBezTo>
                    <a:pt x="835" y="3091"/>
                    <a:pt x="835" y="3069"/>
                    <a:pt x="828" y="3025"/>
                  </a:cubicBezTo>
                  <a:cubicBezTo>
                    <a:pt x="821" y="3010"/>
                    <a:pt x="821" y="2996"/>
                    <a:pt x="821" y="2981"/>
                  </a:cubicBezTo>
                  <a:cubicBezTo>
                    <a:pt x="813" y="2945"/>
                    <a:pt x="806" y="2937"/>
                    <a:pt x="799" y="2930"/>
                  </a:cubicBezTo>
                  <a:cubicBezTo>
                    <a:pt x="791" y="2915"/>
                    <a:pt x="777" y="2908"/>
                    <a:pt x="777" y="2879"/>
                  </a:cubicBezTo>
                  <a:cubicBezTo>
                    <a:pt x="769" y="2835"/>
                    <a:pt x="791" y="2820"/>
                    <a:pt x="813" y="2805"/>
                  </a:cubicBezTo>
                  <a:cubicBezTo>
                    <a:pt x="828" y="2798"/>
                    <a:pt x="842" y="2791"/>
                    <a:pt x="850" y="2776"/>
                  </a:cubicBezTo>
                  <a:cubicBezTo>
                    <a:pt x="879" y="2725"/>
                    <a:pt x="909" y="2710"/>
                    <a:pt x="960" y="2681"/>
                  </a:cubicBezTo>
                  <a:cubicBezTo>
                    <a:pt x="982" y="2673"/>
                    <a:pt x="982" y="2673"/>
                    <a:pt x="982" y="2673"/>
                  </a:cubicBezTo>
                  <a:cubicBezTo>
                    <a:pt x="1026" y="2651"/>
                    <a:pt x="1033" y="2637"/>
                    <a:pt x="1040" y="2600"/>
                  </a:cubicBezTo>
                  <a:cubicBezTo>
                    <a:pt x="1048" y="2586"/>
                    <a:pt x="1048" y="2578"/>
                    <a:pt x="1055" y="2564"/>
                  </a:cubicBezTo>
                  <a:cubicBezTo>
                    <a:pt x="1062" y="2541"/>
                    <a:pt x="1077" y="2519"/>
                    <a:pt x="1099" y="2519"/>
                  </a:cubicBezTo>
                  <a:cubicBezTo>
                    <a:pt x="1121" y="2519"/>
                    <a:pt x="1136" y="2541"/>
                    <a:pt x="1150" y="2571"/>
                  </a:cubicBezTo>
                  <a:cubicBezTo>
                    <a:pt x="1172" y="2600"/>
                    <a:pt x="1180" y="2615"/>
                    <a:pt x="1216" y="2615"/>
                  </a:cubicBezTo>
                  <a:cubicBezTo>
                    <a:pt x="1231" y="2615"/>
                    <a:pt x="1246" y="2607"/>
                    <a:pt x="1268" y="2607"/>
                  </a:cubicBezTo>
                  <a:cubicBezTo>
                    <a:pt x="1333" y="2586"/>
                    <a:pt x="1333" y="2578"/>
                    <a:pt x="1348" y="2556"/>
                  </a:cubicBezTo>
                  <a:cubicBezTo>
                    <a:pt x="1348" y="2549"/>
                    <a:pt x="1356" y="2534"/>
                    <a:pt x="1363" y="2519"/>
                  </a:cubicBezTo>
                  <a:cubicBezTo>
                    <a:pt x="1392" y="2468"/>
                    <a:pt x="1399" y="2461"/>
                    <a:pt x="1429" y="2446"/>
                  </a:cubicBezTo>
                  <a:cubicBezTo>
                    <a:pt x="1436" y="2439"/>
                    <a:pt x="1443" y="2432"/>
                    <a:pt x="1451" y="2432"/>
                  </a:cubicBezTo>
                  <a:cubicBezTo>
                    <a:pt x="1473" y="2417"/>
                    <a:pt x="1473" y="2410"/>
                    <a:pt x="1473" y="2410"/>
                  </a:cubicBezTo>
                  <a:lnTo>
                    <a:pt x="1473" y="2402"/>
                  </a:lnTo>
                  <a:cubicBezTo>
                    <a:pt x="1466" y="2395"/>
                    <a:pt x="1466" y="2373"/>
                    <a:pt x="1466" y="2344"/>
                  </a:cubicBezTo>
                  <a:cubicBezTo>
                    <a:pt x="1466" y="2300"/>
                    <a:pt x="1480" y="2285"/>
                    <a:pt x="1502" y="2263"/>
                  </a:cubicBezTo>
                  <a:cubicBezTo>
                    <a:pt x="1509" y="2256"/>
                    <a:pt x="1524" y="2241"/>
                    <a:pt x="1531" y="2219"/>
                  </a:cubicBezTo>
                  <a:cubicBezTo>
                    <a:pt x="1553" y="2182"/>
                    <a:pt x="1575" y="2168"/>
                    <a:pt x="1590" y="2153"/>
                  </a:cubicBezTo>
                  <a:cubicBezTo>
                    <a:pt x="1605" y="2146"/>
                    <a:pt x="1612" y="2138"/>
                    <a:pt x="1627" y="2124"/>
                  </a:cubicBezTo>
                  <a:lnTo>
                    <a:pt x="1649" y="2102"/>
                  </a:lnTo>
                  <a:cubicBezTo>
                    <a:pt x="1649" y="2102"/>
                    <a:pt x="1641" y="2102"/>
                    <a:pt x="1634" y="2095"/>
                  </a:cubicBezTo>
                  <a:cubicBezTo>
                    <a:pt x="1605" y="2065"/>
                    <a:pt x="1590" y="2029"/>
                    <a:pt x="1575" y="1948"/>
                  </a:cubicBezTo>
                  <a:cubicBezTo>
                    <a:pt x="1561" y="1897"/>
                    <a:pt x="1575" y="1882"/>
                    <a:pt x="1612" y="1867"/>
                  </a:cubicBezTo>
                  <a:cubicBezTo>
                    <a:pt x="1619" y="1860"/>
                    <a:pt x="1634" y="1853"/>
                    <a:pt x="1656" y="1831"/>
                  </a:cubicBezTo>
                  <a:cubicBezTo>
                    <a:pt x="1678" y="1816"/>
                    <a:pt x="1700" y="1809"/>
                    <a:pt x="1729" y="1809"/>
                  </a:cubicBezTo>
                  <a:cubicBezTo>
                    <a:pt x="1759" y="1809"/>
                    <a:pt x="1788" y="1816"/>
                    <a:pt x="1810" y="1823"/>
                  </a:cubicBezTo>
                  <a:cubicBezTo>
                    <a:pt x="1832" y="1823"/>
                    <a:pt x="1854" y="1831"/>
                    <a:pt x="1868" y="1831"/>
                  </a:cubicBezTo>
                  <a:cubicBezTo>
                    <a:pt x="1890" y="1831"/>
                    <a:pt x="1905" y="1838"/>
                    <a:pt x="1912" y="1845"/>
                  </a:cubicBezTo>
                  <a:cubicBezTo>
                    <a:pt x="1927" y="1823"/>
                    <a:pt x="1949" y="1801"/>
                    <a:pt x="1986" y="1794"/>
                  </a:cubicBezTo>
                  <a:cubicBezTo>
                    <a:pt x="1993" y="1794"/>
                    <a:pt x="1993" y="1794"/>
                    <a:pt x="2000" y="1794"/>
                  </a:cubicBezTo>
                  <a:cubicBezTo>
                    <a:pt x="1993" y="1787"/>
                    <a:pt x="1993" y="1787"/>
                    <a:pt x="1986" y="1779"/>
                  </a:cubicBezTo>
                  <a:cubicBezTo>
                    <a:pt x="1942" y="1736"/>
                    <a:pt x="1971" y="1706"/>
                    <a:pt x="1993" y="1677"/>
                  </a:cubicBezTo>
                  <a:cubicBezTo>
                    <a:pt x="2000" y="1669"/>
                    <a:pt x="2008" y="1662"/>
                    <a:pt x="2008" y="1655"/>
                  </a:cubicBezTo>
                  <a:cubicBezTo>
                    <a:pt x="2022" y="1640"/>
                    <a:pt x="2037" y="1626"/>
                    <a:pt x="2052" y="1618"/>
                  </a:cubicBezTo>
                  <a:cubicBezTo>
                    <a:pt x="2066" y="1604"/>
                    <a:pt x="2081" y="1596"/>
                    <a:pt x="2096" y="1568"/>
                  </a:cubicBezTo>
                  <a:cubicBezTo>
                    <a:pt x="2118" y="1517"/>
                    <a:pt x="2118" y="1517"/>
                    <a:pt x="2103" y="1487"/>
                  </a:cubicBezTo>
                  <a:cubicBezTo>
                    <a:pt x="2088" y="1451"/>
                    <a:pt x="2074" y="1429"/>
                    <a:pt x="2059" y="1356"/>
                  </a:cubicBezTo>
                  <a:cubicBezTo>
                    <a:pt x="2052" y="1341"/>
                    <a:pt x="2052" y="1326"/>
                    <a:pt x="2052" y="1311"/>
                  </a:cubicBezTo>
                  <a:cubicBezTo>
                    <a:pt x="2044" y="1282"/>
                    <a:pt x="2044" y="1282"/>
                    <a:pt x="2030" y="1282"/>
                  </a:cubicBezTo>
                  <a:cubicBezTo>
                    <a:pt x="2030" y="1282"/>
                    <a:pt x="2022" y="1282"/>
                    <a:pt x="2015" y="1282"/>
                  </a:cubicBezTo>
                  <a:cubicBezTo>
                    <a:pt x="1956" y="1289"/>
                    <a:pt x="1927" y="1311"/>
                    <a:pt x="1890" y="1341"/>
                  </a:cubicBezTo>
                  <a:cubicBezTo>
                    <a:pt x="1861" y="1363"/>
                    <a:pt x="1832" y="1377"/>
                    <a:pt x="1802" y="1377"/>
                  </a:cubicBezTo>
                  <a:cubicBezTo>
                    <a:pt x="1788" y="1377"/>
                    <a:pt x="1773" y="1377"/>
                    <a:pt x="1759" y="1363"/>
                  </a:cubicBezTo>
                  <a:cubicBezTo>
                    <a:pt x="1737" y="1348"/>
                    <a:pt x="1729" y="1333"/>
                    <a:pt x="1729" y="1319"/>
                  </a:cubicBezTo>
                  <a:cubicBezTo>
                    <a:pt x="1722" y="1311"/>
                    <a:pt x="1722" y="1297"/>
                    <a:pt x="1707" y="1275"/>
                  </a:cubicBezTo>
                  <a:cubicBezTo>
                    <a:pt x="1670" y="1238"/>
                    <a:pt x="1692" y="1209"/>
                    <a:pt x="1722" y="1172"/>
                  </a:cubicBezTo>
                  <a:cubicBezTo>
                    <a:pt x="1729" y="1158"/>
                    <a:pt x="1744" y="1136"/>
                    <a:pt x="1751" y="1114"/>
                  </a:cubicBezTo>
                  <a:cubicBezTo>
                    <a:pt x="1788" y="1055"/>
                    <a:pt x="1802" y="1048"/>
                    <a:pt x="1839" y="1018"/>
                  </a:cubicBezTo>
                  <a:cubicBezTo>
                    <a:pt x="1847" y="1011"/>
                    <a:pt x="1861" y="1004"/>
                    <a:pt x="1876" y="989"/>
                  </a:cubicBezTo>
                  <a:cubicBezTo>
                    <a:pt x="1905" y="974"/>
                    <a:pt x="1920" y="952"/>
                    <a:pt x="1927" y="945"/>
                  </a:cubicBezTo>
                  <a:cubicBezTo>
                    <a:pt x="1934" y="923"/>
                    <a:pt x="1949" y="916"/>
                    <a:pt x="1978" y="916"/>
                  </a:cubicBezTo>
                  <a:cubicBezTo>
                    <a:pt x="1993" y="916"/>
                    <a:pt x="2000" y="916"/>
                    <a:pt x="2015" y="916"/>
                  </a:cubicBezTo>
                  <a:cubicBezTo>
                    <a:pt x="2030" y="916"/>
                    <a:pt x="2037" y="916"/>
                    <a:pt x="2044" y="916"/>
                  </a:cubicBezTo>
                  <a:cubicBezTo>
                    <a:pt x="2074" y="916"/>
                    <a:pt x="2096" y="908"/>
                    <a:pt x="2110" y="894"/>
                  </a:cubicBezTo>
                  <a:cubicBezTo>
                    <a:pt x="2140" y="865"/>
                    <a:pt x="2161" y="857"/>
                    <a:pt x="2191" y="857"/>
                  </a:cubicBezTo>
                  <a:cubicBezTo>
                    <a:pt x="2220" y="857"/>
                    <a:pt x="2242" y="865"/>
                    <a:pt x="2271" y="879"/>
                  </a:cubicBezTo>
                  <a:cubicBezTo>
                    <a:pt x="2279" y="887"/>
                    <a:pt x="2293" y="894"/>
                    <a:pt x="2308" y="894"/>
                  </a:cubicBezTo>
                  <a:cubicBezTo>
                    <a:pt x="2345" y="894"/>
                    <a:pt x="2381" y="879"/>
                    <a:pt x="2418" y="872"/>
                  </a:cubicBezTo>
                  <a:cubicBezTo>
                    <a:pt x="2440" y="865"/>
                    <a:pt x="2462" y="857"/>
                    <a:pt x="2477" y="857"/>
                  </a:cubicBezTo>
                  <a:cubicBezTo>
                    <a:pt x="2499" y="850"/>
                    <a:pt x="2513" y="842"/>
                    <a:pt x="2521" y="828"/>
                  </a:cubicBezTo>
                  <a:cubicBezTo>
                    <a:pt x="2528" y="813"/>
                    <a:pt x="2521" y="791"/>
                    <a:pt x="2513" y="777"/>
                  </a:cubicBezTo>
                  <a:cubicBezTo>
                    <a:pt x="2506" y="762"/>
                    <a:pt x="2491" y="747"/>
                    <a:pt x="2469" y="732"/>
                  </a:cubicBezTo>
                  <a:cubicBezTo>
                    <a:pt x="2447" y="718"/>
                    <a:pt x="2425" y="703"/>
                    <a:pt x="2403" y="674"/>
                  </a:cubicBezTo>
                  <a:cubicBezTo>
                    <a:pt x="2374" y="637"/>
                    <a:pt x="2359" y="623"/>
                    <a:pt x="2359" y="601"/>
                  </a:cubicBezTo>
                  <a:cubicBezTo>
                    <a:pt x="2359" y="579"/>
                    <a:pt x="2374" y="564"/>
                    <a:pt x="2403" y="542"/>
                  </a:cubicBezTo>
                  <a:cubicBezTo>
                    <a:pt x="2447" y="513"/>
                    <a:pt x="2506" y="491"/>
                    <a:pt x="2557" y="469"/>
                  </a:cubicBezTo>
                  <a:cubicBezTo>
                    <a:pt x="2579" y="461"/>
                    <a:pt x="2601" y="454"/>
                    <a:pt x="2623" y="447"/>
                  </a:cubicBezTo>
                  <a:cubicBezTo>
                    <a:pt x="2630" y="439"/>
                    <a:pt x="2638" y="439"/>
                    <a:pt x="2652" y="439"/>
                  </a:cubicBezTo>
                  <a:cubicBezTo>
                    <a:pt x="2682" y="439"/>
                    <a:pt x="2704" y="461"/>
                    <a:pt x="2726" y="476"/>
                  </a:cubicBezTo>
                  <a:cubicBezTo>
                    <a:pt x="2748" y="491"/>
                    <a:pt x="2762" y="498"/>
                    <a:pt x="2777" y="506"/>
                  </a:cubicBezTo>
                  <a:cubicBezTo>
                    <a:pt x="2806" y="520"/>
                    <a:pt x="2836" y="527"/>
                    <a:pt x="2843" y="549"/>
                  </a:cubicBezTo>
                  <a:cubicBezTo>
                    <a:pt x="2850" y="564"/>
                    <a:pt x="2843" y="586"/>
                    <a:pt x="2836" y="601"/>
                  </a:cubicBezTo>
                  <a:cubicBezTo>
                    <a:pt x="2828" y="623"/>
                    <a:pt x="2828" y="645"/>
                    <a:pt x="2836" y="659"/>
                  </a:cubicBezTo>
                  <a:cubicBezTo>
                    <a:pt x="2850" y="681"/>
                    <a:pt x="2872" y="696"/>
                    <a:pt x="2909" y="703"/>
                  </a:cubicBezTo>
                  <a:lnTo>
                    <a:pt x="2916" y="703"/>
                  </a:lnTo>
                  <a:cubicBezTo>
                    <a:pt x="2960" y="703"/>
                    <a:pt x="2982" y="674"/>
                    <a:pt x="3004" y="645"/>
                  </a:cubicBezTo>
                  <a:cubicBezTo>
                    <a:pt x="3019" y="637"/>
                    <a:pt x="3026" y="623"/>
                    <a:pt x="3041" y="608"/>
                  </a:cubicBezTo>
                  <a:cubicBezTo>
                    <a:pt x="3070" y="586"/>
                    <a:pt x="3136" y="520"/>
                    <a:pt x="3246" y="418"/>
                  </a:cubicBezTo>
                  <a:cubicBezTo>
                    <a:pt x="3290" y="373"/>
                    <a:pt x="3334" y="286"/>
                    <a:pt x="3349" y="242"/>
                  </a:cubicBezTo>
                  <a:cubicBezTo>
                    <a:pt x="3356" y="227"/>
                    <a:pt x="3356" y="227"/>
                    <a:pt x="3341" y="220"/>
                  </a:cubicBezTo>
                  <a:cubicBezTo>
                    <a:pt x="3327" y="212"/>
                    <a:pt x="3305" y="198"/>
                    <a:pt x="3305" y="168"/>
                  </a:cubicBezTo>
                  <a:cubicBezTo>
                    <a:pt x="3305" y="124"/>
                    <a:pt x="3356" y="95"/>
                    <a:pt x="3437" y="95"/>
                  </a:cubicBezTo>
                  <a:cubicBezTo>
                    <a:pt x="3459" y="95"/>
                    <a:pt x="3480" y="88"/>
                    <a:pt x="3495" y="73"/>
                  </a:cubicBezTo>
                  <a:cubicBezTo>
                    <a:pt x="3459" y="73"/>
                    <a:pt x="3459" y="73"/>
                    <a:pt x="3459" y="73"/>
                  </a:cubicBezTo>
                  <a:cubicBezTo>
                    <a:pt x="3495" y="44"/>
                    <a:pt x="3495" y="44"/>
                    <a:pt x="3495" y="44"/>
                  </a:cubicBezTo>
                  <a:cubicBezTo>
                    <a:pt x="3532" y="15"/>
                    <a:pt x="3561" y="0"/>
                    <a:pt x="3583" y="0"/>
                  </a:cubicBezTo>
                  <a:cubicBezTo>
                    <a:pt x="3583" y="0"/>
                    <a:pt x="3590" y="0"/>
                    <a:pt x="3590" y="7"/>
                  </a:cubicBezTo>
                  <a:cubicBezTo>
                    <a:pt x="3620" y="7"/>
                    <a:pt x="3634" y="37"/>
                    <a:pt x="3642" y="58"/>
                  </a:cubicBezTo>
                  <a:cubicBezTo>
                    <a:pt x="3656" y="80"/>
                    <a:pt x="3664" y="88"/>
                    <a:pt x="3671" y="88"/>
                  </a:cubicBezTo>
                  <a:cubicBezTo>
                    <a:pt x="3678" y="88"/>
                    <a:pt x="3686" y="88"/>
                    <a:pt x="3700" y="88"/>
                  </a:cubicBezTo>
                  <a:cubicBezTo>
                    <a:pt x="3708" y="88"/>
                    <a:pt x="3715" y="88"/>
                    <a:pt x="3722" y="88"/>
                  </a:cubicBezTo>
                  <a:cubicBezTo>
                    <a:pt x="3737" y="88"/>
                    <a:pt x="3766" y="88"/>
                    <a:pt x="3796" y="73"/>
                  </a:cubicBezTo>
                  <a:cubicBezTo>
                    <a:pt x="3825" y="58"/>
                    <a:pt x="3854" y="51"/>
                    <a:pt x="3876" y="51"/>
                  </a:cubicBezTo>
                  <a:cubicBezTo>
                    <a:pt x="3913" y="51"/>
                    <a:pt x="3935" y="66"/>
                    <a:pt x="3942" y="95"/>
                  </a:cubicBezTo>
                  <a:cubicBezTo>
                    <a:pt x="3949" y="124"/>
                    <a:pt x="3993" y="168"/>
                    <a:pt x="4037" y="190"/>
                  </a:cubicBezTo>
                  <a:cubicBezTo>
                    <a:pt x="4059" y="205"/>
                    <a:pt x="4059" y="234"/>
                    <a:pt x="4052" y="256"/>
                  </a:cubicBezTo>
                  <a:cubicBezTo>
                    <a:pt x="4045" y="278"/>
                    <a:pt x="4030" y="293"/>
                    <a:pt x="4008" y="293"/>
                  </a:cubicBezTo>
                  <a:cubicBezTo>
                    <a:pt x="4001" y="293"/>
                    <a:pt x="3993" y="293"/>
                    <a:pt x="3979" y="286"/>
                  </a:cubicBezTo>
                  <a:cubicBezTo>
                    <a:pt x="3957" y="278"/>
                    <a:pt x="3942" y="271"/>
                    <a:pt x="3928" y="271"/>
                  </a:cubicBezTo>
                  <a:cubicBezTo>
                    <a:pt x="3920" y="271"/>
                    <a:pt x="3920" y="278"/>
                    <a:pt x="3920" y="278"/>
                  </a:cubicBezTo>
                  <a:lnTo>
                    <a:pt x="3920" y="278"/>
                  </a:lnTo>
                  <a:cubicBezTo>
                    <a:pt x="3942" y="308"/>
                    <a:pt x="3964" y="337"/>
                    <a:pt x="3949" y="351"/>
                  </a:cubicBezTo>
                  <a:cubicBezTo>
                    <a:pt x="3949" y="359"/>
                    <a:pt x="3942" y="366"/>
                    <a:pt x="3920" y="366"/>
                  </a:cubicBezTo>
                  <a:cubicBezTo>
                    <a:pt x="3920" y="366"/>
                    <a:pt x="3913" y="366"/>
                    <a:pt x="3905" y="366"/>
                  </a:cubicBezTo>
                  <a:lnTo>
                    <a:pt x="3905" y="366"/>
                  </a:lnTo>
                  <a:cubicBezTo>
                    <a:pt x="3913" y="381"/>
                    <a:pt x="3928" y="418"/>
                    <a:pt x="3891" y="439"/>
                  </a:cubicBezTo>
                  <a:cubicBezTo>
                    <a:pt x="3876" y="454"/>
                    <a:pt x="3869" y="461"/>
                    <a:pt x="3869" y="476"/>
                  </a:cubicBezTo>
                  <a:cubicBezTo>
                    <a:pt x="3869" y="491"/>
                    <a:pt x="3876" y="506"/>
                    <a:pt x="3883" y="520"/>
                  </a:cubicBezTo>
                  <a:cubicBezTo>
                    <a:pt x="3913" y="542"/>
                    <a:pt x="3949" y="637"/>
                    <a:pt x="3942" y="674"/>
                  </a:cubicBezTo>
                  <a:cubicBezTo>
                    <a:pt x="3942" y="681"/>
                    <a:pt x="3942" y="689"/>
                    <a:pt x="3949" y="703"/>
                  </a:cubicBezTo>
                  <a:cubicBezTo>
                    <a:pt x="3964" y="718"/>
                    <a:pt x="3979" y="747"/>
                    <a:pt x="3957" y="784"/>
                  </a:cubicBezTo>
                  <a:cubicBezTo>
                    <a:pt x="3949" y="791"/>
                    <a:pt x="3949" y="798"/>
                    <a:pt x="3949" y="806"/>
                  </a:cubicBezTo>
                  <a:cubicBezTo>
                    <a:pt x="3928" y="842"/>
                    <a:pt x="3928" y="850"/>
                    <a:pt x="3869" y="857"/>
                  </a:cubicBezTo>
                  <a:cubicBezTo>
                    <a:pt x="3818" y="865"/>
                    <a:pt x="3810" y="887"/>
                    <a:pt x="3803" y="923"/>
                  </a:cubicBezTo>
                  <a:cubicBezTo>
                    <a:pt x="3803" y="938"/>
                    <a:pt x="3803" y="938"/>
                    <a:pt x="3803" y="938"/>
                  </a:cubicBezTo>
                  <a:cubicBezTo>
                    <a:pt x="3796" y="974"/>
                    <a:pt x="3788" y="1004"/>
                    <a:pt x="3832" y="1026"/>
                  </a:cubicBezTo>
                  <a:cubicBezTo>
                    <a:pt x="3854" y="1040"/>
                    <a:pt x="3891" y="1055"/>
                    <a:pt x="3928" y="1070"/>
                  </a:cubicBezTo>
                  <a:cubicBezTo>
                    <a:pt x="3993" y="1091"/>
                    <a:pt x="4052" y="1114"/>
                    <a:pt x="4067" y="1143"/>
                  </a:cubicBezTo>
                  <a:cubicBezTo>
                    <a:pt x="4096" y="1180"/>
                    <a:pt x="4118" y="1187"/>
                    <a:pt x="4125" y="1187"/>
                  </a:cubicBezTo>
                  <a:cubicBezTo>
                    <a:pt x="4132" y="1187"/>
                    <a:pt x="4147" y="1180"/>
                    <a:pt x="4155" y="1172"/>
                  </a:cubicBezTo>
                  <a:cubicBezTo>
                    <a:pt x="4162" y="1165"/>
                    <a:pt x="4162" y="1165"/>
                    <a:pt x="4162" y="1165"/>
                  </a:cubicBezTo>
                  <a:cubicBezTo>
                    <a:pt x="4184" y="1150"/>
                    <a:pt x="4199" y="1128"/>
                    <a:pt x="4199" y="1121"/>
                  </a:cubicBezTo>
                  <a:cubicBezTo>
                    <a:pt x="4199" y="1121"/>
                    <a:pt x="4199" y="1114"/>
                    <a:pt x="4177" y="1106"/>
                  </a:cubicBezTo>
                  <a:cubicBezTo>
                    <a:pt x="4111" y="1077"/>
                    <a:pt x="4081" y="1018"/>
                    <a:pt x="4081" y="989"/>
                  </a:cubicBezTo>
                  <a:cubicBezTo>
                    <a:pt x="4081" y="967"/>
                    <a:pt x="4089" y="960"/>
                    <a:pt x="4103" y="952"/>
                  </a:cubicBezTo>
                  <a:cubicBezTo>
                    <a:pt x="4111" y="952"/>
                    <a:pt x="4125" y="945"/>
                    <a:pt x="4147" y="930"/>
                  </a:cubicBezTo>
                  <a:cubicBezTo>
                    <a:pt x="4162" y="923"/>
                    <a:pt x="4177" y="916"/>
                    <a:pt x="4191" y="908"/>
                  </a:cubicBezTo>
                  <a:cubicBezTo>
                    <a:pt x="4228" y="887"/>
                    <a:pt x="4250" y="872"/>
                    <a:pt x="4264" y="842"/>
                  </a:cubicBezTo>
                  <a:cubicBezTo>
                    <a:pt x="4272" y="813"/>
                    <a:pt x="4309" y="784"/>
                    <a:pt x="4338" y="784"/>
                  </a:cubicBezTo>
                  <a:cubicBezTo>
                    <a:pt x="4352" y="784"/>
                    <a:pt x="4367" y="791"/>
                    <a:pt x="4374" y="806"/>
                  </a:cubicBezTo>
                  <a:cubicBezTo>
                    <a:pt x="4382" y="791"/>
                    <a:pt x="4389" y="777"/>
                    <a:pt x="4404" y="769"/>
                  </a:cubicBezTo>
                  <a:cubicBezTo>
                    <a:pt x="4426" y="762"/>
                    <a:pt x="4433" y="762"/>
                    <a:pt x="4448" y="762"/>
                  </a:cubicBezTo>
                  <a:cubicBezTo>
                    <a:pt x="4477" y="762"/>
                    <a:pt x="4492" y="769"/>
                    <a:pt x="4514" y="791"/>
                  </a:cubicBezTo>
                  <a:cubicBezTo>
                    <a:pt x="4543" y="806"/>
                    <a:pt x="4558" y="835"/>
                    <a:pt x="4565" y="872"/>
                  </a:cubicBezTo>
                  <a:lnTo>
                    <a:pt x="4565" y="872"/>
                  </a:lnTo>
                  <a:lnTo>
                    <a:pt x="4572" y="894"/>
                  </a:lnTo>
                  <a:lnTo>
                    <a:pt x="4572" y="901"/>
                  </a:lnTo>
                  <a:cubicBezTo>
                    <a:pt x="4572" y="908"/>
                    <a:pt x="4572" y="923"/>
                    <a:pt x="4572" y="930"/>
                  </a:cubicBezTo>
                  <a:cubicBezTo>
                    <a:pt x="4565" y="967"/>
                    <a:pt x="4565" y="1026"/>
                    <a:pt x="4580" y="1040"/>
                  </a:cubicBezTo>
                  <a:cubicBezTo>
                    <a:pt x="4609" y="1062"/>
                    <a:pt x="4609" y="1084"/>
                    <a:pt x="4616" y="1106"/>
                  </a:cubicBezTo>
                  <a:cubicBezTo>
                    <a:pt x="4616" y="1121"/>
                    <a:pt x="4616" y="1136"/>
                    <a:pt x="4631" y="1150"/>
                  </a:cubicBezTo>
                  <a:cubicBezTo>
                    <a:pt x="4653" y="1187"/>
                    <a:pt x="4675" y="1209"/>
                    <a:pt x="4726" y="1209"/>
                  </a:cubicBezTo>
                  <a:cubicBezTo>
                    <a:pt x="4785" y="1209"/>
                    <a:pt x="4799" y="1246"/>
                    <a:pt x="4814" y="1282"/>
                  </a:cubicBezTo>
                  <a:cubicBezTo>
                    <a:pt x="4814" y="1289"/>
                    <a:pt x="4814" y="1297"/>
                    <a:pt x="4814" y="1304"/>
                  </a:cubicBezTo>
                  <a:cubicBezTo>
                    <a:pt x="4829" y="1348"/>
                    <a:pt x="4909" y="1407"/>
                    <a:pt x="4968" y="1414"/>
                  </a:cubicBezTo>
                  <a:cubicBezTo>
                    <a:pt x="5027" y="1421"/>
                    <a:pt x="5151" y="1495"/>
                    <a:pt x="5173" y="1509"/>
                  </a:cubicBezTo>
                  <a:cubicBezTo>
                    <a:pt x="5195" y="1524"/>
                    <a:pt x="5202" y="1539"/>
                    <a:pt x="5202" y="1560"/>
                  </a:cubicBezTo>
                  <a:cubicBezTo>
                    <a:pt x="5202" y="1582"/>
                    <a:pt x="5188" y="1604"/>
                    <a:pt x="5159" y="1618"/>
                  </a:cubicBezTo>
                  <a:cubicBezTo>
                    <a:pt x="5144" y="1633"/>
                    <a:pt x="5144" y="1640"/>
                    <a:pt x="5144" y="1669"/>
                  </a:cubicBezTo>
                  <a:cubicBezTo>
                    <a:pt x="5151" y="1691"/>
                    <a:pt x="5151" y="1706"/>
                    <a:pt x="5151" y="1728"/>
                  </a:cubicBezTo>
                  <a:cubicBezTo>
                    <a:pt x="5144" y="1743"/>
                    <a:pt x="5144" y="1772"/>
                    <a:pt x="5114" y="1772"/>
                  </a:cubicBezTo>
                  <a:cubicBezTo>
                    <a:pt x="5100" y="1772"/>
                    <a:pt x="5085" y="1757"/>
                    <a:pt x="5071" y="1714"/>
                  </a:cubicBezTo>
                  <a:cubicBezTo>
                    <a:pt x="5049" y="1669"/>
                    <a:pt x="5034" y="1669"/>
                    <a:pt x="5034" y="1669"/>
                  </a:cubicBezTo>
                  <a:cubicBezTo>
                    <a:pt x="5027" y="1669"/>
                    <a:pt x="5012" y="1677"/>
                    <a:pt x="4997" y="1684"/>
                  </a:cubicBezTo>
                  <a:cubicBezTo>
                    <a:pt x="4983" y="1699"/>
                    <a:pt x="4975" y="1706"/>
                    <a:pt x="4975" y="1714"/>
                  </a:cubicBezTo>
                  <a:cubicBezTo>
                    <a:pt x="4975" y="1721"/>
                    <a:pt x="4983" y="1736"/>
                    <a:pt x="5012" y="1750"/>
                  </a:cubicBezTo>
                  <a:cubicBezTo>
                    <a:pt x="5063" y="1772"/>
                    <a:pt x="5114" y="1787"/>
                    <a:pt x="5114" y="1787"/>
                  </a:cubicBezTo>
                  <a:cubicBezTo>
                    <a:pt x="5129" y="1794"/>
                    <a:pt x="5129" y="1794"/>
                    <a:pt x="5129" y="1794"/>
                  </a:cubicBezTo>
                  <a:cubicBezTo>
                    <a:pt x="5122" y="1809"/>
                    <a:pt x="5122" y="1809"/>
                    <a:pt x="5122" y="1809"/>
                  </a:cubicBezTo>
                  <a:cubicBezTo>
                    <a:pt x="5122" y="1809"/>
                    <a:pt x="5114" y="1831"/>
                    <a:pt x="5078" y="1867"/>
                  </a:cubicBezTo>
                  <a:cubicBezTo>
                    <a:pt x="5063" y="1875"/>
                    <a:pt x="5063" y="1875"/>
                    <a:pt x="5063" y="1875"/>
                  </a:cubicBezTo>
                  <a:cubicBezTo>
                    <a:pt x="5056" y="1882"/>
                    <a:pt x="5049" y="1897"/>
                    <a:pt x="5049" y="1897"/>
                  </a:cubicBezTo>
                  <a:cubicBezTo>
                    <a:pt x="5049" y="1904"/>
                    <a:pt x="5049" y="1904"/>
                    <a:pt x="5063" y="1919"/>
                  </a:cubicBezTo>
                  <a:cubicBezTo>
                    <a:pt x="5078" y="1933"/>
                    <a:pt x="5085" y="1941"/>
                    <a:pt x="5100" y="1948"/>
                  </a:cubicBezTo>
                  <a:cubicBezTo>
                    <a:pt x="5114" y="1955"/>
                    <a:pt x="5129" y="1963"/>
                    <a:pt x="5137" y="1985"/>
                  </a:cubicBezTo>
                  <a:cubicBezTo>
                    <a:pt x="5144" y="1985"/>
                    <a:pt x="5144" y="1992"/>
                    <a:pt x="5151" y="1992"/>
                  </a:cubicBezTo>
                  <a:cubicBezTo>
                    <a:pt x="5166" y="2014"/>
                    <a:pt x="5188" y="2043"/>
                    <a:pt x="5159" y="2102"/>
                  </a:cubicBezTo>
                  <a:cubicBezTo>
                    <a:pt x="5144" y="2117"/>
                    <a:pt x="5144" y="2131"/>
                    <a:pt x="5137" y="2146"/>
                  </a:cubicBezTo>
                  <a:cubicBezTo>
                    <a:pt x="5122" y="2168"/>
                    <a:pt x="5114" y="2197"/>
                    <a:pt x="5078" y="2197"/>
                  </a:cubicBezTo>
                  <a:cubicBezTo>
                    <a:pt x="5071" y="2197"/>
                    <a:pt x="5063" y="2197"/>
                    <a:pt x="5056" y="2190"/>
                  </a:cubicBezTo>
                  <a:cubicBezTo>
                    <a:pt x="5019" y="2182"/>
                    <a:pt x="5004" y="2160"/>
                    <a:pt x="4990" y="2146"/>
                  </a:cubicBezTo>
                  <a:cubicBezTo>
                    <a:pt x="4983" y="2138"/>
                    <a:pt x="4975" y="2124"/>
                    <a:pt x="4968" y="2124"/>
                  </a:cubicBezTo>
                  <a:cubicBezTo>
                    <a:pt x="4939" y="2146"/>
                    <a:pt x="4909" y="2168"/>
                    <a:pt x="4887" y="2168"/>
                  </a:cubicBezTo>
                  <a:cubicBezTo>
                    <a:pt x="4865" y="2168"/>
                    <a:pt x="4851" y="2160"/>
                    <a:pt x="4843" y="2146"/>
                  </a:cubicBezTo>
                  <a:cubicBezTo>
                    <a:pt x="4836" y="2131"/>
                    <a:pt x="4814" y="2124"/>
                    <a:pt x="4799" y="2124"/>
                  </a:cubicBezTo>
                  <a:cubicBezTo>
                    <a:pt x="4799" y="2124"/>
                    <a:pt x="4792" y="2124"/>
                    <a:pt x="4785" y="2131"/>
                  </a:cubicBezTo>
                  <a:cubicBezTo>
                    <a:pt x="4785" y="2131"/>
                    <a:pt x="4785" y="2146"/>
                    <a:pt x="4785" y="2153"/>
                  </a:cubicBezTo>
                  <a:cubicBezTo>
                    <a:pt x="4799" y="2248"/>
                    <a:pt x="4821" y="2278"/>
                    <a:pt x="4836" y="2292"/>
                  </a:cubicBezTo>
                  <a:cubicBezTo>
                    <a:pt x="4858" y="2307"/>
                    <a:pt x="4887" y="2329"/>
                    <a:pt x="4880" y="2358"/>
                  </a:cubicBezTo>
                  <a:cubicBezTo>
                    <a:pt x="4873" y="2373"/>
                    <a:pt x="4843" y="2380"/>
                    <a:pt x="4814" y="2380"/>
                  </a:cubicBezTo>
                  <a:cubicBezTo>
                    <a:pt x="4719" y="2380"/>
                    <a:pt x="4690" y="2373"/>
                    <a:pt x="4660" y="2358"/>
                  </a:cubicBezTo>
                  <a:cubicBezTo>
                    <a:pt x="4660" y="2358"/>
                    <a:pt x="4660" y="2358"/>
                    <a:pt x="4653" y="2358"/>
                  </a:cubicBezTo>
                  <a:cubicBezTo>
                    <a:pt x="4646" y="2358"/>
                    <a:pt x="4638" y="2366"/>
                    <a:pt x="4638" y="2373"/>
                  </a:cubicBezTo>
                  <a:cubicBezTo>
                    <a:pt x="4638" y="2373"/>
                    <a:pt x="4638" y="2373"/>
                    <a:pt x="4638" y="2380"/>
                  </a:cubicBezTo>
                  <a:cubicBezTo>
                    <a:pt x="4660" y="2388"/>
                    <a:pt x="4675" y="2395"/>
                    <a:pt x="4690" y="2395"/>
                  </a:cubicBezTo>
                  <a:cubicBezTo>
                    <a:pt x="4704" y="2402"/>
                    <a:pt x="4719" y="2402"/>
                    <a:pt x="4733" y="2410"/>
                  </a:cubicBezTo>
                  <a:cubicBezTo>
                    <a:pt x="4763" y="2424"/>
                    <a:pt x="4792" y="2446"/>
                    <a:pt x="4829" y="2483"/>
                  </a:cubicBezTo>
                  <a:cubicBezTo>
                    <a:pt x="4843" y="2498"/>
                    <a:pt x="4843" y="2498"/>
                    <a:pt x="4843" y="2498"/>
                  </a:cubicBezTo>
                  <a:cubicBezTo>
                    <a:pt x="4873" y="2519"/>
                    <a:pt x="4895" y="2541"/>
                    <a:pt x="4887" y="2564"/>
                  </a:cubicBezTo>
                  <a:cubicBezTo>
                    <a:pt x="4880" y="2586"/>
                    <a:pt x="4851" y="2593"/>
                    <a:pt x="4829" y="2593"/>
                  </a:cubicBezTo>
                  <a:cubicBezTo>
                    <a:pt x="4785" y="2593"/>
                    <a:pt x="4778" y="2607"/>
                    <a:pt x="4778" y="2607"/>
                  </a:cubicBezTo>
                  <a:cubicBezTo>
                    <a:pt x="4778" y="2615"/>
                    <a:pt x="4785" y="2629"/>
                    <a:pt x="4792" y="2637"/>
                  </a:cubicBezTo>
                  <a:cubicBezTo>
                    <a:pt x="4807" y="2659"/>
                    <a:pt x="4821" y="2688"/>
                    <a:pt x="4807" y="2717"/>
                  </a:cubicBezTo>
                  <a:cubicBezTo>
                    <a:pt x="4799" y="2732"/>
                    <a:pt x="4785" y="2739"/>
                    <a:pt x="4763" y="2739"/>
                  </a:cubicBezTo>
                  <a:cubicBezTo>
                    <a:pt x="4711" y="2739"/>
                    <a:pt x="4653" y="2754"/>
                    <a:pt x="4638" y="2805"/>
                  </a:cubicBezTo>
                  <a:cubicBezTo>
                    <a:pt x="4631" y="2820"/>
                    <a:pt x="4638" y="2835"/>
                    <a:pt x="4638" y="2857"/>
                  </a:cubicBezTo>
                  <a:cubicBezTo>
                    <a:pt x="4646" y="2879"/>
                    <a:pt x="4660" y="2915"/>
                    <a:pt x="4623" y="2937"/>
                  </a:cubicBezTo>
                  <a:cubicBezTo>
                    <a:pt x="4609" y="2952"/>
                    <a:pt x="4594" y="2959"/>
                    <a:pt x="4587" y="2959"/>
                  </a:cubicBezTo>
                  <a:lnTo>
                    <a:pt x="4580" y="2967"/>
                  </a:lnTo>
                  <a:cubicBezTo>
                    <a:pt x="4580" y="2967"/>
                    <a:pt x="4587" y="2967"/>
                    <a:pt x="4594" y="2974"/>
                  </a:cubicBezTo>
                  <a:cubicBezTo>
                    <a:pt x="4631" y="3010"/>
                    <a:pt x="4638" y="3055"/>
                    <a:pt x="4602" y="3106"/>
                  </a:cubicBezTo>
                  <a:cubicBezTo>
                    <a:pt x="4594" y="3113"/>
                    <a:pt x="4587" y="3135"/>
                    <a:pt x="4580" y="3150"/>
                  </a:cubicBezTo>
                  <a:cubicBezTo>
                    <a:pt x="4565" y="3194"/>
                    <a:pt x="4543" y="3238"/>
                    <a:pt x="4506" y="3238"/>
                  </a:cubicBezTo>
                  <a:cubicBezTo>
                    <a:pt x="4499" y="3238"/>
                    <a:pt x="4499" y="3238"/>
                    <a:pt x="4492" y="3238"/>
                  </a:cubicBezTo>
                  <a:cubicBezTo>
                    <a:pt x="4492" y="3245"/>
                    <a:pt x="4492" y="3267"/>
                    <a:pt x="4499" y="3289"/>
                  </a:cubicBezTo>
                  <a:cubicBezTo>
                    <a:pt x="4506" y="3304"/>
                    <a:pt x="4506" y="3304"/>
                    <a:pt x="4506" y="3304"/>
                  </a:cubicBezTo>
                  <a:cubicBezTo>
                    <a:pt x="4514" y="3355"/>
                    <a:pt x="4528" y="3369"/>
                    <a:pt x="4565" y="3369"/>
                  </a:cubicBezTo>
                  <a:cubicBezTo>
                    <a:pt x="4594" y="3369"/>
                    <a:pt x="4646" y="3369"/>
                    <a:pt x="4653" y="3355"/>
                  </a:cubicBezTo>
                  <a:cubicBezTo>
                    <a:pt x="4660" y="3355"/>
                    <a:pt x="4653" y="3348"/>
                    <a:pt x="4653" y="3340"/>
                  </a:cubicBezTo>
                  <a:cubicBezTo>
                    <a:pt x="4646" y="3318"/>
                    <a:pt x="4631" y="3296"/>
                    <a:pt x="4638" y="3274"/>
                  </a:cubicBezTo>
                  <a:cubicBezTo>
                    <a:pt x="4646" y="3252"/>
                    <a:pt x="4668" y="3238"/>
                    <a:pt x="4697" y="3223"/>
                  </a:cubicBezTo>
                  <a:cubicBezTo>
                    <a:pt x="4704" y="3223"/>
                    <a:pt x="4711" y="3216"/>
                    <a:pt x="4719" y="3216"/>
                  </a:cubicBezTo>
                  <a:cubicBezTo>
                    <a:pt x="4748" y="3201"/>
                    <a:pt x="4763" y="3186"/>
                    <a:pt x="4792" y="3186"/>
                  </a:cubicBezTo>
                  <a:cubicBezTo>
                    <a:pt x="4799" y="3186"/>
                    <a:pt x="4807" y="3186"/>
                    <a:pt x="4814" y="3194"/>
                  </a:cubicBezTo>
                  <a:cubicBezTo>
                    <a:pt x="4851" y="3201"/>
                    <a:pt x="4858" y="3223"/>
                    <a:pt x="4865" y="3245"/>
                  </a:cubicBezTo>
                  <a:cubicBezTo>
                    <a:pt x="4873" y="3260"/>
                    <a:pt x="4880" y="3274"/>
                    <a:pt x="4887" y="3289"/>
                  </a:cubicBezTo>
                  <a:cubicBezTo>
                    <a:pt x="4931" y="3340"/>
                    <a:pt x="4909" y="3399"/>
                    <a:pt x="4902" y="3421"/>
                  </a:cubicBezTo>
                  <a:cubicBezTo>
                    <a:pt x="4902" y="3436"/>
                    <a:pt x="4895" y="3443"/>
                    <a:pt x="4887" y="3443"/>
                  </a:cubicBezTo>
                  <a:cubicBezTo>
                    <a:pt x="4873" y="3443"/>
                    <a:pt x="4873" y="3436"/>
                    <a:pt x="4865" y="3428"/>
                  </a:cubicBezTo>
                  <a:lnTo>
                    <a:pt x="4865" y="3436"/>
                  </a:lnTo>
                  <a:cubicBezTo>
                    <a:pt x="4851" y="3465"/>
                    <a:pt x="4851" y="3479"/>
                    <a:pt x="4858" y="3509"/>
                  </a:cubicBezTo>
                  <a:cubicBezTo>
                    <a:pt x="4865" y="3523"/>
                    <a:pt x="4865" y="3538"/>
                    <a:pt x="4865" y="3553"/>
                  </a:cubicBezTo>
                  <a:cubicBezTo>
                    <a:pt x="4873" y="3604"/>
                    <a:pt x="4887" y="3663"/>
                    <a:pt x="4895" y="3677"/>
                  </a:cubicBezTo>
                  <a:cubicBezTo>
                    <a:pt x="4917" y="3699"/>
                    <a:pt x="4917" y="3699"/>
                    <a:pt x="4917" y="3699"/>
                  </a:cubicBezTo>
                  <a:cubicBezTo>
                    <a:pt x="4902" y="3707"/>
                    <a:pt x="4902" y="3707"/>
                    <a:pt x="4902" y="3707"/>
                  </a:cubicBezTo>
                  <a:cubicBezTo>
                    <a:pt x="4880" y="3729"/>
                    <a:pt x="4858" y="3750"/>
                    <a:pt x="4843" y="3765"/>
                  </a:cubicBezTo>
                  <a:cubicBezTo>
                    <a:pt x="4821" y="3795"/>
                    <a:pt x="4821" y="3817"/>
                    <a:pt x="4821" y="3846"/>
                  </a:cubicBezTo>
                  <a:cubicBezTo>
                    <a:pt x="4814" y="3868"/>
                    <a:pt x="4814" y="3897"/>
                    <a:pt x="4799" y="3926"/>
                  </a:cubicBezTo>
                  <a:cubicBezTo>
                    <a:pt x="4778" y="3963"/>
                    <a:pt x="4741" y="3985"/>
                    <a:pt x="4704" y="4014"/>
                  </a:cubicBezTo>
                  <a:cubicBezTo>
                    <a:pt x="4675" y="4036"/>
                    <a:pt x="4646" y="4058"/>
                    <a:pt x="4616" y="4088"/>
                  </a:cubicBezTo>
                  <a:cubicBezTo>
                    <a:pt x="4565" y="4139"/>
                    <a:pt x="4484" y="4154"/>
                    <a:pt x="4418" y="4154"/>
                  </a:cubicBezTo>
                  <a:cubicBezTo>
                    <a:pt x="4382" y="4154"/>
                    <a:pt x="4345" y="4146"/>
                    <a:pt x="4323" y="4132"/>
                  </a:cubicBezTo>
                  <a:cubicBezTo>
                    <a:pt x="4309" y="4124"/>
                    <a:pt x="4309" y="4124"/>
                    <a:pt x="4309" y="4124"/>
                  </a:cubicBezTo>
                  <a:cubicBezTo>
                    <a:pt x="4294" y="4117"/>
                    <a:pt x="4279" y="4110"/>
                    <a:pt x="4272" y="4110"/>
                  </a:cubicBezTo>
                  <a:cubicBezTo>
                    <a:pt x="4257" y="4110"/>
                    <a:pt x="4235" y="4124"/>
                    <a:pt x="4206" y="4161"/>
                  </a:cubicBezTo>
                  <a:cubicBezTo>
                    <a:pt x="4169" y="4219"/>
                    <a:pt x="4184" y="4256"/>
                    <a:pt x="4199" y="4300"/>
                  </a:cubicBezTo>
                  <a:cubicBezTo>
                    <a:pt x="4213" y="4322"/>
                    <a:pt x="4221" y="4351"/>
                    <a:pt x="4221" y="4381"/>
                  </a:cubicBezTo>
                  <a:cubicBezTo>
                    <a:pt x="4221" y="4454"/>
                    <a:pt x="4199" y="4483"/>
                    <a:pt x="4162" y="4520"/>
                  </a:cubicBezTo>
                  <a:cubicBezTo>
                    <a:pt x="4155" y="4535"/>
                    <a:pt x="4147" y="4542"/>
                    <a:pt x="4140" y="4549"/>
                  </a:cubicBezTo>
                  <a:cubicBezTo>
                    <a:pt x="4111" y="4586"/>
                    <a:pt x="4089" y="4586"/>
                    <a:pt x="4059" y="4593"/>
                  </a:cubicBezTo>
                  <a:cubicBezTo>
                    <a:pt x="4037" y="4600"/>
                    <a:pt x="4015" y="4608"/>
                    <a:pt x="3993" y="4630"/>
                  </a:cubicBezTo>
                  <a:cubicBezTo>
                    <a:pt x="3986" y="4637"/>
                    <a:pt x="3979" y="4645"/>
                    <a:pt x="3979" y="4652"/>
                  </a:cubicBezTo>
                  <a:cubicBezTo>
                    <a:pt x="3986" y="4667"/>
                    <a:pt x="4015" y="4681"/>
                    <a:pt x="4037" y="4681"/>
                  </a:cubicBezTo>
                  <a:cubicBezTo>
                    <a:pt x="4096" y="4696"/>
                    <a:pt x="4096" y="4696"/>
                    <a:pt x="4096" y="4696"/>
                  </a:cubicBezTo>
                  <a:cubicBezTo>
                    <a:pt x="4045" y="4710"/>
                    <a:pt x="4045" y="4710"/>
                    <a:pt x="4045" y="4710"/>
                  </a:cubicBezTo>
                  <a:cubicBezTo>
                    <a:pt x="4037" y="4718"/>
                    <a:pt x="3942" y="4747"/>
                    <a:pt x="3876" y="4747"/>
                  </a:cubicBezTo>
                  <a:cubicBezTo>
                    <a:pt x="3847" y="4747"/>
                    <a:pt x="3832" y="4740"/>
                    <a:pt x="3825" y="4732"/>
                  </a:cubicBezTo>
                  <a:cubicBezTo>
                    <a:pt x="3803" y="4710"/>
                    <a:pt x="3744" y="4703"/>
                    <a:pt x="3700" y="4703"/>
                  </a:cubicBezTo>
                  <a:cubicBezTo>
                    <a:pt x="3708" y="4740"/>
                    <a:pt x="3715" y="4813"/>
                    <a:pt x="3715" y="4857"/>
                  </a:cubicBezTo>
                  <a:cubicBezTo>
                    <a:pt x="3715" y="4879"/>
                    <a:pt x="3722" y="4886"/>
                    <a:pt x="3744" y="4894"/>
                  </a:cubicBezTo>
                  <a:cubicBezTo>
                    <a:pt x="3759" y="4908"/>
                    <a:pt x="3781" y="4916"/>
                    <a:pt x="3781" y="4952"/>
                  </a:cubicBezTo>
                  <a:cubicBezTo>
                    <a:pt x="3781" y="4974"/>
                    <a:pt x="3766" y="4996"/>
                    <a:pt x="3752" y="5011"/>
                  </a:cubicBezTo>
                  <a:cubicBezTo>
                    <a:pt x="3737" y="5033"/>
                    <a:pt x="3722" y="5048"/>
                    <a:pt x="3722" y="5077"/>
                  </a:cubicBezTo>
                  <a:cubicBezTo>
                    <a:pt x="3722" y="5136"/>
                    <a:pt x="3686" y="5172"/>
                    <a:pt x="3612" y="5201"/>
                  </a:cubicBezTo>
                  <a:cubicBezTo>
                    <a:pt x="3598" y="5209"/>
                    <a:pt x="3583" y="5209"/>
                    <a:pt x="3568" y="5209"/>
                  </a:cubicBezTo>
                  <a:cubicBezTo>
                    <a:pt x="3502" y="5209"/>
                    <a:pt x="3444" y="5165"/>
                    <a:pt x="3414" y="5128"/>
                  </a:cubicBezTo>
                  <a:cubicBezTo>
                    <a:pt x="3378" y="5077"/>
                    <a:pt x="3327" y="5048"/>
                    <a:pt x="3297" y="5033"/>
                  </a:cubicBezTo>
                  <a:cubicBezTo>
                    <a:pt x="3283" y="5026"/>
                    <a:pt x="3253" y="5018"/>
                    <a:pt x="3209" y="5018"/>
                  </a:cubicBezTo>
                  <a:cubicBezTo>
                    <a:pt x="3165" y="5018"/>
                    <a:pt x="3107" y="5026"/>
                    <a:pt x="3077" y="5033"/>
                  </a:cubicBezTo>
                  <a:cubicBezTo>
                    <a:pt x="3041" y="5040"/>
                    <a:pt x="2975" y="5121"/>
                    <a:pt x="2938" y="5172"/>
                  </a:cubicBezTo>
                  <a:cubicBezTo>
                    <a:pt x="2916" y="5157"/>
                    <a:pt x="2916" y="5157"/>
                    <a:pt x="2916" y="5157"/>
                  </a:cubicBezTo>
                  <a:cubicBezTo>
                    <a:pt x="2923" y="5136"/>
                    <a:pt x="2931" y="5114"/>
                    <a:pt x="2931" y="5106"/>
                  </a:cubicBezTo>
                  <a:cubicBezTo>
                    <a:pt x="2923" y="5114"/>
                    <a:pt x="2916" y="5114"/>
                    <a:pt x="2916" y="5114"/>
                  </a:cubicBezTo>
                  <a:cubicBezTo>
                    <a:pt x="2894" y="5114"/>
                    <a:pt x="2880" y="5106"/>
                    <a:pt x="2865" y="5099"/>
                  </a:cubicBezTo>
                  <a:cubicBezTo>
                    <a:pt x="2850" y="5099"/>
                    <a:pt x="2828" y="5091"/>
                    <a:pt x="2799" y="5091"/>
                  </a:cubicBezTo>
                  <a:cubicBezTo>
                    <a:pt x="2784" y="5091"/>
                    <a:pt x="2770" y="5091"/>
                    <a:pt x="2748" y="5099"/>
                  </a:cubicBezTo>
                  <a:cubicBezTo>
                    <a:pt x="2667" y="5128"/>
                    <a:pt x="2660" y="5157"/>
                    <a:pt x="2623" y="5231"/>
                  </a:cubicBezTo>
                  <a:cubicBezTo>
                    <a:pt x="2623" y="5238"/>
                    <a:pt x="2623" y="5238"/>
                    <a:pt x="2623" y="5238"/>
                  </a:cubicBezTo>
                  <a:cubicBezTo>
                    <a:pt x="2594" y="5304"/>
                    <a:pt x="2630" y="5333"/>
                    <a:pt x="2682" y="5370"/>
                  </a:cubicBezTo>
                  <a:cubicBezTo>
                    <a:pt x="2755" y="5407"/>
                    <a:pt x="2711" y="5517"/>
                    <a:pt x="2689" y="5553"/>
                  </a:cubicBezTo>
                  <a:cubicBezTo>
                    <a:pt x="2667" y="5597"/>
                    <a:pt x="2667" y="5722"/>
                    <a:pt x="2689" y="5817"/>
                  </a:cubicBezTo>
                  <a:cubicBezTo>
                    <a:pt x="2711" y="5905"/>
                    <a:pt x="2762" y="5993"/>
                    <a:pt x="2799" y="6051"/>
                  </a:cubicBezTo>
                  <a:cubicBezTo>
                    <a:pt x="2828" y="6095"/>
                    <a:pt x="2828" y="6095"/>
                    <a:pt x="2828" y="6095"/>
                  </a:cubicBezTo>
                  <a:cubicBezTo>
                    <a:pt x="2858" y="6147"/>
                    <a:pt x="2887" y="6191"/>
                    <a:pt x="2894" y="6264"/>
                  </a:cubicBezTo>
                  <a:cubicBezTo>
                    <a:pt x="2902" y="6286"/>
                    <a:pt x="2902" y="6300"/>
                    <a:pt x="2909" y="6323"/>
                  </a:cubicBezTo>
                  <a:cubicBezTo>
                    <a:pt x="2916" y="6359"/>
                    <a:pt x="2923" y="6388"/>
                    <a:pt x="2909" y="6447"/>
                  </a:cubicBezTo>
                  <a:cubicBezTo>
                    <a:pt x="2894" y="6491"/>
                    <a:pt x="2880" y="6506"/>
                    <a:pt x="2865" y="6513"/>
                  </a:cubicBezTo>
                  <a:cubicBezTo>
                    <a:pt x="2858" y="6528"/>
                    <a:pt x="2850" y="6528"/>
                    <a:pt x="2850" y="6557"/>
                  </a:cubicBezTo>
                  <a:cubicBezTo>
                    <a:pt x="2850" y="6579"/>
                    <a:pt x="2850" y="6601"/>
                    <a:pt x="2858" y="6616"/>
                  </a:cubicBezTo>
                  <a:cubicBezTo>
                    <a:pt x="2865" y="6645"/>
                    <a:pt x="2865" y="6674"/>
                    <a:pt x="2850" y="6718"/>
                  </a:cubicBezTo>
                  <a:cubicBezTo>
                    <a:pt x="2836" y="6755"/>
                    <a:pt x="2821" y="6769"/>
                    <a:pt x="2806" y="6769"/>
                  </a:cubicBezTo>
                  <a:cubicBezTo>
                    <a:pt x="2792" y="6777"/>
                    <a:pt x="2784" y="6777"/>
                    <a:pt x="2784" y="6814"/>
                  </a:cubicBezTo>
                  <a:cubicBezTo>
                    <a:pt x="2777" y="6836"/>
                    <a:pt x="2784" y="6836"/>
                    <a:pt x="2784" y="6836"/>
                  </a:cubicBezTo>
                  <a:cubicBezTo>
                    <a:pt x="2799" y="6836"/>
                    <a:pt x="2799" y="6836"/>
                    <a:pt x="2799" y="6836"/>
                  </a:cubicBezTo>
                  <a:lnTo>
                    <a:pt x="2806" y="6836"/>
                  </a:lnTo>
                  <a:cubicBezTo>
                    <a:pt x="2814" y="6836"/>
                    <a:pt x="2836" y="6836"/>
                    <a:pt x="2850" y="6857"/>
                  </a:cubicBezTo>
                  <a:cubicBezTo>
                    <a:pt x="2858" y="6872"/>
                    <a:pt x="2865" y="6894"/>
                    <a:pt x="2865" y="6916"/>
                  </a:cubicBezTo>
                  <a:cubicBezTo>
                    <a:pt x="2865" y="6924"/>
                    <a:pt x="2865" y="6924"/>
                    <a:pt x="2865" y="6924"/>
                  </a:cubicBezTo>
                  <a:cubicBezTo>
                    <a:pt x="2814" y="6967"/>
                    <a:pt x="2814" y="6967"/>
                    <a:pt x="2814" y="6967"/>
                  </a:cubicBezTo>
                  <a:cubicBezTo>
                    <a:pt x="2894" y="7092"/>
                    <a:pt x="2894" y="7092"/>
                    <a:pt x="2894" y="7092"/>
                  </a:cubicBezTo>
                  <a:cubicBezTo>
                    <a:pt x="2872" y="7114"/>
                    <a:pt x="2872" y="7114"/>
                    <a:pt x="2872" y="7114"/>
                  </a:cubicBezTo>
                  <a:cubicBezTo>
                    <a:pt x="2858" y="7107"/>
                    <a:pt x="2806" y="7077"/>
                    <a:pt x="2777" y="7077"/>
                  </a:cubicBezTo>
                  <a:cubicBezTo>
                    <a:pt x="2755" y="7077"/>
                    <a:pt x="2748" y="7085"/>
                    <a:pt x="2748" y="7085"/>
                  </a:cubicBezTo>
                  <a:cubicBezTo>
                    <a:pt x="2740" y="7099"/>
                    <a:pt x="2733" y="7114"/>
                    <a:pt x="2726" y="7129"/>
                  </a:cubicBezTo>
                  <a:cubicBezTo>
                    <a:pt x="2711" y="7158"/>
                    <a:pt x="2704" y="7195"/>
                    <a:pt x="2667" y="7195"/>
                  </a:cubicBezTo>
                  <a:cubicBezTo>
                    <a:pt x="2652" y="7195"/>
                    <a:pt x="2630" y="7187"/>
                    <a:pt x="2609" y="7173"/>
                  </a:cubicBezTo>
                  <a:cubicBezTo>
                    <a:pt x="2587" y="7158"/>
                    <a:pt x="2572" y="7143"/>
                    <a:pt x="2557" y="7143"/>
                  </a:cubicBezTo>
                  <a:cubicBezTo>
                    <a:pt x="2535" y="7143"/>
                    <a:pt x="2528" y="7165"/>
                    <a:pt x="2513" y="7224"/>
                  </a:cubicBezTo>
                  <a:cubicBezTo>
                    <a:pt x="2506" y="7246"/>
                    <a:pt x="2499" y="7268"/>
                    <a:pt x="2499" y="7283"/>
                  </a:cubicBezTo>
                  <a:cubicBezTo>
                    <a:pt x="2499" y="7312"/>
                    <a:pt x="2491" y="7334"/>
                    <a:pt x="2455" y="7356"/>
                  </a:cubicBezTo>
                  <a:cubicBezTo>
                    <a:pt x="2447" y="7356"/>
                    <a:pt x="2425" y="7378"/>
                    <a:pt x="2411" y="7400"/>
                  </a:cubicBezTo>
                  <a:cubicBezTo>
                    <a:pt x="2352" y="7444"/>
                    <a:pt x="2315" y="7480"/>
                    <a:pt x="2286" y="7480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02" name="Freeform 101"/>
            <p:cNvSpPr>
              <a:spLocks noChangeArrowheads="1"/>
            </p:cNvSpPr>
            <p:nvPr/>
          </p:nvSpPr>
          <p:spPr bwMode="auto">
            <a:xfrm>
              <a:off x="4876839" y="6897041"/>
              <a:ext cx="2011769" cy="2854413"/>
            </a:xfrm>
            <a:custGeom>
              <a:avLst/>
              <a:gdLst>
                <a:gd name="T0" fmla="*/ 3950 w 5240"/>
                <a:gd name="T1" fmla="*/ 271 h 7511"/>
                <a:gd name="T2" fmla="*/ 4074 w 5240"/>
                <a:gd name="T3" fmla="*/ 1165 h 7511"/>
                <a:gd name="T4" fmla="*/ 4528 w 5240"/>
                <a:gd name="T5" fmla="*/ 813 h 7511"/>
                <a:gd name="T6" fmla="*/ 5159 w 5240"/>
                <a:gd name="T7" fmla="*/ 1743 h 7511"/>
                <a:gd name="T8" fmla="*/ 5078 w 5240"/>
                <a:gd name="T9" fmla="*/ 2190 h 7511"/>
                <a:gd name="T10" fmla="*/ 4748 w 5240"/>
                <a:gd name="T11" fmla="*/ 2439 h 7511"/>
                <a:gd name="T12" fmla="*/ 4690 w 5240"/>
                <a:gd name="T13" fmla="*/ 3348 h 7511"/>
                <a:gd name="T14" fmla="*/ 4851 w 5240"/>
                <a:gd name="T15" fmla="*/ 3773 h 7511"/>
                <a:gd name="T16" fmla="*/ 3854 w 5240"/>
                <a:gd name="T17" fmla="*/ 4740 h 7511"/>
                <a:gd name="T18" fmla="*/ 2953 w 5240"/>
                <a:gd name="T19" fmla="*/ 5106 h 7511"/>
                <a:gd name="T20" fmla="*/ 2858 w 5240"/>
                <a:gd name="T21" fmla="*/ 6572 h 7511"/>
                <a:gd name="T22" fmla="*/ 2689 w 5240"/>
                <a:gd name="T23" fmla="*/ 7195 h 7511"/>
                <a:gd name="T24" fmla="*/ 1890 w 5240"/>
                <a:gd name="T25" fmla="*/ 6755 h 7511"/>
                <a:gd name="T26" fmla="*/ 1473 w 5240"/>
                <a:gd name="T27" fmla="*/ 6338 h 7511"/>
                <a:gd name="T28" fmla="*/ 542 w 5240"/>
                <a:gd name="T29" fmla="*/ 5524 h 7511"/>
                <a:gd name="T30" fmla="*/ 366 w 5240"/>
                <a:gd name="T31" fmla="*/ 5084 h 7511"/>
                <a:gd name="T32" fmla="*/ 718 w 5240"/>
                <a:gd name="T33" fmla="*/ 4638 h 7511"/>
                <a:gd name="T34" fmla="*/ 733 w 5240"/>
                <a:gd name="T35" fmla="*/ 3729 h 7511"/>
                <a:gd name="T36" fmla="*/ 1158 w 5240"/>
                <a:gd name="T37" fmla="*/ 2593 h 7511"/>
                <a:gd name="T38" fmla="*/ 1890 w 5240"/>
                <a:gd name="T39" fmla="*/ 1860 h 7511"/>
                <a:gd name="T40" fmla="*/ 1824 w 5240"/>
                <a:gd name="T41" fmla="*/ 1378 h 7511"/>
                <a:gd name="T42" fmla="*/ 2543 w 5240"/>
                <a:gd name="T43" fmla="*/ 784 h 7511"/>
                <a:gd name="T44" fmla="*/ 3349 w 5240"/>
                <a:gd name="T45" fmla="*/ 183 h 7511"/>
                <a:gd name="T46" fmla="*/ 3363 w 5240"/>
                <a:gd name="T47" fmla="*/ 249 h 7511"/>
                <a:gd name="T48" fmla="*/ 2674 w 5240"/>
                <a:gd name="T49" fmla="*/ 440 h 7511"/>
                <a:gd name="T50" fmla="*/ 2330 w 5240"/>
                <a:gd name="T51" fmla="*/ 894 h 7511"/>
                <a:gd name="T52" fmla="*/ 1714 w 5240"/>
                <a:gd name="T53" fmla="*/ 1304 h 7511"/>
                <a:gd name="T54" fmla="*/ 2022 w 5240"/>
                <a:gd name="T55" fmla="*/ 1663 h 7511"/>
                <a:gd name="T56" fmla="*/ 1605 w 5240"/>
                <a:gd name="T57" fmla="*/ 2153 h 7511"/>
                <a:gd name="T58" fmla="*/ 1121 w 5240"/>
                <a:gd name="T59" fmla="*/ 2520 h 7511"/>
                <a:gd name="T60" fmla="*/ 762 w 5240"/>
                <a:gd name="T61" fmla="*/ 3223 h 7511"/>
                <a:gd name="T62" fmla="*/ 447 w 5240"/>
                <a:gd name="T63" fmla="*/ 3846 h 7511"/>
                <a:gd name="T64" fmla="*/ 681 w 5240"/>
                <a:gd name="T65" fmla="*/ 4425 h 7511"/>
                <a:gd name="T66" fmla="*/ 571 w 5240"/>
                <a:gd name="T67" fmla="*/ 4747 h 7511"/>
                <a:gd name="T68" fmla="*/ 337 w 5240"/>
                <a:gd name="T69" fmla="*/ 5077 h 7511"/>
                <a:gd name="T70" fmla="*/ 147 w 5240"/>
                <a:gd name="T71" fmla="*/ 5458 h 7511"/>
                <a:gd name="T72" fmla="*/ 894 w 5240"/>
                <a:gd name="T73" fmla="*/ 5414 h 7511"/>
                <a:gd name="T74" fmla="*/ 1290 w 5240"/>
                <a:gd name="T75" fmla="*/ 6125 h 7511"/>
                <a:gd name="T76" fmla="*/ 1407 w 5240"/>
                <a:gd name="T77" fmla="*/ 6909 h 7511"/>
                <a:gd name="T78" fmla="*/ 2118 w 5240"/>
                <a:gd name="T79" fmla="*/ 7144 h 7511"/>
                <a:gd name="T80" fmla="*/ 2440 w 5240"/>
                <a:gd name="T81" fmla="*/ 7422 h 7511"/>
                <a:gd name="T82" fmla="*/ 2850 w 5240"/>
                <a:gd name="T83" fmla="*/ 6990 h 7511"/>
                <a:gd name="T84" fmla="*/ 2828 w 5240"/>
                <a:gd name="T85" fmla="*/ 6799 h 7511"/>
                <a:gd name="T86" fmla="*/ 2726 w 5240"/>
                <a:gd name="T87" fmla="*/ 5575 h 7511"/>
                <a:gd name="T88" fmla="*/ 3312 w 5240"/>
                <a:gd name="T89" fmla="*/ 5063 h 7511"/>
                <a:gd name="T90" fmla="*/ 4067 w 5240"/>
                <a:gd name="T91" fmla="*/ 4740 h 7511"/>
                <a:gd name="T92" fmla="*/ 4323 w 5240"/>
                <a:gd name="T93" fmla="*/ 4154 h 7511"/>
                <a:gd name="T94" fmla="*/ 4902 w 5240"/>
                <a:gd name="T95" fmla="*/ 3568 h 7511"/>
                <a:gd name="T96" fmla="*/ 4660 w 5240"/>
                <a:gd name="T97" fmla="*/ 3363 h 7511"/>
                <a:gd name="T98" fmla="*/ 4785 w 5240"/>
                <a:gd name="T99" fmla="*/ 2769 h 7511"/>
                <a:gd name="T100" fmla="*/ 4865 w 5240"/>
                <a:gd name="T101" fmla="*/ 2293 h 7511"/>
                <a:gd name="T102" fmla="*/ 5188 w 5240"/>
                <a:gd name="T103" fmla="*/ 2124 h 7511"/>
                <a:gd name="T104" fmla="*/ 5188 w 5240"/>
                <a:gd name="T105" fmla="*/ 1684 h 7511"/>
                <a:gd name="T106" fmla="*/ 4609 w 5240"/>
                <a:gd name="T107" fmla="*/ 931 h 7511"/>
                <a:gd name="T108" fmla="*/ 4272 w 5240"/>
                <a:gd name="T109" fmla="*/ 857 h 7511"/>
                <a:gd name="T110" fmla="*/ 3862 w 5240"/>
                <a:gd name="T111" fmla="*/ 1026 h 7511"/>
                <a:gd name="T112" fmla="*/ 3986 w 5240"/>
                <a:gd name="T113" fmla="*/ 374 h 7511"/>
                <a:gd name="T114" fmla="*/ 3678 w 5240"/>
                <a:gd name="T115" fmla="*/ 66 h 7511"/>
                <a:gd name="T116" fmla="*/ 5012 w 5240"/>
                <a:gd name="T117" fmla="*/ 1729 h 7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40" h="7511">
                  <a:moveTo>
                    <a:pt x="3605" y="30"/>
                  </a:moveTo>
                  <a:lnTo>
                    <a:pt x="3605" y="30"/>
                  </a:lnTo>
                  <a:cubicBezTo>
                    <a:pt x="3605" y="30"/>
                    <a:pt x="3612" y="30"/>
                    <a:pt x="3612" y="37"/>
                  </a:cubicBezTo>
                  <a:cubicBezTo>
                    <a:pt x="3656" y="44"/>
                    <a:pt x="3649" y="117"/>
                    <a:pt x="3693" y="117"/>
                  </a:cubicBezTo>
                  <a:cubicBezTo>
                    <a:pt x="3708" y="117"/>
                    <a:pt x="3730" y="117"/>
                    <a:pt x="3744" y="117"/>
                  </a:cubicBezTo>
                  <a:cubicBezTo>
                    <a:pt x="3766" y="117"/>
                    <a:pt x="3788" y="117"/>
                    <a:pt x="3825" y="103"/>
                  </a:cubicBezTo>
                  <a:cubicBezTo>
                    <a:pt x="3847" y="88"/>
                    <a:pt x="3876" y="81"/>
                    <a:pt x="3898" y="81"/>
                  </a:cubicBezTo>
                  <a:cubicBezTo>
                    <a:pt x="3927" y="81"/>
                    <a:pt x="3942" y="88"/>
                    <a:pt x="3950" y="110"/>
                  </a:cubicBezTo>
                  <a:cubicBezTo>
                    <a:pt x="3957" y="154"/>
                    <a:pt x="4023" y="205"/>
                    <a:pt x="4052" y="220"/>
                  </a:cubicBezTo>
                  <a:cubicBezTo>
                    <a:pt x="4074" y="235"/>
                    <a:pt x="4067" y="293"/>
                    <a:pt x="4030" y="293"/>
                  </a:cubicBezTo>
                  <a:cubicBezTo>
                    <a:pt x="4023" y="293"/>
                    <a:pt x="4015" y="293"/>
                    <a:pt x="4008" y="286"/>
                  </a:cubicBezTo>
                  <a:cubicBezTo>
                    <a:pt x="3986" y="279"/>
                    <a:pt x="3964" y="271"/>
                    <a:pt x="3950" y="271"/>
                  </a:cubicBezTo>
                  <a:cubicBezTo>
                    <a:pt x="3927" y="271"/>
                    <a:pt x="3913" y="286"/>
                    <a:pt x="3935" y="308"/>
                  </a:cubicBezTo>
                  <a:cubicBezTo>
                    <a:pt x="3957" y="337"/>
                    <a:pt x="3979" y="366"/>
                    <a:pt x="3942" y="366"/>
                  </a:cubicBezTo>
                  <a:lnTo>
                    <a:pt x="3935" y="366"/>
                  </a:lnTo>
                  <a:cubicBezTo>
                    <a:pt x="3927" y="366"/>
                    <a:pt x="3927" y="366"/>
                    <a:pt x="3920" y="366"/>
                  </a:cubicBezTo>
                  <a:cubicBezTo>
                    <a:pt x="3891" y="366"/>
                    <a:pt x="3942" y="411"/>
                    <a:pt x="3905" y="440"/>
                  </a:cubicBezTo>
                  <a:cubicBezTo>
                    <a:pt x="3862" y="476"/>
                    <a:pt x="3869" y="521"/>
                    <a:pt x="3898" y="542"/>
                  </a:cubicBezTo>
                  <a:cubicBezTo>
                    <a:pt x="3920" y="572"/>
                    <a:pt x="3957" y="652"/>
                    <a:pt x="3950" y="689"/>
                  </a:cubicBezTo>
                  <a:cubicBezTo>
                    <a:pt x="3942" y="726"/>
                    <a:pt x="3993" y="740"/>
                    <a:pt x="3964" y="792"/>
                  </a:cubicBezTo>
                  <a:cubicBezTo>
                    <a:pt x="3942" y="843"/>
                    <a:pt x="3950" y="850"/>
                    <a:pt x="3891" y="857"/>
                  </a:cubicBezTo>
                  <a:cubicBezTo>
                    <a:pt x="3832" y="865"/>
                    <a:pt x="3825" y="894"/>
                    <a:pt x="3810" y="938"/>
                  </a:cubicBezTo>
                  <a:cubicBezTo>
                    <a:pt x="3803" y="975"/>
                    <a:pt x="3788" y="1019"/>
                    <a:pt x="3847" y="1055"/>
                  </a:cubicBezTo>
                  <a:cubicBezTo>
                    <a:pt x="3905" y="1085"/>
                    <a:pt x="4052" y="1129"/>
                    <a:pt x="4074" y="1165"/>
                  </a:cubicBezTo>
                  <a:cubicBezTo>
                    <a:pt x="4096" y="1187"/>
                    <a:pt x="4118" y="1216"/>
                    <a:pt x="4147" y="1216"/>
                  </a:cubicBezTo>
                  <a:cubicBezTo>
                    <a:pt x="4162" y="1216"/>
                    <a:pt x="4177" y="1209"/>
                    <a:pt x="4184" y="1202"/>
                  </a:cubicBezTo>
                  <a:cubicBezTo>
                    <a:pt x="4228" y="1158"/>
                    <a:pt x="4264" y="1129"/>
                    <a:pt x="4206" y="1106"/>
                  </a:cubicBezTo>
                  <a:cubicBezTo>
                    <a:pt x="4147" y="1077"/>
                    <a:pt x="4118" y="1026"/>
                    <a:pt x="4118" y="1004"/>
                  </a:cubicBezTo>
                  <a:cubicBezTo>
                    <a:pt x="4118" y="975"/>
                    <a:pt x="4125" y="997"/>
                    <a:pt x="4177" y="960"/>
                  </a:cubicBezTo>
                  <a:cubicBezTo>
                    <a:pt x="4228" y="923"/>
                    <a:pt x="4279" y="909"/>
                    <a:pt x="4294" y="865"/>
                  </a:cubicBezTo>
                  <a:cubicBezTo>
                    <a:pt x="4309" y="835"/>
                    <a:pt x="4338" y="813"/>
                    <a:pt x="4360" y="813"/>
                  </a:cubicBezTo>
                  <a:cubicBezTo>
                    <a:pt x="4374" y="813"/>
                    <a:pt x="4382" y="821"/>
                    <a:pt x="4382" y="835"/>
                  </a:cubicBezTo>
                  <a:cubicBezTo>
                    <a:pt x="4389" y="865"/>
                    <a:pt x="4411" y="902"/>
                    <a:pt x="4411" y="902"/>
                  </a:cubicBezTo>
                  <a:cubicBezTo>
                    <a:pt x="4411" y="902"/>
                    <a:pt x="4389" y="813"/>
                    <a:pt x="4433" y="799"/>
                  </a:cubicBezTo>
                  <a:cubicBezTo>
                    <a:pt x="4448" y="792"/>
                    <a:pt x="4462" y="792"/>
                    <a:pt x="4470" y="792"/>
                  </a:cubicBezTo>
                  <a:cubicBezTo>
                    <a:pt x="4492" y="792"/>
                    <a:pt x="4506" y="799"/>
                    <a:pt x="4528" y="813"/>
                  </a:cubicBezTo>
                  <a:cubicBezTo>
                    <a:pt x="4558" y="835"/>
                    <a:pt x="4572" y="872"/>
                    <a:pt x="4580" y="909"/>
                  </a:cubicBezTo>
                  <a:cubicBezTo>
                    <a:pt x="4558" y="916"/>
                    <a:pt x="4550" y="916"/>
                    <a:pt x="4550" y="916"/>
                  </a:cubicBezTo>
                  <a:cubicBezTo>
                    <a:pt x="4550" y="916"/>
                    <a:pt x="4558" y="916"/>
                    <a:pt x="4580" y="909"/>
                  </a:cubicBezTo>
                  <a:lnTo>
                    <a:pt x="4580" y="916"/>
                  </a:lnTo>
                  <a:cubicBezTo>
                    <a:pt x="4580" y="953"/>
                    <a:pt x="4558" y="1048"/>
                    <a:pt x="4594" y="1070"/>
                  </a:cubicBezTo>
                  <a:cubicBezTo>
                    <a:pt x="4631" y="1099"/>
                    <a:pt x="4609" y="1129"/>
                    <a:pt x="4638" y="1173"/>
                  </a:cubicBezTo>
                  <a:cubicBezTo>
                    <a:pt x="4660" y="1216"/>
                    <a:pt x="4690" y="1239"/>
                    <a:pt x="4748" y="1239"/>
                  </a:cubicBezTo>
                  <a:cubicBezTo>
                    <a:pt x="4807" y="1239"/>
                    <a:pt x="4807" y="1275"/>
                    <a:pt x="4821" y="1326"/>
                  </a:cubicBezTo>
                  <a:cubicBezTo>
                    <a:pt x="4843" y="1378"/>
                    <a:pt x="4924" y="1436"/>
                    <a:pt x="4983" y="1444"/>
                  </a:cubicBezTo>
                  <a:cubicBezTo>
                    <a:pt x="5049" y="1451"/>
                    <a:pt x="5166" y="1524"/>
                    <a:pt x="5188" y="1539"/>
                  </a:cubicBezTo>
                  <a:cubicBezTo>
                    <a:pt x="5217" y="1554"/>
                    <a:pt x="5217" y="1597"/>
                    <a:pt x="5173" y="1626"/>
                  </a:cubicBezTo>
                  <a:cubicBezTo>
                    <a:pt x="5129" y="1648"/>
                    <a:pt x="5166" y="1692"/>
                    <a:pt x="5159" y="1743"/>
                  </a:cubicBezTo>
                  <a:cubicBezTo>
                    <a:pt x="5151" y="1765"/>
                    <a:pt x="5144" y="1772"/>
                    <a:pt x="5136" y="1772"/>
                  </a:cubicBezTo>
                  <a:cubicBezTo>
                    <a:pt x="5129" y="1772"/>
                    <a:pt x="5122" y="1758"/>
                    <a:pt x="5107" y="1721"/>
                  </a:cubicBezTo>
                  <a:cubicBezTo>
                    <a:pt x="5093" y="1684"/>
                    <a:pt x="5071" y="1670"/>
                    <a:pt x="5056" y="1670"/>
                  </a:cubicBezTo>
                  <a:cubicBezTo>
                    <a:pt x="5041" y="1670"/>
                    <a:pt x="5026" y="1677"/>
                    <a:pt x="5012" y="1692"/>
                  </a:cubicBezTo>
                  <a:cubicBezTo>
                    <a:pt x="4968" y="1721"/>
                    <a:pt x="4975" y="1751"/>
                    <a:pt x="5026" y="1772"/>
                  </a:cubicBezTo>
                  <a:cubicBezTo>
                    <a:pt x="5078" y="1802"/>
                    <a:pt x="5129" y="1816"/>
                    <a:pt x="5129" y="1816"/>
                  </a:cubicBezTo>
                  <a:cubicBezTo>
                    <a:pt x="5129" y="1816"/>
                    <a:pt x="5122" y="1838"/>
                    <a:pt x="5085" y="1868"/>
                  </a:cubicBezTo>
                  <a:cubicBezTo>
                    <a:pt x="5056" y="1904"/>
                    <a:pt x="5034" y="1912"/>
                    <a:pt x="5071" y="1948"/>
                  </a:cubicBezTo>
                  <a:cubicBezTo>
                    <a:pt x="5107" y="1978"/>
                    <a:pt x="5129" y="1978"/>
                    <a:pt x="5151" y="2007"/>
                  </a:cubicBezTo>
                  <a:cubicBezTo>
                    <a:pt x="5166" y="2029"/>
                    <a:pt x="5195" y="2051"/>
                    <a:pt x="5166" y="2110"/>
                  </a:cubicBezTo>
                  <a:cubicBezTo>
                    <a:pt x="5136" y="2161"/>
                    <a:pt x="5136" y="2197"/>
                    <a:pt x="5100" y="2197"/>
                  </a:cubicBezTo>
                  <a:cubicBezTo>
                    <a:pt x="5093" y="2197"/>
                    <a:pt x="5085" y="2197"/>
                    <a:pt x="5078" y="2190"/>
                  </a:cubicBezTo>
                  <a:cubicBezTo>
                    <a:pt x="5026" y="2175"/>
                    <a:pt x="5012" y="2124"/>
                    <a:pt x="4990" y="2124"/>
                  </a:cubicBezTo>
                  <a:cubicBezTo>
                    <a:pt x="4990" y="2124"/>
                    <a:pt x="4983" y="2132"/>
                    <a:pt x="4975" y="2132"/>
                  </a:cubicBezTo>
                  <a:cubicBezTo>
                    <a:pt x="4953" y="2146"/>
                    <a:pt x="4931" y="2168"/>
                    <a:pt x="4909" y="2168"/>
                  </a:cubicBezTo>
                  <a:cubicBezTo>
                    <a:pt x="4895" y="2168"/>
                    <a:pt x="4887" y="2161"/>
                    <a:pt x="4873" y="2146"/>
                  </a:cubicBezTo>
                  <a:cubicBezTo>
                    <a:pt x="4865" y="2132"/>
                    <a:pt x="4843" y="2124"/>
                    <a:pt x="4821" y="2124"/>
                  </a:cubicBezTo>
                  <a:cubicBezTo>
                    <a:pt x="4800" y="2124"/>
                    <a:pt x="4785" y="2139"/>
                    <a:pt x="4792" y="2168"/>
                  </a:cubicBezTo>
                  <a:cubicBezTo>
                    <a:pt x="4800" y="2227"/>
                    <a:pt x="4814" y="2293"/>
                    <a:pt x="4851" y="2322"/>
                  </a:cubicBezTo>
                  <a:cubicBezTo>
                    <a:pt x="4887" y="2344"/>
                    <a:pt x="4924" y="2381"/>
                    <a:pt x="4836" y="2381"/>
                  </a:cubicBezTo>
                  <a:cubicBezTo>
                    <a:pt x="4741" y="2381"/>
                    <a:pt x="4712" y="2373"/>
                    <a:pt x="4690" y="2359"/>
                  </a:cubicBezTo>
                  <a:cubicBezTo>
                    <a:pt x="4682" y="2359"/>
                    <a:pt x="4682" y="2359"/>
                    <a:pt x="4675" y="2359"/>
                  </a:cubicBezTo>
                  <a:cubicBezTo>
                    <a:pt x="4653" y="2359"/>
                    <a:pt x="4624" y="2381"/>
                    <a:pt x="4653" y="2403"/>
                  </a:cubicBezTo>
                  <a:cubicBezTo>
                    <a:pt x="4690" y="2432"/>
                    <a:pt x="4712" y="2425"/>
                    <a:pt x="4748" y="2439"/>
                  </a:cubicBezTo>
                  <a:cubicBezTo>
                    <a:pt x="4785" y="2454"/>
                    <a:pt x="4807" y="2476"/>
                    <a:pt x="4843" y="2505"/>
                  </a:cubicBezTo>
                  <a:cubicBezTo>
                    <a:pt x="4873" y="2542"/>
                    <a:pt x="4931" y="2586"/>
                    <a:pt x="4851" y="2593"/>
                  </a:cubicBezTo>
                  <a:cubicBezTo>
                    <a:pt x="4763" y="2601"/>
                    <a:pt x="4785" y="2637"/>
                    <a:pt x="4800" y="2659"/>
                  </a:cubicBezTo>
                  <a:cubicBezTo>
                    <a:pt x="4814" y="2688"/>
                    <a:pt x="4843" y="2740"/>
                    <a:pt x="4785" y="2740"/>
                  </a:cubicBezTo>
                  <a:cubicBezTo>
                    <a:pt x="4719" y="2740"/>
                    <a:pt x="4660" y="2762"/>
                    <a:pt x="4645" y="2813"/>
                  </a:cubicBezTo>
                  <a:cubicBezTo>
                    <a:pt x="4631" y="2864"/>
                    <a:pt x="4682" y="2908"/>
                    <a:pt x="4638" y="2938"/>
                  </a:cubicBezTo>
                  <a:cubicBezTo>
                    <a:pt x="4594" y="2974"/>
                    <a:pt x="4558" y="2967"/>
                    <a:pt x="4602" y="3003"/>
                  </a:cubicBezTo>
                  <a:cubicBezTo>
                    <a:pt x="4645" y="3033"/>
                    <a:pt x="4638" y="3077"/>
                    <a:pt x="4609" y="3113"/>
                  </a:cubicBezTo>
                  <a:cubicBezTo>
                    <a:pt x="4587" y="3143"/>
                    <a:pt x="4572" y="3238"/>
                    <a:pt x="4528" y="3238"/>
                  </a:cubicBezTo>
                  <a:cubicBezTo>
                    <a:pt x="4484" y="3238"/>
                    <a:pt x="4499" y="3282"/>
                    <a:pt x="4506" y="3326"/>
                  </a:cubicBezTo>
                  <a:cubicBezTo>
                    <a:pt x="4521" y="3363"/>
                    <a:pt x="4536" y="3399"/>
                    <a:pt x="4587" y="3399"/>
                  </a:cubicBezTo>
                  <a:cubicBezTo>
                    <a:pt x="4638" y="3399"/>
                    <a:pt x="4712" y="3399"/>
                    <a:pt x="4690" y="3348"/>
                  </a:cubicBezTo>
                  <a:cubicBezTo>
                    <a:pt x="4660" y="3297"/>
                    <a:pt x="4675" y="3282"/>
                    <a:pt x="4719" y="3253"/>
                  </a:cubicBezTo>
                  <a:cubicBezTo>
                    <a:pt x="4763" y="3231"/>
                    <a:pt x="4785" y="3216"/>
                    <a:pt x="4814" y="3216"/>
                  </a:cubicBezTo>
                  <a:cubicBezTo>
                    <a:pt x="4821" y="3216"/>
                    <a:pt x="4829" y="3216"/>
                    <a:pt x="4836" y="3223"/>
                  </a:cubicBezTo>
                  <a:cubicBezTo>
                    <a:pt x="4873" y="3231"/>
                    <a:pt x="4865" y="3275"/>
                    <a:pt x="4902" y="3311"/>
                  </a:cubicBezTo>
                  <a:cubicBezTo>
                    <a:pt x="4931" y="3355"/>
                    <a:pt x="4917" y="3406"/>
                    <a:pt x="4909" y="3436"/>
                  </a:cubicBezTo>
                  <a:lnTo>
                    <a:pt x="4909" y="3436"/>
                  </a:lnTo>
                  <a:cubicBezTo>
                    <a:pt x="4902" y="3436"/>
                    <a:pt x="4902" y="3421"/>
                    <a:pt x="4895" y="3421"/>
                  </a:cubicBezTo>
                  <a:cubicBezTo>
                    <a:pt x="4887" y="3421"/>
                    <a:pt x="4880" y="3429"/>
                    <a:pt x="4873" y="3443"/>
                  </a:cubicBezTo>
                  <a:cubicBezTo>
                    <a:pt x="4851" y="3494"/>
                    <a:pt x="4865" y="3509"/>
                    <a:pt x="4873" y="3568"/>
                  </a:cubicBezTo>
                  <a:cubicBezTo>
                    <a:pt x="4887" y="3626"/>
                    <a:pt x="4902" y="3700"/>
                    <a:pt x="4902" y="3700"/>
                  </a:cubicBezTo>
                  <a:cubicBezTo>
                    <a:pt x="4917" y="3714"/>
                    <a:pt x="4917" y="3714"/>
                    <a:pt x="4917" y="3714"/>
                  </a:cubicBezTo>
                  <a:cubicBezTo>
                    <a:pt x="4895" y="3729"/>
                    <a:pt x="4873" y="3751"/>
                    <a:pt x="4851" y="3773"/>
                  </a:cubicBezTo>
                  <a:cubicBezTo>
                    <a:pt x="4807" y="3832"/>
                    <a:pt x="4843" y="3875"/>
                    <a:pt x="4807" y="3934"/>
                  </a:cubicBezTo>
                  <a:cubicBezTo>
                    <a:pt x="4770" y="3985"/>
                    <a:pt x="4697" y="4022"/>
                    <a:pt x="4624" y="4088"/>
                  </a:cubicBezTo>
                  <a:cubicBezTo>
                    <a:pt x="4580" y="4132"/>
                    <a:pt x="4506" y="4154"/>
                    <a:pt x="4440" y="4154"/>
                  </a:cubicBezTo>
                  <a:cubicBezTo>
                    <a:pt x="4404" y="4154"/>
                    <a:pt x="4374" y="4147"/>
                    <a:pt x="4352" y="4139"/>
                  </a:cubicBezTo>
                  <a:cubicBezTo>
                    <a:pt x="4331" y="4117"/>
                    <a:pt x="4309" y="4103"/>
                    <a:pt x="4294" y="4103"/>
                  </a:cubicBezTo>
                  <a:cubicBezTo>
                    <a:pt x="4272" y="4103"/>
                    <a:pt x="4257" y="4125"/>
                    <a:pt x="4221" y="4169"/>
                  </a:cubicBezTo>
                  <a:cubicBezTo>
                    <a:pt x="4147" y="4264"/>
                    <a:pt x="4228" y="4315"/>
                    <a:pt x="4228" y="4396"/>
                  </a:cubicBezTo>
                  <a:cubicBezTo>
                    <a:pt x="4228" y="4476"/>
                    <a:pt x="4199" y="4498"/>
                    <a:pt x="4147" y="4557"/>
                  </a:cubicBezTo>
                  <a:cubicBezTo>
                    <a:pt x="4103" y="4615"/>
                    <a:pt x="4059" y="4579"/>
                    <a:pt x="4001" y="4638"/>
                  </a:cubicBezTo>
                  <a:cubicBezTo>
                    <a:pt x="3950" y="4689"/>
                    <a:pt x="4059" y="4711"/>
                    <a:pt x="4059" y="4711"/>
                  </a:cubicBezTo>
                  <a:cubicBezTo>
                    <a:pt x="4059" y="4711"/>
                    <a:pt x="3957" y="4747"/>
                    <a:pt x="3898" y="4747"/>
                  </a:cubicBezTo>
                  <a:cubicBezTo>
                    <a:pt x="3876" y="4747"/>
                    <a:pt x="3862" y="4747"/>
                    <a:pt x="3854" y="4740"/>
                  </a:cubicBezTo>
                  <a:cubicBezTo>
                    <a:pt x="3825" y="4703"/>
                    <a:pt x="3708" y="4703"/>
                    <a:pt x="3708" y="4703"/>
                  </a:cubicBezTo>
                  <a:cubicBezTo>
                    <a:pt x="3708" y="4703"/>
                    <a:pt x="3722" y="4813"/>
                    <a:pt x="3722" y="4872"/>
                  </a:cubicBezTo>
                  <a:cubicBezTo>
                    <a:pt x="3722" y="4931"/>
                    <a:pt x="3788" y="4916"/>
                    <a:pt x="3788" y="4967"/>
                  </a:cubicBezTo>
                  <a:cubicBezTo>
                    <a:pt x="3788" y="5011"/>
                    <a:pt x="3730" y="5033"/>
                    <a:pt x="3730" y="5092"/>
                  </a:cubicBezTo>
                  <a:cubicBezTo>
                    <a:pt x="3730" y="5143"/>
                    <a:pt x="3700" y="5180"/>
                    <a:pt x="3627" y="5202"/>
                  </a:cubicBezTo>
                  <a:cubicBezTo>
                    <a:pt x="3620" y="5209"/>
                    <a:pt x="3605" y="5209"/>
                    <a:pt x="3590" y="5209"/>
                  </a:cubicBezTo>
                  <a:cubicBezTo>
                    <a:pt x="3532" y="5209"/>
                    <a:pt x="3473" y="5172"/>
                    <a:pt x="3444" y="5136"/>
                  </a:cubicBezTo>
                  <a:cubicBezTo>
                    <a:pt x="3414" y="5092"/>
                    <a:pt x="3371" y="5055"/>
                    <a:pt x="3319" y="5033"/>
                  </a:cubicBezTo>
                  <a:cubicBezTo>
                    <a:pt x="3305" y="5019"/>
                    <a:pt x="3268" y="5019"/>
                    <a:pt x="3231" y="5019"/>
                  </a:cubicBezTo>
                  <a:cubicBezTo>
                    <a:pt x="3187" y="5019"/>
                    <a:pt x="3129" y="5026"/>
                    <a:pt x="3099" y="5033"/>
                  </a:cubicBezTo>
                  <a:cubicBezTo>
                    <a:pt x="3041" y="5041"/>
                    <a:pt x="2945" y="5180"/>
                    <a:pt x="2945" y="5180"/>
                  </a:cubicBezTo>
                  <a:cubicBezTo>
                    <a:pt x="2945" y="5180"/>
                    <a:pt x="2990" y="5106"/>
                    <a:pt x="2953" y="5106"/>
                  </a:cubicBezTo>
                  <a:cubicBezTo>
                    <a:pt x="2953" y="5106"/>
                    <a:pt x="2953" y="5114"/>
                    <a:pt x="2945" y="5114"/>
                  </a:cubicBezTo>
                  <a:lnTo>
                    <a:pt x="2938" y="5114"/>
                  </a:lnTo>
                  <a:cubicBezTo>
                    <a:pt x="2902" y="5114"/>
                    <a:pt x="2872" y="5092"/>
                    <a:pt x="2821" y="5092"/>
                  </a:cubicBezTo>
                  <a:cubicBezTo>
                    <a:pt x="2806" y="5092"/>
                    <a:pt x="2792" y="5092"/>
                    <a:pt x="2770" y="5099"/>
                  </a:cubicBezTo>
                  <a:cubicBezTo>
                    <a:pt x="2674" y="5136"/>
                    <a:pt x="2667" y="5165"/>
                    <a:pt x="2631" y="5246"/>
                  </a:cubicBezTo>
                  <a:cubicBezTo>
                    <a:pt x="2594" y="5326"/>
                    <a:pt x="2645" y="5363"/>
                    <a:pt x="2696" y="5392"/>
                  </a:cubicBezTo>
                  <a:cubicBezTo>
                    <a:pt x="2755" y="5429"/>
                    <a:pt x="2719" y="5517"/>
                    <a:pt x="2696" y="5568"/>
                  </a:cubicBezTo>
                  <a:cubicBezTo>
                    <a:pt x="2674" y="5612"/>
                    <a:pt x="2674" y="5737"/>
                    <a:pt x="2696" y="5839"/>
                  </a:cubicBezTo>
                  <a:cubicBezTo>
                    <a:pt x="2719" y="5942"/>
                    <a:pt x="2792" y="6037"/>
                    <a:pt x="2821" y="6096"/>
                  </a:cubicBezTo>
                  <a:cubicBezTo>
                    <a:pt x="2858" y="6154"/>
                    <a:pt x="2894" y="6198"/>
                    <a:pt x="2902" y="6279"/>
                  </a:cubicBezTo>
                  <a:cubicBezTo>
                    <a:pt x="2916" y="6360"/>
                    <a:pt x="2938" y="6382"/>
                    <a:pt x="2916" y="6462"/>
                  </a:cubicBezTo>
                  <a:cubicBezTo>
                    <a:pt x="2894" y="6543"/>
                    <a:pt x="2858" y="6506"/>
                    <a:pt x="2858" y="6572"/>
                  </a:cubicBezTo>
                  <a:cubicBezTo>
                    <a:pt x="2858" y="6638"/>
                    <a:pt x="2880" y="6667"/>
                    <a:pt x="2858" y="6733"/>
                  </a:cubicBezTo>
                  <a:cubicBezTo>
                    <a:pt x="2836" y="6799"/>
                    <a:pt x="2799" y="6741"/>
                    <a:pt x="2792" y="6821"/>
                  </a:cubicBezTo>
                  <a:cubicBezTo>
                    <a:pt x="2784" y="6865"/>
                    <a:pt x="2799" y="6865"/>
                    <a:pt x="2814" y="6865"/>
                  </a:cubicBezTo>
                  <a:cubicBezTo>
                    <a:pt x="2821" y="6865"/>
                    <a:pt x="2821" y="6865"/>
                    <a:pt x="2828" y="6865"/>
                  </a:cubicBezTo>
                  <a:cubicBezTo>
                    <a:pt x="2843" y="6865"/>
                    <a:pt x="2850" y="6872"/>
                    <a:pt x="2858" y="6880"/>
                  </a:cubicBezTo>
                  <a:cubicBezTo>
                    <a:pt x="2865" y="6894"/>
                    <a:pt x="2872" y="6916"/>
                    <a:pt x="2872" y="6931"/>
                  </a:cubicBezTo>
                  <a:cubicBezTo>
                    <a:pt x="2872" y="6939"/>
                    <a:pt x="2872" y="6939"/>
                    <a:pt x="2872" y="6939"/>
                  </a:cubicBezTo>
                  <a:cubicBezTo>
                    <a:pt x="2814" y="6982"/>
                    <a:pt x="2814" y="6982"/>
                    <a:pt x="2814" y="6982"/>
                  </a:cubicBezTo>
                  <a:cubicBezTo>
                    <a:pt x="2902" y="7114"/>
                    <a:pt x="2902" y="7114"/>
                    <a:pt x="2902" y="7114"/>
                  </a:cubicBezTo>
                  <a:cubicBezTo>
                    <a:pt x="2902" y="7114"/>
                    <a:pt x="2843" y="7078"/>
                    <a:pt x="2799" y="7078"/>
                  </a:cubicBezTo>
                  <a:cubicBezTo>
                    <a:pt x="2777" y="7078"/>
                    <a:pt x="2762" y="7078"/>
                    <a:pt x="2755" y="7092"/>
                  </a:cubicBezTo>
                  <a:cubicBezTo>
                    <a:pt x="2733" y="7136"/>
                    <a:pt x="2726" y="7195"/>
                    <a:pt x="2689" y="7195"/>
                  </a:cubicBezTo>
                  <a:cubicBezTo>
                    <a:pt x="2674" y="7195"/>
                    <a:pt x="2660" y="7188"/>
                    <a:pt x="2645" y="7173"/>
                  </a:cubicBezTo>
                  <a:cubicBezTo>
                    <a:pt x="2616" y="7158"/>
                    <a:pt x="2594" y="7144"/>
                    <a:pt x="2579" y="7144"/>
                  </a:cubicBezTo>
                  <a:cubicBezTo>
                    <a:pt x="2550" y="7144"/>
                    <a:pt x="2535" y="7180"/>
                    <a:pt x="2521" y="7232"/>
                  </a:cubicBezTo>
                  <a:cubicBezTo>
                    <a:pt x="2499" y="7312"/>
                    <a:pt x="2521" y="7334"/>
                    <a:pt x="2469" y="7356"/>
                  </a:cubicBezTo>
                  <a:cubicBezTo>
                    <a:pt x="2440" y="7371"/>
                    <a:pt x="2352" y="7481"/>
                    <a:pt x="2308" y="7481"/>
                  </a:cubicBezTo>
                  <a:cubicBezTo>
                    <a:pt x="2286" y="7481"/>
                    <a:pt x="2279" y="7459"/>
                    <a:pt x="2279" y="7415"/>
                  </a:cubicBezTo>
                  <a:cubicBezTo>
                    <a:pt x="2293" y="7239"/>
                    <a:pt x="2279" y="7268"/>
                    <a:pt x="2345" y="7253"/>
                  </a:cubicBezTo>
                  <a:cubicBezTo>
                    <a:pt x="2418" y="7239"/>
                    <a:pt x="2469" y="7144"/>
                    <a:pt x="2381" y="7144"/>
                  </a:cubicBezTo>
                  <a:cubicBezTo>
                    <a:pt x="2293" y="7144"/>
                    <a:pt x="2271" y="7129"/>
                    <a:pt x="2257" y="7070"/>
                  </a:cubicBezTo>
                  <a:cubicBezTo>
                    <a:pt x="2257" y="7070"/>
                    <a:pt x="2183" y="7107"/>
                    <a:pt x="2118" y="7107"/>
                  </a:cubicBezTo>
                  <a:cubicBezTo>
                    <a:pt x="2059" y="7107"/>
                    <a:pt x="2000" y="7085"/>
                    <a:pt x="1986" y="6990"/>
                  </a:cubicBezTo>
                  <a:cubicBezTo>
                    <a:pt x="1956" y="6806"/>
                    <a:pt x="1964" y="6755"/>
                    <a:pt x="1890" y="6755"/>
                  </a:cubicBezTo>
                  <a:cubicBezTo>
                    <a:pt x="1890" y="6755"/>
                    <a:pt x="1883" y="6755"/>
                    <a:pt x="1869" y="6755"/>
                  </a:cubicBezTo>
                  <a:cubicBezTo>
                    <a:pt x="1781" y="6763"/>
                    <a:pt x="1759" y="6843"/>
                    <a:pt x="1781" y="6939"/>
                  </a:cubicBezTo>
                  <a:cubicBezTo>
                    <a:pt x="1802" y="7012"/>
                    <a:pt x="1773" y="7092"/>
                    <a:pt x="1714" y="7092"/>
                  </a:cubicBezTo>
                  <a:cubicBezTo>
                    <a:pt x="1707" y="7092"/>
                    <a:pt x="1692" y="7092"/>
                    <a:pt x="1678" y="7085"/>
                  </a:cubicBezTo>
                  <a:cubicBezTo>
                    <a:pt x="1605" y="7041"/>
                    <a:pt x="1517" y="6858"/>
                    <a:pt x="1458" y="6858"/>
                  </a:cubicBezTo>
                  <a:cubicBezTo>
                    <a:pt x="1458" y="6858"/>
                    <a:pt x="1458" y="6858"/>
                    <a:pt x="1451" y="6858"/>
                  </a:cubicBezTo>
                  <a:cubicBezTo>
                    <a:pt x="1414" y="6872"/>
                    <a:pt x="1400" y="6880"/>
                    <a:pt x="1400" y="6880"/>
                  </a:cubicBezTo>
                  <a:cubicBezTo>
                    <a:pt x="1385" y="6858"/>
                    <a:pt x="1378" y="6836"/>
                    <a:pt x="1370" y="6814"/>
                  </a:cubicBezTo>
                  <a:cubicBezTo>
                    <a:pt x="1363" y="6777"/>
                    <a:pt x="1341" y="6719"/>
                    <a:pt x="1297" y="6682"/>
                  </a:cubicBezTo>
                  <a:cubicBezTo>
                    <a:pt x="1253" y="6645"/>
                    <a:pt x="1246" y="6601"/>
                    <a:pt x="1253" y="6557"/>
                  </a:cubicBezTo>
                  <a:cubicBezTo>
                    <a:pt x="1260" y="6506"/>
                    <a:pt x="1290" y="6484"/>
                    <a:pt x="1363" y="6470"/>
                  </a:cubicBezTo>
                  <a:cubicBezTo>
                    <a:pt x="1443" y="6455"/>
                    <a:pt x="1414" y="6411"/>
                    <a:pt x="1473" y="6338"/>
                  </a:cubicBezTo>
                  <a:cubicBezTo>
                    <a:pt x="1531" y="6272"/>
                    <a:pt x="1524" y="6279"/>
                    <a:pt x="1473" y="6272"/>
                  </a:cubicBezTo>
                  <a:cubicBezTo>
                    <a:pt x="1421" y="6264"/>
                    <a:pt x="1407" y="6228"/>
                    <a:pt x="1363" y="6220"/>
                  </a:cubicBezTo>
                  <a:cubicBezTo>
                    <a:pt x="1319" y="6213"/>
                    <a:pt x="1319" y="6140"/>
                    <a:pt x="1312" y="6096"/>
                  </a:cubicBezTo>
                  <a:cubicBezTo>
                    <a:pt x="1304" y="6052"/>
                    <a:pt x="1319" y="5986"/>
                    <a:pt x="1297" y="5949"/>
                  </a:cubicBezTo>
                  <a:cubicBezTo>
                    <a:pt x="1268" y="5913"/>
                    <a:pt x="1253" y="5942"/>
                    <a:pt x="1238" y="5891"/>
                  </a:cubicBezTo>
                  <a:cubicBezTo>
                    <a:pt x="1216" y="5839"/>
                    <a:pt x="1231" y="5744"/>
                    <a:pt x="1238" y="5678"/>
                  </a:cubicBezTo>
                  <a:cubicBezTo>
                    <a:pt x="1246" y="5612"/>
                    <a:pt x="1180" y="5575"/>
                    <a:pt x="1143" y="5524"/>
                  </a:cubicBezTo>
                  <a:cubicBezTo>
                    <a:pt x="1106" y="5473"/>
                    <a:pt x="1077" y="5451"/>
                    <a:pt x="1033" y="5407"/>
                  </a:cubicBezTo>
                  <a:cubicBezTo>
                    <a:pt x="1011" y="5385"/>
                    <a:pt x="982" y="5378"/>
                    <a:pt x="960" y="5378"/>
                  </a:cubicBezTo>
                  <a:cubicBezTo>
                    <a:pt x="931" y="5378"/>
                    <a:pt x="901" y="5385"/>
                    <a:pt x="879" y="5392"/>
                  </a:cubicBezTo>
                  <a:cubicBezTo>
                    <a:pt x="835" y="5400"/>
                    <a:pt x="755" y="5429"/>
                    <a:pt x="681" y="5458"/>
                  </a:cubicBezTo>
                  <a:cubicBezTo>
                    <a:pt x="615" y="5480"/>
                    <a:pt x="579" y="5488"/>
                    <a:pt x="542" y="5524"/>
                  </a:cubicBezTo>
                  <a:cubicBezTo>
                    <a:pt x="498" y="5561"/>
                    <a:pt x="454" y="5553"/>
                    <a:pt x="403" y="5590"/>
                  </a:cubicBezTo>
                  <a:cubicBezTo>
                    <a:pt x="403" y="5590"/>
                    <a:pt x="352" y="5597"/>
                    <a:pt x="308" y="5597"/>
                  </a:cubicBezTo>
                  <a:cubicBezTo>
                    <a:pt x="286" y="5597"/>
                    <a:pt x="264" y="5597"/>
                    <a:pt x="249" y="5590"/>
                  </a:cubicBezTo>
                  <a:cubicBezTo>
                    <a:pt x="205" y="5575"/>
                    <a:pt x="190" y="5517"/>
                    <a:pt x="176" y="5451"/>
                  </a:cubicBezTo>
                  <a:cubicBezTo>
                    <a:pt x="154" y="5378"/>
                    <a:pt x="117" y="5378"/>
                    <a:pt x="66" y="5356"/>
                  </a:cubicBezTo>
                  <a:cubicBezTo>
                    <a:pt x="15" y="5326"/>
                    <a:pt x="59" y="5260"/>
                    <a:pt x="88" y="5224"/>
                  </a:cubicBezTo>
                  <a:cubicBezTo>
                    <a:pt x="124" y="5194"/>
                    <a:pt x="147" y="5216"/>
                    <a:pt x="154" y="5194"/>
                  </a:cubicBezTo>
                  <a:cubicBezTo>
                    <a:pt x="169" y="5165"/>
                    <a:pt x="176" y="5114"/>
                    <a:pt x="190" y="5092"/>
                  </a:cubicBezTo>
                  <a:cubicBezTo>
                    <a:pt x="198" y="5084"/>
                    <a:pt x="205" y="5084"/>
                    <a:pt x="212" y="5084"/>
                  </a:cubicBezTo>
                  <a:cubicBezTo>
                    <a:pt x="234" y="5084"/>
                    <a:pt x="271" y="5106"/>
                    <a:pt x="308" y="5114"/>
                  </a:cubicBezTo>
                  <a:cubicBezTo>
                    <a:pt x="330" y="5121"/>
                    <a:pt x="337" y="5129"/>
                    <a:pt x="344" y="5129"/>
                  </a:cubicBezTo>
                  <a:cubicBezTo>
                    <a:pt x="359" y="5129"/>
                    <a:pt x="366" y="5114"/>
                    <a:pt x="366" y="5084"/>
                  </a:cubicBezTo>
                  <a:cubicBezTo>
                    <a:pt x="381" y="5041"/>
                    <a:pt x="359" y="5004"/>
                    <a:pt x="337" y="4997"/>
                  </a:cubicBezTo>
                  <a:cubicBezTo>
                    <a:pt x="308" y="4989"/>
                    <a:pt x="278" y="4982"/>
                    <a:pt x="242" y="4945"/>
                  </a:cubicBezTo>
                  <a:cubicBezTo>
                    <a:pt x="205" y="4916"/>
                    <a:pt x="293" y="4872"/>
                    <a:pt x="330" y="4835"/>
                  </a:cubicBezTo>
                  <a:cubicBezTo>
                    <a:pt x="359" y="4799"/>
                    <a:pt x="403" y="4784"/>
                    <a:pt x="440" y="4740"/>
                  </a:cubicBezTo>
                  <a:cubicBezTo>
                    <a:pt x="447" y="4733"/>
                    <a:pt x="454" y="4725"/>
                    <a:pt x="469" y="4725"/>
                  </a:cubicBezTo>
                  <a:cubicBezTo>
                    <a:pt x="491" y="4725"/>
                    <a:pt x="513" y="4755"/>
                    <a:pt x="557" y="4777"/>
                  </a:cubicBezTo>
                  <a:cubicBezTo>
                    <a:pt x="571" y="4784"/>
                    <a:pt x="579" y="4784"/>
                    <a:pt x="586" y="4784"/>
                  </a:cubicBezTo>
                  <a:cubicBezTo>
                    <a:pt x="623" y="4784"/>
                    <a:pt x="638" y="4733"/>
                    <a:pt x="630" y="4703"/>
                  </a:cubicBezTo>
                  <a:cubicBezTo>
                    <a:pt x="623" y="4660"/>
                    <a:pt x="571" y="4682"/>
                    <a:pt x="564" y="4652"/>
                  </a:cubicBezTo>
                  <a:cubicBezTo>
                    <a:pt x="557" y="4623"/>
                    <a:pt x="593" y="4608"/>
                    <a:pt x="630" y="4608"/>
                  </a:cubicBezTo>
                  <a:cubicBezTo>
                    <a:pt x="645" y="4608"/>
                    <a:pt x="667" y="4615"/>
                    <a:pt x="681" y="4623"/>
                  </a:cubicBezTo>
                  <a:cubicBezTo>
                    <a:pt x="696" y="4630"/>
                    <a:pt x="711" y="4638"/>
                    <a:pt x="718" y="4638"/>
                  </a:cubicBezTo>
                  <a:cubicBezTo>
                    <a:pt x="740" y="4638"/>
                    <a:pt x="755" y="4601"/>
                    <a:pt x="762" y="4564"/>
                  </a:cubicBezTo>
                  <a:cubicBezTo>
                    <a:pt x="769" y="4513"/>
                    <a:pt x="755" y="4462"/>
                    <a:pt x="725" y="4425"/>
                  </a:cubicBezTo>
                  <a:cubicBezTo>
                    <a:pt x="703" y="4396"/>
                    <a:pt x="681" y="4396"/>
                    <a:pt x="667" y="4352"/>
                  </a:cubicBezTo>
                  <a:cubicBezTo>
                    <a:pt x="652" y="4308"/>
                    <a:pt x="659" y="4286"/>
                    <a:pt x="623" y="4249"/>
                  </a:cubicBezTo>
                  <a:cubicBezTo>
                    <a:pt x="593" y="4213"/>
                    <a:pt x="557" y="4176"/>
                    <a:pt x="483" y="4161"/>
                  </a:cubicBezTo>
                  <a:cubicBezTo>
                    <a:pt x="403" y="4154"/>
                    <a:pt x="432" y="4139"/>
                    <a:pt x="469" y="4095"/>
                  </a:cubicBezTo>
                  <a:cubicBezTo>
                    <a:pt x="513" y="4051"/>
                    <a:pt x="506" y="4037"/>
                    <a:pt x="513" y="3985"/>
                  </a:cubicBezTo>
                  <a:cubicBezTo>
                    <a:pt x="520" y="3934"/>
                    <a:pt x="491" y="3890"/>
                    <a:pt x="483" y="3839"/>
                  </a:cubicBezTo>
                  <a:cubicBezTo>
                    <a:pt x="469" y="3788"/>
                    <a:pt x="520" y="3758"/>
                    <a:pt x="550" y="3722"/>
                  </a:cubicBezTo>
                  <a:cubicBezTo>
                    <a:pt x="571" y="3692"/>
                    <a:pt x="593" y="3663"/>
                    <a:pt x="630" y="3663"/>
                  </a:cubicBezTo>
                  <a:cubicBezTo>
                    <a:pt x="630" y="3663"/>
                    <a:pt x="638" y="3663"/>
                    <a:pt x="645" y="3663"/>
                  </a:cubicBezTo>
                  <a:cubicBezTo>
                    <a:pt x="681" y="3670"/>
                    <a:pt x="696" y="3722"/>
                    <a:pt x="733" y="3729"/>
                  </a:cubicBezTo>
                  <a:cubicBezTo>
                    <a:pt x="740" y="3729"/>
                    <a:pt x="740" y="3729"/>
                    <a:pt x="740" y="3729"/>
                  </a:cubicBezTo>
                  <a:cubicBezTo>
                    <a:pt x="784" y="3729"/>
                    <a:pt x="813" y="3641"/>
                    <a:pt x="843" y="3590"/>
                  </a:cubicBezTo>
                  <a:cubicBezTo>
                    <a:pt x="879" y="3524"/>
                    <a:pt x="843" y="3429"/>
                    <a:pt x="813" y="3363"/>
                  </a:cubicBezTo>
                  <a:cubicBezTo>
                    <a:pt x="784" y="3326"/>
                    <a:pt x="784" y="3275"/>
                    <a:pt x="784" y="3238"/>
                  </a:cubicBezTo>
                  <a:cubicBezTo>
                    <a:pt x="799" y="3216"/>
                    <a:pt x="821" y="3187"/>
                    <a:pt x="835" y="3165"/>
                  </a:cubicBezTo>
                  <a:cubicBezTo>
                    <a:pt x="887" y="3091"/>
                    <a:pt x="864" y="3070"/>
                    <a:pt x="857" y="2989"/>
                  </a:cubicBezTo>
                  <a:cubicBezTo>
                    <a:pt x="843" y="2915"/>
                    <a:pt x="821" y="2952"/>
                    <a:pt x="813" y="2886"/>
                  </a:cubicBezTo>
                  <a:cubicBezTo>
                    <a:pt x="806" y="2828"/>
                    <a:pt x="864" y="2850"/>
                    <a:pt x="887" y="2798"/>
                  </a:cubicBezTo>
                  <a:cubicBezTo>
                    <a:pt x="916" y="2747"/>
                    <a:pt x="938" y="2740"/>
                    <a:pt x="1004" y="2703"/>
                  </a:cubicBezTo>
                  <a:cubicBezTo>
                    <a:pt x="1077" y="2666"/>
                    <a:pt x="1070" y="2644"/>
                    <a:pt x="1092" y="2586"/>
                  </a:cubicBezTo>
                  <a:cubicBezTo>
                    <a:pt x="1106" y="2556"/>
                    <a:pt x="1114" y="2549"/>
                    <a:pt x="1121" y="2549"/>
                  </a:cubicBezTo>
                  <a:cubicBezTo>
                    <a:pt x="1136" y="2549"/>
                    <a:pt x="1143" y="2564"/>
                    <a:pt x="1158" y="2593"/>
                  </a:cubicBezTo>
                  <a:cubicBezTo>
                    <a:pt x="1180" y="2622"/>
                    <a:pt x="1194" y="2644"/>
                    <a:pt x="1238" y="2644"/>
                  </a:cubicBezTo>
                  <a:cubicBezTo>
                    <a:pt x="1253" y="2644"/>
                    <a:pt x="1268" y="2644"/>
                    <a:pt x="1297" y="2637"/>
                  </a:cubicBezTo>
                  <a:cubicBezTo>
                    <a:pt x="1392" y="2608"/>
                    <a:pt x="1363" y="2601"/>
                    <a:pt x="1400" y="2542"/>
                  </a:cubicBezTo>
                  <a:cubicBezTo>
                    <a:pt x="1429" y="2483"/>
                    <a:pt x="1429" y="2491"/>
                    <a:pt x="1480" y="2454"/>
                  </a:cubicBezTo>
                  <a:cubicBezTo>
                    <a:pt x="1531" y="2425"/>
                    <a:pt x="1502" y="2432"/>
                    <a:pt x="1502" y="2359"/>
                  </a:cubicBezTo>
                  <a:cubicBezTo>
                    <a:pt x="1502" y="2293"/>
                    <a:pt x="1531" y="2300"/>
                    <a:pt x="1568" y="2241"/>
                  </a:cubicBezTo>
                  <a:cubicBezTo>
                    <a:pt x="1605" y="2183"/>
                    <a:pt x="1619" y="2190"/>
                    <a:pt x="1663" y="2146"/>
                  </a:cubicBezTo>
                  <a:cubicBezTo>
                    <a:pt x="1707" y="2110"/>
                    <a:pt x="1692" y="2124"/>
                    <a:pt x="1671" y="2102"/>
                  </a:cubicBezTo>
                  <a:cubicBezTo>
                    <a:pt x="1641" y="2073"/>
                    <a:pt x="1627" y="2036"/>
                    <a:pt x="1612" y="1963"/>
                  </a:cubicBezTo>
                  <a:cubicBezTo>
                    <a:pt x="1597" y="1882"/>
                    <a:pt x="1627" y="1912"/>
                    <a:pt x="1685" y="1860"/>
                  </a:cubicBezTo>
                  <a:cubicBezTo>
                    <a:pt x="1707" y="1846"/>
                    <a:pt x="1729" y="1838"/>
                    <a:pt x="1751" y="1838"/>
                  </a:cubicBezTo>
                  <a:cubicBezTo>
                    <a:pt x="1802" y="1838"/>
                    <a:pt x="1854" y="1860"/>
                    <a:pt x="1890" y="1860"/>
                  </a:cubicBezTo>
                  <a:cubicBezTo>
                    <a:pt x="1942" y="1860"/>
                    <a:pt x="1920" y="1904"/>
                    <a:pt x="1920" y="1904"/>
                  </a:cubicBezTo>
                  <a:cubicBezTo>
                    <a:pt x="1920" y="1904"/>
                    <a:pt x="1920" y="1897"/>
                    <a:pt x="1927" y="1897"/>
                  </a:cubicBezTo>
                  <a:cubicBezTo>
                    <a:pt x="1942" y="1868"/>
                    <a:pt x="1971" y="1838"/>
                    <a:pt x="2008" y="1824"/>
                  </a:cubicBezTo>
                  <a:cubicBezTo>
                    <a:pt x="2052" y="1816"/>
                    <a:pt x="2059" y="1824"/>
                    <a:pt x="2022" y="1787"/>
                  </a:cubicBezTo>
                  <a:cubicBezTo>
                    <a:pt x="1978" y="1743"/>
                    <a:pt x="2008" y="1721"/>
                    <a:pt x="2044" y="1684"/>
                  </a:cubicBezTo>
                  <a:cubicBezTo>
                    <a:pt x="2081" y="1641"/>
                    <a:pt x="2103" y="1641"/>
                    <a:pt x="2132" y="1590"/>
                  </a:cubicBezTo>
                  <a:cubicBezTo>
                    <a:pt x="2154" y="1539"/>
                    <a:pt x="2154" y="1532"/>
                    <a:pt x="2140" y="1495"/>
                  </a:cubicBezTo>
                  <a:cubicBezTo>
                    <a:pt x="2118" y="1466"/>
                    <a:pt x="2110" y="1436"/>
                    <a:pt x="2096" y="1371"/>
                  </a:cubicBezTo>
                  <a:cubicBezTo>
                    <a:pt x="2081" y="1312"/>
                    <a:pt x="2088" y="1282"/>
                    <a:pt x="2052" y="1282"/>
                  </a:cubicBezTo>
                  <a:cubicBezTo>
                    <a:pt x="2052" y="1282"/>
                    <a:pt x="2044" y="1282"/>
                    <a:pt x="2037" y="1282"/>
                  </a:cubicBezTo>
                  <a:cubicBezTo>
                    <a:pt x="1978" y="1290"/>
                    <a:pt x="1942" y="1312"/>
                    <a:pt x="1898" y="1341"/>
                  </a:cubicBezTo>
                  <a:cubicBezTo>
                    <a:pt x="1869" y="1363"/>
                    <a:pt x="1846" y="1378"/>
                    <a:pt x="1824" y="1378"/>
                  </a:cubicBezTo>
                  <a:cubicBezTo>
                    <a:pt x="1810" y="1378"/>
                    <a:pt x="1802" y="1378"/>
                    <a:pt x="1788" y="1371"/>
                  </a:cubicBezTo>
                  <a:cubicBezTo>
                    <a:pt x="1759" y="1341"/>
                    <a:pt x="1773" y="1326"/>
                    <a:pt x="1737" y="1282"/>
                  </a:cubicBezTo>
                  <a:cubicBezTo>
                    <a:pt x="1707" y="1239"/>
                    <a:pt x="1744" y="1216"/>
                    <a:pt x="1788" y="1136"/>
                  </a:cubicBezTo>
                  <a:cubicBezTo>
                    <a:pt x="1832" y="1063"/>
                    <a:pt x="1839" y="1070"/>
                    <a:pt x="1905" y="1019"/>
                  </a:cubicBezTo>
                  <a:cubicBezTo>
                    <a:pt x="1978" y="967"/>
                    <a:pt x="1949" y="945"/>
                    <a:pt x="2000" y="945"/>
                  </a:cubicBezTo>
                  <a:cubicBezTo>
                    <a:pt x="2022" y="945"/>
                    <a:pt x="2044" y="945"/>
                    <a:pt x="2066" y="945"/>
                  </a:cubicBezTo>
                  <a:cubicBezTo>
                    <a:pt x="2096" y="945"/>
                    <a:pt x="2125" y="938"/>
                    <a:pt x="2147" y="916"/>
                  </a:cubicBezTo>
                  <a:cubicBezTo>
                    <a:pt x="2169" y="894"/>
                    <a:pt x="2191" y="887"/>
                    <a:pt x="2213" y="887"/>
                  </a:cubicBezTo>
                  <a:cubicBezTo>
                    <a:pt x="2235" y="887"/>
                    <a:pt x="2257" y="894"/>
                    <a:pt x="2286" y="909"/>
                  </a:cubicBezTo>
                  <a:cubicBezTo>
                    <a:pt x="2293" y="916"/>
                    <a:pt x="2315" y="923"/>
                    <a:pt x="2330" y="923"/>
                  </a:cubicBezTo>
                  <a:cubicBezTo>
                    <a:pt x="2381" y="923"/>
                    <a:pt x="2447" y="894"/>
                    <a:pt x="2506" y="887"/>
                  </a:cubicBezTo>
                  <a:cubicBezTo>
                    <a:pt x="2579" y="865"/>
                    <a:pt x="2564" y="813"/>
                    <a:pt x="2543" y="784"/>
                  </a:cubicBezTo>
                  <a:cubicBezTo>
                    <a:pt x="2528" y="747"/>
                    <a:pt x="2477" y="733"/>
                    <a:pt x="2433" y="682"/>
                  </a:cubicBezTo>
                  <a:cubicBezTo>
                    <a:pt x="2396" y="630"/>
                    <a:pt x="2374" y="608"/>
                    <a:pt x="2433" y="572"/>
                  </a:cubicBezTo>
                  <a:cubicBezTo>
                    <a:pt x="2499" y="528"/>
                    <a:pt x="2587" y="498"/>
                    <a:pt x="2645" y="476"/>
                  </a:cubicBezTo>
                  <a:cubicBezTo>
                    <a:pt x="2660" y="469"/>
                    <a:pt x="2667" y="469"/>
                    <a:pt x="2674" y="469"/>
                  </a:cubicBezTo>
                  <a:cubicBezTo>
                    <a:pt x="2719" y="469"/>
                    <a:pt x="2748" y="521"/>
                    <a:pt x="2792" y="535"/>
                  </a:cubicBezTo>
                  <a:cubicBezTo>
                    <a:pt x="2843" y="550"/>
                    <a:pt x="2872" y="564"/>
                    <a:pt x="2843" y="608"/>
                  </a:cubicBezTo>
                  <a:cubicBezTo>
                    <a:pt x="2821" y="660"/>
                    <a:pt x="2850" y="726"/>
                    <a:pt x="2931" y="733"/>
                  </a:cubicBezTo>
                  <a:lnTo>
                    <a:pt x="2938" y="733"/>
                  </a:lnTo>
                  <a:cubicBezTo>
                    <a:pt x="3012" y="733"/>
                    <a:pt x="3033" y="667"/>
                    <a:pt x="3070" y="638"/>
                  </a:cubicBezTo>
                  <a:cubicBezTo>
                    <a:pt x="3114" y="601"/>
                    <a:pt x="3231" y="484"/>
                    <a:pt x="3275" y="440"/>
                  </a:cubicBezTo>
                  <a:cubicBezTo>
                    <a:pt x="3319" y="396"/>
                    <a:pt x="3363" y="315"/>
                    <a:pt x="3385" y="264"/>
                  </a:cubicBezTo>
                  <a:cubicBezTo>
                    <a:pt x="3414" y="213"/>
                    <a:pt x="3349" y="227"/>
                    <a:pt x="3349" y="183"/>
                  </a:cubicBezTo>
                  <a:cubicBezTo>
                    <a:pt x="3349" y="147"/>
                    <a:pt x="3400" y="125"/>
                    <a:pt x="3459" y="125"/>
                  </a:cubicBezTo>
                  <a:cubicBezTo>
                    <a:pt x="3517" y="125"/>
                    <a:pt x="3546" y="66"/>
                    <a:pt x="3546" y="66"/>
                  </a:cubicBezTo>
                  <a:cubicBezTo>
                    <a:pt x="3546" y="66"/>
                    <a:pt x="3539" y="66"/>
                    <a:pt x="3524" y="73"/>
                  </a:cubicBezTo>
                  <a:cubicBezTo>
                    <a:pt x="3546" y="52"/>
                    <a:pt x="3583" y="30"/>
                    <a:pt x="3605" y="30"/>
                  </a:cubicBezTo>
                  <a:lnTo>
                    <a:pt x="3605" y="0"/>
                  </a:lnTo>
                  <a:lnTo>
                    <a:pt x="3605" y="0"/>
                  </a:lnTo>
                  <a:lnTo>
                    <a:pt x="3605" y="0"/>
                  </a:lnTo>
                  <a:cubicBezTo>
                    <a:pt x="3576" y="0"/>
                    <a:pt x="3546" y="15"/>
                    <a:pt x="3510" y="44"/>
                  </a:cubicBezTo>
                  <a:cubicBezTo>
                    <a:pt x="3444" y="95"/>
                    <a:pt x="3444" y="95"/>
                    <a:pt x="3444" y="95"/>
                  </a:cubicBezTo>
                  <a:cubicBezTo>
                    <a:pt x="3363" y="103"/>
                    <a:pt x="3312" y="132"/>
                    <a:pt x="3312" y="183"/>
                  </a:cubicBezTo>
                  <a:cubicBezTo>
                    <a:pt x="3312" y="227"/>
                    <a:pt x="3341" y="242"/>
                    <a:pt x="3356" y="249"/>
                  </a:cubicBezTo>
                  <a:lnTo>
                    <a:pt x="3363" y="249"/>
                  </a:lnTo>
                  <a:lnTo>
                    <a:pt x="3363" y="249"/>
                  </a:lnTo>
                  <a:cubicBezTo>
                    <a:pt x="3341" y="293"/>
                    <a:pt x="3297" y="381"/>
                    <a:pt x="3253" y="418"/>
                  </a:cubicBezTo>
                  <a:cubicBezTo>
                    <a:pt x="3151" y="528"/>
                    <a:pt x="3085" y="594"/>
                    <a:pt x="3055" y="616"/>
                  </a:cubicBezTo>
                  <a:cubicBezTo>
                    <a:pt x="3041" y="623"/>
                    <a:pt x="3026" y="638"/>
                    <a:pt x="3019" y="652"/>
                  </a:cubicBezTo>
                  <a:cubicBezTo>
                    <a:pt x="2990" y="682"/>
                    <a:pt x="2975" y="704"/>
                    <a:pt x="2938" y="704"/>
                  </a:cubicBezTo>
                  <a:cubicBezTo>
                    <a:pt x="2938" y="704"/>
                    <a:pt x="2938" y="704"/>
                    <a:pt x="2931" y="704"/>
                  </a:cubicBezTo>
                  <a:cubicBezTo>
                    <a:pt x="2902" y="696"/>
                    <a:pt x="2880" y="682"/>
                    <a:pt x="2872" y="667"/>
                  </a:cubicBezTo>
                  <a:cubicBezTo>
                    <a:pt x="2865" y="652"/>
                    <a:pt x="2865" y="638"/>
                    <a:pt x="2872" y="623"/>
                  </a:cubicBezTo>
                  <a:cubicBezTo>
                    <a:pt x="2880" y="608"/>
                    <a:pt x="2887" y="579"/>
                    <a:pt x="2880" y="557"/>
                  </a:cubicBezTo>
                  <a:cubicBezTo>
                    <a:pt x="2865" y="528"/>
                    <a:pt x="2836" y="521"/>
                    <a:pt x="2799" y="506"/>
                  </a:cubicBezTo>
                  <a:cubicBezTo>
                    <a:pt x="2792" y="506"/>
                    <a:pt x="2777" y="491"/>
                    <a:pt x="2762" y="476"/>
                  </a:cubicBezTo>
                  <a:cubicBezTo>
                    <a:pt x="2740" y="462"/>
                    <a:pt x="2711" y="440"/>
                    <a:pt x="2674" y="440"/>
                  </a:cubicBezTo>
                  <a:cubicBezTo>
                    <a:pt x="2660" y="440"/>
                    <a:pt x="2645" y="440"/>
                    <a:pt x="2638" y="447"/>
                  </a:cubicBezTo>
                  <a:cubicBezTo>
                    <a:pt x="2616" y="454"/>
                    <a:pt x="2601" y="462"/>
                    <a:pt x="2579" y="469"/>
                  </a:cubicBezTo>
                  <a:cubicBezTo>
                    <a:pt x="2521" y="491"/>
                    <a:pt x="2462" y="513"/>
                    <a:pt x="2418" y="542"/>
                  </a:cubicBezTo>
                  <a:cubicBezTo>
                    <a:pt x="2396" y="564"/>
                    <a:pt x="2374" y="579"/>
                    <a:pt x="2367" y="608"/>
                  </a:cubicBezTo>
                  <a:cubicBezTo>
                    <a:pt x="2367" y="638"/>
                    <a:pt x="2381" y="667"/>
                    <a:pt x="2411" y="696"/>
                  </a:cubicBezTo>
                  <a:lnTo>
                    <a:pt x="2411" y="696"/>
                  </a:lnTo>
                  <a:cubicBezTo>
                    <a:pt x="2433" y="726"/>
                    <a:pt x="2462" y="747"/>
                    <a:pt x="2484" y="762"/>
                  </a:cubicBezTo>
                  <a:cubicBezTo>
                    <a:pt x="2499" y="777"/>
                    <a:pt x="2513" y="784"/>
                    <a:pt x="2521" y="799"/>
                  </a:cubicBezTo>
                  <a:cubicBezTo>
                    <a:pt x="2535" y="821"/>
                    <a:pt x="2528" y="835"/>
                    <a:pt x="2528" y="835"/>
                  </a:cubicBezTo>
                  <a:cubicBezTo>
                    <a:pt x="2528" y="843"/>
                    <a:pt x="2513" y="850"/>
                    <a:pt x="2499" y="857"/>
                  </a:cubicBezTo>
                  <a:cubicBezTo>
                    <a:pt x="2477" y="857"/>
                    <a:pt x="2455" y="865"/>
                    <a:pt x="2440" y="872"/>
                  </a:cubicBezTo>
                  <a:cubicBezTo>
                    <a:pt x="2403" y="880"/>
                    <a:pt x="2359" y="894"/>
                    <a:pt x="2330" y="894"/>
                  </a:cubicBezTo>
                  <a:cubicBezTo>
                    <a:pt x="2315" y="894"/>
                    <a:pt x="2308" y="887"/>
                    <a:pt x="2301" y="887"/>
                  </a:cubicBezTo>
                  <a:cubicBezTo>
                    <a:pt x="2271" y="865"/>
                    <a:pt x="2242" y="857"/>
                    <a:pt x="2213" y="857"/>
                  </a:cubicBezTo>
                  <a:cubicBezTo>
                    <a:pt x="2183" y="857"/>
                    <a:pt x="2154" y="872"/>
                    <a:pt x="2125" y="894"/>
                  </a:cubicBezTo>
                  <a:cubicBezTo>
                    <a:pt x="2110" y="909"/>
                    <a:pt x="2096" y="916"/>
                    <a:pt x="2066" y="916"/>
                  </a:cubicBezTo>
                  <a:cubicBezTo>
                    <a:pt x="2059" y="916"/>
                    <a:pt x="2052" y="916"/>
                    <a:pt x="2037" y="916"/>
                  </a:cubicBezTo>
                  <a:cubicBezTo>
                    <a:pt x="2030" y="916"/>
                    <a:pt x="2015" y="916"/>
                    <a:pt x="2000" y="916"/>
                  </a:cubicBezTo>
                  <a:cubicBezTo>
                    <a:pt x="1964" y="916"/>
                    <a:pt x="1949" y="931"/>
                    <a:pt x="1934" y="953"/>
                  </a:cubicBezTo>
                  <a:cubicBezTo>
                    <a:pt x="1927" y="960"/>
                    <a:pt x="1920" y="975"/>
                    <a:pt x="1890" y="997"/>
                  </a:cubicBezTo>
                  <a:cubicBezTo>
                    <a:pt x="1876" y="1004"/>
                    <a:pt x="1861" y="1019"/>
                    <a:pt x="1854" y="1019"/>
                  </a:cubicBezTo>
                  <a:cubicBezTo>
                    <a:pt x="1810" y="1048"/>
                    <a:pt x="1795" y="1063"/>
                    <a:pt x="1766" y="1121"/>
                  </a:cubicBezTo>
                  <a:cubicBezTo>
                    <a:pt x="1751" y="1143"/>
                    <a:pt x="1744" y="1158"/>
                    <a:pt x="1729" y="1173"/>
                  </a:cubicBezTo>
                  <a:cubicBezTo>
                    <a:pt x="1707" y="1216"/>
                    <a:pt x="1678" y="1253"/>
                    <a:pt x="1714" y="1304"/>
                  </a:cubicBezTo>
                  <a:cubicBezTo>
                    <a:pt x="1729" y="1319"/>
                    <a:pt x="1729" y="1326"/>
                    <a:pt x="1737" y="1341"/>
                  </a:cubicBezTo>
                  <a:cubicBezTo>
                    <a:pt x="1737" y="1356"/>
                    <a:pt x="1744" y="1371"/>
                    <a:pt x="1773" y="1392"/>
                  </a:cubicBezTo>
                  <a:cubicBezTo>
                    <a:pt x="1788" y="1407"/>
                    <a:pt x="1802" y="1414"/>
                    <a:pt x="1824" y="1414"/>
                  </a:cubicBezTo>
                  <a:cubicBezTo>
                    <a:pt x="1861" y="1414"/>
                    <a:pt x="1890" y="1392"/>
                    <a:pt x="1920" y="1363"/>
                  </a:cubicBezTo>
                  <a:cubicBezTo>
                    <a:pt x="1964" y="1334"/>
                    <a:pt x="1993" y="1319"/>
                    <a:pt x="2037" y="1312"/>
                  </a:cubicBezTo>
                  <a:cubicBezTo>
                    <a:pt x="2044" y="1312"/>
                    <a:pt x="2052" y="1312"/>
                    <a:pt x="2052" y="1312"/>
                  </a:cubicBezTo>
                  <a:cubicBezTo>
                    <a:pt x="2059" y="1319"/>
                    <a:pt x="2059" y="1326"/>
                    <a:pt x="2059" y="1326"/>
                  </a:cubicBezTo>
                  <a:cubicBezTo>
                    <a:pt x="2059" y="1341"/>
                    <a:pt x="2059" y="1356"/>
                    <a:pt x="2066" y="1378"/>
                  </a:cubicBezTo>
                  <a:cubicBezTo>
                    <a:pt x="2081" y="1444"/>
                    <a:pt x="2088" y="1473"/>
                    <a:pt x="2110" y="1510"/>
                  </a:cubicBezTo>
                  <a:cubicBezTo>
                    <a:pt x="2125" y="1532"/>
                    <a:pt x="2125" y="1532"/>
                    <a:pt x="2103" y="1575"/>
                  </a:cubicBezTo>
                  <a:cubicBezTo>
                    <a:pt x="2088" y="1597"/>
                    <a:pt x="2081" y="1611"/>
                    <a:pt x="2066" y="1619"/>
                  </a:cubicBezTo>
                  <a:cubicBezTo>
                    <a:pt x="2052" y="1633"/>
                    <a:pt x="2037" y="1641"/>
                    <a:pt x="2022" y="1663"/>
                  </a:cubicBezTo>
                  <a:cubicBezTo>
                    <a:pt x="2015" y="1670"/>
                    <a:pt x="2008" y="1677"/>
                    <a:pt x="2000" y="1684"/>
                  </a:cubicBezTo>
                  <a:cubicBezTo>
                    <a:pt x="1978" y="1706"/>
                    <a:pt x="1942" y="1751"/>
                    <a:pt x="1993" y="1802"/>
                  </a:cubicBezTo>
                  <a:cubicBezTo>
                    <a:pt x="1964" y="1809"/>
                    <a:pt x="1949" y="1824"/>
                    <a:pt x="1927" y="1838"/>
                  </a:cubicBezTo>
                  <a:cubicBezTo>
                    <a:pt x="1920" y="1831"/>
                    <a:pt x="1905" y="1831"/>
                    <a:pt x="1890" y="1831"/>
                  </a:cubicBezTo>
                  <a:cubicBezTo>
                    <a:pt x="1876" y="1831"/>
                    <a:pt x="1854" y="1824"/>
                    <a:pt x="1839" y="1824"/>
                  </a:cubicBezTo>
                  <a:cubicBezTo>
                    <a:pt x="1810" y="1816"/>
                    <a:pt x="1781" y="1809"/>
                    <a:pt x="1751" y="1809"/>
                  </a:cubicBezTo>
                  <a:cubicBezTo>
                    <a:pt x="1722" y="1809"/>
                    <a:pt x="1692" y="1816"/>
                    <a:pt x="1671" y="1838"/>
                  </a:cubicBezTo>
                  <a:cubicBezTo>
                    <a:pt x="1649" y="1853"/>
                    <a:pt x="1634" y="1860"/>
                    <a:pt x="1627" y="1868"/>
                  </a:cubicBezTo>
                  <a:cubicBezTo>
                    <a:pt x="1583" y="1882"/>
                    <a:pt x="1568" y="1904"/>
                    <a:pt x="1583" y="1970"/>
                  </a:cubicBezTo>
                  <a:cubicBezTo>
                    <a:pt x="1597" y="2044"/>
                    <a:pt x="1619" y="2088"/>
                    <a:pt x="1649" y="2117"/>
                  </a:cubicBezTo>
                  <a:cubicBezTo>
                    <a:pt x="1649" y="2124"/>
                    <a:pt x="1641" y="2124"/>
                    <a:pt x="1641" y="2124"/>
                  </a:cubicBezTo>
                  <a:cubicBezTo>
                    <a:pt x="1627" y="2139"/>
                    <a:pt x="1619" y="2146"/>
                    <a:pt x="1605" y="2153"/>
                  </a:cubicBezTo>
                  <a:cubicBezTo>
                    <a:pt x="1583" y="2168"/>
                    <a:pt x="1568" y="2183"/>
                    <a:pt x="1539" y="2227"/>
                  </a:cubicBezTo>
                  <a:cubicBezTo>
                    <a:pt x="1531" y="2249"/>
                    <a:pt x="1517" y="2256"/>
                    <a:pt x="1509" y="2271"/>
                  </a:cubicBezTo>
                  <a:cubicBezTo>
                    <a:pt x="1488" y="2285"/>
                    <a:pt x="1473" y="2307"/>
                    <a:pt x="1473" y="2359"/>
                  </a:cubicBezTo>
                  <a:cubicBezTo>
                    <a:pt x="1473" y="2395"/>
                    <a:pt x="1473" y="2410"/>
                    <a:pt x="1480" y="2425"/>
                  </a:cubicBezTo>
                  <a:cubicBezTo>
                    <a:pt x="1480" y="2425"/>
                    <a:pt x="1473" y="2425"/>
                    <a:pt x="1465" y="2432"/>
                  </a:cubicBezTo>
                  <a:cubicBezTo>
                    <a:pt x="1458" y="2439"/>
                    <a:pt x="1451" y="2439"/>
                    <a:pt x="1443" y="2447"/>
                  </a:cubicBezTo>
                  <a:cubicBezTo>
                    <a:pt x="1407" y="2469"/>
                    <a:pt x="1400" y="2476"/>
                    <a:pt x="1370" y="2527"/>
                  </a:cubicBezTo>
                  <a:cubicBezTo>
                    <a:pt x="1363" y="2542"/>
                    <a:pt x="1355" y="2556"/>
                    <a:pt x="1355" y="2564"/>
                  </a:cubicBezTo>
                  <a:cubicBezTo>
                    <a:pt x="1341" y="2586"/>
                    <a:pt x="1341" y="2593"/>
                    <a:pt x="1290" y="2608"/>
                  </a:cubicBezTo>
                  <a:cubicBezTo>
                    <a:pt x="1268" y="2608"/>
                    <a:pt x="1246" y="2615"/>
                    <a:pt x="1238" y="2615"/>
                  </a:cubicBezTo>
                  <a:cubicBezTo>
                    <a:pt x="1209" y="2615"/>
                    <a:pt x="1202" y="2608"/>
                    <a:pt x="1187" y="2579"/>
                  </a:cubicBezTo>
                  <a:cubicBezTo>
                    <a:pt x="1172" y="2549"/>
                    <a:pt x="1150" y="2520"/>
                    <a:pt x="1121" y="2520"/>
                  </a:cubicBezTo>
                  <a:cubicBezTo>
                    <a:pt x="1084" y="2520"/>
                    <a:pt x="1070" y="2556"/>
                    <a:pt x="1062" y="2571"/>
                  </a:cubicBezTo>
                  <a:cubicBezTo>
                    <a:pt x="1055" y="2586"/>
                    <a:pt x="1055" y="2601"/>
                    <a:pt x="1048" y="2608"/>
                  </a:cubicBezTo>
                  <a:cubicBezTo>
                    <a:pt x="1040" y="2644"/>
                    <a:pt x="1033" y="2652"/>
                    <a:pt x="997" y="2674"/>
                  </a:cubicBezTo>
                  <a:cubicBezTo>
                    <a:pt x="974" y="2681"/>
                    <a:pt x="974" y="2681"/>
                    <a:pt x="974" y="2681"/>
                  </a:cubicBezTo>
                  <a:cubicBezTo>
                    <a:pt x="916" y="2710"/>
                    <a:pt x="887" y="2725"/>
                    <a:pt x="864" y="2784"/>
                  </a:cubicBezTo>
                  <a:cubicBezTo>
                    <a:pt x="857" y="2798"/>
                    <a:pt x="843" y="2798"/>
                    <a:pt x="828" y="2806"/>
                  </a:cubicBezTo>
                  <a:cubicBezTo>
                    <a:pt x="806" y="2820"/>
                    <a:pt x="777" y="2842"/>
                    <a:pt x="784" y="2894"/>
                  </a:cubicBezTo>
                  <a:cubicBezTo>
                    <a:pt x="784" y="2930"/>
                    <a:pt x="799" y="2945"/>
                    <a:pt x="813" y="2952"/>
                  </a:cubicBezTo>
                  <a:cubicBezTo>
                    <a:pt x="813" y="2960"/>
                    <a:pt x="821" y="2967"/>
                    <a:pt x="821" y="2996"/>
                  </a:cubicBezTo>
                  <a:cubicBezTo>
                    <a:pt x="828" y="3011"/>
                    <a:pt x="828" y="3033"/>
                    <a:pt x="835" y="3047"/>
                  </a:cubicBezTo>
                  <a:cubicBezTo>
                    <a:pt x="843" y="3084"/>
                    <a:pt x="843" y="3099"/>
                    <a:pt x="813" y="3143"/>
                  </a:cubicBezTo>
                  <a:cubicBezTo>
                    <a:pt x="791" y="3172"/>
                    <a:pt x="769" y="3201"/>
                    <a:pt x="762" y="3223"/>
                  </a:cubicBezTo>
                  <a:cubicBezTo>
                    <a:pt x="755" y="3231"/>
                    <a:pt x="755" y="3231"/>
                    <a:pt x="755" y="3231"/>
                  </a:cubicBezTo>
                  <a:cubicBezTo>
                    <a:pt x="755" y="3238"/>
                    <a:pt x="755" y="3238"/>
                    <a:pt x="755" y="3238"/>
                  </a:cubicBezTo>
                  <a:cubicBezTo>
                    <a:pt x="755" y="3282"/>
                    <a:pt x="755" y="3333"/>
                    <a:pt x="784" y="3377"/>
                  </a:cubicBezTo>
                  <a:cubicBezTo>
                    <a:pt x="821" y="3443"/>
                    <a:pt x="843" y="3531"/>
                    <a:pt x="821" y="3575"/>
                  </a:cubicBezTo>
                  <a:cubicBezTo>
                    <a:pt x="813" y="3582"/>
                    <a:pt x="806" y="3597"/>
                    <a:pt x="799" y="3619"/>
                  </a:cubicBezTo>
                  <a:cubicBezTo>
                    <a:pt x="784" y="3641"/>
                    <a:pt x="755" y="3700"/>
                    <a:pt x="740" y="3700"/>
                  </a:cubicBezTo>
                  <a:cubicBezTo>
                    <a:pt x="733" y="3700"/>
                    <a:pt x="725" y="3692"/>
                    <a:pt x="711" y="3678"/>
                  </a:cubicBezTo>
                  <a:cubicBezTo>
                    <a:pt x="696" y="3663"/>
                    <a:pt x="681" y="3641"/>
                    <a:pt x="645" y="3634"/>
                  </a:cubicBezTo>
                  <a:cubicBezTo>
                    <a:pt x="645" y="3634"/>
                    <a:pt x="638" y="3634"/>
                    <a:pt x="630" y="3634"/>
                  </a:cubicBezTo>
                  <a:cubicBezTo>
                    <a:pt x="579" y="3634"/>
                    <a:pt x="550" y="3670"/>
                    <a:pt x="528" y="3700"/>
                  </a:cubicBezTo>
                  <a:cubicBezTo>
                    <a:pt x="520" y="3714"/>
                    <a:pt x="513" y="3722"/>
                    <a:pt x="506" y="3729"/>
                  </a:cubicBezTo>
                  <a:cubicBezTo>
                    <a:pt x="476" y="3758"/>
                    <a:pt x="440" y="3795"/>
                    <a:pt x="447" y="3846"/>
                  </a:cubicBezTo>
                  <a:cubicBezTo>
                    <a:pt x="454" y="3868"/>
                    <a:pt x="462" y="3890"/>
                    <a:pt x="469" y="3912"/>
                  </a:cubicBezTo>
                  <a:cubicBezTo>
                    <a:pt x="476" y="3934"/>
                    <a:pt x="491" y="3956"/>
                    <a:pt x="483" y="3978"/>
                  </a:cubicBezTo>
                  <a:cubicBezTo>
                    <a:pt x="483" y="3993"/>
                    <a:pt x="483" y="4000"/>
                    <a:pt x="483" y="4015"/>
                  </a:cubicBezTo>
                  <a:cubicBezTo>
                    <a:pt x="476" y="4037"/>
                    <a:pt x="476" y="4051"/>
                    <a:pt x="447" y="4073"/>
                  </a:cubicBezTo>
                  <a:cubicBezTo>
                    <a:pt x="440" y="4088"/>
                    <a:pt x="440" y="4088"/>
                    <a:pt x="440" y="4088"/>
                  </a:cubicBezTo>
                  <a:cubicBezTo>
                    <a:pt x="410" y="4110"/>
                    <a:pt x="396" y="4132"/>
                    <a:pt x="403" y="4161"/>
                  </a:cubicBezTo>
                  <a:cubicBezTo>
                    <a:pt x="410" y="4183"/>
                    <a:pt x="447" y="4191"/>
                    <a:pt x="476" y="4198"/>
                  </a:cubicBezTo>
                  <a:cubicBezTo>
                    <a:pt x="535" y="4198"/>
                    <a:pt x="564" y="4227"/>
                    <a:pt x="593" y="4264"/>
                  </a:cubicBezTo>
                  <a:cubicBezTo>
                    <a:pt x="601" y="4271"/>
                    <a:pt x="601" y="4271"/>
                    <a:pt x="601" y="4271"/>
                  </a:cubicBezTo>
                  <a:cubicBezTo>
                    <a:pt x="615" y="4286"/>
                    <a:pt x="623" y="4301"/>
                    <a:pt x="623" y="4322"/>
                  </a:cubicBezTo>
                  <a:cubicBezTo>
                    <a:pt x="630" y="4330"/>
                    <a:pt x="630" y="4344"/>
                    <a:pt x="638" y="4366"/>
                  </a:cubicBezTo>
                  <a:cubicBezTo>
                    <a:pt x="652" y="4396"/>
                    <a:pt x="667" y="4410"/>
                    <a:pt x="681" y="4425"/>
                  </a:cubicBezTo>
                  <a:cubicBezTo>
                    <a:pt x="689" y="4425"/>
                    <a:pt x="696" y="4432"/>
                    <a:pt x="703" y="4447"/>
                  </a:cubicBezTo>
                  <a:cubicBezTo>
                    <a:pt x="718" y="4469"/>
                    <a:pt x="740" y="4513"/>
                    <a:pt x="733" y="4557"/>
                  </a:cubicBezTo>
                  <a:cubicBezTo>
                    <a:pt x="725" y="4594"/>
                    <a:pt x="718" y="4608"/>
                    <a:pt x="718" y="4608"/>
                  </a:cubicBezTo>
                  <a:cubicBezTo>
                    <a:pt x="718" y="4608"/>
                    <a:pt x="711" y="4608"/>
                    <a:pt x="703" y="4601"/>
                  </a:cubicBezTo>
                  <a:cubicBezTo>
                    <a:pt x="681" y="4586"/>
                    <a:pt x="652" y="4579"/>
                    <a:pt x="630" y="4579"/>
                  </a:cubicBezTo>
                  <a:cubicBezTo>
                    <a:pt x="593" y="4579"/>
                    <a:pt x="564" y="4594"/>
                    <a:pt x="550" y="4608"/>
                  </a:cubicBezTo>
                  <a:cubicBezTo>
                    <a:pt x="535" y="4623"/>
                    <a:pt x="535" y="4638"/>
                    <a:pt x="535" y="4660"/>
                  </a:cubicBezTo>
                  <a:cubicBezTo>
                    <a:pt x="542" y="4689"/>
                    <a:pt x="571" y="4696"/>
                    <a:pt x="593" y="4703"/>
                  </a:cubicBezTo>
                  <a:lnTo>
                    <a:pt x="601" y="4703"/>
                  </a:lnTo>
                  <a:cubicBezTo>
                    <a:pt x="608" y="4718"/>
                    <a:pt x="601" y="4740"/>
                    <a:pt x="593" y="4747"/>
                  </a:cubicBezTo>
                  <a:cubicBezTo>
                    <a:pt x="593" y="4755"/>
                    <a:pt x="586" y="4755"/>
                    <a:pt x="586" y="4755"/>
                  </a:cubicBezTo>
                  <a:cubicBezTo>
                    <a:pt x="586" y="4755"/>
                    <a:pt x="579" y="4755"/>
                    <a:pt x="571" y="4747"/>
                  </a:cubicBezTo>
                  <a:cubicBezTo>
                    <a:pt x="557" y="4740"/>
                    <a:pt x="542" y="4733"/>
                    <a:pt x="535" y="4725"/>
                  </a:cubicBezTo>
                  <a:cubicBezTo>
                    <a:pt x="513" y="4711"/>
                    <a:pt x="491" y="4696"/>
                    <a:pt x="469" y="4696"/>
                  </a:cubicBezTo>
                  <a:cubicBezTo>
                    <a:pt x="447" y="4696"/>
                    <a:pt x="432" y="4703"/>
                    <a:pt x="410" y="4725"/>
                  </a:cubicBezTo>
                  <a:cubicBezTo>
                    <a:pt x="396" y="4747"/>
                    <a:pt x="374" y="4762"/>
                    <a:pt x="359" y="4777"/>
                  </a:cubicBezTo>
                  <a:cubicBezTo>
                    <a:pt x="337" y="4784"/>
                    <a:pt x="322" y="4799"/>
                    <a:pt x="308" y="4813"/>
                  </a:cubicBezTo>
                  <a:cubicBezTo>
                    <a:pt x="300" y="4821"/>
                    <a:pt x="286" y="4828"/>
                    <a:pt x="271" y="4843"/>
                  </a:cubicBezTo>
                  <a:cubicBezTo>
                    <a:pt x="242" y="4865"/>
                    <a:pt x="205" y="4894"/>
                    <a:pt x="205" y="4923"/>
                  </a:cubicBezTo>
                  <a:cubicBezTo>
                    <a:pt x="205" y="4938"/>
                    <a:pt x="205" y="4953"/>
                    <a:pt x="220" y="4967"/>
                  </a:cubicBezTo>
                  <a:cubicBezTo>
                    <a:pt x="256" y="5004"/>
                    <a:pt x="293" y="5019"/>
                    <a:pt x="315" y="5026"/>
                  </a:cubicBezTo>
                  <a:cubicBezTo>
                    <a:pt x="322" y="5026"/>
                    <a:pt x="322" y="5026"/>
                    <a:pt x="322" y="5026"/>
                  </a:cubicBezTo>
                  <a:cubicBezTo>
                    <a:pt x="337" y="5033"/>
                    <a:pt x="344" y="5048"/>
                    <a:pt x="337" y="5077"/>
                  </a:cubicBezTo>
                  <a:lnTo>
                    <a:pt x="337" y="5077"/>
                  </a:lnTo>
                  <a:cubicBezTo>
                    <a:pt x="337" y="5084"/>
                    <a:pt x="337" y="5092"/>
                    <a:pt x="337" y="5092"/>
                  </a:cubicBezTo>
                  <a:cubicBezTo>
                    <a:pt x="330" y="5092"/>
                    <a:pt x="330" y="5092"/>
                    <a:pt x="322" y="5084"/>
                  </a:cubicBezTo>
                  <a:cubicBezTo>
                    <a:pt x="308" y="5084"/>
                    <a:pt x="293" y="5077"/>
                    <a:pt x="278" y="5070"/>
                  </a:cubicBezTo>
                  <a:cubicBezTo>
                    <a:pt x="256" y="5063"/>
                    <a:pt x="234" y="5055"/>
                    <a:pt x="212" y="5055"/>
                  </a:cubicBezTo>
                  <a:cubicBezTo>
                    <a:pt x="190" y="5055"/>
                    <a:pt x="176" y="5063"/>
                    <a:pt x="169" y="5077"/>
                  </a:cubicBezTo>
                  <a:cubicBezTo>
                    <a:pt x="154" y="5099"/>
                    <a:pt x="139" y="5129"/>
                    <a:pt x="132" y="5158"/>
                  </a:cubicBezTo>
                  <a:cubicBezTo>
                    <a:pt x="132" y="5165"/>
                    <a:pt x="132" y="5172"/>
                    <a:pt x="132" y="5180"/>
                  </a:cubicBezTo>
                  <a:cubicBezTo>
                    <a:pt x="117" y="5180"/>
                    <a:pt x="95" y="5180"/>
                    <a:pt x="66" y="5209"/>
                  </a:cubicBezTo>
                  <a:cubicBezTo>
                    <a:pt x="59" y="5216"/>
                    <a:pt x="0" y="5275"/>
                    <a:pt x="7" y="5334"/>
                  </a:cubicBezTo>
                  <a:cubicBezTo>
                    <a:pt x="15" y="5356"/>
                    <a:pt x="29" y="5370"/>
                    <a:pt x="51" y="5385"/>
                  </a:cubicBezTo>
                  <a:cubicBezTo>
                    <a:pt x="59" y="5385"/>
                    <a:pt x="73" y="5392"/>
                    <a:pt x="88" y="5400"/>
                  </a:cubicBezTo>
                  <a:cubicBezTo>
                    <a:pt x="117" y="5414"/>
                    <a:pt x="132" y="5414"/>
                    <a:pt x="147" y="5458"/>
                  </a:cubicBezTo>
                  <a:cubicBezTo>
                    <a:pt x="161" y="5524"/>
                    <a:pt x="183" y="5597"/>
                    <a:pt x="242" y="5620"/>
                  </a:cubicBezTo>
                  <a:cubicBezTo>
                    <a:pt x="256" y="5627"/>
                    <a:pt x="278" y="5634"/>
                    <a:pt x="308" y="5634"/>
                  </a:cubicBezTo>
                  <a:cubicBezTo>
                    <a:pt x="359" y="5634"/>
                    <a:pt x="403" y="5627"/>
                    <a:pt x="410" y="5620"/>
                  </a:cubicBezTo>
                  <a:cubicBezTo>
                    <a:pt x="418" y="5620"/>
                    <a:pt x="418" y="5620"/>
                    <a:pt x="418" y="5620"/>
                  </a:cubicBezTo>
                  <a:cubicBezTo>
                    <a:pt x="425" y="5620"/>
                    <a:pt x="425" y="5620"/>
                    <a:pt x="425" y="5620"/>
                  </a:cubicBezTo>
                  <a:cubicBezTo>
                    <a:pt x="447" y="5597"/>
                    <a:pt x="469" y="5590"/>
                    <a:pt x="491" y="5583"/>
                  </a:cubicBezTo>
                  <a:cubicBezTo>
                    <a:pt x="513" y="5575"/>
                    <a:pt x="535" y="5568"/>
                    <a:pt x="557" y="5546"/>
                  </a:cubicBezTo>
                  <a:cubicBezTo>
                    <a:pt x="593" y="5524"/>
                    <a:pt x="615" y="5517"/>
                    <a:pt x="667" y="5495"/>
                  </a:cubicBezTo>
                  <a:cubicBezTo>
                    <a:pt x="696" y="5488"/>
                    <a:pt x="696" y="5488"/>
                    <a:pt x="696" y="5488"/>
                  </a:cubicBezTo>
                  <a:cubicBezTo>
                    <a:pt x="733" y="5473"/>
                    <a:pt x="733" y="5473"/>
                    <a:pt x="733" y="5473"/>
                  </a:cubicBezTo>
                  <a:cubicBezTo>
                    <a:pt x="791" y="5451"/>
                    <a:pt x="857" y="5422"/>
                    <a:pt x="887" y="5422"/>
                  </a:cubicBezTo>
                  <a:cubicBezTo>
                    <a:pt x="894" y="5414"/>
                    <a:pt x="894" y="5414"/>
                    <a:pt x="894" y="5414"/>
                  </a:cubicBezTo>
                  <a:cubicBezTo>
                    <a:pt x="916" y="5414"/>
                    <a:pt x="938" y="5407"/>
                    <a:pt x="960" y="5407"/>
                  </a:cubicBezTo>
                  <a:cubicBezTo>
                    <a:pt x="982" y="5407"/>
                    <a:pt x="997" y="5414"/>
                    <a:pt x="1011" y="5429"/>
                  </a:cubicBezTo>
                  <a:cubicBezTo>
                    <a:pt x="1026" y="5436"/>
                    <a:pt x="1033" y="5451"/>
                    <a:pt x="1040" y="5458"/>
                  </a:cubicBezTo>
                  <a:cubicBezTo>
                    <a:pt x="1070" y="5488"/>
                    <a:pt x="1092" y="5510"/>
                    <a:pt x="1121" y="5539"/>
                  </a:cubicBezTo>
                  <a:cubicBezTo>
                    <a:pt x="1128" y="5561"/>
                    <a:pt x="1143" y="5575"/>
                    <a:pt x="1158" y="5590"/>
                  </a:cubicBezTo>
                  <a:cubicBezTo>
                    <a:pt x="1194" y="5620"/>
                    <a:pt x="1209" y="5641"/>
                    <a:pt x="1209" y="5671"/>
                  </a:cubicBezTo>
                  <a:cubicBezTo>
                    <a:pt x="1194" y="5744"/>
                    <a:pt x="1187" y="5839"/>
                    <a:pt x="1209" y="5898"/>
                  </a:cubicBezTo>
                  <a:cubicBezTo>
                    <a:pt x="1224" y="5942"/>
                    <a:pt x="1238" y="5949"/>
                    <a:pt x="1260" y="5956"/>
                  </a:cubicBezTo>
                  <a:cubicBezTo>
                    <a:pt x="1260" y="5956"/>
                    <a:pt x="1268" y="5964"/>
                    <a:pt x="1275" y="5971"/>
                  </a:cubicBezTo>
                  <a:cubicBezTo>
                    <a:pt x="1282" y="5979"/>
                    <a:pt x="1282" y="6008"/>
                    <a:pt x="1282" y="6037"/>
                  </a:cubicBezTo>
                  <a:cubicBezTo>
                    <a:pt x="1282" y="6059"/>
                    <a:pt x="1282" y="6081"/>
                    <a:pt x="1282" y="6103"/>
                  </a:cubicBezTo>
                  <a:cubicBezTo>
                    <a:pt x="1282" y="6110"/>
                    <a:pt x="1290" y="6118"/>
                    <a:pt x="1290" y="6125"/>
                  </a:cubicBezTo>
                  <a:cubicBezTo>
                    <a:pt x="1297" y="6176"/>
                    <a:pt x="1304" y="6242"/>
                    <a:pt x="1355" y="6250"/>
                  </a:cubicBezTo>
                  <a:cubicBezTo>
                    <a:pt x="1370" y="6257"/>
                    <a:pt x="1385" y="6264"/>
                    <a:pt x="1400" y="6272"/>
                  </a:cubicBezTo>
                  <a:cubicBezTo>
                    <a:pt x="1414" y="6279"/>
                    <a:pt x="1436" y="6294"/>
                    <a:pt x="1465" y="6301"/>
                  </a:cubicBezTo>
                  <a:cubicBezTo>
                    <a:pt x="1465" y="6308"/>
                    <a:pt x="1458" y="6315"/>
                    <a:pt x="1451" y="6323"/>
                  </a:cubicBezTo>
                  <a:cubicBezTo>
                    <a:pt x="1429" y="6352"/>
                    <a:pt x="1414" y="6374"/>
                    <a:pt x="1407" y="6396"/>
                  </a:cubicBezTo>
                  <a:cubicBezTo>
                    <a:pt x="1392" y="6425"/>
                    <a:pt x="1392" y="6433"/>
                    <a:pt x="1355" y="6440"/>
                  </a:cubicBezTo>
                  <a:cubicBezTo>
                    <a:pt x="1275" y="6455"/>
                    <a:pt x="1238" y="6477"/>
                    <a:pt x="1224" y="6550"/>
                  </a:cubicBezTo>
                  <a:cubicBezTo>
                    <a:pt x="1209" y="6616"/>
                    <a:pt x="1231" y="6667"/>
                    <a:pt x="1275" y="6704"/>
                  </a:cubicBezTo>
                  <a:cubicBezTo>
                    <a:pt x="1312" y="6733"/>
                    <a:pt x="1333" y="6784"/>
                    <a:pt x="1341" y="6821"/>
                  </a:cubicBezTo>
                  <a:cubicBezTo>
                    <a:pt x="1348" y="6851"/>
                    <a:pt x="1363" y="6872"/>
                    <a:pt x="1370" y="6894"/>
                  </a:cubicBezTo>
                  <a:cubicBezTo>
                    <a:pt x="1385" y="6916"/>
                    <a:pt x="1385" y="6916"/>
                    <a:pt x="1385" y="6916"/>
                  </a:cubicBezTo>
                  <a:cubicBezTo>
                    <a:pt x="1407" y="6909"/>
                    <a:pt x="1407" y="6909"/>
                    <a:pt x="1407" y="6909"/>
                  </a:cubicBezTo>
                  <a:cubicBezTo>
                    <a:pt x="1465" y="6887"/>
                    <a:pt x="1465" y="6887"/>
                    <a:pt x="1465" y="6887"/>
                  </a:cubicBezTo>
                  <a:cubicBezTo>
                    <a:pt x="1480" y="6887"/>
                    <a:pt x="1524" y="6946"/>
                    <a:pt x="1546" y="6982"/>
                  </a:cubicBezTo>
                  <a:cubicBezTo>
                    <a:pt x="1583" y="7034"/>
                    <a:pt x="1619" y="7085"/>
                    <a:pt x="1663" y="7107"/>
                  </a:cubicBezTo>
                  <a:cubicBezTo>
                    <a:pt x="1678" y="7122"/>
                    <a:pt x="1700" y="7122"/>
                    <a:pt x="1714" y="7122"/>
                  </a:cubicBezTo>
                  <a:cubicBezTo>
                    <a:pt x="1744" y="7122"/>
                    <a:pt x="1766" y="7114"/>
                    <a:pt x="1788" y="7092"/>
                  </a:cubicBezTo>
                  <a:cubicBezTo>
                    <a:pt x="1817" y="7048"/>
                    <a:pt x="1824" y="6990"/>
                    <a:pt x="1810" y="6931"/>
                  </a:cubicBezTo>
                  <a:cubicBezTo>
                    <a:pt x="1795" y="6880"/>
                    <a:pt x="1802" y="6843"/>
                    <a:pt x="1817" y="6814"/>
                  </a:cubicBezTo>
                  <a:cubicBezTo>
                    <a:pt x="1832" y="6799"/>
                    <a:pt x="1846" y="6784"/>
                    <a:pt x="1876" y="6784"/>
                  </a:cubicBezTo>
                  <a:cubicBezTo>
                    <a:pt x="1883" y="6784"/>
                    <a:pt x="1890" y="6784"/>
                    <a:pt x="1890" y="6784"/>
                  </a:cubicBezTo>
                  <a:cubicBezTo>
                    <a:pt x="1920" y="6784"/>
                    <a:pt x="1920" y="6784"/>
                    <a:pt x="1942" y="6909"/>
                  </a:cubicBezTo>
                  <a:cubicBezTo>
                    <a:pt x="1942" y="6939"/>
                    <a:pt x="1949" y="6968"/>
                    <a:pt x="1956" y="6997"/>
                  </a:cubicBezTo>
                  <a:cubicBezTo>
                    <a:pt x="1971" y="7092"/>
                    <a:pt x="2030" y="7144"/>
                    <a:pt x="2118" y="7144"/>
                  </a:cubicBezTo>
                  <a:cubicBezTo>
                    <a:pt x="2162" y="7144"/>
                    <a:pt x="2205" y="7129"/>
                    <a:pt x="2235" y="7114"/>
                  </a:cubicBezTo>
                  <a:cubicBezTo>
                    <a:pt x="2257" y="7158"/>
                    <a:pt x="2301" y="7173"/>
                    <a:pt x="2381" y="7173"/>
                  </a:cubicBezTo>
                  <a:cubicBezTo>
                    <a:pt x="2396" y="7173"/>
                    <a:pt x="2396" y="7173"/>
                    <a:pt x="2396" y="7173"/>
                  </a:cubicBezTo>
                  <a:lnTo>
                    <a:pt x="2396" y="7173"/>
                  </a:lnTo>
                  <a:cubicBezTo>
                    <a:pt x="2396" y="7173"/>
                    <a:pt x="2396" y="7180"/>
                    <a:pt x="2389" y="7188"/>
                  </a:cubicBezTo>
                  <a:cubicBezTo>
                    <a:pt x="2381" y="7210"/>
                    <a:pt x="2359" y="7224"/>
                    <a:pt x="2345" y="7224"/>
                  </a:cubicBezTo>
                  <a:cubicBezTo>
                    <a:pt x="2337" y="7224"/>
                    <a:pt x="2330" y="7224"/>
                    <a:pt x="2323" y="7224"/>
                  </a:cubicBezTo>
                  <a:cubicBezTo>
                    <a:pt x="2257" y="7232"/>
                    <a:pt x="2257" y="7261"/>
                    <a:pt x="2250" y="7356"/>
                  </a:cubicBezTo>
                  <a:cubicBezTo>
                    <a:pt x="2250" y="7371"/>
                    <a:pt x="2250" y="7385"/>
                    <a:pt x="2250" y="7407"/>
                  </a:cubicBezTo>
                  <a:cubicBezTo>
                    <a:pt x="2250" y="7451"/>
                    <a:pt x="2250" y="7481"/>
                    <a:pt x="2271" y="7495"/>
                  </a:cubicBezTo>
                  <a:cubicBezTo>
                    <a:pt x="2279" y="7503"/>
                    <a:pt x="2293" y="7510"/>
                    <a:pt x="2308" y="7510"/>
                  </a:cubicBezTo>
                  <a:cubicBezTo>
                    <a:pt x="2345" y="7510"/>
                    <a:pt x="2381" y="7473"/>
                    <a:pt x="2440" y="7422"/>
                  </a:cubicBezTo>
                  <a:cubicBezTo>
                    <a:pt x="2455" y="7407"/>
                    <a:pt x="2477" y="7385"/>
                    <a:pt x="2484" y="7385"/>
                  </a:cubicBezTo>
                  <a:cubicBezTo>
                    <a:pt x="2528" y="7363"/>
                    <a:pt x="2535" y="7334"/>
                    <a:pt x="2535" y="7305"/>
                  </a:cubicBezTo>
                  <a:cubicBezTo>
                    <a:pt x="2535" y="7283"/>
                    <a:pt x="2543" y="7268"/>
                    <a:pt x="2550" y="7239"/>
                  </a:cubicBezTo>
                  <a:cubicBezTo>
                    <a:pt x="2550" y="7224"/>
                    <a:pt x="2564" y="7173"/>
                    <a:pt x="2579" y="7173"/>
                  </a:cubicBezTo>
                  <a:cubicBezTo>
                    <a:pt x="2587" y="7173"/>
                    <a:pt x="2594" y="7180"/>
                    <a:pt x="2623" y="7202"/>
                  </a:cubicBezTo>
                  <a:cubicBezTo>
                    <a:pt x="2645" y="7217"/>
                    <a:pt x="2667" y="7224"/>
                    <a:pt x="2689" y="7224"/>
                  </a:cubicBezTo>
                  <a:cubicBezTo>
                    <a:pt x="2733" y="7224"/>
                    <a:pt x="2748" y="7180"/>
                    <a:pt x="2762" y="7151"/>
                  </a:cubicBezTo>
                  <a:cubicBezTo>
                    <a:pt x="2770" y="7136"/>
                    <a:pt x="2777" y="7122"/>
                    <a:pt x="2784" y="7114"/>
                  </a:cubicBezTo>
                  <a:cubicBezTo>
                    <a:pt x="2784" y="7107"/>
                    <a:pt x="2784" y="7107"/>
                    <a:pt x="2799" y="7107"/>
                  </a:cubicBezTo>
                  <a:cubicBezTo>
                    <a:pt x="2828" y="7107"/>
                    <a:pt x="2872" y="7136"/>
                    <a:pt x="2887" y="7144"/>
                  </a:cubicBezTo>
                  <a:cubicBezTo>
                    <a:pt x="2931" y="7100"/>
                    <a:pt x="2931" y="7100"/>
                    <a:pt x="2931" y="7100"/>
                  </a:cubicBezTo>
                  <a:cubicBezTo>
                    <a:pt x="2850" y="6990"/>
                    <a:pt x="2850" y="6990"/>
                    <a:pt x="2850" y="6990"/>
                  </a:cubicBezTo>
                  <a:cubicBezTo>
                    <a:pt x="2887" y="6960"/>
                    <a:pt x="2887" y="6960"/>
                    <a:pt x="2887" y="6960"/>
                  </a:cubicBezTo>
                  <a:lnTo>
                    <a:pt x="2887" y="6960"/>
                  </a:lnTo>
                  <a:cubicBezTo>
                    <a:pt x="2894" y="6960"/>
                    <a:pt x="2894" y="6960"/>
                    <a:pt x="2894" y="6960"/>
                  </a:cubicBezTo>
                  <a:cubicBezTo>
                    <a:pt x="2902" y="6946"/>
                    <a:pt x="2902" y="6946"/>
                    <a:pt x="2902" y="6946"/>
                  </a:cubicBezTo>
                  <a:cubicBezTo>
                    <a:pt x="2902" y="6931"/>
                    <a:pt x="2902" y="6931"/>
                    <a:pt x="2902" y="6931"/>
                  </a:cubicBezTo>
                  <a:cubicBezTo>
                    <a:pt x="2902" y="6902"/>
                    <a:pt x="2894" y="6880"/>
                    <a:pt x="2880" y="6865"/>
                  </a:cubicBezTo>
                  <a:cubicBezTo>
                    <a:pt x="2872" y="6843"/>
                    <a:pt x="2858" y="6836"/>
                    <a:pt x="2828" y="6836"/>
                  </a:cubicBezTo>
                  <a:lnTo>
                    <a:pt x="2821" y="6836"/>
                  </a:lnTo>
                  <a:lnTo>
                    <a:pt x="2821" y="6829"/>
                  </a:lnTo>
                  <a:cubicBezTo>
                    <a:pt x="2821" y="6806"/>
                    <a:pt x="2828" y="6806"/>
                    <a:pt x="2828" y="6799"/>
                  </a:cubicBezTo>
                  <a:lnTo>
                    <a:pt x="2828" y="6799"/>
                  </a:lnTo>
                  <a:lnTo>
                    <a:pt x="2828" y="6799"/>
                  </a:lnTo>
                  <a:cubicBezTo>
                    <a:pt x="2850" y="6792"/>
                    <a:pt x="2872" y="6784"/>
                    <a:pt x="2887" y="6741"/>
                  </a:cubicBezTo>
                  <a:cubicBezTo>
                    <a:pt x="2902" y="6689"/>
                    <a:pt x="2902" y="6660"/>
                    <a:pt x="2894" y="6631"/>
                  </a:cubicBezTo>
                  <a:cubicBezTo>
                    <a:pt x="2894" y="6616"/>
                    <a:pt x="2887" y="6594"/>
                    <a:pt x="2887" y="6572"/>
                  </a:cubicBezTo>
                  <a:cubicBezTo>
                    <a:pt x="2887" y="6550"/>
                    <a:pt x="2887" y="6550"/>
                    <a:pt x="2902" y="6543"/>
                  </a:cubicBezTo>
                  <a:cubicBezTo>
                    <a:pt x="2909" y="6535"/>
                    <a:pt x="2931" y="6513"/>
                    <a:pt x="2945" y="6470"/>
                  </a:cubicBezTo>
                  <a:cubicBezTo>
                    <a:pt x="2960" y="6403"/>
                    <a:pt x="2953" y="6367"/>
                    <a:pt x="2945" y="6330"/>
                  </a:cubicBezTo>
                  <a:cubicBezTo>
                    <a:pt x="2938" y="6315"/>
                    <a:pt x="2938" y="6294"/>
                    <a:pt x="2931" y="6272"/>
                  </a:cubicBezTo>
                  <a:cubicBezTo>
                    <a:pt x="2924" y="6198"/>
                    <a:pt x="2894" y="6154"/>
                    <a:pt x="2865" y="6103"/>
                  </a:cubicBezTo>
                  <a:cubicBezTo>
                    <a:pt x="2850" y="6081"/>
                    <a:pt x="2850" y="6081"/>
                    <a:pt x="2850" y="6081"/>
                  </a:cubicBezTo>
                  <a:cubicBezTo>
                    <a:pt x="2836" y="6059"/>
                    <a:pt x="2836" y="6059"/>
                    <a:pt x="2836" y="6059"/>
                  </a:cubicBezTo>
                  <a:cubicBezTo>
                    <a:pt x="2799" y="6001"/>
                    <a:pt x="2748" y="5913"/>
                    <a:pt x="2726" y="5832"/>
                  </a:cubicBezTo>
                  <a:cubicBezTo>
                    <a:pt x="2704" y="5729"/>
                    <a:pt x="2711" y="5612"/>
                    <a:pt x="2726" y="5575"/>
                  </a:cubicBezTo>
                  <a:cubicBezTo>
                    <a:pt x="2777" y="5480"/>
                    <a:pt x="2770" y="5400"/>
                    <a:pt x="2711" y="5370"/>
                  </a:cubicBezTo>
                  <a:cubicBezTo>
                    <a:pt x="2652" y="5334"/>
                    <a:pt x="2638" y="5312"/>
                    <a:pt x="2660" y="5260"/>
                  </a:cubicBezTo>
                  <a:cubicBezTo>
                    <a:pt x="2660" y="5253"/>
                    <a:pt x="2660" y="5253"/>
                    <a:pt x="2660" y="5253"/>
                  </a:cubicBezTo>
                  <a:cubicBezTo>
                    <a:pt x="2689" y="5180"/>
                    <a:pt x="2704" y="5158"/>
                    <a:pt x="2777" y="5129"/>
                  </a:cubicBezTo>
                  <a:cubicBezTo>
                    <a:pt x="2792" y="5121"/>
                    <a:pt x="2806" y="5121"/>
                    <a:pt x="2821" y="5121"/>
                  </a:cubicBezTo>
                  <a:cubicBezTo>
                    <a:pt x="2843" y="5121"/>
                    <a:pt x="2865" y="5129"/>
                    <a:pt x="2880" y="5129"/>
                  </a:cubicBezTo>
                  <a:cubicBezTo>
                    <a:pt x="2902" y="5136"/>
                    <a:pt x="2916" y="5143"/>
                    <a:pt x="2931" y="5143"/>
                  </a:cubicBezTo>
                  <a:cubicBezTo>
                    <a:pt x="2931" y="5151"/>
                    <a:pt x="2924" y="5158"/>
                    <a:pt x="2924" y="5165"/>
                  </a:cubicBezTo>
                  <a:cubicBezTo>
                    <a:pt x="2975" y="5194"/>
                    <a:pt x="2975" y="5194"/>
                    <a:pt x="2975" y="5194"/>
                  </a:cubicBezTo>
                  <a:cubicBezTo>
                    <a:pt x="3012" y="5136"/>
                    <a:pt x="3078" y="5070"/>
                    <a:pt x="3099" y="5063"/>
                  </a:cubicBezTo>
                  <a:cubicBezTo>
                    <a:pt x="3136" y="5055"/>
                    <a:pt x="3187" y="5048"/>
                    <a:pt x="3231" y="5048"/>
                  </a:cubicBezTo>
                  <a:cubicBezTo>
                    <a:pt x="3283" y="5048"/>
                    <a:pt x="3305" y="5055"/>
                    <a:pt x="3312" y="5063"/>
                  </a:cubicBezTo>
                  <a:cubicBezTo>
                    <a:pt x="3341" y="5077"/>
                    <a:pt x="3385" y="5106"/>
                    <a:pt x="3422" y="5151"/>
                  </a:cubicBezTo>
                  <a:cubicBezTo>
                    <a:pt x="3451" y="5194"/>
                    <a:pt x="3517" y="5238"/>
                    <a:pt x="3590" y="5238"/>
                  </a:cubicBezTo>
                  <a:cubicBezTo>
                    <a:pt x="3605" y="5238"/>
                    <a:pt x="3620" y="5238"/>
                    <a:pt x="3642" y="5231"/>
                  </a:cubicBezTo>
                  <a:cubicBezTo>
                    <a:pt x="3722" y="5202"/>
                    <a:pt x="3759" y="5158"/>
                    <a:pt x="3759" y="5092"/>
                  </a:cubicBezTo>
                  <a:cubicBezTo>
                    <a:pt x="3759" y="5070"/>
                    <a:pt x="3774" y="5055"/>
                    <a:pt x="3788" y="5041"/>
                  </a:cubicBezTo>
                  <a:cubicBezTo>
                    <a:pt x="3803" y="5019"/>
                    <a:pt x="3818" y="4997"/>
                    <a:pt x="3818" y="4967"/>
                  </a:cubicBezTo>
                  <a:cubicBezTo>
                    <a:pt x="3818" y="4923"/>
                    <a:pt x="3788" y="4909"/>
                    <a:pt x="3774" y="4901"/>
                  </a:cubicBezTo>
                  <a:cubicBezTo>
                    <a:pt x="3752" y="4887"/>
                    <a:pt x="3752" y="4887"/>
                    <a:pt x="3752" y="4872"/>
                  </a:cubicBezTo>
                  <a:cubicBezTo>
                    <a:pt x="3752" y="4835"/>
                    <a:pt x="3744" y="4777"/>
                    <a:pt x="3744" y="4733"/>
                  </a:cubicBezTo>
                  <a:cubicBezTo>
                    <a:pt x="3781" y="4740"/>
                    <a:pt x="3825" y="4747"/>
                    <a:pt x="3832" y="4762"/>
                  </a:cubicBezTo>
                  <a:cubicBezTo>
                    <a:pt x="3847" y="4770"/>
                    <a:pt x="3869" y="4777"/>
                    <a:pt x="3898" y="4777"/>
                  </a:cubicBezTo>
                  <a:cubicBezTo>
                    <a:pt x="3964" y="4777"/>
                    <a:pt x="4067" y="4747"/>
                    <a:pt x="4067" y="4740"/>
                  </a:cubicBezTo>
                  <a:cubicBezTo>
                    <a:pt x="4177" y="4711"/>
                    <a:pt x="4177" y="4711"/>
                    <a:pt x="4177" y="4711"/>
                  </a:cubicBezTo>
                  <a:cubicBezTo>
                    <a:pt x="4067" y="4682"/>
                    <a:pt x="4067" y="4682"/>
                    <a:pt x="4067" y="4682"/>
                  </a:cubicBezTo>
                  <a:cubicBezTo>
                    <a:pt x="4045" y="4682"/>
                    <a:pt x="4023" y="4674"/>
                    <a:pt x="4015" y="4667"/>
                  </a:cubicBezTo>
                  <a:cubicBezTo>
                    <a:pt x="4015" y="4660"/>
                    <a:pt x="4023" y="4660"/>
                    <a:pt x="4023" y="4660"/>
                  </a:cubicBezTo>
                  <a:cubicBezTo>
                    <a:pt x="4045" y="4638"/>
                    <a:pt x="4067" y="4630"/>
                    <a:pt x="4089" y="4623"/>
                  </a:cubicBezTo>
                  <a:cubicBezTo>
                    <a:pt x="4111" y="4623"/>
                    <a:pt x="4147" y="4608"/>
                    <a:pt x="4177" y="4572"/>
                  </a:cubicBezTo>
                  <a:cubicBezTo>
                    <a:pt x="4184" y="4564"/>
                    <a:pt x="4191" y="4557"/>
                    <a:pt x="4199" y="4550"/>
                  </a:cubicBezTo>
                  <a:cubicBezTo>
                    <a:pt x="4228" y="4506"/>
                    <a:pt x="4257" y="4476"/>
                    <a:pt x="4257" y="4396"/>
                  </a:cubicBezTo>
                  <a:cubicBezTo>
                    <a:pt x="4257" y="4366"/>
                    <a:pt x="4250" y="4337"/>
                    <a:pt x="4235" y="4308"/>
                  </a:cubicBezTo>
                  <a:cubicBezTo>
                    <a:pt x="4221" y="4264"/>
                    <a:pt x="4206" y="4234"/>
                    <a:pt x="4243" y="4191"/>
                  </a:cubicBezTo>
                  <a:cubicBezTo>
                    <a:pt x="4279" y="4139"/>
                    <a:pt x="4294" y="4139"/>
                    <a:pt x="4294" y="4139"/>
                  </a:cubicBezTo>
                  <a:cubicBezTo>
                    <a:pt x="4301" y="4139"/>
                    <a:pt x="4309" y="4147"/>
                    <a:pt x="4323" y="4154"/>
                  </a:cubicBezTo>
                  <a:cubicBezTo>
                    <a:pt x="4323" y="4154"/>
                    <a:pt x="4331" y="4161"/>
                    <a:pt x="4338" y="4161"/>
                  </a:cubicBezTo>
                  <a:cubicBezTo>
                    <a:pt x="4360" y="4176"/>
                    <a:pt x="4396" y="4183"/>
                    <a:pt x="4440" y="4183"/>
                  </a:cubicBezTo>
                  <a:cubicBezTo>
                    <a:pt x="4506" y="4183"/>
                    <a:pt x="4594" y="4169"/>
                    <a:pt x="4645" y="4110"/>
                  </a:cubicBezTo>
                  <a:cubicBezTo>
                    <a:pt x="4675" y="4088"/>
                    <a:pt x="4704" y="4066"/>
                    <a:pt x="4733" y="4044"/>
                  </a:cubicBezTo>
                  <a:cubicBezTo>
                    <a:pt x="4770" y="4015"/>
                    <a:pt x="4814" y="3985"/>
                    <a:pt x="4836" y="3949"/>
                  </a:cubicBezTo>
                  <a:cubicBezTo>
                    <a:pt x="4851" y="3912"/>
                    <a:pt x="4858" y="3883"/>
                    <a:pt x="4858" y="3861"/>
                  </a:cubicBezTo>
                  <a:cubicBezTo>
                    <a:pt x="4858" y="3832"/>
                    <a:pt x="4858" y="3817"/>
                    <a:pt x="4880" y="3795"/>
                  </a:cubicBezTo>
                  <a:cubicBezTo>
                    <a:pt x="4895" y="3773"/>
                    <a:pt x="4909" y="3751"/>
                    <a:pt x="4931" y="3736"/>
                  </a:cubicBezTo>
                  <a:cubicBezTo>
                    <a:pt x="4953" y="3714"/>
                    <a:pt x="4953" y="3714"/>
                    <a:pt x="4953" y="3714"/>
                  </a:cubicBezTo>
                  <a:cubicBezTo>
                    <a:pt x="4939" y="3692"/>
                    <a:pt x="4939" y="3692"/>
                    <a:pt x="4939" y="3692"/>
                  </a:cubicBezTo>
                  <a:cubicBezTo>
                    <a:pt x="4931" y="3685"/>
                    <a:pt x="4931" y="3685"/>
                    <a:pt x="4931" y="3685"/>
                  </a:cubicBezTo>
                  <a:cubicBezTo>
                    <a:pt x="4924" y="3663"/>
                    <a:pt x="4909" y="3612"/>
                    <a:pt x="4902" y="3568"/>
                  </a:cubicBezTo>
                  <a:cubicBezTo>
                    <a:pt x="4902" y="3546"/>
                    <a:pt x="4902" y="3538"/>
                    <a:pt x="4895" y="3524"/>
                  </a:cubicBezTo>
                  <a:cubicBezTo>
                    <a:pt x="4895" y="3502"/>
                    <a:pt x="4887" y="3487"/>
                    <a:pt x="4895" y="3465"/>
                  </a:cubicBezTo>
                  <a:cubicBezTo>
                    <a:pt x="4902" y="3472"/>
                    <a:pt x="4902" y="3472"/>
                    <a:pt x="4909" y="3472"/>
                  </a:cubicBezTo>
                  <a:cubicBezTo>
                    <a:pt x="4909" y="3472"/>
                    <a:pt x="4931" y="3465"/>
                    <a:pt x="4939" y="3443"/>
                  </a:cubicBezTo>
                  <a:cubicBezTo>
                    <a:pt x="4946" y="3414"/>
                    <a:pt x="4968" y="3348"/>
                    <a:pt x="4924" y="3297"/>
                  </a:cubicBezTo>
                  <a:cubicBezTo>
                    <a:pt x="4917" y="3282"/>
                    <a:pt x="4909" y="3267"/>
                    <a:pt x="4902" y="3253"/>
                  </a:cubicBezTo>
                  <a:cubicBezTo>
                    <a:pt x="4895" y="3231"/>
                    <a:pt x="4880" y="3201"/>
                    <a:pt x="4836" y="3194"/>
                  </a:cubicBezTo>
                  <a:cubicBezTo>
                    <a:pt x="4829" y="3187"/>
                    <a:pt x="4821" y="3187"/>
                    <a:pt x="4814" y="3187"/>
                  </a:cubicBezTo>
                  <a:cubicBezTo>
                    <a:pt x="4785" y="3187"/>
                    <a:pt x="4763" y="3201"/>
                    <a:pt x="4733" y="3216"/>
                  </a:cubicBezTo>
                  <a:cubicBezTo>
                    <a:pt x="4726" y="3216"/>
                    <a:pt x="4719" y="3223"/>
                    <a:pt x="4712" y="3231"/>
                  </a:cubicBezTo>
                  <a:cubicBezTo>
                    <a:pt x="4675" y="3245"/>
                    <a:pt x="4653" y="3260"/>
                    <a:pt x="4645" y="3282"/>
                  </a:cubicBezTo>
                  <a:cubicBezTo>
                    <a:pt x="4638" y="3311"/>
                    <a:pt x="4653" y="3341"/>
                    <a:pt x="4660" y="3363"/>
                  </a:cubicBezTo>
                  <a:lnTo>
                    <a:pt x="4660" y="3363"/>
                  </a:lnTo>
                  <a:cubicBezTo>
                    <a:pt x="4645" y="3370"/>
                    <a:pt x="4602" y="3370"/>
                    <a:pt x="4587" y="3370"/>
                  </a:cubicBezTo>
                  <a:cubicBezTo>
                    <a:pt x="4565" y="3370"/>
                    <a:pt x="4550" y="3363"/>
                    <a:pt x="4543" y="3319"/>
                  </a:cubicBezTo>
                  <a:cubicBezTo>
                    <a:pt x="4536" y="3311"/>
                    <a:pt x="4536" y="3304"/>
                    <a:pt x="4536" y="3297"/>
                  </a:cubicBezTo>
                  <a:cubicBezTo>
                    <a:pt x="4536" y="3289"/>
                    <a:pt x="4528" y="3275"/>
                    <a:pt x="4528" y="3267"/>
                  </a:cubicBezTo>
                  <a:cubicBezTo>
                    <a:pt x="4580" y="3267"/>
                    <a:pt x="4602" y="3216"/>
                    <a:pt x="4616" y="3172"/>
                  </a:cubicBezTo>
                  <a:cubicBezTo>
                    <a:pt x="4624" y="3157"/>
                    <a:pt x="4631" y="3135"/>
                    <a:pt x="4638" y="3128"/>
                  </a:cubicBezTo>
                  <a:cubicBezTo>
                    <a:pt x="4675" y="3077"/>
                    <a:pt x="4675" y="3018"/>
                    <a:pt x="4631" y="2982"/>
                  </a:cubicBezTo>
                  <a:cubicBezTo>
                    <a:pt x="4638" y="2974"/>
                    <a:pt x="4645" y="2974"/>
                    <a:pt x="4653" y="2967"/>
                  </a:cubicBezTo>
                  <a:cubicBezTo>
                    <a:pt x="4697" y="2930"/>
                    <a:pt x="4682" y="2894"/>
                    <a:pt x="4675" y="2864"/>
                  </a:cubicBezTo>
                  <a:cubicBezTo>
                    <a:pt x="4675" y="2850"/>
                    <a:pt x="4668" y="2835"/>
                    <a:pt x="4675" y="2820"/>
                  </a:cubicBezTo>
                  <a:cubicBezTo>
                    <a:pt x="4690" y="2784"/>
                    <a:pt x="4741" y="2769"/>
                    <a:pt x="4785" y="2769"/>
                  </a:cubicBezTo>
                  <a:cubicBezTo>
                    <a:pt x="4821" y="2769"/>
                    <a:pt x="4836" y="2747"/>
                    <a:pt x="4843" y="2740"/>
                  </a:cubicBezTo>
                  <a:cubicBezTo>
                    <a:pt x="4858" y="2710"/>
                    <a:pt x="4851" y="2681"/>
                    <a:pt x="4821" y="2644"/>
                  </a:cubicBezTo>
                  <a:cubicBezTo>
                    <a:pt x="4821" y="2637"/>
                    <a:pt x="4821" y="2630"/>
                    <a:pt x="4814" y="2630"/>
                  </a:cubicBezTo>
                  <a:cubicBezTo>
                    <a:pt x="4821" y="2630"/>
                    <a:pt x="4829" y="2622"/>
                    <a:pt x="4851" y="2622"/>
                  </a:cubicBezTo>
                  <a:cubicBezTo>
                    <a:pt x="4865" y="2622"/>
                    <a:pt x="4909" y="2615"/>
                    <a:pt x="4924" y="2586"/>
                  </a:cubicBezTo>
                  <a:cubicBezTo>
                    <a:pt x="4931" y="2549"/>
                    <a:pt x="4902" y="2527"/>
                    <a:pt x="4880" y="2498"/>
                  </a:cubicBezTo>
                  <a:cubicBezTo>
                    <a:pt x="4873" y="2491"/>
                    <a:pt x="4865" y="2491"/>
                    <a:pt x="4865" y="2483"/>
                  </a:cubicBezTo>
                  <a:cubicBezTo>
                    <a:pt x="4821" y="2447"/>
                    <a:pt x="4792" y="2432"/>
                    <a:pt x="4763" y="2410"/>
                  </a:cubicBezTo>
                  <a:cubicBezTo>
                    <a:pt x="4755" y="2410"/>
                    <a:pt x="4755" y="2410"/>
                    <a:pt x="4748" y="2403"/>
                  </a:cubicBezTo>
                  <a:cubicBezTo>
                    <a:pt x="4770" y="2410"/>
                    <a:pt x="4800" y="2410"/>
                    <a:pt x="4836" y="2410"/>
                  </a:cubicBezTo>
                  <a:cubicBezTo>
                    <a:pt x="4858" y="2410"/>
                    <a:pt x="4909" y="2410"/>
                    <a:pt x="4917" y="2373"/>
                  </a:cubicBezTo>
                  <a:cubicBezTo>
                    <a:pt x="4931" y="2344"/>
                    <a:pt x="4895" y="2315"/>
                    <a:pt x="4865" y="2293"/>
                  </a:cubicBezTo>
                  <a:cubicBezTo>
                    <a:pt x="4858" y="2285"/>
                    <a:pt x="4836" y="2263"/>
                    <a:pt x="4821" y="2161"/>
                  </a:cubicBezTo>
                  <a:lnTo>
                    <a:pt x="4821" y="2153"/>
                  </a:lnTo>
                  <a:lnTo>
                    <a:pt x="4821" y="2153"/>
                  </a:lnTo>
                  <a:lnTo>
                    <a:pt x="4821" y="2153"/>
                  </a:lnTo>
                  <a:cubicBezTo>
                    <a:pt x="4836" y="2153"/>
                    <a:pt x="4843" y="2161"/>
                    <a:pt x="4851" y="2168"/>
                  </a:cubicBezTo>
                  <a:cubicBezTo>
                    <a:pt x="4865" y="2183"/>
                    <a:pt x="4887" y="2197"/>
                    <a:pt x="4909" y="2197"/>
                  </a:cubicBezTo>
                  <a:cubicBezTo>
                    <a:pt x="4939" y="2197"/>
                    <a:pt x="4968" y="2175"/>
                    <a:pt x="4990" y="2161"/>
                  </a:cubicBezTo>
                  <a:lnTo>
                    <a:pt x="4997" y="2168"/>
                  </a:lnTo>
                  <a:cubicBezTo>
                    <a:pt x="5012" y="2183"/>
                    <a:pt x="5034" y="2212"/>
                    <a:pt x="5071" y="2220"/>
                  </a:cubicBezTo>
                  <a:cubicBezTo>
                    <a:pt x="5085" y="2227"/>
                    <a:pt x="5093" y="2227"/>
                    <a:pt x="5100" y="2227"/>
                  </a:cubicBezTo>
                  <a:cubicBezTo>
                    <a:pt x="5144" y="2227"/>
                    <a:pt x="5159" y="2190"/>
                    <a:pt x="5173" y="2161"/>
                  </a:cubicBezTo>
                  <a:cubicBezTo>
                    <a:pt x="5181" y="2153"/>
                    <a:pt x="5181" y="2139"/>
                    <a:pt x="5188" y="2124"/>
                  </a:cubicBezTo>
                  <a:cubicBezTo>
                    <a:pt x="5232" y="2058"/>
                    <a:pt x="5202" y="2022"/>
                    <a:pt x="5181" y="2000"/>
                  </a:cubicBezTo>
                  <a:cubicBezTo>
                    <a:pt x="5181" y="1992"/>
                    <a:pt x="5173" y="1992"/>
                    <a:pt x="5173" y="1985"/>
                  </a:cubicBezTo>
                  <a:cubicBezTo>
                    <a:pt x="5159" y="1970"/>
                    <a:pt x="5144" y="1963"/>
                    <a:pt x="5129" y="1948"/>
                  </a:cubicBezTo>
                  <a:cubicBezTo>
                    <a:pt x="5122" y="1948"/>
                    <a:pt x="5107" y="1941"/>
                    <a:pt x="5093" y="1926"/>
                  </a:cubicBezTo>
                  <a:cubicBezTo>
                    <a:pt x="5085" y="1919"/>
                    <a:pt x="5085" y="1919"/>
                    <a:pt x="5085" y="1919"/>
                  </a:cubicBezTo>
                  <a:cubicBezTo>
                    <a:pt x="5085" y="1912"/>
                    <a:pt x="5093" y="1904"/>
                    <a:pt x="5100" y="1904"/>
                  </a:cubicBezTo>
                  <a:cubicBezTo>
                    <a:pt x="5107" y="1890"/>
                    <a:pt x="5107" y="1890"/>
                    <a:pt x="5107" y="1890"/>
                  </a:cubicBezTo>
                  <a:cubicBezTo>
                    <a:pt x="5144" y="1853"/>
                    <a:pt x="5159" y="1838"/>
                    <a:pt x="5159" y="1831"/>
                  </a:cubicBezTo>
                  <a:cubicBezTo>
                    <a:pt x="5173" y="1802"/>
                    <a:pt x="5173" y="1802"/>
                    <a:pt x="5173" y="1802"/>
                  </a:cubicBezTo>
                  <a:cubicBezTo>
                    <a:pt x="5166" y="1794"/>
                    <a:pt x="5166" y="1794"/>
                    <a:pt x="5166" y="1794"/>
                  </a:cubicBezTo>
                  <a:cubicBezTo>
                    <a:pt x="5181" y="1787"/>
                    <a:pt x="5188" y="1758"/>
                    <a:pt x="5188" y="1743"/>
                  </a:cubicBezTo>
                  <a:cubicBezTo>
                    <a:pt x="5188" y="1721"/>
                    <a:pt x="5188" y="1699"/>
                    <a:pt x="5188" y="1684"/>
                  </a:cubicBezTo>
                  <a:cubicBezTo>
                    <a:pt x="5181" y="1655"/>
                    <a:pt x="5181" y="1655"/>
                    <a:pt x="5188" y="1648"/>
                  </a:cubicBezTo>
                  <a:cubicBezTo>
                    <a:pt x="5217" y="1633"/>
                    <a:pt x="5239" y="1605"/>
                    <a:pt x="5239" y="1575"/>
                  </a:cubicBezTo>
                  <a:cubicBezTo>
                    <a:pt x="5239" y="1546"/>
                    <a:pt x="5224" y="1524"/>
                    <a:pt x="5210" y="1510"/>
                  </a:cubicBezTo>
                  <a:cubicBezTo>
                    <a:pt x="5188" y="1502"/>
                    <a:pt x="5063" y="1422"/>
                    <a:pt x="4990" y="1414"/>
                  </a:cubicBezTo>
                  <a:cubicBezTo>
                    <a:pt x="4939" y="1407"/>
                    <a:pt x="4865" y="1356"/>
                    <a:pt x="4851" y="1319"/>
                  </a:cubicBezTo>
                  <a:cubicBezTo>
                    <a:pt x="4851" y="1312"/>
                    <a:pt x="4851" y="1304"/>
                    <a:pt x="4851" y="1297"/>
                  </a:cubicBezTo>
                  <a:cubicBezTo>
                    <a:pt x="4836" y="1253"/>
                    <a:pt x="4821" y="1209"/>
                    <a:pt x="4748" y="1209"/>
                  </a:cubicBezTo>
                  <a:cubicBezTo>
                    <a:pt x="4704" y="1209"/>
                    <a:pt x="4682" y="1195"/>
                    <a:pt x="4660" y="1158"/>
                  </a:cubicBezTo>
                  <a:cubicBezTo>
                    <a:pt x="4653" y="1143"/>
                    <a:pt x="4653" y="1129"/>
                    <a:pt x="4653" y="1114"/>
                  </a:cubicBezTo>
                  <a:cubicBezTo>
                    <a:pt x="4645" y="1092"/>
                    <a:pt x="4638" y="1070"/>
                    <a:pt x="4616" y="1048"/>
                  </a:cubicBezTo>
                  <a:cubicBezTo>
                    <a:pt x="4602" y="1033"/>
                    <a:pt x="4602" y="967"/>
                    <a:pt x="4609" y="945"/>
                  </a:cubicBezTo>
                  <a:cubicBezTo>
                    <a:pt x="4609" y="938"/>
                    <a:pt x="4609" y="938"/>
                    <a:pt x="4609" y="931"/>
                  </a:cubicBezTo>
                  <a:lnTo>
                    <a:pt x="4609" y="931"/>
                  </a:lnTo>
                  <a:cubicBezTo>
                    <a:pt x="4609" y="916"/>
                    <a:pt x="4609" y="916"/>
                    <a:pt x="4609" y="916"/>
                  </a:cubicBezTo>
                  <a:lnTo>
                    <a:pt x="4609" y="916"/>
                  </a:lnTo>
                  <a:lnTo>
                    <a:pt x="4609" y="909"/>
                  </a:lnTo>
                  <a:cubicBezTo>
                    <a:pt x="4602" y="872"/>
                    <a:pt x="4602" y="872"/>
                    <a:pt x="4602" y="872"/>
                  </a:cubicBezTo>
                  <a:lnTo>
                    <a:pt x="4602" y="872"/>
                  </a:lnTo>
                  <a:cubicBezTo>
                    <a:pt x="4587" y="835"/>
                    <a:pt x="4572" y="813"/>
                    <a:pt x="4543" y="792"/>
                  </a:cubicBezTo>
                  <a:cubicBezTo>
                    <a:pt x="4521" y="777"/>
                    <a:pt x="4499" y="762"/>
                    <a:pt x="4470" y="762"/>
                  </a:cubicBezTo>
                  <a:cubicBezTo>
                    <a:pt x="4455" y="762"/>
                    <a:pt x="4440" y="762"/>
                    <a:pt x="4418" y="770"/>
                  </a:cubicBezTo>
                  <a:cubicBezTo>
                    <a:pt x="4411" y="777"/>
                    <a:pt x="4396" y="784"/>
                    <a:pt x="4389" y="799"/>
                  </a:cubicBezTo>
                  <a:cubicBezTo>
                    <a:pt x="4382" y="792"/>
                    <a:pt x="4374" y="784"/>
                    <a:pt x="4360" y="784"/>
                  </a:cubicBezTo>
                  <a:cubicBezTo>
                    <a:pt x="4323" y="784"/>
                    <a:pt x="4286" y="813"/>
                    <a:pt x="4272" y="857"/>
                  </a:cubicBezTo>
                  <a:cubicBezTo>
                    <a:pt x="4257" y="880"/>
                    <a:pt x="4235" y="894"/>
                    <a:pt x="4206" y="909"/>
                  </a:cubicBezTo>
                  <a:cubicBezTo>
                    <a:pt x="4191" y="916"/>
                    <a:pt x="4177" y="923"/>
                    <a:pt x="4162" y="938"/>
                  </a:cubicBezTo>
                  <a:cubicBezTo>
                    <a:pt x="4140" y="945"/>
                    <a:pt x="4133" y="953"/>
                    <a:pt x="4125" y="953"/>
                  </a:cubicBezTo>
                  <a:cubicBezTo>
                    <a:pt x="4103" y="960"/>
                    <a:pt x="4089" y="967"/>
                    <a:pt x="4089" y="1004"/>
                  </a:cubicBezTo>
                  <a:cubicBezTo>
                    <a:pt x="4089" y="1041"/>
                    <a:pt x="4125" y="1106"/>
                    <a:pt x="4191" y="1136"/>
                  </a:cubicBezTo>
                  <a:cubicBezTo>
                    <a:pt x="4199" y="1136"/>
                    <a:pt x="4199" y="1136"/>
                    <a:pt x="4206" y="1136"/>
                  </a:cubicBezTo>
                  <a:cubicBezTo>
                    <a:pt x="4199" y="1143"/>
                    <a:pt x="4184" y="1158"/>
                    <a:pt x="4177" y="1165"/>
                  </a:cubicBezTo>
                  <a:cubicBezTo>
                    <a:pt x="4162" y="1180"/>
                    <a:pt x="4162" y="1180"/>
                    <a:pt x="4162" y="1180"/>
                  </a:cubicBezTo>
                  <a:cubicBezTo>
                    <a:pt x="4154" y="1187"/>
                    <a:pt x="4154" y="1187"/>
                    <a:pt x="4147" y="1187"/>
                  </a:cubicBezTo>
                  <a:cubicBezTo>
                    <a:pt x="4147" y="1187"/>
                    <a:pt x="4125" y="1180"/>
                    <a:pt x="4103" y="1143"/>
                  </a:cubicBezTo>
                  <a:cubicBezTo>
                    <a:pt x="4081" y="1121"/>
                    <a:pt x="4030" y="1099"/>
                    <a:pt x="3957" y="1070"/>
                  </a:cubicBezTo>
                  <a:cubicBezTo>
                    <a:pt x="3920" y="1055"/>
                    <a:pt x="3883" y="1041"/>
                    <a:pt x="3862" y="1026"/>
                  </a:cubicBezTo>
                  <a:cubicBezTo>
                    <a:pt x="3832" y="1011"/>
                    <a:pt x="3832" y="997"/>
                    <a:pt x="3840" y="953"/>
                  </a:cubicBezTo>
                  <a:cubicBezTo>
                    <a:pt x="3840" y="938"/>
                    <a:pt x="3840" y="938"/>
                    <a:pt x="3840" y="938"/>
                  </a:cubicBezTo>
                  <a:cubicBezTo>
                    <a:pt x="3847" y="909"/>
                    <a:pt x="3854" y="894"/>
                    <a:pt x="3891" y="887"/>
                  </a:cubicBezTo>
                  <a:cubicBezTo>
                    <a:pt x="3950" y="880"/>
                    <a:pt x="3964" y="865"/>
                    <a:pt x="3986" y="828"/>
                  </a:cubicBezTo>
                  <a:cubicBezTo>
                    <a:pt x="3986" y="821"/>
                    <a:pt x="3986" y="813"/>
                    <a:pt x="3993" y="806"/>
                  </a:cubicBezTo>
                  <a:cubicBezTo>
                    <a:pt x="4015" y="762"/>
                    <a:pt x="3993" y="726"/>
                    <a:pt x="3986" y="711"/>
                  </a:cubicBezTo>
                  <a:cubicBezTo>
                    <a:pt x="3979" y="704"/>
                    <a:pt x="3979" y="696"/>
                    <a:pt x="3979" y="696"/>
                  </a:cubicBezTo>
                  <a:cubicBezTo>
                    <a:pt x="3993" y="645"/>
                    <a:pt x="3950" y="550"/>
                    <a:pt x="3920" y="521"/>
                  </a:cubicBezTo>
                  <a:cubicBezTo>
                    <a:pt x="3913" y="513"/>
                    <a:pt x="3905" y="506"/>
                    <a:pt x="3905" y="491"/>
                  </a:cubicBezTo>
                  <a:cubicBezTo>
                    <a:pt x="3905" y="484"/>
                    <a:pt x="3913" y="476"/>
                    <a:pt x="3927" y="462"/>
                  </a:cubicBezTo>
                  <a:cubicBezTo>
                    <a:pt x="3950" y="447"/>
                    <a:pt x="3957" y="418"/>
                    <a:pt x="3950" y="396"/>
                  </a:cubicBezTo>
                  <a:cubicBezTo>
                    <a:pt x="3971" y="396"/>
                    <a:pt x="3986" y="381"/>
                    <a:pt x="3986" y="374"/>
                  </a:cubicBezTo>
                  <a:cubicBezTo>
                    <a:pt x="4001" y="352"/>
                    <a:pt x="3986" y="330"/>
                    <a:pt x="3971" y="308"/>
                  </a:cubicBezTo>
                  <a:cubicBezTo>
                    <a:pt x="3979" y="308"/>
                    <a:pt x="3986" y="315"/>
                    <a:pt x="3993" y="315"/>
                  </a:cubicBezTo>
                  <a:cubicBezTo>
                    <a:pt x="4008" y="323"/>
                    <a:pt x="4023" y="323"/>
                    <a:pt x="4030" y="323"/>
                  </a:cubicBezTo>
                  <a:cubicBezTo>
                    <a:pt x="4059" y="323"/>
                    <a:pt x="4081" y="308"/>
                    <a:pt x="4089" y="279"/>
                  </a:cubicBezTo>
                  <a:cubicBezTo>
                    <a:pt x="4096" y="249"/>
                    <a:pt x="4096" y="213"/>
                    <a:pt x="4067" y="198"/>
                  </a:cubicBezTo>
                  <a:cubicBezTo>
                    <a:pt x="4030" y="169"/>
                    <a:pt x="3986" y="125"/>
                    <a:pt x="3979" y="103"/>
                  </a:cubicBezTo>
                  <a:cubicBezTo>
                    <a:pt x="3971" y="73"/>
                    <a:pt x="3942" y="52"/>
                    <a:pt x="3898" y="52"/>
                  </a:cubicBezTo>
                  <a:cubicBezTo>
                    <a:pt x="3876" y="52"/>
                    <a:pt x="3840" y="59"/>
                    <a:pt x="3810" y="73"/>
                  </a:cubicBezTo>
                  <a:cubicBezTo>
                    <a:pt x="3781" y="88"/>
                    <a:pt x="3766" y="88"/>
                    <a:pt x="3744" y="88"/>
                  </a:cubicBezTo>
                  <a:cubicBezTo>
                    <a:pt x="3737" y="88"/>
                    <a:pt x="3730" y="88"/>
                    <a:pt x="3722" y="88"/>
                  </a:cubicBezTo>
                  <a:cubicBezTo>
                    <a:pt x="3715" y="88"/>
                    <a:pt x="3700" y="88"/>
                    <a:pt x="3693" y="88"/>
                  </a:cubicBezTo>
                  <a:cubicBezTo>
                    <a:pt x="3693" y="88"/>
                    <a:pt x="3686" y="73"/>
                    <a:pt x="3678" y="66"/>
                  </a:cubicBezTo>
                  <a:cubicBezTo>
                    <a:pt x="3671" y="44"/>
                    <a:pt x="3656" y="7"/>
                    <a:pt x="3620" y="0"/>
                  </a:cubicBezTo>
                  <a:cubicBezTo>
                    <a:pt x="3612" y="0"/>
                    <a:pt x="3612" y="0"/>
                    <a:pt x="3605" y="0"/>
                  </a:cubicBezTo>
                  <a:lnTo>
                    <a:pt x="3605" y="0"/>
                  </a:lnTo>
                  <a:lnTo>
                    <a:pt x="3605" y="30"/>
                  </a:lnTo>
                  <a:close/>
                  <a:moveTo>
                    <a:pt x="5012" y="1729"/>
                  </a:moveTo>
                  <a:lnTo>
                    <a:pt x="5012" y="1729"/>
                  </a:lnTo>
                  <a:cubicBezTo>
                    <a:pt x="5019" y="1729"/>
                    <a:pt x="5019" y="1721"/>
                    <a:pt x="5034" y="1714"/>
                  </a:cubicBezTo>
                  <a:cubicBezTo>
                    <a:pt x="5049" y="1699"/>
                    <a:pt x="5056" y="1699"/>
                    <a:pt x="5056" y="1699"/>
                  </a:cubicBezTo>
                  <a:cubicBezTo>
                    <a:pt x="5056" y="1699"/>
                    <a:pt x="5063" y="1706"/>
                    <a:pt x="5078" y="1736"/>
                  </a:cubicBezTo>
                  <a:cubicBezTo>
                    <a:pt x="5085" y="1751"/>
                    <a:pt x="5085" y="1765"/>
                    <a:pt x="5093" y="1772"/>
                  </a:cubicBezTo>
                  <a:cubicBezTo>
                    <a:pt x="5078" y="1765"/>
                    <a:pt x="5063" y="1758"/>
                    <a:pt x="5041" y="1751"/>
                  </a:cubicBezTo>
                  <a:cubicBezTo>
                    <a:pt x="5019" y="1736"/>
                    <a:pt x="5019" y="1729"/>
                    <a:pt x="5012" y="1729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03" name="Freeform 102"/>
            <p:cNvSpPr>
              <a:spLocks noChangeArrowheads="1"/>
            </p:cNvSpPr>
            <p:nvPr/>
          </p:nvSpPr>
          <p:spPr bwMode="auto">
            <a:xfrm>
              <a:off x="6596783" y="6889745"/>
              <a:ext cx="2243404" cy="1820258"/>
            </a:xfrm>
            <a:custGeom>
              <a:avLst/>
              <a:gdLst>
                <a:gd name="T0" fmla="*/ 1538 w 5840"/>
                <a:gd name="T1" fmla="*/ 4491 h 4793"/>
                <a:gd name="T2" fmla="*/ 1215 w 5840"/>
                <a:gd name="T3" fmla="*/ 4227 h 4793"/>
                <a:gd name="T4" fmla="*/ 769 w 5840"/>
                <a:gd name="T5" fmla="*/ 3773 h 4793"/>
                <a:gd name="T6" fmla="*/ 528 w 5840"/>
                <a:gd name="T7" fmla="*/ 3700 h 4793"/>
                <a:gd name="T8" fmla="*/ 388 w 5840"/>
                <a:gd name="T9" fmla="*/ 3458 h 4793"/>
                <a:gd name="T10" fmla="*/ 278 w 5840"/>
                <a:gd name="T11" fmla="*/ 3275 h 4793"/>
                <a:gd name="T12" fmla="*/ 15 w 5840"/>
                <a:gd name="T13" fmla="*/ 3326 h 4793"/>
                <a:gd name="T14" fmla="*/ 117 w 5840"/>
                <a:gd name="T15" fmla="*/ 2974 h 4793"/>
                <a:gd name="T16" fmla="*/ 293 w 5840"/>
                <a:gd name="T17" fmla="*/ 2630 h 4793"/>
                <a:gd name="T18" fmla="*/ 168 w 5840"/>
                <a:gd name="T19" fmla="*/ 2439 h 4793"/>
                <a:gd name="T20" fmla="*/ 300 w 5840"/>
                <a:gd name="T21" fmla="*/ 2190 h 4793"/>
                <a:gd name="T22" fmla="*/ 557 w 5840"/>
                <a:gd name="T23" fmla="*/ 2161 h 4793"/>
                <a:gd name="T24" fmla="*/ 630 w 5840"/>
                <a:gd name="T25" fmla="*/ 2014 h 4793"/>
                <a:gd name="T26" fmla="*/ 491 w 5840"/>
                <a:gd name="T27" fmla="*/ 1758 h 4793"/>
                <a:gd name="T28" fmla="*/ 689 w 5840"/>
                <a:gd name="T29" fmla="*/ 1633 h 4793"/>
                <a:gd name="T30" fmla="*/ 147 w 5840"/>
                <a:gd name="T31" fmla="*/ 1202 h 4793"/>
                <a:gd name="T32" fmla="*/ 227 w 5840"/>
                <a:gd name="T33" fmla="*/ 850 h 4793"/>
                <a:gd name="T34" fmla="*/ 637 w 5840"/>
                <a:gd name="T35" fmla="*/ 579 h 4793"/>
                <a:gd name="T36" fmla="*/ 931 w 5840"/>
                <a:gd name="T37" fmla="*/ 433 h 4793"/>
                <a:gd name="T38" fmla="*/ 1377 w 5840"/>
                <a:gd name="T39" fmla="*/ 330 h 4793"/>
                <a:gd name="T40" fmla="*/ 1596 w 5840"/>
                <a:gd name="T41" fmla="*/ 249 h 4793"/>
                <a:gd name="T42" fmla="*/ 1648 w 5840"/>
                <a:gd name="T43" fmla="*/ 15 h 4793"/>
                <a:gd name="T44" fmla="*/ 1867 w 5840"/>
                <a:gd name="T45" fmla="*/ 7 h 4793"/>
                <a:gd name="T46" fmla="*/ 2124 w 5840"/>
                <a:gd name="T47" fmla="*/ 110 h 4793"/>
                <a:gd name="T48" fmla="*/ 2190 w 5840"/>
                <a:gd name="T49" fmla="*/ 403 h 4793"/>
                <a:gd name="T50" fmla="*/ 2403 w 5840"/>
                <a:gd name="T51" fmla="*/ 718 h 4793"/>
                <a:gd name="T52" fmla="*/ 2681 w 5840"/>
                <a:gd name="T53" fmla="*/ 777 h 4793"/>
                <a:gd name="T54" fmla="*/ 2871 w 5840"/>
                <a:gd name="T55" fmla="*/ 799 h 4793"/>
                <a:gd name="T56" fmla="*/ 3106 w 5840"/>
                <a:gd name="T57" fmla="*/ 828 h 4793"/>
                <a:gd name="T58" fmla="*/ 3311 w 5840"/>
                <a:gd name="T59" fmla="*/ 1099 h 4793"/>
                <a:gd name="T60" fmla="*/ 3135 w 5840"/>
                <a:gd name="T61" fmla="*/ 1334 h 4793"/>
                <a:gd name="T62" fmla="*/ 3326 w 5840"/>
                <a:gd name="T63" fmla="*/ 1619 h 4793"/>
                <a:gd name="T64" fmla="*/ 3655 w 5840"/>
                <a:gd name="T65" fmla="*/ 1751 h 4793"/>
                <a:gd name="T66" fmla="*/ 3927 w 5840"/>
                <a:gd name="T67" fmla="*/ 1912 h 4793"/>
                <a:gd name="T68" fmla="*/ 4212 w 5840"/>
                <a:gd name="T69" fmla="*/ 1890 h 4793"/>
                <a:gd name="T70" fmla="*/ 4593 w 5840"/>
                <a:gd name="T71" fmla="*/ 2146 h 4793"/>
                <a:gd name="T72" fmla="*/ 4908 w 5840"/>
                <a:gd name="T73" fmla="*/ 2219 h 4793"/>
                <a:gd name="T74" fmla="*/ 5026 w 5840"/>
                <a:gd name="T75" fmla="*/ 1970 h 4793"/>
                <a:gd name="T76" fmla="*/ 5084 w 5840"/>
                <a:gd name="T77" fmla="*/ 1721 h 4793"/>
                <a:gd name="T78" fmla="*/ 5451 w 5840"/>
                <a:gd name="T79" fmla="*/ 1816 h 4793"/>
                <a:gd name="T80" fmla="*/ 5715 w 5840"/>
                <a:gd name="T81" fmla="*/ 2022 h 4793"/>
                <a:gd name="T82" fmla="*/ 5707 w 5840"/>
                <a:gd name="T83" fmla="*/ 2388 h 4793"/>
                <a:gd name="T84" fmla="*/ 5392 w 5840"/>
                <a:gd name="T85" fmla="*/ 2556 h 4793"/>
                <a:gd name="T86" fmla="*/ 5216 w 5840"/>
                <a:gd name="T87" fmla="*/ 2608 h 4793"/>
                <a:gd name="T88" fmla="*/ 5070 w 5840"/>
                <a:gd name="T89" fmla="*/ 2681 h 4793"/>
                <a:gd name="T90" fmla="*/ 5018 w 5840"/>
                <a:gd name="T91" fmla="*/ 2872 h 4793"/>
                <a:gd name="T92" fmla="*/ 5070 w 5840"/>
                <a:gd name="T93" fmla="*/ 2923 h 4793"/>
                <a:gd name="T94" fmla="*/ 5121 w 5840"/>
                <a:gd name="T95" fmla="*/ 3231 h 4793"/>
                <a:gd name="T96" fmla="*/ 4842 w 5840"/>
                <a:gd name="T97" fmla="*/ 3355 h 4793"/>
                <a:gd name="T98" fmla="*/ 4710 w 5840"/>
                <a:gd name="T99" fmla="*/ 3502 h 4793"/>
                <a:gd name="T100" fmla="*/ 4520 w 5840"/>
                <a:gd name="T101" fmla="*/ 3341 h 4793"/>
                <a:gd name="T102" fmla="*/ 4278 w 5840"/>
                <a:gd name="T103" fmla="*/ 3604 h 4793"/>
                <a:gd name="T104" fmla="*/ 4286 w 5840"/>
                <a:gd name="T105" fmla="*/ 3963 h 4793"/>
                <a:gd name="T106" fmla="*/ 3802 w 5840"/>
                <a:gd name="T107" fmla="*/ 4147 h 4793"/>
                <a:gd name="T108" fmla="*/ 3531 w 5840"/>
                <a:gd name="T109" fmla="*/ 4205 h 4793"/>
                <a:gd name="T110" fmla="*/ 3216 w 5840"/>
                <a:gd name="T111" fmla="*/ 3744 h 4793"/>
                <a:gd name="T112" fmla="*/ 3018 w 5840"/>
                <a:gd name="T113" fmla="*/ 4440 h 4793"/>
                <a:gd name="T114" fmla="*/ 2857 w 5840"/>
                <a:gd name="T115" fmla="*/ 4557 h 4793"/>
                <a:gd name="T116" fmla="*/ 2622 w 5840"/>
                <a:gd name="T117" fmla="*/ 4286 h 4793"/>
                <a:gd name="T118" fmla="*/ 2146 w 5840"/>
                <a:gd name="T119" fmla="*/ 4205 h 4793"/>
                <a:gd name="T120" fmla="*/ 1977 w 5840"/>
                <a:gd name="T121" fmla="*/ 4513 h 4793"/>
                <a:gd name="T122" fmla="*/ 1919 w 5840"/>
                <a:gd name="T123" fmla="*/ 4733 h 47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40" h="4793">
                  <a:moveTo>
                    <a:pt x="1787" y="4792"/>
                  </a:moveTo>
                  <a:lnTo>
                    <a:pt x="1787" y="4792"/>
                  </a:lnTo>
                  <a:cubicBezTo>
                    <a:pt x="1765" y="4792"/>
                    <a:pt x="1743" y="4784"/>
                    <a:pt x="1743" y="4784"/>
                  </a:cubicBezTo>
                  <a:lnTo>
                    <a:pt x="1743" y="4784"/>
                  </a:lnTo>
                  <a:cubicBezTo>
                    <a:pt x="1736" y="4784"/>
                    <a:pt x="1670" y="4769"/>
                    <a:pt x="1604" y="4747"/>
                  </a:cubicBezTo>
                  <a:cubicBezTo>
                    <a:pt x="1523" y="4725"/>
                    <a:pt x="1538" y="4630"/>
                    <a:pt x="1553" y="4564"/>
                  </a:cubicBezTo>
                  <a:cubicBezTo>
                    <a:pt x="1553" y="4535"/>
                    <a:pt x="1545" y="4513"/>
                    <a:pt x="1538" y="4491"/>
                  </a:cubicBezTo>
                  <a:cubicBezTo>
                    <a:pt x="1523" y="4469"/>
                    <a:pt x="1516" y="4440"/>
                    <a:pt x="1516" y="4410"/>
                  </a:cubicBezTo>
                  <a:cubicBezTo>
                    <a:pt x="1516" y="4359"/>
                    <a:pt x="1465" y="4344"/>
                    <a:pt x="1465" y="4344"/>
                  </a:cubicBezTo>
                  <a:cubicBezTo>
                    <a:pt x="1457" y="4344"/>
                    <a:pt x="1443" y="4344"/>
                    <a:pt x="1421" y="4344"/>
                  </a:cubicBezTo>
                  <a:cubicBezTo>
                    <a:pt x="1384" y="4344"/>
                    <a:pt x="1340" y="4337"/>
                    <a:pt x="1303" y="4315"/>
                  </a:cubicBezTo>
                  <a:cubicBezTo>
                    <a:pt x="1289" y="4301"/>
                    <a:pt x="1274" y="4286"/>
                    <a:pt x="1267" y="4264"/>
                  </a:cubicBezTo>
                  <a:cubicBezTo>
                    <a:pt x="1252" y="4242"/>
                    <a:pt x="1245" y="4227"/>
                    <a:pt x="1223" y="4227"/>
                  </a:cubicBezTo>
                  <a:cubicBezTo>
                    <a:pt x="1223" y="4227"/>
                    <a:pt x="1223" y="4227"/>
                    <a:pt x="1215" y="4227"/>
                  </a:cubicBezTo>
                  <a:cubicBezTo>
                    <a:pt x="1208" y="4235"/>
                    <a:pt x="1201" y="4235"/>
                    <a:pt x="1193" y="4235"/>
                  </a:cubicBezTo>
                  <a:cubicBezTo>
                    <a:pt x="1150" y="4235"/>
                    <a:pt x="1136" y="4198"/>
                    <a:pt x="1114" y="4161"/>
                  </a:cubicBezTo>
                  <a:cubicBezTo>
                    <a:pt x="1092" y="4125"/>
                    <a:pt x="1092" y="4125"/>
                    <a:pt x="1092" y="4125"/>
                  </a:cubicBezTo>
                  <a:cubicBezTo>
                    <a:pt x="1063" y="4081"/>
                    <a:pt x="1048" y="4059"/>
                    <a:pt x="997" y="4000"/>
                  </a:cubicBezTo>
                  <a:cubicBezTo>
                    <a:pt x="975" y="3971"/>
                    <a:pt x="967" y="3949"/>
                    <a:pt x="960" y="3927"/>
                  </a:cubicBezTo>
                  <a:cubicBezTo>
                    <a:pt x="953" y="3905"/>
                    <a:pt x="945" y="3897"/>
                    <a:pt x="909" y="3890"/>
                  </a:cubicBezTo>
                  <a:cubicBezTo>
                    <a:pt x="843" y="3883"/>
                    <a:pt x="806" y="3824"/>
                    <a:pt x="769" y="3773"/>
                  </a:cubicBezTo>
                  <a:cubicBezTo>
                    <a:pt x="755" y="3751"/>
                    <a:pt x="740" y="3736"/>
                    <a:pt x="725" y="3714"/>
                  </a:cubicBezTo>
                  <a:cubicBezTo>
                    <a:pt x="711" y="3700"/>
                    <a:pt x="704" y="3692"/>
                    <a:pt x="696" y="3692"/>
                  </a:cubicBezTo>
                  <a:cubicBezTo>
                    <a:pt x="689" y="3692"/>
                    <a:pt x="682" y="3692"/>
                    <a:pt x="667" y="3700"/>
                  </a:cubicBezTo>
                  <a:cubicBezTo>
                    <a:pt x="652" y="3707"/>
                    <a:pt x="630" y="3722"/>
                    <a:pt x="601" y="3722"/>
                  </a:cubicBezTo>
                  <a:cubicBezTo>
                    <a:pt x="564" y="3722"/>
                    <a:pt x="549" y="3707"/>
                    <a:pt x="535" y="3700"/>
                  </a:cubicBezTo>
                  <a:lnTo>
                    <a:pt x="535" y="3692"/>
                  </a:lnTo>
                  <a:lnTo>
                    <a:pt x="528" y="3700"/>
                  </a:lnTo>
                  <a:cubicBezTo>
                    <a:pt x="506" y="3700"/>
                    <a:pt x="476" y="3722"/>
                    <a:pt x="447" y="3744"/>
                  </a:cubicBezTo>
                  <a:cubicBezTo>
                    <a:pt x="432" y="3758"/>
                    <a:pt x="432" y="3758"/>
                    <a:pt x="432" y="3758"/>
                  </a:cubicBezTo>
                  <a:cubicBezTo>
                    <a:pt x="410" y="3729"/>
                    <a:pt x="410" y="3729"/>
                    <a:pt x="410" y="3729"/>
                  </a:cubicBezTo>
                  <a:cubicBezTo>
                    <a:pt x="410" y="3722"/>
                    <a:pt x="410" y="3722"/>
                    <a:pt x="410" y="3722"/>
                  </a:cubicBezTo>
                  <a:cubicBezTo>
                    <a:pt x="410" y="3722"/>
                    <a:pt x="388" y="3656"/>
                    <a:pt x="381" y="3597"/>
                  </a:cubicBezTo>
                  <a:cubicBezTo>
                    <a:pt x="381" y="3575"/>
                    <a:pt x="381" y="3568"/>
                    <a:pt x="374" y="3553"/>
                  </a:cubicBezTo>
                  <a:cubicBezTo>
                    <a:pt x="366" y="3524"/>
                    <a:pt x="366" y="3502"/>
                    <a:pt x="388" y="3458"/>
                  </a:cubicBezTo>
                  <a:cubicBezTo>
                    <a:pt x="388" y="3443"/>
                    <a:pt x="403" y="3428"/>
                    <a:pt x="418" y="3428"/>
                  </a:cubicBezTo>
                  <a:lnTo>
                    <a:pt x="425" y="3428"/>
                  </a:lnTo>
                  <a:cubicBezTo>
                    <a:pt x="432" y="3406"/>
                    <a:pt x="432" y="3377"/>
                    <a:pt x="410" y="3348"/>
                  </a:cubicBezTo>
                  <a:cubicBezTo>
                    <a:pt x="396" y="3326"/>
                    <a:pt x="388" y="3311"/>
                    <a:pt x="381" y="3297"/>
                  </a:cubicBezTo>
                  <a:cubicBezTo>
                    <a:pt x="374" y="3267"/>
                    <a:pt x="366" y="3260"/>
                    <a:pt x="352" y="3260"/>
                  </a:cubicBezTo>
                  <a:cubicBezTo>
                    <a:pt x="344" y="3260"/>
                    <a:pt x="344" y="3253"/>
                    <a:pt x="337" y="3253"/>
                  </a:cubicBezTo>
                  <a:cubicBezTo>
                    <a:pt x="315" y="3253"/>
                    <a:pt x="300" y="3260"/>
                    <a:pt x="278" y="3275"/>
                  </a:cubicBezTo>
                  <a:cubicBezTo>
                    <a:pt x="271" y="3282"/>
                    <a:pt x="264" y="3282"/>
                    <a:pt x="249" y="3289"/>
                  </a:cubicBezTo>
                  <a:cubicBezTo>
                    <a:pt x="227" y="3304"/>
                    <a:pt x="220" y="3311"/>
                    <a:pt x="213" y="3319"/>
                  </a:cubicBezTo>
                  <a:cubicBezTo>
                    <a:pt x="213" y="3326"/>
                    <a:pt x="213" y="3341"/>
                    <a:pt x="227" y="3363"/>
                  </a:cubicBezTo>
                  <a:cubicBezTo>
                    <a:pt x="235" y="3385"/>
                    <a:pt x="235" y="3399"/>
                    <a:pt x="227" y="3406"/>
                  </a:cubicBezTo>
                  <a:cubicBezTo>
                    <a:pt x="205" y="3436"/>
                    <a:pt x="154" y="3436"/>
                    <a:pt x="110" y="3436"/>
                  </a:cubicBezTo>
                  <a:cubicBezTo>
                    <a:pt x="44" y="3436"/>
                    <a:pt x="22" y="3385"/>
                    <a:pt x="15" y="3348"/>
                  </a:cubicBezTo>
                  <a:cubicBezTo>
                    <a:pt x="15" y="3326"/>
                    <a:pt x="15" y="3326"/>
                    <a:pt x="15" y="3326"/>
                  </a:cubicBezTo>
                  <a:cubicBezTo>
                    <a:pt x="7" y="3304"/>
                    <a:pt x="0" y="3275"/>
                    <a:pt x="15" y="3260"/>
                  </a:cubicBezTo>
                  <a:cubicBezTo>
                    <a:pt x="22" y="3253"/>
                    <a:pt x="37" y="3245"/>
                    <a:pt x="51" y="3245"/>
                  </a:cubicBezTo>
                  <a:cubicBezTo>
                    <a:pt x="66" y="3245"/>
                    <a:pt x="81" y="3209"/>
                    <a:pt x="95" y="3179"/>
                  </a:cubicBezTo>
                  <a:cubicBezTo>
                    <a:pt x="103" y="3157"/>
                    <a:pt x="110" y="3135"/>
                    <a:pt x="125" y="3121"/>
                  </a:cubicBezTo>
                  <a:cubicBezTo>
                    <a:pt x="139" y="3099"/>
                    <a:pt x="154" y="3062"/>
                    <a:pt x="117" y="3033"/>
                  </a:cubicBezTo>
                  <a:cubicBezTo>
                    <a:pt x="103" y="3025"/>
                    <a:pt x="88" y="3011"/>
                    <a:pt x="95" y="2996"/>
                  </a:cubicBezTo>
                  <a:cubicBezTo>
                    <a:pt x="95" y="2982"/>
                    <a:pt x="103" y="2974"/>
                    <a:pt x="117" y="2974"/>
                  </a:cubicBezTo>
                  <a:cubicBezTo>
                    <a:pt x="125" y="2967"/>
                    <a:pt x="139" y="2960"/>
                    <a:pt x="154" y="2952"/>
                  </a:cubicBezTo>
                  <a:cubicBezTo>
                    <a:pt x="168" y="2937"/>
                    <a:pt x="161" y="2923"/>
                    <a:pt x="154" y="2901"/>
                  </a:cubicBezTo>
                  <a:cubicBezTo>
                    <a:pt x="154" y="2879"/>
                    <a:pt x="147" y="2857"/>
                    <a:pt x="154" y="2828"/>
                  </a:cubicBezTo>
                  <a:cubicBezTo>
                    <a:pt x="168" y="2776"/>
                    <a:pt x="235" y="2740"/>
                    <a:pt x="308" y="2740"/>
                  </a:cubicBezTo>
                  <a:cubicBezTo>
                    <a:pt x="315" y="2740"/>
                    <a:pt x="323" y="2740"/>
                    <a:pt x="323" y="2740"/>
                  </a:cubicBezTo>
                  <a:cubicBezTo>
                    <a:pt x="330" y="2732"/>
                    <a:pt x="323" y="2718"/>
                    <a:pt x="308" y="2688"/>
                  </a:cubicBezTo>
                  <a:cubicBezTo>
                    <a:pt x="300" y="2681"/>
                    <a:pt x="286" y="2652"/>
                    <a:pt x="293" y="2630"/>
                  </a:cubicBezTo>
                  <a:cubicBezTo>
                    <a:pt x="308" y="2615"/>
                    <a:pt x="330" y="2601"/>
                    <a:pt x="374" y="2601"/>
                  </a:cubicBezTo>
                  <a:cubicBezTo>
                    <a:pt x="396" y="2593"/>
                    <a:pt x="403" y="2593"/>
                    <a:pt x="403" y="2593"/>
                  </a:cubicBezTo>
                  <a:cubicBezTo>
                    <a:pt x="403" y="2586"/>
                    <a:pt x="381" y="2564"/>
                    <a:pt x="366" y="2556"/>
                  </a:cubicBezTo>
                  <a:cubicBezTo>
                    <a:pt x="352" y="2542"/>
                    <a:pt x="352" y="2542"/>
                    <a:pt x="352" y="2542"/>
                  </a:cubicBezTo>
                  <a:cubicBezTo>
                    <a:pt x="323" y="2505"/>
                    <a:pt x="293" y="2491"/>
                    <a:pt x="264" y="2476"/>
                  </a:cubicBezTo>
                  <a:cubicBezTo>
                    <a:pt x="249" y="2469"/>
                    <a:pt x="242" y="2469"/>
                    <a:pt x="227" y="2461"/>
                  </a:cubicBezTo>
                  <a:cubicBezTo>
                    <a:pt x="213" y="2461"/>
                    <a:pt x="191" y="2454"/>
                    <a:pt x="168" y="2439"/>
                  </a:cubicBezTo>
                  <a:cubicBezTo>
                    <a:pt x="147" y="2425"/>
                    <a:pt x="147" y="2403"/>
                    <a:pt x="154" y="2395"/>
                  </a:cubicBezTo>
                  <a:cubicBezTo>
                    <a:pt x="161" y="2381"/>
                    <a:pt x="183" y="2366"/>
                    <a:pt x="198" y="2366"/>
                  </a:cubicBezTo>
                  <a:cubicBezTo>
                    <a:pt x="205" y="2366"/>
                    <a:pt x="213" y="2366"/>
                    <a:pt x="220" y="2373"/>
                  </a:cubicBezTo>
                  <a:cubicBezTo>
                    <a:pt x="242" y="2381"/>
                    <a:pt x="264" y="2388"/>
                    <a:pt x="359" y="2388"/>
                  </a:cubicBezTo>
                  <a:cubicBezTo>
                    <a:pt x="388" y="2388"/>
                    <a:pt x="396" y="2381"/>
                    <a:pt x="396" y="2381"/>
                  </a:cubicBezTo>
                  <a:cubicBezTo>
                    <a:pt x="396" y="2381"/>
                    <a:pt x="374" y="2359"/>
                    <a:pt x="366" y="2351"/>
                  </a:cubicBezTo>
                  <a:cubicBezTo>
                    <a:pt x="330" y="2329"/>
                    <a:pt x="308" y="2278"/>
                    <a:pt x="300" y="2190"/>
                  </a:cubicBezTo>
                  <a:cubicBezTo>
                    <a:pt x="293" y="2168"/>
                    <a:pt x="300" y="2154"/>
                    <a:pt x="308" y="2146"/>
                  </a:cubicBezTo>
                  <a:cubicBezTo>
                    <a:pt x="315" y="2139"/>
                    <a:pt x="330" y="2132"/>
                    <a:pt x="344" y="2132"/>
                  </a:cubicBezTo>
                  <a:cubicBezTo>
                    <a:pt x="374" y="2132"/>
                    <a:pt x="396" y="2146"/>
                    <a:pt x="410" y="2161"/>
                  </a:cubicBezTo>
                  <a:cubicBezTo>
                    <a:pt x="418" y="2168"/>
                    <a:pt x="425" y="2175"/>
                    <a:pt x="432" y="2175"/>
                  </a:cubicBezTo>
                  <a:cubicBezTo>
                    <a:pt x="447" y="2175"/>
                    <a:pt x="476" y="2154"/>
                    <a:pt x="491" y="2139"/>
                  </a:cubicBezTo>
                  <a:cubicBezTo>
                    <a:pt x="498" y="2139"/>
                    <a:pt x="506" y="2132"/>
                    <a:pt x="513" y="2132"/>
                  </a:cubicBezTo>
                  <a:cubicBezTo>
                    <a:pt x="535" y="2132"/>
                    <a:pt x="542" y="2146"/>
                    <a:pt x="557" y="2161"/>
                  </a:cubicBezTo>
                  <a:cubicBezTo>
                    <a:pt x="572" y="2175"/>
                    <a:pt x="586" y="2190"/>
                    <a:pt x="608" y="2197"/>
                  </a:cubicBezTo>
                  <a:cubicBezTo>
                    <a:pt x="616" y="2205"/>
                    <a:pt x="623" y="2205"/>
                    <a:pt x="623" y="2205"/>
                  </a:cubicBezTo>
                  <a:cubicBezTo>
                    <a:pt x="637" y="2205"/>
                    <a:pt x="645" y="2197"/>
                    <a:pt x="652" y="2168"/>
                  </a:cubicBezTo>
                  <a:cubicBezTo>
                    <a:pt x="659" y="2154"/>
                    <a:pt x="667" y="2139"/>
                    <a:pt x="674" y="2124"/>
                  </a:cubicBezTo>
                  <a:cubicBezTo>
                    <a:pt x="696" y="2080"/>
                    <a:pt x="689" y="2066"/>
                    <a:pt x="667" y="2051"/>
                  </a:cubicBezTo>
                  <a:cubicBezTo>
                    <a:pt x="667" y="2044"/>
                    <a:pt x="659" y="2044"/>
                    <a:pt x="659" y="2036"/>
                  </a:cubicBezTo>
                  <a:cubicBezTo>
                    <a:pt x="652" y="2029"/>
                    <a:pt x="645" y="2022"/>
                    <a:pt x="630" y="2014"/>
                  </a:cubicBezTo>
                  <a:cubicBezTo>
                    <a:pt x="616" y="2007"/>
                    <a:pt x="601" y="2000"/>
                    <a:pt x="586" y="1978"/>
                  </a:cubicBezTo>
                  <a:cubicBezTo>
                    <a:pt x="572" y="1970"/>
                    <a:pt x="557" y="1956"/>
                    <a:pt x="557" y="1934"/>
                  </a:cubicBezTo>
                  <a:cubicBezTo>
                    <a:pt x="557" y="1919"/>
                    <a:pt x="572" y="1904"/>
                    <a:pt x="594" y="1890"/>
                  </a:cubicBezTo>
                  <a:cubicBezTo>
                    <a:pt x="601" y="1882"/>
                    <a:pt x="601" y="1882"/>
                    <a:pt x="601" y="1882"/>
                  </a:cubicBezTo>
                  <a:cubicBezTo>
                    <a:pt x="616" y="1868"/>
                    <a:pt x="623" y="1853"/>
                    <a:pt x="630" y="1846"/>
                  </a:cubicBezTo>
                  <a:cubicBezTo>
                    <a:pt x="608" y="1838"/>
                    <a:pt x="579" y="1831"/>
                    <a:pt x="542" y="1809"/>
                  </a:cubicBezTo>
                  <a:cubicBezTo>
                    <a:pt x="520" y="1802"/>
                    <a:pt x="498" y="1780"/>
                    <a:pt x="491" y="1758"/>
                  </a:cubicBezTo>
                  <a:cubicBezTo>
                    <a:pt x="491" y="1736"/>
                    <a:pt x="498" y="1721"/>
                    <a:pt x="528" y="1699"/>
                  </a:cubicBezTo>
                  <a:cubicBezTo>
                    <a:pt x="542" y="1685"/>
                    <a:pt x="564" y="1677"/>
                    <a:pt x="579" y="1677"/>
                  </a:cubicBezTo>
                  <a:cubicBezTo>
                    <a:pt x="608" y="1677"/>
                    <a:pt x="630" y="1714"/>
                    <a:pt x="645" y="1743"/>
                  </a:cubicBezTo>
                  <a:cubicBezTo>
                    <a:pt x="652" y="1758"/>
                    <a:pt x="659" y="1773"/>
                    <a:pt x="659" y="1780"/>
                  </a:cubicBezTo>
                  <a:cubicBezTo>
                    <a:pt x="659" y="1773"/>
                    <a:pt x="659" y="1765"/>
                    <a:pt x="667" y="1758"/>
                  </a:cubicBezTo>
                  <a:cubicBezTo>
                    <a:pt x="667" y="1743"/>
                    <a:pt x="667" y="1728"/>
                    <a:pt x="659" y="1714"/>
                  </a:cubicBezTo>
                  <a:cubicBezTo>
                    <a:pt x="659" y="1685"/>
                    <a:pt x="652" y="1655"/>
                    <a:pt x="689" y="1633"/>
                  </a:cubicBezTo>
                  <a:cubicBezTo>
                    <a:pt x="704" y="1619"/>
                    <a:pt x="718" y="1605"/>
                    <a:pt x="718" y="1597"/>
                  </a:cubicBezTo>
                  <a:cubicBezTo>
                    <a:pt x="718" y="1583"/>
                    <a:pt x="711" y="1576"/>
                    <a:pt x="704" y="1576"/>
                  </a:cubicBezTo>
                  <a:cubicBezTo>
                    <a:pt x="674" y="1554"/>
                    <a:pt x="564" y="1488"/>
                    <a:pt x="506" y="1480"/>
                  </a:cubicBezTo>
                  <a:cubicBezTo>
                    <a:pt x="447" y="1473"/>
                    <a:pt x="352" y="1414"/>
                    <a:pt x="330" y="1356"/>
                  </a:cubicBezTo>
                  <a:cubicBezTo>
                    <a:pt x="330" y="1348"/>
                    <a:pt x="330" y="1341"/>
                    <a:pt x="330" y="1334"/>
                  </a:cubicBezTo>
                  <a:cubicBezTo>
                    <a:pt x="315" y="1290"/>
                    <a:pt x="308" y="1275"/>
                    <a:pt x="271" y="1275"/>
                  </a:cubicBezTo>
                  <a:cubicBezTo>
                    <a:pt x="205" y="1275"/>
                    <a:pt x="176" y="1246"/>
                    <a:pt x="147" y="1202"/>
                  </a:cubicBezTo>
                  <a:cubicBezTo>
                    <a:pt x="132" y="1180"/>
                    <a:pt x="132" y="1165"/>
                    <a:pt x="132" y="1143"/>
                  </a:cubicBezTo>
                  <a:cubicBezTo>
                    <a:pt x="125" y="1128"/>
                    <a:pt x="125" y="1114"/>
                    <a:pt x="110" y="1107"/>
                  </a:cubicBezTo>
                  <a:cubicBezTo>
                    <a:pt x="73" y="1077"/>
                    <a:pt x="81" y="1011"/>
                    <a:pt x="81" y="967"/>
                  </a:cubicBezTo>
                  <a:cubicBezTo>
                    <a:pt x="88" y="953"/>
                    <a:pt x="88" y="945"/>
                    <a:pt x="88" y="938"/>
                  </a:cubicBezTo>
                  <a:cubicBezTo>
                    <a:pt x="81" y="916"/>
                    <a:pt x="81" y="916"/>
                    <a:pt x="81" y="916"/>
                  </a:cubicBezTo>
                  <a:cubicBezTo>
                    <a:pt x="95" y="916"/>
                    <a:pt x="95" y="916"/>
                    <a:pt x="95" y="916"/>
                  </a:cubicBezTo>
                  <a:cubicBezTo>
                    <a:pt x="183" y="887"/>
                    <a:pt x="220" y="865"/>
                    <a:pt x="227" y="850"/>
                  </a:cubicBezTo>
                  <a:cubicBezTo>
                    <a:pt x="249" y="814"/>
                    <a:pt x="315" y="755"/>
                    <a:pt x="359" y="748"/>
                  </a:cubicBezTo>
                  <a:cubicBezTo>
                    <a:pt x="374" y="748"/>
                    <a:pt x="396" y="748"/>
                    <a:pt x="410" y="748"/>
                  </a:cubicBezTo>
                  <a:cubicBezTo>
                    <a:pt x="432" y="748"/>
                    <a:pt x="454" y="748"/>
                    <a:pt x="476" y="748"/>
                  </a:cubicBezTo>
                  <a:lnTo>
                    <a:pt x="484" y="748"/>
                  </a:lnTo>
                  <a:cubicBezTo>
                    <a:pt x="520" y="748"/>
                    <a:pt x="579" y="726"/>
                    <a:pt x="586" y="704"/>
                  </a:cubicBezTo>
                  <a:cubicBezTo>
                    <a:pt x="594" y="689"/>
                    <a:pt x="601" y="667"/>
                    <a:pt x="601" y="652"/>
                  </a:cubicBezTo>
                  <a:cubicBezTo>
                    <a:pt x="608" y="623"/>
                    <a:pt x="608" y="594"/>
                    <a:pt x="637" y="579"/>
                  </a:cubicBezTo>
                  <a:cubicBezTo>
                    <a:pt x="637" y="579"/>
                    <a:pt x="645" y="579"/>
                    <a:pt x="652" y="579"/>
                  </a:cubicBezTo>
                  <a:cubicBezTo>
                    <a:pt x="659" y="579"/>
                    <a:pt x="674" y="586"/>
                    <a:pt x="682" y="594"/>
                  </a:cubicBezTo>
                  <a:cubicBezTo>
                    <a:pt x="696" y="601"/>
                    <a:pt x="704" y="608"/>
                    <a:pt x="711" y="608"/>
                  </a:cubicBezTo>
                  <a:cubicBezTo>
                    <a:pt x="718" y="608"/>
                    <a:pt x="725" y="601"/>
                    <a:pt x="733" y="601"/>
                  </a:cubicBezTo>
                  <a:cubicBezTo>
                    <a:pt x="740" y="594"/>
                    <a:pt x="755" y="586"/>
                    <a:pt x="762" y="572"/>
                  </a:cubicBezTo>
                  <a:cubicBezTo>
                    <a:pt x="791" y="550"/>
                    <a:pt x="828" y="528"/>
                    <a:pt x="843" y="506"/>
                  </a:cubicBezTo>
                  <a:cubicBezTo>
                    <a:pt x="872" y="469"/>
                    <a:pt x="887" y="455"/>
                    <a:pt x="931" y="433"/>
                  </a:cubicBezTo>
                  <a:cubicBezTo>
                    <a:pt x="967" y="410"/>
                    <a:pt x="975" y="410"/>
                    <a:pt x="982" y="374"/>
                  </a:cubicBezTo>
                  <a:cubicBezTo>
                    <a:pt x="982" y="352"/>
                    <a:pt x="982" y="352"/>
                    <a:pt x="982" y="352"/>
                  </a:cubicBezTo>
                  <a:cubicBezTo>
                    <a:pt x="982" y="308"/>
                    <a:pt x="989" y="257"/>
                    <a:pt x="1026" y="242"/>
                  </a:cubicBezTo>
                  <a:cubicBezTo>
                    <a:pt x="1063" y="220"/>
                    <a:pt x="1121" y="220"/>
                    <a:pt x="1143" y="220"/>
                  </a:cubicBezTo>
                  <a:cubicBezTo>
                    <a:pt x="1179" y="220"/>
                    <a:pt x="1252" y="242"/>
                    <a:pt x="1274" y="271"/>
                  </a:cubicBezTo>
                  <a:cubicBezTo>
                    <a:pt x="1303" y="301"/>
                    <a:pt x="1340" y="337"/>
                    <a:pt x="1362" y="337"/>
                  </a:cubicBezTo>
                  <a:cubicBezTo>
                    <a:pt x="1369" y="337"/>
                    <a:pt x="1369" y="337"/>
                    <a:pt x="1377" y="330"/>
                  </a:cubicBezTo>
                  <a:cubicBezTo>
                    <a:pt x="1391" y="323"/>
                    <a:pt x="1398" y="308"/>
                    <a:pt x="1406" y="293"/>
                  </a:cubicBezTo>
                  <a:cubicBezTo>
                    <a:pt x="1413" y="279"/>
                    <a:pt x="1421" y="264"/>
                    <a:pt x="1443" y="249"/>
                  </a:cubicBezTo>
                  <a:cubicBezTo>
                    <a:pt x="1457" y="242"/>
                    <a:pt x="1472" y="242"/>
                    <a:pt x="1486" y="242"/>
                  </a:cubicBezTo>
                  <a:cubicBezTo>
                    <a:pt x="1508" y="242"/>
                    <a:pt x="1523" y="249"/>
                    <a:pt x="1545" y="264"/>
                  </a:cubicBezTo>
                  <a:cubicBezTo>
                    <a:pt x="1545" y="271"/>
                    <a:pt x="1560" y="271"/>
                    <a:pt x="1567" y="271"/>
                  </a:cubicBezTo>
                  <a:cubicBezTo>
                    <a:pt x="1582" y="271"/>
                    <a:pt x="1596" y="264"/>
                    <a:pt x="1596" y="264"/>
                  </a:cubicBezTo>
                  <a:cubicBezTo>
                    <a:pt x="1596" y="257"/>
                    <a:pt x="1596" y="257"/>
                    <a:pt x="1596" y="249"/>
                  </a:cubicBezTo>
                  <a:cubicBezTo>
                    <a:pt x="1582" y="242"/>
                    <a:pt x="1574" y="235"/>
                    <a:pt x="1560" y="227"/>
                  </a:cubicBezTo>
                  <a:cubicBezTo>
                    <a:pt x="1545" y="213"/>
                    <a:pt x="1530" y="198"/>
                    <a:pt x="1530" y="161"/>
                  </a:cubicBezTo>
                  <a:cubicBezTo>
                    <a:pt x="1538" y="117"/>
                    <a:pt x="1560" y="103"/>
                    <a:pt x="1604" y="74"/>
                  </a:cubicBezTo>
                  <a:cubicBezTo>
                    <a:pt x="1618" y="66"/>
                    <a:pt x="1618" y="59"/>
                    <a:pt x="1626" y="52"/>
                  </a:cubicBezTo>
                  <a:lnTo>
                    <a:pt x="1626" y="44"/>
                  </a:lnTo>
                  <a:lnTo>
                    <a:pt x="1626" y="44"/>
                  </a:lnTo>
                  <a:cubicBezTo>
                    <a:pt x="1648" y="15"/>
                    <a:pt x="1648" y="15"/>
                    <a:pt x="1648" y="15"/>
                  </a:cubicBezTo>
                  <a:cubicBezTo>
                    <a:pt x="1655" y="22"/>
                    <a:pt x="1655" y="22"/>
                    <a:pt x="1655" y="22"/>
                  </a:cubicBezTo>
                  <a:cubicBezTo>
                    <a:pt x="1662" y="22"/>
                    <a:pt x="1670" y="15"/>
                    <a:pt x="1677" y="15"/>
                  </a:cubicBezTo>
                  <a:lnTo>
                    <a:pt x="1684" y="15"/>
                  </a:lnTo>
                  <a:cubicBezTo>
                    <a:pt x="1692" y="15"/>
                    <a:pt x="1692" y="22"/>
                    <a:pt x="1699" y="22"/>
                  </a:cubicBezTo>
                  <a:cubicBezTo>
                    <a:pt x="1721" y="22"/>
                    <a:pt x="1743" y="15"/>
                    <a:pt x="1765" y="15"/>
                  </a:cubicBezTo>
                  <a:cubicBezTo>
                    <a:pt x="1794" y="7"/>
                    <a:pt x="1816" y="0"/>
                    <a:pt x="1838" y="0"/>
                  </a:cubicBezTo>
                  <a:cubicBezTo>
                    <a:pt x="1846" y="0"/>
                    <a:pt x="1853" y="7"/>
                    <a:pt x="1867" y="7"/>
                  </a:cubicBezTo>
                  <a:cubicBezTo>
                    <a:pt x="1875" y="7"/>
                    <a:pt x="1889" y="15"/>
                    <a:pt x="1904" y="15"/>
                  </a:cubicBezTo>
                  <a:cubicBezTo>
                    <a:pt x="1934" y="22"/>
                    <a:pt x="1963" y="29"/>
                    <a:pt x="1985" y="44"/>
                  </a:cubicBezTo>
                  <a:cubicBezTo>
                    <a:pt x="1992" y="52"/>
                    <a:pt x="1999" y="59"/>
                    <a:pt x="2007" y="74"/>
                  </a:cubicBezTo>
                  <a:cubicBezTo>
                    <a:pt x="2021" y="88"/>
                    <a:pt x="2036" y="103"/>
                    <a:pt x="2051" y="103"/>
                  </a:cubicBezTo>
                  <a:cubicBezTo>
                    <a:pt x="2065" y="103"/>
                    <a:pt x="2073" y="103"/>
                    <a:pt x="2073" y="103"/>
                  </a:cubicBezTo>
                  <a:cubicBezTo>
                    <a:pt x="2087" y="103"/>
                    <a:pt x="2095" y="103"/>
                    <a:pt x="2102" y="103"/>
                  </a:cubicBezTo>
                  <a:cubicBezTo>
                    <a:pt x="2109" y="110"/>
                    <a:pt x="2117" y="110"/>
                    <a:pt x="2124" y="110"/>
                  </a:cubicBezTo>
                  <a:cubicBezTo>
                    <a:pt x="2153" y="110"/>
                    <a:pt x="2175" y="139"/>
                    <a:pt x="2175" y="169"/>
                  </a:cubicBezTo>
                  <a:cubicBezTo>
                    <a:pt x="2175" y="198"/>
                    <a:pt x="2168" y="220"/>
                    <a:pt x="2131" y="227"/>
                  </a:cubicBezTo>
                  <a:cubicBezTo>
                    <a:pt x="2095" y="227"/>
                    <a:pt x="2095" y="235"/>
                    <a:pt x="2095" y="235"/>
                  </a:cubicBezTo>
                  <a:cubicBezTo>
                    <a:pt x="2095" y="235"/>
                    <a:pt x="2087" y="242"/>
                    <a:pt x="2102" y="264"/>
                  </a:cubicBezTo>
                  <a:cubicBezTo>
                    <a:pt x="2117" y="279"/>
                    <a:pt x="2131" y="293"/>
                    <a:pt x="2146" y="308"/>
                  </a:cubicBezTo>
                  <a:cubicBezTo>
                    <a:pt x="2175" y="330"/>
                    <a:pt x="2190" y="345"/>
                    <a:pt x="2190" y="367"/>
                  </a:cubicBezTo>
                  <a:cubicBezTo>
                    <a:pt x="2197" y="374"/>
                    <a:pt x="2190" y="388"/>
                    <a:pt x="2190" y="403"/>
                  </a:cubicBezTo>
                  <a:cubicBezTo>
                    <a:pt x="2183" y="425"/>
                    <a:pt x="2183" y="433"/>
                    <a:pt x="2190" y="440"/>
                  </a:cubicBezTo>
                  <a:cubicBezTo>
                    <a:pt x="2212" y="462"/>
                    <a:pt x="2248" y="520"/>
                    <a:pt x="2248" y="557"/>
                  </a:cubicBezTo>
                  <a:cubicBezTo>
                    <a:pt x="2248" y="667"/>
                    <a:pt x="2248" y="667"/>
                    <a:pt x="2248" y="667"/>
                  </a:cubicBezTo>
                  <a:cubicBezTo>
                    <a:pt x="2248" y="704"/>
                    <a:pt x="2263" y="733"/>
                    <a:pt x="2285" y="740"/>
                  </a:cubicBezTo>
                  <a:cubicBezTo>
                    <a:pt x="2300" y="740"/>
                    <a:pt x="2307" y="748"/>
                    <a:pt x="2322" y="748"/>
                  </a:cubicBezTo>
                  <a:cubicBezTo>
                    <a:pt x="2336" y="748"/>
                    <a:pt x="2351" y="740"/>
                    <a:pt x="2373" y="733"/>
                  </a:cubicBezTo>
                  <a:cubicBezTo>
                    <a:pt x="2388" y="726"/>
                    <a:pt x="2395" y="726"/>
                    <a:pt x="2403" y="718"/>
                  </a:cubicBezTo>
                  <a:cubicBezTo>
                    <a:pt x="2417" y="711"/>
                    <a:pt x="2432" y="711"/>
                    <a:pt x="2439" y="711"/>
                  </a:cubicBezTo>
                  <a:cubicBezTo>
                    <a:pt x="2454" y="711"/>
                    <a:pt x="2461" y="711"/>
                    <a:pt x="2476" y="718"/>
                  </a:cubicBezTo>
                  <a:cubicBezTo>
                    <a:pt x="2490" y="726"/>
                    <a:pt x="2505" y="733"/>
                    <a:pt x="2527" y="748"/>
                  </a:cubicBezTo>
                  <a:cubicBezTo>
                    <a:pt x="2556" y="762"/>
                    <a:pt x="2578" y="777"/>
                    <a:pt x="2600" y="784"/>
                  </a:cubicBezTo>
                  <a:cubicBezTo>
                    <a:pt x="2608" y="792"/>
                    <a:pt x="2622" y="792"/>
                    <a:pt x="2637" y="792"/>
                  </a:cubicBezTo>
                  <a:cubicBezTo>
                    <a:pt x="2644" y="792"/>
                    <a:pt x="2652" y="792"/>
                    <a:pt x="2659" y="784"/>
                  </a:cubicBezTo>
                  <a:cubicBezTo>
                    <a:pt x="2674" y="777"/>
                    <a:pt x="2681" y="777"/>
                    <a:pt x="2681" y="777"/>
                  </a:cubicBezTo>
                  <a:cubicBezTo>
                    <a:pt x="2696" y="777"/>
                    <a:pt x="2703" y="784"/>
                    <a:pt x="2710" y="792"/>
                  </a:cubicBezTo>
                  <a:cubicBezTo>
                    <a:pt x="2717" y="792"/>
                    <a:pt x="2717" y="792"/>
                    <a:pt x="2717" y="792"/>
                  </a:cubicBezTo>
                  <a:cubicBezTo>
                    <a:pt x="2732" y="792"/>
                    <a:pt x="2739" y="792"/>
                    <a:pt x="2739" y="784"/>
                  </a:cubicBezTo>
                  <a:cubicBezTo>
                    <a:pt x="2754" y="777"/>
                    <a:pt x="2761" y="762"/>
                    <a:pt x="2784" y="762"/>
                  </a:cubicBezTo>
                  <a:cubicBezTo>
                    <a:pt x="2791" y="762"/>
                    <a:pt x="2791" y="762"/>
                    <a:pt x="2798" y="769"/>
                  </a:cubicBezTo>
                  <a:cubicBezTo>
                    <a:pt x="2820" y="769"/>
                    <a:pt x="2827" y="777"/>
                    <a:pt x="2842" y="784"/>
                  </a:cubicBezTo>
                  <a:cubicBezTo>
                    <a:pt x="2849" y="792"/>
                    <a:pt x="2857" y="799"/>
                    <a:pt x="2871" y="799"/>
                  </a:cubicBezTo>
                  <a:cubicBezTo>
                    <a:pt x="2871" y="799"/>
                    <a:pt x="2879" y="799"/>
                    <a:pt x="2879" y="792"/>
                  </a:cubicBezTo>
                  <a:cubicBezTo>
                    <a:pt x="2901" y="792"/>
                    <a:pt x="2915" y="784"/>
                    <a:pt x="2923" y="777"/>
                  </a:cubicBezTo>
                  <a:cubicBezTo>
                    <a:pt x="2930" y="769"/>
                    <a:pt x="2937" y="762"/>
                    <a:pt x="2959" y="762"/>
                  </a:cubicBezTo>
                  <a:cubicBezTo>
                    <a:pt x="2981" y="762"/>
                    <a:pt x="2989" y="784"/>
                    <a:pt x="2989" y="799"/>
                  </a:cubicBezTo>
                  <a:cubicBezTo>
                    <a:pt x="2996" y="806"/>
                    <a:pt x="2996" y="814"/>
                    <a:pt x="3011" y="814"/>
                  </a:cubicBezTo>
                  <a:cubicBezTo>
                    <a:pt x="3025" y="814"/>
                    <a:pt x="3040" y="814"/>
                    <a:pt x="3055" y="821"/>
                  </a:cubicBezTo>
                  <a:cubicBezTo>
                    <a:pt x="3069" y="821"/>
                    <a:pt x="3084" y="828"/>
                    <a:pt x="3106" y="828"/>
                  </a:cubicBezTo>
                  <a:cubicBezTo>
                    <a:pt x="3135" y="828"/>
                    <a:pt x="3150" y="843"/>
                    <a:pt x="3157" y="857"/>
                  </a:cubicBezTo>
                  <a:cubicBezTo>
                    <a:pt x="3172" y="879"/>
                    <a:pt x="3165" y="902"/>
                    <a:pt x="3157" y="924"/>
                  </a:cubicBezTo>
                  <a:cubicBezTo>
                    <a:pt x="3150" y="938"/>
                    <a:pt x="3143" y="938"/>
                    <a:pt x="3150" y="945"/>
                  </a:cubicBezTo>
                  <a:cubicBezTo>
                    <a:pt x="3150" y="953"/>
                    <a:pt x="3157" y="960"/>
                    <a:pt x="3172" y="967"/>
                  </a:cubicBezTo>
                  <a:cubicBezTo>
                    <a:pt x="3216" y="982"/>
                    <a:pt x="3223" y="989"/>
                    <a:pt x="3245" y="1026"/>
                  </a:cubicBezTo>
                  <a:cubicBezTo>
                    <a:pt x="3260" y="1063"/>
                    <a:pt x="3267" y="1070"/>
                    <a:pt x="3304" y="1092"/>
                  </a:cubicBezTo>
                  <a:cubicBezTo>
                    <a:pt x="3311" y="1099"/>
                    <a:pt x="3311" y="1099"/>
                    <a:pt x="3311" y="1099"/>
                  </a:cubicBezTo>
                  <a:cubicBezTo>
                    <a:pt x="3326" y="1107"/>
                    <a:pt x="3333" y="1114"/>
                    <a:pt x="3340" y="1128"/>
                  </a:cubicBezTo>
                  <a:cubicBezTo>
                    <a:pt x="3340" y="1143"/>
                    <a:pt x="3333" y="1158"/>
                    <a:pt x="3304" y="1187"/>
                  </a:cubicBezTo>
                  <a:cubicBezTo>
                    <a:pt x="3289" y="1209"/>
                    <a:pt x="3274" y="1238"/>
                    <a:pt x="3260" y="1261"/>
                  </a:cubicBezTo>
                  <a:cubicBezTo>
                    <a:pt x="3245" y="1297"/>
                    <a:pt x="3230" y="1326"/>
                    <a:pt x="3208" y="1326"/>
                  </a:cubicBezTo>
                  <a:cubicBezTo>
                    <a:pt x="3201" y="1326"/>
                    <a:pt x="3194" y="1319"/>
                    <a:pt x="3186" y="1319"/>
                  </a:cubicBezTo>
                  <a:cubicBezTo>
                    <a:pt x="3179" y="1319"/>
                    <a:pt x="3179" y="1319"/>
                    <a:pt x="3172" y="1319"/>
                  </a:cubicBezTo>
                  <a:cubicBezTo>
                    <a:pt x="3165" y="1319"/>
                    <a:pt x="3150" y="1319"/>
                    <a:pt x="3135" y="1334"/>
                  </a:cubicBezTo>
                  <a:cubicBezTo>
                    <a:pt x="3135" y="1334"/>
                    <a:pt x="3113" y="1348"/>
                    <a:pt x="3113" y="1356"/>
                  </a:cubicBezTo>
                  <a:cubicBezTo>
                    <a:pt x="3113" y="1356"/>
                    <a:pt x="3113" y="1356"/>
                    <a:pt x="3128" y="1370"/>
                  </a:cubicBezTo>
                  <a:cubicBezTo>
                    <a:pt x="3157" y="1400"/>
                    <a:pt x="3201" y="1407"/>
                    <a:pt x="3230" y="1414"/>
                  </a:cubicBezTo>
                  <a:cubicBezTo>
                    <a:pt x="3274" y="1422"/>
                    <a:pt x="3326" y="1444"/>
                    <a:pt x="3333" y="1488"/>
                  </a:cubicBezTo>
                  <a:cubicBezTo>
                    <a:pt x="3340" y="1495"/>
                    <a:pt x="3340" y="1502"/>
                    <a:pt x="3348" y="1510"/>
                  </a:cubicBezTo>
                  <a:cubicBezTo>
                    <a:pt x="3362" y="1539"/>
                    <a:pt x="3377" y="1576"/>
                    <a:pt x="3348" y="1605"/>
                  </a:cubicBezTo>
                  <a:cubicBezTo>
                    <a:pt x="3340" y="1612"/>
                    <a:pt x="3333" y="1612"/>
                    <a:pt x="3326" y="1619"/>
                  </a:cubicBezTo>
                  <a:cubicBezTo>
                    <a:pt x="3304" y="1633"/>
                    <a:pt x="3296" y="1641"/>
                    <a:pt x="3296" y="1648"/>
                  </a:cubicBezTo>
                  <a:cubicBezTo>
                    <a:pt x="3304" y="1677"/>
                    <a:pt x="3318" y="1692"/>
                    <a:pt x="3340" y="1706"/>
                  </a:cubicBezTo>
                  <a:cubicBezTo>
                    <a:pt x="3370" y="1736"/>
                    <a:pt x="3399" y="1751"/>
                    <a:pt x="3421" y="1751"/>
                  </a:cubicBezTo>
                  <a:cubicBezTo>
                    <a:pt x="3421" y="1751"/>
                    <a:pt x="3428" y="1751"/>
                    <a:pt x="3428" y="1743"/>
                  </a:cubicBezTo>
                  <a:cubicBezTo>
                    <a:pt x="3465" y="1736"/>
                    <a:pt x="3538" y="1714"/>
                    <a:pt x="3575" y="1714"/>
                  </a:cubicBezTo>
                  <a:cubicBezTo>
                    <a:pt x="3597" y="1714"/>
                    <a:pt x="3611" y="1721"/>
                    <a:pt x="3626" y="1736"/>
                  </a:cubicBezTo>
                  <a:cubicBezTo>
                    <a:pt x="3634" y="1743"/>
                    <a:pt x="3648" y="1751"/>
                    <a:pt x="3655" y="1751"/>
                  </a:cubicBezTo>
                  <a:cubicBezTo>
                    <a:pt x="3692" y="1751"/>
                    <a:pt x="3729" y="1743"/>
                    <a:pt x="3751" y="1743"/>
                  </a:cubicBezTo>
                  <a:lnTo>
                    <a:pt x="3751" y="1743"/>
                  </a:lnTo>
                  <a:cubicBezTo>
                    <a:pt x="3758" y="1736"/>
                    <a:pt x="3758" y="1736"/>
                    <a:pt x="3758" y="1736"/>
                  </a:cubicBezTo>
                  <a:cubicBezTo>
                    <a:pt x="3780" y="1736"/>
                    <a:pt x="3787" y="1765"/>
                    <a:pt x="3802" y="1787"/>
                  </a:cubicBezTo>
                  <a:cubicBezTo>
                    <a:pt x="3809" y="1802"/>
                    <a:pt x="3809" y="1816"/>
                    <a:pt x="3817" y="1816"/>
                  </a:cubicBezTo>
                  <a:cubicBezTo>
                    <a:pt x="3839" y="1853"/>
                    <a:pt x="3868" y="1875"/>
                    <a:pt x="3890" y="1882"/>
                  </a:cubicBezTo>
                  <a:cubicBezTo>
                    <a:pt x="3905" y="1890"/>
                    <a:pt x="3919" y="1904"/>
                    <a:pt x="3927" y="1912"/>
                  </a:cubicBezTo>
                  <a:cubicBezTo>
                    <a:pt x="3934" y="1926"/>
                    <a:pt x="3934" y="1926"/>
                    <a:pt x="3948" y="1926"/>
                  </a:cubicBezTo>
                  <a:lnTo>
                    <a:pt x="3956" y="1926"/>
                  </a:lnTo>
                  <a:cubicBezTo>
                    <a:pt x="3970" y="1926"/>
                    <a:pt x="3993" y="1926"/>
                    <a:pt x="4015" y="1926"/>
                  </a:cubicBezTo>
                  <a:cubicBezTo>
                    <a:pt x="4051" y="1926"/>
                    <a:pt x="4095" y="1919"/>
                    <a:pt x="4110" y="1912"/>
                  </a:cubicBezTo>
                  <a:cubicBezTo>
                    <a:pt x="4117" y="1904"/>
                    <a:pt x="4117" y="1904"/>
                    <a:pt x="4117" y="1904"/>
                  </a:cubicBezTo>
                  <a:cubicBezTo>
                    <a:pt x="4139" y="1890"/>
                    <a:pt x="4161" y="1882"/>
                    <a:pt x="4183" y="1882"/>
                  </a:cubicBezTo>
                  <a:cubicBezTo>
                    <a:pt x="4198" y="1882"/>
                    <a:pt x="4205" y="1882"/>
                    <a:pt x="4212" y="1890"/>
                  </a:cubicBezTo>
                  <a:cubicBezTo>
                    <a:pt x="4227" y="1897"/>
                    <a:pt x="4234" y="1912"/>
                    <a:pt x="4249" y="1926"/>
                  </a:cubicBezTo>
                  <a:cubicBezTo>
                    <a:pt x="4264" y="1956"/>
                    <a:pt x="4286" y="1985"/>
                    <a:pt x="4315" y="1985"/>
                  </a:cubicBezTo>
                  <a:cubicBezTo>
                    <a:pt x="4366" y="1985"/>
                    <a:pt x="4396" y="2000"/>
                    <a:pt x="4417" y="2051"/>
                  </a:cubicBezTo>
                  <a:cubicBezTo>
                    <a:pt x="4432" y="2087"/>
                    <a:pt x="4454" y="2139"/>
                    <a:pt x="4491" y="2139"/>
                  </a:cubicBezTo>
                  <a:cubicBezTo>
                    <a:pt x="4505" y="2146"/>
                    <a:pt x="4513" y="2146"/>
                    <a:pt x="4527" y="2146"/>
                  </a:cubicBezTo>
                  <a:cubicBezTo>
                    <a:pt x="4535" y="2154"/>
                    <a:pt x="4549" y="2154"/>
                    <a:pt x="4557" y="2154"/>
                  </a:cubicBezTo>
                  <a:cubicBezTo>
                    <a:pt x="4571" y="2154"/>
                    <a:pt x="4579" y="2154"/>
                    <a:pt x="4593" y="2146"/>
                  </a:cubicBezTo>
                  <a:cubicBezTo>
                    <a:pt x="4615" y="2132"/>
                    <a:pt x="4637" y="2124"/>
                    <a:pt x="4659" y="2124"/>
                  </a:cubicBezTo>
                  <a:cubicBezTo>
                    <a:pt x="4681" y="2124"/>
                    <a:pt x="4696" y="2132"/>
                    <a:pt x="4703" y="2146"/>
                  </a:cubicBezTo>
                  <a:cubicBezTo>
                    <a:pt x="4725" y="2175"/>
                    <a:pt x="4733" y="2190"/>
                    <a:pt x="4740" y="2190"/>
                  </a:cubicBezTo>
                  <a:cubicBezTo>
                    <a:pt x="4755" y="2183"/>
                    <a:pt x="4762" y="2175"/>
                    <a:pt x="4769" y="2168"/>
                  </a:cubicBezTo>
                  <a:cubicBezTo>
                    <a:pt x="4784" y="2146"/>
                    <a:pt x="4798" y="2132"/>
                    <a:pt x="4820" y="2132"/>
                  </a:cubicBezTo>
                  <a:cubicBezTo>
                    <a:pt x="4850" y="2132"/>
                    <a:pt x="4872" y="2154"/>
                    <a:pt x="4879" y="2183"/>
                  </a:cubicBezTo>
                  <a:cubicBezTo>
                    <a:pt x="4879" y="2190"/>
                    <a:pt x="4894" y="2219"/>
                    <a:pt x="4908" y="2219"/>
                  </a:cubicBezTo>
                  <a:lnTo>
                    <a:pt x="4916" y="2219"/>
                  </a:lnTo>
                  <a:cubicBezTo>
                    <a:pt x="4938" y="2205"/>
                    <a:pt x="4938" y="2205"/>
                    <a:pt x="4938" y="2190"/>
                  </a:cubicBezTo>
                  <a:cubicBezTo>
                    <a:pt x="4938" y="2183"/>
                    <a:pt x="4938" y="2168"/>
                    <a:pt x="4945" y="2154"/>
                  </a:cubicBezTo>
                  <a:cubicBezTo>
                    <a:pt x="4952" y="2139"/>
                    <a:pt x="4952" y="2139"/>
                    <a:pt x="4952" y="2139"/>
                  </a:cubicBezTo>
                  <a:cubicBezTo>
                    <a:pt x="4967" y="2110"/>
                    <a:pt x="4967" y="2102"/>
                    <a:pt x="5004" y="2073"/>
                  </a:cubicBezTo>
                  <a:cubicBezTo>
                    <a:pt x="5018" y="2058"/>
                    <a:pt x="5055" y="2022"/>
                    <a:pt x="5048" y="1992"/>
                  </a:cubicBezTo>
                  <a:cubicBezTo>
                    <a:pt x="5048" y="1978"/>
                    <a:pt x="5040" y="1978"/>
                    <a:pt x="5026" y="1970"/>
                  </a:cubicBezTo>
                  <a:cubicBezTo>
                    <a:pt x="5004" y="1963"/>
                    <a:pt x="4989" y="1956"/>
                    <a:pt x="4982" y="1926"/>
                  </a:cubicBezTo>
                  <a:cubicBezTo>
                    <a:pt x="4974" y="1919"/>
                    <a:pt x="4974" y="1919"/>
                    <a:pt x="4974" y="1919"/>
                  </a:cubicBezTo>
                  <a:cubicBezTo>
                    <a:pt x="4967" y="1890"/>
                    <a:pt x="4952" y="1853"/>
                    <a:pt x="4982" y="1816"/>
                  </a:cubicBezTo>
                  <a:cubicBezTo>
                    <a:pt x="4996" y="1802"/>
                    <a:pt x="5011" y="1765"/>
                    <a:pt x="5033" y="1728"/>
                  </a:cubicBezTo>
                  <a:lnTo>
                    <a:pt x="5033" y="1728"/>
                  </a:lnTo>
                  <a:cubicBezTo>
                    <a:pt x="5040" y="1721"/>
                    <a:pt x="5040" y="1721"/>
                    <a:pt x="5040" y="1721"/>
                  </a:cubicBezTo>
                  <a:cubicBezTo>
                    <a:pt x="5062" y="1721"/>
                    <a:pt x="5077" y="1721"/>
                    <a:pt x="5084" y="1721"/>
                  </a:cubicBezTo>
                  <a:cubicBezTo>
                    <a:pt x="5121" y="1721"/>
                    <a:pt x="5150" y="1728"/>
                    <a:pt x="5172" y="1765"/>
                  </a:cubicBezTo>
                  <a:cubicBezTo>
                    <a:pt x="5187" y="1787"/>
                    <a:pt x="5216" y="1794"/>
                    <a:pt x="5260" y="1794"/>
                  </a:cubicBezTo>
                  <a:cubicBezTo>
                    <a:pt x="5275" y="1794"/>
                    <a:pt x="5289" y="1794"/>
                    <a:pt x="5304" y="1794"/>
                  </a:cubicBezTo>
                  <a:cubicBezTo>
                    <a:pt x="5341" y="1787"/>
                    <a:pt x="5348" y="1780"/>
                    <a:pt x="5363" y="1780"/>
                  </a:cubicBezTo>
                  <a:cubicBezTo>
                    <a:pt x="5370" y="1773"/>
                    <a:pt x="5377" y="1773"/>
                    <a:pt x="5385" y="1773"/>
                  </a:cubicBezTo>
                  <a:cubicBezTo>
                    <a:pt x="5407" y="1773"/>
                    <a:pt x="5414" y="1787"/>
                    <a:pt x="5421" y="1794"/>
                  </a:cubicBezTo>
                  <a:cubicBezTo>
                    <a:pt x="5429" y="1802"/>
                    <a:pt x="5436" y="1816"/>
                    <a:pt x="5451" y="1816"/>
                  </a:cubicBezTo>
                  <a:cubicBezTo>
                    <a:pt x="5495" y="1824"/>
                    <a:pt x="5524" y="1846"/>
                    <a:pt x="5553" y="1912"/>
                  </a:cubicBezTo>
                  <a:cubicBezTo>
                    <a:pt x="5560" y="1934"/>
                    <a:pt x="5568" y="1948"/>
                    <a:pt x="5568" y="1970"/>
                  </a:cubicBezTo>
                  <a:cubicBezTo>
                    <a:pt x="5575" y="2000"/>
                    <a:pt x="5575" y="2014"/>
                    <a:pt x="5612" y="2022"/>
                  </a:cubicBezTo>
                  <a:cubicBezTo>
                    <a:pt x="5641" y="2029"/>
                    <a:pt x="5648" y="2029"/>
                    <a:pt x="5656" y="2036"/>
                  </a:cubicBezTo>
                  <a:cubicBezTo>
                    <a:pt x="5663" y="2036"/>
                    <a:pt x="5663" y="2036"/>
                    <a:pt x="5663" y="2036"/>
                  </a:cubicBezTo>
                  <a:cubicBezTo>
                    <a:pt x="5670" y="2036"/>
                    <a:pt x="5678" y="2036"/>
                    <a:pt x="5685" y="2029"/>
                  </a:cubicBezTo>
                  <a:cubicBezTo>
                    <a:pt x="5700" y="2029"/>
                    <a:pt x="5707" y="2022"/>
                    <a:pt x="5715" y="2022"/>
                  </a:cubicBezTo>
                  <a:cubicBezTo>
                    <a:pt x="5744" y="2022"/>
                    <a:pt x="5751" y="2051"/>
                    <a:pt x="5758" y="2073"/>
                  </a:cubicBezTo>
                  <a:cubicBezTo>
                    <a:pt x="5758" y="2080"/>
                    <a:pt x="5766" y="2087"/>
                    <a:pt x="5766" y="2095"/>
                  </a:cubicBezTo>
                  <a:cubicBezTo>
                    <a:pt x="5780" y="2124"/>
                    <a:pt x="5780" y="2124"/>
                    <a:pt x="5780" y="2124"/>
                  </a:cubicBezTo>
                  <a:cubicBezTo>
                    <a:pt x="5795" y="2154"/>
                    <a:pt x="5802" y="2190"/>
                    <a:pt x="5817" y="2242"/>
                  </a:cubicBezTo>
                  <a:cubicBezTo>
                    <a:pt x="5824" y="2263"/>
                    <a:pt x="5824" y="2263"/>
                    <a:pt x="5824" y="2263"/>
                  </a:cubicBezTo>
                  <a:cubicBezTo>
                    <a:pt x="5839" y="2322"/>
                    <a:pt x="5839" y="2337"/>
                    <a:pt x="5795" y="2373"/>
                  </a:cubicBezTo>
                  <a:cubicBezTo>
                    <a:pt x="5780" y="2381"/>
                    <a:pt x="5758" y="2388"/>
                    <a:pt x="5707" y="2388"/>
                  </a:cubicBezTo>
                  <a:lnTo>
                    <a:pt x="5707" y="2388"/>
                  </a:lnTo>
                  <a:cubicBezTo>
                    <a:pt x="5685" y="2388"/>
                    <a:pt x="5663" y="2388"/>
                    <a:pt x="5634" y="2388"/>
                  </a:cubicBezTo>
                  <a:cubicBezTo>
                    <a:pt x="5605" y="2381"/>
                    <a:pt x="5583" y="2381"/>
                    <a:pt x="5560" y="2381"/>
                  </a:cubicBezTo>
                  <a:cubicBezTo>
                    <a:pt x="5531" y="2381"/>
                    <a:pt x="5509" y="2388"/>
                    <a:pt x="5495" y="2388"/>
                  </a:cubicBezTo>
                  <a:cubicBezTo>
                    <a:pt x="5458" y="2410"/>
                    <a:pt x="5443" y="2432"/>
                    <a:pt x="5429" y="2469"/>
                  </a:cubicBezTo>
                  <a:cubicBezTo>
                    <a:pt x="5421" y="2476"/>
                    <a:pt x="5414" y="2483"/>
                    <a:pt x="5407" y="2491"/>
                  </a:cubicBezTo>
                  <a:cubicBezTo>
                    <a:pt x="5399" y="2513"/>
                    <a:pt x="5392" y="2542"/>
                    <a:pt x="5392" y="2556"/>
                  </a:cubicBezTo>
                  <a:cubicBezTo>
                    <a:pt x="5385" y="2586"/>
                    <a:pt x="5385" y="2601"/>
                    <a:pt x="5370" y="2608"/>
                  </a:cubicBezTo>
                  <a:cubicBezTo>
                    <a:pt x="5363" y="2615"/>
                    <a:pt x="5363" y="2615"/>
                    <a:pt x="5363" y="2615"/>
                  </a:cubicBezTo>
                  <a:lnTo>
                    <a:pt x="5363" y="2615"/>
                  </a:lnTo>
                  <a:cubicBezTo>
                    <a:pt x="5355" y="2615"/>
                    <a:pt x="5341" y="2615"/>
                    <a:pt x="5326" y="2549"/>
                  </a:cubicBezTo>
                  <a:cubicBezTo>
                    <a:pt x="5319" y="2564"/>
                    <a:pt x="5304" y="2571"/>
                    <a:pt x="5289" y="2578"/>
                  </a:cubicBezTo>
                  <a:cubicBezTo>
                    <a:pt x="5275" y="2586"/>
                    <a:pt x="5260" y="2586"/>
                    <a:pt x="5253" y="2586"/>
                  </a:cubicBezTo>
                  <a:cubicBezTo>
                    <a:pt x="5224" y="2593"/>
                    <a:pt x="5216" y="2593"/>
                    <a:pt x="5216" y="2608"/>
                  </a:cubicBezTo>
                  <a:cubicBezTo>
                    <a:pt x="5216" y="2615"/>
                    <a:pt x="5216" y="2615"/>
                    <a:pt x="5216" y="2615"/>
                  </a:cubicBezTo>
                  <a:cubicBezTo>
                    <a:pt x="5209" y="2644"/>
                    <a:pt x="5201" y="2666"/>
                    <a:pt x="5172" y="2666"/>
                  </a:cubicBezTo>
                  <a:cubicBezTo>
                    <a:pt x="5165" y="2666"/>
                    <a:pt x="5165" y="2666"/>
                    <a:pt x="5158" y="2659"/>
                  </a:cubicBezTo>
                  <a:cubicBezTo>
                    <a:pt x="5143" y="2659"/>
                    <a:pt x="5143" y="2659"/>
                    <a:pt x="5143" y="2659"/>
                  </a:cubicBezTo>
                  <a:cubicBezTo>
                    <a:pt x="5128" y="2652"/>
                    <a:pt x="5114" y="2652"/>
                    <a:pt x="5106" y="2652"/>
                  </a:cubicBezTo>
                  <a:cubicBezTo>
                    <a:pt x="5092" y="2652"/>
                    <a:pt x="5084" y="2652"/>
                    <a:pt x="5077" y="2666"/>
                  </a:cubicBezTo>
                  <a:cubicBezTo>
                    <a:pt x="5070" y="2674"/>
                    <a:pt x="5070" y="2674"/>
                    <a:pt x="5070" y="2681"/>
                  </a:cubicBezTo>
                  <a:cubicBezTo>
                    <a:pt x="5048" y="2703"/>
                    <a:pt x="5048" y="2710"/>
                    <a:pt x="5004" y="2725"/>
                  </a:cubicBezTo>
                  <a:cubicBezTo>
                    <a:pt x="4989" y="2725"/>
                    <a:pt x="4989" y="2725"/>
                    <a:pt x="4989" y="2725"/>
                  </a:cubicBezTo>
                  <a:cubicBezTo>
                    <a:pt x="4989" y="2732"/>
                    <a:pt x="5018" y="2747"/>
                    <a:pt x="5040" y="2754"/>
                  </a:cubicBezTo>
                  <a:cubicBezTo>
                    <a:pt x="5055" y="2754"/>
                    <a:pt x="5055" y="2754"/>
                    <a:pt x="5055" y="2754"/>
                  </a:cubicBezTo>
                  <a:cubicBezTo>
                    <a:pt x="5077" y="2762"/>
                    <a:pt x="5099" y="2762"/>
                    <a:pt x="5106" y="2776"/>
                  </a:cubicBezTo>
                  <a:cubicBezTo>
                    <a:pt x="5114" y="2791"/>
                    <a:pt x="5106" y="2813"/>
                    <a:pt x="5092" y="2828"/>
                  </a:cubicBezTo>
                  <a:cubicBezTo>
                    <a:pt x="5070" y="2864"/>
                    <a:pt x="5040" y="2864"/>
                    <a:pt x="5018" y="2872"/>
                  </a:cubicBezTo>
                  <a:cubicBezTo>
                    <a:pt x="5011" y="2872"/>
                    <a:pt x="5011" y="2872"/>
                    <a:pt x="5004" y="2872"/>
                  </a:cubicBezTo>
                  <a:cubicBezTo>
                    <a:pt x="4982" y="2879"/>
                    <a:pt x="4974" y="2901"/>
                    <a:pt x="4974" y="2937"/>
                  </a:cubicBezTo>
                  <a:cubicBezTo>
                    <a:pt x="4982" y="2937"/>
                    <a:pt x="4982" y="2945"/>
                    <a:pt x="4982" y="2945"/>
                  </a:cubicBezTo>
                  <a:cubicBezTo>
                    <a:pt x="4989" y="2945"/>
                    <a:pt x="5004" y="2930"/>
                    <a:pt x="5011" y="2923"/>
                  </a:cubicBezTo>
                  <a:cubicBezTo>
                    <a:pt x="5011" y="2923"/>
                    <a:pt x="5018" y="2916"/>
                    <a:pt x="5026" y="2916"/>
                  </a:cubicBezTo>
                  <a:cubicBezTo>
                    <a:pt x="5033" y="2908"/>
                    <a:pt x="5040" y="2908"/>
                    <a:pt x="5048" y="2908"/>
                  </a:cubicBezTo>
                  <a:cubicBezTo>
                    <a:pt x="5055" y="2908"/>
                    <a:pt x="5062" y="2916"/>
                    <a:pt x="5070" y="2923"/>
                  </a:cubicBezTo>
                  <a:cubicBezTo>
                    <a:pt x="5084" y="2937"/>
                    <a:pt x="5084" y="2960"/>
                    <a:pt x="5077" y="2982"/>
                  </a:cubicBezTo>
                  <a:cubicBezTo>
                    <a:pt x="5077" y="3004"/>
                    <a:pt x="5070" y="3011"/>
                    <a:pt x="5062" y="3018"/>
                  </a:cubicBezTo>
                  <a:cubicBezTo>
                    <a:pt x="5055" y="3025"/>
                    <a:pt x="5048" y="3033"/>
                    <a:pt x="5055" y="3040"/>
                  </a:cubicBezTo>
                  <a:cubicBezTo>
                    <a:pt x="5062" y="3069"/>
                    <a:pt x="5077" y="3084"/>
                    <a:pt x="5136" y="3092"/>
                  </a:cubicBezTo>
                  <a:cubicBezTo>
                    <a:pt x="5165" y="3099"/>
                    <a:pt x="5179" y="3113"/>
                    <a:pt x="5179" y="3135"/>
                  </a:cubicBezTo>
                  <a:cubicBezTo>
                    <a:pt x="5187" y="3165"/>
                    <a:pt x="5165" y="3209"/>
                    <a:pt x="5143" y="3223"/>
                  </a:cubicBezTo>
                  <a:cubicBezTo>
                    <a:pt x="5121" y="3231"/>
                    <a:pt x="5121" y="3231"/>
                    <a:pt x="5121" y="3231"/>
                  </a:cubicBezTo>
                  <a:cubicBezTo>
                    <a:pt x="5099" y="3238"/>
                    <a:pt x="5099" y="3245"/>
                    <a:pt x="5084" y="3260"/>
                  </a:cubicBezTo>
                  <a:cubicBezTo>
                    <a:pt x="5077" y="3267"/>
                    <a:pt x="5077" y="3267"/>
                    <a:pt x="5077" y="3267"/>
                  </a:cubicBezTo>
                  <a:cubicBezTo>
                    <a:pt x="5070" y="3289"/>
                    <a:pt x="5062" y="3297"/>
                    <a:pt x="5026" y="3311"/>
                  </a:cubicBezTo>
                  <a:cubicBezTo>
                    <a:pt x="5018" y="3311"/>
                    <a:pt x="5004" y="3311"/>
                    <a:pt x="4989" y="3311"/>
                  </a:cubicBezTo>
                  <a:cubicBezTo>
                    <a:pt x="4974" y="3311"/>
                    <a:pt x="4960" y="3311"/>
                    <a:pt x="4952" y="3311"/>
                  </a:cubicBezTo>
                  <a:cubicBezTo>
                    <a:pt x="4938" y="3319"/>
                    <a:pt x="4901" y="3348"/>
                    <a:pt x="4842" y="3348"/>
                  </a:cubicBezTo>
                  <a:cubicBezTo>
                    <a:pt x="4842" y="3355"/>
                    <a:pt x="4842" y="3355"/>
                    <a:pt x="4842" y="3355"/>
                  </a:cubicBezTo>
                  <a:cubicBezTo>
                    <a:pt x="4842" y="3363"/>
                    <a:pt x="4835" y="3370"/>
                    <a:pt x="4828" y="3377"/>
                  </a:cubicBezTo>
                  <a:cubicBezTo>
                    <a:pt x="4813" y="3406"/>
                    <a:pt x="4813" y="3406"/>
                    <a:pt x="4820" y="3428"/>
                  </a:cubicBezTo>
                  <a:cubicBezTo>
                    <a:pt x="4835" y="3451"/>
                    <a:pt x="4842" y="3494"/>
                    <a:pt x="4777" y="3531"/>
                  </a:cubicBezTo>
                  <a:cubicBezTo>
                    <a:pt x="4769" y="3531"/>
                    <a:pt x="4762" y="3531"/>
                    <a:pt x="4755" y="3531"/>
                  </a:cubicBezTo>
                  <a:cubicBezTo>
                    <a:pt x="4733" y="3531"/>
                    <a:pt x="4725" y="3516"/>
                    <a:pt x="4725" y="3502"/>
                  </a:cubicBezTo>
                  <a:cubicBezTo>
                    <a:pt x="4718" y="3494"/>
                    <a:pt x="4718" y="3487"/>
                    <a:pt x="4718" y="3487"/>
                  </a:cubicBezTo>
                  <a:cubicBezTo>
                    <a:pt x="4718" y="3487"/>
                    <a:pt x="4710" y="3494"/>
                    <a:pt x="4710" y="3502"/>
                  </a:cubicBezTo>
                  <a:cubicBezTo>
                    <a:pt x="4710" y="3516"/>
                    <a:pt x="4703" y="3546"/>
                    <a:pt x="4674" y="3568"/>
                  </a:cubicBezTo>
                  <a:cubicBezTo>
                    <a:pt x="4667" y="3582"/>
                    <a:pt x="4652" y="3590"/>
                    <a:pt x="4630" y="3590"/>
                  </a:cubicBezTo>
                  <a:cubicBezTo>
                    <a:pt x="4593" y="3590"/>
                    <a:pt x="4557" y="3546"/>
                    <a:pt x="4549" y="3516"/>
                  </a:cubicBezTo>
                  <a:cubicBezTo>
                    <a:pt x="4542" y="3494"/>
                    <a:pt x="4557" y="3465"/>
                    <a:pt x="4564" y="3451"/>
                  </a:cubicBezTo>
                  <a:cubicBezTo>
                    <a:pt x="4549" y="3436"/>
                    <a:pt x="4527" y="3406"/>
                    <a:pt x="4527" y="3377"/>
                  </a:cubicBezTo>
                  <a:cubicBezTo>
                    <a:pt x="4527" y="3370"/>
                    <a:pt x="4527" y="3355"/>
                    <a:pt x="4535" y="3348"/>
                  </a:cubicBezTo>
                  <a:cubicBezTo>
                    <a:pt x="4535" y="3348"/>
                    <a:pt x="4527" y="3341"/>
                    <a:pt x="4520" y="3341"/>
                  </a:cubicBezTo>
                  <a:cubicBezTo>
                    <a:pt x="4513" y="3341"/>
                    <a:pt x="4513" y="3348"/>
                    <a:pt x="4505" y="3355"/>
                  </a:cubicBezTo>
                  <a:cubicBezTo>
                    <a:pt x="4498" y="3377"/>
                    <a:pt x="4491" y="3385"/>
                    <a:pt x="4469" y="3392"/>
                  </a:cubicBezTo>
                  <a:cubicBezTo>
                    <a:pt x="4461" y="3399"/>
                    <a:pt x="4454" y="3399"/>
                    <a:pt x="4447" y="3406"/>
                  </a:cubicBezTo>
                  <a:cubicBezTo>
                    <a:pt x="4403" y="3436"/>
                    <a:pt x="4388" y="3443"/>
                    <a:pt x="4374" y="3487"/>
                  </a:cubicBezTo>
                  <a:cubicBezTo>
                    <a:pt x="4374" y="3494"/>
                    <a:pt x="4374" y="3494"/>
                    <a:pt x="4374" y="3494"/>
                  </a:cubicBezTo>
                  <a:cubicBezTo>
                    <a:pt x="4351" y="3546"/>
                    <a:pt x="4344" y="3582"/>
                    <a:pt x="4293" y="3590"/>
                  </a:cubicBezTo>
                  <a:cubicBezTo>
                    <a:pt x="4278" y="3590"/>
                    <a:pt x="4278" y="3597"/>
                    <a:pt x="4278" y="3604"/>
                  </a:cubicBezTo>
                  <a:cubicBezTo>
                    <a:pt x="4271" y="3612"/>
                    <a:pt x="4264" y="3626"/>
                    <a:pt x="4278" y="3670"/>
                  </a:cubicBezTo>
                  <a:cubicBezTo>
                    <a:pt x="4286" y="3685"/>
                    <a:pt x="4293" y="3692"/>
                    <a:pt x="4293" y="3692"/>
                  </a:cubicBezTo>
                  <a:cubicBezTo>
                    <a:pt x="4300" y="3692"/>
                    <a:pt x="4308" y="3692"/>
                    <a:pt x="4322" y="3678"/>
                  </a:cubicBezTo>
                  <a:cubicBezTo>
                    <a:pt x="4329" y="3663"/>
                    <a:pt x="4344" y="3663"/>
                    <a:pt x="4351" y="3663"/>
                  </a:cubicBezTo>
                  <a:cubicBezTo>
                    <a:pt x="4388" y="3663"/>
                    <a:pt x="4417" y="3707"/>
                    <a:pt x="4432" y="3758"/>
                  </a:cubicBezTo>
                  <a:cubicBezTo>
                    <a:pt x="4454" y="3824"/>
                    <a:pt x="4439" y="3846"/>
                    <a:pt x="4374" y="3883"/>
                  </a:cubicBezTo>
                  <a:cubicBezTo>
                    <a:pt x="4315" y="3919"/>
                    <a:pt x="4315" y="3927"/>
                    <a:pt x="4286" y="3963"/>
                  </a:cubicBezTo>
                  <a:cubicBezTo>
                    <a:pt x="4293" y="3985"/>
                    <a:pt x="4329" y="4000"/>
                    <a:pt x="4374" y="4015"/>
                  </a:cubicBezTo>
                  <a:cubicBezTo>
                    <a:pt x="4374" y="4044"/>
                    <a:pt x="4374" y="4044"/>
                    <a:pt x="4374" y="4044"/>
                  </a:cubicBezTo>
                  <a:cubicBezTo>
                    <a:pt x="4351" y="4051"/>
                    <a:pt x="4329" y="4059"/>
                    <a:pt x="4308" y="4066"/>
                  </a:cubicBezTo>
                  <a:cubicBezTo>
                    <a:pt x="4242" y="4103"/>
                    <a:pt x="4227" y="4103"/>
                    <a:pt x="4139" y="4103"/>
                  </a:cubicBezTo>
                  <a:cubicBezTo>
                    <a:pt x="4095" y="4103"/>
                    <a:pt x="4073" y="4095"/>
                    <a:pt x="4066" y="4073"/>
                  </a:cubicBezTo>
                  <a:cubicBezTo>
                    <a:pt x="4066" y="4073"/>
                    <a:pt x="4066" y="4073"/>
                    <a:pt x="4051" y="4073"/>
                  </a:cubicBezTo>
                  <a:cubicBezTo>
                    <a:pt x="3985" y="4073"/>
                    <a:pt x="3883" y="4110"/>
                    <a:pt x="3802" y="4147"/>
                  </a:cubicBezTo>
                  <a:cubicBezTo>
                    <a:pt x="3787" y="4154"/>
                    <a:pt x="3773" y="4161"/>
                    <a:pt x="3758" y="4161"/>
                  </a:cubicBezTo>
                  <a:cubicBezTo>
                    <a:pt x="3729" y="4161"/>
                    <a:pt x="3714" y="4147"/>
                    <a:pt x="3699" y="4132"/>
                  </a:cubicBezTo>
                  <a:cubicBezTo>
                    <a:pt x="3692" y="4117"/>
                    <a:pt x="3677" y="4110"/>
                    <a:pt x="3670" y="4103"/>
                  </a:cubicBezTo>
                  <a:cubicBezTo>
                    <a:pt x="3663" y="4103"/>
                    <a:pt x="3663" y="4103"/>
                    <a:pt x="3655" y="4103"/>
                  </a:cubicBezTo>
                  <a:cubicBezTo>
                    <a:pt x="3648" y="4103"/>
                    <a:pt x="3634" y="4117"/>
                    <a:pt x="3619" y="4132"/>
                  </a:cubicBezTo>
                  <a:cubicBezTo>
                    <a:pt x="3611" y="4154"/>
                    <a:pt x="3589" y="4176"/>
                    <a:pt x="3567" y="4191"/>
                  </a:cubicBezTo>
                  <a:cubicBezTo>
                    <a:pt x="3560" y="4205"/>
                    <a:pt x="3546" y="4205"/>
                    <a:pt x="3531" y="4205"/>
                  </a:cubicBezTo>
                  <a:cubicBezTo>
                    <a:pt x="3472" y="4205"/>
                    <a:pt x="3443" y="4125"/>
                    <a:pt x="3436" y="4095"/>
                  </a:cubicBezTo>
                  <a:cubicBezTo>
                    <a:pt x="3421" y="4051"/>
                    <a:pt x="3414" y="4022"/>
                    <a:pt x="3362" y="4015"/>
                  </a:cubicBezTo>
                  <a:cubicBezTo>
                    <a:pt x="3340" y="4007"/>
                    <a:pt x="3318" y="3993"/>
                    <a:pt x="3304" y="3963"/>
                  </a:cubicBezTo>
                  <a:cubicBezTo>
                    <a:pt x="3282" y="3934"/>
                    <a:pt x="3274" y="3883"/>
                    <a:pt x="3282" y="3861"/>
                  </a:cubicBezTo>
                  <a:cubicBezTo>
                    <a:pt x="3289" y="3839"/>
                    <a:pt x="3296" y="3780"/>
                    <a:pt x="3274" y="3751"/>
                  </a:cubicBezTo>
                  <a:cubicBezTo>
                    <a:pt x="3267" y="3744"/>
                    <a:pt x="3260" y="3744"/>
                    <a:pt x="3252" y="3744"/>
                  </a:cubicBezTo>
                  <a:cubicBezTo>
                    <a:pt x="3245" y="3744"/>
                    <a:pt x="3230" y="3744"/>
                    <a:pt x="3216" y="3744"/>
                  </a:cubicBezTo>
                  <a:cubicBezTo>
                    <a:pt x="3208" y="3744"/>
                    <a:pt x="3201" y="3744"/>
                    <a:pt x="3186" y="3744"/>
                  </a:cubicBezTo>
                  <a:cubicBezTo>
                    <a:pt x="3150" y="3744"/>
                    <a:pt x="3150" y="3751"/>
                    <a:pt x="3143" y="3758"/>
                  </a:cubicBezTo>
                  <a:cubicBezTo>
                    <a:pt x="3128" y="3795"/>
                    <a:pt x="3091" y="3817"/>
                    <a:pt x="3033" y="3854"/>
                  </a:cubicBezTo>
                  <a:cubicBezTo>
                    <a:pt x="2996" y="3883"/>
                    <a:pt x="2959" y="3905"/>
                    <a:pt x="2945" y="3919"/>
                  </a:cubicBezTo>
                  <a:cubicBezTo>
                    <a:pt x="2945" y="3949"/>
                    <a:pt x="2959" y="4051"/>
                    <a:pt x="2996" y="4117"/>
                  </a:cubicBezTo>
                  <a:cubicBezTo>
                    <a:pt x="3025" y="4169"/>
                    <a:pt x="3025" y="4235"/>
                    <a:pt x="3018" y="4301"/>
                  </a:cubicBezTo>
                  <a:cubicBezTo>
                    <a:pt x="3018" y="4344"/>
                    <a:pt x="3018" y="4388"/>
                    <a:pt x="3018" y="4440"/>
                  </a:cubicBezTo>
                  <a:cubicBezTo>
                    <a:pt x="3025" y="4498"/>
                    <a:pt x="3018" y="4535"/>
                    <a:pt x="3003" y="4557"/>
                  </a:cubicBezTo>
                  <a:cubicBezTo>
                    <a:pt x="2989" y="4572"/>
                    <a:pt x="2967" y="4572"/>
                    <a:pt x="2952" y="4572"/>
                  </a:cubicBezTo>
                  <a:cubicBezTo>
                    <a:pt x="2945" y="4572"/>
                    <a:pt x="2945" y="4572"/>
                    <a:pt x="2937" y="4572"/>
                  </a:cubicBezTo>
                  <a:cubicBezTo>
                    <a:pt x="2930" y="4572"/>
                    <a:pt x="2930" y="4572"/>
                    <a:pt x="2923" y="4572"/>
                  </a:cubicBezTo>
                  <a:cubicBezTo>
                    <a:pt x="2908" y="4572"/>
                    <a:pt x="2893" y="4564"/>
                    <a:pt x="2886" y="4557"/>
                  </a:cubicBezTo>
                  <a:cubicBezTo>
                    <a:pt x="2879" y="4550"/>
                    <a:pt x="2871" y="4550"/>
                    <a:pt x="2871" y="4550"/>
                  </a:cubicBezTo>
                  <a:cubicBezTo>
                    <a:pt x="2864" y="4550"/>
                    <a:pt x="2864" y="4550"/>
                    <a:pt x="2857" y="4557"/>
                  </a:cubicBezTo>
                  <a:cubicBezTo>
                    <a:pt x="2842" y="4564"/>
                    <a:pt x="2827" y="4572"/>
                    <a:pt x="2813" y="4572"/>
                  </a:cubicBezTo>
                  <a:cubicBezTo>
                    <a:pt x="2784" y="4572"/>
                    <a:pt x="2754" y="4557"/>
                    <a:pt x="2725" y="4520"/>
                  </a:cubicBezTo>
                  <a:cubicBezTo>
                    <a:pt x="2681" y="4476"/>
                    <a:pt x="2703" y="4418"/>
                    <a:pt x="2710" y="4410"/>
                  </a:cubicBezTo>
                  <a:cubicBezTo>
                    <a:pt x="2710" y="4396"/>
                    <a:pt x="2725" y="4330"/>
                    <a:pt x="2703" y="4308"/>
                  </a:cubicBezTo>
                  <a:cubicBezTo>
                    <a:pt x="2681" y="4286"/>
                    <a:pt x="2659" y="4286"/>
                    <a:pt x="2644" y="4286"/>
                  </a:cubicBezTo>
                  <a:cubicBezTo>
                    <a:pt x="2629" y="4286"/>
                    <a:pt x="2622" y="4286"/>
                    <a:pt x="2622" y="4286"/>
                  </a:cubicBezTo>
                  <a:lnTo>
                    <a:pt x="2622" y="4286"/>
                  </a:lnTo>
                  <a:cubicBezTo>
                    <a:pt x="2622" y="4286"/>
                    <a:pt x="2564" y="4330"/>
                    <a:pt x="2512" y="4330"/>
                  </a:cubicBezTo>
                  <a:cubicBezTo>
                    <a:pt x="2505" y="4330"/>
                    <a:pt x="2498" y="4323"/>
                    <a:pt x="2483" y="4315"/>
                  </a:cubicBezTo>
                  <a:cubicBezTo>
                    <a:pt x="2439" y="4286"/>
                    <a:pt x="2424" y="4286"/>
                    <a:pt x="2417" y="4286"/>
                  </a:cubicBezTo>
                  <a:cubicBezTo>
                    <a:pt x="2417" y="4308"/>
                    <a:pt x="2403" y="4315"/>
                    <a:pt x="2388" y="4315"/>
                  </a:cubicBezTo>
                  <a:cubicBezTo>
                    <a:pt x="2366" y="4315"/>
                    <a:pt x="2336" y="4286"/>
                    <a:pt x="2322" y="4256"/>
                  </a:cubicBezTo>
                  <a:cubicBezTo>
                    <a:pt x="2300" y="4220"/>
                    <a:pt x="2227" y="4205"/>
                    <a:pt x="2190" y="4205"/>
                  </a:cubicBezTo>
                  <a:cubicBezTo>
                    <a:pt x="2175" y="4205"/>
                    <a:pt x="2161" y="4205"/>
                    <a:pt x="2146" y="4205"/>
                  </a:cubicBezTo>
                  <a:cubicBezTo>
                    <a:pt x="2131" y="4198"/>
                    <a:pt x="2117" y="4198"/>
                    <a:pt x="2102" y="4198"/>
                  </a:cubicBezTo>
                  <a:cubicBezTo>
                    <a:pt x="2080" y="4198"/>
                    <a:pt x="2065" y="4198"/>
                    <a:pt x="2043" y="4205"/>
                  </a:cubicBezTo>
                  <a:cubicBezTo>
                    <a:pt x="1985" y="4227"/>
                    <a:pt x="1970" y="4235"/>
                    <a:pt x="1912" y="4278"/>
                  </a:cubicBezTo>
                  <a:cubicBezTo>
                    <a:pt x="1889" y="4293"/>
                    <a:pt x="1889" y="4293"/>
                    <a:pt x="1889" y="4293"/>
                  </a:cubicBezTo>
                  <a:cubicBezTo>
                    <a:pt x="1831" y="4337"/>
                    <a:pt x="1838" y="4359"/>
                    <a:pt x="1853" y="4418"/>
                  </a:cubicBezTo>
                  <a:cubicBezTo>
                    <a:pt x="1860" y="4440"/>
                    <a:pt x="1860" y="4440"/>
                    <a:pt x="1860" y="4440"/>
                  </a:cubicBezTo>
                  <a:cubicBezTo>
                    <a:pt x="1875" y="4476"/>
                    <a:pt x="1919" y="4491"/>
                    <a:pt x="1977" y="4513"/>
                  </a:cubicBezTo>
                  <a:cubicBezTo>
                    <a:pt x="2007" y="4528"/>
                    <a:pt x="2036" y="4535"/>
                    <a:pt x="2058" y="4550"/>
                  </a:cubicBezTo>
                  <a:cubicBezTo>
                    <a:pt x="2102" y="4579"/>
                    <a:pt x="2117" y="4608"/>
                    <a:pt x="2109" y="4652"/>
                  </a:cubicBezTo>
                  <a:cubicBezTo>
                    <a:pt x="2102" y="4682"/>
                    <a:pt x="2073" y="4704"/>
                    <a:pt x="2043" y="4704"/>
                  </a:cubicBezTo>
                  <a:cubicBezTo>
                    <a:pt x="2021" y="4704"/>
                    <a:pt x="2007" y="4704"/>
                    <a:pt x="1999" y="4696"/>
                  </a:cubicBezTo>
                  <a:lnTo>
                    <a:pt x="1992" y="4696"/>
                  </a:lnTo>
                  <a:cubicBezTo>
                    <a:pt x="1992" y="4696"/>
                    <a:pt x="1985" y="4696"/>
                    <a:pt x="1977" y="4711"/>
                  </a:cubicBezTo>
                  <a:cubicBezTo>
                    <a:pt x="1963" y="4725"/>
                    <a:pt x="1941" y="4733"/>
                    <a:pt x="1919" y="4733"/>
                  </a:cubicBezTo>
                  <a:cubicBezTo>
                    <a:pt x="1897" y="4733"/>
                    <a:pt x="1875" y="4725"/>
                    <a:pt x="1853" y="4718"/>
                  </a:cubicBezTo>
                  <a:cubicBezTo>
                    <a:pt x="1853" y="4740"/>
                    <a:pt x="1853" y="4762"/>
                    <a:pt x="1838" y="4769"/>
                  </a:cubicBezTo>
                  <a:cubicBezTo>
                    <a:pt x="1831" y="4784"/>
                    <a:pt x="1809" y="4792"/>
                    <a:pt x="1787" y="4792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24" name="Freeform 123"/>
            <p:cNvSpPr>
              <a:spLocks noChangeArrowheads="1"/>
            </p:cNvSpPr>
            <p:nvPr/>
          </p:nvSpPr>
          <p:spPr bwMode="auto">
            <a:xfrm>
              <a:off x="6589487" y="6880626"/>
              <a:ext cx="2257995" cy="1834849"/>
            </a:xfrm>
            <a:custGeom>
              <a:avLst/>
              <a:gdLst>
                <a:gd name="T0" fmla="*/ 2190 w 5877"/>
                <a:gd name="T1" fmla="*/ 477 h 4829"/>
                <a:gd name="T2" fmla="*/ 2732 w 5877"/>
                <a:gd name="T3" fmla="*/ 836 h 4829"/>
                <a:gd name="T4" fmla="*/ 3311 w 5877"/>
                <a:gd name="T5" fmla="*/ 1129 h 4829"/>
                <a:gd name="T6" fmla="*/ 3451 w 5877"/>
                <a:gd name="T7" fmla="*/ 1780 h 4829"/>
                <a:gd name="T8" fmla="*/ 4330 w 5877"/>
                <a:gd name="T9" fmla="*/ 2022 h 4829"/>
                <a:gd name="T10" fmla="*/ 4938 w 5877"/>
                <a:gd name="T11" fmla="*/ 2256 h 4829"/>
                <a:gd name="T12" fmla="*/ 5400 w 5877"/>
                <a:gd name="T13" fmla="*/ 1809 h 4829"/>
                <a:gd name="T14" fmla="*/ 5502 w 5877"/>
                <a:gd name="T15" fmla="*/ 2395 h 4829"/>
                <a:gd name="T16" fmla="*/ 5055 w 5877"/>
                <a:gd name="T17" fmla="*/ 2791 h 4829"/>
                <a:gd name="T18" fmla="*/ 5041 w 5877"/>
                <a:gd name="T19" fmla="*/ 3319 h 4829"/>
                <a:gd name="T20" fmla="*/ 4594 w 5877"/>
                <a:gd name="T21" fmla="*/ 3473 h 4829"/>
                <a:gd name="T22" fmla="*/ 4381 w 5877"/>
                <a:gd name="T23" fmla="*/ 3897 h 4829"/>
                <a:gd name="T24" fmla="*/ 3465 w 5877"/>
                <a:gd name="T25" fmla="*/ 4110 h 4829"/>
                <a:gd name="T26" fmla="*/ 2886 w 5877"/>
                <a:gd name="T27" fmla="*/ 4550 h 4829"/>
                <a:gd name="T28" fmla="*/ 2403 w 5877"/>
                <a:gd name="T29" fmla="*/ 4323 h 4829"/>
                <a:gd name="T30" fmla="*/ 1853 w 5877"/>
                <a:gd name="T31" fmla="*/ 4711 h 4829"/>
                <a:gd name="T32" fmla="*/ 1129 w 5877"/>
                <a:gd name="T33" fmla="*/ 4161 h 4829"/>
                <a:gd name="T34" fmla="*/ 433 w 5877"/>
                <a:gd name="T35" fmla="*/ 3465 h 4829"/>
                <a:gd name="T36" fmla="*/ 140 w 5877"/>
                <a:gd name="T37" fmla="*/ 3047 h 4829"/>
                <a:gd name="T38" fmla="*/ 389 w 5877"/>
                <a:gd name="T39" fmla="*/ 2366 h 4829"/>
                <a:gd name="T40" fmla="*/ 623 w 5877"/>
                <a:gd name="T41" fmla="*/ 1912 h 4829"/>
                <a:gd name="T42" fmla="*/ 286 w 5877"/>
                <a:gd name="T43" fmla="*/ 1283 h 4829"/>
                <a:gd name="T44" fmla="*/ 667 w 5877"/>
                <a:gd name="T45" fmla="*/ 616 h 4829"/>
                <a:gd name="T46" fmla="*/ 1501 w 5877"/>
                <a:gd name="T47" fmla="*/ 279 h 4829"/>
                <a:gd name="T48" fmla="*/ 1853 w 5877"/>
                <a:gd name="T49" fmla="*/ 44 h 4829"/>
                <a:gd name="T50" fmla="*/ 1501 w 5877"/>
                <a:gd name="T51" fmla="*/ 242 h 4829"/>
                <a:gd name="T52" fmla="*/ 770 w 5877"/>
                <a:gd name="T53" fmla="*/ 586 h 4829"/>
                <a:gd name="T54" fmla="*/ 228 w 5877"/>
                <a:gd name="T55" fmla="*/ 865 h 4829"/>
                <a:gd name="T56" fmla="*/ 521 w 5877"/>
                <a:gd name="T57" fmla="*/ 1517 h 4829"/>
                <a:gd name="T58" fmla="*/ 557 w 5877"/>
                <a:gd name="T59" fmla="*/ 1956 h 4829"/>
                <a:gd name="T60" fmla="*/ 447 w 5877"/>
                <a:gd name="T61" fmla="*/ 2183 h 4829"/>
                <a:gd name="T62" fmla="*/ 242 w 5877"/>
                <a:gd name="T63" fmla="*/ 2498 h 4829"/>
                <a:gd name="T64" fmla="*/ 154 w 5877"/>
                <a:gd name="T65" fmla="*/ 2959 h 4829"/>
                <a:gd name="T66" fmla="*/ 257 w 5877"/>
                <a:gd name="T67" fmla="*/ 3436 h 4829"/>
                <a:gd name="T68" fmla="*/ 381 w 5877"/>
                <a:gd name="T69" fmla="*/ 3619 h 4829"/>
                <a:gd name="T70" fmla="*/ 770 w 5877"/>
                <a:gd name="T71" fmla="*/ 3802 h 4829"/>
                <a:gd name="T72" fmla="*/ 1443 w 5877"/>
                <a:gd name="T73" fmla="*/ 4381 h 4829"/>
                <a:gd name="T74" fmla="*/ 2007 w 5877"/>
                <a:gd name="T75" fmla="*/ 4733 h 4829"/>
                <a:gd name="T76" fmla="*/ 2154 w 5877"/>
                <a:gd name="T77" fmla="*/ 4242 h 4829"/>
                <a:gd name="T78" fmla="*/ 2828 w 5877"/>
                <a:gd name="T79" fmla="*/ 4608 h 4829"/>
                <a:gd name="T80" fmla="*/ 3055 w 5877"/>
                <a:gd name="T81" fmla="*/ 3890 h 4829"/>
                <a:gd name="T82" fmla="*/ 3649 w 5877"/>
                <a:gd name="T83" fmla="*/ 4169 h 4829"/>
                <a:gd name="T84" fmla="*/ 4315 w 5877"/>
                <a:gd name="T85" fmla="*/ 3993 h 4829"/>
                <a:gd name="T86" fmla="*/ 4469 w 5877"/>
                <a:gd name="T87" fmla="*/ 3443 h 4829"/>
                <a:gd name="T88" fmla="*/ 4857 w 5877"/>
                <a:gd name="T89" fmla="*/ 3414 h 4829"/>
                <a:gd name="T90" fmla="*/ 5085 w 5877"/>
                <a:gd name="T91" fmla="*/ 3055 h 4829"/>
                <a:gd name="T92" fmla="*/ 5070 w 5877"/>
                <a:gd name="T93" fmla="*/ 2762 h 4829"/>
                <a:gd name="T94" fmla="*/ 5312 w 5877"/>
                <a:gd name="T95" fmla="*/ 2615 h 4829"/>
                <a:gd name="T96" fmla="*/ 5825 w 5877"/>
                <a:gd name="T97" fmla="*/ 2403 h 4829"/>
                <a:gd name="T98" fmla="*/ 5598 w 5877"/>
                <a:gd name="T99" fmla="*/ 1985 h 4829"/>
                <a:gd name="T100" fmla="*/ 5048 w 5877"/>
                <a:gd name="T101" fmla="*/ 1736 h 4829"/>
                <a:gd name="T102" fmla="*/ 4938 w 5877"/>
                <a:gd name="T103" fmla="*/ 2219 h 4829"/>
                <a:gd name="T104" fmla="*/ 4542 w 5877"/>
                <a:gd name="T105" fmla="*/ 2154 h 4829"/>
                <a:gd name="T106" fmla="*/ 3963 w 5877"/>
                <a:gd name="T107" fmla="*/ 1934 h 4829"/>
                <a:gd name="T108" fmla="*/ 3363 w 5877"/>
                <a:gd name="T109" fmla="*/ 1721 h 4829"/>
                <a:gd name="T110" fmla="*/ 3223 w 5877"/>
                <a:gd name="T111" fmla="*/ 1363 h 4829"/>
                <a:gd name="T112" fmla="*/ 3070 w 5877"/>
                <a:gd name="T113" fmla="*/ 828 h 4829"/>
                <a:gd name="T114" fmla="*/ 2747 w 5877"/>
                <a:gd name="T115" fmla="*/ 791 h 4829"/>
                <a:gd name="T116" fmla="*/ 2337 w 5877"/>
                <a:gd name="T117" fmla="*/ 755 h 4829"/>
                <a:gd name="T118" fmla="*/ 2139 w 5877"/>
                <a:gd name="T119" fmla="*/ 117 h 4829"/>
                <a:gd name="T120" fmla="*/ 1780 w 5877"/>
                <a:gd name="T121" fmla="*/ 15 h 4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877" h="4829">
                  <a:moveTo>
                    <a:pt x="1853" y="44"/>
                  </a:moveTo>
                  <a:lnTo>
                    <a:pt x="1853" y="44"/>
                  </a:lnTo>
                  <a:cubicBezTo>
                    <a:pt x="1861" y="44"/>
                    <a:pt x="1868" y="44"/>
                    <a:pt x="1875" y="44"/>
                  </a:cubicBezTo>
                  <a:cubicBezTo>
                    <a:pt x="1912" y="51"/>
                    <a:pt x="1963" y="51"/>
                    <a:pt x="1985" y="81"/>
                  </a:cubicBezTo>
                  <a:cubicBezTo>
                    <a:pt x="2014" y="96"/>
                    <a:pt x="2036" y="139"/>
                    <a:pt x="2066" y="139"/>
                  </a:cubicBezTo>
                  <a:lnTo>
                    <a:pt x="2073" y="139"/>
                  </a:lnTo>
                  <a:cubicBezTo>
                    <a:pt x="2080" y="139"/>
                    <a:pt x="2088" y="139"/>
                    <a:pt x="2088" y="139"/>
                  </a:cubicBezTo>
                  <a:cubicBezTo>
                    <a:pt x="2110" y="139"/>
                    <a:pt x="2117" y="147"/>
                    <a:pt x="2139" y="147"/>
                  </a:cubicBezTo>
                  <a:cubicBezTo>
                    <a:pt x="2168" y="147"/>
                    <a:pt x="2205" y="227"/>
                    <a:pt x="2139" y="227"/>
                  </a:cubicBezTo>
                  <a:cubicBezTo>
                    <a:pt x="2080" y="235"/>
                    <a:pt x="2088" y="257"/>
                    <a:pt x="2110" y="293"/>
                  </a:cubicBezTo>
                  <a:cubicBezTo>
                    <a:pt x="2132" y="330"/>
                    <a:pt x="2190" y="367"/>
                    <a:pt x="2190" y="389"/>
                  </a:cubicBezTo>
                  <a:cubicBezTo>
                    <a:pt x="2198" y="410"/>
                    <a:pt x="2168" y="455"/>
                    <a:pt x="2190" y="477"/>
                  </a:cubicBezTo>
                  <a:cubicBezTo>
                    <a:pt x="2212" y="498"/>
                    <a:pt x="2249" y="550"/>
                    <a:pt x="2249" y="579"/>
                  </a:cubicBezTo>
                  <a:cubicBezTo>
                    <a:pt x="2249" y="608"/>
                    <a:pt x="2249" y="652"/>
                    <a:pt x="2249" y="689"/>
                  </a:cubicBezTo>
                  <a:cubicBezTo>
                    <a:pt x="2249" y="733"/>
                    <a:pt x="2263" y="762"/>
                    <a:pt x="2293" y="777"/>
                  </a:cubicBezTo>
                  <a:cubicBezTo>
                    <a:pt x="2308" y="777"/>
                    <a:pt x="2322" y="784"/>
                    <a:pt x="2337" y="784"/>
                  </a:cubicBezTo>
                  <a:cubicBezTo>
                    <a:pt x="2351" y="784"/>
                    <a:pt x="2373" y="777"/>
                    <a:pt x="2395" y="770"/>
                  </a:cubicBezTo>
                  <a:cubicBezTo>
                    <a:pt x="2425" y="755"/>
                    <a:pt x="2439" y="748"/>
                    <a:pt x="2454" y="748"/>
                  </a:cubicBezTo>
                  <a:cubicBezTo>
                    <a:pt x="2461" y="748"/>
                    <a:pt x="2469" y="748"/>
                    <a:pt x="2483" y="755"/>
                  </a:cubicBezTo>
                  <a:cubicBezTo>
                    <a:pt x="2513" y="770"/>
                    <a:pt x="2579" y="806"/>
                    <a:pt x="2608" y="821"/>
                  </a:cubicBezTo>
                  <a:cubicBezTo>
                    <a:pt x="2623" y="828"/>
                    <a:pt x="2637" y="828"/>
                    <a:pt x="2652" y="828"/>
                  </a:cubicBezTo>
                  <a:cubicBezTo>
                    <a:pt x="2659" y="828"/>
                    <a:pt x="2674" y="828"/>
                    <a:pt x="2689" y="821"/>
                  </a:cubicBezTo>
                  <a:cubicBezTo>
                    <a:pt x="2689" y="814"/>
                    <a:pt x="2696" y="814"/>
                    <a:pt x="2696" y="814"/>
                  </a:cubicBezTo>
                  <a:cubicBezTo>
                    <a:pt x="2711" y="814"/>
                    <a:pt x="2718" y="836"/>
                    <a:pt x="2732" y="836"/>
                  </a:cubicBezTo>
                  <a:cubicBezTo>
                    <a:pt x="2740" y="836"/>
                    <a:pt x="2740" y="836"/>
                    <a:pt x="2740" y="828"/>
                  </a:cubicBezTo>
                  <a:cubicBezTo>
                    <a:pt x="2769" y="828"/>
                    <a:pt x="2769" y="799"/>
                    <a:pt x="2799" y="799"/>
                  </a:cubicBezTo>
                  <a:cubicBezTo>
                    <a:pt x="2806" y="799"/>
                    <a:pt x="2806" y="799"/>
                    <a:pt x="2813" y="806"/>
                  </a:cubicBezTo>
                  <a:cubicBezTo>
                    <a:pt x="2842" y="806"/>
                    <a:pt x="2850" y="836"/>
                    <a:pt x="2886" y="836"/>
                  </a:cubicBezTo>
                  <a:cubicBezTo>
                    <a:pt x="2886" y="836"/>
                    <a:pt x="2894" y="836"/>
                    <a:pt x="2901" y="828"/>
                  </a:cubicBezTo>
                  <a:cubicBezTo>
                    <a:pt x="2945" y="821"/>
                    <a:pt x="2945" y="806"/>
                    <a:pt x="2974" y="806"/>
                  </a:cubicBezTo>
                  <a:cubicBezTo>
                    <a:pt x="3004" y="806"/>
                    <a:pt x="2982" y="843"/>
                    <a:pt x="3018" y="850"/>
                  </a:cubicBezTo>
                  <a:cubicBezTo>
                    <a:pt x="3062" y="857"/>
                    <a:pt x="3077" y="857"/>
                    <a:pt x="3121" y="865"/>
                  </a:cubicBezTo>
                  <a:cubicBezTo>
                    <a:pt x="3165" y="872"/>
                    <a:pt x="3172" y="909"/>
                    <a:pt x="3158" y="938"/>
                  </a:cubicBezTo>
                  <a:cubicBezTo>
                    <a:pt x="3135" y="967"/>
                    <a:pt x="3143" y="982"/>
                    <a:pt x="3187" y="1004"/>
                  </a:cubicBezTo>
                  <a:cubicBezTo>
                    <a:pt x="3223" y="1019"/>
                    <a:pt x="3231" y="1026"/>
                    <a:pt x="3245" y="1055"/>
                  </a:cubicBezTo>
                  <a:cubicBezTo>
                    <a:pt x="3260" y="1092"/>
                    <a:pt x="3275" y="1107"/>
                    <a:pt x="3311" y="1129"/>
                  </a:cubicBezTo>
                  <a:cubicBezTo>
                    <a:pt x="3341" y="1150"/>
                    <a:pt x="3355" y="1150"/>
                    <a:pt x="3311" y="1202"/>
                  </a:cubicBezTo>
                  <a:cubicBezTo>
                    <a:pt x="3260" y="1253"/>
                    <a:pt x="3253" y="1334"/>
                    <a:pt x="3223" y="1334"/>
                  </a:cubicBezTo>
                  <a:cubicBezTo>
                    <a:pt x="3209" y="1334"/>
                    <a:pt x="3201" y="1326"/>
                    <a:pt x="3187" y="1326"/>
                  </a:cubicBezTo>
                  <a:cubicBezTo>
                    <a:pt x="3172" y="1326"/>
                    <a:pt x="3165" y="1334"/>
                    <a:pt x="3143" y="1341"/>
                  </a:cubicBezTo>
                  <a:cubicBezTo>
                    <a:pt x="3113" y="1363"/>
                    <a:pt x="3099" y="1378"/>
                    <a:pt x="3135" y="1407"/>
                  </a:cubicBezTo>
                  <a:cubicBezTo>
                    <a:pt x="3165" y="1429"/>
                    <a:pt x="3209" y="1444"/>
                    <a:pt x="3245" y="1451"/>
                  </a:cubicBezTo>
                  <a:cubicBezTo>
                    <a:pt x="3282" y="1458"/>
                    <a:pt x="3326" y="1480"/>
                    <a:pt x="3341" y="1510"/>
                  </a:cubicBezTo>
                  <a:cubicBezTo>
                    <a:pt x="3348" y="1546"/>
                    <a:pt x="3385" y="1590"/>
                    <a:pt x="3355" y="1612"/>
                  </a:cubicBezTo>
                  <a:cubicBezTo>
                    <a:pt x="3326" y="1634"/>
                    <a:pt x="3289" y="1641"/>
                    <a:pt x="3297" y="1677"/>
                  </a:cubicBezTo>
                  <a:cubicBezTo>
                    <a:pt x="3304" y="1707"/>
                    <a:pt x="3319" y="1728"/>
                    <a:pt x="3341" y="1743"/>
                  </a:cubicBezTo>
                  <a:cubicBezTo>
                    <a:pt x="3363" y="1758"/>
                    <a:pt x="3407" y="1787"/>
                    <a:pt x="3436" y="1787"/>
                  </a:cubicBezTo>
                  <a:cubicBezTo>
                    <a:pt x="3443" y="1787"/>
                    <a:pt x="3443" y="1787"/>
                    <a:pt x="3451" y="1780"/>
                  </a:cubicBezTo>
                  <a:cubicBezTo>
                    <a:pt x="3487" y="1773"/>
                    <a:pt x="3553" y="1750"/>
                    <a:pt x="3590" y="1750"/>
                  </a:cubicBezTo>
                  <a:cubicBezTo>
                    <a:pt x="3619" y="1750"/>
                    <a:pt x="3641" y="1787"/>
                    <a:pt x="3670" y="1787"/>
                  </a:cubicBezTo>
                  <a:cubicBezTo>
                    <a:pt x="3707" y="1787"/>
                    <a:pt x="3744" y="1780"/>
                    <a:pt x="3766" y="1780"/>
                  </a:cubicBezTo>
                  <a:lnTo>
                    <a:pt x="3773" y="1780"/>
                  </a:lnTo>
                  <a:cubicBezTo>
                    <a:pt x="3795" y="1780"/>
                    <a:pt x="3802" y="1831"/>
                    <a:pt x="3817" y="1853"/>
                  </a:cubicBezTo>
                  <a:cubicBezTo>
                    <a:pt x="3839" y="1875"/>
                    <a:pt x="3861" y="1904"/>
                    <a:pt x="3898" y="1919"/>
                  </a:cubicBezTo>
                  <a:cubicBezTo>
                    <a:pt x="3927" y="1926"/>
                    <a:pt x="3927" y="1963"/>
                    <a:pt x="3963" y="1963"/>
                  </a:cubicBezTo>
                  <a:lnTo>
                    <a:pt x="3971" y="1963"/>
                  </a:lnTo>
                  <a:cubicBezTo>
                    <a:pt x="4015" y="1956"/>
                    <a:pt x="4103" y="1963"/>
                    <a:pt x="4132" y="1948"/>
                  </a:cubicBezTo>
                  <a:cubicBezTo>
                    <a:pt x="4154" y="1934"/>
                    <a:pt x="4176" y="1919"/>
                    <a:pt x="4198" y="1919"/>
                  </a:cubicBezTo>
                  <a:cubicBezTo>
                    <a:pt x="4205" y="1919"/>
                    <a:pt x="4213" y="1919"/>
                    <a:pt x="4220" y="1926"/>
                  </a:cubicBezTo>
                  <a:cubicBezTo>
                    <a:pt x="4249" y="1948"/>
                    <a:pt x="4279" y="2022"/>
                    <a:pt x="4330" y="2022"/>
                  </a:cubicBezTo>
                  <a:cubicBezTo>
                    <a:pt x="4381" y="2022"/>
                    <a:pt x="4403" y="2036"/>
                    <a:pt x="4418" y="2080"/>
                  </a:cubicBezTo>
                  <a:cubicBezTo>
                    <a:pt x="4440" y="2117"/>
                    <a:pt x="4462" y="2176"/>
                    <a:pt x="4506" y="2183"/>
                  </a:cubicBezTo>
                  <a:cubicBezTo>
                    <a:pt x="4535" y="2183"/>
                    <a:pt x="4550" y="2190"/>
                    <a:pt x="4572" y="2190"/>
                  </a:cubicBezTo>
                  <a:cubicBezTo>
                    <a:pt x="4586" y="2190"/>
                    <a:pt x="4601" y="2190"/>
                    <a:pt x="4616" y="2183"/>
                  </a:cubicBezTo>
                  <a:cubicBezTo>
                    <a:pt x="4630" y="2168"/>
                    <a:pt x="4652" y="2161"/>
                    <a:pt x="4674" y="2161"/>
                  </a:cubicBezTo>
                  <a:cubicBezTo>
                    <a:pt x="4689" y="2161"/>
                    <a:pt x="4704" y="2168"/>
                    <a:pt x="4711" y="2183"/>
                  </a:cubicBezTo>
                  <a:cubicBezTo>
                    <a:pt x="4725" y="2205"/>
                    <a:pt x="4740" y="2227"/>
                    <a:pt x="4755" y="2227"/>
                  </a:cubicBezTo>
                  <a:cubicBezTo>
                    <a:pt x="4762" y="2227"/>
                    <a:pt x="4770" y="2227"/>
                    <a:pt x="4770" y="2227"/>
                  </a:cubicBezTo>
                  <a:cubicBezTo>
                    <a:pt x="4792" y="2205"/>
                    <a:pt x="4813" y="2168"/>
                    <a:pt x="4835" y="2168"/>
                  </a:cubicBezTo>
                  <a:cubicBezTo>
                    <a:pt x="4857" y="2168"/>
                    <a:pt x="4872" y="2190"/>
                    <a:pt x="4880" y="2205"/>
                  </a:cubicBezTo>
                  <a:cubicBezTo>
                    <a:pt x="4887" y="2219"/>
                    <a:pt x="4894" y="2256"/>
                    <a:pt x="4923" y="2256"/>
                  </a:cubicBezTo>
                  <a:cubicBezTo>
                    <a:pt x="4931" y="2256"/>
                    <a:pt x="4931" y="2256"/>
                    <a:pt x="4938" y="2256"/>
                  </a:cubicBezTo>
                  <a:cubicBezTo>
                    <a:pt x="4982" y="2227"/>
                    <a:pt x="4960" y="2219"/>
                    <a:pt x="4975" y="2183"/>
                  </a:cubicBezTo>
                  <a:cubicBezTo>
                    <a:pt x="4989" y="2139"/>
                    <a:pt x="4989" y="2132"/>
                    <a:pt x="5026" y="2102"/>
                  </a:cubicBezTo>
                  <a:cubicBezTo>
                    <a:pt x="5063" y="2080"/>
                    <a:pt x="5085" y="2044"/>
                    <a:pt x="5077" y="2007"/>
                  </a:cubicBezTo>
                  <a:cubicBezTo>
                    <a:pt x="5070" y="1978"/>
                    <a:pt x="5019" y="1978"/>
                    <a:pt x="5011" y="1948"/>
                  </a:cubicBezTo>
                  <a:cubicBezTo>
                    <a:pt x="4997" y="1912"/>
                    <a:pt x="4982" y="1882"/>
                    <a:pt x="5011" y="1846"/>
                  </a:cubicBezTo>
                  <a:cubicBezTo>
                    <a:pt x="5026" y="1824"/>
                    <a:pt x="5048" y="1787"/>
                    <a:pt x="5063" y="1758"/>
                  </a:cubicBezTo>
                  <a:lnTo>
                    <a:pt x="5063" y="1758"/>
                  </a:lnTo>
                  <a:cubicBezTo>
                    <a:pt x="5077" y="1758"/>
                    <a:pt x="5092" y="1758"/>
                    <a:pt x="5099" y="1758"/>
                  </a:cubicBezTo>
                  <a:cubicBezTo>
                    <a:pt x="5136" y="1758"/>
                    <a:pt x="5151" y="1765"/>
                    <a:pt x="5173" y="1795"/>
                  </a:cubicBezTo>
                  <a:cubicBezTo>
                    <a:pt x="5194" y="1816"/>
                    <a:pt x="5224" y="1831"/>
                    <a:pt x="5275" y="1831"/>
                  </a:cubicBezTo>
                  <a:cubicBezTo>
                    <a:pt x="5290" y="1831"/>
                    <a:pt x="5304" y="1831"/>
                    <a:pt x="5319" y="1831"/>
                  </a:cubicBezTo>
                  <a:cubicBezTo>
                    <a:pt x="5385" y="1816"/>
                    <a:pt x="5378" y="1809"/>
                    <a:pt x="5400" y="1809"/>
                  </a:cubicBezTo>
                  <a:cubicBezTo>
                    <a:pt x="5429" y="1809"/>
                    <a:pt x="5422" y="1846"/>
                    <a:pt x="5466" y="1853"/>
                  </a:cubicBezTo>
                  <a:cubicBezTo>
                    <a:pt x="5502" y="1860"/>
                    <a:pt x="5532" y="1882"/>
                    <a:pt x="5554" y="1941"/>
                  </a:cubicBezTo>
                  <a:cubicBezTo>
                    <a:pt x="5583" y="2000"/>
                    <a:pt x="5554" y="2044"/>
                    <a:pt x="5627" y="2058"/>
                  </a:cubicBezTo>
                  <a:cubicBezTo>
                    <a:pt x="5663" y="2066"/>
                    <a:pt x="5671" y="2073"/>
                    <a:pt x="5678" y="2073"/>
                  </a:cubicBezTo>
                  <a:cubicBezTo>
                    <a:pt x="5685" y="2073"/>
                    <a:pt x="5693" y="2073"/>
                    <a:pt x="5707" y="2066"/>
                  </a:cubicBezTo>
                  <a:cubicBezTo>
                    <a:pt x="5715" y="2066"/>
                    <a:pt x="5722" y="2058"/>
                    <a:pt x="5730" y="2058"/>
                  </a:cubicBezTo>
                  <a:cubicBezTo>
                    <a:pt x="5751" y="2058"/>
                    <a:pt x="5751" y="2088"/>
                    <a:pt x="5766" y="2124"/>
                  </a:cubicBezTo>
                  <a:cubicBezTo>
                    <a:pt x="5788" y="2168"/>
                    <a:pt x="5803" y="2205"/>
                    <a:pt x="5817" y="2271"/>
                  </a:cubicBezTo>
                  <a:cubicBezTo>
                    <a:pt x="5839" y="2337"/>
                    <a:pt x="5847" y="2344"/>
                    <a:pt x="5803" y="2381"/>
                  </a:cubicBezTo>
                  <a:cubicBezTo>
                    <a:pt x="5788" y="2388"/>
                    <a:pt x="5759" y="2395"/>
                    <a:pt x="5722" y="2395"/>
                  </a:cubicBezTo>
                  <a:cubicBezTo>
                    <a:pt x="5678" y="2395"/>
                    <a:pt x="5620" y="2388"/>
                    <a:pt x="5575" y="2388"/>
                  </a:cubicBezTo>
                  <a:cubicBezTo>
                    <a:pt x="5546" y="2388"/>
                    <a:pt x="5517" y="2388"/>
                    <a:pt x="5502" y="2395"/>
                  </a:cubicBezTo>
                  <a:cubicBezTo>
                    <a:pt x="5444" y="2425"/>
                    <a:pt x="5436" y="2469"/>
                    <a:pt x="5414" y="2505"/>
                  </a:cubicBezTo>
                  <a:cubicBezTo>
                    <a:pt x="5385" y="2549"/>
                    <a:pt x="5392" y="2608"/>
                    <a:pt x="5378" y="2615"/>
                  </a:cubicBezTo>
                  <a:cubicBezTo>
                    <a:pt x="5378" y="2623"/>
                    <a:pt x="5378" y="2623"/>
                    <a:pt x="5378" y="2623"/>
                  </a:cubicBezTo>
                  <a:cubicBezTo>
                    <a:pt x="5363" y="2623"/>
                    <a:pt x="5348" y="2527"/>
                    <a:pt x="5348" y="2527"/>
                  </a:cubicBezTo>
                  <a:cubicBezTo>
                    <a:pt x="5348" y="2527"/>
                    <a:pt x="5341" y="2571"/>
                    <a:pt x="5304" y="2586"/>
                  </a:cubicBezTo>
                  <a:cubicBezTo>
                    <a:pt x="5261" y="2600"/>
                    <a:pt x="5224" y="2593"/>
                    <a:pt x="5216" y="2630"/>
                  </a:cubicBezTo>
                  <a:cubicBezTo>
                    <a:pt x="5209" y="2652"/>
                    <a:pt x="5209" y="2674"/>
                    <a:pt x="5187" y="2674"/>
                  </a:cubicBezTo>
                  <a:cubicBezTo>
                    <a:pt x="5187" y="2674"/>
                    <a:pt x="5180" y="2674"/>
                    <a:pt x="5173" y="2666"/>
                  </a:cubicBezTo>
                  <a:cubicBezTo>
                    <a:pt x="5158" y="2666"/>
                    <a:pt x="5136" y="2659"/>
                    <a:pt x="5121" y="2659"/>
                  </a:cubicBezTo>
                  <a:cubicBezTo>
                    <a:pt x="5107" y="2659"/>
                    <a:pt x="5092" y="2659"/>
                    <a:pt x="5077" y="2681"/>
                  </a:cubicBezTo>
                  <a:cubicBezTo>
                    <a:pt x="5055" y="2710"/>
                    <a:pt x="5063" y="2710"/>
                    <a:pt x="5011" y="2732"/>
                  </a:cubicBezTo>
                  <a:cubicBezTo>
                    <a:pt x="4960" y="2747"/>
                    <a:pt x="5011" y="2784"/>
                    <a:pt x="5055" y="2791"/>
                  </a:cubicBezTo>
                  <a:cubicBezTo>
                    <a:pt x="5099" y="2798"/>
                    <a:pt x="5121" y="2798"/>
                    <a:pt x="5099" y="2842"/>
                  </a:cubicBezTo>
                  <a:cubicBezTo>
                    <a:pt x="5070" y="2879"/>
                    <a:pt x="5041" y="2872"/>
                    <a:pt x="5011" y="2879"/>
                  </a:cubicBezTo>
                  <a:cubicBezTo>
                    <a:pt x="4989" y="2894"/>
                    <a:pt x="4967" y="2916"/>
                    <a:pt x="4975" y="2959"/>
                  </a:cubicBezTo>
                  <a:cubicBezTo>
                    <a:pt x="4982" y="2974"/>
                    <a:pt x="4989" y="2982"/>
                    <a:pt x="4997" y="2982"/>
                  </a:cubicBezTo>
                  <a:cubicBezTo>
                    <a:pt x="5011" y="2982"/>
                    <a:pt x="5026" y="2959"/>
                    <a:pt x="5048" y="2952"/>
                  </a:cubicBezTo>
                  <a:cubicBezTo>
                    <a:pt x="5048" y="2945"/>
                    <a:pt x="5055" y="2945"/>
                    <a:pt x="5063" y="2945"/>
                  </a:cubicBezTo>
                  <a:cubicBezTo>
                    <a:pt x="5077" y="2945"/>
                    <a:pt x="5085" y="2974"/>
                    <a:pt x="5077" y="3004"/>
                  </a:cubicBezTo>
                  <a:cubicBezTo>
                    <a:pt x="5070" y="3033"/>
                    <a:pt x="5048" y="3033"/>
                    <a:pt x="5055" y="3069"/>
                  </a:cubicBezTo>
                  <a:cubicBezTo>
                    <a:pt x="5063" y="3106"/>
                    <a:pt x="5092" y="3121"/>
                    <a:pt x="5151" y="3128"/>
                  </a:cubicBezTo>
                  <a:cubicBezTo>
                    <a:pt x="5209" y="3135"/>
                    <a:pt x="5180" y="3216"/>
                    <a:pt x="5151" y="3231"/>
                  </a:cubicBezTo>
                  <a:cubicBezTo>
                    <a:pt x="5114" y="3245"/>
                    <a:pt x="5107" y="3245"/>
                    <a:pt x="5092" y="3275"/>
                  </a:cubicBezTo>
                  <a:cubicBezTo>
                    <a:pt x="5070" y="3297"/>
                    <a:pt x="5070" y="3304"/>
                    <a:pt x="5041" y="3319"/>
                  </a:cubicBezTo>
                  <a:cubicBezTo>
                    <a:pt x="5026" y="3319"/>
                    <a:pt x="5011" y="3319"/>
                    <a:pt x="5004" y="3319"/>
                  </a:cubicBezTo>
                  <a:cubicBezTo>
                    <a:pt x="4982" y="3319"/>
                    <a:pt x="4960" y="3319"/>
                    <a:pt x="4960" y="3319"/>
                  </a:cubicBezTo>
                  <a:cubicBezTo>
                    <a:pt x="4960" y="3319"/>
                    <a:pt x="4923" y="3348"/>
                    <a:pt x="4857" y="3355"/>
                  </a:cubicBezTo>
                  <a:cubicBezTo>
                    <a:pt x="4792" y="3370"/>
                    <a:pt x="4857" y="3355"/>
                    <a:pt x="4835" y="3392"/>
                  </a:cubicBezTo>
                  <a:cubicBezTo>
                    <a:pt x="4806" y="3428"/>
                    <a:pt x="4806" y="3428"/>
                    <a:pt x="4828" y="3458"/>
                  </a:cubicBezTo>
                  <a:cubicBezTo>
                    <a:pt x="4843" y="3495"/>
                    <a:pt x="4813" y="3516"/>
                    <a:pt x="4784" y="3538"/>
                  </a:cubicBezTo>
                  <a:cubicBezTo>
                    <a:pt x="4777" y="3538"/>
                    <a:pt x="4777" y="3538"/>
                    <a:pt x="4770" y="3538"/>
                  </a:cubicBezTo>
                  <a:cubicBezTo>
                    <a:pt x="4748" y="3538"/>
                    <a:pt x="4755" y="3495"/>
                    <a:pt x="4733" y="3495"/>
                  </a:cubicBezTo>
                  <a:cubicBezTo>
                    <a:pt x="4704" y="3495"/>
                    <a:pt x="4725" y="3538"/>
                    <a:pt x="4682" y="3582"/>
                  </a:cubicBezTo>
                  <a:cubicBezTo>
                    <a:pt x="4667" y="3590"/>
                    <a:pt x="4660" y="3597"/>
                    <a:pt x="4645" y="3597"/>
                  </a:cubicBezTo>
                  <a:cubicBezTo>
                    <a:pt x="4616" y="3597"/>
                    <a:pt x="4586" y="3553"/>
                    <a:pt x="4579" y="3538"/>
                  </a:cubicBezTo>
                  <a:cubicBezTo>
                    <a:pt x="4572" y="3509"/>
                    <a:pt x="4594" y="3473"/>
                    <a:pt x="4594" y="3473"/>
                  </a:cubicBezTo>
                  <a:cubicBezTo>
                    <a:pt x="4594" y="3473"/>
                    <a:pt x="4535" y="3407"/>
                    <a:pt x="4564" y="3385"/>
                  </a:cubicBezTo>
                  <a:cubicBezTo>
                    <a:pt x="4579" y="3370"/>
                    <a:pt x="4557" y="3348"/>
                    <a:pt x="4535" y="3348"/>
                  </a:cubicBezTo>
                  <a:cubicBezTo>
                    <a:pt x="4528" y="3348"/>
                    <a:pt x="4513" y="3355"/>
                    <a:pt x="4513" y="3370"/>
                  </a:cubicBezTo>
                  <a:cubicBezTo>
                    <a:pt x="4491" y="3399"/>
                    <a:pt x="4491" y="3392"/>
                    <a:pt x="4447" y="3421"/>
                  </a:cubicBezTo>
                  <a:cubicBezTo>
                    <a:pt x="4411" y="3443"/>
                    <a:pt x="4389" y="3450"/>
                    <a:pt x="4374" y="3502"/>
                  </a:cubicBezTo>
                  <a:cubicBezTo>
                    <a:pt x="4359" y="3553"/>
                    <a:pt x="4352" y="3590"/>
                    <a:pt x="4308" y="3597"/>
                  </a:cubicBezTo>
                  <a:cubicBezTo>
                    <a:pt x="4264" y="3604"/>
                    <a:pt x="4264" y="3648"/>
                    <a:pt x="4279" y="3700"/>
                  </a:cubicBezTo>
                  <a:cubicBezTo>
                    <a:pt x="4286" y="3722"/>
                    <a:pt x="4301" y="3729"/>
                    <a:pt x="4308" y="3729"/>
                  </a:cubicBezTo>
                  <a:cubicBezTo>
                    <a:pt x="4323" y="3729"/>
                    <a:pt x="4337" y="3722"/>
                    <a:pt x="4352" y="3707"/>
                  </a:cubicBezTo>
                  <a:cubicBezTo>
                    <a:pt x="4352" y="3700"/>
                    <a:pt x="4359" y="3700"/>
                    <a:pt x="4366" y="3700"/>
                  </a:cubicBezTo>
                  <a:cubicBezTo>
                    <a:pt x="4389" y="3700"/>
                    <a:pt x="4418" y="3736"/>
                    <a:pt x="4432" y="3780"/>
                  </a:cubicBezTo>
                  <a:cubicBezTo>
                    <a:pt x="4447" y="3846"/>
                    <a:pt x="4440" y="3861"/>
                    <a:pt x="4381" y="3897"/>
                  </a:cubicBezTo>
                  <a:cubicBezTo>
                    <a:pt x="4323" y="3927"/>
                    <a:pt x="4315" y="3934"/>
                    <a:pt x="4286" y="3978"/>
                  </a:cubicBezTo>
                  <a:cubicBezTo>
                    <a:pt x="4271" y="4015"/>
                    <a:pt x="4359" y="4044"/>
                    <a:pt x="4381" y="4051"/>
                  </a:cubicBezTo>
                  <a:cubicBezTo>
                    <a:pt x="4359" y="4059"/>
                    <a:pt x="4337" y="4066"/>
                    <a:pt x="4315" y="4081"/>
                  </a:cubicBezTo>
                  <a:cubicBezTo>
                    <a:pt x="4257" y="4110"/>
                    <a:pt x="4242" y="4110"/>
                    <a:pt x="4154" y="4110"/>
                  </a:cubicBezTo>
                  <a:cubicBezTo>
                    <a:pt x="4066" y="4110"/>
                    <a:pt x="4132" y="4081"/>
                    <a:pt x="4066" y="4081"/>
                  </a:cubicBezTo>
                  <a:cubicBezTo>
                    <a:pt x="3993" y="4081"/>
                    <a:pt x="3883" y="4125"/>
                    <a:pt x="3810" y="4161"/>
                  </a:cubicBezTo>
                  <a:cubicBezTo>
                    <a:pt x="3795" y="4169"/>
                    <a:pt x="3788" y="4169"/>
                    <a:pt x="3773" y="4169"/>
                  </a:cubicBezTo>
                  <a:cubicBezTo>
                    <a:pt x="3736" y="4169"/>
                    <a:pt x="3722" y="4132"/>
                    <a:pt x="3685" y="4110"/>
                  </a:cubicBezTo>
                  <a:cubicBezTo>
                    <a:pt x="3685" y="4110"/>
                    <a:pt x="3678" y="4110"/>
                    <a:pt x="3670" y="4110"/>
                  </a:cubicBezTo>
                  <a:cubicBezTo>
                    <a:pt x="3641" y="4110"/>
                    <a:pt x="3626" y="4161"/>
                    <a:pt x="3575" y="4205"/>
                  </a:cubicBezTo>
                  <a:cubicBezTo>
                    <a:pt x="3568" y="4213"/>
                    <a:pt x="3553" y="4213"/>
                    <a:pt x="3546" y="4213"/>
                  </a:cubicBezTo>
                  <a:cubicBezTo>
                    <a:pt x="3502" y="4213"/>
                    <a:pt x="3473" y="4147"/>
                    <a:pt x="3465" y="4110"/>
                  </a:cubicBezTo>
                  <a:cubicBezTo>
                    <a:pt x="3451" y="4066"/>
                    <a:pt x="3436" y="4029"/>
                    <a:pt x="3385" y="4022"/>
                  </a:cubicBezTo>
                  <a:cubicBezTo>
                    <a:pt x="3326" y="4007"/>
                    <a:pt x="3304" y="3919"/>
                    <a:pt x="3311" y="3883"/>
                  </a:cubicBezTo>
                  <a:cubicBezTo>
                    <a:pt x="3326" y="3854"/>
                    <a:pt x="3326" y="3751"/>
                    <a:pt x="3267" y="3751"/>
                  </a:cubicBezTo>
                  <a:cubicBezTo>
                    <a:pt x="3245" y="3751"/>
                    <a:pt x="3223" y="3751"/>
                    <a:pt x="3201" y="3751"/>
                  </a:cubicBezTo>
                  <a:cubicBezTo>
                    <a:pt x="3172" y="3751"/>
                    <a:pt x="3150" y="3751"/>
                    <a:pt x="3143" y="3773"/>
                  </a:cubicBezTo>
                  <a:cubicBezTo>
                    <a:pt x="3135" y="3809"/>
                    <a:pt x="3099" y="3832"/>
                    <a:pt x="3040" y="3861"/>
                  </a:cubicBezTo>
                  <a:cubicBezTo>
                    <a:pt x="2989" y="3897"/>
                    <a:pt x="2938" y="3934"/>
                    <a:pt x="2938" y="3934"/>
                  </a:cubicBezTo>
                  <a:cubicBezTo>
                    <a:pt x="2938" y="3934"/>
                    <a:pt x="2952" y="4066"/>
                    <a:pt x="2996" y="4147"/>
                  </a:cubicBezTo>
                  <a:cubicBezTo>
                    <a:pt x="3040" y="4227"/>
                    <a:pt x="3011" y="4330"/>
                    <a:pt x="3018" y="4462"/>
                  </a:cubicBezTo>
                  <a:cubicBezTo>
                    <a:pt x="3026" y="4564"/>
                    <a:pt x="2996" y="4579"/>
                    <a:pt x="2967" y="4579"/>
                  </a:cubicBezTo>
                  <a:cubicBezTo>
                    <a:pt x="2960" y="4579"/>
                    <a:pt x="2952" y="4579"/>
                    <a:pt x="2938" y="4579"/>
                  </a:cubicBezTo>
                  <a:cubicBezTo>
                    <a:pt x="2916" y="4579"/>
                    <a:pt x="2901" y="4550"/>
                    <a:pt x="2886" y="4550"/>
                  </a:cubicBezTo>
                  <a:cubicBezTo>
                    <a:pt x="2879" y="4550"/>
                    <a:pt x="2872" y="4557"/>
                    <a:pt x="2864" y="4564"/>
                  </a:cubicBezTo>
                  <a:cubicBezTo>
                    <a:pt x="2850" y="4579"/>
                    <a:pt x="2842" y="4579"/>
                    <a:pt x="2828" y="4579"/>
                  </a:cubicBezTo>
                  <a:cubicBezTo>
                    <a:pt x="2799" y="4579"/>
                    <a:pt x="2769" y="4557"/>
                    <a:pt x="2747" y="4535"/>
                  </a:cubicBezTo>
                  <a:cubicBezTo>
                    <a:pt x="2711" y="4498"/>
                    <a:pt x="2740" y="4440"/>
                    <a:pt x="2740" y="4440"/>
                  </a:cubicBezTo>
                  <a:cubicBezTo>
                    <a:pt x="2740" y="4440"/>
                    <a:pt x="2762" y="4352"/>
                    <a:pt x="2725" y="4315"/>
                  </a:cubicBezTo>
                  <a:cubicBezTo>
                    <a:pt x="2703" y="4293"/>
                    <a:pt x="2674" y="4293"/>
                    <a:pt x="2659" y="4293"/>
                  </a:cubicBezTo>
                  <a:cubicBezTo>
                    <a:pt x="2644" y="4293"/>
                    <a:pt x="2637" y="4293"/>
                    <a:pt x="2637" y="4293"/>
                  </a:cubicBezTo>
                  <a:cubicBezTo>
                    <a:pt x="2637" y="4293"/>
                    <a:pt x="2571" y="4330"/>
                    <a:pt x="2527" y="4330"/>
                  </a:cubicBezTo>
                  <a:cubicBezTo>
                    <a:pt x="2520" y="4330"/>
                    <a:pt x="2513" y="4330"/>
                    <a:pt x="2513" y="4330"/>
                  </a:cubicBezTo>
                  <a:cubicBezTo>
                    <a:pt x="2483" y="4315"/>
                    <a:pt x="2454" y="4293"/>
                    <a:pt x="2432" y="4293"/>
                  </a:cubicBezTo>
                  <a:cubicBezTo>
                    <a:pt x="2425" y="4293"/>
                    <a:pt x="2418" y="4293"/>
                    <a:pt x="2418" y="4308"/>
                  </a:cubicBezTo>
                  <a:cubicBezTo>
                    <a:pt x="2418" y="4315"/>
                    <a:pt x="2418" y="4323"/>
                    <a:pt x="2403" y="4323"/>
                  </a:cubicBezTo>
                  <a:cubicBezTo>
                    <a:pt x="2388" y="4323"/>
                    <a:pt x="2366" y="4300"/>
                    <a:pt x="2351" y="4271"/>
                  </a:cubicBezTo>
                  <a:cubicBezTo>
                    <a:pt x="2330" y="4227"/>
                    <a:pt x="2249" y="4213"/>
                    <a:pt x="2205" y="4213"/>
                  </a:cubicBezTo>
                  <a:cubicBezTo>
                    <a:pt x="2176" y="4213"/>
                    <a:pt x="2146" y="4205"/>
                    <a:pt x="2117" y="4205"/>
                  </a:cubicBezTo>
                  <a:cubicBezTo>
                    <a:pt x="2095" y="4205"/>
                    <a:pt x="2080" y="4205"/>
                    <a:pt x="2058" y="4213"/>
                  </a:cubicBezTo>
                  <a:cubicBezTo>
                    <a:pt x="1985" y="4235"/>
                    <a:pt x="1978" y="4249"/>
                    <a:pt x="1897" y="4308"/>
                  </a:cubicBezTo>
                  <a:cubicBezTo>
                    <a:pt x="1817" y="4359"/>
                    <a:pt x="1839" y="4396"/>
                    <a:pt x="1861" y="4462"/>
                  </a:cubicBezTo>
                  <a:cubicBezTo>
                    <a:pt x="1882" y="4535"/>
                    <a:pt x="1985" y="4542"/>
                    <a:pt x="2066" y="4586"/>
                  </a:cubicBezTo>
                  <a:cubicBezTo>
                    <a:pt x="2146" y="4630"/>
                    <a:pt x="2102" y="4711"/>
                    <a:pt x="2058" y="4711"/>
                  </a:cubicBezTo>
                  <a:cubicBezTo>
                    <a:pt x="2029" y="4711"/>
                    <a:pt x="2022" y="4704"/>
                    <a:pt x="2007" y="4704"/>
                  </a:cubicBezTo>
                  <a:cubicBezTo>
                    <a:pt x="2000" y="4704"/>
                    <a:pt x="1992" y="4704"/>
                    <a:pt x="1978" y="4726"/>
                  </a:cubicBezTo>
                  <a:cubicBezTo>
                    <a:pt x="1970" y="4740"/>
                    <a:pt x="1956" y="4740"/>
                    <a:pt x="1934" y="4740"/>
                  </a:cubicBezTo>
                  <a:cubicBezTo>
                    <a:pt x="1897" y="4740"/>
                    <a:pt x="1853" y="4711"/>
                    <a:pt x="1853" y="4711"/>
                  </a:cubicBezTo>
                  <a:cubicBezTo>
                    <a:pt x="1868" y="4784"/>
                    <a:pt x="1831" y="4799"/>
                    <a:pt x="1802" y="4799"/>
                  </a:cubicBezTo>
                  <a:cubicBezTo>
                    <a:pt x="1780" y="4799"/>
                    <a:pt x="1758" y="4791"/>
                    <a:pt x="1758" y="4791"/>
                  </a:cubicBezTo>
                  <a:cubicBezTo>
                    <a:pt x="1758" y="4791"/>
                    <a:pt x="1692" y="4784"/>
                    <a:pt x="1626" y="4755"/>
                  </a:cubicBezTo>
                  <a:cubicBezTo>
                    <a:pt x="1560" y="4733"/>
                    <a:pt x="1568" y="4659"/>
                    <a:pt x="1582" y="4586"/>
                  </a:cubicBezTo>
                  <a:cubicBezTo>
                    <a:pt x="1589" y="4520"/>
                    <a:pt x="1545" y="4498"/>
                    <a:pt x="1545" y="4432"/>
                  </a:cubicBezTo>
                  <a:cubicBezTo>
                    <a:pt x="1545" y="4359"/>
                    <a:pt x="1480" y="4352"/>
                    <a:pt x="1480" y="4352"/>
                  </a:cubicBezTo>
                  <a:cubicBezTo>
                    <a:pt x="1480" y="4352"/>
                    <a:pt x="1465" y="4352"/>
                    <a:pt x="1443" y="4352"/>
                  </a:cubicBezTo>
                  <a:cubicBezTo>
                    <a:pt x="1406" y="4352"/>
                    <a:pt x="1355" y="4345"/>
                    <a:pt x="1333" y="4330"/>
                  </a:cubicBezTo>
                  <a:cubicBezTo>
                    <a:pt x="1289" y="4293"/>
                    <a:pt x="1289" y="4235"/>
                    <a:pt x="1238" y="4235"/>
                  </a:cubicBezTo>
                  <a:lnTo>
                    <a:pt x="1230" y="4235"/>
                  </a:lnTo>
                  <a:cubicBezTo>
                    <a:pt x="1223" y="4242"/>
                    <a:pt x="1216" y="4242"/>
                    <a:pt x="1208" y="4242"/>
                  </a:cubicBezTo>
                  <a:cubicBezTo>
                    <a:pt x="1173" y="4242"/>
                    <a:pt x="1158" y="4205"/>
                    <a:pt x="1129" y="4161"/>
                  </a:cubicBezTo>
                  <a:cubicBezTo>
                    <a:pt x="1092" y="4103"/>
                    <a:pt x="1085" y="4081"/>
                    <a:pt x="1026" y="4007"/>
                  </a:cubicBezTo>
                  <a:cubicBezTo>
                    <a:pt x="968" y="3941"/>
                    <a:pt x="1004" y="3905"/>
                    <a:pt x="924" y="3897"/>
                  </a:cubicBezTo>
                  <a:cubicBezTo>
                    <a:pt x="843" y="3883"/>
                    <a:pt x="814" y="3795"/>
                    <a:pt x="755" y="3729"/>
                  </a:cubicBezTo>
                  <a:cubicBezTo>
                    <a:pt x="733" y="3707"/>
                    <a:pt x="719" y="3700"/>
                    <a:pt x="711" y="3700"/>
                  </a:cubicBezTo>
                  <a:cubicBezTo>
                    <a:pt x="682" y="3700"/>
                    <a:pt x="660" y="3729"/>
                    <a:pt x="616" y="3729"/>
                  </a:cubicBezTo>
                  <a:cubicBezTo>
                    <a:pt x="557" y="3729"/>
                    <a:pt x="564" y="3700"/>
                    <a:pt x="550" y="3700"/>
                  </a:cubicBezTo>
                  <a:cubicBezTo>
                    <a:pt x="550" y="3700"/>
                    <a:pt x="543" y="3700"/>
                    <a:pt x="535" y="3707"/>
                  </a:cubicBezTo>
                  <a:cubicBezTo>
                    <a:pt x="521" y="3714"/>
                    <a:pt x="484" y="3729"/>
                    <a:pt x="455" y="3758"/>
                  </a:cubicBezTo>
                  <a:cubicBezTo>
                    <a:pt x="440" y="3744"/>
                    <a:pt x="440" y="3744"/>
                    <a:pt x="440" y="3744"/>
                  </a:cubicBezTo>
                  <a:cubicBezTo>
                    <a:pt x="440" y="3744"/>
                    <a:pt x="425" y="3670"/>
                    <a:pt x="411" y="3612"/>
                  </a:cubicBezTo>
                  <a:cubicBezTo>
                    <a:pt x="403" y="3553"/>
                    <a:pt x="389" y="3538"/>
                    <a:pt x="411" y="3487"/>
                  </a:cubicBezTo>
                  <a:cubicBezTo>
                    <a:pt x="418" y="3473"/>
                    <a:pt x="425" y="3465"/>
                    <a:pt x="433" y="3465"/>
                  </a:cubicBezTo>
                  <a:cubicBezTo>
                    <a:pt x="440" y="3465"/>
                    <a:pt x="440" y="3480"/>
                    <a:pt x="447" y="3480"/>
                  </a:cubicBezTo>
                  <a:lnTo>
                    <a:pt x="447" y="3480"/>
                  </a:lnTo>
                  <a:cubicBezTo>
                    <a:pt x="455" y="3450"/>
                    <a:pt x="469" y="3399"/>
                    <a:pt x="440" y="3355"/>
                  </a:cubicBezTo>
                  <a:cubicBezTo>
                    <a:pt x="403" y="3319"/>
                    <a:pt x="411" y="3275"/>
                    <a:pt x="374" y="3267"/>
                  </a:cubicBezTo>
                  <a:cubicBezTo>
                    <a:pt x="367" y="3260"/>
                    <a:pt x="359" y="3260"/>
                    <a:pt x="352" y="3260"/>
                  </a:cubicBezTo>
                  <a:cubicBezTo>
                    <a:pt x="323" y="3260"/>
                    <a:pt x="301" y="3275"/>
                    <a:pt x="257" y="3297"/>
                  </a:cubicBezTo>
                  <a:cubicBezTo>
                    <a:pt x="213" y="3326"/>
                    <a:pt x="198" y="3341"/>
                    <a:pt x="228" y="3392"/>
                  </a:cubicBezTo>
                  <a:cubicBezTo>
                    <a:pt x="250" y="3443"/>
                    <a:pt x="176" y="3443"/>
                    <a:pt x="125" y="3443"/>
                  </a:cubicBezTo>
                  <a:cubicBezTo>
                    <a:pt x="74" y="3443"/>
                    <a:pt x="59" y="3407"/>
                    <a:pt x="44" y="3370"/>
                  </a:cubicBezTo>
                  <a:cubicBezTo>
                    <a:pt x="37" y="3326"/>
                    <a:pt x="22" y="3282"/>
                    <a:pt x="66" y="3282"/>
                  </a:cubicBezTo>
                  <a:cubicBezTo>
                    <a:pt x="110" y="3282"/>
                    <a:pt x="125" y="3187"/>
                    <a:pt x="147" y="3157"/>
                  </a:cubicBezTo>
                  <a:cubicBezTo>
                    <a:pt x="176" y="3121"/>
                    <a:pt x="183" y="3077"/>
                    <a:pt x="140" y="3047"/>
                  </a:cubicBezTo>
                  <a:cubicBezTo>
                    <a:pt x="96" y="3011"/>
                    <a:pt x="132" y="3018"/>
                    <a:pt x="176" y="2982"/>
                  </a:cubicBezTo>
                  <a:cubicBezTo>
                    <a:pt x="220" y="2952"/>
                    <a:pt x="169" y="2908"/>
                    <a:pt x="183" y="2857"/>
                  </a:cubicBezTo>
                  <a:cubicBezTo>
                    <a:pt x="198" y="2806"/>
                    <a:pt x="257" y="2784"/>
                    <a:pt x="323" y="2784"/>
                  </a:cubicBezTo>
                  <a:cubicBezTo>
                    <a:pt x="381" y="2784"/>
                    <a:pt x="352" y="2732"/>
                    <a:pt x="338" y="2703"/>
                  </a:cubicBezTo>
                  <a:cubicBezTo>
                    <a:pt x="323" y="2681"/>
                    <a:pt x="301" y="2645"/>
                    <a:pt x="389" y="2637"/>
                  </a:cubicBezTo>
                  <a:cubicBezTo>
                    <a:pt x="469" y="2630"/>
                    <a:pt x="411" y="2586"/>
                    <a:pt x="381" y="2549"/>
                  </a:cubicBezTo>
                  <a:cubicBezTo>
                    <a:pt x="345" y="2520"/>
                    <a:pt x="323" y="2498"/>
                    <a:pt x="286" y="2483"/>
                  </a:cubicBezTo>
                  <a:cubicBezTo>
                    <a:pt x="250" y="2469"/>
                    <a:pt x="228" y="2476"/>
                    <a:pt x="191" y="2447"/>
                  </a:cubicBezTo>
                  <a:cubicBezTo>
                    <a:pt x="162" y="2425"/>
                    <a:pt x="191" y="2403"/>
                    <a:pt x="213" y="2403"/>
                  </a:cubicBezTo>
                  <a:cubicBezTo>
                    <a:pt x="220" y="2403"/>
                    <a:pt x="220" y="2403"/>
                    <a:pt x="228" y="2403"/>
                  </a:cubicBezTo>
                  <a:cubicBezTo>
                    <a:pt x="250" y="2417"/>
                    <a:pt x="279" y="2425"/>
                    <a:pt x="374" y="2425"/>
                  </a:cubicBezTo>
                  <a:cubicBezTo>
                    <a:pt x="462" y="2425"/>
                    <a:pt x="425" y="2388"/>
                    <a:pt x="389" y="2366"/>
                  </a:cubicBezTo>
                  <a:cubicBezTo>
                    <a:pt x="352" y="2337"/>
                    <a:pt x="338" y="2271"/>
                    <a:pt x="330" y="2212"/>
                  </a:cubicBezTo>
                  <a:cubicBezTo>
                    <a:pt x="323" y="2183"/>
                    <a:pt x="338" y="2168"/>
                    <a:pt x="359" y="2168"/>
                  </a:cubicBezTo>
                  <a:cubicBezTo>
                    <a:pt x="381" y="2168"/>
                    <a:pt x="403" y="2176"/>
                    <a:pt x="411" y="2190"/>
                  </a:cubicBezTo>
                  <a:cubicBezTo>
                    <a:pt x="425" y="2205"/>
                    <a:pt x="433" y="2212"/>
                    <a:pt x="447" y="2212"/>
                  </a:cubicBezTo>
                  <a:cubicBezTo>
                    <a:pt x="469" y="2212"/>
                    <a:pt x="491" y="2190"/>
                    <a:pt x="513" y="2176"/>
                  </a:cubicBezTo>
                  <a:cubicBezTo>
                    <a:pt x="521" y="2176"/>
                    <a:pt x="528" y="2168"/>
                    <a:pt x="528" y="2168"/>
                  </a:cubicBezTo>
                  <a:cubicBezTo>
                    <a:pt x="550" y="2168"/>
                    <a:pt x="564" y="2219"/>
                    <a:pt x="616" y="2234"/>
                  </a:cubicBezTo>
                  <a:cubicBezTo>
                    <a:pt x="623" y="2241"/>
                    <a:pt x="631" y="2241"/>
                    <a:pt x="638" y="2241"/>
                  </a:cubicBezTo>
                  <a:cubicBezTo>
                    <a:pt x="674" y="2241"/>
                    <a:pt x="674" y="2205"/>
                    <a:pt x="704" y="2154"/>
                  </a:cubicBezTo>
                  <a:cubicBezTo>
                    <a:pt x="733" y="2095"/>
                    <a:pt x="704" y="2073"/>
                    <a:pt x="689" y="2051"/>
                  </a:cubicBezTo>
                  <a:cubicBezTo>
                    <a:pt x="667" y="2022"/>
                    <a:pt x="645" y="2022"/>
                    <a:pt x="609" y="1992"/>
                  </a:cubicBezTo>
                  <a:cubicBezTo>
                    <a:pt x="572" y="1956"/>
                    <a:pt x="594" y="1948"/>
                    <a:pt x="623" y="1912"/>
                  </a:cubicBezTo>
                  <a:cubicBezTo>
                    <a:pt x="660" y="1882"/>
                    <a:pt x="667" y="1860"/>
                    <a:pt x="667" y="1860"/>
                  </a:cubicBezTo>
                  <a:cubicBezTo>
                    <a:pt x="667" y="1860"/>
                    <a:pt x="616" y="1846"/>
                    <a:pt x="564" y="1816"/>
                  </a:cubicBezTo>
                  <a:cubicBezTo>
                    <a:pt x="513" y="1795"/>
                    <a:pt x="506" y="1765"/>
                    <a:pt x="550" y="1736"/>
                  </a:cubicBezTo>
                  <a:cubicBezTo>
                    <a:pt x="564" y="1721"/>
                    <a:pt x="579" y="1714"/>
                    <a:pt x="594" y="1714"/>
                  </a:cubicBezTo>
                  <a:cubicBezTo>
                    <a:pt x="609" y="1714"/>
                    <a:pt x="631" y="1728"/>
                    <a:pt x="645" y="1765"/>
                  </a:cubicBezTo>
                  <a:cubicBezTo>
                    <a:pt x="660" y="1802"/>
                    <a:pt x="667" y="1816"/>
                    <a:pt x="674" y="1816"/>
                  </a:cubicBezTo>
                  <a:cubicBezTo>
                    <a:pt x="682" y="1816"/>
                    <a:pt x="689" y="1809"/>
                    <a:pt x="697" y="1787"/>
                  </a:cubicBezTo>
                  <a:cubicBezTo>
                    <a:pt x="704" y="1736"/>
                    <a:pt x="667" y="1692"/>
                    <a:pt x="711" y="1670"/>
                  </a:cubicBezTo>
                  <a:cubicBezTo>
                    <a:pt x="755" y="1641"/>
                    <a:pt x="755" y="1598"/>
                    <a:pt x="726" y="1583"/>
                  </a:cubicBezTo>
                  <a:cubicBezTo>
                    <a:pt x="704" y="1568"/>
                    <a:pt x="587" y="1495"/>
                    <a:pt x="521" y="1488"/>
                  </a:cubicBezTo>
                  <a:cubicBezTo>
                    <a:pt x="462" y="1480"/>
                    <a:pt x="381" y="1422"/>
                    <a:pt x="359" y="1370"/>
                  </a:cubicBezTo>
                  <a:cubicBezTo>
                    <a:pt x="345" y="1319"/>
                    <a:pt x="345" y="1283"/>
                    <a:pt x="286" y="1283"/>
                  </a:cubicBezTo>
                  <a:cubicBezTo>
                    <a:pt x="228" y="1283"/>
                    <a:pt x="198" y="1260"/>
                    <a:pt x="176" y="1217"/>
                  </a:cubicBezTo>
                  <a:cubicBezTo>
                    <a:pt x="147" y="1173"/>
                    <a:pt x="169" y="1143"/>
                    <a:pt x="132" y="1114"/>
                  </a:cubicBezTo>
                  <a:cubicBezTo>
                    <a:pt x="96" y="1092"/>
                    <a:pt x="118" y="997"/>
                    <a:pt x="118" y="960"/>
                  </a:cubicBezTo>
                  <a:lnTo>
                    <a:pt x="118" y="953"/>
                  </a:lnTo>
                  <a:cubicBezTo>
                    <a:pt x="162" y="938"/>
                    <a:pt x="242" y="909"/>
                    <a:pt x="257" y="879"/>
                  </a:cubicBezTo>
                  <a:cubicBezTo>
                    <a:pt x="279" y="850"/>
                    <a:pt x="338" y="791"/>
                    <a:pt x="374" y="784"/>
                  </a:cubicBezTo>
                  <a:cubicBezTo>
                    <a:pt x="389" y="784"/>
                    <a:pt x="411" y="784"/>
                    <a:pt x="425" y="784"/>
                  </a:cubicBezTo>
                  <a:cubicBezTo>
                    <a:pt x="447" y="784"/>
                    <a:pt x="469" y="784"/>
                    <a:pt x="484" y="784"/>
                  </a:cubicBezTo>
                  <a:cubicBezTo>
                    <a:pt x="491" y="784"/>
                    <a:pt x="499" y="784"/>
                    <a:pt x="499" y="784"/>
                  </a:cubicBezTo>
                  <a:cubicBezTo>
                    <a:pt x="543" y="784"/>
                    <a:pt x="601" y="762"/>
                    <a:pt x="616" y="733"/>
                  </a:cubicBezTo>
                  <a:cubicBezTo>
                    <a:pt x="638" y="689"/>
                    <a:pt x="631" y="630"/>
                    <a:pt x="660" y="616"/>
                  </a:cubicBezTo>
                  <a:cubicBezTo>
                    <a:pt x="660" y="616"/>
                    <a:pt x="660" y="616"/>
                    <a:pt x="667" y="616"/>
                  </a:cubicBezTo>
                  <a:cubicBezTo>
                    <a:pt x="682" y="616"/>
                    <a:pt x="704" y="645"/>
                    <a:pt x="726" y="645"/>
                  </a:cubicBezTo>
                  <a:cubicBezTo>
                    <a:pt x="733" y="645"/>
                    <a:pt x="740" y="638"/>
                    <a:pt x="755" y="630"/>
                  </a:cubicBezTo>
                  <a:cubicBezTo>
                    <a:pt x="799" y="601"/>
                    <a:pt x="843" y="572"/>
                    <a:pt x="872" y="535"/>
                  </a:cubicBezTo>
                  <a:cubicBezTo>
                    <a:pt x="902" y="506"/>
                    <a:pt x="909" y="491"/>
                    <a:pt x="953" y="469"/>
                  </a:cubicBezTo>
                  <a:cubicBezTo>
                    <a:pt x="990" y="447"/>
                    <a:pt x="1004" y="440"/>
                    <a:pt x="1012" y="396"/>
                  </a:cubicBezTo>
                  <a:cubicBezTo>
                    <a:pt x="1012" y="352"/>
                    <a:pt x="1012" y="293"/>
                    <a:pt x="1048" y="279"/>
                  </a:cubicBezTo>
                  <a:cubicBezTo>
                    <a:pt x="1085" y="257"/>
                    <a:pt x="1136" y="257"/>
                    <a:pt x="1158" y="257"/>
                  </a:cubicBezTo>
                  <a:cubicBezTo>
                    <a:pt x="1187" y="257"/>
                    <a:pt x="1260" y="279"/>
                    <a:pt x="1282" y="308"/>
                  </a:cubicBezTo>
                  <a:cubicBezTo>
                    <a:pt x="1296" y="330"/>
                    <a:pt x="1340" y="374"/>
                    <a:pt x="1377" y="374"/>
                  </a:cubicBezTo>
                  <a:cubicBezTo>
                    <a:pt x="1384" y="374"/>
                    <a:pt x="1392" y="374"/>
                    <a:pt x="1399" y="367"/>
                  </a:cubicBezTo>
                  <a:cubicBezTo>
                    <a:pt x="1436" y="345"/>
                    <a:pt x="1436" y="308"/>
                    <a:pt x="1465" y="286"/>
                  </a:cubicBezTo>
                  <a:cubicBezTo>
                    <a:pt x="1480" y="279"/>
                    <a:pt x="1494" y="279"/>
                    <a:pt x="1501" y="279"/>
                  </a:cubicBezTo>
                  <a:cubicBezTo>
                    <a:pt x="1516" y="279"/>
                    <a:pt x="1531" y="286"/>
                    <a:pt x="1545" y="301"/>
                  </a:cubicBezTo>
                  <a:cubicBezTo>
                    <a:pt x="1553" y="308"/>
                    <a:pt x="1568" y="308"/>
                    <a:pt x="1582" y="308"/>
                  </a:cubicBezTo>
                  <a:cubicBezTo>
                    <a:pt x="1611" y="308"/>
                    <a:pt x="1641" y="293"/>
                    <a:pt x="1619" y="264"/>
                  </a:cubicBezTo>
                  <a:cubicBezTo>
                    <a:pt x="1589" y="227"/>
                    <a:pt x="1560" y="227"/>
                    <a:pt x="1560" y="183"/>
                  </a:cubicBezTo>
                  <a:cubicBezTo>
                    <a:pt x="1568" y="147"/>
                    <a:pt x="1589" y="132"/>
                    <a:pt x="1626" y="110"/>
                  </a:cubicBezTo>
                  <a:cubicBezTo>
                    <a:pt x="1648" y="103"/>
                    <a:pt x="1655" y="81"/>
                    <a:pt x="1663" y="66"/>
                  </a:cubicBezTo>
                  <a:cubicBezTo>
                    <a:pt x="1677" y="132"/>
                    <a:pt x="1677" y="132"/>
                    <a:pt x="1677" y="132"/>
                  </a:cubicBezTo>
                  <a:cubicBezTo>
                    <a:pt x="1663" y="66"/>
                    <a:pt x="1663" y="66"/>
                    <a:pt x="1663" y="66"/>
                  </a:cubicBezTo>
                  <a:cubicBezTo>
                    <a:pt x="1670" y="59"/>
                    <a:pt x="1677" y="51"/>
                    <a:pt x="1692" y="51"/>
                  </a:cubicBezTo>
                  <a:lnTo>
                    <a:pt x="1699" y="51"/>
                  </a:lnTo>
                  <a:cubicBezTo>
                    <a:pt x="1707" y="59"/>
                    <a:pt x="1707" y="59"/>
                    <a:pt x="1714" y="59"/>
                  </a:cubicBezTo>
                  <a:cubicBezTo>
                    <a:pt x="1758" y="59"/>
                    <a:pt x="1809" y="44"/>
                    <a:pt x="1853" y="44"/>
                  </a:cubicBezTo>
                  <a:lnTo>
                    <a:pt x="1670" y="0"/>
                  </a:lnTo>
                  <a:lnTo>
                    <a:pt x="1670" y="0"/>
                  </a:lnTo>
                  <a:cubicBezTo>
                    <a:pt x="1633" y="51"/>
                    <a:pt x="1633" y="51"/>
                    <a:pt x="1633" y="51"/>
                  </a:cubicBezTo>
                  <a:cubicBezTo>
                    <a:pt x="1626" y="66"/>
                    <a:pt x="1626" y="66"/>
                    <a:pt x="1626" y="66"/>
                  </a:cubicBezTo>
                  <a:lnTo>
                    <a:pt x="1626" y="66"/>
                  </a:lnTo>
                  <a:cubicBezTo>
                    <a:pt x="1626" y="74"/>
                    <a:pt x="1619" y="81"/>
                    <a:pt x="1611" y="88"/>
                  </a:cubicBezTo>
                  <a:cubicBezTo>
                    <a:pt x="1568" y="110"/>
                    <a:pt x="1538" y="125"/>
                    <a:pt x="1531" y="183"/>
                  </a:cubicBezTo>
                  <a:cubicBezTo>
                    <a:pt x="1523" y="227"/>
                    <a:pt x="1553" y="242"/>
                    <a:pt x="1568" y="257"/>
                  </a:cubicBezTo>
                  <a:cubicBezTo>
                    <a:pt x="1575" y="264"/>
                    <a:pt x="1582" y="271"/>
                    <a:pt x="1589" y="279"/>
                  </a:cubicBezTo>
                  <a:cubicBezTo>
                    <a:pt x="1589" y="279"/>
                    <a:pt x="1589" y="279"/>
                    <a:pt x="1582" y="279"/>
                  </a:cubicBezTo>
                  <a:cubicBezTo>
                    <a:pt x="1575" y="279"/>
                    <a:pt x="1568" y="279"/>
                    <a:pt x="1568" y="279"/>
                  </a:cubicBezTo>
                  <a:cubicBezTo>
                    <a:pt x="1553" y="264"/>
                    <a:pt x="1531" y="242"/>
                    <a:pt x="1501" y="242"/>
                  </a:cubicBezTo>
                  <a:cubicBezTo>
                    <a:pt x="1487" y="242"/>
                    <a:pt x="1465" y="249"/>
                    <a:pt x="1450" y="257"/>
                  </a:cubicBezTo>
                  <a:cubicBezTo>
                    <a:pt x="1428" y="271"/>
                    <a:pt x="1413" y="293"/>
                    <a:pt x="1406" y="308"/>
                  </a:cubicBezTo>
                  <a:cubicBezTo>
                    <a:pt x="1399" y="323"/>
                    <a:pt x="1399" y="330"/>
                    <a:pt x="1384" y="337"/>
                  </a:cubicBezTo>
                  <a:cubicBezTo>
                    <a:pt x="1384" y="337"/>
                    <a:pt x="1384" y="345"/>
                    <a:pt x="1377" y="345"/>
                  </a:cubicBezTo>
                  <a:cubicBezTo>
                    <a:pt x="1362" y="345"/>
                    <a:pt x="1326" y="315"/>
                    <a:pt x="1304" y="286"/>
                  </a:cubicBezTo>
                  <a:cubicBezTo>
                    <a:pt x="1274" y="242"/>
                    <a:pt x="1187" y="227"/>
                    <a:pt x="1158" y="227"/>
                  </a:cubicBezTo>
                  <a:cubicBezTo>
                    <a:pt x="1129" y="227"/>
                    <a:pt x="1078" y="227"/>
                    <a:pt x="1033" y="249"/>
                  </a:cubicBezTo>
                  <a:cubicBezTo>
                    <a:pt x="990" y="271"/>
                    <a:pt x="982" y="323"/>
                    <a:pt x="982" y="374"/>
                  </a:cubicBezTo>
                  <a:cubicBezTo>
                    <a:pt x="982" y="374"/>
                    <a:pt x="982" y="381"/>
                    <a:pt x="975" y="389"/>
                  </a:cubicBezTo>
                  <a:cubicBezTo>
                    <a:pt x="975" y="418"/>
                    <a:pt x="975" y="418"/>
                    <a:pt x="938" y="440"/>
                  </a:cubicBezTo>
                  <a:cubicBezTo>
                    <a:pt x="894" y="469"/>
                    <a:pt x="880" y="477"/>
                    <a:pt x="850" y="520"/>
                  </a:cubicBezTo>
                  <a:cubicBezTo>
                    <a:pt x="828" y="542"/>
                    <a:pt x="799" y="565"/>
                    <a:pt x="770" y="586"/>
                  </a:cubicBezTo>
                  <a:cubicBezTo>
                    <a:pt x="755" y="594"/>
                    <a:pt x="748" y="601"/>
                    <a:pt x="733" y="608"/>
                  </a:cubicBezTo>
                  <a:lnTo>
                    <a:pt x="726" y="616"/>
                  </a:lnTo>
                  <a:cubicBezTo>
                    <a:pt x="726" y="616"/>
                    <a:pt x="719" y="608"/>
                    <a:pt x="711" y="601"/>
                  </a:cubicBezTo>
                  <a:cubicBezTo>
                    <a:pt x="697" y="594"/>
                    <a:pt x="682" y="586"/>
                    <a:pt x="667" y="586"/>
                  </a:cubicBezTo>
                  <a:cubicBezTo>
                    <a:pt x="660" y="586"/>
                    <a:pt x="652" y="586"/>
                    <a:pt x="645" y="586"/>
                  </a:cubicBezTo>
                  <a:cubicBezTo>
                    <a:pt x="616" y="601"/>
                    <a:pt x="609" y="638"/>
                    <a:pt x="601" y="674"/>
                  </a:cubicBezTo>
                  <a:cubicBezTo>
                    <a:pt x="601" y="689"/>
                    <a:pt x="594" y="704"/>
                    <a:pt x="587" y="718"/>
                  </a:cubicBezTo>
                  <a:cubicBezTo>
                    <a:pt x="579" y="740"/>
                    <a:pt x="535" y="755"/>
                    <a:pt x="499" y="755"/>
                  </a:cubicBezTo>
                  <a:lnTo>
                    <a:pt x="491" y="755"/>
                  </a:lnTo>
                  <a:cubicBezTo>
                    <a:pt x="469" y="755"/>
                    <a:pt x="447" y="755"/>
                    <a:pt x="425" y="755"/>
                  </a:cubicBezTo>
                  <a:cubicBezTo>
                    <a:pt x="411" y="755"/>
                    <a:pt x="389" y="755"/>
                    <a:pt x="367" y="755"/>
                  </a:cubicBezTo>
                  <a:cubicBezTo>
                    <a:pt x="323" y="762"/>
                    <a:pt x="250" y="836"/>
                    <a:pt x="228" y="865"/>
                  </a:cubicBezTo>
                  <a:cubicBezTo>
                    <a:pt x="220" y="872"/>
                    <a:pt x="183" y="894"/>
                    <a:pt x="103" y="924"/>
                  </a:cubicBezTo>
                  <a:cubicBezTo>
                    <a:pt x="81" y="931"/>
                    <a:pt x="81" y="931"/>
                    <a:pt x="81" y="931"/>
                  </a:cubicBezTo>
                  <a:cubicBezTo>
                    <a:pt x="81" y="953"/>
                    <a:pt x="81" y="953"/>
                    <a:pt x="81" y="953"/>
                  </a:cubicBezTo>
                  <a:cubicBezTo>
                    <a:pt x="88" y="960"/>
                    <a:pt x="88" y="960"/>
                    <a:pt x="88" y="960"/>
                  </a:cubicBezTo>
                  <a:cubicBezTo>
                    <a:pt x="88" y="967"/>
                    <a:pt x="88" y="975"/>
                    <a:pt x="81" y="989"/>
                  </a:cubicBezTo>
                  <a:cubicBezTo>
                    <a:pt x="81" y="1041"/>
                    <a:pt x="74" y="1107"/>
                    <a:pt x="118" y="1136"/>
                  </a:cubicBezTo>
                  <a:cubicBezTo>
                    <a:pt x="125" y="1143"/>
                    <a:pt x="125" y="1150"/>
                    <a:pt x="132" y="1173"/>
                  </a:cubicBezTo>
                  <a:cubicBezTo>
                    <a:pt x="132" y="1187"/>
                    <a:pt x="132" y="1209"/>
                    <a:pt x="147" y="1231"/>
                  </a:cubicBezTo>
                  <a:cubicBezTo>
                    <a:pt x="176" y="1283"/>
                    <a:pt x="213" y="1312"/>
                    <a:pt x="286" y="1312"/>
                  </a:cubicBezTo>
                  <a:cubicBezTo>
                    <a:pt x="315" y="1312"/>
                    <a:pt x="315" y="1319"/>
                    <a:pt x="330" y="1356"/>
                  </a:cubicBezTo>
                  <a:cubicBezTo>
                    <a:pt x="330" y="1363"/>
                    <a:pt x="330" y="1370"/>
                    <a:pt x="330" y="1378"/>
                  </a:cubicBezTo>
                  <a:cubicBezTo>
                    <a:pt x="352" y="1444"/>
                    <a:pt x="455" y="1510"/>
                    <a:pt x="521" y="1517"/>
                  </a:cubicBezTo>
                  <a:cubicBezTo>
                    <a:pt x="572" y="1524"/>
                    <a:pt x="682" y="1590"/>
                    <a:pt x="711" y="1605"/>
                  </a:cubicBezTo>
                  <a:cubicBezTo>
                    <a:pt x="711" y="1612"/>
                    <a:pt x="719" y="1612"/>
                    <a:pt x="719" y="1619"/>
                  </a:cubicBezTo>
                  <a:cubicBezTo>
                    <a:pt x="719" y="1627"/>
                    <a:pt x="711" y="1634"/>
                    <a:pt x="697" y="1641"/>
                  </a:cubicBezTo>
                  <a:cubicBezTo>
                    <a:pt x="652" y="1670"/>
                    <a:pt x="660" y="1707"/>
                    <a:pt x="660" y="1736"/>
                  </a:cubicBezTo>
                  <a:cubicBezTo>
                    <a:pt x="652" y="1714"/>
                    <a:pt x="631" y="1685"/>
                    <a:pt x="594" y="1685"/>
                  </a:cubicBezTo>
                  <a:cubicBezTo>
                    <a:pt x="572" y="1685"/>
                    <a:pt x="550" y="1692"/>
                    <a:pt x="528" y="1714"/>
                  </a:cubicBezTo>
                  <a:cubicBezTo>
                    <a:pt x="521" y="1721"/>
                    <a:pt x="491" y="1743"/>
                    <a:pt x="491" y="1780"/>
                  </a:cubicBezTo>
                  <a:cubicBezTo>
                    <a:pt x="499" y="1816"/>
                    <a:pt x="528" y="1831"/>
                    <a:pt x="550" y="1846"/>
                  </a:cubicBezTo>
                  <a:cubicBezTo>
                    <a:pt x="579" y="1860"/>
                    <a:pt x="601" y="1868"/>
                    <a:pt x="616" y="1875"/>
                  </a:cubicBezTo>
                  <a:cubicBezTo>
                    <a:pt x="616" y="1882"/>
                    <a:pt x="609" y="1882"/>
                    <a:pt x="601" y="1890"/>
                  </a:cubicBezTo>
                  <a:cubicBezTo>
                    <a:pt x="594" y="1904"/>
                    <a:pt x="594" y="1904"/>
                    <a:pt x="594" y="1904"/>
                  </a:cubicBezTo>
                  <a:cubicBezTo>
                    <a:pt x="579" y="1919"/>
                    <a:pt x="557" y="1934"/>
                    <a:pt x="557" y="1956"/>
                  </a:cubicBezTo>
                  <a:cubicBezTo>
                    <a:pt x="557" y="1978"/>
                    <a:pt x="572" y="2000"/>
                    <a:pt x="587" y="2014"/>
                  </a:cubicBezTo>
                  <a:cubicBezTo>
                    <a:pt x="609" y="2029"/>
                    <a:pt x="623" y="2044"/>
                    <a:pt x="638" y="2051"/>
                  </a:cubicBezTo>
                  <a:cubicBezTo>
                    <a:pt x="652" y="2058"/>
                    <a:pt x="652" y="2058"/>
                    <a:pt x="660" y="2066"/>
                  </a:cubicBezTo>
                  <a:cubicBezTo>
                    <a:pt x="667" y="2073"/>
                    <a:pt x="667" y="2080"/>
                    <a:pt x="674" y="2080"/>
                  </a:cubicBezTo>
                  <a:cubicBezTo>
                    <a:pt x="689" y="2102"/>
                    <a:pt x="697" y="2109"/>
                    <a:pt x="674" y="2139"/>
                  </a:cubicBezTo>
                  <a:cubicBezTo>
                    <a:pt x="667" y="2154"/>
                    <a:pt x="660" y="2168"/>
                    <a:pt x="652" y="2183"/>
                  </a:cubicBezTo>
                  <a:cubicBezTo>
                    <a:pt x="652" y="2197"/>
                    <a:pt x="645" y="2205"/>
                    <a:pt x="638" y="2212"/>
                  </a:cubicBezTo>
                  <a:cubicBezTo>
                    <a:pt x="638" y="2212"/>
                    <a:pt x="631" y="2212"/>
                    <a:pt x="623" y="2205"/>
                  </a:cubicBezTo>
                  <a:cubicBezTo>
                    <a:pt x="609" y="2205"/>
                    <a:pt x="594" y="2190"/>
                    <a:pt x="579" y="2176"/>
                  </a:cubicBezTo>
                  <a:cubicBezTo>
                    <a:pt x="572" y="2161"/>
                    <a:pt x="557" y="2139"/>
                    <a:pt x="528" y="2139"/>
                  </a:cubicBezTo>
                  <a:cubicBezTo>
                    <a:pt x="521" y="2139"/>
                    <a:pt x="506" y="2146"/>
                    <a:pt x="499" y="2154"/>
                  </a:cubicBezTo>
                  <a:cubicBezTo>
                    <a:pt x="477" y="2168"/>
                    <a:pt x="455" y="2183"/>
                    <a:pt x="447" y="2183"/>
                  </a:cubicBezTo>
                  <a:cubicBezTo>
                    <a:pt x="440" y="2183"/>
                    <a:pt x="440" y="2183"/>
                    <a:pt x="440" y="2176"/>
                  </a:cubicBezTo>
                  <a:cubicBezTo>
                    <a:pt x="418" y="2154"/>
                    <a:pt x="389" y="2139"/>
                    <a:pt x="359" y="2139"/>
                  </a:cubicBezTo>
                  <a:cubicBezTo>
                    <a:pt x="345" y="2139"/>
                    <a:pt x="323" y="2146"/>
                    <a:pt x="315" y="2161"/>
                  </a:cubicBezTo>
                  <a:cubicBezTo>
                    <a:pt x="301" y="2168"/>
                    <a:pt x="293" y="2183"/>
                    <a:pt x="301" y="2212"/>
                  </a:cubicBezTo>
                  <a:cubicBezTo>
                    <a:pt x="308" y="2307"/>
                    <a:pt x="338" y="2359"/>
                    <a:pt x="367" y="2388"/>
                  </a:cubicBezTo>
                  <a:cubicBezTo>
                    <a:pt x="374" y="2388"/>
                    <a:pt x="374" y="2388"/>
                    <a:pt x="374" y="2395"/>
                  </a:cubicBezTo>
                  <a:lnTo>
                    <a:pt x="374" y="2395"/>
                  </a:lnTo>
                  <a:cubicBezTo>
                    <a:pt x="286" y="2395"/>
                    <a:pt x="257" y="2388"/>
                    <a:pt x="235" y="2381"/>
                  </a:cubicBezTo>
                  <a:cubicBezTo>
                    <a:pt x="228" y="2373"/>
                    <a:pt x="220" y="2373"/>
                    <a:pt x="213" y="2373"/>
                  </a:cubicBezTo>
                  <a:cubicBezTo>
                    <a:pt x="191" y="2373"/>
                    <a:pt x="162" y="2388"/>
                    <a:pt x="154" y="2417"/>
                  </a:cubicBezTo>
                  <a:cubicBezTo>
                    <a:pt x="147" y="2425"/>
                    <a:pt x="140" y="2447"/>
                    <a:pt x="176" y="2476"/>
                  </a:cubicBezTo>
                  <a:cubicBezTo>
                    <a:pt x="198" y="2491"/>
                    <a:pt x="220" y="2498"/>
                    <a:pt x="242" y="2498"/>
                  </a:cubicBezTo>
                  <a:cubicBezTo>
                    <a:pt x="250" y="2505"/>
                    <a:pt x="264" y="2505"/>
                    <a:pt x="271" y="2513"/>
                  </a:cubicBezTo>
                  <a:cubicBezTo>
                    <a:pt x="301" y="2527"/>
                    <a:pt x="323" y="2542"/>
                    <a:pt x="359" y="2571"/>
                  </a:cubicBezTo>
                  <a:cubicBezTo>
                    <a:pt x="359" y="2578"/>
                    <a:pt x="367" y="2578"/>
                    <a:pt x="374" y="2586"/>
                  </a:cubicBezTo>
                  <a:cubicBezTo>
                    <a:pt x="381" y="2593"/>
                    <a:pt x="389" y="2600"/>
                    <a:pt x="389" y="2608"/>
                  </a:cubicBezTo>
                  <a:lnTo>
                    <a:pt x="389" y="2608"/>
                  </a:lnTo>
                  <a:cubicBezTo>
                    <a:pt x="352" y="2608"/>
                    <a:pt x="315" y="2615"/>
                    <a:pt x="301" y="2645"/>
                  </a:cubicBezTo>
                  <a:cubicBezTo>
                    <a:pt x="286" y="2681"/>
                    <a:pt x="301" y="2710"/>
                    <a:pt x="308" y="2718"/>
                  </a:cubicBezTo>
                  <a:cubicBezTo>
                    <a:pt x="323" y="2732"/>
                    <a:pt x="323" y="2747"/>
                    <a:pt x="323" y="2747"/>
                  </a:cubicBezTo>
                  <a:lnTo>
                    <a:pt x="323" y="2747"/>
                  </a:lnTo>
                  <a:cubicBezTo>
                    <a:pt x="242" y="2747"/>
                    <a:pt x="176" y="2791"/>
                    <a:pt x="154" y="2850"/>
                  </a:cubicBezTo>
                  <a:cubicBezTo>
                    <a:pt x="147" y="2879"/>
                    <a:pt x="154" y="2908"/>
                    <a:pt x="154" y="2923"/>
                  </a:cubicBezTo>
                  <a:cubicBezTo>
                    <a:pt x="162" y="2952"/>
                    <a:pt x="162" y="2952"/>
                    <a:pt x="154" y="2959"/>
                  </a:cubicBezTo>
                  <a:cubicBezTo>
                    <a:pt x="147" y="2967"/>
                    <a:pt x="132" y="2974"/>
                    <a:pt x="125" y="2982"/>
                  </a:cubicBezTo>
                  <a:cubicBezTo>
                    <a:pt x="110" y="2989"/>
                    <a:pt x="96" y="2996"/>
                    <a:pt x="88" y="3018"/>
                  </a:cubicBezTo>
                  <a:cubicBezTo>
                    <a:pt x="88" y="3040"/>
                    <a:pt x="110" y="3055"/>
                    <a:pt x="125" y="3069"/>
                  </a:cubicBezTo>
                  <a:cubicBezTo>
                    <a:pt x="132" y="3077"/>
                    <a:pt x="154" y="3091"/>
                    <a:pt x="125" y="3135"/>
                  </a:cubicBezTo>
                  <a:cubicBezTo>
                    <a:pt x="118" y="3150"/>
                    <a:pt x="103" y="3172"/>
                    <a:pt x="96" y="3194"/>
                  </a:cubicBezTo>
                  <a:cubicBezTo>
                    <a:pt x="88" y="3209"/>
                    <a:pt x="74" y="3245"/>
                    <a:pt x="66" y="3253"/>
                  </a:cubicBezTo>
                  <a:lnTo>
                    <a:pt x="66" y="3253"/>
                  </a:lnTo>
                  <a:cubicBezTo>
                    <a:pt x="37" y="3253"/>
                    <a:pt x="22" y="3260"/>
                    <a:pt x="15" y="3267"/>
                  </a:cubicBezTo>
                  <a:cubicBezTo>
                    <a:pt x="0" y="3297"/>
                    <a:pt x="8" y="3326"/>
                    <a:pt x="15" y="3355"/>
                  </a:cubicBezTo>
                  <a:cubicBezTo>
                    <a:pt x="15" y="3363"/>
                    <a:pt x="15" y="3370"/>
                    <a:pt x="15" y="3370"/>
                  </a:cubicBezTo>
                  <a:cubicBezTo>
                    <a:pt x="22" y="3399"/>
                    <a:pt x="37" y="3473"/>
                    <a:pt x="125" y="3473"/>
                  </a:cubicBezTo>
                  <a:cubicBezTo>
                    <a:pt x="176" y="3473"/>
                    <a:pt x="235" y="3473"/>
                    <a:pt x="257" y="3436"/>
                  </a:cubicBezTo>
                  <a:cubicBezTo>
                    <a:pt x="264" y="3428"/>
                    <a:pt x="264" y="3407"/>
                    <a:pt x="257" y="3377"/>
                  </a:cubicBezTo>
                  <a:cubicBezTo>
                    <a:pt x="242" y="3355"/>
                    <a:pt x="242" y="3348"/>
                    <a:pt x="242" y="3348"/>
                  </a:cubicBezTo>
                  <a:cubicBezTo>
                    <a:pt x="242" y="3348"/>
                    <a:pt x="250" y="3341"/>
                    <a:pt x="271" y="3326"/>
                  </a:cubicBezTo>
                  <a:cubicBezTo>
                    <a:pt x="286" y="3319"/>
                    <a:pt x="293" y="3319"/>
                    <a:pt x="301" y="3311"/>
                  </a:cubicBezTo>
                  <a:cubicBezTo>
                    <a:pt x="323" y="3297"/>
                    <a:pt x="338" y="3297"/>
                    <a:pt x="352" y="3297"/>
                  </a:cubicBezTo>
                  <a:cubicBezTo>
                    <a:pt x="352" y="3297"/>
                    <a:pt x="359" y="3297"/>
                    <a:pt x="367" y="3297"/>
                  </a:cubicBezTo>
                  <a:cubicBezTo>
                    <a:pt x="374" y="3297"/>
                    <a:pt x="374" y="3297"/>
                    <a:pt x="381" y="3319"/>
                  </a:cubicBezTo>
                  <a:cubicBezTo>
                    <a:pt x="389" y="3341"/>
                    <a:pt x="396" y="3355"/>
                    <a:pt x="418" y="3377"/>
                  </a:cubicBezTo>
                  <a:cubicBezTo>
                    <a:pt x="433" y="3392"/>
                    <a:pt x="433" y="3414"/>
                    <a:pt x="425" y="3436"/>
                  </a:cubicBezTo>
                  <a:cubicBezTo>
                    <a:pt x="403" y="3436"/>
                    <a:pt x="389" y="3465"/>
                    <a:pt x="389" y="3473"/>
                  </a:cubicBezTo>
                  <a:cubicBezTo>
                    <a:pt x="359" y="3516"/>
                    <a:pt x="367" y="3546"/>
                    <a:pt x="374" y="3582"/>
                  </a:cubicBezTo>
                  <a:cubicBezTo>
                    <a:pt x="381" y="3590"/>
                    <a:pt x="381" y="3604"/>
                    <a:pt x="381" y="3619"/>
                  </a:cubicBezTo>
                  <a:cubicBezTo>
                    <a:pt x="389" y="3678"/>
                    <a:pt x="411" y="3744"/>
                    <a:pt x="411" y="3751"/>
                  </a:cubicBezTo>
                  <a:cubicBezTo>
                    <a:pt x="411" y="3758"/>
                    <a:pt x="411" y="3758"/>
                    <a:pt x="411" y="3758"/>
                  </a:cubicBezTo>
                  <a:cubicBezTo>
                    <a:pt x="418" y="3758"/>
                    <a:pt x="418" y="3758"/>
                    <a:pt x="418" y="3758"/>
                  </a:cubicBezTo>
                  <a:cubicBezTo>
                    <a:pt x="425" y="3773"/>
                    <a:pt x="425" y="3773"/>
                    <a:pt x="425" y="3773"/>
                  </a:cubicBezTo>
                  <a:cubicBezTo>
                    <a:pt x="447" y="3802"/>
                    <a:pt x="447" y="3802"/>
                    <a:pt x="447" y="3802"/>
                  </a:cubicBezTo>
                  <a:cubicBezTo>
                    <a:pt x="469" y="3780"/>
                    <a:pt x="469" y="3780"/>
                    <a:pt x="469" y="3780"/>
                  </a:cubicBezTo>
                  <a:cubicBezTo>
                    <a:pt x="499" y="3758"/>
                    <a:pt x="528" y="3736"/>
                    <a:pt x="543" y="3736"/>
                  </a:cubicBezTo>
                  <a:cubicBezTo>
                    <a:pt x="557" y="3744"/>
                    <a:pt x="579" y="3758"/>
                    <a:pt x="616" y="3758"/>
                  </a:cubicBezTo>
                  <a:cubicBezTo>
                    <a:pt x="652" y="3758"/>
                    <a:pt x="674" y="3744"/>
                    <a:pt x="689" y="3736"/>
                  </a:cubicBezTo>
                  <a:cubicBezTo>
                    <a:pt x="697" y="3729"/>
                    <a:pt x="704" y="3729"/>
                    <a:pt x="711" y="3729"/>
                  </a:cubicBezTo>
                  <a:cubicBezTo>
                    <a:pt x="711" y="3729"/>
                    <a:pt x="711" y="3729"/>
                    <a:pt x="733" y="3744"/>
                  </a:cubicBezTo>
                  <a:cubicBezTo>
                    <a:pt x="748" y="3766"/>
                    <a:pt x="755" y="3788"/>
                    <a:pt x="770" y="3802"/>
                  </a:cubicBezTo>
                  <a:cubicBezTo>
                    <a:pt x="806" y="3861"/>
                    <a:pt x="850" y="3919"/>
                    <a:pt x="916" y="3927"/>
                  </a:cubicBezTo>
                  <a:cubicBezTo>
                    <a:pt x="953" y="3934"/>
                    <a:pt x="953" y="3934"/>
                    <a:pt x="960" y="3956"/>
                  </a:cubicBezTo>
                  <a:cubicBezTo>
                    <a:pt x="968" y="3978"/>
                    <a:pt x="975" y="4000"/>
                    <a:pt x="1004" y="4029"/>
                  </a:cubicBezTo>
                  <a:cubicBezTo>
                    <a:pt x="1048" y="4088"/>
                    <a:pt x="1063" y="4110"/>
                    <a:pt x="1092" y="4154"/>
                  </a:cubicBezTo>
                  <a:cubicBezTo>
                    <a:pt x="1099" y="4176"/>
                    <a:pt x="1099" y="4176"/>
                    <a:pt x="1099" y="4176"/>
                  </a:cubicBezTo>
                  <a:cubicBezTo>
                    <a:pt x="1107" y="4183"/>
                    <a:pt x="1107" y="4183"/>
                    <a:pt x="1114" y="4191"/>
                  </a:cubicBezTo>
                  <a:cubicBezTo>
                    <a:pt x="1136" y="4235"/>
                    <a:pt x="1158" y="4271"/>
                    <a:pt x="1208" y="4271"/>
                  </a:cubicBezTo>
                  <a:cubicBezTo>
                    <a:pt x="1216" y="4271"/>
                    <a:pt x="1223" y="4271"/>
                    <a:pt x="1238" y="4264"/>
                  </a:cubicBezTo>
                  <a:lnTo>
                    <a:pt x="1238" y="4264"/>
                  </a:lnTo>
                  <a:cubicBezTo>
                    <a:pt x="1245" y="4264"/>
                    <a:pt x="1252" y="4271"/>
                    <a:pt x="1267" y="4293"/>
                  </a:cubicBezTo>
                  <a:cubicBezTo>
                    <a:pt x="1274" y="4315"/>
                    <a:pt x="1289" y="4337"/>
                    <a:pt x="1311" y="4352"/>
                  </a:cubicBezTo>
                  <a:cubicBezTo>
                    <a:pt x="1340" y="4374"/>
                    <a:pt x="1384" y="4381"/>
                    <a:pt x="1443" y="4381"/>
                  </a:cubicBezTo>
                  <a:cubicBezTo>
                    <a:pt x="1458" y="4381"/>
                    <a:pt x="1472" y="4381"/>
                    <a:pt x="1480" y="4381"/>
                  </a:cubicBezTo>
                  <a:cubicBezTo>
                    <a:pt x="1487" y="4381"/>
                    <a:pt x="1516" y="4396"/>
                    <a:pt x="1516" y="4432"/>
                  </a:cubicBezTo>
                  <a:cubicBezTo>
                    <a:pt x="1516" y="4469"/>
                    <a:pt x="1523" y="4491"/>
                    <a:pt x="1538" y="4513"/>
                  </a:cubicBezTo>
                  <a:cubicBezTo>
                    <a:pt x="1545" y="4542"/>
                    <a:pt x="1553" y="4557"/>
                    <a:pt x="1553" y="4586"/>
                  </a:cubicBezTo>
                  <a:cubicBezTo>
                    <a:pt x="1538" y="4645"/>
                    <a:pt x="1523" y="4755"/>
                    <a:pt x="1619" y="4784"/>
                  </a:cubicBezTo>
                  <a:cubicBezTo>
                    <a:pt x="1677" y="4806"/>
                    <a:pt x="1736" y="4821"/>
                    <a:pt x="1751" y="4821"/>
                  </a:cubicBezTo>
                  <a:cubicBezTo>
                    <a:pt x="1758" y="4828"/>
                    <a:pt x="1780" y="4828"/>
                    <a:pt x="1802" y="4828"/>
                  </a:cubicBezTo>
                  <a:cubicBezTo>
                    <a:pt x="1839" y="4828"/>
                    <a:pt x="1853" y="4814"/>
                    <a:pt x="1868" y="4806"/>
                  </a:cubicBezTo>
                  <a:cubicBezTo>
                    <a:pt x="1875" y="4791"/>
                    <a:pt x="1882" y="4777"/>
                    <a:pt x="1882" y="4762"/>
                  </a:cubicBezTo>
                  <a:cubicBezTo>
                    <a:pt x="1897" y="4769"/>
                    <a:pt x="1919" y="4769"/>
                    <a:pt x="1934" y="4769"/>
                  </a:cubicBezTo>
                  <a:cubicBezTo>
                    <a:pt x="1970" y="4769"/>
                    <a:pt x="1992" y="4755"/>
                    <a:pt x="2000" y="4740"/>
                  </a:cubicBezTo>
                  <a:cubicBezTo>
                    <a:pt x="2007" y="4740"/>
                    <a:pt x="2007" y="4733"/>
                    <a:pt x="2007" y="4733"/>
                  </a:cubicBezTo>
                  <a:lnTo>
                    <a:pt x="2007" y="4733"/>
                  </a:lnTo>
                  <a:cubicBezTo>
                    <a:pt x="2022" y="4740"/>
                    <a:pt x="2036" y="4740"/>
                    <a:pt x="2058" y="4740"/>
                  </a:cubicBezTo>
                  <a:cubicBezTo>
                    <a:pt x="2095" y="4740"/>
                    <a:pt x="2124" y="4711"/>
                    <a:pt x="2139" y="4674"/>
                  </a:cubicBezTo>
                  <a:cubicBezTo>
                    <a:pt x="2146" y="4630"/>
                    <a:pt x="2132" y="4586"/>
                    <a:pt x="2080" y="4564"/>
                  </a:cubicBezTo>
                  <a:cubicBezTo>
                    <a:pt x="2051" y="4542"/>
                    <a:pt x="2022" y="4535"/>
                    <a:pt x="2000" y="4520"/>
                  </a:cubicBezTo>
                  <a:cubicBezTo>
                    <a:pt x="1949" y="4506"/>
                    <a:pt x="1904" y="4484"/>
                    <a:pt x="1890" y="4454"/>
                  </a:cubicBezTo>
                  <a:cubicBezTo>
                    <a:pt x="1890" y="4447"/>
                    <a:pt x="1890" y="4440"/>
                    <a:pt x="1882" y="4432"/>
                  </a:cubicBezTo>
                  <a:cubicBezTo>
                    <a:pt x="1868" y="4381"/>
                    <a:pt x="1861" y="4366"/>
                    <a:pt x="1912" y="4330"/>
                  </a:cubicBezTo>
                  <a:cubicBezTo>
                    <a:pt x="1941" y="4315"/>
                    <a:pt x="1941" y="4315"/>
                    <a:pt x="1941" y="4315"/>
                  </a:cubicBezTo>
                  <a:cubicBezTo>
                    <a:pt x="2000" y="4271"/>
                    <a:pt x="2007" y="4264"/>
                    <a:pt x="2066" y="4242"/>
                  </a:cubicBezTo>
                  <a:cubicBezTo>
                    <a:pt x="2080" y="4235"/>
                    <a:pt x="2102" y="4235"/>
                    <a:pt x="2117" y="4235"/>
                  </a:cubicBezTo>
                  <a:cubicBezTo>
                    <a:pt x="2132" y="4235"/>
                    <a:pt x="2139" y="4235"/>
                    <a:pt x="2154" y="4242"/>
                  </a:cubicBezTo>
                  <a:cubicBezTo>
                    <a:pt x="2168" y="4242"/>
                    <a:pt x="2183" y="4242"/>
                    <a:pt x="2205" y="4242"/>
                  </a:cubicBezTo>
                  <a:cubicBezTo>
                    <a:pt x="2256" y="4242"/>
                    <a:pt x="2308" y="4257"/>
                    <a:pt x="2322" y="4286"/>
                  </a:cubicBezTo>
                  <a:cubicBezTo>
                    <a:pt x="2337" y="4315"/>
                    <a:pt x="2373" y="4352"/>
                    <a:pt x="2403" y="4352"/>
                  </a:cubicBezTo>
                  <a:cubicBezTo>
                    <a:pt x="2425" y="4352"/>
                    <a:pt x="2439" y="4345"/>
                    <a:pt x="2447" y="4323"/>
                  </a:cubicBezTo>
                  <a:cubicBezTo>
                    <a:pt x="2454" y="4330"/>
                    <a:pt x="2469" y="4337"/>
                    <a:pt x="2491" y="4352"/>
                  </a:cubicBezTo>
                  <a:cubicBezTo>
                    <a:pt x="2505" y="4359"/>
                    <a:pt x="2513" y="4366"/>
                    <a:pt x="2527" y="4366"/>
                  </a:cubicBezTo>
                  <a:cubicBezTo>
                    <a:pt x="2571" y="4366"/>
                    <a:pt x="2630" y="4337"/>
                    <a:pt x="2644" y="4323"/>
                  </a:cubicBezTo>
                  <a:cubicBezTo>
                    <a:pt x="2644" y="4323"/>
                    <a:pt x="2652" y="4323"/>
                    <a:pt x="2659" y="4323"/>
                  </a:cubicBezTo>
                  <a:cubicBezTo>
                    <a:pt x="2674" y="4323"/>
                    <a:pt x="2689" y="4323"/>
                    <a:pt x="2703" y="4337"/>
                  </a:cubicBezTo>
                  <a:cubicBezTo>
                    <a:pt x="2718" y="4352"/>
                    <a:pt x="2718" y="4403"/>
                    <a:pt x="2711" y="4432"/>
                  </a:cubicBezTo>
                  <a:cubicBezTo>
                    <a:pt x="2696" y="4462"/>
                    <a:pt x="2689" y="4513"/>
                    <a:pt x="2725" y="4550"/>
                  </a:cubicBezTo>
                  <a:cubicBezTo>
                    <a:pt x="2762" y="4594"/>
                    <a:pt x="2799" y="4608"/>
                    <a:pt x="2828" y="4608"/>
                  </a:cubicBezTo>
                  <a:cubicBezTo>
                    <a:pt x="2850" y="4608"/>
                    <a:pt x="2864" y="4601"/>
                    <a:pt x="2879" y="4586"/>
                  </a:cubicBezTo>
                  <a:cubicBezTo>
                    <a:pt x="2886" y="4586"/>
                    <a:pt x="2886" y="4586"/>
                    <a:pt x="2886" y="4586"/>
                  </a:cubicBezTo>
                  <a:cubicBezTo>
                    <a:pt x="2886" y="4586"/>
                    <a:pt x="2886" y="4586"/>
                    <a:pt x="2894" y="4586"/>
                  </a:cubicBezTo>
                  <a:cubicBezTo>
                    <a:pt x="2901" y="4594"/>
                    <a:pt x="2916" y="4608"/>
                    <a:pt x="2938" y="4608"/>
                  </a:cubicBezTo>
                  <a:cubicBezTo>
                    <a:pt x="2945" y="4608"/>
                    <a:pt x="2945" y="4608"/>
                    <a:pt x="2952" y="4608"/>
                  </a:cubicBezTo>
                  <a:cubicBezTo>
                    <a:pt x="2960" y="4608"/>
                    <a:pt x="2960" y="4608"/>
                    <a:pt x="2967" y="4608"/>
                  </a:cubicBezTo>
                  <a:cubicBezTo>
                    <a:pt x="2974" y="4608"/>
                    <a:pt x="3004" y="4608"/>
                    <a:pt x="3026" y="4586"/>
                  </a:cubicBezTo>
                  <a:cubicBezTo>
                    <a:pt x="3048" y="4564"/>
                    <a:pt x="3055" y="4520"/>
                    <a:pt x="3048" y="4462"/>
                  </a:cubicBezTo>
                  <a:cubicBezTo>
                    <a:pt x="3048" y="4410"/>
                    <a:pt x="3048" y="4366"/>
                    <a:pt x="3048" y="4323"/>
                  </a:cubicBezTo>
                  <a:cubicBezTo>
                    <a:pt x="3055" y="4249"/>
                    <a:pt x="3055" y="4191"/>
                    <a:pt x="3026" y="4132"/>
                  </a:cubicBezTo>
                  <a:cubicBezTo>
                    <a:pt x="2989" y="4073"/>
                    <a:pt x="2974" y="3985"/>
                    <a:pt x="2974" y="3941"/>
                  </a:cubicBezTo>
                  <a:cubicBezTo>
                    <a:pt x="2989" y="3934"/>
                    <a:pt x="3018" y="3912"/>
                    <a:pt x="3055" y="3890"/>
                  </a:cubicBezTo>
                  <a:cubicBezTo>
                    <a:pt x="3121" y="3854"/>
                    <a:pt x="3158" y="3824"/>
                    <a:pt x="3172" y="3780"/>
                  </a:cubicBezTo>
                  <a:cubicBezTo>
                    <a:pt x="3172" y="3780"/>
                    <a:pt x="3180" y="3780"/>
                    <a:pt x="3201" y="3780"/>
                  </a:cubicBezTo>
                  <a:cubicBezTo>
                    <a:pt x="3216" y="3780"/>
                    <a:pt x="3223" y="3780"/>
                    <a:pt x="3231" y="3780"/>
                  </a:cubicBezTo>
                  <a:cubicBezTo>
                    <a:pt x="3245" y="3780"/>
                    <a:pt x="3260" y="3780"/>
                    <a:pt x="3267" y="3780"/>
                  </a:cubicBezTo>
                  <a:cubicBezTo>
                    <a:pt x="3275" y="3780"/>
                    <a:pt x="3275" y="3780"/>
                    <a:pt x="3275" y="3788"/>
                  </a:cubicBezTo>
                  <a:cubicBezTo>
                    <a:pt x="3297" y="3802"/>
                    <a:pt x="3289" y="3854"/>
                    <a:pt x="3282" y="3876"/>
                  </a:cubicBezTo>
                  <a:cubicBezTo>
                    <a:pt x="3275" y="3905"/>
                    <a:pt x="3282" y="3956"/>
                    <a:pt x="3304" y="3993"/>
                  </a:cubicBezTo>
                  <a:cubicBezTo>
                    <a:pt x="3326" y="4029"/>
                    <a:pt x="3348" y="4044"/>
                    <a:pt x="3377" y="4051"/>
                  </a:cubicBezTo>
                  <a:cubicBezTo>
                    <a:pt x="3414" y="4059"/>
                    <a:pt x="3421" y="4073"/>
                    <a:pt x="3436" y="4117"/>
                  </a:cubicBezTo>
                  <a:cubicBezTo>
                    <a:pt x="3443" y="4161"/>
                    <a:pt x="3480" y="4249"/>
                    <a:pt x="3546" y="4249"/>
                  </a:cubicBezTo>
                  <a:cubicBezTo>
                    <a:pt x="3561" y="4249"/>
                    <a:pt x="3575" y="4242"/>
                    <a:pt x="3597" y="4227"/>
                  </a:cubicBezTo>
                  <a:cubicBezTo>
                    <a:pt x="3619" y="4205"/>
                    <a:pt x="3634" y="4183"/>
                    <a:pt x="3649" y="4169"/>
                  </a:cubicBezTo>
                  <a:cubicBezTo>
                    <a:pt x="3656" y="4154"/>
                    <a:pt x="3670" y="4139"/>
                    <a:pt x="3670" y="4139"/>
                  </a:cubicBezTo>
                  <a:cubicBezTo>
                    <a:pt x="3670" y="4139"/>
                    <a:pt x="3670" y="4139"/>
                    <a:pt x="3678" y="4139"/>
                  </a:cubicBezTo>
                  <a:cubicBezTo>
                    <a:pt x="3685" y="4147"/>
                    <a:pt x="3692" y="4154"/>
                    <a:pt x="3700" y="4161"/>
                  </a:cubicBezTo>
                  <a:cubicBezTo>
                    <a:pt x="3722" y="4176"/>
                    <a:pt x="3744" y="4198"/>
                    <a:pt x="3773" y="4198"/>
                  </a:cubicBezTo>
                  <a:cubicBezTo>
                    <a:pt x="3795" y="4198"/>
                    <a:pt x="3810" y="4191"/>
                    <a:pt x="3824" y="4183"/>
                  </a:cubicBezTo>
                  <a:cubicBezTo>
                    <a:pt x="3898" y="4147"/>
                    <a:pt x="4008" y="4110"/>
                    <a:pt x="4066" y="4110"/>
                  </a:cubicBezTo>
                  <a:lnTo>
                    <a:pt x="4073" y="4110"/>
                  </a:lnTo>
                  <a:cubicBezTo>
                    <a:pt x="4088" y="4139"/>
                    <a:pt x="4110" y="4139"/>
                    <a:pt x="4154" y="4139"/>
                  </a:cubicBezTo>
                  <a:cubicBezTo>
                    <a:pt x="4242" y="4139"/>
                    <a:pt x="4264" y="4139"/>
                    <a:pt x="4330" y="4103"/>
                  </a:cubicBezTo>
                  <a:cubicBezTo>
                    <a:pt x="4344" y="4095"/>
                    <a:pt x="4366" y="4088"/>
                    <a:pt x="4389" y="4081"/>
                  </a:cubicBezTo>
                  <a:cubicBezTo>
                    <a:pt x="4396" y="4022"/>
                    <a:pt x="4396" y="4022"/>
                    <a:pt x="4396" y="4022"/>
                  </a:cubicBezTo>
                  <a:cubicBezTo>
                    <a:pt x="4352" y="4015"/>
                    <a:pt x="4330" y="4000"/>
                    <a:pt x="4315" y="3993"/>
                  </a:cubicBezTo>
                  <a:cubicBezTo>
                    <a:pt x="4337" y="3956"/>
                    <a:pt x="4344" y="3949"/>
                    <a:pt x="4396" y="3919"/>
                  </a:cubicBezTo>
                  <a:cubicBezTo>
                    <a:pt x="4469" y="3883"/>
                    <a:pt x="4484" y="3846"/>
                    <a:pt x="4462" y="3773"/>
                  </a:cubicBezTo>
                  <a:cubicBezTo>
                    <a:pt x="4447" y="3722"/>
                    <a:pt x="4411" y="3670"/>
                    <a:pt x="4366" y="3670"/>
                  </a:cubicBezTo>
                  <a:cubicBezTo>
                    <a:pt x="4352" y="3670"/>
                    <a:pt x="4337" y="3678"/>
                    <a:pt x="4330" y="3685"/>
                  </a:cubicBezTo>
                  <a:cubicBezTo>
                    <a:pt x="4323" y="3692"/>
                    <a:pt x="4315" y="3692"/>
                    <a:pt x="4315" y="3700"/>
                  </a:cubicBezTo>
                  <a:cubicBezTo>
                    <a:pt x="4315" y="3692"/>
                    <a:pt x="4308" y="3692"/>
                    <a:pt x="4308" y="3692"/>
                  </a:cubicBezTo>
                  <a:cubicBezTo>
                    <a:pt x="4293" y="3648"/>
                    <a:pt x="4301" y="3634"/>
                    <a:pt x="4301" y="3634"/>
                  </a:cubicBezTo>
                  <a:cubicBezTo>
                    <a:pt x="4301" y="3634"/>
                    <a:pt x="4308" y="3626"/>
                    <a:pt x="4315" y="3626"/>
                  </a:cubicBezTo>
                  <a:cubicBezTo>
                    <a:pt x="4366" y="3612"/>
                    <a:pt x="4381" y="3568"/>
                    <a:pt x="4403" y="3524"/>
                  </a:cubicBezTo>
                  <a:cubicBezTo>
                    <a:pt x="4403" y="3509"/>
                    <a:pt x="4403" y="3509"/>
                    <a:pt x="4403" y="3509"/>
                  </a:cubicBezTo>
                  <a:cubicBezTo>
                    <a:pt x="4418" y="3473"/>
                    <a:pt x="4425" y="3473"/>
                    <a:pt x="4462" y="3450"/>
                  </a:cubicBezTo>
                  <a:cubicBezTo>
                    <a:pt x="4469" y="3443"/>
                    <a:pt x="4469" y="3443"/>
                    <a:pt x="4469" y="3443"/>
                  </a:cubicBezTo>
                  <a:cubicBezTo>
                    <a:pt x="4476" y="3436"/>
                    <a:pt x="4484" y="3436"/>
                    <a:pt x="4491" y="3428"/>
                  </a:cubicBezTo>
                  <a:cubicBezTo>
                    <a:pt x="4506" y="3421"/>
                    <a:pt x="4513" y="3414"/>
                    <a:pt x="4528" y="3407"/>
                  </a:cubicBezTo>
                  <a:cubicBezTo>
                    <a:pt x="4528" y="3428"/>
                    <a:pt x="4542" y="3458"/>
                    <a:pt x="4557" y="3473"/>
                  </a:cubicBezTo>
                  <a:cubicBezTo>
                    <a:pt x="4550" y="3495"/>
                    <a:pt x="4542" y="3524"/>
                    <a:pt x="4550" y="3546"/>
                  </a:cubicBezTo>
                  <a:cubicBezTo>
                    <a:pt x="4557" y="3575"/>
                    <a:pt x="4594" y="3626"/>
                    <a:pt x="4645" y="3626"/>
                  </a:cubicBezTo>
                  <a:cubicBezTo>
                    <a:pt x="4667" y="3626"/>
                    <a:pt x="4689" y="3619"/>
                    <a:pt x="4704" y="3604"/>
                  </a:cubicBezTo>
                  <a:cubicBezTo>
                    <a:pt x="4718" y="3582"/>
                    <a:pt x="4725" y="3568"/>
                    <a:pt x="4733" y="3553"/>
                  </a:cubicBezTo>
                  <a:cubicBezTo>
                    <a:pt x="4740" y="3560"/>
                    <a:pt x="4755" y="3568"/>
                    <a:pt x="4770" y="3568"/>
                  </a:cubicBezTo>
                  <a:cubicBezTo>
                    <a:pt x="4777" y="3568"/>
                    <a:pt x="4784" y="3568"/>
                    <a:pt x="4799" y="3568"/>
                  </a:cubicBezTo>
                  <a:cubicBezTo>
                    <a:pt x="4880" y="3524"/>
                    <a:pt x="4857" y="3465"/>
                    <a:pt x="4850" y="3443"/>
                  </a:cubicBezTo>
                  <a:cubicBezTo>
                    <a:pt x="4850" y="3443"/>
                    <a:pt x="4843" y="3436"/>
                    <a:pt x="4843" y="3428"/>
                  </a:cubicBezTo>
                  <a:cubicBezTo>
                    <a:pt x="4850" y="3428"/>
                    <a:pt x="4850" y="3421"/>
                    <a:pt x="4857" y="3414"/>
                  </a:cubicBezTo>
                  <a:cubicBezTo>
                    <a:pt x="4865" y="3407"/>
                    <a:pt x="4865" y="3392"/>
                    <a:pt x="4872" y="3385"/>
                  </a:cubicBezTo>
                  <a:cubicBezTo>
                    <a:pt x="4916" y="3377"/>
                    <a:pt x="4953" y="3363"/>
                    <a:pt x="4967" y="3348"/>
                  </a:cubicBezTo>
                  <a:cubicBezTo>
                    <a:pt x="4982" y="3348"/>
                    <a:pt x="4989" y="3348"/>
                    <a:pt x="5004" y="3348"/>
                  </a:cubicBezTo>
                  <a:cubicBezTo>
                    <a:pt x="5019" y="3348"/>
                    <a:pt x="5033" y="3348"/>
                    <a:pt x="5048" y="3348"/>
                  </a:cubicBezTo>
                  <a:cubicBezTo>
                    <a:pt x="5085" y="3333"/>
                    <a:pt x="5092" y="3319"/>
                    <a:pt x="5107" y="3304"/>
                  </a:cubicBezTo>
                  <a:cubicBezTo>
                    <a:pt x="5107" y="3297"/>
                    <a:pt x="5114" y="3297"/>
                    <a:pt x="5114" y="3289"/>
                  </a:cubicBezTo>
                  <a:cubicBezTo>
                    <a:pt x="5121" y="3275"/>
                    <a:pt x="5129" y="3275"/>
                    <a:pt x="5143" y="3267"/>
                  </a:cubicBezTo>
                  <a:cubicBezTo>
                    <a:pt x="5151" y="3267"/>
                    <a:pt x="5158" y="3260"/>
                    <a:pt x="5158" y="3260"/>
                  </a:cubicBezTo>
                  <a:cubicBezTo>
                    <a:pt x="5194" y="3238"/>
                    <a:pt x="5216" y="3194"/>
                    <a:pt x="5216" y="3157"/>
                  </a:cubicBezTo>
                  <a:cubicBezTo>
                    <a:pt x="5209" y="3128"/>
                    <a:pt x="5187" y="3106"/>
                    <a:pt x="5151" y="3099"/>
                  </a:cubicBezTo>
                  <a:cubicBezTo>
                    <a:pt x="5092" y="3091"/>
                    <a:pt x="5085" y="3077"/>
                    <a:pt x="5085" y="3062"/>
                  </a:cubicBezTo>
                  <a:cubicBezTo>
                    <a:pt x="5085" y="3055"/>
                    <a:pt x="5085" y="3055"/>
                    <a:pt x="5085" y="3055"/>
                  </a:cubicBezTo>
                  <a:cubicBezTo>
                    <a:pt x="5085" y="3055"/>
                    <a:pt x="5085" y="3055"/>
                    <a:pt x="5085" y="3047"/>
                  </a:cubicBezTo>
                  <a:cubicBezTo>
                    <a:pt x="5092" y="3040"/>
                    <a:pt x="5107" y="3033"/>
                    <a:pt x="5107" y="3011"/>
                  </a:cubicBezTo>
                  <a:cubicBezTo>
                    <a:pt x="5114" y="2982"/>
                    <a:pt x="5114" y="2952"/>
                    <a:pt x="5099" y="2938"/>
                  </a:cubicBezTo>
                  <a:cubicBezTo>
                    <a:pt x="5085" y="2923"/>
                    <a:pt x="5077" y="2916"/>
                    <a:pt x="5063" y="2916"/>
                  </a:cubicBezTo>
                  <a:cubicBezTo>
                    <a:pt x="5048" y="2916"/>
                    <a:pt x="5041" y="2916"/>
                    <a:pt x="5026" y="2923"/>
                  </a:cubicBezTo>
                  <a:cubicBezTo>
                    <a:pt x="5026" y="2930"/>
                    <a:pt x="5019" y="2930"/>
                    <a:pt x="5019" y="2938"/>
                  </a:cubicBezTo>
                  <a:cubicBezTo>
                    <a:pt x="5011" y="2938"/>
                    <a:pt x="5011" y="2938"/>
                    <a:pt x="5004" y="2945"/>
                  </a:cubicBezTo>
                  <a:cubicBezTo>
                    <a:pt x="5004" y="2930"/>
                    <a:pt x="5011" y="2916"/>
                    <a:pt x="5019" y="2908"/>
                  </a:cubicBezTo>
                  <a:cubicBezTo>
                    <a:pt x="5026" y="2908"/>
                    <a:pt x="5033" y="2908"/>
                    <a:pt x="5041" y="2908"/>
                  </a:cubicBezTo>
                  <a:cubicBezTo>
                    <a:pt x="5063" y="2901"/>
                    <a:pt x="5099" y="2901"/>
                    <a:pt x="5121" y="2857"/>
                  </a:cubicBezTo>
                  <a:cubicBezTo>
                    <a:pt x="5136" y="2842"/>
                    <a:pt x="5143" y="2813"/>
                    <a:pt x="5136" y="2798"/>
                  </a:cubicBezTo>
                  <a:cubicBezTo>
                    <a:pt x="5121" y="2769"/>
                    <a:pt x="5099" y="2769"/>
                    <a:pt x="5070" y="2762"/>
                  </a:cubicBezTo>
                  <a:cubicBezTo>
                    <a:pt x="5063" y="2762"/>
                    <a:pt x="5063" y="2762"/>
                    <a:pt x="5063" y="2762"/>
                  </a:cubicBezTo>
                  <a:cubicBezTo>
                    <a:pt x="5055" y="2754"/>
                    <a:pt x="5048" y="2754"/>
                    <a:pt x="5041" y="2754"/>
                  </a:cubicBezTo>
                  <a:cubicBezTo>
                    <a:pt x="5070" y="2740"/>
                    <a:pt x="5077" y="2732"/>
                    <a:pt x="5092" y="2710"/>
                  </a:cubicBezTo>
                  <a:cubicBezTo>
                    <a:pt x="5099" y="2710"/>
                    <a:pt x="5099" y="2703"/>
                    <a:pt x="5107" y="2696"/>
                  </a:cubicBezTo>
                  <a:cubicBezTo>
                    <a:pt x="5107" y="2688"/>
                    <a:pt x="5114" y="2688"/>
                    <a:pt x="5121" y="2688"/>
                  </a:cubicBezTo>
                  <a:cubicBezTo>
                    <a:pt x="5129" y="2688"/>
                    <a:pt x="5136" y="2688"/>
                    <a:pt x="5151" y="2696"/>
                  </a:cubicBezTo>
                  <a:cubicBezTo>
                    <a:pt x="5158" y="2696"/>
                    <a:pt x="5158" y="2696"/>
                    <a:pt x="5165" y="2696"/>
                  </a:cubicBezTo>
                  <a:cubicBezTo>
                    <a:pt x="5173" y="2703"/>
                    <a:pt x="5180" y="2703"/>
                    <a:pt x="5187" y="2703"/>
                  </a:cubicBezTo>
                  <a:cubicBezTo>
                    <a:pt x="5231" y="2703"/>
                    <a:pt x="5239" y="2666"/>
                    <a:pt x="5246" y="2645"/>
                  </a:cubicBezTo>
                  <a:cubicBezTo>
                    <a:pt x="5246" y="2637"/>
                    <a:pt x="5246" y="2637"/>
                    <a:pt x="5246" y="2637"/>
                  </a:cubicBezTo>
                  <a:cubicBezTo>
                    <a:pt x="5246" y="2630"/>
                    <a:pt x="5261" y="2630"/>
                    <a:pt x="5268" y="2623"/>
                  </a:cubicBezTo>
                  <a:cubicBezTo>
                    <a:pt x="5282" y="2623"/>
                    <a:pt x="5297" y="2623"/>
                    <a:pt x="5312" y="2615"/>
                  </a:cubicBezTo>
                  <a:cubicBezTo>
                    <a:pt x="5319" y="2608"/>
                    <a:pt x="5326" y="2608"/>
                    <a:pt x="5334" y="2600"/>
                  </a:cubicBezTo>
                  <a:cubicBezTo>
                    <a:pt x="5341" y="2637"/>
                    <a:pt x="5356" y="2652"/>
                    <a:pt x="5378" y="2652"/>
                  </a:cubicBezTo>
                  <a:cubicBezTo>
                    <a:pt x="5385" y="2652"/>
                    <a:pt x="5385" y="2652"/>
                    <a:pt x="5385" y="2652"/>
                  </a:cubicBezTo>
                  <a:cubicBezTo>
                    <a:pt x="5392" y="2645"/>
                    <a:pt x="5392" y="2645"/>
                    <a:pt x="5392" y="2645"/>
                  </a:cubicBezTo>
                  <a:cubicBezTo>
                    <a:pt x="5414" y="2637"/>
                    <a:pt x="5414" y="2608"/>
                    <a:pt x="5422" y="2586"/>
                  </a:cubicBezTo>
                  <a:cubicBezTo>
                    <a:pt x="5422" y="2564"/>
                    <a:pt x="5429" y="2542"/>
                    <a:pt x="5436" y="2527"/>
                  </a:cubicBezTo>
                  <a:cubicBezTo>
                    <a:pt x="5444" y="2513"/>
                    <a:pt x="5451" y="2505"/>
                    <a:pt x="5451" y="2491"/>
                  </a:cubicBezTo>
                  <a:cubicBezTo>
                    <a:pt x="5473" y="2461"/>
                    <a:pt x="5480" y="2439"/>
                    <a:pt x="5517" y="2425"/>
                  </a:cubicBezTo>
                  <a:cubicBezTo>
                    <a:pt x="5524" y="2425"/>
                    <a:pt x="5539" y="2417"/>
                    <a:pt x="5575" y="2417"/>
                  </a:cubicBezTo>
                  <a:cubicBezTo>
                    <a:pt x="5598" y="2417"/>
                    <a:pt x="5620" y="2417"/>
                    <a:pt x="5649" y="2425"/>
                  </a:cubicBezTo>
                  <a:cubicBezTo>
                    <a:pt x="5678" y="2425"/>
                    <a:pt x="5700" y="2425"/>
                    <a:pt x="5722" y="2425"/>
                  </a:cubicBezTo>
                  <a:cubicBezTo>
                    <a:pt x="5773" y="2425"/>
                    <a:pt x="5803" y="2417"/>
                    <a:pt x="5825" y="2403"/>
                  </a:cubicBezTo>
                  <a:cubicBezTo>
                    <a:pt x="5876" y="2366"/>
                    <a:pt x="5869" y="2337"/>
                    <a:pt x="5854" y="2285"/>
                  </a:cubicBezTo>
                  <a:cubicBezTo>
                    <a:pt x="5847" y="2264"/>
                    <a:pt x="5847" y="2264"/>
                    <a:pt x="5847" y="2264"/>
                  </a:cubicBezTo>
                  <a:cubicBezTo>
                    <a:pt x="5832" y="2205"/>
                    <a:pt x="5817" y="2176"/>
                    <a:pt x="5810" y="2139"/>
                  </a:cubicBezTo>
                  <a:cubicBezTo>
                    <a:pt x="5803" y="2132"/>
                    <a:pt x="5803" y="2124"/>
                    <a:pt x="5795" y="2117"/>
                  </a:cubicBezTo>
                  <a:cubicBezTo>
                    <a:pt x="5795" y="2109"/>
                    <a:pt x="5788" y="2102"/>
                    <a:pt x="5788" y="2095"/>
                  </a:cubicBezTo>
                  <a:cubicBezTo>
                    <a:pt x="5781" y="2066"/>
                    <a:pt x="5766" y="2029"/>
                    <a:pt x="5730" y="2029"/>
                  </a:cubicBezTo>
                  <a:cubicBezTo>
                    <a:pt x="5722" y="2029"/>
                    <a:pt x="5707" y="2036"/>
                    <a:pt x="5700" y="2036"/>
                  </a:cubicBezTo>
                  <a:cubicBezTo>
                    <a:pt x="5693" y="2036"/>
                    <a:pt x="5693" y="2036"/>
                    <a:pt x="5693" y="2036"/>
                  </a:cubicBezTo>
                  <a:cubicBezTo>
                    <a:pt x="5685" y="2044"/>
                    <a:pt x="5685" y="2044"/>
                    <a:pt x="5678" y="2044"/>
                  </a:cubicBezTo>
                  <a:lnTo>
                    <a:pt x="5678" y="2044"/>
                  </a:lnTo>
                  <a:cubicBezTo>
                    <a:pt x="5671" y="2044"/>
                    <a:pt x="5656" y="2036"/>
                    <a:pt x="5634" y="2029"/>
                  </a:cubicBezTo>
                  <a:cubicBezTo>
                    <a:pt x="5605" y="2022"/>
                    <a:pt x="5605" y="2014"/>
                    <a:pt x="5598" y="1985"/>
                  </a:cubicBezTo>
                  <a:cubicBezTo>
                    <a:pt x="5598" y="1970"/>
                    <a:pt x="5590" y="1948"/>
                    <a:pt x="5583" y="1926"/>
                  </a:cubicBezTo>
                  <a:cubicBezTo>
                    <a:pt x="5554" y="1860"/>
                    <a:pt x="5524" y="1838"/>
                    <a:pt x="5466" y="1824"/>
                  </a:cubicBezTo>
                  <a:cubicBezTo>
                    <a:pt x="5458" y="1824"/>
                    <a:pt x="5458" y="1816"/>
                    <a:pt x="5451" y="1809"/>
                  </a:cubicBezTo>
                  <a:cubicBezTo>
                    <a:pt x="5444" y="1802"/>
                    <a:pt x="5429" y="1780"/>
                    <a:pt x="5400" y="1780"/>
                  </a:cubicBezTo>
                  <a:cubicBezTo>
                    <a:pt x="5385" y="1780"/>
                    <a:pt x="5378" y="1787"/>
                    <a:pt x="5370" y="1787"/>
                  </a:cubicBezTo>
                  <a:cubicBezTo>
                    <a:pt x="5363" y="1787"/>
                    <a:pt x="5348" y="1795"/>
                    <a:pt x="5312" y="1795"/>
                  </a:cubicBezTo>
                  <a:cubicBezTo>
                    <a:pt x="5297" y="1802"/>
                    <a:pt x="5282" y="1802"/>
                    <a:pt x="5275" y="1802"/>
                  </a:cubicBezTo>
                  <a:cubicBezTo>
                    <a:pt x="5239" y="1802"/>
                    <a:pt x="5209" y="1795"/>
                    <a:pt x="5194" y="1773"/>
                  </a:cubicBezTo>
                  <a:cubicBezTo>
                    <a:pt x="5173" y="1743"/>
                    <a:pt x="5143" y="1728"/>
                    <a:pt x="5099" y="1728"/>
                  </a:cubicBezTo>
                  <a:cubicBezTo>
                    <a:pt x="5085" y="1728"/>
                    <a:pt x="5077" y="1728"/>
                    <a:pt x="5055" y="1728"/>
                  </a:cubicBezTo>
                  <a:lnTo>
                    <a:pt x="5055" y="1728"/>
                  </a:lnTo>
                  <a:cubicBezTo>
                    <a:pt x="5048" y="1736"/>
                    <a:pt x="5048" y="1736"/>
                    <a:pt x="5048" y="1736"/>
                  </a:cubicBezTo>
                  <a:cubicBezTo>
                    <a:pt x="5041" y="1736"/>
                    <a:pt x="5041" y="1736"/>
                    <a:pt x="5041" y="1736"/>
                  </a:cubicBezTo>
                  <a:cubicBezTo>
                    <a:pt x="5033" y="1743"/>
                    <a:pt x="5033" y="1743"/>
                    <a:pt x="5033" y="1743"/>
                  </a:cubicBezTo>
                  <a:cubicBezTo>
                    <a:pt x="5019" y="1780"/>
                    <a:pt x="4997" y="1809"/>
                    <a:pt x="4982" y="1824"/>
                  </a:cubicBezTo>
                  <a:cubicBezTo>
                    <a:pt x="4953" y="1868"/>
                    <a:pt x="4967" y="1912"/>
                    <a:pt x="4975" y="1948"/>
                  </a:cubicBezTo>
                  <a:cubicBezTo>
                    <a:pt x="4982" y="1956"/>
                    <a:pt x="4982" y="1956"/>
                    <a:pt x="4982" y="1956"/>
                  </a:cubicBezTo>
                  <a:cubicBezTo>
                    <a:pt x="4989" y="1985"/>
                    <a:pt x="5011" y="2000"/>
                    <a:pt x="5033" y="2007"/>
                  </a:cubicBezTo>
                  <a:lnTo>
                    <a:pt x="5048" y="2014"/>
                  </a:lnTo>
                  <a:cubicBezTo>
                    <a:pt x="5048" y="2036"/>
                    <a:pt x="5033" y="2058"/>
                    <a:pt x="5004" y="2080"/>
                  </a:cubicBezTo>
                  <a:cubicBezTo>
                    <a:pt x="4975" y="2109"/>
                    <a:pt x="4967" y="2124"/>
                    <a:pt x="4953" y="2154"/>
                  </a:cubicBezTo>
                  <a:cubicBezTo>
                    <a:pt x="4945" y="2168"/>
                    <a:pt x="4945" y="2168"/>
                    <a:pt x="4945" y="2168"/>
                  </a:cubicBezTo>
                  <a:cubicBezTo>
                    <a:pt x="4938" y="2190"/>
                    <a:pt x="4938" y="2205"/>
                    <a:pt x="4938" y="2212"/>
                  </a:cubicBezTo>
                  <a:lnTo>
                    <a:pt x="4938" y="2219"/>
                  </a:lnTo>
                  <a:lnTo>
                    <a:pt x="4938" y="2219"/>
                  </a:lnTo>
                  <a:cubicBezTo>
                    <a:pt x="4938" y="2219"/>
                    <a:pt x="4931" y="2219"/>
                    <a:pt x="4923" y="2227"/>
                  </a:cubicBezTo>
                  <a:lnTo>
                    <a:pt x="4923" y="2227"/>
                  </a:lnTo>
                  <a:cubicBezTo>
                    <a:pt x="4923" y="2227"/>
                    <a:pt x="4916" y="2219"/>
                    <a:pt x="4909" y="2197"/>
                  </a:cubicBezTo>
                  <a:cubicBezTo>
                    <a:pt x="4901" y="2168"/>
                    <a:pt x="4872" y="2139"/>
                    <a:pt x="4835" y="2139"/>
                  </a:cubicBezTo>
                  <a:cubicBezTo>
                    <a:pt x="4806" y="2139"/>
                    <a:pt x="4784" y="2161"/>
                    <a:pt x="4770" y="2183"/>
                  </a:cubicBezTo>
                  <a:cubicBezTo>
                    <a:pt x="4770" y="2183"/>
                    <a:pt x="4762" y="2190"/>
                    <a:pt x="4755" y="2197"/>
                  </a:cubicBezTo>
                  <a:cubicBezTo>
                    <a:pt x="4755" y="2190"/>
                    <a:pt x="4748" y="2183"/>
                    <a:pt x="4733" y="2161"/>
                  </a:cubicBezTo>
                  <a:cubicBezTo>
                    <a:pt x="4718" y="2139"/>
                    <a:pt x="4696" y="2132"/>
                    <a:pt x="4674" y="2132"/>
                  </a:cubicBezTo>
                  <a:cubicBezTo>
                    <a:pt x="4652" y="2132"/>
                    <a:pt x="4623" y="2139"/>
                    <a:pt x="4594" y="2154"/>
                  </a:cubicBezTo>
                  <a:cubicBezTo>
                    <a:pt x="4586" y="2161"/>
                    <a:pt x="4579" y="2161"/>
                    <a:pt x="4572" y="2161"/>
                  </a:cubicBezTo>
                  <a:cubicBezTo>
                    <a:pt x="4564" y="2161"/>
                    <a:pt x="4557" y="2161"/>
                    <a:pt x="4542" y="2154"/>
                  </a:cubicBezTo>
                  <a:cubicBezTo>
                    <a:pt x="4535" y="2154"/>
                    <a:pt x="4520" y="2154"/>
                    <a:pt x="4506" y="2146"/>
                  </a:cubicBezTo>
                  <a:cubicBezTo>
                    <a:pt x="4484" y="2146"/>
                    <a:pt x="4462" y="2102"/>
                    <a:pt x="4447" y="2073"/>
                  </a:cubicBezTo>
                  <a:cubicBezTo>
                    <a:pt x="4447" y="2066"/>
                    <a:pt x="4447" y="2066"/>
                    <a:pt x="4447" y="2066"/>
                  </a:cubicBezTo>
                  <a:cubicBezTo>
                    <a:pt x="4425" y="2014"/>
                    <a:pt x="4389" y="1992"/>
                    <a:pt x="4330" y="1992"/>
                  </a:cubicBezTo>
                  <a:cubicBezTo>
                    <a:pt x="4308" y="1992"/>
                    <a:pt x="4293" y="1963"/>
                    <a:pt x="4271" y="1941"/>
                  </a:cubicBezTo>
                  <a:cubicBezTo>
                    <a:pt x="4264" y="1926"/>
                    <a:pt x="4249" y="1912"/>
                    <a:pt x="4242" y="1897"/>
                  </a:cubicBezTo>
                  <a:cubicBezTo>
                    <a:pt x="4227" y="1890"/>
                    <a:pt x="4213" y="1882"/>
                    <a:pt x="4198" y="1882"/>
                  </a:cubicBezTo>
                  <a:cubicBezTo>
                    <a:pt x="4169" y="1882"/>
                    <a:pt x="4147" y="1904"/>
                    <a:pt x="4125" y="1912"/>
                  </a:cubicBezTo>
                  <a:cubicBezTo>
                    <a:pt x="4125" y="1919"/>
                    <a:pt x="4117" y="1919"/>
                    <a:pt x="4117" y="1919"/>
                  </a:cubicBezTo>
                  <a:cubicBezTo>
                    <a:pt x="4103" y="1926"/>
                    <a:pt x="4059" y="1926"/>
                    <a:pt x="4030" y="1934"/>
                  </a:cubicBezTo>
                  <a:cubicBezTo>
                    <a:pt x="4008" y="1934"/>
                    <a:pt x="3985" y="1934"/>
                    <a:pt x="3971" y="1934"/>
                  </a:cubicBezTo>
                  <a:cubicBezTo>
                    <a:pt x="3963" y="1934"/>
                    <a:pt x="3963" y="1934"/>
                    <a:pt x="3963" y="1934"/>
                  </a:cubicBezTo>
                  <a:cubicBezTo>
                    <a:pt x="3956" y="1934"/>
                    <a:pt x="3956" y="1934"/>
                    <a:pt x="3949" y="1926"/>
                  </a:cubicBezTo>
                  <a:cubicBezTo>
                    <a:pt x="3942" y="1912"/>
                    <a:pt x="3934" y="1897"/>
                    <a:pt x="3905" y="1890"/>
                  </a:cubicBezTo>
                  <a:cubicBezTo>
                    <a:pt x="3890" y="1882"/>
                    <a:pt x="3868" y="1860"/>
                    <a:pt x="3846" y="1831"/>
                  </a:cubicBezTo>
                  <a:cubicBezTo>
                    <a:pt x="3839" y="1824"/>
                    <a:pt x="3832" y="1816"/>
                    <a:pt x="3832" y="1809"/>
                  </a:cubicBezTo>
                  <a:cubicBezTo>
                    <a:pt x="3817" y="1780"/>
                    <a:pt x="3802" y="1743"/>
                    <a:pt x="3773" y="1743"/>
                  </a:cubicBezTo>
                  <a:cubicBezTo>
                    <a:pt x="3766" y="1743"/>
                    <a:pt x="3766" y="1743"/>
                    <a:pt x="3758" y="1750"/>
                  </a:cubicBezTo>
                  <a:cubicBezTo>
                    <a:pt x="3736" y="1750"/>
                    <a:pt x="3700" y="1758"/>
                    <a:pt x="3670" y="1758"/>
                  </a:cubicBezTo>
                  <a:cubicBezTo>
                    <a:pt x="3663" y="1758"/>
                    <a:pt x="3656" y="1750"/>
                    <a:pt x="3649" y="1743"/>
                  </a:cubicBezTo>
                  <a:cubicBezTo>
                    <a:pt x="3634" y="1736"/>
                    <a:pt x="3612" y="1721"/>
                    <a:pt x="3590" y="1721"/>
                  </a:cubicBezTo>
                  <a:cubicBezTo>
                    <a:pt x="3553" y="1721"/>
                    <a:pt x="3494" y="1736"/>
                    <a:pt x="3443" y="1750"/>
                  </a:cubicBezTo>
                  <a:cubicBezTo>
                    <a:pt x="3436" y="1758"/>
                    <a:pt x="3436" y="1758"/>
                    <a:pt x="3436" y="1758"/>
                  </a:cubicBezTo>
                  <a:cubicBezTo>
                    <a:pt x="3421" y="1758"/>
                    <a:pt x="3392" y="1743"/>
                    <a:pt x="3363" y="1721"/>
                  </a:cubicBezTo>
                  <a:cubicBezTo>
                    <a:pt x="3341" y="1707"/>
                    <a:pt x="3333" y="1692"/>
                    <a:pt x="3326" y="1670"/>
                  </a:cubicBezTo>
                  <a:cubicBezTo>
                    <a:pt x="3326" y="1663"/>
                    <a:pt x="3341" y="1655"/>
                    <a:pt x="3348" y="1655"/>
                  </a:cubicBezTo>
                  <a:cubicBezTo>
                    <a:pt x="3355" y="1648"/>
                    <a:pt x="3363" y="1641"/>
                    <a:pt x="3370" y="1634"/>
                  </a:cubicBezTo>
                  <a:cubicBezTo>
                    <a:pt x="3414" y="1605"/>
                    <a:pt x="3392" y="1554"/>
                    <a:pt x="3377" y="1524"/>
                  </a:cubicBezTo>
                  <a:cubicBezTo>
                    <a:pt x="3370" y="1517"/>
                    <a:pt x="3370" y="1510"/>
                    <a:pt x="3363" y="1502"/>
                  </a:cubicBezTo>
                  <a:cubicBezTo>
                    <a:pt x="3348" y="1458"/>
                    <a:pt x="3297" y="1429"/>
                    <a:pt x="3253" y="1422"/>
                  </a:cubicBezTo>
                  <a:cubicBezTo>
                    <a:pt x="3223" y="1415"/>
                    <a:pt x="3180" y="1407"/>
                    <a:pt x="3150" y="1378"/>
                  </a:cubicBezTo>
                  <a:lnTo>
                    <a:pt x="3150" y="1378"/>
                  </a:lnTo>
                  <a:cubicBezTo>
                    <a:pt x="3150" y="1370"/>
                    <a:pt x="3158" y="1370"/>
                    <a:pt x="3165" y="1363"/>
                  </a:cubicBezTo>
                  <a:cubicBezTo>
                    <a:pt x="3172" y="1356"/>
                    <a:pt x="3180" y="1356"/>
                    <a:pt x="3187" y="1356"/>
                  </a:cubicBezTo>
                  <a:cubicBezTo>
                    <a:pt x="3187" y="1356"/>
                    <a:pt x="3194" y="1356"/>
                    <a:pt x="3201" y="1356"/>
                  </a:cubicBezTo>
                  <a:cubicBezTo>
                    <a:pt x="3209" y="1363"/>
                    <a:pt x="3216" y="1363"/>
                    <a:pt x="3223" y="1363"/>
                  </a:cubicBezTo>
                  <a:cubicBezTo>
                    <a:pt x="3260" y="1363"/>
                    <a:pt x="3275" y="1326"/>
                    <a:pt x="3289" y="1290"/>
                  </a:cubicBezTo>
                  <a:cubicBezTo>
                    <a:pt x="3304" y="1268"/>
                    <a:pt x="3311" y="1239"/>
                    <a:pt x="3333" y="1217"/>
                  </a:cubicBezTo>
                  <a:cubicBezTo>
                    <a:pt x="3355" y="1195"/>
                    <a:pt x="3370" y="1173"/>
                    <a:pt x="3370" y="1150"/>
                  </a:cubicBezTo>
                  <a:cubicBezTo>
                    <a:pt x="3363" y="1129"/>
                    <a:pt x="3348" y="1114"/>
                    <a:pt x="3333" y="1107"/>
                  </a:cubicBezTo>
                  <a:cubicBezTo>
                    <a:pt x="3326" y="1099"/>
                    <a:pt x="3326" y="1099"/>
                    <a:pt x="3326" y="1099"/>
                  </a:cubicBezTo>
                  <a:cubicBezTo>
                    <a:pt x="3297" y="1077"/>
                    <a:pt x="3289" y="1070"/>
                    <a:pt x="3275" y="1048"/>
                  </a:cubicBezTo>
                  <a:cubicBezTo>
                    <a:pt x="3253" y="1004"/>
                    <a:pt x="3245" y="997"/>
                    <a:pt x="3194" y="975"/>
                  </a:cubicBezTo>
                  <a:cubicBezTo>
                    <a:pt x="3187" y="967"/>
                    <a:pt x="3180" y="967"/>
                    <a:pt x="3180" y="960"/>
                  </a:cubicBezTo>
                  <a:cubicBezTo>
                    <a:pt x="3180" y="960"/>
                    <a:pt x="3180" y="960"/>
                    <a:pt x="3180" y="953"/>
                  </a:cubicBezTo>
                  <a:cubicBezTo>
                    <a:pt x="3194" y="931"/>
                    <a:pt x="3201" y="901"/>
                    <a:pt x="3187" y="879"/>
                  </a:cubicBezTo>
                  <a:cubicBezTo>
                    <a:pt x="3180" y="850"/>
                    <a:pt x="3158" y="836"/>
                    <a:pt x="3128" y="836"/>
                  </a:cubicBezTo>
                  <a:cubicBezTo>
                    <a:pt x="3099" y="836"/>
                    <a:pt x="3084" y="828"/>
                    <a:pt x="3070" y="828"/>
                  </a:cubicBezTo>
                  <a:cubicBezTo>
                    <a:pt x="3055" y="821"/>
                    <a:pt x="3040" y="821"/>
                    <a:pt x="3026" y="821"/>
                  </a:cubicBezTo>
                  <a:lnTo>
                    <a:pt x="3026" y="821"/>
                  </a:lnTo>
                  <a:lnTo>
                    <a:pt x="3026" y="821"/>
                  </a:lnTo>
                  <a:cubicBezTo>
                    <a:pt x="3026" y="814"/>
                    <a:pt x="3026" y="814"/>
                    <a:pt x="3018" y="814"/>
                  </a:cubicBezTo>
                  <a:cubicBezTo>
                    <a:pt x="3018" y="806"/>
                    <a:pt x="3011" y="770"/>
                    <a:pt x="2974" y="770"/>
                  </a:cubicBezTo>
                  <a:cubicBezTo>
                    <a:pt x="2952" y="770"/>
                    <a:pt x="2938" y="784"/>
                    <a:pt x="2930" y="784"/>
                  </a:cubicBezTo>
                  <a:cubicBezTo>
                    <a:pt x="2923" y="791"/>
                    <a:pt x="2908" y="799"/>
                    <a:pt x="2894" y="799"/>
                  </a:cubicBezTo>
                  <a:cubicBezTo>
                    <a:pt x="2886" y="806"/>
                    <a:pt x="2886" y="806"/>
                    <a:pt x="2886" y="806"/>
                  </a:cubicBezTo>
                  <a:cubicBezTo>
                    <a:pt x="2879" y="806"/>
                    <a:pt x="2872" y="799"/>
                    <a:pt x="2864" y="791"/>
                  </a:cubicBezTo>
                  <a:cubicBezTo>
                    <a:pt x="2850" y="784"/>
                    <a:pt x="2835" y="777"/>
                    <a:pt x="2813" y="770"/>
                  </a:cubicBezTo>
                  <a:cubicBezTo>
                    <a:pt x="2806" y="770"/>
                    <a:pt x="2806" y="770"/>
                    <a:pt x="2799" y="770"/>
                  </a:cubicBezTo>
                  <a:cubicBezTo>
                    <a:pt x="2769" y="770"/>
                    <a:pt x="2754" y="784"/>
                    <a:pt x="2747" y="791"/>
                  </a:cubicBezTo>
                  <a:cubicBezTo>
                    <a:pt x="2740" y="799"/>
                    <a:pt x="2740" y="799"/>
                    <a:pt x="2732" y="799"/>
                  </a:cubicBezTo>
                  <a:cubicBezTo>
                    <a:pt x="2740" y="799"/>
                    <a:pt x="2732" y="799"/>
                    <a:pt x="2732" y="799"/>
                  </a:cubicBezTo>
                  <a:cubicBezTo>
                    <a:pt x="2725" y="791"/>
                    <a:pt x="2718" y="784"/>
                    <a:pt x="2696" y="784"/>
                  </a:cubicBezTo>
                  <a:cubicBezTo>
                    <a:pt x="2689" y="784"/>
                    <a:pt x="2681" y="784"/>
                    <a:pt x="2667" y="791"/>
                  </a:cubicBezTo>
                  <a:cubicBezTo>
                    <a:pt x="2659" y="799"/>
                    <a:pt x="2652" y="799"/>
                    <a:pt x="2652" y="799"/>
                  </a:cubicBezTo>
                  <a:cubicBezTo>
                    <a:pt x="2637" y="799"/>
                    <a:pt x="2630" y="799"/>
                    <a:pt x="2615" y="791"/>
                  </a:cubicBezTo>
                  <a:cubicBezTo>
                    <a:pt x="2601" y="784"/>
                    <a:pt x="2571" y="770"/>
                    <a:pt x="2549" y="755"/>
                  </a:cubicBezTo>
                  <a:cubicBezTo>
                    <a:pt x="2527" y="740"/>
                    <a:pt x="2513" y="733"/>
                    <a:pt x="2498" y="726"/>
                  </a:cubicBezTo>
                  <a:cubicBezTo>
                    <a:pt x="2483" y="718"/>
                    <a:pt x="2469" y="718"/>
                    <a:pt x="2454" y="718"/>
                  </a:cubicBezTo>
                  <a:cubicBezTo>
                    <a:pt x="2439" y="718"/>
                    <a:pt x="2425" y="718"/>
                    <a:pt x="2418" y="726"/>
                  </a:cubicBezTo>
                  <a:cubicBezTo>
                    <a:pt x="2410" y="733"/>
                    <a:pt x="2395" y="733"/>
                    <a:pt x="2388" y="740"/>
                  </a:cubicBezTo>
                  <a:cubicBezTo>
                    <a:pt x="2366" y="748"/>
                    <a:pt x="2351" y="755"/>
                    <a:pt x="2337" y="755"/>
                  </a:cubicBezTo>
                  <a:cubicBezTo>
                    <a:pt x="2322" y="755"/>
                    <a:pt x="2315" y="748"/>
                    <a:pt x="2308" y="748"/>
                  </a:cubicBezTo>
                  <a:cubicBezTo>
                    <a:pt x="2293" y="740"/>
                    <a:pt x="2278" y="718"/>
                    <a:pt x="2278" y="689"/>
                  </a:cubicBezTo>
                  <a:cubicBezTo>
                    <a:pt x="2278" y="579"/>
                    <a:pt x="2278" y="579"/>
                    <a:pt x="2278" y="579"/>
                  </a:cubicBezTo>
                  <a:cubicBezTo>
                    <a:pt x="2278" y="535"/>
                    <a:pt x="2234" y="477"/>
                    <a:pt x="2212" y="455"/>
                  </a:cubicBezTo>
                  <a:cubicBezTo>
                    <a:pt x="2212" y="447"/>
                    <a:pt x="2220" y="432"/>
                    <a:pt x="2220" y="432"/>
                  </a:cubicBezTo>
                  <a:cubicBezTo>
                    <a:pt x="2220" y="418"/>
                    <a:pt x="2227" y="396"/>
                    <a:pt x="2220" y="381"/>
                  </a:cubicBezTo>
                  <a:cubicBezTo>
                    <a:pt x="2220" y="359"/>
                    <a:pt x="2198" y="345"/>
                    <a:pt x="2176" y="323"/>
                  </a:cubicBezTo>
                  <a:cubicBezTo>
                    <a:pt x="2161" y="308"/>
                    <a:pt x="2139" y="286"/>
                    <a:pt x="2132" y="279"/>
                  </a:cubicBezTo>
                  <a:cubicBezTo>
                    <a:pt x="2132" y="271"/>
                    <a:pt x="2124" y="264"/>
                    <a:pt x="2124" y="264"/>
                  </a:cubicBezTo>
                  <a:cubicBezTo>
                    <a:pt x="2132" y="264"/>
                    <a:pt x="2132" y="264"/>
                    <a:pt x="2146" y="264"/>
                  </a:cubicBezTo>
                  <a:cubicBezTo>
                    <a:pt x="2183" y="257"/>
                    <a:pt x="2205" y="227"/>
                    <a:pt x="2205" y="191"/>
                  </a:cubicBezTo>
                  <a:cubicBezTo>
                    <a:pt x="2205" y="154"/>
                    <a:pt x="2176" y="117"/>
                    <a:pt x="2139" y="117"/>
                  </a:cubicBezTo>
                  <a:cubicBezTo>
                    <a:pt x="2132" y="117"/>
                    <a:pt x="2132" y="117"/>
                    <a:pt x="2124" y="110"/>
                  </a:cubicBezTo>
                  <a:cubicBezTo>
                    <a:pt x="2117" y="110"/>
                    <a:pt x="2102" y="110"/>
                    <a:pt x="2088" y="110"/>
                  </a:cubicBezTo>
                  <a:cubicBezTo>
                    <a:pt x="2088" y="110"/>
                    <a:pt x="2080" y="110"/>
                    <a:pt x="2066" y="110"/>
                  </a:cubicBezTo>
                  <a:lnTo>
                    <a:pt x="2066" y="110"/>
                  </a:lnTo>
                  <a:cubicBezTo>
                    <a:pt x="2058" y="110"/>
                    <a:pt x="2044" y="96"/>
                    <a:pt x="2036" y="81"/>
                  </a:cubicBezTo>
                  <a:cubicBezTo>
                    <a:pt x="2029" y="74"/>
                    <a:pt x="2014" y="66"/>
                    <a:pt x="2007" y="51"/>
                  </a:cubicBezTo>
                  <a:cubicBezTo>
                    <a:pt x="1985" y="37"/>
                    <a:pt x="1949" y="29"/>
                    <a:pt x="1919" y="22"/>
                  </a:cubicBezTo>
                  <a:cubicBezTo>
                    <a:pt x="1904" y="22"/>
                    <a:pt x="1897" y="15"/>
                    <a:pt x="1882" y="15"/>
                  </a:cubicBezTo>
                  <a:cubicBezTo>
                    <a:pt x="1875" y="15"/>
                    <a:pt x="1861" y="8"/>
                    <a:pt x="1853" y="8"/>
                  </a:cubicBezTo>
                  <a:lnTo>
                    <a:pt x="1853" y="8"/>
                  </a:lnTo>
                  <a:lnTo>
                    <a:pt x="1853" y="8"/>
                  </a:lnTo>
                  <a:cubicBezTo>
                    <a:pt x="1831" y="8"/>
                    <a:pt x="1802" y="15"/>
                    <a:pt x="1780" y="15"/>
                  </a:cubicBezTo>
                  <a:cubicBezTo>
                    <a:pt x="1758" y="22"/>
                    <a:pt x="1736" y="22"/>
                    <a:pt x="1714" y="22"/>
                  </a:cubicBezTo>
                  <a:cubicBezTo>
                    <a:pt x="1707" y="22"/>
                    <a:pt x="1707" y="22"/>
                    <a:pt x="1699" y="22"/>
                  </a:cubicBezTo>
                  <a:lnTo>
                    <a:pt x="1692" y="22"/>
                  </a:lnTo>
                  <a:cubicBezTo>
                    <a:pt x="1685" y="22"/>
                    <a:pt x="1685" y="22"/>
                    <a:pt x="1677" y="22"/>
                  </a:cubicBezTo>
                  <a:cubicBezTo>
                    <a:pt x="1670" y="0"/>
                    <a:pt x="1670" y="0"/>
                    <a:pt x="1670" y="0"/>
                  </a:cubicBezTo>
                  <a:lnTo>
                    <a:pt x="1853" y="44"/>
                  </a:ln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25" name="Freeform 124"/>
            <p:cNvSpPr>
              <a:spLocks noChangeArrowheads="1"/>
            </p:cNvSpPr>
            <p:nvPr/>
          </p:nvSpPr>
          <p:spPr bwMode="auto">
            <a:xfrm>
              <a:off x="7107476" y="5115086"/>
              <a:ext cx="2106610" cy="2630072"/>
            </a:xfrm>
            <a:custGeom>
              <a:avLst/>
              <a:gdLst>
                <a:gd name="T0" fmla="*/ 1824 w 5482"/>
                <a:gd name="T1" fmla="*/ 271 h 6924"/>
                <a:gd name="T2" fmla="*/ 1443 w 5482"/>
                <a:gd name="T3" fmla="*/ 571 h 6924"/>
                <a:gd name="T4" fmla="*/ 1040 w 5482"/>
                <a:gd name="T5" fmla="*/ 468 h 6924"/>
                <a:gd name="T6" fmla="*/ 461 w 5482"/>
                <a:gd name="T7" fmla="*/ 703 h 6924"/>
                <a:gd name="T8" fmla="*/ 644 w 5482"/>
                <a:gd name="T9" fmla="*/ 1341 h 6924"/>
                <a:gd name="T10" fmla="*/ 813 w 5482"/>
                <a:gd name="T11" fmla="*/ 1758 h 6924"/>
                <a:gd name="T12" fmla="*/ 886 w 5482"/>
                <a:gd name="T13" fmla="*/ 2124 h 6924"/>
                <a:gd name="T14" fmla="*/ 945 w 5482"/>
                <a:gd name="T15" fmla="*/ 2572 h 6924"/>
                <a:gd name="T16" fmla="*/ 1003 w 5482"/>
                <a:gd name="T17" fmla="*/ 2931 h 6924"/>
                <a:gd name="T18" fmla="*/ 813 w 5482"/>
                <a:gd name="T19" fmla="*/ 3326 h 6924"/>
                <a:gd name="T20" fmla="*/ 95 w 5482"/>
                <a:gd name="T21" fmla="*/ 3495 h 6924"/>
                <a:gd name="T22" fmla="*/ 212 w 5482"/>
                <a:gd name="T23" fmla="*/ 3810 h 6924"/>
                <a:gd name="T24" fmla="*/ 241 w 5482"/>
                <a:gd name="T25" fmla="*/ 4440 h 6924"/>
                <a:gd name="T26" fmla="*/ 527 w 5482"/>
                <a:gd name="T27" fmla="*/ 4689 h 6924"/>
                <a:gd name="T28" fmla="*/ 791 w 5482"/>
                <a:gd name="T29" fmla="*/ 4872 h 6924"/>
                <a:gd name="T30" fmla="*/ 901 w 5482"/>
                <a:gd name="T31" fmla="*/ 5224 h 6924"/>
                <a:gd name="T32" fmla="*/ 1135 w 5482"/>
                <a:gd name="T33" fmla="*/ 5400 h 6924"/>
                <a:gd name="T34" fmla="*/ 1465 w 5482"/>
                <a:gd name="T35" fmla="*/ 5451 h 6924"/>
                <a:gd name="T36" fmla="*/ 1773 w 5482"/>
                <a:gd name="T37" fmla="*/ 5510 h 6924"/>
                <a:gd name="T38" fmla="*/ 1963 w 5482"/>
                <a:gd name="T39" fmla="*/ 5774 h 6924"/>
                <a:gd name="T40" fmla="*/ 1787 w 5482"/>
                <a:gd name="T41" fmla="*/ 6052 h 6924"/>
                <a:gd name="T42" fmla="*/ 1949 w 5482"/>
                <a:gd name="T43" fmla="*/ 6322 h 6924"/>
                <a:gd name="T44" fmla="*/ 2322 w 5482"/>
                <a:gd name="T45" fmla="*/ 6432 h 6924"/>
                <a:gd name="T46" fmla="*/ 2623 w 5482"/>
                <a:gd name="T47" fmla="*/ 6608 h 6924"/>
                <a:gd name="T48" fmla="*/ 3070 w 5482"/>
                <a:gd name="T49" fmla="*/ 6725 h 6924"/>
                <a:gd name="T50" fmla="*/ 3422 w 5482"/>
                <a:gd name="T51" fmla="*/ 6872 h 6924"/>
                <a:gd name="T52" fmla="*/ 3627 w 5482"/>
                <a:gd name="T53" fmla="*/ 6828 h 6924"/>
                <a:gd name="T54" fmla="*/ 3663 w 5482"/>
                <a:gd name="T55" fmla="*/ 6491 h 6924"/>
                <a:gd name="T56" fmla="*/ 3517 w 5482"/>
                <a:gd name="T57" fmla="*/ 6133 h 6924"/>
                <a:gd name="T58" fmla="*/ 3407 w 5482"/>
                <a:gd name="T59" fmla="*/ 5686 h 6924"/>
                <a:gd name="T60" fmla="*/ 3392 w 5482"/>
                <a:gd name="T61" fmla="*/ 5224 h 6924"/>
                <a:gd name="T62" fmla="*/ 3561 w 5482"/>
                <a:gd name="T63" fmla="*/ 4843 h 6924"/>
                <a:gd name="T64" fmla="*/ 3927 w 5482"/>
                <a:gd name="T65" fmla="*/ 4741 h 6924"/>
                <a:gd name="T66" fmla="*/ 4227 w 5482"/>
                <a:gd name="T67" fmla="*/ 4660 h 6924"/>
                <a:gd name="T68" fmla="*/ 4594 w 5482"/>
                <a:gd name="T69" fmla="*/ 4521 h 6924"/>
                <a:gd name="T70" fmla="*/ 4997 w 5482"/>
                <a:gd name="T71" fmla="*/ 4491 h 6924"/>
                <a:gd name="T72" fmla="*/ 5283 w 5482"/>
                <a:gd name="T73" fmla="*/ 4447 h 6924"/>
                <a:gd name="T74" fmla="*/ 5400 w 5482"/>
                <a:gd name="T75" fmla="*/ 3949 h 6924"/>
                <a:gd name="T76" fmla="*/ 5034 w 5482"/>
                <a:gd name="T77" fmla="*/ 3641 h 6924"/>
                <a:gd name="T78" fmla="*/ 4653 w 5482"/>
                <a:gd name="T79" fmla="*/ 3473 h 6924"/>
                <a:gd name="T80" fmla="*/ 4242 w 5482"/>
                <a:gd name="T81" fmla="*/ 3422 h 6924"/>
                <a:gd name="T82" fmla="*/ 3876 w 5482"/>
                <a:gd name="T83" fmla="*/ 3348 h 6924"/>
                <a:gd name="T84" fmla="*/ 3429 w 5482"/>
                <a:gd name="T85" fmla="*/ 2901 h 6924"/>
                <a:gd name="T86" fmla="*/ 3465 w 5482"/>
                <a:gd name="T87" fmla="*/ 2462 h 6924"/>
                <a:gd name="T88" fmla="*/ 3590 w 5482"/>
                <a:gd name="T89" fmla="*/ 1817 h 6924"/>
                <a:gd name="T90" fmla="*/ 3268 w 5482"/>
                <a:gd name="T91" fmla="*/ 1736 h 6924"/>
                <a:gd name="T92" fmla="*/ 3268 w 5482"/>
                <a:gd name="T93" fmla="*/ 1384 h 6924"/>
                <a:gd name="T94" fmla="*/ 3290 w 5482"/>
                <a:gd name="T95" fmla="*/ 879 h 6924"/>
                <a:gd name="T96" fmla="*/ 3165 w 5482"/>
                <a:gd name="T97" fmla="*/ 586 h 6924"/>
                <a:gd name="T98" fmla="*/ 2689 w 5482"/>
                <a:gd name="T99" fmla="*/ 483 h 6924"/>
                <a:gd name="T100" fmla="*/ 2396 w 5482"/>
                <a:gd name="T101" fmla="*/ 205 h 6924"/>
                <a:gd name="T102" fmla="*/ 2125 w 5482"/>
                <a:gd name="T103" fmla="*/ 43 h 69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482" h="6924">
                  <a:moveTo>
                    <a:pt x="1956" y="146"/>
                  </a:moveTo>
                  <a:lnTo>
                    <a:pt x="1956" y="146"/>
                  </a:lnTo>
                  <a:cubicBezTo>
                    <a:pt x="1927" y="168"/>
                    <a:pt x="1890" y="124"/>
                    <a:pt x="1890" y="124"/>
                  </a:cubicBezTo>
                  <a:cubicBezTo>
                    <a:pt x="1890" y="124"/>
                    <a:pt x="1861" y="219"/>
                    <a:pt x="1824" y="271"/>
                  </a:cubicBezTo>
                  <a:cubicBezTo>
                    <a:pt x="1795" y="322"/>
                    <a:pt x="1861" y="351"/>
                    <a:pt x="1817" y="359"/>
                  </a:cubicBezTo>
                  <a:cubicBezTo>
                    <a:pt x="1780" y="373"/>
                    <a:pt x="1751" y="395"/>
                    <a:pt x="1707" y="432"/>
                  </a:cubicBezTo>
                  <a:cubicBezTo>
                    <a:pt x="1663" y="461"/>
                    <a:pt x="1612" y="491"/>
                    <a:pt x="1582" y="520"/>
                  </a:cubicBezTo>
                  <a:cubicBezTo>
                    <a:pt x="1546" y="556"/>
                    <a:pt x="1502" y="556"/>
                    <a:pt x="1443" y="571"/>
                  </a:cubicBezTo>
                  <a:cubicBezTo>
                    <a:pt x="1384" y="593"/>
                    <a:pt x="1392" y="586"/>
                    <a:pt x="1363" y="593"/>
                  </a:cubicBezTo>
                  <a:cubicBezTo>
                    <a:pt x="1326" y="600"/>
                    <a:pt x="1260" y="534"/>
                    <a:pt x="1209" y="505"/>
                  </a:cubicBezTo>
                  <a:cubicBezTo>
                    <a:pt x="1157" y="483"/>
                    <a:pt x="1150" y="505"/>
                    <a:pt x="1121" y="520"/>
                  </a:cubicBezTo>
                  <a:cubicBezTo>
                    <a:pt x="1099" y="542"/>
                    <a:pt x="1040" y="468"/>
                    <a:pt x="1040" y="468"/>
                  </a:cubicBezTo>
                  <a:cubicBezTo>
                    <a:pt x="1040" y="468"/>
                    <a:pt x="915" y="491"/>
                    <a:pt x="857" y="498"/>
                  </a:cubicBezTo>
                  <a:cubicBezTo>
                    <a:pt x="798" y="505"/>
                    <a:pt x="806" y="571"/>
                    <a:pt x="784" y="615"/>
                  </a:cubicBezTo>
                  <a:cubicBezTo>
                    <a:pt x="754" y="659"/>
                    <a:pt x="740" y="666"/>
                    <a:pt x="681" y="696"/>
                  </a:cubicBezTo>
                  <a:cubicBezTo>
                    <a:pt x="622" y="718"/>
                    <a:pt x="542" y="696"/>
                    <a:pt x="461" y="703"/>
                  </a:cubicBezTo>
                  <a:cubicBezTo>
                    <a:pt x="373" y="710"/>
                    <a:pt x="373" y="776"/>
                    <a:pt x="366" y="850"/>
                  </a:cubicBezTo>
                  <a:cubicBezTo>
                    <a:pt x="359" y="915"/>
                    <a:pt x="417" y="1040"/>
                    <a:pt x="425" y="1084"/>
                  </a:cubicBezTo>
                  <a:cubicBezTo>
                    <a:pt x="432" y="1128"/>
                    <a:pt x="527" y="1179"/>
                    <a:pt x="534" y="1209"/>
                  </a:cubicBezTo>
                  <a:cubicBezTo>
                    <a:pt x="534" y="1209"/>
                    <a:pt x="622" y="1289"/>
                    <a:pt x="644" y="1341"/>
                  </a:cubicBezTo>
                  <a:cubicBezTo>
                    <a:pt x="674" y="1392"/>
                    <a:pt x="688" y="1487"/>
                    <a:pt x="747" y="1450"/>
                  </a:cubicBezTo>
                  <a:cubicBezTo>
                    <a:pt x="806" y="1414"/>
                    <a:pt x="857" y="1443"/>
                    <a:pt x="842" y="1465"/>
                  </a:cubicBezTo>
                  <a:cubicBezTo>
                    <a:pt x="828" y="1494"/>
                    <a:pt x="791" y="1560"/>
                    <a:pt x="784" y="1604"/>
                  </a:cubicBezTo>
                  <a:cubicBezTo>
                    <a:pt x="776" y="1648"/>
                    <a:pt x="791" y="1700"/>
                    <a:pt x="813" y="1758"/>
                  </a:cubicBezTo>
                  <a:cubicBezTo>
                    <a:pt x="842" y="1817"/>
                    <a:pt x="915" y="1861"/>
                    <a:pt x="915" y="1861"/>
                  </a:cubicBezTo>
                  <a:cubicBezTo>
                    <a:pt x="915" y="1861"/>
                    <a:pt x="886" y="1861"/>
                    <a:pt x="828" y="1868"/>
                  </a:cubicBezTo>
                  <a:cubicBezTo>
                    <a:pt x="762" y="1875"/>
                    <a:pt x="776" y="1883"/>
                    <a:pt x="762" y="1949"/>
                  </a:cubicBezTo>
                  <a:cubicBezTo>
                    <a:pt x="754" y="2022"/>
                    <a:pt x="828" y="2088"/>
                    <a:pt x="886" y="2124"/>
                  </a:cubicBezTo>
                  <a:cubicBezTo>
                    <a:pt x="945" y="2154"/>
                    <a:pt x="974" y="2198"/>
                    <a:pt x="1040" y="2234"/>
                  </a:cubicBezTo>
                  <a:cubicBezTo>
                    <a:pt x="1099" y="2264"/>
                    <a:pt x="1040" y="2352"/>
                    <a:pt x="960" y="2366"/>
                  </a:cubicBezTo>
                  <a:cubicBezTo>
                    <a:pt x="886" y="2388"/>
                    <a:pt x="879" y="2403"/>
                    <a:pt x="923" y="2425"/>
                  </a:cubicBezTo>
                  <a:cubicBezTo>
                    <a:pt x="974" y="2454"/>
                    <a:pt x="952" y="2527"/>
                    <a:pt x="945" y="2572"/>
                  </a:cubicBezTo>
                  <a:cubicBezTo>
                    <a:pt x="938" y="2615"/>
                    <a:pt x="967" y="2645"/>
                    <a:pt x="1018" y="2689"/>
                  </a:cubicBezTo>
                  <a:cubicBezTo>
                    <a:pt x="1070" y="2733"/>
                    <a:pt x="1091" y="2747"/>
                    <a:pt x="1077" y="2777"/>
                  </a:cubicBezTo>
                  <a:cubicBezTo>
                    <a:pt x="1070" y="2799"/>
                    <a:pt x="996" y="2799"/>
                    <a:pt x="967" y="2828"/>
                  </a:cubicBezTo>
                  <a:cubicBezTo>
                    <a:pt x="945" y="2850"/>
                    <a:pt x="923" y="2909"/>
                    <a:pt x="1003" y="2931"/>
                  </a:cubicBezTo>
                  <a:cubicBezTo>
                    <a:pt x="1077" y="2945"/>
                    <a:pt x="1040" y="3011"/>
                    <a:pt x="1003" y="3062"/>
                  </a:cubicBezTo>
                  <a:cubicBezTo>
                    <a:pt x="967" y="3114"/>
                    <a:pt x="952" y="3136"/>
                    <a:pt x="886" y="3143"/>
                  </a:cubicBezTo>
                  <a:cubicBezTo>
                    <a:pt x="813" y="3150"/>
                    <a:pt x="798" y="3187"/>
                    <a:pt x="842" y="3224"/>
                  </a:cubicBezTo>
                  <a:cubicBezTo>
                    <a:pt x="886" y="3268"/>
                    <a:pt x="886" y="3297"/>
                    <a:pt x="813" y="3326"/>
                  </a:cubicBezTo>
                  <a:cubicBezTo>
                    <a:pt x="747" y="3363"/>
                    <a:pt x="703" y="3334"/>
                    <a:pt x="637" y="3355"/>
                  </a:cubicBezTo>
                  <a:cubicBezTo>
                    <a:pt x="571" y="3370"/>
                    <a:pt x="425" y="3363"/>
                    <a:pt x="351" y="3370"/>
                  </a:cubicBezTo>
                  <a:cubicBezTo>
                    <a:pt x="271" y="3377"/>
                    <a:pt x="249" y="3400"/>
                    <a:pt x="205" y="3458"/>
                  </a:cubicBezTo>
                  <a:cubicBezTo>
                    <a:pt x="161" y="3517"/>
                    <a:pt x="161" y="3495"/>
                    <a:pt x="95" y="3495"/>
                  </a:cubicBezTo>
                  <a:cubicBezTo>
                    <a:pt x="22" y="3495"/>
                    <a:pt x="36" y="3465"/>
                    <a:pt x="14" y="3524"/>
                  </a:cubicBezTo>
                  <a:cubicBezTo>
                    <a:pt x="0" y="3583"/>
                    <a:pt x="88" y="3612"/>
                    <a:pt x="146" y="3634"/>
                  </a:cubicBezTo>
                  <a:cubicBezTo>
                    <a:pt x="205" y="3663"/>
                    <a:pt x="197" y="3678"/>
                    <a:pt x="161" y="3722"/>
                  </a:cubicBezTo>
                  <a:cubicBezTo>
                    <a:pt x="124" y="3759"/>
                    <a:pt x="161" y="3773"/>
                    <a:pt x="212" y="3810"/>
                  </a:cubicBezTo>
                  <a:cubicBezTo>
                    <a:pt x="263" y="3854"/>
                    <a:pt x="220" y="3912"/>
                    <a:pt x="168" y="3964"/>
                  </a:cubicBezTo>
                  <a:cubicBezTo>
                    <a:pt x="117" y="4015"/>
                    <a:pt x="110" y="4015"/>
                    <a:pt x="88" y="4088"/>
                  </a:cubicBezTo>
                  <a:cubicBezTo>
                    <a:pt x="58" y="4154"/>
                    <a:pt x="102" y="4250"/>
                    <a:pt x="117" y="4301"/>
                  </a:cubicBezTo>
                  <a:cubicBezTo>
                    <a:pt x="139" y="4345"/>
                    <a:pt x="190" y="4396"/>
                    <a:pt x="241" y="4440"/>
                  </a:cubicBezTo>
                  <a:cubicBezTo>
                    <a:pt x="285" y="4484"/>
                    <a:pt x="278" y="4565"/>
                    <a:pt x="285" y="4638"/>
                  </a:cubicBezTo>
                  <a:cubicBezTo>
                    <a:pt x="315" y="4711"/>
                    <a:pt x="315" y="4711"/>
                    <a:pt x="315" y="4711"/>
                  </a:cubicBezTo>
                  <a:cubicBezTo>
                    <a:pt x="322" y="4704"/>
                    <a:pt x="329" y="4696"/>
                    <a:pt x="351" y="4696"/>
                  </a:cubicBezTo>
                  <a:cubicBezTo>
                    <a:pt x="403" y="4704"/>
                    <a:pt x="491" y="4674"/>
                    <a:pt x="527" y="4689"/>
                  </a:cubicBezTo>
                  <a:cubicBezTo>
                    <a:pt x="564" y="4696"/>
                    <a:pt x="615" y="4696"/>
                    <a:pt x="637" y="4726"/>
                  </a:cubicBezTo>
                  <a:cubicBezTo>
                    <a:pt x="666" y="4748"/>
                    <a:pt x="688" y="4792"/>
                    <a:pt x="725" y="4784"/>
                  </a:cubicBezTo>
                  <a:cubicBezTo>
                    <a:pt x="762" y="4777"/>
                    <a:pt x="762" y="4792"/>
                    <a:pt x="791" y="4792"/>
                  </a:cubicBezTo>
                  <a:cubicBezTo>
                    <a:pt x="820" y="4792"/>
                    <a:pt x="857" y="4872"/>
                    <a:pt x="791" y="4872"/>
                  </a:cubicBezTo>
                  <a:cubicBezTo>
                    <a:pt x="732" y="4880"/>
                    <a:pt x="740" y="4902"/>
                    <a:pt x="762" y="4938"/>
                  </a:cubicBezTo>
                  <a:cubicBezTo>
                    <a:pt x="784" y="4975"/>
                    <a:pt x="842" y="5012"/>
                    <a:pt x="842" y="5034"/>
                  </a:cubicBezTo>
                  <a:cubicBezTo>
                    <a:pt x="850" y="5055"/>
                    <a:pt x="820" y="5100"/>
                    <a:pt x="842" y="5122"/>
                  </a:cubicBezTo>
                  <a:cubicBezTo>
                    <a:pt x="864" y="5143"/>
                    <a:pt x="901" y="5195"/>
                    <a:pt x="901" y="5224"/>
                  </a:cubicBezTo>
                  <a:cubicBezTo>
                    <a:pt x="901" y="5253"/>
                    <a:pt x="901" y="5297"/>
                    <a:pt x="901" y="5334"/>
                  </a:cubicBezTo>
                  <a:cubicBezTo>
                    <a:pt x="901" y="5378"/>
                    <a:pt x="915" y="5407"/>
                    <a:pt x="945" y="5422"/>
                  </a:cubicBezTo>
                  <a:cubicBezTo>
                    <a:pt x="974" y="5429"/>
                    <a:pt x="1003" y="5429"/>
                    <a:pt x="1047" y="5415"/>
                  </a:cubicBezTo>
                  <a:cubicBezTo>
                    <a:pt x="1091" y="5400"/>
                    <a:pt x="1099" y="5378"/>
                    <a:pt x="1135" y="5400"/>
                  </a:cubicBezTo>
                  <a:cubicBezTo>
                    <a:pt x="1165" y="5415"/>
                    <a:pt x="1231" y="5451"/>
                    <a:pt x="1260" y="5466"/>
                  </a:cubicBezTo>
                  <a:cubicBezTo>
                    <a:pt x="1289" y="5473"/>
                    <a:pt x="1311" y="5481"/>
                    <a:pt x="1341" y="5466"/>
                  </a:cubicBezTo>
                  <a:cubicBezTo>
                    <a:pt x="1363" y="5451"/>
                    <a:pt x="1363" y="5481"/>
                    <a:pt x="1392" y="5473"/>
                  </a:cubicBezTo>
                  <a:cubicBezTo>
                    <a:pt x="1421" y="5473"/>
                    <a:pt x="1421" y="5444"/>
                    <a:pt x="1465" y="5451"/>
                  </a:cubicBezTo>
                  <a:cubicBezTo>
                    <a:pt x="1502" y="5451"/>
                    <a:pt x="1509" y="5488"/>
                    <a:pt x="1553" y="5473"/>
                  </a:cubicBezTo>
                  <a:cubicBezTo>
                    <a:pt x="1597" y="5466"/>
                    <a:pt x="1597" y="5451"/>
                    <a:pt x="1626" y="5451"/>
                  </a:cubicBezTo>
                  <a:cubicBezTo>
                    <a:pt x="1656" y="5451"/>
                    <a:pt x="1634" y="5488"/>
                    <a:pt x="1670" y="5495"/>
                  </a:cubicBezTo>
                  <a:cubicBezTo>
                    <a:pt x="1714" y="5502"/>
                    <a:pt x="1729" y="5502"/>
                    <a:pt x="1773" y="5510"/>
                  </a:cubicBezTo>
                  <a:cubicBezTo>
                    <a:pt x="1817" y="5517"/>
                    <a:pt x="1824" y="5554"/>
                    <a:pt x="1810" y="5583"/>
                  </a:cubicBezTo>
                  <a:cubicBezTo>
                    <a:pt x="1787" y="5612"/>
                    <a:pt x="1795" y="5627"/>
                    <a:pt x="1839" y="5649"/>
                  </a:cubicBezTo>
                  <a:cubicBezTo>
                    <a:pt x="1875" y="5664"/>
                    <a:pt x="1883" y="5671"/>
                    <a:pt x="1897" y="5700"/>
                  </a:cubicBezTo>
                  <a:cubicBezTo>
                    <a:pt x="1912" y="5737"/>
                    <a:pt x="1927" y="5752"/>
                    <a:pt x="1963" y="5774"/>
                  </a:cubicBezTo>
                  <a:cubicBezTo>
                    <a:pt x="1993" y="5795"/>
                    <a:pt x="2007" y="5795"/>
                    <a:pt x="1963" y="5847"/>
                  </a:cubicBezTo>
                  <a:cubicBezTo>
                    <a:pt x="1912" y="5898"/>
                    <a:pt x="1905" y="5979"/>
                    <a:pt x="1875" y="5979"/>
                  </a:cubicBezTo>
                  <a:cubicBezTo>
                    <a:pt x="1846" y="5979"/>
                    <a:pt x="1832" y="5964"/>
                    <a:pt x="1795" y="5986"/>
                  </a:cubicBezTo>
                  <a:cubicBezTo>
                    <a:pt x="1765" y="6008"/>
                    <a:pt x="1751" y="6023"/>
                    <a:pt x="1787" y="6052"/>
                  </a:cubicBezTo>
                  <a:cubicBezTo>
                    <a:pt x="1817" y="6074"/>
                    <a:pt x="1861" y="6089"/>
                    <a:pt x="1897" y="6096"/>
                  </a:cubicBezTo>
                  <a:cubicBezTo>
                    <a:pt x="1934" y="6103"/>
                    <a:pt x="1978" y="6125"/>
                    <a:pt x="1993" y="6155"/>
                  </a:cubicBezTo>
                  <a:cubicBezTo>
                    <a:pt x="2000" y="6191"/>
                    <a:pt x="2037" y="6235"/>
                    <a:pt x="2007" y="6257"/>
                  </a:cubicBezTo>
                  <a:cubicBezTo>
                    <a:pt x="1978" y="6279"/>
                    <a:pt x="1941" y="6286"/>
                    <a:pt x="1949" y="6322"/>
                  </a:cubicBezTo>
                  <a:cubicBezTo>
                    <a:pt x="1956" y="6352"/>
                    <a:pt x="1971" y="6373"/>
                    <a:pt x="1993" y="6388"/>
                  </a:cubicBezTo>
                  <a:cubicBezTo>
                    <a:pt x="2015" y="6403"/>
                    <a:pt x="2066" y="6440"/>
                    <a:pt x="2103" y="6425"/>
                  </a:cubicBezTo>
                  <a:cubicBezTo>
                    <a:pt x="2139" y="6418"/>
                    <a:pt x="2205" y="6395"/>
                    <a:pt x="2242" y="6395"/>
                  </a:cubicBezTo>
                  <a:cubicBezTo>
                    <a:pt x="2271" y="6395"/>
                    <a:pt x="2293" y="6432"/>
                    <a:pt x="2322" y="6432"/>
                  </a:cubicBezTo>
                  <a:cubicBezTo>
                    <a:pt x="2359" y="6432"/>
                    <a:pt x="2396" y="6425"/>
                    <a:pt x="2418" y="6425"/>
                  </a:cubicBezTo>
                  <a:cubicBezTo>
                    <a:pt x="2440" y="6418"/>
                    <a:pt x="2454" y="6476"/>
                    <a:pt x="2469" y="6498"/>
                  </a:cubicBezTo>
                  <a:cubicBezTo>
                    <a:pt x="2491" y="6520"/>
                    <a:pt x="2513" y="6549"/>
                    <a:pt x="2550" y="6564"/>
                  </a:cubicBezTo>
                  <a:cubicBezTo>
                    <a:pt x="2586" y="6571"/>
                    <a:pt x="2579" y="6615"/>
                    <a:pt x="2623" y="6608"/>
                  </a:cubicBezTo>
                  <a:cubicBezTo>
                    <a:pt x="2667" y="6601"/>
                    <a:pt x="2755" y="6608"/>
                    <a:pt x="2784" y="6593"/>
                  </a:cubicBezTo>
                  <a:cubicBezTo>
                    <a:pt x="2813" y="6571"/>
                    <a:pt x="2843" y="6549"/>
                    <a:pt x="2872" y="6571"/>
                  </a:cubicBezTo>
                  <a:cubicBezTo>
                    <a:pt x="2901" y="6593"/>
                    <a:pt x="2931" y="6667"/>
                    <a:pt x="2982" y="6667"/>
                  </a:cubicBezTo>
                  <a:cubicBezTo>
                    <a:pt x="3033" y="6667"/>
                    <a:pt x="3055" y="6681"/>
                    <a:pt x="3070" y="6725"/>
                  </a:cubicBezTo>
                  <a:cubicBezTo>
                    <a:pt x="3092" y="6762"/>
                    <a:pt x="3114" y="6821"/>
                    <a:pt x="3158" y="6828"/>
                  </a:cubicBezTo>
                  <a:cubicBezTo>
                    <a:pt x="3202" y="6828"/>
                    <a:pt x="3224" y="6850"/>
                    <a:pt x="3268" y="6828"/>
                  </a:cubicBezTo>
                  <a:cubicBezTo>
                    <a:pt x="3304" y="6799"/>
                    <a:pt x="3341" y="6799"/>
                    <a:pt x="3363" y="6828"/>
                  </a:cubicBezTo>
                  <a:cubicBezTo>
                    <a:pt x="3377" y="6850"/>
                    <a:pt x="3400" y="6886"/>
                    <a:pt x="3422" y="6872"/>
                  </a:cubicBezTo>
                  <a:cubicBezTo>
                    <a:pt x="3444" y="6850"/>
                    <a:pt x="3465" y="6813"/>
                    <a:pt x="3487" y="6813"/>
                  </a:cubicBezTo>
                  <a:cubicBezTo>
                    <a:pt x="3509" y="6813"/>
                    <a:pt x="3524" y="6835"/>
                    <a:pt x="3532" y="6850"/>
                  </a:cubicBezTo>
                  <a:cubicBezTo>
                    <a:pt x="3539" y="6872"/>
                    <a:pt x="3553" y="6923"/>
                    <a:pt x="3590" y="6901"/>
                  </a:cubicBezTo>
                  <a:cubicBezTo>
                    <a:pt x="3634" y="6872"/>
                    <a:pt x="3612" y="6864"/>
                    <a:pt x="3627" y="6828"/>
                  </a:cubicBezTo>
                  <a:cubicBezTo>
                    <a:pt x="3641" y="6784"/>
                    <a:pt x="3641" y="6777"/>
                    <a:pt x="3678" y="6747"/>
                  </a:cubicBezTo>
                  <a:cubicBezTo>
                    <a:pt x="3715" y="6725"/>
                    <a:pt x="3737" y="6689"/>
                    <a:pt x="3729" y="6652"/>
                  </a:cubicBezTo>
                  <a:cubicBezTo>
                    <a:pt x="3722" y="6623"/>
                    <a:pt x="3671" y="6623"/>
                    <a:pt x="3663" y="6593"/>
                  </a:cubicBezTo>
                  <a:cubicBezTo>
                    <a:pt x="3649" y="6557"/>
                    <a:pt x="3634" y="6527"/>
                    <a:pt x="3663" y="6491"/>
                  </a:cubicBezTo>
                  <a:cubicBezTo>
                    <a:pt x="3678" y="6469"/>
                    <a:pt x="3700" y="6432"/>
                    <a:pt x="3715" y="6403"/>
                  </a:cubicBezTo>
                  <a:cubicBezTo>
                    <a:pt x="3656" y="6410"/>
                    <a:pt x="3546" y="6388"/>
                    <a:pt x="3568" y="6352"/>
                  </a:cubicBezTo>
                  <a:cubicBezTo>
                    <a:pt x="3597" y="6322"/>
                    <a:pt x="3568" y="6279"/>
                    <a:pt x="3539" y="6279"/>
                  </a:cubicBezTo>
                  <a:cubicBezTo>
                    <a:pt x="3502" y="6279"/>
                    <a:pt x="3561" y="6184"/>
                    <a:pt x="3517" y="6133"/>
                  </a:cubicBezTo>
                  <a:cubicBezTo>
                    <a:pt x="3480" y="6081"/>
                    <a:pt x="3487" y="6052"/>
                    <a:pt x="3509" y="6023"/>
                  </a:cubicBezTo>
                  <a:cubicBezTo>
                    <a:pt x="3539" y="6001"/>
                    <a:pt x="3517" y="5964"/>
                    <a:pt x="3502" y="5928"/>
                  </a:cubicBezTo>
                  <a:cubicBezTo>
                    <a:pt x="3487" y="5898"/>
                    <a:pt x="3444" y="5928"/>
                    <a:pt x="3429" y="5847"/>
                  </a:cubicBezTo>
                  <a:cubicBezTo>
                    <a:pt x="3407" y="5759"/>
                    <a:pt x="3356" y="5708"/>
                    <a:pt x="3407" y="5686"/>
                  </a:cubicBezTo>
                  <a:cubicBezTo>
                    <a:pt x="3458" y="5656"/>
                    <a:pt x="3502" y="5649"/>
                    <a:pt x="3480" y="5576"/>
                  </a:cubicBezTo>
                  <a:cubicBezTo>
                    <a:pt x="3451" y="5495"/>
                    <a:pt x="3400" y="5429"/>
                    <a:pt x="3436" y="5393"/>
                  </a:cubicBezTo>
                  <a:cubicBezTo>
                    <a:pt x="3465" y="5363"/>
                    <a:pt x="3451" y="5312"/>
                    <a:pt x="3407" y="5312"/>
                  </a:cubicBezTo>
                  <a:cubicBezTo>
                    <a:pt x="3363" y="5312"/>
                    <a:pt x="3363" y="5283"/>
                    <a:pt x="3392" y="5224"/>
                  </a:cubicBezTo>
                  <a:cubicBezTo>
                    <a:pt x="3414" y="5165"/>
                    <a:pt x="3436" y="5165"/>
                    <a:pt x="3451" y="5136"/>
                  </a:cubicBezTo>
                  <a:cubicBezTo>
                    <a:pt x="3465" y="5114"/>
                    <a:pt x="3480" y="5048"/>
                    <a:pt x="3465" y="5012"/>
                  </a:cubicBezTo>
                  <a:cubicBezTo>
                    <a:pt x="3458" y="4975"/>
                    <a:pt x="3517" y="4953"/>
                    <a:pt x="3532" y="4924"/>
                  </a:cubicBezTo>
                  <a:cubicBezTo>
                    <a:pt x="3539" y="4902"/>
                    <a:pt x="3539" y="4858"/>
                    <a:pt x="3561" y="4843"/>
                  </a:cubicBezTo>
                  <a:cubicBezTo>
                    <a:pt x="3590" y="4828"/>
                    <a:pt x="3568" y="4887"/>
                    <a:pt x="3612" y="4872"/>
                  </a:cubicBezTo>
                  <a:cubicBezTo>
                    <a:pt x="3656" y="4865"/>
                    <a:pt x="3656" y="4850"/>
                    <a:pt x="3678" y="4828"/>
                  </a:cubicBezTo>
                  <a:cubicBezTo>
                    <a:pt x="3707" y="4799"/>
                    <a:pt x="3722" y="4755"/>
                    <a:pt x="3781" y="4755"/>
                  </a:cubicBezTo>
                  <a:cubicBezTo>
                    <a:pt x="3839" y="4755"/>
                    <a:pt x="3927" y="4741"/>
                    <a:pt x="3927" y="4741"/>
                  </a:cubicBezTo>
                  <a:cubicBezTo>
                    <a:pt x="3927" y="4741"/>
                    <a:pt x="3942" y="4704"/>
                    <a:pt x="3993" y="4704"/>
                  </a:cubicBezTo>
                  <a:cubicBezTo>
                    <a:pt x="4044" y="4704"/>
                    <a:pt x="4044" y="4741"/>
                    <a:pt x="4074" y="4741"/>
                  </a:cubicBezTo>
                  <a:cubicBezTo>
                    <a:pt x="4096" y="4741"/>
                    <a:pt x="4118" y="4726"/>
                    <a:pt x="4147" y="4696"/>
                  </a:cubicBezTo>
                  <a:cubicBezTo>
                    <a:pt x="4184" y="4674"/>
                    <a:pt x="4191" y="4674"/>
                    <a:pt x="4227" y="4660"/>
                  </a:cubicBezTo>
                  <a:cubicBezTo>
                    <a:pt x="4257" y="4653"/>
                    <a:pt x="4286" y="4653"/>
                    <a:pt x="4315" y="4653"/>
                  </a:cubicBezTo>
                  <a:cubicBezTo>
                    <a:pt x="4352" y="4653"/>
                    <a:pt x="4367" y="4653"/>
                    <a:pt x="4403" y="4601"/>
                  </a:cubicBezTo>
                  <a:cubicBezTo>
                    <a:pt x="4440" y="4550"/>
                    <a:pt x="4455" y="4499"/>
                    <a:pt x="4499" y="4491"/>
                  </a:cubicBezTo>
                  <a:cubicBezTo>
                    <a:pt x="4543" y="4484"/>
                    <a:pt x="4543" y="4528"/>
                    <a:pt x="4594" y="4521"/>
                  </a:cubicBezTo>
                  <a:cubicBezTo>
                    <a:pt x="4645" y="4513"/>
                    <a:pt x="4660" y="4499"/>
                    <a:pt x="4689" y="4462"/>
                  </a:cubicBezTo>
                  <a:cubicBezTo>
                    <a:pt x="4726" y="4418"/>
                    <a:pt x="4770" y="4396"/>
                    <a:pt x="4814" y="4418"/>
                  </a:cubicBezTo>
                  <a:cubicBezTo>
                    <a:pt x="4858" y="4433"/>
                    <a:pt x="4828" y="4499"/>
                    <a:pt x="4872" y="4499"/>
                  </a:cubicBezTo>
                  <a:cubicBezTo>
                    <a:pt x="4916" y="4499"/>
                    <a:pt x="4953" y="4535"/>
                    <a:pt x="4997" y="4491"/>
                  </a:cubicBezTo>
                  <a:cubicBezTo>
                    <a:pt x="5041" y="4447"/>
                    <a:pt x="5070" y="4411"/>
                    <a:pt x="5092" y="4418"/>
                  </a:cubicBezTo>
                  <a:cubicBezTo>
                    <a:pt x="5122" y="4425"/>
                    <a:pt x="5107" y="4499"/>
                    <a:pt x="5143" y="4499"/>
                  </a:cubicBezTo>
                  <a:cubicBezTo>
                    <a:pt x="5173" y="4499"/>
                    <a:pt x="5180" y="4491"/>
                    <a:pt x="5202" y="4513"/>
                  </a:cubicBezTo>
                  <a:cubicBezTo>
                    <a:pt x="5224" y="4491"/>
                    <a:pt x="5246" y="4469"/>
                    <a:pt x="5283" y="4447"/>
                  </a:cubicBezTo>
                  <a:cubicBezTo>
                    <a:pt x="5349" y="4411"/>
                    <a:pt x="5393" y="4396"/>
                    <a:pt x="5422" y="4345"/>
                  </a:cubicBezTo>
                  <a:cubicBezTo>
                    <a:pt x="5458" y="4301"/>
                    <a:pt x="5481" y="4227"/>
                    <a:pt x="5444" y="4205"/>
                  </a:cubicBezTo>
                  <a:cubicBezTo>
                    <a:pt x="5400" y="4176"/>
                    <a:pt x="5371" y="4125"/>
                    <a:pt x="5400" y="4074"/>
                  </a:cubicBezTo>
                  <a:cubicBezTo>
                    <a:pt x="5422" y="4022"/>
                    <a:pt x="5429" y="3971"/>
                    <a:pt x="5400" y="3949"/>
                  </a:cubicBezTo>
                  <a:cubicBezTo>
                    <a:pt x="5363" y="3920"/>
                    <a:pt x="5319" y="3898"/>
                    <a:pt x="5334" y="3854"/>
                  </a:cubicBezTo>
                  <a:cubicBezTo>
                    <a:pt x="5341" y="3810"/>
                    <a:pt x="5356" y="3700"/>
                    <a:pt x="5246" y="3736"/>
                  </a:cubicBezTo>
                  <a:cubicBezTo>
                    <a:pt x="5136" y="3773"/>
                    <a:pt x="5056" y="3722"/>
                    <a:pt x="5092" y="3685"/>
                  </a:cubicBezTo>
                  <a:cubicBezTo>
                    <a:pt x="5129" y="3649"/>
                    <a:pt x="5085" y="3641"/>
                    <a:pt x="5034" y="3641"/>
                  </a:cubicBezTo>
                  <a:cubicBezTo>
                    <a:pt x="4982" y="3641"/>
                    <a:pt x="4968" y="3634"/>
                    <a:pt x="4953" y="3590"/>
                  </a:cubicBezTo>
                  <a:cubicBezTo>
                    <a:pt x="4946" y="3546"/>
                    <a:pt x="4931" y="3510"/>
                    <a:pt x="4887" y="3539"/>
                  </a:cubicBezTo>
                  <a:cubicBezTo>
                    <a:pt x="4843" y="3575"/>
                    <a:pt x="4770" y="3612"/>
                    <a:pt x="4741" y="3531"/>
                  </a:cubicBezTo>
                  <a:cubicBezTo>
                    <a:pt x="4718" y="3458"/>
                    <a:pt x="4689" y="3465"/>
                    <a:pt x="4653" y="3473"/>
                  </a:cubicBezTo>
                  <a:cubicBezTo>
                    <a:pt x="4608" y="3480"/>
                    <a:pt x="4557" y="3451"/>
                    <a:pt x="4528" y="3414"/>
                  </a:cubicBezTo>
                  <a:cubicBezTo>
                    <a:pt x="4506" y="3377"/>
                    <a:pt x="4469" y="3422"/>
                    <a:pt x="4447" y="3385"/>
                  </a:cubicBezTo>
                  <a:cubicBezTo>
                    <a:pt x="4418" y="3355"/>
                    <a:pt x="4455" y="3312"/>
                    <a:pt x="4403" y="3326"/>
                  </a:cubicBezTo>
                  <a:cubicBezTo>
                    <a:pt x="4352" y="3348"/>
                    <a:pt x="4308" y="3385"/>
                    <a:pt x="4242" y="3422"/>
                  </a:cubicBezTo>
                  <a:cubicBezTo>
                    <a:pt x="4176" y="3458"/>
                    <a:pt x="4132" y="3487"/>
                    <a:pt x="4088" y="3429"/>
                  </a:cubicBezTo>
                  <a:cubicBezTo>
                    <a:pt x="4044" y="3370"/>
                    <a:pt x="4000" y="3334"/>
                    <a:pt x="3986" y="3304"/>
                  </a:cubicBezTo>
                  <a:cubicBezTo>
                    <a:pt x="3971" y="3268"/>
                    <a:pt x="3920" y="3282"/>
                    <a:pt x="3920" y="3282"/>
                  </a:cubicBezTo>
                  <a:cubicBezTo>
                    <a:pt x="3920" y="3282"/>
                    <a:pt x="3913" y="3363"/>
                    <a:pt x="3876" y="3348"/>
                  </a:cubicBezTo>
                  <a:cubicBezTo>
                    <a:pt x="3839" y="3326"/>
                    <a:pt x="3700" y="3238"/>
                    <a:pt x="3700" y="3238"/>
                  </a:cubicBezTo>
                  <a:cubicBezTo>
                    <a:pt x="3700" y="3238"/>
                    <a:pt x="3663" y="3224"/>
                    <a:pt x="3641" y="3158"/>
                  </a:cubicBezTo>
                  <a:cubicBezTo>
                    <a:pt x="3612" y="3092"/>
                    <a:pt x="3553" y="3084"/>
                    <a:pt x="3532" y="3048"/>
                  </a:cubicBezTo>
                  <a:cubicBezTo>
                    <a:pt x="3502" y="3011"/>
                    <a:pt x="3444" y="2960"/>
                    <a:pt x="3429" y="2901"/>
                  </a:cubicBezTo>
                  <a:cubicBezTo>
                    <a:pt x="3407" y="2843"/>
                    <a:pt x="3407" y="2799"/>
                    <a:pt x="3451" y="2747"/>
                  </a:cubicBezTo>
                  <a:cubicBezTo>
                    <a:pt x="3495" y="2696"/>
                    <a:pt x="3502" y="2725"/>
                    <a:pt x="3539" y="2696"/>
                  </a:cubicBezTo>
                  <a:cubicBezTo>
                    <a:pt x="3568" y="2674"/>
                    <a:pt x="3509" y="2645"/>
                    <a:pt x="3480" y="2615"/>
                  </a:cubicBezTo>
                  <a:cubicBezTo>
                    <a:pt x="3444" y="2579"/>
                    <a:pt x="3451" y="2550"/>
                    <a:pt x="3465" y="2462"/>
                  </a:cubicBezTo>
                  <a:cubicBezTo>
                    <a:pt x="3487" y="2374"/>
                    <a:pt x="3546" y="2352"/>
                    <a:pt x="3553" y="2308"/>
                  </a:cubicBezTo>
                  <a:cubicBezTo>
                    <a:pt x="3561" y="2264"/>
                    <a:pt x="3539" y="2234"/>
                    <a:pt x="3532" y="2183"/>
                  </a:cubicBezTo>
                  <a:cubicBezTo>
                    <a:pt x="3517" y="2132"/>
                    <a:pt x="3509" y="1985"/>
                    <a:pt x="3546" y="1941"/>
                  </a:cubicBezTo>
                  <a:cubicBezTo>
                    <a:pt x="3575" y="1897"/>
                    <a:pt x="3619" y="1846"/>
                    <a:pt x="3590" y="1817"/>
                  </a:cubicBezTo>
                  <a:cubicBezTo>
                    <a:pt x="3553" y="1780"/>
                    <a:pt x="3517" y="1824"/>
                    <a:pt x="3480" y="1795"/>
                  </a:cubicBezTo>
                  <a:cubicBezTo>
                    <a:pt x="3436" y="1773"/>
                    <a:pt x="3451" y="1685"/>
                    <a:pt x="3429" y="1677"/>
                  </a:cubicBezTo>
                  <a:cubicBezTo>
                    <a:pt x="3400" y="1670"/>
                    <a:pt x="3400" y="1670"/>
                    <a:pt x="3363" y="1707"/>
                  </a:cubicBezTo>
                  <a:cubicBezTo>
                    <a:pt x="3334" y="1736"/>
                    <a:pt x="3275" y="1787"/>
                    <a:pt x="3268" y="1736"/>
                  </a:cubicBezTo>
                  <a:cubicBezTo>
                    <a:pt x="3253" y="1685"/>
                    <a:pt x="3275" y="1685"/>
                    <a:pt x="3290" y="1663"/>
                  </a:cubicBezTo>
                  <a:cubicBezTo>
                    <a:pt x="3304" y="1634"/>
                    <a:pt x="3224" y="1626"/>
                    <a:pt x="3224" y="1626"/>
                  </a:cubicBezTo>
                  <a:cubicBezTo>
                    <a:pt x="3224" y="1626"/>
                    <a:pt x="3231" y="1597"/>
                    <a:pt x="3246" y="1546"/>
                  </a:cubicBezTo>
                  <a:cubicBezTo>
                    <a:pt x="3268" y="1494"/>
                    <a:pt x="3246" y="1406"/>
                    <a:pt x="3268" y="1384"/>
                  </a:cubicBezTo>
                  <a:cubicBezTo>
                    <a:pt x="3282" y="1355"/>
                    <a:pt x="3334" y="1348"/>
                    <a:pt x="3348" y="1318"/>
                  </a:cubicBezTo>
                  <a:cubicBezTo>
                    <a:pt x="3363" y="1296"/>
                    <a:pt x="3392" y="1231"/>
                    <a:pt x="3348" y="1143"/>
                  </a:cubicBezTo>
                  <a:cubicBezTo>
                    <a:pt x="3304" y="1055"/>
                    <a:pt x="3275" y="1025"/>
                    <a:pt x="3297" y="981"/>
                  </a:cubicBezTo>
                  <a:cubicBezTo>
                    <a:pt x="3326" y="937"/>
                    <a:pt x="3297" y="915"/>
                    <a:pt x="3290" y="879"/>
                  </a:cubicBezTo>
                  <a:cubicBezTo>
                    <a:pt x="3282" y="850"/>
                    <a:pt x="3312" y="813"/>
                    <a:pt x="3356" y="784"/>
                  </a:cubicBezTo>
                  <a:cubicBezTo>
                    <a:pt x="3400" y="762"/>
                    <a:pt x="3385" y="710"/>
                    <a:pt x="3363" y="666"/>
                  </a:cubicBezTo>
                  <a:cubicBezTo>
                    <a:pt x="3348" y="622"/>
                    <a:pt x="3275" y="534"/>
                    <a:pt x="3238" y="520"/>
                  </a:cubicBezTo>
                  <a:cubicBezTo>
                    <a:pt x="3202" y="512"/>
                    <a:pt x="3202" y="564"/>
                    <a:pt x="3165" y="586"/>
                  </a:cubicBezTo>
                  <a:cubicBezTo>
                    <a:pt x="3121" y="600"/>
                    <a:pt x="3128" y="542"/>
                    <a:pt x="3114" y="505"/>
                  </a:cubicBezTo>
                  <a:cubicBezTo>
                    <a:pt x="3092" y="468"/>
                    <a:pt x="3092" y="520"/>
                    <a:pt x="3041" y="512"/>
                  </a:cubicBezTo>
                  <a:cubicBezTo>
                    <a:pt x="2989" y="505"/>
                    <a:pt x="2916" y="491"/>
                    <a:pt x="2887" y="498"/>
                  </a:cubicBezTo>
                  <a:cubicBezTo>
                    <a:pt x="2865" y="505"/>
                    <a:pt x="2755" y="512"/>
                    <a:pt x="2689" y="483"/>
                  </a:cubicBezTo>
                  <a:cubicBezTo>
                    <a:pt x="2615" y="446"/>
                    <a:pt x="2542" y="432"/>
                    <a:pt x="2527" y="403"/>
                  </a:cubicBezTo>
                  <a:cubicBezTo>
                    <a:pt x="2506" y="381"/>
                    <a:pt x="2527" y="344"/>
                    <a:pt x="2542" y="307"/>
                  </a:cubicBezTo>
                  <a:cubicBezTo>
                    <a:pt x="2557" y="278"/>
                    <a:pt x="2506" y="249"/>
                    <a:pt x="2462" y="278"/>
                  </a:cubicBezTo>
                  <a:cubicBezTo>
                    <a:pt x="2425" y="300"/>
                    <a:pt x="2396" y="205"/>
                    <a:pt x="2396" y="205"/>
                  </a:cubicBezTo>
                  <a:cubicBezTo>
                    <a:pt x="2352" y="153"/>
                    <a:pt x="2337" y="146"/>
                    <a:pt x="2293" y="175"/>
                  </a:cubicBezTo>
                  <a:cubicBezTo>
                    <a:pt x="2249" y="197"/>
                    <a:pt x="2220" y="227"/>
                    <a:pt x="2213" y="175"/>
                  </a:cubicBezTo>
                  <a:cubicBezTo>
                    <a:pt x="2205" y="124"/>
                    <a:pt x="2191" y="124"/>
                    <a:pt x="2154" y="117"/>
                  </a:cubicBezTo>
                  <a:cubicBezTo>
                    <a:pt x="2110" y="109"/>
                    <a:pt x="2110" y="80"/>
                    <a:pt x="2125" y="43"/>
                  </a:cubicBezTo>
                  <a:cubicBezTo>
                    <a:pt x="2139" y="14"/>
                    <a:pt x="2117" y="0"/>
                    <a:pt x="2073" y="0"/>
                  </a:cubicBezTo>
                  <a:cubicBezTo>
                    <a:pt x="2051" y="22"/>
                    <a:pt x="2022" y="51"/>
                    <a:pt x="2022" y="73"/>
                  </a:cubicBezTo>
                  <a:cubicBezTo>
                    <a:pt x="2022" y="109"/>
                    <a:pt x="1978" y="131"/>
                    <a:pt x="1956" y="146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26" name="Freeform 16"/>
            <p:cNvSpPr>
              <a:spLocks noChangeArrowheads="1"/>
            </p:cNvSpPr>
            <p:nvPr/>
          </p:nvSpPr>
          <p:spPr bwMode="auto">
            <a:xfrm>
              <a:off x="4094384" y="4059044"/>
              <a:ext cx="3810138" cy="3310390"/>
            </a:xfrm>
            <a:custGeom>
              <a:avLst/>
              <a:gdLst>
                <a:gd name="T0" fmla="*/ 3153683 w 9914"/>
                <a:gd name="T1" fmla="*/ 905904 h 8714"/>
                <a:gd name="T2" fmla="*/ 2982120 w 9914"/>
                <a:gd name="T3" fmla="*/ 765721 h 8714"/>
                <a:gd name="T4" fmla="*/ 2759055 w 9914"/>
                <a:gd name="T5" fmla="*/ 647027 h 8714"/>
                <a:gd name="T6" fmla="*/ 2575118 w 9914"/>
                <a:gd name="T7" fmla="*/ 578919 h 8714"/>
                <a:gd name="T8" fmla="*/ 2345364 w 9914"/>
                <a:gd name="T9" fmla="*/ 557098 h 8714"/>
                <a:gd name="T10" fmla="*/ 2163768 w 9914"/>
                <a:gd name="T11" fmla="*/ 501554 h 8714"/>
                <a:gd name="T12" fmla="*/ 1980165 w 9914"/>
                <a:gd name="T13" fmla="*/ 361039 h 8714"/>
                <a:gd name="T14" fmla="*/ 1759441 w 9914"/>
                <a:gd name="T15" fmla="*/ 82325 h 8714"/>
                <a:gd name="T16" fmla="*/ 1313645 w 9914"/>
                <a:gd name="T17" fmla="*/ 31409 h 8714"/>
                <a:gd name="T18" fmla="*/ 1262142 w 9914"/>
                <a:gd name="T19" fmla="*/ 438405 h 8714"/>
                <a:gd name="T20" fmla="*/ 1058808 w 9914"/>
                <a:gd name="T21" fmla="*/ 356080 h 8714"/>
                <a:gd name="T22" fmla="*/ 1024362 w 9914"/>
                <a:gd name="T23" fmla="*/ 547510 h 8714"/>
                <a:gd name="T24" fmla="*/ 967843 w 9914"/>
                <a:gd name="T25" fmla="*/ 297890 h 8714"/>
                <a:gd name="T26" fmla="*/ 700967 w 9914"/>
                <a:gd name="T27" fmla="*/ 225154 h 8714"/>
                <a:gd name="T28" fmla="*/ 318713 w 9914"/>
                <a:gd name="T29" fmla="*/ 387489 h 8714"/>
                <a:gd name="T30" fmla="*/ 387271 w 9914"/>
                <a:gd name="T31" fmla="*/ 622561 h 8714"/>
                <a:gd name="T32" fmla="*/ 357841 w 9914"/>
                <a:gd name="T33" fmla="*/ 881769 h 8714"/>
                <a:gd name="T34" fmla="*/ 220724 w 9914"/>
                <a:gd name="T35" fmla="*/ 1388282 h 8714"/>
                <a:gd name="T36" fmla="*/ 27089 w 9914"/>
                <a:gd name="T37" fmla="*/ 1463333 h 8714"/>
                <a:gd name="T38" fmla="*/ 206009 w 9914"/>
                <a:gd name="T39" fmla="*/ 1574753 h 8714"/>
                <a:gd name="T40" fmla="*/ 240121 w 9914"/>
                <a:gd name="T41" fmla="*/ 1821727 h 8714"/>
                <a:gd name="T42" fmla="*/ 580906 w 9914"/>
                <a:gd name="T43" fmla="*/ 1678898 h 8714"/>
                <a:gd name="T44" fmla="*/ 671537 w 9914"/>
                <a:gd name="T45" fmla="*/ 1598888 h 8714"/>
                <a:gd name="T46" fmla="*/ 833402 w 9914"/>
                <a:gd name="T47" fmla="*/ 1688486 h 8714"/>
                <a:gd name="T48" fmla="*/ 823369 w 9914"/>
                <a:gd name="T49" fmla="*/ 1858096 h 8714"/>
                <a:gd name="T50" fmla="*/ 816011 w 9914"/>
                <a:gd name="T51" fmla="*/ 1996296 h 8714"/>
                <a:gd name="T52" fmla="*/ 994932 w 9914"/>
                <a:gd name="T53" fmla="*/ 2015802 h 8714"/>
                <a:gd name="T54" fmla="*/ 1181210 w 9914"/>
                <a:gd name="T55" fmla="*/ 1933147 h 8714"/>
                <a:gd name="T56" fmla="*/ 1183551 w 9914"/>
                <a:gd name="T57" fmla="*/ 1710308 h 8714"/>
                <a:gd name="T58" fmla="*/ 1195925 w 9914"/>
                <a:gd name="T59" fmla="*/ 1591614 h 8714"/>
                <a:gd name="T60" fmla="*/ 1345416 w 9914"/>
                <a:gd name="T61" fmla="*/ 1523837 h 8714"/>
                <a:gd name="T62" fmla="*/ 1539051 w 9914"/>
                <a:gd name="T63" fmla="*/ 1637571 h 8714"/>
                <a:gd name="T64" fmla="*/ 1639380 w 9914"/>
                <a:gd name="T65" fmla="*/ 1627983 h 8714"/>
                <a:gd name="T66" fmla="*/ 1580520 w 9914"/>
                <a:gd name="T67" fmla="*/ 1824372 h 8714"/>
                <a:gd name="T68" fmla="*/ 1609950 w 9914"/>
                <a:gd name="T69" fmla="*/ 1945380 h 8714"/>
                <a:gd name="T70" fmla="*/ 1688542 w 9914"/>
                <a:gd name="T71" fmla="*/ 2110030 h 8714"/>
                <a:gd name="T72" fmla="*/ 1847731 w 9914"/>
                <a:gd name="T73" fmla="*/ 2250544 h 8714"/>
                <a:gd name="T74" fmla="*/ 1838032 w 9914"/>
                <a:gd name="T75" fmla="*/ 2444619 h 8714"/>
                <a:gd name="T76" fmla="*/ 1958093 w 9914"/>
                <a:gd name="T77" fmla="*/ 2505123 h 8714"/>
                <a:gd name="T78" fmla="*/ 1994880 w 9914"/>
                <a:gd name="T79" fmla="*/ 2592076 h 8714"/>
                <a:gd name="T80" fmla="*/ 1980165 w 9914"/>
                <a:gd name="T81" fmla="*/ 2754412 h 8714"/>
                <a:gd name="T82" fmla="*/ 2085511 w 9914"/>
                <a:gd name="T83" fmla="*/ 2836737 h 8714"/>
                <a:gd name="T84" fmla="*/ 2154069 w 9914"/>
                <a:gd name="T85" fmla="*/ 2769290 h 8714"/>
                <a:gd name="T86" fmla="*/ 2296203 w 9914"/>
                <a:gd name="T87" fmla="*/ 2715729 h 8714"/>
                <a:gd name="T88" fmla="*/ 2462749 w 9914"/>
                <a:gd name="T89" fmla="*/ 2633404 h 8714"/>
                <a:gd name="T90" fmla="*/ 2599866 w 9914"/>
                <a:gd name="T91" fmla="*/ 2558353 h 8714"/>
                <a:gd name="T92" fmla="*/ 2692838 w 9914"/>
                <a:gd name="T93" fmla="*/ 2517025 h 8714"/>
                <a:gd name="T94" fmla="*/ 2661067 w 9914"/>
                <a:gd name="T95" fmla="*/ 2342787 h 8714"/>
                <a:gd name="T96" fmla="*/ 2670765 w 9914"/>
                <a:gd name="T97" fmla="*/ 2122263 h 8714"/>
                <a:gd name="T98" fmla="*/ 2834971 w 9914"/>
                <a:gd name="T99" fmla="*/ 2030019 h 8714"/>
                <a:gd name="T100" fmla="*/ 2957372 w 9914"/>
                <a:gd name="T101" fmla="*/ 1889835 h 8714"/>
                <a:gd name="T102" fmla="*/ 2930618 w 9914"/>
                <a:gd name="T103" fmla="*/ 1722541 h 8714"/>
                <a:gd name="T104" fmla="*/ 2898847 w 9914"/>
                <a:gd name="T105" fmla="*/ 1538384 h 8714"/>
                <a:gd name="T106" fmla="*/ 2871758 w 9914"/>
                <a:gd name="T107" fmla="*/ 1400184 h 8714"/>
                <a:gd name="T108" fmla="*/ 2776111 w 9914"/>
                <a:gd name="T109" fmla="*/ 1153209 h 8714"/>
                <a:gd name="T110" fmla="*/ 2996835 w 9914"/>
                <a:gd name="T111" fmla="*/ 1092706 h 8714"/>
                <a:gd name="T112" fmla="*/ 3192812 w 9914"/>
                <a:gd name="T113" fmla="*/ 1063611 h 8714"/>
                <a:gd name="T114" fmla="*/ 3298158 w 9914"/>
                <a:gd name="T115" fmla="*/ 944918 h 871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9914" h="8714">
                  <a:moveTo>
                    <a:pt x="9906" y="2777"/>
                  </a:moveTo>
                  <a:lnTo>
                    <a:pt x="9906" y="2777"/>
                  </a:lnTo>
                  <a:cubicBezTo>
                    <a:pt x="9855" y="2777"/>
                    <a:pt x="9833" y="2799"/>
                    <a:pt x="9767" y="2792"/>
                  </a:cubicBezTo>
                  <a:cubicBezTo>
                    <a:pt x="9708" y="2777"/>
                    <a:pt x="9664" y="2733"/>
                    <a:pt x="9598" y="2704"/>
                  </a:cubicBezTo>
                  <a:cubicBezTo>
                    <a:pt x="9532" y="2682"/>
                    <a:pt x="9474" y="2719"/>
                    <a:pt x="9430" y="2740"/>
                  </a:cubicBezTo>
                  <a:cubicBezTo>
                    <a:pt x="9386" y="2755"/>
                    <a:pt x="9342" y="2755"/>
                    <a:pt x="9305" y="2704"/>
                  </a:cubicBezTo>
                  <a:cubicBezTo>
                    <a:pt x="9261" y="2653"/>
                    <a:pt x="9195" y="2565"/>
                    <a:pt x="9239" y="2557"/>
                  </a:cubicBezTo>
                  <a:cubicBezTo>
                    <a:pt x="9195" y="2521"/>
                    <a:pt x="9115" y="2491"/>
                    <a:pt x="9056" y="2506"/>
                  </a:cubicBezTo>
                  <a:cubicBezTo>
                    <a:pt x="8975" y="2528"/>
                    <a:pt x="8975" y="2447"/>
                    <a:pt x="9027" y="2418"/>
                  </a:cubicBezTo>
                  <a:cubicBezTo>
                    <a:pt x="9078" y="2381"/>
                    <a:pt x="8968" y="2330"/>
                    <a:pt x="8917" y="2316"/>
                  </a:cubicBezTo>
                  <a:cubicBezTo>
                    <a:pt x="8865" y="2294"/>
                    <a:pt x="8778" y="2176"/>
                    <a:pt x="8755" y="2132"/>
                  </a:cubicBezTo>
                  <a:cubicBezTo>
                    <a:pt x="8741" y="2088"/>
                    <a:pt x="8682" y="2015"/>
                    <a:pt x="8638" y="1942"/>
                  </a:cubicBezTo>
                  <a:cubicBezTo>
                    <a:pt x="8594" y="1861"/>
                    <a:pt x="8572" y="1847"/>
                    <a:pt x="8506" y="1839"/>
                  </a:cubicBezTo>
                  <a:cubicBezTo>
                    <a:pt x="8433" y="1832"/>
                    <a:pt x="8426" y="1869"/>
                    <a:pt x="8382" y="1920"/>
                  </a:cubicBezTo>
                  <a:cubicBezTo>
                    <a:pt x="8338" y="1971"/>
                    <a:pt x="8294" y="1971"/>
                    <a:pt x="8250" y="1957"/>
                  </a:cubicBezTo>
                  <a:cubicBezTo>
                    <a:pt x="8206" y="1942"/>
                    <a:pt x="8140" y="1854"/>
                    <a:pt x="8111" y="1810"/>
                  </a:cubicBezTo>
                  <a:cubicBezTo>
                    <a:pt x="8089" y="1766"/>
                    <a:pt x="8060" y="1759"/>
                    <a:pt x="8015" y="1781"/>
                  </a:cubicBezTo>
                  <a:cubicBezTo>
                    <a:pt x="7986" y="1788"/>
                    <a:pt x="7935" y="1766"/>
                    <a:pt x="7905" y="1744"/>
                  </a:cubicBezTo>
                  <a:cubicBezTo>
                    <a:pt x="7891" y="1751"/>
                    <a:pt x="7869" y="1759"/>
                    <a:pt x="7854" y="1766"/>
                  </a:cubicBezTo>
                  <a:cubicBezTo>
                    <a:pt x="7818" y="1795"/>
                    <a:pt x="7752" y="1759"/>
                    <a:pt x="7700" y="1751"/>
                  </a:cubicBezTo>
                  <a:cubicBezTo>
                    <a:pt x="7650" y="1744"/>
                    <a:pt x="7570" y="1693"/>
                    <a:pt x="7533" y="1678"/>
                  </a:cubicBezTo>
                  <a:cubicBezTo>
                    <a:pt x="7504" y="1656"/>
                    <a:pt x="7408" y="1597"/>
                    <a:pt x="7364" y="1576"/>
                  </a:cubicBezTo>
                  <a:cubicBezTo>
                    <a:pt x="7320" y="1546"/>
                    <a:pt x="7291" y="1583"/>
                    <a:pt x="7240" y="1590"/>
                  </a:cubicBezTo>
                  <a:cubicBezTo>
                    <a:pt x="7189" y="1597"/>
                    <a:pt x="7181" y="1619"/>
                    <a:pt x="7144" y="1649"/>
                  </a:cubicBezTo>
                  <a:cubicBezTo>
                    <a:pt x="7108" y="1685"/>
                    <a:pt x="7079" y="1678"/>
                    <a:pt x="7013" y="1685"/>
                  </a:cubicBezTo>
                  <a:cubicBezTo>
                    <a:pt x="6954" y="1693"/>
                    <a:pt x="6881" y="1597"/>
                    <a:pt x="6837" y="1546"/>
                  </a:cubicBezTo>
                  <a:cubicBezTo>
                    <a:pt x="6793" y="1495"/>
                    <a:pt x="6778" y="1517"/>
                    <a:pt x="6727" y="1539"/>
                  </a:cubicBezTo>
                  <a:cubicBezTo>
                    <a:pt x="6675" y="1568"/>
                    <a:pt x="6668" y="1597"/>
                    <a:pt x="6624" y="1634"/>
                  </a:cubicBezTo>
                  <a:cubicBezTo>
                    <a:pt x="6580" y="1663"/>
                    <a:pt x="6522" y="1634"/>
                    <a:pt x="6507" y="1597"/>
                  </a:cubicBezTo>
                  <a:cubicBezTo>
                    <a:pt x="6492" y="1568"/>
                    <a:pt x="6507" y="1524"/>
                    <a:pt x="6470" y="1517"/>
                  </a:cubicBezTo>
                  <a:cubicBezTo>
                    <a:pt x="6441" y="1502"/>
                    <a:pt x="6412" y="1539"/>
                    <a:pt x="6368" y="1576"/>
                  </a:cubicBezTo>
                  <a:cubicBezTo>
                    <a:pt x="6324" y="1605"/>
                    <a:pt x="6302" y="1502"/>
                    <a:pt x="6265" y="1473"/>
                  </a:cubicBezTo>
                  <a:cubicBezTo>
                    <a:pt x="6236" y="1436"/>
                    <a:pt x="6243" y="1363"/>
                    <a:pt x="6251" y="1312"/>
                  </a:cubicBezTo>
                  <a:cubicBezTo>
                    <a:pt x="6258" y="1260"/>
                    <a:pt x="6214" y="1216"/>
                    <a:pt x="6177" y="1180"/>
                  </a:cubicBezTo>
                  <a:cubicBezTo>
                    <a:pt x="6133" y="1150"/>
                    <a:pt x="5994" y="1121"/>
                    <a:pt x="5921" y="1092"/>
                  </a:cubicBezTo>
                  <a:cubicBezTo>
                    <a:pt x="5840" y="1055"/>
                    <a:pt x="5730" y="879"/>
                    <a:pt x="5708" y="784"/>
                  </a:cubicBezTo>
                  <a:cubicBezTo>
                    <a:pt x="5679" y="689"/>
                    <a:pt x="5576" y="645"/>
                    <a:pt x="5540" y="594"/>
                  </a:cubicBezTo>
                  <a:cubicBezTo>
                    <a:pt x="5518" y="571"/>
                    <a:pt x="5459" y="476"/>
                    <a:pt x="5408" y="396"/>
                  </a:cubicBezTo>
                  <a:cubicBezTo>
                    <a:pt x="5415" y="410"/>
                    <a:pt x="5423" y="425"/>
                    <a:pt x="5423" y="425"/>
                  </a:cubicBezTo>
                  <a:cubicBezTo>
                    <a:pt x="5423" y="425"/>
                    <a:pt x="5342" y="308"/>
                    <a:pt x="5261" y="249"/>
                  </a:cubicBezTo>
                  <a:cubicBezTo>
                    <a:pt x="5181" y="198"/>
                    <a:pt x="5100" y="154"/>
                    <a:pt x="5012" y="161"/>
                  </a:cubicBezTo>
                  <a:cubicBezTo>
                    <a:pt x="4924" y="176"/>
                    <a:pt x="4829" y="161"/>
                    <a:pt x="4749" y="220"/>
                  </a:cubicBezTo>
                  <a:cubicBezTo>
                    <a:pt x="4675" y="278"/>
                    <a:pt x="4573" y="300"/>
                    <a:pt x="4448" y="278"/>
                  </a:cubicBezTo>
                  <a:cubicBezTo>
                    <a:pt x="4323" y="249"/>
                    <a:pt x="4243" y="308"/>
                    <a:pt x="4177" y="227"/>
                  </a:cubicBezTo>
                  <a:cubicBezTo>
                    <a:pt x="4104" y="154"/>
                    <a:pt x="4001" y="0"/>
                    <a:pt x="3928" y="95"/>
                  </a:cubicBezTo>
                  <a:cubicBezTo>
                    <a:pt x="3847" y="183"/>
                    <a:pt x="3789" y="249"/>
                    <a:pt x="3774" y="322"/>
                  </a:cubicBezTo>
                  <a:cubicBezTo>
                    <a:pt x="3767" y="388"/>
                    <a:pt x="3722" y="579"/>
                    <a:pt x="3671" y="659"/>
                  </a:cubicBezTo>
                  <a:cubicBezTo>
                    <a:pt x="3627" y="740"/>
                    <a:pt x="3664" y="901"/>
                    <a:pt x="3708" y="967"/>
                  </a:cubicBezTo>
                  <a:cubicBezTo>
                    <a:pt x="3752" y="1033"/>
                    <a:pt x="3774" y="1055"/>
                    <a:pt x="3774" y="1150"/>
                  </a:cubicBezTo>
                  <a:cubicBezTo>
                    <a:pt x="3774" y="1238"/>
                    <a:pt x="3774" y="1326"/>
                    <a:pt x="3774" y="1326"/>
                  </a:cubicBezTo>
                  <a:cubicBezTo>
                    <a:pt x="3774" y="1326"/>
                    <a:pt x="3744" y="1238"/>
                    <a:pt x="3701" y="1194"/>
                  </a:cubicBezTo>
                  <a:cubicBezTo>
                    <a:pt x="3649" y="1150"/>
                    <a:pt x="3701" y="1194"/>
                    <a:pt x="3605" y="1172"/>
                  </a:cubicBezTo>
                  <a:cubicBezTo>
                    <a:pt x="3518" y="1150"/>
                    <a:pt x="3518" y="1172"/>
                    <a:pt x="3459" y="1092"/>
                  </a:cubicBezTo>
                  <a:cubicBezTo>
                    <a:pt x="3400" y="1011"/>
                    <a:pt x="3356" y="901"/>
                    <a:pt x="3276" y="952"/>
                  </a:cubicBezTo>
                  <a:cubicBezTo>
                    <a:pt x="3202" y="1011"/>
                    <a:pt x="3166" y="1004"/>
                    <a:pt x="3166" y="1077"/>
                  </a:cubicBezTo>
                  <a:cubicBezTo>
                    <a:pt x="3166" y="1158"/>
                    <a:pt x="3166" y="1216"/>
                    <a:pt x="3144" y="1275"/>
                  </a:cubicBezTo>
                  <a:cubicBezTo>
                    <a:pt x="3122" y="1326"/>
                    <a:pt x="3188" y="1385"/>
                    <a:pt x="3232" y="1319"/>
                  </a:cubicBezTo>
                  <a:cubicBezTo>
                    <a:pt x="3276" y="1253"/>
                    <a:pt x="3298" y="1304"/>
                    <a:pt x="3312" y="1407"/>
                  </a:cubicBezTo>
                  <a:cubicBezTo>
                    <a:pt x="3327" y="1509"/>
                    <a:pt x="3312" y="1553"/>
                    <a:pt x="3254" y="1627"/>
                  </a:cubicBezTo>
                  <a:cubicBezTo>
                    <a:pt x="3202" y="1693"/>
                    <a:pt x="3144" y="1737"/>
                    <a:pt x="3063" y="1656"/>
                  </a:cubicBezTo>
                  <a:cubicBezTo>
                    <a:pt x="2982" y="1576"/>
                    <a:pt x="3004" y="1502"/>
                    <a:pt x="2902" y="1502"/>
                  </a:cubicBezTo>
                  <a:cubicBezTo>
                    <a:pt x="2799" y="1502"/>
                    <a:pt x="2748" y="1363"/>
                    <a:pt x="2814" y="1341"/>
                  </a:cubicBezTo>
                  <a:cubicBezTo>
                    <a:pt x="2880" y="1319"/>
                    <a:pt x="2961" y="1385"/>
                    <a:pt x="2997" y="1319"/>
                  </a:cubicBezTo>
                  <a:cubicBezTo>
                    <a:pt x="3027" y="1253"/>
                    <a:pt x="3041" y="1202"/>
                    <a:pt x="2997" y="1128"/>
                  </a:cubicBezTo>
                  <a:cubicBezTo>
                    <a:pt x="2946" y="1048"/>
                    <a:pt x="2924" y="945"/>
                    <a:pt x="2894" y="901"/>
                  </a:cubicBezTo>
                  <a:cubicBezTo>
                    <a:pt x="2858" y="850"/>
                    <a:pt x="2770" y="901"/>
                    <a:pt x="2770" y="799"/>
                  </a:cubicBezTo>
                  <a:cubicBezTo>
                    <a:pt x="2770" y="696"/>
                    <a:pt x="2792" y="674"/>
                    <a:pt x="2711" y="652"/>
                  </a:cubicBezTo>
                  <a:cubicBezTo>
                    <a:pt x="2711" y="652"/>
                    <a:pt x="2623" y="616"/>
                    <a:pt x="2550" y="616"/>
                  </a:cubicBezTo>
                  <a:cubicBezTo>
                    <a:pt x="2484" y="616"/>
                    <a:pt x="2418" y="579"/>
                    <a:pt x="2374" y="630"/>
                  </a:cubicBezTo>
                  <a:cubicBezTo>
                    <a:pt x="2323" y="674"/>
                    <a:pt x="2169" y="652"/>
                    <a:pt x="2096" y="681"/>
                  </a:cubicBezTo>
                  <a:cubicBezTo>
                    <a:pt x="2030" y="718"/>
                    <a:pt x="1818" y="806"/>
                    <a:pt x="1744" y="777"/>
                  </a:cubicBezTo>
                  <a:cubicBezTo>
                    <a:pt x="1678" y="740"/>
                    <a:pt x="1554" y="703"/>
                    <a:pt x="1473" y="726"/>
                  </a:cubicBezTo>
                  <a:cubicBezTo>
                    <a:pt x="1400" y="755"/>
                    <a:pt x="1224" y="726"/>
                    <a:pt x="1158" y="799"/>
                  </a:cubicBezTo>
                  <a:cubicBezTo>
                    <a:pt x="1092" y="865"/>
                    <a:pt x="968" y="952"/>
                    <a:pt x="923" y="1026"/>
                  </a:cubicBezTo>
                  <a:cubicBezTo>
                    <a:pt x="872" y="1092"/>
                    <a:pt x="887" y="1128"/>
                    <a:pt x="953" y="1172"/>
                  </a:cubicBezTo>
                  <a:cubicBezTo>
                    <a:pt x="1019" y="1216"/>
                    <a:pt x="997" y="1260"/>
                    <a:pt x="894" y="1253"/>
                  </a:cubicBezTo>
                  <a:cubicBezTo>
                    <a:pt x="799" y="1238"/>
                    <a:pt x="799" y="1253"/>
                    <a:pt x="770" y="1341"/>
                  </a:cubicBezTo>
                  <a:cubicBezTo>
                    <a:pt x="748" y="1429"/>
                    <a:pt x="748" y="1524"/>
                    <a:pt x="718" y="1612"/>
                  </a:cubicBezTo>
                  <a:cubicBezTo>
                    <a:pt x="682" y="1707"/>
                    <a:pt x="660" y="1854"/>
                    <a:pt x="784" y="1876"/>
                  </a:cubicBezTo>
                  <a:cubicBezTo>
                    <a:pt x="909" y="1898"/>
                    <a:pt x="1099" y="1861"/>
                    <a:pt x="1158" y="1883"/>
                  </a:cubicBezTo>
                  <a:cubicBezTo>
                    <a:pt x="1217" y="1905"/>
                    <a:pt x="1173" y="1883"/>
                    <a:pt x="1158" y="1978"/>
                  </a:cubicBezTo>
                  <a:cubicBezTo>
                    <a:pt x="1151" y="2066"/>
                    <a:pt x="1158" y="2132"/>
                    <a:pt x="1114" y="2176"/>
                  </a:cubicBezTo>
                  <a:cubicBezTo>
                    <a:pt x="1070" y="2228"/>
                    <a:pt x="1136" y="2235"/>
                    <a:pt x="1121" y="2330"/>
                  </a:cubicBezTo>
                  <a:cubicBezTo>
                    <a:pt x="1114" y="2418"/>
                    <a:pt x="1077" y="2359"/>
                    <a:pt x="1055" y="2440"/>
                  </a:cubicBezTo>
                  <a:cubicBezTo>
                    <a:pt x="1033" y="2521"/>
                    <a:pt x="1048" y="2557"/>
                    <a:pt x="1070" y="2667"/>
                  </a:cubicBezTo>
                  <a:cubicBezTo>
                    <a:pt x="1092" y="2777"/>
                    <a:pt x="1121" y="2953"/>
                    <a:pt x="1070" y="3056"/>
                  </a:cubicBezTo>
                  <a:cubicBezTo>
                    <a:pt x="1011" y="3158"/>
                    <a:pt x="931" y="3349"/>
                    <a:pt x="865" y="3429"/>
                  </a:cubicBezTo>
                  <a:cubicBezTo>
                    <a:pt x="799" y="3510"/>
                    <a:pt x="762" y="3657"/>
                    <a:pt x="770" y="3759"/>
                  </a:cubicBezTo>
                  <a:cubicBezTo>
                    <a:pt x="784" y="3854"/>
                    <a:pt x="740" y="4016"/>
                    <a:pt x="740" y="4059"/>
                  </a:cubicBezTo>
                  <a:cubicBezTo>
                    <a:pt x="740" y="4103"/>
                    <a:pt x="740" y="4243"/>
                    <a:pt x="660" y="4199"/>
                  </a:cubicBezTo>
                  <a:cubicBezTo>
                    <a:pt x="579" y="4155"/>
                    <a:pt x="520" y="4177"/>
                    <a:pt x="447" y="4155"/>
                  </a:cubicBezTo>
                  <a:cubicBezTo>
                    <a:pt x="367" y="4133"/>
                    <a:pt x="308" y="4081"/>
                    <a:pt x="249" y="4103"/>
                  </a:cubicBezTo>
                  <a:cubicBezTo>
                    <a:pt x="198" y="4133"/>
                    <a:pt x="44" y="4096"/>
                    <a:pt x="44" y="4177"/>
                  </a:cubicBezTo>
                  <a:cubicBezTo>
                    <a:pt x="44" y="4257"/>
                    <a:pt x="37" y="4323"/>
                    <a:pt x="73" y="4345"/>
                  </a:cubicBezTo>
                  <a:cubicBezTo>
                    <a:pt x="103" y="4367"/>
                    <a:pt x="147" y="4389"/>
                    <a:pt x="81" y="4426"/>
                  </a:cubicBezTo>
                  <a:cubicBezTo>
                    <a:pt x="15" y="4455"/>
                    <a:pt x="0" y="4448"/>
                    <a:pt x="0" y="4514"/>
                  </a:cubicBezTo>
                  <a:cubicBezTo>
                    <a:pt x="0" y="4580"/>
                    <a:pt x="0" y="4682"/>
                    <a:pt x="59" y="4704"/>
                  </a:cubicBezTo>
                  <a:cubicBezTo>
                    <a:pt x="118" y="4734"/>
                    <a:pt x="264" y="4785"/>
                    <a:pt x="330" y="4807"/>
                  </a:cubicBezTo>
                  <a:cubicBezTo>
                    <a:pt x="396" y="4829"/>
                    <a:pt x="513" y="4866"/>
                    <a:pt x="520" y="4821"/>
                  </a:cubicBezTo>
                  <a:cubicBezTo>
                    <a:pt x="535" y="4778"/>
                    <a:pt x="601" y="4675"/>
                    <a:pt x="616" y="4763"/>
                  </a:cubicBezTo>
                  <a:cubicBezTo>
                    <a:pt x="623" y="4858"/>
                    <a:pt x="696" y="4968"/>
                    <a:pt x="726" y="4990"/>
                  </a:cubicBezTo>
                  <a:cubicBezTo>
                    <a:pt x="762" y="5012"/>
                    <a:pt x="770" y="5129"/>
                    <a:pt x="726" y="5181"/>
                  </a:cubicBezTo>
                  <a:cubicBezTo>
                    <a:pt x="682" y="5239"/>
                    <a:pt x="623" y="5400"/>
                    <a:pt x="645" y="5430"/>
                  </a:cubicBezTo>
                  <a:cubicBezTo>
                    <a:pt x="674" y="5466"/>
                    <a:pt x="726" y="5503"/>
                    <a:pt x="726" y="5503"/>
                  </a:cubicBezTo>
                  <a:cubicBezTo>
                    <a:pt x="726" y="5503"/>
                    <a:pt x="726" y="5503"/>
                    <a:pt x="718" y="5510"/>
                  </a:cubicBezTo>
                  <a:cubicBezTo>
                    <a:pt x="755" y="5510"/>
                    <a:pt x="799" y="5503"/>
                    <a:pt x="821" y="5474"/>
                  </a:cubicBezTo>
                  <a:cubicBezTo>
                    <a:pt x="850" y="5422"/>
                    <a:pt x="1004" y="5430"/>
                    <a:pt x="1055" y="5422"/>
                  </a:cubicBezTo>
                  <a:cubicBezTo>
                    <a:pt x="1107" y="5415"/>
                    <a:pt x="1275" y="5400"/>
                    <a:pt x="1334" y="5342"/>
                  </a:cubicBezTo>
                  <a:cubicBezTo>
                    <a:pt x="1400" y="5283"/>
                    <a:pt x="1532" y="5203"/>
                    <a:pt x="1583" y="5173"/>
                  </a:cubicBezTo>
                  <a:cubicBezTo>
                    <a:pt x="1634" y="5137"/>
                    <a:pt x="1678" y="5107"/>
                    <a:pt x="1737" y="5078"/>
                  </a:cubicBezTo>
                  <a:cubicBezTo>
                    <a:pt x="1795" y="5041"/>
                    <a:pt x="1788" y="5034"/>
                    <a:pt x="1803" y="4997"/>
                  </a:cubicBezTo>
                  <a:cubicBezTo>
                    <a:pt x="1825" y="4968"/>
                    <a:pt x="1847" y="4946"/>
                    <a:pt x="1788" y="4909"/>
                  </a:cubicBezTo>
                  <a:cubicBezTo>
                    <a:pt x="1730" y="4866"/>
                    <a:pt x="1788" y="4844"/>
                    <a:pt x="1803" y="4807"/>
                  </a:cubicBezTo>
                  <a:cubicBezTo>
                    <a:pt x="1825" y="4763"/>
                    <a:pt x="1847" y="4719"/>
                    <a:pt x="1898" y="4756"/>
                  </a:cubicBezTo>
                  <a:cubicBezTo>
                    <a:pt x="1949" y="4785"/>
                    <a:pt x="1964" y="4821"/>
                    <a:pt x="2008" y="4836"/>
                  </a:cubicBezTo>
                  <a:cubicBezTo>
                    <a:pt x="2052" y="4858"/>
                    <a:pt x="2023" y="4909"/>
                    <a:pt x="2045" y="4953"/>
                  </a:cubicBezTo>
                  <a:cubicBezTo>
                    <a:pt x="2059" y="5005"/>
                    <a:pt x="2103" y="5019"/>
                    <a:pt x="2147" y="5027"/>
                  </a:cubicBezTo>
                  <a:cubicBezTo>
                    <a:pt x="2184" y="5034"/>
                    <a:pt x="2206" y="5056"/>
                    <a:pt x="2235" y="5085"/>
                  </a:cubicBezTo>
                  <a:cubicBezTo>
                    <a:pt x="2272" y="5107"/>
                    <a:pt x="2323" y="5107"/>
                    <a:pt x="2360" y="5085"/>
                  </a:cubicBezTo>
                  <a:cubicBezTo>
                    <a:pt x="2389" y="5056"/>
                    <a:pt x="2470" y="5071"/>
                    <a:pt x="2492" y="5107"/>
                  </a:cubicBezTo>
                  <a:cubicBezTo>
                    <a:pt x="2521" y="5151"/>
                    <a:pt x="2513" y="5232"/>
                    <a:pt x="2558" y="5247"/>
                  </a:cubicBezTo>
                  <a:cubicBezTo>
                    <a:pt x="2609" y="5261"/>
                    <a:pt x="2623" y="5312"/>
                    <a:pt x="2543" y="5320"/>
                  </a:cubicBezTo>
                  <a:cubicBezTo>
                    <a:pt x="2470" y="5335"/>
                    <a:pt x="2484" y="5371"/>
                    <a:pt x="2499" y="5408"/>
                  </a:cubicBezTo>
                  <a:cubicBezTo>
                    <a:pt x="2521" y="5445"/>
                    <a:pt x="2528" y="5445"/>
                    <a:pt x="2499" y="5496"/>
                  </a:cubicBezTo>
                  <a:cubicBezTo>
                    <a:pt x="2477" y="5547"/>
                    <a:pt x="2513" y="5598"/>
                    <a:pt x="2462" y="5620"/>
                  </a:cubicBezTo>
                  <a:cubicBezTo>
                    <a:pt x="2411" y="5642"/>
                    <a:pt x="2389" y="5671"/>
                    <a:pt x="2462" y="5716"/>
                  </a:cubicBezTo>
                  <a:cubicBezTo>
                    <a:pt x="2528" y="5759"/>
                    <a:pt x="2572" y="5774"/>
                    <a:pt x="2623" y="5767"/>
                  </a:cubicBezTo>
                  <a:cubicBezTo>
                    <a:pt x="2675" y="5759"/>
                    <a:pt x="2660" y="5789"/>
                    <a:pt x="2645" y="5847"/>
                  </a:cubicBezTo>
                  <a:cubicBezTo>
                    <a:pt x="2631" y="5906"/>
                    <a:pt x="2653" y="5943"/>
                    <a:pt x="2580" y="5972"/>
                  </a:cubicBezTo>
                  <a:cubicBezTo>
                    <a:pt x="2499" y="5994"/>
                    <a:pt x="2492" y="5994"/>
                    <a:pt x="2440" y="6038"/>
                  </a:cubicBezTo>
                  <a:cubicBezTo>
                    <a:pt x="2389" y="6082"/>
                    <a:pt x="2382" y="6089"/>
                    <a:pt x="2440" y="6119"/>
                  </a:cubicBezTo>
                  <a:cubicBezTo>
                    <a:pt x="2499" y="6155"/>
                    <a:pt x="2492" y="6221"/>
                    <a:pt x="2550" y="6207"/>
                  </a:cubicBezTo>
                  <a:cubicBezTo>
                    <a:pt x="2609" y="6192"/>
                    <a:pt x="2645" y="6170"/>
                    <a:pt x="2675" y="6140"/>
                  </a:cubicBezTo>
                  <a:cubicBezTo>
                    <a:pt x="2697" y="6104"/>
                    <a:pt x="2741" y="6104"/>
                    <a:pt x="2807" y="6111"/>
                  </a:cubicBezTo>
                  <a:cubicBezTo>
                    <a:pt x="2873" y="6119"/>
                    <a:pt x="2924" y="6119"/>
                    <a:pt x="2975" y="6097"/>
                  </a:cubicBezTo>
                  <a:cubicBezTo>
                    <a:pt x="3027" y="6067"/>
                    <a:pt x="3019" y="6045"/>
                    <a:pt x="3063" y="5994"/>
                  </a:cubicBezTo>
                  <a:cubicBezTo>
                    <a:pt x="3107" y="5943"/>
                    <a:pt x="3114" y="5899"/>
                    <a:pt x="3173" y="5906"/>
                  </a:cubicBezTo>
                  <a:cubicBezTo>
                    <a:pt x="3232" y="5921"/>
                    <a:pt x="3290" y="5891"/>
                    <a:pt x="3320" y="5928"/>
                  </a:cubicBezTo>
                  <a:cubicBezTo>
                    <a:pt x="3342" y="5957"/>
                    <a:pt x="3422" y="6009"/>
                    <a:pt x="3437" y="5957"/>
                  </a:cubicBezTo>
                  <a:cubicBezTo>
                    <a:pt x="3451" y="5906"/>
                    <a:pt x="3473" y="5877"/>
                    <a:pt x="3532" y="5847"/>
                  </a:cubicBezTo>
                  <a:cubicBezTo>
                    <a:pt x="3591" y="5826"/>
                    <a:pt x="3686" y="5789"/>
                    <a:pt x="3664" y="5745"/>
                  </a:cubicBezTo>
                  <a:cubicBezTo>
                    <a:pt x="3649" y="5708"/>
                    <a:pt x="3605" y="5708"/>
                    <a:pt x="3576" y="5679"/>
                  </a:cubicBezTo>
                  <a:cubicBezTo>
                    <a:pt x="3539" y="5657"/>
                    <a:pt x="3554" y="5664"/>
                    <a:pt x="3576" y="5598"/>
                  </a:cubicBezTo>
                  <a:cubicBezTo>
                    <a:pt x="3591" y="5525"/>
                    <a:pt x="3627" y="5312"/>
                    <a:pt x="3591" y="5283"/>
                  </a:cubicBezTo>
                  <a:cubicBezTo>
                    <a:pt x="3554" y="5247"/>
                    <a:pt x="3547" y="5232"/>
                    <a:pt x="3539" y="5173"/>
                  </a:cubicBezTo>
                  <a:cubicBezTo>
                    <a:pt x="3532" y="5107"/>
                    <a:pt x="3473" y="5071"/>
                    <a:pt x="3415" y="5049"/>
                  </a:cubicBezTo>
                  <a:cubicBezTo>
                    <a:pt x="3349" y="5034"/>
                    <a:pt x="3298" y="4997"/>
                    <a:pt x="3283" y="4953"/>
                  </a:cubicBezTo>
                  <a:cubicBezTo>
                    <a:pt x="3268" y="4917"/>
                    <a:pt x="3217" y="4836"/>
                    <a:pt x="3283" y="4836"/>
                  </a:cubicBezTo>
                  <a:cubicBezTo>
                    <a:pt x="3349" y="4836"/>
                    <a:pt x="3371" y="4866"/>
                    <a:pt x="3437" y="4858"/>
                  </a:cubicBezTo>
                  <a:cubicBezTo>
                    <a:pt x="3503" y="4844"/>
                    <a:pt x="3554" y="4873"/>
                    <a:pt x="3576" y="4814"/>
                  </a:cubicBezTo>
                  <a:cubicBezTo>
                    <a:pt x="3591" y="4756"/>
                    <a:pt x="3532" y="4726"/>
                    <a:pt x="3583" y="4697"/>
                  </a:cubicBezTo>
                  <a:cubicBezTo>
                    <a:pt x="3635" y="4660"/>
                    <a:pt x="3635" y="4616"/>
                    <a:pt x="3671" y="4616"/>
                  </a:cubicBezTo>
                  <a:cubicBezTo>
                    <a:pt x="3715" y="4616"/>
                    <a:pt x="3686" y="4675"/>
                    <a:pt x="3759" y="4660"/>
                  </a:cubicBezTo>
                  <a:cubicBezTo>
                    <a:pt x="3840" y="4646"/>
                    <a:pt x="3854" y="4646"/>
                    <a:pt x="3906" y="4609"/>
                  </a:cubicBezTo>
                  <a:cubicBezTo>
                    <a:pt x="3957" y="4572"/>
                    <a:pt x="3979" y="4572"/>
                    <a:pt x="4023" y="4609"/>
                  </a:cubicBezTo>
                  <a:cubicBezTo>
                    <a:pt x="4067" y="4646"/>
                    <a:pt x="4030" y="4697"/>
                    <a:pt x="4067" y="4741"/>
                  </a:cubicBezTo>
                  <a:cubicBezTo>
                    <a:pt x="4096" y="4792"/>
                    <a:pt x="4111" y="4873"/>
                    <a:pt x="4089" y="4909"/>
                  </a:cubicBezTo>
                  <a:cubicBezTo>
                    <a:pt x="4074" y="4939"/>
                    <a:pt x="4052" y="4990"/>
                    <a:pt x="4126" y="5019"/>
                  </a:cubicBezTo>
                  <a:cubicBezTo>
                    <a:pt x="4199" y="5041"/>
                    <a:pt x="4331" y="5071"/>
                    <a:pt x="4397" y="5034"/>
                  </a:cubicBezTo>
                  <a:cubicBezTo>
                    <a:pt x="4463" y="4997"/>
                    <a:pt x="4594" y="5027"/>
                    <a:pt x="4602" y="4953"/>
                  </a:cubicBezTo>
                  <a:cubicBezTo>
                    <a:pt x="4609" y="4888"/>
                    <a:pt x="4661" y="4880"/>
                    <a:pt x="4690" y="4814"/>
                  </a:cubicBezTo>
                  <a:cubicBezTo>
                    <a:pt x="4712" y="4741"/>
                    <a:pt x="4726" y="4712"/>
                    <a:pt x="4778" y="4704"/>
                  </a:cubicBezTo>
                  <a:cubicBezTo>
                    <a:pt x="4829" y="4697"/>
                    <a:pt x="4880" y="4668"/>
                    <a:pt x="4924" y="4712"/>
                  </a:cubicBezTo>
                  <a:cubicBezTo>
                    <a:pt x="4968" y="4756"/>
                    <a:pt x="4932" y="4792"/>
                    <a:pt x="4888" y="4821"/>
                  </a:cubicBezTo>
                  <a:cubicBezTo>
                    <a:pt x="4851" y="4844"/>
                    <a:pt x="4858" y="4895"/>
                    <a:pt x="4902" y="4924"/>
                  </a:cubicBezTo>
                  <a:cubicBezTo>
                    <a:pt x="4939" y="4946"/>
                    <a:pt x="4939" y="4990"/>
                    <a:pt x="4910" y="5034"/>
                  </a:cubicBezTo>
                  <a:cubicBezTo>
                    <a:pt x="4873" y="5078"/>
                    <a:pt x="4858" y="5195"/>
                    <a:pt x="4792" y="5203"/>
                  </a:cubicBezTo>
                  <a:cubicBezTo>
                    <a:pt x="4719" y="5210"/>
                    <a:pt x="4690" y="5217"/>
                    <a:pt x="4661" y="5283"/>
                  </a:cubicBezTo>
                  <a:cubicBezTo>
                    <a:pt x="4639" y="5342"/>
                    <a:pt x="4602" y="5386"/>
                    <a:pt x="4639" y="5415"/>
                  </a:cubicBezTo>
                  <a:cubicBezTo>
                    <a:pt x="4668" y="5452"/>
                    <a:pt x="4668" y="5496"/>
                    <a:pt x="4726" y="5518"/>
                  </a:cubicBezTo>
                  <a:cubicBezTo>
                    <a:pt x="4792" y="5547"/>
                    <a:pt x="4858" y="5562"/>
                    <a:pt x="4822" y="5584"/>
                  </a:cubicBezTo>
                  <a:cubicBezTo>
                    <a:pt x="4792" y="5613"/>
                    <a:pt x="4749" y="5620"/>
                    <a:pt x="4756" y="5657"/>
                  </a:cubicBezTo>
                  <a:cubicBezTo>
                    <a:pt x="4763" y="5686"/>
                    <a:pt x="4756" y="5716"/>
                    <a:pt x="4719" y="5730"/>
                  </a:cubicBezTo>
                  <a:cubicBezTo>
                    <a:pt x="4690" y="5745"/>
                    <a:pt x="4690" y="5811"/>
                    <a:pt x="4697" y="5833"/>
                  </a:cubicBezTo>
                  <a:cubicBezTo>
                    <a:pt x="4704" y="5855"/>
                    <a:pt x="4726" y="5884"/>
                    <a:pt x="4814" y="5884"/>
                  </a:cubicBezTo>
                  <a:cubicBezTo>
                    <a:pt x="4902" y="5884"/>
                    <a:pt x="4961" y="5877"/>
                    <a:pt x="4975" y="5921"/>
                  </a:cubicBezTo>
                  <a:cubicBezTo>
                    <a:pt x="4990" y="5957"/>
                    <a:pt x="4968" y="5987"/>
                    <a:pt x="4975" y="6023"/>
                  </a:cubicBezTo>
                  <a:cubicBezTo>
                    <a:pt x="4983" y="6053"/>
                    <a:pt x="5042" y="6089"/>
                    <a:pt x="5042" y="6089"/>
                  </a:cubicBezTo>
                  <a:cubicBezTo>
                    <a:pt x="5042" y="6089"/>
                    <a:pt x="5049" y="6185"/>
                    <a:pt x="5063" y="6236"/>
                  </a:cubicBezTo>
                  <a:cubicBezTo>
                    <a:pt x="5071" y="6280"/>
                    <a:pt x="5078" y="6346"/>
                    <a:pt x="5049" y="6382"/>
                  </a:cubicBezTo>
                  <a:cubicBezTo>
                    <a:pt x="5027" y="6426"/>
                    <a:pt x="5071" y="6507"/>
                    <a:pt x="5137" y="6456"/>
                  </a:cubicBezTo>
                  <a:cubicBezTo>
                    <a:pt x="5203" y="6404"/>
                    <a:pt x="5254" y="6456"/>
                    <a:pt x="5254" y="6514"/>
                  </a:cubicBezTo>
                  <a:cubicBezTo>
                    <a:pt x="5254" y="6573"/>
                    <a:pt x="5283" y="6624"/>
                    <a:pt x="5327" y="6624"/>
                  </a:cubicBezTo>
                  <a:cubicBezTo>
                    <a:pt x="5364" y="6624"/>
                    <a:pt x="5386" y="6683"/>
                    <a:pt x="5386" y="6749"/>
                  </a:cubicBezTo>
                  <a:cubicBezTo>
                    <a:pt x="5386" y="6822"/>
                    <a:pt x="5444" y="6822"/>
                    <a:pt x="5525" y="6807"/>
                  </a:cubicBezTo>
                  <a:cubicBezTo>
                    <a:pt x="5613" y="6800"/>
                    <a:pt x="5599" y="6881"/>
                    <a:pt x="5562" y="6932"/>
                  </a:cubicBezTo>
                  <a:cubicBezTo>
                    <a:pt x="5525" y="6983"/>
                    <a:pt x="5576" y="6961"/>
                    <a:pt x="5576" y="7012"/>
                  </a:cubicBezTo>
                  <a:cubicBezTo>
                    <a:pt x="5576" y="7064"/>
                    <a:pt x="5540" y="7108"/>
                    <a:pt x="5503" y="7130"/>
                  </a:cubicBezTo>
                  <a:cubicBezTo>
                    <a:pt x="5466" y="7159"/>
                    <a:pt x="5466" y="7196"/>
                    <a:pt x="5474" y="7254"/>
                  </a:cubicBezTo>
                  <a:cubicBezTo>
                    <a:pt x="5489" y="7313"/>
                    <a:pt x="5540" y="7357"/>
                    <a:pt x="5496" y="7394"/>
                  </a:cubicBezTo>
                  <a:cubicBezTo>
                    <a:pt x="5452" y="7438"/>
                    <a:pt x="5401" y="7474"/>
                    <a:pt x="5452" y="7518"/>
                  </a:cubicBezTo>
                  <a:cubicBezTo>
                    <a:pt x="5489" y="7547"/>
                    <a:pt x="5532" y="7547"/>
                    <a:pt x="5554" y="7547"/>
                  </a:cubicBezTo>
                  <a:cubicBezTo>
                    <a:pt x="5584" y="7526"/>
                    <a:pt x="5620" y="7504"/>
                    <a:pt x="5642" y="7511"/>
                  </a:cubicBezTo>
                  <a:cubicBezTo>
                    <a:pt x="5686" y="7518"/>
                    <a:pt x="5679" y="7591"/>
                    <a:pt x="5723" y="7591"/>
                  </a:cubicBezTo>
                  <a:cubicBezTo>
                    <a:pt x="5767" y="7591"/>
                    <a:pt x="5804" y="7599"/>
                    <a:pt x="5855" y="7577"/>
                  </a:cubicBezTo>
                  <a:cubicBezTo>
                    <a:pt x="5899" y="7547"/>
                    <a:pt x="5972" y="7540"/>
                    <a:pt x="5980" y="7584"/>
                  </a:cubicBezTo>
                  <a:cubicBezTo>
                    <a:pt x="5987" y="7628"/>
                    <a:pt x="6053" y="7679"/>
                    <a:pt x="6082" y="7694"/>
                  </a:cubicBezTo>
                  <a:cubicBezTo>
                    <a:pt x="6104" y="7709"/>
                    <a:pt x="6097" y="7789"/>
                    <a:pt x="6038" y="7760"/>
                  </a:cubicBezTo>
                  <a:cubicBezTo>
                    <a:pt x="5980" y="7738"/>
                    <a:pt x="5935" y="7745"/>
                    <a:pt x="5965" y="7782"/>
                  </a:cubicBezTo>
                  <a:cubicBezTo>
                    <a:pt x="5987" y="7811"/>
                    <a:pt x="6016" y="7848"/>
                    <a:pt x="5965" y="7840"/>
                  </a:cubicBezTo>
                  <a:cubicBezTo>
                    <a:pt x="5913" y="7833"/>
                    <a:pt x="5980" y="7885"/>
                    <a:pt x="5935" y="7914"/>
                  </a:cubicBezTo>
                  <a:cubicBezTo>
                    <a:pt x="5892" y="7950"/>
                    <a:pt x="5899" y="7995"/>
                    <a:pt x="5928" y="8016"/>
                  </a:cubicBezTo>
                  <a:cubicBezTo>
                    <a:pt x="5950" y="8046"/>
                    <a:pt x="5987" y="8126"/>
                    <a:pt x="5980" y="8163"/>
                  </a:cubicBezTo>
                  <a:cubicBezTo>
                    <a:pt x="5972" y="8200"/>
                    <a:pt x="6023" y="8214"/>
                    <a:pt x="5994" y="8266"/>
                  </a:cubicBezTo>
                  <a:cubicBezTo>
                    <a:pt x="5972" y="8317"/>
                    <a:pt x="5980" y="8324"/>
                    <a:pt x="5921" y="8331"/>
                  </a:cubicBezTo>
                  <a:cubicBezTo>
                    <a:pt x="5862" y="8339"/>
                    <a:pt x="5855" y="8368"/>
                    <a:pt x="5840" y="8412"/>
                  </a:cubicBezTo>
                  <a:cubicBezTo>
                    <a:pt x="5833" y="8449"/>
                    <a:pt x="5818" y="8493"/>
                    <a:pt x="5877" y="8529"/>
                  </a:cubicBezTo>
                  <a:cubicBezTo>
                    <a:pt x="5935" y="8559"/>
                    <a:pt x="6082" y="8603"/>
                    <a:pt x="6104" y="8639"/>
                  </a:cubicBezTo>
                  <a:cubicBezTo>
                    <a:pt x="6133" y="8676"/>
                    <a:pt x="6177" y="8713"/>
                    <a:pt x="6214" y="8676"/>
                  </a:cubicBezTo>
                  <a:cubicBezTo>
                    <a:pt x="6258" y="8632"/>
                    <a:pt x="6294" y="8603"/>
                    <a:pt x="6236" y="8580"/>
                  </a:cubicBezTo>
                  <a:cubicBezTo>
                    <a:pt x="6177" y="8551"/>
                    <a:pt x="6148" y="8500"/>
                    <a:pt x="6148" y="8478"/>
                  </a:cubicBezTo>
                  <a:cubicBezTo>
                    <a:pt x="6148" y="8449"/>
                    <a:pt x="6155" y="8471"/>
                    <a:pt x="6207" y="8434"/>
                  </a:cubicBezTo>
                  <a:cubicBezTo>
                    <a:pt x="6258" y="8397"/>
                    <a:pt x="6309" y="8383"/>
                    <a:pt x="6324" y="8339"/>
                  </a:cubicBezTo>
                  <a:cubicBezTo>
                    <a:pt x="6346" y="8295"/>
                    <a:pt x="6404" y="8273"/>
                    <a:pt x="6412" y="8309"/>
                  </a:cubicBezTo>
                  <a:cubicBezTo>
                    <a:pt x="6419" y="8339"/>
                    <a:pt x="6441" y="8376"/>
                    <a:pt x="6441" y="8376"/>
                  </a:cubicBezTo>
                  <a:cubicBezTo>
                    <a:pt x="6441" y="8376"/>
                    <a:pt x="6419" y="8287"/>
                    <a:pt x="6463" y="8273"/>
                  </a:cubicBezTo>
                  <a:cubicBezTo>
                    <a:pt x="6507" y="8258"/>
                    <a:pt x="6522" y="8266"/>
                    <a:pt x="6558" y="8287"/>
                  </a:cubicBezTo>
                  <a:cubicBezTo>
                    <a:pt x="6588" y="8309"/>
                    <a:pt x="6602" y="8346"/>
                    <a:pt x="6610" y="8383"/>
                  </a:cubicBezTo>
                  <a:cubicBezTo>
                    <a:pt x="6654" y="8368"/>
                    <a:pt x="6734" y="8339"/>
                    <a:pt x="6749" y="8309"/>
                  </a:cubicBezTo>
                  <a:cubicBezTo>
                    <a:pt x="6771" y="8280"/>
                    <a:pt x="6830" y="8221"/>
                    <a:pt x="6866" y="8214"/>
                  </a:cubicBezTo>
                  <a:cubicBezTo>
                    <a:pt x="6903" y="8207"/>
                    <a:pt x="6939" y="8207"/>
                    <a:pt x="6976" y="8214"/>
                  </a:cubicBezTo>
                  <a:cubicBezTo>
                    <a:pt x="7020" y="8221"/>
                    <a:pt x="7093" y="8200"/>
                    <a:pt x="7108" y="8163"/>
                  </a:cubicBezTo>
                  <a:cubicBezTo>
                    <a:pt x="7130" y="8119"/>
                    <a:pt x="7123" y="8060"/>
                    <a:pt x="7152" y="8046"/>
                  </a:cubicBezTo>
                  <a:cubicBezTo>
                    <a:pt x="7181" y="8038"/>
                    <a:pt x="7203" y="8097"/>
                    <a:pt x="7247" y="8060"/>
                  </a:cubicBezTo>
                  <a:cubicBezTo>
                    <a:pt x="7291" y="8031"/>
                    <a:pt x="7335" y="8002"/>
                    <a:pt x="7364" y="7965"/>
                  </a:cubicBezTo>
                  <a:cubicBezTo>
                    <a:pt x="7394" y="7936"/>
                    <a:pt x="7401" y="7921"/>
                    <a:pt x="7445" y="7899"/>
                  </a:cubicBezTo>
                  <a:cubicBezTo>
                    <a:pt x="7482" y="7877"/>
                    <a:pt x="7496" y="7870"/>
                    <a:pt x="7504" y="7826"/>
                  </a:cubicBezTo>
                  <a:cubicBezTo>
                    <a:pt x="7504" y="7782"/>
                    <a:pt x="7504" y="7723"/>
                    <a:pt x="7540" y="7709"/>
                  </a:cubicBezTo>
                  <a:cubicBezTo>
                    <a:pt x="7577" y="7687"/>
                    <a:pt x="7628" y="7687"/>
                    <a:pt x="7650" y="7687"/>
                  </a:cubicBezTo>
                  <a:cubicBezTo>
                    <a:pt x="7679" y="7687"/>
                    <a:pt x="7752" y="7709"/>
                    <a:pt x="7774" y="7738"/>
                  </a:cubicBezTo>
                  <a:cubicBezTo>
                    <a:pt x="7796" y="7760"/>
                    <a:pt x="7854" y="7819"/>
                    <a:pt x="7891" y="7797"/>
                  </a:cubicBezTo>
                  <a:cubicBezTo>
                    <a:pt x="7928" y="7775"/>
                    <a:pt x="7928" y="7738"/>
                    <a:pt x="7957" y="7716"/>
                  </a:cubicBezTo>
                  <a:cubicBezTo>
                    <a:pt x="7993" y="7701"/>
                    <a:pt x="8008" y="7701"/>
                    <a:pt x="8037" y="7731"/>
                  </a:cubicBezTo>
                  <a:cubicBezTo>
                    <a:pt x="8067" y="7760"/>
                    <a:pt x="8147" y="7738"/>
                    <a:pt x="8111" y="7694"/>
                  </a:cubicBezTo>
                  <a:cubicBezTo>
                    <a:pt x="8081" y="7657"/>
                    <a:pt x="8052" y="7657"/>
                    <a:pt x="8052" y="7613"/>
                  </a:cubicBezTo>
                  <a:cubicBezTo>
                    <a:pt x="8060" y="7577"/>
                    <a:pt x="8081" y="7562"/>
                    <a:pt x="8118" y="7540"/>
                  </a:cubicBezTo>
                  <a:cubicBezTo>
                    <a:pt x="8140" y="7533"/>
                    <a:pt x="8147" y="7511"/>
                    <a:pt x="8155" y="7496"/>
                  </a:cubicBezTo>
                  <a:cubicBezTo>
                    <a:pt x="8125" y="7423"/>
                    <a:pt x="8125" y="7423"/>
                    <a:pt x="8125" y="7423"/>
                  </a:cubicBezTo>
                  <a:cubicBezTo>
                    <a:pt x="8118" y="7350"/>
                    <a:pt x="8125" y="7269"/>
                    <a:pt x="8081" y="7225"/>
                  </a:cubicBezTo>
                  <a:cubicBezTo>
                    <a:pt x="8030" y="7181"/>
                    <a:pt x="7979" y="7130"/>
                    <a:pt x="7957" y="7086"/>
                  </a:cubicBezTo>
                  <a:cubicBezTo>
                    <a:pt x="7942" y="7035"/>
                    <a:pt x="7898" y="6939"/>
                    <a:pt x="7928" y="6873"/>
                  </a:cubicBezTo>
                  <a:cubicBezTo>
                    <a:pt x="7950" y="6800"/>
                    <a:pt x="7957" y="6800"/>
                    <a:pt x="8008" y="6749"/>
                  </a:cubicBezTo>
                  <a:cubicBezTo>
                    <a:pt x="8060" y="6697"/>
                    <a:pt x="8103" y="6639"/>
                    <a:pt x="8052" y="6595"/>
                  </a:cubicBezTo>
                  <a:cubicBezTo>
                    <a:pt x="8001" y="6558"/>
                    <a:pt x="7964" y="6544"/>
                    <a:pt x="8001" y="6507"/>
                  </a:cubicBezTo>
                  <a:cubicBezTo>
                    <a:pt x="8037" y="6463"/>
                    <a:pt x="8045" y="6448"/>
                    <a:pt x="7986" y="6419"/>
                  </a:cubicBezTo>
                  <a:cubicBezTo>
                    <a:pt x="7928" y="6397"/>
                    <a:pt x="7840" y="6368"/>
                    <a:pt x="7854" y="6309"/>
                  </a:cubicBezTo>
                  <a:cubicBezTo>
                    <a:pt x="7876" y="6250"/>
                    <a:pt x="7862" y="6280"/>
                    <a:pt x="7935" y="6280"/>
                  </a:cubicBezTo>
                  <a:cubicBezTo>
                    <a:pt x="8001" y="6280"/>
                    <a:pt x="8001" y="6302"/>
                    <a:pt x="8045" y="6243"/>
                  </a:cubicBezTo>
                  <a:cubicBezTo>
                    <a:pt x="8089" y="6185"/>
                    <a:pt x="8111" y="6162"/>
                    <a:pt x="8191" y="6155"/>
                  </a:cubicBezTo>
                  <a:cubicBezTo>
                    <a:pt x="8265" y="6148"/>
                    <a:pt x="8411" y="6155"/>
                    <a:pt x="8477" y="6140"/>
                  </a:cubicBezTo>
                  <a:cubicBezTo>
                    <a:pt x="8543" y="6119"/>
                    <a:pt x="8587" y="6148"/>
                    <a:pt x="8653" y="6111"/>
                  </a:cubicBezTo>
                  <a:cubicBezTo>
                    <a:pt x="8726" y="6082"/>
                    <a:pt x="8726" y="6053"/>
                    <a:pt x="8682" y="6009"/>
                  </a:cubicBezTo>
                  <a:cubicBezTo>
                    <a:pt x="8638" y="5972"/>
                    <a:pt x="8653" y="5935"/>
                    <a:pt x="8726" y="5928"/>
                  </a:cubicBezTo>
                  <a:cubicBezTo>
                    <a:pt x="8792" y="5921"/>
                    <a:pt x="8807" y="5899"/>
                    <a:pt x="8843" y="5847"/>
                  </a:cubicBezTo>
                  <a:cubicBezTo>
                    <a:pt x="8880" y="5796"/>
                    <a:pt x="8917" y="5730"/>
                    <a:pt x="8843" y="5716"/>
                  </a:cubicBezTo>
                  <a:cubicBezTo>
                    <a:pt x="8763" y="5694"/>
                    <a:pt x="8785" y="5635"/>
                    <a:pt x="8807" y="5613"/>
                  </a:cubicBezTo>
                  <a:cubicBezTo>
                    <a:pt x="8836" y="5584"/>
                    <a:pt x="8910" y="5584"/>
                    <a:pt x="8917" y="5562"/>
                  </a:cubicBezTo>
                  <a:cubicBezTo>
                    <a:pt x="8931" y="5532"/>
                    <a:pt x="8910" y="5518"/>
                    <a:pt x="8858" y="5474"/>
                  </a:cubicBezTo>
                  <a:cubicBezTo>
                    <a:pt x="8807" y="5430"/>
                    <a:pt x="8778" y="5400"/>
                    <a:pt x="8785" y="5357"/>
                  </a:cubicBezTo>
                  <a:cubicBezTo>
                    <a:pt x="8792" y="5312"/>
                    <a:pt x="8814" y="5239"/>
                    <a:pt x="8763" y="5210"/>
                  </a:cubicBezTo>
                  <a:cubicBezTo>
                    <a:pt x="8719" y="5188"/>
                    <a:pt x="8726" y="5173"/>
                    <a:pt x="8800" y="5151"/>
                  </a:cubicBezTo>
                  <a:cubicBezTo>
                    <a:pt x="8880" y="5137"/>
                    <a:pt x="8939" y="5049"/>
                    <a:pt x="8880" y="5019"/>
                  </a:cubicBezTo>
                  <a:cubicBezTo>
                    <a:pt x="8814" y="4983"/>
                    <a:pt x="8785" y="4939"/>
                    <a:pt x="8726" y="4909"/>
                  </a:cubicBezTo>
                  <a:cubicBezTo>
                    <a:pt x="8668" y="4873"/>
                    <a:pt x="8594" y="4807"/>
                    <a:pt x="8602" y="4734"/>
                  </a:cubicBezTo>
                  <a:cubicBezTo>
                    <a:pt x="8616" y="4668"/>
                    <a:pt x="8602" y="4660"/>
                    <a:pt x="8668" y="4653"/>
                  </a:cubicBezTo>
                  <a:cubicBezTo>
                    <a:pt x="8726" y="4646"/>
                    <a:pt x="8755" y="4646"/>
                    <a:pt x="8755" y="4646"/>
                  </a:cubicBezTo>
                  <a:cubicBezTo>
                    <a:pt x="8755" y="4646"/>
                    <a:pt x="8682" y="4602"/>
                    <a:pt x="8653" y="4543"/>
                  </a:cubicBezTo>
                  <a:cubicBezTo>
                    <a:pt x="8631" y="4485"/>
                    <a:pt x="8616" y="4433"/>
                    <a:pt x="8624" y="4389"/>
                  </a:cubicBezTo>
                  <a:cubicBezTo>
                    <a:pt x="8631" y="4345"/>
                    <a:pt x="8668" y="4279"/>
                    <a:pt x="8682" y="4250"/>
                  </a:cubicBezTo>
                  <a:cubicBezTo>
                    <a:pt x="8697" y="4228"/>
                    <a:pt x="8646" y="4199"/>
                    <a:pt x="8587" y="4235"/>
                  </a:cubicBezTo>
                  <a:cubicBezTo>
                    <a:pt x="8528" y="4272"/>
                    <a:pt x="8514" y="4177"/>
                    <a:pt x="8484" y="4126"/>
                  </a:cubicBezTo>
                  <a:cubicBezTo>
                    <a:pt x="8462" y="4074"/>
                    <a:pt x="8374" y="3994"/>
                    <a:pt x="8374" y="3994"/>
                  </a:cubicBezTo>
                  <a:cubicBezTo>
                    <a:pt x="8367" y="3964"/>
                    <a:pt x="8272" y="3913"/>
                    <a:pt x="8265" y="3869"/>
                  </a:cubicBezTo>
                  <a:cubicBezTo>
                    <a:pt x="8257" y="3825"/>
                    <a:pt x="8199" y="3700"/>
                    <a:pt x="8206" y="3635"/>
                  </a:cubicBezTo>
                  <a:cubicBezTo>
                    <a:pt x="8213" y="3561"/>
                    <a:pt x="8213" y="3495"/>
                    <a:pt x="8301" y="3488"/>
                  </a:cubicBezTo>
                  <a:cubicBezTo>
                    <a:pt x="8382" y="3481"/>
                    <a:pt x="8462" y="3503"/>
                    <a:pt x="8521" y="3481"/>
                  </a:cubicBezTo>
                  <a:cubicBezTo>
                    <a:pt x="8580" y="3451"/>
                    <a:pt x="8594" y="3444"/>
                    <a:pt x="8624" y="3400"/>
                  </a:cubicBezTo>
                  <a:cubicBezTo>
                    <a:pt x="8646" y="3356"/>
                    <a:pt x="8638" y="3290"/>
                    <a:pt x="8697" y="3283"/>
                  </a:cubicBezTo>
                  <a:cubicBezTo>
                    <a:pt x="8755" y="3276"/>
                    <a:pt x="8880" y="3253"/>
                    <a:pt x="8880" y="3253"/>
                  </a:cubicBezTo>
                  <a:cubicBezTo>
                    <a:pt x="8880" y="3253"/>
                    <a:pt x="8939" y="3327"/>
                    <a:pt x="8961" y="3305"/>
                  </a:cubicBezTo>
                  <a:cubicBezTo>
                    <a:pt x="8990" y="3290"/>
                    <a:pt x="8997" y="3268"/>
                    <a:pt x="9049" y="3290"/>
                  </a:cubicBezTo>
                  <a:cubicBezTo>
                    <a:pt x="9100" y="3319"/>
                    <a:pt x="9166" y="3385"/>
                    <a:pt x="9203" y="3378"/>
                  </a:cubicBezTo>
                  <a:cubicBezTo>
                    <a:pt x="9232" y="3371"/>
                    <a:pt x="9224" y="3378"/>
                    <a:pt x="9283" y="3356"/>
                  </a:cubicBezTo>
                  <a:cubicBezTo>
                    <a:pt x="9342" y="3341"/>
                    <a:pt x="9386" y="3341"/>
                    <a:pt x="9422" y="3305"/>
                  </a:cubicBezTo>
                  <a:cubicBezTo>
                    <a:pt x="9452" y="3276"/>
                    <a:pt x="9503" y="3246"/>
                    <a:pt x="9547" y="3217"/>
                  </a:cubicBezTo>
                  <a:cubicBezTo>
                    <a:pt x="9591" y="3180"/>
                    <a:pt x="9620" y="3158"/>
                    <a:pt x="9657" y="3144"/>
                  </a:cubicBezTo>
                  <a:cubicBezTo>
                    <a:pt x="9701" y="3136"/>
                    <a:pt x="9635" y="3107"/>
                    <a:pt x="9664" y="3056"/>
                  </a:cubicBezTo>
                  <a:cubicBezTo>
                    <a:pt x="9701" y="3004"/>
                    <a:pt x="9730" y="2909"/>
                    <a:pt x="9730" y="2909"/>
                  </a:cubicBezTo>
                  <a:cubicBezTo>
                    <a:pt x="9730" y="2909"/>
                    <a:pt x="9767" y="2953"/>
                    <a:pt x="9796" y="2931"/>
                  </a:cubicBezTo>
                  <a:cubicBezTo>
                    <a:pt x="9818" y="2916"/>
                    <a:pt x="9862" y="2894"/>
                    <a:pt x="9862" y="2858"/>
                  </a:cubicBezTo>
                  <a:cubicBezTo>
                    <a:pt x="9862" y="2836"/>
                    <a:pt x="9891" y="2807"/>
                    <a:pt x="9913" y="2785"/>
                  </a:cubicBezTo>
                  <a:lnTo>
                    <a:pt x="9906" y="2777"/>
                  </a:lnTo>
                </a:path>
              </a:pathLst>
            </a:custGeom>
            <a:solidFill>
              <a:schemeClr val="accent1"/>
            </a:solidFill>
            <a:ln w="28575" cap="flat" cmpd="sng">
              <a:solidFill>
                <a:schemeClr val="bg2"/>
              </a:solidFill>
              <a:bevel/>
              <a:headEnd/>
              <a:tailEnd/>
            </a:ln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27" name="Freeform 126"/>
            <p:cNvSpPr>
              <a:spLocks noChangeArrowheads="1"/>
            </p:cNvSpPr>
            <p:nvPr/>
          </p:nvSpPr>
          <p:spPr bwMode="auto">
            <a:xfrm>
              <a:off x="3373941" y="5791754"/>
              <a:ext cx="2878123" cy="2744979"/>
            </a:xfrm>
            <a:custGeom>
              <a:avLst/>
              <a:gdLst>
                <a:gd name="T0" fmla="*/ 974 w 7489"/>
                <a:gd name="T1" fmla="*/ 7143 h 7225"/>
                <a:gd name="T2" fmla="*/ 630 w 7489"/>
                <a:gd name="T3" fmla="*/ 6616 h 7225"/>
                <a:gd name="T4" fmla="*/ 717 w 7489"/>
                <a:gd name="T5" fmla="*/ 6213 h 7225"/>
                <a:gd name="T6" fmla="*/ 402 w 7489"/>
                <a:gd name="T7" fmla="*/ 5920 h 7225"/>
                <a:gd name="T8" fmla="*/ 256 w 7489"/>
                <a:gd name="T9" fmla="*/ 5502 h 7225"/>
                <a:gd name="T10" fmla="*/ 278 w 7489"/>
                <a:gd name="T11" fmla="*/ 5194 h 7225"/>
                <a:gd name="T12" fmla="*/ 36 w 7489"/>
                <a:gd name="T13" fmla="*/ 4974 h 7225"/>
                <a:gd name="T14" fmla="*/ 205 w 7489"/>
                <a:gd name="T15" fmla="*/ 4799 h 7225"/>
                <a:gd name="T16" fmla="*/ 571 w 7489"/>
                <a:gd name="T17" fmla="*/ 4426 h 7225"/>
                <a:gd name="T18" fmla="*/ 534 w 7489"/>
                <a:gd name="T19" fmla="*/ 4067 h 7225"/>
                <a:gd name="T20" fmla="*/ 674 w 7489"/>
                <a:gd name="T21" fmla="*/ 3158 h 7225"/>
                <a:gd name="T22" fmla="*/ 293 w 7489"/>
                <a:gd name="T23" fmla="*/ 2521 h 7225"/>
                <a:gd name="T24" fmla="*/ 446 w 7489"/>
                <a:gd name="T25" fmla="*/ 2140 h 7225"/>
                <a:gd name="T26" fmla="*/ 762 w 7489"/>
                <a:gd name="T27" fmla="*/ 2044 h 7225"/>
                <a:gd name="T28" fmla="*/ 1150 w 7489"/>
                <a:gd name="T29" fmla="*/ 2096 h 7225"/>
                <a:gd name="T30" fmla="*/ 1985 w 7489"/>
                <a:gd name="T31" fmla="*/ 1949 h 7225"/>
                <a:gd name="T32" fmla="*/ 1868 w 7489"/>
                <a:gd name="T33" fmla="*/ 1444 h 7225"/>
                <a:gd name="T34" fmla="*/ 2359 w 7489"/>
                <a:gd name="T35" fmla="*/ 1085 h 7225"/>
                <a:gd name="T36" fmla="*/ 2960 w 7489"/>
                <a:gd name="T37" fmla="*/ 843 h 7225"/>
                <a:gd name="T38" fmla="*/ 3619 w 7489"/>
                <a:gd name="T39" fmla="*/ 308 h 7225"/>
                <a:gd name="T40" fmla="*/ 4022 w 7489"/>
                <a:gd name="T41" fmla="*/ 447 h 7225"/>
                <a:gd name="T42" fmla="*/ 4491 w 7489"/>
                <a:gd name="T43" fmla="*/ 725 h 7225"/>
                <a:gd name="T44" fmla="*/ 4345 w 7489"/>
                <a:gd name="T45" fmla="*/ 1136 h 7225"/>
                <a:gd name="T46" fmla="*/ 4330 w 7489"/>
                <a:gd name="T47" fmla="*/ 1480 h 7225"/>
                <a:gd name="T48" fmla="*/ 4755 w 7489"/>
                <a:gd name="T49" fmla="*/ 1539 h 7225"/>
                <a:gd name="T50" fmla="*/ 5143 w 7489"/>
                <a:gd name="T51" fmla="*/ 1326 h 7225"/>
                <a:gd name="T52" fmla="*/ 5422 w 7489"/>
                <a:gd name="T53" fmla="*/ 1070 h 7225"/>
                <a:gd name="T54" fmla="*/ 5231 w 7489"/>
                <a:gd name="T55" fmla="*/ 271 h 7225"/>
                <a:gd name="T56" fmla="*/ 5546 w 7489"/>
                <a:gd name="T57" fmla="*/ 37 h 7225"/>
                <a:gd name="T58" fmla="*/ 5957 w 7489"/>
                <a:gd name="T59" fmla="*/ 169 h 7225"/>
                <a:gd name="T60" fmla="*/ 6550 w 7489"/>
                <a:gd name="T61" fmla="*/ 242 h 7225"/>
                <a:gd name="T62" fmla="*/ 6821 w 7489"/>
                <a:gd name="T63" fmla="*/ 396 h 7225"/>
                <a:gd name="T64" fmla="*/ 6645 w 7489"/>
                <a:gd name="T65" fmla="*/ 953 h 7225"/>
                <a:gd name="T66" fmla="*/ 6865 w 7489"/>
                <a:gd name="T67" fmla="*/ 1348 h 7225"/>
                <a:gd name="T68" fmla="*/ 6968 w 7489"/>
                <a:gd name="T69" fmla="*/ 1891 h 7225"/>
                <a:gd name="T70" fmla="*/ 7415 w 7489"/>
                <a:gd name="T71" fmla="*/ 2228 h 7225"/>
                <a:gd name="T72" fmla="*/ 7364 w 7489"/>
                <a:gd name="T73" fmla="*/ 2858 h 7225"/>
                <a:gd name="T74" fmla="*/ 7268 w 7489"/>
                <a:gd name="T75" fmla="*/ 3092 h 7225"/>
                <a:gd name="T76" fmla="*/ 6733 w 7489"/>
                <a:gd name="T77" fmla="*/ 3517 h 7225"/>
                <a:gd name="T78" fmla="*/ 6352 w 7489"/>
                <a:gd name="T79" fmla="*/ 3576 h 7225"/>
                <a:gd name="T80" fmla="*/ 6059 w 7489"/>
                <a:gd name="T81" fmla="*/ 3840 h 7225"/>
                <a:gd name="T82" fmla="*/ 5656 w 7489"/>
                <a:gd name="T83" fmla="*/ 4184 h 7225"/>
                <a:gd name="T84" fmla="*/ 6059 w 7489"/>
                <a:gd name="T85" fmla="*/ 4397 h 7225"/>
                <a:gd name="T86" fmla="*/ 5847 w 7489"/>
                <a:gd name="T87" fmla="*/ 4813 h 7225"/>
                <a:gd name="T88" fmla="*/ 5605 w 7489"/>
                <a:gd name="T89" fmla="*/ 4784 h 7225"/>
                <a:gd name="T90" fmla="*/ 5488 w 7489"/>
                <a:gd name="T91" fmla="*/ 5158 h 7225"/>
                <a:gd name="T92" fmla="*/ 5143 w 7489"/>
                <a:gd name="T93" fmla="*/ 5568 h 7225"/>
                <a:gd name="T94" fmla="*/ 4733 w 7489"/>
                <a:gd name="T95" fmla="*/ 5795 h 7225"/>
                <a:gd name="T96" fmla="*/ 4638 w 7489"/>
                <a:gd name="T97" fmla="*/ 6096 h 7225"/>
                <a:gd name="T98" fmla="*/ 4352 w 7489"/>
                <a:gd name="T99" fmla="*/ 5744 h 7225"/>
                <a:gd name="T100" fmla="*/ 4088 w 7489"/>
                <a:gd name="T101" fmla="*/ 5400 h 7225"/>
                <a:gd name="T102" fmla="*/ 3810 w 7489"/>
                <a:gd name="T103" fmla="*/ 5671 h 7225"/>
                <a:gd name="T104" fmla="*/ 3502 w 7489"/>
                <a:gd name="T105" fmla="*/ 5920 h 7225"/>
                <a:gd name="T106" fmla="*/ 2974 w 7489"/>
                <a:gd name="T107" fmla="*/ 6286 h 7225"/>
                <a:gd name="T108" fmla="*/ 2417 w 7489"/>
                <a:gd name="T109" fmla="*/ 6396 h 7225"/>
                <a:gd name="T110" fmla="*/ 2110 w 7489"/>
                <a:gd name="T111" fmla="*/ 6682 h 7225"/>
                <a:gd name="T112" fmla="*/ 1824 w 7489"/>
                <a:gd name="T113" fmla="*/ 6916 h 7225"/>
                <a:gd name="T114" fmla="*/ 1567 w 7489"/>
                <a:gd name="T115" fmla="*/ 7188 h 7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489" h="7225">
                  <a:moveTo>
                    <a:pt x="1186" y="7224"/>
                  </a:moveTo>
                  <a:lnTo>
                    <a:pt x="1186" y="7224"/>
                  </a:lnTo>
                  <a:cubicBezTo>
                    <a:pt x="1150" y="7224"/>
                    <a:pt x="1128" y="7180"/>
                    <a:pt x="1113" y="7136"/>
                  </a:cubicBezTo>
                  <a:cubicBezTo>
                    <a:pt x="1106" y="7129"/>
                    <a:pt x="1106" y="7114"/>
                    <a:pt x="1099" y="7107"/>
                  </a:cubicBezTo>
                  <a:cubicBezTo>
                    <a:pt x="1076" y="7070"/>
                    <a:pt x="1069" y="7063"/>
                    <a:pt x="1047" y="7063"/>
                  </a:cubicBezTo>
                  <a:cubicBezTo>
                    <a:pt x="1040" y="7063"/>
                    <a:pt x="1033" y="7063"/>
                    <a:pt x="1033" y="7063"/>
                  </a:cubicBezTo>
                  <a:cubicBezTo>
                    <a:pt x="1018" y="7063"/>
                    <a:pt x="1011" y="7085"/>
                    <a:pt x="1003" y="7122"/>
                  </a:cubicBezTo>
                  <a:cubicBezTo>
                    <a:pt x="996" y="7158"/>
                    <a:pt x="996" y="7158"/>
                    <a:pt x="996" y="7158"/>
                  </a:cubicBezTo>
                  <a:cubicBezTo>
                    <a:pt x="974" y="7143"/>
                    <a:pt x="974" y="7143"/>
                    <a:pt x="974" y="7143"/>
                  </a:cubicBezTo>
                  <a:cubicBezTo>
                    <a:pt x="959" y="7129"/>
                    <a:pt x="952" y="7122"/>
                    <a:pt x="945" y="7107"/>
                  </a:cubicBezTo>
                  <a:cubicBezTo>
                    <a:pt x="908" y="7048"/>
                    <a:pt x="923" y="7004"/>
                    <a:pt x="966" y="6916"/>
                  </a:cubicBezTo>
                  <a:cubicBezTo>
                    <a:pt x="996" y="6858"/>
                    <a:pt x="981" y="6850"/>
                    <a:pt x="959" y="6821"/>
                  </a:cubicBezTo>
                  <a:cubicBezTo>
                    <a:pt x="945" y="6806"/>
                    <a:pt x="937" y="6792"/>
                    <a:pt x="923" y="6770"/>
                  </a:cubicBezTo>
                  <a:cubicBezTo>
                    <a:pt x="893" y="6704"/>
                    <a:pt x="857" y="6660"/>
                    <a:pt x="791" y="6660"/>
                  </a:cubicBezTo>
                  <a:cubicBezTo>
                    <a:pt x="783" y="6660"/>
                    <a:pt x="769" y="6660"/>
                    <a:pt x="762" y="6660"/>
                  </a:cubicBezTo>
                  <a:cubicBezTo>
                    <a:pt x="732" y="6667"/>
                    <a:pt x="710" y="6674"/>
                    <a:pt x="695" y="6674"/>
                  </a:cubicBezTo>
                  <a:cubicBezTo>
                    <a:pt x="666" y="6674"/>
                    <a:pt x="652" y="6653"/>
                    <a:pt x="644" y="6638"/>
                  </a:cubicBezTo>
                  <a:cubicBezTo>
                    <a:pt x="644" y="6631"/>
                    <a:pt x="637" y="6623"/>
                    <a:pt x="630" y="6616"/>
                  </a:cubicBezTo>
                  <a:cubicBezTo>
                    <a:pt x="622" y="6601"/>
                    <a:pt x="615" y="6594"/>
                    <a:pt x="608" y="6587"/>
                  </a:cubicBezTo>
                  <a:cubicBezTo>
                    <a:pt x="586" y="6557"/>
                    <a:pt x="564" y="6535"/>
                    <a:pt x="578" y="6455"/>
                  </a:cubicBezTo>
                  <a:cubicBezTo>
                    <a:pt x="593" y="6396"/>
                    <a:pt x="608" y="6389"/>
                    <a:pt x="637" y="6374"/>
                  </a:cubicBezTo>
                  <a:cubicBezTo>
                    <a:pt x="652" y="6374"/>
                    <a:pt x="674" y="6360"/>
                    <a:pt x="710" y="6330"/>
                  </a:cubicBezTo>
                  <a:cubicBezTo>
                    <a:pt x="732" y="6315"/>
                    <a:pt x="754" y="6293"/>
                    <a:pt x="762" y="6286"/>
                  </a:cubicBezTo>
                  <a:lnTo>
                    <a:pt x="762" y="6286"/>
                  </a:lnTo>
                  <a:lnTo>
                    <a:pt x="754" y="6279"/>
                  </a:lnTo>
                  <a:cubicBezTo>
                    <a:pt x="747" y="6272"/>
                    <a:pt x="740" y="6257"/>
                    <a:pt x="732" y="6235"/>
                  </a:cubicBezTo>
                  <a:cubicBezTo>
                    <a:pt x="725" y="6213"/>
                    <a:pt x="717" y="6213"/>
                    <a:pt x="717" y="6213"/>
                  </a:cubicBezTo>
                  <a:cubicBezTo>
                    <a:pt x="710" y="6213"/>
                    <a:pt x="703" y="6213"/>
                    <a:pt x="703" y="6213"/>
                  </a:cubicBezTo>
                  <a:cubicBezTo>
                    <a:pt x="688" y="6220"/>
                    <a:pt x="674" y="6220"/>
                    <a:pt x="659" y="6220"/>
                  </a:cubicBezTo>
                  <a:cubicBezTo>
                    <a:pt x="644" y="6220"/>
                    <a:pt x="622" y="6220"/>
                    <a:pt x="600" y="6206"/>
                  </a:cubicBezTo>
                  <a:cubicBezTo>
                    <a:pt x="542" y="6184"/>
                    <a:pt x="534" y="6169"/>
                    <a:pt x="534" y="6132"/>
                  </a:cubicBezTo>
                  <a:cubicBezTo>
                    <a:pt x="534" y="6118"/>
                    <a:pt x="534" y="6096"/>
                    <a:pt x="527" y="6066"/>
                  </a:cubicBezTo>
                  <a:cubicBezTo>
                    <a:pt x="512" y="6030"/>
                    <a:pt x="505" y="6015"/>
                    <a:pt x="505" y="6000"/>
                  </a:cubicBezTo>
                  <a:cubicBezTo>
                    <a:pt x="490" y="5971"/>
                    <a:pt x="490" y="5964"/>
                    <a:pt x="468" y="5927"/>
                  </a:cubicBezTo>
                  <a:cubicBezTo>
                    <a:pt x="461" y="5912"/>
                    <a:pt x="454" y="5912"/>
                    <a:pt x="439" y="5912"/>
                  </a:cubicBezTo>
                  <a:cubicBezTo>
                    <a:pt x="432" y="5912"/>
                    <a:pt x="417" y="5912"/>
                    <a:pt x="402" y="5920"/>
                  </a:cubicBezTo>
                  <a:cubicBezTo>
                    <a:pt x="388" y="5927"/>
                    <a:pt x="373" y="5927"/>
                    <a:pt x="351" y="5927"/>
                  </a:cubicBezTo>
                  <a:cubicBezTo>
                    <a:pt x="344" y="5927"/>
                    <a:pt x="336" y="5927"/>
                    <a:pt x="329" y="5927"/>
                  </a:cubicBezTo>
                  <a:cubicBezTo>
                    <a:pt x="307" y="5920"/>
                    <a:pt x="285" y="5912"/>
                    <a:pt x="278" y="5891"/>
                  </a:cubicBezTo>
                  <a:cubicBezTo>
                    <a:pt x="263" y="5869"/>
                    <a:pt x="263" y="5832"/>
                    <a:pt x="278" y="5781"/>
                  </a:cubicBezTo>
                  <a:cubicBezTo>
                    <a:pt x="293" y="5737"/>
                    <a:pt x="285" y="5729"/>
                    <a:pt x="256" y="5722"/>
                  </a:cubicBezTo>
                  <a:cubicBezTo>
                    <a:pt x="249" y="5722"/>
                    <a:pt x="234" y="5715"/>
                    <a:pt x="226" y="5707"/>
                  </a:cubicBezTo>
                  <a:cubicBezTo>
                    <a:pt x="205" y="5700"/>
                    <a:pt x="161" y="5671"/>
                    <a:pt x="168" y="5641"/>
                  </a:cubicBezTo>
                  <a:cubicBezTo>
                    <a:pt x="168" y="5627"/>
                    <a:pt x="183" y="5619"/>
                    <a:pt x="205" y="5612"/>
                  </a:cubicBezTo>
                  <a:cubicBezTo>
                    <a:pt x="249" y="5605"/>
                    <a:pt x="256" y="5575"/>
                    <a:pt x="256" y="5502"/>
                  </a:cubicBezTo>
                  <a:cubicBezTo>
                    <a:pt x="256" y="5465"/>
                    <a:pt x="271" y="5451"/>
                    <a:pt x="300" y="5451"/>
                  </a:cubicBezTo>
                  <a:cubicBezTo>
                    <a:pt x="314" y="5451"/>
                    <a:pt x="322" y="5451"/>
                    <a:pt x="336" y="5451"/>
                  </a:cubicBezTo>
                  <a:cubicBezTo>
                    <a:pt x="351" y="5451"/>
                    <a:pt x="366" y="5458"/>
                    <a:pt x="381" y="5458"/>
                  </a:cubicBezTo>
                  <a:cubicBezTo>
                    <a:pt x="388" y="5458"/>
                    <a:pt x="395" y="5458"/>
                    <a:pt x="402" y="5451"/>
                  </a:cubicBezTo>
                  <a:cubicBezTo>
                    <a:pt x="410" y="5451"/>
                    <a:pt x="417" y="5451"/>
                    <a:pt x="424" y="5443"/>
                  </a:cubicBezTo>
                  <a:cubicBezTo>
                    <a:pt x="432" y="5429"/>
                    <a:pt x="424" y="5407"/>
                    <a:pt x="417" y="5378"/>
                  </a:cubicBezTo>
                  <a:cubicBezTo>
                    <a:pt x="417" y="5356"/>
                    <a:pt x="410" y="5334"/>
                    <a:pt x="410" y="5312"/>
                  </a:cubicBezTo>
                  <a:cubicBezTo>
                    <a:pt x="410" y="5238"/>
                    <a:pt x="410" y="5238"/>
                    <a:pt x="373" y="5238"/>
                  </a:cubicBezTo>
                  <a:cubicBezTo>
                    <a:pt x="336" y="5238"/>
                    <a:pt x="293" y="5224"/>
                    <a:pt x="278" y="5194"/>
                  </a:cubicBezTo>
                  <a:cubicBezTo>
                    <a:pt x="271" y="5172"/>
                    <a:pt x="263" y="5150"/>
                    <a:pt x="293" y="5106"/>
                  </a:cubicBezTo>
                  <a:cubicBezTo>
                    <a:pt x="300" y="5092"/>
                    <a:pt x="307" y="5070"/>
                    <a:pt x="307" y="5062"/>
                  </a:cubicBezTo>
                  <a:cubicBezTo>
                    <a:pt x="300" y="5055"/>
                    <a:pt x="285" y="5048"/>
                    <a:pt x="285" y="5048"/>
                  </a:cubicBezTo>
                  <a:cubicBezTo>
                    <a:pt x="278" y="5048"/>
                    <a:pt x="278" y="5055"/>
                    <a:pt x="271" y="5055"/>
                  </a:cubicBezTo>
                  <a:cubicBezTo>
                    <a:pt x="256" y="5055"/>
                    <a:pt x="241" y="5062"/>
                    <a:pt x="219" y="5062"/>
                  </a:cubicBezTo>
                  <a:cubicBezTo>
                    <a:pt x="197" y="5062"/>
                    <a:pt x="161" y="5062"/>
                    <a:pt x="109" y="5077"/>
                  </a:cubicBezTo>
                  <a:cubicBezTo>
                    <a:pt x="102" y="5077"/>
                    <a:pt x="87" y="5077"/>
                    <a:pt x="80" y="5077"/>
                  </a:cubicBezTo>
                  <a:cubicBezTo>
                    <a:pt x="65" y="5077"/>
                    <a:pt x="51" y="5077"/>
                    <a:pt x="43" y="5062"/>
                  </a:cubicBezTo>
                  <a:cubicBezTo>
                    <a:pt x="29" y="5048"/>
                    <a:pt x="29" y="5011"/>
                    <a:pt x="36" y="4974"/>
                  </a:cubicBezTo>
                  <a:cubicBezTo>
                    <a:pt x="36" y="4960"/>
                    <a:pt x="36" y="4945"/>
                    <a:pt x="36" y="4923"/>
                  </a:cubicBezTo>
                  <a:cubicBezTo>
                    <a:pt x="36" y="4894"/>
                    <a:pt x="29" y="4872"/>
                    <a:pt x="21" y="4850"/>
                  </a:cubicBezTo>
                  <a:cubicBezTo>
                    <a:pt x="7" y="4813"/>
                    <a:pt x="0" y="4784"/>
                    <a:pt x="29" y="4755"/>
                  </a:cubicBezTo>
                  <a:cubicBezTo>
                    <a:pt x="58" y="4733"/>
                    <a:pt x="73" y="4725"/>
                    <a:pt x="87" y="4725"/>
                  </a:cubicBezTo>
                  <a:cubicBezTo>
                    <a:pt x="102" y="4725"/>
                    <a:pt x="124" y="4733"/>
                    <a:pt x="124" y="4777"/>
                  </a:cubicBezTo>
                  <a:cubicBezTo>
                    <a:pt x="124" y="4791"/>
                    <a:pt x="131" y="4806"/>
                    <a:pt x="146" y="4821"/>
                  </a:cubicBezTo>
                  <a:cubicBezTo>
                    <a:pt x="161" y="4835"/>
                    <a:pt x="175" y="4843"/>
                    <a:pt x="183" y="4843"/>
                  </a:cubicBezTo>
                  <a:cubicBezTo>
                    <a:pt x="183" y="4843"/>
                    <a:pt x="183" y="4843"/>
                    <a:pt x="190" y="4835"/>
                  </a:cubicBezTo>
                  <a:cubicBezTo>
                    <a:pt x="190" y="4828"/>
                    <a:pt x="197" y="4813"/>
                    <a:pt x="205" y="4799"/>
                  </a:cubicBezTo>
                  <a:cubicBezTo>
                    <a:pt x="226" y="4762"/>
                    <a:pt x="249" y="4711"/>
                    <a:pt x="293" y="4674"/>
                  </a:cubicBezTo>
                  <a:cubicBezTo>
                    <a:pt x="314" y="4660"/>
                    <a:pt x="329" y="4652"/>
                    <a:pt x="344" y="4645"/>
                  </a:cubicBezTo>
                  <a:cubicBezTo>
                    <a:pt x="351" y="4638"/>
                    <a:pt x="358" y="4638"/>
                    <a:pt x="381" y="4601"/>
                  </a:cubicBezTo>
                  <a:cubicBezTo>
                    <a:pt x="410" y="4535"/>
                    <a:pt x="454" y="4520"/>
                    <a:pt x="505" y="4499"/>
                  </a:cubicBezTo>
                  <a:cubicBezTo>
                    <a:pt x="520" y="4492"/>
                    <a:pt x="520" y="4492"/>
                    <a:pt x="520" y="4492"/>
                  </a:cubicBezTo>
                  <a:cubicBezTo>
                    <a:pt x="549" y="4484"/>
                    <a:pt x="571" y="4477"/>
                    <a:pt x="578" y="4477"/>
                  </a:cubicBezTo>
                  <a:cubicBezTo>
                    <a:pt x="586" y="4477"/>
                    <a:pt x="593" y="4477"/>
                    <a:pt x="593" y="4477"/>
                  </a:cubicBezTo>
                  <a:cubicBezTo>
                    <a:pt x="593" y="4477"/>
                    <a:pt x="593" y="4477"/>
                    <a:pt x="593" y="4470"/>
                  </a:cubicBezTo>
                  <a:cubicBezTo>
                    <a:pt x="593" y="4448"/>
                    <a:pt x="571" y="4426"/>
                    <a:pt x="571" y="4426"/>
                  </a:cubicBezTo>
                  <a:cubicBezTo>
                    <a:pt x="564" y="4411"/>
                    <a:pt x="564" y="4411"/>
                    <a:pt x="564" y="4411"/>
                  </a:cubicBezTo>
                  <a:cubicBezTo>
                    <a:pt x="644" y="4353"/>
                    <a:pt x="644" y="4353"/>
                    <a:pt x="644" y="4353"/>
                  </a:cubicBezTo>
                  <a:cubicBezTo>
                    <a:pt x="644" y="4353"/>
                    <a:pt x="637" y="4353"/>
                    <a:pt x="630" y="4353"/>
                  </a:cubicBezTo>
                  <a:cubicBezTo>
                    <a:pt x="630" y="4353"/>
                    <a:pt x="615" y="4353"/>
                    <a:pt x="608" y="4360"/>
                  </a:cubicBezTo>
                  <a:cubicBezTo>
                    <a:pt x="571" y="4382"/>
                    <a:pt x="527" y="4404"/>
                    <a:pt x="483" y="4404"/>
                  </a:cubicBezTo>
                  <a:cubicBezTo>
                    <a:pt x="461" y="4404"/>
                    <a:pt x="439" y="4397"/>
                    <a:pt x="417" y="4382"/>
                  </a:cubicBezTo>
                  <a:cubicBezTo>
                    <a:pt x="402" y="4375"/>
                    <a:pt x="395" y="4360"/>
                    <a:pt x="388" y="4345"/>
                  </a:cubicBezTo>
                  <a:cubicBezTo>
                    <a:pt x="381" y="4272"/>
                    <a:pt x="461" y="4170"/>
                    <a:pt x="468" y="4155"/>
                  </a:cubicBezTo>
                  <a:cubicBezTo>
                    <a:pt x="490" y="4133"/>
                    <a:pt x="512" y="4104"/>
                    <a:pt x="534" y="4067"/>
                  </a:cubicBezTo>
                  <a:cubicBezTo>
                    <a:pt x="556" y="4023"/>
                    <a:pt x="578" y="3979"/>
                    <a:pt x="615" y="3928"/>
                  </a:cubicBezTo>
                  <a:cubicBezTo>
                    <a:pt x="652" y="3884"/>
                    <a:pt x="681" y="3869"/>
                    <a:pt x="695" y="3854"/>
                  </a:cubicBezTo>
                  <a:cubicBezTo>
                    <a:pt x="717" y="3840"/>
                    <a:pt x="732" y="3832"/>
                    <a:pt x="740" y="3803"/>
                  </a:cubicBezTo>
                  <a:cubicBezTo>
                    <a:pt x="747" y="3774"/>
                    <a:pt x="747" y="3744"/>
                    <a:pt x="747" y="3715"/>
                  </a:cubicBezTo>
                  <a:cubicBezTo>
                    <a:pt x="740" y="3679"/>
                    <a:pt x="740" y="3627"/>
                    <a:pt x="762" y="3569"/>
                  </a:cubicBezTo>
                  <a:cubicBezTo>
                    <a:pt x="798" y="3503"/>
                    <a:pt x="776" y="3444"/>
                    <a:pt x="754" y="3378"/>
                  </a:cubicBezTo>
                  <a:cubicBezTo>
                    <a:pt x="754" y="3363"/>
                    <a:pt x="747" y="3342"/>
                    <a:pt x="740" y="3320"/>
                  </a:cubicBezTo>
                  <a:cubicBezTo>
                    <a:pt x="725" y="3275"/>
                    <a:pt x="710" y="3246"/>
                    <a:pt x="703" y="3224"/>
                  </a:cubicBezTo>
                  <a:cubicBezTo>
                    <a:pt x="688" y="3210"/>
                    <a:pt x="681" y="3188"/>
                    <a:pt x="674" y="3158"/>
                  </a:cubicBezTo>
                  <a:cubicBezTo>
                    <a:pt x="659" y="3114"/>
                    <a:pt x="637" y="3070"/>
                    <a:pt x="564" y="2997"/>
                  </a:cubicBezTo>
                  <a:cubicBezTo>
                    <a:pt x="527" y="2968"/>
                    <a:pt x="512" y="2939"/>
                    <a:pt x="512" y="2916"/>
                  </a:cubicBezTo>
                  <a:cubicBezTo>
                    <a:pt x="512" y="2894"/>
                    <a:pt x="534" y="2873"/>
                    <a:pt x="564" y="2851"/>
                  </a:cubicBezTo>
                  <a:cubicBezTo>
                    <a:pt x="578" y="2843"/>
                    <a:pt x="578" y="2836"/>
                    <a:pt x="578" y="2836"/>
                  </a:cubicBezTo>
                  <a:cubicBezTo>
                    <a:pt x="578" y="2821"/>
                    <a:pt x="534" y="2806"/>
                    <a:pt x="505" y="2792"/>
                  </a:cubicBezTo>
                  <a:cubicBezTo>
                    <a:pt x="490" y="2785"/>
                    <a:pt x="490" y="2785"/>
                    <a:pt x="490" y="2785"/>
                  </a:cubicBezTo>
                  <a:cubicBezTo>
                    <a:pt x="424" y="2763"/>
                    <a:pt x="410" y="2726"/>
                    <a:pt x="410" y="2660"/>
                  </a:cubicBezTo>
                  <a:cubicBezTo>
                    <a:pt x="410" y="2587"/>
                    <a:pt x="410" y="2557"/>
                    <a:pt x="366" y="2535"/>
                  </a:cubicBezTo>
                  <a:cubicBezTo>
                    <a:pt x="336" y="2528"/>
                    <a:pt x="307" y="2521"/>
                    <a:pt x="293" y="2521"/>
                  </a:cubicBezTo>
                  <a:cubicBezTo>
                    <a:pt x="271" y="2521"/>
                    <a:pt x="263" y="2528"/>
                    <a:pt x="256" y="2528"/>
                  </a:cubicBezTo>
                  <a:cubicBezTo>
                    <a:pt x="226" y="2535"/>
                    <a:pt x="226" y="2535"/>
                    <a:pt x="226" y="2535"/>
                  </a:cubicBezTo>
                  <a:cubicBezTo>
                    <a:pt x="241" y="2506"/>
                    <a:pt x="241" y="2506"/>
                    <a:pt x="241" y="2506"/>
                  </a:cubicBezTo>
                  <a:cubicBezTo>
                    <a:pt x="241" y="2499"/>
                    <a:pt x="271" y="2462"/>
                    <a:pt x="329" y="2440"/>
                  </a:cubicBezTo>
                  <a:cubicBezTo>
                    <a:pt x="351" y="2433"/>
                    <a:pt x="351" y="2418"/>
                    <a:pt x="351" y="2418"/>
                  </a:cubicBezTo>
                  <a:cubicBezTo>
                    <a:pt x="358" y="2396"/>
                    <a:pt x="336" y="2367"/>
                    <a:pt x="300" y="2345"/>
                  </a:cubicBezTo>
                  <a:cubicBezTo>
                    <a:pt x="271" y="2316"/>
                    <a:pt x="249" y="2279"/>
                    <a:pt x="256" y="2250"/>
                  </a:cubicBezTo>
                  <a:cubicBezTo>
                    <a:pt x="263" y="2235"/>
                    <a:pt x="278" y="2213"/>
                    <a:pt x="322" y="2206"/>
                  </a:cubicBezTo>
                  <a:cubicBezTo>
                    <a:pt x="395" y="2191"/>
                    <a:pt x="432" y="2176"/>
                    <a:pt x="446" y="2140"/>
                  </a:cubicBezTo>
                  <a:cubicBezTo>
                    <a:pt x="461" y="2111"/>
                    <a:pt x="490" y="2089"/>
                    <a:pt x="520" y="2089"/>
                  </a:cubicBezTo>
                  <a:cubicBezTo>
                    <a:pt x="527" y="2089"/>
                    <a:pt x="549" y="2089"/>
                    <a:pt x="564" y="2118"/>
                  </a:cubicBezTo>
                  <a:cubicBezTo>
                    <a:pt x="586" y="2154"/>
                    <a:pt x="608" y="2169"/>
                    <a:pt x="688" y="2169"/>
                  </a:cubicBezTo>
                  <a:cubicBezTo>
                    <a:pt x="695" y="2169"/>
                    <a:pt x="703" y="2169"/>
                    <a:pt x="703" y="2169"/>
                  </a:cubicBezTo>
                  <a:cubicBezTo>
                    <a:pt x="710" y="2154"/>
                    <a:pt x="659" y="2096"/>
                    <a:pt x="644" y="2074"/>
                  </a:cubicBezTo>
                  <a:cubicBezTo>
                    <a:pt x="630" y="2066"/>
                    <a:pt x="622" y="2052"/>
                    <a:pt x="615" y="2044"/>
                  </a:cubicBezTo>
                  <a:cubicBezTo>
                    <a:pt x="600" y="2023"/>
                    <a:pt x="608" y="2008"/>
                    <a:pt x="608" y="2001"/>
                  </a:cubicBezTo>
                  <a:cubicBezTo>
                    <a:pt x="622" y="1964"/>
                    <a:pt x="688" y="1964"/>
                    <a:pt x="695" y="1964"/>
                  </a:cubicBezTo>
                  <a:cubicBezTo>
                    <a:pt x="732" y="1964"/>
                    <a:pt x="747" y="2008"/>
                    <a:pt x="762" y="2044"/>
                  </a:cubicBezTo>
                  <a:cubicBezTo>
                    <a:pt x="769" y="2059"/>
                    <a:pt x="776" y="2074"/>
                    <a:pt x="783" y="2089"/>
                  </a:cubicBezTo>
                  <a:cubicBezTo>
                    <a:pt x="791" y="2111"/>
                    <a:pt x="813" y="2118"/>
                    <a:pt x="857" y="2118"/>
                  </a:cubicBezTo>
                  <a:cubicBezTo>
                    <a:pt x="879" y="2118"/>
                    <a:pt x="901" y="2118"/>
                    <a:pt x="923" y="2111"/>
                  </a:cubicBezTo>
                  <a:cubicBezTo>
                    <a:pt x="930" y="2111"/>
                    <a:pt x="937" y="2111"/>
                    <a:pt x="945" y="2111"/>
                  </a:cubicBezTo>
                  <a:cubicBezTo>
                    <a:pt x="1011" y="2111"/>
                    <a:pt x="1076" y="2154"/>
                    <a:pt x="1128" y="2191"/>
                  </a:cubicBezTo>
                  <a:cubicBezTo>
                    <a:pt x="1157" y="2220"/>
                    <a:pt x="1179" y="2228"/>
                    <a:pt x="1194" y="2228"/>
                  </a:cubicBezTo>
                  <a:cubicBezTo>
                    <a:pt x="1194" y="2228"/>
                    <a:pt x="1201" y="2228"/>
                    <a:pt x="1208" y="2213"/>
                  </a:cubicBezTo>
                  <a:cubicBezTo>
                    <a:pt x="1208" y="2198"/>
                    <a:pt x="1194" y="2184"/>
                    <a:pt x="1179" y="2162"/>
                  </a:cubicBezTo>
                  <a:cubicBezTo>
                    <a:pt x="1157" y="2147"/>
                    <a:pt x="1142" y="2125"/>
                    <a:pt x="1150" y="2096"/>
                  </a:cubicBezTo>
                  <a:cubicBezTo>
                    <a:pt x="1157" y="2081"/>
                    <a:pt x="1172" y="2074"/>
                    <a:pt x="1186" y="2074"/>
                  </a:cubicBezTo>
                  <a:cubicBezTo>
                    <a:pt x="1223" y="2074"/>
                    <a:pt x="1267" y="2103"/>
                    <a:pt x="1296" y="2140"/>
                  </a:cubicBezTo>
                  <a:cubicBezTo>
                    <a:pt x="1311" y="2154"/>
                    <a:pt x="1326" y="2154"/>
                    <a:pt x="1340" y="2154"/>
                  </a:cubicBezTo>
                  <a:cubicBezTo>
                    <a:pt x="1377" y="2154"/>
                    <a:pt x="1428" y="2125"/>
                    <a:pt x="1450" y="2103"/>
                  </a:cubicBezTo>
                  <a:cubicBezTo>
                    <a:pt x="1487" y="2066"/>
                    <a:pt x="1663" y="2001"/>
                    <a:pt x="1729" y="1979"/>
                  </a:cubicBezTo>
                  <a:cubicBezTo>
                    <a:pt x="1743" y="1971"/>
                    <a:pt x="1758" y="1964"/>
                    <a:pt x="1773" y="1964"/>
                  </a:cubicBezTo>
                  <a:cubicBezTo>
                    <a:pt x="1809" y="1964"/>
                    <a:pt x="1846" y="1979"/>
                    <a:pt x="1861" y="2044"/>
                  </a:cubicBezTo>
                  <a:cubicBezTo>
                    <a:pt x="1861" y="2052"/>
                    <a:pt x="1861" y="2052"/>
                    <a:pt x="1868" y="2052"/>
                  </a:cubicBezTo>
                  <a:cubicBezTo>
                    <a:pt x="1897" y="2052"/>
                    <a:pt x="1963" y="2001"/>
                    <a:pt x="1985" y="1949"/>
                  </a:cubicBezTo>
                  <a:cubicBezTo>
                    <a:pt x="2014" y="1905"/>
                    <a:pt x="2022" y="1883"/>
                    <a:pt x="2044" y="1854"/>
                  </a:cubicBezTo>
                  <a:cubicBezTo>
                    <a:pt x="2051" y="1847"/>
                    <a:pt x="2058" y="1832"/>
                    <a:pt x="2066" y="1810"/>
                  </a:cubicBezTo>
                  <a:cubicBezTo>
                    <a:pt x="2088" y="1781"/>
                    <a:pt x="2088" y="1773"/>
                    <a:pt x="2066" y="1751"/>
                  </a:cubicBezTo>
                  <a:cubicBezTo>
                    <a:pt x="2058" y="1744"/>
                    <a:pt x="2051" y="1737"/>
                    <a:pt x="2044" y="1730"/>
                  </a:cubicBezTo>
                  <a:cubicBezTo>
                    <a:pt x="2014" y="1693"/>
                    <a:pt x="1971" y="1656"/>
                    <a:pt x="1912" y="1620"/>
                  </a:cubicBezTo>
                  <a:cubicBezTo>
                    <a:pt x="1890" y="1605"/>
                    <a:pt x="1890" y="1605"/>
                    <a:pt x="1890" y="1605"/>
                  </a:cubicBezTo>
                  <a:cubicBezTo>
                    <a:pt x="1846" y="1575"/>
                    <a:pt x="1817" y="1554"/>
                    <a:pt x="1817" y="1524"/>
                  </a:cubicBezTo>
                  <a:cubicBezTo>
                    <a:pt x="1809" y="1510"/>
                    <a:pt x="1817" y="1495"/>
                    <a:pt x="1831" y="1473"/>
                  </a:cubicBezTo>
                  <a:cubicBezTo>
                    <a:pt x="1846" y="1451"/>
                    <a:pt x="1853" y="1444"/>
                    <a:pt x="1868" y="1444"/>
                  </a:cubicBezTo>
                  <a:cubicBezTo>
                    <a:pt x="1875" y="1444"/>
                    <a:pt x="1883" y="1451"/>
                    <a:pt x="1883" y="1451"/>
                  </a:cubicBezTo>
                  <a:cubicBezTo>
                    <a:pt x="1890" y="1451"/>
                    <a:pt x="1890" y="1451"/>
                    <a:pt x="1890" y="1451"/>
                  </a:cubicBezTo>
                  <a:cubicBezTo>
                    <a:pt x="1890" y="1451"/>
                    <a:pt x="1897" y="1444"/>
                    <a:pt x="1897" y="1436"/>
                  </a:cubicBezTo>
                  <a:cubicBezTo>
                    <a:pt x="1912" y="1407"/>
                    <a:pt x="1956" y="1326"/>
                    <a:pt x="2036" y="1326"/>
                  </a:cubicBezTo>
                  <a:cubicBezTo>
                    <a:pt x="2102" y="1326"/>
                    <a:pt x="2132" y="1326"/>
                    <a:pt x="2161" y="1297"/>
                  </a:cubicBezTo>
                  <a:cubicBezTo>
                    <a:pt x="2176" y="1290"/>
                    <a:pt x="2183" y="1261"/>
                    <a:pt x="2198" y="1231"/>
                  </a:cubicBezTo>
                  <a:cubicBezTo>
                    <a:pt x="2212" y="1194"/>
                    <a:pt x="2227" y="1151"/>
                    <a:pt x="2256" y="1129"/>
                  </a:cubicBezTo>
                  <a:cubicBezTo>
                    <a:pt x="2278" y="1106"/>
                    <a:pt x="2300" y="1106"/>
                    <a:pt x="2322" y="1106"/>
                  </a:cubicBezTo>
                  <a:cubicBezTo>
                    <a:pt x="2344" y="1106"/>
                    <a:pt x="2352" y="1106"/>
                    <a:pt x="2359" y="1085"/>
                  </a:cubicBezTo>
                  <a:cubicBezTo>
                    <a:pt x="2366" y="1077"/>
                    <a:pt x="2374" y="1070"/>
                    <a:pt x="2374" y="1063"/>
                  </a:cubicBezTo>
                  <a:cubicBezTo>
                    <a:pt x="2388" y="1026"/>
                    <a:pt x="2403" y="989"/>
                    <a:pt x="2476" y="975"/>
                  </a:cubicBezTo>
                  <a:cubicBezTo>
                    <a:pt x="2527" y="967"/>
                    <a:pt x="2564" y="945"/>
                    <a:pt x="2586" y="931"/>
                  </a:cubicBezTo>
                  <a:cubicBezTo>
                    <a:pt x="2593" y="931"/>
                    <a:pt x="2593" y="931"/>
                    <a:pt x="2593" y="931"/>
                  </a:cubicBezTo>
                  <a:lnTo>
                    <a:pt x="2593" y="931"/>
                  </a:lnTo>
                  <a:cubicBezTo>
                    <a:pt x="2645" y="931"/>
                    <a:pt x="2667" y="916"/>
                    <a:pt x="2681" y="901"/>
                  </a:cubicBezTo>
                  <a:cubicBezTo>
                    <a:pt x="2711" y="857"/>
                    <a:pt x="2798" y="850"/>
                    <a:pt x="2879" y="850"/>
                  </a:cubicBezTo>
                  <a:cubicBezTo>
                    <a:pt x="2901" y="850"/>
                    <a:pt x="2916" y="850"/>
                    <a:pt x="2930" y="843"/>
                  </a:cubicBezTo>
                  <a:cubicBezTo>
                    <a:pt x="2938" y="843"/>
                    <a:pt x="2945" y="843"/>
                    <a:pt x="2960" y="843"/>
                  </a:cubicBezTo>
                  <a:cubicBezTo>
                    <a:pt x="3018" y="828"/>
                    <a:pt x="3150" y="813"/>
                    <a:pt x="3202" y="762"/>
                  </a:cubicBezTo>
                  <a:cubicBezTo>
                    <a:pt x="3245" y="718"/>
                    <a:pt x="3333" y="660"/>
                    <a:pt x="3399" y="623"/>
                  </a:cubicBezTo>
                  <a:cubicBezTo>
                    <a:pt x="3421" y="608"/>
                    <a:pt x="3436" y="601"/>
                    <a:pt x="3451" y="594"/>
                  </a:cubicBezTo>
                  <a:cubicBezTo>
                    <a:pt x="3502" y="557"/>
                    <a:pt x="3546" y="528"/>
                    <a:pt x="3605" y="498"/>
                  </a:cubicBezTo>
                  <a:cubicBezTo>
                    <a:pt x="3648" y="476"/>
                    <a:pt x="3648" y="462"/>
                    <a:pt x="3656" y="447"/>
                  </a:cubicBezTo>
                  <a:cubicBezTo>
                    <a:pt x="3663" y="440"/>
                    <a:pt x="3663" y="432"/>
                    <a:pt x="3663" y="425"/>
                  </a:cubicBezTo>
                  <a:cubicBezTo>
                    <a:pt x="3670" y="425"/>
                    <a:pt x="3670" y="418"/>
                    <a:pt x="3678" y="411"/>
                  </a:cubicBezTo>
                  <a:cubicBezTo>
                    <a:pt x="3685" y="388"/>
                    <a:pt x="3693" y="381"/>
                    <a:pt x="3656" y="352"/>
                  </a:cubicBezTo>
                  <a:cubicBezTo>
                    <a:pt x="3634" y="337"/>
                    <a:pt x="3626" y="323"/>
                    <a:pt x="3619" y="308"/>
                  </a:cubicBezTo>
                  <a:cubicBezTo>
                    <a:pt x="3619" y="293"/>
                    <a:pt x="3634" y="279"/>
                    <a:pt x="3641" y="264"/>
                  </a:cubicBezTo>
                  <a:cubicBezTo>
                    <a:pt x="3656" y="256"/>
                    <a:pt x="3663" y="242"/>
                    <a:pt x="3663" y="235"/>
                  </a:cubicBezTo>
                  <a:cubicBezTo>
                    <a:pt x="3678" y="198"/>
                    <a:pt x="3700" y="161"/>
                    <a:pt x="3736" y="161"/>
                  </a:cubicBezTo>
                  <a:cubicBezTo>
                    <a:pt x="3751" y="161"/>
                    <a:pt x="3766" y="169"/>
                    <a:pt x="3780" y="176"/>
                  </a:cubicBezTo>
                  <a:cubicBezTo>
                    <a:pt x="3802" y="191"/>
                    <a:pt x="3824" y="205"/>
                    <a:pt x="3839" y="220"/>
                  </a:cubicBezTo>
                  <a:cubicBezTo>
                    <a:pt x="3854" y="235"/>
                    <a:pt x="3868" y="249"/>
                    <a:pt x="3890" y="256"/>
                  </a:cubicBezTo>
                  <a:cubicBezTo>
                    <a:pt x="3927" y="271"/>
                    <a:pt x="3927" y="308"/>
                    <a:pt x="3927" y="337"/>
                  </a:cubicBezTo>
                  <a:cubicBezTo>
                    <a:pt x="3927" y="352"/>
                    <a:pt x="3927" y="366"/>
                    <a:pt x="3934" y="388"/>
                  </a:cubicBezTo>
                  <a:cubicBezTo>
                    <a:pt x="3949" y="432"/>
                    <a:pt x="3978" y="440"/>
                    <a:pt x="4022" y="447"/>
                  </a:cubicBezTo>
                  <a:cubicBezTo>
                    <a:pt x="4059" y="454"/>
                    <a:pt x="4074" y="469"/>
                    <a:pt x="4095" y="491"/>
                  </a:cubicBezTo>
                  <a:cubicBezTo>
                    <a:pt x="4103" y="491"/>
                    <a:pt x="4110" y="498"/>
                    <a:pt x="4125" y="506"/>
                  </a:cubicBezTo>
                  <a:cubicBezTo>
                    <a:pt x="4139" y="520"/>
                    <a:pt x="4154" y="520"/>
                    <a:pt x="4176" y="520"/>
                  </a:cubicBezTo>
                  <a:cubicBezTo>
                    <a:pt x="4191" y="520"/>
                    <a:pt x="4213" y="520"/>
                    <a:pt x="4220" y="506"/>
                  </a:cubicBezTo>
                  <a:cubicBezTo>
                    <a:pt x="4235" y="498"/>
                    <a:pt x="4257" y="491"/>
                    <a:pt x="4286" y="491"/>
                  </a:cubicBezTo>
                  <a:cubicBezTo>
                    <a:pt x="4323" y="491"/>
                    <a:pt x="4367" y="506"/>
                    <a:pt x="4381" y="535"/>
                  </a:cubicBezTo>
                  <a:cubicBezTo>
                    <a:pt x="4388" y="557"/>
                    <a:pt x="4396" y="579"/>
                    <a:pt x="4403" y="594"/>
                  </a:cubicBezTo>
                  <a:cubicBezTo>
                    <a:pt x="4411" y="638"/>
                    <a:pt x="4418" y="660"/>
                    <a:pt x="4440" y="667"/>
                  </a:cubicBezTo>
                  <a:cubicBezTo>
                    <a:pt x="4476" y="674"/>
                    <a:pt x="4491" y="704"/>
                    <a:pt x="4491" y="725"/>
                  </a:cubicBezTo>
                  <a:cubicBezTo>
                    <a:pt x="4491" y="740"/>
                    <a:pt x="4476" y="770"/>
                    <a:pt x="4418" y="770"/>
                  </a:cubicBezTo>
                  <a:cubicBezTo>
                    <a:pt x="4396" y="777"/>
                    <a:pt x="4381" y="784"/>
                    <a:pt x="4381" y="792"/>
                  </a:cubicBezTo>
                  <a:cubicBezTo>
                    <a:pt x="4374" y="799"/>
                    <a:pt x="4381" y="821"/>
                    <a:pt x="4388" y="835"/>
                  </a:cubicBezTo>
                  <a:cubicBezTo>
                    <a:pt x="4396" y="850"/>
                    <a:pt x="4396" y="850"/>
                    <a:pt x="4396" y="850"/>
                  </a:cubicBezTo>
                  <a:cubicBezTo>
                    <a:pt x="4411" y="880"/>
                    <a:pt x="4411" y="887"/>
                    <a:pt x="4388" y="938"/>
                  </a:cubicBezTo>
                  <a:cubicBezTo>
                    <a:pt x="4381" y="953"/>
                    <a:pt x="4381" y="975"/>
                    <a:pt x="4381" y="989"/>
                  </a:cubicBezTo>
                  <a:cubicBezTo>
                    <a:pt x="4381" y="1019"/>
                    <a:pt x="4381" y="1048"/>
                    <a:pt x="4337" y="1070"/>
                  </a:cubicBezTo>
                  <a:cubicBezTo>
                    <a:pt x="4308" y="1085"/>
                    <a:pt x="4308" y="1092"/>
                    <a:pt x="4308" y="1099"/>
                  </a:cubicBezTo>
                  <a:cubicBezTo>
                    <a:pt x="4308" y="1099"/>
                    <a:pt x="4308" y="1114"/>
                    <a:pt x="4345" y="1136"/>
                  </a:cubicBezTo>
                  <a:cubicBezTo>
                    <a:pt x="4403" y="1173"/>
                    <a:pt x="4433" y="1187"/>
                    <a:pt x="4469" y="1187"/>
                  </a:cubicBezTo>
                  <a:cubicBezTo>
                    <a:pt x="4476" y="1187"/>
                    <a:pt x="4484" y="1187"/>
                    <a:pt x="4491" y="1187"/>
                  </a:cubicBezTo>
                  <a:cubicBezTo>
                    <a:pt x="4498" y="1187"/>
                    <a:pt x="4506" y="1180"/>
                    <a:pt x="4506" y="1180"/>
                  </a:cubicBezTo>
                  <a:cubicBezTo>
                    <a:pt x="4528" y="1180"/>
                    <a:pt x="4535" y="1187"/>
                    <a:pt x="4543" y="1194"/>
                  </a:cubicBezTo>
                  <a:cubicBezTo>
                    <a:pt x="4557" y="1216"/>
                    <a:pt x="4550" y="1246"/>
                    <a:pt x="4535" y="1290"/>
                  </a:cubicBezTo>
                  <a:cubicBezTo>
                    <a:pt x="4528" y="1304"/>
                    <a:pt x="4528" y="1319"/>
                    <a:pt x="4528" y="1334"/>
                  </a:cubicBezTo>
                  <a:cubicBezTo>
                    <a:pt x="4528" y="1363"/>
                    <a:pt x="4520" y="1400"/>
                    <a:pt x="4455" y="1422"/>
                  </a:cubicBezTo>
                  <a:cubicBezTo>
                    <a:pt x="4440" y="1429"/>
                    <a:pt x="4440" y="1429"/>
                    <a:pt x="4440" y="1429"/>
                  </a:cubicBezTo>
                  <a:cubicBezTo>
                    <a:pt x="4381" y="1444"/>
                    <a:pt x="4374" y="1444"/>
                    <a:pt x="4330" y="1480"/>
                  </a:cubicBezTo>
                  <a:cubicBezTo>
                    <a:pt x="4315" y="1495"/>
                    <a:pt x="4293" y="1510"/>
                    <a:pt x="4293" y="1517"/>
                  </a:cubicBezTo>
                  <a:cubicBezTo>
                    <a:pt x="4293" y="1524"/>
                    <a:pt x="4293" y="1524"/>
                    <a:pt x="4323" y="1546"/>
                  </a:cubicBezTo>
                  <a:cubicBezTo>
                    <a:pt x="4352" y="1561"/>
                    <a:pt x="4367" y="1583"/>
                    <a:pt x="4381" y="1605"/>
                  </a:cubicBezTo>
                  <a:cubicBezTo>
                    <a:pt x="4396" y="1620"/>
                    <a:pt x="4396" y="1627"/>
                    <a:pt x="4411" y="1627"/>
                  </a:cubicBezTo>
                  <a:cubicBezTo>
                    <a:pt x="4418" y="1627"/>
                    <a:pt x="4418" y="1627"/>
                    <a:pt x="4425" y="1627"/>
                  </a:cubicBezTo>
                  <a:cubicBezTo>
                    <a:pt x="4484" y="1612"/>
                    <a:pt x="4513" y="1590"/>
                    <a:pt x="4535" y="1568"/>
                  </a:cubicBezTo>
                  <a:cubicBezTo>
                    <a:pt x="4557" y="1532"/>
                    <a:pt x="4594" y="1532"/>
                    <a:pt x="4623" y="1532"/>
                  </a:cubicBezTo>
                  <a:cubicBezTo>
                    <a:pt x="4638" y="1532"/>
                    <a:pt x="4660" y="1532"/>
                    <a:pt x="4682" y="1532"/>
                  </a:cubicBezTo>
                  <a:cubicBezTo>
                    <a:pt x="4711" y="1539"/>
                    <a:pt x="4733" y="1539"/>
                    <a:pt x="4755" y="1539"/>
                  </a:cubicBezTo>
                  <a:cubicBezTo>
                    <a:pt x="4792" y="1539"/>
                    <a:pt x="4821" y="1532"/>
                    <a:pt x="4843" y="1517"/>
                  </a:cubicBezTo>
                  <a:cubicBezTo>
                    <a:pt x="4872" y="1502"/>
                    <a:pt x="4879" y="1495"/>
                    <a:pt x="4894" y="1473"/>
                  </a:cubicBezTo>
                  <a:cubicBezTo>
                    <a:pt x="4902" y="1458"/>
                    <a:pt x="4909" y="1444"/>
                    <a:pt x="4924" y="1422"/>
                  </a:cubicBezTo>
                  <a:cubicBezTo>
                    <a:pt x="4938" y="1407"/>
                    <a:pt x="4945" y="1400"/>
                    <a:pt x="4953" y="1385"/>
                  </a:cubicBezTo>
                  <a:cubicBezTo>
                    <a:pt x="4975" y="1356"/>
                    <a:pt x="4989" y="1326"/>
                    <a:pt x="5033" y="1326"/>
                  </a:cubicBezTo>
                  <a:cubicBezTo>
                    <a:pt x="5041" y="1326"/>
                    <a:pt x="5048" y="1326"/>
                    <a:pt x="5048" y="1326"/>
                  </a:cubicBezTo>
                  <a:cubicBezTo>
                    <a:pt x="5063" y="1334"/>
                    <a:pt x="5070" y="1334"/>
                    <a:pt x="5077" y="1334"/>
                  </a:cubicBezTo>
                  <a:cubicBezTo>
                    <a:pt x="5092" y="1334"/>
                    <a:pt x="5099" y="1326"/>
                    <a:pt x="5114" y="1326"/>
                  </a:cubicBezTo>
                  <a:cubicBezTo>
                    <a:pt x="5121" y="1326"/>
                    <a:pt x="5136" y="1326"/>
                    <a:pt x="5143" y="1326"/>
                  </a:cubicBezTo>
                  <a:cubicBezTo>
                    <a:pt x="5165" y="1326"/>
                    <a:pt x="5187" y="1334"/>
                    <a:pt x="5202" y="1356"/>
                  </a:cubicBezTo>
                  <a:cubicBezTo>
                    <a:pt x="5224" y="1378"/>
                    <a:pt x="5260" y="1400"/>
                    <a:pt x="5283" y="1400"/>
                  </a:cubicBezTo>
                  <a:cubicBezTo>
                    <a:pt x="5290" y="1400"/>
                    <a:pt x="5297" y="1400"/>
                    <a:pt x="5297" y="1392"/>
                  </a:cubicBezTo>
                  <a:cubicBezTo>
                    <a:pt x="5312" y="1341"/>
                    <a:pt x="5334" y="1297"/>
                    <a:pt x="5400" y="1268"/>
                  </a:cubicBezTo>
                  <a:cubicBezTo>
                    <a:pt x="5414" y="1261"/>
                    <a:pt x="5414" y="1261"/>
                    <a:pt x="5414" y="1261"/>
                  </a:cubicBezTo>
                  <a:cubicBezTo>
                    <a:pt x="5458" y="1246"/>
                    <a:pt x="5539" y="1216"/>
                    <a:pt x="5524" y="1187"/>
                  </a:cubicBezTo>
                  <a:cubicBezTo>
                    <a:pt x="5517" y="1165"/>
                    <a:pt x="5502" y="1158"/>
                    <a:pt x="5480" y="1151"/>
                  </a:cubicBezTo>
                  <a:cubicBezTo>
                    <a:pt x="5466" y="1143"/>
                    <a:pt x="5451" y="1136"/>
                    <a:pt x="5436" y="1129"/>
                  </a:cubicBezTo>
                  <a:cubicBezTo>
                    <a:pt x="5414" y="1106"/>
                    <a:pt x="5407" y="1099"/>
                    <a:pt x="5422" y="1070"/>
                  </a:cubicBezTo>
                  <a:cubicBezTo>
                    <a:pt x="5422" y="1063"/>
                    <a:pt x="5429" y="1048"/>
                    <a:pt x="5436" y="1026"/>
                  </a:cubicBezTo>
                  <a:cubicBezTo>
                    <a:pt x="5458" y="931"/>
                    <a:pt x="5480" y="747"/>
                    <a:pt x="5451" y="725"/>
                  </a:cubicBezTo>
                  <a:cubicBezTo>
                    <a:pt x="5414" y="689"/>
                    <a:pt x="5407" y="667"/>
                    <a:pt x="5400" y="608"/>
                  </a:cubicBezTo>
                  <a:cubicBezTo>
                    <a:pt x="5393" y="550"/>
                    <a:pt x="5334" y="513"/>
                    <a:pt x="5283" y="498"/>
                  </a:cubicBezTo>
                  <a:cubicBezTo>
                    <a:pt x="5217" y="484"/>
                    <a:pt x="5165" y="440"/>
                    <a:pt x="5143" y="396"/>
                  </a:cubicBezTo>
                  <a:cubicBezTo>
                    <a:pt x="5143" y="388"/>
                    <a:pt x="5136" y="381"/>
                    <a:pt x="5136" y="374"/>
                  </a:cubicBezTo>
                  <a:cubicBezTo>
                    <a:pt x="5121" y="337"/>
                    <a:pt x="5099" y="301"/>
                    <a:pt x="5114" y="279"/>
                  </a:cubicBezTo>
                  <a:cubicBezTo>
                    <a:pt x="5121" y="264"/>
                    <a:pt x="5136" y="256"/>
                    <a:pt x="5158" y="256"/>
                  </a:cubicBezTo>
                  <a:cubicBezTo>
                    <a:pt x="5195" y="256"/>
                    <a:pt x="5217" y="264"/>
                    <a:pt x="5231" y="271"/>
                  </a:cubicBezTo>
                  <a:cubicBezTo>
                    <a:pt x="5253" y="271"/>
                    <a:pt x="5268" y="279"/>
                    <a:pt x="5283" y="279"/>
                  </a:cubicBezTo>
                  <a:cubicBezTo>
                    <a:pt x="5290" y="279"/>
                    <a:pt x="5297" y="279"/>
                    <a:pt x="5312" y="279"/>
                  </a:cubicBezTo>
                  <a:cubicBezTo>
                    <a:pt x="5326" y="271"/>
                    <a:pt x="5334" y="271"/>
                    <a:pt x="5348" y="271"/>
                  </a:cubicBezTo>
                  <a:cubicBezTo>
                    <a:pt x="5385" y="271"/>
                    <a:pt x="5385" y="271"/>
                    <a:pt x="5385" y="271"/>
                  </a:cubicBezTo>
                  <a:cubicBezTo>
                    <a:pt x="5414" y="271"/>
                    <a:pt x="5429" y="271"/>
                    <a:pt x="5436" y="242"/>
                  </a:cubicBezTo>
                  <a:cubicBezTo>
                    <a:pt x="5436" y="220"/>
                    <a:pt x="5436" y="205"/>
                    <a:pt x="5429" y="191"/>
                  </a:cubicBezTo>
                  <a:cubicBezTo>
                    <a:pt x="5422" y="169"/>
                    <a:pt x="5407" y="139"/>
                    <a:pt x="5451" y="117"/>
                  </a:cubicBezTo>
                  <a:cubicBezTo>
                    <a:pt x="5466" y="103"/>
                    <a:pt x="5480" y="88"/>
                    <a:pt x="5488" y="73"/>
                  </a:cubicBezTo>
                  <a:cubicBezTo>
                    <a:pt x="5502" y="59"/>
                    <a:pt x="5517" y="37"/>
                    <a:pt x="5546" y="37"/>
                  </a:cubicBezTo>
                  <a:cubicBezTo>
                    <a:pt x="5576" y="37"/>
                    <a:pt x="5583" y="59"/>
                    <a:pt x="5590" y="66"/>
                  </a:cubicBezTo>
                  <a:cubicBezTo>
                    <a:pt x="5597" y="81"/>
                    <a:pt x="5597" y="81"/>
                    <a:pt x="5612" y="81"/>
                  </a:cubicBezTo>
                  <a:cubicBezTo>
                    <a:pt x="5619" y="81"/>
                    <a:pt x="5627" y="81"/>
                    <a:pt x="5634" y="81"/>
                  </a:cubicBezTo>
                  <a:cubicBezTo>
                    <a:pt x="5656" y="73"/>
                    <a:pt x="5656" y="73"/>
                    <a:pt x="5656" y="73"/>
                  </a:cubicBezTo>
                  <a:cubicBezTo>
                    <a:pt x="5715" y="59"/>
                    <a:pt x="5729" y="59"/>
                    <a:pt x="5774" y="29"/>
                  </a:cubicBezTo>
                  <a:cubicBezTo>
                    <a:pt x="5803" y="15"/>
                    <a:pt x="5825" y="0"/>
                    <a:pt x="5839" y="0"/>
                  </a:cubicBezTo>
                  <a:cubicBezTo>
                    <a:pt x="5861" y="0"/>
                    <a:pt x="5883" y="15"/>
                    <a:pt x="5905" y="29"/>
                  </a:cubicBezTo>
                  <a:cubicBezTo>
                    <a:pt x="5935" y="51"/>
                    <a:pt x="5935" y="81"/>
                    <a:pt x="5935" y="110"/>
                  </a:cubicBezTo>
                  <a:cubicBezTo>
                    <a:pt x="5942" y="132"/>
                    <a:pt x="5942" y="154"/>
                    <a:pt x="5957" y="169"/>
                  </a:cubicBezTo>
                  <a:cubicBezTo>
                    <a:pt x="5986" y="220"/>
                    <a:pt x="6001" y="308"/>
                    <a:pt x="5979" y="344"/>
                  </a:cubicBezTo>
                  <a:cubicBezTo>
                    <a:pt x="5971" y="366"/>
                    <a:pt x="5957" y="388"/>
                    <a:pt x="5964" y="411"/>
                  </a:cubicBezTo>
                  <a:cubicBezTo>
                    <a:pt x="5971" y="418"/>
                    <a:pt x="5986" y="432"/>
                    <a:pt x="6008" y="440"/>
                  </a:cubicBezTo>
                  <a:cubicBezTo>
                    <a:pt x="6030" y="447"/>
                    <a:pt x="6110" y="469"/>
                    <a:pt x="6184" y="469"/>
                  </a:cubicBezTo>
                  <a:cubicBezTo>
                    <a:pt x="6220" y="469"/>
                    <a:pt x="6250" y="462"/>
                    <a:pt x="6264" y="454"/>
                  </a:cubicBezTo>
                  <a:cubicBezTo>
                    <a:pt x="6294" y="440"/>
                    <a:pt x="6330" y="440"/>
                    <a:pt x="6367" y="432"/>
                  </a:cubicBezTo>
                  <a:cubicBezTo>
                    <a:pt x="6426" y="425"/>
                    <a:pt x="6455" y="418"/>
                    <a:pt x="6462" y="388"/>
                  </a:cubicBezTo>
                  <a:cubicBezTo>
                    <a:pt x="6469" y="344"/>
                    <a:pt x="6484" y="323"/>
                    <a:pt x="6506" y="301"/>
                  </a:cubicBezTo>
                  <a:cubicBezTo>
                    <a:pt x="6521" y="286"/>
                    <a:pt x="6536" y="271"/>
                    <a:pt x="6550" y="242"/>
                  </a:cubicBezTo>
                  <a:cubicBezTo>
                    <a:pt x="6572" y="176"/>
                    <a:pt x="6594" y="132"/>
                    <a:pt x="6653" y="125"/>
                  </a:cubicBezTo>
                  <a:cubicBezTo>
                    <a:pt x="6660" y="117"/>
                    <a:pt x="6675" y="117"/>
                    <a:pt x="6682" y="117"/>
                  </a:cubicBezTo>
                  <a:cubicBezTo>
                    <a:pt x="6704" y="110"/>
                    <a:pt x="6719" y="110"/>
                    <a:pt x="6741" y="110"/>
                  </a:cubicBezTo>
                  <a:cubicBezTo>
                    <a:pt x="6770" y="110"/>
                    <a:pt x="6792" y="117"/>
                    <a:pt x="6814" y="132"/>
                  </a:cubicBezTo>
                  <a:cubicBezTo>
                    <a:pt x="6836" y="154"/>
                    <a:pt x="6836" y="176"/>
                    <a:pt x="6836" y="191"/>
                  </a:cubicBezTo>
                  <a:cubicBezTo>
                    <a:pt x="6829" y="227"/>
                    <a:pt x="6792" y="256"/>
                    <a:pt x="6770" y="271"/>
                  </a:cubicBezTo>
                  <a:cubicBezTo>
                    <a:pt x="6763" y="279"/>
                    <a:pt x="6755" y="286"/>
                    <a:pt x="6755" y="301"/>
                  </a:cubicBezTo>
                  <a:cubicBezTo>
                    <a:pt x="6755" y="315"/>
                    <a:pt x="6763" y="337"/>
                    <a:pt x="6785" y="344"/>
                  </a:cubicBezTo>
                  <a:cubicBezTo>
                    <a:pt x="6807" y="359"/>
                    <a:pt x="6814" y="374"/>
                    <a:pt x="6821" y="396"/>
                  </a:cubicBezTo>
                  <a:cubicBezTo>
                    <a:pt x="6829" y="425"/>
                    <a:pt x="6814" y="447"/>
                    <a:pt x="6792" y="476"/>
                  </a:cubicBezTo>
                  <a:cubicBezTo>
                    <a:pt x="6785" y="491"/>
                    <a:pt x="6777" y="513"/>
                    <a:pt x="6763" y="535"/>
                  </a:cubicBezTo>
                  <a:cubicBezTo>
                    <a:pt x="6741" y="586"/>
                    <a:pt x="6719" y="645"/>
                    <a:pt x="6667" y="652"/>
                  </a:cubicBezTo>
                  <a:cubicBezTo>
                    <a:pt x="6601" y="660"/>
                    <a:pt x="6572" y="667"/>
                    <a:pt x="6550" y="718"/>
                  </a:cubicBezTo>
                  <a:cubicBezTo>
                    <a:pt x="6543" y="733"/>
                    <a:pt x="6536" y="747"/>
                    <a:pt x="6536" y="755"/>
                  </a:cubicBezTo>
                  <a:cubicBezTo>
                    <a:pt x="6514" y="799"/>
                    <a:pt x="6506" y="821"/>
                    <a:pt x="6521" y="843"/>
                  </a:cubicBezTo>
                  <a:cubicBezTo>
                    <a:pt x="6536" y="857"/>
                    <a:pt x="6543" y="865"/>
                    <a:pt x="6550" y="880"/>
                  </a:cubicBezTo>
                  <a:cubicBezTo>
                    <a:pt x="6565" y="909"/>
                    <a:pt x="6579" y="923"/>
                    <a:pt x="6609" y="938"/>
                  </a:cubicBezTo>
                  <a:cubicBezTo>
                    <a:pt x="6624" y="945"/>
                    <a:pt x="6631" y="945"/>
                    <a:pt x="6645" y="953"/>
                  </a:cubicBezTo>
                  <a:cubicBezTo>
                    <a:pt x="6689" y="967"/>
                    <a:pt x="6719" y="982"/>
                    <a:pt x="6719" y="1004"/>
                  </a:cubicBezTo>
                  <a:cubicBezTo>
                    <a:pt x="6726" y="1011"/>
                    <a:pt x="6719" y="1026"/>
                    <a:pt x="6704" y="1033"/>
                  </a:cubicBezTo>
                  <a:cubicBezTo>
                    <a:pt x="6697" y="1041"/>
                    <a:pt x="6682" y="1048"/>
                    <a:pt x="6675" y="1055"/>
                  </a:cubicBezTo>
                  <a:cubicBezTo>
                    <a:pt x="6645" y="1070"/>
                    <a:pt x="6638" y="1077"/>
                    <a:pt x="6645" y="1085"/>
                  </a:cubicBezTo>
                  <a:cubicBezTo>
                    <a:pt x="6653" y="1129"/>
                    <a:pt x="6638" y="1158"/>
                    <a:pt x="6601" y="1180"/>
                  </a:cubicBezTo>
                  <a:cubicBezTo>
                    <a:pt x="6579" y="1194"/>
                    <a:pt x="6579" y="1238"/>
                    <a:pt x="6587" y="1261"/>
                  </a:cubicBezTo>
                  <a:cubicBezTo>
                    <a:pt x="6587" y="1275"/>
                    <a:pt x="6601" y="1304"/>
                    <a:pt x="6689" y="1304"/>
                  </a:cubicBezTo>
                  <a:cubicBezTo>
                    <a:pt x="6755" y="1304"/>
                    <a:pt x="6755" y="1304"/>
                    <a:pt x="6755" y="1304"/>
                  </a:cubicBezTo>
                  <a:cubicBezTo>
                    <a:pt x="6807" y="1304"/>
                    <a:pt x="6850" y="1304"/>
                    <a:pt x="6865" y="1348"/>
                  </a:cubicBezTo>
                  <a:cubicBezTo>
                    <a:pt x="6873" y="1378"/>
                    <a:pt x="6873" y="1400"/>
                    <a:pt x="6865" y="1414"/>
                  </a:cubicBezTo>
                  <a:cubicBezTo>
                    <a:pt x="6865" y="1429"/>
                    <a:pt x="6865" y="1444"/>
                    <a:pt x="6865" y="1451"/>
                  </a:cubicBezTo>
                  <a:cubicBezTo>
                    <a:pt x="6873" y="1473"/>
                    <a:pt x="6902" y="1495"/>
                    <a:pt x="6924" y="1510"/>
                  </a:cubicBezTo>
                  <a:cubicBezTo>
                    <a:pt x="6931" y="1517"/>
                    <a:pt x="6931" y="1517"/>
                    <a:pt x="6931" y="1517"/>
                  </a:cubicBezTo>
                  <a:cubicBezTo>
                    <a:pt x="6931" y="1524"/>
                    <a:pt x="6931" y="1524"/>
                    <a:pt x="6931" y="1524"/>
                  </a:cubicBezTo>
                  <a:cubicBezTo>
                    <a:pt x="6931" y="1524"/>
                    <a:pt x="6946" y="1612"/>
                    <a:pt x="6953" y="1663"/>
                  </a:cubicBezTo>
                  <a:cubicBezTo>
                    <a:pt x="6960" y="1707"/>
                    <a:pt x="6968" y="1781"/>
                    <a:pt x="6938" y="1825"/>
                  </a:cubicBezTo>
                  <a:cubicBezTo>
                    <a:pt x="6931" y="1839"/>
                    <a:pt x="6931" y="1861"/>
                    <a:pt x="6938" y="1876"/>
                  </a:cubicBezTo>
                  <a:cubicBezTo>
                    <a:pt x="6946" y="1876"/>
                    <a:pt x="6953" y="1891"/>
                    <a:pt x="6968" y="1891"/>
                  </a:cubicBezTo>
                  <a:cubicBezTo>
                    <a:pt x="6983" y="1891"/>
                    <a:pt x="6990" y="1883"/>
                    <a:pt x="7004" y="1876"/>
                  </a:cubicBezTo>
                  <a:cubicBezTo>
                    <a:pt x="7026" y="1861"/>
                    <a:pt x="7048" y="1854"/>
                    <a:pt x="7063" y="1854"/>
                  </a:cubicBezTo>
                  <a:cubicBezTo>
                    <a:pt x="7114" y="1854"/>
                    <a:pt x="7144" y="1898"/>
                    <a:pt x="7144" y="1949"/>
                  </a:cubicBezTo>
                  <a:cubicBezTo>
                    <a:pt x="7144" y="1993"/>
                    <a:pt x="7166" y="2044"/>
                    <a:pt x="7202" y="2044"/>
                  </a:cubicBezTo>
                  <a:cubicBezTo>
                    <a:pt x="7246" y="2044"/>
                    <a:pt x="7276" y="2096"/>
                    <a:pt x="7276" y="2184"/>
                  </a:cubicBezTo>
                  <a:cubicBezTo>
                    <a:pt x="7276" y="2213"/>
                    <a:pt x="7283" y="2220"/>
                    <a:pt x="7290" y="2220"/>
                  </a:cubicBezTo>
                  <a:cubicBezTo>
                    <a:pt x="7298" y="2228"/>
                    <a:pt x="7319" y="2235"/>
                    <a:pt x="7341" y="2235"/>
                  </a:cubicBezTo>
                  <a:cubicBezTo>
                    <a:pt x="7364" y="2235"/>
                    <a:pt x="7378" y="2235"/>
                    <a:pt x="7400" y="2228"/>
                  </a:cubicBezTo>
                  <a:cubicBezTo>
                    <a:pt x="7407" y="2228"/>
                    <a:pt x="7415" y="2228"/>
                    <a:pt x="7415" y="2228"/>
                  </a:cubicBezTo>
                  <a:cubicBezTo>
                    <a:pt x="7451" y="2228"/>
                    <a:pt x="7466" y="2242"/>
                    <a:pt x="7474" y="2257"/>
                  </a:cubicBezTo>
                  <a:cubicBezTo>
                    <a:pt x="7488" y="2294"/>
                    <a:pt x="7474" y="2338"/>
                    <a:pt x="7451" y="2374"/>
                  </a:cubicBezTo>
                  <a:cubicBezTo>
                    <a:pt x="7437" y="2389"/>
                    <a:pt x="7437" y="2389"/>
                    <a:pt x="7444" y="2396"/>
                  </a:cubicBezTo>
                  <a:cubicBezTo>
                    <a:pt x="7459" y="2411"/>
                    <a:pt x="7466" y="2418"/>
                    <a:pt x="7466" y="2447"/>
                  </a:cubicBezTo>
                  <a:cubicBezTo>
                    <a:pt x="7466" y="2506"/>
                    <a:pt x="7422" y="2550"/>
                    <a:pt x="7386" y="2580"/>
                  </a:cubicBezTo>
                  <a:cubicBezTo>
                    <a:pt x="7364" y="2601"/>
                    <a:pt x="7356" y="2623"/>
                    <a:pt x="7371" y="2682"/>
                  </a:cubicBezTo>
                  <a:cubicBezTo>
                    <a:pt x="7371" y="2704"/>
                    <a:pt x="7378" y="2719"/>
                    <a:pt x="7386" y="2741"/>
                  </a:cubicBezTo>
                  <a:cubicBezTo>
                    <a:pt x="7400" y="2770"/>
                    <a:pt x="7415" y="2806"/>
                    <a:pt x="7378" y="2843"/>
                  </a:cubicBezTo>
                  <a:cubicBezTo>
                    <a:pt x="7371" y="2851"/>
                    <a:pt x="7371" y="2851"/>
                    <a:pt x="7364" y="2858"/>
                  </a:cubicBezTo>
                  <a:cubicBezTo>
                    <a:pt x="7341" y="2880"/>
                    <a:pt x="7319" y="2902"/>
                    <a:pt x="7319" y="2916"/>
                  </a:cubicBezTo>
                  <a:cubicBezTo>
                    <a:pt x="7319" y="2924"/>
                    <a:pt x="7327" y="2931"/>
                    <a:pt x="7334" y="2939"/>
                  </a:cubicBezTo>
                  <a:cubicBezTo>
                    <a:pt x="7364" y="2961"/>
                    <a:pt x="7393" y="2968"/>
                    <a:pt x="7415" y="2968"/>
                  </a:cubicBezTo>
                  <a:cubicBezTo>
                    <a:pt x="7422" y="2968"/>
                    <a:pt x="7429" y="2968"/>
                    <a:pt x="7429" y="2968"/>
                  </a:cubicBezTo>
                  <a:cubicBezTo>
                    <a:pt x="7444" y="2961"/>
                    <a:pt x="7451" y="2961"/>
                    <a:pt x="7451" y="2961"/>
                  </a:cubicBezTo>
                  <a:cubicBezTo>
                    <a:pt x="7481" y="2953"/>
                    <a:pt x="7481" y="2953"/>
                    <a:pt x="7481" y="2953"/>
                  </a:cubicBezTo>
                  <a:cubicBezTo>
                    <a:pt x="7466" y="2982"/>
                    <a:pt x="7466" y="2982"/>
                    <a:pt x="7466" y="2982"/>
                  </a:cubicBezTo>
                  <a:cubicBezTo>
                    <a:pt x="7466" y="2990"/>
                    <a:pt x="7429" y="3048"/>
                    <a:pt x="7364" y="3048"/>
                  </a:cubicBezTo>
                  <a:cubicBezTo>
                    <a:pt x="7312" y="3048"/>
                    <a:pt x="7268" y="3063"/>
                    <a:pt x="7268" y="3092"/>
                  </a:cubicBezTo>
                  <a:cubicBezTo>
                    <a:pt x="7268" y="3107"/>
                    <a:pt x="7268" y="3107"/>
                    <a:pt x="7283" y="3114"/>
                  </a:cubicBezTo>
                  <a:cubicBezTo>
                    <a:pt x="7298" y="3122"/>
                    <a:pt x="7327" y="3136"/>
                    <a:pt x="7305" y="3180"/>
                  </a:cubicBezTo>
                  <a:cubicBezTo>
                    <a:pt x="7283" y="3224"/>
                    <a:pt x="7239" y="3320"/>
                    <a:pt x="7195" y="3363"/>
                  </a:cubicBezTo>
                  <a:cubicBezTo>
                    <a:pt x="7085" y="3466"/>
                    <a:pt x="7019" y="3532"/>
                    <a:pt x="6990" y="3561"/>
                  </a:cubicBezTo>
                  <a:cubicBezTo>
                    <a:pt x="6975" y="3569"/>
                    <a:pt x="6968" y="3576"/>
                    <a:pt x="6953" y="3591"/>
                  </a:cubicBezTo>
                  <a:cubicBezTo>
                    <a:pt x="6931" y="3620"/>
                    <a:pt x="6902" y="3656"/>
                    <a:pt x="6843" y="3656"/>
                  </a:cubicBezTo>
                  <a:cubicBezTo>
                    <a:pt x="6843" y="3656"/>
                    <a:pt x="6836" y="3656"/>
                    <a:pt x="6829" y="3656"/>
                  </a:cubicBezTo>
                  <a:cubicBezTo>
                    <a:pt x="6785" y="3649"/>
                    <a:pt x="6755" y="3627"/>
                    <a:pt x="6733" y="3598"/>
                  </a:cubicBezTo>
                  <a:cubicBezTo>
                    <a:pt x="6719" y="3569"/>
                    <a:pt x="6719" y="3539"/>
                    <a:pt x="6733" y="3517"/>
                  </a:cubicBezTo>
                  <a:cubicBezTo>
                    <a:pt x="6741" y="3503"/>
                    <a:pt x="6748" y="3488"/>
                    <a:pt x="6741" y="3481"/>
                  </a:cubicBezTo>
                  <a:cubicBezTo>
                    <a:pt x="6741" y="3473"/>
                    <a:pt x="6719" y="3466"/>
                    <a:pt x="6689" y="3459"/>
                  </a:cubicBezTo>
                  <a:cubicBezTo>
                    <a:pt x="6675" y="3451"/>
                    <a:pt x="6653" y="3437"/>
                    <a:pt x="6638" y="3422"/>
                  </a:cubicBezTo>
                  <a:cubicBezTo>
                    <a:pt x="6616" y="3407"/>
                    <a:pt x="6601" y="3393"/>
                    <a:pt x="6579" y="3393"/>
                  </a:cubicBezTo>
                  <a:cubicBezTo>
                    <a:pt x="6572" y="3393"/>
                    <a:pt x="6565" y="3393"/>
                    <a:pt x="6557" y="3400"/>
                  </a:cubicBezTo>
                  <a:cubicBezTo>
                    <a:pt x="6543" y="3407"/>
                    <a:pt x="6521" y="3415"/>
                    <a:pt x="6499" y="3422"/>
                  </a:cubicBezTo>
                  <a:cubicBezTo>
                    <a:pt x="6448" y="3444"/>
                    <a:pt x="6389" y="3459"/>
                    <a:pt x="6352" y="3488"/>
                  </a:cubicBezTo>
                  <a:cubicBezTo>
                    <a:pt x="6330" y="3503"/>
                    <a:pt x="6316" y="3517"/>
                    <a:pt x="6316" y="3525"/>
                  </a:cubicBezTo>
                  <a:cubicBezTo>
                    <a:pt x="6316" y="3539"/>
                    <a:pt x="6330" y="3554"/>
                    <a:pt x="6352" y="3576"/>
                  </a:cubicBezTo>
                  <a:cubicBezTo>
                    <a:pt x="6374" y="3605"/>
                    <a:pt x="6396" y="3620"/>
                    <a:pt x="6411" y="3635"/>
                  </a:cubicBezTo>
                  <a:cubicBezTo>
                    <a:pt x="6433" y="3649"/>
                    <a:pt x="6455" y="3664"/>
                    <a:pt x="6462" y="3686"/>
                  </a:cubicBezTo>
                  <a:cubicBezTo>
                    <a:pt x="6477" y="3708"/>
                    <a:pt x="6492" y="3737"/>
                    <a:pt x="6477" y="3766"/>
                  </a:cubicBezTo>
                  <a:cubicBezTo>
                    <a:pt x="6462" y="3789"/>
                    <a:pt x="6448" y="3803"/>
                    <a:pt x="6411" y="3811"/>
                  </a:cubicBezTo>
                  <a:cubicBezTo>
                    <a:pt x="6396" y="3811"/>
                    <a:pt x="6374" y="3818"/>
                    <a:pt x="6352" y="3825"/>
                  </a:cubicBezTo>
                  <a:cubicBezTo>
                    <a:pt x="6316" y="3832"/>
                    <a:pt x="6272" y="3847"/>
                    <a:pt x="6235" y="3847"/>
                  </a:cubicBezTo>
                  <a:cubicBezTo>
                    <a:pt x="6213" y="3847"/>
                    <a:pt x="6191" y="3840"/>
                    <a:pt x="6176" y="3832"/>
                  </a:cubicBezTo>
                  <a:cubicBezTo>
                    <a:pt x="6155" y="3818"/>
                    <a:pt x="6140" y="3811"/>
                    <a:pt x="6118" y="3811"/>
                  </a:cubicBezTo>
                  <a:cubicBezTo>
                    <a:pt x="6103" y="3811"/>
                    <a:pt x="6081" y="3818"/>
                    <a:pt x="6059" y="3840"/>
                  </a:cubicBezTo>
                  <a:cubicBezTo>
                    <a:pt x="6030" y="3869"/>
                    <a:pt x="6001" y="3869"/>
                    <a:pt x="5971" y="3869"/>
                  </a:cubicBezTo>
                  <a:cubicBezTo>
                    <a:pt x="5964" y="3869"/>
                    <a:pt x="5949" y="3869"/>
                    <a:pt x="5942" y="3869"/>
                  </a:cubicBezTo>
                  <a:cubicBezTo>
                    <a:pt x="5927" y="3869"/>
                    <a:pt x="5920" y="3869"/>
                    <a:pt x="5905" y="3869"/>
                  </a:cubicBezTo>
                  <a:cubicBezTo>
                    <a:pt x="5891" y="3869"/>
                    <a:pt x="5883" y="3869"/>
                    <a:pt x="5876" y="3884"/>
                  </a:cubicBezTo>
                  <a:cubicBezTo>
                    <a:pt x="5869" y="3898"/>
                    <a:pt x="5854" y="3913"/>
                    <a:pt x="5825" y="3942"/>
                  </a:cubicBezTo>
                  <a:cubicBezTo>
                    <a:pt x="5810" y="3950"/>
                    <a:pt x="5795" y="3964"/>
                    <a:pt x="5781" y="3972"/>
                  </a:cubicBezTo>
                  <a:cubicBezTo>
                    <a:pt x="5751" y="3994"/>
                    <a:pt x="5737" y="4001"/>
                    <a:pt x="5707" y="4052"/>
                  </a:cubicBezTo>
                  <a:cubicBezTo>
                    <a:pt x="5693" y="4074"/>
                    <a:pt x="5686" y="4096"/>
                    <a:pt x="5671" y="4111"/>
                  </a:cubicBezTo>
                  <a:cubicBezTo>
                    <a:pt x="5649" y="4148"/>
                    <a:pt x="5642" y="4162"/>
                    <a:pt x="5656" y="4184"/>
                  </a:cubicBezTo>
                  <a:cubicBezTo>
                    <a:pt x="5671" y="4206"/>
                    <a:pt x="5678" y="4221"/>
                    <a:pt x="5686" y="4235"/>
                  </a:cubicBezTo>
                  <a:cubicBezTo>
                    <a:pt x="5686" y="4250"/>
                    <a:pt x="5693" y="4257"/>
                    <a:pt x="5700" y="4265"/>
                  </a:cubicBezTo>
                  <a:cubicBezTo>
                    <a:pt x="5715" y="4272"/>
                    <a:pt x="5722" y="4272"/>
                    <a:pt x="5729" y="4272"/>
                  </a:cubicBezTo>
                  <a:cubicBezTo>
                    <a:pt x="5744" y="4272"/>
                    <a:pt x="5766" y="4265"/>
                    <a:pt x="5795" y="4243"/>
                  </a:cubicBezTo>
                  <a:cubicBezTo>
                    <a:pt x="5839" y="4199"/>
                    <a:pt x="5883" y="4184"/>
                    <a:pt x="5942" y="4177"/>
                  </a:cubicBezTo>
                  <a:cubicBezTo>
                    <a:pt x="5949" y="4177"/>
                    <a:pt x="5957" y="4177"/>
                    <a:pt x="5957" y="4177"/>
                  </a:cubicBezTo>
                  <a:cubicBezTo>
                    <a:pt x="6001" y="4177"/>
                    <a:pt x="6001" y="4206"/>
                    <a:pt x="6008" y="4228"/>
                  </a:cubicBezTo>
                  <a:cubicBezTo>
                    <a:pt x="6008" y="4243"/>
                    <a:pt x="6008" y="4257"/>
                    <a:pt x="6015" y="4272"/>
                  </a:cubicBezTo>
                  <a:cubicBezTo>
                    <a:pt x="6030" y="4338"/>
                    <a:pt x="6037" y="4367"/>
                    <a:pt x="6059" y="4397"/>
                  </a:cubicBezTo>
                  <a:cubicBezTo>
                    <a:pt x="6074" y="4441"/>
                    <a:pt x="6074" y="4448"/>
                    <a:pt x="6045" y="4506"/>
                  </a:cubicBezTo>
                  <a:cubicBezTo>
                    <a:pt x="6030" y="4535"/>
                    <a:pt x="6015" y="4550"/>
                    <a:pt x="6001" y="4564"/>
                  </a:cubicBezTo>
                  <a:cubicBezTo>
                    <a:pt x="5986" y="4572"/>
                    <a:pt x="5971" y="4586"/>
                    <a:pt x="5964" y="4601"/>
                  </a:cubicBezTo>
                  <a:cubicBezTo>
                    <a:pt x="5957" y="4608"/>
                    <a:pt x="5949" y="4615"/>
                    <a:pt x="5942" y="4623"/>
                  </a:cubicBezTo>
                  <a:cubicBezTo>
                    <a:pt x="5920" y="4652"/>
                    <a:pt x="5913" y="4660"/>
                    <a:pt x="5935" y="4681"/>
                  </a:cubicBezTo>
                  <a:cubicBezTo>
                    <a:pt x="5964" y="4711"/>
                    <a:pt x="5971" y="4718"/>
                    <a:pt x="5964" y="4733"/>
                  </a:cubicBezTo>
                  <a:cubicBezTo>
                    <a:pt x="5964" y="4740"/>
                    <a:pt x="5949" y="4747"/>
                    <a:pt x="5935" y="4747"/>
                  </a:cubicBezTo>
                  <a:cubicBezTo>
                    <a:pt x="5927" y="4747"/>
                    <a:pt x="5927" y="4747"/>
                    <a:pt x="5920" y="4747"/>
                  </a:cubicBezTo>
                  <a:cubicBezTo>
                    <a:pt x="5883" y="4755"/>
                    <a:pt x="5861" y="4784"/>
                    <a:pt x="5847" y="4813"/>
                  </a:cubicBezTo>
                  <a:cubicBezTo>
                    <a:pt x="5839" y="4821"/>
                    <a:pt x="5832" y="4828"/>
                    <a:pt x="5825" y="4828"/>
                  </a:cubicBezTo>
                  <a:cubicBezTo>
                    <a:pt x="5817" y="4828"/>
                    <a:pt x="5817" y="4828"/>
                    <a:pt x="5817" y="4828"/>
                  </a:cubicBezTo>
                  <a:cubicBezTo>
                    <a:pt x="5810" y="4813"/>
                    <a:pt x="5810" y="4813"/>
                    <a:pt x="5810" y="4813"/>
                  </a:cubicBezTo>
                  <a:cubicBezTo>
                    <a:pt x="5810" y="4806"/>
                    <a:pt x="5810" y="4806"/>
                    <a:pt x="5810" y="4806"/>
                  </a:cubicBezTo>
                  <a:cubicBezTo>
                    <a:pt x="5817" y="4791"/>
                    <a:pt x="5817" y="4791"/>
                    <a:pt x="5810" y="4791"/>
                  </a:cubicBezTo>
                  <a:cubicBezTo>
                    <a:pt x="5810" y="4784"/>
                    <a:pt x="5810" y="4784"/>
                    <a:pt x="5795" y="4784"/>
                  </a:cubicBezTo>
                  <a:cubicBezTo>
                    <a:pt x="5774" y="4784"/>
                    <a:pt x="5751" y="4777"/>
                    <a:pt x="5729" y="4777"/>
                  </a:cubicBezTo>
                  <a:cubicBezTo>
                    <a:pt x="5707" y="4769"/>
                    <a:pt x="5678" y="4762"/>
                    <a:pt x="5656" y="4762"/>
                  </a:cubicBezTo>
                  <a:cubicBezTo>
                    <a:pt x="5634" y="4762"/>
                    <a:pt x="5619" y="4769"/>
                    <a:pt x="5605" y="4784"/>
                  </a:cubicBezTo>
                  <a:cubicBezTo>
                    <a:pt x="5583" y="4799"/>
                    <a:pt x="5561" y="4806"/>
                    <a:pt x="5546" y="4813"/>
                  </a:cubicBezTo>
                  <a:cubicBezTo>
                    <a:pt x="5524" y="4828"/>
                    <a:pt x="5524" y="4828"/>
                    <a:pt x="5532" y="4865"/>
                  </a:cubicBezTo>
                  <a:cubicBezTo>
                    <a:pt x="5546" y="4945"/>
                    <a:pt x="5568" y="4974"/>
                    <a:pt x="5583" y="4997"/>
                  </a:cubicBezTo>
                  <a:cubicBezTo>
                    <a:pt x="5590" y="5004"/>
                    <a:pt x="5597" y="5004"/>
                    <a:pt x="5597" y="5011"/>
                  </a:cubicBezTo>
                  <a:cubicBezTo>
                    <a:pt x="5605" y="5011"/>
                    <a:pt x="5612" y="5019"/>
                    <a:pt x="5612" y="5026"/>
                  </a:cubicBezTo>
                  <a:cubicBezTo>
                    <a:pt x="5612" y="5033"/>
                    <a:pt x="5605" y="5041"/>
                    <a:pt x="5590" y="5055"/>
                  </a:cubicBezTo>
                  <a:cubicBezTo>
                    <a:pt x="5576" y="5070"/>
                    <a:pt x="5576" y="5070"/>
                    <a:pt x="5576" y="5070"/>
                  </a:cubicBezTo>
                  <a:cubicBezTo>
                    <a:pt x="5561" y="5084"/>
                    <a:pt x="5546" y="5092"/>
                    <a:pt x="5539" y="5106"/>
                  </a:cubicBezTo>
                  <a:cubicBezTo>
                    <a:pt x="5517" y="5114"/>
                    <a:pt x="5510" y="5129"/>
                    <a:pt x="5488" y="5158"/>
                  </a:cubicBezTo>
                  <a:cubicBezTo>
                    <a:pt x="5473" y="5187"/>
                    <a:pt x="5458" y="5202"/>
                    <a:pt x="5444" y="5209"/>
                  </a:cubicBezTo>
                  <a:cubicBezTo>
                    <a:pt x="5429" y="5224"/>
                    <a:pt x="5422" y="5238"/>
                    <a:pt x="5422" y="5268"/>
                  </a:cubicBezTo>
                  <a:cubicBezTo>
                    <a:pt x="5422" y="5297"/>
                    <a:pt x="5422" y="5304"/>
                    <a:pt x="5429" y="5319"/>
                  </a:cubicBezTo>
                  <a:cubicBezTo>
                    <a:pt x="5436" y="5341"/>
                    <a:pt x="5429" y="5356"/>
                    <a:pt x="5400" y="5378"/>
                  </a:cubicBezTo>
                  <a:cubicBezTo>
                    <a:pt x="5385" y="5385"/>
                    <a:pt x="5378" y="5385"/>
                    <a:pt x="5370" y="5392"/>
                  </a:cubicBezTo>
                  <a:cubicBezTo>
                    <a:pt x="5348" y="5407"/>
                    <a:pt x="5341" y="5414"/>
                    <a:pt x="5319" y="5458"/>
                  </a:cubicBezTo>
                  <a:cubicBezTo>
                    <a:pt x="5312" y="5473"/>
                    <a:pt x="5305" y="5480"/>
                    <a:pt x="5297" y="5495"/>
                  </a:cubicBezTo>
                  <a:cubicBezTo>
                    <a:pt x="5290" y="5524"/>
                    <a:pt x="5275" y="5539"/>
                    <a:pt x="5202" y="5561"/>
                  </a:cubicBezTo>
                  <a:cubicBezTo>
                    <a:pt x="5180" y="5568"/>
                    <a:pt x="5158" y="5568"/>
                    <a:pt x="5143" y="5568"/>
                  </a:cubicBezTo>
                  <a:cubicBezTo>
                    <a:pt x="5085" y="5568"/>
                    <a:pt x="5070" y="5539"/>
                    <a:pt x="5055" y="5510"/>
                  </a:cubicBezTo>
                  <a:cubicBezTo>
                    <a:pt x="5048" y="5495"/>
                    <a:pt x="5033" y="5473"/>
                    <a:pt x="5026" y="5473"/>
                  </a:cubicBezTo>
                  <a:cubicBezTo>
                    <a:pt x="5026" y="5473"/>
                    <a:pt x="5019" y="5480"/>
                    <a:pt x="5011" y="5495"/>
                  </a:cubicBezTo>
                  <a:cubicBezTo>
                    <a:pt x="5004" y="5510"/>
                    <a:pt x="5004" y="5524"/>
                    <a:pt x="4997" y="5531"/>
                  </a:cubicBezTo>
                  <a:cubicBezTo>
                    <a:pt x="4989" y="5568"/>
                    <a:pt x="4975" y="5597"/>
                    <a:pt x="4916" y="5627"/>
                  </a:cubicBezTo>
                  <a:cubicBezTo>
                    <a:pt x="4902" y="5634"/>
                    <a:pt x="4902" y="5634"/>
                    <a:pt x="4902" y="5634"/>
                  </a:cubicBezTo>
                  <a:cubicBezTo>
                    <a:pt x="4850" y="5663"/>
                    <a:pt x="4828" y="5671"/>
                    <a:pt x="4806" y="5715"/>
                  </a:cubicBezTo>
                  <a:cubicBezTo>
                    <a:pt x="4792" y="5737"/>
                    <a:pt x="4769" y="5751"/>
                    <a:pt x="4755" y="5759"/>
                  </a:cubicBezTo>
                  <a:cubicBezTo>
                    <a:pt x="4740" y="5766"/>
                    <a:pt x="4726" y="5773"/>
                    <a:pt x="4733" y="5795"/>
                  </a:cubicBezTo>
                  <a:cubicBezTo>
                    <a:pt x="4733" y="5817"/>
                    <a:pt x="4740" y="5824"/>
                    <a:pt x="4748" y="5832"/>
                  </a:cubicBezTo>
                  <a:cubicBezTo>
                    <a:pt x="4762" y="5839"/>
                    <a:pt x="4769" y="5854"/>
                    <a:pt x="4777" y="5898"/>
                  </a:cubicBezTo>
                  <a:cubicBezTo>
                    <a:pt x="4777" y="5920"/>
                    <a:pt x="4777" y="5934"/>
                    <a:pt x="4784" y="5942"/>
                  </a:cubicBezTo>
                  <a:cubicBezTo>
                    <a:pt x="4792" y="5993"/>
                    <a:pt x="4799" y="6022"/>
                    <a:pt x="4755" y="6081"/>
                  </a:cubicBezTo>
                  <a:cubicBezTo>
                    <a:pt x="4740" y="6103"/>
                    <a:pt x="4718" y="6132"/>
                    <a:pt x="4704" y="6154"/>
                  </a:cubicBezTo>
                  <a:cubicBezTo>
                    <a:pt x="4674" y="6198"/>
                    <a:pt x="4674" y="6198"/>
                    <a:pt x="4674" y="6198"/>
                  </a:cubicBezTo>
                  <a:cubicBezTo>
                    <a:pt x="4674" y="6103"/>
                    <a:pt x="4674" y="6103"/>
                    <a:pt x="4674" y="6103"/>
                  </a:cubicBezTo>
                  <a:cubicBezTo>
                    <a:pt x="4674" y="6096"/>
                    <a:pt x="4674" y="6096"/>
                    <a:pt x="4667" y="6096"/>
                  </a:cubicBezTo>
                  <a:cubicBezTo>
                    <a:pt x="4660" y="6096"/>
                    <a:pt x="4652" y="6096"/>
                    <a:pt x="4638" y="6096"/>
                  </a:cubicBezTo>
                  <a:cubicBezTo>
                    <a:pt x="4630" y="6096"/>
                    <a:pt x="4623" y="6103"/>
                    <a:pt x="4616" y="6103"/>
                  </a:cubicBezTo>
                  <a:cubicBezTo>
                    <a:pt x="4608" y="6103"/>
                    <a:pt x="4594" y="6103"/>
                    <a:pt x="4586" y="6103"/>
                  </a:cubicBezTo>
                  <a:cubicBezTo>
                    <a:pt x="4564" y="6103"/>
                    <a:pt x="4550" y="6103"/>
                    <a:pt x="4543" y="6088"/>
                  </a:cubicBezTo>
                  <a:cubicBezTo>
                    <a:pt x="4528" y="6074"/>
                    <a:pt x="4528" y="6059"/>
                    <a:pt x="4535" y="6044"/>
                  </a:cubicBezTo>
                  <a:cubicBezTo>
                    <a:pt x="4535" y="6022"/>
                    <a:pt x="4520" y="6015"/>
                    <a:pt x="4498" y="5993"/>
                  </a:cubicBezTo>
                  <a:cubicBezTo>
                    <a:pt x="4491" y="5986"/>
                    <a:pt x="4476" y="5971"/>
                    <a:pt x="4469" y="5964"/>
                  </a:cubicBezTo>
                  <a:cubicBezTo>
                    <a:pt x="4455" y="5942"/>
                    <a:pt x="4433" y="5927"/>
                    <a:pt x="4411" y="5905"/>
                  </a:cubicBezTo>
                  <a:cubicBezTo>
                    <a:pt x="4396" y="5898"/>
                    <a:pt x="4381" y="5891"/>
                    <a:pt x="4374" y="5876"/>
                  </a:cubicBezTo>
                  <a:cubicBezTo>
                    <a:pt x="4345" y="5847"/>
                    <a:pt x="4345" y="5773"/>
                    <a:pt x="4352" y="5744"/>
                  </a:cubicBezTo>
                  <a:cubicBezTo>
                    <a:pt x="4352" y="5737"/>
                    <a:pt x="4359" y="5729"/>
                    <a:pt x="4359" y="5722"/>
                  </a:cubicBezTo>
                  <a:cubicBezTo>
                    <a:pt x="4367" y="5700"/>
                    <a:pt x="4381" y="5663"/>
                    <a:pt x="4381" y="5641"/>
                  </a:cubicBezTo>
                  <a:cubicBezTo>
                    <a:pt x="4374" y="5619"/>
                    <a:pt x="4345" y="5612"/>
                    <a:pt x="4323" y="5612"/>
                  </a:cubicBezTo>
                  <a:cubicBezTo>
                    <a:pt x="4323" y="5612"/>
                    <a:pt x="4315" y="5612"/>
                    <a:pt x="4308" y="5612"/>
                  </a:cubicBezTo>
                  <a:cubicBezTo>
                    <a:pt x="4271" y="5612"/>
                    <a:pt x="4249" y="5597"/>
                    <a:pt x="4235" y="5575"/>
                  </a:cubicBezTo>
                  <a:cubicBezTo>
                    <a:pt x="4220" y="5546"/>
                    <a:pt x="4198" y="5524"/>
                    <a:pt x="4169" y="5510"/>
                  </a:cubicBezTo>
                  <a:cubicBezTo>
                    <a:pt x="4161" y="5502"/>
                    <a:pt x="4161" y="5502"/>
                    <a:pt x="4161" y="5502"/>
                  </a:cubicBezTo>
                  <a:cubicBezTo>
                    <a:pt x="4132" y="5488"/>
                    <a:pt x="4095" y="5473"/>
                    <a:pt x="4088" y="5443"/>
                  </a:cubicBezTo>
                  <a:cubicBezTo>
                    <a:pt x="4081" y="5429"/>
                    <a:pt x="4081" y="5414"/>
                    <a:pt x="4088" y="5400"/>
                  </a:cubicBezTo>
                  <a:cubicBezTo>
                    <a:pt x="4117" y="5363"/>
                    <a:pt x="4117" y="5319"/>
                    <a:pt x="4095" y="5290"/>
                  </a:cubicBezTo>
                  <a:cubicBezTo>
                    <a:pt x="4088" y="5282"/>
                    <a:pt x="4081" y="5275"/>
                    <a:pt x="4066" y="5275"/>
                  </a:cubicBezTo>
                  <a:cubicBezTo>
                    <a:pt x="4044" y="5275"/>
                    <a:pt x="4007" y="5297"/>
                    <a:pt x="3986" y="5319"/>
                  </a:cubicBezTo>
                  <a:cubicBezTo>
                    <a:pt x="3949" y="5341"/>
                    <a:pt x="3949" y="5378"/>
                    <a:pt x="3949" y="5407"/>
                  </a:cubicBezTo>
                  <a:cubicBezTo>
                    <a:pt x="3949" y="5422"/>
                    <a:pt x="3949" y="5436"/>
                    <a:pt x="3949" y="5451"/>
                  </a:cubicBezTo>
                  <a:cubicBezTo>
                    <a:pt x="3949" y="5465"/>
                    <a:pt x="3949" y="5473"/>
                    <a:pt x="3942" y="5488"/>
                  </a:cubicBezTo>
                  <a:cubicBezTo>
                    <a:pt x="3942" y="5524"/>
                    <a:pt x="3934" y="5568"/>
                    <a:pt x="3912" y="5590"/>
                  </a:cubicBezTo>
                  <a:cubicBezTo>
                    <a:pt x="3898" y="5597"/>
                    <a:pt x="3890" y="5612"/>
                    <a:pt x="3876" y="5619"/>
                  </a:cubicBezTo>
                  <a:cubicBezTo>
                    <a:pt x="3854" y="5634"/>
                    <a:pt x="3832" y="5649"/>
                    <a:pt x="3810" y="5671"/>
                  </a:cubicBezTo>
                  <a:cubicBezTo>
                    <a:pt x="3788" y="5700"/>
                    <a:pt x="3780" y="5722"/>
                    <a:pt x="3773" y="5759"/>
                  </a:cubicBezTo>
                  <a:cubicBezTo>
                    <a:pt x="3766" y="5766"/>
                    <a:pt x="3766" y="5781"/>
                    <a:pt x="3766" y="5795"/>
                  </a:cubicBezTo>
                  <a:cubicBezTo>
                    <a:pt x="3758" y="5810"/>
                    <a:pt x="3758" y="5817"/>
                    <a:pt x="3758" y="5824"/>
                  </a:cubicBezTo>
                  <a:cubicBezTo>
                    <a:pt x="3751" y="5839"/>
                    <a:pt x="3744" y="5847"/>
                    <a:pt x="3729" y="5847"/>
                  </a:cubicBezTo>
                  <a:cubicBezTo>
                    <a:pt x="3722" y="5847"/>
                    <a:pt x="3707" y="5854"/>
                    <a:pt x="3693" y="5854"/>
                  </a:cubicBezTo>
                  <a:cubicBezTo>
                    <a:pt x="3670" y="5861"/>
                    <a:pt x="3648" y="5861"/>
                    <a:pt x="3634" y="5869"/>
                  </a:cubicBezTo>
                  <a:cubicBezTo>
                    <a:pt x="3597" y="5869"/>
                    <a:pt x="3597" y="5869"/>
                    <a:pt x="3590" y="5883"/>
                  </a:cubicBezTo>
                  <a:cubicBezTo>
                    <a:pt x="3583" y="5920"/>
                    <a:pt x="3561" y="5949"/>
                    <a:pt x="3531" y="5949"/>
                  </a:cubicBezTo>
                  <a:cubicBezTo>
                    <a:pt x="3531" y="5949"/>
                    <a:pt x="3509" y="5949"/>
                    <a:pt x="3502" y="5920"/>
                  </a:cubicBezTo>
                  <a:cubicBezTo>
                    <a:pt x="3502" y="5912"/>
                    <a:pt x="3502" y="5912"/>
                    <a:pt x="3502" y="5912"/>
                  </a:cubicBezTo>
                  <a:cubicBezTo>
                    <a:pt x="3495" y="5912"/>
                    <a:pt x="3465" y="5934"/>
                    <a:pt x="3443" y="5949"/>
                  </a:cubicBezTo>
                  <a:cubicBezTo>
                    <a:pt x="3436" y="5956"/>
                    <a:pt x="3429" y="5964"/>
                    <a:pt x="3414" y="5971"/>
                  </a:cubicBezTo>
                  <a:cubicBezTo>
                    <a:pt x="3370" y="6008"/>
                    <a:pt x="3319" y="6015"/>
                    <a:pt x="3282" y="6022"/>
                  </a:cubicBezTo>
                  <a:cubicBezTo>
                    <a:pt x="3275" y="6022"/>
                    <a:pt x="3267" y="6022"/>
                    <a:pt x="3260" y="6022"/>
                  </a:cubicBezTo>
                  <a:cubicBezTo>
                    <a:pt x="3224" y="6037"/>
                    <a:pt x="3165" y="6066"/>
                    <a:pt x="3128" y="6118"/>
                  </a:cubicBezTo>
                  <a:cubicBezTo>
                    <a:pt x="3121" y="6140"/>
                    <a:pt x="3114" y="6154"/>
                    <a:pt x="3106" y="6169"/>
                  </a:cubicBezTo>
                  <a:cubicBezTo>
                    <a:pt x="3092" y="6191"/>
                    <a:pt x="3084" y="6198"/>
                    <a:pt x="3070" y="6228"/>
                  </a:cubicBezTo>
                  <a:cubicBezTo>
                    <a:pt x="3055" y="6250"/>
                    <a:pt x="3011" y="6272"/>
                    <a:pt x="2974" y="6286"/>
                  </a:cubicBezTo>
                  <a:cubicBezTo>
                    <a:pt x="2952" y="6293"/>
                    <a:pt x="2938" y="6308"/>
                    <a:pt x="2923" y="6315"/>
                  </a:cubicBezTo>
                  <a:cubicBezTo>
                    <a:pt x="2916" y="6315"/>
                    <a:pt x="2901" y="6323"/>
                    <a:pt x="2894" y="6323"/>
                  </a:cubicBezTo>
                  <a:cubicBezTo>
                    <a:pt x="2864" y="6323"/>
                    <a:pt x="2843" y="6308"/>
                    <a:pt x="2813" y="6293"/>
                  </a:cubicBezTo>
                  <a:cubicBezTo>
                    <a:pt x="2798" y="6286"/>
                    <a:pt x="2776" y="6272"/>
                    <a:pt x="2762" y="6272"/>
                  </a:cubicBezTo>
                  <a:cubicBezTo>
                    <a:pt x="2733" y="6272"/>
                    <a:pt x="2703" y="6301"/>
                    <a:pt x="2667" y="6330"/>
                  </a:cubicBezTo>
                  <a:cubicBezTo>
                    <a:pt x="2659" y="6345"/>
                    <a:pt x="2645" y="6352"/>
                    <a:pt x="2637" y="6360"/>
                  </a:cubicBezTo>
                  <a:cubicBezTo>
                    <a:pt x="2593" y="6396"/>
                    <a:pt x="2557" y="6418"/>
                    <a:pt x="2505" y="6418"/>
                  </a:cubicBezTo>
                  <a:cubicBezTo>
                    <a:pt x="2491" y="6418"/>
                    <a:pt x="2476" y="6411"/>
                    <a:pt x="2454" y="6403"/>
                  </a:cubicBezTo>
                  <a:cubicBezTo>
                    <a:pt x="2439" y="6403"/>
                    <a:pt x="2432" y="6396"/>
                    <a:pt x="2417" y="6396"/>
                  </a:cubicBezTo>
                  <a:cubicBezTo>
                    <a:pt x="2403" y="6396"/>
                    <a:pt x="2395" y="6403"/>
                    <a:pt x="2388" y="6411"/>
                  </a:cubicBezTo>
                  <a:cubicBezTo>
                    <a:pt x="2381" y="6425"/>
                    <a:pt x="2366" y="6440"/>
                    <a:pt x="2359" y="6455"/>
                  </a:cubicBezTo>
                  <a:cubicBezTo>
                    <a:pt x="2344" y="6477"/>
                    <a:pt x="2337" y="6491"/>
                    <a:pt x="2315" y="6499"/>
                  </a:cubicBezTo>
                  <a:cubicBezTo>
                    <a:pt x="2307" y="6506"/>
                    <a:pt x="2293" y="6506"/>
                    <a:pt x="2271" y="6506"/>
                  </a:cubicBezTo>
                  <a:cubicBezTo>
                    <a:pt x="2249" y="6506"/>
                    <a:pt x="2198" y="6513"/>
                    <a:pt x="2198" y="6528"/>
                  </a:cubicBezTo>
                  <a:cubicBezTo>
                    <a:pt x="2198" y="6528"/>
                    <a:pt x="2198" y="6535"/>
                    <a:pt x="2198" y="6543"/>
                  </a:cubicBezTo>
                  <a:cubicBezTo>
                    <a:pt x="2190" y="6565"/>
                    <a:pt x="2183" y="6594"/>
                    <a:pt x="2132" y="6601"/>
                  </a:cubicBezTo>
                  <a:cubicBezTo>
                    <a:pt x="2124" y="6609"/>
                    <a:pt x="2117" y="6609"/>
                    <a:pt x="2110" y="6623"/>
                  </a:cubicBezTo>
                  <a:cubicBezTo>
                    <a:pt x="2102" y="6638"/>
                    <a:pt x="2102" y="6667"/>
                    <a:pt x="2110" y="6682"/>
                  </a:cubicBezTo>
                  <a:cubicBezTo>
                    <a:pt x="2132" y="6719"/>
                    <a:pt x="2110" y="6770"/>
                    <a:pt x="2058" y="6836"/>
                  </a:cubicBezTo>
                  <a:cubicBezTo>
                    <a:pt x="2044" y="6850"/>
                    <a:pt x="2029" y="6865"/>
                    <a:pt x="2007" y="6865"/>
                  </a:cubicBezTo>
                  <a:cubicBezTo>
                    <a:pt x="1971" y="6865"/>
                    <a:pt x="1926" y="6821"/>
                    <a:pt x="1912" y="6806"/>
                  </a:cubicBezTo>
                  <a:cubicBezTo>
                    <a:pt x="1905" y="6799"/>
                    <a:pt x="1897" y="6792"/>
                    <a:pt x="1897" y="6784"/>
                  </a:cubicBezTo>
                  <a:cubicBezTo>
                    <a:pt x="1883" y="6770"/>
                    <a:pt x="1861" y="6748"/>
                    <a:pt x="1846" y="6748"/>
                  </a:cubicBezTo>
                  <a:cubicBezTo>
                    <a:pt x="1839" y="6748"/>
                    <a:pt x="1839" y="6755"/>
                    <a:pt x="1831" y="6762"/>
                  </a:cubicBezTo>
                  <a:cubicBezTo>
                    <a:pt x="1795" y="6792"/>
                    <a:pt x="1795" y="6806"/>
                    <a:pt x="1802" y="6843"/>
                  </a:cubicBezTo>
                  <a:cubicBezTo>
                    <a:pt x="1802" y="6850"/>
                    <a:pt x="1802" y="6858"/>
                    <a:pt x="1802" y="6872"/>
                  </a:cubicBezTo>
                  <a:cubicBezTo>
                    <a:pt x="1802" y="6902"/>
                    <a:pt x="1809" y="6909"/>
                    <a:pt x="1824" y="6916"/>
                  </a:cubicBezTo>
                  <a:cubicBezTo>
                    <a:pt x="1839" y="6924"/>
                    <a:pt x="1853" y="6931"/>
                    <a:pt x="1861" y="6946"/>
                  </a:cubicBezTo>
                  <a:cubicBezTo>
                    <a:pt x="1890" y="6968"/>
                    <a:pt x="1868" y="7004"/>
                    <a:pt x="1861" y="7026"/>
                  </a:cubicBezTo>
                  <a:cubicBezTo>
                    <a:pt x="1846" y="7041"/>
                    <a:pt x="1839" y="7056"/>
                    <a:pt x="1839" y="7070"/>
                  </a:cubicBezTo>
                  <a:cubicBezTo>
                    <a:pt x="1853" y="7122"/>
                    <a:pt x="1839" y="7165"/>
                    <a:pt x="1795" y="7188"/>
                  </a:cubicBezTo>
                  <a:cubicBezTo>
                    <a:pt x="1765" y="7202"/>
                    <a:pt x="1729" y="7217"/>
                    <a:pt x="1699" y="7217"/>
                  </a:cubicBezTo>
                  <a:cubicBezTo>
                    <a:pt x="1677" y="7217"/>
                    <a:pt x="1655" y="7210"/>
                    <a:pt x="1648" y="7195"/>
                  </a:cubicBezTo>
                  <a:cubicBezTo>
                    <a:pt x="1641" y="7188"/>
                    <a:pt x="1633" y="7180"/>
                    <a:pt x="1626" y="7173"/>
                  </a:cubicBezTo>
                  <a:cubicBezTo>
                    <a:pt x="1619" y="7165"/>
                    <a:pt x="1619" y="7158"/>
                    <a:pt x="1612" y="7151"/>
                  </a:cubicBezTo>
                  <a:cubicBezTo>
                    <a:pt x="1604" y="7180"/>
                    <a:pt x="1590" y="7188"/>
                    <a:pt x="1567" y="7188"/>
                  </a:cubicBezTo>
                  <a:cubicBezTo>
                    <a:pt x="1545" y="7188"/>
                    <a:pt x="1516" y="7173"/>
                    <a:pt x="1502" y="7151"/>
                  </a:cubicBezTo>
                  <a:cubicBezTo>
                    <a:pt x="1472" y="7122"/>
                    <a:pt x="1443" y="7085"/>
                    <a:pt x="1406" y="7085"/>
                  </a:cubicBezTo>
                  <a:cubicBezTo>
                    <a:pt x="1399" y="7085"/>
                    <a:pt x="1392" y="7085"/>
                    <a:pt x="1392" y="7085"/>
                  </a:cubicBezTo>
                  <a:cubicBezTo>
                    <a:pt x="1333" y="7107"/>
                    <a:pt x="1311" y="7122"/>
                    <a:pt x="1245" y="7195"/>
                  </a:cubicBezTo>
                  <a:cubicBezTo>
                    <a:pt x="1223" y="7217"/>
                    <a:pt x="1208" y="7224"/>
                    <a:pt x="1186" y="7224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34" name="Freeform 133"/>
            <p:cNvSpPr>
              <a:spLocks noChangeArrowheads="1"/>
            </p:cNvSpPr>
            <p:nvPr/>
          </p:nvSpPr>
          <p:spPr bwMode="auto">
            <a:xfrm>
              <a:off x="3366645" y="5788106"/>
              <a:ext cx="2900010" cy="2754098"/>
            </a:xfrm>
            <a:custGeom>
              <a:avLst/>
              <a:gdLst>
                <a:gd name="T0" fmla="*/ 6786 w 7549"/>
                <a:gd name="T1" fmla="*/ 271 h 7255"/>
                <a:gd name="T2" fmla="*/ 6873 w 7549"/>
                <a:gd name="T3" fmla="*/ 1473 h 7255"/>
                <a:gd name="T4" fmla="*/ 7474 w 7549"/>
                <a:gd name="T5" fmla="*/ 2462 h 7255"/>
                <a:gd name="T6" fmla="*/ 6998 w 7549"/>
                <a:gd name="T7" fmla="*/ 3562 h 7255"/>
                <a:gd name="T8" fmla="*/ 6075 w 7549"/>
                <a:gd name="T9" fmla="*/ 3840 h 7255"/>
                <a:gd name="T10" fmla="*/ 5972 w 7549"/>
                <a:gd name="T11" fmla="*/ 4608 h 7255"/>
                <a:gd name="T12" fmla="*/ 5328 w 7549"/>
                <a:gd name="T13" fmla="*/ 5466 h 7255"/>
                <a:gd name="T14" fmla="*/ 4639 w 7549"/>
                <a:gd name="T15" fmla="*/ 6103 h 7255"/>
                <a:gd name="T16" fmla="*/ 4001 w 7549"/>
                <a:gd name="T17" fmla="*/ 5319 h 7255"/>
                <a:gd name="T18" fmla="*/ 2939 w 7549"/>
                <a:gd name="T19" fmla="*/ 6316 h 7255"/>
                <a:gd name="T20" fmla="*/ 1869 w 7549"/>
                <a:gd name="T21" fmla="*/ 6748 h 7255"/>
                <a:gd name="T22" fmla="*/ 1254 w 7549"/>
                <a:gd name="T23" fmla="*/ 7203 h 7255"/>
                <a:gd name="T24" fmla="*/ 740 w 7549"/>
                <a:gd name="T25" fmla="*/ 6360 h 7255"/>
                <a:gd name="T26" fmla="*/ 323 w 7549"/>
                <a:gd name="T27" fmla="*/ 5480 h 7255"/>
                <a:gd name="T28" fmla="*/ 206 w 7549"/>
                <a:gd name="T29" fmla="*/ 4872 h 7255"/>
                <a:gd name="T30" fmla="*/ 777 w 7549"/>
                <a:gd name="T31" fmla="*/ 3818 h 7255"/>
                <a:gd name="T32" fmla="*/ 484 w 7549"/>
                <a:gd name="T33" fmla="*/ 2162 h 7255"/>
                <a:gd name="T34" fmla="*/ 1209 w 7549"/>
                <a:gd name="T35" fmla="*/ 2104 h 7255"/>
                <a:gd name="T36" fmla="*/ 1913 w 7549"/>
                <a:gd name="T37" fmla="*/ 1481 h 7255"/>
                <a:gd name="T38" fmla="*/ 3701 w 7549"/>
                <a:gd name="T39" fmla="*/ 447 h 7255"/>
                <a:gd name="T40" fmla="*/ 4441 w 7549"/>
                <a:gd name="T41" fmla="*/ 770 h 7255"/>
                <a:gd name="T42" fmla="*/ 4573 w 7549"/>
                <a:gd name="T43" fmla="*/ 1590 h 7255"/>
                <a:gd name="T44" fmla="*/ 5562 w 7549"/>
                <a:gd name="T45" fmla="*/ 1195 h 7255"/>
                <a:gd name="T46" fmla="*/ 5569 w 7549"/>
                <a:gd name="T47" fmla="*/ 66 h 7255"/>
                <a:gd name="T48" fmla="*/ 5569 w 7549"/>
                <a:gd name="T49" fmla="*/ 37 h 7255"/>
                <a:gd name="T50" fmla="*/ 5152 w 7549"/>
                <a:gd name="T51" fmla="*/ 418 h 7255"/>
                <a:gd name="T52" fmla="*/ 5166 w 7549"/>
                <a:gd name="T53" fmla="*/ 1327 h 7255"/>
                <a:gd name="T54" fmla="*/ 4434 w 7549"/>
                <a:gd name="T55" fmla="*/ 1627 h 7255"/>
                <a:gd name="T56" fmla="*/ 4346 w 7549"/>
                <a:gd name="T57" fmla="*/ 1114 h 7255"/>
                <a:gd name="T58" fmla="*/ 4236 w 7549"/>
                <a:gd name="T59" fmla="*/ 513 h 7255"/>
                <a:gd name="T60" fmla="*/ 3664 w 7549"/>
                <a:gd name="T61" fmla="*/ 381 h 7255"/>
                <a:gd name="T62" fmla="*/ 2616 w 7549"/>
                <a:gd name="T63" fmla="*/ 924 h 7255"/>
                <a:gd name="T64" fmla="*/ 1818 w 7549"/>
                <a:gd name="T65" fmla="*/ 1547 h 7255"/>
                <a:gd name="T66" fmla="*/ 1334 w 7549"/>
                <a:gd name="T67" fmla="*/ 2147 h 7255"/>
                <a:gd name="T68" fmla="*/ 631 w 7549"/>
                <a:gd name="T69" fmla="*/ 2067 h 7255"/>
                <a:gd name="T70" fmla="*/ 316 w 7549"/>
                <a:gd name="T71" fmla="*/ 2558 h 7255"/>
                <a:gd name="T72" fmla="*/ 755 w 7549"/>
                <a:gd name="T73" fmla="*/ 3730 h 7255"/>
                <a:gd name="T74" fmla="*/ 543 w 7549"/>
                <a:gd name="T75" fmla="*/ 4492 h 7255"/>
                <a:gd name="T76" fmla="*/ 103 w 7549"/>
                <a:gd name="T77" fmla="*/ 5114 h 7255"/>
                <a:gd name="T78" fmla="*/ 404 w 7549"/>
                <a:gd name="T79" fmla="*/ 5458 h 7255"/>
                <a:gd name="T80" fmla="*/ 374 w 7549"/>
                <a:gd name="T81" fmla="*/ 5957 h 7255"/>
                <a:gd name="T82" fmla="*/ 653 w 7549"/>
                <a:gd name="T83" fmla="*/ 6382 h 7255"/>
                <a:gd name="T84" fmla="*/ 1034 w 7549"/>
                <a:gd name="T85" fmla="*/ 7151 h 7255"/>
                <a:gd name="T86" fmla="*/ 1722 w 7549"/>
                <a:gd name="T87" fmla="*/ 7246 h 7255"/>
                <a:gd name="T88" fmla="*/ 2147 w 7549"/>
                <a:gd name="T89" fmla="*/ 6689 h 7255"/>
                <a:gd name="T90" fmla="*/ 2785 w 7549"/>
                <a:gd name="T91" fmla="*/ 6301 h 7255"/>
                <a:gd name="T92" fmla="*/ 3628 w 7549"/>
                <a:gd name="T93" fmla="*/ 5906 h 7255"/>
                <a:gd name="T94" fmla="*/ 4016 w 7549"/>
                <a:gd name="T95" fmla="*/ 5341 h 7255"/>
                <a:gd name="T96" fmla="*/ 4426 w 7549"/>
                <a:gd name="T97" fmla="*/ 5935 h 7255"/>
                <a:gd name="T98" fmla="*/ 4822 w 7549"/>
                <a:gd name="T99" fmla="*/ 5957 h 7255"/>
                <a:gd name="T100" fmla="*/ 5335 w 7549"/>
                <a:gd name="T101" fmla="*/ 5510 h 7255"/>
                <a:gd name="T102" fmla="*/ 5569 w 7549"/>
                <a:gd name="T103" fmla="*/ 4880 h 7255"/>
                <a:gd name="T104" fmla="*/ 5877 w 7549"/>
                <a:gd name="T105" fmla="*/ 4836 h 7255"/>
                <a:gd name="T106" fmla="*/ 5958 w 7549"/>
                <a:gd name="T107" fmla="*/ 4177 h 7255"/>
                <a:gd name="T108" fmla="*/ 5965 w 7549"/>
                <a:gd name="T109" fmla="*/ 3899 h 7255"/>
                <a:gd name="T110" fmla="*/ 6383 w 7549"/>
                <a:gd name="T111" fmla="*/ 3518 h 7255"/>
                <a:gd name="T112" fmla="*/ 7342 w 7549"/>
                <a:gd name="T113" fmla="*/ 3203 h 7255"/>
                <a:gd name="T114" fmla="*/ 7394 w 7549"/>
                <a:gd name="T115" fmla="*/ 2888 h 7255"/>
                <a:gd name="T116" fmla="*/ 7181 w 7549"/>
                <a:gd name="T117" fmla="*/ 1964 h 7255"/>
                <a:gd name="T118" fmla="*/ 6749 w 7549"/>
                <a:gd name="T119" fmla="*/ 1305 h 7255"/>
                <a:gd name="T120" fmla="*/ 6690 w 7549"/>
                <a:gd name="T121" fmla="*/ 682 h 7255"/>
                <a:gd name="T122" fmla="*/ 6471 w 7549"/>
                <a:gd name="T123" fmla="*/ 403 h 7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549" h="7255">
                  <a:moveTo>
                    <a:pt x="5862" y="30"/>
                  </a:moveTo>
                  <a:lnTo>
                    <a:pt x="5862" y="30"/>
                  </a:lnTo>
                  <a:cubicBezTo>
                    <a:pt x="5884" y="30"/>
                    <a:pt x="5899" y="44"/>
                    <a:pt x="5921" y="59"/>
                  </a:cubicBezTo>
                  <a:cubicBezTo>
                    <a:pt x="5965" y="96"/>
                    <a:pt x="5928" y="147"/>
                    <a:pt x="5965" y="191"/>
                  </a:cubicBezTo>
                  <a:cubicBezTo>
                    <a:pt x="5994" y="242"/>
                    <a:pt x="6009" y="323"/>
                    <a:pt x="5987" y="359"/>
                  </a:cubicBezTo>
                  <a:cubicBezTo>
                    <a:pt x="5972" y="389"/>
                    <a:pt x="5950" y="440"/>
                    <a:pt x="6024" y="469"/>
                  </a:cubicBezTo>
                  <a:cubicBezTo>
                    <a:pt x="6075" y="484"/>
                    <a:pt x="6148" y="499"/>
                    <a:pt x="6207" y="499"/>
                  </a:cubicBezTo>
                  <a:cubicBezTo>
                    <a:pt x="6243" y="499"/>
                    <a:pt x="6273" y="499"/>
                    <a:pt x="6295" y="484"/>
                  </a:cubicBezTo>
                  <a:cubicBezTo>
                    <a:pt x="6361" y="447"/>
                    <a:pt x="6492" y="477"/>
                    <a:pt x="6500" y="403"/>
                  </a:cubicBezTo>
                  <a:cubicBezTo>
                    <a:pt x="6507" y="338"/>
                    <a:pt x="6559" y="330"/>
                    <a:pt x="6588" y="264"/>
                  </a:cubicBezTo>
                  <a:cubicBezTo>
                    <a:pt x="6610" y="191"/>
                    <a:pt x="6624" y="162"/>
                    <a:pt x="6676" y="154"/>
                  </a:cubicBezTo>
                  <a:cubicBezTo>
                    <a:pt x="6705" y="147"/>
                    <a:pt x="6734" y="140"/>
                    <a:pt x="6764" y="140"/>
                  </a:cubicBezTo>
                  <a:cubicBezTo>
                    <a:pt x="6786" y="140"/>
                    <a:pt x="6808" y="140"/>
                    <a:pt x="6822" y="162"/>
                  </a:cubicBezTo>
                  <a:cubicBezTo>
                    <a:pt x="6866" y="206"/>
                    <a:pt x="6830" y="242"/>
                    <a:pt x="6786" y="271"/>
                  </a:cubicBezTo>
                  <a:cubicBezTo>
                    <a:pt x="6749" y="294"/>
                    <a:pt x="6756" y="345"/>
                    <a:pt x="6800" y="374"/>
                  </a:cubicBezTo>
                  <a:cubicBezTo>
                    <a:pt x="6837" y="396"/>
                    <a:pt x="6837" y="440"/>
                    <a:pt x="6808" y="484"/>
                  </a:cubicBezTo>
                  <a:cubicBezTo>
                    <a:pt x="6771" y="528"/>
                    <a:pt x="6756" y="645"/>
                    <a:pt x="6690" y="653"/>
                  </a:cubicBezTo>
                  <a:cubicBezTo>
                    <a:pt x="6617" y="660"/>
                    <a:pt x="6588" y="667"/>
                    <a:pt x="6559" y="733"/>
                  </a:cubicBezTo>
                  <a:cubicBezTo>
                    <a:pt x="6537" y="792"/>
                    <a:pt x="6500" y="836"/>
                    <a:pt x="6537" y="865"/>
                  </a:cubicBezTo>
                  <a:cubicBezTo>
                    <a:pt x="6566" y="902"/>
                    <a:pt x="6566" y="946"/>
                    <a:pt x="6624" y="968"/>
                  </a:cubicBezTo>
                  <a:cubicBezTo>
                    <a:pt x="6690" y="997"/>
                    <a:pt x="6756" y="1012"/>
                    <a:pt x="6720" y="1034"/>
                  </a:cubicBezTo>
                  <a:cubicBezTo>
                    <a:pt x="6690" y="1063"/>
                    <a:pt x="6647" y="1070"/>
                    <a:pt x="6654" y="1107"/>
                  </a:cubicBezTo>
                  <a:cubicBezTo>
                    <a:pt x="6661" y="1136"/>
                    <a:pt x="6654" y="1166"/>
                    <a:pt x="6617" y="1180"/>
                  </a:cubicBezTo>
                  <a:cubicBezTo>
                    <a:pt x="6588" y="1195"/>
                    <a:pt x="6588" y="1261"/>
                    <a:pt x="6595" y="1283"/>
                  </a:cubicBezTo>
                  <a:cubicBezTo>
                    <a:pt x="6602" y="1305"/>
                    <a:pt x="6624" y="1334"/>
                    <a:pt x="6712" y="1334"/>
                  </a:cubicBezTo>
                  <a:cubicBezTo>
                    <a:pt x="6734" y="1334"/>
                    <a:pt x="6756" y="1334"/>
                    <a:pt x="6778" y="1334"/>
                  </a:cubicBezTo>
                  <a:cubicBezTo>
                    <a:pt x="6830" y="1334"/>
                    <a:pt x="6859" y="1334"/>
                    <a:pt x="6873" y="1371"/>
                  </a:cubicBezTo>
                  <a:cubicBezTo>
                    <a:pt x="6888" y="1407"/>
                    <a:pt x="6866" y="1437"/>
                    <a:pt x="6873" y="1473"/>
                  </a:cubicBezTo>
                  <a:cubicBezTo>
                    <a:pt x="6881" y="1503"/>
                    <a:pt x="6940" y="1539"/>
                    <a:pt x="6940" y="1539"/>
                  </a:cubicBezTo>
                  <a:cubicBezTo>
                    <a:pt x="6940" y="1539"/>
                    <a:pt x="6947" y="1635"/>
                    <a:pt x="6961" y="1686"/>
                  </a:cubicBezTo>
                  <a:cubicBezTo>
                    <a:pt x="6969" y="1730"/>
                    <a:pt x="6976" y="1796"/>
                    <a:pt x="6947" y="1832"/>
                  </a:cubicBezTo>
                  <a:cubicBezTo>
                    <a:pt x="6932" y="1869"/>
                    <a:pt x="6954" y="1920"/>
                    <a:pt x="6991" y="1920"/>
                  </a:cubicBezTo>
                  <a:cubicBezTo>
                    <a:pt x="7006" y="1920"/>
                    <a:pt x="7020" y="1913"/>
                    <a:pt x="7035" y="1906"/>
                  </a:cubicBezTo>
                  <a:cubicBezTo>
                    <a:pt x="7057" y="1891"/>
                    <a:pt x="7071" y="1884"/>
                    <a:pt x="7086" y="1884"/>
                  </a:cubicBezTo>
                  <a:cubicBezTo>
                    <a:pt x="7130" y="1884"/>
                    <a:pt x="7152" y="1920"/>
                    <a:pt x="7152" y="1964"/>
                  </a:cubicBezTo>
                  <a:cubicBezTo>
                    <a:pt x="7152" y="2023"/>
                    <a:pt x="7181" y="2074"/>
                    <a:pt x="7225" y="2074"/>
                  </a:cubicBezTo>
                  <a:cubicBezTo>
                    <a:pt x="7262" y="2074"/>
                    <a:pt x="7284" y="2133"/>
                    <a:pt x="7284" y="2199"/>
                  </a:cubicBezTo>
                  <a:cubicBezTo>
                    <a:pt x="7284" y="2250"/>
                    <a:pt x="7313" y="2265"/>
                    <a:pt x="7364" y="2265"/>
                  </a:cubicBezTo>
                  <a:cubicBezTo>
                    <a:pt x="7387" y="2265"/>
                    <a:pt x="7401" y="2265"/>
                    <a:pt x="7423" y="2257"/>
                  </a:cubicBezTo>
                  <a:cubicBezTo>
                    <a:pt x="7430" y="2257"/>
                    <a:pt x="7438" y="2257"/>
                    <a:pt x="7438" y="2257"/>
                  </a:cubicBezTo>
                  <a:cubicBezTo>
                    <a:pt x="7511" y="2257"/>
                    <a:pt x="7489" y="2331"/>
                    <a:pt x="7460" y="2382"/>
                  </a:cubicBezTo>
                  <a:cubicBezTo>
                    <a:pt x="7423" y="2433"/>
                    <a:pt x="7474" y="2411"/>
                    <a:pt x="7474" y="2462"/>
                  </a:cubicBezTo>
                  <a:cubicBezTo>
                    <a:pt x="7474" y="2514"/>
                    <a:pt x="7438" y="2558"/>
                    <a:pt x="7401" y="2580"/>
                  </a:cubicBezTo>
                  <a:cubicBezTo>
                    <a:pt x="7364" y="2609"/>
                    <a:pt x="7364" y="2646"/>
                    <a:pt x="7372" y="2704"/>
                  </a:cubicBezTo>
                  <a:cubicBezTo>
                    <a:pt x="7387" y="2763"/>
                    <a:pt x="7438" y="2807"/>
                    <a:pt x="7394" y="2844"/>
                  </a:cubicBezTo>
                  <a:cubicBezTo>
                    <a:pt x="7350" y="2888"/>
                    <a:pt x="7299" y="2924"/>
                    <a:pt x="7350" y="2968"/>
                  </a:cubicBezTo>
                  <a:cubicBezTo>
                    <a:pt x="7379" y="2990"/>
                    <a:pt x="7416" y="2997"/>
                    <a:pt x="7438" y="2997"/>
                  </a:cubicBezTo>
                  <a:cubicBezTo>
                    <a:pt x="7445" y="2997"/>
                    <a:pt x="7452" y="2997"/>
                    <a:pt x="7452" y="2997"/>
                  </a:cubicBezTo>
                  <a:cubicBezTo>
                    <a:pt x="7438" y="3005"/>
                    <a:pt x="7423" y="3019"/>
                    <a:pt x="7423" y="3019"/>
                  </a:cubicBezTo>
                  <a:cubicBezTo>
                    <a:pt x="7423" y="3019"/>
                    <a:pt x="7438" y="3005"/>
                    <a:pt x="7452" y="2997"/>
                  </a:cubicBezTo>
                  <a:cubicBezTo>
                    <a:pt x="7467" y="2990"/>
                    <a:pt x="7474" y="2990"/>
                    <a:pt x="7474" y="2990"/>
                  </a:cubicBezTo>
                  <a:cubicBezTo>
                    <a:pt x="7474" y="2990"/>
                    <a:pt x="7445" y="3049"/>
                    <a:pt x="7387" y="3049"/>
                  </a:cubicBezTo>
                  <a:cubicBezTo>
                    <a:pt x="7328" y="3049"/>
                    <a:pt x="7277" y="3071"/>
                    <a:pt x="7277" y="3107"/>
                  </a:cubicBezTo>
                  <a:cubicBezTo>
                    <a:pt x="7277" y="3151"/>
                    <a:pt x="7342" y="3137"/>
                    <a:pt x="7313" y="3188"/>
                  </a:cubicBezTo>
                  <a:cubicBezTo>
                    <a:pt x="7291" y="3239"/>
                    <a:pt x="7247" y="3320"/>
                    <a:pt x="7203" y="3364"/>
                  </a:cubicBezTo>
                  <a:cubicBezTo>
                    <a:pt x="7159" y="3408"/>
                    <a:pt x="7042" y="3525"/>
                    <a:pt x="6998" y="3562"/>
                  </a:cubicBezTo>
                  <a:cubicBezTo>
                    <a:pt x="6961" y="3591"/>
                    <a:pt x="6940" y="3657"/>
                    <a:pt x="6866" y="3657"/>
                  </a:cubicBezTo>
                  <a:lnTo>
                    <a:pt x="6859" y="3657"/>
                  </a:lnTo>
                  <a:cubicBezTo>
                    <a:pt x="6778" y="3650"/>
                    <a:pt x="6749" y="3584"/>
                    <a:pt x="6771" y="3532"/>
                  </a:cubicBezTo>
                  <a:cubicBezTo>
                    <a:pt x="6800" y="3488"/>
                    <a:pt x="6771" y="3474"/>
                    <a:pt x="6720" y="3459"/>
                  </a:cubicBezTo>
                  <a:cubicBezTo>
                    <a:pt x="6676" y="3445"/>
                    <a:pt x="6647" y="3393"/>
                    <a:pt x="6602" y="3393"/>
                  </a:cubicBezTo>
                  <a:cubicBezTo>
                    <a:pt x="6595" y="3393"/>
                    <a:pt x="6588" y="3393"/>
                    <a:pt x="6573" y="3400"/>
                  </a:cubicBezTo>
                  <a:cubicBezTo>
                    <a:pt x="6515" y="3422"/>
                    <a:pt x="6427" y="3452"/>
                    <a:pt x="6361" y="3496"/>
                  </a:cubicBezTo>
                  <a:cubicBezTo>
                    <a:pt x="6302" y="3532"/>
                    <a:pt x="6324" y="3554"/>
                    <a:pt x="6361" y="3606"/>
                  </a:cubicBezTo>
                  <a:cubicBezTo>
                    <a:pt x="6405" y="3657"/>
                    <a:pt x="6456" y="3671"/>
                    <a:pt x="6471" y="3708"/>
                  </a:cubicBezTo>
                  <a:cubicBezTo>
                    <a:pt x="6492" y="3737"/>
                    <a:pt x="6507" y="3789"/>
                    <a:pt x="6434" y="3811"/>
                  </a:cubicBezTo>
                  <a:cubicBezTo>
                    <a:pt x="6375" y="3818"/>
                    <a:pt x="6309" y="3847"/>
                    <a:pt x="6258" y="3847"/>
                  </a:cubicBezTo>
                  <a:cubicBezTo>
                    <a:pt x="6243" y="3847"/>
                    <a:pt x="6221" y="3840"/>
                    <a:pt x="6214" y="3833"/>
                  </a:cubicBezTo>
                  <a:cubicBezTo>
                    <a:pt x="6185" y="3818"/>
                    <a:pt x="6163" y="3811"/>
                    <a:pt x="6141" y="3811"/>
                  </a:cubicBezTo>
                  <a:cubicBezTo>
                    <a:pt x="6119" y="3811"/>
                    <a:pt x="6097" y="3818"/>
                    <a:pt x="6075" y="3840"/>
                  </a:cubicBezTo>
                  <a:cubicBezTo>
                    <a:pt x="6053" y="3862"/>
                    <a:pt x="6024" y="3869"/>
                    <a:pt x="5994" y="3869"/>
                  </a:cubicBezTo>
                  <a:cubicBezTo>
                    <a:pt x="5972" y="3869"/>
                    <a:pt x="5950" y="3869"/>
                    <a:pt x="5928" y="3869"/>
                  </a:cubicBezTo>
                  <a:cubicBezTo>
                    <a:pt x="5877" y="3869"/>
                    <a:pt x="5906" y="3891"/>
                    <a:pt x="5833" y="3943"/>
                  </a:cubicBezTo>
                  <a:cubicBezTo>
                    <a:pt x="5767" y="3994"/>
                    <a:pt x="5760" y="3987"/>
                    <a:pt x="5716" y="4060"/>
                  </a:cubicBezTo>
                  <a:cubicBezTo>
                    <a:pt x="5672" y="4140"/>
                    <a:pt x="5635" y="4163"/>
                    <a:pt x="5665" y="4206"/>
                  </a:cubicBezTo>
                  <a:cubicBezTo>
                    <a:pt x="5701" y="4250"/>
                    <a:pt x="5687" y="4265"/>
                    <a:pt x="5716" y="4295"/>
                  </a:cubicBezTo>
                  <a:cubicBezTo>
                    <a:pt x="5730" y="4302"/>
                    <a:pt x="5738" y="4302"/>
                    <a:pt x="5752" y="4302"/>
                  </a:cubicBezTo>
                  <a:cubicBezTo>
                    <a:pt x="5774" y="4302"/>
                    <a:pt x="5797" y="4287"/>
                    <a:pt x="5826" y="4265"/>
                  </a:cubicBezTo>
                  <a:cubicBezTo>
                    <a:pt x="5870" y="4236"/>
                    <a:pt x="5906" y="4214"/>
                    <a:pt x="5965" y="4206"/>
                  </a:cubicBezTo>
                  <a:cubicBezTo>
                    <a:pt x="5972" y="4206"/>
                    <a:pt x="5980" y="4206"/>
                    <a:pt x="5980" y="4206"/>
                  </a:cubicBezTo>
                  <a:cubicBezTo>
                    <a:pt x="6016" y="4206"/>
                    <a:pt x="6009" y="4236"/>
                    <a:pt x="6024" y="4295"/>
                  </a:cubicBezTo>
                  <a:cubicBezTo>
                    <a:pt x="6038" y="4360"/>
                    <a:pt x="6046" y="4390"/>
                    <a:pt x="6068" y="4419"/>
                  </a:cubicBezTo>
                  <a:cubicBezTo>
                    <a:pt x="6082" y="4456"/>
                    <a:pt x="6082" y="4463"/>
                    <a:pt x="6060" y="4514"/>
                  </a:cubicBezTo>
                  <a:cubicBezTo>
                    <a:pt x="6031" y="4565"/>
                    <a:pt x="6009" y="4565"/>
                    <a:pt x="5972" y="4608"/>
                  </a:cubicBezTo>
                  <a:cubicBezTo>
                    <a:pt x="5936" y="4645"/>
                    <a:pt x="5906" y="4667"/>
                    <a:pt x="5950" y="4711"/>
                  </a:cubicBezTo>
                  <a:cubicBezTo>
                    <a:pt x="5987" y="4748"/>
                    <a:pt x="5980" y="4740"/>
                    <a:pt x="5936" y="4748"/>
                  </a:cubicBezTo>
                  <a:cubicBezTo>
                    <a:pt x="5899" y="4762"/>
                    <a:pt x="5870" y="4792"/>
                    <a:pt x="5855" y="4821"/>
                  </a:cubicBezTo>
                  <a:cubicBezTo>
                    <a:pt x="5848" y="4821"/>
                    <a:pt x="5848" y="4828"/>
                    <a:pt x="5848" y="4828"/>
                  </a:cubicBezTo>
                  <a:cubicBezTo>
                    <a:pt x="5848" y="4828"/>
                    <a:pt x="5870" y="4784"/>
                    <a:pt x="5818" y="4784"/>
                  </a:cubicBezTo>
                  <a:cubicBezTo>
                    <a:pt x="5782" y="4784"/>
                    <a:pt x="5730" y="4762"/>
                    <a:pt x="5679" y="4762"/>
                  </a:cubicBezTo>
                  <a:cubicBezTo>
                    <a:pt x="5657" y="4762"/>
                    <a:pt x="5635" y="4770"/>
                    <a:pt x="5613" y="4784"/>
                  </a:cubicBezTo>
                  <a:cubicBezTo>
                    <a:pt x="5555" y="4836"/>
                    <a:pt x="5525" y="4806"/>
                    <a:pt x="5540" y="4887"/>
                  </a:cubicBezTo>
                  <a:cubicBezTo>
                    <a:pt x="5555" y="4960"/>
                    <a:pt x="5569" y="4997"/>
                    <a:pt x="5599" y="5026"/>
                  </a:cubicBezTo>
                  <a:cubicBezTo>
                    <a:pt x="5620" y="5048"/>
                    <a:pt x="5635" y="5034"/>
                    <a:pt x="5591" y="5070"/>
                  </a:cubicBezTo>
                  <a:cubicBezTo>
                    <a:pt x="5547" y="5114"/>
                    <a:pt x="5533" y="5107"/>
                    <a:pt x="5496" y="5165"/>
                  </a:cubicBezTo>
                  <a:cubicBezTo>
                    <a:pt x="5459" y="5224"/>
                    <a:pt x="5430" y="5217"/>
                    <a:pt x="5430" y="5283"/>
                  </a:cubicBezTo>
                  <a:cubicBezTo>
                    <a:pt x="5430" y="5356"/>
                    <a:pt x="5459" y="5349"/>
                    <a:pt x="5408" y="5378"/>
                  </a:cubicBezTo>
                  <a:cubicBezTo>
                    <a:pt x="5357" y="5415"/>
                    <a:pt x="5357" y="5407"/>
                    <a:pt x="5328" y="5466"/>
                  </a:cubicBezTo>
                  <a:cubicBezTo>
                    <a:pt x="5291" y="5525"/>
                    <a:pt x="5320" y="5532"/>
                    <a:pt x="5225" y="5561"/>
                  </a:cubicBezTo>
                  <a:cubicBezTo>
                    <a:pt x="5196" y="5568"/>
                    <a:pt x="5181" y="5568"/>
                    <a:pt x="5166" y="5568"/>
                  </a:cubicBezTo>
                  <a:cubicBezTo>
                    <a:pt x="5122" y="5568"/>
                    <a:pt x="5108" y="5546"/>
                    <a:pt x="5086" y="5517"/>
                  </a:cubicBezTo>
                  <a:cubicBezTo>
                    <a:pt x="5071" y="5488"/>
                    <a:pt x="5064" y="5473"/>
                    <a:pt x="5049" y="5473"/>
                  </a:cubicBezTo>
                  <a:cubicBezTo>
                    <a:pt x="5042" y="5473"/>
                    <a:pt x="5034" y="5480"/>
                    <a:pt x="5020" y="5510"/>
                  </a:cubicBezTo>
                  <a:cubicBezTo>
                    <a:pt x="4998" y="5568"/>
                    <a:pt x="5005" y="5590"/>
                    <a:pt x="4932" y="5627"/>
                  </a:cubicBezTo>
                  <a:cubicBezTo>
                    <a:pt x="4866" y="5664"/>
                    <a:pt x="4844" y="5671"/>
                    <a:pt x="4815" y="5722"/>
                  </a:cubicBezTo>
                  <a:cubicBezTo>
                    <a:pt x="4792" y="5774"/>
                    <a:pt x="4734" y="5752"/>
                    <a:pt x="4741" y="5810"/>
                  </a:cubicBezTo>
                  <a:cubicBezTo>
                    <a:pt x="4749" y="5876"/>
                    <a:pt x="4771" y="5839"/>
                    <a:pt x="4785" y="5913"/>
                  </a:cubicBezTo>
                  <a:cubicBezTo>
                    <a:pt x="4792" y="5994"/>
                    <a:pt x="4815" y="6015"/>
                    <a:pt x="4763" y="6089"/>
                  </a:cubicBezTo>
                  <a:cubicBezTo>
                    <a:pt x="4749" y="6111"/>
                    <a:pt x="4727" y="6140"/>
                    <a:pt x="4712" y="6162"/>
                  </a:cubicBezTo>
                  <a:cubicBezTo>
                    <a:pt x="4712" y="6147"/>
                    <a:pt x="4712" y="6133"/>
                    <a:pt x="4712" y="6118"/>
                  </a:cubicBezTo>
                  <a:cubicBezTo>
                    <a:pt x="4712" y="6096"/>
                    <a:pt x="4705" y="6089"/>
                    <a:pt x="4690" y="6089"/>
                  </a:cubicBezTo>
                  <a:cubicBezTo>
                    <a:pt x="4675" y="6089"/>
                    <a:pt x="4661" y="6096"/>
                    <a:pt x="4639" y="6103"/>
                  </a:cubicBezTo>
                  <a:cubicBezTo>
                    <a:pt x="4631" y="6103"/>
                    <a:pt x="4617" y="6103"/>
                    <a:pt x="4609" y="6103"/>
                  </a:cubicBezTo>
                  <a:cubicBezTo>
                    <a:pt x="4580" y="6103"/>
                    <a:pt x="4566" y="6096"/>
                    <a:pt x="4573" y="6059"/>
                  </a:cubicBezTo>
                  <a:cubicBezTo>
                    <a:pt x="4580" y="6015"/>
                    <a:pt x="4529" y="6001"/>
                    <a:pt x="4499" y="5964"/>
                  </a:cubicBezTo>
                  <a:cubicBezTo>
                    <a:pt x="4478" y="5935"/>
                    <a:pt x="4434" y="5906"/>
                    <a:pt x="4411" y="5884"/>
                  </a:cubicBezTo>
                  <a:cubicBezTo>
                    <a:pt x="4382" y="5854"/>
                    <a:pt x="4382" y="5788"/>
                    <a:pt x="4390" y="5759"/>
                  </a:cubicBezTo>
                  <a:cubicBezTo>
                    <a:pt x="4397" y="5737"/>
                    <a:pt x="4426" y="5686"/>
                    <a:pt x="4419" y="5649"/>
                  </a:cubicBezTo>
                  <a:cubicBezTo>
                    <a:pt x="4411" y="5620"/>
                    <a:pt x="4346" y="5612"/>
                    <a:pt x="4346" y="5612"/>
                  </a:cubicBezTo>
                  <a:cubicBezTo>
                    <a:pt x="4346" y="5612"/>
                    <a:pt x="4346" y="5612"/>
                    <a:pt x="4331" y="5612"/>
                  </a:cubicBezTo>
                  <a:cubicBezTo>
                    <a:pt x="4316" y="5612"/>
                    <a:pt x="4287" y="5605"/>
                    <a:pt x="4272" y="5583"/>
                  </a:cubicBezTo>
                  <a:cubicBezTo>
                    <a:pt x="4258" y="5546"/>
                    <a:pt x="4228" y="5525"/>
                    <a:pt x="4199" y="5510"/>
                  </a:cubicBezTo>
                  <a:cubicBezTo>
                    <a:pt x="4162" y="5488"/>
                    <a:pt x="4104" y="5466"/>
                    <a:pt x="4126" y="5422"/>
                  </a:cubicBezTo>
                  <a:cubicBezTo>
                    <a:pt x="4155" y="5378"/>
                    <a:pt x="4155" y="5327"/>
                    <a:pt x="4126" y="5297"/>
                  </a:cubicBezTo>
                  <a:cubicBezTo>
                    <a:pt x="4118" y="5283"/>
                    <a:pt x="4104" y="5275"/>
                    <a:pt x="4089" y="5275"/>
                  </a:cubicBezTo>
                  <a:cubicBezTo>
                    <a:pt x="4067" y="5275"/>
                    <a:pt x="4038" y="5290"/>
                    <a:pt x="4001" y="5319"/>
                  </a:cubicBezTo>
                  <a:cubicBezTo>
                    <a:pt x="3943" y="5363"/>
                    <a:pt x="3965" y="5422"/>
                    <a:pt x="3957" y="5466"/>
                  </a:cubicBezTo>
                  <a:cubicBezTo>
                    <a:pt x="3950" y="5510"/>
                    <a:pt x="3950" y="5568"/>
                    <a:pt x="3921" y="5590"/>
                  </a:cubicBezTo>
                  <a:cubicBezTo>
                    <a:pt x="3899" y="5620"/>
                    <a:pt x="3855" y="5634"/>
                    <a:pt x="3818" y="5678"/>
                  </a:cubicBezTo>
                  <a:cubicBezTo>
                    <a:pt x="3789" y="5722"/>
                    <a:pt x="3789" y="5744"/>
                    <a:pt x="3774" y="5803"/>
                  </a:cubicBezTo>
                  <a:cubicBezTo>
                    <a:pt x="3752" y="5862"/>
                    <a:pt x="3781" y="5839"/>
                    <a:pt x="3708" y="5854"/>
                  </a:cubicBezTo>
                  <a:cubicBezTo>
                    <a:pt x="3642" y="5876"/>
                    <a:pt x="3606" y="5854"/>
                    <a:pt x="3598" y="5898"/>
                  </a:cubicBezTo>
                  <a:cubicBezTo>
                    <a:pt x="3598" y="5927"/>
                    <a:pt x="3576" y="5949"/>
                    <a:pt x="3554" y="5949"/>
                  </a:cubicBezTo>
                  <a:cubicBezTo>
                    <a:pt x="3547" y="5949"/>
                    <a:pt x="3547" y="5949"/>
                    <a:pt x="3540" y="5935"/>
                  </a:cubicBezTo>
                  <a:cubicBezTo>
                    <a:pt x="3540" y="5920"/>
                    <a:pt x="3532" y="5913"/>
                    <a:pt x="3525" y="5913"/>
                  </a:cubicBezTo>
                  <a:cubicBezTo>
                    <a:pt x="3503" y="5913"/>
                    <a:pt x="3474" y="5942"/>
                    <a:pt x="3430" y="5971"/>
                  </a:cubicBezTo>
                  <a:cubicBezTo>
                    <a:pt x="3371" y="6015"/>
                    <a:pt x="3312" y="6015"/>
                    <a:pt x="3276" y="6023"/>
                  </a:cubicBezTo>
                  <a:cubicBezTo>
                    <a:pt x="3247" y="6037"/>
                    <a:pt x="3173" y="6067"/>
                    <a:pt x="3144" y="6125"/>
                  </a:cubicBezTo>
                  <a:cubicBezTo>
                    <a:pt x="3107" y="6184"/>
                    <a:pt x="3107" y="6199"/>
                    <a:pt x="3085" y="6228"/>
                  </a:cubicBezTo>
                  <a:cubicBezTo>
                    <a:pt x="3056" y="6265"/>
                    <a:pt x="2983" y="6287"/>
                    <a:pt x="2939" y="6316"/>
                  </a:cubicBezTo>
                  <a:cubicBezTo>
                    <a:pt x="2931" y="6316"/>
                    <a:pt x="2924" y="6323"/>
                    <a:pt x="2917" y="6323"/>
                  </a:cubicBezTo>
                  <a:cubicBezTo>
                    <a:pt x="2873" y="6323"/>
                    <a:pt x="2821" y="6272"/>
                    <a:pt x="2785" y="6272"/>
                  </a:cubicBezTo>
                  <a:cubicBezTo>
                    <a:pt x="2741" y="6272"/>
                    <a:pt x="2690" y="6330"/>
                    <a:pt x="2646" y="6367"/>
                  </a:cubicBezTo>
                  <a:cubicBezTo>
                    <a:pt x="2609" y="6396"/>
                    <a:pt x="2572" y="6418"/>
                    <a:pt x="2528" y="6418"/>
                  </a:cubicBezTo>
                  <a:cubicBezTo>
                    <a:pt x="2499" y="6418"/>
                    <a:pt x="2470" y="6396"/>
                    <a:pt x="2440" y="6396"/>
                  </a:cubicBezTo>
                  <a:cubicBezTo>
                    <a:pt x="2426" y="6396"/>
                    <a:pt x="2411" y="6404"/>
                    <a:pt x="2404" y="6418"/>
                  </a:cubicBezTo>
                  <a:cubicBezTo>
                    <a:pt x="2367" y="6462"/>
                    <a:pt x="2360" y="6492"/>
                    <a:pt x="2330" y="6499"/>
                  </a:cubicBezTo>
                  <a:cubicBezTo>
                    <a:pt x="2309" y="6514"/>
                    <a:pt x="2213" y="6499"/>
                    <a:pt x="2206" y="6536"/>
                  </a:cubicBezTo>
                  <a:cubicBezTo>
                    <a:pt x="2199" y="6572"/>
                    <a:pt x="2206" y="6594"/>
                    <a:pt x="2155" y="6602"/>
                  </a:cubicBezTo>
                  <a:cubicBezTo>
                    <a:pt x="2103" y="6609"/>
                    <a:pt x="2103" y="6675"/>
                    <a:pt x="2118" y="6704"/>
                  </a:cubicBezTo>
                  <a:cubicBezTo>
                    <a:pt x="2140" y="6741"/>
                    <a:pt x="2111" y="6792"/>
                    <a:pt x="2067" y="6844"/>
                  </a:cubicBezTo>
                  <a:cubicBezTo>
                    <a:pt x="2059" y="6858"/>
                    <a:pt x="2045" y="6865"/>
                    <a:pt x="2030" y="6865"/>
                  </a:cubicBezTo>
                  <a:cubicBezTo>
                    <a:pt x="1994" y="6865"/>
                    <a:pt x="1964" y="6829"/>
                    <a:pt x="1942" y="6807"/>
                  </a:cubicBezTo>
                  <a:cubicBezTo>
                    <a:pt x="1920" y="6792"/>
                    <a:pt x="1898" y="6748"/>
                    <a:pt x="1869" y="6748"/>
                  </a:cubicBezTo>
                  <a:cubicBezTo>
                    <a:pt x="1862" y="6748"/>
                    <a:pt x="1854" y="6756"/>
                    <a:pt x="1840" y="6763"/>
                  </a:cubicBezTo>
                  <a:cubicBezTo>
                    <a:pt x="1796" y="6807"/>
                    <a:pt x="1803" y="6821"/>
                    <a:pt x="1803" y="6887"/>
                  </a:cubicBezTo>
                  <a:cubicBezTo>
                    <a:pt x="1803" y="6946"/>
                    <a:pt x="1840" y="6939"/>
                    <a:pt x="1876" y="6968"/>
                  </a:cubicBezTo>
                  <a:cubicBezTo>
                    <a:pt x="1906" y="7005"/>
                    <a:pt x="1840" y="7049"/>
                    <a:pt x="1847" y="7085"/>
                  </a:cubicBezTo>
                  <a:cubicBezTo>
                    <a:pt x="1854" y="7129"/>
                    <a:pt x="1847" y="7166"/>
                    <a:pt x="1803" y="7188"/>
                  </a:cubicBezTo>
                  <a:cubicBezTo>
                    <a:pt x="1781" y="7203"/>
                    <a:pt x="1752" y="7217"/>
                    <a:pt x="1722" y="7217"/>
                  </a:cubicBezTo>
                  <a:cubicBezTo>
                    <a:pt x="1708" y="7217"/>
                    <a:pt x="1693" y="7210"/>
                    <a:pt x="1678" y="7203"/>
                  </a:cubicBezTo>
                  <a:cubicBezTo>
                    <a:pt x="1664" y="7180"/>
                    <a:pt x="1642" y="7151"/>
                    <a:pt x="1627" y="7151"/>
                  </a:cubicBezTo>
                  <a:cubicBezTo>
                    <a:pt x="1627" y="7151"/>
                    <a:pt x="1620" y="7151"/>
                    <a:pt x="1620" y="7166"/>
                  </a:cubicBezTo>
                  <a:cubicBezTo>
                    <a:pt x="1613" y="7180"/>
                    <a:pt x="1605" y="7188"/>
                    <a:pt x="1590" y="7188"/>
                  </a:cubicBezTo>
                  <a:cubicBezTo>
                    <a:pt x="1576" y="7188"/>
                    <a:pt x="1547" y="7173"/>
                    <a:pt x="1532" y="7158"/>
                  </a:cubicBezTo>
                  <a:cubicBezTo>
                    <a:pt x="1510" y="7129"/>
                    <a:pt x="1480" y="7085"/>
                    <a:pt x="1429" y="7085"/>
                  </a:cubicBezTo>
                  <a:cubicBezTo>
                    <a:pt x="1422" y="7085"/>
                    <a:pt x="1415" y="7085"/>
                    <a:pt x="1407" y="7085"/>
                  </a:cubicBezTo>
                  <a:cubicBezTo>
                    <a:pt x="1349" y="7107"/>
                    <a:pt x="1319" y="7122"/>
                    <a:pt x="1254" y="7203"/>
                  </a:cubicBezTo>
                  <a:cubicBezTo>
                    <a:pt x="1239" y="7217"/>
                    <a:pt x="1224" y="7225"/>
                    <a:pt x="1209" y="7225"/>
                  </a:cubicBezTo>
                  <a:cubicBezTo>
                    <a:pt x="1173" y="7225"/>
                    <a:pt x="1158" y="7144"/>
                    <a:pt x="1136" y="7115"/>
                  </a:cubicBezTo>
                  <a:cubicBezTo>
                    <a:pt x="1114" y="7078"/>
                    <a:pt x="1099" y="7063"/>
                    <a:pt x="1070" y="7063"/>
                  </a:cubicBezTo>
                  <a:cubicBezTo>
                    <a:pt x="1063" y="7063"/>
                    <a:pt x="1056" y="7063"/>
                    <a:pt x="1048" y="7063"/>
                  </a:cubicBezTo>
                  <a:cubicBezTo>
                    <a:pt x="1019" y="7071"/>
                    <a:pt x="1019" y="7107"/>
                    <a:pt x="1004" y="7144"/>
                  </a:cubicBezTo>
                  <a:cubicBezTo>
                    <a:pt x="997" y="7137"/>
                    <a:pt x="989" y="7129"/>
                    <a:pt x="982" y="7115"/>
                  </a:cubicBezTo>
                  <a:cubicBezTo>
                    <a:pt x="946" y="7063"/>
                    <a:pt x="960" y="7027"/>
                    <a:pt x="1004" y="6939"/>
                  </a:cubicBezTo>
                  <a:cubicBezTo>
                    <a:pt x="1048" y="6844"/>
                    <a:pt x="989" y="6844"/>
                    <a:pt x="960" y="6777"/>
                  </a:cubicBezTo>
                  <a:cubicBezTo>
                    <a:pt x="931" y="6719"/>
                    <a:pt x="894" y="6660"/>
                    <a:pt x="814" y="6660"/>
                  </a:cubicBezTo>
                  <a:cubicBezTo>
                    <a:pt x="806" y="6660"/>
                    <a:pt x="792" y="6660"/>
                    <a:pt x="777" y="6660"/>
                  </a:cubicBezTo>
                  <a:cubicBezTo>
                    <a:pt x="748" y="6668"/>
                    <a:pt x="733" y="6675"/>
                    <a:pt x="718" y="6675"/>
                  </a:cubicBezTo>
                  <a:cubicBezTo>
                    <a:pt x="682" y="6675"/>
                    <a:pt x="689" y="6653"/>
                    <a:pt x="667" y="6616"/>
                  </a:cubicBezTo>
                  <a:cubicBezTo>
                    <a:pt x="631" y="6572"/>
                    <a:pt x="594" y="6565"/>
                    <a:pt x="616" y="6470"/>
                  </a:cubicBezTo>
                  <a:cubicBezTo>
                    <a:pt x="645" y="6382"/>
                    <a:pt x="653" y="6433"/>
                    <a:pt x="740" y="6360"/>
                  </a:cubicBezTo>
                  <a:cubicBezTo>
                    <a:pt x="836" y="6279"/>
                    <a:pt x="792" y="6308"/>
                    <a:pt x="770" y="6243"/>
                  </a:cubicBezTo>
                  <a:cubicBezTo>
                    <a:pt x="755" y="6221"/>
                    <a:pt x="748" y="6213"/>
                    <a:pt x="740" y="6213"/>
                  </a:cubicBezTo>
                  <a:cubicBezTo>
                    <a:pt x="726" y="6213"/>
                    <a:pt x="711" y="6221"/>
                    <a:pt x="682" y="6221"/>
                  </a:cubicBezTo>
                  <a:cubicBezTo>
                    <a:pt x="667" y="6221"/>
                    <a:pt x="653" y="6221"/>
                    <a:pt x="631" y="6213"/>
                  </a:cubicBezTo>
                  <a:cubicBezTo>
                    <a:pt x="543" y="6177"/>
                    <a:pt x="594" y="6162"/>
                    <a:pt x="565" y="6074"/>
                  </a:cubicBezTo>
                  <a:cubicBezTo>
                    <a:pt x="528" y="5986"/>
                    <a:pt x="543" y="5994"/>
                    <a:pt x="506" y="5935"/>
                  </a:cubicBezTo>
                  <a:cubicBezTo>
                    <a:pt x="491" y="5920"/>
                    <a:pt x="477" y="5913"/>
                    <a:pt x="462" y="5913"/>
                  </a:cubicBezTo>
                  <a:cubicBezTo>
                    <a:pt x="440" y="5913"/>
                    <a:pt x="404" y="5927"/>
                    <a:pt x="374" y="5927"/>
                  </a:cubicBezTo>
                  <a:cubicBezTo>
                    <a:pt x="367" y="5927"/>
                    <a:pt x="367" y="5927"/>
                    <a:pt x="359" y="5927"/>
                  </a:cubicBezTo>
                  <a:cubicBezTo>
                    <a:pt x="301" y="5913"/>
                    <a:pt x="294" y="5884"/>
                    <a:pt x="316" y="5803"/>
                  </a:cubicBezTo>
                  <a:cubicBezTo>
                    <a:pt x="337" y="5722"/>
                    <a:pt x="301" y="5737"/>
                    <a:pt x="257" y="5708"/>
                  </a:cubicBezTo>
                  <a:cubicBezTo>
                    <a:pt x="213" y="5686"/>
                    <a:pt x="176" y="5656"/>
                    <a:pt x="235" y="5642"/>
                  </a:cubicBezTo>
                  <a:cubicBezTo>
                    <a:pt x="294" y="5634"/>
                    <a:pt x="294" y="5583"/>
                    <a:pt x="294" y="5517"/>
                  </a:cubicBezTo>
                  <a:cubicBezTo>
                    <a:pt x="294" y="5488"/>
                    <a:pt x="308" y="5480"/>
                    <a:pt x="323" y="5480"/>
                  </a:cubicBezTo>
                  <a:cubicBezTo>
                    <a:pt x="345" y="5480"/>
                    <a:pt x="374" y="5488"/>
                    <a:pt x="404" y="5488"/>
                  </a:cubicBezTo>
                  <a:cubicBezTo>
                    <a:pt x="411" y="5488"/>
                    <a:pt x="418" y="5488"/>
                    <a:pt x="425" y="5488"/>
                  </a:cubicBezTo>
                  <a:cubicBezTo>
                    <a:pt x="491" y="5473"/>
                    <a:pt x="447" y="5393"/>
                    <a:pt x="447" y="5327"/>
                  </a:cubicBezTo>
                  <a:cubicBezTo>
                    <a:pt x="447" y="5261"/>
                    <a:pt x="447" y="5239"/>
                    <a:pt x="396" y="5239"/>
                  </a:cubicBezTo>
                  <a:cubicBezTo>
                    <a:pt x="337" y="5239"/>
                    <a:pt x="279" y="5202"/>
                    <a:pt x="323" y="5136"/>
                  </a:cubicBezTo>
                  <a:cubicBezTo>
                    <a:pt x="359" y="5077"/>
                    <a:pt x="337" y="5048"/>
                    <a:pt x="308" y="5048"/>
                  </a:cubicBezTo>
                  <a:cubicBezTo>
                    <a:pt x="301" y="5048"/>
                    <a:pt x="294" y="5056"/>
                    <a:pt x="294" y="5056"/>
                  </a:cubicBezTo>
                  <a:cubicBezTo>
                    <a:pt x="257" y="5063"/>
                    <a:pt x="220" y="5056"/>
                    <a:pt x="132" y="5077"/>
                  </a:cubicBezTo>
                  <a:cubicBezTo>
                    <a:pt x="118" y="5077"/>
                    <a:pt x="110" y="5077"/>
                    <a:pt x="103" y="5077"/>
                  </a:cubicBezTo>
                  <a:cubicBezTo>
                    <a:pt x="52" y="5077"/>
                    <a:pt x="74" y="5012"/>
                    <a:pt x="74" y="4938"/>
                  </a:cubicBezTo>
                  <a:cubicBezTo>
                    <a:pt x="74" y="4858"/>
                    <a:pt x="15" y="4814"/>
                    <a:pt x="66" y="4784"/>
                  </a:cubicBezTo>
                  <a:cubicBezTo>
                    <a:pt x="88" y="4762"/>
                    <a:pt x="103" y="4755"/>
                    <a:pt x="110" y="4755"/>
                  </a:cubicBezTo>
                  <a:cubicBezTo>
                    <a:pt x="125" y="4755"/>
                    <a:pt x="132" y="4770"/>
                    <a:pt x="132" y="4792"/>
                  </a:cubicBezTo>
                  <a:cubicBezTo>
                    <a:pt x="132" y="4828"/>
                    <a:pt x="176" y="4872"/>
                    <a:pt x="206" y="4872"/>
                  </a:cubicBezTo>
                  <a:cubicBezTo>
                    <a:pt x="213" y="4872"/>
                    <a:pt x="220" y="4865"/>
                    <a:pt x="220" y="4858"/>
                  </a:cubicBezTo>
                  <a:cubicBezTo>
                    <a:pt x="242" y="4828"/>
                    <a:pt x="264" y="4748"/>
                    <a:pt x="323" y="4704"/>
                  </a:cubicBezTo>
                  <a:cubicBezTo>
                    <a:pt x="381" y="4660"/>
                    <a:pt x="381" y="4689"/>
                    <a:pt x="418" y="4623"/>
                  </a:cubicBezTo>
                  <a:cubicBezTo>
                    <a:pt x="447" y="4557"/>
                    <a:pt x="491" y="4543"/>
                    <a:pt x="550" y="4521"/>
                  </a:cubicBezTo>
                  <a:cubicBezTo>
                    <a:pt x="609" y="4499"/>
                    <a:pt x="631" y="4521"/>
                    <a:pt x="631" y="4485"/>
                  </a:cubicBezTo>
                  <a:cubicBezTo>
                    <a:pt x="631" y="4456"/>
                    <a:pt x="609" y="4434"/>
                    <a:pt x="609" y="4434"/>
                  </a:cubicBezTo>
                  <a:cubicBezTo>
                    <a:pt x="689" y="4375"/>
                    <a:pt x="689" y="4375"/>
                    <a:pt x="689" y="4375"/>
                  </a:cubicBezTo>
                  <a:cubicBezTo>
                    <a:pt x="689" y="4375"/>
                    <a:pt x="682" y="4353"/>
                    <a:pt x="653" y="4353"/>
                  </a:cubicBezTo>
                  <a:cubicBezTo>
                    <a:pt x="645" y="4353"/>
                    <a:pt x="638" y="4353"/>
                    <a:pt x="616" y="4360"/>
                  </a:cubicBezTo>
                  <a:cubicBezTo>
                    <a:pt x="579" y="4382"/>
                    <a:pt x="543" y="4404"/>
                    <a:pt x="506" y="4404"/>
                  </a:cubicBezTo>
                  <a:cubicBezTo>
                    <a:pt x="491" y="4404"/>
                    <a:pt x="469" y="4397"/>
                    <a:pt x="447" y="4390"/>
                  </a:cubicBezTo>
                  <a:cubicBezTo>
                    <a:pt x="396" y="4353"/>
                    <a:pt x="462" y="4236"/>
                    <a:pt x="506" y="4185"/>
                  </a:cubicBezTo>
                  <a:cubicBezTo>
                    <a:pt x="550" y="4126"/>
                    <a:pt x="587" y="4045"/>
                    <a:pt x="653" y="3957"/>
                  </a:cubicBezTo>
                  <a:cubicBezTo>
                    <a:pt x="718" y="3862"/>
                    <a:pt x="755" y="3884"/>
                    <a:pt x="777" y="3818"/>
                  </a:cubicBezTo>
                  <a:cubicBezTo>
                    <a:pt x="799" y="3752"/>
                    <a:pt x="755" y="3686"/>
                    <a:pt x="799" y="3591"/>
                  </a:cubicBezTo>
                  <a:cubicBezTo>
                    <a:pt x="843" y="3503"/>
                    <a:pt x="799" y="3422"/>
                    <a:pt x="777" y="3335"/>
                  </a:cubicBezTo>
                  <a:cubicBezTo>
                    <a:pt x="755" y="3239"/>
                    <a:pt x="718" y="3232"/>
                    <a:pt x="711" y="3173"/>
                  </a:cubicBezTo>
                  <a:cubicBezTo>
                    <a:pt x="697" y="3115"/>
                    <a:pt x="667" y="3071"/>
                    <a:pt x="594" y="3005"/>
                  </a:cubicBezTo>
                  <a:cubicBezTo>
                    <a:pt x="528" y="2931"/>
                    <a:pt x="543" y="2924"/>
                    <a:pt x="594" y="2880"/>
                  </a:cubicBezTo>
                  <a:cubicBezTo>
                    <a:pt x="653" y="2836"/>
                    <a:pt x="572" y="2807"/>
                    <a:pt x="521" y="2785"/>
                  </a:cubicBezTo>
                  <a:cubicBezTo>
                    <a:pt x="462" y="2763"/>
                    <a:pt x="447" y="2741"/>
                    <a:pt x="447" y="2675"/>
                  </a:cubicBezTo>
                  <a:cubicBezTo>
                    <a:pt x="447" y="2609"/>
                    <a:pt x="447" y="2558"/>
                    <a:pt x="396" y="2536"/>
                  </a:cubicBezTo>
                  <a:cubicBezTo>
                    <a:pt x="367" y="2528"/>
                    <a:pt x="337" y="2521"/>
                    <a:pt x="316" y="2521"/>
                  </a:cubicBezTo>
                  <a:cubicBezTo>
                    <a:pt x="294" y="2521"/>
                    <a:pt x="279" y="2528"/>
                    <a:pt x="279" y="2528"/>
                  </a:cubicBezTo>
                  <a:cubicBezTo>
                    <a:pt x="279" y="2528"/>
                    <a:pt x="301" y="2492"/>
                    <a:pt x="359" y="2470"/>
                  </a:cubicBezTo>
                  <a:cubicBezTo>
                    <a:pt x="418" y="2448"/>
                    <a:pt x="396" y="2389"/>
                    <a:pt x="337" y="2345"/>
                  </a:cubicBezTo>
                  <a:cubicBezTo>
                    <a:pt x="279" y="2301"/>
                    <a:pt x="279" y="2243"/>
                    <a:pt x="345" y="2235"/>
                  </a:cubicBezTo>
                  <a:cubicBezTo>
                    <a:pt x="418" y="2221"/>
                    <a:pt x="462" y="2206"/>
                    <a:pt x="484" y="2162"/>
                  </a:cubicBezTo>
                  <a:cubicBezTo>
                    <a:pt x="499" y="2133"/>
                    <a:pt x="521" y="2118"/>
                    <a:pt x="543" y="2118"/>
                  </a:cubicBezTo>
                  <a:cubicBezTo>
                    <a:pt x="550" y="2118"/>
                    <a:pt x="565" y="2126"/>
                    <a:pt x="572" y="2140"/>
                  </a:cubicBezTo>
                  <a:cubicBezTo>
                    <a:pt x="594" y="2184"/>
                    <a:pt x="631" y="2199"/>
                    <a:pt x="711" y="2199"/>
                  </a:cubicBezTo>
                  <a:cubicBezTo>
                    <a:pt x="792" y="2199"/>
                    <a:pt x="689" y="2096"/>
                    <a:pt x="653" y="2052"/>
                  </a:cubicBezTo>
                  <a:cubicBezTo>
                    <a:pt x="616" y="2008"/>
                    <a:pt x="689" y="1994"/>
                    <a:pt x="718" y="1994"/>
                  </a:cubicBezTo>
                  <a:cubicBezTo>
                    <a:pt x="755" y="1994"/>
                    <a:pt x="770" y="2059"/>
                    <a:pt x="792" y="2111"/>
                  </a:cubicBezTo>
                  <a:cubicBezTo>
                    <a:pt x="806" y="2140"/>
                    <a:pt x="843" y="2147"/>
                    <a:pt x="880" y="2147"/>
                  </a:cubicBezTo>
                  <a:cubicBezTo>
                    <a:pt x="902" y="2147"/>
                    <a:pt x="924" y="2147"/>
                    <a:pt x="946" y="2140"/>
                  </a:cubicBezTo>
                  <a:cubicBezTo>
                    <a:pt x="953" y="2140"/>
                    <a:pt x="960" y="2140"/>
                    <a:pt x="968" y="2140"/>
                  </a:cubicBezTo>
                  <a:cubicBezTo>
                    <a:pt x="1034" y="2140"/>
                    <a:pt x="1092" y="2177"/>
                    <a:pt x="1144" y="2221"/>
                  </a:cubicBezTo>
                  <a:cubicBezTo>
                    <a:pt x="1173" y="2243"/>
                    <a:pt x="1195" y="2257"/>
                    <a:pt x="1217" y="2257"/>
                  </a:cubicBezTo>
                  <a:cubicBezTo>
                    <a:pt x="1231" y="2257"/>
                    <a:pt x="1239" y="2250"/>
                    <a:pt x="1246" y="2235"/>
                  </a:cubicBezTo>
                  <a:cubicBezTo>
                    <a:pt x="1254" y="2184"/>
                    <a:pt x="1173" y="2155"/>
                    <a:pt x="1187" y="2118"/>
                  </a:cubicBezTo>
                  <a:cubicBezTo>
                    <a:pt x="1187" y="2111"/>
                    <a:pt x="1202" y="2104"/>
                    <a:pt x="1209" y="2104"/>
                  </a:cubicBezTo>
                  <a:cubicBezTo>
                    <a:pt x="1239" y="2104"/>
                    <a:pt x="1283" y="2126"/>
                    <a:pt x="1312" y="2162"/>
                  </a:cubicBezTo>
                  <a:cubicBezTo>
                    <a:pt x="1327" y="2184"/>
                    <a:pt x="1341" y="2191"/>
                    <a:pt x="1363" y="2191"/>
                  </a:cubicBezTo>
                  <a:cubicBezTo>
                    <a:pt x="1407" y="2191"/>
                    <a:pt x="1459" y="2155"/>
                    <a:pt x="1480" y="2133"/>
                  </a:cubicBezTo>
                  <a:cubicBezTo>
                    <a:pt x="1517" y="2096"/>
                    <a:pt x="1686" y="2030"/>
                    <a:pt x="1752" y="2008"/>
                  </a:cubicBezTo>
                  <a:cubicBezTo>
                    <a:pt x="1774" y="2001"/>
                    <a:pt x="1788" y="1994"/>
                    <a:pt x="1796" y="1994"/>
                  </a:cubicBezTo>
                  <a:cubicBezTo>
                    <a:pt x="1840" y="1994"/>
                    <a:pt x="1854" y="2023"/>
                    <a:pt x="1869" y="2059"/>
                  </a:cubicBezTo>
                  <a:cubicBezTo>
                    <a:pt x="1869" y="2074"/>
                    <a:pt x="1876" y="2081"/>
                    <a:pt x="1891" y="2081"/>
                  </a:cubicBezTo>
                  <a:cubicBezTo>
                    <a:pt x="1928" y="2081"/>
                    <a:pt x="2001" y="2023"/>
                    <a:pt x="2023" y="1971"/>
                  </a:cubicBezTo>
                  <a:cubicBezTo>
                    <a:pt x="2059" y="1906"/>
                    <a:pt x="2067" y="1891"/>
                    <a:pt x="2103" y="1832"/>
                  </a:cubicBezTo>
                  <a:cubicBezTo>
                    <a:pt x="2140" y="1781"/>
                    <a:pt x="2118" y="1781"/>
                    <a:pt x="2081" y="1730"/>
                  </a:cubicBezTo>
                  <a:cubicBezTo>
                    <a:pt x="2045" y="1686"/>
                    <a:pt x="1994" y="1657"/>
                    <a:pt x="1920" y="1605"/>
                  </a:cubicBezTo>
                  <a:cubicBezTo>
                    <a:pt x="1854" y="1561"/>
                    <a:pt x="1832" y="1539"/>
                    <a:pt x="1869" y="1495"/>
                  </a:cubicBezTo>
                  <a:cubicBezTo>
                    <a:pt x="1876" y="1481"/>
                    <a:pt x="1884" y="1473"/>
                    <a:pt x="1891" y="1473"/>
                  </a:cubicBezTo>
                  <a:cubicBezTo>
                    <a:pt x="1898" y="1473"/>
                    <a:pt x="1906" y="1481"/>
                    <a:pt x="1913" y="1481"/>
                  </a:cubicBezTo>
                  <a:cubicBezTo>
                    <a:pt x="1920" y="1481"/>
                    <a:pt x="1928" y="1473"/>
                    <a:pt x="1935" y="1459"/>
                  </a:cubicBezTo>
                  <a:cubicBezTo>
                    <a:pt x="1957" y="1415"/>
                    <a:pt x="1994" y="1356"/>
                    <a:pt x="2059" y="1356"/>
                  </a:cubicBezTo>
                  <a:cubicBezTo>
                    <a:pt x="2125" y="1356"/>
                    <a:pt x="2162" y="1356"/>
                    <a:pt x="2191" y="1327"/>
                  </a:cubicBezTo>
                  <a:cubicBezTo>
                    <a:pt x="2228" y="1290"/>
                    <a:pt x="2243" y="1188"/>
                    <a:pt x="2287" y="1158"/>
                  </a:cubicBezTo>
                  <a:cubicBezTo>
                    <a:pt x="2330" y="1121"/>
                    <a:pt x="2375" y="1158"/>
                    <a:pt x="2397" y="1107"/>
                  </a:cubicBezTo>
                  <a:cubicBezTo>
                    <a:pt x="2418" y="1063"/>
                    <a:pt x="2418" y="1019"/>
                    <a:pt x="2499" y="1004"/>
                  </a:cubicBezTo>
                  <a:cubicBezTo>
                    <a:pt x="2565" y="997"/>
                    <a:pt x="2602" y="968"/>
                    <a:pt x="2616" y="960"/>
                  </a:cubicBezTo>
                  <a:lnTo>
                    <a:pt x="2624" y="960"/>
                  </a:lnTo>
                  <a:cubicBezTo>
                    <a:pt x="2660" y="960"/>
                    <a:pt x="2697" y="953"/>
                    <a:pt x="2719" y="924"/>
                  </a:cubicBezTo>
                  <a:cubicBezTo>
                    <a:pt x="2748" y="872"/>
                    <a:pt x="2902" y="880"/>
                    <a:pt x="2953" y="872"/>
                  </a:cubicBezTo>
                  <a:cubicBezTo>
                    <a:pt x="3005" y="865"/>
                    <a:pt x="3173" y="850"/>
                    <a:pt x="3232" y="792"/>
                  </a:cubicBezTo>
                  <a:cubicBezTo>
                    <a:pt x="3298" y="733"/>
                    <a:pt x="3430" y="653"/>
                    <a:pt x="3481" y="623"/>
                  </a:cubicBezTo>
                  <a:cubicBezTo>
                    <a:pt x="3532" y="587"/>
                    <a:pt x="3576" y="557"/>
                    <a:pt x="3635" y="528"/>
                  </a:cubicBezTo>
                  <a:cubicBezTo>
                    <a:pt x="3693" y="491"/>
                    <a:pt x="3686" y="484"/>
                    <a:pt x="3701" y="447"/>
                  </a:cubicBezTo>
                  <a:cubicBezTo>
                    <a:pt x="3723" y="418"/>
                    <a:pt x="3745" y="396"/>
                    <a:pt x="3686" y="359"/>
                  </a:cubicBezTo>
                  <a:cubicBezTo>
                    <a:pt x="3628" y="316"/>
                    <a:pt x="3686" y="294"/>
                    <a:pt x="3701" y="257"/>
                  </a:cubicBezTo>
                  <a:cubicBezTo>
                    <a:pt x="3716" y="220"/>
                    <a:pt x="3730" y="191"/>
                    <a:pt x="3759" y="191"/>
                  </a:cubicBezTo>
                  <a:cubicBezTo>
                    <a:pt x="3774" y="191"/>
                    <a:pt x="3781" y="191"/>
                    <a:pt x="3796" y="206"/>
                  </a:cubicBezTo>
                  <a:cubicBezTo>
                    <a:pt x="3847" y="235"/>
                    <a:pt x="3862" y="271"/>
                    <a:pt x="3906" y="286"/>
                  </a:cubicBezTo>
                  <a:cubicBezTo>
                    <a:pt x="3950" y="308"/>
                    <a:pt x="3921" y="359"/>
                    <a:pt x="3943" y="403"/>
                  </a:cubicBezTo>
                  <a:cubicBezTo>
                    <a:pt x="3957" y="455"/>
                    <a:pt x="4001" y="469"/>
                    <a:pt x="4045" y="477"/>
                  </a:cubicBezTo>
                  <a:cubicBezTo>
                    <a:pt x="4082" y="484"/>
                    <a:pt x="4104" y="506"/>
                    <a:pt x="4133" y="535"/>
                  </a:cubicBezTo>
                  <a:cubicBezTo>
                    <a:pt x="4155" y="550"/>
                    <a:pt x="4177" y="557"/>
                    <a:pt x="4199" y="557"/>
                  </a:cubicBezTo>
                  <a:cubicBezTo>
                    <a:pt x="4214" y="557"/>
                    <a:pt x="4236" y="550"/>
                    <a:pt x="4258" y="535"/>
                  </a:cubicBezTo>
                  <a:cubicBezTo>
                    <a:pt x="4265" y="528"/>
                    <a:pt x="4287" y="521"/>
                    <a:pt x="4309" y="521"/>
                  </a:cubicBezTo>
                  <a:cubicBezTo>
                    <a:pt x="4338" y="521"/>
                    <a:pt x="4375" y="535"/>
                    <a:pt x="4390" y="557"/>
                  </a:cubicBezTo>
                  <a:cubicBezTo>
                    <a:pt x="4419" y="601"/>
                    <a:pt x="4411" y="682"/>
                    <a:pt x="4456" y="697"/>
                  </a:cubicBezTo>
                  <a:cubicBezTo>
                    <a:pt x="4507" y="711"/>
                    <a:pt x="4521" y="762"/>
                    <a:pt x="4441" y="770"/>
                  </a:cubicBezTo>
                  <a:cubicBezTo>
                    <a:pt x="4368" y="785"/>
                    <a:pt x="4382" y="821"/>
                    <a:pt x="4397" y="858"/>
                  </a:cubicBezTo>
                  <a:cubicBezTo>
                    <a:pt x="4419" y="895"/>
                    <a:pt x="4426" y="895"/>
                    <a:pt x="4397" y="946"/>
                  </a:cubicBezTo>
                  <a:cubicBezTo>
                    <a:pt x="4375" y="997"/>
                    <a:pt x="4411" y="1048"/>
                    <a:pt x="4360" y="1070"/>
                  </a:cubicBezTo>
                  <a:cubicBezTo>
                    <a:pt x="4309" y="1092"/>
                    <a:pt x="4287" y="1121"/>
                    <a:pt x="4360" y="1166"/>
                  </a:cubicBezTo>
                  <a:cubicBezTo>
                    <a:pt x="4411" y="1202"/>
                    <a:pt x="4456" y="1217"/>
                    <a:pt x="4492" y="1217"/>
                  </a:cubicBezTo>
                  <a:cubicBezTo>
                    <a:pt x="4499" y="1217"/>
                    <a:pt x="4507" y="1217"/>
                    <a:pt x="4521" y="1217"/>
                  </a:cubicBezTo>
                  <a:lnTo>
                    <a:pt x="4529" y="1217"/>
                  </a:lnTo>
                  <a:cubicBezTo>
                    <a:pt x="4566" y="1217"/>
                    <a:pt x="4558" y="1246"/>
                    <a:pt x="4543" y="1297"/>
                  </a:cubicBezTo>
                  <a:cubicBezTo>
                    <a:pt x="4529" y="1356"/>
                    <a:pt x="4551" y="1393"/>
                    <a:pt x="4478" y="1422"/>
                  </a:cubicBezTo>
                  <a:cubicBezTo>
                    <a:pt x="4397" y="1444"/>
                    <a:pt x="4390" y="1444"/>
                    <a:pt x="4338" y="1488"/>
                  </a:cubicBezTo>
                  <a:cubicBezTo>
                    <a:pt x="4287" y="1532"/>
                    <a:pt x="4280" y="1539"/>
                    <a:pt x="4338" y="1569"/>
                  </a:cubicBezTo>
                  <a:cubicBezTo>
                    <a:pt x="4397" y="1605"/>
                    <a:pt x="4390" y="1657"/>
                    <a:pt x="4434" y="1657"/>
                  </a:cubicBezTo>
                  <a:cubicBezTo>
                    <a:pt x="4441" y="1657"/>
                    <a:pt x="4441" y="1657"/>
                    <a:pt x="4448" y="1657"/>
                  </a:cubicBezTo>
                  <a:cubicBezTo>
                    <a:pt x="4507" y="1642"/>
                    <a:pt x="4543" y="1620"/>
                    <a:pt x="4573" y="1590"/>
                  </a:cubicBezTo>
                  <a:cubicBezTo>
                    <a:pt x="4587" y="1569"/>
                    <a:pt x="4609" y="1561"/>
                    <a:pt x="4646" y="1561"/>
                  </a:cubicBezTo>
                  <a:cubicBezTo>
                    <a:pt x="4661" y="1561"/>
                    <a:pt x="4683" y="1561"/>
                    <a:pt x="4705" y="1561"/>
                  </a:cubicBezTo>
                  <a:cubicBezTo>
                    <a:pt x="4734" y="1569"/>
                    <a:pt x="4756" y="1569"/>
                    <a:pt x="4778" y="1569"/>
                  </a:cubicBezTo>
                  <a:cubicBezTo>
                    <a:pt x="4815" y="1569"/>
                    <a:pt x="4844" y="1561"/>
                    <a:pt x="4873" y="1547"/>
                  </a:cubicBezTo>
                  <a:cubicBezTo>
                    <a:pt x="4925" y="1517"/>
                    <a:pt x="4917" y="1495"/>
                    <a:pt x="4961" y="1444"/>
                  </a:cubicBezTo>
                  <a:cubicBezTo>
                    <a:pt x="4998" y="1400"/>
                    <a:pt x="5012" y="1356"/>
                    <a:pt x="5056" y="1356"/>
                  </a:cubicBezTo>
                  <a:cubicBezTo>
                    <a:pt x="5064" y="1356"/>
                    <a:pt x="5064" y="1356"/>
                    <a:pt x="5071" y="1356"/>
                  </a:cubicBezTo>
                  <a:cubicBezTo>
                    <a:pt x="5078" y="1363"/>
                    <a:pt x="5093" y="1363"/>
                    <a:pt x="5100" y="1363"/>
                  </a:cubicBezTo>
                  <a:cubicBezTo>
                    <a:pt x="5122" y="1363"/>
                    <a:pt x="5144" y="1356"/>
                    <a:pt x="5166" y="1356"/>
                  </a:cubicBezTo>
                  <a:cubicBezTo>
                    <a:pt x="5188" y="1356"/>
                    <a:pt x="5203" y="1363"/>
                    <a:pt x="5218" y="1378"/>
                  </a:cubicBezTo>
                  <a:cubicBezTo>
                    <a:pt x="5232" y="1400"/>
                    <a:pt x="5276" y="1429"/>
                    <a:pt x="5306" y="1429"/>
                  </a:cubicBezTo>
                  <a:cubicBezTo>
                    <a:pt x="5320" y="1429"/>
                    <a:pt x="5328" y="1429"/>
                    <a:pt x="5335" y="1407"/>
                  </a:cubicBezTo>
                  <a:cubicBezTo>
                    <a:pt x="5349" y="1356"/>
                    <a:pt x="5371" y="1327"/>
                    <a:pt x="5430" y="1297"/>
                  </a:cubicBezTo>
                  <a:cubicBezTo>
                    <a:pt x="5489" y="1276"/>
                    <a:pt x="5584" y="1239"/>
                    <a:pt x="5562" y="1195"/>
                  </a:cubicBezTo>
                  <a:cubicBezTo>
                    <a:pt x="5547" y="1158"/>
                    <a:pt x="5503" y="1158"/>
                    <a:pt x="5474" y="1129"/>
                  </a:cubicBezTo>
                  <a:cubicBezTo>
                    <a:pt x="5437" y="1107"/>
                    <a:pt x="5452" y="1114"/>
                    <a:pt x="5474" y="1048"/>
                  </a:cubicBezTo>
                  <a:cubicBezTo>
                    <a:pt x="5489" y="975"/>
                    <a:pt x="5525" y="762"/>
                    <a:pt x="5489" y="733"/>
                  </a:cubicBezTo>
                  <a:cubicBezTo>
                    <a:pt x="5452" y="697"/>
                    <a:pt x="5445" y="682"/>
                    <a:pt x="5437" y="623"/>
                  </a:cubicBezTo>
                  <a:cubicBezTo>
                    <a:pt x="5430" y="557"/>
                    <a:pt x="5371" y="521"/>
                    <a:pt x="5313" y="499"/>
                  </a:cubicBezTo>
                  <a:cubicBezTo>
                    <a:pt x="5247" y="484"/>
                    <a:pt x="5196" y="447"/>
                    <a:pt x="5181" y="403"/>
                  </a:cubicBezTo>
                  <a:cubicBezTo>
                    <a:pt x="5166" y="367"/>
                    <a:pt x="5115" y="286"/>
                    <a:pt x="5181" y="286"/>
                  </a:cubicBezTo>
                  <a:cubicBezTo>
                    <a:pt x="5240" y="286"/>
                    <a:pt x="5261" y="308"/>
                    <a:pt x="5306" y="308"/>
                  </a:cubicBezTo>
                  <a:cubicBezTo>
                    <a:pt x="5313" y="308"/>
                    <a:pt x="5328" y="308"/>
                    <a:pt x="5335" y="308"/>
                  </a:cubicBezTo>
                  <a:cubicBezTo>
                    <a:pt x="5349" y="301"/>
                    <a:pt x="5357" y="301"/>
                    <a:pt x="5371" y="301"/>
                  </a:cubicBezTo>
                  <a:cubicBezTo>
                    <a:pt x="5386" y="301"/>
                    <a:pt x="5393" y="301"/>
                    <a:pt x="5408" y="301"/>
                  </a:cubicBezTo>
                  <a:cubicBezTo>
                    <a:pt x="5437" y="301"/>
                    <a:pt x="5459" y="301"/>
                    <a:pt x="5474" y="264"/>
                  </a:cubicBezTo>
                  <a:cubicBezTo>
                    <a:pt x="5489" y="206"/>
                    <a:pt x="5430" y="176"/>
                    <a:pt x="5481" y="147"/>
                  </a:cubicBezTo>
                  <a:cubicBezTo>
                    <a:pt x="5533" y="110"/>
                    <a:pt x="5533" y="66"/>
                    <a:pt x="5569" y="66"/>
                  </a:cubicBezTo>
                  <a:cubicBezTo>
                    <a:pt x="5613" y="66"/>
                    <a:pt x="5591" y="110"/>
                    <a:pt x="5635" y="110"/>
                  </a:cubicBezTo>
                  <a:cubicBezTo>
                    <a:pt x="5642" y="110"/>
                    <a:pt x="5650" y="110"/>
                    <a:pt x="5657" y="110"/>
                  </a:cubicBezTo>
                  <a:cubicBezTo>
                    <a:pt x="5738" y="96"/>
                    <a:pt x="5752" y="96"/>
                    <a:pt x="5804" y="59"/>
                  </a:cubicBezTo>
                  <a:cubicBezTo>
                    <a:pt x="5826" y="44"/>
                    <a:pt x="5848" y="30"/>
                    <a:pt x="5862" y="30"/>
                  </a:cubicBezTo>
                  <a:lnTo>
                    <a:pt x="5862" y="0"/>
                  </a:lnTo>
                  <a:lnTo>
                    <a:pt x="5862" y="0"/>
                  </a:lnTo>
                  <a:cubicBezTo>
                    <a:pt x="5840" y="0"/>
                    <a:pt x="5818" y="15"/>
                    <a:pt x="5789" y="30"/>
                  </a:cubicBezTo>
                  <a:cubicBezTo>
                    <a:pt x="5745" y="59"/>
                    <a:pt x="5730" y="59"/>
                    <a:pt x="5679" y="74"/>
                  </a:cubicBezTo>
                  <a:cubicBezTo>
                    <a:pt x="5650" y="81"/>
                    <a:pt x="5650" y="81"/>
                    <a:pt x="5650" y="81"/>
                  </a:cubicBezTo>
                  <a:cubicBezTo>
                    <a:pt x="5642" y="81"/>
                    <a:pt x="5635" y="81"/>
                    <a:pt x="5635" y="81"/>
                  </a:cubicBezTo>
                  <a:cubicBezTo>
                    <a:pt x="5628" y="81"/>
                    <a:pt x="5628" y="81"/>
                    <a:pt x="5628" y="81"/>
                  </a:cubicBezTo>
                  <a:lnTo>
                    <a:pt x="5628" y="81"/>
                  </a:lnTo>
                  <a:cubicBezTo>
                    <a:pt x="5628" y="81"/>
                    <a:pt x="5628" y="81"/>
                    <a:pt x="5628" y="74"/>
                  </a:cubicBezTo>
                  <a:cubicBezTo>
                    <a:pt x="5620" y="66"/>
                    <a:pt x="5613" y="37"/>
                    <a:pt x="5569" y="37"/>
                  </a:cubicBezTo>
                  <a:cubicBezTo>
                    <a:pt x="5533" y="37"/>
                    <a:pt x="5518" y="59"/>
                    <a:pt x="5503" y="81"/>
                  </a:cubicBezTo>
                  <a:cubicBezTo>
                    <a:pt x="5489" y="96"/>
                    <a:pt x="5481" y="103"/>
                    <a:pt x="5459" y="118"/>
                  </a:cubicBezTo>
                  <a:cubicBezTo>
                    <a:pt x="5416" y="147"/>
                    <a:pt x="5430" y="191"/>
                    <a:pt x="5437" y="213"/>
                  </a:cubicBezTo>
                  <a:cubicBezTo>
                    <a:pt x="5445" y="228"/>
                    <a:pt x="5445" y="235"/>
                    <a:pt x="5445" y="257"/>
                  </a:cubicBezTo>
                  <a:cubicBezTo>
                    <a:pt x="5437" y="271"/>
                    <a:pt x="5437" y="271"/>
                    <a:pt x="5408" y="271"/>
                  </a:cubicBezTo>
                  <a:cubicBezTo>
                    <a:pt x="5401" y="271"/>
                    <a:pt x="5393" y="271"/>
                    <a:pt x="5393" y="271"/>
                  </a:cubicBezTo>
                  <a:cubicBezTo>
                    <a:pt x="5386" y="271"/>
                    <a:pt x="5379" y="271"/>
                    <a:pt x="5371" y="271"/>
                  </a:cubicBezTo>
                  <a:cubicBezTo>
                    <a:pt x="5357" y="271"/>
                    <a:pt x="5342" y="271"/>
                    <a:pt x="5328" y="271"/>
                  </a:cubicBezTo>
                  <a:cubicBezTo>
                    <a:pt x="5320" y="279"/>
                    <a:pt x="5313" y="279"/>
                    <a:pt x="5306" y="279"/>
                  </a:cubicBezTo>
                  <a:cubicBezTo>
                    <a:pt x="5291" y="279"/>
                    <a:pt x="5276" y="271"/>
                    <a:pt x="5261" y="271"/>
                  </a:cubicBezTo>
                  <a:cubicBezTo>
                    <a:pt x="5240" y="264"/>
                    <a:pt x="5218" y="257"/>
                    <a:pt x="5181" y="257"/>
                  </a:cubicBezTo>
                  <a:cubicBezTo>
                    <a:pt x="5152" y="257"/>
                    <a:pt x="5130" y="271"/>
                    <a:pt x="5122" y="286"/>
                  </a:cubicBezTo>
                  <a:cubicBezTo>
                    <a:pt x="5108" y="316"/>
                    <a:pt x="5122" y="359"/>
                    <a:pt x="5144" y="396"/>
                  </a:cubicBezTo>
                  <a:cubicBezTo>
                    <a:pt x="5144" y="403"/>
                    <a:pt x="5152" y="411"/>
                    <a:pt x="5152" y="418"/>
                  </a:cubicBezTo>
                  <a:cubicBezTo>
                    <a:pt x="5174" y="469"/>
                    <a:pt x="5225" y="506"/>
                    <a:pt x="5298" y="528"/>
                  </a:cubicBezTo>
                  <a:cubicBezTo>
                    <a:pt x="5349" y="543"/>
                    <a:pt x="5401" y="579"/>
                    <a:pt x="5408" y="623"/>
                  </a:cubicBezTo>
                  <a:cubicBezTo>
                    <a:pt x="5416" y="689"/>
                    <a:pt x="5430" y="711"/>
                    <a:pt x="5467" y="755"/>
                  </a:cubicBezTo>
                  <a:cubicBezTo>
                    <a:pt x="5481" y="777"/>
                    <a:pt x="5467" y="953"/>
                    <a:pt x="5445" y="1041"/>
                  </a:cubicBezTo>
                  <a:cubicBezTo>
                    <a:pt x="5437" y="1056"/>
                    <a:pt x="5430" y="1070"/>
                    <a:pt x="5430" y="1078"/>
                  </a:cubicBezTo>
                  <a:cubicBezTo>
                    <a:pt x="5416" y="1114"/>
                    <a:pt x="5423" y="1129"/>
                    <a:pt x="5452" y="1151"/>
                  </a:cubicBezTo>
                  <a:cubicBezTo>
                    <a:pt x="5467" y="1166"/>
                    <a:pt x="5481" y="1173"/>
                    <a:pt x="5496" y="1180"/>
                  </a:cubicBezTo>
                  <a:cubicBezTo>
                    <a:pt x="5518" y="1188"/>
                    <a:pt x="5533" y="1195"/>
                    <a:pt x="5533" y="1209"/>
                  </a:cubicBezTo>
                  <a:cubicBezTo>
                    <a:pt x="5533" y="1224"/>
                    <a:pt x="5467" y="1253"/>
                    <a:pt x="5437" y="1261"/>
                  </a:cubicBezTo>
                  <a:cubicBezTo>
                    <a:pt x="5416" y="1276"/>
                    <a:pt x="5416" y="1276"/>
                    <a:pt x="5416" y="1276"/>
                  </a:cubicBezTo>
                  <a:cubicBezTo>
                    <a:pt x="5342" y="1305"/>
                    <a:pt x="5320" y="1349"/>
                    <a:pt x="5306" y="1400"/>
                  </a:cubicBezTo>
                  <a:lnTo>
                    <a:pt x="5306" y="1400"/>
                  </a:lnTo>
                  <a:cubicBezTo>
                    <a:pt x="5291" y="1400"/>
                    <a:pt x="5254" y="1378"/>
                    <a:pt x="5240" y="1356"/>
                  </a:cubicBezTo>
                  <a:cubicBezTo>
                    <a:pt x="5218" y="1334"/>
                    <a:pt x="5188" y="1327"/>
                    <a:pt x="5166" y="1327"/>
                  </a:cubicBezTo>
                  <a:cubicBezTo>
                    <a:pt x="5159" y="1327"/>
                    <a:pt x="5144" y="1327"/>
                    <a:pt x="5137" y="1327"/>
                  </a:cubicBezTo>
                  <a:cubicBezTo>
                    <a:pt x="5122" y="1327"/>
                    <a:pt x="5115" y="1334"/>
                    <a:pt x="5100" y="1334"/>
                  </a:cubicBezTo>
                  <a:cubicBezTo>
                    <a:pt x="5093" y="1334"/>
                    <a:pt x="5086" y="1327"/>
                    <a:pt x="5078" y="1327"/>
                  </a:cubicBezTo>
                  <a:cubicBezTo>
                    <a:pt x="5071" y="1327"/>
                    <a:pt x="5064" y="1327"/>
                    <a:pt x="5056" y="1327"/>
                  </a:cubicBezTo>
                  <a:cubicBezTo>
                    <a:pt x="5005" y="1327"/>
                    <a:pt x="4983" y="1363"/>
                    <a:pt x="4961" y="1393"/>
                  </a:cubicBezTo>
                  <a:cubicBezTo>
                    <a:pt x="4954" y="1400"/>
                    <a:pt x="4947" y="1415"/>
                    <a:pt x="4939" y="1422"/>
                  </a:cubicBezTo>
                  <a:cubicBezTo>
                    <a:pt x="4917" y="1444"/>
                    <a:pt x="4910" y="1466"/>
                    <a:pt x="4902" y="1481"/>
                  </a:cubicBezTo>
                  <a:cubicBezTo>
                    <a:pt x="4888" y="1495"/>
                    <a:pt x="4888" y="1510"/>
                    <a:pt x="4866" y="1517"/>
                  </a:cubicBezTo>
                  <a:cubicBezTo>
                    <a:pt x="4837" y="1532"/>
                    <a:pt x="4807" y="1539"/>
                    <a:pt x="4778" y="1539"/>
                  </a:cubicBezTo>
                  <a:cubicBezTo>
                    <a:pt x="4756" y="1539"/>
                    <a:pt x="4734" y="1539"/>
                    <a:pt x="4712" y="1532"/>
                  </a:cubicBezTo>
                  <a:cubicBezTo>
                    <a:pt x="4683" y="1532"/>
                    <a:pt x="4661" y="1525"/>
                    <a:pt x="4646" y="1525"/>
                  </a:cubicBezTo>
                  <a:cubicBezTo>
                    <a:pt x="4617" y="1525"/>
                    <a:pt x="4573" y="1532"/>
                    <a:pt x="4543" y="1569"/>
                  </a:cubicBezTo>
                  <a:cubicBezTo>
                    <a:pt x="4529" y="1598"/>
                    <a:pt x="4499" y="1612"/>
                    <a:pt x="4441" y="1627"/>
                  </a:cubicBezTo>
                  <a:lnTo>
                    <a:pt x="4434" y="1627"/>
                  </a:lnTo>
                  <a:cubicBezTo>
                    <a:pt x="4426" y="1627"/>
                    <a:pt x="4426" y="1627"/>
                    <a:pt x="4411" y="1605"/>
                  </a:cubicBezTo>
                  <a:cubicBezTo>
                    <a:pt x="4404" y="1590"/>
                    <a:pt x="4390" y="1561"/>
                    <a:pt x="4353" y="1547"/>
                  </a:cubicBezTo>
                  <a:cubicBezTo>
                    <a:pt x="4346" y="1539"/>
                    <a:pt x="4338" y="1532"/>
                    <a:pt x="4331" y="1532"/>
                  </a:cubicBezTo>
                  <a:cubicBezTo>
                    <a:pt x="4338" y="1525"/>
                    <a:pt x="4353" y="1517"/>
                    <a:pt x="4360" y="1510"/>
                  </a:cubicBezTo>
                  <a:cubicBezTo>
                    <a:pt x="4404" y="1473"/>
                    <a:pt x="4411" y="1473"/>
                    <a:pt x="4463" y="1451"/>
                  </a:cubicBezTo>
                  <a:cubicBezTo>
                    <a:pt x="4485" y="1451"/>
                    <a:pt x="4485" y="1451"/>
                    <a:pt x="4485" y="1451"/>
                  </a:cubicBezTo>
                  <a:cubicBezTo>
                    <a:pt x="4551" y="1422"/>
                    <a:pt x="4566" y="1393"/>
                    <a:pt x="4566" y="1349"/>
                  </a:cubicBezTo>
                  <a:cubicBezTo>
                    <a:pt x="4566" y="1334"/>
                    <a:pt x="4573" y="1319"/>
                    <a:pt x="4573" y="1305"/>
                  </a:cubicBezTo>
                  <a:cubicBezTo>
                    <a:pt x="4587" y="1261"/>
                    <a:pt x="4595" y="1231"/>
                    <a:pt x="4580" y="1202"/>
                  </a:cubicBezTo>
                  <a:cubicBezTo>
                    <a:pt x="4573" y="1195"/>
                    <a:pt x="4558" y="1180"/>
                    <a:pt x="4529" y="1180"/>
                  </a:cubicBezTo>
                  <a:cubicBezTo>
                    <a:pt x="4529" y="1180"/>
                    <a:pt x="4521" y="1180"/>
                    <a:pt x="4514" y="1188"/>
                  </a:cubicBezTo>
                  <a:cubicBezTo>
                    <a:pt x="4507" y="1188"/>
                    <a:pt x="4499" y="1188"/>
                    <a:pt x="4492" y="1188"/>
                  </a:cubicBezTo>
                  <a:cubicBezTo>
                    <a:pt x="4463" y="1188"/>
                    <a:pt x="4426" y="1173"/>
                    <a:pt x="4375" y="1136"/>
                  </a:cubicBezTo>
                  <a:cubicBezTo>
                    <a:pt x="4353" y="1129"/>
                    <a:pt x="4346" y="1121"/>
                    <a:pt x="4346" y="1114"/>
                  </a:cubicBezTo>
                  <a:cubicBezTo>
                    <a:pt x="4346" y="1114"/>
                    <a:pt x="4353" y="1107"/>
                    <a:pt x="4368" y="1100"/>
                  </a:cubicBezTo>
                  <a:cubicBezTo>
                    <a:pt x="4419" y="1078"/>
                    <a:pt x="4419" y="1034"/>
                    <a:pt x="4419" y="1004"/>
                  </a:cubicBezTo>
                  <a:cubicBezTo>
                    <a:pt x="4419" y="990"/>
                    <a:pt x="4419" y="968"/>
                    <a:pt x="4426" y="953"/>
                  </a:cubicBezTo>
                  <a:cubicBezTo>
                    <a:pt x="4456" y="902"/>
                    <a:pt x="4448" y="887"/>
                    <a:pt x="4434" y="858"/>
                  </a:cubicBezTo>
                  <a:cubicBezTo>
                    <a:pt x="4434" y="850"/>
                    <a:pt x="4426" y="850"/>
                    <a:pt x="4426" y="843"/>
                  </a:cubicBezTo>
                  <a:cubicBezTo>
                    <a:pt x="4419" y="821"/>
                    <a:pt x="4411" y="814"/>
                    <a:pt x="4419" y="814"/>
                  </a:cubicBezTo>
                  <a:lnTo>
                    <a:pt x="4419" y="814"/>
                  </a:lnTo>
                  <a:cubicBezTo>
                    <a:pt x="4419" y="814"/>
                    <a:pt x="4419" y="807"/>
                    <a:pt x="4448" y="807"/>
                  </a:cubicBezTo>
                  <a:cubicBezTo>
                    <a:pt x="4514" y="792"/>
                    <a:pt x="4529" y="755"/>
                    <a:pt x="4529" y="740"/>
                  </a:cubicBezTo>
                  <a:cubicBezTo>
                    <a:pt x="4529" y="711"/>
                    <a:pt x="4507" y="682"/>
                    <a:pt x="4470" y="667"/>
                  </a:cubicBezTo>
                  <a:cubicBezTo>
                    <a:pt x="4456" y="660"/>
                    <a:pt x="4448" y="645"/>
                    <a:pt x="4441" y="609"/>
                  </a:cubicBezTo>
                  <a:cubicBezTo>
                    <a:pt x="4434" y="587"/>
                    <a:pt x="4426" y="565"/>
                    <a:pt x="4419" y="543"/>
                  </a:cubicBezTo>
                  <a:cubicBezTo>
                    <a:pt x="4390" y="506"/>
                    <a:pt x="4346" y="491"/>
                    <a:pt x="4309" y="491"/>
                  </a:cubicBezTo>
                  <a:cubicBezTo>
                    <a:pt x="4280" y="491"/>
                    <a:pt x="4258" y="499"/>
                    <a:pt x="4236" y="513"/>
                  </a:cubicBezTo>
                  <a:cubicBezTo>
                    <a:pt x="4228" y="521"/>
                    <a:pt x="4214" y="521"/>
                    <a:pt x="4199" y="521"/>
                  </a:cubicBezTo>
                  <a:cubicBezTo>
                    <a:pt x="4177" y="521"/>
                    <a:pt x="4162" y="521"/>
                    <a:pt x="4155" y="513"/>
                  </a:cubicBezTo>
                  <a:cubicBezTo>
                    <a:pt x="4148" y="506"/>
                    <a:pt x="4140" y="499"/>
                    <a:pt x="4133" y="491"/>
                  </a:cubicBezTo>
                  <a:cubicBezTo>
                    <a:pt x="4111" y="469"/>
                    <a:pt x="4089" y="455"/>
                    <a:pt x="4045" y="447"/>
                  </a:cubicBezTo>
                  <a:cubicBezTo>
                    <a:pt x="4009" y="440"/>
                    <a:pt x="3979" y="433"/>
                    <a:pt x="3972" y="396"/>
                  </a:cubicBezTo>
                  <a:cubicBezTo>
                    <a:pt x="3965" y="381"/>
                    <a:pt x="3965" y="367"/>
                    <a:pt x="3965" y="352"/>
                  </a:cubicBezTo>
                  <a:cubicBezTo>
                    <a:pt x="3965" y="323"/>
                    <a:pt x="3965" y="279"/>
                    <a:pt x="3921" y="257"/>
                  </a:cubicBezTo>
                  <a:cubicBezTo>
                    <a:pt x="3899" y="250"/>
                    <a:pt x="3884" y="242"/>
                    <a:pt x="3869" y="228"/>
                  </a:cubicBezTo>
                  <a:cubicBezTo>
                    <a:pt x="3855" y="213"/>
                    <a:pt x="3840" y="191"/>
                    <a:pt x="3811" y="176"/>
                  </a:cubicBezTo>
                  <a:cubicBezTo>
                    <a:pt x="3796" y="169"/>
                    <a:pt x="3781" y="162"/>
                    <a:pt x="3759" y="162"/>
                  </a:cubicBezTo>
                  <a:cubicBezTo>
                    <a:pt x="3708" y="162"/>
                    <a:pt x="3686" y="220"/>
                    <a:pt x="3671" y="242"/>
                  </a:cubicBezTo>
                  <a:cubicBezTo>
                    <a:pt x="3671" y="250"/>
                    <a:pt x="3664" y="257"/>
                    <a:pt x="3657" y="271"/>
                  </a:cubicBezTo>
                  <a:cubicBezTo>
                    <a:pt x="3642" y="286"/>
                    <a:pt x="3628" y="301"/>
                    <a:pt x="3628" y="330"/>
                  </a:cubicBezTo>
                  <a:cubicBezTo>
                    <a:pt x="3635" y="352"/>
                    <a:pt x="3649" y="367"/>
                    <a:pt x="3664" y="381"/>
                  </a:cubicBezTo>
                  <a:cubicBezTo>
                    <a:pt x="3693" y="396"/>
                    <a:pt x="3693" y="403"/>
                    <a:pt x="3693" y="403"/>
                  </a:cubicBezTo>
                  <a:cubicBezTo>
                    <a:pt x="3693" y="403"/>
                    <a:pt x="3686" y="411"/>
                    <a:pt x="3686" y="418"/>
                  </a:cubicBezTo>
                  <a:cubicBezTo>
                    <a:pt x="3679" y="426"/>
                    <a:pt x="3679" y="433"/>
                    <a:pt x="3679" y="433"/>
                  </a:cubicBezTo>
                  <a:cubicBezTo>
                    <a:pt x="3671" y="447"/>
                    <a:pt x="3671" y="447"/>
                    <a:pt x="3664" y="455"/>
                  </a:cubicBezTo>
                  <a:cubicBezTo>
                    <a:pt x="3657" y="469"/>
                    <a:pt x="3657" y="477"/>
                    <a:pt x="3620" y="499"/>
                  </a:cubicBezTo>
                  <a:cubicBezTo>
                    <a:pt x="3561" y="535"/>
                    <a:pt x="3518" y="557"/>
                    <a:pt x="3466" y="594"/>
                  </a:cubicBezTo>
                  <a:cubicBezTo>
                    <a:pt x="3452" y="601"/>
                    <a:pt x="3437" y="616"/>
                    <a:pt x="3415" y="623"/>
                  </a:cubicBezTo>
                  <a:cubicBezTo>
                    <a:pt x="3349" y="667"/>
                    <a:pt x="3261" y="719"/>
                    <a:pt x="3210" y="770"/>
                  </a:cubicBezTo>
                  <a:cubicBezTo>
                    <a:pt x="3166" y="814"/>
                    <a:pt x="3034" y="828"/>
                    <a:pt x="2975" y="843"/>
                  </a:cubicBezTo>
                  <a:cubicBezTo>
                    <a:pt x="2968" y="843"/>
                    <a:pt x="2953" y="843"/>
                    <a:pt x="2946" y="843"/>
                  </a:cubicBezTo>
                  <a:cubicBezTo>
                    <a:pt x="2939" y="843"/>
                    <a:pt x="2917" y="850"/>
                    <a:pt x="2895" y="850"/>
                  </a:cubicBezTo>
                  <a:cubicBezTo>
                    <a:pt x="2821" y="850"/>
                    <a:pt x="2726" y="858"/>
                    <a:pt x="2690" y="909"/>
                  </a:cubicBezTo>
                  <a:cubicBezTo>
                    <a:pt x="2682" y="924"/>
                    <a:pt x="2660" y="924"/>
                    <a:pt x="2624" y="924"/>
                  </a:cubicBezTo>
                  <a:cubicBezTo>
                    <a:pt x="2616" y="924"/>
                    <a:pt x="2616" y="924"/>
                    <a:pt x="2616" y="924"/>
                  </a:cubicBezTo>
                  <a:cubicBezTo>
                    <a:pt x="2609" y="924"/>
                    <a:pt x="2609" y="924"/>
                    <a:pt x="2609" y="924"/>
                  </a:cubicBezTo>
                  <a:cubicBezTo>
                    <a:pt x="2602" y="931"/>
                    <a:pt x="2602" y="931"/>
                    <a:pt x="2602" y="931"/>
                  </a:cubicBezTo>
                  <a:cubicBezTo>
                    <a:pt x="2580" y="953"/>
                    <a:pt x="2543" y="968"/>
                    <a:pt x="2499" y="975"/>
                  </a:cubicBezTo>
                  <a:cubicBezTo>
                    <a:pt x="2418" y="990"/>
                    <a:pt x="2397" y="1034"/>
                    <a:pt x="2382" y="1070"/>
                  </a:cubicBezTo>
                  <a:cubicBezTo>
                    <a:pt x="2382" y="1078"/>
                    <a:pt x="2375" y="1085"/>
                    <a:pt x="2375" y="1100"/>
                  </a:cubicBezTo>
                  <a:cubicBezTo>
                    <a:pt x="2367" y="1107"/>
                    <a:pt x="2367" y="1107"/>
                    <a:pt x="2345" y="1107"/>
                  </a:cubicBezTo>
                  <a:cubicBezTo>
                    <a:pt x="2323" y="1107"/>
                    <a:pt x="2294" y="1107"/>
                    <a:pt x="2265" y="1129"/>
                  </a:cubicBezTo>
                  <a:cubicBezTo>
                    <a:pt x="2235" y="1158"/>
                    <a:pt x="2221" y="1202"/>
                    <a:pt x="2206" y="1239"/>
                  </a:cubicBezTo>
                  <a:cubicBezTo>
                    <a:pt x="2191" y="1268"/>
                    <a:pt x="2184" y="1290"/>
                    <a:pt x="2177" y="1305"/>
                  </a:cubicBezTo>
                  <a:cubicBezTo>
                    <a:pt x="2147" y="1327"/>
                    <a:pt x="2125" y="1327"/>
                    <a:pt x="2059" y="1327"/>
                  </a:cubicBezTo>
                  <a:cubicBezTo>
                    <a:pt x="1964" y="1327"/>
                    <a:pt x="1928" y="1415"/>
                    <a:pt x="1906" y="1451"/>
                  </a:cubicBezTo>
                  <a:cubicBezTo>
                    <a:pt x="1906" y="1444"/>
                    <a:pt x="1898" y="1444"/>
                    <a:pt x="1891" y="1444"/>
                  </a:cubicBezTo>
                  <a:cubicBezTo>
                    <a:pt x="1862" y="1444"/>
                    <a:pt x="1847" y="1466"/>
                    <a:pt x="1840" y="1481"/>
                  </a:cubicBezTo>
                  <a:cubicBezTo>
                    <a:pt x="1825" y="1503"/>
                    <a:pt x="1818" y="1525"/>
                    <a:pt x="1818" y="1547"/>
                  </a:cubicBezTo>
                  <a:cubicBezTo>
                    <a:pt x="1825" y="1576"/>
                    <a:pt x="1862" y="1605"/>
                    <a:pt x="1906" y="1635"/>
                  </a:cubicBezTo>
                  <a:cubicBezTo>
                    <a:pt x="1928" y="1649"/>
                    <a:pt x="1928" y="1649"/>
                    <a:pt x="1928" y="1649"/>
                  </a:cubicBezTo>
                  <a:cubicBezTo>
                    <a:pt x="1986" y="1686"/>
                    <a:pt x="2030" y="1715"/>
                    <a:pt x="2059" y="1752"/>
                  </a:cubicBezTo>
                  <a:cubicBezTo>
                    <a:pt x="2067" y="1759"/>
                    <a:pt x="2074" y="1774"/>
                    <a:pt x="2081" y="1774"/>
                  </a:cubicBezTo>
                  <a:cubicBezTo>
                    <a:pt x="2081" y="1781"/>
                    <a:pt x="2089" y="1788"/>
                    <a:pt x="2089" y="1796"/>
                  </a:cubicBezTo>
                  <a:cubicBezTo>
                    <a:pt x="2089" y="1796"/>
                    <a:pt x="2089" y="1796"/>
                    <a:pt x="2081" y="1818"/>
                  </a:cubicBezTo>
                  <a:cubicBezTo>
                    <a:pt x="2067" y="1840"/>
                    <a:pt x="2059" y="1854"/>
                    <a:pt x="2052" y="1862"/>
                  </a:cubicBezTo>
                  <a:cubicBezTo>
                    <a:pt x="2037" y="1891"/>
                    <a:pt x="2023" y="1913"/>
                    <a:pt x="2001" y="1957"/>
                  </a:cubicBezTo>
                  <a:cubicBezTo>
                    <a:pt x="1979" y="2001"/>
                    <a:pt x="1920" y="2045"/>
                    <a:pt x="1898" y="2052"/>
                  </a:cubicBezTo>
                  <a:cubicBezTo>
                    <a:pt x="1876" y="1979"/>
                    <a:pt x="1825" y="1964"/>
                    <a:pt x="1796" y="1964"/>
                  </a:cubicBezTo>
                  <a:cubicBezTo>
                    <a:pt x="1781" y="1964"/>
                    <a:pt x="1766" y="1971"/>
                    <a:pt x="1744" y="1979"/>
                  </a:cubicBezTo>
                  <a:cubicBezTo>
                    <a:pt x="1693" y="1994"/>
                    <a:pt x="1503" y="2067"/>
                    <a:pt x="1459" y="2111"/>
                  </a:cubicBezTo>
                  <a:cubicBezTo>
                    <a:pt x="1437" y="2126"/>
                    <a:pt x="1393" y="2155"/>
                    <a:pt x="1363" y="2155"/>
                  </a:cubicBezTo>
                  <a:cubicBezTo>
                    <a:pt x="1349" y="2155"/>
                    <a:pt x="1341" y="2155"/>
                    <a:pt x="1334" y="2147"/>
                  </a:cubicBezTo>
                  <a:cubicBezTo>
                    <a:pt x="1297" y="2104"/>
                    <a:pt x="1254" y="2074"/>
                    <a:pt x="1209" y="2074"/>
                  </a:cubicBezTo>
                  <a:cubicBezTo>
                    <a:pt x="1187" y="2074"/>
                    <a:pt x="1165" y="2089"/>
                    <a:pt x="1158" y="2111"/>
                  </a:cubicBezTo>
                  <a:cubicBezTo>
                    <a:pt x="1144" y="2140"/>
                    <a:pt x="1173" y="2169"/>
                    <a:pt x="1187" y="2191"/>
                  </a:cubicBezTo>
                  <a:cubicBezTo>
                    <a:pt x="1202" y="2199"/>
                    <a:pt x="1217" y="2213"/>
                    <a:pt x="1209" y="2228"/>
                  </a:cubicBezTo>
                  <a:lnTo>
                    <a:pt x="1209" y="2228"/>
                  </a:lnTo>
                  <a:cubicBezTo>
                    <a:pt x="1202" y="2228"/>
                    <a:pt x="1187" y="2221"/>
                    <a:pt x="1158" y="2199"/>
                  </a:cubicBezTo>
                  <a:cubicBezTo>
                    <a:pt x="1107" y="2155"/>
                    <a:pt x="1041" y="2111"/>
                    <a:pt x="968" y="2111"/>
                  </a:cubicBezTo>
                  <a:cubicBezTo>
                    <a:pt x="960" y="2111"/>
                    <a:pt x="953" y="2111"/>
                    <a:pt x="946" y="2111"/>
                  </a:cubicBezTo>
                  <a:cubicBezTo>
                    <a:pt x="916" y="2118"/>
                    <a:pt x="902" y="2118"/>
                    <a:pt x="880" y="2118"/>
                  </a:cubicBezTo>
                  <a:cubicBezTo>
                    <a:pt x="843" y="2118"/>
                    <a:pt x="821" y="2111"/>
                    <a:pt x="814" y="2096"/>
                  </a:cubicBezTo>
                  <a:cubicBezTo>
                    <a:pt x="814" y="2081"/>
                    <a:pt x="806" y="2067"/>
                    <a:pt x="799" y="2052"/>
                  </a:cubicBezTo>
                  <a:cubicBezTo>
                    <a:pt x="785" y="2008"/>
                    <a:pt x="770" y="1964"/>
                    <a:pt x="718" y="1964"/>
                  </a:cubicBezTo>
                  <a:cubicBezTo>
                    <a:pt x="704" y="1964"/>
                    <a:pt x="638" y="1964"/>
                    <a:pt x="616" y="2008"/>
                  </a:cubicBezTo>
                  <a:cubicBezTo>
                    <a:pt x="616" y="2016"/>
                    <a:pt x="609" y="2038"/>
                    <a:pt x="631" y="2067"/>
                  </a:cubicBezTo>
                  <a:cubicBezTo>
                    <a:pt x="638" y="2074"/>
                    <a:pt x="645" y="2089"/>
                    <a:pt x="653" y="2096"/>
                  </a:cubicBezTo>
                  <a:cubicBezTo>
                    <a:pt x="667" y="2118"/>
                    <a:pt x="697" y="2147"/>
                    <a:pt x="704" y="2169"/>
                  </a:cubicBezTo>
                  <a:cubicBezTo>
                    <a:pt x="631" y="2169"/>
                    <a:pt x="616" y="2155"/>
                    <a:pt x="601" y="2126"/>
                  </a:cubicBezTo>
                  <a:cubicBezTo>
                    <a:pt x="587" y="2104"/>
                    <a:pt x="565" y="2089"/>
                    <a:pt x="543" y="2089"/>
                  </a:cubicBezTo>
                  <a:cubicBezTo>
                    <a:pt x="506" y="2089"/>
                    <a:pt x="477" y="2111"/>
                    <a:pt x="455" y="2147"/>
                  </a:cubicBezTo>
                  <a:cubicBezTo>
                    <a:pt x="440" y="2184"/>
                    <a:pt x="411" y="2191"/>
                    <a:pt x="345" y="2199"/>
                  </a:cubicBezTo>
                  <a:cubicBezTo>
                    <a:pt x="301" y="2206"/>
                    <a:pt x="272" y="2228"/>
                    <a:pt x="264" y="2257"/>
                  </a:cubicBezTo>
                  <a:cubicBezTo>
                    <a:pt x="257" y="2294"/>
                    <a:pt x="279" y="2338"/>
                    <a:pt x="316" y="2367"/>
                  </a:cubicBezTo>
                  <a:cubicBezTo>
                    <a:pt x="352" y="2397"/>
                    <a:pt x="359" y="2419"/>
                    <a:pt x="359" y="2433"/>
                  </a:cubicBezTo>
                  <a:cubicBezTo>
                    <a:pt x="359" y="2433"/>
                    <a:pt x="352" y="2440"/>
                    <a:pt x="345" y="2440"/>
                  </a:cubicBezTo>
                  <a:cubicBezTo>
                    <a:pt x="286" y="2470"/>
                    <a:pt x="257" y="2507"/>
                    <a:pt x="257" y="2507"/>
                  </a:cubicBezTo>
                  <a:cubicBezTo>
                    <a:pt x="213" y="2572"/>
                    <a:pt x="213" y="2572"/>
                    <a:pt x="213" y="2572"/>
                  </a:cubicBezTo>
                  <a:cubicBezTo>
                    <a:pt x="286" y="2558"/>
                    <a:pt x="286" y="2558"/>
                    <a:pt x="286" y="2558"/>
                  </a:cubicBezTo>
                  <a:cubicBezTo>
                    <a:pt x="286" y="2558"/>
                    <a:pt x="294" y="2558"/>
                    <a:pt x="316" y="2558"/>
                  </a:cubicBezTo>
                  <a:cubicBezTo>
                    <a:pt x="330" y="2558"/>
                    <a:pt x="359" y="2558"/>
                    <a:pt x="381" y="2565"/>
                  </a:cubicBezTo>
                  <a:cubicBezTo>
                    <a:pt x="418" y="2580"/>
                    <a:pt x="418" y="2602"/>
                    <a:pt x="418" y="2675"/>
                  </a:cubicBezTo>
                  <a:cubicBezTo>
                    <a:pt x="418" y="2748"/>
                    <a:pt x="433" y="2785"/>
                    <a:pt x="506" y="2814"/>
                  </a:cubicBezTo>
                  <a:cubicBezTo>
                    <a:pt x="528" y="2821"/>
                    <a:pt x="528" y="2821"/>
                    <a:pt x="528" y="2821"/>
                  </a:cubicBezTo>
                  <a:cubicBezTo>
                    <a:pt x="543" y="2829"/>
                    <a:pt x="572" y="2844"/>
                    <a:pt x="579" y="2851"/>
                  </a:cubicBezTo>
                  <a:lnTo>
                    <a:pt x="579" y="2851"/>
                  </a:lnTo>
                  <a:cubicBezTo>
                    <a:pt x="543" y="2880"/>
                    <a:pt x="521" y="2902"/>
                    <a:pt x="521" y="2931"/>
                  </a:cubicBezTo>
                  <a:cubicBezTo>
                    <a:pt x="521" y="2961"/>
                    <a:pt x="535" y="2990"/>
                    <a:pt x="572" y="3027"/>
                  </a:cubicBezTo>
                  <a:cubicBezTo>
                    <a:pt x="645" y="3093"/>
                    <a:pt x="675" y="3129"/>
                    <a:pt x="682" y="3181"/>
                  </a:cubicBezTo>
                  <a:cubicBezTo>
                    <a:pt x="689" y="3210"/>
                    <a:pt x="697" y="3232"/>
                    <a:pt x="711" y="3247"/>
                  </a:cubicBezTo>
                  <a:cubicBezTo>
                    <a:pt x="726" y="3269"/>
                    <a:pt x="740" y="3298"/>
                    <a:pt x="748" y="3342"/>
                  </a:cubicBezTo>
                  <a:cubicBezTo>
                    <a:pt x="755" y="3357"/>
                    <a:pt x="763" y="3378"/>
                    <a:pt x="763" y="3400"/>
                  </a:cubicBezTo>
                  <a:cubicBezTo>
                    <a:pt x="785" y="3466"/>
                    <a:pt x="806" y="3518"/>
                    <a:pt x="770" y="3576"/>
                  </a:cubicBezTo>
                  <a:cubicBezTo>
                    <a:pt x="740" y="3642"/>
                    <a:pt x="748" y="3694"/>
                    <a:pt x="755" y="3730"/>
                  </a:cubicBezTo>
                  <a:cubicBezTo>
                    <a:pt x="755" y="3759"/>
                    <a:pt x="755" y="3789"/>
                    <a:pt x="748" y="3811"/>
                  </a:cubicBezTo>
                  <a:cubicBezTo>
                    <a:pt x="740" y="3833"/>
                    <a:pt x="733" y="3840"/>
                    <a:pt x="711" y="3855"/>
                  </a:cubicBezTo>
                  <a:cubicBezTo>
                    <a:pt x="689" y="3869"/>
                    <a:pt x="667" y="3891"/>
                    <a:pt x="631" y="3935"/>
                  </a:cubicBezTo>
                  <a:cubicBezTo>
                    <a:pt x="594" y="3987"/>
                    <a:pt x="565" y="4030"/>
                    <a:pt x="543" y="4075"/>
                  </a:cubicBezTo>
                  <a:cubicBezTo>
                    <a:pt x="521" y="4104"/>
                    <a:pt x="499" y="4140"/>
                    <a:pt x="484" y="4163"/>
                  </a:cubicBezTo>
                  <a:cubicBezTo>
                    <a:pt x="469" y="4185"/>
                    <a:pt x="389" y="4287"/>
                    <a:pt x="396" y="4360"/>
                  </a:cubicBezTo>
                  <a:cubicBezTo>
                    <a:pt x="404" y="4382"/>
                    <a:pt x="418" y="4404"/>
                    <a:pt x="433" y="4412"/>
                  </a:cubicBezTo>
                  <a:cubicBezTo>
                    <a:pt x="455" y="4426"/>
                    <a:pt x="484" y="4434"/>
                    <a:pt x="506" y="4434"/>
                  </a:cubicBezTo>
                  <a:cubicBezTo>
                    <a:pt x="528" y="4434"/>
                    <a:pt x="550" y="4426"/>
                    <a:pt x="572" y="4419"/>
                  </a:cubicBezTo>
                  <a:cubicBezTo>
                    <a:pt x="565" y="4426"/>
                    <a:pt x="565" y="4426"/>
                    <a:pt x="565" y="4426"/>
                  </a:cubicBezTo>
                  <a:cubicBezTo>
                    <a:pt x="587" y="4456"/>
                    <a:pt x="587" y="4456"/>
                    <a:pt x="587" y="4456"/>
                  </a:cubicBezTo>
                  <a:lnTo>
                    <a:pt x="587" y="4456"/>
                  </a:lnTo>
                  <a:cubicBezTo>
                    <a:pt x="587" y="4456"/>
                    <a:pt x="594" y="4463"/>
                    <a:pt x="601" y="4478"/>
                  </a:cubicBezTo>
                  <a:cubicBezTo>
                    <a:pt x="587" y="4478"/>
                    <a:pt x="565" y="4485"/>
                    <a:pt x="543" y="4492"/>
                  </a:cubicBezTo>
                  <a:cubicBezTo>
                    <a:pt x="521" y="4499"/>
                    <a:pt x="521" y="4499"/>
                    <a:pt x="521" y="4499"/>
                  </a:cubicBezTo>
                  <a:cubicBezTo>
                    <a:pt x="469" y="4521"/>
                    <a:pt x="425" y="4535"/>
                    <a:pt x="389" y="4608"/>
                  </a:cubicBezTo>
                  <a:cubicBezTo>
                    <a:pt x="374" y="4638"/>
                    <a:pt x="367" y="4645"/>
                    <a:pt x="359" y="4645"/>
                  </a:cubicBezTo>
                  <a:cubicBezTo>
                    <a:pt x="345" y="4653"/>
                    <a:pt x="330" y="4660"/>
                    <a:pt x="308" y="4682"/>
                  </a:cubicBezTo>
                  <a:cubicBezTo>
                    <a:pt x="257" y="4711"/>
                    <a:pt x="235" y="4770"/>
                    <a:pt x="213" y="4806"/>
                  </a:cubicBezTo>
                  <a:cubicBezTo>
                    <a:pt x="213" y="4821"/>
                    <a:pt x="206" y="4828"/>
                    <a:pt x="198" y="4843"/>
                  </a:cubicBezTo>
                  <a:cubicBezTo>
                    <a:pt x="184" y="4836"/>
                    <a:pt x="162" y="4814"/>
                    <a:pt x="162" y="4792"/>
                  </a:cubicBezTo>
                  <a:cubicBezTo>
                    <a:pt x="162" y="4733"/>
                    <a:pt x="125" y="4726"/>
                    <a:pt x="110" y="4726"/>
                  </a:cubicBezTo>
                  <a:cubicBezTo>
                    <a:pt x="96" y="4726"/>
                    <a:pt x="74" y="4733"/>
                    <a:pt x="44" y="4755"/>
                  </a:cubicBezTo>
                  <a:cubicBezTo>
                    <a:pt x="0" y="4792"/>
                    <a:pt x="15" y="4836"/>
                    <a:pt x="30" y="4865"/>
                  </a:cubicBezTo>
                  <a:cubicBezTo>
                    <a:pt x="37" y="4887"/>
                    <a:pt x="44" y="4916"/>
                    <a:pt x="44" y="4938"/>
                  </a:cubicBezTo>
                  <a:cubicBezTo>
                    <a:pt x="44" y="4960"/>
                    <a:pt x="44" y="4975"/>
                    <a:pt x="44" y="4989"/>
                  </a:cubicBezTo>
                  <a:cubicBezTo>
                    <a:pt x="37" y="5034"/>
                    <a:pt x="37" y="5070"/>
                    <a:pt x="59" y="5092"/>
                  </a:cubicBezTo>
                  <a:cubicBezTo>
                    <a:pt x="66" y="5107"/>
                    <a:pt x="81" y="5114"/>
                    <a:pt x="103" y="5114"/>
                  </a:cubicBezTo>
                  <a:cubicBezTo>
                    <a:pt x="118" y="5114"/>
                    <a:pt x="125" y="5107"/>
                    <a:pt x="140" y="5107"/>
                  </a:cubicBezTo>
                  <a:cubicBezTo>
                    <a:pt x="191" y="5092"/>
                    <a:pt x="220" y="5092"/>
                    <a:pt x="242" y="5092"/>
                  </a:cubicBezTo>
                  <a:cubicBezTo>
                    <a:pt x="264" y="5092"/>
                    <a:pt x="279" y="5092"/>
                    <a:pt x="301" y="5085"/>
                  </a:cubicBezTo>
                  <a:lnTo>
                    <a:pt x="308" y="5085"/>
                  </a:lnTo>
                  <a:lnTo>
                    <a:pt x="316" y="5085"/>
                  </a:lnTo>
                  <a:cubicBezTo>
                    <a:pt x="316" y="5085"/>
                    <a:pt x="316" y="5092"/>
                    <a:pt x="301" y="5114"/>
                  </a:cubicBezTo>
                  <a:cubicBezTo>
                    <a:pt x="272" y="5158"/>
                    <a:pt x="279" y="5195"/>
                    <a:pt x="286" y="5217"/>
                  </a:cubicBezTo>
                  <a:cubicBezTo>
                    <a:pt x="301" y="5246"/>
                    <a:pt x="345" y="5268"/>
                    <a:pt x="396" y="5268"/>
                  </a:cubicBezTo>
                  <a:cubicBezTo>
                    <a:pt x="411" y="5268"/>
                    <a:pt x="418" y="5268"/>
                    <a:pt x="418" y="5268"/>
                  </a:cubicBezTo>
                  <a:cubicBezTo>
                    <a:pt x="418" y="5275"/>
                    <a:pt x="418" y="5305"/>
                    <a:pt x="418" y="5327"/>
                  </a:cubicBezTo>
                  <a:cubicBezTo>
                    <a:pt x="418" y="5349"/>
                    <a:pt x="425" y="5371"/>
                    <a:pt x="425" y="5393"/>
                  </a:cubicBezTo>
                  <a:cubicBezTo>
                    <a:pt x="433" y="5415"/>
                    <a:pt x="440" y="5444"/>
                    <a:pt x="433" y="5451"/>
                  </a:cubicBezTo>
                  <a:cubicBezTo>
                    <a:pt x="433" y="5451"/>
                    <a:pt x="425" y="5451"/>
                    <a:pt x="418" y="5451"/>
                  </a:cubicBezTo>
                  <a:cubicBezTo>
                    <a:pt x="418" y="5458"/>
                    <a:pt x="411" y="5458"/>
                    <a:pt x="404" y="5458"/>
                  </a:cubicBezTo>
                  <a:cubicBezTo>
                    <a:pt x="389" y="5458"/>
                    <a:pt x="374" y="5451"/>
                    <a:pt x="359" y="5451"/>
                  </a:cubicBezTo>
                  <a:cubicBezTo>
                    <a:pt x="352" y="5451"/>
                    <a:pt x="337" y="5451"/>
                    <a:pt x="323" y="5451"/>
                  </a:cubicBezTo>
                  <a:cubicBezTo>
                    <a:pt x="316" y="5451"/>
                    <a:pt x="294" y="5451"/>
                    <a:pt x="279" y="5466"/>
                  </a:cubicBezTo>
                  <a:cubicBezTo>
                    <a:pt x="264" y="5480"/>
                    <a:pt x="257" y="5495"/>
                    <a:pt x="257" y="5517"/>
                  </a:cubicBezTo>
                  <a:cubicBezTo>
                    <a:pt x="257" y="5598"/>
                    <a:pt x="257" y="5605"/>
                    <a:pt x="228" y="5612"/>
                  </a:cubicBezTo>
                  <a:cubicBezTo>
                    <a:pt x="184" y="5620"/>
                    <a:pt x="176" y="5642"/>
                    <a:pt x="176" y="5656"/>
                  </a:cubicBezTo>
                  <a:cubicBezTo>
                    <a:pt x="169" y="5693"/>
                    <a:pt x="206" y="5722"/>
                    <a:pt x="242" y="5737"/>
                  </a:cubicBezTo>
                  <a:cubicBezTo>
                    <a:pt x="257" y="5744"/>
                    <a:pt x="264" y="5744"/>
                    <a:pt x="272" y="5752"/>
                  </a:cubicBezTo>
                  <a:cubicBezTo>
                    <a:pt x="279" y="5752"/>
                    <a:pt x="286" y="5759"/>
                    <a:pt x="294" y="5759"/>
                  </a:cubicBezTo>
                  <a:lnTo>
                    <a:pt x="294" y="5759"/>
                  </a:lnTo>
                  <a:cubicBezTo>
                    <a:pt x="294" y="5759"/>
                    <a:pt x="294" y="5766"/>
                    <a:pt x="286" y="5796"/>
                  </a:cubicBezTo>
                  <a:cubicBezTo>
                    <a:pt x="264" y="5854"/>
                    <a:pt x="264" y="5891"/>
                    <a:pt x="286" y="5913"/>
                  </a:cubicBezTo>
                  <a:cubicBezTo>
                    <a:pt x="301" y="5935"/>
                    <a:pt x="323" y="5949"/>
                    <a:pt x="352" y="5957"/>
                  </a:cubicBezTo>
                  <a:cubicBezTo>
                    <a:pt x="359" y="5957"/>
                    <a:pt x="367" y="5957"/>
                    <a:pt x="374" y="5957"/>
                  </a:cubicBezTo>
                  <a:cubicBezTo>
                    <a:pt x="396" y="5957"/>
                    <a:pt x="411" y="5957"/>
                    <a:pt x="433" y="5949"/>
                  </a:cubicBezTo>
                  <a:cubicBezTo>
                    <a:pt x="440" y="5949"/>
                    <a:pt x="455" y="5942"/>
                    <a:pt x="462" y="5942"/>
                  </a:cubicBezTo>
                  <a:cubicBezTo>
                    <a:pt x="469" y="5942"/>
                    <a:pt x="477" y="5942"/>
                    <a:pt x="477" y="5957"/>
                  </a:cubicBezTo>
                  <a:cubicBezTo>
                    <a:pt x="499" y="5986"/>
                    <a:pt x="506" y="5994"/>
                    <a:pt x="513" y="6023"/>
                  </a:cubicBezTo>
                  <a:cubicBezTo>
                    <a:pt x="513" y="6037"/>
                    <a:pt x="521" y="6052"/>
                    <a:pt x="535" y="6081"/>
                  </a:cubicBezTo>
                  <a:cubicBezTo>
                    <a:pt x="543" y="6111"/>
                    <a:pt x="543" y="6133"/>
                    <a:pt x="543" y="6147"/>
                  </a:cubicBezTo>
                  <a:cubicBezTo>
                    <a:pt x="543" y="6191"/>
                    <a:pt x="557" y="6213"/>
                    <a:pt x="623" y="6235"/>
                  </a:cubicBezTo>
                  <a:cubicBezTo>
                    <a:pt x="645" y="6250"/>
                    <a:pt x="660" y="6250"/>
                    <a:pt x="682" y="6250"/>
                  </a:cubicBezTo>
                  <a:cubicBezTo>
                    <a:pt x="704" y="6250"/>
                    <a:pt x="718" y="6250"/>
                    <a:pt x="726" y="6243"/>
                  </a:cubicBezTo>
                  <a:lnTo>
                    <a:pt x="733" y="6243"/>
                  </a:lnTo>
                  <a:cubicBezTo>
                    <a:pt x="733" y="6243"/>
                    <a:pt x="733" y="6250"/>
                    <a:pt x="740" y="6257"/>
                  </a:cubicBezTo>
                  <a:cubicBezTo>
                    <a:pt x="748" y="6279"/>
                    <a:pt x="755" y="6294"/>
                    <a:pt x="763" y="6301"/>
                  </a:cubicBezTo>
                  <a:cubicBezTo>
                    <a:pt x="755" y="6308"/>
                    <a:pt x="733" y="6323"/>
                    <a:pt x="726" y="6338"/>
                  </a:cubicBezTo>
                  <a:cubicBezTo>
                    <a:pt x="689" y="6367"/>
                    <a:pt x="667" y="6375"/>
                    <a:pt x="653" y="6382"/>
                  </a:cubicBezTo>
                  <a:cubicBezTo>
                    <a:pt x="616" y="6389"/>
                    <a:pt x="601" y="6404"/>
                    <a:pt x="587" y="6462"/>
                  </a:cubicBezTo>
                  <a:cubicBezTo>
                    <a:pt x="572" y="6543"/>
                    <a:pt x="587" y="6580"/>
                    <a:pt x="623" y="6616"/>
                  </a:cubicBezTo>
                  <a:cubicBezTo>
                    <a:pt x="631" y="6624"/>
                    <a:pt x="631" y="6631"/>
                    <a:pt x="638" y="6638"/>
                  </a:cubicBezTo>
                  <a:cubicBezTo>
                    <a:pt x="645" y="6646"/>
                    <a:pt x="653" y="6653"/>
                    <a:pt x="653" y="6660"/>
                  </a:cubicBezTo>
                  <a:cubicBezTo>
                    <a:pt x="667" y="6675"/>
                    <a:pt x="675" y="6704"/>
                    <a:pt x="718" y="6704"/>
                  </a:cubicBezTo>
                  <a:cubicBezTo>
                    <a:pt x="733" y="6704"/>
                    <a:pt x="755" y="6697"/>
                    <a:pt x="785" y="6697"/>
                  </a:cubicBezTo>
                  <a:cubicBezTo>
                    <a:pt x="799" y="6689"/>
                    <a:pt x="806" y="6689"/>
                    <a:pt x="814" y="6689"/>
                  </a:cubicBezTo>
                  <a:cubicBezTo>
                    <a:pt x="872" y="6689"/>
                    <a:pt x="902" y="6726"/>
                    <a:pt x="931" y="6792"/>
                  </a:cubicBezTo>
                  <a:cubicBezTo>
                    <a:pt x="946" y="6814"/>
                    <a:pt x="960" y="6829"/>
                    <a:pt x="968" y="6844"/>
                  </a:cubicBezTo>
                  <a:cubicBezTo>
                    <a:pt x="997" y="6873"/>
                    <a:pt x="997" y="6880"/>
                    <a:pt x="975" y="6924"/>
                  </a:cubicBezTo>
                  <a:cubicBezTo>
                    <a:pt x="931" y="7012"/>
                    <a:pt x="909" y="7056"/>
                    <a:pt x="953" y="7129"/>
                  </a:cubicBezTo>
                  <a:cubicBezTo>
                    <a:pt x="960" y="7144"/>
                    <a:pt x="975" y="7158"/>
                    <a:pt x="989" y="7166"/>
                  </a:cubicBezTo>
                  <a:cubicBezTo>
                    <a:pt x="1026" y="7203"/>
                    <a:pt x="1026" y="7203"/>
                    <a:pt x="1026" y="7203"/>
                  </a:cubicBezTo>
                  <a:cubicBezTo>
                    <a:pt x="1034" y="7151"/>
                    <a:pt x="1034" y="7151"/>
                    <a:pt x="1034" y="7151"/>
                  </a:cubicBezTo>
                  <a:cubicBezTo>
                    <a:pt x="1041" y="7144"/>
                    <a:pt x="1041" y="7144"/>
                    <a:pt x="1041" y="7144"/>
                  </a:cubicBezTo>
                  <a:cubicBezTo>
                    <a:pt x="1041" y="7129"/>
                    <a:pt x="1048" y="7093"/>
                    <a:pt x="1056" y="7093"/>
                  </a:cubicBezTo>
                  <a:cubicBezTo>
                    <a:pt x="1063" y="7093"/>
                    <a:pt x="1063" y="7093"/>
                    <a:pt x="1070" y="7093"/>
                  </a:cubicBezTo>
                  <a:cubicBezTo>
                    <a:pt x="1078" y="7093"/>
                    <a:pt x="1085" y="7093"/>
                    <a:pt x="1107" y="7129"/>
                  </a:cubicBezTo>
                  <a:cubicBezTo>
                    <a:pt x="1114" y="7137"/>
                    <a:pt x="1122" y="7151"/>
                    <a:pt x="1122" y="7158"/>
                  </a:cubicBezTo>
                  <a:cubicBezTo>
                    <a:pt x="1144" y="7203"/>
                    <a:pt x="1165" y="7254"/>
                    <a:pt x="1209" y="7254"/>
                  </a:cubicBezTo>
                  <a:cubicBezTo>
                    <a:pt x="1231" y="7254"/>
                    <a:pt x="1254" y="7246"/>
                    <a:pt x="1275" y="7217"/>
                  </a:cubicBezTo>
                  <a:cubicBezTo>
                    <a:pt x="1341" y="7144"/>
                    <a:pt x="1363" y="7129"/>
                    <a:pt x="1415" y="7115"/>
                  </a:cubicBezTo>
                  <a:cubicBezTo>
                    <a:pt x="1422" y="7115"/>
                    <a:pt x="1422" y="7115"/>
                    <a:pt x="1429" y="7115"/>
                  </a:cubicBezTo>
                  <a:cubicBezTo>
                    <a:pt x="1459" y="7115"/>
                    <a:pt x="1488" y="7144"/>
                    <a:pt x="1510" y="7173"/>
                  </a:cubicBezTo>
                  <a:cubicBezTo>
                    <a:pt x="1532" y="7203"/>
                    <a:pt x="1561" y="7217"/>
                    <a:pt x="1590" y="7217"/>
                  </a:cubicBezTo>
                  <a:cubicBezTo>
                    <a:pt x="1613" y="7217"/>
                    <a:pt x="1627" y="7210"/>
                    <a:pt x="1635" y="7195"/>
                  </a:cubicBezTo>
                  <a:cubicBezTo>
                    <a:pt x="1642" y="7203"/>
                    <a:pt x="1649" y="7217"/>
                    <a:pt x="1656" y="7217"/>
                  </a:cubicBezTo>
                  <a:cubicBezTo>
                    <a:pt x="1671" y="7239"/>
                    <a:pt x="1700" y="7246"/>
                    <a:pt x="1722" y="7246"/>
                  </a:cubicBezTo>
                  <a:cubicBezTo>
                    <a:pt x="1759" y="7246"/>
                    <a:pt x="1796" y="7232"/>
                    <a:pt x="1825" y="7217"/>
                  </a:cubicBezTo>
                  <a:cubicBezTo>
                    <a:pt x="1869" y="7188"/>
                    <a:pt x="1891" y="7144"/>
                    <a:pt x="1876" y="7085"/>
                  </a:cubicBezTo>
                  <a:cubicBezTo>
                    <a:pt x="1876" y="7078"/>
                    <a:pt x="1884" y="7063"/>
                    <a:pt x="1891" y="7049"/>
                  </a:cubicBezTo>
                  <a:cubicBezTo>
                    <a:pt x="1906" y="7027"/>
                    <a:pt x="1935" y="6983"/>
                    <a:pt x="1898" y="6946"/>
                  </a:cubicBezTo>
                  <a:cubicBezTo>
                    <a:pt x="1884" y="6931"/>
                    <a:pt x="1869" y="6924"/>
                    <a:pt x="1862" y="6917"/>
                  </a:cubicBezTo>
                  <a:cubicBezTo>
                    <a:pt x="1840" y="6909"/>
                    <a:pt x="1840" y="6909"/>
                    <a:pt x="1840" y="6887"/>
                  </a:cubicBezTo>
                  <a:cubicBezTo>
                    <a:pt x="1840" y="6873"/>
                    <a:pt x="1840" y="6865"/>
                    <a:pt x="1840" y="6858"/>
                  </a:cubicBezTo>
                  <a:cubicBezTo>
                    <a:pt x="1832" y="6821"/>
                    <a:pt x="1832" y="6814"/>
                    <a:pt x="1862" y="6785"/>
                  </a:cubicBezTo>
                  <a:cubicBezTo>
                    <a:pt x="1869" y="6785"/>
                    <a:pt x="1869" y="6777"/>
                    <a:pt x="1869" y="6777"/>
                  </a:cubicBezTo>
                  <a:cubicBezTo>
                    <a:pt x="1876" y="6777"/>
                    <a:pt x="1898" y="6799"/>
                    <a:pt x="1906" y="6814"/>
                  </a:cubicBezTo>
                  <a:cubicBezTo>
                    <a:pt x="1913" y="6821"/>
                    <a:pt x="1913" y="6821"/>
                    <a:pt x="1920" y="6829"/>
                  </a:cubicBezTo>
                  <a:cubicBezTo>
                    <a:pt x="1942" y="6851"/>
                    <a:pt x="1986" y="6895"/>
                    <a:pt x="2030" y="6895"/>
                  </a:cubicBezTo>
                  <a:cubicBezTo>
                    <a:pt x="2045" y="6895"/>
                    <a:pt x="2074" y="6887"/>
                    <a:pt x="2096" y="6858"/>
                  </a:cubicBezTo>
                  <a:cubicBezTo>
                    <a:pt x="2155" y="6792"/>
                    <a:pt x="2169" y="6734"/>
                    <a:pt x="2147" y="6689"/>
                  </a:cubicBezTo>
                  <a:cubicBezTo>
                    <a:pt x="2140" y="6675"/>
                    <a:pt x="2140" y="6653"/>
                    <a:pt x="2147" y="6646"/>
                  </a:cubicBezTo>
                  <a:cubicBezTo>
                    <a:pt x="2147" y="6638"/>
                    <a:pt x="2147" y="6638"/>
                    <a:pt x="2162" y="6631"/>
                  </a:cubicBezTo>
                  <a:cubicBezTo>
                    <a:pt x="2221" y="6624"/>
                    <a:pt x="2228" y="6587"/>
                    <a:pt x="2235" y="6558"/>
                  </a:cubicBezTo>
                  <a:lnTo>
                    <a:pt x="2235" y="6550"/>
                  </a:lnTo>
                  <a:cubicBezTo>
                    <a:pt x="2243" y="6543"/>
                    <a:pt x="2279" y="6536"/>
                    <a:pt x="2294" y="6536"/>
                  </a:cubicBezTo>
                  <a:cubicBezTo>
                    <a:pt x="2316" y="6536"/>
                    <a:pt x="2330" y="6536"/>
                    <a:pt x="2345" y="6528"/>
                  </a:cubicBezTo>
                  <a:cubicBezTo>
                    <a:pt x="2367" y="6521"/>
                    <a:pt x="2382" y="6499"/>
                    <a:pt x="2397" y="6477"/>
                  </a:cubicBezTo>
                  <a:cubicBezTo>
                    <a:pt x="2404" y="6462"/>
                    <a:pt x="2411" y="6448"/>
                    <a:pt x="2426" y="6433"/>
                  </a:cubicBezTo>
                  <a:cubicBezTo>
                    <a:pt x="2433" y="6433"/>
                    <a:pt x="2433" y="6426"/>
                    <a:pt x="2440" y="6426"/>
                  </a:cubicBezTo>
                  <a:cubicBezTo>
                    <a:pt x="2448" y="6426"/>
                    <a:pt x="2462" y="6433"/>
                    <a:pt x="2477" y="6433"/>
                  </a:cubicBezTo>
                  <a:cubicBezTo>
                    <a:pt x="2492" y="6440"/>
                    <a:pt x="2514" y="6448"/>
                    <a:pt x="2528" y="6448"/>
                  </a:cubicBezTo>
                  <a:cubicBezTo>
                    <a:pt x="2587" y="6448"/>
                    <a:pt x="2631" y="6418"/>
                    <a:pt x="2668" y="6389"/>
                  </a:cubicBezTo>
                  <a:cubicBezTo>
                    <a:pt x="2682" y="6382"/>
                    <a:pt x="2690" y="6367"/>
                    <a:pt x="2704" y="6360"/>
                  </a:cubicBezTo>
                  <a:cubicBezTo>
                    <a:pt x="2726" y="6338"/>
                    <a:pt x="2763" y="6301"/>
                    <a:pt x="2785" y="6301"/>
                  </a:cubicBezTo>
                  <a:cubicBezTo>
                    <a:pt x="2792" y="6301"/>
                    <a:pt x="2814" y="6316"/>
                    <a:pt x="2829" y="6323"/>
                  </a:cubicBezTo>
                  <a:cubicBezTo>
                    <a:pt x="2858" y="6338"/>
                    <a:pt x="2887" y="6353"/>
                    <a:pt x="2917" y="6353"/>
                  </a:cubicBezTo>
                  <a:cubicBezTo>
                    <a:pt x="2931" y="6353"/>
                    <a:pt x="2939" y="6345"/>
                    <a:pt x="2953" y="6338"/>
                  </a:cubicBezTo>
                  <a:cubicBezTo>
                    <a:pt x="2968" y="6330"/>
                    <a:pt x="2983" y="6323"/>
                    <a:pt x="2997" y="6316"/>
                  </a:cubicBezTo>
                  <a:cubicBezTo>
                    <a:pt x="3041" y="6294"/>
                    <a:pt x="3085" y="6279"/>
                    <a:pt x="3107" y="6250"/>
                  </a:cubicBezTo>
                  <a:cubicBezTo>
                    <a:pt x="3122" y="6228"/>
                    <a:pt x="3129" y="6213"/>
                    <a:pt x="3144" y="6191"/>
                  </a:cubicBezTo>
                  <a:cubicBezTo>
                    <a:pt x="3144" y="6177"/>
                    <a:pt x="3159" y="6162"/>
                    <a:pt x="3166" y="6140"/>
                  </a:cubicBezTo>
                  <a:cubicBezTo>
                    <a:pt x="3195" y="6096"/>
                    <a:pt x="3254" y="6059"/>
                    <a:pt x="3283" y="6052"/>
                  </a:cubicBezTo>
                  <a:cubicBezTo>
                    <a:pt x="3290" y="6052"/>
                    <a:pt x="3298" y="6052"/>
                    <a:pt x="3312" y="6052"/>
                  </a:cubicBezTo>
                  <a:cubicBezTo>
                    <a:pt x="3349" y="6045"/>
                    <a:pt x="3393" y="6037"/>
                    <a:pt x="3452" y="6001"/>
                  </a:cubicBezTo>
                  <a:cubicBezTo>
                    <a:pt x="3459" y="5994"/>
                    <a:pt x="3466" y="5986"/>
                    <a:pt x="3481" y="5979"/>
                  </a:cubicBezTo>
                  <a:cubicBezTo>
                    <a:pt x="3488" y="5971"/>
                    <a:pt x="3503" y="5957"/>
                    <a:pt x="3518" y="5949"/>
                  </a:cubicBezTo>
                  <a:cubicBezTo>
                    <a:pt x="3525" y="5971"/>
                    <a:pt x="3540" y="5979"/>
                    <a:pt x="3554" y="5979"/>
                  </a:cubicBezTo>
                  <a:cubicBezTo>
                    <a:pt x="3591" y="5979"/>
                    <a:pt x="3620" y="5942"/>
                    <a:pt x="3628" y="5906"/>
                  </a:cubicBezTo>
                  <a:cubicBezTo>
                    <a:pt x="3628" y="5898"/>
                    <a:pt x="3635" y="5898"/>
                    <a:pt x="3635" y="5898"/>
                  </a:cubicBezTo>
                  <a:cubicBezTo>
                    <a:pt x="3635" y="5898"/>
                    <a:pt x="3649" y="5898"/>
                    <a:pt x="3657" y="5898"/>
                  </a:cubicBezTo>
                  <a:cubicBezTo>
                    <a:pt x="3671" y="5891"/>
                    <a:pt x="3693" y="5891"/>
                    <a:pt x="3716" y="5884"/>
                  </a:cubicBezTo>
                  <a:cubicBezTo>
                    <a:pt x="3737" y="5884"/>
                    <a:pt x="3745" y="5876"/>
                    <a:pt x="3752" y="5876"/>
                  </a:cubicBezTo>
                  <a:cubicBezTo>
                    <a:pt x="3781" y="5876"/>
                    <a:pt x="3789" y="5869"/>
                    <a:pt x="3796" y="5839"/>
                  </a:cubicBezTo>
                  <a:cubicBezTo>
                    <a:pt x="3796" y="5832"/>
                    <a:pt x="3796" y="5825"/>
                    <a:pt x="3803" y="5810"/>
                  </a:cubicBezTo>
                  <a:cubicBezTo>
                    <a:pt x="3803" y="5803"/>
                    <a:pt x="3803" y="5788"/>
                    <a:pt x="3811" y="5781"/>
                  </a:cubicBezTo>
                  <a:cubicBezTo>
                    <a:pt x="3818" y="5744"/>
                    <a:pt x="3825" y="5722"/>
                    <a:pt x="3847" y="5693"/>
                  </a:cubicBezTo>
                  <a:cubicBezTo>
                    <a:pt x="3862" y="5671"/>
                    <a:pt x="3884" y="5656"/>
                    <a:pt x="3906" y="5649"/>
                  </a:cubicBezTo>
                  <a:cubicBezTo>
                    <a:pt x="3921" y="5634"/>
                    <a:pt x="3935" y="5627"/>
                    <a:pt x="3943" y="5612"/>
                  </a:cubicBezTo>
                  <a:cubicBezTo>
                    <a:pt x="3972" y="5590"/>
                    <a:pt x="3979" y="5546"/>
                    <a:pt x="3979" y="5503"/>
                  </a:cubicBezTo>
                  <a:cubicBezTo>
                    <a:pt x="3987" y="5495"/>
                    <a:pt x="3987" y="5480"/>
                    <a:pt x="3987" y="5473"/>
                  </a:cubicBezTo>
                  <a:cubicBezTo>
                    <a:pt x="3994" y="5458"/>
                    <a:pt x="3987" y="5437"/>
                    <a:pt x="3987" y="5422"/>
                  </a:cubicBezTo>
                  <a:cubicBezTo>
                    <a:pt x="3987" y="5385"/>
                    <a:pt x="3987" y="5363"/>
                    <a:pt x="4016" y="5341"/>
                  </a:cubicBezTo>
                  <a:cubicBezTo>
                    <a:pt x="4052" y="5319"/>
                    <a:pt x="4082" y="5305"/>
                    <a:pt x="4089" y="5305"/>
                  </a:cubicBezTo>
                  <a:cubicBezTo>
                    <a:pt x="4097" y="5305"/>
                    <a:pt x="4097" y="5305"/>
                    <a:pt x="4104" y="5312"/>
                  </a:cubicBezTo>
                  <a:cubicBezTo>
                    <a:pt x="4118" y="5334"/>
                    <a:pt x="4118" y="5378"/>
                    <a:pt x="4104" y="5407"/>
                  </a:cubicBezTo>
                  <a:cubicBezTo>
                    <a:pt x="4089" y="5429"/>
                    <a:pt x="4089" y="5444"/>
                    <a:pt x="4097" y="5458"/>
                  </a:cubicBezTo>
                  <a:cubicBezTo>
                    <a:pt x="4104" y="5495"/>
                    <a:pt x="4148" y="5517"/>
                    <a:pt x="4177" y="5532"/>
                  </a:cubicBezTo>
                  <a:cubicBezTo>
                    <a:pt x="4184" y="5532"/>
                    <a:pt x="4184" y="5532"/>
                    <a:pt x="4184" y="5532"/>
                  </a:cubicBezTo>
                  <a:cubicBezTo>
                    <a:pt x="4206" y="5546"/>
                    <a:pt x="4228" y="5568"/>
                    <a:pt x="4243" y="5598"/>
                  </a:cubicBezTo>
                  <a:cubicBezTo>
                    <a:pt x="4258" y="5627"/>
                    <a:pt x="4287" y="5642"/>
                    <a:pt x="4331" y="5642"/>
                  </a:cubicBezTo>
                  <a:cubicBezTo>
                    <a:pt x="4338" y="5642"/>
                    <a:pt x="4346" y="5642"/>
                    <a:pt x="4346" y="5642"/>
                  </a:cubicBezTo>
                  <a:cubicBezTo>
                    <a:pt x="4368" y="5642"/>
                    <a:pt x="4382" y="5656"/>
                    <a:pt x="4390" y="5656"/>
                  </a:cubicBezTo>
                  <a:cubicBezTo>
                    <a:pt x="4390" y="5678"/>
                    <a:pt x="4375" y="5715"/>
                    <a:pt x="4368" y="5730"/>
                  </a:cubicBezTo>
                  <a:cubicBezTo>
                    <a:pt x="4368" y="5737"/>
                    <a:pt x="4368" y="5744"/>
                    <a:pt x="4360" y="5752"/>
                  </a:cubicBezTo>
                  <a:cubicBezTo>
                    <a:pt x="4353" y="5788"/>
                    <a:pt x="4353" y="5869"/>
                    <a:pt x="4390" y="5906"/>
                  </a:cubicBezTo>
                  <a:cubicBezTo>
                    <a:pt x="4397" y="5913"/>
                    <a:pt x="4411" y="5927"/>
                    <a:pt x="4426" y="5935"/>
                  </a:cubicBezTo>
                  <a:cubicBezTo>
                    <a:pt x="4441" y="5949"/>
                    <a:pt x="4463" y="5964"/>
                    <a:pt x="4478" y="5986"/>
                  </a:cubicBezTo>
                  <a:cubicBezTo>
                    <a:pt x="4485" y="6001"/>
                    <a:pt x="4499" y="6008"/>
                    <a:pt x="4514" y="6023"/>
                  </a:cubicBezTo>
                  <a:cubicBezTo>
                    <a:pt x="4536" y="6037"/>
                    <a:pt x="4543" y="6045"/>
                    <a:pt x="4543" y="6052"/>
                  </a:cubicBezTo>
                  <a:cubicBezTo>
                    <a:pt x="4536" y="6081"/>
                    <a:pt x="4543" y="6103"/>
                    <a:pt x="4551" y="6111"/>
                  </a:cubicBezTo>
                  <a:cubicBezTo>
                    <a:pt x="4558" y="6125"/>
                    <a:pt x="4580" y="6133"/>
                    <a:pt x="4609" y="6133"/>
                  </a:cubicBezTo>
                  <a:cubicBezTo>
                    <a:pt x="4624" y="6133"/>
                    <a:pt x="4631" y="6133"/>
                    <a:pt x="4646" y="6133"/>
                  </a:cubicBezTo>
                  <a:cubicBezTo>
                    <a:pt x="4653" y="6133"/>
                    <a:pt x="4661" y="6125"/>
                    <a:pt x="4668" y="6125"/>
                  </a:cubicBezTo>
                  <a:cubicBezTo>
                    <a:pt x="4675" y="6125"/>
                    <a:pt x="4675" y="6125"/>
                    <a:pt x="4683" y="6125"/>
                  </a:cubicBezTo>
                  <a:cubicBezTo>
                    <a:pt x="4683" y="6125"/>
                    <a:pt x="4683" y="6133"/>
                    <a:pt x="4683" y="6140"/>
                  </a:cubicBezTo>
                  <a:cubicBezTo>
                    <a:pt x="4683" y="6147"/>
                    <a:pt x="4683" y="6155"/>
                    <a:pt x="4683" y="6162"/>
                  </a:cubicBezTo>
                  <a:cubicBezTo>
                    <a:pt x="4683" y="6272"/>
                    <a:pt x="4683" y="6272"/>
                    <a:pt x="4683" y="6272"/>
                  </a:cubicBezTo>
                  <a:cubicBezTo>
                    <a:pt x="4741" y="6177"/>
                    <a:pt x="4741" y="6177"/>
                    <a:pt x="4741" y="6177"/>
                  </a:cubicBezTo>
                  <a:cubicBezTo>
                    <a:pt x="4756" y="6147"/>
                    <a:pt x="4771" y="6125"/>
                    <a:pt x="4792" y="6103"/>
                  </a:cubicBezTo>
                  <a:cubicBezTo>
                    <a:pt x="4837" y="6045"/>
                    <a:pt x="4829" y="6001"/>
                    <a:pt x="4822" y="5957"/>
                  </a:cubicBezTo>
                  <a:cubicBezTo>
                    <a:pt x="4815" y="5942"/>
                    <a:pt x="4815" y="5927"/>
                    <a:pt x="4815" y="5913"/>
                  </a:cubicBezTo>
                  <a:cubicBezTo>
                    <a:pt x="4807" y="5862"/>
                    <a:pt x="4792" y="5847"/>
                    <a:pt x="4778" y="5832"/>
                  </a:cubicBezTo>
                  <a:cubicBezTo>
                    <a:pt x="4778" y="5832"/>
                    <a:pt x="4771" y="5825"/>
                    <a:pt x="4771" y="5810"/>
                  </a:cubicBezTo>
                  <a:cubicBezTo>
                    <a:pt x="4771" y="5796"/>
                    <a:pt x="4771" y="5796"/>
                    <a:pt x="4785" y="5788"/>
                  </a:cubicBezTo>
                  <a:cubicBezTo>
                    <a:pt x="4807" y="5774"/>
                    <a:pt x="4829" y="5766"/>
                    <a:pt x="4844" y="5737"/>
                  </a:cubicBezTo>
                  <a:cubicBezTo>
                    <a:pt x="4859" y="5693"/>
                    <a:pt x="4880" y="5686"/>
                    <a:pt x="4932" y="5664"/>
                  </a:cubicBezTo>
                  <a:cubicBezTo>
                    <a:pt x="4947" y="5656"/>
                    <a:pt x="4947" y="5656"/>
                    <a:pt x="4947" y="5656"/>
                  </a:cubicBezTo>
                  <a:cubicBezTo>
                    <a:pt x="5012" y="5620"/>
                    <a:pt x="5020" y="5598"/>
                    <a:pt x="5034" y="5554"/>
                  </a:cubicBezTo>
                  <a:cubicBezTo>
                    <a:pt x="5042" y="5546"/>
                    <a:pt x="5042" y="5532"/>
                    <a:pt x="5049" y="5517"/>
                  </a:cubicBezTo>
                  <a:cubicBezTo>
                    <a:pt x="5049" y="5517"/>
                    <a:pt x="5049" y="5517"/>
                    <a:pt x="5049" y="5510"/>
                  </a:cubicBezTo>
                  <a:cubicBezTo>
                    <a:pt x="5056" y="5517"/>
                    <a:pt x="5056" y="5525"/>
                    <a:pt x="5064" y="5532"/>
                  </a:cubicBezTo>
                  <a:cubicBezTo>
                    <a:pt x="5078" y="5561"/>
                    <a:pt x="5100" y="5598"/>
                    <a:pt x="5166" y="5598"/>
                  </a:cubicBezTo>
                  <a:cubicBezTo>
                    <a:pt x="5181" y="5598"/>
                    <a:pt x="5203" y="5598"/>
                    <a:pt x="5232" y="5590"/>
                  </a:cubicBezTo>
                  <a:cubicBezTo>
                    <a:pt x="5306" y="5568"/>
                    <a:pt x="5320" y="5554"/>
                    <a:pt x="5335" y="5510"/>
                  </a:cubicBezTo>
                  <a:cubicBezTo>
                    <a:pt x="5342" y="5503"/>
                    <a:pt x="5342" y="5495"/>
                    <a:pt x="5349" y="5480"/>
                  </a:cubicBezTo>
                  <a:cubicBezTo>
                    <a:pt x="5379" y="5437"/>
                    <a:pt x="5379" y="5437"/>
                    <a:pt x="5401" y="5422"/>
                  </a:cubicBezTo>
                  <a:cubicBezTo>
                    <a:pt x="5408" y="5415"/>
                    <a:pt x="5416" y="5415"/>
                    <a:pt x="5430" y="5407"/>
                  </a:cubicBezTo>
                  <a:cubicBezTo>
                    <a:pt x="5467" y="5378"/>
                    <a:pt x="5474" y="5363"/>
                    <a:pt x="5467" y="5327"/>
                  </a:cubicBezTo>
                  <a:cubicBezTo>
                    <a:pt x="5459" y="5319"/>
                    <a:pt x="5459" y="5305"/>
                    <a:pt x="5459" y="5283"/>
                  </a:cubicBezTo>
                  <a:cubicBezTo>
                    <a:pt x="5459" y="5253"/>
                    <a:pt x="5467" y="5253"/>
                    <a:pt x="5481" y="5239"/>
                  </a:cubicBezTo>
                  <a:cubicBezTo>
                    <a:pt x="5496" y="5224"/>
                    <a:pt x="5511" y="5209"/>
                    <a:pt x="5525" y="5180"/>
                  </a:cubicBezTo>
                  <a:cubicBezTo>
                    <a:pt x="5540" y="5151"/>
                    <a:pt x="5555" y="5144"/>
                    <a:pt x="5569" y="5129"/>
                  </a:cubicBezTo>
                  <a:cubicBezTo>
                    <a:pt x="5577" y="5121"/>
                    <a:pt x="5591" y="5114"/>
                    <a:pt x="5613" y="5092"/>
                  </a:cubicBezTo>
                  <a:cubicBezTo>
                    <a:pt x="5620" y="5092"/>
                    <a:pt x="5620" y="5085"/>
                    <a:pt x="5628" y="5077"/>
                  </a:cubicBezTo>
                  <a:cubicBezTo>
                    <a:pt x="5642" y="5063"/>
                    <a:pt x="5650" y="5056"/>
                    <a:pt x="5650" y="5041"/>
                  </a:cubicBezTo>
                  <a:cubicBezTo>
                    <a:pt x="5650" y="5026"/>
                    <a:pt x="5635" y="5012"/>
                    <a:pt x="5628" y="5012"/>
                  </a:cubicBezTo>
                  <a:cubicBezTo>
                    <a:pt x="5628" y="5012"/>
                    <a:pt x="5628" y="5004"/>
                    <a:pt x="5620" y="5004"/>
                  </a:cubicBezTo>
                  <a:cubicBezTo>
                    <a:pt x="5599" y="4982"/>
                    <a:pt x="5584" y="4953"/>
                    <a:pt x="5569" y="4880"/>
                  </a:cubicBezTo>
                  <a:cubicBezTo>
                    <a:pt x="5562" y="4858"/>
                    <a:pt x="5562" y="4850"/>
                    <a:pt x="5562" y="4850"/>
                  </a:cubicBezTo>
                  <a:cubicBezTo>
                    <a:pt x="5569" y="4850"/>
                    <a:pt x="5577" y="4850"/>
                    <a:pt x="5577" y="4843"/>
                  </a:cubicBezTo>
                  <a:cubicBezTo>
                    <a:pt x="5591" y="4836"/>
                    <a:pt x="5613" y="4828"/>
                    <a:pt x="5635" y="4806"/>
                  </a:cubicBezTo>
                  <a:cubicBezTo>
                    <a:pt x="5650" y="4799"/>
                    <a:pt x="5665" y="4792"/>
                    <a:pt x="5679" y="4792"/>
                  </a:cubicBezTo>
                  <a:cubicBezTo>
                    <a:pt x="5701" y="4792"/>
                    <a:pt x="5723" y="4799"/>
                    <a:pt x="5752" y="4806"/>
                  </a:cubicBezTo>
                  <a:cubicBezTo>
                    <a:pt x="5774" y="4806"/>
                    <a:pt x="5797" y="4814"/>
                    <a:pt x="5818" y="4814"/>
                  </a:cubicBezTo>
                  <a:lnTo>
                    <a:pt x="5818" y="4814"/>
                  </a:lnTo>
                  <a:cubicBezTo>
                    <a:pt x="5818" y="4828"/>
                    <a:pt x="5818" y="4828"/>
                    <a:pt x="5818" y="4828"/>
                  </a:cubicBezTo>
                  <a:cubicBezTo>
                    <a:pt x="5826" y="4843"/>
                    <a:pt x="5826" y="4843"/>
                    <a:pt x="5826" y="4843"/>
                  </a:cubicBezTo>
                  <a:cubicBezTo>
                    <a:pt x="5833" y="4858"/>
                    <a:pt x="5833" y="4858"/>
                    <a:pt x="5833" y="4858"/>
                  </a:cubicBezTo>
                  <a:cubicBezTo>
                    <a:pt x="5848" y="4858"/>
                    <a:pt x="5848" y="4858"/>
                    <a:pt x="5848" y="4858"/>
                  </a:cubicBezTo>
                  <a:cubicBezTo>
                    <a:pt x="5862" y="4858"/>
                    <a:pt x="5862" y="4858"/>
                    <a:pt x="5862" y="4858"/>
                  </a:cubicBezTo>
                  <a:cubicBezTo>
                    <a:pt x="5877" y="4836"/>
                    <a:pt x="5877" y="4836"/>
                    <a:pt x="5877" y="4836"/>
                  </a:cubicBezTo>
                  <a:lnTo>
                    <a:pt x="5877" y="4836"/>
                  </a:lnTo>
                  <a:cubicBezTo>
                    <a:pt x="5892" y="4814"/>
                    <a:pt x="5914" y="4784"/>
                    <a:pt x="5943" y="4777"/>
                  </a:cubicBezTo>
                  <a:cubicBezTo>
                    <a:pt x="5950" y="4777"/>
                    <a:pt x="5958" y="4777"/>
                    <a:pt x="5958" y="4777"/>
                  </a:cubicBezTo>
                  <a:cubicBezTo>
                    <a:pt x="5980" y="4777"/>
                    <a:pt x="5994" y="4770"/>
                    <a:pt x="6002" y="4748"/>
                  </a:cubicBezTo>
                  <a:cubicBezTo>
                    <a:pt x="6009" y="4726"/>
                    <a:pt x="5994" y="4718"/>
                    <a:pt x="5972" y="4689"/>
                  </a:cubicBezTo>
                  <a:cubicBezTo>
                    <a:pt x="5958" y="4675"/>
                    <a:pt x="5958" y="4675"/>
                    <a:pt x="5958" y="4675"/>
                  </a:cubicBezTo>
                  <a:cubicBezTo>
                    <a:pt x="5958" y="4667"/>
                    <a:pt x="5972" y="4660"/>
                    <a:pt x="5980" y="4645"/>
                  </a:cubicBezTo>
                  <a:cubicBezTo>
                    <a:pt x="5980" y="4638"/>
                    <a:pt x="5987" y="4630"/>
                    <a:pt x="5994" y="4623"/>
                  </a:cubicBezTo>
                  <a:cubicBezTo>
                    <a:pt x="6009" y="4608"/>
                    <a:pt x="6016" y="4601"/>
                    <a:pt x="6031" y="4594"/>
                  </a:cubicBezTo>
                  <a:cubicBezTo>
                    <a:pt x="6046" y="4579"/>
                    <a:pt x="6068" y="4565"/>
                    <a:pt x="6082" y="4529"/>
                  </a:cubicBezTo>
                  <a:cubicBezTo>
                    <a:pt x="6111" y="4470"/>
                    <a:pt x="6119" y="4456"/>
                    <a:pt x="6090" y="4404"/>
                  </a:cubicBezTo>
                  <a:cubicBezTo>
                    <a:pt x="6075" y="4375"/>
                    <a:pt x="6068" y="4353"/>
                    <a:pt x="6053" y="4287"/>
                  </a:cubicBezTo>
                  <a:cubicBezTo>
                    <a:pt x="6046" y="4272"/>
                    <a:pt x="6046" y="4258"/>
                    <a:pt x="6046" y="4243"/>
                  </a:cubicBezTo>
                  <a:cubicBezTo>
                    <a:pt x="6038" y="4214"/>
                    <a:pt x="6038" y="4177"/>
                    <a:pt x="5980" y="4177"/>
                  </a:cubicBezTo>
                  <a:cubicBezTo>
                    <a:pt x="5980" y="4177"/>
                    <a:pt x="5972" y="4177"/>
                    <a:pt x="5958" y="4177"/>
                  </a:cubicBezTo>
                  <a:cubicBezTo>
                    <a:pt x="5899" y="4185"/>
                    <a:pt x="5855" y="4206"/>
                    <a:pt x="5811" y="4243"/>
                  </a:cubicBezTo>
                  <a:cubicBezTo>
                    <a:pt x="5789" y="4258"/>
                    <a:pt x="5767" y="4272"/>
                    <a:pt x="5752" y="4272"/>
                  </a:cubicBezTo>
                  <a:cubicBezTo>
                    <a:pt x="5745" y="4272"/>
                    <a:pt x="5745" y="4272"/>
                    <a:pt x="5738" y="4265"/>
                  </a:cubicBezTo>
                  <a:cubicBezTo>
                    <a:pt x="5723" y="4258"/>
                    <a:pt x="5723" y="4258"/>
                    <a:pt x="5723" y="4243"/>
                  </a:cubicBezTo>
                  <a:cubicBezTo>
                    <a:pt x="5716" y="4228"/>
                    <a:pt x="5709" y="4214"/>
                    <a:pt x="5694" y="4192"/>
                  </a:cubicBezTo>
                  <a:cubicBezTo>
                    <a:pt x="5679" y="4177"/>
                    <a:pt x="5679" y="4177"/>
                    <a:pt x="5709" y="4133"/>
                  </a:cubicBezTo>
                  <a:cubicBezTo>
                    <a:pt x="5716" y="4119"/>
                    <a:pt x="5730" y="4104"/>
                    <a:pt x="5745" y="4075"/>
                  </a:cubicBezTo>
                  <a:cubicBezTo>
                    <a:pt x="5774" y="4023"/>
                    <a:pt x="5782" y="4016"/>
                    <a:pt x="5818" y="3994"/>
                  </a:cubicBezTo>
                  <a:cubicBezTo>
                    <a:pt x="5826" y="3987"/>
                    <a:pt x="5840" y="3979"/>
                    <a:pt x="5855" y="3965"/>
                  </a:cubicBezTo>
                  <a:cubicBezTo>
                    <a:pt x="5892" y="3943"/>
                    <a:pt x="5906" y="3921"/>
                    <a:pt x="5914" y="3906"/>
                  </a:cubicBezTo>
                  <a:cubicBezTo>
                    <a:pt x="5914" y="3906"/>
                    <a:pt x="5914" y="3899"/>
                    <a:pt x="5921" y="3899"/>
                  </a:cubicBezTo>
                  <a:lnTo>
                    <a:pt x="5921" y="3899"/>
                  </a:lnTo>
                  <a:cubicBezTo>
                    <a:pt x="5921" y="3899"/>
                    <a:pt x="5921" y="3899"/>
                    <a:pt x="5928" y="3899"/>
                  </a:cubicBezTo>
                  <a:cubicBezTo>
                    <a:pt x="5943" y="3899"/>
                    <a:pt x="5950" y="3899"/>
                    <a:pt x="5965" y="3899"/>
                  </a:cubicBezTo>
                  <a:cubicBezTo>
                    <a:pt x="5972" y="3899"/>
                    <a:pt x="5987" y="3899"/>
                    <a:pt x="5994" y="3899"/>
                  </a:cubicBezTo>
                  <a:cubicBezTo>
                    <a:pt x="6024" y="3899"/>
                    <a:pt x="6060" y="3899"/>
                    <a:pt x="6097" y="3862"/>
                  </a:cubicBezTo>
                  <a:cubicBezTo>
                    <a:pt x="6119" y="3840"/>
                    <a:pt x="6133" y="3840"/>
                    <a:pt x="6141" y="3840"/>
                  </a:cubicBezTo>
                  <a:cubicBezTo>
                    <a:pt x="6156" y="3840"/>
                    <a:pt x="6178" y="3847"/>
                    <a:pt x="6192" y="3862"/>
                  </a:cubicBezTo>
                  <a:cubicBezTo>
                    <a:pt x="6214" y="3869"/>
                    <a:pt x="6236" y="3877"/>
                    <a:pt x="6258" y="3877"/>
                  </a:cubicBezTo>
                  <a:cubicBezTo>
                    <a:pt x="6302" y="3877"/>
                    <a:pt x="6339" y="3862"/>
                    <a:pt x="6383" y="3855"/>
                  </a:cubicBezTo>
                  <a:cubicBezTo>
                    <a:pt x="6405" y="3847"/>
                    <a:pt x="6419" y="3840"/>
                    <a:pt x="6441" y="3840"/>
                  </a:cubicBezTo>
                  <a:cubicBezTo>
                    <a:pt x="6478" y="3833"/>
                    <a:pt x="6500" y="3811"/>
                    <a:pt x="6515" y="3789"/>
                  </a:cubicBezTo>
                  <a:cubicBezTo>
                    <a:pt x="6529" y="3752"/>
                    <a:pt x="6515" y="3716"/>
                    <a:pt x="6500" y="3694"/>
                  </a:cubicBezTo>
                  <a:cubicBezTo>
                    <a:pt x="6492" y="3671"/>
                    <a:pt x="6471" y="3650"/>
                    <a:pt x="6449" y="3635"/>
                  </a:cubicBezTo>
                  <a:cubicBezTo>
                    <a:pt x="6427" y="3620"/>
                    <a:pt x="6405" y="3606"/>
                    <a:pt x="6390" y="3584"/>
                  </a:cubicBezTo>
                  <a:cubicBezTo>
                    <a:pt x="6383" y="3584"/>
                    <a:pt x="6383" y="3584"/>
                    <a:pt x="6383" y="3584"/>
                  </a:cubicBezTo>
                  <a:cubicBezTo>
                    <a:pt x="6368" y="3569"/>
                    <a:pt x="6353" y="3547"/>
                    <a:pt x="6353" y="3540"/>
                  </a:cubicBezTo>
                  <a:cubicBezTo>
                    <a:pt x="6353" y="3540"/>
                    <a:pt x="6361" y="3532"/>
                    <a:pt x="6383" y="3518"/>
                  </a:cubicBezTo>
                  <a:cubicBezTo>
                    <a:pt x="6419" y="3488"/>
                    <a:pt x="6478" y="3466"/>
                    <a:pt x="6529" y="3452"/>
                  </a:cubicBezTo>
                  <a:cubicBezTo>
                    <a:pt x="6551" y="3445"/>
                    <a:pt x="6573" y="3437"/>
                    <a:pt x="6588" y="3430"/>
                  </a:cubicBezTo>
                  <a:cubicBezTo>
                    <a:pt x="6595" y="3422"/>
                    <a:pt x="6595" y="3422"/>
                    <a:pt x="6602" y="3422"/>
                  </a:cubicBezTo>
                  <a:cubicBezTo>
                    <a:pt x="6617" y="3422"/>
                    <a:pt x="6632" y="3437"/>
                    <a:pt x="6654" y="3452"/>
                  </a:cubicBezTo>
                  <a:cubicBezTo>
                    <a:pt x="6668" y="3466"/>
                    <a:pt x="6690" y="3481"/>
                    <a:pt x="6712" y="3488"/>
                  </a:cubicBezTo>
                  <a:cubicBezTo>
                    <a:pt x="6727" y="3496"/>
                    <a:pt x="6749" y="3503"/>
                    <a:pt x="6749" y="3503"/>
                  </a:cubicBezTo>
                  <a:cubicBezTo>
                    <a:pt x="6749" y="3503"/>
                    <a:pt x="6749" y="3510"/>
                    <a:pt x="6742" y="3525"/>
                  </a:cubicBezTo>
                  <a:cubicBezTo>
                    <a:pt x="6727" y="3554"/>
                    <a:pt x="6727" y="3591"/>
                    <a:pt x="6749" y="3620"/>
                  </a:cubicBezTo>
                  <a:cubicBezTo>
                    <a:pt x="6764" y="3657"/>
                    <a:pt x="6808" y="3679"/>
                    <a:pt x="6852" y="3686"/>
                  </a:cubicBezTo>
                  <a:cubicBezTo>
                    <a:pt x="6859" y="3686"/>
                    <a:pt x="6866" y="3686"/>
                    <a:pt x="6866" y="3686"/>
                  </a:cubicBezTo>
                  <a:cubicBezTo>
                    <a:pt x="6932" y="3686"/>
                    <a:pt x="6961" y="3650"/>
                    <a:pt x="6991" y="3613"/>
                  </a:cubicBezTo>
                  <a:cubicBezTo>
                    <a:pt x="6998" y="3606"/>
                    <a:pt x="7013" y="3591"/>
                    <a:pt x="7020" y="3584"/>
                  </a:cubicBezTo>
                  <a:cubicBezTo>
                    <a:pt x="7049" y="3562"/>
                    <a:pt x="7115" y="3496"/>
                    <a:pt x="7225" y="3386"/>
                  </a:cubicBezTo>
                  <a:cubicBezTo>
                    <a:pt x="7277" y="3342"/>
                    <a:pt x="7321" y="3247"/>
                    <a:pt x="7342" y="3203"/>
                  </a:cubicBezTo>
                  <a:cubicBezTo>
                    <a:pt x="7372" y="3144"/>
                    <a:pt x="7328" y="3122"/>
                    <a:pt x="7313" y="3115"/>
                  </a:cubicBezTo>
                  <a:cubicBezTo>
                    <a:pt x="7313" y="3115"/>
                    <a:pt x="7306" y="3115"/>
                    <a:pt x="7306" y="3107"/>
                  </a:cubicBezTo>
                  <a:cubicBezTo>
                    <a:pt x="7306" y="3093"/>
                    <a:pt x="7342" y="3078"/>
                    <a:pt x="7387" y="3078"/>
                  </a:cubicBezTo>
                  <a:cubicBezTo>
                    <a:pt x="7460" y="3078"/>
                    <a:pt x="7504" y="3012"/>
                    <a:pt x="7504" y="3005"/>
                  </a:cubicBezTo>
                  <a:cubicBezTo>
                    <a:pt x="7518" y="2983"/>
                    <a:pt x="7518" y="2983"/>
                    <a:pt x="7518" y="2983"/>
                  </a:cubicBezTo>
                  <a:cubicBezTo>
                    <a:pt x="7548" y="2954"/>
                    <a:pt x="7548" y="2954"/>
                    <a:pt x="7548" y="2954"/>
                  </a:cubicBezTo>
                  <a:cubicBezTo>
                    <a:pt x="7533" y="2961"/>
                    <a:pt x="7533" y="2961"/>
                    <a:pt x="7533" y="2961"/>
                  </a:cubicBezTo>
                  <a:cubicBezTo>
                    <a:pt x="7533" y="2954"/>
                    <a:pt x="7533" y="2954"/>
                    <a:pt x="7533" y="2954"/>
                  </a:cubicBezTo>
                  <a:cubicBezTo>
                    <a:pt x="7474" y="2961"/>
                    <a:pt x="7474" y="2961"/>
                    <a:pt x="7474" y="2961"/>
                  </a:cubicBezTo>
                  <a:cubicBezTo>
                    <a:pt x="7474" y="2961"/>
                    <a:pt x="7467" y="2961"/>
                    <a:pt x="7452" y="2961"/>
                  </a:cubicBezTo>
                  <a:cubicBezTo>
                    <a:pt x="7452" y="2961"/>
                    <a:pt x="7445" y="2968"/>
                    <a:pt x="7438" y="2968"/>
                  </a:cubicBezTo>
                  <a:cubicBezTo>
                    <a:pt x="7423" y="2968"/>
                    <a:pt x="7394" y="2961"/>
                    <a:pt x="7372" y="2946"/>
                  </a:cubicBezTo>
                  <a:cubicBezTo>
                    <a:pt x="7364" y="2939"/>
                    <a:pt x="7357" y="2931"/>
                    <a:pt x="7357" y="2931"/>
                  </a:cubicBezTo>
                  <a:cubicBezTo>
                    <a:pt x="7357" y="2924"/>
                    <a:pt x="7379" y="2902"/>
                    <a:pt x="7394" y="2888"/>
                  </a:cubicBezTo>
                  <a:cubicBezTo>
                    <a:pt x="7401" y="2880"/>
                    <a:pt x="7409" y="2873"/>
                    <a:pt x="7416" y="2866"/>
                  </a:cubicBezTo>
                  <a:cubicBezTo>
                    <a:pt x="7452" y="2829"/>
                    <a:pt x="7438" y="2778"/>
                    <a:pt x="7423" y="2748"/>
                  </a:cubicBezTo>
                  <a:cubicBezTo>
                    <a:pt x="7416" y="2734"/>
                    <a:pt x="7409" y="2712"/>
                    <a:pt x="7409" y="2697"/>
                  </a:cubicBezTo>
                  <a:cubicBezTo>
                    <a:pt x="7394" y="2638"/>
                    <a:pt x="7401" y="2624"/>
                    <a:pt x="7416" y="2609"/>
                  </a:cubicBezTo>
                  <a:cubicBezTo>
                    <a:pt x="7460" y="2580"/>
                    <a:pt x="7511" y="2528"/>
                    <a:pt x="7511" y="2462"/>
                  </a:cubicBezTo>
                  <a:cubicBezTo>
                    <a:pt x="7511" y="2433"/>
                    <a:pt x="7489" y="2411"/>
                    <a:pt x="7482" y="2404"/>
                  </a:cubicBezTo>
                  <a:cubicBezTo>
                    <a:pt x="7482" y="2404"/>
                    <a:pt x="7482" y="2397"/>
                    <a:pt x="7489" y="2397"/>
                  </a:cubicBezTo>
                  <a:cubicBezTo>
                    <a:pt x="7511" y="2360"/>
                    <a:pt x="7533" y="2301"/>
                    <a:pt x="7511" y="2265"/>
                  </a:cubicBezTo>
                  <a:cubicBezTo>
                    <a:pt x="7504" y="2250"/>
                    <a:pt x="7482" y="2228"/>
                    <a:pt x="7438" y="2228"/>
                  </a:cubicBezTo>
                  <a:cubicBezTo>
                    <a:pt x="7430" y="2228"/>
                    <a:pt x="7430" y="2228"/>
                    <a:pt x="7423" y="2228"/>
                  </a:cubicBezTo>
                  <a:cubicBezTo>
                    <a:pt x="7401" y="2235"/>
                    <a:pt x="7387" y="2235"/>
                    <a:pt x="7364" y="2235"/>
                  </a:cubicBezTo>
                  <a:cubicBezTo>
                    <a:pt x="7313" y="2235"/>
                    <a:pt x="7313" y="2221"/>
                    <a:pt x="7313" y="2199"/>
                  </a:cubicBezTo>
                  <a:cubicBezTo>
                    <a:pt x="7313" y="2059"/>
                    <a:pt x="7247" y="2045"/>
                    <a:pt x="7225" y="2045"/>
                  </a:cubicBezTo>
                  <a:cubicBezTo>
                    <a:pt x="7203" y="2045"/>
                    <a:pt x="7181" y="2008"/>
                    <a:pt x="7181" y="1964"/>
                  </a:cubicBezTo>
                  <a:cubicBezTo>
                    <a:pt x="7181" y="1898"/>
                    <a:pt x="7145" y="1854"/>
                    <a:pt x="7086" y="1854"/>
                  </a:cubicBezTo>
                  <a:cubicBezTo>
                    <a:pt x="7064" y="1854"/>
                    <a:pt x="7042" y="1862"/>
                    <a:pt x="7020" y="1876"/>
                  </a:cubicBezTo>
                  <a:cubicBezTo>
                    <a:pt x="7006" y="1884"/>
                    <a:pt x="6998" y="1891"/>
                    <a:pt x="6991" y="1891"/>
                  </a:cubicBezTo>
                  <a:cubicBezTo>
                    <a:pt x="6983" y="1891"/>
                    <a:pt x="6983" y="1884"/>
                    <a:pt x="6976" y="1884"/>
                  </a:cubicBezTo>
                  <a:cubicBezTo>
                    <a:pt x="6969" y="1869"/>
                    <a:pt x="6969" y="1862"/>
                    <a:pt x="6976" y="1854"/>
                  </a:cubicBezTo>
                  <a:cubicBezTo>
                    <a:pt x="7006" y="1796"/>
                    <a:pt x="6998" y="1722"/>
                    <a:pt x="6991" y="1678"/>
                  </a:cubicBezTo>
                  <a:cubicBezTo>
                    <a:pt x="6983" y="1627"/>
                    <a:pt x="6969" y="1539"/>
                    <a:pt x="6969" y="1532"/>
                  </a:cubicBezTo>
                  <a:cubicBezTo>
                    <a:pt x="6969" y="1517"/>
                    <a:pt x="6969" y="1517"/>
                    <a:pt x="6969" y="1517"/>
                  </a:cubicBezTo>
                  <a:cubicBezTo>
                    <a:pt x="6954" y="1510"/>
                    <a:pt x="6954" y="1510"/>
                    <a:pt x="6954" y="1510"/>
                  </a:cubicBezTo>
                  <a:cubicBezTo>
                    <a:pt x="6932" y="1495"/>
                    <a:pt x="6903" y="1473"/>
                    <a:pt x="6903" y="1459"/>
                  </a:cubicBezTo>
                  <a:cubicBezTo>
                    <a:pt x="6903" y="1459"/>
                    <a:pt x="6903" y="1444"/>
                    <a:pt x="6903" y="1437"/>
                  </a:cubicBezTo>
                  <a:cubicBezTo>
                    <a:pt x="6910" y="1415"/>
                    <a:pt x="6918" y="1393"/>
                    <a:pt x="6903" y="1356"/>
                  </a:cubicBezTo>
                  <a:cubicBezTo>
                    <a:pt x="6881" y="1305"/>
                    <a:pt x="6815" y="1305"/>
                    <a:pt x="6778" y="1305"/>
                  </a:cubicBezTo>
                  <a:cubicBezTo>
                    <a:pt x="6771" y="1305"/>
                    <a:pt x="6756" y="1305"/>
                    <a:pt x="6749" y="1305"/>
                  </a:cubicBezTo>
                  <a:cubicBezTo>
                    <a:pt x="6734" y="1305"/>
                    <a:pt x="6727" y="1305"/>
                    <a:pt x="6712" y="1305"/>
                  </a:cubicBezTo>
                  <a:cubicBezTo>
                    <a:pt x="6661" y="1305"/>
                    <a:pt x="6632" y="1290"/>
                    <a:pt x="6624" y="1276"/>
                  </a:cubicBezTo>
                  <a:cubicBezTo>
                    <a:pt x="6617" y="1253"/>
                    <a:pt x="6617" y="1217"/>
                    <a:pt x="6632" y="1209"/>
                  </a:cubicBezTo>
                  <a:cubicBezTo>
                    <a:pt x="6661" y="1195"/>
                    <a:pt x="6698" y="1158"/>
                    <a:pt x="6683" y="1100"/>
                  </a:cubicBezTo>
                  <a:cubicBezTo>
                    <a:pt x="6683" y="1092"/>
                    <a:pt x="6698" y="1085"/>
                    <a:pt x="6705" y="1085"/>
                  </a:cubicBezTo>
                  <a:cubicBezTo>
                    <a:pt x="6712" y="1078"/>
                    <a:pt x="6727" y="1070"/>
                    <a:pt x="6742" y="1063"/>
                  </a:cubicBezTo>
                  <a:cubicBezTo>
                    <a:pt x="6764" y="1048"/>
                    <a:pt x="6764" y="1026"/>
                    <a:pt x="6756" y="1019"/>
                  </a:cubicBezTo>
                  <a:cubicBezTo>
                    <a:pt x="6756" y="990"/>
                    <a:pt x="6720" y="975"/>
                    <a:pt x="6676" y="953"/>
                  </a:cubicBezTo>
                  <a:cubicBezTo>
                    <a:pt x="6661" y="953"/>
                    <a:pt x="6654" y="946"/>
                    <a:pt x="6639" y="938"/>
                  </a:cubicBezTo>
                  <a:cubicBezTo>
                    <a:pt x="6610" y="931"/>
                    <a:pt x="6602" y="909"/>
                    <a:pt x="6588" y="887"/>
                  </a:cubicBezTo>
                  <a:cubicBezTo>
                    <a:pt x="6580" y="872"/>
                    <a:pt x="6573" y="858"/>
                    <a:pt x="6559" y="843"/>
                  </a:cubicBezTo>
                  <a:cubicBezTo>
                    <a:pt x="6544" y="836"/>
                    <a:pt x="6551" y="821"/>
                    <a:pt x="6573" y="777"/>
                  </a:cubicBezTo>
                  <a:cubicBezTo>
                    <a:pt x="6573" y="770"/>
                    <a:pt x="6580" y="755"/>
                    <a:pt x="6588" y="740"/>
                  </a:cubicBezTo>
                  <a:cubicBezTo>
                    <a:pt x="6602" y="697"/>
                    <a:pt x="6624" y="689"/>
                    <a:pt x="6690" y="682"/>
                  </a:cubicBezTo>
                  <a:cubicBezTo>
                    <a:pt x="6756" y="675"/>
                    <a:pt x="6778" y="609"/>
                    <a:pt x="6800" y="557"/>
                  </a:cubicBezTo>
                  <a:cubicBezTo>
                    <a:pt x="6815" y="535"/>
                    <a:pt x="6822" y="513"/>
                    <a:pt x="6830" y="506"/>
                  </a:cubicBezTo>
                  <a:cubicBezTo>
                    <a:pt x="6852" y="469"/>
                    <a:pt x="6866" y="440"/>
                    <a:pt x="6859" y="411"/>
                  </a:cubicBezTo>
                  <a:cubicBezTo>
                    <a:pt x="6859" y="389"/>
                    <a:pt x="6844" y="367"/>
                    <a:pt x="6815" y="345"/>
                  </a:cubicBezTo>
                  <a:cubicBezTo>
                    <a:pt x="6800" y="338"/>
                    <a:pt x="6793" y="330"/>
                    <a:pt x="6793" y="316"/>
                  </a:cubicBezTo>
                  <a:cubicBezTo>
                    <a:pt x="6793" y="308"/>
                    <a:pt x="6793" y="301"/>
                    <a:pt x="6808" y="294"/>
                  </a:cubicBezTo>
                  <a:cubicBezTo>
                    <a:pt x="6844" y="271"/>
                    <a:pt x="6866" y="242"/>
                    <a:pt x="6873" y="213"/>
                  </a:cubicBezTo>
                  <a:cubicBezTo>
                    <a:pt x="6873" y="191"/>
                    <a:pt x="6873" y="169"/>
                    <a:pt x="6844" y="140"/>
                  </a:cubicBezTo>
                  <a:cubicBezTo>
                    <a:pt x="6822" y="118"/>
                    <a:pt x="6793" y="103"/>
                    <a:pt x="6764" y="103"/>
                  </a:cubicBezTo>
                  <a:cubicBezTo>
                    <a:pt x="6742" y="103"/>
                    <a:pt x="6720" y="110"/>
                    <a:pt x="6705" y="118"/>
                  </a:cubicBezTo>
                  <a:cubicBezTo>
                    <a:pt x="6690" y="118"/>
                    <a:pt x="6683" y="118"/>
                    <a:pt x="6676" y="125"/>
                  </a:cubicBezTo>
                  <a:cubicBezTo>
                    <a:pt x="6602" y="132"/>
                    <a:pt x="6580" y="191"/>
                    <a:pt x="6559" y="250"/>
                  </a:cubicBezTo>
                  <a:cubicBezTo>
                    <a:pt x="6544" y="279"/>
                    <a:pt x="6529" y="294"/>
                    <a:pt x="6515" y="308"/>
                  </a:cubicBezTo>
                  <a:cubicBezTo>
                    <a:pt x="6500" y="330"/>
                    <a:pt x="6478" y="359"/>
                    <a:pt x="6471" y="403"/>
                  </a:cubicBezTo>
                  <a:cubicBezTo>
                    <a:pt x="6471" y="418"/>
                    <a:pt x="6434" y="426"/>
                    <a:pt x="6383" y="433"/>
                  </a:cubicBezTo>
                  <a:cubicBezTo>
                    <a:pt x="6353" y="440"/>
                    <a:pt x="6309" y="440"/>
                    <a:pt x="6280" y="455"/>
                  </a:cubicBezTo>
                  <a:cubicBezTo>
                    <a:pt x="6265" y="462"/>
                    <a:pt x="6236" y="469"/>
                    <a:pt x="6207" y="469"/>
                  </a:cubicBezTo>
                  <a:cubicBezTo>
                    <a:pt x="6133" y="469"/>
                    <a:pt x="6053" y="447"/>
                    <a:pt x="6031" y="440"/>
                  </a:cubicBezTo>
                  <a:cubicBezTo>
                    <a:pt x="6016" y="433"/>
                    <a:pt x="6009" y="426"/>
                    <a:pt x="6002" y="418"/>
                  </a:cubicBezTo>
                  <a:cubicBezTo>
                    <a:pt x="6002" y="403"/>
                    <a:pt x="6009" y="381"/>
                    <a:pt x="6016" y="367"/>
                  </a:cubicBezTo>
                  <a:cubicBezTo>
                    <a:pt x="6038" y="323"/>
                    <a:pt x="6031" y="235"/>
                    <a:pt x="5987" y="176"/>
                  </a:cubicBezTo>
                  <a:cubicBezTo>
                    <a:pt x="5980" y="162"/>
                    <a:pt x="5980" y="147"/>
                    <a:pt x="5980" y="125"/>
                  </a:cubicBezTo>
                  <a:cubicBezTo>
                    <a:pt x="5972" y="96"/>
                    <a:pt x="5972" y="59"/>
                    <a:pt x="5943" y="37"/>
                  </a:cubicBezTo>
                  <a:cubicBezTo>
                    <a:pt x="5921" y="22"/>
                    <a:pt x="5899" y="0"/>
                    <a:pt x="5862" y="0"/>
                  </a:cubicBezTo>
                  <a:lnTo>
                    <a:pt x="5862" y="30"/>
                  </a:ln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35" name="Freeform 19"/>
            <p:cNvSpPr>
              <a:spLocks noChangeArrowheads="1"/>
            </p:cNvSpPr>
            <p:nvPr/>
          </p:nvSpPr>
          <p:spPr bwMode="auto">
            <a:xfrm>
              <a:off x="7630936" y="4383699"/>
              <a:ext cx="2852588" cy="2772337"/>
            </a:xfrm>
            <a:custGeom>
              <a:avLst/>
              <a:gdLst>
                <a:gd name="T0" fmla="*/ 1619489 w 7423"/>
                <a:gd name="T1" fmla="*/ 2383597 h 7300"/>
                <a:gd name="T2" fmla="*/ 1533549 w 7423"/>
                <a:gd name="T3" fmla="*/ 2339964 h 7300"/>
                <a:gd name="T4" fmla="*/ 1433230 w 7423"/>
                <a:gd name="T5" fmla="*/ 2407727 h 7300"/>
                <a:gd name="T6" fmla="*/ 1381732 w 7423"/>
                <a:gd name="T7" fmla="*/ 2291374 h 7300"/>
                <a:gd name="T8" fmla="*/ 1374376 w 7423"/>
                <a:gd name="T9" fmla="*/ 2221297 h 7300"/>
                <a:gd name="T10" fmla="*/ 1313181 w 7423"/>
                <a:gd name="T11" fmla="*/ 2165434 h 7300"/>
                <a:gd name="T12" fmla="*/ 1354981 w 7423"/>
                <a:gd name="T13" fmla="*/ 2070897 h 7300"/>
                <a:gd name="T14" fmla="*/ 1320538 w 7423"/>
                <a:gd name="T15" fmla="*/ 1879839 h 7300"/>
                <a:gd name="T16" fmla="*/ 1246970 w 7423"/>
                <a:gd name="T17" fmla="*/ 1848106 h 7300"/>
                <a:gd name="T18" fmla="*/ 1112208 w 7423"/>
                <a:gd name="T19" fmla="*/ 1787615 h 7300"/>
                <a:gd name="T20" fmla="*/ 1026602 w 7423"/>
                <a:gd name="T21" fmla="*/ 1761171 h 7300"/>
                <a:gd name="T22" fmla="*/ 928623 w 7423"/>
                <a:gd name="T23" fmla="*/ 1787615 h 7300"/>
                <a:gd name="T24" fmla="*/ 837667 w 7423"/>
                <a:gd name="T25" fmla="*/ 1746296 h 7300"/>
                <a:gd name="T26" fmla="*/ 685850 w 7423"/>
                <a:gd name="T27" fmla="*/ 1598871 h 7300"/>
                <a:gd name="T28" fmla="*/ 698223 w 7423"/>
                <a:gd name="T29" fmla="*/ 1451115 h 7300"/>
                <a:gd name="T30" fmla="*/ 732332 w 7423"/>
                <a:gd name="T31" fmla="*/ 1237910 h 7300"/>
                <a:gd name="T32" fmla="*/ 673477 w 7423"/>
                <a:gd name="T33" fmla="*/ 1203864 h 7300"/>
                <a:gd name="T34" fmla="*/ 617299 w 7423"/>
                <a:gd name="T35" fmla="*/ 1174775 h 7300"/>
                <a:gd name="T36" fmla="*/ 651742 w 7423"/>
                <a:gd name="T37" fmla="*/ 1000575 h 7300"/>
                <a:gd name="T38" fmla="*/ 624655 w 7423"/>
                <a:gd name="T39" fmla="*/ 813814 h 7300"/>
                <a:gd name="T40" fmla="*/ 565801 w 7423"/>
                <a:gd name="T41" fmla="*/ 811501 h 7300"/>
                <a:gd name="T42" fmla="*/ 413985 w 7423"/>
                <a:gd name="T43" fmla="*/ 789684 h 7300"/>
                <a:gd name="T44" fmla="*/ 340417 w 7423"/>
                <a:gd name="T45" fmla="*/ 707377 h 7300"/>
                <a:gd name="T46" fmla="*/ 247454 w 7423"/>
                <a:gd name="T47" fmla="*/ 671017 h 7300"/>
                <a:gd name="T48" fmla="*/ 188600 w 7423"/>
                <a:gd name="T49" fmla="*/ 644573 h 7300"/>
                <a:gd name="T50" fmla="*/ 29427 w 7423"/>
                <a:gd name="T51" fmla="*/ 612840 h 7300"/>
                <a:gd name="T52" fmla="*/ 85606 w 7423"/>
                <a:gd name="T53" fmla="*/ 547391 h 7300"/>
                <a:gd name="T54" fmla="*/ 183584 w 7423"/>
                <a:gd name="T55" fmla="*/ 499131 h 7300"/>
                <a:gd name="T56" fmla="*/ 325704 w 7423"/>
                <a:gd name="T57" fmla="*/ 431368 h 7300"/>
                <a:gd name="T58" fmla="*/ 431039 w 7423"/>
                <a:gd name="T59" fmla="*/ 360961 h 7300"/>
                <a:gd name="T60" fmla="*/ 492234 w 7423"/>
                <a:gd name="T61" fmla="*/ 300470 h 7300"/>
                <a:gd name="T62" fmla="*/ 573158 w 7423"/>
                <a:gd name="T63" fmla="*/ 285926 h 7300"/>
                <a:gd name="T64" fmla="*/ 757077 w 7423"/>
                <a:gd name="T65" fmla="*/ 346417 h 7300"/>
                <a:gd name="T66" fmla="*/ 864753 w 7423"/>
                <a:gd name="T67" fmla="*/ 370547 h 7300"/>
                <a:gd name="T68" fmla="*/ 945677 w 7423"/>
                <a:gd name="T69" fmla="*/ 404593 h 7300"/>
                <a:gd name="T70" fmla="*/ 1019245 w 7423"/>
                <a:gd name="T71" fmla="*/ 440954 h 7300"/>
                <a:gd name="T72" fmla="*/ 1131937 w 7423"/>
                <a:gd name="T73" fmla="*/ 419138 h 7300"/>
                <a:gd name="T74" fmla="*/ 1188116 w 7423"/>
                <a:gd name="T75" fmla="*/ 419138 h 7300"/>
                <a:gd name="T76" fmla="*/ 1288770 w 7423"/>
                <a:gd name="T77" fmla="*/ 382777 h 7300"/>
                <a:gd name="T78" fmla="*/ 1394105 w 7423"/>
                <a:gd name="T79" fmla="*/ 339144 h 7300"/>
                <a:gd name="T80" fmla="*/ 1460316 w 7423"/>
                <a:gd name="T81" fmla="*/ 295512 h 7300"/>
                <a:gd name="T82" fmla="*/ 1536224 w 7423"/>
                <a:gd name="T83" fmla="*/ 155028 h 7300"/>
                <a:gd name="T84" fmla="*/ 1651257 w 7423"/>
                <a:gd name="T85" fmla="*/ 65449 h 7300"/>
                <a:gd name="T86" fmla="*/ 1722484 w 7423"/>
                <a:gd name="T87" fmla="*/ 65449 h 7300"/>
                <a:gd name="T88" fmla="*/ 1805749 w 7423"/>
                <a:gd name="T89" fmla="*/ 116354 h 7300"/>
                <a:gd name="T90" fmla="*/ 1889014 w 7423"/>
                <a:gd name="T91" fmla="*/ 109082 h 7300"/>
                <a:gd name="T92" fmla="*/ 1967263 w 7423"/>
                <a:gd name="T93" fmla="*/ 164945 h 7300"/>
                <a:gd name="T94" fmla="*/ 1972279 w 7423"/>
                <a:gd name="T95" fmla="*/ 307742 h 7300"/>
                <a:gd name="T96" fmla="*/ 2082630 w 7423"/>
                <a:gd name="T97" fmla="*/ 220477 h 7300"/>
                <a:gd name="T98" fmla="*/ 2033474 w 7423"/>
                <a:gd name="T99" fmla="*/ 571852 h 7300"/>
                <a:gd name="T100" fmla="*/ 1989668 w 7423"/>
                <a:gd name="T101" fmla="*/ 780098 h 7300"/>
                <a:gd name="T102" fmla="*/ 2153523 w 7423"/>
                <a:gd name="T103" fmla="*/ 930168 h 7300"/>
                <a:gd name="T104" fmla="*/ 2285944 w 7423"/>
                <a:gd name="T105" fmla="*/ 1167503 h 7300"/>
                <a:gd name="T106" fmla="*/ 2344798 w 7423"/>
                <a:gd name="T107" fmla="*/ 1375750 h 7300"/>
                <a:gd name="T108" fmla="*/ 2386264 w 7423"/>
                <a:gd name="T109" fmla="*/ 1463015 h 7300"/>
                <a:gd name="T110" fmla="*/ 2408334 w 7423"/>
                <a:gd name="T111" fmla="*/ 1722166 h 7300"/>
                <a:gd name="T112" fmla="*/ 2462507 w 7423"/>
                <a:gd name="T113" fmla="*/ 2024950 h 7300"/>
                <a:gd name="T114" fmla="*/ 2396296 w 7423"/>
                <a:gd name="T115" fmla="*/ 2165434 h 7300"/>
                <a:gd name="T116" fmla="*/ 2310355 w 7423"/>
                <a:gd name="T117" fmla="*/ 2155848 h 7300"/>
                <a:gd name="T118" fmla="*/ 2180609 w 7423"/>
                <a:gd name="T119" fmla="*/ 2225925 h 7300"/>
                <a:gd name="T120" fmla="*/ 2087646 w 7423"/>
                <a:gd name="T121" fmla="*/ 2189564 h 7300"/>
                <a:gd name="T122" fmla="*/ 1996690 w 7423"/>
                <a:gd name="T123" fmla="*/ 2315504 h 7300"/>
                <a:gd name="T124" fmla="*/ 1886673 w 7423"/>
                <a:gd name="T125" fmla="*/ 2383597 h 730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423" h="7300">
                  <a:moveTo>
                    <a:pt x="5275" y="7299"/>
                  </a:moveTo>
                  <a:lnTo>
                    <a:pt x="5275" y="7299"/>
                  </a:lnTo>
                  <a:cubicBezTo>
                    <a:pt x="5217" y="7299"/>
                    <a:pt x="5158" y="7284"/>
                    <a:pt x="5107" y="7277"/>
                  </a:cubicBezTo>
                  <a:cubicBezTo>
                    <a:pt x="5077" y="7269"/>
                    <a:pt x="5048" y="7262"/>
                    <a:pt x="5026" y="7262"/>
                  </a:cubicBezTo>
                  <a:cubicBezTo>
                    <a:pt x="4990" y="7255"/>
                    <a:pt x="4960" y="7255"/>
                    <a:pt x="4931" y="7255"/>
                  </a:cubicBezTo>
                  <a:cubicBezTo>
                    <a:pt x="4909" y="7255"/>
                    <a:pt x="4887" y="7255"/>
                    <a:pt x="4865" y="7255"/>
                  </a:cubicBezTo>
                  <a:cubicBezTo>
                    <a:pt x="4836" y="7247"/>
                    <a:pt x="4843" y="7218"/>
                    <a:pt x="4843" y="7211"/>
                  </a:cubicBezTo>
                  <a:cubicBezTo>
                    <a:pt x="4843" y="7203"/>
                    <a:pt x="4843" y="7196"/>
                    <a:pt x="4843" y="7189"/>
                  </a:cubicBezTo>
                  <a:cubicBezTo>
                    <a:pt x="4843" y="7189"/>
                    <a:pt x="4843" y="7189"/>
                    <a:pt x="4821" y="7181"/>
                  </a:cubicBezTo>
                  <a:cubicBezTo>
                    <a:pt x="4777" y="7181"/>
                    <a:pt x="4740" y="7152"/>
                    <a:pt x="4704" y="7130"/>
                  </a:cubicBezTo>
                  <a:cubicBezTo>
                    <a:pt x="4689" y="7115"/>
                    <a:pt x="4674" y="7108"/>
                    <a:pt x="4660" y="7101"/>
                  </a:cubicBezTo>
                  <a:cubicBezTo>
                    <a:pt x="4631" y="7086"/>
                    <a:pt x="4623" y="7057"/>
                    <a:pt x="4623" y="7042"/>
                  </a:cubicBezTo>
                  <a:cubicBezTo>
                    <a:pt x="4609" y="7057"/>
                    <a:pt x="4594" y="7064"/>
                    <a:pt x="4586" y="7079"/>
                  </a:cubicBezTo>
                  <a:cubicBezTo>
                    <a:pt x="4564" y="7093"/>
                    <a:pt x="4550" y="7108"/>
                    <a:pt x="4506" y="7115"/>
                  </a:cubicBezTo>
                  <a:cubicBezTo>
                    <a:pt x="4499" y="7115"/>
                    <a:pt x="4491" y="7115"/>
                    <a:pt x="4484" y="7115"/>
                  </a:cubicBezTo>
                  <a:cubicBezTo>
                    <a:pt x="4477" y="7115"/>
                    <a:pt x="4469" y="7115"/>
                    <a:pt x="4462" y="7115"/>
                  </a:cubicBezTo>
                  <a:lnTo>
                    <a:pt x="4447" y="7138"/>
                  </a:lnTo>
                  <a:cubicBezTo>
                    <a:pt x="4425" y="7167"/>
                    <a:pt x="4411" y="7181"/>
                    <a:pt x="4389" y="7203"/>
                  </a:cubicBezTo>
                  <a:cubicBezTo>
                    <a:pt x="4374" y="7211"/>
                    <a:pt x="4359" y="7233"/>
                    <a:pt x="4337" y="7255"/>
                  </a:cubicBezTo>
                  <a:cubicBezTo>
                    <a:pt x="4323" y="7277"/>
                    <a:pt x="4308" y="7284"/>
                    <a:pt x="4286" y="7284"/>
                  </a:cubicBezTo>
                  <a:cubicBezTo>
                    <a:pt x="4257" y="7284"/>
                    <a:pt x="4235" y="7262"/>
                    <a:pt x="4220" y="7240"/>
                  </a:cubicBezTo>
                  <a:cubicBezTo>
                    <a:pt x="4205" y="7233"/>
                    <a:pt x="4198" y="7218"/>
                    <a:pt x="4191" y="7218"/>
                  </a:cubicBezTo>
                  <a:cubicBezTo>
                    <a:pt x="4154" y="7196"/>
                    <a:pt x="4140" y="7152"/>
                    <a:pt x="4169" y="7093"/>
                  </a:cubicBezTo>
                  <a:cubicBezTo>
                    <a:pt x="4176" y="7064"/>
                    <a:pt x="4176" y="7057"/>
                    <a:pt x="4169" y="7035"/>
                  </a:cubicBezTo>
                  <a:cubicBezTo>
                    <a:pt x="4161" y="7020"/>
                    <a:pt x="4161" y="7020"/>
                    <a:pt x="4161" y="7020"/>
                  </a:cubicBezTo>
                  <a:cubicBezTo>
                    <a:pt x="4161" y="7005"/>
                    <a:pt x="4154" y="6998"/>
                    <a:pt x="4147" y="6983"/>
                  </a:cubicBezTo>
                  <a:cubicBezTo>
                    <a:pt x="4140" y="6969"/>
                    <a:pt x="4132" y="6954"/>
                    <a:pt x="4132" y="6932"/>
                  </a:cubicBezTo>
                  <a:cubicBezTo>
                    <a:pt x="4132" y="6903"/>
                    <a:pt x="4154" y="6888"/>
                    <a:pt x="4169" y="6881"/>
                  </a:cubicBezTo>
                  <a:cubicBezTo>
                    <a:pt x="4176" y="6874"/>
                    <a:pt x="4183" y="6866"/>
                    <a:pt x="4198" y="6859"/>
                  </a:cubicBezTo>
                  <a:cubicBezTo>
                    <a:pt x="4198" y="6859"/>
                    <a:pt x="4198" y="6859"/>
                    <a:pt x="4198" y="6844"/>
                  </a:cubicBezTo>
                  <a:cubicBezTo>
                    <a:pt x="4191" y="6822"/>
                    <a:pt x="4169" y="6793"/>
                    <a:pt x="4147" y="6786"/>
                  </a:cubicBezTo>
                  <a:cubicBezTo>
                    <a:pt x="4125" y="6771"/>
                    <a:pt x="4125" y="6742"/>
                    <a:pt x="4125" y="6727"/>
                  </a:cubicBezTo>
                  <a:cubicBezTo>
                    <a:pt x="4125" y="6720"/>
                    <a:pt x="4125" y="6712"/>
                    <a:pt x="4125" y="6712"/>
                  </a:cubicBezTo>
                  <a:cubicBezTo>
                    <a:pt x="4118" y="6720"/>
                    <a:pt x="4110" y="6720"/>
                    <a:pt x="4110" y="6720"/>
                  </a:cubicBezTo>
                  <a:cubicBezTo>
                    <a:pt x="4066" y="6720"/>
                    <a:pt x="4044" y="6683"/>
                    <a:pt x="4037" y="6683"/>
                  </a:cubicBezTo>
                  <a:cubicBezTo>
                    <a:pt x="4037" y="6676"/>
                    <a:pt x="4037" y="6676"/>
                    <a:pt x="4037" y="6676"/>
                  </a:cubicBezTo>
                  <a:cubicBezTo>
                    <a:pt x="4044" y="6654"/>
                    <a:pt x="4044" y="6588"/>
                    <a:pt x="4022" y="6566"/>
                  </a:cubicBezTo>
                  <a:cubicBezTo>
                    <a:pt x="4000" y="6544"/>
                    <a:pt x="3993" y="6544"/>
                    <a:pt x="3978" y="6544"/>
                  </a:cubicBezTo>
                  <a:cubicBezTo>
                    <a:pt x="3971" y="6544"/>
                    <a:pt x="3956" y="6544"/>
                    <a:pt x="3934" y="6544"/>
                  </a:cubicBezTo>
                  <a:lnTo>
                    <a:pt x="3927" y="6551"/>
                  </a:lnTo>
                  <a:cubicBezTo>
                    <a:pt x="3883" y="6551"/>
                    <a:pt x="3869" y="6514"/>
                    <a:pt x="3854" y="6485"/>
                  </a:cubicBezTo>
                  <a:cubicBezTo>
                    <a:pt x="3846" y="6478"/>
                    <a:pt x="3846" y="6463"/>
                    <a:pt x="3839" y="6456"/>
                  </a:cubicBezTo>
                  <a:cubicBezTo>
                    <a:pt x="3824" y="6449"/>
                    <a:pt x="3824" y="6449"/>
                    <a:pt x="3824" y="6449"/>
                  </a:cubicBezTo>
                  <a:cubicBezTo>
                    <a:pt x="3832" y="6427"/>
                    <a:pt x="3832" y="6427"/>
                    <a:pt x="3832" y="6427"/>
                  </a:cubicBezTo>
                  <a:cubicBezTo>
                    <a:pt x="3854" y="6405"/>
                    <a:pt x="3883" y="6383"/>
                    <a:pt x="3905" y="6368"/>
                  </a:cubicBezTo>
                  <a:cubicBezTo>
                    <a:pt x="3927" y="6353"/>
                    <a:pt x="3949" y="6346"/>
                    <a:pt x="3964" y="6331"/>
                  </a:cubicBezTo>
                  <a:cubicBezTo>
                    <a:pt x="4000" y="6317"/>
                    <a:pt x="4030" y="6302"/>
                    <a:pt x="4052" y="6265"/>
                  </a:cubicBezTo>
                  <a:cubicBezTo>
                    <a:pt x="4074" y="6229"/>
                    <a:pt x="4088" y="6185"/>
                    <a:pt x="4081" y="6163"/>
                  </a:cubicBezTo>
                  <a:cubicBezTo>
                    <a:pt x="4081" y="6155"/>
                    <a:pt x="4081" y="6148"/>
                    <a:pt x="4066" y="6148"/>
                  </a:cubicBezTo>
                  <a:cubicBezTo>
                    <a:pt x="4022" y="6119"/>
                    <a:pt x="3993" y="6060"/>
                    <a:pt x="4022" y="5994"/>
                  </a:cubicBezTo>
                  <a:cubicBezTo>
                    <a:pt x="4037" y="5965"/>
                    <a:pt x="4059" y="5914"/>
                    <a:pt x="4030" y="5892"/>
                  </a:cubicBezTo>
                  <a:cubicBezTo>
                    <a:pt x="4015" y="5884"/>
                    <a:pt x="4015" y="5884"/>
                    <a:pt x="4015" y="5884"/>
                  </a:cubicBezTo>
                  <a:cubicBezTo>
                    <a:pt x="3986" y="5855"/>
                    <a:pt x="3942" y="5826"/>
                    <a:pt x="3949" y="5782"/>
                  </a:cubicBezTo>
                  <a:cubicBezTo>
                    <a:pt x="3964" y="5731"/>
                    <a:pt x="3964" y="5701"/>
                    <a:pt x="3949" y="5687"/>
                  </a:cubicBezTo>
                  <a:cubicBezTo>
                    <a:pt x="3942" y="5679"/>
                    <a:pt x="3934" y="5672"/>
                    <a:pt x="3920" y="5672"/>
                  </a:cubicBezTo>
                  <a:cubicBezTo>
                    <a:pt x="3912" y="5672"/>
                    <a:pt x="3898" y="5672"/>
                    <a:pt x="3890" y="5679"/>
                  </a:cubicBezTo>
                  <a:cubicBezTo>
                    <a:pt x="3861" y="5687"/>
                    <a:pt x="3839" y="5694"/>
                    <a:pt x="3810" y="5694"/>
                  </a:cubicBezTo>
                  <a:cubicBezTo>
                    <a:pt x="3759" y="5694"/>
                    <a:pt x="3722" y="5672"/>
                    <a:pt x="3707" y="5643"/>
                  </a:cubicBezTo>
                  <a:cubicBezTo>
                    <a:pt x="3700" y="5628"/>
                    <a:pt x="3707" y="5613"/>
                    <a:pt x="3722" y="5606"/>
                  </a:cubicBezTo>
                  <a:cubicBezTo>
                    <a:pt x="3722" y="5599"/>
                    <a:pt x="3729" y="5591"/>
                    <a:pt x="3729" y="5591"/>
                  </a:cubicBezTo>
                  <a:cubicBezTo>
                    <a:pt x="3722" y="5591"/>
                    <a:pt x="3714" y="5584"/>
                    <a:pt x="3671" y="5584"/>
                  </a:cubicBezTo>
                  <a:cubicBezTo>
                    <a:pt x="3619" y="5584"/>
                    <a:pt x="3590" y="5577"/>
                    <a:pt x="3575" y="5525"/>
                  </a:cubicBezTo>
                  <a:cubicBezTo>
                    <a:pt x="3568" y="5474"/>
                    <a:pt x="3553" y="5474"/>
                    <a:pt x="3553" y="5474"/>
                  </a:cubicBezTo>
                  <a:cubicBezTo>
                    <a:pt x="3553" y="5474"/>
                    <a:pt x="3546" y="5474"/>
                    <a:pt x="3531" y="5481"/>
                  </a:cubicBezTo>
                  <a:cubicBezTo>
                    <a:pt x="3517" y="5496"/>
                    <a:pt x="3480" y="5525"/>
                    <a:pt x="3436" y="5525"/>
                  </a:cubicBezTo>
                  <a:cubicBezTo>
                    <a:pt x="3407" y="5525"/>
                    <a:pt x="3378" y="5503"/>
                    <a:pt x="3363" y="5467"/>
                  </a:cubicBezTo>
                  <a:cubicBezTo>
                    <a:pt x="3348" y="5408"/>
                    <a:pt x="3333" y="5408"/>
                    <a:pt x="3326" y="5408"/>
                  </a:cubicBezTo>
                  <a:cubicBezTo>
                    <a:pt x="3319" y="5408"/>
                    <a:pt x="3304" y="5415"/>
                    <a:pt x="3297" y="5415"/>
                  </a:cubicBezTo>
                  <a:cubicBezTo>
                    <a:pt x="3282" y="5415"/>
                    <a:pt x="3282" y="5415"/>
                    <a:pt x="3275" y="5415"/>
                  </a:cubicBezTo>
                  <a:cubicBezTo>
                    <a:pt x="3224" y="5415"/>
                    <a:pt x="3180" y="5386"/>
                    <a:pt x="3158" y="5350"/>
                  </a:cubicBezTo>
                  <a:cubicBezTo>
                    <a:pt x="3150" y="5342"/>
                    <a:pt x="3143" y="5342"/>
                    <a:pt x="3143" y="5342"/>
                  </a:cubicBezTo>
                  <a:cubicBezTo>
                    <a:pt x="3136" y="5342"/>
                    <a:pt x="3136" y="5342"/>
                    <a:pt x="3128" y="5342"/>
                  </a:cubicBezTo>
                  <a:cubicBezTo>
                    <a:pt x="3121" y="5342"/>
                    <a:pt x="3114" y="5342"/>
                    <a:pt x="3114" y="5342"/>
                  </a:cubicBezTo>
                  <a:cubicBezTo>
                    <a:pt x="3092" y="5342"/>
                    <a:pt x="3084" y="5342"/>
                    <a:pt x="3070" y="5328"/>
                  </a:cubicBezTo>
                  <a:cubicBezTo>
                    <a:pt x="3055" y="5305"/>
                    <a:pt x="3055" y="5291"/>
                    <a:pt x="3055" y="5276"/>
                  </a:cubicBezTo>
                  <a:cubicBezTo>
                    <a:pt x="3055" y="5269"/>
                    <a:pt x="3055" y="5269"/>
                    <a:pt x="3055" y="5269"/>
                  </a:cubicBezTo>
                  <a:cubicBezTo>
                    <a:pt x="3055" y="5269"/>
                    <a:pt x="3055" y="5269"/>
                    <a:pt x="3048" y="5269"/>
                  </a:cubicBezTo>
                  <a:cubicBezTo>
                    <a:pt x="3019" y="5276"/>
                    <a:pt x="2996" y="5298"/>
                    <a:pt x="2967" y="5313"/>
                  </a:cubicBezTo>
                  <a:cubicBezTo>
                    <a:pt x="2945" y="5328"/>
                    <a:pt x="2916" y="5350"/>
                    <a:pt x="2887" y="5364"/>
                  </a:cubicBezTo>
                  <a:cubicBezTo>
                    <a:pt x="2864" y="5379"/>
                    <a:pt x="2864" y="5379"/>
                    <a:pt x="2864" y="5379"/>
                  </a:cubicBezTo>
                  <a:cubicBezTo>
                    <a:pt x="2828" y="5393"/>
                    <a:pt x="2806" y="5408"/>
                    <a:pt x="2777" y="5408"/>
                  </a:cubicBezTo>
                  <a:cubicBezTo>
                    <a:pt x="2755" y="5408"/>
                    <a:pt x="2733" y="5393"/>
                    <a:pt x="2711" y="5364"/>
                  </a:cubicBezTo>
                  <a:cubicBezTo>
                    <a:pt x="2696" y="5342"/>
                    <a:pt x="2674" y="5320"/>
                    <a:pt x="2659" y="5298"/>
                  </a:cubicBezTo>
                  <a:cubicBezTo>
                    <a:pt x="2637" y="5276"/>
                    <a:pt x="2623" y="5254"/>
                    <a:pt x="2608" y="5240"/>
                  </a:cubicBezTo>
                  <a:cubicBezTo>
                    <a:pt x="2608" y="5232"/>
                    <a:pt x="2601" y="5225"/>
                    <a:pt x="2586" y="5225"/>
                  </a:cubicBezTo>
                  <a:cubicBezTo>
                    <a:pt x="2579" y="5225"/>
                    <a:pt x="2571" y="5225"/>
                    <a:pt x="2571" y="5225"/>
                  </a:cubicBezTo>
                  <a:cubicBezTo>
                    <a:pt x="2564" y="5247"/>
                    <a:pt x="2557" y="5291"/>
                    <a:pt x="2520" y="5291"/>
                  </a:cubicBezTo>
                  <a:cubicBezTo>
                    <a:pt x="2520" y="5291"/>
                    <a:pt x="2513" y="5291"/>
                    <a:pt x="2505" y="5283"/>
                  </a:cubicBezTo>
                  <a:cubicBezTo>
                    <a:pt x="2469" y="5269"/>
                    <a:pt x="2330" y="5181"/>
                    <a:pt x="2330" y="5174"/>
                  </a:cubicBezTo>
                  <a:cubicBezTo>
                    <a:pt x="2322" y="5174"/>
                    <a:pt x="2286" y="5159"/>
                    <a:pt x="2264" y="5093"/>
                  </a:cubicBezTo>
                  <a:cubicBezTo>
                    <a:pt x="2249" y="5056"/>
                    <a:pt x="2220" y="5034"/>
                    <a:pt x="2198" y="5020"/>
                  </a:cubicBezTo>
                  <a:cubicBezTo>
                    <a:pt x="2176" y="5012"/>
                    <a:pt x="2161" y="4998"/>
                    <a:pt x="2154" y="4983"/>
                  </a:cubicBezTo>
                  <a:cubicBezTo>
                    <a:pt x="2146" y="4976"/>
                    <a:pt x="2139" y="4969"/>
                    <a:pt x="2124" y="4954"/>
                  </a:cubicBezTo>
                  <a:cubicBezTo>
                    <a:pt x="2095" y="4924"/>
                    <a:pt x="2059" y="4881"/>
                    <a:pt x="2051" y="4837"/>
                  </a:cubicBezTo>
                  <a:cubicBezTo>
                    <a:pt x="2029" y="4778"/>
                    <a:pt x="2029" y="4727"/>
                    <a:pt x="2073" y="4668"/>
                  </a:cubicBezTo>
                  <a:cubicBezTo>
                    <a:pt x="2102" y="4639"/>
                    <a:pt x="2117" y="4631"/>
                    <a:pt x="2139" y="4624"/>
                  </a:cubicBezTo>
                  <a:cubicBezTo>
                    <a:pt x="2146" y="4624"/>
                    <a:pt x="2154" y="4624"/>
                    <a:pt x="2161" y="4617"/>
                  </a:cubicBezTo>
                  <a:cubicBezTo>
                    <a:pt x="2169" y="4602"/>
                    <a:pt x="2146" y="4588"/>
                    <a:pt x="2139" y="4580"/>
                  </a:cubicBezTo>
                  <a:cubicBezTo>
                    <a:pt x="2124" y="4573"/>
                    <a:pt x="2110" y="4565"/>
                    <a:pt x="2102" y="4551"/>
                  </a:cubicBezTo>
                  <a:cubicBezTo>
                    <a:pt x="2066" y="4514"/>
                    <a:pt x="2073" y="4478"/>
                    <a:pt x="2088" y="4397"/>
                  </a:cubicBezTo>
                  <a:cubicBezTo>
                    <a:pt x="2088" y="4390"/>
                    <a:pt x="2088" y="4390"/>
                    <a:pt x="2088" y="4390"/>
                  </a:cubicBezTo>
                  <a:cubicBezTo>
                    <a:pt x="2102" y="4331"/>
                    <a:pt x="2124" y="4302"/>
                    <a:pt x="2146" y="4272"/>
                  </a:cubicBezTo>
                  <a:cubicBezTo>
                    <a:pt x="2161" y="4258"/>
                    <a:pt x="2176" y="4250"/>
                    <a:pt x="2176" y="4236"/>
                  </a:cubicBezTo>
                  <a:cubicBezTo>
                    <a:pt x="2183" y="4214"/>
                    <a:pt x="2176" y="4192"/>
                    <a:pt x="2169" y="4162"/>
                  </a:cubicBezTo>
                  <a:cubicBezTo>
                    <a:pt x="2161" y="4148"/>
                    <a:pt x="2154" y="4133"/>
                    <a:pt x="2146" y="4111"/>
                  </a:cubicBezTo>
                  <a:cubicBezTo>
                    <a:pt x="2139" y="4060"/>
                    <a:pt x="2132" y="3913"/>
                    <a:pt x="2169" y="3862"/>
                  </a:cubicBezTo>
                  <a:cubicBezTo>
                    <a:pt x="2212" y="3811"/>
                    <a:pt x="2234" y="3774"/>
                    <a:pt x="2212" y="3752"/>
                  </a:cubicBezTo>
                  <a:cubicBezTo>
                    <a:pt x="2205" y="3745"/>
                    <a:pt x="2198" y="3745"/>
                    <a:pt x="2190" y="3745"/>
                  </a:cubicBezTo>
                  <a:cubicBezTo>
                    <a:pt x="2183" y="3745"/>
                    <a:pt x="2176" y="3745"/>
                    <a:pt x="2176" y="3745"/>
                  </a:cubicBezTo>
                  <a:cubicBezTo>
                    <a:pt x="2161" y="3745"/>
                    <a:pt x="2154" y="3752"/>
                    <a:pt x="2146" y="3752"/>
                  </a:cubicBezTo>
                  <a:cubicBezTo>
                    <a:pt x="2132" y="3752"/>
                    <a:pt x="2117" y="3745"/>
                    <a:pt x="2110" y="3737"/>
                  </a:cubicBezTo>
                  <a:cubicBezTo>
                    <a:pt x="2073" y="3723"/>
                    <a:pt x="2073" y="3686"/>
                    <a:pt x="2066" y="3657"/>
                  </a:cubicBezTo>
                  <a:cubicBezTo>
                    <a:pt x="2066" y="3642"/>
                    <a:pt x="2059" y="3628"/>
                    <a:pt x="2059" y="3620"/>
                  </a:cubicBezTo>
                  <a:cubicBezTo>
                    <a:pt x="2051" y="3620"/>
                    <a:pt x="2044" y="3620"/>
                    <a:pt x="2044" y="3620"/>
                  </a:cubicBezTo>
                  <a:cubicBezTo>
                    <a:pt x="2037" y="3620"/>
                    <a:pt x="2029" y="3628"/>
                    <a:pt x="2014" y="3642"/>
                  </a:cubicBezTo>
                  <a:cubicBezTo>
                    <a:pt x="1956" y="3701"/>
                    <a:pt x="1927" y="3701"/>
                    <a:pt x="1919" y="3701"/>
                  </a:cubicBezTo>
                  <a:cubicBezTo>
                    <a:pt x="1912" y="3701"/>
                    <a:pt x="1890" y="3701"/>
                    <a:pt x="1883" y="3671"/>
                  </a:cubicBezTo>
                  <a:cubicBezTo>
                    <a:pt x="1883" y="3628"/>
                    <a:pt x="1890" y="3613"/>
                    <a:pt x="1905" y="3598"/>
                  </a:cubicBezTo>
                  <a:cubicBezTo>
                    <a:pt x="1905" y="3591"/>
                    <a:pt x="1912" y="3583"/>
                    <a:pt x="1912" y="3583"/>
                  </a:cubicBezTo>
                  <a:cubicBezTo>
                    <a:pt x="1912" y="3583"/>
                    <a:pt x="1883" y="3576"/>
                    <a:pt x="1861" y="3569"/>
                  </a:cubicBezTo>
                  <a:cubicBezTo>
                    <a:pt x="1839" y="3569"/>
                    <a:pt x="1839" y="3569"/>
                    <a:pt x="1839" y="3569"/>
                  </a:cubicBezTo>
                  <a:cubicBezTo>
                    <a:pt x="1846" y="3554"/>
                    <a:pt x="1846" y="3554"/>
                    <a:pt x="1846" y="3554"/>
                  </a:cubicBezTo>
                  <a:cubicBezTo>
                    <a:pt x="1846" y="3554"/>
                    <a:pt x="1853" y="3518"/>
                    <a:pt x="1868" y="3466"/>
                  </a:cubicBezTo>
                  <a:cubicBezTo>
                    <a:pt x="1875" y="3444"/>
                    <a:pt x="1875" y="3408"/>
                    <a:pt x="1875" y="3378"/>
                  </a:cubicBezTo>
                  <a:cubicBezTo>
                    <a:pt x="1875" y="3349"/>
                    <a:pt x="1875" y="3320"/>
                    <a:pt x="1890" y="3298"/>
                  </a:cubicBezTo>
                  <a:cubicBezTo>
                    <a:pt x="1897" y="3283"/>
                    <a:pt x="1919" y="3276"/>
                    <a:pt x="1934" y="3269"/>
                  </a:cubicBezTo>
                  <a:cubicBezTo>
                    <a:pt x="1949" y="3261"/>
                    <a:pt x="1971" y="3254"/>
                    <a:pt x="1971" y="3239"/>
                  </a:cubicBezTo>
                  <a:cubicBezTo>
                    <a:pt x="1978" y="3232"/>
                    <a:pt x="2022" y="3173"/>
                    <a:pt x="1971" y="3078"/>
                  </a:cubicBezTo>
                  <a:cubicBezTo>
                    <a:pt x="1963" y="3056"/>
                    <a:pt x="1956" y="3041"/>
                    <a:pt x="1949" y="3027"/>
                  </a:cubicBezTo>
                  <a:cubicBezTo>
                    <a:pt x="1919" y="2975"/>
                    <a:pt x="1897" y="2939"/>
                    <a:pt x="1919" y="2902"/>
                  </a:cubicBezTo>
                  <a:cubicBezTo>
                    <a:pt x="1934" y="2880"/>
                    <a:pt x="1934" y="2858"/>
                    <a:pt x="1919" y="2836"/>
                  </a:cubicBezTo>
                  <a:cubicBezTo>
                    <a:pt x="1919" y="2829"/>
                    <a:pt x="1912" y="2821"/>
                    <a:pt x="1912" y="2814"/>
                  </a:cubicBezTo>
                  <a:cubicBezTo>
                    <a:pt x="1905" y="2778"/>
                    <a:pt x="1927" y="2733"/>
                    <a:pt x="1985" y="2704"/>
                  </a:cubicBezTo>
                  <a:cubicBezTo>
                    <a:pt x="2014" y="2682"/>
                    <a:pt x="2007" y="2653"/>
                    <a:pt x="1993" y="2602"/>
                  </a:cubicBezTo>
                  <a:cubicBezTo>
                    <a:pt x="1971" y="2558"/>
                    <a:pt x="1897" y="2470"/>
                    <a:pt x="1875" y="2462"/>
                  </a:cubicBezTo>
                  <a:lnTo>
                    <a:pt x="1868" y="2462"/>
                  </a:lnTo>
                  <a:cubicBezTo>
                    <a:pt x="1861" y="2462"/>
                    <a:pt x="1861" y="2470"/>
                    <a:pt x="1853" y="2484"/>
                  </a:cubicBezTo>
                  <a:cubicBezTo>
                    <a:pt x="1839" y="2499"/>
                    <a:pt x="1831" y="2514"/>
                    <a:pt x="1802" y="2521"/>
                  </a:cubicBezTo>
                  <a:cubicBezTo>
                    <a:pt x="1795" y="2528"/>
                    <a:pt x="1795" y="2528"/>
                    <a:pt x="1788" y="2528"/>
                  </a:cubicBezTo>
                  <a:cubicBezTo>
                    <a:pt x="1758" y="2528"/>
                    <a:pt x="1751" y="2499"/>
                    <a:pt x="1743" y="2470"/>
                  </a:cubicBezTo>
                  <a:cubicBezTo>
                    <a:pt x="1743" y="2462"/>
                    <a:pt x="1736" y="2448"/>
                    <a:pt x="1736" y="2440"/>
                  </a:cubicBezTo>
                  <a:cubicBezTo>
                    <a:pt x="1729" y="2448"/>
                    <a:pt x="1714" y="2455"/>
                    <a:pt x="1692" y="2455"/>
                  </a:cubicBezTo>
                  <a:cubicBezTo>
                    <a:pt x="1685" y="2455"/>
                    <a:pt x="1685" y="2455"/>
                    <a:pt x="1678" y="2455"/>
                  </a:cubicBezTo>
                  <a:cubicBezTo>
                    <a:pt x="1648" y="2455"/>
                    <a:pt x="1648" y="2455"/>
                    <a:pt x="1648" y="2455"/>
                  </a:cubicBezTo>
                  <a:cubicBezTo>
                    <a:pt x="1612" y="2448"/>
                    <a:pt x="1575" y="2440"/>
                    <a:pt x="1546" y="2440"/>
                  </a:cubicBezTo>
                  <a:cubicBezTo>
                    <a:pt x="1538" y="2440"/>
                    <a:pt x="1531" y="2440"/>
                    <a:pt x="1531" y="2440"/>
                  </a:cubicBezTo>
                  <a:cubicBezTo>
                    <a:pt x="1516" y="2448"/>
                    <a:pt x="1487" y="2448"/>
                    <a:pt x="1450" y="2448"/>
                  </a:cubicBezTo>
                  <a:cubicBezTo>
                    <a:pt x="1421" y="2448"/>
                    <a:pt x="1362" y="2448"/>
                    <a:pt x="1319" y="2419"/>
                  </a:cubicBezTo>
                  <a:cubicBezTo>
                    <a:pt x="1289" y="2411"/>
                    <a:pt x="1260" y="2396"/>
                    <a:pt x="1238" y="2389"/>
                  </a:cubicBezTo>
                  <a:cubicBezTo>
                    <a:pt x="1194" y="2374"/>
                    <a:pt x="1164" y="2360"/>
                    <a:pt x="1150" y="2338"/>
                  </a:cubicBezTo>
                  <a:cubicBezTo>
                    <a:pt x="1128" y="2309"/>
                    <a:pt x="1150" y="2264"/>
                    <a:pt x="1164" y="2228"/>
                  </a:cubicBezTo>
                  <a:lnTo>
                    <a:pt x="1164" y="2221"/>
                  </a:lnTo>
                  <a:cubicBezTo>
                    <a:pt x="1164" y="2213"/>
                    <a:pt x="1150" y="2206"/>
                    <a:pt x="1135" y="2206"/>
                  </a:cubicBezTo>
                  <a:cubicBezTo>
                    <a:pt x="1128" y="2206"/>
                    <a:pt x="1121" y="2213"/>
                    <a:pt x="1113" y="2221"/>
                  </a:cubicBezTo>
                  <a:cubicBezTo>
                    <a:pt x="1106" y="2221"/>
                    <a:pt x="1099" y="2221"/>
                    <a:pt x="1084" y="2221"/>
                  </a:cubicBezTo>
                  <a:cubicBezTo>
                    <a:pt x="1047" y="2221"/>
                    <a:pt x="1025" y="2162"/>
                    <a:pt x="1018" y="2140"/>
                  </a:cubicBezTo>
                  <a:cubicBezTo>
                    <a:pt x="996" y="2111"/>
                    <a:pt x="981" y="2103"/>
                    <a:pt x="974" y="2103"/>
                  </a:cubicBezTo>
                  <a:cubicBezTo>
                    <a:pt x="959" y="2103"/>
                    <a:pt x="952" y="2111"/>
                    <a:pt x="938" y="2118"/>
                  </a:cubicBezTo>
                  <a:cubicBezTo>
                    <a:pt x="930" y="2118"/>
                    <a:pt x="930" y="2118"/>
                    <a:pt x="930" y="2118"/>
                  </a:cubicBezTo>
                  <a:cubicBezTo>
                    <a:pt x="908" y="2133"/>
                    <a:pt x="886" y="2147"/>
                    <a:pt x="871" y="2147"/>
                  </a:cubicBezTo>
                  <a:cubicBezTo>
                    <a:pt x="857" y="2147"/>
                    <a:pt x="835" y="2140"/>
                    <a:pt x="835" y="2103"/>
                  </a:cubicBezTo>
                  <a:cubicBezTo>
                    <a:pt x="828" y="2067"/>
                    <a:pt x="828" y="2067"/>
                    <a:pt x="791" y="2059"/>
                  </a:cubicBezTo>
                  <a:cubicBezTo>
                    <a:pt x="762" y="2052"/>
                    <a:pt x="747" y="2045"/>
                    <a:pt x="740" y="2030"/>
                  </a:cubicBezTo>
                  <a:cubicBezTo>
                    <a:pt x="732" y="2008"/>
                    <a:pt x="740" y="1986"/>
                    <a:pt x="747" y="1971"/>
                  </a:cubicBezTo>
                  <a:cubicBezTo>
                    <a:pt x="754" y="1964"/>
                    <a:pt x="754" y="1957"/>
                    <a:pt x="754" y="1950"/>
                  </a:cubicBezTo>
                  <a:cubicBezTo>
                    <a:pt x="747" y="1950"/>
                    <a:pt x="732" y="1942"/>
                    <a:pt x="710" y="1942"/>
                  </a:cubicBezTo>
                  <a:cubicBezTo>
                    <a:pt x="696" y="1942"/>
                    <a:pt x="696" y="1942"/>
                    <a:pt x="696" y="1942"/>
                  </a:cubicBezTo>
                  <a:cubicBezTo>
                    <a:pt x="681" y="1942"/>
                    <a:pt x="666" y="1942"/>
                    <a:pt x="652" y="1942"/>
                  </a:cubicBezTo>
                  <a:cubicBezTo>
                    <a:pt x="637" y="1950"/>
                    <a:pt x="622" y="1950"/>
                    <a:pt x="600" y="1950"/>
                  </a:cubicBezTo>
                  <a:cubicBezTo>
                    <a:pt x="586" y="1950"/>
                    <a:pt x="578" y="1950"/>
                    <a:pt x="564" y="1950"/>
                  </a:cubicBezTo>
                  <a:cubicBezTo>
                    <a:pt x="527" y="1942"/>
                    <a:pt x="498" y="1920"/>
                    <a:pt x="469" y="1905"/>
                  </a:cubicBezTo>
                  <a:cubicBezTo>
                    <a:pt x="447" y="1891"/>
                    <a:pt x="417" y="1869"/>
                    <a:pt x="388" y="1862"/>
                  </a:cubicBezTo>
                  <a:cubicBezTo>
                    <a:pt x="381" y="1854"/>
                    <a:pt x="366" y="1854"/>
                    <a:pt x="351" y="1854"/>
                  </a:cubicBezTo>
                  <a:cubicBezTo>
                    <a:pt x="322" y="1854"/>
                    <a:pt x="285" y="1869"/>
                    <a:pt x="263" y="1883"/>
                  </a:cubicBezTo>
                  <a:cubicBezTo>
                    <a:pt x="249" y="1891"/>
                    <a:pt x="241" y="1891"/>
                    <a:pt x="234" y="1898"/>
                  </a:cubicBezTo>
                  <a:cubicBezTo>
                    <a:pt x="212" y="1905"/>
                    <a:pt x="197" y="1905"/>
                    <a:pt x="183" y="1905"/>
                  </a:cubicBezTo>
                  <a:cubicBezTo>
                    <a:pt x="146" y="1905"/>
                    <a:pt x="117" y="1891"/>
                    <a:pt x="88" y="1854"/>
                  </a:cubicBezTo>
                  <a:cubicBezTo>
                    <a:pt x="21" y="1781"/>
                    <a:pt x="0" y="1730"/>
                    <a:pt x="7" y="1708"/>
                  </a:cubicBezTo>
                  <a:cubicBezTo>
                    <a:pt x="7" y="1708"/>
                    <a:pt x="7" y="1700"/>
                    <a:pt x="14" y="1700"/>
                  </a:cubicBezTo>
                  <a:cubicBezTo>
                    <a:pt x="0" y="1693"/>
                    <a:pt x="0" y="1693"/>
                    <a:pt x="0" y="1693"/>
                  </a:cubicBezTo>
                  <a:cubicBezTo>
                    <a:pt x="43" y="1686"/>
                    <a:pt x="43" y="1686"/>
                    <a:pt x="43" y="1686"/>
                  </a:cubicBezTo>
                  <a:cubicBezTo>
                    <a:pt x="212" y="1686"/>
                    <a:pt x="212" y="1686"/>
                    <a:pt x="212" y="1686"/>
                  </a:cubicBezTo>
                  <a:cubicBezTo>
                    <a:pt x="241" y="1686"/>
                    <a:pt x="249" y="1678"/>
                    <a:pt x="256" y="1656"/>
                  </a:cubicBezTo>
                  <a:cubicBezTo>
                    <a:pt x="263" y="1620"/>
                    <a:pt x="300" y="1598"/>
                    <a:pt x="351" y="1598"/>
                  </a:cubicBezTo>
                  <a:cubicBezTo>
                    <a:pt x="366" y="1598"/>
                    <a:pt x="373" y="1598"/>
                    <a:pt x="388" y="1605"/>
                  </a:cubicBezTo>
                  <a:cubicBezTo>
                    <a:pt x="432" y="1605"/>
                    <a:pt x="461" y="1627"/>
                    <a:pt x="490" y="1642"/>
                  </a:cubicBezTo>
                  <a:cubicBezTo>
                    <a:pt x="512" y="1649"/>
                    <a:pt x="527" y="1664"/>
                    <a:pt x="534" y="1664"/>
                  </a:cubicBezTo>
                  <a:cubicBezTo>
                    <a:pt x="549" y="1634"/>
                    <a:pt x="549" y="1627"/>
                    <a:pt x="556" y="1576"/>
                  </a:cubicBezTo>
                  <a:cubicBezTo>
                    <a:pt x="556" y="1561"/>
                    <a:pt x="556" y="1561"/>
                    <a:pt x="556" y="1561"/>
                  </a:cubicBezTo>
                  <a:cubicBezTo>
                    <a:pt x="564" y="1546"/>
                    <a:pt x="556" y="1524"/>
                    <a:pt x="549" y="1510"/>
                  </a:cubicBezTo>
                  <a:cubicBezTo>
                    <a:pt x="534" y="1488"/>
                    <a:pt x="527" y="1451"/>
                    <a:pt x="556" y="1414"/>
                  </a:cubicBezTo>
                  <a:cubicBezTo>
                    <a:pt x="600" y="1356"/>
                    <a:pt x="630" y="1327"/>
                    <a:pt x="681" y="1297"/>
                  </a:cubicBezTo>
                  <a:cubicBezTo>
                    <a:pt x="688" y="1290"/>
                    <a:pt x="703" y="1283"/>
                    <a:pt x="710" y="1275"/>
                  </a:cubicBezTo>
                  <a:cubicBezTo>
                    <a:pt x="732" y="1253"/>
                    <a:pt x="762" y="1231"/>
                    <a:pt x="791" y="1231"/>
                  </a:cubicBezTo>
                  <a:cubicBezTo>
                    <a:pt x="806" y="1231"/>
                    <a:pt x="813" y="1231"/>
                    <a:pt x="828" y="1239"/>
                  </a:cubicBezTo>
                  <a:cubicBezTo>
                    <a:pt x="842" y="1246"/>
                    <a:pt x="864" y="1253"/>
                    <a:pt x="879" y="1268"/>
                  </a:cubicBezTo>
                  <a:cubicBezTo>
                    <a:pt x="915" y="1283"/>
                    <a:pt x="952" y="1305"/>
                    <a:pt x="974" y="1305"/>
                  </a:cubicBezTo>
                  <a:cubicBezTo>
                    <a:pt x="981" y="1305"/>
                    <a:pt x="989" y="1305"/>
                    <a:pt x="989" y="1297"/>
                  </a:cubicBezTo>
                  <a:cubicBezTo>
                    <a:pt x="1011" y="1290"/>
                    <a:pt x="1025" y="1283"/>
                    <a:pt x="1047" y="1275"/>
                  </a:cubicBezTo>
                  <a:cubicBezTo>
                    <a:pt x="1069" y="1268"/>
                    <a:pt x="1091" y="1261"/>
                    <a:pt x="1099" y="1246"/>
                  </a:cubicBezTo>
                  <a:cubicBezTo>
                    <a:pt x="1113" y="1217"/>
                    <a:pt x="1128" y="1202"/>
                    <a:pt x="1150" y="1187"/>
                  </a:cubicBezTo>
                  <a:cubicBezTo>
                    <a:pt x="1164" y="1180"/>
                    <a:pt x="1179" y="1165"/>
                    <a:pt x="1194" y="1158"/>
                  </a:cubicBezTo>
                  <a:cubicBezTo>
                    <a:pt x="1201" y="1151"/>
                    <a:pt x="1209" y="1143"/>
                    <a:pt x="1216" y="1136"/>
                  </a:cubicBezTo>
                  <a:cubicBezTo>
                    <a:pt x="1245" y="1114"/>
                    <a:pt x="1267" y="1092"/>
                    <a:pt x="1289" y="1092"/>
                  </a:cubicBezTo>
                  <a:cubicBezTo>
                    <a:pt x="1304" y="1092"/>
                    <a:pt x="1311" y="1100"/>
                    <a:pt x="1326" y="1107"/>
                  </a:cubicBezTo>
                  <a:cubicBezTo>
                    <a:pt x="1333" y="1107"/>
                    <a:pt x="1333" y="1114"/>
                    <a:pt x="1340" y="1114"/>
                  </a:cubicBezTo>
                  <a:cubicBezTo>
                    <a:pt x="1355" y="1114"/>
                    <a:pt x="1362" y="1100"/>
                    <a:pt x="1370" y="1085"/>
                  </a:cubicBezTo>
                  <a:cubicBezTo>
                    <a:pt x="1370" y="1078"/>
                    <a:pt x="1370" y="1078"/>
                    <a:pt x="1370" y="1070"/>
                  </a:cubicBezTo>
                  <a:cubicBezTo>
                    <a:pt x="1377" y="1048"/>
                    <a:pt x="1384" y="1041"/>
                    <a:pt x="1428" y="1033"/>
                  </a:cubicBezTo>
                  <a:cubicBezTo>
                    <a:pt x="1472" y="1026"/>
                    <a:pt x="1472" y="946"/>
                    <a:pt x="1472" y="924"/>
                  </a:cubicBezTo>
                  <a:cubicBezTo>
                    <a:pt x="1472" y="909"/>
                    <a:pt x="1472" y="909"/>
                    <a:pt x="1472" y="909"/>
                  </a:cubicBezTo>
                  <a:cubicBezTo>
                    <a:pt x="1480" y="909"/>
                    <a:pt x="1480" y="909"/>
                    <a:pt x="1480" y="909"/>
                  </a:cubicBezTo>
                  <a:cubicBezTo>
                    <a:pt x="1487" y="902"/>
                    <a:pt x="1531" y="894"/>
                    <a:pt x="1538" y="858"/>
                  </a:cubicBezTo>
                  <a:cubicBezTo>
                    <a:pt x="1538" y="843"/>
                    <a:pt x="1546" y="814"/>
                    <a:pt x="1568" y="814"/>
                  </a:cubicBezTo>
                  <a:cubicBezTo>
                    <a:pt x="1575" y="814"/>
                    <a:pt x="1582" y="828"/>
                    <a:pt x="1604" y="843"/>
                  </a:cubicBezTo>
                  <a:cubicBezTo>
                    <a:pt x="1604" y="850"/>
                    <a:pt x="1612" y="858"/>
                    <a:pt x="1626" y="865"/>
                  </a:cubicBezTo>
                  <a:cubicBezTo>
                    <a:pt x="1641" y="880"/>
                    <a:pt x="1648" y="887"/>
                    <a:pt x="1663" y="887"/>
                  </a:cubicBezTo>
                  <a:cubicBezTo>
                    <a:pt x="1678" y="887"/>
                    <a:pt x="1700" y="880"/>
                    <a:pt x="1714" y="865"/>
                  </a:cubicBezTo>
                  <a:cubicBezTo>
                    <a:pt x="1736" y="850"/>
                    <a:pt x="1780" y="821"/>
                    <a:pt x="1831" y="821"/>
                  </a:cubicBezTo>
                  <a:cubicBezTo>
                    <a:pt x="1839" y="821"/>
                    <a:pt x="1846" y="821"/>
                    <a:pt x="1853" y="821"/>
                  </a:cubicBezTo>
                  <a:cubicBezTo>
                    <a:pt x="1883" y="828"/>
                    <a:pt x="1897" y="843"/>
                    <a:pt x="1905" y="865"/>
                  </a:cubicBezTo>
                  <a:cubicBezTo>
                    <a:pt x="1912" y="872"/>
                    <a:pt x="1919" y="887"/>
                    <a:pt x="1934" y="887"/>
                  </a:cubicBezTo>
                  <a:cubicBezTo>
                    <a:pt x="1949" y="902"/>
                    <a:pt x="1971" y="902"/>
                    <a:pt x="1993" y="902"/>
                  </a:cubicBezTo>
                  <a:cubicBezTo>
                    <a:pt x="2014" y="902"/>
                    <a:pt x="2029" y="902"/>
                    <a:pt x="2059" y="909"/>
                  </a:cubicBezTo>
                  <a:cubicBezTo>
                    <a:pt x="2132" y="916"/>
                    <a:pt x="2249" y="1033"/>
                    <a:pt x="2264" y="1048"/>
                  </a:cubicBezTo>
                  <a:cubicBezTo>
                    <a:pt x="2271" y="1055"/>
                    <a:pt x="2278" y="1070"/>
                    <a:pt x="2286" y="1092"/>
                  </a:cubicBezTo>
                  <a:cubicBezTo>
                    <a:pt x="2308" y="1121"/>
                    <a:pt x="2322" y="1151"/>
                    <a:pt x="2352" y="1151"/>
                  </a:cubicBezTo>
                  <a:cubicBezTo>
                    <a:pt x="2359" y="1151"/>
                    <a:pt x="2366" y="1143"/>
                    <a:pt x="2374" y="1143"/>
                  </a:cubicBezTo>
                  <a:cubicBezTo>
                    <a:pt x="2396" y="1136"/>
                    <a:pt x="2418" y="1129"/>
                    <a:pt x="2432" y="1121"/>
                  </a:cubicBezTo>
                  <a:cubicBezTo>
                    <a:pt x="2462" y="1114"/>
                    <a:pt x="2483" y="1107"/>
                    <a:pt x="2513" y="1107"/>
                  </a:cubicBezTo>
                  <a:cubicBezTo>
                    <a:pt x="2528" y="1107"/>
                    <a:pt x="2535" y="1107"/>
                    <a:pt x="2550" y="1107"/>
                  </a:cubicBezTo>
                  <a:cubicBezTo>
                    <a:pt x="2564" y="1114"/>
                    <a:pt x="2571" y="1114"/>
                    <a:pt x="2586" y="1121"/>
                  </a:cubicBezTo>
                  <a:cubicBezTo>
                    <a:pt x="2601" y="1129"/>
                    <a:pt x="2615" y="1129"/>
                    <a:pt x="2630" y="1129"/>
                  </a:cubicBezTo>
                  <a:cubicBezTo>
                    <a:pt x="2645" y="1129"/>
                    <a:pt x="2659" y="1129"/>
                    <a:pt x="2674" y="1121"/>
                  </a:cubicBezTo>
                  <a:cubicBezTo>
                    <a:pt x="2696" y="1114"/>
                    <a:pt x="2711" y="1107"/>
                    <a:pt x="2725" y="1107"/>
                  </a:cubicBezTo>
                  <a:cubicBezTo>
                    <a:pt x="2747" y="1107"/>
                    <a:pt x="2769" y="1121"/>
                    <a:pt x="2777" y="1136"/>
                  </a:cubicBezTo>
                  <a:cubicBezTo>
                    <a:pt x="2791" y="1151"/>
                    <a:pt x="2799" y="1165"/>
                    <a:pt x="2791" y="1187"/>
                  </a:cubicBezTo>
                  <a:cubicBezTo>
                    <a:pt x="2791" y="1195"/>
                    <a:pt x="2791" y="1209"/>
                    <a:pt x="2799" y="1217"/>
                  </a:cubicBezTo>
                  <a:cubicBezTo>
                    <a:pt x="2806" y="1224"/>
                    <a:pt x="2813" y="1224"/>
                    <a:pt x="2828" y="1224"/>
                  </a:cubicBezTo>
                  <a:cubicBezTo>
                    <a:pt x="2835" y="1224"/>
                    <a:pt x="2850" y="1224"/>
                    <a:pt x="2857" y="1217"/>
                  </a:cubicBezTo>
                  <a:cubicBezTo>
                    <a:pt x="2864" y="1217"/>
                    <a:pt x="2872" y="1217"/>
                    <a:pt x="2879" y="1217"/>
                  </a:cubicBezTo>
                  <a:cubicBezTo>
                    <a:pt x="2909" y="1217"/>
                    <a:pt x="2931" y="1246"/>
                    <a:pt x="2938" y="1268"/>
                  </a:cubicBezTo>
                  <a:cubicBezTo>
                    <a:pt x="2952" y="1283"/>
                    <a:pt x="2960" y="1297"/>
                    <a:pt x="2974" y="1305"/>
                  </a:cubicBezTo>
                  <a:cubicBezTo>
                    <a:pt x="2989" y="1319"/>
                    <a:pt x="2989" y="1319"/>
                    <a:pt x="2989" y="1319"/>
                  </a:cubicBezTo>
                  <a:cubicBezTo>
                    <a:pt x="3011" y="1327"/>
                    <a:pt x="3019" y="1334"/>
                    <a:pt x="3033" y="1334"/>
                  </a:cubicBezTo>
                  <a:cubicBezTo>
                    <a:pt x="3040" y="1334"/>
                    <a:pt x="3040" y="1334"/>
                    <a:pt x="3048" y="1334"/>
                  </a:cubicBezTo>
                  <a:cubicBezTo>
                    <a:pt x="3084" y="1312"/>
                    <a:pt x="3180" y="1305"/>
                    <a:pt x="3187" y="1305"/>
                  </a:cubicBezTo>
                  <a:cubicBezTo>
                    <a:pt x="3194" y="1305"/>
                    <a:pt x="3194" y="1305"/>
                    <a:pt x="3194" y="1305"/>
                  </a:cubicBezTo>
                  <a:cubicBezTo>
                    <a:pt x="3209" y="1319"/>
                    <a:pt x="3224" y="1327"/>
                    <a:pt x="3245" y="1327"/>
                  </a:cubicBezTo>
                  <a:cubicBezTo>
                    <a:pt x="3260" y="1327"/>
                    <a:pt x="3268" y="1327"/>
                    <a:pt x="3282" y="1319"/>
                  </a:cubicBezTo>
                  <a:cubicBezTo>
                    <a:pt x="3304" y="1319"/>
                    <a:pt x="3326" y="1297"/>
                    <a:pt x="3341" y="1290"/>
                  </a:cubicBezTo>
                  <a:cubicBezTo>
                    <a:pt x="3355" y="1275"/>
                    <a:pt x="3370" y="1268"/>
                    <a:pt x="3385" y="1268"/>
                  </a:cubicBezTo>
                  <a:cubicBezTo>
                    <a:pt x="3392" y="1268"/>
                    <a:pt x="3400" y="1268"/>
                    <a:pt x="3407" y="1283"/>
                  </a:cubicBezTo>
                  <a:cubicBezTo>
                    <a:pt x="3407" y="1297"/>
                    <a:pt x="3407" y="1312"/>
                    <a:pt x="3400" y="1327"/>
                  </a:cubicBezTo>
                  <a:cubicBezTo>
                    <a:pt x="3392" y="1349"/>
                    <a:pt x="3392" y="1371"/>
                    <a:pt x="3392" y="1378"/>
                  </a:cubicBezTo>
                  <a:cubicBezTo>
                    <a:pt x="3400" y="1378"/>
                    <a:pt x="3400" y="1378"/>
                    <a:pt x="3407" y="1378"/>
                  </a:cubicBezTo>
                  <a:cubicBezTo>
                    <a:pt x="3451" y="1378"/>
                    <a:pt x="3451" y="1378"/>
                    <a:pt x="3473" y="1349"/>
                  </a:cubicBezTo>
                  <a:cubicBezTo>
                    <a:pt x="3487" y="1327"/>
                    <a:pt x="3487" y="1327"/>
                    <a:pt x="3487" y="1327"/>
                  </a:cubicBezTo>
                  <a:cubicBezTo>
                    <a:pt x="3517" y="1290"/>
                    <a:pt x="3531" y="1283"/>
                    <a:pt x="3553" y="1268"/>
                  </a:cubicBezTo>
                  <a:cubicBezTo>
                    <a:pt x="3568" y="1261"/>
                    <a:pt x="3575" y="1261"/>
                    <a:pt x="3590" y="1246"/>
                  </a:cubicBezTo>
                  <a:cubicBezTo>
                    <a:pt x="3627" y="1224"/>
                    <a:pt x="3627" y="1209"/>
                    <a:pt x="3641" y="1187"/>
                  </a:cubicBezTo>
                  <a:cubicBezTo>
                    <a:pt x="3641" y="1180"/>
                    <a:pt x="3649" y="1165"/>
                    <a:pt x="3656" y="1151"/>
                  </a:cubicBezTo>
                  <a:cubicBezTo>
                    <a:pt x="3663" y="1136"/>
                    <a:pt x="3714" y="1063"/>
                    <a:pt x="3759" y="1063"/>
                  </a:cubicBezTo>
                  <a:cubicBezTo>
                    <a:pt x="3773" y="1063"/>
                    <a:pt x="3780" y="1063"/>
                    <a:pt x="3788" y="1070"/>
                  </a:cubicBezTo>
                  <a:cubicBezTo>
                    <a:pt x="3810" y="1085"/>
                    <a:pt x="3817" y="1107"/>
                    <a:pt x="3824" y="1121"/>
                  </a:cubicBezTo>
                  <a:cubicBezTo>
                    <a:pt x="3839" y="1151"/>
                    <a:pt x="3846" y="1158"/>
                    <a:pt x="3854" y="1158"/>
                  </a:cubicBezTo>
                  <a:cubicBezTo>
                    <a:pt x="3876" y="1158"/>
                    <a:pt x="3876" y="1158"/>
                    <a:pt x="3876" y="1158"/>
                  </a:cubicBezTo>
                  <a:cubicBezTo>
                    <a:pt x="3898" y="1158"/>
                    <a:pt x="3905" y="1158"/>
                    <a:pt x="3912" y="1114"/>
                  </a:cubicBezTo>
                  <a:cubicBezTo>
                    <a:pt x="3920" y="1041"/>
                    <a:pt x="3927" y="1019"/>
                    <a:pt x="3993" y="990"/>
                  </a:cubicBezTo>
                  <a:cubicBezTo>
                    <a:pt x="4008" y="982"/>
                    <a:pt x="4022" y="975"/>
                    <a:pt x="4037" y="968"/>
                  </a:cubicBezTo>
                  <a:cubicBezTo>
                    <a:pt x="4059" y="960"/>
                    <a:pt x="4081" y="946"/>
                    <a:pt x="4095" y="946"/>
                  </a:cubicBezTo>
                  <a:cubicBezTo>
                    <a:pt x="4110" y="946"/>
                    <a:pt x="4125" y="953"/>
                    <a:pt x="4140" y="968"/>
                  </a:cubicBezTo>
                  <a:cubicBezTo>
                    <a:pt x="4154" y="990"/>
                    <a:pt x="4161" y="1004"/>
                    <a:pt x="4169" y="1026"/>
                  </a:cubicBezTo>
                  <a:cubicBezTo>
                    <a:pt x="4183" y="1048"/>
                    <a:pt x="4191" y="1070"/>
                    <a:pt x="4205" y="1070"/>
                  </a:cubicBezTo>
                  <a:cubicBezTo>
                    <a:pt x="4235" y="1063"/>
                    <a:pt x="4235" y="1063"/>
                    <a:pt x="4242" y="1048"/>
                  </a:cubicBezTo>
                  <a:cubicBezTo>
                    <a:pt x="4242" y="1033"/>
                    <a:pt x="4250" y="1019"/>
                    <a:pt x="4257" y="997"/>
                  </a:cubicBezTo>
                  <a:cubicBezTo>
                    <a:pt x="4271" y="975"/>
                    <a:pt x="4279" y="953"/>
                    <a:pt x="4279" y="938"/>
                  </a:cubicBezTo>
                  <a:cubicBezTo>
                    <a:pt x="4286" y="916"/>
                    <a:pt x="4286" y="887"/>
                    <a:pt x="4323" y="887"/>
                  </a:cubicBezTo>
                  <a:cubicBezTo>
                    <a:pt x="4323" y="887"/>
                    <a:pt x="4330" y="887"/>
                    <a:pt x="4337" y="887"/>
                  </a:cubicBezTo>
                  <a:cubicBezTo>
                    <a:pt x="4352" y="894"/>
                    <a:pt x="4359" y="894"/>
                    <a:pt x="4367" y="894"/>
                  </a:cubicBezTo>
                  <a:cubicBezTo>
                    <a:pt x="4374" y="902"/>
                    <a:pt x="4381" y="902"/>
                    <a:pt x="4381" y="902"/>
                  </a:cubicBezTo>
                  <a:cubicBezTo>
                    <a:pt x="4389" y="902"/>
                    <a:pt x="4396" y="894"/>
                    <a:pt x="4403" y="872"/>
                  </a:cubicBezTo>
                  <a:cubicBezTo>
                    <a:pt x="4411" y="858"/>
                    <a:pt x="4418" y="836"/>
                    <a:pt x="4425" y="821"/>
                  </a:cubicBezTo>
                  <a:cubicBezTo>
                    <a:pt x="4447" y="784"/>
                    <a:pt x="4469" y="740"/>
                    <a:pt x="4462" y="711"/>
                  </a:cubicBezTo>
                  <a:cubicBezTo>
                    <a:pt x="4455" y="667"/>
                    <a:pt x="4440" y="587"/>
                    <a:pt x="4491" y="543"/>
                  </a:cubicBezTo>
                  <a:cubicBezTo>
                    <a:pt x="4506" y="535"/>
                    <a:pt x="4513" y="521"/>
                    <a:pt x="4528" y="513"/>
                  </a:cubicBezTo>
                  <a:cubicBezTo>
                    <a:pt x="4543" y="499"/>
                    <a:pt x="4557" y="484"/>
                    <a:pt x="4594" y="469"/>
                  </a:cubicBezTo>
                  <a:cubicBezTo>
                    <a:pt x="4616" y="462"/>
                    <a:pt x="4616" y="455"/>
                    <a:pt x="4631" y="433"/>
                  </a:cubicBezTo>
                  <a:cubicBezTo>
                    <a:pt x="4645" y="418"/>
                    <a:pt x="4660" y="389"/>
                    <a:pt x="4689" y="359"/>
                  </a:cubicBezTo>
                  <a:cubicBezTo>
                    <a:pt x="4748" y="279"/>
                    <a:pt x="4755" y="279"/>
                    <a:pt x="4806" y="271"/>
                  </a:cubicBezTo>
                  <a:cubicBezTo>
                    <a:pt x="4850" y="264"/>
                    <a:pt x="4850" y="264"/>
                    <a:pt x="4850" y="264"/>
                  </a:cubicBezTo>
                  <a:cubicBezTo>
                    <a:pt x="4894" y="257"/>
                    <a:pt x="4924" y="257"/>
                    <a:pt x="4953" y="228"/>
                  </a:cubicBezTo>
                  <a:cubicBezTo>
                    <a:pt x="4960" y="220"/>
                    <a:pt x="4960" y="220"/>
                    <a:pt x="4960" y="220"/>
                  </a:cubicBezTo>
                  <a:cubicBezTo>
                    <a:pt x="4960" y="213"/>
                    <a:pt x="4945" y="205"/>
                    <a:pt x="4938" y="198"/>
                  </a:cubicBezTo>
                  <a:cubicBezTo>
                    <a:pt x="4931" y="191"/>
                    <a:pt x="4916" y="183"/>
                    <a:pt x="4909" y="176"/>
                  </a:cubicBezTo>
                  <a:cubicBezTo>
                    <a:pt x="4865" y="132"/>
                    <a:pt x="4865" y="103"/>
                    <a:pt x="4887" y="37"/>
                  </a:cubicBezTo>
                  <a:cubicBezTo>
                    <a:pt x="4902" y="15"/>
                    <a:pt x="4916" y="0"/>
                    <a:pt x="4931" y="0"/>
                  </a:cubicBezTo>
                  <a:cubicBezTo>
                    <a:pt x="4960" y="0"/>
                    <a:pt x="4990" y="30"/>
                    <a:pt x="5012" y="59"/>
                  </a:cubicBezTo>
                  <a:cubicBezTo>
                    <a:pt x="5012" y="66"/>
                    <a:pt x="5012" y="66"/>
                    <a:pt x="5012" y="66"/>
                  </a:cubicBezTo>
                  <a:cubicBezTo>
                    <a:pt x="5041" y="118"/>
                    <a:pt x="5048" y="125"/>
                    <a:pt x="5092" y="132"/>
                  </a:cubicBezTo>
                  <a:cubicBezTo>
                    <a:pt x="5136" y="140"/>
                    <a:pt x="5143" y="169"/>
                    <a:pt x="5151" y="198"/>
                  </a:cubicBezTo>
                  <a:cubicBezTo>
                    <a:pt x="5158" y="205"/>
                    <a:pt x="5165" y="220"/>
                    <a:pt x="5173" y="235"/>
                  </a:cubicBezTo>
                  <a:cubicBezTo>
                    <a:pt x="5187" y="257"/>
                    <a:pt x="5202" y="293"/>
                    <a:pt x="5209" y="323"/>
                  </a:cubicBezTo>
                  <a:cubicBezTo>
                    <a:pt x="5217" y="337"/>
                    <a:pt x="5224" y="359"/>
                    <a:pt x="5231" y="367"/>
                  </a:cubicBezTo>
                  <a:cubicBezTo>
                    <a:pt x="5246" y="396"/>
                    <a:pt x="5261" y="411"/>
                    <a:pt x="5275" y="411"/>
                  </a:cubicBezTo>
                  <a:cubicBezTo>
                    <a:pt x="5283" y="411"/>
                    <a:pt x="5297" y="411"/>
                    <a:pt x="5305" y="403"/>
                  </a:cubicBezTo>
                  <a:cubicBezTo>
                    <a:pt x="5319" y="396"/>
                    <a:pt x="5334" y="389"/>
                    <a:pt x="5341" y="381"/>
                  </a:cubicBezTo>
                  <a:cubicBezTo>
                    <a:pt x="5363" y="367"/>
                    <a:pt x="5378" y="352"/>
                    <a:pt x="5400" y="352"/>
                  </a:cubicBezTo>
                  <a:cubicBezTo>
                    <a:pt x="5407" y="352"/>
                    <a:pt x="5422" y="359"/>
                    <a:pt x="5429" y="367"/>
                  </a:cubicBezTo>
                  <a:cubicBezTo>
                    <a:pt x="5444" y="374"/>
                    <a:pt x="5451" y="389"/>
                    <a:pt x="5459" y="396"/>
                  </a:cubicBezTo>
                  <a:cubicBezTo>
                    <a:pt x="5473" y="411"/>
                    <a:pt x="5473" y="418"/>
                    <a:pt x="5488" y="418"/>
                  </a:cubicBezTo>
                  <a:cubicBezTo>
                    <a:pt x="5488" y="418"/>
                    <a:pt x="5495" y="418"/>
                    <a:pt x="5502" y="411"/>
                  </a:cubicBezTo>
                  <a:cubicBezTo>
                    <a:pt x="5546" y="396"/>
                    <a:pt x="5546" y="396"/>
                    <a:pt x="5590" y="367"/>
                  </a:cubicBezTo>
                  <a:cubicBezTo>
                    <a:pt x="5605" y="352"/>
                    <a:pt x="5605" y="352"/>
                    <a:pt x="5605" y="352"/>
                  </a:cubicBezTo>
                  <a:cubicBezTo>
                    <a:pt x="5620" y="337"/>
                    <a:pt x="5634" y="330"/>
                    <a:pt x="5649" y="330"/>
                  </a:cubicBezTo>
                  <a:cubicBezTo>
                    <a:pt x="5664" y="330"/>
                    <a:pt x="5671" y="337"/>
                    <a:pt x="5693" y="345"/>
                  </a:cubicBezTo>
                  <a:cubicBezTo>
                    <a:pt x="5708" y="359"/>
                    <a:pt x="5737" y="359"/>
                    <a:pt x="5766" y="359"/>
                  </a:cubicBezTo>
                  <a:cubicBezTo>
                    <a:pt x="5788" y="359"/>
                    <a:pt x="5810" y="359"/>
                    <a:pt x="5825" y="352"/>
                  </a:cubicBezTo>
                  <a:cubicBezTo>
                    <a:pt x="5832" y="352"/>
                    <a:pt x="5832" y="352"/>
                    <a:pt x="5840" y="352"/>
                  </a:cubicBezTo>
                  <a:cubicBezTo>
                    <a:pt x="5847" y="352"/>
                    <a:pt x="5862" y="352"/>
                    <a:pt x="5869" y="367"/>
                  </a:cubicBezTo>
                  <a:cubicBezTo>
                    <a:pt x="5876" y="381"/>
                    <a:pt x="5883" y="411"/>
                    <a:pt x="5876" y="447"/>
                  </a:cubicBezTo>
                  <a:cubicBezTo>
                    <a:pt x="5876" y="462"/>
                    <a:pt x="5883" y="484"/>
                    <a:pt x="5883" y="499"/>
                  </a:cubicBezTo>
                  <a:cubicBezTo>
                    <a:pt x="5898" y="543"/>
                    <a:pt x="5913" y="601"/>
                    <a:pt x="5847" y="645"/>
                  </a:cubicBezTo>
                  <a:cubicBezTo>
                    <a:pt x="5766" y="704"/>
                    <a:pt x="5700" y="784"/>
                    <a:pt x="5671" y="828"/>
                  </a:cubicBezTo>
                  <a:cubicBezTo>
                    <a:pt x="5664" y="843"/>
                    <a:pt x="5642" y="872"/>
                    <a:pt x="5649" y="887"/>
                  </a:cubicBezTo>
                  <a:cubicBezTo>
                    <a:pt x="5656" y="894"/>
                    <a:pt x="5671" y="902"/>
                    <a:pt x="5693" y="909"/>
                  </a:cubicBezTo>
                  <a:cubicBezTo>
                    <a:pt x="5730" y="909"/>
                    <a:pt x="5752" y="909"/>
                    <a:pt x="5766" y="909"/>
                  </a:cubicBezTo>
                  <a:cubicBezTo>
                    <a:pt x="5803" y="909"/>
                    <a:pt x="5832" y="909"/>
                    <a:pt x="5869" y="924"/>
                  </a:cubicBezTo>
                  <a:cubicBezTo>
                    <a:pt x="5883" y="924"/>
                    <a:pt x="5891" y="931"/>
                    <a:pt x="5898" y="931"/>
                  </a:cubicBezTo>
                  <a:cubicBezTo>
                    <a:pt x="5905" y="931"/>
                    <a:pt x="5905" y="931"/>
                    <a:pt x="5920" y="909"/>
                  </a:cubicBezTo>
                  <a:cubicBezTo>
                    <a:pt x="5920" y="902"/>
                    <a:pt x="5935" y="894"/>
                    <a:pt x="5942" y="880"/>
                  </a:cubicBezTo>
                  <a:cubicBezTo>
                    <a:pt x="5993" y="814"/>
                    <a:pt x="6001" y="814"/>
                    <a:pt x="6074" y="755"/>
                  </a:cubicBezTo>
                  <a:cubicBezTo>
                    <a:pt x="6103" y="733"/>
                    <a:pt x="6118" y="711"/>
                    <a:pt x="6125" y="696"/>
                  </a:cubicBezTo>
                  <a:cubicBezTo>
                    <a:pt x="6140" y="667"/>
                    <a:pt x="6155" y="652"/>
                    <a:pt x="6213" y="652"/>
                  </a:cubicBezTo>
                  <a:cubicBezTo>
                    <a:pt x="6228" y="652"/>
                    <a:pt x="6228" y="652"/>
                    <a:pt x="6228" y="652"/>
                  </a:cubicBezTo>
                  <a:cubicBezTo>
                    <a:pt x="6228" y="667"/>
                    <a:pt x="6228" y="667"/>
                    <a:pt x="6228" y="667"/>
                  </a:cubicBezTo>
                  <a:cubicBezTo>
                    <a:pt x="6228" y="711"/>
                    <a:pt x="6243" y="770"/>
                    <a:pt x="6294" y="814"/>
                  </a:cubicBezTo>
                  <a:cubicBezTo>
                    <a:pt x="6316" y="828"/>
                    <a:pt x="6323" y="850"/>
                    <a:pt x="6323" y="872"/>
                  </a:cubicBezTo>
                  <a:cubicBezTo>
                    <a:pt x="6331" y="931"/>
                    <a:pt x="6294" y="990"/>
                    <a:pt x="6257" y="1026"/>
                  </a:cubicBezTo>
                  <a:cubicBezTo>
                    <a:pt x="6206" y="1092"/>
                    <a:pt x="6199" y="1121"/>
                    <a:pt x="6206" y="1187"/>
                  </a:cubicBezTo>
                  <a:cubicBezTo>
                    <a:pt x="6221" y="1253"/>
                    <a:pt x="6228" y="1414"/>
                    <a:pt x="6228" y="1480"/>
                  </a:cubicBezTo>
                  <a:cubicBezTo>
                    <a:pt x="6228" y="1546"/>
                    <a:pt x="6155" y="1642"/>
                    <a:pt x="6103" y="1700"/>
                  </a:cubicBezTo>
                  <a:cubicBezTo>
                    <a:pt x="6081" y="1730"/>
                    <a:pt x="6081" y="1730"/>
                    <a:pt x="6081" y="1730"/>
                  </a:cubicBezTo>
                  <a:cubicBezTo>
                    <a:pt x="6045" y="1773"/>
                    <a:pt x="5964" y="1832"/>
                    <a:pt x="5847" y="1913"/>
                  </a:cubicBezTo>
                  <a:cubicBezTo>
                    <a:pt x="5803" y="1942"/>
                    <a:pt x="5803" y="2001"/>
                    <a:pt x="5840" y="2089"/>
                  </a:cubicBezTo>
                  <a:cubicBezTo>
                    <a:pt x="5869" y="2140"/>
                    <a:pt x="5854" y="2169"/>
                    <a:pt x="5840" y="2206"/>
                  </a:cubicBezTo>
                  <a:cubicBezTo>
                    <a:pt x="5832" y="2228"/>
                    <a:pt x="5817" y="2257"/>
                    <a:pt x="5810" y="2287"/>
                  </a:cubicBezTo>
                  <a:cubicBezTo>
                    <a:pt x="5803" y="2309"/>
                    <a:pt x="5810" y="2316"/>
                    <a:pt x="5817" y="2331"/>
                  </a:cubicBezTo>
                  <a:cubicBezTo>
                    <a:pt x="5832" y="2352"/>
                    <a:pt x="5876" y="2360"/>
                    <a:pt x="5935" y="2360"/>
                  </a:cubicBezTo>
                  <a:cubicBezTo>
                    <a:pt x="5950" y="2360"/>
                    <a:pt x="5950" y="2360"/>
                    <a:pt x="5950" y="2360"/>
                  </a:cubicBezTo>
                  <a:cubicBezTo>
                    <a:pt x="5964" y="2360"/>
                    <a:pt x="5964" y="2360"/>
                    <a:pt x="5964" y="2360"/>
                  </a:cubicBezTo>
                  <a:cubicBezTo>
                    <a:pt x="5964" y="2367"/>
                    <a:pt x="5964" y="2367"/>
                    <a:pt x="5964" y="2367"/>
                  </a:cubicBezTo>
                  <a:cubicBezTo>
                    <a:pt x="5964" y="2367"/>
                    <a:pt x="6030" y="2455"/>
                    <a:pt x="6118" y="2499"/>
                  </a:cubicBezTo>
                  <a:cubicBezTo>
                    <a:pt x="6162" y="2521"/>
                    <a:pt x="6191" y="2543"/>
                    <a:pt x="6213" y="2558"/>
                  </a:cubicBezTo>
                  <a:cubicBezTo>
                    <a:pt x="6243" y="2580"/>
                    <a:pt x="6264" y="2602"/>
                    <a:pt x="6308" y="2609"/>
                  </a:cubicBezTo>
                  <a:cubicBezTo>
                    <a:pt x="6367" y="2631"/>
                    <a:pt x="6382" y="2668"/>
                    <a:pt x="6404" y="2719"/>
                  </a:cubicBezTo>
                  <a:cubicBezTo>
                    <a:pt x="6411" y="2748"/>
                    <a:pt x="6426" y="2778"/>
                    <a:pt x="6440" y="2814"/>
                  </a:cubicBezTo>
                  <a:cubicBezTo>
                    <a:pt x="6477" y="2873"/>
                    <a:pt x="6572" y="2909"/>
                    <a:pt x="6653" y="2939"/>
                  </a:cubicBezTo>
                  <a:cubicBezTo>
                    <a:pt x="6697" y="2953"/>
                    <a:pt x="6733" y="2968"/>
                    <a:pt x="6755" y="2990"/>
                  </a:cubicBezTo>
                  <a:cubicBezTo>
                    <a:pt x="6799" y="3019"/>
                    <a:pt x="6902" y="3107"/>
                    <a:pt x="6895" y="3159"/>
                  </a:cubicBezTo>
                  <a:cubicBezTo>
                    <a:pt x="6895" y="3173"/>
                    <a:pt x="6895" y="3188"/>
                    <a:pt x="6880" y="3195"/>
                  </a:cubicBezTo>
                  <a:cubicBezTo>
                    <a:pt x="6843" y="3224"/>
                    <a:pt x="6829" y="3290"/>
                    <a:pt x="6851" y="3356"/>
                  </a:cubicBezTo>
                  <a:cubicBezTo>
                    <a:pt x="6858" y="3371"/>
                    <a:pt x="6858" y="3378"/>
                    <a:pt x="6865" y="3386"/>
                  </a:cubicBezTo>
                  <a:cubicBezTo>
                    <a:pt x="6880" y="3437"/>
                    <a:pt x="6895" y="3466"/>
                    <a:pt x="6836" y="3532"/>
                  </a:cubicBezTo>
                  <a:cubicBezTo>
                    <a:pt x="6821" y="3547"/>
                    <a:pt x="6814" y="3562"/>
                    <a:pt x="6799" y="3576"/>
                  </a:cubicBezTo>
                  <a:cubicBezTo>
                    <a:pt x="6770" y="3613"/>
                    <a:pt x="6748" y="3635"/>
                    <a:pt x="6719" y="3701"/>
                  </a:cubicBezTo>
                  <a:cubicBezTo>
                    <a:pt x="6697" y="3745"/>
                    <a:pt x="6712" y="3759"/>
                    <a:pt x="6733" y="3789"/>
                  </a:cubicBezTo>
                  <a:cubicBezTo>
                    <a:pt x="6748" y="3811"/>
                    <a:pt x="6770" y="3840"/>
                    <a:pt x="6770" y="3884"/>
                  </a:cubicBezTo>
                  <a:cubicBezTo>
                    <a:pt x="6777" y="3935"/>
                    <a:pt x="6799" y="3979"/>
                    <a:pt x="6814" y="4016"/>
                  </a:cubicBezTo>
                  <a:cubicBezTo>
                    <a:pt x="6829" y="4045"/>
                    <a:pt x="6836" y="4074"/>
                    <a:pt x="6843" y="4096"/>
                  </a:cubicBezTo>
                  <a:cubicBezTo>
                    <a:pt x="6851" y="4133"/>
                    <a:pt x="6953" y="4148"/>
                    <a:pt x="7012" y="4162"/>
                  </a:cubicBezTo>
                  <a:cubicBezTo>
                    <a:pt x="7026" y="4162"/>
                    <a:pt x="7034" y="4162"/>
                    <a:pt x="7041" y="4162"/>
                  </a:cubicBezTo>
                  <a:cubicBezTo>
                    <a:pt x="7078" y="4170"/>
                    <a:pt x="7114" y="4199"/>
                    <a:pt x="7129" y="4243"/>
                  </a:cubicBezTo>
                  <a:cubicBezTo>
                    <a:pt x="7144" y="4280"/>
                    <a:pt x="7151" y="4316"/>
                    <a:pt x="7136" y="4338"/>
                  </a:cubicBezTo>
                  <a:cubicBezTo>
                    <a:pt x="7122" y="4353"/>
                    <a:pt x="7114" y="4360"/>
                    <a:pt x="7100" y="4368"/>
                  </a:cubicBezTo>
                  <a:cubicBezTo>
                    <a:pt x="7093" y="4375"/>
                    <a:pt x="7085" y="4382"/>
                    <a:pt x="7093" y="4390"/>
                  </a:cubicBezTo>
                  <a:cubicBezTo>
                    <a:pt x="7100" y="4412"/>
                    <a:pt x="7122" y="4419"/>
                    <a:pt x="7136" y="4426"/>
                  </a:cubicBezTo>
                  <a:cubicBezTo>
                    <a:pt x="7144" y="4426"/>
                    <a:pt x="7151" y="4426"/>
                    <a:pt x="7158" y="4433"/>
                  </a:cubicBezTo>
                  <a:cubicBezTo>
                    <a:pt x="7158" y="4448"/>
                    <a:pt x="7158" y="4463"/>
                    <a:pt x="7122" y="4514"/>
                  </a:cubicBezTo>
                  <a:cubicBezTo>
                    <a:pt x="7085" y="4573"/>
                    <a:pt x="7122" y="4646"/>
                    <a:pt x="7246" y="4734"/>
                  </a:cubicBezTo>
                  <a:cubicBezTo>
                    <a:pt x="7334" y="4800"/>
                    <a:pt x="7261" y="4924"/>
                    <a:pt x="7217" y="5005"/>
                  </a:cubicBezTo>
                  <a:cubicBezTo>
                    <a:pt x="7217" y="5012"/>
                    <a:pt x="7210" y="5027"/>
                    <a:pt x="7202" y="5034"/>
                  </a:cubicBezTo>
                  <a:cubicBezTo>
                    <a:pt x="7181" y="5086"/>
                    <a:pt x="7188" y="5108"/>
                    <a:pt x="7195" y="5159"/>
                  </a:cubicBezTo>
                  <a:cubicBezTo>
                    <a:pt x="7195" y="5174"/>
                    <a:pt x="7202" y="5188"/>
                    <a:pt x="7202" y="5210"/>
                  </a:cubicBezTo>
                  <a:cubicBezTo>
                    <a:pt x="7217" y="5298"/>
                    <a:pt x="7122" y="5430"/>
                    <a:pt x="7063" y="5496"/>
                  </a:cubicBezTo>
                  <a:cubicBezTo>
                    <a:pt x="6997" y="5562"/>
                    <a:pt x="6983" y="5577"/>
                    <a:pt x="7019" y="5643"/>
                  </a:cubicBezTo>
                  <a:cubicBezTo>
                    <a:pt x="7041" y="5679"/>
                    <a:pt x="7063" y="5701"/>
                    <a:pt x="7085" y="5723"/>
                  </a:cubicBezTo>
                  <a:cubicBezTo>
                    <a:pt x="7114" y="5752"/>
                    <a:pt x="7144" y="5782"/>
                    <a:pt x="7158" y="5840"/>
                  </a:cubicBezTo>
                  <a:cubicBezTo>
                    <a:pt x="7158" y="5848"/>
                    <a:pt x="7158" y="5848"/>
                    <a:pt x="7158" y="5848"/>
                  </a:cubicBezTo>
                  <a:cubicBezTo>
                    <a:pt x="7181" y="5936"/>
                    <a:pt x="7195" y="5980"/>
                    <a:pt x="7276" y="6002"/>
                  </a:cubicBezTo>
                  <a:cubicBezTo>
                    <a:pt x="7349" y="6016"/>
                    <a:pt x="7356" y="6068"/>
                    <a:pt x="7364" y="6126"/>
                  </a:cubicBezTo>
                  <a:cubicBezTo>
                    <a:pt x="7371" y="6148"/>
                    <a:pt x="7378" y="6178"/>
                    <a:pt x="7386" y="6207"/>
                  </a:cubicBezTo>
                  <a:cubicBezTo>
                    <a:pt x="7422" y="6309"/>
                    <a:pt x="7422" y="6324"/>
                    <a:pt x="7386" y="6375"/>
                  </a:cubicBezTo>
                  <a:cubicBezTo>
                    <a:pt x="7356" y="6412"/>
                    <a:pt x="7312" y="6449"/>
                    <a:pt x="7290" y="6471"/>
                  </a:cubicBezTo>
                  <a:cubicBezTo>
                    <a:pt x="7320" y="6493"/>
                    <a:pt x="7320" y="6493"/>
                    <a:pt x="7320" y="6493"/>
                  </a:cubicBezTo>
                  <a:cubicBezTo>
                    <a:pt x="7298" y="6500"/>
                    <a:pt x="7298" y="6500"/>
                    <a:pt x="7298" y="6500"/>
                  </a:cubicBezTo>
                  <a:cubicBezTo>
                    <a:pt x="7239" y="6522"/>
                    <a:pt x="7202" y="6537"/>
                    <a:pt x="7188" y="6544"/>
                  </a:cubicBezTo>
                  <a:cubicBezTo>
                    <a:pt x="7181" y="6551"/>
                    <a:pt x="7181" y="6551"/>
                    <a:pt x="7166" y="6551"/>
                  </a:cubicBezTo>
                  <a:cubicBezTo>
                    <a:pt x="7129" y="6551"/>
                    <a:pt x="7049" y="6493"/>
                    <a:pt x="7034" y="6449"/>
                  </a:cubicBezTo>
                  <a:cubicBezTo>
                    <a:pt x="7026" y="6434"/>
                    <a:pt x="7012" y="6427"/>
                    <a:pt x="7005" y="6427"/>
                  </a:cubicBezTo>
                  <a:cubicBezTo>
                    <a:pt x="6990" y="6427"/>
                    <a:pt x="6975" y="6434"/>
                    <a:pt x="6961" y="6456"/>
                  </a:cubicBezTo>
                  <a:cubicBezTo>
                    <a:pt x="6953" y="6478"/>
                    <a:pt x="6946" y="6485"/>
                    <a:pt x="6946" y="6500"/>
                  </a:cubicBezTo>
                  <a:cubicBezTo>
                    <a:pt x="6946" y="6507"/>
                    <a:pt x="6946" y="6522"/>
                    <a:pt x="6924" y="6522"/>
                  </a:cubicBezTo>
                  <a:cubicBezTo>
                    <a:pt x="6917" y="6522"/>
                    <a:pt x="6917" y="6522"/>
                    <a:pt x="6909" y="6522"/>
                  </a:cubicBezTo>
                  <a:cubicBezTo>
                    <a:pt x="6895" y="6522"/>
                    <a:pt x="6880" y="6514"/>
                    <a:pt x="6873" y="6514"/>
                  </a:cubicBezTo>
                  <a:cubicBezTo>
                    <a:pt x="6851" y="6514"/>
                    <a:pt x="6821" y="6522"/>
                    <a:pt x="6770" y="6544"/>
                  </a:cubicBezTo>
                  <a:cubicBezTo>
                    <a:pt x="6741" y="6559"/>
                    <a:pt x="6726" y="6566"/>
                    <a:pt x="6719" y="6566"/>
                  </a:cubicBezTo>
                  <a:cubicBezTo>
                    <a:pt x="6697" y="6581"/>
                    <a:pt x="6697" y="6581"/>
                    <a:pt x="6645" y="6588"/>
                  </a:cubicBezTo>
                  <a:cubicBezTo>
                    <a:pt x="6616" y="6595"/>
                    <a:pt x="6609" y="6602"/>
                    <a:pt x="6602" y="6624"/>
                  </a:cubicBezTo>
                  <a:cubicBezTo>
                    <a:pt x="6602" y="6639"/>
                    <a:pt x="6594" y="6661"/>
                    <a:pt x="6565" y="6690"/>
                  </a:cubicBezTo>
                  <a:cubicBezTo>
                    <a:pt x="6536" y="6712"/>
                    <a:pt x="6528" y="6727"/>
                    <a:pt x="6521" y="6734"/>
                  </a:cubicBezTo>
                  <a:cubicBezTo>
                    <a:pt x="6521" y="6734"/>
                    <a:pt x="6514" y="6749"/>
                    <a:pt x="6506" y="6749"/>
                  </a:cubicBezTo>
                  <a:cubicBezTo>
                    <a:pt x="6499" y="6749"/>
                    <a:pt x="6492" y="6742"/>
                    <a:pt x="6484" y="6734"/>
                  </a:cubicBezTo>
                  <a:cubicBezTo>
                    <a:pt x="6484" y="6727"/>
                    <a:pt x="6484" y="6727"/>
                    <a:pt x="6484" y="6727"/>
                  </a:cubicBezTo>
                  <a:cubicBezTo>
                    <a:pt x="6470" y="6720"/>
                    <a:pt x="6462" y="6705"/>
                    <a:pt x="6462" y="6698"/>
                  </a:cubicBezTo>
                  <a:cubicBezTo>
                    <a:pt x="6455" y="6676"/>
                    <a:pt x="6455" y="6676"/>
                    <a:pt x="6433" y="6676"/>
                  </a:cubicBezTo>
                  <a:cubicBezTo>
                    <a:pt x="6382" y="6676"/>
                    <a:pt x="6316" y="6676"/>
                    <a:pt x="6279" y="6639"/>
                  </a:cubicBezTo>
                  <a:cubicBezTo>
                    <a:pt x="6272" y="6632"/>
                    <a:pt x="6257" y="6624"/>
                    <a:pt x="6243" y="6624"/>
                  </a:cubicBezTo>
                  <a:cubicBezTo>
                    <a:pt x="6199" y="6624"/>
                    <a:pt x="6140" y="6647"/>
                    <a:pt x="6103" y="6654"/>
                  </a:cubicBezTo>
                  <a:cubicBezTo>
                    <a:pt x="6081" y="6669"/>
                    <a:pt x="6074" y="6683"/>
                    <a:pt x="6067" y="6720"/>
                  </a:cubicBezTo>
                  <a:cubicBezTo>
                    <a:pt x="6059" y="6742"/>
                    <a:pt x="6052" y="6764"/>
                    <a:pt x="6037" y="6786"/>
                  </a:cubicBezTo>
                  <a:cubicBezTo>
                    <a:pt x="6030" y="6808"/>
                    <a:pt x="6023" y="6822"/>
                    <a:pt x="6015" y="6830"/>
                  </a:cubicBezTo>
                  <a:cubicBezTo>
                    <a:pt x="6008" y="6859"/>
                    <a:pt x="6001" y="6874"/>
                    <a:pt x="5964" y="6888"/>
                  </a:cubicBezTo>
                  <a:cubicBezTo>
                    <a:pt x="5942" y="6896"/>
                    <a:pt x="5942" y="6903"/>
                    <a:pt x="5957" y="6947"/>
                  </a:cubicBezTo>
                  <a:cubicBezTo>
                    <a:pt x="5964" y="6962"/>
                    <a:pt x="5971" y="6983"/>
                    <a:pt x="5971" y="7005"/>
                  </a:cubicBezTo>
                  <a:cubicBezTo>
                    <a:pt x="5979" y="7064"/>
                    <a:pt x="5957" y="7093"/>
                    <a:pt x="5935" y="7130"/>
                  </a:cubicBezTo>
                  <a:cubicBezTo>
                    <a:pt x="5927" y="7145"/>
                    <a:pt x="5920" y="7159"/>
                    <a:pt x="5913" y="7174"/>
                  </a:cubicBezTo>
                  <a:cubicBezTo>
                    <a:pt x="5891" y="7218"/>
                    <a:pt x="5862" y="7225"/>
                    <a:pt x="5854" y="7225"/>
                  </a:cubicBezTo>
                  <a:cubicBezTo>
                    <a:pt x="5825" y="7225"/>
                    <a:pt x="5803" y="7203"/>
                    <a:pt x="5803" y="7167"/>
                  </a:cubicBezTo>
                  <a:cubicBezTo>
                    <a:pt x="5803" y="7152"/>
                    <a:pt x="5803" y="7152"/>
                    <a:pt x="5795" y="7152"/>
                  </a:cubicBezTo>
                  <a:cubicBezTo>
                    <a:pt x="5788" y="7152"/>
                    <a:pt x="5774" y="7152"/>
                    <a:pt x="5744" y="7174"/>
                  </a:cubicBezTo>
                  <a:cubicBezTo>
                    <a:pt x="5708" y="7196"/>
                    <a:pt x="5686" y="7203"/>
                    <a:pt x="5642" y="7211"/>
                  </a:cubicBezTo>
                  <a:cubicBezTo>
                    <a:pt x="5620" y="7211"/>
                    <a:pt x="5598" y="7218"/>
                    <a:pt x="5561" y="7225"/>
                  </a:cubicBezTo>
                  <a:cubicBezTo>
                    <a:pt x="5532" y="7233"/>
                    <a:pt x="5510" y="7240"/>
                    <a:pt x="5488" y="7240"/>
                  </a:cubicBezTo>
                  <a:cubicBezTo>
                    <a:pt x="5444" y="7255"/>
                    <a:pt x="5407" y="7262"/>
                    <a:pt x="5349" y="7284"/>
                  </a:cubicBezTo>
                  <a:cubicBezTo>
                    <a:pt x="5326" y="7291"/>
                    <a:pt x="5305" y="7299"/>
                    <a:pt x="5275" y="7299"/>
                  </a:cubicBezTo>
                </a:path>
              </a:pathLst>
            </a:custGeom>
            <a:grpFill/>
            <a:ln w="28575" cmpd="sng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36" name="Freeform 135"/>
            <p:cNvSpPr>
              <a:spLocks noChangeArrowheads="1"/>
            </p:cNvSpPr>
            <p:nvPr/>
          </p:nvSpPr>
          <p:spPr bwMode="auto">
            <a:xfrm>
              <a:off x="7619993" y="4378228"/>
              <a:ext cx="2870828" cy="2785104"/>
            </a:xfrm>
            <a:custGeom>
              <a:avLst/>
              <a:gdLst>
                <a:gd name="T0" fmla="*/ 5532 w 7468"/>
                <a:gd name="T1" fmla="*/ 439 h 7328"/>
                <a:gd name="T2" fmla="*/ 5928 w 7468"/>
                <a:gd name="T3" fmla="*/ 960 h 7328"/>
                <a:gd name="T4" fmla="*/ 5965 w 7468"/>
                <a:gd name="T5" fmla="*/ 2388 h 7328"/>
                <a:gd name="T6" fmla="*/ 7071 w 7468"/>
                <a:gd name="T7" fmla="*/ 4191 h 7328"/>
                <a:gd name="T8" fmla="*/ 7298 w 7468"/>
                <a:gd name="T9" fmla="*/ 6030 h 7328"/>
                <a:gd name="T10" fmla="*/ 6903 w 7468"/>
                <a:gd name="T11" fmla="*/ 6514 h 7328"/>
                <a:gd name="T12" fmla="*/ 5987 w 7468"/>
                <a:gd name="T13" fmla="*/ 7019 h 7328"/>
                <a:gd name="T14" fmla="*/ 4697 w 7468"/>
                <a:gd name="T15" fmla="*/ 7100 h 7328"/>
                <a:gd name="T16" fmla="*/ 4177 w 7468"/>
                <a:gd name="T17" fmla="*/ 6946 h 7328"/>
                <a:gd name="T18" fmla="*/ 3869 w 7468"/>
                <a:gd name="T19" fmla="*/ 6455 h 7328"/>
                <a:gd name="T20" fmla="*/ 3620 w 7468"/>
                <a:gd name="T21" fmla="*/ 5532 h 7328"/>
                <a:gd name="T22" fmla="*/ 3092 w 7468"/>
                <a:gd name="T23" fmla="*/ 5268 h 7328"/>
                <a:gd name="T24" fmla="*/ 2199 w 7468"/>
                <a:gd name="T25" fmla="*/ 4990 h 7328"/>
                <a:gd name="T26" fmla="*/ 2147 w 7468"/>
                <a:gd name="T27" fmla="*/ 3737 h 7328"/>
                <a:gd name="T28" fmla="*/ 1964 w 7468"/>
                <a:gd name="T29" fmla="*/ 2923 h 7328"/>
                <a:gd name="T30" fmla="*/ 1576 w 7468"/>
                <a:gd name="T31" fmla="*/ 2440 h 7328"/>
                <a:gd name="T32" fmla="*/ 901 w 7468"/>
                <a:gd name="T33" fmla="*/ 2147 h 7328"/>
                <a:gd name="T34" fmla="*/ 257 w 7468"/>
                <a:gd name="T35" fmla="*/ 1897 h 7328"/>
                <a:gd name="T36" fmla="*/ 579 w 7468"/>
                <a:gd name="T37" fmla="*/ 1685 h 7328"/>
                <a:gd name="T38" fmla="*/ 1370 w 7468"/>
                <a:gd name="T39" fmla="*/ 1143 h 7328"/>
                <a:gd name="T40" fmla="*/ 2081 w 7468"/>
                <a:gd name="T41" fmla="*/ 938 h 7328"/>
                <a:gd name="T42" fmla="*/ 2909 w 7468"/>
                <a:gd name="T43" fmla="*/ 1245 h 7328"/>
                <a:gd name="T44" fmla="*/ 3701 w 7468"/>
                <a:gd name="T45" fmla="*/ 1172 h 7328"/>
                <a:gd name="T46" fmla="*/ 4353 w 7468"/>
                <a:gd name="T47" fmla="*/ 916 h 7328"/>
                <a:gd name="T48" fmla="*/ 4961 w 7468"/>
                <a:gd name="T49" fmla="*/ 29 h 7328"/>
                <a:gd name="T50" fmla="*/ 4704 w 7468"/>
                <a:gd name="T51" fmla="*/ 366 h 7328"/>
                <a:gd name="T52" fmla="*/ 4294 w 7468"/>
                <a:gd name="T53" fmla="*/ 945 h 7328"/>
                <a:gd name="T54" fmla="*/ 3913 w 7468"/>
                <a:gd name="T55" fmla="*/ 1157 h 7328"/>
                <a:gd name="T56" fmla="*/ 3488 w 7468"/>
                <a:gd name="T57" fmla="*/ 1355 h 7328"/>
                <a:gd name="T58" fmla="*/ 3063 w 7468"/>
                <a:gd name="T59" fmla="*/ 1333 h 7328"/>
                <a:gd name="T60" fmla="*/ 2660 w 7468"/>
                <a:gd name="T61" fmla="*/ 1128 h 7328"/>
                <a:gd name="T62" fmla="*/ 1949 w 7468"/>
                <a:gd name="T63" fmla="*/ 872 h 7328"/>
                <a:gd name="T64" fmla="*/ 1458 w 7468"/>
                <a:gd name="T65" fmla="*/ 1033 h 7328"/>
                <a:gd name="T66" fmla="*/ 1004 w 7468"/>
                <a:gd name="T67" fmla="*/ 1304 h 7328"/>
                <a:gd name="T68" fmla="*/ 418 w 7468"/>
                <a:gd name="T69" fmla="*/ 1604 h 7328"/>
                <a:gd name="T70" fmla="*/ 271 w 7468"/>
                <a:gd name="T71" fmla="*/ 1927 h 7328"/>
                <a:gd name="T72" fmla="*/ 762 w 7468"/>
                <a:gd name="T73" fmla="*/ 1978 h 7328"/>
                <a:gd name="T74" fmla="*/ 1151 w 7468"/>
                <a:gd name="T75" fmla="*/ 2242 h 7328"/>
                <a:gd name="T76" fmla="*/ 1759 w 7468"/>
                <a:gd name="T77" fmla="*/ 2476 h 7328"/>
                <a:gd name="T78" fmla="*/ 1986 w 7468"/>
                <a:gd name="T79" fmla="*/ 3099 h 7328"/>
                <a:gd name="T80" fmla="*/ 2052 w 7468"/>
                <a:gd name="T81" fmla="*/ 3671 h 7328"/>
                <a:gd name="T82" fmla="*/ 2184 w 7468"/>
                <a:gd name="T83" fmla="*/ 4184 h 7328"/>
                <a:gd name="T84" fmla="*/ 2169 w 7468"/>
                <a:gd name="T85" fmla="*/ 5012 h 7328"/>
                <a:gd name="T86" fmla="*/ 2902 w 7468"/>
                <a:gd name="T87" fmla="*/ 5400 h 7328"/>
                <a:gd name="T88" fmla="*/ 3327 w 7468"/>
                <a:gd name="T89" fmla="*/ 5444 h 7328"/>
                <a:gd name="T90" fmla="*/ 3950 w 7468"/>
                <a:gd name="T91" fmla="*/ 5701 h 7328"/>
                <a:gd name="T92" fmla="*/ 3825 w 7468"/>
                <a:gd name="T93" fmla="*/ 6455 h 7328"/>
                <a:gd name="T94" fmla="*/ 4140 w 7468"/>
                <a:gd name="T95" fmla="*/ 6748 h 7328"/>
                <a:gd name="T96" fmla="*/ 4316 w 7468"/>
                <a:gd name="T97" fmla="*/ 7313 h 7328"/>
                <a:gd name="T98" fmla="*/ 4851 w 7468"/>
                <a:gd name="T99" fmla="*/ 7210 h 7328"/>
                <a:gd name="T100" fmla="*/ 5782 w 7468"/>
                <a:gd name="T101" fmla="*/ 7203 h 7328"/>
                <a:gd name="T102" fmla="*/ 6111 w 7468"/>
                <a:gd name="T103" fmla="*/ 6734 h 7328"/>
                <a:gd name="T104" fmla="*/ 6646 w 7468"/>
                <a:gd name="T105" fmla="*/ 6646 h 7328"/>
                <a:gd name="T106" fmla="*/ 7225 w 7468"/>
                <a:gd name="T107" fmla="*/ 6573 h 7328"/>
                <a:gd name="T108" fmla="*/ 7108 w 7468"/>
                <a:gd name="T109" fmla="*/ 5517 h 7328"/>
                <a:gd name="T110" fmla="*/ 7144 w 7468"/>
                <a:gd name="T111" fmla="*/ 4389 h 7328"/>
                <a:gd name="T112" fmla="*/ 6910 w 7468"/>
                <a:gd name="T113" fmla="*/ 3392 h 7328"/>
                <a:gd name="T114" fmla="*/ 6001 w 7468"/>
                <a:gd name="T115" fmla="*/ 2359 h 7328"/>
                <a:gd name="T116" fmla="*/ 6302 w 7468"/>
                <a:gd name="T117" fmla="*/ 1047 h 7328"/>
                <a:gd name="T118" fmla="*/ 5804 w 7468"/>
                <a:gd name="T119" fmla="*/ 908 h 7328"/>
                <a:gd name="T120" fmla="*/ 5679 w 7468"/>
                <a:gd name="T121" fmla="*/ 329 h 7328"/>
                <a:gd name="T122" fmla="*/ 5254 w 7468"/>
                <a:gd name="T123" fmla="*/ 329 h 7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468" h="7328">
                  <a:moveTo>
                    <a:pt x="4961" y="29"/>
                  </a:moveTo>
                  <a:lnTo>
                    <a:pt x="4961" y="29"/>
                  </a:lnTo>
                  <a:cubicBezTo>
                    <a:pt x="4983" y="29"/>
                    <a:pt x="5005" y="51"/>
                    <a:pt x="5027" y="88"/>
                  </a:cubicBezTo>
                  <a:cubicBezTo>
                    <a:pt x="5063" y="139"/>
                    <a:pt x="5071" y="154"/>
                    <a:pt x="5122" y="161"/>
                  </a:cubicBezTo>
                  <a:cubicBezTo>
                    <a:pt x="5173" y="168"/>
                    <a:pt x="5159" y="219"/>
                    <a:pt x="5188" y="256"/>
                  </a:cubicBezTo>
                  <a:cubicBezTo>
                    <a:pt x="5210" y="285"/>
                    <a:pt x="5232" y="359"/>
                    <a:pt x="5247" y="388"/>
                  </a:cubicBezTo>
                  <a:cubicBezTo>
                    <a:pt x="5261" y="417"/>
                    <a:pt x="5276" y="439"/>
                    <a:pt x="5305" y="439"/>
                  </a:cubicBezTo>
                  <a:cubicBezTo>
                    <a:pt x="5320" y="439"/>
                    <a:pt x="5327" y="439"/>
                    <a:pt x="5342" y="432"/>
                  </a:cubicBezTo>
                  <a:cubicBezTo>
                    <a:pt x="5379" y="410"/>
                    <a:pt x="5408" y="381"/>
                    <a:pt x="5430" y="381"/>
                  </a:cubicBezTo>
                  <a:cubicBezTo>
                    <a:pt x="5437" y="381"/>
                    <a:pt x="5444" y="388"/>
                    <a:pt x="5452" y="388"/>
                  </a:cubicBezTo>
                  <a:cubicBezTo>
                    <a:pt x="5481" y="410"/>
                    <a:pt x="5481" y="447"/>
                    <a:pt x="5518" y="447"/>
                  </a:cubicBezTo>
                  <a:cubicBezTo>
                    <a:pt x="5518" y="447"/>
                    <a:pt x="5525" y="447"/>
                    <a:pt x="5532" y="439"/>
                  </a:cubicBezTo>
                  <a:cubicBezTo>
                    <a:pt x="5584" y="425"/>
                    <a:pt x="5584" y="425"/>
                    <a:pt x="5628" y="388"/>
                  </a:cubicBezTo>
                  <a:cubicBezTo>
                    <a:pt x="5657" y="366"/>
                    <a:pt x="5664" y="359"/>
                    <a:pt x="5679" y="359"/>
                  </a:cubicBezTo>
                  <a:cubicBezTo>
                    <a:pt x="5686" y="359"/>
                    <a:pt x="5701" y="366"/>
                    <a:pt x="5716" y="373"/>
                  </a:cubicBezTo>
                  <a:cubicBezTo>
                    <a:pt x="5738" y="388"/>
                    <a:pt x="5767" y="388"/>
                    <a:pt x="5796" y="388"/>
                  </a:cubicBezTo>
                  <a:cubicBezTo>
                    <a:pt x="5818" y="388"/>
                    <a:pt x="5847" y="388"/>
                    <a:pt x="5862" y="381"/>
                  </a:cubicBezTo>
                  <a:cubicBezTo>
                    <a:pt x="5862" y="381"/>
                    <a:pt x="5862" y="381"/>
                    <a:pt x="5870" y="381"/>
                  </a:cubicBezTo>
                  <a:cubicBezTo>
                    <a:pt x="5892" y="381"/>
                    <a:pt x="5899" y="403"/>
                    <a:pt x="5892" y="461"/>
                  </a:cubicBezTo>
                  <a:cubicBezTo>
                    <a:pt x="5884" y="520"/>
                    <a:pt x="5950" y="586"/>
                    <a:pt x="5870" y="645"/>
                  </a:cubicBezTo>
                  <a:cubicBezTo>
                    <a:pt x="5782" y="703"/>
                    <a:pt x="5716" y="791"/>
                    <a:pt x="5686" y="835"/>
                  </a:cubicBezTo>
                  <a:cubicBezTo>
                    <a:pt x="5664" y="872"/>
                    <a:pt x="5635" y="923"/>
                    <a:pt x="5723" y="938"/>
                  </a:cubicBezTo>
                  <a:cubicBezTo>
                    <a:pt x="5811" y="945"/>
                    <a:pt x="5833" y="938"/>
                    <a:pt x="5892" y="952"/>
                  </a:cubicBezTo>
                  <a:cubicBezTo>
                    <a:pt x="5913" y="960"/>
                    <a:pt x="5921" y="960"/>
                    <a:pt x="5928" y="960"/>
                  </a:cubicBezTo>
                  <a:cubicBezTo>
                    <a:pt x="5950" y="960"/>
                    <a:pt x="5950" y="945"/>
                    <a:pt x="5987" y="901"/>
                  </a:cubicBezTo>
                  <a:cubicBezTo>
                    <a:pt x="6038" y="842"/>
                    <a:pt x="6038" y="842"/>
                    <a:pt x="6111" y="784"/>
                  </a:cubicBezTo>
                  <a:cubicBezTo>
                    <a:pt x="6192" y="725"/>
                    <a:pt x="6155" y="681"/>
                    <a:pt x="6243" y="681"/>
                  </a:cubicBezTo>
                  <a:cubicBezTo>
                    <a:pt x="6243" y="725"/>
                    <a:pt x="6258" y="791"/>
                    <a:pt x="6309" y="835"/>
                  </a:cubicBezTo>
                  <a:cubicBezTo>
                    <a:pt x="6368" y="886"/>
                    <a:pt x="6338" y="960"/>
                    <a:pt x="6280" y="1033"/>
                  </a:cubicBezTo>
                  <a:cubicBezTo>
                    <a:pt x="6221" y="1099"/>
                    <a:pt x="6214" y="1135"/>
                    <a:pt x="6221" y="1201"/>
                  </a:cubicBezTo>
                  <a:cubicBezTo>
                    <a:pt x="6236" y="1267"/>
                    <a:pt x="6243" y="1428"/>
                    <a:pt x="6243" y="1494"/>
                  </a:cubicBezTo>
                  <a:cubicBezTo>
                    <a:pt x="6243" y="1560"/>
                    <a:pt x="6141" y="1678"/>
                    <a:pt x="6097" y="1736"/>
                  </a:cubicBezTo>
                  <a:cubicBezTo>
                    <a:pt x="6053" y="1787"/>
                    <a:pt x="5935" y="1868"/>
                    <a:pt x="5870" y="1912"/>
                  </a:cubicBezTo>
                  <a:cubicBezTo>
                    <a:pt x="5804" y="1964"/>
                    <a:pt x="5825" y="2037"/>
                    <a:pt x="5862" y="2110"/>
                  </a:cubicBezTo>
                  <a:cubicBezTo>
                    <a:pt x="5892" y="2176"/>
                    <a:pt x="5847" y="2198"/>
                    <a:pt x="5825" y="2301"/>
                  </a:cubicBezTo>
                  <a:cubicBezTo>
                    <a:pt x="5804" y="2381"/>
                    <a:pt x="5921" y="2388"/>
                    <a:pt x="5965" y="2388"/>
                  </a:cubicBezTo>
                  <a:cubicBezTo>
                    <a:pt x="5980" y="2388"/>
                    <a:pt x="5987" y="2388"/>
                    <a:pt x="5987" y="2388"/>
                  </a:cubicBezTo>
                  <a:cubicBezTo>
                    <a:pt x="5987" y="2388"/>
                    <a:pt x="6053" y="2484"/>
                    <a:pt x="6141" y="2528"/>
                  </a:cubicBezTo>
                  <a:cubicBezTo>
                    <a:pt x="6236" y="2572"/>
                    <a:pt x="6258" y="2616"/>
                    <a:pt x="6338" y="2638"/>
                  </a:cubicBezTo>
                  <a:cubicBezTo>
                    <a:pt x="6412" y="2660"/>
                    <a:pt x="6404" y="2733"/>
                    <a:pt x="6463" y="2835"/>
                  </a:cubicBezTo>
                  <a:cubicBezTo>
                    <a:pt x="6514" y="2938"/>
                    <a:pt x="6720" y="2967"/>
                    <a:pt x="6778" y="3011"/>
                  </a:cubicBezTo>
                  <a:cubicBezTo>
                    <a:pt x="6837" y="3063"/>
                    <a:pt x="6947" y="3165"/>
                    <a:pt x="6903" y="3195"/>
                  </a:cubicBezTo>
                  <a:cubicBezTo>
                    <a:pt x="6859" y="3231"/>
                    <a:pt x="6844" y="3312"/>
                    <a:pt x="6866" y="3378"/>
                  </a:cubicBezTo>
                  <a:cubicBezTo>
                    <a:pt x="6888" y="3444"/>
                    <a:pt x="6910" y="3466"/>
                    <a:pt x="6859" y="3539"/>
                  </a:cubicBezTo>
                  <a:cubicBezTo>
                    <a:pt x="6800" y="3605"/>
                    <a:pt x="6778" y="3612"/>
                    <a:pt x="6734" y="3707"/>
                  </a:cubicBezTo>
                  <a:cubicBezTo>
                    <a:pt x="6683" y="3795"/>
                    <a:pt x="6778" y="3810"/>
                    <a:pt x="6785" y="3898"/>
                  </a:cubicBezTo>
                  <a:cubicBezTo>
                    <a:pt x="6800" y="3986"/>
                    <a:pt x="6844" y="4059"/>
                    <a:pt x="6859" y="4110"/>
                  </a:cubicBezTo>
                  <a:cubicBezTo>
                    <a:pt x="6866" y="4169"/>
                    <a:pt x="7005" y="4184"/>
                    <a:pt x="7071" y="4191"/>
                  </a:cubicBezTo>
                  <a:cubicBezTo>
                    <a:pt x="7137" y="4206"/>
                    <a:pt x="7174" y="4308"/>
                    <a:pt x="7152" y="4338"/>
                  </a:cubicBezTo>
                  <a:cubicBezTo>
                    <a:pt x="7130" y="4374"/>
                    <a:pt x="7093" y="4374"/>
                    <a:pt x="7108" y="4411"/>
                  </a:cubicBezTo>
                  <a:cubicBezTo>
                    <a:pt x="7115" y="4440"/>
                    <a:pt x="7166" y="4455"/>
                    <a:pt x="7166" y="4455"/>
                  </a:cubicBezTo>
                  <a:lnTo>
                    <a:pt x="7166" y="4455"/>
                  </a:lnTo>
                  <a:cubicBezTo>
                    <a:pt x="7174" y="4455"/>
                    <a:pt x="7181" y="4462"/>
                    <a:pt x="7137" y="4521"/>
                  </a:cubicBezTo>
                  <a:cubicBezTo>
                    <a:pt x="7086" y="4602"/>
                    <a:pt x="7174" y="4689"/>
                    <a:pt x="7262" y="4763"/>
                  </a:cubicBezTo>
                  <a:cubicBezTo>
                    <a:pt x="7357" y="4828"/>
                    <a:pt x="7254" y="4975"/>
                    <a:pt x="7218" y="5041"/>
                  </a:cubicBezTo>
                  <a:cubicBezTo>
                    <a:pt x="7188" y="5114"/>
                    <a:pt x="7211" y="5144"/>
                    <a:pt x="7218" y="5224"/>
                  </a:cubicBezTo>
                  <a:cubicBezTo>
                    <a:pt x="7232" y="5305"/>
                    <a:pt x="7152" y="5429"/>
                    <a:pt x="7086" y="5495"/>
                  </a:cubicBezTo>
                  <a:cubicBezTo>
                    <a:pt x="7013" y="5561"/>
                    <a:pt x="6991" y="5591"/>
                    <a:pt x="7042" y="5664"/>
                  </a:cubicBezTo>
                  <a:cubicBezTo>
                    <a:pt x="7086" y="5745"/>
                    <a:pt x="7152" y="5766"/>
                    <a:pt x="7174" y="5862"/>
                  </a:cubicBezTo>
                  <a:cubicBezTo>
                    <a:pt x="7196" y="5950"/>
                    <a:pt x="7211" y="6008"/>
                    <a:pt x="7298" y="6030"/>
                  </a:cubicBezTo>
                  <a:cubicBezTo>
                    <a:pt x="7386" y="6052"/>
                    <a:pt x="7364" y="6118"/>
                    <a:pt x="7401" y="6221"/>
                  </a:cubicBezTo>
                  <a:cubicBezTo>
                    <a:pt x="7437" y="6323"/>
                    <a:pt x="7437" y="6338"/>
                    <a:pt x="7401" y="6382"/>
                  </a:cubicBezTo>
                  <a:cubicBezTo>
                    <a:pt x="7364" y="6426"/>
                    <a:pt x="7298" y="6485"/>
                    <a:pt x="7298" y="6485"/>
                  </a:cubicBezTo>
                  <a:cubicBezTo>
                    <a:pt x="7298" y="6485"/>
                    <a:pt x="7306" y="6492"/>
                    <a:pt x="7320" y="6507"/>
                  </a:cubicBezTo>
                  <a:cubicBezTo>
                    <a:pt x="7276" y="6521"/>
                    <a:pt x="7225" y="6536"/>
                    <a:pt x="7211" y="6543"/>
                  </a:cubicBezTo>
                  <a:cubicBezTo>
                    <a:pt x="7211" y="6551"/>
                    <a:pt x="7203" y="6551"/>
                    <a:pt x="7196" y="6551"/>
                  </a:cubicBezTo>
                  <a:cubicBezTo>
                    <a:pt x="7166" y="6551"/>
                    <a:pt x="7093" y="6499"/>
                    <a:pt x="7071" y="6463"/>
                  </a:cubicBezTo>
                  <a:cubicBezTo>
                    <a:pt x="7064" y="6441"/>
                    <a:pt x="7049" y="6426"/>
                    <a:pt x="7035" y="6426"/>
                  </a:cubicBezTo>
                  <a:cubicBezTo>
                    <a:pt x="7013" y="6426"/>
                    <a:pt x="6998" y="6433"/>
                    <a:pt x="6983" y="6463"/>
                  </a:cubicBezTo>
                  <a:cubicBezTo>
                    <a:pt x="6954" y="6507"/>
                    <a:pt x="6969" y="6521"/>
                    <a:pt x="6954" y="6521"/>
                  </a:cubicBezTo>
                  <a:cubicBezTo>
                    <a:pt x="6954" y="6521"/>
                    <a:pt x="6947" y="6521"/>
                    <a:pt x="6939" y="6521"/>
                  </a:cubicBezTo>
                  <a:cubicBezTo>
                    <a:pt x="6925" y="6514"/>
                    <a:pt x="6910" y="6514"/>
                    <a:pt x="6903" y="6514"/>
                  </a:cubicBezTo>
                  <a:cubicBezTo>
                    <a:pt x="6881" y="6514"/>
                    <a:pt x="6851" y="6521"/>
                    <a:pt x="6793" y="6543"/>
                  </a:cubicBezTo>
                  <a:cubicBezTo>
                    <a:pt x="6712" y="6580"/>
                    <a:pt x="6749" y="6573"/>
                    <a:pt x="6675" y="6587"/>
                  </a:cubicBezTo>
                  <a:cubicBezTo>
                    <a:pt x="6602" y="6602"/>
                    <a:pt x="6639" y="6638"/>
                    <a:pt x="6580" y="6690"/>
                  </a:cubicBezTo>
                  <a:cubicBezTo>
                    <a:pt x="6544" y="6726"/>
                    <a:pt x="6544" y="6741"/>
                    <a:pt x="6536" y="6741"/>
                  </a:cubicBezTo>
                  <a:cubicBezTo>
                    <a:pt x="6536" y="6741"/>
                    <a:pt x="6529" y="6741"/>
                    <a:pt x="6522" y="6734"/>
                  </a:cubicBezTo>
                  <a:cubicBezTo>
                    <a:pt x="6500" y="6704"/>
                    <a:pt x="6514" y="6675"/>
                    <a:pt x="6463" y="6675"/>
                  </a:cubicBezTo>
                  <a:cubicBezTo>
                    <a:pt x="6412" y="6675"/>
                    <a:pt x="6353" y="6675"/>
                    <a:pt x="6316" y="6638"/>
                  </a:cubicBezTo>
                  <a:cubicBezTo>
                    <a:pt x="6309" y="6631"/>
                    <a:pt x="6287" y="6624"/>
                    <a:pt x="6273" y="6624"/>
                  </a:cubicBezTo>
                  <a:cubicBezTo>
                    <a:pt x="6229" y="6624"/>
                    <a:pt x="6170" y="6646"/>
                    <a:pt x="6133" y="6653"/>
                  </a:cubicBezTo>
                  <a:cubicBezTo>
                    <a:pt x="6082" y="6675"/>
                    <a:pt x="6089" y="6726"/>
                    <a:pt x="6053" y="6792"/>
                  </a:cubicBezTo>
                  <a:cubicBezTo>
                    <a:pt x="6023" y="6858"/>
                    <a:pt x="6038" y="6866"/>
                    <a:pt x="5987" y="6888"/>
                  </a:cubicBezTo>
                  <a:cubicBezTo>
                    <a:pt x="5935" y="6902"/>
                    <a:pt x="5980" y="6954"/>
                    <a:pt x="5987" y="7019"/>
                  </a:cubicBezTo>
                  <a:cubicBezTo>
                    <a:pt x="5994" y="7093"/>
                    <a:pt x="5965" y="7115"/>
                    <a:pt x="5928" y="7181"/>
                  </a:cubicBezTo>
                  <a:cubicBezTo>
                    <a:pt x="5913" y="7210"/>
                    <a:pt x="5899" y="7225"/>
                    <a:pt x="5884" y="7225"/>
                  </a:cubicBezTo>
                  <a:cubicBezTo>
                    <a:pt x="5862" y="7225"/>
                    <a:pt x="5847" y="7210"/>
                    <a:pt x="5847" y="7181"/>
                  </a:cubicBezTo>
                  <a:cubicBezTo>
                    <a:pt x="5847" y="7159"/>
                    <a:pt x="5840" y="7152"/>
                    <a:pt x="5825" y="7152"/>
                  </a:cubicBezTo>
                  <a:cubicBezTo>
                    <a:pt x="5811" y="7152"/>
                    <a:pt x="5789" y="7159"/>
                    <a:pt x="5767" y="7173"/>
                  </a:cubicBezTo>
                  <a:cubicBezTo>
                    <a:pt x="5716" y="7210"/>
                    <a:pt x="5686" y="7203"/>
                    <a:pt x="5584" y="7225"/>
                  </a:cubicBezTo>
                  <a:cubicBezTo>
                    <a:pt x="5489" y="7254"/>
                    <a:pt x="5459" y="7254"/>
                    <a:pt x="5371" y="7283"/>
                  </a:cubicBezTo>
                  <a:cubicBezTo>
                    <a:pt x="5356" y="7291"/>
                    <a:pt x="5327" y="7298"/>
                    <a:pt x="5305" y="7298"/>
                  </a:cubicBezTo>
                  <a:cubicBezTo>
                    <a:pt x="5217" y="7298"/>
                    <a:pt x="5115" y="7269"/>
                    <a:pt x="5063" y="7261"/>
                  </a:cubicBezTo>
                  <a:cubicBezTo>
                    <a:pt x="4983" y="7254"/>
                    <a:pt x="4932" y="7261"/>
                    <a:pt x="4895" y="7254"/>
                  </a:cubicBezTo>
                  <a:cubicBezTo>
                    <a:pt x="4866" y="7239"/>
                    <a:pt x="4924" y="7195"/>
                    <a:pt x="4858" y="7181"/>
                  </a:cubicBezTo>
                  <a:cubicBezTo>
                    <a:pt x="4785" y="7173"/>
                    <a:pt x="4748" y="7122"/>
                    <a:pt x="4697" y="7100"/>
                  </a:cubicBezTo>
                  <a:cubicBezTo>
                    <a:pt x="4653" y="7078"/>
                    <a:pt x="4675" y="7034"/>
                    <a:pt x="4661" y="7034"/>
                  </a:cubicBezTo>
                  <a:cubicBezTo>
                    <a:pt x="4661" y="7034"/>
                    <a:pt x="4653" y="7042"/>
                    <a:pt x="4646" y="7049"/>
                  </a:cubicBezTo>
                  <a:cubicBezTo>
                    <a:pt x="4594" y="7078"/>
                    <a:pt x="4594" y="7107"/>
                    <a:pt x="4536" y="7115"/>
                  </a:cubicBezTo>
                  <a:cubicBezTo>
                    <a:pt x="4529" y="7115"/>
                    <a:pt x="4521" y="7115"/>
                    <a:pt x="4514" y="7115"/>
                  </a:cubicBezTo>
                  <a:cubicBezTo>
                    <a:pt x="4499" y="7115"/>
                    <a:pt x="4492" y="7115"/>
                    <a:pt x="4485" y="7115"/>
                  </a:cubicBezTo>
                  <a:cubicBezTo>
                    <a:pt x="4485" y="7115"/>
                    <a:pt x="4477" y="7115"/>
                    <a:pt x="4463" y="7144"/>
                  </a:cubicBezTo>
                  <a:cubicBezTo>
                    <a:pt x="4433" y="7195"/>
                    <a:pt x="4404" y="7203"/>
                    <a:pt x="4353" y="7261"/>
                  </a:cubicBezTo>
                  <a:cubicBezTo>
                    <a:pt x="4338" y="7276"/>
                    <a:pt x="4331" y="7283"/>
                    <a:pt x="4316" y="7283"/>
                  </a:cubicBezTo>
                  <a:cubicBezTo>
                    <a:pt x="4280" y="7283"/>
                    <a:pt x="4250" y="7232"/>
                    <a:pt x="4228" y="7217"/>
                  </a:cubicBezTo>
                  <a:cubicBezTo>
                    <a:pt x="4191" y="7203"/>
                    <a:pt x="4191" y="7159"/>
                    <a:pt x="4213" y="7115"/>
                  </a:cubicBezTo>
                  <a:cubicBezTo>
                    <a:pt x="4228" y="7071"/>
                    <a:pt x="4221" y="7064"/>
                    <a:pt x="4213" y="7027"/>
                  </a:cubicBezTo>
                  <a:cubicBezTo>
                    <a:pt x="4199" y="6997"/>
                    <a:pt x="4177" y="6983"/>
                    <a:pt x="4177" y="6946"/>
                  </a:cubicBezTo>
                  <a:cubicBezTo>
                    <a:pt x="4177" y="6910"/>
                    <a:pt x="4213" y="6910"/>
                    <a:pt x="4235" y="6888"/>
                  </a:cubicBezTo>
                  <a:cubicBezTo>
                    <a:pt x="4257" y="6858"/>
                    <a:pt x="4221" y="6800"/>
                    <a:pt x="4184" y="6785"/>
                  </a:cubicBezTo>
                  <a:cubicBezTo>
                    <a:pt x="4155" y="6770"/>
                    <a:pt x="4184" y="6712"/>
                    <a:pt x="4155" y="6712"/>
                  </a:cubicBezTo>
                  <a:cubicBezTo>
                    <a:pt x="4155" y="6712"/>
                    <a:pt x="4155" y="6712"/>
                    <a:pt x="4148" y="6719"/>
                  </a:cubicBezTo>
                  <a:lnTo>
                    <a:pt x="4140" y="6719"/>
                  </a:lnTo>
                  <a:cubicBezTo>
                    <a:pt x="4104" y="6719"/>
                    <a:pt x="4082" y="6690"/>
                    <a:pt x="4082" y="6690"/>
                  </a:cubicBezTo>
                  <a:cubicBezTo>
                    <a:pt x="4082" y="6690"/>
                    <a:pt x="4096" y="6602"/>
                    <a:pt x="4067" y="6573"/>
                  </a:cubicBezTo>
                  <a:cubicBezTo>
                    <a:pt x="4045" y="6551"/>
                    <a:pt x="4030" y="6543"/>
                    <a:pt x="4008" y="6543"/>
                  </a:cubicBezTo>
                  <a:cubicBezTo>
                    <a:pt x="3994" y="6543"/>
                    <a:pt x="3986" y="6543"/>
                    <a:pt x="3964" y="6543"/>
                  </a:cubicBezTo>
                  <a:cubicBezTo>
                    <a:pt x="3957" y="6543"/>
                    <a:pt x="3957" y="6543"/>
                    <a:pt x="3957" y="6543"/>
                  </a:cubicBezTo>
                  <a:cubicBezTo>
                    <a:pt x="3906" y="6543"/>
                    <a:pt x="3906" y="6485"/>
                    <a:pt x="3876" y="6463"/>
                  </a:cubicBezTo>
                  <a:cubicBezTo>
                    <a:pt x="3876" y="6455"/>
                    <a:pt x="3876" y="6455"/>
                    <a:pt x="3869" y="6455"/>
                  </a:cubicBezTo>
                  <a:cubicBezTo>
                    <a:pt x="3891" y="6433"/>
                    <a:pt x="3913" y="6411"/>
                    <a:pt x="3950" y="6389"/>
                  </a:cubicBezTo>
                  <a:cubicBezTo>
                    <a:pt x="4016" y="6353"/>
                    <a:pt x="4060" y="6338"/>
                    <a:pt x="4089" y="6287"/>
                  </a:cubicBezTo>
                  <a:cubicBezTo>
                    <a:pt x="4125" y="6243"/>
                    <a:pt x="4148" y="6169"/>
                    <a:pt x="4111" y="6147"/>
                  </a:cubicBezTo>
                  <a:cubicBezTo>
                    <a:pt x="4067" y="6118"/>
                    <a:pt x="4038" y="6067"/>
                    <a:pt x="4067" y="6016"/>
                  </a:cubicBezTo>
                  <a:cubicBezTo>
                    <a:pt x="4089" y="5964"/>
                    <a:pt x="4096" y="5913"/>
                    <a:pt x="4067" y="5891"/>
                  </a:cubicBezTo>
                  <a:cubicBezTo>
                    <a:pt x="4030" y="5862"/>
                    <a:pt x="3986" y="5840"/>
                    <a:pt x="4001" y="5796"/>
                  </a:cubicBezTo>
                  <a:cubicBezTo>
                    <a:pt x="4001" y="5759"/>
                    <a:pt x="4016" y="5671"/>
                    <a:pt x="3950" y="5671"/>
                  </a:cubicBezTo>
                  <a:cubicBezTo>
                    <a:pt x="3942" y="5671"/>
                    <a:pt x="3928" y="5671"/>
                    <a:pt x="3913" y="5678"/>
                  </a:cubicBezTo>
                  <a:cubicBezTo>
                    <a:pt x="3884" y="5686"/>
                    <a:pt x="3862" y="5693"/>
                    <a:pt x="3840" y="5693"/>
                  </a:cubicBezTo>
                  <a:cubicBezTo>
                    <a:pt x="3774" y="5693"/>
                    <a:pt x="3730" y="5657"/>
                    <a:pt x="3759" y="5627"/>
                  </a:cubicBezTo>
                  <a:cubicBezTo>
                    <a:pt x="3796" y="5591"/>
                    <a:pt x="3752" y="5583"/>
                    <a:pt x="3701" y="5583"/>
                  </a:cubicBezTo>
                  <a:cubicBezTo>
                    <a:pt x="3649" y="5583"/>
                    <a:pt x="3635" y="5576"/>
                    <a:pt x="3620" y="5532"/>
                  </a:cubicBezTo>
                  <a:cubicBezTo>
                    <a:pt x="3620" y="5503"/>
                    <a:pt x="3605" y="5473"/>
                    <a:pt x="3583" y="5473"/>
                  </a:cubicBezTo>
                  <a:cubicBezTo>
                    <a:pt x="3576" y="5473"/>
                    <a:pt x="3569" y="5473"/>
                    <a:pt x="3554" y="5481"/>
                  </a:cubicBezTo>
                  <a:cubicBezTo>
                    <a:pt x="3532" y="5503"/>
                    <a:pt x="3495" y="5517"/>
                    <a:pt x="3466" y="5517"/>
                  </a:cubicBezTo>
                  <a:cubicBezTo>
                    <a:pt x="3444" y="5517"/>
                    <a:pt x="3422" y="5510"/>
                    <a:pt x="3408" y="5473"/>
                  </a:cubicBezTo>
                  <a:cubicBezTo>
                    <a:pt x="3393" y="5422"/>
                    <a:pt x="3378" y="5407"/>
                    <a:pt x="3356" y="5407"/>
                  </a:cubicBezTo>
                  <a:cubicBezTo>
                    <a:pt x="3342" y="5407"/>
                    <a:pt x="3334" y="5415"/>
                    <a:pt x="3320" y="5415"/>
                  </a:cubicBezTo>
                  <a:cubicBezTo>
                    <a:pt x="3312" y="5415"/>
                    <a:pt x="3305" y="5415"/>
                    <a:pt x="3305" y="5415"/>
                  </a:cubicBezTo>
                  <a:cubicBezTo>
                    <a:pt x="3261" y="5415"/>
                    <a:pt x="3224" y="5385"/>
                    <a:pt x="3195" y="5356"/>
                  </a:cubicBezTo>
                  <a:cubicBezTo>
                    <a:pt x="3188" y="5342"/>
                    <a:pt x="3180" y="5342"/>
                    <a:pt x="3173" y="5342"/>
                  </a:cubicBezTo>
                  <a:cubicBezTo>
                    <a:pt x="3158" y="5342"/>
                    <a:pt x="3151" y="5342"/>
                    <a:pt x="3144" y="5342"/>
                  </a:cubicBezTo>
                  <a:cubicBezTo>
                    <a:pt x="3129" y="5342"/>
                    <a:pt x="3122" y="5342"/>
                    <a:pt x="3114" y="5327"/>
                  </a:cubicBezTo>
                  <a:cubicBezTo>
                    <a:pt x="3092" y="5297"/>
                    <a:pt x="3114" y="5268"/>
                    <a:pt x="3092" y="5268"/>
                  </a:cubicBezTo>
                  <a:cubicBezTo>
                    <a:pt x="3085" y="5268"/>
                    <a:pt x="3078" y="5268"/>
                    <a:pt x="3070" y="5268"/>
                  </a:cubicBezTo>
                  <a:cubicBezTo>
                    <a:pt x="3019" y="5290"/>
                    <a:pt x="2975" y="5327"/>
                    <a:pt x="2909" y="5364"/>
                  </a:cubicBezTo>
                  <a:cubicBezTo>
                    <a:pt x="2865" y="5385"/>
                    <a:pt x="2836" y="5407"/>
                    <a:pt x="2807" y="5407"/>
                  </a:cubicBezTo>
                  <a:cubicBezTo>
                    <a:pt x="2792" y="5407"/>
                    <a:pt x="2770" y="5393"/>
                    <a:pt x="2755" y="5371"/>
                  </a:cubicBezTo>
                  <a:cubicBezTo>
                    <a:pt x="2711" y="5312"/>
                    <a:pt x="2667" y="5276"/>
                    <a:pt x="2653" y="5246"/>
                  </a:cubicBezTo>
                  <a:cubicBezTo>
                    <a:pt x="2645" y="5224"/>
                    <a:pt x="2631" y="5224"/>
                    <a:pt x="2616" y="5224"/>
                  </a:cubicBezTo>
                  <a:cubicBezTo>
                    <a:pt x="2601" y="5224"/>
                    <a:pt x="2587" y="5224"/>
                    <a:pt x="2587" y="5224"/>
                  </a:cubicBezTo>
                  <a:cubicBezTo>
                    <a:pt x="2587" y="5224"/>
                    <a:pt x="2580" y="5290"/>
                    <a:pt x="2550" y="5290"/>
                  </a:cubicBezTo>
                  <a:cubicBezTo>
                    <a:pt x="2550" y="5290"/>
                    <a:pt x="2550" y="5290"/>
                    <a:pt x="2543" y="5290"/>
                  </a:cubicBezTo>
                  <a:cubicBezTo>
                    <a:pt x="2506" y="5268"/>
                    <a:pt x="2367" y="5180"/>
                    <a:pt x="2367" y="5180"/>
                  </a:cubicBezTo>
                  <a:cubicBezTo>
                    <a:pt x="2367" y="5180"/>
                    <a:pt x="2330" y="5166"/>
                    <a:pt x="2308" y="5100"/>
                  </a:cubicBezTo>
                  <a:cubicBezTo>
                    <a:pt x="2279" y="5034"/>
                    <a:pt x="2220" y="5026"/>
                    <a:pt x="2199" y="4990"/>
                  </a:cubicBezTo>
                  <a:cubicBezTo>
                    <a:pt x="2169" y="4953"/>
                    <a:pt x="2111" y="4902"/>
                    <a:pt x="2096" y="4843"/>
                  </a:cubicBezTo>
                  <a:cubicBezTo>
                    <a:pt x="2074" y="4785"/>
                    <a:pt x="2074" y="4741"/>
                    <a:pt x="2118" y="4689"/>
                  </a:cubicBezTo>
                  <a:cubicBezTo>
                    <a:pt x="2162" y="4638"/>
                    <a:pt x="2169" y="4667"/>
                    <a:pt x="2206" y="4638"/>
                  </a:cubicBezTo>
                  <a:cubicBezTo>
                    <a:pt x="2235" y="4616"/>
                    <a:pt x="2176" y="4587"/>
                    <a:pt x="2147" y="4557"/>
                  </a:cubicBezTo>
                  <a:cubicBezTo>
                    <a:pt x="2111" y="4521"/>
                    <a:pt x="2118" y="4492"/>
                    <a:pt x="2132" y="4404"/>
                  </a:cubicBezTo>
                  <a:cubicBezTo>
                    <a:pt x="2154" y="4316"/>
                    <a:pt x="2213" y="4294"/>
                    <a:pt x="2220" y="4250"/>
                  </a:cubicBezTo>
                  <a:cubicBezTo>
                    <a:pt x="2228" y="4206"/>
                    <a:pt x="2206" y="4176"/>
                    <a:pt x="2199" y="4125"/>
                  </a:cubicBezTo>
                  <a:cubicBezTo>
                    <a:pt x="2184" y="4074"/>
                    <a:pt x="2176" y="3927"/>
                    <a:pt x="2213" y="3883"/>
                  </a:cubicBezTo>
                  <a:cubicBezTo>
                    <a:pt x="2242" y="3839"/>
                    <a:pt x="2286" y="3788"/>
                    <a:pt x="2257" y="3759"/>
                  </a:cubicBezTo>
                  <a:cubicBezTo>
                    <a:pt x="2242" y="3744"/>
                    <a:pt x="2235" y="3744"/>
                    <a:pt x="2220" y="3744"/>
                  </a:cubicBezTo>
                  <a:cubicBezTo>
                    <a:pt x="2206" y="3744"/>
                    <a:pt x="2191" y="3751"/>
                    <a:pt x="2176" y="3751"/>
                  </a:cubicBezTo>
                  <a:cubicBezTo>
                    <a:pt x="2162" y="3751"/>
                    <a:pt x="2154" y="3744"/>
                    <a:pt x="2147" y="3737"/>
                  </a:cubicBezTo>
                  <a:cubicBezTo>
                    <a:pt x="2103" y="3715"/>
                    <a:pt x="2118" y="3627"/>
                    <a:pt x="2096" y="3619"/>
                  </a:cubicBezTo>
                  <a:cubicBezTo>
                    <a:pt x="2081" y="3619"/>
                    <a:pt x="2081" y="3619"/>
                    <a:pt x="2074" y="3619"/>
                  </a:cubicBezTo>
                  <a:cubicBezTo>
                    <a:pt x="2067" y="3619"/>
                    <a:pt x="2059" y="3627"/>
                    <a:pt x="2030" y="3649"/>
                  </a:cubicBezTo>
                  <a:cubicBezTo>
                    <a:pt x="2008" y="3671"/>
                    <a:pt x="1971" y="3700"/>
                    <a:pt x="1949" y="3700"/>
                  </a:cubicBezTo>
                  <a:cubicBezTo>
                    <a:pt x="1942" y="3700"/>
                    <a:pt x="1935" y="3693"/>
                    <a:pt x="1935" y="3678"/>
                  </a:cubicBezTo>
                  <a:cubicBezTo>
                    <a:pt x="1920" y="3627"/>
                    <a:pt x="1942" y="3627"/>
                    <a:pt x="1957" y="3605"/>
                  </a:cubicBezTo>
                  <a:cubicBezTo>
                    <a:pt x="1971" y="3576"/>
                    <a:pt x="1891" y="3568"/>
                    <a:pt x="1891" y="3568"/>
                  </a:cubicBezTo>
                  <a:cubicBezTo>
                    <a:pt x="1891" y="3568"/>
                    <a:pt x="1898" y="3539"/>
                    <a:pt x="1913" y="3488"/>
                  </a:cubicBezTo>
                  <a:cubicBezTo>
                    <a:pt x="1935" y="3436"/>
                    <a:pt x="1913" y="3348"/>
                    <a:pt x="1935" y="3326"/>
                  </a:cubicBezTo>
                  <a:cubicBezTo>
                    <a:pt x="1949" y="3297"/>
                    <a:pt x="2001" y="3290"/>
                    <a:pt x="2015" y="3260"/>
                  </a:cubicBezTo>
                  <a:cubicBezTo>
                    <a:pt x="2030" y="3238"/>
                    <a:pt x="2059" y="3173"/>
                    <a:pt x="2015" y="3085"/>
                  </a:cubicBezTo>
                  <a:cubicBezTo>
                    <a:pt x="1971" y="2997"/>
                    <a:pt x="1942" y="2967"/>
                    <a:pt x="1964" y="2923"/>
                  </a:cubicBezTo>
                  <a:cubicBezTo>
                    <a:pt x="1993" y="2879"/>
                    <a:pt x="1964" y="2857"/>
                    <a:pt x="1957" y="2821"/>
                  </a:cubicBezTo>
                  <a:cubicBezTo>
                    <a:pt x="1949" y="2792"/>
                    <a:pt x="1979" y="2755"/>
                    <a:pt x="2023" y="2726"/>
                  </a:cubicBezTo>
                  <a:cubicBezTo>
                    <a:pt x="2067" y="2704"/>
                    <a:pt x="2052" y="2652"/>
                    <a:pt x="2030" y="2608"/>
                  </a:cubicBezTo>
                  <a:cubicBezTo>
                    <a:pt x="2015" y="2564"/>
                    <a:pt x="1942" y="2476"/>
                    <a:pt x="1905" y="2462"/>
                  </a:cubicBezTo>
                  <a:lnTo>
                    <a:pt x="1898" y="2462"/>
                  </a:lnTo>
                  <a:cubicBezTo>
                    <a:pt x="1869" y="2462"/>
                    <a:pt x="1869" y="2506"/>
                    <a:pt x="1832" y="2528"/>
                  </a:cubicBezTo>
                  <a:cubicBezTo>
                    <a:pt x="1825" y="2528"/>
                    <a:pt x="1818" y="2528"/>
                    <a:pt x="1818" y="2528"/>
                  </a:cubicBezTo>
                  <a:cubicBezTo>
                    <a:pt x="1788" y="2528"/>
                    <a:pt x="1795" y="2476"/>
                    <a:pt x="1781" y="2447"/>
                  </a:cubicBezTo>
                  <a:cubicBezTo>
                    <a:pt x="1773" y="2440"/>
                    <a:pt x="1773" y="2433"/>
                    <a:pt x="1766" y="2433"/>
                  </a:cubicBezTo>
                  <a:cubicBezTo>
                    <a:pt x="1759" y="2433"/>
                    <a:pt x="1751" y="2454"/>
                    <a:pt x="1722" y="2454"/>
                  </a:cubicBezTo>
                  <a:cubicBezTo>
                    <a:pt x="1715" y="2454"/>
                    <a:pt x="1715" y="2454"/>
                    <a:pt x="1708" y="2454"/>
                  </a:cubicBezTo>
                  <a:cubicBezTo>
                    <a:pt x="1671" y="2447"/>
                    <a:pt x="1612" y="2440"/>
                    <a:pt x="1576" y="2440"/>
                  </a:cubicBezTo>
                  <a:cubicBezTo>
                    <a:pt x="1568" y="2440"/>
                    <a:pt x="1561" y="2440"/>
                    <a:pt x="1554" y="2440"/>
                  </a:cubicBezTo>
                  <a:cubicBezTo>
                    <a:pt x="1546" y="2440"/>
                    <a:pt x="1517" y="2447"/>
                    <a:pt x="1480" y="2447"/>
                  </a:cubicBezTo>
                  <a:cubicBezTo>
                    <a:pt x="1444" y="2447"/>
                    <a:pt x="1392" y="2440"/>
                    <a:pt x="1356" y="2425"/>
                  </a:cubicBezTo>
                  <a:cubicBezTo>
                    <a:pt x="1282" y="2388"/>
                    <a:pt x="1209" y="2374"/>
                    <a:pt x="1194" y="2345"/>
                  </a:cubicBezTo>
                  <a:cubicBezTo>
                    <a:pt x="1173" y="2323"/>
                    <a:pt x="1194" y="2286"/>
                    <a:pt x="1209" y="2249"/>
                  </a:cubicBezTo>
                  <a:cubicBezTo>
                    <a:pt x="1224" y="2227"/>
                    <a:pt x="1194" y="2205"/>
                    <a:pt x="1165" y="2205"/>
                  </a:cubicBezTo>
                  <a:cubicBezTo>
                    <a:pt x="1158" y="2205"/>
                    <a:pt x="1143" y="2213"/>
                    <a:pt x="1129" y="2220"/>
                  </a:cubicBezTo>
                  <a:cubicBezTo>
                    <a:pt x="1129" y="2220"/>
                    <a:pt x="1121" y="2220"/>
                    <a:pt x="1114" y="2220"/>
                  </a:cubicBezTo>
                  <a:cubicBezTo>
                    <a:pt x="1085" y="2220"/>
                    <a:pt x="1063" y="2147"/>
                    <a:pt x="1063" y="2147"/>
                  </a:cubicBezTo>
                  <a:cubicBezTo>
                    <a:pt x="1033" y="2117"/>
                    <a:pt x="1019" y="2103"/>
                    <a:pt x="1004" y="2103"/>
                  </a:cubicBezTo>
                  <a:cubicBezTo>
                    <a:pt x="989" y="2103"/>
                    <a:pt x="975" y="2110"/>
                    <a:pt x="960" y="2117"/>
                  </a:cubicBezTo>
                  <a:cubicBezTo>
                    <a:pt x="938" y="2132"/>
                    <a:pt x="916" y="2147"/>
                    <a:pt x="901" y="2147"/>
                  </a:cubicBezTo>
                  <a:cubicBezTo>
                    <a:pt x="887" y="2147"/>
                    <a:pt x="880" y="2139"/>
                    <a:pt x="880" y="2117"/>
                  </a:cubicBezTo>
                  <a:cubicBezTo>
                    <a:pt x="872" y="2066"/>
                    <a:pt x="858" y="2066"/>
                    <a:pt x="821" y="2059"/>
                  </a:cubicBezTo>
                  <a:cubicBezTo>
                    <a:pt x="777" y="2051"/>
                    <a:pt x="777" y="2022"/>
                    <a:pt x="792" y="1985"/>
                  </a:cubicBezTo>
                  <a:cubicBezTo>
                    <a:pt x="806" y="1956"/>
                    <a:pt x="784" y="1942"/>
                    <a:pt x="740" y="1942"/>
                  </a:cubicBezTo>
                  <a:cubicBezTo>
                    <a:pt x="762" y="1919"/>
                    <a:pt x="777" y="1905"/>
                    <a:pt x="777" y="1905"/>
                  </a:cubicBezTo>
                  <a:cubicBezTo>
                    <a:pt x="777" y="1905"/>
                    <a:pt x="762" y="1919"/>
                    <a:pt x="740" y="1942"/>
                  </a:cubicBezTo>
                  <a:lnTo>
                    <a:pt x="733" y="1934"/>
                  </a:lnTo>
                  <a:cubicBezTo>
                    <a:pt x="689" y="1934"/>
                    <a:pt x="667" y="1949"/>
                    <a:pt x="630" y="1949"/>
                  </a:cubicBezTo>
                  <a:cubicBezTo>
                    <a:pt x="616" y="1949"/>
                    <a:pt x="608" y="1949"/>
                    <a:pt x="594" y="1949"/>
                  </a:cubicBezTo>
                  <a:cubicBezTo>
                    <a:pt x="535" y="1934"/>
                    <a:pt x="491" y="1890"/>
                    <a:pt x="425" y="1861"/>
                  </a:cubicBezTo>
                  <a:cubicBezTo>
                    <a:pt x="411" y="1854"/>
                    <a:pt x="396" y="1854"/>
                    <a:pt x="381" y="1854"/>
                  </a:cubicBezTo>
                  <a:cubicBezTo>
                    <a:pt x="330" y="1854"/>
                    <a:pt x="293" y="1883"/>
                    <a:pt x="257" y="1897"/>
                  </a:cubicBezTo>
                  <a:cubicBezTo>
                    <a:pt x="242" y="1905"/>
                    <a:pt x="227" y="1905"/>
                    <a:pt x="213" y="1905"/>
                  </a:cubicBezTo>
                  <a:cubicBezTo>
                    <a:pt x="183" y="1905"/>
                    <a:pt x="154" y="1890"/>
                    <a:pt x="132" y="1861"/>
                  </a:cubicBezTo>
                  <a:cubicBezTo>
                    <a:pt x="88" y="1810"/>
                    <a:pt x="22" y="1722"/>
                    <a:pt x="66" y="1714"/>
                  </a:cubicBezTo>
                  <a:cubicBezTo>
                    <a:pt x="81" y="1729"/>
                    <a:pt x="88" y="1736"/>
                    <a:pt x="95" y="1751"/>
                  </a:cubicBezTo>
                  <a:cubicBezTo>
                    <a:pt x="88" y="1736"/>
                    <a:pt x="81" y="1729"/>
                    <a:pt x="66" y="1714"/>
                  </a:cubicBezTo>
                  <a:lnTo>
                    <a:pt x="66" y="1714"/>
                  </a:lnTo>
                  <a:cubicBezTo>
                    <a:pt x="118" y="1714"/>
                    <a:pt x="205" y="1714"/>
                    <a:pt x="242" y="1714"/>
                  </a:cubicBezTo>
                  <a:cubicBezTo>
                    <a:pt x="271" y="1714"/>
                    <a:pt x="293" y="1707"/>
                    <a:pt x="301" y="1670"/>
                  </a:cubicBezTo>
                  <a:cubicBezTo>
                    <a:pt x="308" y="1648"/>
                    <a:pt x="330" y="1626"/>
                    <a:pt x="381" y="1626"/>
                  </a:cubicBezTo>
                  <a:cubicBezTo>
                    <a:pt x="396" y="1626"/>
                    <a:pt x="403" y="1634"/>
                    <a:pt x="418" y="1634"/>
                  </a:cubicBezTo>
                  <a:cubicBezTo>
                    <a:pt x="484" y="1641"/>
                    <a:pt x="535" y="1692"/>
                    <a:pt x="564" y="1692"/>
                  </a:cubicBezTo>
                  <a:cubicBezTo>
                    <a:pt x="572" y="1692"/>
                    <a:pt x="579" y="1692"/>
                    <a:pt x="579" y="1685"/>
                  </a:cubicBezTo>
                  <a:cubicBezTo>
                    <a:pt x="594" y="1648"/>
                    <a:pt x="594" y="1641"/>
                    <a:pt x="608" y="1582"/>
                  </a:cubicBezTo>
                  <a:cubicBezTo>
                    <a:pt x="616" y="1524"/>
                    <a:pt x="557" y="1494"/>
                    <a:pt x="594" y="1436"/>
                  </a:cubicBezTo>
                  <a:cubicBezTo>
                    <a:pt x="638" y="1377"/>
                    <a:pt x="674" y="1348"/>
                    <a:pt x="718" y="1326"/>
                  </a:cubicBezTo>
                  <a:cubicBezTo>
                    <a:pt x="748" y="1304"/>
                    <a:pt x="777" y="1260"/>
                    <a:pt x="821" y="1260"/>
                  </a:cubicBezTo>
                  <a:cubicBezTo>
                    <a:pt x="836" y="1260"/>
                    <a:pt x="843" y="1260"/>
                    <a:pt x="850" y="1267"/>
                  </a:cubicBezTo>
                  <a:cubicBezTo>
                    <a:pt x="901" y="1289"/>
                    <a:pt x="960" y="1333"/>
                    <a:pt x="1004" y="1333"/>
                  </a:cubicBezTo>
                  <a:cubicBezTo>
                    <a:pt x="1011" y="1333"/>
                    <a:pt x="1026" y="1333"/>
                    <a:pt x="1033" y="1326"/>
                  </a:cubicBezTo>
                  <a:cubicBezTo>
                    <a:pt x="1070" y="1297"/>
                    <a:pt x="1121" y="1297"/>
                    <a:pt x="1143" y="1267"/>
                  </a:cubicBezTo>
                  <a:cubicBezTo>
                    <a:pt x="1158" y="1231"/>
                    <a:pt x="1180" y="1223"/>
                    <a:pt x="1231" y="1179"/>
                  </a:cubicBezTo>
                  <a:cubicBezTo>
                    <a:pt x="1275" y="1150"/>
                    <a:pt x="1297" y="1121"/>
                    <a:pt x="1319" y="1121"/>
                  </a:cubicBezTo>
                  <a:cubicBezTo>
                    <a:pt x="1327" y="1121"/>
                    <a:pt x="1334" y="1121"/>
                    <a:pt x="1341" y="1128"/>
                  </a:cubicBezTo>
                  <a:cubicBezTo>
                    <a:pt x="1356" y="1135"/>
                    <a:pt x="1363" y="1143"/>
                    <a:pt x="1370" y="1143"/>
                  </a:cubicBezTo>
                  <a:cubicBezTo>
                    <a:pt x="1392" y="1143"/>
                    <a:pt x="1407" y="1121"/>
                    <a:pt x="1414" y="1106"/>
                  </a:cubicBezTo>
                  <a:cubicBezTo>
                    <a:pt x="1422" y="1077"/>
                    <a:pt x="1407" y="1069"/>
                    <a:pt x="1466" y="1062"/>
                  </a:cubicBezTo>
                  <a:cubicBezTo>
                    <a:pt x="1524" y="1055"/>
                    <a:pt x="1517" y="938"/>
                    <a:pt x="1517" y="938"/>
                  </a:cubicBezTo>
                  <a:cubicBezTo>
                    <a:pt x="1517" y="938"/>
                    <a:pt x="1576" y="923"/>
                    <a:pt x="1583" y="872"/>
                  </a:cubicBezTo>
                  <a:cubicBezTo>
                    <a:pt x="1583" y="857"/>
                    <a:pt x="1590" y="850"/>
                    <a:pt x="1598" y="850"/>
                  </a:cubicBezTo>
                  <a:cubicBezTo>
                    <a:pt x="1605" y="850"/>
                    <a:pt x="1620" y="864"/>
                    <a:pt x="1642" y="894"/>
                  </a:cubicBezTo>
                  <a:cubicBezTo>
                    <a:pt x="1663" y="908"/>
                    <a:pt x="1678" y="916"/>
                    <a:pt x="1693" y="916"/>
                  </a:cubicBezTo>
                  <a:cubicBezTo>
                    <a:pt x="1715" y="916"/>
                    <a:pt x="1737" y="908"/>
                    <a:pt x="1751" y="894"/>
                  </a:cubicBezTo>
                  <a:cubicBezTo>
                    <a:pt x="1781" y="872"/>
                    <a:pt x="1825" y="850"/>
                    <a:pt x="1861" y="850"/>
                  </a:cubicBezTo>
                  <a:cubicBezTo>
                    <a:pt x="1869" y="850"/>
                    <a:pt x="1876" y="850"/>
                    <a:pt x="1883" y="850"/>
                  </a:cubicBezTo>
                  <a:cubicBezTo>
                    <a:pt x="1920" y="857"/>
                    <a:pt x="1920" y="901"/>
                    <a:pt x="1957" y="916"/>
                  </a:cubicBezTo>
                  <a:cubicBezTo>
                    <a:pt x="1993" y="938"/>
                    <a:pt x="2023" y="923"/>
                    <a:pt x="2081" y="938"/>
                  </a:cubicBezTo>
                  <a:cubicBezTo>
                    <a:pt x="2147" y="945"/>
                    <a:pt x="2242" y="1033"/>
                    <a:pt x="2279" y="1069"/>
                  </a:cubicBezTo>
                  <a:cubicBezTo>
                    <a:pt x="2308" y="1099"/>
                    <a:pt x="2323" y="1179"/>
                    <a:pt x="2382" y="1179"/>
                  </a:cubicBezTo>
                  <a:cubicBezTo>
                    <a:pt x="2389" y="1179"/>
                    <a:pt x="2396" y="1172"/>
                    <a:pt x="2411" y="1172"/>
                  </a:cubicBezTo>
                  <a:cubicBezTo>
                    <a:pt x="2477" y="1150"/>
                    <a:pt x="2506" y="1135"/>
                    <a:pt x="2543" y="1135"/>
                  </a:cubicBezTo>
                  <a:cubicBezTo>
                    <a:pt x="2550" y="1135"/>
                    <a:pt x="2565" y="1135"/>
                    <a:pt x="2580" y="1135"/>
                  </a:cubicBezTo>
                  <a:cubicBezTo>
                    <a:pt x="2616" y="1150"/>
                    <a:pt x="2638" y="1157"/>
                    <a:pt x="2660" y="1157"/>
                  </a:cubicBezTo>
                  <a:cubicBezTo>
                    <a:pt x="2675" y="1157"/>
                    <a:pt x="2689" y="1157"/>
                    <a:pt x="2711" y="1150"/>
                  </a:cubicBezTo>
                  <a:cubicBezTo>
                    <a:pt x="2726" y="1143"/>
                    <a:pt x="2741" y="1135"/>
                    <a:pt x="2755" y="1135"/>
                  </a:cubicBezTo>
                  <a:cubicBezTo>
                    <a:pt x="2792" y="1135"/>
                    <a:pt x="2814" y="1165"/>
                    <a:pt x="2807" y="1201"/>
                  </a:cubicBezTo>
                  <a:cubicBezTo>
                    <a:pt x="2799" y="1231"/>
                    <a:pt x="2821" y="1253"/>
                    <a:pt x="2858" y="1253"/>
                  </a:cubicBezTo>
                  <a:cubicBezTo>
                    <a:pt x="2865" y="1253"/>
                    <a:pt x="2880" y="1253"/>
                    <a:pt x="2894" y="1245"/>
                  </a:cubicBezTo>
                  <a:cubicBezTo>
                    <a:pt x="2894" y="1245"/>
                    <a:pt x="2902" y="1245"/>
                    <a:pt x="2909" y="1245"/>
                  </a:cubicBezTo>
                  <a:cubicBezTo>
                    <a:pt x="2953" y="1245"/>
                    <a:pt x="2953" y="1311"/>
                    <a:pt x="2997" y="1333"/>
                  </a:cubicBezTo>
                  <a:cubicBezTo>
                    <a:pt x="3026" y="1355"/>
                    <a:pt x="3041" y="1370"/>
                    <a:pt x="3063" y="1370"/>
                  </a:cubicBezTo>
                  <a:cubicBezTo>
                    <a:pt x="3070" y="1370"/>
                    <a:pt x="3078" y="1363"/>
                    <a:pt x="3085" y="1363"/>
                  </a:cubicBezTo>
                  <a:cubicBezTo>
                    <a:pt x="3122" y="1341"/>
                    <a:pt x="3217" y="1333"/>
                    <a:pt x="3217" y="1333"/>
                  </a:cubicBezTo>
                  <a:cubicBezTo>
                    <a:pt x="3232" y="1348"/>
                    <a:pt x="3254" y="1355"/>
                    <a:pt x="3275" y="1355"/>
                  </a:cubicBezTo>
                  <a:cubicBezTo>
                    <a:pt x="3290" y="1355"/>
                    <a:pt x="3305" y="1355"/>
                    <a:pt x="3320" y="1348"/>
                  </a:cubicBezTo>
                  <a:cubicBezTo>
                    <a:pt x="3356" y="1341"/>
                    <a:pt x="3393" y="1297"/>
                    <a:pt x="3415" y="1297"/>
                  </a:cubicBezTo>
                  <a:cubicBezTo>
                    <a:pt x="3415" y="1297"/>
                    <a:pt x="3415" y="1297"/>
                    <a:pt x="3422" y="1297"/>
                  </a:cubicBezTo>
                  <a:cubicBezTo>
                    <a:pt x="3430" y="1326"/>
                    <a:pt x="3378" y="1414"/>
                    <a:pt x="3437" y="1414"/>
                  </a:cubicBezTo>
                  <a:cubicBezTo>
                    <a:pt x="3495" y="1414"/>
                    <a:pt x="3488" y="1414"/>
                    <a:pt x="3532" y="1348"/>
                  </a:cubicBezTo>
                  <a:cubicBezTo>
                    <a:pt x="3569" y="1289"/>
                    <a:pt x="3583" y="1311"/>
                    <a:pt x="3635" y="1275"/>
                  </a:cubicBezTo>
                  <a:cubicBezTo>
                    <a:pt x="3686" y="1238"/>
                    <a:pt x="3671" y="1216"/>
                    <a:pt x="3701" y="1172"/>
                  </a:cubicBezTo>
                  <a:cubicBezTo>
                    <a:pt x="3723" y="1135"/>
                    <a:pt x="3759" y="1092"/>
                    <a:pt x="3789" y="1092"/>
                  </a:cubicBezTo>
                  <a:cubicBezTo>
                    <a:pt x="3796" y="1092"/>
                    <a:pt x="3803" y="1092"/>
                    <a:pt x="3810" y="1099"/>
                  </a:cubicBezTo>
                  <a:cubicBezTo>
                    <a:pt x="3847" y="1121"/>
                    <a:pt x="3847" y="1187"/>
                    <a:pt x="3884" y="1187"/>
                  </a:cubicBezTo>
                  <a:cubicBezTo>
                    <a:pt x="3899" y="1187"/>
                    <a:pt x="3906" y="1187"/>
                    <a:pt x="3906" y="1187"/>
                  </a:cubicBezTo>
                  <a:cubicBezTo>
                    <a:pt x="3935" y="1187"/>
                    <a:pt x="3950" y="1187"/>
                    <a:pt x="3957" y="1128"/>
                  </a:cubicBezTo>
                  <a:cubicBezTo>
                    <a:pt x="3964" y="1062"/>
                    <a:pt x="3972" y="1047"/>
                    <a:pt x="4030" y="1018"/>
                  </a:cubicBezTo>
                  <a:cubicBezTo>
                    <a:pt x="4074" y="1004"/>
                    <a:pt x="4104" y="974"/>
                    <a:pt x="4125" y="974"/>
                  </a:cubicBezTo>
                  <a:cubicBezTo>
                    <a:pt x="4140" y="974"/>
                    <a:pt x="4148" y="982"/>
                    <a:pt x="4162" y="996"/>
                  </a:cubicBezTo>
                  <a:cubicBezTo>
                    <a:pt x="4191" y="1033"/>
                    <a:pt x="4199" y="1099"/>
                    <a:pt x="4235" y="1099"/>
                  </a:cubicBezTo>
                  <a:lnTo>
                    <a:pt x="4243" y="1099"/>
                  </a:lnTo>
                  <a:cubicBezTo>
                    <a:pt x="4287" y="1084"/>
                    <a:pt x="4272" y="1084"/>
                    <a:pt x="4301" y="1018"/>
                  </a:cubicBezTo>
                  <a:cubicBezTo>
                    <a:pt x="4331" y="960"/>
                    <a:pt x="4316" y="916"/>
                    <a:pt x="4353" y="916"/>
                  </a:cubicBezTo>
                  <a:lnTo>
                    <a:pt x="4360" y="916"/>
                  </a:lnTo>
                  <a:cubicBezTo>
                    <a:pt x="4389" y="923"/>
                    <a:pt x="4404" y="930"/>
                    <a:pt x="4411" y="930"/>
                  </a:cubicBezTo>
                  <a:cubicBezTo>
                    <a:pt x="4426" y="930"/>
                    <a:pt x="4433" y="923"/>
                    <a:pt x="4448" y="894"/>
                  </a:cubicBezTo>
                  <a:cubicBezTo>
                    <a:pt x="4470" y="835"/>
                    <a:pt x="4514" y="776"/>
                    <a:pt x="4507" y="725"/>
                  </a:cubicBezTo>
                  <a:cubicBezTo>
                    <a:pt x="4499" y="674"/>
                    <a:pt x="4492" y="601"/>
                    <a:pt x="4536" y="571"/>
                  </a:cubicBezTo>
                  <a:cubicBezTo>
                    <a:pt x="4573" y="535"/>
                    <a:pt x="4587" y="520"/>
                    <a:pt x="4624" y="498"/>
                  </a:cubicBezTo>
                  <a:cubicBezTo>
                    <a:pt x="4668" y="483"/>
                    <a:pt x="4661" y="469"/>
                    <a:pt x="4726" y="381"/>
                  </a:cubicBezTo>
                  <a:cubicBezTo>
                    <a:pt x="4800" y="300"/>
                    <a:pt x="4800" y="307"/>
                    <a:pt x="4858" y="300"/>
                  </a:cubicBezTo>
                  <a:cubicBezTo>
                    <a:pt x="4917" y="285"/>
                    <a:pt x="4961" y="285"/>
                    <a:pt x="4990" y="256"/>
                  </a:cubicBezTo>
                  <a:cubicBezTo>
                    <a:pt x="5027" y="219"/>
                    <a:pt x="4983" y="212"/>
                    <a:pt x="4946" y="176"/>
                  </a:cubicBezTo>
                  <a:cubicBezTo>
                    <a:pt x="4917" y="146"/>
                    <a:pt x="4910" y="117"/>
                    <a:pt x="4932" y="58"/>
                  </a:cubicBezTo>
                  <a:cubicBezTo>
                    <a:pt x="4939" y="36"/>
                    <a:pt x="4954" y="29"/>
                    <a:pt x="4961" y="29"/>
                  </a:cubicBezTo>
                  <a:lnTo>
                    <a:pt x="4961" y="0"/>
                  </a:lnTo>
                  <a:lnTo>
                    <a:pt x="4961" y="0"/>
                  </a:lnTo>
                  <a:lnTo>
                    <a:pt x="4961" y="0"/>
                  </a:lnTo>
                  <a:lnTo>
                    <a:pt x="4961" y="0"/>
                  </a:lnTo>
                  <a:cubicBezTo>
                    <a:pt x="4946" y="0"/>
                    <a:pt x="4924" y="7"/>
                    <a:pt x="4902" y="44"/>
                  </a:cubicBezTo>
                  <a:cubicBezTo>
                    <a:pt x="4873" y="117"/>
                    <a:pt x="4880" y="154"/>
                    <a:pt x="4932" y="197"/>
                  </a:cubicBezTo>
                  <a:cubicBezTo>
                    <a:pt x="4939" y="212"/>
                    <a:pt x="4954" y="219"/>
                    <a:pt x="4961" y="227"/>
                  </a:cubicBezTo>
                  <a:lnTo>
                    <a:pt x="4968" y="234"/>
                  </a:lnTo>
                  <a:cubicBezTo>
                    <a:pt x="4946" y="256"/>
                    <a:pt x="4924" y="256"/>
                    <a:pt x="4880" y="264"/>
                  </a:cubicBezTo>
                  <a:cubicBezTo>
                    <a:pt x="4873" y="264"/>
                    <a:pt x="4858" y="264"/>
                    <a:pt x="4851" y="264"/>
                  </a:cubicBezTo>
                  <a:cubicBezTo>
                    <a:pt x="4836" y="271"/>
                    <a:pt x="4836" y="271"/>
                    <a:pt x="4836" y="271"/>
                  </a:cubicBezTo>
                  <a:cubicBezTo>
                    <a:pt x="4778" y="278"/>
                    <a:pt x="4770" y="285"/>
                    <a:pt x="4704" y="366"/>
                  </a:cubicBezTo>
                  <a:cubicBezTo>
                    <a:pt x="4675" y="395"/>
                    <a:pt x="4661" y="417"/>
                    <a:pt x="4653" y="439"/>
                  </a:cubicBezTo>
                  <a:cubicBezTo>
                    <a:pt x="4639" y="461"/>
                    <a:pt x="4631" y="469"/>
                    <a:pt x="4616" y="476"/>
                  </a:cubicBezTo>
                  <a:cubicBezTo>
                    <a:pt x="4580" y="483"/>
                    <a:pt x="4565" y="498"/>
                    <a:pt x="4543" y="520"/>
                  </a:cubicBezTo>
                  <a:cubicBezTo>
                    <a:pt x="4536" y="527"/>
                    <a:pt x="4529" y="535"/>
                    <a:pt x="4514" y="542"/>
                  </a:cubicBezTo>
                  <a:cubicBezTo>
                    <a:pt x="4455" y="593"/>
                    <a:pt x="4470" y="681"/>
                    <a:pt x="4477" y="725"/>
                  </a:cubicBezTo>
                  <a:cubicBezTo>
                    <a:pt x="4485" y="754"/>
                    <a:pt x="4463" y="791"/>
                    <a:pt x="4441" y="828"/>
                  </a:cubicBezTo>
                  <a:cubicBezTo>
                    <a:pt x="4433" y="850"/>
                    <a:pt x="4426" y="864"/>
                    <a:pt x="4419" y="879"/>
                  </a:cubicBezTo>
                  <a:cubicBezTo>
                    <a:pt x="4419" y="894"/>
                    <a:pt x="4411" y="894"/>
                    <a:pt x="4411" y="901"/>
                  </a:cubicBezTo>
                  <a:lnTo>
                    <a:pt x="4404" y="894"/>
                  </a:lnTo>
                  <a:cubicBezTo>
                    <a:pt x="4397" y="894"/>
                    <a:pt x="4382" y="886"/>
                    <a:pt x="4367" y="886"/>
                  </a:cubicBezTo>
                  <a:cubicBezTo>
                    <a:pt x="4360" y="886"/>
                    <a:pt x="4353" y="886"/>
                    <a:pt x="4353" y="886"/>
                  </a:cubicBezTo>
                  <a:cubicBezTo>
                    <a:pt x="4309" y="886"/>
                    <a:pt x="4301" y="923"/>
                    <a:pt x="4294" y="945"/>
                  </a:cubicBezTo>
                  <a:cubicBezTo>
                    <a:pt x="4294" y="967"/>
                    <a:pt x="4287" y="982"/>
                    <a:pt x="4280" y="1004"/>
                  </a:cubicBezTo>
                  <a:cubicBezTo>
                    <a:pt x="4265" y="1026"/>
                    <a:pt x="4257" y="1040"/>
                    <a:pt x="4257" y="1055"/>
                  </a:cubicBezTo>
                  <a:cubicBezTo>
                    <a:pt x="4250" y="1055"/>
                    <a:pt x="4250" y="1062"/>
                    <a:pt x="4250" y="1062"/>
                  </a:cubicBezTo>
                  <a:cubicBezTo>
                    <a:pt x="4250" y="1062"/>
                    <a:pt x="4243" y="1062"/>
                    <a:pt x="4235" y="1069"/>
                  </a:cubicBezTo>
                  <a:cubicBezTo>
                    <a:pt x="4228" y="1062"/>
                    <a:pt x="4221" y="1040"/>
                    <a:pt x="4213" y="1033"/>
                  </a:cubicBezTo>
                  <a:cubicBezTo>
                    <a:pt x="4206" y="1011"/>
                    <a:pt x="4199" y="989"/>
                    <a:pt x="4184" y="974"/>
                  </a:cubicBezTo>
                  <a:cubicBezTo>
                    <a:pt x="4170" y="952"/>
                    <a:pt x="4148" y="945"/>
                    <a:pt x="4125" y="945"/>
                  </a:cubicBezTo>
                  <a:cubicBezTo>
                    <a:pt x="4104" y="945"/>
                    <a:pt x="4082" y="960"/>
                    <a:pt x="4060" y="974"/>
                  </a:cubicBezTo>
                  <a:cubicBezTo>
                    <a:pt x="4045" y="974"/>
                    <a:pt x="4030" y="989"/>
                    <a:pt x="4023" y="989"/>
                  </a:cubicBezTo>
                  <a:cubicBezTo>
                    <a:pt x="3950" y="1026"/>
                    <a:pt x="3935" y="1047"/>
                    <a:pt x="3928" y="1128"/>
                  </a:cubicBezTo>
                  <a:cubicBezTo>
                    <a:pt x="3920" y="1150"/>
                    <a:pt x="3920" y="1157"/>
                    <a:pt x="3920" y="1157"/>
                  </a:cubicBezTo>
                  <a:lnTo>
                    <a:pt x="3913" y="1157"/>
                  </a:lnTo>
                  <a:cubicBezTo>
                    <a:pt x="3913" y="1157"/>
                    <a:pt x="3913" y="1157"/>
                    <a:pt x="3906" y="1157"/>
                  </a:cubicBezTo>
                  <a:cubicBezTo>
                    <a:pt x="3899" y="1157"/>
                    <a:pt x="3899" y="1157"/>
                    <a:pt x="3899" y="1157"/>
                  </a:cubicBezTo>
                  <a:cubicBezTo>
                    <a:pt x="3884" y="1157"/>
                    <a:pt x="3884" y="1157"/>
                    <a:pt x="3884" y="1157"/>
                  </a:cubicBezTo>
                  <a:cubicBezTo>
                    <a:pt x="3884" y="1157"/>
                    <a:pt x="3876" y="1143"/>
                    <a:pt x="3869" y="1128"/>
                  </a:cubicBezTo>
                  <a:cubicBezTo>
                    <a:pt x="3862" y="1106"/>
                    <a:pt x="3847" y="1084"/>
                    <a:pt x="3825" y="1069"/>
                  </a:cubicBezTo>
                  <a:cubicBezTo>
                    <a:pt x="3818" y="1062"/>
                    <a:pt x="3803" y="1062"/>
                    <a:pt x="3789" y="1062"/>
                  </a:cubicBezTo>
                  <a:cubicBezTo>
                    <a:pt x="3737" y="1062"/>
                    <a:pt x="3686" y="1135"/>
                    <a:pt x="3671" y="1157"/>
                  </a:cubicBezTo>
                  <a:cubicBezTo>
                    <a:pt x="3664" y="1172"/>
                    <a:pt x="3657" y="1187"/>
                    <a:pt x="3657" y="1201"/>
                  </a:cubicBezTo>
                  <a:cubicBezTo>
                    <a:pt x="3649" y="1223"/>
                    <a:pt x="3642" y="1231"/>
                    <a:pt x="3613" y="1253"/>
                  </a:cubicBezTo>
                  <a:cubicBezTo>
                    <a:pt x="3598" y="1260"/>
                    <a:pt x="3591" y="1267"/>
                    <a:pt x="3576" y="1267"/>
                  </a:cubicBezTo>
                  <a:cubicBezTo>
                    <a:pt x="3554" y="1282"/>
                    <a:pt x="3539" y="1289"/>
                    <a:pt x="3503" y="1333"/>
                  </a:cubicBezTo>
                  <a:cubicBezTo>
                    <a:pt x="3503" y="1341"/>
                    <a:pt x="3495" y="1348"/>
                    <a:pt x="3488" y="1355"/>
                  </a:cubicBezTo>
                  <a:cubicBezTo>
                    <a:pt x="3473" y="1377"/>
                    <a:pt x="3473" y="1377"/>
                    <a:pt x="3437" y="1377"/>
                  </a:cubicBezTo>
                  <a:cubicBezTo>
                    <a:pt x="3437" y="1370"/>
                    <a:pt x="3444" y="1355"/>
                    <a:pt x="3444" y="1348"/>
                  </a:cubicBezTo>
                  <a:cubicBezTo>
                    <a:pt x="3451" y="1326"/>
                    <a:pt x="3451" y="1304"/>
                    <a:pt x="3451" y="1289"/>
                  </a:cubicBezTo>
                  <a:cubicBezTo>
                    <a:pt x="3444" y="1275"/>
                    <a:pt x="3430" y="1260"/>
                    <a:pt x="3415" y="1260"/>
                  </a:cubicBezTo>
                  <a:cubicBezTo>
                    <a:pt x="3393" y="1260"/>
                    <a:pt x="3378" y="1275"/>
                    <a:pt x="3363" y="1289"/>
                  </a:cubicBezTo>
                  <a:cubicBezTo>
                    <a:pt x="3342" y="1304"/>
                    <a:pt x="3327" y="1319"/>
                    <a:pt x="3305" y="1319"/>
                  </a:cubicBezTo>
                  <a:cubicBezTo>
                    <a:pt x="3298" y="1326"/>
                    <a:pt x="3290" y="1326"/>
                    <a:pt x="3275" y="1326"/>
                  </a:cubicBezTo>
                  <a:cubicBezTo>
                    <a:pt x="3261" y="1326"/>
                    <a:pt x="3246" y="1319"/>
                    <a:pt x="3232" y="1311"/>
                  </a:cubicBezTo>
                  <a:cubicBezTo>
                    <a:pt x="3224" y="1304"/>
                    <a:pt x="3224" y="1304"/>
                    <a:pt x="3224" y="1304"/>
                  </a:cubicBezTo>
                  <a:cubicBezTo>
                    <a:pt x="3210" y="1304"/>
                    <a:pt x="3210" y="1304"/>
                    <a:pt x="3210" y="1304"/>
                  </a:cubicBezTo>
                  <a:cubicBezTo>
                    <a:pt x="3202" y="1304"/>
                    <a:pt x="3114" y="1311"/>
                    <a:pt x="3070" y="1333"/>
                  </a:cubicBezTo>
                  <a:lnTo>
                    <a:pt x="3063" y="1333"/>
                  </a:lnTo>
                  <a:cubicBezTo>
                    <a:pt x="3056" y="1333"/>
                    <a:pt x="3041" y="1326"/>
                    <a:pt x="3026" y="1319"/>
                  </a:cubicBezTo>
                  <a:cubicBezTo>
                    <a:pt x="3019" y="1319"/>
                    <a:pt x="3019" y="1311"/>
                    <a:pt x="3012" y="1311"/>
                  </a:cubicBezTo>
                  <a:cubicBezTo>
                    <a:pt x="2997" y="1304"/>
                    <a:pt x="2990" y="1289"/>
                    <a:pt x="2982" y="1275"/>
                  </a:cubicBezTo>
                  <a:cubicBezTo>
                    <a:pt x="2968" y="1253"/>
                    <a:pt x="2953" y="1216"/>
                    <a:pt x="2909" y="1216"/>
                  </a:cubicBezTo>
                  <a:cubicBezTo>
                    <a:pt x="2902" y="1216"/>
                    <a:pt x="2894" y="1216"/>
                    <a:pt x="2887" y="1223"/>
                  </a:cubicBezTo>
                  <a:cubicBezTo>
                    <a:pt x="2873" y="1223"/>
                    <a:pt x="2865" y="1223"/>
                    <a:pt x="2858" y="1223"/>
                  </a:cubicBezTo>
                  <a:cubicBezTo>
                    <a:pt x="2851" y="1223"/>
                    <a:pt x="2843" y="1223"/>
                    <a:pt x="2836" y="1216"/>
                  </a:cubicBezTo>
                  <a:cubicBezTo>
                    <a:pt x="2836" y="1216"/>
                    <a:pt x="2836" y="1209"/>
                    <a:pt x="2836" y="1201"/>
                  </a:cubicBezTo>
                  <a:cubicBezTo>
                    <a:pt x="2843" y="1179"/>
                    <a:pt x="2836" y="1157"/>
                    <a:pt x="2821" y="1135"/>
                  </a:cubicBezTo>
                  <a:cubicBezTo>
                    <a:pt x="2807" y="1121"/>
                    <a:pt x="2777" y="1106"/>
                    <a:pt x="2755" y="1106"/>
                  </a:cubicBezTo>
                  <a:cubicBezTo>
                    <a:pt x="2733" y="1106"/>
                    <a:pt x="2719" y="1114"/>
                    <a:pt x="2704" y="1121"/>
                  </a:cubicBezTo>
                  <a:cubicBezTo>
                    <a:pt x="2682" y="1128"/>
                    <a:pt x="2675" y="1128"/>
                    <a:pt x="2660" y="1128"/>
                  </a:cubicBezTo>
                  <a:cubicBezTo>
                    <a:pt x="2645" y="1128"/>
                    <a:pt x="2638" y="1128"/>
                    <a:pt x="2616" y="1121"/>
                  </a:cubicBezTo>
                  <a:cubicBezTo>
                    <a:pt x="2609" y="1114"/>
                    <a:pt x="2601" y="1114"/>
                    <a:pt x="2587" y="1106"/>
                  </a:cubicBezTo>
                  <a:cubicBezTo>
                    <a:pt x="2572" y="1106"/>
                    <a:pt x="2558" y="1106"/>
                    <a:pt x="2543" y="1106"/>
                  </a:cubicBezTo>
                  <a:cubicBezTo>
                    <a:pt x="2513" y="1106"/>
                    <a:pt x="2492" y="1114"/>
                    <a:pt x="2455" y="1121"/>
                  </a:cubicBezTo>
                  <a:cubicBezTo>
                    <a:pt x="2440" y="1128"/>
                    <a:pt x="2426" y="1135"/>
                    <a:pt x="2396" y="1143"/>
                  </a:cubicBezTo>
                  <a:cubicBezTo>
                    <a:pt x="2389" y="1143"/>
                    <a:pt x="2389" y="1143"/>
                    <a:pt x="2382" y="1143"/>
                  </a:cubicBezTo>
                  <a:cubicBezTo>
                    <a:pt x="2360" y="1143"/>
                    <a:pt x="2352" y="1128"/>
                    <a:pt x="2330" y="1099"/>
                  </a:cubicBezTo>
                  <a:cubicBezTo>
                    <a:pt x="2323" y="1077"/>
                    <a:pt x="2316" y="1062"/>
                    <a:pt x="2301" y="1047"/>
                  </a:cubicBezTo>
                  <a:cubicBezTo>
                    <a:pt x="2279" y="1026"/>
                    <a:pt x="2162" y="916"/>
                    <a:pt x="2089" y="901"/>
                  </a:cubicBezTo>
                  <a:cubicBezTo>
                    <a:pt x="2067" y="901"/>
                    <a:pt x="2044" y="901"/>
                    <a:pt x="2030" y="901"/>
                  </a:cubicBezTo>
                  <a:cubicBezTo>
                    <a:pt x="2001" y="901"/>
                    <a:pt x="1986" y="901"/>
                    <a:pt x="1971" y="894"/>
                  </a:cubicBezTo>
                  <a:cubicBezTo>
                    <a:pt x="1964" y="886"/>
                    <a:pt x="1957" y="879"/>
                    <a:pt x="1949" y="872"/>
                  </a:cubicBezTo>
                  <a:cubicBezTo>
                    <a:pt x="1942" y="850"/>
                    <a:pt x="1920" y="828"/>
                    <a:pt x="1883" y="820"/>
                  </a:cubicBezTo>
                  <a:cubicBezTo>
                    <a:pt x="1876" y="820"/>
                    <a:pt x="1869" y="820"/>
                    <a:pt x="1861" y="820"/>
                  </a:cubicBezTo>
                  <a:cubicBezTo>
                    <a:pt x="1810" y="820"/>
                    <a:pt x="1751" y="850"/>
                    <a:pt x="1737" y="864"/>
                  </a:cubicBezTo>
                  <a:cubicBezTo>
                    <a:pt x="1722" y="879"/>
                    <a:pt x="1708" y="886"/>
                    <a:pt x="1693" y="886"/>
                  </a:cubicBezTo>
                  <a:cubicBezTo>
                    <a:pt x="1693" y="886"/>
                    <a:pt x="1678" y="886"/>
                    <a:pt x="1663" y="872"/>
                  </a:cubicBezTo>
                  <a:cubicBezTo>
                    <a:pt x="1656" y="864"/>
                    <a:pt x="1649" y="857"/>
                    <a:pt x="1642" y="850"/>
                  </a:cubicBezTo>
                  <a:cubicBezTo>
                    <a:pt x="1627" y="828"/>
                    <a:pt x="1612" y="813"/>
                    <a:pt x="1598" y="813"/>
                  </a:cubicBezTo>
                  <a:cubicBezTo>
                    <a:pt x="1561" y="813"/>
                    <a:pt x="1554" y="850"/>
                    <a:pt x="1554" y="872"/>
                  </a:cubicBezTo>
                  <a:cubicBezTo>
                    <a:pt x="1546" y="901"/>
                    <a:pt x="1510" y="901"/>
                    <a:pt x="1510" y="901"/>
                  </a:cubicBezTo>
                  <a:cubicBezTo>
                    <a:pt x="1480" y="908"/>
                    <a:pt x="1480" y="908"/>
                    <a:pt x="1480" y="908"/>
                  </a:cubicBezTo>
                  <a:cubicBezTo>
                    <a:pt x="1488" y="938"/>
                    <a:pt x="1488" y="938"/>
                    <a:pt x="1488" y="938"/>
                  </a:cubicBezTo>
                  <a:cubicBezTo>
                    <a:pt x="1488" y="974"/>
                    <a:pt x="1480" y="1026"/>
                    <a:pt x="1458" y="1033"/>
                  </a:cubicBezTo>
                  <a:cubicBezTo>
                    <a:pt x="1414" y="1040"/>
                    <a:pt x="1392" y="1047"/>
                    <a:pt x="1385" y="1084"/>
                  </a:cubicBezTo>
                  <a:cubicBezTo>
                    <a:pt x="1385" y="1092"/>
                    <a:pt x="1385" y="1092"/>
                    <a:pt x="1385" y="1092"/>
                  </a:cubicBezTo>
                  <a:cubicBezTo>
                    <a:pt x="1378" y="1106"/>
                    <a:pt x="1378" y="1114"/>
                    <a:pt x="1370" y="1114"/>
                  </a:cubicBezTo>
                  <a:cubicBezTo>
                    <a:pt x="1370" y="1114"/>
                    <a:pt x="1370" y="1114"/>
                    <a:pt x="1363" y="1106"/>
                  </a:cubicBezTo>
                  <a:cubicBezTo>
                    <a:pt x="1349" y="1099"/>
                    <a:pt x="1334" y="1092"/>
                    <a:pt x="1319" y="1092"/>
                  </a:cubicBezTo>
                  <a:cubicBezTo>
                    <a:pt x="1290" y="1092"/>
                    <a:pt x="1268" y="1114"/>
                    <a:pt x="1239" y="1135"/>
                  </a:cubicBezTo>
                  <a:cubicBezTo>
                    <a:pt x="1231" y="1143"/>
                    <a:pt x="1224" y="1150"/>
                    <a:pt x="1217" y="1157"/>
                  </a:cubicBezTo>
                  <a:cubicBezTo>
                    <a:pt x="1202" y="1172"/>
                    <a:pt x="1187" y="1179"/>
                    <a:pt x="1173" y="1187"/>
                  </a:cubicBezTo>
                  <a:cubicBezTo>
                    <a:pt x="1151" y="1209"/>
                    <a:pt x="1129" y="1223"/>
                    <a:pt x="1114" y="1253"/>
                  </a:cubicBezTo>
                  <a:cubicBezTo>
                    <a:pt x="1107" y="1260"/>
                    <a:pt x="1092" y="1267"/>
                    <a:pt x="1070" y="1275"/>
                  </a:cubicBezTo>
                  <a:cubicBezTo>
                    <a:pt x="1055" y="1282"/>
                    <a:pt x="1033" y="1289"/>
                    <a:pt x="1011" y="1297"/>
                  </a:cubicBezTo>
                  <a:cubicBezTo>
                    <a:pt x="1011" y="1297"/>
                    <a:pt x="1011" y="1304"/>
                    <a:pt x="1004" y="1304"/>
                  </a:cubicBezTo>
                  <a:cubicBezTo>
                    <a:pt x="982" y="1304"/>
                    <a:pt x="945" y="1282"/>
                    <a:pt x="916" y="1267"/>
                  </a:cubicBezTo>
                  <a:cubicBezTo>
                    <a:pt x="901" y="1253"/>
                    <a:pt x="880" y="1245"/>
                    <a:pt x="865" y="1238"/>
                  </a:cubicBezTo>
                  <a:cubicBezTo>
                    <a:pt x="850" y="1231"/>
                    <a:pt x="836" y="1231"/>
                    <a:pt x="821" y="1231"/>
                  </a:cubicBezTo>
                  <a:cubicBezTo>
                    <a:pt x="784" y="1231"/>
                    <a:pt x="755" y="1253"/>
                    <a:pt x="733" y="1275"/>
                  </a:cubicBezTo>
                  <a:cubicBezTo>
                    <a:pt x="718" y="1282"/>
                    <a:pt x="711" y="1297"/>
                    <a:pt x="696" y="1297"/>
                  </a:cubicBezTo>
                  <a:cubicBezTo>
                    <a:pt x="652" y="1326"/>
                    <a:pt x="616" y="1355"/>
                    <a:pt x="572" y="1421"/>
                  </a:cubicBezTo>
                  <a:cubicBezTo>
                    <a:pt x="535" y="1465"/>
                    <a:pt x="550" y="1502"/>
                    <a:pt x="564" y="1531"/>
                  </a:cubicBezTo>
                  <a:cubicBezTo>
                    <a:pt x="572" y="1546"/>
                    <a:pt x="579" y="1560"/>
                    <a:pt x="572" y="1575"/>
                  </a:cubicBezTo>
                  <a:cubicBezTo>
                    <a:pt x="572" y="1590"/>
                    <a:pt x="572" y="1590"/>
                    <a:pt x="572" y="1590"/>
                  </a:cubicBezTo>
                  <a:cubicBezTo>
                    <a:pt x="564" y="1626"/>
                    <a:pt x="564" y="1641"/>
                    <a:pt x="557" y="1656"/>
                  </a:cubicBezTo>
                  <a:cubicBezTo>
                    <a:pt x="550" y="1656"/>
                    <a:pt x="542" y="1648"/>
                    <a:pt x="528" y="1641"/>
                  </a:cubicBezTo>
                  <a:cubicBezTo>
                    <a:pt x="499" y="1626"/>
                    <a:pt x="462" y="1604"/>
                    <a:pt x="418" y="1604"/>
                  </a:cubicBezTo>
                  <a:cubicBezTo>
                    <a:pt x="411" y="1597"/>
                    <a:pt x="396" y="1597"/>
                    <a:pt x="381" y="1597"/>
                  </a:cubicBezTo>
                  <a:cubicBezTo>
                    <a:pt x="301" y="1597"/>
                    <a:pt x="279" y="1634"/>
                    <a:pt x="271" y="1670"/>
                  </a:cubicBezTo>
                  <a:cubicBezTo>
                    <a:pt x="264" y="1685"/>
                    <a:pt x="264" y="1685"/>
                    <a:pt x="242" y="1685"/>
                  </a:cubicBezTo>
                  <a:cubicBezTo>
                    <a:pt x="81" y="1685"/>
                    <a:pt x="81" y="1685"/>
                    <a:pt x="81" y="1685"/>
                  </a:cubicBezTo>
                  <a:cubicBezTo>
                    <a:pt x="73" y="1685"/>
                    <a:pt x="73" y="1685"/>
                    <a:pt x="73" y="1685"/>
                  </a:cubicBezTo>
                  <a:cubicBezTo>
                    <a:pt x="66" y="1685"/>
                    <a:pt x="66" y="1685"/>
                    <a:pt x="66" y="1685"/>
                  </a:cubicBezTo>
                  <a:cubicBezTo>
                    <a:pt x="59" y="1685"/>
                    <a:pt x="59" y="1685"/>
                    <a:pt x="59" y="1685"/>
                  </a:cubicBezTo>
                  <a:cubicBezTo>
                    <a:pt x="0" y="1692"/>
                    <a:pt x="0" y="1692"/>
                    <a:pt x="0" y="1692"/>
                  </a:cubicBezTo>
                  <a:cubicBezTo>
                    <a:pt x="22" y="1722"/>
                    <a:pt x="22" y="1722"/>
                    <a:pt x="22" y="1722"/>
                  </a:cubicBezTo>
                  <a:cubicBezTo>
                    <a:pt x="15" y="1736"/>
                    <a:pt x="15" y="1773"/>
                    <a:pt x="103" y="1883"/>
                  </a:cubicBezTo>
                  <a:cubicBezTo>
                    <a:pt x="139" y="1919"/>
                    <a:pt x="169" y="1934"/>
                    <a:pt x="213" y="1934"/>
                  </a:cubicBezTo>
                  <a:cubicBezTo>
                    <a:pt x="227" y="1934"/>
                    <a:pt x="249" y="1934"/>
                    <a:pt x="271" y="1927"/>
                  </a:cubicBezTo>
                  <a:cubicBezTo>
                    <a:pt x="279" y="1919"/>
                    <a:pt x="286" y="1912"/>
                    <a:pt x="293" y="1912"/>
                  </a:cubicBezTo>
                  <a:cubicBezTo>
                    <a:pt x="323" y="1897"/>
                    <a:pt x="352" y="1883"/>
                    <a:pt x="381" y="1883"/>
                  </a:cubicBezTo>
                  <a:cubicBezTo>
                    <a:pt x="396" y="1883"/>
                    <a:pt x="403" y="1883"/>
                    <a:pt x="418" y="1890"/>
                  </a:cubicBezTo>
                  <a:cubicBezTo>
                    <a:pt x="440" y="1897"/>
                    <a:pt x="469" y="1912"/>
                    <a:pt x="491" y="1927"/>
                  </a:cubicBezTo>
                  <a:cubicBezTo>
                    <a:pt x="520" y="1949"/>
                    <a:pt x="550" y="1971"/>
                    <a:pt x="594" y="1978"/>
                  </a:cubicBezTo>
                  <a:cubicBezTo>
                    <a:pt x="608" y="1978"/>
                    <a:pt x="616" y="1978"/>
                    <a:pt x="630" y="1978"/>
                  </a:cubicBezTo>
                  <a:cubicBezTo>
                    <a:pt x="652" y="1978"/>
                    <a:pt x="667" y="1978"/>
                    <a:pt x="682" y="1971"/>
                  </a:cubicBezTo>
                  <a:cubicBezTo>
                    <a:pt x="696" y="1971"/>
                    <a:pt x="711" y="1971"/>
                    <a:pt x="726" y="1971"/>
                  </a:cubicBezTo>
                  <a:cubicBezTo>
                    <a:pt x="740" y="1971"/>
                    <a:pt x="740" y="1971"/>
                    <a:pt x="740" y="1971"/>
                  </a:cubicBezTo>
                  <a:lnTo>
                    <a:pt x="740" y="1971"/>
                  </a:lnTo>
                  <a:cubicBezTo>
                    <a:pt x="755" y="1971"/>
                    <a:pt x="762" y="1971"/>
                    <a:pt x="770" y="1971"/>
                  </a:cubicBezTo>
                  <a:cubicBezTo>
                    <a:pt x="762" y="1971"/>
                    <a:pt x="762" y="1971"/>
                    <a:pt x="762" y="1978"/>
                  </a:cubicBezTo>
                  <a:cubicBezTo>
                    <a:pt x="755" y="1993"/>
                    <a:pt x="740" y="2022"/>
                    <a:pt x="755" y="2051"/>
                  </a:cubicBezTo>
                  <a:cubicBezTo>
                    <a:pt x="770" y="2066"/>
                    <a:pt x="784" y="2081"/>
                    <a:pt x="813" y="2088"/>
                  </a:cubicBezTo>
                  <a:lnTo>
                    <a:pt x="813" y="2088"/>
                  </a:lnTo>
                  <a:cubicBezTo>
                    <a:pt x="828" y="2088"/>
                    <a:pt x="836" y="2088"/>
                    <a:pt x="843" y="2095"/>
                  </a:cubicBezTo>
                  <a:cubicBezTo>
                    <a:pt x="843" y="2095"/>
                    <a:pt x="843" y="2103"/>
                    <a:pt x="850" y="2125"/>
                  </a:cubicBezTo>
                  <a:cubicBezTo>
                    <a:pt x="858" y="2169"/>
                    <a:pt x="887" y="2176"/>
                    <a:pt x="901" y="2176"/>
                  </a:cubicBezTo>
                  <a:cubicBezTo>
                    <a:pt x="923" y="2176"/>
                    <a:pt x="945" y="2161"/>
                    <a:pt x="968" y="2147"/>
                  </a:cubicBezTo>
                  <a:cubicBezTo>
                    <a:pt x="975" y="2139"/>
                    <a:pt x="975" y="2139"/>
                    <a:pt x="975" y="2139"/>
                  </a:cubicBezTo>
                  <a:cubicBezTo>
                    <a:pt x="989" y="2132"/>
                    <a:pt x="997" y="2132"/>
                    <a:pt x="1004" y="2132"/>
                  </a:cubicBezTo>
                  <a:cubicBezTo>
                    <a:pt x="1011" y="2132"/>
                    <a:pt x="1026" y="2154"/>
                    <a:pt x="1033" y="2161"/>
                  </a:cubicBezTo>
                  <a:cubicBezTo>
                    <a:pt x="1048" y="2191"/>
                    <a:pt x="1070" y="2257"/>
                    <a:pt x="1114" y="2257"/>
                  </a:cubicBezTo>
                  <a:cubicBezTo>
                    <a:pt x="1129" y="2257"/>
                    <a:pt x="1136" y="2249"/>
                    <a:pt x="1151" y="2242"/>
                  </a:cubicBezTo>
                  <a:cubicBezTo>
                    <a:pt x="1158" y="2242"/>
                    <a:pt x="1165" y="2235"/>
                    <a:pt x="1165" y="2235"/>
                  </a:cubicBezTo>
                  <a:cubicBezTo>
                    <a:pt x="1173" y="2235"/>
                    <a:pt x="1180" y="2242"/>
                    <a:pt x="1180" y="2242"/>
                  </a:cubicBezTo>
                  <a:cubicBezTo>
                    <a:pt x="1165" y="2278"/>
                    <a:pt x="1143" y="2323"/>
                    <a:pt x="1165" y="2359"/>
                  </a:cubicBezTo>
                  <a:cubicBezTo>
                    <a:pt x="1180" y="2388"/>
                    <a:pt x="1217" y="2396"/>
                    <a:pt x="1261" y="2418"/>
                  </a:cubicBezTo>
                  <a:cubicBezTo>
                    <a:pt x="1290" y="2425"/>
                    <a:pt x="1312" y="2440"/>
                    <a:pt x="1341" y="2447"/>
                  </a:cubicBezTo>
                  <a:cubicBezTo>
                    <a:pt x="1385" y="2469"/>
                    <a:pt x="1444" y="2476"/>
                    <a:pt x="1480" y="2476"/>
                  </a:cubicBezTo>
                  <a:cubicBezTo>
                    <a:pt x="1517" y="2476"/>
                    <a:pt x="1554" y="2476"/>
                    <a:pt x="1568" y="2469"/>
                  </a:cubicBezTo>
                  <a:cubicBezTo>
                    <a:pt x="1568" y="2469"/>
                    <a:pt x="1568" y="2469"/>
                    <a:pt x="1576" y="2469"/>
                  </a:cubicBezTo>
                  <a:cubicBezTo>
                    <a:pt x="1598" y="2469"/>
                    <a:pt x="1642" y="2476"/>
                    <a:pt x="1671" y="2484"/>
                  </a:cubicBezTo>
                  <a:cubicBezTo>
                    <a:pt x="1685" y="2484"/>
                    <a:pt x="1693" y="2484"/>
                    <a:pt x="1708" y="2484"/>
                  </a:cubicBezTo>
                  <a:cubicBezTo>
                    <a:pt x="1708" y="2484"/>
                    <a:pt x="1715" y="2491"/>
                    <a:pt x="1722" y="2491"/>
                  </a:cubicBezTo>
                  <a:cubicBezTo>
                    <a:pt x="1737" y="2491"/>
                    <a:pt x="1751" y="2484"/>
                    <a:pt x="1759" y="2476"/>
                  </a:cubicBezTo>
                  <a:cubicBezTo>
                    <a:pt x="1759" y="2484"/>
                    <a:pt x="1759" y="2484"/>
                    <a:pt x="1759" y="2491"/>
                  </a:cubicBezTo>
                  <a:cubicBezTo>
                    <a:pt x="1766" y="2513"/>
                    <a:pt x="1773" y="2557"/>
                    <a:pt x="1818" y="2557"/>
                  </a:cubicBezTo>
                  <a:cubicBezTo>
                    <a:pt x="1825" y="2557"/>
                    <a:pt x="1832" y="2557"/>
                    <a:pt x="1839" y="2550"/>
                  </a:cubicBezTo>
                  <a:cubicBezTo>
                    <a:pt x="1869" y="2542"/>
                    <a:pt x="1883" y="2520"/>
                    <a:pt x="1891" y="2506"/>
                  </a:cubicBezTo>
                  <a:cubicBezTo>
                    <a:pt x="1898" y="2498"/>
                    <a:pt x="1898" y="2498"/>
                    <a:pt x="1898" y="2498"/>
                  </a:cubicBezTo>
                  <a:cubicBezTo>
                    <a:pt x="1927" y="2506"/>
                    <a:pt x="1986" y="2579"/>
                    <a:pt x="2008" y="2623"/>
                  </a:cubicBezTo>
                  <a:cubicBezTo>
                    <a:pt x="2030" y="2674"/>
                    <a:pt x="2023" y="2696"/>
                    <a:pt x="2008" y="2704"/>
                  </a:cubicBezTo>
                  <a:cubicBezTo>
                    <a:pt x="1942" y="2740"/>
                    <a:pt x="1920" y="2784"/>
                    <a:pt x="1927" y="2828"/>
                  </a:cubicBezTo>
                  <a:cubicBezTo>
                    <a:pt x="1927" y="2843"/>
                    <a:pt x="1935" y="2850"/>
                    <a:pt x="1935" y="2857"/>
                  </a:cubicBezTo>
                  <a:cubicBezTo>
                    <a:pt x="1949" y="2879"/>
                    <a:pt x="1949" y="2887"/>
                    <a:pt x="1942" y="2909"/>
                  </a:cubicBezTo>
                  <a:cubicBezTo>
                    <a:pt x="1913" y="2953"/>
                    <a:pt x="1935" y="2997"/>
                    <a:pt x="1964" y="3048"/>
                  </a:cubicBezTo>
                  <a:cubicBezTo>
                    <a:pt x="1971" y="3063"/>
                    <a:pt x="1979" y="3077"/>
                    <a:pt x="1986" y="3099"/>
                  </a:cubicBezTo>
                  <a:cubicBezTo>
                    <a:pt x="2023" y="3165"/>
                    <a:pt x="2008" y="3224"/>
                    <a:pt x="1993" y="3246"/>
                  </a:cubicBezTo>
                  <a:cubicBezTo>
                    <a:pt x="1986" y="3253"/>
                    <a:pt x="1971" y="3260"/>
                    <a:pt x="1957" y="3268"/>
                  </a:cubicBezTo>
                  <a:cubicBezTo>
                    <a:pt x="1942" y="3275"/>
                    <a:pt x="1920" y="3290"/>
                    <a:pt x="1905" y="3304"/>
                  </a:cubicBezTo>
                  <a:cubicBezTo>
                    <a:pt x="1891" y="3326"/>
                    <a:pt x="1891" y="3356"/>
                    <a:pt x="1891" y="3392"/>
                  </a:cubicBezTo>
                  <a:cubicBezTo>
                    <a:pt x="1891" y="3422"/>
                    <a:pt x="1891" y="3451"/>
                    <a:pt x="1883" y="3473"/>
                  </a:cubicBezTo>
                  <a:cubicBezTo>
                    <a:pt x="1869" y="3524"/>
                    <a:pt x="1861" y="3561"/>
                    <a:pt x="1861" y="3561"/>
                  </a:cubicBezTo>
                  <a:cubicBezTo>
                    <a:pt x="1854" y="3597"/>
                    <a:pt x="1854" y="3597"/>
                    <a:pt x="1854" y="3597"/>
                  </a:cubicBezTo>
                  <a:cubicBezTo>
                    <a:pt x="1883" y="3597"/>
                    <a:pt x="1883" y="3597"/>
                    <a:pt x="1883" y="3597"/>
                  </a:cubicBezTo>
                  <a:cubicBezTo>
                    <a:pt x="1898" y="3605"/>
                    <a:pt x="1905" y="3605"/>
                    <a:pt x="1920" y="3605"/>
                  </a:cubicBezTo>
                  <a:cubicBezTo>
                    <a:pt x="1905" y="3619"/>
                    <a:pt x="1891" y="3642"/>
                    <a:pt x="1898" y="3685"/>
                  </a:cubicBezTo>
                  <a:cubicBezTo>
                    <a:pt x="1905" y="3722"/>
                    <a:pt x="1927" y="3729"/>
                    <a:pt x="1949" y="3729"/>
                  </a:cubicBezTo>
                  <a:cubicBezTo>
                    <a:pt x="1971" y="3729"/>
                    <a:pt x="1993" y="3729"/>
                    <a:pt x="2052" y="3671"/>
                  </a:cubicBezTo>
                  <a:cubicBezTo>
                    <a:pt x="2067" y="3656"/>
                    <a:pt x="2074" y="3649"/>
                    <a:pt x="2074" y="3649"/>
                  </a:cubicBezTo>
                  <a:lnTo>
                    <a:pt x="2074" y="3649"/>
                  </a:lnTo>
                  <a:cubicBezTo>
                    <a:pt x="2081" y="3656"/>
                    <a:pt x="2081" y="3664"/>
                    <a:pt x="2081" y="3671"/>
                  </a:cubicBezTo>
                  <a:cubicBezTo>
                    <a:pt x="2089" y="3700"/>
                    <a:pt x="2096" y="3744"/>
                    <a:pt x="2125" y="3766"/>
                  </a:cubicBezTo>
                  <a:cubicBezTo>
                    <a:pt x="2140" y="3773"/>
                    <a:pt x="2162" y="3781"/>
                    <a:pt x="2176" y="3781"/>
                  </a:cubicBezTo>
                  <a:cubicBezTo>
                    <a:pt x="2184" y="3781"/>
                    <a:pt x="2199" y="3781"/>
                    <a:pt x="2206" y="3773"/>
                  </a:cubicBezTo>
                  <a:cubicBezTo>
                    <a:pt x="2213" y="3773"/>
                    <a:pt x="2213" y="3773"/>
                    <a:pt x="2220" y="3773"/>
                  </a:cubicBezTo>
                  <a:cubicBezTo>
                    <a:pt x="2228" y="3773"/>
                    <a:pt x="2228" y="3773"/>
                    <a:pt x="2235" y="3781"/>
                  </a:cubicBezTo>
                  <a:cubicBezTo>
                    <a:pt x="2250" y="3795"/>
                    <a:pt x="2213" y="3832"/>
                    <a:pt x="2191" y="3861"/>
                  </a:cubicBezTo>
                  <a:cubicBezTo>
                    <a:pt x="2191" y="3869"/>
                    <a:pt x="2191" y="3869"/>
                    <a:pt x="2191" y="3869"/>
                  </a:cubicBezTo>
                  <a:cubicBezTo>
                    <a:pt x="2140" y="3927"/>
                    <a:pt x="2162" y="4125"/>
                    <a:pt x="2162" y="4125"/>
                  </a:cubicBezTo>
                  <a:cubicBezTo>
                    <a:pt x="2169" y="4147"/>
                    <a:pt x="2176" y="4169"/>
                    <a:pt x="2184" y="4184"/>
                  </a:cubicBezTo>
                  <a:cubicBezTo>
                    <a:pt x="2191" y="4206"/>
                    <a:pt x="2191" y="4228"/>
                    <a:pt x="2191" y="4242"/>
                  </a:cubicBezTo>
                  <a:cubicBezTo>
                    <a:pt x="2191" y="4257"/>
                    <a:pt x="2176" y="4264"/>
                    <a:pt x="2169" y="4279"/>
                  </a:cubicBezTo>
                  <a:cubicBezTo>
                    <a:pt x="2147" y="4308"/>
                    <a:pt x="2118" y="4338"/>
                    <a:pt x="2103" y="4396"/>
                  </a:cubicBezTo>
                  <a:cubicBezTo>
                    <a:pt x="2103" y="4404"/>
                    <a:pt x="2103" y="4404"/>
                    <a:pt x="2103" y="4404"/>
                  </a:cubicBezTo>
                  <a:cubicBezTo>
                    <a:pt x="2089" y="4492"/>
                    <a:pt x="2081" y="4535"/>
                    <a:pt x="2125" y="4579"/>
                  </a:cubicBezTo>
                  <a:cubicBezTo>
                    <a:pt x="2132" y="4587"/>
                    <a:pt x="2147" y="4602"/>
                    <a:pt x="2154" y="4609"/>
                  </a:cubicBezTo>
                  <a:cubicBezTo>
                    <a:pt x="2162" y="4609"/>
                    <a:pt x="2169" y="4616"/>
                    <a:pt x="2176" y="4623"/>
                  </a:cubicBezTo>
                  <a:cubicBezTo>
                    <a:pt x="2169" y="4623"/>
                    <a:pt x="2169" y="4623"/>
                    <a:pt x="2162" y="4623"/>
                  </a:cubicBezTo>
                  <a:cubicBezTo>
                    <a:pt x="2147" y="4631"/>
                    <a:pt x="2125" y="4638"/>
                    <a:pt x="2096" y="4675"/>
                  </a:cubicBezTo>
                  <a:cubicBezTo>
                    <a:pt x="2044" y="4733"/>
                    <a:pt x="2044" y="4792"/>
                    <a:pt x="2067" y="4851"/>
                  </a:cubicBezTo>
                  <a:cubicBezTo>
                    <a:pt x="2081" y="4902"/>
                    <a:pt x="2118" y="4946"/>
                    <a:pt x="2147" y="4983"/>
                  </a:cubicBezTo>
                  <a:cubicBezTo>
                    <a:pt x="2154" y="4990"/>
                    <a:pt x="2162" y="4997"/>
                    <a:pt x="2169" y="5012"/>
                  </a:cubicBezTo>
                  <a:cubicBezTo>
                    <a:pt x="2184" y="5026"/>
                    <a:pt x="2199" y="5034"/>
                    <a:pt x="2220" y="5048"/>
                  </a:cubicBezTo>
                  <a:cubicBezTo>
                    <a:pt x="2242" y="5063"/>
                    <a:pt x="2264" y="5078"/>
                    <a:pt x="2279" y="5114"/>
                  </a:cubicBezTo>
                  <a:cubicBezTo>
                    <a:pt x="2301" y="5180"/>
                    <a:pt x="2338" y="5195"/>
                    <a:pt x="2352" y="5202"/>
                  </a:cubicBezTo>
                  <a:cubicBezTo>
                    <a:pt x="2374" y="5217"/>
                    <a:pt x="2499" y="5297"/>
                    <a:pt x="2528" y="5312"/>
                  </a:cubicBezTo>
                  <a:cubicBezTo>
                    <a:pt x="2535" y="5319"/>
                    <a:pt x="2543" y="5319"/>
                    <a:pt x="2550" y="5319"/>
                  </a:cubicBezTo>
                  <a:cubicBezTo>
                    <a:pt x="2587" y="5319"/>
                    <a:pt x="2609" y="5283"/>
                    <a:pt x="2609" y="5254"/>
                  </a:cubicBezTo>
                  <a:cubicBezTo>
                    <a:pt x="2616" y="5254"/>
                    <a:pt x="2616" y="5254"/>
                    <a:pt x="2616" y="5254"/>
                  </a:cubicBezTo>
                  <a:cubicBezTo>
                    <a:pt x="2623" y="5254"/>
                    <a:pt x="2623" y="5261"/>
                    <a:pt x="2623" y="5261"/>
                  </a:cubicBezTo>
                  <a:cubicBezTo>
                    <a:pt x="2638" y="5283"/>
                    <a:pt x="2653" y="5297"/>
                    <a:pt x="2675" y="5319"/>
                  </a:cubicBezTo>
                  <a:cubicBezTo>
                    <a:pt x="2689" y="5342"/>
                    <a:pt x="2711" y="5364"/>
                    <a:pt x="2733" y="5393"/>
                  </a:cubicBezTo>
                  <a:cubicBezTo>
                    <a:pt x="2755" y="5422"/>
                    <a:pt x="2777" y="5437"/>
                    <a:pt x="2807" y="5437"/>
                  </a:cubicBezTo>
                  <a:cubicBezTo>
                    <a:pt x="2836" y="5437"/>
                    <a:pt x="2865" y="5422"/>
                    <a:pt x="2902" y="5400"/>
                  </a:cubicBezTo>
                  <a:cubicBezTo>
                    <a:pt x="2909" y="5400"/>
                    <a:pt x="2917" y="5393"/>
                    <a:pt x="2924" y="5393"/>
                  </a:cubicBezTo>
                  <a:cubicBezTo>
                    <a:pt x="2953" y="5378"/>
                    <a:pt x="2982" y="5356"/>
                    <a:pt x="3004" y="5342"/>
                  </a:cubicBezTo>
                  <a:cubicBezTo>
                    <a:pt x="3026" y="5327"/>
                    <a:pt x="3049" y="5312"/>
                    <a:pt x="3070" y="5305"/>
                  </a:cubicBezTo>
                  <a:cubicBezTo>
                    <a:pt x="3070" y="5312"/>
                    <a:pt x="3078" y="5334"/>
                    <a:pt x="3092" y="5349"/>
                  </a:cubicBezTo>
                  <a:cubicBezTo>
                    <a:pt x="3100" y="5364"/>
                    <a:pt x="3122" y="5378"/>
                    <a:pt x="3144" y="5378"/>
                  </a:cubicBezTo>
                  <a:cubicBezTo>
                    <a:pt x="3144" y="5378"/>
                    <a:pt x="3151" y="5371"/>
                    <a:pt x="3158" y="5371"/>
                  </a:cubicBezTo>
                  <a:cubicBezTo>
                    <a:pt x="3166" y="5371"/>
                    <a:pt x="3166" y="5371"/>
                    <a:pt x="3173" y="5371"/>
                  </a:cubicBezTo>
                  <a:lnTo>
                    <a:pt x="3173" y="5371"/>
                  </a:lnTo>
                  <a:lnTo>
                    <a:pt x="3173" y="5371"/>
                  </a:lnTo>
                  <a:cubicBezTo>
                    <a:pt x="3202" y="5407"/>
                    <a:pt x="3254" y="5444"/>
                    <a:pt x="3305" y="5444"/>
                  </a:cubicBezTo>
                  <a:cubicBezTo>
                    <a:pt x="3312" y="5444"/>
                    <a:pt x="3320" y="5444"/>
                    <a:pt x="3320" y="5444"/>
                  </a:cubicBezTo>
                  <a:cubicBezTo>
                    <a:pt x="3327" y="5444"/>
                    <a:pt x="3327" y="5444"/>
                    <a:pt x="3327" y="5444"/>
                  </a:cubicBezTo>
                  <a:cubicBezTo>
                    <a:pt x="3342" y="5444"/>
                    <a:pt x="3349" y="5437"/>
                    <a:pt x="3356" y="5437"/>
                  </a:cubicBezTo>
                  <a:cubicBezTo>
                    <a:pt x="3356" y="5437"/>
                    <a:pt x="3371" y="5437"/>
                    <a:pt x="3385" y="5481"/>
                  </a:cubicBezTo>
                  <a:cubicBezTo>
                    <a:pt x="3400" y="5539"/>
                    <a:pt x="3444" y="5554"/>
                    <a:pt x="3466" y="5554"/>
                  </a:cubicBezTo>
                  <a:cubicBezTo>
                    <a:pt x="3510" y="5554"/>
                    <a:pt x="3554" y="5517"/>
                    <a:pt x="3576" y="5510"/>
                  </a:cubicBezTo>
                  <a:cubicBezTo>
                    <a:pt x="3576" y="5503"/>
                    <a:pt x="3576" y="5503"/>
                    <a:pt x="3583" y="5503"/>
                  </a:cubicBezTo>
                  <a:cubicBezTo>
                    <a:pt x="3583" y="5503"/>
                    <a:pt x="3591" y="5517"/>
                    <a:pt x="3591" y="5539"/>
                  </a:cubicBezTo>
                  <a:cubicBezTo>
                    <a:pt x="3605" y="5605"/>
                    <a:pt x="3642" y="5613"/>
                    <a:pt x="3701" y="5613"/>
                  </a:cubicBezTo>
                  <a:cubicBezTo>
                    <a:pt x="3715" y="5613"/>
                    <a:pt x="3723" y="5613"/>
                    <a:pt x="3730" y="5620"/>
                  </a:cubicBezTo>
                  <a:cubicBezTo>
                    <a:pt x="3723" y="5635"/>
                    <a:pt x="3715" y="5649"/>
                    <a:pt x="3723" y="5664"/>
                  </a:cubicBezTo>
                  <a:cubicBezTo>
                    <a:pt x="3737" y="5701"/>
                    <a:pt x="3781" y="5723"/>
                    <a:pt x="3840" y="5723"/>
                  </a:cubicBezTo>
                  <a:cubicBezTo>
                    <a:pt x="3869" y="5723"/>
                    <a:pt x="3891" y="5715"/>
                    <a:pt x="3920" y="5708"/>
                  </a:cubicBezTo>
                  <a:cubicBezTo>
                    <a:pt x="3935" y="5701"/>
                    <a:pt x="3942" y="5701"/>
                    <a:pt x="3950" y="5701"/>
                  </a:cubicBezTo>
                  <a:cubicBezTo>
                    <a:pt x="3964" y="5701"/>
                    <a:pt x="3964" y="5708"/>
                    <a:pt x="3964" y="5708"/>
                  </a:cubicBezTo>
                  <a:cubicBezTo>
                    <a:pt x="3972" y="5715"/>
                    <a:pt x="3979" y="5730"/>
                    <a:pt x="3964" y="5788"/>
                  </a:cubicBezTo>
                  <a:cubicBezTo>
                    <a:pt x="3957" y="5847"/>
                    <a:pt x="4001" y="5884"/>
                    <a:pt x="4038" y="5906"/>
                  </a:cubicBezTo>
                  <a:cubicBezTo>
                    <a:pt x="4045" y="5913"/>
                    <a:pt x="4045" y="5913"/>
                    <a:pt x="4045" y="5913"/>
                  </a:cubicBezTo>
                  <a:cubicBezTo>
                    <a:pt x="4074" y="5935"/>
                    <a:pt x="4045" y="5986"/>
                    <a:pt x="4038" y="6008"/>
                  </a:cubicBezTo>
                  <a:cubicBezTo>
                    <a:pt x="4001" y="6074"/>
                    <a:pt x="4038" y="6140"/>
                    <a:pt x="4089" y="6169"/>
                  </a:cubicBezTo>
                  <a:cubicBezTo>
                    <a:pt x="4096" y="6177"/>
                    <a:pt x="4096" y="6177"/>
                    <a:pt x="4096" y="6184"/>
                  </a:cubicBezTo>
                  <a:cubicBezTo>
                    <a:pt x="4104" y="6199"/>
                    <a:pt x="4089" y="6235"/>
                    <a:pt x="4067" y="6272"/>
                  </a:cubicBezTo>
                  <a:cubicBezTo>
                    <a:pt x="4045" y="6302"/>
                    <a:pt x="4023" y="6316"/>
                    <a:pt x="3986" y="6331"/>
                  </a:cubicBezTo>
                  <a:cubicBezTo>
                    <a:pt x="3972" y="6345"/>
                    <a:pt x="3950" y="6353"/>
                    <a:pt x="3928" y="6367"/>
                  </a:cubicBezTo>
                  <a:cubicBezTo>
                    <a:pt x="3899" y="6382"/>
                    <a:pt x="3876" y="6404"/>
                    <a:pt x="3847" y="6433"/>
                  </a:cubicBezTo>
                  <a:cubicBezTo>
                    <a:pt x="3825" y="6455"/>
                    <a:pt x="3825" y="6455"/>
                    <a:pt x="3825" y="6455"/>
                  </a:cubicBezTo>
                  <a:cubicBezTo>
                    <a:pt x="3847" y="6477"/>
                    <a:pt x="3847" y="6477"/>
                    <a:pt x="3847" y="6477"/>
                  </a:cubicBezTo>
                  <a:cubicBezTo>
                    <a:pt x="3854" y="6477"/>
                    <a:pt x="3854" y="6477"/>
                    <a:pt x="3854" y="6477"/>
                  </a:cubicBezTo>
                  <a:cubicBezTo>
                    <a:pt x="3854" y="6485"/>
                    <a:pt x="3854" y="6485"/>
                    <a:pt x="3854" y="6485"/>
                  </a:cubicBezTo>
                  <a:cubicBezTo>
                    <a:pt x="3862" y="6485"/>
                    <a:pt x="3869" y="6499"/>
                    <a:pt x="3869" y="6507"/>
                  </a:cubicBezTo>
                  <a:cubicBezTo>
                    <a:pt x="3884" y="6536"/>
                    <a:pt x="3899" y="6580"/>
                    <a:pt x="3957" y="6580"/>
                  </a:cubicBezTo>
                  <a:cubicBezTo>
                    <a:pt x="3957" y="6580"/>
                    <a:pt x="3964" y="6580"/>
                    <a:pt x="3964" y="6573"/>
                  </a:cubicBezTo>
                  <a:cubicBezTo>
                    <a:pt x="3986" y="6573"/>
                    <a:pt x="4001" y="6573"/>
                    <a:pt x="4008" y="6573"/>
                  </a:cubicBezTo>
                  <a:cubicBezTo>
                    <a:pt x="4016" y="6573"/>
                    <a:pt x="4023" y="6573"/>
                    <a:pt x="4045" y="6595"/>
                  </a:cubicBezTo>
                  <a:cubicBezTo>
                    <a:pt x="4060" y="6609"/>
                    <a:pt x="4060" y="6661"/>
                    <a:pt x="4052" y="6683"/>
                  </a:cubicBezTo>
                  <a:cubicBezTo>
                    <a:pt x="4052" y="6697"/>
                    <a:pt x="4052" y="6697"/>
                    <a:pt x="4052" y="6697"/>
                  </a:cubicBezTo>
                  <a:cubicBezTo>
                    <a:pt x="4060" y="6712"/>
                    <a:pt x="4060" y="6712"/>
                    <a:pt x="4060" y="6712"/>
                  </a:cubicBezTo>
                  <a:cubicBezTo>
                    <a:pt x="4060" y="6712"/>
                    <a:pt x="4089" y="6748"/>
                    <a:pt x="4140" y="6748"/>
                  </a:cubicBezTo>
                  <a:lnTo>
                    <a:pt x="4140" y="6748"/>
                  </a:lnTo>
                  <a:cubicBezTo>
                    <a:pt x="4140" y="6763"/>
                    <a:pt x="4140" y="6792"/>
                    <a:pt x="4170" y="6814"/>
                  </a:cubicBezTo>
                  <a:cubicBezTo>
                    <a:pt x="4191" y="6822"/>
                    <a:pt x="4213" y="6858"/>
                    <a:pt x="4213" y="6866"/>
                  </a:cubicBezTo>
                  <a:cubicBezTo>
                    <a:pt x="4206" y="6873"/>
                    <a:pt x="4199" y="6873"/>
                    <a:pt x="4191" y="6880"/>
                  </a:cubicBezTo>
                  <a:cubicBezTo>
                    <a:pt x="4170" y="6888"/>
                    <a:pt x="4148" y="6902"/>
                    <a:pt x="4148" y="6946"/>
                  </a:cubicBezTo>
                  <a:cubicBezTo>
                    <a:pt x="4148" y="6976"/>
                    <a:pt x="4155" y="6990"/>
                    <a:pt x="4170" y="7012"/>
                  </a:cubicBezTo>
                  <a:cubicBezTo>
                    <a:pt x="4170" y="7019"/>
                    <a:pt x="4177" y="7027"/>
                    <a:pt x="4177" y="7034"/>
                  </a:cubicBezTo>
                  <a:cubicBezTo>
                    <a:pt x="4184" y="7042"/>
                    <a:pt x="4184" y="7049"/>
                    <a:pt x="4184" y="7056"/>
                  </a:cubicBezTo>
                  <a:cubicBezTo>
                    <a:pt x="4191" y="7071"/>
                    <a:pt x="4191" y="7078"/>
                    <a:pt x="4184" y="7107"/>
                  </a:cubicBezTo>
                  <a:cubicBezTo>
                    <a:pt x="4155" y="7166"/>
                    <a:pt x="4170" y="7225"/>
                    <a:pt x="4213" y="7247"/>
                  </a:cubicBezTo>
                  <a:cubicBezTo>
                    <a:pt x="4221" y="7247"/>
                    <a:pt x="4228" y="7254"/>
                    <a:pt x="4235" y="7261"/>
                  </a:cubicBezTo>
                  <a:cubicBezTo>
                    <a:pt x="4257" y="7283"/>
                    <a:pt x="4280" y="7313"/>
                    <a:pt x="4316" y="7313"/>
                  </a:cubicBezTo>
                  <a:cubicBezTo>
                    <a:pt x="4338" y="7313"/>
                    <a:pt x="4360" y="7298"/>
                    <a:pt x="4375" y="7283"/>
                  </a:cubicBezTo>
                  <a:cubicBezTo>
                    <a:pt x="4397" y="7254"/>
                    <a:pt x="4419" y="7239"/>
                    <a:pt x="4433" y="7225"/>
                  </a:cubicBezTo>
                  <a:cubicBezTo>
                    <a:pt x="4448" y="7210"/>
                    <a:pt x="4470" y="7188"/>
                    <a:pt x="4492" y="7159"/>
                  </a:cubicBezTo>
                  <a:cubicBezTo>
                    <a:pt x="4492" y="7152"/>
                    <a:pt x="4492" y="7152"/>
                    <a:pt x="4492" y="7152"/>
                  </a:cubicBezTo>
                  <a:cubicBezTo>
                    <a:pt x="4499" y="7152"/>
                    <a:pt x="4499" y="7144"/>
                    <a:pt x="4499" y="7144"/>
                  </a:cubicBezTo>
                  <a:cubicBezTo>
                    <a:pt x="4499" y="7144"/>
                    <a:pt x="4507" y="7144"/>
                    <a:pt x="4514" y="7144"/>
                  </a:cubicBezTo>
                  <a:cubicBezTo>
                    <a:pt x="4521" y="7144"/>
                    <a:pt x="4529" y="7144"/>
                    <a:pt x="4536" y="7144"/>
                  </a:cubicBezTo>
                  <a:cubicBezTo>
                    <a:pt x="4587" y="7137"/>
                    <a:pt x="4602" y="7122"/>
                    <a:pt x="4624" y="7100"/>
                  </a:cubicBezTo>
                  <a:cubicBezTo>
                    <a:pt x="4631" y="7093"/>
                    <a:pt x="4639" y="7093"/>
                    <a:pt x="4646" y="7085"/>
                  </a:cubicBezTo>
                  <a:cubicBezTo>
                    <a:pt x="4646" y="7100"/>
                    <a:pt x="4661" y="7115"/>
                    <a:pt x="4682" y="7122"/>
                  </a:cubicBezTo>
                  <a:cubicBezTo>
                    <a:pt x="4697" y="7137"/>
                    <a:pt x="4712" y="7144"/>
                    <a:pt x="4726" y="7159"/>
                  </a:cubicBezTo>
                  <a:cubicBezTo>
                    <a:pt x="4763" y="7181"/>
                    <a:pt x="4800" y="7210"/>
                    <a:pt x="4851" y="7210"/>
                  </a:cubicBezTo>
                  <a:cubicBezTo>
                    <a:pt x="4858" y="7217"/>
                    <a:pt x="4858" y="7217"/>
                    <a:pt x="4858" y="7217"/>
                  </a:cubicBezTo>
                  <a:lnTo>
                    <a:pt x="4858" y="7217"/>
                  </a:lnTo>
                  <a:cubicBezTo>
                    <a:pt x="4851" y="7261"/>
                    <a:pt x="4873" y="7276"/>
                    <a:pt x="4888" y="7283"/>
                  </a:cubicBezTo>
                  <a:cubicBezTo>
                    <a:pt x="4910" y="7283"/>
                    <a:pt x="4932" y="7283"/>
                    <a:pt x="4961" y="7283"/>
                  </a:cubicBezTo>
                  <a:cubicBezTo>
                    <a:pt x="4990" y="7283"/>
                    <a:pt x="5020" y="7283"/>
                    <a:pt x="5056" y="7291"/>
                  </a:cubicBezTo>
                  <a:cubicBezTo>
                    <a:pt x="5078" y="7291"/>
                    <a:pt x="5100" y="7298"/>
                    <a:pt x="5130" y="7305"/>
                  </a:cubicBezTo>
                  <a:cubicBezTo>
                    <a:pt x="5188" y="7313"/>
                    <a:pt x="5247" y="7327"/>
                    <a:pt x="5305" y="7327"/>
                  </a:cubicBezTo>
                  <a:cubicBezTo>
                    <a:pt x="5335" y="7327"/>
                    <a:pt x="5364" y="7320"/>
                    <a:pt x="5386" y="7313"/>
                  </a:cubicBezTo>
                  <a:cubicBezTo>
                    <a:pt x="5444" y="7291"/>
                    <a:pt x="5474" y="7283"/>
                    <a:pt x="5525" y="7269"/>
                  </a:cubicBezTo>
                  <a:cubicBezTo>
                    <a:pt x="5540" y="7269"/>
                    <a:pt x="5569" y="7261"/>
                    <a:pt x="5591" y="7254"/>
                  </a:cubicBezTo>
                  <a:cubicBezTo>
                    <a:pt x="5628" y="7247"/>
                    <a:pt x="5657" y="7239"/>
                    <a:pt x="5672" y="7239"/>
                  </a:cubicBezTo>
                  <a:cubicBezTo>
                    <a:pt x="5716" y="7232"/>
                    <a:pt x="5745" y="7225"/>
                    <a:pt x="5782" y="7203"/>
                  </a:cubicBezTo>
                  <a:cubicBezTo>
                    <a:pt x="5804" y="7188"/>
                    <a:pt x="5811" y="7181"/>
                    <a:pt x="5818" y="7181"/>
                  </a:cubicBezTo>
                  <a:lnTo>
                    <a:pt x="5818" y="7181"/>
                  </a:lnTo>
                  <a:cubicBezTo>
                    <a:pt x="5818" y="7225"/>
                    <a:pt x="5847" y="7254"/>
                    <a:pt x="5884" y="7254"/>
                  </a:cubicBezTo>
                  <a:cubicBezTo>
                    <a:pt x="5899" y="7254"/>
                    <a:pt x="5928" y="7247"/>
                    <a:pt x="5957" y="7195"/>
                  </a:cubicBezTo>
                  <a:cubicBezTo>
                    <a:pt x="5965" y="7181"/>
                    <a:pt x="5972" y="7166"/>
                    <a:pt x="5980" y="7152"/>
                  </a:cubicBezTo>
                  <a:cubicBezTo>
                    <a:pt x="6001" y="7115"/>
                    <a:pt x="6023" y="7078"/>
                    <a:pt x="6016" y="7019"/>
                  </a:cubicBezTo>
                  <a:cubicBezTo>
                    <a:pt x="6016" y="6990"/>
                    <a:pt x="6009" y="6976"/>
                    <a:pt x="6001" y="6954"/>
                  </a:cubicBezTo>
                  <a:cubicBezTo>
                    <a:pt x="5994" y="6939"/>
                    <a:pt x="5994" y="6924"/>
                    <a:pt x="5994" y="6917"/>
                  </a:cubicBezTo>
                  <a:lnTo>
                    <a:pt x="5994" y="6917"/>
                  </a:lnTo>
                  <a:cubicBezTo>
                    <a:pt x="6038" y="6902"/>
                    <a:pt x="6053" y="6888"/>
                    <a:pt x="6060" y="6851"/>
                  </a:cubicBezTo>
                  <a:cubicBezTo>
                    <a:pt x="6067" y="6836"/>
                    <a:pt x="6075" y="6829"/>
                    <a:pt x="6082" y="6807"/>
                  </a:cubicBezTo>
                  <a:cubicBezTo>
                    <a:pt x="6097" y="6778"/>
                    <a:pt x="6104" y="6756"/>
                    <a:pt x="6111" y="6734"/>
                  </a:cubicBezTo>
                  <a:cubicBezTo>
                    <a:pt x="6119" y="6697"/>
                    <a:pt x="6126" y="6690"/>
                    <a:pt x="6141" y="6683"/>
                  </a:cubicBezTo>
                  <a:cubicBezTo>
                    <a:pt x="6177" y="6675"/>
                    <a:pt x="6229" y="6653"/>
                    <a:pt x="6273" y="6653"/>
                  </a:cubicBezTo>
                  <a:cubicBezTo>
                    <a:pt x="6287" y="6653"/>
                    <a:pt x="6294" y="6661"/>
                    <a:pt x="6294" y="6661"/>
                  </a:cubicBezTo>
                  <a:cubicBezTo>
                    <a:pt x="6338" y="6704"/>
                    <a:pt x="6404" y="6704"/>
                    <a:pt x="6463" y="6704"/>
                  </a:cubicBezTo>
                  <a:cubicBezTo>
                    <a:pt x="6470" y="6704"/>
                    <a:pt x="6478" y="6704"/>
                    <a:pt x="6478" y="6704"/>
                  </a:cubicBezTo>
                  <a:lnTo>
                    <a:pt x="6478" y="6712"/>
                  </a:lnTo>
                  <a:cubicBezTo>
                    <a:pt x="6478" y="6726"/>
                    <a:pt x="6485" y="6741"/>
                    <a:pt x="6500" y="6756"/>
                  </a:cubicBezTo>
                  <a:cubicBezTo>
                    <a:pt x="6507" y="6756"/>
                    <a:pt x="6507" y="6756"/>
                    <a:pt x="6507" y="6756"/>
                  </a:cubicBezTo>
                  <a:cubicBezTo>
                    <a:pt x="6514" y="6763"/>
                    <a:pt x="6522" y="6778"/>
                    <a:pt x="6536" y="6778"/>
                  </a:cubicBezTo>
                  <a:cubicBezTo>
                    <a:pt x="6551" y="6778"/>
                    <a:pt x="6566" y="6756"/>
                    <a:pt x="6566" y="6756"/>
                  </a:cubicBezTo>
                  <a:cubicBezTo>
                    <a:pt x="6573" y="6748"/>
                    <a:pt x="6580" y="6734"/>
                    <a:pt x="6602" y="6712"/>
                  </a:cubicBezTo>
                  <a:cubicBezTo>
                    <a:pt x="6632" y="6683"/>
                    <a:pt x="6646" y="6661"/>
                    <a:pt x="6646" y="6646"/>
                  </a:cubicBezTo>
                  <a:cubicBezTo>
                    <a:pt x="6654" y="6624"/>
                    <a:pt x="6654" y="6624"/>
                    <a:pt x="6683" y="6616"/>
                  </a:cubicBezTo>
                  <a:cubicBezTo>
                    <a:pt x="6727" y="6609"/>
                    <a:pt x="6734" y="6609"/>
                    <a:pt x="6756" y="6595"/>
                  </a:cubicBezTo>
                  <a:cubicBezTo>
                    <a:pt x="6763" y="6595"/>
                    <a:pt x="6778" y="6587"/>
                    <a:pt x="6807" y="6573"/>
                  </a:cubicBezTo>
                  <a:cubicBezTo>
                    <a:pt x="6859" y="6551"/>
                    <a:pt x="6881" y="6543"/>
                    <a:pt x="6903" y="6543"/>
                  </a:cubicBezTo>
                  <a:cubicBezTo>
                    <a:pt x="6910" y="6543"/>
                    <a:pt x="6917" y="6551"/>
                    <a:pt x="6932" y="6551"/>
                  </a:cubicBezTo>
                  <a:cubicBezTo>
                    <a:pt x="6939" y="6551"/>
                    <a:pt x="6947" y="6551"/>
                    <a:pt x="6954" y="6551"/>
                  </a:cubicBezTo>
                  <a:cubicBezTo>
                    <a:pt x="6969" y="6551"/>
                    <a:pt x="6991" y="6551"/>
                    <a:pt x="6991" y="6514"/>
                  </a:cubicBezTo>
                  <a:cubicBezTo>
                    <a:pt x="6998" y="6507"/>
                    <a:pt x="6998" y="6492"/>
                    <a:pt x="7005" y="6477"/>
                  </a:cubicBezTo>
                  <a:cubicBezTo>
                    <a:pt x="7020" y="6463"/>
                    <a:pt x="7027" y="6455"/>
                    <a:pt x="7035" y="6455"/>
                  </a:cubicBezTo>
                  <a:cubicBezTo>
                    <a:pt x="7035" y="6455"/>
                    <a:pt x="7042" y="6463"/>
                    <a:pt x="7049" y="6470"/>
                  </a:cubicBezTo>
                  <a:cubicBezTo>
                    <a:pt x="7064" y="6521"/>
                    <a:pt x="7152" y="6580"/>
                    <a:pt x="7196" y="6580"/>
                  </a:cubicBezTo>
                  <a:cubicBezTo>
                    <a:pt x="7211" y="6580"/>
                    <a:pt x="7218" y="6580"/>
                    <a:pt x="7225" y="6573"/>
                  </a:cubicBezTo>
                  <a:cubicBezTo>
                    <a:pt x="7232" y="6573"/>
                    <a:pt x="7247" y="6558"/>
                    <a:pt x="7328" y="6528"/>
                  </a:cubicBezTo>
                  <a:cubicBezTo>
                    <a:pt x="7379" y="6514"/>
                    <a:pt x="7379" y="6514"/>
                    <a:pt x="7379" y="6514"/>
                  </a:cubicBezTo>
                  <a:cubicBezTo>
                    <a:pt x="7342" y="6485"/>
                    <a:pt x="7342" y="6485"/>
                    <a:pt x="7342" y="6485"/>
                  </a:cubicBezTo>
                  <a:cubicBezTo>
                    <a:pt x="7372" y="6463"/>
                    <a:pt x="7401" y="6426"/>
                    <a:pt x="7423" y="6397"/>
                  </a:cubicBezTo>
                  <a:cubicBezTo>
                    <a:pt x="7467" y="6345"/>
                    <a:pt x="7467" y="6316"/>
                    <a:pt x="7430" y="6214"/>
                  </a:cubicBezTo>
                  <a:cubicBezTo>
                    <a:pt x="7423" y="6184"/>
                    <a:pt x="7416" y="6162"/>
                    <a:pt x="7408" y="6140"/>
                  </a:cubicBezTo>
                  <a:cubicBezTo>
                    <a:pt x="7401" y="6074"/>
                    <a:pt x="7386" y="6023"/>
                    <a:pt x="7306" y="6001"/>
                  </a:cubicBezTo>
                  <a:cubicBezTo>
                    <a:pt x="7232" y="5986"/>
                    <a:pt x="7225" y="5942"/>
                    <a:pt x="7203" y="5862"/>
                  </a:cubicBezTo>
                  <a:cubicBezTo>
                    <a:pt x="7203" y="5854"/>
                    <a:pt x="7203" y="5854"/>
                    <a:pt x="7203" y="5854"/>
                  </a:cubicBezTo>
                  <a:cubicBezTo>
                    <a:pt x="7188" y="5788"/>
                    <a:pt x="7152" y="5759"/>
                    <a:pt x="7123" y="5723"/>
                  </a:cubicBezTo>
                  <a:cubicBezTo>
                    <a:pt x="7101" y="5701"/>
                    <a:pt x="7079" y="5678"/>
                    <a:pt x="7064" y="5649"/>
                  </a:cubicBezTo>
                  <a:cubicBezTo>
                    <a:pt x="7027" y="5591"/>
                    <a:pt x="7035" y="5583"/>
                    <a:pt x="7108" y="5517"/>
                  </a:cubicBezTo>
                  <a:cubicBezTo>
                    <a:pt x="7166" y="5459"/>
                    <a:pt x="7262" y="5319"/>
                    <a:pt x="7247" y="5224"/>
                  </a:cubicBezTo>
                  <a:cubicBezTo>
                    <a:pt x="7247" y="5202"/>
                    <a:pt x="7240" y="5180"/>
                    <a:pt x="7240" y="5166"/>
                  </a:cubicBezTo>
                  <a:cubicBezTo>
                    <a:pt x="7232" y="5122"/>
                    <a:pt x="7225" y="5100"/>
                    <a:pt x="7247" y="5056"/>
                  </a:cubicBezTo>
                  <a:cubicBezTo>
                    <a:pt x="7254" y="5048"/>
                    <a:pt x="7254" y="5034"/>
                    <a:pt x="7262" y="5026"/>
                  </a:cubicBezTo>
                  <a:cubicBezTo>
                    <a:pt x="7306" y="4946"/>
                    <a:pt x="7379" y="4807"/>
                    <a:pt x="7284" y="4733"/>
                  </a:cubicBezTo>
                  <a:cubicBezTo>
                    <a:pt x="7174" y="4653"/>
                    <a:pt x="7130" y="4587"/>
                    <a:pt x="7166" y="4543"/>
                  </a:cubicBezTo>
                  <a:cubicBezTo>
                    <a:pt x="7203" y="4492"/>
                    <a:pt x="7211" y="4462"/>
                    <a:pt x="7196" y="4440"/>
                  </a:cubicBezTo>
                  <a:cubicBezTo>
                    <a:pt x="7196" y="4433"/>
                    <a:pt x="7181" y="4426"/>
                    <a:pt x="7166" y="4426"/>
                  </a:cubicBezTo>
                  <a:lnTo>
                    <a:pt x="7166" y="4426"/>
                  </a:lnTo>
                  <a:cubicBezTo>
                    <a:pt x="7152" y="4418"/>
                    <a:pt x="7137" y="4411"/>
                    <a:pt x="7137" y="4396"/>
                  </a:cubicBezTo>
                  <a:lnTo>
                    <a:pt x="7137" y="4396"/>
                  </a:lnTo>
                  <a:cubicBezTo>
                    <a:pt x="7137" y="4396"/>
                    <a:pt x="7137" y="4396"/>
                    <a:pt x="7144" y="4389"/>
                  </a:cubicBezTo>
                  <a:cubicBezTo>
                    <a:pt x="7152" y="4382"/>
                    <a:pt x="7166" y="4374"/>
                    <a:pt x="7174" y="4360"/>
                  </a:cubicBezTo>
                  <a:cubicBezTo>
                    <a:pt x="7196" y="4330"/>
                    <a:pt x="7188" y="4279"/>
                    <a:pt x="7174" y="4250"/>
                  </a:cubicBezTo>
                  <a:cubicBezTo>
                    <a:pt x="7152" y="4206"/>
                    <a:pt x="7115" y="4169"/>
                    <a:pt x="7079" y="4162"/>
                  </a:cubicBezTo>
                  <a:cubicBezTo>
                    <a:pt x="7071" y="4162"/>
                    <a:pt x="7056" y="4162"/>
                    <a:pt x="7042" y="4162"/>
                  </a:cubicBezTo>
                  <a:cubicBezTo>
                    <a:pt x="7005" y="4154"/>
                    <a:pt x="6895" y="4133"/>
                    <a:pt x="6888" y="4110"/>
                  </a:cubicBezTo>
                  <a:cubicBezTo>
                    <a:pt x="6881" y="4081"/>
                    <a:pt x="6873" y="4059"/>
                    <a:pt x="6859" y="4030"/>
                  </a:cubicBezTo>
                  <a:cubicBezTo>
                    <a:pt x="6844" y="3986"/>
                    <a:pt x="6822" y="3942"/>
                    <a:pt x="6822" y="3898"/>
                  </a:cubicBezTo>
                  <a:cubicBezTo>
                    <a:pt x="6815" y="3847"/>
                    <a:pt x="6793" y="3817"/>
                    <a:pt x="6771" y="3795"/>
                  </a:cubicBezTo>
                  <a:cubicBezTo>
                    <a:pt x="6749" y="3766"/>
                    <a:pt x="6742" y="3759"/>
                    <a:pt x="6756" y="3722"/>
                  </a:cubicBezTo>
                  <a:cubicBezTo>
                    <a:pt x="6793" y="3656"/>
                    <a:pt x="6807" y="3634"/>
                    <a:pt x="6844" y="3597"/>
                  </a:cubicBezTo>
                  <a:cubicBezTo>
                    <a:pt x="6851" y="3590"/>
                    <a:pt x="6866" y="3576"/>
                    <a:pt x="6881" y="3554"/>
                  </a:cubicBezTo>
                  <a:cubicBezTo>
                    <a:pt x="6939" y="3488"/>
                    <a:pt x="6925" y="3451"/>
                    <a:pt x="6910" y="3392"/>
                  </a:cubicBezTo>
                  <a:cubicBezTo>
                    <a:pt x="6903" y="3385"/>
                    <a:pt x="6903" y="3378"/>
                    <a:pt x="6895" y="3370"/>
                  </a:cubicBezTo>
                  <a:cubicBezTo>
                    <a:pt x="6881" y="3312"/>
                    <a:pt x="6888" y="3246"/>
                    <a:pt x="6917" y="3224"/>
                  </a:cubicBezTo>
                  <a:cubicBezTo>
                    <a:pt x="6932" y="3209"/>
                    <a:pt x="6939" y="3195"/>
                    <a:pt x="6939" y="3173"/>
                  </a:cubicBezTo>
                  <a:cubicBezTo>
                    <a:pt x="6947" y="3121"/>
                    <a:pt x="6866" y="3048"/>
                    <a:pt x="6793" y="2989"/>
                  </a:cubicBezTo>
                  <a:cubicBezTo>
                    <a:pt x="6771" y="2975"/>
                    <a:pt x="6734" y="2960"/>
                    <a:pt x="6683" y="2938"/>
                  </a:cubicBezTo>
                  <a:cubicBezTo>
                    <a:pt x="6610" y="2909"/>
                    <a:pt x="6514" y="2872"/>
                    <a:pt x="6485" y="2821"/>
                  </a:cubicBezTo>
                  <a:cubicBezTo>
                    <a:pt x="6470" y="2784"/>
                    <a:pt x="6456" y="2755"/>
                    <a:pt x="6448" y="2733"/>
                  </a:cubicBezTo>
                  <a:cubicBezTo>
                    <a:pt x="6426" y="2674"/>
                    <a:pt x="6412" y="2630"/>
                    <a:pt x="6346" y="2608"/>
                  </a:cubicBezTo>
                  <a:cubicBezTo>
                    <a:pt x="6302" y="2601"/>
                    <a:pt x="6280" y="2579"/>
                    <a:pt x="6251" y="2557"/>
                  </a:cubicBezTo>
                  <a:cubicBezTo>
                    <a:pt x="6229" y="2542"/>
                    <a:pt x="6199" y="2520"/>
                    <a:pt x="6155" y="2498"/>
                  </a:cubicBezTo>
                  <a:cubicBezTo>
                    <a:pt x="6075" y="2462"/>
                    <a:pt x="6009" y="2374"/>
                    <a:pt x="6009" y="2374"/>
                  </a:cubicBezTo>
                  <a:cubicBezTo>
                    <a:pt x="6001" y="2359"/>
                    <a:pt x="6001" y="2359"/>
                    <a:pt x="6001" y="2359"/>
                  </a:cubicBezTo>
                  <a:cubicBezTo>
                    <a:pt x="5980" y="2359"/>
                    <a:pt x="5980" y="2359"/>
                    <a:pt x="5980" y="2359"/>
                  </a:cubicBezTo>
                  <a:cubicBezTo>
                    <a:pt x="5980" y="2359"/>
                    <a:pt x="5980" y="2359"/>
                    <a:pt x="5965" y="2359"/>
                  </a:cubicBezTo>
                  <a:cubicBezTo>
                    <a:pt x="5913" y="2359"/>
                    <a:pt x="5870" y="2352"/>
                    <a:pt x="5862" y="2330"/>
                  </a:cubicBezTo>
                  <a:cubicBezTo>
                    <a:pt x="5855" y="2330"/>
                    <a:pt x="5855" y="2323"/>
                    <a:pt x="5855" y="2308"/>
                  </a:cubicBezTo>
                  <a:cubicBezTo>
                    <a:pt x="5862" y="2271"/>
                    <a:pt x="5870" y="2249"/>
                    <a:pt x="5884" y="2227"/>
                  </a:cubicBezTo>
                  <a:cubicBezTo>
                    <a:pt x="5899" y="2183"/>
                    <a:pt x="5913" y="2147"/>
                    <a:pt x="5884" y="2095"/>
                  </a:cubicBezTo>
                  <a:cubicBezTo>
                    <a:pt x="5833" y="1993"/>
                    <a:pt x="5862" y="1956"/>
                    <a:pt x="5884" y="1942"/>
                  </a:cubicBezTo>
                  <a:cubicBezTo>
                    <a:pt x="6009" y="1861"/>
                    <a:pt x="6082" y="1795"/>
                    <a:pt x="6119" y="1751"/>
                  </a:cubicBezTo>
                  <a:cubicBezTo>
                    <a:pt x="6126" y="1744"/>
                    <a:pt x="6133" y="1736"/>
                    <a:pt x="6141" y="1729"/>
                  </a:cubicBezTo>
                  <a:cubicBezTo>
                    <a:pt x="6214" y="1641"/>
                    <a:pt x="6273" y="1560"/>
                    <a:pt x="6273" y="1494"/>
                  </a:cubicBezTo>
                  <a:cubicBezTo>
                    <a:pt x="6273" y="1428"/>
                    <a:pt x="6265" y="1267"/>
                    <a:pt x="6251" y="1194"/>
                  </a:cubicBezTo>
                  <a:cubicBezTo>
                    <a:pt x="6243" y="1143"/>
                    <a:pt x="6251" y="1114"/>
                    <a:pt x="6302" y="1047"/>
                  </a:cubicBezTo>
                  <a:cubicBezTo>
                    <a:pt x="6338" y="1011"/>
                    <a:pt x="6375" y="945"/>
                    <a:pt x="6375" y="886"/>
                  </a:cubicBezTo>
                  <a:cubicBezTo>
                    <a:pt x="6368" y="857"/>
                    <a:pt x="6353" y="835"/>
                    <a:pt x="6331" y="813"/>
                  </a:cubicBezTo>
                  <a:cubicBezTo>
                    <a:pt x="6287" y="776"/>
                    <a:pt x="6273" y="718"/>
                    <a:pt x="6273" y="681"/>
                  </a:cubicBezTo>
                  <a:cubicBezTo>
                    <a:pt x="6273" y="652"/>
                    <a:pt x="6273" y="652"/>
                    <a:pt x="6273" y="652"/>
                  </a:cubicBezTo>
                  <a:cubicBezTo>
                    <a:pt x="6243" y="652"/>
                    <a:pt x="6243" y="652"/>
                    <a:pt x="6243" y="652"/>
                  </a:cubicBezTo>
                  <a:cubicBezTo>
                    <a:pt x="6177" y="652"/>
                    <a:pt x="6163" y="674"/>
                    <a:pt x="6141" y="703"/>
                  </a:cubicBezTo>
                  <a:cubicBezTo>
                    <a:pt x="6133" y="718"/>
                    <a:pt x="6119" y="740"/>
                    <a:pt x="6097" y="754"/>
                  </a:cubicBezTo>
                  <a:cubicBezTo>
                    <a:pt x="6016" y="820"/>
                    <a:pt x="6016" y="820"/>
                    <a:pt x="5965" y="879"/>
                  </a:cubicBezTo>
                  <a:cubicBezTo>
                    <a:pt x="5950" y="894"/>
                    <a:pt x="5943" y="908"/>
                    <a:pt x="5935" y="916"/>
                  </a:cubicBezTo>
                  <a:cubicBezTo>
                    <a:pt x="5935" y="923"/>
                    <a:pt x="5928" y="923"/>
                    <a:pt x="5928" y="930"/>
                  </a:cubicBezTo>
                  <a:cubicBezTo>
                    <a:pt x="5921" y="930"/>
                    <a:pt x="5906" y="923"/>
                    <a:pt x="5899" y="923"/>
                  </a:cubicBezTo>
                  <a:cubicBezTo>
                    <a:pt x="5862" y="908"/>
                    <a:pt x="5833" y="908"/>
                    <a:pt x="5804" y="908"/>
                  </a:cubicBezTo>
                  <a:cubicBezTo>
                    <a:pt x="5782" y="908"/>
                    <a:pt x="5760" y="908"/>
                    <a:pt x="5723" y="901"/>
                  </a:cubicBezTo>
                  <a:cubicBezTo>
                    <a:pt x="5701" y="901"/>
                    <a:pt x="5694" y="894"/>
                    <a:pt x="5694" y="894"/>
                  </a:cubicBezTo>
                  <a:cubicBezTo>
                    <a:pt x="5694" y="894"/>
                    <a:pt x="5694" y="886"/>
                    <a:pt x="5716" y="850"/>
                  </a:cubicBezTo>
                  <a:cubicBezTo>
                    <a:pt x="5738" y="806"/>
                    <a:pt x="5804" y="725"/>
                    <a:pt x="5884" y="674"/>
                  </a:cubicBezTo>
                  <a:cubicBezTo>
                    <a:pt x="5957" y="615"/>
                    <a:pt x="5943" y="557"/>
                    <a:pt x="5928" y="513"/>
                  </a:cubicBezTo>
                  <a:cubicBezTo>
                    <a:pt x="5928" y="491"/>
                    <a:pt x="5921" y="476"/>
                    <a:pt x="5921" y="461"/>
                  </a:cubicBezTo>
                  <a:cubicBezTo>
                    <a:pt x="5928" y="417"/>
                    <a:pt x="5921" y="388"/>
                    <a:pt x="5906" y="366"/>
                  </a:cubicBezTo>
                  <a:cubicBezTo>
                    <a:pt x="5899" y="359"/>
                    <a:pt x="5884" y="351"/>
                    <a:pt x="5870" y="351"/>
                  </a:cubicBezTo>
                  <a:cubicBezTo>
                    <a:pt x="5862" y="351"/>
                    <a:pt x="5855" y="351"/>
                    <a:pt x="5847" y="351"/>
                  </a:cubicBezTo>
                  <a:cubicBezTo>
                    <a:pt x="5840" y="359"/>
                    <a:pt x="5818" y="359"/>
                    <a:pt x="5796" y="359"/>
                  </a:cubicBezTo>
                  <a:cubicBezTo>
                    <a:pt x="5767" y="359"/>
                    <a:pt x="5745" y="359"/>
                    <a:pt x="5730" y="344"/>
                  </a:cubicBezTo>
                  <a:cubicBezTo>
                    <a:pt x="5708" y="337"/>
                    <a:pt x="5694" y="329"/>
                    <a:pt x="5679" y="329"/>
                  </a:cubicBezTo>
                  <a:cubicBezTo>
                    <a:pt x="5657" y="329"/>
                    <a:pt x="5642" y="337"/>
                    <a:pt x="5628" y="359"/>
                  </a:cubicBezTo>
                  <a:cubicBezTo>
                    <a:pt x="5613" y="366"/>
                    <a:pt x="5613" y="366"/>
                    <a:pt x="5613" y="366"/>
                  </a:cubicBezTo>
                  <a:cubicBezTo>
                    <a:pt x="5569" y="395"/>
                    <a:pt x="5569" y="395"/>
                    <a:pt x="5525" y="410"/>
                  </a:cubicBezTo>
                  <a:cubicBezTo>
                    <a:pt x="5518" y="417"/>
                    <a:pt x="5518" y="417"/>
                    <a:pt x="5518" y="417"/>
                  </a:cubicBezTo>
                  <a:cubicBezTo>
                    <a:pt x="5511" y="417"/>
                    <a:pt x="5511" y="410"/>
                    <a:pt x="5503" y="403"/>
                  </a:cubicBezTo>
                  <a:cubicBezTo>
                    <a:pt x="5496" y="388"/>
                    <a:pt x="5481" y="373"/>
                    <a:pt x="5466" y="366"/>
                  </a:cubicBezTo>
                  <a:cubicBezTo>
                    <a:pt x="5459" y="359"/>
                    <a:pt x="5444" y="351"/>
                    <a:pt x="5430" y="351"/>
                  </a:cubicBezTo>
                  <a:cubicBezTo>
                    <a:pt x="5408" y="351"/>
                    <a:pt x="5386" y="366"/>
                    <a:pt x="5364" y="381"/>
                  </a:cubicBezTo>
                  <a:cubicBezTo>
                    <a:pt x="5356" y="388"/>
                    <a:pt x="5342" y="395"/>
                    <a:pt x="5327" y="403"/>
                  </a:cubicBezTo>
                  <a:cubicBezTo>
                    <a:pt x="5320" y="410"/>
                    <a:pt x="5313" y="410"/>
                    <a:pt x="5305" y="410"/>
                  </a:cubicBezTo>
                  <a:cubicBezTo>
                    <a:pt x="5298" y="410"/>
                    <a:pt x="5291" y="410"/>
                    <a:pt x="5276" y="373"/>
                  </a:cubicBezTo>
                  <a:cubicBezTo>
                    <a:pt x="5269" y="366"/>
                    <a:pt x="5261" y="351"/>
                    <a:pt x="5254" y="329"/>
                  </a:cubicBezTo>
                  <a:cubicBezTo>
                    <a:pt x="5247" y="300"/>
                    <a:pt x="5232" y="264"/>
                    <a:pt x="5210" y="234"/>
                  </a:cubicBezTo>
                  <a:cubicBezTo>
                    <a:pt x="5203" y="227"/>
                    <a:pt x="5203" y="219"/>
                    <a:pt x="5195" y="205"/>
                  </a:cubicBezTo>
                  <a:cubicBezTo>
                    <a:pt x="5188" y="176"/>
                    <a:pt x="5173" y="139"/>
                    <a:pt x="5122" y="132"/>
                  </a:cubicBezTo>
                  <a:cubicBezTo>
                    <a:pt x="5093" y="124"/>
                    <a:pt x="5085" y="117"/>
                    <a:pt x="5056" y="73"/>
                  </a:cubicBezTo>
                  <a:cubicBezTo>
                    <a:pt x="5049" y="66"/>
                    <a:pt x="5049" y="66"/>
                    <a:pt x="5049" y="66"/>
                  </a:cubicBezTo>
                  <a:cubicBezTo>
                    <a:pt x="5027" y="29"/>
                    <a:pt x="4998" y="0"/>
                    <a:pt x="4961" y="0"/>
                  </a:cubicBezTo>
                  <a:lnTo>
                    <a:pt x="4961" y="0"/>
                  </a:lnTo>
                  <a:lnTo>
                    <a:pt x="4961" y="29"/>
                  </a:ln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37" name="Freeform 136"/>
            <p:cNvSpPr>
              <a:spLocks noChangeArrowheads="1"/>
            </p:cNvSpPr>
            <p:nvPr/>
          </p:nvSpPr>
          <p:spPr bwMode="auto">
            <a:xfrm>
              <a:off x="8227354" y="6785783"/>
              <a:ext cx="2498751" cy="1951579"/>
            </a:xfrm>
            <a:custGeom>
              <a:avLst/>
              <a:gdLst>
                <a:gd name="T0" fmla="*/ 6177 w 6500"/>
                <a:gd name="T1" fmla="*/ 374 h 5137"/>
                <a:gd name="T2" fmla="*/ 5488 w 6500"/>
                <a:gd name="T3" fmla="*/ 125 h 5137"/>
                <a:gd name="T4" fmla="*/ 5092 w 6500"/>
                <a:gd name="T5" fmla="*/ 249 h 5137"/>
                <a:gd name="T6" fmla="*/ 4733 w 6500"/>
                <a:gd name="T7" fmla="*/ 300 h 5137"/>
                <a:gd name="T8" fmla="*/ 4404 w 6500"/>
                <a:gd name="T9" fmla="*/ 681 h 5137"/>
                <a:gd name="T10" fmla="*/ 4001 w 6500"/>
                <a:gd name="T11" fmla="*/ 887 h 5137"/>
                <a:gd name="T12" fmla="*/ 3275 w 6500"/>
                <a:gd name="T13" fmla="*/ 843 h 5137"/>
                <a:gd name="T14" fmla="*/ 2880 w 6500"/>
                <a:gd name="T15" fmla="*/ 806 h 5137"/>
                <a:gd name="T16" fmla="*/ 2630 w 6500"/>
                <a:gd name="T17" fmla="*/ 689 h 5137"/>
                <a:gd name="T18" fmla="*/ 2565 w 6500"/>
                <a:gd name="T19" fmla="*/ 381 h 5137"/>
                <a:gd name="T20" fmla="*/ 2293 w 6500"/>
                <a:gd name="T21" fmla="*/ 125 h 5137"/>
                <a:gd name="T22" fmla="*/ 2227 w 6500"/>
                <a:gd name="T23" fmla="*/ 103 h 5137"/>
                <a:gd name="T24" fmla="*/ 1898 w 6500"/>
                <a:gd name="T25" fmla="*/ 22 h 5137"/>
                <a:gd name="T26" fmla="*/ 1487 w 6500"/>
                <a:gd name="T27" fmla="*/ 205 h 5137"/>
                <a:gd name="T28" fmla="*/ 1158 w 6500"/>
                <a:gd name="T29" fmla="*/ 345 h 5137"/>
                <a:gd name="T30" fmla="*/ 762 w 6500"/>
                <a:gd name="T31" fmla="*/ 432 h 5137"/>
                <a:gd name="T32" fmla="*/ 549 w 6500"/>
                <a:gd name="T33" fmla="*/ 616 h 5137"/>
                <a:gd name="T34" fmla="*/ 520 w 6500"/>
                <a:gd name="T35" fmla="*/ 997 h 5137"/>
                <a:gd name="T36" fmla="*/ 586 w 6500"/>
                <a:gd name="T37" fmla="*/ 1532 h 5137"/>
                <a:gd name="T38" fmla="*/ 652 w 6500"/>
                <a:gd name="T39" fmla="*/ 1956 h 5137"/>
                <a:gd name="T40" fmla="*/ 799 w 6500"/>
                <a:gd name="T41" fmla="*/ 2007 h 5137"/>
                <a:gd name="T42" fmla="*/ 1202 w 6500"/>
                <a:gd name="T43" fmla="*/ 2102 h 5137"/>
                <a:gd name="T44" fmla="*/ 1502 w 6500"/>
                <a:gd name="T45" fmla="*/ 2373 h 5137"/>
                <a:gd name="T46" fmla="*/ 1150 w 6500"/>
                <a:gd name="T47" fmla="*/ 2754 h 5137"/>
                <a:gd name="T48" fmla="*/ 952 w 6500"/>
                <a:gd name="T49" fmla="*/ 2879 h 5137"/>
                <a:gd name="T50" fmla="*/ 791 w 6500"/>
                <a:gd name="T51" fmla="*/ 3040 h 5137"/>
                <a:gd name="T52" fmla="*/ 784 w 6500"/>
                <a:gd name="T53" fmla="*/ 3201 h 5137"/>
                <a:gd name="T54" fmla="*/ 887 w 6500"/>
                <a:gd name="T55" fmla="*/ 3480 h 5137"/>
                <a:gd name="T56" fmla="*/ 593 w 6500"/>
                <a:gd name="T57" fmla="*/ 3604 h 5137"/>
                <a:gd name="T58" fmla="*/ 469 w 6500"/>
                <a:gd name="T59" fmla="*/ 3744 h 5137"/>
                <a:gd name="T60" fmla="*/ 300 w 6500"/>
                <a:gd name="T61" fmla="*/ 3634 h 5137"/>
                <a:gd name="T62" fmla="*/ 44 w 6500"/>
                <a:gd name="T63" fmla="*/ 3846 h 5137"/>
                <a:gd name="T64" fmla="*/ 117 w 6500"/>
                <a:gd name="T65" fmla="*/ 4146 h 5137"/>
                <a:gd name="T66" fmla="*/ 249 w 6500"/>
                <a:gd name="T67" fmla="*/ 4520 h 5137"/>
                <a:gd name="T68" fmla="*/ 659 w 6500"/>
                <a:gd name="T69" fmla="*/ 4579 h 5137"/>
                <a:gd name="T70" fmla="*/ 909 w 6500"/>
                <a:gd name="T71" fmla="*/ 4916 h 5137"/>
                <a:gd name="T72" fmla="*/ 1304 w 6500"/>
                <a:gd name="T73" fmla="*/ 4454 h 5137"/>
                <a:gd name="T74" fmla="*/ 2176 w 6500"/>
                <a:gd name="T75" fmla="*/ 4154 h 5137"/>
                <a:gd name="T76" fmla="*/ 2565 w 6500"/>
                <a:gd name="T77" fmla="*/ 3897 h 5137"/>
                <a:gd name="T78" fmla="*/ 3063 w 6500"/>
                <a:gd name="T79" fmla="*/ 3612 h 5137"/>
                <a:gd name="T80" fmla="*/ 3349 w 6500"/>
                <a:gd name="T81" fmla="*/ 3502 h 5137"/>
                <a:gd name="T82" fmla="*/ 3678 w 6500"/>
                <a:gd name="T83" fmla="*/ 3113 h 5137"/>
                <a:gd name="T84" fmla="*/ 4242 w 6500"/>
                <a:gd name="T85" fmla="*/ 2967 h 5137"/>
                <a:gd name="T86" fmla="*/ 4946 w 6500"/>
                <a:gd name="T87" fmla="*/ 2476 h 5137"/>
                <a:gd name="T88" fmla="*/ 4953 w 6500"/>
                <a:gd name="T89" fmla="*/ 2102 h 5137"/>
                <a:gd name="T90" fmla="*/ 5305 w 6500"/>
                <a:gd name="T91" fmla="*/ 1970 h 5137"/>
                <a:gd name="T92" fmla="*/ 5693 w 6500"/>
                <a:gd name="T93" fmla="*/ 2300 h 5137"/>
                <a:gd name="T94" fmla="*/ 6155 w 6500"/>
                <a:gd name="T95" fmla="*/ 2513 h 5137"/>
                <a:gd name="T96" fmla="*/ 6477 w 6500"/>
                <a:gd name="T97" fmla="*/ 1209 h 5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500" h="5137">
                  <a:moveTo>
                    <a:pt x="6382" y="916"/>
                  </a:moveTo>
                  <a:lnTo>
                    <a:pt x="6382" y="916"/>
                  </a:lnTo>
                  <a:cubicBezTo>
                    <a:pt x="6338" y="828"/>
                    <a:pt x="6250" y="667"/>
                    <a:pt x="6294" y="579"/>
                  </a:cubicBezTo>
                  <a:cubicBezTo>
                    <a:pt x="6338" y="484"/>
                    <a:pt x="6294" y="337"/>
                    <a:pt x="6177" y="374"/>
                  </a:cubicBezTo>
                  <a:cubicBezTo>
                    <a:pt x="6067" y="403"/>
                    <a:pt x="5979" y="330"/>
                    <a:pt x="5906" y="293"/>
                  </a:cubicBezTo>
                  <a:cubicBezTo>
                    <a:pt x="5854" y="264"/>
                    <a:pt x="5774" y="198"/>
                    <a:pt x="5737" y="169"/>
                  </a:cubicBezTo>
                  <a:cubicBezTo>
                    <a:pt x="5693" y="183"/>
                    <a:pt x="5642" y="198"/>
                    <a:pt x="5628" y="205"/>
                  </a:cubicBezTo>
                  <a:cubicBezTo>
                    <a:pt x="5605" y="227"/>
                    <a:pt x="5510" y="169"/>
                    <a:pt x="5488" y="125"/>
                  </a:cubicBezTo>
                  <a:cubicBezTo>
                    <a:pt x="5473" y="81"/>
                    <a:pt x="5430" y="73"/>
                    <a:pt x="5400" y="125"/>
                  </a:cubicBezTo>
                  <a:cubicBezTo>
                    <a:pt x="5364" y="176"/>
                    <a:pt x="5400" y="190"/>
                    <a:pt x="5356" y="183"/>
                  </a:cubicBezTo>
                  <a:cubicBezTo>
                    <a:pt x="5312" y="176"/>
                    <a:pt x="5298" y="176"/>
                    <a:pt x="5210" y="205"/>
                  </a:cubicBezTo>
                  <a:cubicBezTo>
                    <a:pt x="5129" y="242"/>
                    <a:pt x="5166" y="235"/>
                    <a:pt x="5092" y="249"/>
                  </a:cubicBezTo>
                  <a:cubicBezTo>
                    <a:pt x="5019" y="264"/>
                    <a:pt x="5056" y="300"/>
                    <a:pt x="4997" y="352"/>
                  </a:cubicBezTo>
                  <a:cubicBezTo>
                    <a:pt x="4939" y="403"/>
                    <a:pt x="4968" y="418"/>
                    <a:pt x="4939" y="396"/>
                  </a:cubicBezTo>
                  <a:cubicBezTo>
                    <a:pt x="4917" y="366"/>
                    <a:pt x="4931" y="337"/>
                    <a:pt x="4880" y="337"/>
                  </a:cubicBezTo>
                  <a:cubicBezTo>
                    <a:pt x="4829" y="337"/>
                    <a:pt x="4770" y="337"/>
                    <a:pt x="4733" y="300"/>
                  </a:cubicBezTo>
                  <a:cubicBezTo>
                    <a:pt x="4704" y="264"/>
                    <a:pt x="4602" y="300"/>
                    <a:pt x="4550" y="315"/>
                  </a:cubicBezTo>
                  <a:cubicBezTo>
                    <a:pt x="4499" y="337"/>
                    <a:pt x="4506" y="388"/>
                    <a:pt x="4470" y="454"/>
                  </a:cubicBezTo>
                  <a:cubicBezTo>
                    <a:pt x="4440" y="520"/>
                    <a:pt x="4455" y="528"/>
                    <a:pt x="4404" y="550"/>
                  </a:cubicBezTo>
                  <a:cubicBezTo>
                    <a:pt x="4352" y="564"/>
                    <a:pt x="4397" y="616"/>
                    <a:pt x="4404" y="681"/>
                  </a:cubicBezTo>
                  <a:cubicBezTo>
                    <a:pt x="4411" y="755"/>
                    <a:pt x="4382" y="777"/>
                    <a:pt x="4345" y="843"/>
                  </a:cubicBezTo>
                  <a:cubicBezTo>
                    <a:pt x="4309" y="916"/>
                    <a:pt x="4264" y="887"/>
                    <a:pt x="4264" y="843"/>
                  </a:cubicBezTo>
                  <a:cubicBezTo>
                    <a:pt x="4264" y="806"/>
                    <a:pt x="4235" y="806"/>
                    <a:pt x="4184" y="835"/>
                  </a:cubicBezTo>
                  <a:cubicBezTo>
                    <a:pt x="4133" y="872"/>
                    <a:pt x="4103" y="865"/>
                    <a:pt x="4001" y="887"/>
                  </a:cubicBezTo>
                  <a:cubicBezTo>
                    <a:pt x="3906" y="916"/>
                    <a:pt x="3876" y="916"/>
                    <a:pt x="3788" y="945"/>
                  </a:cubicBezTo>
                  <a:cubicBezTo>
                    <a:pt x="3708" y="982"/>
                    <a:pt x="3554" y="931"/>
                    <a:pt x="3480" y="923"/>
                  </a:cubicBezTo>
                  <a:cubicBezTo>
                    <a:pt x="3400" y="916"/>
                    <a:pt x="3349" y="923"/>
                    <a:pt x="3312" y="916"/>
                  </a:cubicBezTo>
                  <a:cubicBezTo>
                    <a:pt x="3283" y="901"/>
                    <a:pt x="3341" y="857"/>
                    <a:pt x="3275" y="843"/>
                  </a:cubicBezTo>
                  <a:cubicBezTo>
                    <a:pt x="3202" y="835"/>
                    <a:pt x="3165" y="784"/>
                    <a:pt x="3114" y="762"/>
                  </a:cubicBezTo>
                  <a:cubicBezTo>
                    <a:pt x="3063" y="733"/>
                    <a:pt x="3114" y="674"/>
                    <a:pt x="3063" y="711"/>
                  </a:cubicBezTo>
                  <a:cubicBezTo>
                    <a:pt x="3011" y="740"/>
                    <a:pt x="3011" y="769"/>
                    <a:pt x="2953" y="777"/>
                  </a:cubicBezTo>
                  <a:cubicBezTo>
                    <a:pt x="2887" y="784"/>
                    <a:pt x="2916" y="755"/>
                    <a:pt x="2880" y="806"/>
                  </a:cubicBezTo>
                  <a:cubicBezTo>
                    <a:pt x="2850" y="857"/>
                    <a:pt x="2821" y="865"/>
                    <a:pt x="2770" y="923"/>
                  </a:cubicBezTo>
                  <a:cubicBezTo>
                    <a:pt x="2718" y="982"/>
                    <a:pt x="2674" y="894"/>
                    <a:pt x="2645" y="879"/>
                  </a:cubicBezTo>
                  <a:cubicBezTo>
                    <a:pt x="2608" y="865"/>
                    <a:pt x="2608" y="821"/>
                    <a:pt x="2630" y="777"/>
                  </a:cubicBezTo>
                  <a:cubicBezTo>
                    <a:pt x="2645" y="733"/>
                    <a:pt x="2638" y="726"/>
                    <a:pt x="2630" y="689"/>
                  </a:cubicBezTo>
                  <a:cubicBezTo>
                    <a:pt x="2616" y="659"/>
                    <a:pt x="2594" y="645"/>
                    <a:pt x="2594" y="608"/>
                  </a:cubicBezTo>
                  <a:cubicBezTo>
                    <a:pt x="2594" y="572"/>
                    <a:pt x="2630" y="572"/>
                    <a:pt x="2652" y="550"/>
                  </a:cubicBezTo>
                  <a:cubicBezTo>
                    <a:pt x="2674" y="520"/>
                    <a:pt x="2638" y="462"/>
                    <a:pt x="2601" y="447"/>
                  </a:cubicBezTo>
                  <a:cubicBezTo>
                    <a:pt x="2565" y="432"/>
                    <a:pt x="2608" y="366"/>
                    <a:pt x="2565" y="381"/>
                  </a:cubicBezTo>
                  <a:cubicBezTo>
                    <a:pt x="2528" y="388"/>
                    <a:pt x="2499" y="352"/>
                    <a:pt x="2499" y="352"/>
                  </a:cubicBezTo>
                  <a:cubicBezTo>
                    <a:pt x="2499" y="352"/>
                    <a:pt x="2513" y="264"/>
                    <a:pt x="2484" y="235"/>
                  </a:cubicBezTo>
                  <a:cubicBezTo>
                    <a:pt x="2447" y="198"/>
                    <a:pt x="2440" y="198"/>
                    <a:pt x="2381" y="205"/>
                  </a:cubicBezTo>
                  <a:cubicBezTo>
                    <a:pt x="2323" y="213"/>
                    <a:pt x="2323" y="147"/>
                    <a:pt x="2293" y="125"/>
                  </a:cubicBezTo>
                  <a:cubicBezTo>
                    <a:pt x="2293" y="117"/>
                    <a:pt x="2293" y="117"/>
                    <a:pt x="2286" y="117"/>
                  </a:cubicBezTo>
                  <a:cubicBezTo>
                    <a:pt x="2271" y="132"/>
                    <a:pt x="2264" y="147"/>
                    <a:pt x="2264" y="147"/>
                  </a:cubicBezTo>
                  <a:cubicBezTo>
                    <a:pt x="2264" y="147"/>
                    <a:pt x="2271" y="132"/>
                    <a:pt x="2286" y="117"/>
                  </a:cubicBezTo>
                  <a:cubicBezTo>
                    <a:pt x="2264" y="95"/>
                    <a:pt x="2257" y="103"/>
                    <a:pt x="2227" y="103"/>
                  </a:cubicBezTo>
                  <a:cubicBezTo>
                    <a:pt x="2191" y="103"/>
                    <a:pt x="2206" y="29"/>
                    <a:pt x="2176" y="22"/>
                  </a:cubicBezTo>
                  <a:cubicBezTo>
                    <a:pt x="2154" y="15"/>
                    <a:pt x="2125" y="51"/>
                    <a:pt x="2081" y="95"/>
                  </a:cubicBezTo>
                  <a:cubicBezTo>
                    <a:pt x="2037" y="139"/>
                    <a:pt x="2000" y="103"/>
                    <a:pt x="1956" y="103"/>
                  </a:cubicBezTo>
                  <a:cubicBezTo>
                    <a:pt x="1912" y="103"/>
                    <a:pt x="1942" y="37"/>
                    <a:pt x="1898" y="22"/>
                  </a:cubicBezTo>
                  <a:cubicBezTo>
                    <a:pt x="1854" y="0"/>
                    <a:pt x="1810" y="22"/>
                    <a:pt x="1773" y="66"/>
                  </a:cubicBezTo>
                  <a:cubicBezTo>
                    <a:pt x="1744" y="103"/>
                    <a:pt x="1729" y="117"/>
                    <a:pt x="1678" y="125"/>
                  </a:cubicBezTo>
                  <a:cubicBezTo>
                    <a:pt x="1627" y="132"/>
                    <a:pt x="1627" y="88"/>
                    <a:pt x="1583" y="95"/>
                  </a:cubicBezTo>
                  <a:cubicBezTo>
                    <a:pt x="1539" y="103"/>
                    <a:pt x="1524" y="154"/>
                    <a:pt x="1487" y="205"/>
                  </a:cubicBezTo>
                  <a:cubicBezTo>
                    <a:pt x="1451" y="257"/>
                    <a:pt x="1436" y="257"/>
                    <a:pt x="1399" y="257"/>
                  </a:cubicBezTo>
                  <a:cubicBezTo>
                    <a:pt x="1370" y="257"/>
                    <a:pt x="1341" y="257"/>
                    <a:pt x="1311" y="264"/>
                  </a:cubicBezTo>
                  <a:cubicBezTo>
                    <a:pt x="1275" y="278"/>
                    <a:pt x="1268" y="278"/>
                    <a:pt x="1231" y="300"/>
                  </a:cubicBezTo>
                  <a:cubicBezTo>
                    <a:pt x="1202" y="330"/>
                    <a:pt x="1180" y="345"/>
                    <a:pt x="1158" y="345"/>
                  </a:cubicBezTo>
                  <a:cubicBezTo>
                    <a:pt x="1128" y="345"/>
                    <a:pt x="1128" y="308"/>
                    <a:pt x="1077" y="308"/>
                  </a:cubicBezTo>
                  <a:cubicBezTo>
                    <a:pt x="1026" y="308"/>
                    <a:pt x="1011" y="345"/>
                    <a:pt x="1011" y="345"/>
                  </a:cubicBezTo>
                  <a:cubicBezTo>
                    <a:pt x="1011" y="345"/>
                    <a:pt x="923" y="359"/>
                    <a:pt x="865" y="359"/>
                  </a:cubicBezTo>
                  <a:cubicBezTo>
                    <a:pt x="806" y="359"/>
                    <a:pt x="791" y="403"/>
                    <a:pt x="762" y="432"/>
                  </a:cubicBezTo>
                  <a:cubicBezTo>
                    <a:pt x="740" y="454"/>
                    <a:pt x="740" y="469"/>
                    <a:pt x="696" y="476"/>
                  </a:cubicBezTo>
                  <a:cubicBezTo>
                    <a:pt x="652" y="491"/>
                    <a:pt x="674" y="432"/>
                    <a:pt x="645" y="447"/>
                  </a:cubicBezTo>
                  <a:cubicBezTo>
                    <a:pt x="623" y="462"/>
                    <a:pt x="623" y="506"/>
                    <a:pt x="616" y="528"/>
                  </a:cubicBezTo>
                  <a:cubicBezTo>
                    <a:pt x="601" y="557"/>
                    <a:pt x="542" y="579"/>
                    <a:pt x="549" y="616"/>
                  </a:cubicBezTo>
                  <a:cubicBezTo>
                    <a:pt x="564" y="652"/>
                    <a:pt x="549" y="718"/>
                    <a:pt x="535" y="740"/>
                  </a:cubicBezTo>
                  <a:cubicBezTo>
                    <a:pt x="520" y="769"/>
                    <a:pt x="498" y="769"/>
                    <a:pt x="476" y="828"/>
                  </a:cubicBezTo>
                  <a:cubicBezTo>
                    <a:pt x="447" y="887"/>
                    <a:pt x="447" y="916"/>
                    <a:pt x="491" y="916"/>
                  </a:cubicBezTo>
                  <a:cubicBezTo>
                    <a:pt x="535" y="916"/>
                    <a:pt x="549" y="967"/>
                    <a:pt x="520" y="997"/>
                  </a:cubicBezTo>
                  <a:cubicBezTo>
                    <a:pt x="484" y="1033"/>
                    <a:pt x="535" y="1099"/>
                    <a:pt x="564" y="1180"/>
                  </a:cubicBezTo>
                  <a:cubicBezTo>
                    <a:pt x="586" y="1253"/>
                    <a:pt x="542" y="1260"/>
                    <a:pt x="491" y="1290"/>
                  </a:cubicBezTo>
                  <a:cubicBezTo>
                    <a:pt x="440" y="1312"/>
                    <a:pt x="491" y="1363"/>
                    <a:pt x="513" y="1451"/>
                  </a:cubicBezTo>
                  <a:cubicBezTo>
                    <a:pt x="528" y="1532"/>
                    <a:pt x="571" y="1502"/>
                    <a:pt x="586" y="1532"/>
                  </a:cubicBezTo>
                  <a:cubicBezTo>
                    <a:pt x="601" y="1568"/>
                    <a:pt x="623" y="1605"/>
                    <a:pt x="593" y="1627"/>
                  </a:cubicBezTo>
                  <a:cubicBezTo>
                    <a:pt x="571" y="1656"/>
                    <a:pt x="564" y="1685"/>
                    <a:pt x="601" y="1737"/>
                  </a:cubicBezTo>
                  <a:cubicBezTo>
                    <a:pt x="645" y="1788"/>
                    <a:pt x="586" y="1883"/>
                    <a:pt x="623" y="1883"/>
                  </a:cubicBezTo>
                  <a:cubicBezTo>
                    <a:pt x="652" y="1883"/>
                    <a:pt x="681" y="1926"/>
                    <a:pt x="652" y="1956"/>
                  </a:cubicBezTo>
                  <a:cubicBezTo>
                    <a:pt x="630" y="1992"/>
                    <a:pt x="740" y="2014"/>
                    <a:pt x="799" y="2007"/>
                  </a:cubicBezTo>
                  <a:cubicBezTo>
                    <a:pt x="813" y="1985"/>
                    <a:pt x="821" y="1970"/>
                    <a:pt x="821" y="1970"/>
                  </a:cubicBezTo>
                  <a:cubicBezTo>
                    <a:pt x="821" y="1970"/>
                    <a:pt x="813" y="1985"/>
                    <a:pt x="799" y="2007"/>
                  </a:cubicBezTo>
                  <a:lnTo>
                    <a:pt x="799" y="2007"/>
                  </a:lnTo>
                  <a:cubicBezTo>
                    <a:pt x="857" y="1999"/>
                    <a:pt x="887" y="2007"/>
                    <a:pt x="909" y="2044"/>
                  </a:cubicBezTo>
                  <a:cubicBezTo>
                    <a:pt x="938" y="2080"/>
                    <a:pt x="989" y="2087"/>
                    <a:pt x="1055" y="2080"/>
                  </a:cubicBezTo>
                  <a:cubicBezTo>
                    <a:pt x="1121" y="2065"/>
                    <a:pt x="1114" y="2058"/>
                    <a:pt x="1136" y="2058"/>
                  </a:cubicBezTo>
                  <a:cubicBezTo>
                    <a:pt x="1165" y="2058"/>
                    <a:pt x="1158" y="2095"/>
                    <a:pt x="1202" y="2102"/>
                  </a:cubicBezTo>
                  <a:cubicBezTo>
                    <a:pt x="1238" y="2109"/>
                    <a:pt x="1268" y="2131"/>
                    <a:pt x="1290" y="2190"/>
                  </a:cubicBezTo>
                  <a:cubicBezTo>
                    <a:pt x="1319" y="2249"/>
                    <a:pt x="1290" y="2293"/>
                    <a:pt x="1363" y="2307"/>
                  </a:cubicBezTo>
                  <a:cubicBezTo>
                    <a:pt x="1429" y="2322"/>
                    <a:pt x="1399" y="2329"/>
                    <a:pt x="1443" y="2315"/>
                  </a:cubicBezTo>
                  <a:cubicBezTo>
                    <a:pt x="1487" y="2300"/>
                    <a:pt x="1487" y="2329"/>
                    <a:pt x="1502" y="2373"/>
                  </a:cubicBezTo>
                  <a:cubicBezTo>
                    <a:pt x="1524" y="2417"/>
                    <a:pt x="1539" y="2454"/>
                    <a:pt x="1553" y="2520"/>
                  </a:cubicBezTo>
                  <a:cubicBezTo>
                    <a:pt x="1575" y="2586"/>
                    <a:pt x="1583" y="2593"/>
                    <a:pt x="1539" y="2630"/>
                  </a:cubicBezTo>
                  <a:cubicBezTo>
                    <a:pt x="1495" y="2666"/>
                    <a:pt x="1297" y="2622"/>
                    <a:pt x="1238" y="2644"/>
                  </a:cubicBezTo>
                  <a:cubicBezTo>
                    <a:pt x="1180" y="2674"/>
                    <a:pt x="1172" y="2718"/>
                    <a:pt x="1150" y="2754"/>
                  </a:cubicBezTo>
                  <a:cubicBezTo>
                    <a:pt x="1121" y="2798"/>
                    <a:pt x="1128" y="2857"/>
                    <a:pt x="1114" y="2864"/>
                  </a:cubicBezTo>
                  <a:cubicBezTo>
                    <a:pt x="1099" y="2879"/>
                    <a:pt x="1084" y="2776"/>
                    <a:pt x="1084" y="2776"/>
                  </a:cubicBezTo>
                  <a:cubicBezTo>
                    <a:pt x="1084" y="2776"/>
                    <a:pt x="1077" y="2820"/>
                    <a:pt x="1040" y="2835"/>
                  </a:cubicBezTo>
                  <a:cubicBezTo>
                    <a:pt x="997" y="2849"/>
                    <a:pt x="960" y="2842"/>
                    <a:pt x="952" y="2879"/>
                  </a:cubicBezTo>
                  <a:cubicBezTo>
                    <a:pt x="945" y="2908"/>
                    <a:pt x="945" y="2930"/>
                    <a:pt x="909" y="2915"/>
                  </a:cubicBezTo>
                  <a:cubicBezTo>
                    <a:pt x="872" y="2908"/>
                    <a:pt x="843" y="2894"/>
                    <a:pt x="813" y="2930"/>
                  </a:cubicBezTo>
                  <a:cubicBezTo>
                    <a:pt x="791" y="2959"/>
                    <a:pt x="799" y="2959"/>
                    <a:pt x="747" y="2981"/>
                  </a:cubicBezTo>
                  <a:cubicBezTo>
                    <a:pt x="696" y="2996"/>
                    <a:pt x="747" y="3033"/>
                    <a:pt x="791" y="3040"/>
                  </a:cubicBezTo>
                  <a:cubicBezTo>
                    <a:pt x="835" y="3047"/>
                    <a:pt x="857" y="3047"/>
                    <a:pt x="835" y="3091"/>
                  </a:cubicBezTo>
                  <a:cubicBezTo>
                    <a:pt x="806" y="3128"/>
                    <a:pt x="777" y="3121"/>
                    <a:pt x="747" y="3128"/>
                  </a:cubicBezTo>
                  <a:cubicBezTo>
                    <a:pt x="725" y="3143"/>
                    <a:pt x="703" y="3165"/>
                    <a:pt x="711" y="3208"/>
                  </a:cubicBezTo>
                  <a:cubicBezTo>
                    <a:pt x="725" y="3253"/>
                    <a:pt x="755" y="3216"/>
                    <a:pt x="784" y="3201"/>
                  </a:cubicBezTo>
                  <a:cubicBezTo>
                    <a:pt x="806" y="3179"/>
                    <a:pt x="828" y="3216"/>
                    <a:pt x="813" y="3253"/>
                  </a:cubicBezTo>
                  <a:cubicBezTo>
                    <a:pt x="806" y="3282"/>
                    <a:pt x="784" y="3282"/>
                    <a:pt x="791" y="3318"/>
                  </a:cubicBezTo>
                  <a:cubicBezTo>
                    <a:pt x="799" y="3355"/>
                    <a:pt x="828" y="3370"/>
                    <a:pt x="887" y="3377"/>
                  </a:cubicBezTo>
                  <a:cubicBezTo>
                    <a:pt x="945" y="3384"/>
                    <a:pt x="916" y="3465"/>
                    <a:pt x="887" y="3480"/>
                  </a:cubicBezTo>
                  <a:cubicBezTo>
                    <a:pt x="850" y="3494"/>
                    <a:pt x="843" y="3494"/>
                    <a:pt x="828" y="3524"/>
                  </a:cubicBezTo>
                  <a:cubicBezTo>
                    <a:pt x="806" y="3546"/>
                    <a:pt x="806" y="3553"/>
                    <a:pt x="777" y="3568"/>
                  </a:cubicBezTo>
                  <a:cubicBezTo>
                    <a:pt x="740" y="3575"/>
                    <a:pt x="696" y="3568"/>
                    <a:pt x="696" y="3568"/>
                  </a:cubicBezTo>
                  <a:cubicBezTo>
                    <a:pt x="696" y="3568"/>
                    <a:pt x="659" y="3597"/>
                    <a:pt x="593" y="3604"/>
                  </a:cubicBezTo>
                  <a:cubicBezTo>
                    <a:pt x="528" y="3619"/>
                    <a:pt x="593" y="3604"/>
                    <a:pt x="571" y="3641"/>
                  </a:cubicBezTo>
                  <a:cubicBezTo>
                    <a:pt x="542" y="3677"/>
                    <a:pt x="542" y="3677"/>
                    <a:pt x="564" y="3707"/>
                  </a:cubicBezTo>
                  <a:cubicBezTo>
                    <a:pt x="579" y="3744"/>
                    <a:pt x="549" y="3765"/>
                    <a:pt x="520" y="3787"/>
                  </a:cubicBezTo>
                  <a:cubicBezTo>
                    <a:pt x="484" y="3802"/>
                    <a:pt x="491" y="3744"/>
                    <a:pt x="469" y="3744"/>
                  </a:cubicBezTo>
                  <a:cubicBezTo>
                    <a:pt x="440" y="3744"/>
                    <a:pt x="461" y="3787"/>
                    <a:pt x="418" y="3831"/>
                  </a:cubicBezTo>
                  <a:cubicBezTo>
                    <a:pt x="374" y="3868"/>
                    <a:pt x="322" y="3809"/>
                    <a:pt x="315" y="3787"/>
                  </a:cubicBezTo>
                  <a:cubicBezTo>
                    <a:pt x="308" y="3758"/>
                    <a:pt x="330" y="3722"/>
                    <a:pt x="330" y="3722"/>
                  </a:cubicBezTo>
                  <a:cubicBezTo>
                    <a:pt x="330" y="3722"/>
                    <a:pt x="271" y="3656"/>
                    <a:pt x="300" y="3634"/>
                  </a:cubicBezTo>
                  <a:cubicBezTo>
                    <a:pt x="322" y="3604"/>
                    <a:pt x="264" y="3582"/>
                    <a:pt x="249" y="3619"/>
                  </a:cubicBezTo>
                  <a:cubicBezTo>
                    <a:pt x="227" y="3648"/>
                    <a:pt x="227" y="3641"/>
                    <a:pt x="183" y="3670"/>
                  </a:cubicBezTo>
                  <a:cubicBezTo>
                    <a:pt x="147" y="3692"/>
                    <a:pt x="125" y="3699"/>
                    <a:pt x="110" y="3751"/>
                  </a:cubicBezTo>
                  <a:cubicBezTo>
                    <a:pt x="95" y="3802"/>
                    <a:pt x="88" y="3839"/>
                    <a:pt x="44" y="3846"/>
                  </a:cubicBezTo>
                  <a:cubicBezTo>
                    <a:pt x="0" y="3853"/>
                    <a:pt x="0" y="3897"/>
                    <a:pt x="15" y="3949"/>
                  </a:cubicBezTo>
                  <a:cubicBezTo>
                    <a:pt x="37" y="4000"/>
                    <a:pt x="59" y="3978"/>
                    <a:pt x="88" y="3956"/>
                  </a:cubicBezTo>
                  <a:cubicBezTo>
                    <a:pt x="110" y="3934"/>
                    <a:pt x="154" y="3971"/>
                    <a:pt x="168" y="4029"/>
                  </a:cubicBezTo>
                  <a:cubicBezTo>
                    <a:pt x="183" y="4095"/>
                    <a:pt x="176" y="4110"/>
                    <a:pt x="117" y="4146"/>
                  </a:cubicBezTo>
                  <a:cubicBezTo>
                    <a:pt x="59" y="4176"/>
                    <a:pt x="51" y="4183"/>
                    <a:pt x="22" y="4227"/>
                  </a:cubicBezTo>
                  <a:cubicBezTo>
                    <a:pt x="7" y="4264"/>
                    <a:pt x="95" y="4293"/>
                    <a:pt x="117" y="4300"/>
                  </a:cubicBezTo>
                  <a:cubicBezTo>
                    <a:pt x="147" y="4300"/>
                    <a:pt x="168" y="4308"/>
                    <a:pt x="183" y="4330"/>
                  </a:cubicBezTo>
                  <a:cubicBezTo>
                    <a:pt x="205" y="4359"/>
                    <a:pt x="198" y="4498"/>
                    <a:pt x="249" y="4520"/>
                  </a:cubicBezTo>
                  <a:cubicBezTo>
                    <a:pt x="308" y="4542"/>
                    <a:pt x="366" y="4564"/>
                    <a:pt x="410" y="4564"/>
                  </a:cubicBezTo>
                  <a:cubicBezTo>
                    <a:pt x="440" y="4564"/>
                    <a:pt x="513" y="4601"/>
                    <a:pt x="564" y="4630"/>
                  </a:cubicBezTo>
                  <a:cubicBezTo>
                    <a:pt x="557" y="4623"/>
                    <a:pt x="557" y="4623"/>
                    <a:pt x="557" y="4623"/>
                  </a:cubicBezTo>
                  <a:cubicBezTo>
                    <a:pt x="557" y="4623"/>
                    <a:pt x="616" y="4579"/>
                    <a:pt x="659" y="4579"/>
                  </a:cubicBezTo>
                  <a:cubicBezTo>
                    <a:pt x="703" y="4579"/>
                    <a:pt x="696" y="4667"/>
                    <a:pt x="725" y="4711"/>
                  </a:cubicBezTo>
                  <a:cubicBezTo>
                    <a:pt x="762" y="4755"/>
                    <a:pt x="828" y="4733"/>
                    <a:pt x="865" y="4769"/>
                  </a:cubicBezTo>
                  <a:cubicBezTo>
                    <a:pt x="901" y="4806"/>
                    <a:pt x="872" y="4828"/>
                    <a:pt x="865" y="4857"/>
                  </a:cubicBezTo>
                  <a:cubicBezTo>
                    <a:pt x="850" y="4894"/>
                    <a:pt x="901" y="4872"/>
                    <a:pt x="909" y="4916"/>
                  </a:cubicBezTo>
                  <a:cubicBezTo>
                    <a:pt x="923" y="4960"/>
                    <a:pt x="967" y="5136"/>
                    <a:pt x="1026" y="4960"/>
                  </a:cubicBezTo>
                  <a:cubicBezTo>
                    <a:pt x="1077" y="4791"/>
                    <a:pt x="1092" y="4703"/>
                    <a:pt x="1128" y="4681"/>
                  </a:cubicBezTo>
                  <a:cubicBezTo>
                    <a:pt x="1158" y="4659"/>
                    <a:pt x="1180" y="4586"/>
                    <a:pt x="1180" y="4542"/>
                  </a:cubicBezTo>
                  <a:cubicBezTo>
                    <a:pt x="1180" y="4498"/>
                    <a:pt x="1275" y="4462"/>
                    <a:pt x="1304" y="4454"/>
                  </a:cubicBezTo>
                  <a:cubicBezTo>
                    <a:pt x="1341" y="4440"/>
                    <a:pt x="1363" y="4374"/>
                    <a:pt x="1385" y="4330"/>
                  </a:cubicBezTo>
                  <a:cubicBezTo>
                    <a:pt x="1407" y="4278"/>
                    <a:pt x="1692" y="4227"/>
                    <a:pt x="1737" y="4234"/>
                  </a:cubicBezTo>
                  <a:cubicBezTo>
                    <a:pt x="1780" y="4249"/>
                    <a:pt x="1780" y="4234"/>
                    <a:pt x="1876" y="4168"/>
                  </a:cubicBezTo>
                  <a:cubicBezTo>
                    <a:pt x="1964" y="4103"/>
                    <a:pt x="2052" y="4088"/>
                    <a:pt x="2176" y="4154"/>
                  </a:cubicBezTo>
                  <a:cubicBezTo>
                    <a:pt x="2301" y="4227"/>
                    <a:pt x="2271" y="4234"/>
                    <a:pt x="2271" y="4234"/>
                  </a:cubicBezTo>
                  <a:cubicBezTo>
                    <a:pt x="2271" y="4234"/>
                    <a:pt x="2396" y="4213"/>
                    <a:pt x="2425" y="4110"/>
                  </a:cubicBezTo>
                  <a:cubicBezTo>
                    <a:pt x="2462" y="4007"/>
                    <a:pt x="2418" y="3985"/>
                    <a:pt x="2440" y="3919"/>
                  </a:cubicBezTo>
                  <a:cubicBezTo>
                    <a:pt x="2462" y="3853"/>
                    <a:pt x="2506" y="3919"/>
                    <a:pt x="2565" y="3897"/>
                  </a:cubicBezTo>
                  <a:cubicBezTo>
                    <a:pt x="2623" y="3875"/>
                    <a:pt x="2652" y="3853"/>
                    <a:pt x="2726" y="3875"/>
                  </a:cubicBezTo>
                  <a:cubicBezTo>
                    <a:pt x="2792" y="3897"/>
                    <a:pt x="2850" y="3861"/>
                    <a:pt x="2850" y="3758"/>
                  </a:cubicBezTo>
                  <a:cubicBezTo>
                    <a:pt x="2850" y="3656"/>
                    <a:pt x="2894" y="3553"/>
                    <a:pt x="2938" y="3582"/>
                  </a:cubicBezTo>
                  <a:cubicBezTo>
                    <a:pt x="2982" y="3604"/>
                    <a:pt x="3056" y="3670"/>
                    <a:pt x="3063" y="3612"/>
                  </a:cubicBezTo>
                  <a:cubicBezTo>
                    <a:pt x="3078" y="3553"/>
                    <a:pt x="3078" y="3524"/>
                    <a:pt x="3121" y="3465"/>
                  </a:cubicBezTo>
                  <a:cubicBezTo>
                    <a:pt x="3165" y="3406"/>
                    <a:pt x="3180" y="3340"/>
                    <a:pt x="3180" y="3340"/>
                  </a:cubicBezTo>
                  <a:cubicBezTo>
                    <a:pt x="3180" y="3340"/>
                    <a:pt x="3165" y="3406"/>
                    <a:pt x="3224" y="3458"/>
                  </a:cubicBezTo>
                  <a:cubicBezTo>
                    <a:pt x="3275" y="3502"/>
                    <a:pt x="3312" y="3531"/>
                    <a:pt x="3349" y="3502"/>
                  </a:cubicBezTo>
                  <a:cubicBezTo>
                    <a:pt x="3378" y="3465"/>
                    <a:pt x="3392" y="3480"/>
                    <a:pt x="3437" y="3406"/>
                  </a:cubicBezTo>
                  <a:cubicBezTo>
                    <a:pt x="3480" y="3340"/>
                    <a:pt x="3480" y="3318"/>
                    <a:pt x="3480" y="3260"/>
                  </a:cubicBezTo>
                  <a:cubicBezTo>
                    <a:pt x="3480" y="3201"/>
                    <a:pt x="3451" y="3128"/>
                    <a:pt x="3502" y="3135"/>
                  </a:cubicBezTo>
                  <a:cubicBezTo>
                    <a:pt x="3561" y="3150"/>
                    <a:pt x="3598" y="3157"/>
                    <a:pt x="3678" y="3113"/>
                  </a:cubicBezTo>
                  <a:cubicBezTo>
                    <a:pt x="3752" y="3069"/>
                    <a:pt x="3788" y="3106"/>
                    <a:pt x="3847" y="3106"/>
                  </a:cubicBezTo>
                  <a:cubicBezTo>
                    <a:pt x="3906" y="3106"/>
                    <a:pt x="3913" y="3069"/>
                    <a:pt x="3993" y="3047"/>
                  </a:cubicBezTo>
                  <a:cubicBezTo>
                    <a:pt x="4074" y="3025"/>
                    <a:pt x="4081" y="3069"/>
                    <a:pt x="4155" y="3047"/>
                  </a:cubicBezTo>
                  <a:cubicBezTo>
                    <a:pt x="4221" y="3025"/>
                    <a:pt x="4264" y="3025"/>
                    <a:pt x="4242" y="2967"/>
                  </a:cubicBezTo>
                  <a:cubicBezTo>
                    <a:pt x="4221" y="2908"/>
                    <a:pt x="4242" y="2806"/>
                    <a:pt x="4382" y="2776"/>
                  </a:cubicBezTo>
                  <a:cubicBezTo>
                    <a:pt x="4514" y="2740"/>
                    <a:pt x="4528" y="2798"/>
                    <a:pt x="4631" y="2732"/>
                  </a:cubicBezTo>
                  <a:cubicBezTo>
                    <a:pt x="4726" y="2659"/>
                    <a:pt x="4821" y="2608"/>
                    <a:pt x="4887" y="2571"/>
                  </a:cubicBezTo>
                  <a:cubicBezTo>
                    <a:pt x="4953" y="2534"/>
                    <a:pt x="4865" y="2549"/>
                    <a:pt x="4946" y="2476"/>
                  </a:cubicBezTo>
                  <a:cubicBezTo>
                    <a:pt x="5027" y="2410"/>
                    <a:pt x="5049" y="2432"/>
                    <a:pt x="5137" y="2410"/>
                  </a:cubicBezTo>
                  <a:cubicBezTo>
                    <a:pt x="5232" y="2388"/>
                    <a:pt x="5320" y="2322"/>
                    <a:pt x="5195" y="2278"/>
                  </a:cubicBezTo>
                  <a:cubicBezTo>
                    <a:pt x="5071" y="2227"/>
                    <a:pt x="5049" y="2219"/>
                    <a:pt x="5049" y="2175"/>
                  </a:cubicBezTo>
                  <a:cubicBezTo>
                    <a:pt x="5049" y="2131"/>
                    <a:pt x="4975" y="2139"/>
                    <a:pt x="4953" y="2102"/>
                  </a:cubicBezTo>
                  <a:cubicBezTo>
                    <a:pt x="4931" y="2073"/>
                    <a:pt x="4931" y="2073"/>
                    <a:pt x="4953" y="1992"/>
                  </a:cubicBezTo>
                  <a:cubicBezTo>
                    <a:pt x="4975" y="1912"/>
                    <a:pt x="4968" y="1912"/>
                    <a:pt x="5056" y="1926"/>
                  </a:cubicBezTo>
                  <a:cubicBezTo>
                    <a:pt x="5151" y="1934"/>
                    <a:pt x="5151" y="1934"/>
                    <a:pt x="5195" y="1977"/>
                  </a:cubicBezTo>
                  <a:cubicBezTo>
                    <a:pt x="5239" y="2029"/>
                    <a:pt x="5261" y="2036"/>
                    <a:pt x="5305" y="1970"/>
                  </a:cubicBezTo>
                  <a:cubicBezTo>
                    <a:pt x="5356" y="1904"/>
                    <a:pt x="5400" y="1904"/>
                    <a:pt x="5444" y="1948"/>
                  </a:cubicBezTo>
                  <a:cubicBezTo>
                    <a:pt x="5488" y="1992"/>
                    <a:pt x="5605" y="2029"/>
                    <a:pt x="5628" y="2073"/>
                  </a:cubicBezTo>
                  <a:cubicBezTo>
                    <a:pt x="5649" y="2117"/>
                    <a:pt x="5649" y="2183"/>
                    <a:pt x="5613" y="2227"/>
                  </a:cubicBezTo>
                  <a:cubicBezTo>
                    <a:pt x="5583" y="2278"/>
                    <a:pt x="5613" y="2344"/>
                    <a:pt x="5693" y="2300"/>
                  </a:cubicBezTo>
                  <a:cubicBezTo>
                    <a:pt x="5774" y="2256"/>
                    <a:pt x="5796" y="2351"/>
                    <a:pt x="5752" y="2410"/>
                  </a:cubicBezTo>
                  <a:cubicBezTo>
                    <a:pt x="5708" y="2468"/>
                    <a:pt x="5730" y="2513"/>
                    <a:pt x="5803" y="2527"/>
                  </a:cubicBezTo>
                  <a:cubicBezTo>
                    <a:pt x="5884" y="2534"/>
                    <a:pt x="5986" y="2571"/>
                    <a:pt x="6009" y="2608"/>
                  </a:cubicBezTo>
                  <a:cubicBezTo>
                    <a:pt x="6030" y="2637"/>
                    <a:pt x="6148" y="2615"/>
                    <a:pt x="6155" y="2513"/>
                  </a:cubicBezTo>
                  <a:cubicBezTo>
                    <a:pt x="6170" y="2410"/>
                    <a:pt x="6170" y="2344"/>
                    <a:pt x="6236" y="2263"/>
                  </a:cubicBezTo>
                  <a:cubicBezTo>
                    <a:pt x="6309" y="2183"/>
                    <a:pt x="6294" y="2051"/>
                    <a:pt x="6331" y="1970"/>
                  </a:cubicBezTo>
                  <a:cubicBezTo>
                    <a:pt x="6360" y="1890"/>
                    <a:pt x="6485" y="1517"/>
                    <a:pt x="6455" y="1451"/>
                  </a:cubicBezTo>
                  <a:cubicBezTo>
                    <a:pt x="6419" y="1378"/>
                    <a:pt x="6455" y="1290"/>
                    <a:pt x="6477" y="1209"/>
                  </a:cubicBezTo>
                  <a:cubicBezTo>
                    <a:pt x="6499" y="1128"/>
                    <a:pt x="6433" y="1004"/>
                    <a:pt x="6382" y="916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38" name="Freeform 137"/>
            <p:cNvSpPr>
              <a:spLocks noChangeArrowheads="1"/>
            </p:cNvSpPr>
            <p:nvPr/>
          </p:nvSpPr>
          <p:spPr bwMode="auto">
            <a:xfrm>
              <a:off x="5495144" y="4899865"/>
              <a:ext cx="393964" cy="302768"/>
            </a:xfrm>
            <a:custGeom>
              <a:avLst/>
              <a:gdLst>
                <a:gd name="T0" fmla="*/ 7 w 1027"/>
                <a:gd name="T1" fmla="*/ 66 h 800"/>
                <a:gd name="T2" fmla="*/ 7 w 1027"/>
                <a:gd name="T3" fmla="*/ 66 h 800"/>
                <a:gd name="T4" fmla="*/ 95 w 1027"/>
                <a:gd name="T5" fmla="*/ 183 h 800"/>
                <a:gd name="T6" fmla="*/ 257 w 1027"/>
                <a:gd name="T7" fmla="*/ 278 h 800"/>
                <a:gd name="T8" fmla="*/ 322 w 1027"/>
                <a:gd name="T9" fmla="*/ 417 h 800"/>
                <a:gd name="T10" fmla="*/ 396 w 1027"/>
                <a:gd name="T11" fmla="*/ 498 h 800"/>
                <a:gd name="T12" fmla="*/ 447 w 1027"/>
                <a:gd name="T13" fmla="*/ 637 h 800"/>
                <a:gd name="T14" fmla="*/ 586 w 1027"/>
                <a:gd name="T15" fmla="*/ 696 h 800"/>
                <a:gd name="T16" fmla="*/ 674 w 1027"/>
                <a:gd name="T17" fmla="*/ 740 h 800"/>
                <a:gd name="T18" fmla="*/ 747 w 1027"/>
                <a:gd name="T19" fmla="*/ 747 h 800"/>
                <a:gd name="T20" fmla="*/ 835 w 1027"/>
                <a:gd name="T21" fmla="*/ 762 h 800"/>
                <a:gd name="T22" fmla="*/ 916 w 1027"/>
                <a:gd name="T23" fmla="*/ 740 h 800"/>
                <a:gd name="T24" fmla="*/ 975 w 1027"/>
                <a:gd name="T25" fmla="*/ 630 h 800"/>
                <a:gd name="T26" fmla="*/ 982 w 1027"/>
                <a:gd name="T27" fmla="*/ 527 h 800"/>
                <a:gd name="T28" fmla="*/ 982 w 1027"/>
                <a:gd name="T29" fmla="*/ 454 h 800"/>
                <a:gd name="T30" fmla="*/ 1004 w 1027"/>
                <a:gd name="T31" fmla="*/ 396 h 800"/>
                <a:gd name="T32" fmla="*/ 931 w 1027"/>
                <a:gd name="T33" fmla="*/ 300 h 800"/>
                <a:gd name="T34" fmla="*/ 850 w 1027"/>
                <a:gd name="T35" fmla="*/ 352 h 800"/>
                <a:gd name="T36" fmla="*/ 755 w 1027"/>
                <a:gd name="T37" fmla="*/ 337 h 800"/>
                <a:gd name="T38" fmla="*/ 608 w 1027"/>
                <a:gd name="T39" fmla="*/ 264 h 800"/>
                <a:gd name="T40" fmla="*/ 491 w 1027"/>
                <a:gd name="T41" fmla="*/ 220 h 800"/>
                <a:gd name="T42" fmla="*/ 396 w 1027"/>
                <a:gd name="T43" fmla="*/ 190 h 800"/>
                <a:gd name="T44" fmla="*/ 293 w 1027"/>
                <a:gd name="T45" fmla="*/ 154 h 800"/>
                <a:gd name="T46" fmla="*/ 220 w 1027"/>
                <a:gd name="T47" fmla="*/ 110 h 800"/>
                <a:gd name="T48" fmla="*/ 110 w 1027"/>
                <a:gd name="T49" fmla="*/ 95 h 800"/>
                <a:gd name="T50" fmla="*/ 7 w 1027"/>
                <a:gd name="T51" fmla="*/ 6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27" h="800">
                  <a:moveTo>
                    <a:pt x="7" y="66"/>
                  </a:moveTo>
                  <a:lnTo>
                    <a:pt x="7" y="66"/>
                  </a:lnTo>
                  <a:cubicBezTo>
                    <a:pt x="0" y="110"/>
                    <a:pt x="44" y="168"/>
                    <a:pt x="95" y="183"/>
                  </a:cubicBezTo>
                  <a:cubicBezTo>
                    <a:pt x="147" y="205"/>
                    <a:pt x="234" y="234"/>
                    <a:pt x="257" y="278"/>
                  </a:cubicBezTo>
                  <a:cubicBezTo>
                    <a:pt x="271" y="322"/>
                    <a:pt x="278" y="381"/>
                    <a:pt x="322" y="417"/>
                  </a:cubicBezTo>
                  <a:cubicBezTo>
                    <a:pt x="366" y="447"/>
                    <a:pt x="374" y="454"/>
                    <a:pt x="396" y="498"/>
                  </a:cubicBezTo>
                  <a:cubicBezTo>
                    <a:pt x="425" y="542"/>
                    <a:pt x="425" y="594"/>
                    <a:pt x="447" y="637"/>
                  </a:cubicBezTo>
                  <a:cubicBezTo>
                    <a:pt x="476" y="681"/>
                    <a:pt x="528" y="703"/>
                    <a:pt x="586" y="696"/>
                  </a:cubicBezTo>
                  <a:cubicBezTo>
                    <a:pt x="645" y="689"/>
                    <a:pt x="652" y="711"/>
                    <a:pt x="674" y="740"/>
                  </a:cubicBezTo>
                  <a:cubicBezTo>
                    <a:pt x="689" y="762"/>
                    <a:pt x="718" y="791"/>
                    <a:pt x="747" y="747"/>
                  </a:cubicBezTo>
                  <a:cubicBezTo>
                    <a:pt x="769" y="703"/>
                    <a:pt x="806" y="725"/>
                    <a:pt x="835" y="762"/>
                  </a:cubicBezTo>
                  <a:cubicBezTo>
                    <a:pt x="857" y="799"/>
                    <a:pt x="887" y="799"/>
                    <a:pt x="916" y="740"/>
                  </a:cubicBezTo>
                  <a:cubicBezTo>
                    <a:pt x="952" y="681"/>
                    <a:pt x="997" y="689"/>
                    <a:pt x="975" y="630"/>
                  </a:cubicBezTo>
                  <a:cubicBezTo>
                    <a:pt x="960" y="564"/>
                    <a:pt x="960" y="564"/>
                    <a:pt x="982" y="527"/>
                  </a:cubicBezTo>
                  <a:cubicBezTo>
                    <a:pt x="1011" y="484"/>
                    <a:pt x="1004" y="484"/>
                    <a:pt x="982" y="454"/>
                  </a:cubicBezTo>
                  <a:cubicBezTo>
                    <a:pt x="967" y="432"/>
                    <a:pt x="975" y="447"/>
                    <a:pt x="1004" y="396"/>
                  </a:cubicBezTo>
                  <a:cubicBezTo>
                    <a:pt x="1026" y="344"/>
                    <a:pt x="982" y="315"/>
                    <a:pt x="931" y="300"/>
                  </a:cubicBezTo>
                  <a:cubicBezTo>
                    <a:pt x="887" y="293"/>
                    <a:pt x="887" y="344"/>
                    <a:pt x="850" y="352"/>
                  </a:cubicBezTo>
                  <a:cubicBezTo>
                    <a:pt x="813" y="366"/>
                    <a:pt x="784" y="396"/>
                    <a:pt x="755" y="337"/>
                  </a:cubicBezTo>
                  <a:cubicBezTo>
                    <a:pt x="733" y="278"/>
                    <a:pt x="652" y="256"/>
                    <a:pt x="608" y="264"/>
                  </a:cubicBezTo>
                  <a:cubicBezTo>
                    <a:pt x="571" y="271"/>
                    <a:pt x="506" y="256"/>
                    <a:pt x="491" y="220"/>
                  </a:cubicBezTo>
                  <a:cubicBezTo>
                    <a:pt x="476" y="183"/>
                    <a:pt x="447" y="183"/>
                    <a:pt x="396" y="190"/>
                  </a:cubicBezTo>
                  <a:cubicBezTo>
                    <a:pt x="344" y="205"/>
                    <a:pt x="322" y="183"/>
                    <a:pt x="293" y="154"/>
                  </a:cubicBezTo>
                  <a:cubicBezTo>
                    <a:pt x="271" y="117"/>
                    <a:pt x="264" y="110"/>
                    <a:pt x="220" y="110"/>
                  </a:cubicBezTo>
                  <a:cubicBezTo>
                    <a:pt x="176" y="110"/>
                    <a:pt x="132" y="132"/>
                    <a:pt x="110" y="95"/>
                  </a:cubicBezTo>
                  <a:cubicBezTo>
                    <a:pt x="80" y="51"/>
                    <a:pt x="15" y="0"/>
                    <a:pt x="7" y="66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39" name="Freeform 138"/>
            <p:cNvSpPr>
              <a:spLocks noChangeArrowheads="1"/>
            </p:cNvSpPr>
            <p:nvPr/>
          </p:nvSpPr>
          <p:spPr bwMode="auto">
            <a:xfrm>
              <a:off x="5349231" y="2581680"/>
              <a:ext cx="2272586" cy="2152209"/>
            </a:xfrm>
            <a:custGeom>
              <a:avLst/>
              <a:gdLst>
                <a:gd name="T0" fmla="*/ 4140 w 5913"/>
                <a:gd name="T1" fmla="*/ 5488 h 5665"/>
                <a:gd name="T2" fmla="*/ 3788 w 5913"/>
                <a:gd name="T3" fmla="*/ 5569 h 5665"/>
                <a:gd name="T4" fmla="*/ 3466 w 5913"/>
                <a:gd name="T5" fmla="*/ 5422 h 5665"/>
                <a:gd name="T6" fmla="*/ 3187 w 5913"/>
                <a:gd name="T7" fmla="*/ 5400 h 5665"/>
                <a:gd name="T8" fmla="*/ 2894 w 5913"/>
                <a:gd name="T9" fmla="*/ 5063 h 5665"/>
                <a:gd name="T10" fmla="*/ 2081 w 5913"/>
                <a:gd name="T11" fmla="*/ 4118 h 5665"/>
                <a:gd name="T12" fmla="*/ 1443 w 5913"/>
                <a:gd name="T13" fmla="*/ 3935 h 5665"/>
                <a:gd name="T14" fmla="*/ 1092 w 5913"/>
                <a:gd name="T15" fmla="*/ 3429 h 5665"/>
                <a:gd name="T16" fmla="*/ 1341 w 5913"/>
                <a:gd name="T17" fmla="*/ 3334 h 5665"/>
                <a:gd name="T18" fmla="*/ 1062 w 5913"/>
                <a:gd name="T19" fmla="*/ 3136 h 5665"/>
                <a:gd name="T20" fmla="*/ 945 w 5913"/>
                <a:gd name="T21" fmla="*/ 2616 h 5665"/>
                <a:gd name="T22" fmla="*/ 571 w 5913"/>
                <a:gd name="T23" fmla="*/ 2462 h 5665"/>
                <a:gd name="T24" fmla="*/ 703 w 5913"/>
                <a:gd name="T25" fmla="*/ 2242 h 5665"/>
                <a:gd name="T26" fmla="*/ 1209 w 5913"/>
                <a:gd name="T27" fmla="*/ 2191 h 5665"/>
                <a:gd name="T28" fmla="*/ 1290 w 5913"/>
                <a:gd name="T29" fmla="*/ 2022 h 5665"/>
                <a:gd name="T30" fmla="*/ 1026 w 5913"/>
                <a:gd name="T31" fmla="*/ 1920 h 5665"/>
                <a:gd name="T32" fmla="*/ 1143 w 5913"/>
                <a:gd name="T33" fmla="*/ 1634 h 5665"/>
                <a:gd name="T34" fmla="*/ 923 w 5913"/>
                <a:gd name="T35" fmla="*/ 1312 h 5665"/>
                <a:gd name="T36" fmla="*/ 608 w 5913"/>
                <a:gd name="T37" fmla="*/ 674 h 5665"/>
                <a:gd name="T38" fmla="*/ 183 w 5913"/>
                <a:gd name="T39" fmla="*/ 689 h 5665"/>
                <a:gd name="T40" fmla="*/ 110 w 5913"/>
                <a:gd name="T41" fmla="*/ 1055 h 5665"/>
                <a:gd name="T42" fmla="*/ 139 w 5913"/>
                <a:gd name="T43" fmla="*/ 249 h 5665"/>
                <a:gd name="T44" fmla="*/ 418 w 5913"/>
                <a:gd name="T45" fmla="*/ 95 h 5665"/>
                <a:gd name="T46" fmla="*/ 205 w 5913"/>
                <a:gd name="T47" fmla="*/ 403 h 5665"/>
                <a:gd name="T48" fmla="*/ 821 w 5913"/>
                <a:gd name="T49" fmla="*/ 564 h 5665"/>
                <a:gd name="T50" fmla="*/ 1700 w 5913"/>
                <a:gd name="T51" fmla="*/ 660 h 5665"/>
                <a:gd name="T52" fmla="*/ 2220 w 5913"/>
                <a:gd name="T53" fmla="*/ 777 h 5665"/>
                <a:gd name="T54" fmla="*/ 2550 w 5913"/>
                <a:gd name="T55" fmla="*/ 769 h 5665"/>
                <a:gd name="T56" fmla="*/ 3165 w 5913"/>
                <a:gd name="T57" fmla="*/ 901 h 5665"/>
                <a:gd name="T58" fmla="*/ 3414 w 5913"/>
                <a:gd name="T59" fmla="*/ 1414 h 5665"/>
                <a:gd name="T60" fmla="*/ 3078 w 5913"/>
                <a:gd name="T61" fmla="*/ 2059 h 5665"/>
                <a:gd name="T62" fmla="*/ 3744 w 5913"/>
                <a:gd name="T63" fmla="*/ 2044 h 5665"/>
                <a:gd name="T64" fmla="*/ 3942 w 5913"/>
                <a:gd name="T65" fmla="*/ 2088 h 5665"/>
                <a:gd name="T66" fmla="*/ 4813 w 5913"/>
                <a:gd name="T67" fmla="*/ 2499 h 5665"/>
                <a:gd name="T68" fmla="*/ 5414 w 5913"/>
                <a:gd name="T69" fmla="*/ 2242 h 5665"/>
                <a:gd name="T70" fmla="*/ 5297 w 5913"/>
                <a:gd name="T71" fmla="*/ 2081 h 5665"/>
                <a:gd name="T72" fmla="*/ 5326 w 5913"/>
                <a:gd name="T73" fmla="*/ 1788 h 5665"/>
                <a:gd name="T74" fmla="*/ 5868 w 5913"/>
                <a:gd name="T75" fmla="*/ 2096 h 5665"/>
                <a:gd name="T76" fmla="*/ 5670 w 5913"/>
                <a:gd name="T77" fmla="*/ 2140 h 5665"/>
                <a:gd name="T78" fmla="*/ 5458 w 5913"/>
                <a:gd name="T79" fmla="*/ 2308 h 5665"/>
                <a:gd name="T80" fmla="*/ 5282 w 5913"/>
                <a:gd name="T81" fmla="*/ 3041 h 5665"/>
                <a:gd name="T82" fmla="*/ 5106 w 5913"/>
                <a:gd name="T83" fmla="*/ 3605 h 5665"/>
                <a:gd name="T84" fmla="*/ 4864 w 5913"/>
                <a:gd name="T85" fmla="*/ 4052 h 5665"/>
                <a:gd name="T86" fmla="*/ 5209 w 5913"/>
                <a:gd name="T87" fmla="*/ 4543 h 5665"/>
                <a:gd name="T88" fmla="*/ 5099 w 5913"/>
                <a:gd name="T89" fmla="*/ 4976 h 5665"/>
                <a:gd name="T90" fmla="*/ 4857 w 5913"/>
                <a:gd name="T91" fmla="*/ 5276 h 5665"/>
                <a:gd name="T92" fmla="*/ 4593 w 5913"/>
                <a:gd name="T93" fmla="*/ 5657 h 5665"/>
                <a:gd name="T94" fmla="*/ 3656 w 5913"/>
                <a:gd name="T95" fmla="*/ 2403 h 5665"/>
                <a:gd name="T96" fmla="*/ 322 w 5913"/>
                <a:gd name="T97" fmla="*/ 2030 h 5665"/>
                <a:gd name="T98" fmla="*/ 667 w 5913"/>
                <a:gd name="T99" fmla="*/ 1979 h 5665"/>
                <a:gd name="T100" fmla="*/ 850 w 5913"/>
                <a:gd name="T101" fmla="*/ 1707 h 5665"/>
                <a:gd name="T102" fmla="*/ 667 w 5913"/>
                <a:gd name="T103" fmla="*/ 1979 h 5665"/>
                <a:gd name="T104" fmla="*/ 564 w 5913"/>
                <a:gd name="T105" fmla="*/ 1649 h 5665"/>
                <a:gd name="T106" fmla="*/ 51 w 5913"/>
                <a:gd name="T107" fmla="*/ 1392 h 5665"/>
                <a:gd name="T108" fmla="*/ 227 w 5913"/>
                <a:gd name="T109" fmla="*/ 1400 h 5665"/>
                <a:gd name="T110" fmla="*/ 557 w 5913"/>
                <a:gd name="T111" fmla="*/ 1531 h 5665"/>
                <a:gd name="T112" fmla="*/ 791 w 5913"/>
                <a:gd name="T113" fmla="*/ 1282 h 5665"/>
                <a:gd name="T114" fmla="*/ 528 w 5913"/>
                <a:gd name="T115" fmla="*/ 1356 h 5665"/>
                <a:gd name="T116" fmla="*/ 330 w 5913"/>
                <a:gd name="T117" fmla="*/ 1077 h 5665"/>
                <a:gd name="T118" fmla="*/ 593 w 5913"/>
                <a:gd name="T119" fmla="*/ 1282 h 5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13" h="5665">
                  <a:moveTo>
                    <a:pt x="4549" y="5664"/>
                  </a:moveTo>
                  <a:lnTo>
                    <a:pt x="4549" y="5664"/>
                  </a:lnTo>
                  <a:cubicBezTo>
                    <a:pt x="4527" y="5664"/>
                    <a:pt x="4498" y="5657"/>
                    <a:pt x="4476" y="5650"/>
                  </a:cubicBezTo>
                  <a:cubicBezTo>
                    <a:pt x="4461" y="5642"/>
                    <a:pt x="4447" y="5642"/>
                    <a:pt x="4432" y="5635"/>
                  </a:cubicBezTo>
                  <a:cubicBezTo>
                    <a:pt x="4389" y="5628"/>
                    <a:pt x="4323" y="5598"/>
                    <a:pt x="4286" y="5576"/>
                  </a:cubicBezTo>
                  <a:cubicBezTo>
                    <a:pt x="4272" y="5569"/>
                    <a:pt x="4264" y="5562"/>
                    <a:pt x="4257" y="5562"/>
                  </a:cubicBezTo>
                  <a:cubicBezTo>
                    <a:pt x="4235" y="5547"/>
                    <a:pt x="4184" y="5518"/>
                    <a:pt x="4140" y="5488"/>
                  </a:cubicBezTo>
                  <a:cubicBezTo>
                    <a:pt x="4118" y="5474"/>
                    <a:pt x="4096" y="5467"/>
                    <a:pt x="4089" y="5459"/>
                  </a:cubicBezTo>
                  <a:cubicBezTo>
                    <a:pt x="4081" y="5452"/>
                    <a:pt x="4067" y="5452"/>
                    <a:pt x="4059" y="5452"/>
                  </a:cubicBezTo>
                  <a:cubicBezTo>
                    <a:pt x="4052" y="5452"/>
                    <a:pt x="4037" y="5459"/>
                    <a:pt x="4015" y="5459"/>
                  </a:cubicBezTo>
                  <a:cubicBezTo>
                    <a:pt x="4001" y="5467"/>
                    <a:pt x="3986" y="5474"/>
                    <a:pt x="3971" y="5474"/>
                  </a:cubicBezTo>
                  <a:cubicBezTo>
                    <a:pt x="3928" y="5481"/>
                    <a:pt x="3920" y="5496"/>
                    <a:pt x="3898" y="5518"/>
                  </a:cubicBezTo>
                  <a:cubicBezTo>
                    <a:pt x="3883" y="5532"/>
                    <a:pt x="3883" y="5532"/>
                    <a:pt x="3883" y="5532"/>
                  </a:cubicBezTo>
                  <a:cubicBezTo>
                    <a:pt x="3854" y="5562"/>
                    <a:pt x="3825" y="5562"/>
                    <a:pt x="3788" y="5569"/>
                  </a:cubicBezTo>
                  <a:cubicBezTo>
                    <a:pt x="3774" y="5569"/>
                    <a:pt x="3759" y="5569"/>
                    <a:pt x="3744" y="5569"/>
                  </a:cubicBezTo>
                  <a:lnTo>
                    <a:pt x="3737" y="5569"/>
                  </a:lnTo>
                  <a:cubicBezTo>
                    <a:pt x="3671" y="5569"/>
                    <a:pt x="3605" y="5488"/>
                    <a:pt x="3561" y="5437"/>
                  </a:cubicBezTo>
                  <a:cubicBezTo>
                    <a:pt x="3554" y="5430"/>
                    <a:pt x="3554" y="5430"/>
                    <a:pt x="3554" y="5430"/>
                  </a:cubicBezTo>
                  <a:cubicBezTo>
                    <a:pt x="3532" y="5408"/>
                    <a:pt x="3524" y="5400"/>
                    <a:pt x="3517" y="5400"/>
                  </a:cubicBezTo>
                  <a:cubicBezTo>
                    <a:pt x="3510" y="5400"/>
                    <a:pt x="3495" y="5408"/>
                    <a:pt x="3481" y="5415"/>
                  </a:cubicBezTo>
                  <a:cubicBezTo>
                    <a:pt x="3466" y="5422"/>
                    <a:pt x="3466" y="5422"/>
                    <a:pt x="3466" y="5422"/>
                  </a:cubicBezTo>
                  <a:cubicBezTo>
                    <a:pt x="3437" y="5437"/>
                    <a:pt x="3422" y="5452"/>
                    <a:pt x="3407" y="5474"/>
                  </a:cubicBezTo>
                  <a:cubicBezTo>
                    <a:pt x="3393" y="5488"/>
                    <a:pt x="3385" y="5503"/>
                    <a:pt x="3363" y="5518"/>
                  </a:cubicBezTo>
                  <a:cubicBezTo>
                    <a:pt x="3349" y="5525"/>
                    <a:pt x="3334" y="5532"/>
                    <a:pt x="3312" y="5532"/>
                  </a:cubicBezTo>
                  <a:cubicBezTo>
                    <a:pt x="3275" y="5532"/>
                    <a:pt x="3239" y="5503"/>
                    <a:pt x="3224" y="5474"/>
                  </a:cubicBezTo>
                  <a:cubicBezTo>
                    <a:pt x="3217" y="5459"/>
                    <a:pt x="3209" y="5444"/>
                    <a:pt x="3209" y="5430"/>
                  </a:cubicBezTo>
                  <a:cubicBezTo>
                    <a:pt x="3209" y="5408"/>
                    <a:pt x="3209" y="5400"/>
                    <a:pt x="3195" y="5400"/>
                  </a:cubicBezTo>
                  <a:cubicBezTo>
                    <a:pt x="3195" y="5400"/>
                    <a:pt x="3195" y="5400"/>
                    <a:pt x="3187" y="5400"/>
                  </a:cubicBezTo>
                  <a:cubicBezTo>
                    <a:pt x="3173" y="5400"/>
                    <a:pt x="3158" y="5415"/>
                    <a:pt x="3136" y="5437"/>
                  </a:cubicBezTo>
                  <a:cubicBezTo>
                    <a:pt x="3129" y="5444"/>
                    <a:pt x="3121" y="5452"/>
                    <a:pt x="3107" y="5459"/>
                  </a:cubicBezTo>
                  <a:cubicBezTo>
                    <a:pt x="3100" y="5467"/>
                    <a:pt x="3092" y="5467"/>
                    <a:pt x="3085" y="5467"/>
                  </a:cubicBezTo>
                  <a:cubicBezTo>
                    <a:pt x="3055" y="5467"/>
                    <a:pt x="3033" y="5437"/>
                    <a:pt x="3019" y="5400"/>
                  </a:cubicBezTo>
                  <a:cubicBezTo>
                    <a:pt x="3004" y="5379"/>
                    <a:pt x="2997" y="5364"/>
                    <a:pt x="2990" y="5357"/>
                  </a:cubicBezTo>
                  <a:cubicBezTo>
                    <a:pt x="2946" y="5312"/>
                    <a:pt x="2953" y="5232"/>
                    <a:pt x="2968" y="5181"/>
                  </a:cubicBezTo>
                  <a:cubicBezTo>
                    <a:pt x="2975" y="5137"/>
                    <a:pt x="2931" y="5093"/>
                    <a:pt x="2894" y="5063"/>
                  </a:cubicBezTo>
                  <a:cubicBezTo>
                    <a:pt x="2872" y="5049"/>
                    <a:pt x="2814" y="5034"/>
                    <a:pt x="2762" y="5012"/>
                  </a:cubicBezTo>
                  <a:cubicBezTo>
                    <a:pt x="2719" y="5005"/>
                    <a:pt x="2674" y="4990"/>
                    <a:pt x="2645" y="4976"/>
                  </a:cubicBezTo>
                  <a:cubicBezTo>
                    <a:pt x="2557" y="4939"/>
                    <a:pt x="2447" y="4756"/>
                    <a:pt x="2418" y="4660"/>
                  </a:cubicBezTo>
                  <a:cubicBezTo>
                    <a:pt x="2403" y="4602"/>
                    <a:pt x="2359" y="4565"/>
                    <a:pt x="2315" y="4529"/>
                  </a:cubicBezTo>
                  <a:cubicBezTo>
                    <a:pt x="2293" y="4514"/>
                    <a:pt x="2271" y="4492"/>
                    <a:pt x="2257" y="4477"/>
                  </a:cubicBezTo>
                  <a:cubicBezTo>
                    <a:pt x="2235" y="4455"/>
                    <a:pt x="2198" y="4389"/>
                    <a:pt x="2125" y="4272"/>
                  </a:cubicBezTo>
                  <a:cubicBezTo>
                    <a:pt x="2118" y="4235"/>
                    <a:pt x="2103" y="4184"/>
                    <a:pt x="2081" y="4118"/>
                  </a:cubicBezTo>
                  <a:cubicBezTo>
                    <a:pt x="2052" y="4038"/>
                    <a:pt x="2008" y="4023"/>
                    <a:pt x="1964" y="4001"/>
                  </a:cubicBezTo>
                  <a:cubicBezTo>
                    <a:pt x="1949" y="3993"/>
                    <a:pt x="1927" y="3986"/>
                    <a:pt x="1912" y="3979"/>
                  </a:cubicBezTo>
                  <a:cubicBezTo>
                    <a:pt x="1868" y="3950"/>
                    <a:pt x="1737" y="3950"/>
                    <a:pt x="1685" y="3950"/>
                  </a:cubicBezTo>
                  <a:cubicBezTo>
                    <a:pt x="1678" y="3950"/>
                    <a:pt x="1671" y="3950"/>
                    <a:pt x="1656" y="3950"/>
                  </a:cubicBezTo>
                  <a:cubicBezTo>
                    <a:pt x="1627" y="3950"/>
                    <a:pt x="1597" y="3942"/>
                    <a:pt x="1568" y="3935"/>
                  </a:cubicBezTo>
                  <a:cubicBezTo>
                    <a:pt x="1531" y="3935"/>
                    <a:pt x="1509" y="3928"/>
                    <a:pt x="1480" y="3928"/>
                  </a:cubicBezTo>
                  <a:cubicBezTo>
                    <a:pt x="1465" y="3928"/>
                    <a:pt x="1451" y="3928"/>
                    <a:pt x="1443" y="3935"/>
                  </a:cubicBezTo>
                  <a:cubicBezTo>
                    <a:pt x="1421" y="3942"/>
                    <a:pt x="1407" y="3942"/>
                    <a:pt x="1392" y="3942"/>
                  </a:cubicBezTo>
                  <a:cubicBezTo>
                    <a:pt x="1341" y="3942"/>
                    <a:pt x="1297" y="3906"/>
                    <a:pt x="1268" y="3876"/>
                  </a:cubicBezTo>
                  <a:cubicBezTo>
                    <a:pt x="1231" y="3840"/>
                    <a:pt x="1216" y="3796"/>
                    <a:pt x="1194" y="3744"/>
                  </a:cubicBezTo>
                  <a:cubicBezTo>
                    <a:pt x="1187" y="3730"/>
                    <a:pt x="1180" y="3715"/>
                    <a:pt x="1172" y="3700"/>
                  </a:cubicBezTo>
                  <a:cubicBezTo>
                    <a:pt x="1136" y="3620"/>
                    <a:pt x="1106" y="3576"/>
                    <a:pt x="1062" y="3525"/>
                  </a:cubicBezTo>
                  <a:cubicBezTo>
                    <a:pt x="1048" y="3510"/>
                    <a:pt x="1040" y="3488"/>
                    <a:pt x="1040" y="3466"/>
                  </a:cubicBezTo>
                  <a:cubicBezTo>
                    <a:pt x="1048" y="3451"/>
                    <a:pt x="1070" y="3437"/>
                    <a:pt x="1092" y="3429"/>
                  </a:cubicBezTo>
                  <a:cubicBezTo>
                    <a:pt x="1106" y="3429"/>
                    <a:pt x="1114" y="3422"/>
                    <a:pt x="1121" y="3422"/>
                  </a:cubicBezTo>
                  <a:cubicBezTo>
                    <a:pt x="1136" y="3415"/>
                    <a:pt x="1150" y="3407"/>
                    <a:pt x="1165" y="3407"/>
                  </a:cubicBezTo>
                  <a:cubicBezTo>
                    <a:pt x="1194" y="3407"/>
                    <a:pt x="1216" y="3422"/>
                    <a:pt x="1260" y="3437"/>
                  </a:cubicBezTo>
                  <a:cubicBezTo>
                    <a:pt x="1275" y="3437"/>
                    <a:pt x="1290" y="3444"/>
                    <a:pt x="1304" y="3451"/>
                  </a:cubicBezTo>
                  <a:cubicBezTo>
                    <a:pt x="1312" y="3459"/>
                    <a:pt x="1319" y="3459"/>
                    <a:pt x="1326" y="3459"/>
                  </a:cubicBezTo>
                  <a:cubicBezTo>
                    <a:pt x="1333" y="3459"/>
                    <a:pt x="1341" y="3459"/>
                    <a:pt x="1341" y="3451"/>
                  </a:cubicBezTo>
                  <a:cubicBezTo>
                    <a:pt x="1356" y="3437"/>
                    <a:pt x="1356" y="3385"/>
                    <a:pt x="1341" y="3334"/>
                  </a:cubicBezTo>
                  <a:cubicBezTo>
                    <a:pt x="1333" y="3305"/>
                    <a:pt x="1319" y="3276"/>
                    <a:pt x="1297" y="3246"/>
                  </a:cubicBezTo>
                  <a:cubicBezTo>
                    <a:pt x="1290" y="3231"/>
                    <a:pt x="1282" y="3217"/>
                    <a:pt x="1275" y="3202"/>
                  </a:cubicBezTo>
                  <a:cubicBezTo>
                    <a:pt x="1268" y="3195"/>
                    <a:pt x="1268" y="3188"/>
                    <a:pt x="1268" y="3180"/>
                  </a:cubicBezTo>
                  <a:cubicBezTo>
                    <a:pt x="1253" y="3158"/>
                    <a:pt x="1246" y="3136"/>
                    <a:pt x="1231" y="3136"/>
                  </a:cubicBezTo>
                  <a:cubicBezTo>
                    <a:pt x="1231" y="3136"/>
                    <a:pt x="1224" y="3136"/>
                    <a:pt x="1209" y="3151"/>
                  </a:cubicBezTo>
                  <a:cubicBezTo>
                    <a:pt x="1180" y="3173"/>
                    <a:pt x="1158" y="3180"/>
                    <a:pt x="1128" y="3180"/>
                  </a:cubicBezTo>
                  <a:cubicBezTo>
                    <a:pt x="1099" y="3180"/>
                    <a:pt x="1077" y="3166"/>
                    <a:pt x="1062" y="3136"/>
                  </a:cubicBezTo>
                  <a:cubicBezTo>
                    <a:pt x="1048" y="3114"/>
                    <a:pt x="1048" y="3100"/>
                    <a:pt x="1048" y="3085"/>
                  </a:cubicBezTo>
                  <a:cubicBezTo>
                    <a:pt x="1048" y="3078"/>
                    <a:pt x="1040" y="3070"/>
                    <a:pt x="1026" y="3048"/>
                  </a:cubicBezTo>
                  <a:cubicBezTo>
                    <a:pt x="989" y="2997"/>
                    <a:pt x="989" y="2968"/>
                    <a:pt x="1026" y="2894"/>
                  </a:cubicBezTo>
                  <a:cubicBezTo>
                    <a:pt x="1033" y="2872"/>
                    <a:pt x="1048" y="2858"/>
                    <a:pt x="1055" y="2850"/>
                  </a:cubicBezTo>
                  <a:cubicBezTo>
                    <a:pt x="1070" y="2829"/>
                    <a:pt x="1070" y="2814"/>
                    <a:pt x="1077" y="2748"/>
                  </a:cubicBezTo>
                  <a:cubicBezTo>
                    <a:pt x="1092" y="2675"/>
                    <a:pt x="1070" y="2638"/>
                    <a:pt x="1062" y="2631"/>
                  </a:cubicBezTo>
                  <a:cubicBezTo>
                    <a:pt x="1048" y="2623"/>
                    <a:pt x="997" y="2616"/>
                    <a:pt x="945" y="2616"/>
                  </a:cubicBezTo>
                  <a:cubicBezTo>
                    <a:pt x="916" y="2616"/>
                    <a:pt x="887" y="2623"/>
                    <a:pt x="865" y="2631"/>
                  </a:cubicBezTo>
                  <a:cubicBezTo>
                    <a:pt x="828" y="2645"/>
                    <a:pt x="799" y="2667"/>
                    <a:pt x="784" y="2689"/>
                  </a:cubicBezTo>
                  <a:cubicBezTo>
                    <a:pt x="769" y="2697"/>
                    <a:pt x="762" y="2711"/>
                    <a:pt x="755" y="2711"/>
                  </a:cubicBezTo>
                  <a:cubicBezTo>
                    <a:pt x="747" y="2711"/>
                    <a:pt x="733" y="2704"/>
                    <a:pt x="733" y="2689"/>
                  </a:cubicBezTo>
                  <a:cubicBezTo>
                    <a:pt x="718" y="2667"/>
                    <a:pt x="711" y="2653"/>
                    <a:pt x="659" y="2623"/>
                  </a:cubicBezTo>
                  <a:cubicBezTo>
                    <a:pt x="645" y="2616"/>
                    <a:pt x="645" y="2616"/>
                    <a:pt x="645" y="2616"/>
                  </a:cubicBezTo>
                  <a:cubicBezTo>
                    <a:pt x="630" y="2609"/>
                    <a:pt x="535" y="2513"/>
                    <a:pt x="571" y="2462"/>
                  </a:cubicBezTo>
                  <a:cubicBezTo>
                    <a:pt x="593" y="2433"/>
                    <a:pt x="615" y="2433"/>
                    <a:pt x="630" y="2433"/>
                  </a:cubicBezTo>
                  <a:cubicBezTo>
                    <a:pt x="652" y="2425"/>
                    <a:pt x="674" y="2425"/>
                    <a:pt x="711" y="2403"/>
                  </a:cubicBezTo>
                  <a:cubicBezTo>
                    <a:pt x="740" y="2381"/>
                    <a:pt x="755" y="2367"/>
                    <a:pt x="762" y="2360"/>
                  </a:cubicBezTo>
                  <a:cubicBezTo>
                    <a:pt x="762" y="2360"/>
                    <a:pt x="762" y="2360"/>
                    <a:pt x="755" y="2360"/>
                  </a:cubicBezTo>
                  <a:cubicBezTo>
                    <a:pt x="711" y="2360"/>
                    <a:pt x="630" y="2323"/>
                    <a:pt x="623" y="2323"/>
                  </a:cubicBezTo>
                  <a:cubicBezTo>
                    <a:pt x="601" y="2316"/>
                    <a:pt x="601" y="2316"/>
                    <a:pt x="601" y="2316"/>
                  </a:cubicBezTo>
                  <a:cubicBezTo>
                    <a:pt x="703" y="2242"/>
                    <a:pt x="703" y="2242"/>
                    <a:pt x="703" y="2242"/>
                  </a:cubicBezTo>
                  <a:cubicBezTo>
                    <a:pt x="762" y="2198"/>
                    <a:pt x="835" y="2198"/>
                    <a:pt x="901" y="2198"/>
                  </a:cubicBezTo>
                  <a:cubicBezTo>
                    <a:pt x="923" y="2198"/>
                    <a:pt x="952" y="2198"/>
                    <a:pt x="967" y="2191"/>
                  </a:cubicBezTo>
                  <a:cubicBezTo>
                    <a:pt x="989" y="2191"/>
                    <a:pt x="1019" y="2191"/>
                    <a:pt x="1048" y="2191"/>
                  </a:cubicBezTo>
                  <a:cubicBezTo>
                    <a:pt x="1084" y="2191"/>
                    <a:pt x="1121" y="2191"/>
                    <a:pt x="1150" y="2191"/>
                  </a:cubicBezTo>
                  <a:cubicBezTo>
                    <a:pt x="1165" y="2191"/>
                    <a:pt x="1180" y="2191"/>
                    <a:pt x="1187" y="2191"/>
                  </a:cubicBezTo>
                  <a:cubicBezTo>
                    <a:pt x="1194" y="2191"/>
                    <a:pt x="1194" y="2191"/>
                    <a:pt x="1202" y="2191"/>
                  </a:cubicBezTo>
                  <a:cubicBezTo>
                    <a:pt x="1209" y="2191"/>
                    <a:pt x="1209" y="2191"/>
                    <a:pt x="1209" y="2191"/>
                  </a:cubicBezTo>
                  <a:cubicBezTo>
                    <a:pt x="1216" y="2191"/>
                    <a:pt x="1216" y="2191"/>
                    <a:pt x="1238" y="2154"/>
                  </a:cubicBezTo>
                  <a:cubicBezTo>
                    <a:pt x="1246" y="2147"/>
                    <a:pt x="1246" y="2147"/>
                    <a:pt x="1246" y="2147"/>
                  </a:cubicBezTo>
                  <a:cubicBezTo>
                    <a:pt x="1275" y="2096"/>
                    <a:pt x="1290" y="2074"/>
                    <a:pt x="1348" y="2037"/>
                  </a:cubicBezTo>
                  <a:cubicBezTo>
                    <a:pt x="1400" y="2008"/>
                    <a:pt x="1421" y="1964"/>
                    <a:pt x="1400" y="1920"/>
                  </a:cubicBezTo>
                  <a:cubicBezTo>
                    <a:pt x="1378" y="1861"/>
                    <a:pt x="1363" y="1854"/>
                    <a:pt x="1363" y="1847"/>
                  </a:cubicBezTo>
                  <a:cubicBezTo>
                    <a:pt x="1363" y="1847"/>
                    <a:pt x="1363" y="1854"/>
                    <a:pt x="1356" y="1854"/>
                  </a:cubicBezTo>
                  <a:cubicBezTo>
                    <a:pt x="1333" y="1883"/>
                    <a:pt x="1312" y="1942"/>
                    <a:pt x="1290" y="2022"/>
                  </a:cubicBezTo>
                  <a:cubicBezTo>
                    <a:pt x="1282" y="2059"/>
                    <a:pt x="1260" y="2074"/>
                    <a:pt x="1224" y="2074"/>
                  </a:cubicBezTo>
                  <a:cubicBezTo>
                    <a:pt x="1209" y="2074"/>
                    <a:pt x="1187" y="2074"/>
                    <a:pt x="1172" y="2067"/>
                  </a:cubicBezTo>
                  <a:cubicBezTo>
                    <a:pt x="1158" y="2067"/>
                    <a:pt x="1136" y="2067"/>
                    <a:pt x="1121" y="2067"/>
                  </a:cubicBezTo>
                  <a:cubicBezTo>
                    <a:pt x="1114" y="2067"/>
                    <a:pt x="1106" y="2067"/>
                    <a:pt x="1099" y="2067"/>
                  </a:cubicBezTo>
                  <a:cubicBezTo>
                    <a:pt x="1092" y="2067"/>
                    <a:pt x="1084" y="2067"/>
                    <a:pt x="1077" y="2067"/>
                  </a:cubicBezTo>
                  <a:cubicBezTo>
                    <a:pt x="1048" y="2067"/>
                    <a:pt x="1033" y="2052"/>
                    <a:pt x="1026" y="2044"/>
                  </a:cubicBezTo>
                  <a:cubicBezTo>
                    <a:pt x="1004" y="2008"/>
                    <a:pt x="1011" y="1957"/>
                    <a:pt x="1026" y="1920"/>
                  </a:cubicBezTo>
                  <a:cubicBezTo>
                    <a:pt x="1040" y="1876"/>
                    <a:pt x="1062" y="1861"/>
                    <a:pt x="1084" y="1854"/>
                  </a:cubicBezTo>
                  <a:cubicBezTo>
                    <a:pt x="1099" y="1847"/>
                    <a:pt x="1114" y="1832"/>
                    <a:pt x="1128" y="1817"/>
                  </a:cubicBezTo>
                  <a:cubicBezTo>
                    <a:pt x="1150" y="1788"/>
                    <a:pt x="1143" y="1766"/>
                    <a:pt x="1143" y="1744"/>
                  </a:cubicBezTo>
                  <a:cubicBezTo>
                    <a:pt x="1136" y="1722"/>
                    <a:pt x="1128" y="1693"/>
                    <a:pt x="1150" y="1663"/>
                  </a:cubicBezTo>
                  <a:cubicBezTo>
                    <a:pt x="1165" y="1641"/>
                    <a:pt x="1172" y="1634"/>
                    <a:pt x="1172" y="1634"/>
                  </a:cubicBezTo>
                  <a:lnTo>
                    <a:pt x="1165" y="1634"/>
                  </a:lnTo>
                  <a:cubicBezTo>
                    <a:pt x="1158" y="1634"/>
                    <a:pt x="1150" y="1634"/>
                    <a:pt x="1143" y="1634"/>
                  </a:cubicBezTo>
                  <a:cubicBezTo>
                    <a:pt x="1136" y="1634"/>
                    <a:pt x="1128" y="1634"/>
                    <a:pt x="1121" y="1634"/>
                  </a:cubicBezTo>
                  <a:cubicBezTo>
                    <a:pt x="1084" y="1634"/>
                    <a:pt x="1055" y="1619"/>
                    <a:pt x="1048" y="1598"/>
                  </a:cubicBezTo>
                  <a:cubicBezTo>
                    <a:pt x="1040" y="1590"/>
                    <a:pt x="1033" y="1561"/>
                    <a:pt x="1062" y="1531"/>
                  </a:cubicBezTo>
                  <a:cubicBezTo>
                    <a:pt x="1092" y="1495"/>
                    <a:pt x="1084" y="1488"/>
                    <a:pt x="1062" y="1466"/>
                  </a:cubicBezTo>
                  <a:cubicBezTo>
                    <a:pt x="1062" y="1458"/>
                    <a:pt x="1055" y="1451"/>
                    <a:pt x="1048" y="1443"/>
                  </a:cubicBezTo>
                  <a:cubicBezTo>
                    <a:pt x="1040" y="1436"/>
                    <a:pt x="1019" y="1414"/>
                    <a:pt x="997" y="1400"/>
                  </a:cubicBezTo>
                  <a:cubicBezTo>
                    <a:pt x="960" y="1370"/>
                    <a:pt x="923" y="1341"/>
                    <a:pt x="923" y="1312"/>
                  </a:cubicBezTo>
                  <a:cubicBezTo>
                    <a:pt x="923" y="1275"/>
                    <a:pt x="909" y="1224"/>
                    <a:pt x="879" y="1217"/>
                  </a:cubicBezTo>
                  <a:cubicBezTo>
                    <a:pt x="821" y="1202"/>
                    <a:pt x="799" y="1129"/>
                    <a:pt x="806" y="1041"/>
                  </a:cubicBezTo>
                  <a:cubicBezTo>
                    <a:pt x="813" y="989"/>
                    <a:pt x="813" y="982"/>
                    <a:pt x="784" y="967"/>
                  </a:cubicBezTo>
                  <a:cubicBezTo>
                    <a:pt x="769" y="960"/>
                    <a:pt x="762" y="953"/>
                    <a:pt x="747" y="938"/>
                  </a:cubicBezTo>
                  <a:cubicBezTo>
                    <a:pt x="681" y="887"/>
                    <a:pt x="645" y="799"/>
                    <a:pt x="630" y="740"/>
                  </a:cubicBezTo>
                  <a:cubicBezTo>
                    <a:pt x="623" y="718"/>
                    <a:pt x="623" y="696"/>
                    <a:pt x="630" y="674"/>
                  </a:cubicBezTo>
                  <a:cubicBezTo>
                    <a:pt x="623" y="674"/>
                    <a:pt x="615" y="674"/>
                    <a:pt x="608" y="674"/>
                  </a:cubicBezTo>
                  <a:cubicBezTo>
                    <a:pt x="593" y="674"/>
                    <a:pt x="579" y="667"/>
                    <a:pt x="564" y="667"/>
                  </a:cubicBezTo>
                  <a:cubicBezTo>
                    <a:pt x="550" y="667"/>
                    <a:pt x="535" y="667"/>
                    <a:pt x="513" y="667"/>
                  </a:cubicBezTo>
                  <a:cubicBezTo>
                    <a:pt x="483" y="667"/>
                    <a:pt x="461" y="667"/>
                    <a:pt x="447" y="681"/>
                  </a:cubicBezTo>
                  <a:cubicBezTo>
                    <a:pt x="432" y="689"/>
                    <a:pt x="425" y="696"/>
                    <a:pt x="418" y="696"/>
                  </a:cubicBezTo>
                  <a:cubicBezTo>
                    <a:pt x="388" y="718"/>
                    <a:pt x="381" y="725"/>
                    <a:pt x="308" y="748"/>
                  </a:cubicBezTo>
                  <a:cubicBezTo>
                    <a:pt x="286" y="755"/>
                    <a:pt x="271" y="762"/>
                    <a:pt x="257" y="762"/>
                  </a:cubicBezTo>
                  <a:cubicBezTo>
                    <a:pt x="205" y="762"/>
                    <a:pt x="198" y="718"/>
                    <a:pt x="183" y="689"/>
                  </a:cubicBezTo>
                  <a:cubicBezTo>
                    <a:pt x="183" y="681"/>
                    <a:pt x="176" y="667"/>
                    <a:pt x="176" y="660"/>
                  </a:cubicBezTo>
                  <a:cubicBezTo>
                    <a:pt x="169" y="652"/>
                    <a:pt x="169" y="645"/>
                    <a:pt x="169" y="645"/>
                  </a:cubicBezTo>
                  <a:cubicBezTo>
                    <a:pt x="161" y="652"/>
                    <a:pt x="139" y="696"/>
                    <a:pt x="124" y="733"/>
                  </a:cubicBezTo>
                  <a:cubicBezTo>
                    <a:pt x="117" y="755"/>
                    <a:pt x="117" y="755"/>
                    <a:pt x="117" y="755"/>
                  </a:cubicBezTo>
                  <a:cubicBezTo>
                    <a:pt x="95" y="813"/>
                    <a:pt x="95" y="813"/>
                    <a:pt x="110" y="909"/>
                  </a:cubicBezTo>
                  <a:cubicBezTo>
                    <a:pt x="110" y="923"/>
                    <a:pt x="110" y="923"/>
                    <a:pt x="110" y="923"/>
                  </a:cubicBezTo>
                  <a:cubicBezTo>
                    <a:pt x="124" y="997"/>
                    <a:pt x="124" y="1033"/>
                    <a:pt x="110" y="1055"/>
                  </a:cubicBezTo>
                  <a:cubicBezTo>
                    <a:pt x="102" y="1062"/>
                    <a:pt x="88" y="1070"/>
                    <a:pt x="73" y="1070"/>
                  </a:cubicBezTo>
                  <a:cubicBezTo>
                    <a:pt x="66" y="1070"/>
                    <a:pt x="59" y="1070"/>
                    <a:pt x="51" y="1070"/>
                  </a:cubicBezTo>
                  <a:cubicBezTo>
                    <a:pt x="0" y="1055"/>
                    <a:pt x="7" y="997"/>
                    <a:pt x="15" y="931"/>
                  </a:cubicBezTo>
                  <a:cubicBezTo>
                    <a:pt x="15" y="909"/>
                    <a:pt x="15" y="894"/>
                    <a:pt x="15" y="872"/>
                  </a:cubicBezTo>
                  <a:cubicBezTo>
                    <a:pt x="15" y="850"/>
                    <a:pt x="15" y="835"/>
                    <a:pt x="15" y="813"/>
                  </a:cubicBezTo>
                  <a:cubicBezTo>
                    <a:pt x="15" y="748"/>
                    <a:pt x="7" y="660"/>
                    <a:pt x="29" y="564"/>
                  </a:cubicBezTo>
                  <a:cubicBezTo>
                    <a:pt x="51" y="432"/>
                    <a:pt x="88" y="352"/>
                    <a:pt x="139" y="249"/>
                  </a:cubicBezTo>
                  <a:cubicBezTo>
                    <a:pt x="161" y="176"/>
                    <a:pt x="161" y="176"/>
                    <a:pt x="161" y="176"/>
                  </a:cubicBezTo>
                  <a:lnTo>
                    <a:pt x="161" y="176"/>
                  </a:lnTo>
                  <a:cubicBezTo>
                    <a:pt x="161" y="176"/>
                    <a:pt x="161" y="103"/>
                    <a:pt x="212" y="37"/>
                  </a:cubicBezTo>
                  <a:cubicBezTo>
                    <a:pt x="227" y="7"/>
                    <a:pt x="242" y="0"/>
                    <a:pt x="264" y="0"/>
                  </a:cubicBezTo>
                  <a:cubicBezTo>
                    <a:pt x="293" y="0"/>
                    <a:pt x="315" y="15"/>
                    <a:pt x="337" y="37"/>
                  </a:cubicBezTo>
                  <a:cubicBezTo>
                    <a:pt x="352" y="44"/>
                    <a:pt x="374" y="51"/>
                    <a:pt x="388" y="66"/>
                  </a:cubicBezTo>
                  <a:cubicBezTo>
                    <a:pt x="396" y="66"/>
                    <a:pt x="418" y="81"/>
                    <a:pt x="418" y="95"/>
                  </a:cubicBezTo>
                  <a:cubicBezTo>
                    <a:pt x="425" y="125"/>
                    <a:pt x="403" y="139"/>
                    <a:pt x="374" y="161"/>
                  </a:cubicBezTo>
                  <a:cubicBezTo>
                    <a:pt x="359" y="176"/>
                    <a:pt x="337" y="191"/>
                    <a:pt x="330" y="212"/>
                  </a:cubicBezTo>
                  <a:cubicBezTo>
                    <a:pt x="308" y="249"/>
                    <a:pt x="278" y="249"/>
                    <a:pt x="257" y="249"/>
                  </a:cubicBezTo>
                  <a:cubicBezTo>
                    <a:pt x="249" y="249"/>
                    <a:pt x="242" y="249"/>
                    <a:pt x="234" y="249"/>
                  </a:cubicBezTo>
                  <a:cubicBezTo>
                    <a:pt x="227" y="249"/>
                    <a:pt x="227" y="249"/>
                    <a:pt x="220" y="249"/>
                  </a:cubicBezTo>
                  <a:cubicBezTo>
                    <a:pt x="212" y="249"/>
                    <a:pt x="205" y="249"/>
                    <a:pt x="205" y="249"/>
                  </a:cubicBezTo>
                  <a:cubicBezTo>
                    <a:pt x="183" y="257"/>
                    <a:pt x="183" y="308"/>
                    <a:pt x="205" y="403"/>
                  </a:cubicBezTo>
                  <a:cubicBezTo>
                    <a:pt x="212" y="454"/>
                    <a:pt x="212" y="491"/>
                    <a:pt x="212" y="513"/>
                  </a:cubicBezTo>
                  <a:cubicBezTo>
                    <a:pt x="212" y="535"/>
                    <a:pt x="212" y="550"/>
                    <a:pt x="227" y="572"/>
                  </a:cubicBezTo>
                  <a:cubicBezTo>
                    <a:pt x="242" y="601"/>
                    <a:pt x="293" y="608"/>
                    <a:pt x="315" y="608"/>
                  </a:cubicBezTo>
                  <a:cubicBezTo>
                    <a:pt x="652" y="616"/>
                    <a:pt x="652" y="616"/>
                    <a:pt x="652" y="616"/>
                  </a:cubicBezTo>
                  <a:cubicBezTo>
                    <a:pt x="667" y="579"/>
                    <a:pt x="689" y="557"/>
                    <a:pt x="689" y="557"/>
                  </a:cubicBezTo>
                  <a:cubicBezTo>
                    <a:pt x="689" y="550"/>
                    <a:pt x="718" y="535"/>
                    <a:pt x="755" y="535"/>
                  </a:cubicBezTo>
                  <a:cubicBezTo>
                    <a:pt x="784" y="535"/>
                    <a:pt x="806" y="542"/>
                    <a:pt x="821" y="564"/>
                  </a:cubicBezTo>
                  <a:cubicBezTo>
                    <a:pt x="835" y="579"/>
                    <a:pt x="857" y="586"/>
                    <a:pt x="894" y="586"/>
                  </a:cubicBezTo>
                  <a:cubicBezTo>
                    <a:pt x="916" y="586"/>
                    <a:pt x="952" y="586"/>
                    <a:pt x="974" y="579"/>
                  </a:cubicBezTo>
                  <a:cubicBezTo>
                    <a:pt x="997" y="579"/>
                    <a:pt x="1011" y="572"/>
                    <a:pt x="1026" y="572"/>
                  </a:cubicBezTo>
                  <a:cubicBezTo>
                    <a:pt x="1312" y="572"/>
                    <a:pt x="1312" y="572"/>
                    <a:pt x="1312" y="572"/>
                  </a:cubicBezTo>
                  <a:cubicBezTo>
                    <a:pt x="1370" y="572"/>
                    <a:pt x="1400" y="593"/>
                    <a:pt x="1443" y="616"/>
                  </a:cubicBezTo>
                  <a:cubicBezTo>
                    <a:pt x="1465" y="630"/>
                    <a:pt x="1465" y="630"/>
                    <a:pt x="1465" y="630"/>
                  </a:cubicBezTo>
                  <a:cubicBezTo>
                    <a:pt x="1517" y="660"/>
                    <a:pt x="1627" y="660"/>
                    <a:pt x="1700" y="660"/>
                  </a:cubicBezTo>
                  <a:cubicBezTo>
                    <a:pt x="1773" y="660"/>
                    <a:pt x="1839" y="703"/>
                    <a:pt x="1876" y="733"/>
                  </a:cubicBezTo>
                  <a:cubicBezTo>
                    <a:pt x="1898" y="755"/>
                    <a:pt x="1898" y="777"/>
                    <a:pt x="1898" y="799"/>
                  </a:cubicBezTo>
                  <a:cubicBezTo>
                    <a:pt x="1890" y="828"/>
                    <a:pt x="1890" y="850"/>
                    <a:pt x="1912" y="887"/>
                  </a:cubicBezTo>
                  <a:cubicBezTo>
                    <a:pt x="1927" y="909"/>
                    <a:pt x="1942" y="916"/>
                    <a:pt x="1964" y="916"/>
                  </a:cubicBezTo>
                  <a:cubicBezTo>
                    <a:pt x="1993" y="916"/>
                    <a:pt x="2037" y="894"/>
                    <a:pt x="2074" y="850"/>
                  </a:cubicBezTo>
                  <a:cubicBezTo>
                    <a:pt x="2132" y="777"/>
                    <a:pt x="2205" y="777"/>
                    <a:pt x="2205" y="777"/>
                  </a:cubicBezTo>
                  <a:cubicBezTo>
                    <a:pt x="2220" y="777"/>
                    <a:pt x="2220" y="777"/>
                    <a:pt x="2220" y="777"/>
                  </a:cubicBezTo>
                  <a:cubicBezTo>
                    <a:pt x="2220" y="791"/>
                    <a:pt x="2220" y="791"/>
                    <a:pt x="2220" y="791"/>
                  </a:cubicBezTo>
                  <a:cubicBezTo>
                    <a:pt x="2228" y="813"/>
                    <a:pt x="2235" y="879"/>
                    <a:pt x="2257" y="909"/>
                  </a:cubicBezTo>
                  <a:cubicBezTo>
                    <a:pt x="2257" y="909"/>
                    <a:pt x="2264" y="894"/>
                    <a:pt x="2271" y="879"/>
                  </a:cubicBezTo>
                  <a:cubicBezTo>
                    <a:pt x="2286" y="857"/>
                    <a:pt x="2308" y="835"/>
                    <a:pt x="2330" y="813"/>
                  </a:cubicBezTo>
                  <a:cubicBezTo>
                    <a:pt x="2389" y="769"/>
                    <a:pt x="2521" y="689"/>
                    <a:pt x="2528" y="689"/>
                  </a:cubicBezTo>
                  <a:cubicBezTo>
                    <a:pt x="2550" y="674"/>
                    <a:pt x="2550" y="674"/>
                    <a:pt x="2550" y="674"/>
                  </a:cubicBezTo>
                  <a:cubicBezTo>
                    <a:pt x="2550" y="769"/>
                    <a:pt x="2550" y="769"/>
                    <a:pt x="2550" y="769"/>
                  </a:cubicBezTo>
                  <a:cubicBezTo>
                    <a:pt x="2579" y="791"/>
                    <a:pt x="2689" y="850"/>
                    <a:pt x="2755" y="865"/>
                  </a:cubicBezTo>
                  <a:cubicBezTo>
                    <a:pt x="2762" y="872"/>
                    <a:pt x="2762" y="872"/>
                    <a:pt x="2762" y="872"/>
                  </a:cubicBezTo>
                  <a:cubicBezTo>
                    <a:pt x="2843" y="894"/>
                    <a:pt x="2887" y="901"/>
                    <a:pt x="2931" y="953"/>
                  </a:cubicBezTo>
                  <a:cubicBezTo>
                    <a:pt x="2975" y="997"/>
                    <a:pt x="3026" y="1011"/>
                    <a:pt x="3092" y="1011"/>
                  </a:cubicBezTo>
                  <a:cubicBezTo>
                    <a:pt x="3143" y="1011"/>
                    <a:pt x="3143" y="916"/>
                    <a:pt x="3143" y="916"/>
                  </a:cubicBezTo>
                  <a:cubicBezTo>
                    <a:pt x="3143" y="887"/>
                    <a:pt x="3143" y="887"/>
                    <a:pt x="3143" y="887"/>
                  </a:cubicBezTo>
                  <a:cubicBezTo>
                    <a:pt x="3165" y="901"/>
                    <a:pt x="3165" y="901"/>
                    <a:pt x="3165" y="901"/>
                  </a:cubicBezTo>
                  <a:cubicBezTo>
                    <a:pt x="3173" y="909"/>
                    <a:pt x="3239" y="953"/>
                    <a:pt x="3275" y="1011"/>
                  </a:cubicBezTo>
                  <a:cubicBezTo>
                    <a:pt x="3312" y="1070"/>
                    <a:pt x="3319" y="1136"/>
                    <a:pt x="3312" y="1217"/>
                  </a:cubicBezTo>
                  <a:cubicBezTo>
                    <a:pt x="3305" y="1260"/>
                    <a:pt x="3283" y="1297"/>
                    <a:pt x="3261" y="1312"/>
                  </a:cubicBezTo>
                  <a:cubicBezTo>
                    <a:pt x="3283" y="1319"/>
                    <a:pt x="3312" y="1326"/>
                    <a:pt x="3334" y="1334"/>
                  </a:cubicBezTo>
                  <a:cubicBezTo>
                    <a:pt x="3341" y="1334"/>
                    <a:pt x="3349" y="1334"/>
                    <a:pt x="3356" y="1334"/>
                  </a:cubicBezTo>
                  <a:cubicBezTo>
                    <a:pt x="3371" y="1334"/>
                    <a:pt x="3393" y="1341"/>
                    <a:pt x="3400" y="1356"/>
                  </a:cubicBezTo>
                  <a:cubicBezTo>
                    <a:pt x="3414" y="1370"/>
                    <a:pt x="3414" y="1385"/>
                    <a:pt x="3414" y="1414"/>
                  </a:cubicBezTo>
                  <a:cubicBezTo>
                    <a:pt x="3407" y="1436"/>
                    <a:pt x="3407" y="1458"/>
                    <a:pt x="3400" y="1473"/>
                  </a:cubicBezTo>
                  <a:cubicBezTo>
                    <a:pt x="3393" y="1517"/>
                    <a:pt x="3393" y="1553"/>
                    <a:pt x="3393" y="1605"/>
                  </a:cubicBezTo>
                  <a:cubicBezTo>
                    <a:pt x="3393" y="1715"/>
                    <a:pt x="3371" y="1795"/>
                    <a:pt x="3334" y="1861"/>
                  </a:cubicBezTo>
                  <a:cubicBezTo>
                    <a:pt x="3283" y="1942"/>
                    <a:pt x="3202" y="1964"/>
                    <a:pt x="3143" y="1971"/>
                  </a:cubicBezTo>
                  <a:cubicBezTo>
                    <a:pt x="3129" y="1971"/>
                    <a:pt x="3129" y="1971"/>
                    <a:pt x="3129" y="1971"/>
                  </a:cubicBezTo>
                  <a:cubicBezTo>
                    <a:pt x="3092" y="1979"/>
                    <a:pt x="3055" y="2008"/>
                    <a:pt x="3055" y="2030"/>
                  </a:cubicBezTo>
                  <a:cubicBezTo>
                    <a:pt x="3055" y="2037"/>
                    <a:pt x="3055" y="2044"/>
                    <a:pt x="3078" y="2059"/>
                  </a:cubicBezTo>
                  <a:cubicBezTo>
                    <a:pt x="3085" y="2067"/>
                    <a:pt x="3100" y="2067"/>
                    <a:pt x="3114" y="2067"/>
                  </a:cubicBezTo>
                  <a:cubicBezTo>
                    <a:pt x="3173" y="2067"/>
                    <a:pt x="3261" y="2015"/>
                    <a:pt x="3297" y="1986"/>
                  </a:cubicBezTo>
                  <a:cubicBezTo>
                    <a:pt x="3341" y="1934"/>
                    <a:pt x="3459" y="1934"/>
                    <a:pt x="3481" y="1934"/>
                  </a:cubicBezTo>
                  <a:cubicBezTo>
                    <a:pt x="3502" y="1920"/>
                    <a:pt x="3517" y="1920"/>
                    <a:pt x="3539" y="1920"/>
                  </a:cubicBezTo>
                  <a:cubicBezTo>
                    <a:pt x="3569" y="1920"/>
                    <a:pt x="3590" y="1927"/>
                    <a:pt x="3620" y="1942"/>
                  </a:cubicBezTo>
                  <a:cubicBezTo>
                    <a:pt x="3634" y="1949"/>
                    <a:pt x="3642" y="1949"/>
                    <a:pt x="3649" y="1957"/>
                  </a:cubicBezTo>
                  <a:cubicBezTo>
                    <a:pt x="3693" y="1971"/>
                    <a:pt x="3744" y="2015"/>
                    <a:pt x="3744" y="2044"/>
                  </a:cubicBezTo>
                  <a:cubicBezTo>
                    <a:pt x="3744" y="2059"/>
                    <a:pt x="3730" y="2074"/>
                    <a:pt x="3722" y="2074"/>
                  </a:cubicBezTo>
                  <a:cubicBezTo>
                    <a:pt x="3708" y="2081"/>
                    <a:pt x="3700" y="2081"/>
                    <a:pt x="3700" y="2088"/>
                  </a:cubicBezTo>
                  <a:cubicBezTo>
                    <a:pt x="3700" y="2103"/>
                    <a:pt x="3700" y="2125"/>
                    <a:pt x="3730" y="2169"/>
                  </a:cubicBezTo>
                  <a:cubicBezTo>
                    <a:pt x="3730" y="2176"/>
                    <a:pt x="3737" y="2184"/>
                    <a:pt x="3737" y="2191"/>
                  </a:cubicBezTo>
                  <a:cubicBezTo>
                    <a:pt x="3759" y="2176"/>
                    <a:pt x="3781" y="2162"/>
                    <a:pt x="3810" y="2154"/>
                  </a:cubicBezTo>
                  <a:cubicBezTo>
                    <a:pt x="3840" y="2140"/>
                    <a:pt x="3869" y="2125"/>
                    <a:pt x="3883" y="2110"/>
                  </a:cubicBezTo>
                  <a:cubicBezTo>
                    <a:pt x="3898" y="2096"/>
                    <a:pt x="3913" y="2088"/>
                    <a:pt x="3942" y="2088"/>
                  </a:cubicBezTo>
                  <a:cubicBezTo>
                    <a:pt x="3993" y="2088"/>
                    <a:pt x="4081" y="2125"/>
                    <a:pt x="4118" y="2147"/>
                  </a:cubicBezTo>
                  <a:cubicBezTo>
                    <a:pt x="4133" y="2162"/>
                    <a:pt x="4147" y="2169"/>
                    <a:pt x="4169" y="2184"/>
                  </a:cubicBezTo>
                  <a:cubicBezTo>
                    <a:pt x="4206" y="2213"/>
                    <a:pt x="4250" y="2242"/>
                    <a:pt x="4309" y="2250"/>
                  </a:cubicBezTo>
                  <a:cubicBezTo>
                    <a:pt x="4382" y="2264"/>
                    <a:pt x="4557" y="2330"/>
                    <a:pt x="4593" y="2367"/>
                  </a:cubicBezTo>
                  <a:cubicBezTo>
                    <a:pt x="4601" y="2374"/>
                    <a:pt x="4608" y="2381"/>
                    <a:pt x="4615" y="2389"/>
                  </a:cubicBezTo>
                  <a:cubicBezTo>
                    <a:pt x="4652" y="2433"/>
                    <a:pt x="4703" y="2491"/>
                    <a:pt x="4806" y="2499"/>
                  </a:cubicBezTo>
                  <a:lnTo>
                    <a:pt x="4813" y="2499"/>
                  </a:lnTo>
                  <a:cubicBezTo>
                    <a:pt x="4886" y="2499"/>
                    <a:pt x="4938" y="2440"/>
                    <a:pt x="4974" y="2381"/>
                  </a:cubicBezTo>
                  <a:cubicBezTo>
                    <a:pt x="4996" y="2360"/>
                    <a:pt x="5011" y="2338"/>
                    <a:pt x="5033" y="2323"/>
                  </a:cubicBezTo>
                  <a:cubicBezTo>
                    <a:pt x="5077" y="2279"/>
                    <a:pt x="5150" y="2257"/>
                    <a:pt x="5238" y="2242"/>
                  </a:cubicBezTo>
                  <a:cubicBezTo>
                    <a:pt x="5260" y="2235"/>
                    <a:pt x="5282" y="2235"/>
                    <a:pt x="5304" y="2235"/>
                  </a:cubicBezTo>
                  <a:cubicBezTo>
                    <a:pt x="5319" y="2235"/>
                    <a:pt x="5333" y="2235"/>
                    <a:pt x="5348" y="2235"/>
                  </a:cubicBezTo>
                  <a:cubicBezTo>
                    <a:pt x="5370" y="2235"/>
                    <a:pt x="5385" y="2235"/>
                    <a:pt x="5399" y="2235"/>
                  </a:cubicBezTo>
                  <a:cubicBezTo>
                    <a:pt x="5407" y="2235"/>
                    <a:pt x="5407" y="2242"/>
                    <a:pt x="5414" y="2242"/>
                  </a:cubicBezTo>
                  <a:cubicBezTo>
                    <a:pt x="5414" y="2228"/>
                    <a:pt x="5414" y="2213"/>
                    <a:pt x="5421" y="2198"/>
                  </a:cubicBezTo>
                  <a:cubicBezTo>
                    <a:pt x="5436" y="2184"/>
                    <a:pt x="5436" y="2184"/>
                    <a:pt x="5436" y="2184"/>
                  </a:cubicBezTo>
                  <a:cubicBezTo>
                    <a:pt x="5458" y="2154"/>
                    <a:pt x="5494" y="2103"/>
                    <a:pt x="5473" y="2074"/>
                  </a:cubicBezTo>
                  <a:cubicBezTo>
                    <a:pt x="5458" y="2059"/>
                    <a:pt x="5451" y="2044"/>
                    <a:pt x="5451" y="2037"/>
                  </a:cubicBezTo>
                  <a:cubicBezTo>
                    <a:pt x="5443" y="2030"/>
                    <a:pt x="5443" y="2022"/>
                    <a:pt x="5436" y="2022"/>
                  </a:cubicBezTo>
                  <a:cubicBezTo>
                    <a:pt x="5436" y="2022"/>
                    <a:pt x="5436" y="2022"/>
                    <a:pt x="5414" y="2037"/>
                  </a:cubicBezTo>
                  <a:cubicBezTo>
                    <a:pt x="5370" y="2074"/>
                    <a:pt x="5319" y="2081"/>
                    <a:pt x="5297" y="2081"/>
                  </a:cubicBezTo>
                  <a:cubicBezTo>
                    <a:pt x="5282" y="2081"/>
                    <a:pt x="5275" y="2074"/>
                    <a:pt x="5275" y="2074"/>
                  </a:cubicBezTo>
                  <a:cubicBezTo>
                    <a:pt x="5260" y="2074"/>
                    <a:pt x="5260" y="2074"/>
                    <a:pt x="5260" y="2074"/>
                  </a:cubicBezTo>
                  <a:cubicBezTo>
                    <a:pt x="5260" y="2059"/>
                    <a:pt x="5260" y="2059"/>
                    <a:pt x="5260" y="2059"/>
                  </a:cubicBezTo>
                  <a:cubicBezTo>
                    <a:pt x="5260" y="2044"/>
                    <a:pt x="5260" y="2030"/>
                    <a:pt x="5253" y="2022"/>
                  </a:cubicBezTo>
                  <a:cubicBezTo>
                    <a:pt x="5245" y="1993"/>
                    <a:pt x="5238" y="1979"/>
                    <a:pt x="5267" y="1927"/>
                  </a:cubicBezTo>
                  <a:cubicBezTo>
                    <a:pt x="5275" y="1905"/>
                    <a:pt x="5275" y="1891"/>
                    <a:pt x="5275" y="1883"/>
                  </a:cubicBezTo>
                  <a:cubicBezTo>
                    <a:pt x="5282" y="1854"/>
                    <a:pt x="5282" y="1839"/>
                    <a:pt x="5326" y="1788"/>
                  </a:cubicBezTo>
                  <a:cubicBezTo>
                    <a:pt x="5370" y="1737"/>
                    <a:pt x="5392" y="1707"/>
                    <a:pt x="5421" y="1707"/>
                  </a:cubicBezTo>
                  <a:cubicBezTo>
                    <a:pt x="5443" y="1707"/>
                    <a:pt x="5458" y="1722"/>
                    <a:pt x="5480" y="1729"/>
                  </a:cubicBezTo>
                  <a:cubicBezTo>
                    <a:pt x="5531" y="1766"/>
                    <a:pt x="5568" y="1773"/>
                    <a:pt x="5656" y="1795"/>
                  </a:cubicBezTo>
                  <a:cubicBezTo>
                    <a:pt x="5722" y="1817"/>
                    <a:pt x="5744" y="1861"/>
                    <a:pt x="5758" y="1898"/>
                  </a:cubicBezTo>
                  <a:cubicBezTo>
                    <a:pt x="5766" y="1912"/>
                    <a:pt x="5766" y="1927"/>
                    <a:pt x="5780" y="1942"/>
                  </a:cubicBezTo>
                  <a:cubicBezTo>
                    <a:pt x="5795" y="1957"/>
                    <a:pt x="5802" y="1979"/>
                    <a:pt x="5810" y="2000"/>
                  </a:cubicBezTo>
                  <a:cubicBezTo>
                    <a:pt x="5824" y="2037"/>
                    <a:pt x="5832" y="2067"/>
                    <a:pt x="5868" y="2096"/>
                  </a:cubicBezTo>
                  <a:cubicBezTo>
                    <a:pt x="5905" y="2125"/>
                    <a:pt x="5912" y="2169"/>
                    <a:pt x="5898" y="2198"/>
                  </a:cubicBezTo>
                  <a:cubicBezTo>
                    <a:pt x="5898" y="2213"/>
                    <a:pt x="5883" y="2228"/>
                    <a:pt x="5868" y="2228"/>
                  </a:cubicBezTo>
                  <a:lnTo>
                    <a:pt x="5868" y="2228"/>
                  </a:lnTo>
                  <a:cubicBezTo>
                    <a:pt x="5854" y="2228"/>
                    <a:pt x="5846" y="2220"/>
                    <a:pt x="5832" y="2206"/>
                  </a:cubicBezTo>
                  <a:cubicBezTo>
                    <a:pt x="5802" y="2176"/>
                    <a:pt x="5780" y="2176"/>
                    <a:pt x="5751" y="2176"/>
                  </a:cubicBezTo>
                  <a:cubicBezTo>
                    <a:pt x="5744" y="2169"/>
                    <a:pt x="5729" y="2169"/>
                    <a:pt x="5714" y="2169"/>
                  </a:cubicBezTo>
                  <a:cubicBezTo>
                    <a:pt x="5700" y="2162"/>
                    <a:pt x="5685" y="2147"/>
                    <a:pt x="5670" y="2140"/>
                  </a:cubicBezTo>
                  <a:cubicBezTo>
                    <a:pt x="5663" y="2132"/>
                    <a:pt x="5656" y="2125"/>
                    <a:pt x="5649" y="2125"/>
                  </a:cubicBezTo>
                  <a:cubicBezTo>
                    <a:pt x="5641" y="2125"/>
                    <a:pt x="5626" y="2132"/>
                    <a:pt x="5612" y="2140"/>
                  </a:cubicBezTo>
                  <a:cubicBezTo>
                    <a:pt x="5553" y="2184"/>
                    <a:pt x="5553" y="2191"/>
                    <a:pt x="5568" y="2242"/>
                  </a:cubicBezTo>
                  <a:cubicBezTo>
                    <a:pt x="5568" y="2264"/>
                    <a:pt x="5561" y="2293"/>
                    <a:pt x="5546" y="2316"/>
                  </a:cubicBezTo>
                  <a:cubicBezTo>
                    <a:pt x="5539" y="2330"/>
                    <a:pt x="5524" y="2338"/>
                    <a:pt x="5509" y="2338"/>
                  </a:cubicBezTo>
                  <a:cubicBezTo>
                    <a:pt x="5494" y="2338"/>
                    <a:pt x="5480" y="2330"/>
                    <a:pt x="5473" y="2323"/>
                  </a:cubicBezTo>
                  <a:cubicBezTo>
                    <a:pt x="5465" y="2316"/>
                    <a:pt x="5458" y="2308"/>
                    <a:pt x="5458" y="2308"/>
                  </a:cubicBezTo>
                  <a:cubicBezTo>
                    <a:pt x="5458" y="2323"/>
                    <a:pt x="5458" y="2345"/>
                    <a:pt x="5451" y="2360"/>
                  </a:cubicBezTo>
                  <a:cubicBezTo>
                    <a:pt x="5451" y="2374"/>
                    <a:pt x="5451" y="2389"/>
                    <a:pt x="5451" y="2403"/>
                  </a:cubicBezTo>
                  <a:cubicBezTo>
                    <a:pt x="5451" y="2455"/>
                    <a:pt x="5451" y="2601"/>
                    <a:pt x="5465" y="2645"/>
                  </a:cubicBezTo>
                  <a:cubicBezTo>
                    <a:pt x="5465" y="2653"/>
                    <a:pt x="5465" y="2667"/>
                    <a:pt x="5473" y="2675"/>
                  </a:cubicBezTo>
                  <a:cubicBezTo>
                    <a:pt x="5487" y="2726"/>
                    <a:pt x="5509" y="2807"/>
                    <a:pt x="5494" y="2865"/>
                  </a:cubicBezTo>
                  <a:cubicBezTo>
                    <a:pt x="5487" y="2931"/>
                    <a:pt x="5392" y="2990"/>
                    <a:pt x="5297" y="3034"/>
                  </a:cubicBezTo>
                  <a:cubicBezTo>
                    <a:pt x="5282" y="3041"/>
                    <a:pt x="5282" y="3041"/>
                    <a:pt x="5282" y="3041"/>
                  </a:cubicBezTo>
                  <a:cubicBezTo>
                    <a:pt x="5238" y="3063"/>
                    <a:pt x="5201" y="3078"/>
                    <a:pt x="5187" y="3129"/>
                  </a:cubicBezTo>
                  <a:cubicBezTo>
                    <a:pt x="5180" y="3195"/>
                    <a:pt x="5077" y="3246"/>
                    <a:pt x="5004" y="3246"/>
                  </a:cubicBezTo>
                  <a:cubicBezTo>
                    <a:pt x="4945" y="3246"/>
                    <a:pt x="4901" y="3268"/>
                    <a:pt x="4857" y="3341"/>
                  </a:cubicBezTo>
                  <a:cubicBezTo>
                    <a:pt x="4842" y="3363"/>
                    <a:pt x="4850" y="3400"/>
                    <a:pt x="4850" y="3422"/>
                  </a:cubicBezTo>
                  <a:cubicBezTo>
                    <a:pt x="4864" y="3466"/>
                    <a:pt x="4901" y="3510"/>
                    <a:pt x="4930" y="3517"/>
                  </a:cubicBezTo>
                  <a:cubicBezTo>
                    <a:pt x="4945" y="3525"/>
                    <a:pt x="4967" y="3532"/>
                    <a:pt x="4982" y="3539"/>
                  </a:cubicBezTo>
                  <a:cubicBezTo>
                    <a:pt x="5033" y="3547"/>
                    <a:pt x="5084" y="3561"/>
                    <a:pt x="5106" y="3605"/>
                  </a:cubicBezTo>
                  <a:cubicBezTo>
                    <a:pt x="5121" y="3627"/>
                    <a:pt x="5128" y="3642"/>
                    <a:pt x="5135" y="3642"/>
                  </a:cubicBezTo>
                  <a:cubicBezTo>
                    <a:pt x="5143" y="3649"/>
                    <a:pt x="5143" y="3649"/>
                    <a:pt x="5143" y="3649"/>
                  </a:cubicBezTo>
                  <a:cubicBezTo>
                    <a:pt x="5135" y="3657"/>
                    <a:pt x="5135" y="3657"/>
                    <a:pt x="5135" y="3657"/>
                  </a:cubicBezTo>
                  <a:cubicBezTo>
                    <a:pt x="5128" y="3715"/>
                    <a:pt x="5113" y="3767"/>
                    <a:pt x="5077" y="3796"/>
                  </a:cubicBezTo>
                  <a:cubicBezTo>
                    <a:pt x="5062" y="3818"/>
                    <a:pt x="5048" y="3825"/>
                    <a:pt x="5040" y="3840"/>
                  </a:cubicBezTo>
                  <a:cubicBezTo>
                    <a:pt x="5026" y="3862"/>
                    <a:pt x="5004" y="3884"/>
                    <a:pt x="4952" y="3920"/>
                  </a:cubicBezTo>
                  <a:cubicBezTo>
                    <a:pt x="4872" y="3979"/>
                    <a:pt x="4857" y="3986"/>
                    <a:pt x="4864" y="4052"/>
                  </a:cubicBezTo>
                  <a:cubicBezTo>
                    <a:pt x="4864" y="4074"/>
                    <a:pt x="4879" y="4096"/>
                    <a:pt x="4886" y="4118"/>
                  </a:cubicBezTo>
                  <a:cubicBezTo>
                    <a:pt x="4908" y="4155"/>
                    <a:pt x="4923" y="4191"/>
                    <a:pt x="4908" y="4235"/>
                  </a:cubicBezTo>
                  <a:cubicBezTo>
                    <a:pt x="4872" y="4316"/>
                    <a:pt x="4886" y="4338"/>
                    <a:pt x="4908" y="4353"/>
                  </a:cubicBezTo>
                  <a:cubicBezTo>
                    <a:pt x="4930" y="4367"/>
                    <a:pt x="4938" y="4389"/>
                    <a:pt x="4945" y="4419"/>
                  </a:cubicBezTo>
                  <a:cubicBezTo>
                    <a:pt x="4960" y="4448"/>
                    <a:pt x="4967" y="4477"/>
                    <a:pt x="4996" y="4485"/>
                  </a:cubicBezTo>
                  <a:cubicBezTo>
                    <a:pt x="5062" y="4507"/>
                    <a:pt x="5128" y="4529"/>
                    <a:pt x="5187" y="4536"/>
                  </a:cubicBezTo>
                  <a:cubicBezTo>
                    <a:pt x="5194" y="4536"/>
                    <a:pt x="5201" y="4536"/>
                    <a:pt x="5209" y="4543"/>
                  </a:cubicBezTo>
                  <a:cubicBezTo>
                    <a:pt x="5238" y="4543"/>
                    <a:pt x="5267" y="4550"/>
                    <a:pt x="5282" y="4572"/>
                  </a:cubicBezTo>
                  <a:cubicBezTo>
                    <a:pt x="5289" y="4587"/>
                    <a:pt x="5289" y="4609"/>
                    <a:pt x="5267" y="4646"/>
                  </a:cubicBezTo>
                  <a:cubicBezTo>
                    <a:pt x="5245" y="4697"/>
                    <a:pt x="5245" y="4734"/>
                    <a:pt x="5238" y="4770"/>
                  </a:cubicBezTo>
                  <a:cubicBezTo>
                    <a:pt x="5238" y="4792"/>
                    <a:pt x="5238" y="4822"/>
                    <a:pt x="5231" y="4843"/>
                  </a:cubicBezTo>
                  <a:cubicBezTo>
                    <a:pt x="5216" y="4888"/>
                    <a:pt x="5194" y="4976"/>
                    <a:pt x="5128" y="4976"/>
                  </a:cubicBezTo>
                  <a:lnTo>
                    <a:pt x="5128" y="4976"/>
                  </a:lnTo>
                  <a:cubicBezTo>
                    <a:pt x="5113" y="4976"/>
                    <a:pt x="5106" y="4976"/>
                    <a:pt x="5099" y="4976"/>
                  </a:cubicBezTo>
                  <a:cubicBezTo>
                    <a:pt x="5077" y="4968"/>
                    <a:pt x="5062" y="4961"/>
                    <a:pt x="5048" y="4953"/>
                  </a:cubicBezTo>
                  <a:cubicBezTo>
                    <a:pt x="5033" y="4946"/>
                    <a:pt x="5026" y="4946"/>
                    <a:pt x="5018" y="4946"/>
                  </a:cubicBezTo>
                  <a:cubicBezTo>
                    <a:pt x="5018" y="4946"/>
                    <a:pt x="5018" y="4946"/>
                    <a:pt x="5018" y="4968"/>
                  </a:cubicBezTo>
                  <a:cubicBezTo>
                    <a:pt x="5018" y="4990"/>
                    <a:pt x="5026" y="5012"/>
                    <a:pt x="5026" y="5034"/>
                  </a:cubicBezTo>
                  <a:cubicBezTo>
                    <a:pt x="5033" y="5071"/>
                    <a:pt x="5048" y="5107"/>
                    <a:pt x="5004" y="5151"/>
                  </a:cubicBezTo>
                  <a:cubicBezTo>
                    <a:pt x="4989" y="5166"/>
                    <a:pt x="4974" y="5181"/>
                    <a:pt x="4967" y="5195"/>
                  </a:cubicBezTo>
                  <a:cubicBezTo>
                    <a:pt x="4938" y="5232"/>
                    <a:pt x="4916" y="5269"/>
                    <a:pt x="4857" y="5276"/>
                  </a:cubicBezTo>
                  <a:cubicBezTo>
                    <a:pt x="4799" y="5283"/>
                    <a:pt x="4769" y="5291"/>
                    <a:pt x="4711" y="5327"/>
                  </a:cubicBezTo>
                  <a:cubicBezTo>
                    <a:pt x="4696" y="5342"/>
                    <a:pt x="4681" y="5349"/>
                    <a:pt x="4674" y="5357"/>
                  </a:cubicBezTo>
                  <a:cubicBezTo>
                    <a:pt x="4637" y="5371"/>
                    <a:pt x="4630" y="5379"/>
                    <a:pt x="4637" y="5422"/>
                  </a:cubicBezTo>
                  <a:cubicBezTo>
                    <a:pt x="4644" y="5488"/>
                    <a:pt x="4637" y="5569"/>
                    <a:pt x="4637" y="5598"/>
                  </a:cubicBezTo>
                  <a:lnTo>
                    <a:pt x="4674" y="5620"/>
                  </a:lnTo>
                  <a:cubicBezTo>
                    <a:pt x="4644" y="5635"/>
                    <a:pt x="4644" y="5635"/>
                    <a:pt x="4644" y="5635"/>
                  </a:cubicBezTo>
                  <a:cubicBezTo>
                    <a:pt x="4623" y="5642"/>
                    <a:pt x="4601" y="5650"/>
                    <a:pt x="4593" y="5657"/>
                  </a:cubicBezTo>
                  <a:cubicBezTo>
                    <a:pt x="4579" y="5664"/>
                    <a:pt x="4564" y="5664"/>
                    <a:pt x="4549" y="5664"/>
                  </a:cubicBezTo>
                  <a:close/>
                  <a:moveTo>
                    <a:pt x="3708" y="2257"/>
                  </a:moveTo>
                  <a:lnTo>
                    <a:pt x="3708" y="2257"/>
                  </a:lnTo>
                  <a:cubicBezTo>
                    <a:pt x="3700" y="2264"/>
                    <a:pt x="3686" y="2264"/>
                    <a:pt x="3678" y="2272"/>
                  </a:cubicBezTo>
                  <a:cubicBezTo>
                    <a:pt x="3671" y="2279"/>
                    <a:pt x="3649" y="2286"/>
                    <a:pt x="3649" y="2293"/>
                  </a:cubicBezTo>
                  <a:cubicBezTo>
                    <a:pt x="3642" y="2308"/>
                    <a:pt x="3634" y="2381"/>
                    <a:pt x="3634" y="2448"/>
                  </a:cubicBezTo>
                  <a:cubicBezTo>
                    <a:pt x="3656" y="2403"/>
                    <a:pt x="3656" y="2403"/>
                    <a:pt x="3656" y="2403"/>
                  </a:cubicBezTo>
                  <a:cubicBezTo>
                    <a:pt x="3656" y="2403"/>
                    <a:pt x="3686" y="2316"/>
                    <a:pt x="3708" y="2257"/>
                  </a:cubicBezTo>
                  <a:close/>
                  <a:moveTo>
                    <a:pt x="432" y="2206"/>
                  </a:moveTo>
                  <a:lnTo>
                    <a:pt x="432" y="2206"/>
                  </a:lnTo>
                  <a:cubicBezTo>
                    <a:pt x="418" y="2206"/>
                    <a:pt x="403" y="2206"/>
                    <a:pt x="374" y="2198"/>
                  </a:cubicBezTo>
                  <a:cubicBezTo>
                    <a:pt x="352" y="2191"/>
                    <a:pt x="352" y="2191"/>
                    <a:pt x="352" y="2191"/>
                  </a:cubicBezTo>
                  <a:cubicBezTo>
                    <a:pt x="286" y="2169"/>
                    <a:pt x="300" y="2125"/>
                    <a:pt x="308" y="2096"/>
                  </a:cubicBezTo>
                  <a:cubicBezTo>
                    <a:pt x="315" y="2074"/>
                    <a:pt x="322" y="2052"/>
                    <a:pt x="322" y="2030"/>
                  </a:cubicBezTo>
                  <a:cubicBezTo>
                    <a:pt x="322" y="2008"/>
                    <a:pt x="322" y="1971"/>
                    <a:pt x="344" y="1971"/>
                  </a:cubicBezTo>
                  <a:cubicBezTo>
                    <a:pt x="359" y="1971"/>
                    <a:pt x="374" y="1986"/>
                    <a:pt x="403" y="2022"/>
                  </a:cubicBezTo>
                  <a:cubicBezTo>
                    <a:pt x="418" y="2037"/>
                    <a:pt x="425" y="2044"/>
                    <a:pt x="432" y="2059"/>
                  </a:cubicBezTo>
                  <a:cubicBezTo>
                    <a:pt x="447" y="2059"/>
                    <a:pt x="469" y="2067"/>
                    <a:pt x="483" y="2081"/>
                  </a:cubicBezTo>
                  <a:cubicBezTo>
                    <a:pt x="491" y="2096"/>
                    <a:pt x="498" y="2118"/>
                    <a:pt x="483" y="2147"/>
                  </a:cubicBezTo>
                  <a:cubicBezTo>
                    <a:pt x="476" y="2176"/>
                    <a:pt x="461" y="2206"/>
                    <a:pt x="432" y="2206"/>
                  </a:cubicBezTo>
                  <a:close/>
                  <a:moveTo>
                    <a:pt x="667" y="1979"/>
                  </a:moveTo>
                  <a:lnTo>
                    <a:pt x="667" y="1979"/>
                  </a:lnTo>
                  <a:cubicBezTo>
                    <a:pt x="630" y="1979"/>
                    <a:pt x="615" y="1949"/>
                    <a:pt x="601" y="1912"/>
                  </a:cubicBezTo>
                  <a:cubicBezTo>
                    <a:pt x="593" y="1898"/>
                    <a:pt x="593" y="1891"/>
                    <a:pt x="586" y="1876"/>
                  </a:cubicBezTo>
                  <a:cubicBezTo>
                    <a:pt x="571" y="1847"/>
                    <a:pt x="564" y="1825"/>
                    <a:pt x="579" y="1810"/>
                  </a:cubicBezTo>
                  <a:cubicBezTo>
                    <a:pt x="593" y="1788"/>
                    <a:pt x="630" y="1788"/>
                    <a:pt x="667" y="1788"/>
                  </a:cubicBezTo>
                  <a:cubicBezTo>
                    <a:pt x="689" y="1766"/>
                    <a:pt x="755" y="1693"/>
                    <a:pt x="813" y="1693"/>
                  </a:cubicBezTo>
                  <a:cubicBezTo>
                    <a:pt x="828" y="1693"/>
                    <a:pt x="843" y="1700"/>
                    <a:pt x="850" y="1707"/>
                  </a:cubicBezTo>
                  <a:cubicBezTo>
                    <a:pt x="865" y="1729"/>
                    <a:pt x="857" y="1759"/>
                    <a:pt x="850" y="1810"/>
                  </a:cubicBezTo>
                  <a:cubicBezTo>
                    <a:pt x="850" y="1832"/>
                    <a:pt x="843" y="1861"/>
                    <a:pt x="835" y="1891"/>
                  </a:cubicBezTo>
                  <a:cubicBezTo>
                    <a:pt x="835" y="1934"/>
                    <a:pt x="828" y="1971"/>
                    <a:pt x="784" y="1971"/>
                  </a:cubicBezTo>
                  <a:cubicBezTo>
                    <a:pt x="777" y="1971"/>
                    <a:pt x="769" y="1971"/>
                    <a:pt x="762" y="1971"/>
                  </a:cubicBezTo>
                  <a:cubicBezTo>
                    <a:pt x="747" y="1971"/>
                    <a:pt x="740" y="1971"/>
                    <a:pt x="733" y="1971"/>
                  </a:cubicBezTo>
                  <a:cubicBezTo>
                    <a:pt x="718" y="1971"/>
                    <a:pt x="711" y="1971"/>
                    <a:pt x="703" y="1971"/>
                  </a:cubicBezTo>
                  <a:cubicBezTo>
                    <a:pt x="689" y="1979"/>
                    <a:pt x="681" y="1979"/>
                    <a:pt x="667" y="1979"/>
                  </a:cubicBezTo>
                  <a:close/>
                  <a:moveTo>
                    <a:pt x="506" y="1759"/>
                  </a:moveTo>
                  <a:lnTo>
                    <a:pt x="506" y="1759"/>
                  </a:lnTo>
                  <a:cubicBezTo>
                    <a:pt x="476" y="1759"/>
                    <a:pt x="469" y="1737"/>
                    <a:pt x="469" y="1715"/>
                  </a:cubicBezTo>
                  <a:cubicBezTo>
                    <a:pt x="461" y="1693"/>
                    <a:pt x="461" y="1678"/>
                    <a:pt x="447" y="1663"/>
                  </a:cubicBezTo>
                  <a:cubicBezTo>
                    <a:pt x="447" y="1656"/>
                    <a:pt x="432" y="1641"/>
                    <a:pt x="440" y="1627"/>
                  </a:cubicBezTo>
                  <a:cubicBezTo>
                    <a:pt x="440" y="1619"/>
                    <a:pt x="447" y="1612"/>
                    <a:pt x="461" y="1612"/>
                  </a:cubicBezTo>
                  <a:cubicBezTo>
                    <a:pt x="491" y="1612"/>
                    <a:pt x="528" y="1627"/>
                    <a:pt x="564" y="1649"/>
                  </a:cubicBezTo>
                  <a:cubicBezTo>
                    <a:pt x="564" y="1656"/>
                    <a:pt x="579" y="1663"/>
                    <a:pt x="579" y="1685"/>
                  </a:cubicBezTo>
                  <a:cubicBezTo>
                    <a:pt x="579" y="1700"/>
                    <a:pt x="564" y="1722"/>
                    <a:pt x="535" y="1744"/>
                  </a:cubicBezTo>
                  <a:cubicBezTo>
                    <a:pt x="520" y="1759"/>
                    <a:pt x="513" y="1759"/>
                    <a:pt x="506" y="1759"/>
                  </a:cubicBezTo>
                  <a:close/>
                  <a:moveTo>
                    <a:pt x="220" y="1575"/>
                  </a:moveTo>
                  <a:lnTo>
                    <a:pt x="220" y="1575"/>
                  </a:lnTo>
                  <a:cubicBezTo>
                    <a:pt x="190" y="1575"/>
                    <a:pt x="161" y="1561"/>
                    <a:pt x="124" y="1539"/>
                  </a:cubicBezTo>
                  <a:cubicBezTo>
                    <a:pt x="59" y="1510"/>
                    <a:pt x="59" y="1466"/>
                    <a:pt x="51" y="1392"/>
                  </a:cubicBezTo>
                  <a:cubicBezTo>
                    <a:pt x="51" y="1378"/>
                    <a:pt x="51" y="1356"/>
                    <a:pt x="51" y="1334"/>
                  </a:cubicBezTo>
                  <a:cubicBezTo>
                    <a:pt x="44" y="1253"/>
                    <a:pt x="66" y="1238"/>
                    <a:pt x="102" y="1217"/>
                  </a:cubicBezTo>
                  <a:cubicBezTo>
                    <a:pt x="117" y="1209"/>
                    <a:pt x="139" y="1202"/>
                    <a:pt x="154" y="1187"/>
                  </a:cubicBezTo>
                  <a:cubicBezTo>
                    <a:pt x="190" y="1158"/>
                    <a:pt x="190" y="1158"/>
                    <a:pt x="190" y="1158"/>
                  </a:cubicBezTo>
                  <a:cubicBezTo>
                    <a:pt x="183" y="1202"/>
                    <a:pt x="183" y="1202"/>
                    <a:pt x="183" y="1202"/>
                  </a:cubicBezTo>
                  <a:cubicBezTo>
                    <a:pt x="183" y="1202"/>
                    <a:pt x="161" y="1312"/>
                    <a:pt x="212" y="1385"/>
                  </a:cubicBezTo>
                  <a:cubicBezTo>
                    <a:pt x="227" y="1400"/>
                    <a:pt x="227" y="1400"/>
                    <a:pt x="227" y="1400"/>
                  </a:cubicBezTo>
                  <a:cubicBezTo>
                    <a:pt x="257" y="1451"/>
                    <a:pt x="264" y="1451"/>
                    <a:pt x="264" y="1488"/>
                  </a:cubicBezTo>
                  <a:cubicBezTo>
                    <a:pt x="264" y="1495"/>
                    <a:pt x="264" y="1502"/>
                    <a:pt x="264" y="1517"/>
                  </a:cubicBezTo>
                  <a:cubicBezTo>
                    <a:pt x="264" y="1539"/>
                    <a:pt x="257" y="1546"/>
                    <a:pt x="249" y="1561"/>
                  </a:cubicBezTo>
                  <a:cubicBezTo>
                    <a:pt x="249" y="1568"/>
                    <a:pt x="234" y="1575"/>
                    <a:pt x="220" y="1575"/>
                  </a:cubicBezTo>
                  <a:close/>
                  <a:moveTo>
                    <a:pt x="601" y="1539"/>
                  </a:moveTo>
                  <a:lnTo>
                    <a:pt x="601" y="1539"/>
                  </a:lnTo>
                  <a:cubicBezTo>
                    <a:pt x="579" y="1539"/>
                    <a:pt x="571" y="1539"/>
                    <a:pt x="557" y="1531"/>
                  </a:cubicBezTo>
                  <a:cubicBezTo>
                    <a:pt x="506" y="1510"/>
                    <a:pt x="491" y="1480"/>
                    <a:pt x="491" y="1480"/>
                  </a:cubicBezTo>
                  <a:cubicBezTo>
                    <a:pt x="483" y="1466"/>
                    <a:pt x="483" y="1466"/>
                    <a:pt x="483" y="1466"/>
                  </a:cubicBezTo>
                  <a:cubicBezTo>
                    <a:pt x="498" y="1458"/>
                    <a:pt x="498" y="1458"/>
                    <a:pt x="498" y="1458"/>
                  </a:cubicBezTo>
                  <a:cubicBezTo>
                    <a:pt x="528" y="1443"/>
                    <a:pt x="557" y="1443"/>
                    <a:pt x="586" y="1436"/>
                  </a:cubicBezTo>
                  <a:cubicBezTo>
                    <a:pt x="630" y="1436"/>
                    <a:pt x="667" y="1429"/>
                    <a:pt x="696" y="1392"/>
                  </a:cubicBezTo>
                  <a:cubicBezTo>
                    <a:pt x="718" y="1370"/>
                    <a:pt x="733" y="1356"/>
                    <a:pt x="740" y="1348"/>
                  </a:cubicBezTo>
                  <a:cubicBezTo>
                    <a:pt x="755" y="1334"/>
                    <a:pt x="762" y="1326"/>
                    <a:pt x="791" y="1282"/>
                  </a:cubicBezTo>
                  <a:cubicBezTo>
                    <a:pt x="813" y="1246"/>
                    <a:pt x="813" y="1246"/>
                    <a:pt x="813" y="1246"/>
                  </a:cubicBezTo>
                  <a:cubicBezTo>
                    <a:pt x="813" y="1290"/>
                    <a:pt x="813" y="1290"/>
                    <a:pt x="813" y="1290"/>
                  </a:cubicBezTo>
                  <a:cubicBezTo>
                    <a:pt x="821" y="1304"/>
                    <a:pt x="828" y="1473"/>
                    <a:pt x="747" y="1495"/>
                  </a:cubicBezTo>
                  <a:cubicBezTo>
                    <a:pt x="733" y="1502"/>
                    <a:pt x="725" y="1510"/>
                    <a:pt x="711" y="1510"/>
                  </a:cubicBezTo>
                  <a:cubicBezTo>
                    <a:pt x="674" y="1524"/>
                    <a:pt x="630" y="1539"/>
                    <a:pt x="601" y="1539"/>
                  </a:cubicBezTo>
                  <a:close/>
                  <a:moveTo>
                    <a:pt x="528" y="1356"/>
                  </a:moveTo>
                  <a:lnTo>
                    <a:pt x="528" y="1356"/>
                  </a:lnTo>
                  <a:cubicBezTo>
                    <a:pt x="520" y="1356"/>
                    <a:pt x="506" y="1356"/>
                    <a:pt x="491" y="1348"/>
                  </a:cubicBezTo>
                  <a:cubicBezTo>
                    <a:pt x="469" y="1341"/>
                    <a:pt x="440" y="1341"/>
                    <a:pt x="418" y="1334"/>
                  </a:cubicBezTo>
                  <a:cubicBezTo>
                    <a:pt x="344" y="1326"/>
                    <a:pt x="286" y="1319"/>
                    <a:pt x="257" y="1260"/>
                  </a:cubicBezTo>
                  <a:cubicBezTo>
                    <a:pt x="220" y="1187"/>
                    <a:pt x="242" y="1129"/>
                    <a:pt x="242" y="1129"/>
                  </a:cubicBezTo>
                  <a:cubicBezTo>
                    <a:pt x="264" y="1092"/>
                    <a:pt x="286" y="1077"/>
                    <a:pt x="308" y="1077"/>
                  </a:cubicBezTo>
                  <a:lnTo>
                    <a:pt x="315" y="1077"/>
                  </a:lnTo>
                  <a:cubicBezTo>
                    <a:pt x="322" y="1077"/>
                    <a:pt x="322" y="1077"/>
                    <a:pt x="330" y="1077"/>
                  </a:cubicBezTo>
                  <a:cubicBezTo>
                    <a:pt x="344" y="1077"/>
                    <a:pt x="352" y="1077"/>
                    <a:pt x="366" y="1070"/>
                  </a:cubicBezTo>
                  <a:cubicBezTo>
                    <a:pt x="432" y="1048"/>
                    <a:pt x="432" y="1048"/>
                    <a:pt x="491" y="1041"/>
                  </a:cubicBezTo>
                  <a:cubicBezTo>
                    <a:pt x="513" y="1033"/>
                    <a:pt x="520" y="1033"/>
                    <a:pt x="535" y="1033"/>
                  </a:cubicBezTo>
                  <a:cubicBezTo>
                    <a:pt x="564" y="1033"/>
                    <a:pt x="571" y="1048"/>
                    <a:pt x="601" y="1092"/>
                  </a:cubicBezTo>
                  <a:cubicBezTo>
                    <a:pt x="601" y="1099"/>
                    <a:pt x="608" y="1107"/>
                    <a:pt x="615" y="1114"/>
                  </a:cubicBezTo>
                  <a:cubicBezTo>
                    <a:pt x="638" y="1150"/>
                    <a:pt x="638" y="1158"/>
                    <a:pt x="608" y="1231"/>
                  </a:cubicBezTo>
                  <a:cubicBezTo>
                    <a:pt x="601" y="1246"/>
                    <a:pt x="593" y="1268"/>
                    <a:pt x="593" y="1282"/>
                  </a:cubicBezTo>
                  <a:cubicBezTo>
                    <a:pt x="586" y="1319"/>
                    <a:pt x="571" y="1356"/>
                    <a:pt x="528" y="1356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40" name="Freeform 139"/>
            <p:cNvSpPr>
              <a:spLocks noChangeArrowheads="1"/>
            </p:cNvSpPr>
            <p:nvPr/>
          </p:nvSpPr>
          <p:spPr bwMode="auto">
            <a:xfrm>
              <a:off x="7120243" y="2973820"/>
              <a:ext cx="2905482" cy="2062837"/>
            </a:xfrm>
            <a:custGeom>
              <a:avLst/>
              <a:gdLst>
                <a:gd name="T0" fmla="*/ 821 w 7563"/>
                <a:gd name="T1" fmla="*/ 4910 h 5431"/>
                <a:gd name="T2" fmla="*/ 132 w 7563"/>
                <a:gd name="T3" fmla="*/ 4653 h 5431"/>
                <a:gd name="T4" fmla="*/ 396 w 7563"/>
                <a:gd name="T5" fmla="*/ 4030 h 5431"/>
                <a:gd name="T6" fmla="*/ 579 w 7563"/>
                <a:gd name="T7" fmla="*/ 3554 h 5431"/>
                <a:gd name="T8" fmla="*/ 513 w 7563"/>
                <a:gd name="T9" fmla="*/ 2609 h 5431"/>
                <a:gd name="T10" fmla="*/ 1246 w 7563"/>
                <a:gd name="T11" fmla="*/ 2711 h 5431"/>
                <a:gd name="T12" fmla="*/ 1641 w 7563"/>
                <a:gd name="T13" fmla="*/ 2550 h 5431"/>
                <a:gd name="T14" fmla="*/ 1803 w 7563"/>
                <a:gd name="T15" fmla="*/ 2345 h 5431"/>
                <a:gd name="T16" fmla="*/ 2286 w 7563"/>
                <a:gd name="T17" fmla="*/ 1949 h 5431"/>
                <a:gd name="T18" fmla="*/ 3253 w 7563"/>
                <a:gd name="T19" fmla="*/ 1407 h 5431"/>
                <a:gd name="T20" fmla="*/ 4037 w 7563"/>
                <a:gd name="T21" fmla="*/ 887 h 5431"/>
                <a:gd name="T22" fmla="*/ 4037 w 7563"/>
                <a:gd name="T23" fmla="*/ 989 h 5431"/>
                <a:gd name="T24" fmla="*/ 3480 w 7563"/>
                <a:gd name="T25" fmla="*/ 1180 h 5431"/>
                <a:gd name="T26" fmla="*/ 3422 w 7563"/>
                <a:gd name="T27" fmla="*/ 1473 h 5431"/>
                <a:gd name="T28" fmla="*/ 4125 w 7563"/>
                <a:gd name="T29" fmla="*/ 1114 h 5431"/>
                <a:gd name="T30" fmla="*/ 4499 w 7563"/>
                <a:gd name="T31" fmla="*/ 887 h 5431"/>
                <a:gd name="T32" fmla="*/ 4961 w 7563"/>
                <a:gd name="T33" fmla="*/ 1473 h 5431"/>
                <a:gd name="T34" fmla="*/ 5591 w 7563"/>
                <a:gd name="T35" fmla="*/ 1979 h 5431"/>
                <a:gd name="T36" fmla="*/ 6140 w 7563"/>
                <a:gd name="T37" fmla="*/ 1642 h 5431"/>
                <a:gd name="T38" fmla="*/ 7042 w 7563"/>
                <a:gd name="T39" fmla="*/ 2411 h 5431"/>
                <a:gd name="T40" fmla="*/ 6485 w 7563"/>
                <a:gd name="T41" fmla="*/ 2763 h 5431"/>
                <a:gd name="T42" fmla="*/ 7034 w 7563"/>
                <a:gd name="T43" fmla="*/ 2990 h 5431"/>
                <a:gd name="T44" fmla="*/ 7430 w 7563"/>
                <a:gd name="T45" fmla="*/ 3950 h 5431"/>
                <a:gd name="T46" fmla="*/ 7196 w 7563"/>
                <a:gd name="T47" fmla="*/ 4668 h 5431"/>
                <a:gd name="T48" fmla="*/ 7100 w 7563"/>
                <a:gd name="T49" fmla="*/ 4104 h 5431"/>
                <a:gd name="T50" fmla="*/ 6653 w 7563"/>
                <a:gd name="T51" fmla="*/ 4148 h 5431"/>
                <a:gd name="T52" fmla="*/ 6265 w 7563"/>
                <a:gd name="T53" fmla="*/ 3869 h 5431"/>
                <a:gd name="T54" fmla="*/ 5825 w 7563"/>
                <a:gd name="T55" fmla="*/ 4419 h 5431"/>
                <a:gd name="T56" fmla="*/ 5539 w 7563"/>
                <a:gd name="T57" fmla="*/ 4815 h 5431"/>
                <a:gd name="T58" fmla="*/ 5093 w 7563"/>
                <a:gd name="T59" fmla="*/ 4807 h 5431"/>
                <a:gd name="T60" fmla="*/ 4689 w 7563"/>
                <a:gd name="T61" fmla="*/ 5027 h 5431"/>
                <a:gd name="T62" fmla="*/ 4162 w 7563"/>
                <a:gd name="T63" fmla="*/ 4968 h 5431"/>
                <a:gd name="T64" fmla="*/ 3715 w 7563"/>
                <a:gd name="T65" fmla="*/ 4888 h 5431"/>
                <a:gd name="T66" fmla="*/ 2997 w 7563"/>
                <a:gd name="T67" fmla="*/ 4631 h 5431"/>
                <a:gd name="T68" fmla="*/ 2623 w 7563"/>
                <a:gd name="T69" fmla="*/ 4836 h 5431"/>
                <a:gd name="T70" fmla="*/ 2066 w 7563"/>
                <a:gd name="T71" fmla="*/ 5012 h 5431"/>
                <a:gd name="T72" fmla="*/ 1619 w 7563"/>
                <a:gd name="T73" fmla="*/ 5379 h 5431"/>
                <a:gd name="T74" fmla="*/ 6434 w 7563"/>
                <a:gd name="T75" fmla="*/ 2477 h 5431"/>
                <a:gd name="T76" fmla="*/ 6441 w 7563"/>
                <a:gd name="T77" fmla="*/ 2411 h 5431"/>
                <a:gd name="T78" fmla="*/ 6580 w 7563"/>
                <a:gd name="T79" fmla="*/ 2330 h 5431"/>
                <a:gd name="T80" fmla="*/ 6448 w 7563"/>
                <a:gd name="T81" fmla="*/ 2037 h 5431"/>
                <a:gd name="T82" fmla="*/ 6309 w 7563"/>
                <a:gd name="T83" fmla="*/ 2133 h 5431"/>
                <a:gd name="T84" fmla="*/ 6104 w 7563"/>
                <a:gd name="T85" fmla="*/ 2169 h 5431"/>
                <a:gd name="T86" fmla="*/ 1890 w 7563"/>
                <a:gd name="T87" fmla="*/ 2191 h 5431"/>
                <a:gd name="T88" fmla="*/ 5364 w 7563"/>
                <a:gd name="T89" fmla="*/ 1392 h 5431"/>
                <a:gd name="T90" fmla="*/ 4975 w 7563"/>
                <a:gd name="T91" fmla="*/ 1348 h 5431"/>
                <a:gd name="T92" fmla="*/ 4851 w 7563"/>
                <a:gd name="T93" fmla="*/ 894 h 5431"/>
                <a:gd name="T94" fmla="*/ 4953 w 7563"/>
                <a:gd name="T95" fmla="*/ 462 h 5431"/>
                <a:gd name="T96" fmla="*/ 5144 w 7563"/>
                <a:gd name="T97" fmla="*/ 542 h 5431"/>
                <a:gd name="T98" fmla="*/ 5356 w 7563"/>
                <a:gd name="T99" fmla="*/ 586 h 5431"/>
                <a:gd name="T100" fmla="*/ 5723 w 7563"/>
                <a:gd name="T101" fmla="*/ 858 h 5431"/>
                <a:gd name="T102" fmla="*/ 5972 w 7563"/>
                <a:gd name="T103" fmla="*/ 1004 h 5431"/>
                <a:gd name="T104" fmla="*/ 5767 w 7563"/>
                <a:gd name="T105" fmla="*/ 1180 h 5431"/>
                <a:gd name="T106" fmla="*/ 5584 w 7563"/>
                <a:gd name="T107" fmla="*/ 1180 h 5431"/>
                <a:gd name="T108" fmla="*/ 5239 w 7563"/>
                <a:gd name="T109" fmla="*/ 1356 h 5431"/>
                <a:gd name="T110" fmla="*/ 4843 w 7563"/>
                <a:gd name="T111" fmla="*/ 865 h 5431"/>
                <a:gd name="T112" fmla="*/ 4990 w 7563"/>
                <a:gd name="T113" fmla="*/ 616 h 5431"/>
                <a:gd name="T114" fmla="*/ 5503 w 7563"/>
                <a:gd name="T115" fmla="*/ 469 h 5431"/>
                <a:gd name="T116" fmla="*/ 5642 w 7563"/>
                <a:gd name="T117" fmla="*/ 674 h 5431"/>
                <a:gd name="T118" fmla="*/ 5093 w 7563"/>
                <a:gd name="T119" fmla="*/ 59 h 5431"/>
                <a:gd name="T120" fmla="*/ 5144 w 7563"/>
                <a:gd name="T121" fmla="*/ 359 h 5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563" h="5431">
                  <a:moveTo>
                    <a:pt x="1363" y="5430"/>
                  </a:moveTo>
                  <a:lnTo>
                    <a:pt x="1363" y="5430"/>
                  </a:lnTo>
                  <a:cubicBezTo>
                    <a:pt x="1326" y="5401"/>
                    <a:pt x="1267" y="5379"/>
                    <a:pt x="1224" y="5379"/>
                  </a:cubicBezTo>
                  <a:cubicBezTo>
                    <a:pt x="1209" y="5379"/>
                    <a:pt x="1202" y="5379"/>
                    <a:pt x="1187" y="5379"/>
                  </a:cubicBezTo>
                  <a:cubicBezTo>
                    <a:pt x="1180" y="5386"/>
                    <a:pt x="1172" y="5386"/>
                    <a:pt x="1165" y="5386"/>
                  </a:cubicBezTo>
                  <a:cubicBezTo>
                    <a:pt x="1136" y="5386"/>
                    <a:pt x="1121" y="5371"/>
                    <a:pt x="1114" y="5349"/>
                  </a:cubicBezTo>
                  <a:cubicBezTo>
                    <a:pt x="1106" y="5320"/>
                    <a:pt x="1121" y="5283"/>
                    <a:pt x="1150" y="5261"/>
                  </a:cubicBezTo>
                  <a:cubicBezTo>
                    <a:pt x="1158" y="5261"/>
                    <a:pt x="1158" y="5254"/>
                    <a:pt x="1158" y="5254"/>
                  </a:cubicBezTo>
                  <a:cubicBezTo>
                    <a:pt x="1158" y="5239"/>
                    <a:pt x="1099" y="5203"/>
                    <a:pt x="1048" y="5188"/>
                  </a:cubicBezTo>
                  <a:cubicBezTo>
                    <a:pt x="989" y="5166"/>
                    <a:pt x="894" y="5042"/>
                    <a:pt x="872" y="4998"/>
                  </a:cubicBezTo>
                  <a:cubicBezTo>
                    <a:pt x="865" y="4976"/>
                    <a:pt x="843" y="4946"/>
                    <a:pt x="821" y="4910"/>
                  </a:cubicBezTo>
                  <a:cubicBezTo>
                    <a:pt x="799" y="4873"/>
                    <a:pt x="777" y="4836"/>
                    <a:pt x="755" y="4807"/>
                  </a:cubicBezTo>
                  <a:cubicBezTo>
                    <a:pt x="718" y="4734"/>
                    <a:pt x="696" y="4719"/>
                    <a:pt x="630" y="4712"/>
                  </a:cubicBezTo>
                  <a:cubicBezTo>
                    <a:pt x="630" y="4712"/>
                    <a:pt x="623" y="4712"/>
                    <a:pt x="615" y="4712"/>
                  </a:cubicBezTo>
                  <a:cubicBezTo>
                    <a:pt x="586" y="4712"/>
                    <a:pt x="572" y="4727"/>
                    <a:pt x="550" y="4756"/>
                  </a:cubicBezTo>
                  <a:cubicBezTo>
                    <a:pt x="542" y="4763"/>
                    <a:pt x="535" y="4778"/>
                    <a:pt x="527" y="4793"/>
                  </a:cubicBezTo>
                  <a:cubicBezTo>
                    <a:pt x="498" y="4822"/>
                    <a:pt x="469" y="4836"/>
                    <a:pt x="425" y="4836"/>
                  </a:cubicBezTo>
                  <a:cubicBezTo>
                    <a:pt x="410" y="4836"/>
                    <a:pt x="388" y="4836"/>
                    <a:pt x="374" y="4829"/>
                  </a:cubicBezTo>
                  <a:cubicBezTo>
                    <a:pt x="322" y="4807"/>
                    <a:pt x="256" y="4719"/>
                    <a:pt x="227" y="4675"/>
                  </a:cubicBezTo>
                  <a:cubicBezTo>
                    <a:pt x="212" y="4646"/>
                    <a:pt x="198" y="4646"/>
                    <a:pt x="183" y="4646"/>
                  </a:cubicBezTo>
                  <a:cubicBezTo>
                    <a:pt x="176" y="4646"/>
                    <a:pt x="168" y="4646"/>
                    <a:pt x="154" y="4653"/>
                  </a:cubicBezTo>
                  <a:cubicBezTo>
                    <a:pt x="146" y="4653"/>
                    <a:pt x="139" y="4653"/>
                    <a:pt x="132" y="4653"/>
                  </a:cubicBezTo>
                  <a:cubicBezTo>
                    <a:pt x="103" y="4653"/>
                    <a:pt x="59" y="4631"/>
                    <a:pt x="29" y="4617"/>
                  </a:cubicBezTo>
                  <a:cubicBezTo>
                    <a:pt x="22" y="4609"/>
                    <a:pt x="15" y="4602"/>
                    <a:pt x="15" y="4602"/>
                  </a:cubicBezTo>
                  <a:cubicBezTo>
                    <a:pt x="7" y="4602"/>
                    <a:pt x="7" y="4602"/>
                    <a:pt x="7" y="4602"/>
                  </a:cubicBezTo>
                  <a:cubicBezTo>
                    <a:pt x="7" y="4595"/>
                    <a:pt x="7" y="4595"/>
                    <a:pt x="7" y="4595"/>
                  </a:cubicBezTo>
                  <a:cubicBezTo>
                    <a:pt x="7" y="4587"/>
                    <a:pt x="15" y="4492"/>
                    <a:pt x="7" y="4419"/>
                  </a:cubicBezTo>
                  <a:cubicBezTo>
                    <a:pt x="0" y="4353"/>
                    <a:pt x="22" y="4338"/>
                    <a:pt x="59" y="4316"/>
                  </a:cubicBezTo>
                  <a:cubicBezTo>
                    <a:pt x="73" y="4309"/>
                    <a:pt x="81" y="4302"/>
                    <a:pt x="95" y="4294"/>
                  </a:cubicBezTo>
                  <a:cubicBezTo>
                    <a:pt x="161" y="4250"/>
                    <a:pt x="191" y="4236"/>
                    <a:pt x="256" y="4228"/>
                  </a:cubicBezTo>
                  <a:cubicBezTo>
                    <a:pt x="300" y="4221"/>
                    <a:pt x="315" y="4199"/>
                    <a:pt x="344" y="4162"/>
                  </a:cubicBezTo>
                  <a:cubicBezTo>
                    <a:pt x="352" y="4148"/>
                    <a:pt x="366" y="4133"/>
                    <a:pt x="388" y="4111"/>
                  </a:cubicBezTo>
                  <a:cubicBezTo>
                    <a:pt x="410" y="4089"/>
                    <a:pt x="410" y="4067"/>
                    <a:pt x="396" y="4030"/>
                  </a:cubicBezTo>
                  <a:cubicBezTo>
                    <a:pt x="396" y="4008"/>
                    <a:pt x="388" y="3986"/>
                    <a:pt x="388" y="3957"/>
                  </a:cubicBezTo>
                  <a:cubicBezTo>
                    <a:pt x="388" y="3935"/>
                    <a:pt x="388" y="3898"/>
                    <a:pt x="418" y="3898"/>
                  </a:cubicBezTo>
                  <a:cubicBezTo>
                    <a:pt x="432" y="3898"/>
                    <a:pt x="447" y="3906"/>
                    <a:pt x="462" y="3913"/>
                  </a:cubicBezTo>
                  <a:cubicBezTo>
                    <a:pt x="476" y="3920"/>
                    <a:pt x="491" y="3928"/>
                    <a:pt x="513" y="3935"/>
                  </a:cubicBezTo>
                  <a:cubicBezTo>
                    <a:pt x="513" y="3935"/>
                    <a:pt x="520" y="3935"/>
                    <a:pt x="527" y="3935"/>
                  </a:cubicBezTo>
                  <a:cubicBezTo>
                    <a:pt x="557" y="3935"/>
                    <a:pt x="579" y="3906"/>
                    <a:pt x="601" y="3825"/>
                  </a:cubicBezTo>
                  <a:cubicBezTo>
                    <a:pt x="608" y="3803"/>
                    <a:pt x="608" y="3781"/>
                    <a:pt x="608" y="3759"/>
                  </a:cubicBezTo>
                  <a:cubicBezTo>
                    <a:pt x="615" y="3715"/>
                    <a:pt x="615" y="3671"/>
                    <a:pt x="645" y="3620"/>
                  </a:cubicBezTo>
                  <a:cubicBezTo>
                    <a:pt x="659" y="3591"/>
                    <a:pt x="659" y="3576"/>
                    <a:pt x="659" y="3569"/>
                  </a:cubicBezTo>
                  <a:cubicBezTo>
                    <a:pt x="652" y="3561"/>
                    <a:pt x="630" y="3561"/>
                    <a:pt x="608" y="3554"/>
                  </a:cubicBezTo>
                  <a:cubicBezTo>
                    <a:pt x="593" y="3554"/>
                    <a:pt x="586" y="3554"/>
                    <a:pt x="579" y="3554"/>
                  </a:cubicBezTo>
                  <a:cubicBezTo>
                    <a:pt x="520" y="3547"/>
                    <a:pt x="454" y="3525"/>
                    <a:pt x="388" y="3503"/>
                  </a:cubicBezTo>
                  <a:cubicBezTo>
                    <a:pt x="344" y="3488"/>
                    <a:pt x="330" y="3444"/>
                    <a:pt x="322" y="3415"/>
                  </a:cubicBezTo>
                  <a:cubicBezTo>
                    <a:pt x="315" y="3393"/>
                    <a:pt x="308" y="3371"/>
                    <a:pt x="293" y="3364"/>
                  </a:cubicBezTo>
                  <a:cubicBezTo>
                    <a:pt x="227" y="3327"/>
                    <a:pt x="264" y="3239"/>
                    <a:pt x="278" y="3210"/>
                  </a:cubicBezTo>
                  <a:cubicBezTo>
                    <a:pt x="293" y="3180"/>
                    <a:pt x="278" y="3151"/>
                    <a:pt x="264" y="3122"/>
                  </a:cubicBezTo>
                  <a:cubicBezTo>
                    <a:pt x="249" y="3093"/>
                    <a:pt x="242" y="3070"/>
                    <a:pt x="234" y="3041"/>
                  </a:cubicBezTo>
                  <a:cubicBezTo>
                    <a:pt x="227" y="2960"/>
                    <a:pt x="249" y="2939"/>
                    <a:pt x="337" y="2880"/>
                  </a:cubicBezTo>
                  <a:cubicBezTo>
                    <a:pt x="388" y="2843"/>
                    <a:pt x="403" y="2829"/>
                    <a:pt x="418" y="2807"/>
                  </a:cubicBezTo>
                  <a:cubicBezTo>
                    <a:pt x="432" y="2792"/>
                    <a:pt x="440" y="2777"/>
                    <a:pt x="462" y="2763"/>
                  </a:cubicBezTo>
                  <a:cubicBezTo>
                    <a:pt x="491" y="2734"/>
                    <a:pt x="505" y="2675"/>
                    <a:pt x="513" y="2638"/>
                  </a:cubicBezTo>
                  <a:cubicBezTo>
                    <a:pt x="513" y="2609"/>
                    <a:pt x="513" y="2609"/>
                    <a:pt x="513" y="2609"/>
                  </a:cubicBezTo>
                  <a:cubicBezTo>
                    <a:pt x="535" y="2631"/>
                    <a:pt x="535" y="2631"/>
                    <a:pt x="535" y="2631"/>
                  </a:cubicBezTo>
                  <a:cubicBezTo>
                    <a:pt x="542" y="2631"/>
                    <a:pt x="542" y="2631"/>
                    <a:pt x="542" y="2631"/>
                  </a:cubicBezTo>
                  <a:cubicBezTo>
                    <a:pt x="550" y="2631"/>
                    <a:pt x="564" y="2631"/>
                    <a:pt x="586" y="2624"/>
                  </a:cubicBezTo>
                  <a:cubicBezTo>
                    <a:pt x="637" y="2601"/>
                    <a:pt x="791" y="2484"/>
                    <a:pt x="835" y="2440"/>
                  </a:cubicBezTo>
                  <a:cubicBezTo>
                    <a:pt x="865" y="2418"/>
                    <a:pt x="916" y="2411"/>
                    <a:pt x="938" y="2411"/>
                  </a:cubicBezTo>
                  <a:cubicBezTo>
                    <a:pt x="989" y="2411"/>
                    <a:pt x="1077" y="2426"/>
                    <a:pt x="1092" y="2470"/>
                  </a:cubicBezTo>
                  <a:cubicBezTo>
                    <a:pt x="1099" y="2499"/>
                    <a:pt x="1165" y="2521"/>
                    <a:pt x="1216" y="2528"/>
                  </a:cubicBezTo>
                  <a:cubicBezTo>
                    <a:pt x="1246" y="2536"/>
                    <a:pt x="1246" y="2536"/>
                    <a:pt x="1246" y="2536"/>
                  </a:cubicBezTo>
                  <a:cubicBezTo>
                    <a:pt x="1224" y="2558"/>
                    <a:pt x="1224" y="2558"/>
                    <a:pt x="1224" y="2558"/>
                  </a:cubicBezTo>
                  <a:cubicBezTo>
                    <a:pt x="1224" y="2558"/>
                    <a:pt x="1172" y="2601"/>
                    <a:pt x="1216" y="2682"/>
                  </a:cubicBezTo>
                  <a:cubicBezTo>
                    <a:pt x="1224" y="2711"/>
                    <a:pt x="1238" y="2711"/>
                    <a:pt x="1246" y="2711"/>
                  </a:cubicBezTo>
                  <a:cubicBezTo>
                    <a:pt x="1275" y="2711"/>
                    <a:pt x="1312" y="2667"/>
                    <a:pt x="1326" y="2646"/>
                  </a:cubicBezTo>
                  <a:cubicBezTo>
                    <a:pt x="1334" y="2638"/>
                    <a:pt x="1334" y="2638"/>
                    <a:pt x="1334" y="2638"/>
                  </a:cubicBezTo>
                  <a:cubicBezTo>
                    <a:pt x="1399" y="2667"/>
                    <a:pt x="1399" y="2667"/>
                    <a:pt x="1399" y="2667"/>
                  </a:cubicBezTo>
                  <a:cubicBezTo>
                    <a:pt x="1429" y="2675"/>
                    <a:pt x="1451" y="2689"/>
                    <a:pt x="1480" y="2711"/>
                  </a:cubicBezTo>
                  <a:cubicBezTo>
                    <a:pt x="1509" y="2726"/>
                    <a:pt x="1539" y="2748"/>
                    <a:pt x="1583" y="2770"/>
                  </a:cubicBezTo>
                  <a:cubicBezTo>
                    <a:pt x="1597" y="2777"/>
                    <a:pt x="1605" y="2777"/>
                    <a:pt x="1612" y="2777"/>
                  </a:cubicBezTo>
                  <a:cubicBezTo>
                    <a:pt x="1619" y="2777"/>
                    <a:pt x="1627" y="2777"/>
                    <a:pt x="1627" y="2777"/>
                  </a:cubicBezTo>
                  <a:cubicBezTo>
                    <a:pt x="1641" y="2763"/>
                    <a:pt x="1641" y="2719"/>
                    <a:pt x="1641" y="2675"/>
                  </a:cubicBezTo>
                  <a:cubicBezTo>
                    <a:pt x="1641" y="2646"/>
                    <a:pt x="1641" y="2646"/>
                    <a:pt x="1641" y="2646"/>
                  </a:cubicBezTo>
                  <a:cubicBezTo>
                    <a:pt x="1641" y="2616"/>
                    <a:pt x="1641" y="2594"/>
                    <a:pt x="1641" y="2579"/>
                  </a:cubicBezTo>
                  <a:cubicBezTo>
                    <a:pt x="1641" y="2565"/>
                    <a:pt x="1649" y="2558"/>
                    <a:pt x="1641" y="2550"/>
                  </a:cubicBezTo>
                  <a:cubicBezTo>
                    <a:pt x="1649" y="2558"/>
                    <a:pt x="1641" y="2558"/>
                    <a:pt x="1634" y="2558"/>
                  </a:cubicBezTo>
                  <a:cubicBezTo>
                    <a:pt x="1612" y="2565"/>
                    <a:pt x="1612" y="2565"/>
                    <a:pt x="1612" y="2565"/>
                  </a:cubicBezTo>
                  <a:cubicBezTo>
                    <a:pt x="1605" y="2572"/>
                    <a:pt x="1590" y="2572"/>
                    <a:pt x="1546" y="2594"/>
                  </a:cubicBezTo>
                  <a:cubicBezTo>
                    <a:pt x="1531" y="2601"/>
                    <a:pt x="1517" y="2601"/>
                    <a:pt x="1502" y="2601"/>
                  </a:cubicBezTo>
                  <a:cubicBezTo>
                    <a:pt x="1480" y="2601"/>
                    <a:pt x="1465" y="2587"/>
                    <a:pt x="1465" y="2579"/>
                  </a:cubicBezTo>
                  <a:cubicBezTo>
                    <a:pt x="1451" y="2543"/>
                    <a:pt x="1480" y="2492"/>
                    <a:pt x="1509" y="2455"/>
                  </a:cubicBezTo>
                  <a:cubicBezTo>
                    <a:pt x="1568" y="2382"/>
                    <a:pt x="1634" y="2382"/>
                    <a:pt x="1707" y="2382"/>
                  </a:cubicBezTo>
                  <a:cubicBezTo>
                    <a:pt x="1722" y="2382"/>
                    <a:pt x="1736" y="2382"/>
                    <a:pt x="1744" y="2382"/>
                  </a:cubicBezTo>
                  <a:cubicBezTo>
                    <a:pt x="1758" y="2382"/>
                    <a:pt x="1758" y="2382"/>
                    <a:pt x="1758" y="2382"/>
                  </a:cubicBezTo>
                  <a:cubicBezTo>
                    <a:pt x="1773" y="2382"/>
                    <a:pt x="1773" y="2382"/>
                    <a:pt x="1795" y="2352"/>
                  </a:cubicBezTo>
                  <a:cubicBezTo>
                    <a:pt x="1803" y="2345"/>
                    <a:pt x="1803" y="2345"/>
                    <a:pt x="1803" y="2345"/>
                  </a:cubicBezTo>
                  <a:cubicBezTo>
                    <a:pt x="1817" y="2316"/>
                    <a:pt x="1832" y="2301"/>
                    <a:pt x="1854" y="2286"/>
                  </a:cubicBezTo>
                  <a:cubicBezTo>
                    <a:pt x="1876" y="2265"/>
                    <a:pt x="1898" y="2243"/>
                    <a:pt x="1912" y="2198"/>
                  </a:cubicBezTo>
                  <a:cubicBezTo>
                    <a:pt x="1927" y="2155"/>
                    <a:pt x="1912" y="2110"/>
                    <a:pt x="1905" y="2089"/>
                  </a:cubicBezTo>
                  <a:cubicBezTo>
                    <a:pt x="1898" y="2081"/>
                    <a:pt x="1898" y="2081"/>
                    <a:pt x="1898" y="2081"/>
                  </a:cubicBezTo>
                  <a:cubicBezTo>
                    <a:pt x="1898" y="2074"/>
                    <a:pt x="1898" y="2074"/>
                    <a:pt x="1898" y="2074"/>
                  </a:cubicBezTo>
                  <a:cubicBezTo>
                    <a:pt x="1905" y="2052"/>
                    <a:pt x="1927" y="2037"/>
                    <a:pt x="1942" y="2023"/>
                  </a:cubicBezTo>
                  <a:cubicBezTo>
                    <a:pt x="1964" y="2008"/>
                    <a:pt x="1978" y="1993"/>
                    <a:pt x="1993" y="1971"/>
                  </a:cubicBezTo>
                  <a:cubicBezTo>
                    <a:pt x="2015" y="1927"/>
                    <a:pt x="2037" y="1927"/>
                    <a:pt x="2066" y="1927"/>
                  </a:cubicBezTo>
                  <a:cubicBezTo>
                    <a:pt x="2088" y="1927"/>
                    <a:pt x="2110" y="1927"/>
                    <a:pt x="2147" y="1920"/>
                  </a:cubicBezTo>
                  <a:cubicBezTo>
                    <a:pt x="2162" y="1913"/>
                    <a:pt x="2176" y="1913"/>
                    <a:pt x="2191" y="1913"/>
                  </a:cubicBezTo>
                  <a:cubicBezTo>
                    <a:pt x="2235" y="1913"/>
                    <a:pt x="2264" y="1935"/>
                    <a:pt x="2286" y="1949"/>
                  </a:cubicBezTo>
                  <a:cubicBezTo>
                    <a:pt x="2301" y="1964"/>
                    <a:pt x="2315" y="1979"/>
                    <a:pt x="2337" y="1986"/>
                  </a:cubicBezTo>
                  <a:cubicBezTo>
                    <a:pt x="2345" y="1986"/>
                    <a:pt x="2352" y="1986"/>
                    <a:pt x="2367" y="1986"/>
                  </a:cubicBezTo>
                  <a:cubicBezTo>
                    <a:pt x="2396" y="1986"/>
                    <a:pt x="2418" y="1964"/>
                    <a:pt x="2462" y="1927"/>
                  </a:cubicBezTo>
                  <a:cubicBezTo>
                    <a:pt x="2469" y="1913"/>
                    <a:pt x="2491" y="1898"/>
                    <a:pt x="2506" y="1884"/>
                  </a:cubicBezTo>
                  <a:cubicBezTo>
                    <a:pt x="2565" y="1832"/>
                    <a:pt x="2645" y="1832"/>
                    <a:pt x="2718" y="1832"/>
                  </a:cubicBezTo>
                  <a:cubicBezTo>
                    <a:pt x="2748" y="1832"/>
                    <a:pt x="2770" y="1832"/>
                    <a:pt x="2799" y="1825"/>
                  </a:cubicBezTo>
                  <a:cubicBezTo>
                    <a:pt x="2872" y="1817"/>
                    <a:pt x="2880" y="1810"/>
                    <a:pt x="2887" y="1781"/>
                  </a:cubicBezTo>
                  <a:cubicBezTo>
                    <a:pt x="2902" y="1737"/>
                    <a:pt x="2946" y="1649"/>
                    <a:pt x="3004" y="1605"/>
                  </a:cubicBezTo>
                  <a:cubicBezTo>
                    <a:pt x="3063" y="1554"/>
                    <a:pt x="3063" y="1554"/>
                    <a:pt x="3063" y="1554"/>
                  </a:cubicBezTo>
                  <a:cubicBezTo>
                    <a:pt x="3122" y="1510"/>
                    <a:pt x="3202" y="1444"/>
                    <a:pt x="3231" y="1422"/>
                  </a:cubicBezTo>
                  <a:cubicBezTo>
                    <a:pt x="3253" y="1407"/>
                    <a:pt x="3253" y="1407"/>
                    <a:pt x="3253" y="1407"/>
                  </a:cubicBezTo>
                  <a:cubicBezTo>
                    <a:pt x="3290" y="1378"/>
                    <a:pt x="3319" y="1363"/>
                    <a:pt x="3319" y="1319"/>
                  </a:cubicBezTo>
                  <a:cubicBezTo>
                    <a:pt x="3319" y="1260"/>
                    <a:pt x="3363" y="1195"/>
                    <a:pt x="3407" y="1121"/>
                  </a:cubicBezTo>
                  <a:cubicBezTo>
                    <a:pt x="3429" y="1085"/>
                    <a:pt x="3429" y="1085"/>
                    <a:pt x="3429" y="1085"/>
                  </a:cubicBezTo>
                  <a:cubicBezTo>
                    <a:pt x="3466" y="1041"/>
                    <a:pt x="3480" y="1019"/>
                    <a:pt x="3495" y="953"/>
                  </a:cubicBezTo>
                  <a:cubicBezTo>
                    <a:pt x="3524" y="865"/>
                    <a:pt x="3561" y="806"/>
                    <a:pt x="3605" y="784"/>
                  </a:cubicBezTo>
                  <a:cubicBezTo>
                    <a:pt x="3612" y="784"/>
                    <a:pt x="3620" y="777"/>
                    <a:pt x="3627" y="777"/>
                  </a:cubicBezTo>
                  <a:cubicBezTo>
                    <a:pt x="3656" y="777"/>
                    <a:pt x="3678" y="806"/>
                    <a:pt x="3693" y="836"/>
                  </a:cubicBezTo>
                  <a:cubicBezTo>
                    <a:pt x="3708" y="858"/>
                    <a:pt x="3722" y="879"/>
                    <a:pt x="3737" y="887"/>
                  </a:cubicBezTo>
                  <a:cubicBezTo>
                    <a:pt x="3744" y="887"/>
                    <a:pt x="3766" y="894"/>
                    <a:pt x="3810" y="894"/>
                  </a:cubicBezTo>
                  <a:cubicBezTo>
                    <a:pt x="3854" y="894"/>
                    <a:pt x="3905" y="894"/>
                    <a:pt x="3949" y="887"/>
                  </a:cubicBezTo>
                  <a:cubicBezTo>
                    <a:pt x="3986" y="887"/>
                    <a:pt x="4015" y="887"/>
                    <a:pt x="4037" y="887"/>
                  </a:cubicBezTo>
                  <a:cubicBezTo>
                    <a:pt x="4103" y="887"/>
                    <a:pt x="4272" y="872"/>
                    <a:pt x="4353" y="865"/>
                  </a:cubicBezTo>
                  <a:cubicBezTo>
                    <a:pt x="4360" y="858"/>
                    <a:pt x="4374" y="858"/>
                    <a:pt x="4382" y="858"/>
                  </a:cubicBezTo>
                  <a:cubicBezTo>
                    <a:pt x="4411" y="858"/>
                    <a:pt x="4433" y="865"/>
                    <a:pt x="4462" y="872"/>
                  </a:cubicBezTo>
                  <a:cubicBezTo>
                    <a:pt x="4477" y="879"/>
                    <a:pt x="4477" y="879"/>
                    <a:pt x="4477" y="879"/>
                  </a:cubicBezTo>
                  <a:cubicBezTo>
                    <a:pt x="4462" y="901"/>
                    <a:pt x="4462" y="901"/>
                    <a:pt x="4462" y="901"/>
                  </a:cubicBezTo>
                  <a:cubicBezTo>
                    <a:pt x="4455" y="916"/>
                    <a:pt x="4440" y="931"/>
                    <a:pt x="4426" y="938"/>
                  </a:cubicBezTo>
                  <a:cubicBezTo>
                    <a:pt x="4396" y="960"/>
                    <a:pt x="4367" y="967"/>
                    <a:pt x="4323" y="967"/>
                  </a:cubicBezTo>
                  <a:cubicBezTo>
                    <a:pt x="4308" y="975"/>
                    <a:pt x="4286" y="975"/>
                    <a:pt x="4257" y="982"/>
                  </a:cubicBezTo>
                  <a:cubicBezTo>
                    <a:pt x="4221" y="989"/>
                    <a:pt x="4184" y="997"/>
                    <a:pt x="4147" y="997"/>
                  </a:cubicBezTo>
                  <a:cubicBezTo>
                    <a:pt x="4118" y="997"/>
                    <a:pt x="4089" y="989"/>
                    <a:pt x="4059" y="989"/>
                  </a:cubicBezTo>
                  <a:cubicBezTo>
                    <a:pt x="4037" y="989"/>
                    <a:pt x="4037" y="989"/>
                    <a:pt x="4037" y="989"/>
                  </a:cubicBezTo>
                  <a:cubicBezTo>
                    <a:pt x="4015" y="989"/>
                    <a:pt x="4001" y="982"/>
                    <a:pt x="3986" y="982"/>
                  </a:cubicBezTo>
                  <a:cubicBezTo>
                    <a:pt x="3964" y="982"/>
                    <a:pt x="3957" y="982"/>
                    <a:pt x="3942" y="982"/>
                  </a:cubicBezTo>
                  <a:cubicBezTo>
                    <a:pt x="3920" y="982"/>
                    <a:pt x="3905" y="982"/>
                    <a:pt x="3884" y="989"/>
                  </a:cubicBezTo>
                  <a:cubicBezTo>
                    <a:pt x="3832" y="1004"/>
                    <a:pt x="3810" y="1026"/>
                    <a:pt x="3759" y="1077"/>
                  </a:cubicBezTo>
                  <a:cubicBezTo>
                    <a:pt x="3737" y="1099"/>
                    <a:pt x="3737" y="1099"/>
                    <a:pt x="3737" y="1099"/>
                  </a:cubicBezTo>
                  <a:cubicBezTo>
                    <a:pt x="3708" y="1129"/>
                    <a:pt x="3686" y="1143"/>
                    <a:pt x="3664" y="1143"/>
                  </a:cubicBezTo>
                  <a:cubicBezTo>
                    <a:pt x="3656" y="1143"/>
                    <a:pt x="3642" y="1143"/>
                    <a:pt x="3627" y="1136"/>
                  </a:cubicBezTo>
                  <a:cubicBezTo>
                    <a:pt x="3620" y="1136"/>
                    <a:pt x="3605" y="1129"/>
                    <a:pt x="3590" y="1121"/>
                  </a:cubicBezTo>
                  <a:cubicBezTo>
                    <a:pt x="3576" y="1121"/>
                    <a:pt x="3568" y="1121"/>
                    <a:pt x="3554" y="1121"/>
                  </a:cubicBezTo>
                  <a:cubicBezTo>
                    <a:pt x="3532" y="1121"/>
                    <a:pt x="3524" y="1129"/>
                    <a:pt x="3510" y="1151"/>
                  </a:cubicBezTo>
                  <a:cubicBezTo>
                    <a:pt x="3503" y="1158"/>
                    <a:pt x="3488" y="1173"/>
                    <a:pt x="3480" y="1180"/>
                  </a:cubicBezTo>
                  <a:cubicBezTo>
                    <a:pt x="3451" y="1217"/>
                    <a:pt x="3444" y="1239"/>
                    <a:pt x="3444" y="1268"/>
                  </a:cubicBezTo>
                  <a:cubicBezTo>
                    <a:pt x="3436" y="1283"/>
                    <a:pt x="3436" y="1297"/>
                    <a:pt x="3429" y="1319"/>
                  </a:cubicBezTo>
                  <a:cubicBezTo>
                    <a:pt x="3422" y="1348"/>
                    <a:pt x="3400" y="1370"/>
                    <a:pt x="3385" y="1392"/>
                  </a:cubicBezTo>
                  <a:cubicBezTo>
                    <a:pt x="3371" y="1400"/>
                    <a:pt x="3363" y="1407"/>
                    <a:pt x="3356" y="1422"/>
                  </a:cubicBezTo>
                  <a:cubicBezTo>
                    <a:pt x="3356" y="1429"/>
                    <a:pt x="3356" y="1451"/>
                    <a:pt x="3348" y="1495"/>
                  </a:cubicBezTo>
                  <a:cubicBezTo>
                    <a:pt x="3341" y="1510"/>
                    <a:pt x="3341" y="1510"/>
                    <a:pt x="3363" y="1517"/>
                  </a:cubicBezTo>
                  <a:cubicBezTo>
                    <a:pt x="3378" y="1517"/>
                    <a:pt x="3393" y="1524"/>
                    <a:pt x="3407" y="1539"/>
                  </a:cubicBezTo>
                  <a:cubicBezTo>
                    <a:pt x="3415" y="1546"/>
                    <a:pt x="3436" y="1561"/>
                    <a:pt x="3488" y="1561"/>
                  </a:cubicBezTo>
                  <a:cubicBezTo>
                    <a:pt x="3495" y="1561"/>
                    <a:pt x="3503" y="1561"/>
                    <a:pt x="3510" y="1554"/>
                  </a:cubicBezTo>
                  <a:cubicBezTo>
                    <a:pt x="3495" y="1546"/>
                    <a:pt x="3473" y="1524"/>
                    <a:pt x="3444" y="1510"/>
                  </a:cubicBezTo>
                  <a:cubicBezTo>
                    <a:pt x="3436" y="1502"/>
                    <a:pt x="3422" y="1488"/>
                    <a:pt x="3422" y="1473"/>
                  </a:cubicBezTo>
                  <a:cubicBezTo>
                    <a:pt x="3422" y="1458"/>
                    <a:pt x="3436" y="1451"/>
                    <a:pt x="3444" y="1444"/>
                  </a:cubicBezTo>
                  <a:cubicBezTo>
                    <a:pt x="3458" y="1429"/>
                    <a:pt x="3473" y="1415"/>
                    <a:pt x="3488" y="1385"/>
                  </a:cubicBezTo>
                  <a:cubicBezTo>
                    <a:pt x="3510" y="1341"/>
                    <a:pt x="3532" y="1327"/>
                    <a:pt x="3554" y="1312"/>
                  </a:cubicBezTo>
                  <a:cubicBezTo>
                    <a:pt x="3576" y="1305"/>
                    <a:pt x="3598" y="1297"/>
                    <a:pt x="3627" y="1268"/>
                  </a:cubicBezTo>
                  <a:cubicBezTo>
                    <a:pt x="3708" y="1202"/>
                    <a:pt x="3766" y="1165"/>
                    <a:pt x="3862" y="1107"/>
                  </a:cubicBezTo>
                  <a:cubicBezTo>
                    <a:pt x="3884" y="1099"/>
                    <a:pt x="3891" y="1092"/>
                    <a:pt x="3905" y="1085"/>
                  </a:cubicBezTo>
                  <a:cubicBezTo>
                    <a:pt x="3920" y="1070"/>
                    <a:pt x="3927" y="1070"/>
                    <a:pt x="3935" y="1070"/>
                  </a:cubicBezTo>
                  <a:cubicBezTo>
                    <a:pt x="3949" y="1070"/>
                    <a:pt x="3949" y="1077"/>
                    <a:pt x="3957" y="1077"/>
                  </a:cubicBezTo>
                  <a:cubicBezTo>
                    <a:pt x="3957" y="1085"/>
                    <a:pt x="3957" y="1085"/>
                    <a:pt x="3971" y="1092"/>
                  </a:cubicBezTo>
                  <a:cubicBezTo>
                    <a:pt x="4008" y="1114"/>
                    <a:pt x="4030" y="1121"/>
                    <a:pt x="4089" y="1121"/>
                  </a:cubicBezTo>
                  <a:cubicBezTo>
                    <a:pt x="4103" y="1121"/>
                    <a:pt x="4118" y="1121"/>
                    <a:pt x="4125" y="1114"/>
                  </a:cubicBezTo>
                  <a:cubicBezTo>
                    <a:pt x="4133" y="1114"/>
                    <a:pt x="4140" y="1114"/>
                    <a:pt x="4147" y="1114"/>
                  </a:cubicBezTo>
                  <a:cubicBezTo>
                    <a:pt x="4162" y="1114"/>
                    <a:pt x="4177" y="1121"/>
                    <a:pt x="4198" y="1143"/>
                  </a:cubicBezTo>
                  <a:cubicBezTo>
                    <a:pt x="4228" y="1173"/>
                    <a:pt x="4235" y="1173"/>
                    <a:pt x="4243" y="1173"/>
                  </a:cubicBezTo>
                  <a:cubicBezTo>
                    <a:pt x="4243" y="1173"/>
                    <a:pt x="4250" y="1173"/>
                    <a:pt x="4257" y="1173"/>
                  </a:cubicBezTo>
                  <a:cubicBezTo>
                    <a:pt x="4265" y="1173"/>
                    <a:pt x="4279" y="1173"/>
                    <a:pt x="4286" y="1165"/>
                  </a:cubicBezTo>
                  <a:cubicBezTo>
                    <a:pt x="4323" y="1165"/>
                    <a:pt x="4323" y="1158"/>
                    <a:pt x="4338" y="1114"/>
                  </a:cubicBezTo>
                  <a:cubicBezTo>
                    <a:pt x="4338" y="1092"/>
                    <a:pt x="4345" y="1070"/>
                    <a:pt x="4353" y="1041"/>
                  </a:cubicBezTo>
                  <a:cubicBezTo>
                    <a:pt x="4360" y="1034"/>
                    <a:pt x="4360" y="1034"/>
                    <a:pt x="4360" y="1034"/>
                  </a:cubicBezTo>
                  <a:cubicBezTo>
                    <a:pt x="4374" y="975"/>
                    <a:pt x="4382" y="967"/>
                    <a:pt x="4396" y="967"/>
                  </a:cubicBezTo>
                  <a:cubicBezTo>
                    <a:pt x="4404" y="967"/>
                    <a:pt x="4411" y="967"/>
                    <a:pt x="4426" y="953"/>
                  </a:cubicBezTo>
                  <a:cubicBezTo>
                    <a:pt x="4470" y="924"/>
                    <a:pt x="4484" y="916"/>
                    <a:pt x="4499" y="887"/>
                  </a:cubicBezTo>
                  <a:cubicBezTo>
                    <a:pt x="4506" y="879"/>
                    <a:pt x="4506" y="879"/>
                    <a:pt x="4506" y="879"/>
                  </a:cubicBezTo>
                  <a:cubicBezTo>
                    <a:pt x="4514" y="879"/>
                    <a:pt x="4514" y="879"/>
                    <a:pt x="4514" y="879"/>
                  </a:cubicBezTo>
                  <a:cubicBezTo>
                    <a:pt x="4550" y="879"/>
                    <a:pt x="4572" y="894"/>
                    <a:pt x="4587" y="909"/>
                  </a:cubicBezTo>
                  <a:cubicBezTo>
                    <a:pt x="4594" y="924"/>
                    <a:pt x="4602" y="938"/>
                    <a:pt x="4594" y="960"/>
                  </a:cubicBezTo>
                  <a:cubicBezTo>
                    <a:pt x="4587" y="997"/>
                    <a:pt x="4624" y="1011"/>
                    <a:pt x="4675" y="1026"/>
                  </a:cubicBezTo>
                  <a:cubicBezTo>
                    <a:pt x="4704" y="1034"/>
                    <a:pt x="4734" y="1048"/>
                    <a:pt x="4741" y="1063"/>
                  </a:cubicBezTo>
                  <a:cubicBezTo>
                    <a:pt x="4748" y="1070"/>
                    <a:pt x="4748" y="1070"/>
                    <a:pt x="4748" y="1070"/>
                  </a:cubicBezTo>
                  <a:cubicBezTo>
                    <a:pt x="4748" y="1085"/>
                    <a:pt x="4748" y="1085"/>
                    <a:pt x="4748" y="1085"/>
                  </a:cubicBezTo>
                  <a:cubicBezTo>
                    <a:pt x="4719" y="1165"/>
                    <a:pt x="4719" y="1217"/>
                    <a:pt x="4726" y="1224"/>
                  </a:cubicBezTo>
                  <a:cubicBezTo>
                    <a:pt x="4763" y="1268"/>
                    <a:pt x="4799" y="1356"/>
                    <a:pt x="4814" y="1378"/>
                  </a:cubicBezTo>
                  <a:cubicBezTo>
                    <a:pt x="4829" y="1415"/>
                    <a:pt x="4880" y="1451"/>
                    <a:pt x="4961" y="1473"/>
                  </a:cubicBezTo>
                  <a:cubicBezTo>
                    <a:pt x="4983" y="1480"/>
                    <a:pt x="5012" y="1488"/>
                    <a:pt x="5056" y="1488"/>
                  </a:cubicBezTo>
                  <a:cubicBezTo>
                    <a:pt x="5056" y="1495"/>
                    <a:pt x="5056" y="1495"/>
                    <a:pt x="5056" y="1495"/>
                  </a:cubicBezTo>
                  <a:cubicBezTo>
                    <a:pt x="5107" y="1495"/>
                    <a:pt x="5158" y="1502"/>
                    <a:pt x="5180" y="1554"/>
                  </a:cubicBezTo>
                  <a:cubicBezTo>
                    <a:pt x="5188" y="1561"/>
                    <a:pt x="5195" y="1576"/>
                    <a:pt x="5195" y="1583"/>
                  </a:cubicBezTo>
                  <a:cubicBezTo>
                    <a:pt x="5217" y="1620"/>
                    <a:pt x="5246" y="1686"/>
                    <a:pt x="5261" y="1693"/>
                  </a:cubicBezTo>
                  <a:cubicBezTo>
                    <a:pt x="5268" y="1693"/>
                    <a:pt x="5268" y="1693"/>
                    <a:pt x="5276" y="1693"/>
                  </a:cubicBezTo>
                  <a:cubicBezTo>
                    <a:pt x="5290" y="1693"/>
                    <a:pt x="5298" y="1693"/>
                    <a:pt x="5305" y="1693"/>
                  </a:cubicBezTo>
                  <a:cubicBezTo>
                    <a:pt x="5320" y="1693"/>
                    <a:pt x="5327" y="1686"/>
                    <a:pt x="5334" y="1686"/>
                  </a:cubicBezTo>
                  <a:cubicBezTo>
                    <a:pt x="5378" y="1686"/>
                    <a:pt x="5386" y="1715"/>
                    <a:pt x="5386" y="1729"/>
                  </a:cubicBezTo>
                  <a:cubicBezTo>
                    <a:pt x="5386" y="1774"/>
                    <a:pt x="5400" y="1825"/>
                    <a:pt x="5488" y="1913"/>
                  </a:cubicBezTo>
                  <a:cubicBezTo>
                    <a:pt x="5539" y="1964"/>
                    <a:pt x="5576" y="1979"/>
                    <a:pt x="5591" y="1979"/>
                  </a:cubicBezTo>
                  <a:cubicBezTo>
                    <a:pt x="5591" y="1979"/>
                    <a:pt x="5591" y="1979"/>
                    <a:pt x="5584" y="1971"/>
                  </a:cubicBezTo>
                  <a:cubicBezTo>
                    <a:pt x="5576" y="1957"/>
                    <a:pt x="5576" y="1957"/>
                    <a:pt x="5576" y="1957"/>
                  </a:cubicBezTo>
                  <a:cubicBezTo>
                    <a:pt x="5561" y="1920"/>
                    <a:pt x="5539" y="1884"/>
                    <a:pt x="5554" y="1861"/>
                  </a:cubicBezTo>
                  <a:cubicBezTo>
                    <a:pt x="5561" y="1854"/>
                    <a:pt x="5569" y="1847"/>
                    <a:pt x="5591" y="1847"/>
                  </a:cubicBezTo>
                  <a:cubicBezTo>
                    <a:pt x="5642" y="1847"/>
                    <a:pt x="5745" y="1832"/>
                    <a:pt x="5803" y="1781"/>
                  </a:cubicBezTo>
                  <a:cubicBezTo>
                    <a:pt x="5847" y="1744"/>
                    <a:pt x="5884" y="1729"/>
                    <a:pt x="5920" y="1729"/>
                  </a:cubicBezTo>
                  <a:cubicBezTo>
                    <a:pt x="5943" y="1729"/>
                    <a:pt x="5972" y="1737"/>
                    <a:pt x="6001" y="1759"/>
                  </a:cubicBezTo>
                  <a:cubicBezTo>
                    <a:pt x="6038" y="1781"/>
                    <a:pt x="6052" y="1788"/>
                    <a:pt x="6067" y="1788"/>
                  </a:cubicBezTo>
                  <a:lnTo>
                    <a:pt x="6074" y="1788"/>
                  </a:lnTo>
                  <a:cubicBezTo>
                    <a:pt x="6082" y="1744"/>
                    <a:pt x="6104" y="1656"/>
                    <a:pt x="6140" y="1649"/>
                  </a:cubicBezTo>
                  <a:cubicBezTo>
                    <a:pt x="6140" y="1642"/>
                    <a:pt x="6140" y="1642"/>
                    <a:pt x="6140" y="1642"/>
                  </a:cubicBezTo>
                  <a:cubicBezTo>
                    <a:pt x="6148" y="1642"/>
                    <a:pt x="6148" y="1642"/>
                    <a:pt x="6148" y="1642"/>
                  </a:cubicBezTo>
                  <a:cubicBezTo>
                    <a:pt x="6177" y="1642"/>
                    <a:pt x="6192" y="1678"/>
                    <a:pt x="6214" y="1729"/>
                  </a:cubicBezTo>
                  <a:cubicBezTo>
                    <a:pt x="6236" y="1759"/>
                    <a:pt x="6250" y="1803"/>
                    <a:pt x="6279" y="1847"/>
                  </a:cubicBezTo>
                  <a:cubicBezTo>
                    <a:pt x="6331" y="1920"/>
                    <a:pt x="6338" y="1920"/>
                    <a:pt x="6397" y="1927"/>
                  </a:cubicBezTo>
                  <a:cubicBezTo>
                    <a:pt x="6411" y="1935"/>
                    <a:pt x="6426" y="1935"/>
                    <a:pt x="6455" y="1942"/>
                  </a:cubicBezTo>
                  <a:cubicBezTo>
                    <a:pt x="6543" y="1957"/>
                    <a:pt x="6587" y="1993"/>
                    <a:pt x="6631" y="2023"/>
                  </a:cubicBezTo>
                  <a:cubicBezTo>
                    <a:pt x="6646" y="2037"/>
                    <a:pt x="6660" y="2045"/>
                    <a:pt x="6675" y="2052"/>
                  </a:cubicBezTo>
                  <a:cubicBezTo>
                    <a:pt x="6712" y="2081"/>
                    <a:pt x="6756" y="2125"/>
                    <a:pt x="6793" y="2162"/>
                  </a:cubicBezTo>
                  <a:cubicBezTo>
                    <a:pt x="6815" y="2191"/>
                    <a:pt x="6836" y="2213"/>
                    <a:pt x="6858" y="2228"/>
                  </a:cubicBezTo>
                  <a:cubicBezTo>
                    <a:pt x="6902" y="2257"/>
                    <a:pt x="7034" y="2404"/>
                    <a:pt x="7042" y="2411"/>
                  </a:cubicBezTo>
                  <a:lnTo>
                    <a:pt x="7042" y="2411"/>
                  </a:lnTo>
                  <a:cubicBezTo>
                    <a:pt x="7056" y="2638"/>
                    <a:pt x="7056" y="2638"/>
                    <a:pt x="7056" y="2638"/>
                  </a:cubicBezTo>
                  <a:cubicBezTo>
                    <a:pt x="7042" y="2638"/>
                    <a:pt x="7042" y="2638"/>
                    <a:pt x="7042" y="2638"/>
                  </a:cubicBezTo>
                  <a:cubicBezTo>
                    <a:pt x="7020" y="2638"/>
                    <a:pt x="6998" y="2638"/>
                    <a:pt x="6976" y="2638"/>
                  </a:cubicBezTo>
                  <a:cubicBezTo>
                    <a:pt x="6946" y="2638"/>
                    <a:pt x="6910" y="2638"/>
                    <a:pt x="6888" y="2638"/>
                  </a:cubicBezTo>
                  <a:cubicBezTo>
                    <a:pt x="6844" y="2638"/>
                    <a:pt x="6815" y="2638"/>
                    <a:pt x="6785" y="2638"/>
                  </a:cubicBezTo>
                  <a:lnTo>
                    <a:pt x="6785" y="2638"/>
                  </a:lnTo>
                  <a:cubicBezTo>
                    <a:pt x="6756" y="2638"/>
                    <a:pt x="6727" y="2638"/>
                    <a:pt x="6697" y="2646"/>
                  </a:cubicBezTo>
                  <a:cubicBezTo>
                    <a:pt x="6668" y="2646"/>
                    <a:pt x="6660" y="2660"/>
                    <a:pt x="6653" y="2682"/>
                  </a:cubicBezTo>
                  <a:cubicBezTo>
                    <a:pt x="6646" y="2689"/>
                    <a:pt x="6631" y="2711"/>
                    <a:pt x="6617" y="2726"/>
                  </a:cubicBezTo>
                  <a:cubicBezTo>
                    <a:pt x="6580" y="2763"/>
                    <a:pt x="6565" y="2763"/>
                    <a:pt x="6521" y="2763"/>
                  </a:cubicBezTo>
                  <a:cubicBezTo>
                    <a:pt x="6485" y="2763"/>
                    <a:pt x="6485" y="2763"/>
                    <a:pt x="6485" y="2763"/>
                  </a:cubicBezTo>
                  <a:cubicBezTo>
                    <a:pt x="6434" y="2763"/>
                    <a:pt x="6426" y="2763"/>
                    <a:pt x="6411" y="2785"/>
                  </a:cubicBezTo>
                  <a:cubicBezTo>
                    <a:pt x="6404" y="2792"/>
                    <a:pt x="6404" y="2792"/>
                    <a:pt x="6404" y="2792"/>
                  </a:cubicBezTo>
                  <a:cubicBezTo>
                    <a:pt x="6397" y="2799"/>
                    <a:pt x="6404" y="2836"/>
                    <a:pt x="6441" y="2865"/>
                  </a:cubicBezTo>
                  <a:cubicBezTo>
                    <a:pt x="6470" y="2887"/>
                    <a:pt x="6492" y="2902"/>
                    <a:pt x="6521" y="2909"/>
                  </a:cubicBezTo>
                  <a:cubicBezTo>
                    <a:pt x="6543" y="2924"/>
                    <a:pt x="6573" y="2939"/>
                    <a:pt x="6595" y="2960"/>
                  </a:cubicBezTo>
                  <a:cubicBezTo>
                    <a:pt x="6624" y="2983"/>
                    <a:pt x="6675" y="2997"/>
                    <a:pt x="6727" y="3012"/>
                  </a:cubicBezTo>
                  <a:cubicBezTo>
                    <a:pt x="6741" y="3019"/>
                    <a:pt x="6756" y="3019"/>
                    <a:pt x="6778" y="3027"/>
                  </a:cubicBezTo>
                  <a:cubicBezTo>
                    <a:pt x="6822" y="3041"/>
                    <a:pt x="6866" y="3048"/>
                    <a:pt x="6902" y="3048"/>
                  </a:cubicBezTo>
                  <a:cubicBezTo>
                    <a:pt x="6917" y="3048"/>
                    <a:pt x="6939" y="3048"/>
                    <a:pt x="6954" y="3041"/>
                  </a:cubicBezTo>
                  <a:cubicBezTo>
                    <a:pt x="6998" y="3034"/>
                    <a:pt x="7005" y="3027"/>
                    <a:pt x="7027" y="2997"/>
                  </a:cubicBezTo>
                  <a:cubicBezTo>
                    <a:pt x="7034" y="2990"/>
                    <a:pt x="7034" y="2990"/>
                    <a:pt x="7034" y="2990"/>
                  </a:cubicBezTo>
                  <a:cubicBezTo>
                    <a:pt x="7049" y="2960"/>
                    <a:pt x="7071" y="2953"/>
                    <a:pt x="7100" y="2953"/>
                  </a:cubicBezTo>
                  <a:cubicBezTo>
                    <a:pt x="7115" y="2953"/>
                    <a:pt x="7122" y="2953"/>
                    <a:pt x="7129" y="2953"/>
                  </a:cubicBezTo>
                  <a:cubicBezTo>
                    <a:pt x="7144" y="2953"/>
                    <a:pt x="7144" y="2953"/>
                    <a:pt x="7144" y="2953"/>
                  </a:cubicBezTo>
                  <a:cubicBezTo>
                    <a:pt x="7144" y="2960"/>
                    <a:pt x="7144" y="2960"/>
                    <a:pt x="7144" y="2960"/>
                  </a:cubicBezTo>
                  <a:cubicBezTo>
                    <a:pt x="7159" y="2983"/>
                    <a:pt x="7181" y="3019"/>
                    <a:pt x="7181" y="3063"/>
                  </a:cubicBezTo>
                  <a:cubicBezTo>
                    <a:pt x="7188" y="3144"/>
                    <a:pt x="7232" y="3239"/>
                    <a:pt x="7232" y="3239"/>
                  </a:cubicBezTo>
                  <a:cubicBezTo>
                    <a:pt x="7239" y="3254"/>
                    <a:pt x="7247" y="3268"/>
                    <a:pt x="7254" y="3290"/>
                  </a:cubicBezTo>
                  <a:cubicBezTo>
                    <a:pt x="7276" y="3364"/>
                    <a:pt x="7320" y="3481"/>
                    <a:pt x="7305" y="3554"/>
                  </a:cubicBezTo>
                  <a:cubicBezTo>
                    <a:pt x="7284" y="3620"/>
                    <a:pt x="7320" y="3701"/>
                    <a:pt x="7357" y="3767"/>
                  </a:cubicBezTo>
                  <a:cubicBezTo>
                    <a:pt x="7364" y="3781"/>
                    <a:pt x="7371" y="3803"/>
                    <a:pt x="7379" y="3818"/>
                  </a:cubicBezTo>
                  <a:cubicBezTo>
                    <a:pt x="7401" y="3855"/>
                    <a:pt x="7415" y="3906"/>
                    <a:pt x="7430" y="3950"/>
                  </a:cubicBezTo>
                  <a:cubicBezTo>
                    <a:pt x="7445" y="4001"/>
                    <a:pt x="7459" y="4052"/>
                    <a:pt x="7474" y="4067"/>
                  </a:cubicBezTo>
                  <a:cubicBezTo>
                    <a:pt x="7496" y="4104"/>
                    <a:pt x="7562" y="4331"/>
                    <a:pt x="7562" y="4382"/>
                  </a:cubicBezTo>
                  <a:cubicBezTo>
                    <a:pt x="7562" y="4397"/>
                    <a:pt x="7562" y="4397"/>
                    <a:pt x="7562" y="4397"/>
                  </a:cubicBezTo>
                  <a:cubicBezTo>
                    <a:pt x="7547" y="4397"/>
                    <a:pt x="7547" y="4397"/>
                    <a:pt x="7547" y="4397"/>
                  </a:cubicBezTo>
                  <a:cubicBezTo>
                    <a:pt x="7503" y="4397"/>
                    <a:pt x="7496" y="4404"/>
                    <a:pt x="7481" y="4426"/>
                  </a:cubicBezTo>
                  <a:cubicBezTo>
                    <a:pt x="7474" y="4448"/>
                    <a:pt x="7459" y="4470"/>
                    <a:pt x="7430" y="4492"/>
                  </a:cubicBezTo>
                  <a:cubicBezTo>
                    <a:pt x="7349" y="4551"/>
                    <a:pt x="7349" y="4551"/>
                    <a:pt x="7305" y="4609"/>
                  </a:cubicBezTo>
                  <a:cubicBezTo>
                    <a:pt x="7291" y="4624"/>
                    <a:pt x="7284" y="4639"/>
                    <a:pt x="7276" y="4646"/>
                  </a:cubicBezTo>
                  <a:cubicBezTo>
                    <a:pt x="7261" y="4661"/>
                    <a:pt x="7254" y="4675"/>
                    <a:pt x="7232" y="4675"/>
                  </a:cubicBezTo>
                  <a:lnTo>
                    <a:pt x="7232" y="4675"/>
                  </a:lnTo>
                  <a:cubicBezTo>
                    <a:pt x="7225" y="4675"/>
                    <a:pt x="7210" y="4675"/>
                    <a:pt x="7196" y="4668"/>
                  </a:cubicBezTo>
                  <a:cubicBezTo>
                    <a:pt x="7159" y="4661"/>
                    <a:pt x="7137" y="4653"/>
                    <a:pt x="7100" y="4653"/>
                  </a:cubicBezTo>
                  <a:cubicBezTo>
                    <a:pt x="7086" y="4653"/>
                    <a:pt x="7056" y="4653"/>
                    <a:pt x="7027" y="4653"/>
                  </a:cubicBezTo>
                  <a:cubicBezTo>
                    <a:pt x="6990" y="4646"/>
                    <a:pt x="6968" y="4639"/>
                    <a:pt x="6961" y="4617"/>
                  </a:cubicBezTo>
                  <a:cubicBezTo>
                    <a:pt x="6946" y="4587"/>
                    <a:pt x="6961" y="4558"/>
                    <a:pt x="6983" y="4529"/>
                  </a:cubicBezTo>
                  <a:cubicBezTo>
                    <a:pt x="7005" y="4485"/>
                    <a:pt x="7071" y="4397"/>
                    <a:pt x="7166" y="4331"/>
                  </a:cubicBezTo>
                  <a:cubicBezTo>
                    <a:pt x="7210" y="4302"/>
                    <a:pt x="7203" y="4265"/>
                    <a:pt x="7188" y="4221"/>
                  </a:cubicBezTo>
                  <a:cubicBezTo>
                    <a:pt x="7188" y="4199"/>
                    <a:pt x="7181" y="4177"/>
                    <a:pt x="7181" y="4155"/>
                  </a:cubicBezTo>
                  <a:cubicBezTo>
                    <a:pt x="7188" y="4126"/>
                    <a:pt x="7181" y="4104"/>
                    <a:pt x="7174" y="4096"/>
                  </a:cubicBezTo>
                  <a:cubicBezTo>
                    <a:pt x="7166" y="4082"/>
                    <a:pt x="7166" y="4082"/>
                    <a:pt x="7166" y="4082"/>
                  </a:cubicBezTo>
                  <a:cubicBezTo>
                    <a:pt x="7166" y="4096"/>
                    <a:pt x="7166" y="4096"/>
                    <a:pt x="7166" y="4096"/>
                  </a:cubicBezTo>
                  <a:cubicBezTo>
                    <a:pt x="7151" y="4104"/>
                    <a:pt x="7129" y="4104"/>
                    <a:pt x="7100" y="4104"/>
                  </a:cubicBezTo>
                  <a:cubicBezTo>
                    <a:pt x="7071" y="4104"/>
                    <a:pt x="7034" y="4104"/>
                    <a:pt x="7012" y="4089"/>
                  </a:cubicBezTo>
                  <a:cubicBezTo>
                    <a:pt x="6998" y="4082"/>
                    <a:pt x="6990" y="4074"/>
                    <a:pt x="6983" y="4074"/>
                  </a:cubicBezTo>
                  <a:cubicBezTo>
                    <a:pt x="6976" y="4074"/>
                    <a:pt x="6968" y="4082"/>
                    <a:pt x="6961" y="4089"/>
                  </a:cubicBezTo>
                  <a:cubicBezTo>
                    <a:pt x="6946" y="4104"/>
                    <a:pt x="6946" y="4104"/>
                    <a:pt x="6946" y="4104"/>
                  </a:cubicBezTo>
                  <a:cubicBezTo>
                    <a:pt x="6902" y="4140"/>
                    <a:pt x="6895" y="4140"/>
                    <a:pt x="6844" y="4155"/>
                  </a:cubicBezTo>
                  <a:cubicBezTo>
                    <a:pt x="6836" y="4162"/>
                    <a:pt x="6829" y="4162"/>
                    <a:pt x="6822" y="4162"/>
                  </a:cubicBezTo>
                  <a:cubicBezTo>
                    <a:pt x="6793" y="4162"/>
                    <a:pt x="6778" y="4140"/>
                    <a:pt x="6770" y="4126"/>
                  </a:cubicBezTo>
                  <a:cubicBezTo>
                    <a:pt x="6763" y="4118"/>
                    <a:pt x="6756" y="4111"/>
                    <a:pt x="6748" y="4104"/>
                  </a:cubicBezTo>
                  <a:cubicBezTo>
                    <a:pt x="6741" y="4096"/>
                    <a:pt x="6734" y="4096"/>
                    <a:pt x="6734" y="4096"/>
                  </a:cubicBezTo>
                  <a:cubicBezTo>
                    <a:pt x="6727" y="4096"/>
                    <a:pt x="6712" y="4111"/>
                    <a:pt x="6697" y="4118"/>
                  </a:cubicBezTo>
                  <a:cubicBezTo>
                    <a:pt x="6683" y="4126"/>
                    <a:pt x="6668" y="4140"/>
                    <a:pt x="6653" y="4148"/>
                  </a:cubicBezTo>
                  <a:cubicBezTo>
                    <a:pt x="6639" y="4155"/>
                    <a:pt x="6624" y="4155"/>
                    <a:pt x="6609" y="4155"/>
                  </a:cubicBezTo>
                  <a:cubicBezTo>
                    <a:pt x="6573" y="4155"/>
                    <a:pt x="6551" y="4126"/>
                    <a:pt x="6536" y="4096"/>
                  </a:cubicBezTo>
                  <a:cubicBezTo>
                    <a:pt x="6529" y="4082"/>
                    <a:pt x="6521" y="4067"/>
                    <a:pt x="6514" y="4045"/>
                  </a:cubicBezTo>
                  <a:cubicBezTo>
                    <a:pt x="6507" y="4016"/>
                    <a:pt x="6492" y="3986"/>
                    <a:pt x="6477" y="3965"/>
                  </a:cubicBezTo>
                  <a:cubicBezTo>
                    <a:pt x="6470" y="3950"/>
                    <a:pt x="6463" y="3935"/>
                    <a:pt x="6455" y="3920"/>
                  </a:cubicBezTo>
                  <a:cubicBezTo>
                    <a:pt x="6448" y="3891"/>
                    <a:pt x="6441" y="3884"/>
                    <a:pt x="6419" y="3877"/>
                  </a:cubicBezTo>
                  <a:cubicBezTo>
                    <a:pt x="6367" y="3869"/>
                    <a:pt x="6353" y="3847"/>
                    <a:pt x="6324" y="3803"/>
                  </a:cubicBezTo>
                  <a:cubicBezTo>
                    <a:pt x="6316" y="3796"/>
                    <a:pt x="6316" y="3796"/>
                    <a:pt x="6316" y="3796"/>
                  </a:cubicBezTo>
                  <a:cubicBezTo>
                    <a:pt x="6287" y="3752"/>
                    <a:pt x="6272" y="3745"/>
                    <a:pt x="6265" y="3745"/>
                  </a:cubicBezTo>
                  <a:cubicBezTo>
                    <a:pt x="6265" y="3745"/>
                    <a:pt x="6258" y="3752"/>
                    <a:pt x="6250" y="3767"/>
                  </a:cubicBezTo>
                  <a:cubicBezTo>
                    <a:pt x="6228" y="3818"/>
                    <a:pt x="6236" y="3840"/>
                    <a:pt x="6265" y="3869"/>
                  </a:cubicBezTo>
                  <a:cubicBezTo>
                    <a:pt x="6272" y="3877"/>
                    <a:pt x="6279" y="3884"/>
                    <a:pt x="6294" y="3891"/>
                  </a:cubicBezTo>
                  <a:cubicBezTo>
                    <a:pt x="6309" y="3906"/>
                    <a:pt x="6324" y="3913"/>
                    <a:pt x="6324" y="3928"/>
                  </a:cubicBezTo>
                  <a:cubicBezTo>
                    <a:pt x="6324" y="3943"/>
                    <a:pt x="6316" y="3957"/>
                    <a:pt x="6309" y="3965"/>
                  </a:cubicBezTo>
                  <a:cubicBezTo>
                    <a:pt x="6272" y="4001"/>
                    <a:pt x="6236" y="4001"/>
                    <a:pt x="6192" y="4008"/>
                  </a:cubicBezTo>
                  <a:cubicBezTo>
                    <a:pt x="6148" y="4016"/>
                    <a:pt x="6148" y="4016"/>
                    <a:pt x="6148" y="4016"/>
                  </a:cubicBezTo>
                  <a:cubicBezTo>
                    <a:pt x="6104" y="4023"/>
                    <a:pt x="6104" y="4023"/>
                    <a:pt x="6045" y="4089"/>
                  </a:cubicBezTo>
                  <a:cubicBezTo>
                    <a:pt x="6016" y="4126"/>
                    <a:pt x="6001" y="4148"/>
                    <a:pt x="5994" y="4162"/>
                  </a:cubicBezTo>
                  <a:cubicBezTo>
                    <a:pt x="5972" y="4192"/>
                    <a:pt x="5965" y="4206"/>
                    <a:pt x="5935" y="4214"/>
                  </a:cubicBezTo>
                  <a:cubicBezTo>
                    <a:pt x="5906" y="4228"/>
                    <a:pt x="5898" y="4236"/>
                    <a:pt x="5877" y="4250"/>
                  </a:cubicBezTo>
                  <a:cubicBezTo>
                    <a:pt x="5869" y="4265"/>
                    <a:pt x="5862" y="4272"/>
                    <a:pt x="5847" y="4279"/>
                  </a:cubicBezTo>
                  <a:cubicBezTo>
                    <a:pt x="5811" y="4309"/>
                    <a:pt x="5818" y="4367"/>
                    <a:pt x="5825" y="4419"/>
                  </a:cubicBezTo>
                  <a:cubicBezTo>
                    <a:pt x="5833" y="4463"/>
                    <a:pt x="5811" y="4507"/>
                    <a:pt x="5789" y="4551"/>
                  </a:cubicBezTo>
                  <a:cubicBezTo>
                    <a:pt x="5781" y="4565"/>
                    <a:pt x="5774" y="4580"/>
                    <a:pt x="5767" y="4602"/>
                  </a:cubicBezTo>
                  <a:cubicBezTo>
                    <a:pt x="5752" y="4631"/>
                    <a:pt x="5745" y="4646"/>
                    <a:pt x="5715" y="4646"/>
                  </a:cubicBezTo>
                  <a:cubicBezTo>
                    <a:pt x="5708" y="4646"/>
                    <a:pt x="5701" y="4646"/>
                    <a:pt x="5693" y="4639"/>
                  </a:cubicBezTo>
                  <a:cubicBezTo>
                    <a:pt x="5686" y="4639"/>
                    <a:pt x="5679" y="4639"/>
                    <a:pt x="5664" y="4631"/>
                  </a:cubicBezTo>
                  <a:lnTo>
                    <a:pt x="5657" y="4631"/>
                  </a:lnTo>
                  <a:cubicBezTo>
                    <a:pt x="5649" y="4631"/>
                    <a:pt x="5649" y="4631"/>
                    <a:pt x="5642" y="4661"/>
                  </a:cubicBezTo>
                  <a:cubicBezTo>
                    <a:pt x="5642" y="4675"/>
                    <a:pt x="5635" y="4697"/>
                    <a:pt x="5620" y="4727"/>
                  </a:cubicBezTo>
                  <a:cubicBezTo>
                    <a:pt x="5613" y="4748"/>
                    <a:pt x="5605" y="4763"/>
                    <a:pt x="5598" y="4770"/>
                  </a:cubicBezTo>
                  <a:cubicBezTo>
                    <a:pt x="5591" y="4800"/>
                    <a:pt x="5584" y="4807"/>
                    <a:pt x="5554" y="4815"/>
                  </a:cubicBezTo>
                  <a:cubicBezTo>
                    <a:pt x="5547" y="4815"/>
                    <a:pt x="5547" y="4815"/>
                    <a:pt x="5539" y="4815"/>
                  </a:cubicBezTo>
                  <a:cubicBezTo>
                    <a:pt x="5510" y="4815"/>
                    <a:pt x="5495" y="4778"/>
                    <a:pt x="5481" y="4748"/>
                  </a:cubicBezTo>
                  <a:cubicBezTo>
                    <a:pt x="5474" y="4734"/>
                    <a:pt x="5459" y="4719"/>
                    <a:pt x="5452" y="4705"/>
                  </a:cubicBezTo>
                  <a:cubicBezTo>
                    <a:pt x="5444" y="4690"/>
                    <a:pt x="5437" y="4690"/>
                    <a:pt x="5429" y="4690"/>
                  </a:cubicBezTo>
                  <a:cubicBezTo>
                    <a:pt x="5422" y="4690"/>
                    <a:pt x="5400" y="4705"/>
                    <a:pt x="5386" y="4712"/>
                  </a:cubicBezTo>
                  <a:cubicBezTo>
                    <a:pt x="5371" y="4719"/>
                    <a:pt x="5356" y="4727"/>
                    <a:pt x="5342" y="4734"/>
                  </a:cubicBezTo>
                  <a:cubicBezTo>
                    <a:pt x="5290" y="4756"/>
                    <a:pt x="5283" y="4770"/>
                    <a:pt x="5276" y="4836"/>
                  </a:cubicBezTo>
                  <a:cubicBezTo>
                    <a:pt x="5268" y="4888"/>
                    <a:pt x="5254" y="4910"/>
                    <a:pt x="5210" y="4910"/>
                  </a:cubicBezTo>
                  <a:cubicBezTo>
                    <a:pt x="5188" y="4902"/>
                    <a:pt x="5188" y="4902"/>
                    <a:pt x="5188" y="4902"/>
                  </a:cubicBezTo>
                  <a:cubicBezTo>
                    <a:pt x="5158" y="4902"/>
                    <a:pt x="5144" y="4873"/>
                    <a:pt x="5129" y="4851"/>
                  </a:cubicBezTo>
                  <a:cubicBezTo>
                    <a:pt x="5122" y="4836"/>
                    <a:pt x="5114" y="4815"/>
                    <a:pt x="5107" y="4807"/>
                  </a:cubicBezTo>
                  <a:cubicBezTo>
                    <a:pt x="5100" y="4807"/>
                    <a:pt x="5100" y="4807"/>
                    <a:pt x="5093" y="4807"/>
                  </a:cubicBezTo>
                  <a:cubicBezTo>
                    <a:pt x="5078" y="4807"/>
                    <a:pt x="5041" y="4836"/>
                    <a:pt x="5019" y="4880"/>
                  </a:cubicBezTo>
                  <a:cubicBezTo>
                    <a:pt x="5012" y="4895"/>
                    <a:pt x="5005" y="4902"/>
                    <a:pt x="4997" y="4917"/>
                  </a:cubicBezTo>
                  <a:cubicBezTo>
                    <a:pt x="4990" y="4939"/>
                    <a:pt x="4983" y="4961"/>
                    <a:pt x="4946" y="4990"/>
                  </a:cubicBezTo>
                  <a:cubicBezTo>
                    <a:pt x="4924" y="4998"/>
                    <a:pt x="4909" y="5005"/>
                    <a:pt x="4902" y="5012"/>
                  </a:cubicBezTo>
                  <a:cubicBezTo>
                    <a:pt x="4880" y="5020"/>
                    <a:pt x="4873" y="5027"/>
                    <a:pt x="4843" y="5064"/>
                  </a:cubicBezTo>
                  <a:cubicBezTo>
                    <a:pt x="4836" y="5078"/>
                    <a:pt x="4836" y="5078"/>
                    <a:pt x="4836" y="5078"/>
                  </a:cubicBezTo>
                  <a:cubicBezTo>
                    <a:pt x="4799" y="5122"/>
                    <a:pt x="4799" y="5129"/>
                    <a:pt x="4741" y="5129"/>
                  </a:cubicBezTo>
                  <a:cubicBezTo>
                    <a:pt x="4726" y="5129"/>
                    <a:pt x="4712" y="5122"/>
                    <a:pt x="4704" y="5115"/>
                  </a:cubicBezTo>
                  <a:cubicBezTo>
                    <a:pt x="4689" y="5093"/>
                    <a:pt x="4697" y="5064"/>
                    <a:pt x="4704" y="5034"/>
                  </a:cubicBezTo>
                  <a:cubicBezTo>
                    <a:pt x="4704" y="5027"/>
                    <a:pt x="4704" y="5020"/>
                    <a:pt x="4712" y="5012"/>
                  </a:cubicBezTo>
                  <a:cubicBezTo>
                    <a:pt x="4704" y="5020"/>
                    <a:pt x="4697" y="5020"/>
                    <a:pt x="4689" y="5027"/>
                  </a:cubicBezTo>
                  <a:cubicBezTo>
                    <a:pt x="4675" y="5042"/>
                    <a:pt x="4653" y="5056"/>
                    <a:pt x="4624" y="5064"/>
                  </a:cubicBezTo>
                  <a:cubicBezTo>
                    <a:pt x="4609" y="5071"/>
                    <a:pt x="4594" y="5071"/>
                    <a:pt x="4579" y="5071"/>
                  </a:cubicBezTo>
                  <a:cubicBezTo>
                    <a:pt x="4550" y="5071"/>
                    <a:pt x="4536" y="5064"/>
                    <a:pt x="4514" y="5049"/>
                  </a:cubicBezTo>
                  <a:cubicBezTo>
                    <a:pt x="4484" y="5056"/>
                    <a:pt x="4426" y="5064"/>
                    <a:pt x="4396" y="5071"/>
                  </a:cubicBezTo>
                  <a:cubicBezTo>
                    <a:pt x="4389" y="5078"/>
                    <a:pt x="4374" y="5086"/>
                    <a:pt x="4367" y="5086"/>
                  </a:cubicBezTo>
                  <a:cubicBezTo>
                    <a:pt x="4345" y="5086"/>
                    <a:pt x="4330" y="5071"/>
                    <a:pt x="4308" y="5056"/>
                  </a:cubicBezTo>
                  <a:cubicBezTo>
                    <a:pt x="4294" y="5049"/>
                    <a:pt x="4294" y="5049"/>
                    <a:pt x="4294" y="5049"/>
                  </a:cubicBezTo>
                  <a:cubicBezTo>
                    <a:pt x="4272" y="5034"/>
                    <a:pt x="4257" y="5020"/>
                    <a:pt x="4250" y="4998"/>
                  </a:cubicBezTo>
                  <a:cubicBezTo>
                    <a:pt x="4235" y="4976"/>
                    <a:pt x="4228" y="4961"/>
                    <a:pt x="4213" y="4961"/>
                  </a:cubicBezTo>
                  <a:cubicBezTo>
                    <a:pt x="4206" y="4961"/>
                    <a:pt x="4206" y="4961"/>
                    <a:pt x="4198" y="4961"/>
                  </a:cubicBezTo>
                  <a:cubicBezTo>
                    <a:pt x="4184" y="4968"/>
                    <a:pt x="4177" y="4968"/>
                    <a:pt x="4162" y="4968"/>
                  </a:cubicBezTo>
                  <a:cubicBezTo>
                    <a:pt x="4133" y="4968"/>
                    <a:pt x="4118" y="4961"/>
                    <a:pt x="4111" y="4946"/>
                  </a:cubicBezTo>
                  <a:cubicBezTo>
                    <a:pt x="4096" y="4932"/>
                    <a:pt x="4089" y="4917"/>
                    <a:pt x="4096" y="4895"/>
                  </a:cubicBezTo>
                  <a:cubicBezTo>
                    <a:pt x="4096" y="4888"/>
                    <a:pt x="4096" y="4873"/>
                    <a:pt x="4089" y="4866"/>
                  </a:cubicBezTo>
                  <a:cubicBezTo>
                    <a:pt x="4081" y="4858"/>
                    <a:pt x="4074" y="4851"/>
                    <a:pt x="4059" y="4851"/>
                  </a:cubicBezTo>
                  <a:cubicBezTo>
                    <a:pt x="4045" y="4851"/>
                    <a:pt x="4037" y="4858"/>
                    <a:pt x="4023" y="4858"/>
                  </a:cubicBezTo>
                  <a:cubicBezTo>
                    <a:pt x="4001" y="4873"/>
                    <a:pt x="3986" y="4873"/>
                    <a:pt x="3964" y="4873"/>
                  </a:cubicBezTo>
                  <a:cubicBezTo>
                    <a:pt x="3942" y="4873"/>
                    <a:pt x="3927" y="4873"/>
                    <a:pt x="3905" y="4866"/>
                  </a:cubicBezTo>
                  <a:cubicBezTo>
                    <a:pt x="3898" y="4858"/>
                    <a:pt x="3891" y="4858"/>
                    <a:pt x="3876" y="4851"/>
                  </a:cubicBezTo>
                  <a:cubicBezTo>
                    <a:pt x="3869" y="4851"/>
                    <a:pt x="3854" y="4851"/>
                    <a:pt x="3847" y="4851"/>
                  </a:cubicBezTo>
                  <a:cubicBezTo>
                    <a:pt x="3825" y="4851"/>
                    <a:pt x="3803" y="4858"/>
                    <a:pt x="3781" y="4866"/>
                  </a:cubicBezTo>
                  <a:cubicBezTo>
                    <a:pt x="3759" y="4873"/>
                    <a:pt x="3744" y="4880"/>
                    <a:pt x="3715" y="4888"/>
                  </a:cubicBezTo>
                  <a:cubicBezTo>
                    <a:pt x="3708" y="4888"/>
                    <a:pt x="3693" y="4895"/>
                    <a:pt x="3686" y="4895"/>
                  </a:cubicBezTo>
                  <a:cubicBezTo>
                    <a:pt x="3634" y="4895"/>
                    <a:pt x="3612" y="4851"/>
                    <a:pt x="3598" y="4822"/>
                  </a:cubicBezTo>
                  <a:cubicBezTo>
                    <a:pt x="3590" y="4807"/>
                    <a:pt x="3583" y="4793"/>
                    <a:pt x="3576" y="4785"/>
                  </a:cubicBezTo>
                  <a:cubicBezTo>
                    <a:pt x="3532" y="4741"/>
                    <a:pt x="3436" y="4661"/>
                    <a:pt x="3385" y="4653"/>
                  </a:cubicBezTo>
                  <a:cubicBezTo>
                    <a:pt x="3363" y="4646"/>
                    <a:pt x="3348" y="4646"/>
                    <a:pt x="3327" y="4646"/>
                  </a:cubicBezTo>
                  <a:cubicBezTo>
                    <a:pt x="3305" y="4646"/>
                    <a:pt x="3275" y="4646"/>
                    <a:pt x="3253" y="4631"/>
                  </a:cubicBezTo>
                  <a:cubicBezTo>
                    <a:pt x="3239" y="4624"/>
                    <a:pt x="3224" y="4609"/>
                    <a:pt x="3217" y="4595"/>
                  </a:cubicBezTo>
                  <a:cubicBezTo>
                    <a:pt x="3209" y="4580"/>
                    <a:pt x="3202" y="4565"/>
                    <a:pt x="3180" y="4565"/>
                  </a:cubicBezTo>
                  <a:cubicBezTo>
                    <a:pt x="3180" y="4565"/>
                    <a:pt x="3173" y="4565"/>
                    <a:pt x="3165" y="4565"/>
                  </a:cubicBezTo>
                  <a:cubicBezTo>
                    <a:pt x="3136" y="4565"/>
                    <a:pt x="3099" y="4580"/>
                    <a:pt x="3063" y="4602"/>
                  </a:cubicBezTo>
                  <a:cubicBezTo>
                    <a:pt x="3048" y="4617"/>
                    <a:pt x="3026" y="4631"/>
                    <a:pt x="2997" y="4631"/>
                  </a:cubicBezTo>
                  <a:cubicBezTo>
                    <a:pt x="2975" y="4631"/>
                    <a:pt x="2953" y="4624"/>
                    <a:pt x="2938" y="4602"/>
                  </a:cubicBezTo>
                  <a:cubicBezTo>
                    <a:pt x="2924" y="4595"/>
                    <a:pt x="2916" y="4587"/>
                    <a:pt x="2909" y="4580"/>
                  </a:cubicBezTo>
                  <a:cubicBezTo>
                    <a:pt x="2909" y="4573"/>
                    <a:pt x="2909" y="4573"/>
                    <a:pt x="2902" y="4573"/>
                  </a:cubicBezTo>
                  <a:cubicBezTo>
                    <a:pt x="2902" y="4573"/>
                    <a:pt x="2902" y="4573"/>
                    <a:pt x="2902" y="4580"/>
                  </a:cubicBezTo>
                  <a:cubicBezTo>
                    <a:pt x="2894" y="4624"/>
                    <a:pt x="2858" y="4639"/>
                    <a:pt x="2836" y="4646"/>
                  </a:cubicBezTo>
                  <a:cubicBezTo>
                    <a:pt x="2836" y="4683"/>
                    <a:pt x="2828" y="4770"/>
                    <a:pt x="2770" y="4778"/>
                  </a:cubicBezTo>
                  <a:cubicBezTo>
                    <a:pt x="2740" y="4785"/>
                    <a:pt x="2733" y="4785"/>
                    <a:pt x="2733" y="4785"/>
                  </a:cubicBezTo>
                  <a:cubicBezTo>
                    <a:pt x="2733" y="4800"/>
                    <a:pt x="2733" y="4800"/>
                    <a:pt x="2733" y="4807"/>
                  </a:cubicBezTo>
                  <a:cubicBezTo>
                    <a:pt x="2726" y="4829"/>
                    <a:pt x="2704" y="4858"/>
                    <a:pt x="2674" y="4858"/>
                  </a:cubicBezTo>
                  <a:cubicBezTo>
                    <a:pt x="2667" y="4858"/>
                    <a:pt x="2653" y="4851"/>
                    <a:pt x="2638" y="4844"/>
                  </a:cubicBezTo>
                  <a:cubicBezTo>
                    <a:pt x="2631" y="4836"/>
                    <a:pt x="2631" y="4836"/>
                    <a:pt x="2623" y="4836"/>
                  </a:cubicBezTo>
                  <a:cubicBezTo>
                    <a:pt x="2616" y="4836"/>
                    <a:pt x="2594" y="4851"/>
                    <a:pt x="2572" y="4873"/>
                  </a:cubicBezTo>
                  <a:cubicBezTo>
                    <a:pt x="2565" y="4880"/>
                    <a:pt x="2557" y="4888"/>
                    <a:pt x="2550" y="4895"/>
                  </a:cubicBezTo>
                  <a:cubicBezTo>
                    <a:pt x="2528" y="4910"/>
                    <a:pt x="2521" y="4917"/>
                    <a:pt x="2506" y="4924"/>
                  </a:cubicBezTo>
                  <a:cubicBezTo>
                    <a:pt x="2484" y="4946"/>
                    <a:pt x="2469" y="4954"/>
                    <a:pt x="2462" y="4976"/>
                  </a:cubicBezTo>
                  <a:cubicBezTo>
                    <a:pt x="2447" y="4998"/>
                    <a:pt x="2418" y="5012"/>
                    <a:pt x="2389" y="5020"/>
                  </a:cubicBezTo>
                  <a:cubicBezTo>
                    <a:pt x="2374" y="5027"/>
                    <a:pt x="2359" y="5027"/>
                    <a:pt x="2345" y="5042"/>
                  </a:cubicBezTo>
                  <a:cubicBezTo>
                    <a:pt x="2330" y="5042"/>
                    <a:pt x="2323" y="5049"/>
                    <a:pt x="2308" y="5049"/>
                  </a:cubicBezTo>
                  <a:cubicBezTo>
                    <a:pt x="2279" y="5049"/>
                    <a:pt x="2235" y="5027"/>
                    <a:pt x="2198" y="5005"/>
                  </a:cubicBezTo>
                  <a:cubicBezTo>
                    <a:pt x="2184" y="4998"/>
                    <a:pt x="2169" y="4990"/>
                    <a:pt x="2147" y="4983"/>
                  </a:cubicBezTo>
                  <a:cubicBezTo>
                    <a:pt x="2140" y="4976"/>
                    <a:pt x="2132" y="4976"/>
                    <a:pt x="2125" y="4976"/>
                  </a:cubicBezTo>
                  <a:cubicBezTo>
                    <a:pt x="2103" y="4976"/>
                    <a:pt x="2088" y="4990"/>
                    <a:pt x="2066" y="5012"/>
                  </a:cubicBezTo>
                  <a:cubicBezTo>
                    <a:pt x="2052" y="5020"/>
                    <a:pt x="2037" y="5034"/>
                    <a:pt x="2030" y="5042"/>
                  </a:cubicBezTo>
                  <a:cubicBezTo>
                    <a:pt x="1986" y="5064"/>
                    <a:pt x="1949" y="5093"/>
                    <a:pt x="1912" y="5144"/>
                  </a:cubicBezTo>
                  <a:cubicBezTo>
                    <a:pt x="1890" y="5174"/>
                    <a:pt x="1898" y="5188"/>
                    <a:pt x="1912" y="5217"/>
                  </a:cubicBezTo>
                  <a:cubicBezTo>
                    <a:pt x="1920" y="5232"/>
                    <a:pt x="1927" y="5254"/>
                    <a:pt x="1927" y="5283"/>
                  </a:cubicBezTo>
                  <a:cubicBezTo>
                    <a:pt x="1920" y="5298"/>
                    <a:pt x="1920" y="5298"/>
                    <a:pt x="1920" y="5298"/>
                  </a:cubicBezTo>
                  <a:cubicBezTo>
                    <a:pt x="1912" y="5349"/>
                    <a:pt x="1912" y="5357"/>
                    <a:pt x="1898" y="5393"/>
                  </a:cubicBezTo>
                  <a:cubicBezTo>
                    <a:pt x="1890" y="5401"/>
                    <a:pt x="1883" y="5408"/>
                    <a:pt x="1868" y="5408"/>
                  </a:cubicBezTo>
                  <a:cubicBezTo>
                    <a:pt x="1854" y="5408"/>
                    <a:pt x="1839" y="5401"/>
                    <a:pt x="1810" y="5386"/>
                  </a:cubicBezTo>
                  <a:cubicBezTo>
                    <a:pt x="1788" y="5371"/>
                    <a:pt x="1751" y="5349"/>
                    <a:pt x="1722" y="5349"/>
                  </a:cubicBezTo>
                  <a:cubicBezTo>
                    <a:pt x="1707" y="5349"/>
                    <a:pt x="1700" y="5342"/>
                    <a:pt x="1685" y="5342"/>
                  </a:cubicBezTo>
                  <a:cubicBezTo>
                    <a:pt x="1627" y="5342"/>
                    <a:pt x="1619" y="5371"/>
                    <a:pt x="1619" y="5379"/>
                  </a:cubicBezTo>
                  <a:cubicBezTo>
                    <a:pt x="1605" y="5423"/>
                    <a:pt x="1583" y="5430"/>
                    <a:pt x="1546" y="5430"/>
                  </a:cubicBezTo>
                  <a:cubicBezTo>
                    <a:pt x="1370" y="5430"/>
                    <a:pt x="1370" y="5430"/>
                    <a:pt x="1370" y="5430"/>
                  </a:cubicBezTo>
                  <a:lnTo>
                    <a:pt x="1370" y="5430"/>
                  </a:lnTo>
                  <a:lnTo>
                    <a:pt x="1363" y="5430"/>
                  </a:lnTo>
                  <a:close/>
                  <a:moveTo>
                    <a:pt x="6133" y="2191"/>
                  </a:moveTo>
                  <a:lnTo>
                    <a:pt x="6133" y="2191"/>
                  </a:lnTo>
                  <a:cubicBezTo>
                    <a:pt x="6148" y="2198"/>
                    <a:pt x="6162" y="2206"/>
                    <a:pt x="6184" y="2213"/>
                  </a:cubicBezTo>
                  <a:cubicBezTo>
                    <a:pt x="6221" y="2228"/>
                    <a:pt x="6243" y="2250"/>
                    <a:pt x="6272" y="2279"/>
                  </a:cubicBezTo>
                  <a:cubicBezTo>
                    <a:pt x="6279" y="2286"/>
                    <a:pt x="6287" y="2301"/>
                    <a:pt x="6302" y="2316"/>
                  </a:cubicBezTo>
                  <a:cubicBezTo>
                    <a:pt x="6346" y="2360"/>
                    <a:pt x="6367" y="2382"/>
                    <a:pt x="6411" y="2404"/>
                  </a:cubicBezTo>
                  <a:cubicBezTo>
                    <a:pt x="6455" y="2433"/>
                    <a:pt x="6448" y="2448"/>
                    <a:pt x="6434" y="2477"/>
                  </a:cubicBezTo>
                  <a:cubicBezTo>
                    <a:pt x="6434" y="2484"/>
                    <a:pt x="6426" y="2492"/>
                    <a:pt x="6426" y="2499"/>
                  </a:cubicBezTo>
                  <a:cubicBezTo>
                    <a:pt x="6411" y="2528"/>
                    <a:pt x="6404" y="2536"/>
                    <a:pt x="6382" y="2543"/>
                  </a:cubicBezTo>
                  <a:cubicBezTo>
                    <a:pt x="6375" y="2558"/>
                    <a:pt x="6360" y="2565"/>
                    <a:pt x="6338" y="2587"/>
                  </a:cubicBezTo>
                  <a:cubicBezTo>
                    <a:pt x="6309" y="2616"/>
                    <a:pt x="6294" y="2638"/>
                    <a:pt x="6294" y="2646"/>
                  </a:cubicBezTo>
                  <a:cubicBezTo>
                    <a:pt x="6316" y="2646"/>
                    <a:pt x="6353" y="2631"/>
                    <a:pt x="6404" y="2609"/>
                  </a:cubicBezTo>
                  <a:cubicBezTo>
                    <a:pt x="6411" y="2609"/>
                    <a:pt x="6411" y="2609"/>
                    <a:pt x="6411" y="2609"/>
                  </a:cubicBezTo>
                  <a:cubicBezTo>
                    <a:pt x="6463" y="2587"/>
                    <a:pt x="6463" y="2572"/>
                    <a:pt x="6470" y="2536"/>
                  </a:cubicBezTo>
                  <a:cubicBezTo>
                    <a:pt x="6470" y="2528"/>
                    <a:pt x="6470" y="2521"/>
                    <a:pt x="6477" y="2514"/>
                  </a:cubicBezTo>
                  <a:cubicBezTo>
                    <a:pt x="6477" y="2484"/>
                    <a:pt x="6477" y="2484"/>
                    <a:pt x="6470" y="2470"/>
                  </a:cubicBezTo>
                  <a:cubicBezTo>
                    <a:pt x="6463" y="2462"/>
                    <a:pt x="6463" y="2455"/>
                    <a:pt x="6455" y="2440"/>
                  </a:cubicBezTo>
                  <a:cubicBezTo>
                    <a:pt x="6448" y="2426"/>
                    <a:pt x="6441" y="2418"/>
                    <a:pt x="6441" y="2411"/>
                  </a:cubicBezTo>
                  <a:cubicBezTo>
                    <a:pt x="6434" y="2389"/>
                    <a:pt x="6434" y="2389"/>
                    <a:pt x="6404" y="2374"/>
                  </a:cubicBezTo>
                  <a:cubicBezTo>
                    <a:pt x="6360" y="2352"/>
                    <a:pt x="6360" y="2338"/>
                    <a:pt x="6360" y="2301"/>
                  </a:cubicBezTo>
                  <a:cubicBezTo>
                    <a:pt x="6360" y="2301"/>
                    <a:pt x="6360" y="2294"/>
                    <a:pt x="6360" y="2286"/>
                  </a:cubicBezTo>
                  <a:cubicBezTo>
                    <a:pt x="6360" y="2228"/>
                    <a:pt x="6411" y="2228"/>
                    <a:pt x="6441" y="2228"/>
                  </a:cubicBezTo>
                  <a:cubicBezTo>
                    <a:pt x="6477" y="2228"/>
                    <a:pt x="6477" y="2228"/>
                    <a:pt x="6477" y="2228"/>
                  </a:cubicBezTo>
                  <a:cubicBezTo>
                    <a:pt x="6499" y="2228"/>
                    <a:pt x="6514" y="2235"/>
                    <a:pt x="6529" y="2243"/>
                  </a:cubicBezTo>
                  <a:cubicBezTo>
                    <a:pt x="6543" y="2265"/>
                    <a:pt x="6529" y="2294"/>
                    <a:pt x="6521" y="2330"/>
                  </a:cubicBezTo>
                  <a:cubicBezTo>
                    <a:pt x="6521" y="2345"/>
                    <a:pt x="6514" y="2352"/>
                    <a:pt x="6514" y="2360"/>
                  </a:cubicBezTo>
                  <a:cubicBezTo>
                    <a:pt x="6514" y="2374"/>
                    <a:pt x="6514" y="2382"/>
                    <a:pt x="6514" y="2382"/>
                  </a:cubicBezTo>
                  <a:cubicBezTo>
                    <a:pt x="6514" y="2382"/>
                    <a:pt x="6529" y="2374"/>
                    <a:pt x="6536" y="2360"/>
                  </a:cubicBezTo>
                  <a:cubicBezTo>
                    <a:pt x="6558" y="2338"/>
                    <a:pt x="6565" y="2330"/>
                    <a:pt x="6580" y="2330"/>
                  </a:cubicBezTo>
                  <a:cubicBezTo>
                    <a:pt x="6595" y="2330"/>
                    <a:pt x="6609" y="2338"/>
                    <a:pt x="6624" y="2352"/>
                  </a:cubicBezTo>
                  <a:cubicBezTo>
                    <a:pt x="6639" y="2360"/>
                    <a:pt x="6639" y="2360"/>
                    <a:pt x="6639" y="2360"/>
                  </a:cubicBezTo>
                  <a:cubicBezTo>
                    <a:pt x="6646" y="2367"/>
                    <a:pt x="6653" y="2367"/>
                    <a:pt x="6653" y="2374"/>
                  </a:cubicBezTo>
                  <a:cubicBezTo>
                    <a:pt x="6653" y="2367"/>
                    <a:pt x="6653" y="2367"/>
                    <a:pt x="6653" y="2360"/>
                  </a:cubicBezTo>
                  <a:cubicBezTo>
                    <a:pt x="6660" y="2352"/>
                    <a:pt x="6668" y="2330"/>
                    <a:pt x="6675" y="2308"/>
                  </a:cubicBezTo>
                  <a:cubicBezTo>
                    <a:pt x="6690" y="2272"/>
                    <a:pt x="6675" y="2250"/>
                    <a:pt x="6653" y="2220"/>
                  </a:cubicBezTo>
                  <a:cubicBezTo>
                    <a:pt x="6639" y="2206"/>
                    <a:pt x="6624" y="2191"/>
                    <a:pt x="6617" y="2169"/>
                  </a:cubicBezTo>
                  <a:cubicBezTo>
                    <a:pt x="6602" y="2140"/>
                    <a:pt x="6587" y="2133"/>
                    <a:pt x="6573" y="2125"/>
                  </a:cubicBezTo>
                  <a:cubicBezTo>
                    <a:pt x="6565" y="2118"/>
                    <a:pt x="6551" y="2110"/>
                    <a:pt x="6536" y="2096"/>
                  </a:cubicBezTo>
                  <a:cubicBezTo>
                    <a:pt x="6507" y="2052"/>
                    <a:pt x="6492" y="2037"/>
                    <a:pt x="6463" y="2037"/>
                  </a:cubicBezTo>
                  <a:cubicBezTo>
                    <a:pt x="6455" y="2037"/>
                    <a:pt x="6448" y="2037"/>
                    <a:pt x="6448" y="2037"/>
                  </a:cubicBezTo>
                  <a:cubicBezTo>
                    <a:pt x="6448" y="2037"/>
                    <a:pt x="6448" y="2045"/>
                    <a:pt x="6448" y="2067"/>
                  </a:cubicBezTo>
                  <a:cubicBezTo>
                    <a:pt x="6448" y="2081"/>
                    <a:pt x="6455" y="2089"/>
                    <a:pt x="6463" y="2096"/>
                  </a:cubicBezTo>
                  <a:cubicBezTo>
                    <a:pt x="6470" y="2103"/>
                    <a:pt x="6477" y="2110"/>
                    <a:pt x="6477" y="2133"/>
                  </a:cubicBezTo>
                  <a:cubicBezTo>
                    <a:pt x="6477" y="2162"/>
                    <a:pt x="6448" y="2177"/>
                    <a:pt x="6419" y="2184"/>
                  </a:cubicBezTo>
                  <a:cubicBezTo>
                    <a:pt x="6397" y="2191"/>
                    <a:pt x="6367" y="2198"/>
                    <a:pt x="6346" y="2213"/>
                  </a:cubicBezTo>
                  <a:cubicBezTo>
                    <a:pt x="6316" y="2243"/>
                    <a:pt x="6302" y="2250"/>
                    <a:pt x="6294" y="2250"/>
                  </a:cubicBezTo>
                  <a:cubicBezTo>
                    <a:pt x="6279" y="2250"/>
                    <a:pt x="6272" y="2243"/>
                    <a:pt x="6272" y="2235"/>
                  </a:cubicBezTo>
                  <a:lnTo>
                    <a:pt x="6265" y="2228"/>
                  </a:lnTo>
                  <a:cubicBezTo>
                    <a:pt x="6258" y="2220"/>
                    <a:pt x="6250" y="2213"/>
                    <a:pt x="6250" y="2206"/>
                  </a:cubicBezTo>
                  <a:cubicBezTo>
                    <a:pt x="6250" y="2191"/>
                    <a:pt x="6265" y="2177"/>
                    <a:pt x="6279" y="2155"/>
                  </a:cubicBezTo>
                  <a:cubicBezTo>
                    <a:pt x="6294" y="2147"/>
                    <a:pt x="6302" y="2140"/>
                    <a:pt x="6309" y="2133"/>
                  </a:cubicBezTo>
                  <a:cubicBezTo>
                    <a:pt x="6316" y="2118"/>
                    <a:pt x="6324" y="2103"/>
                    <a:pt x="6316" y="2096"/>
                  </a:cubicBezTo>
                  <a:cubicBezTo>
                    <a:pt x="6316" y="2096"/>
                    <a:pt x="6309" y="2096"/>
                    <a:pt x="6302" y="2096"/>
                  </a:cubicBezTo>
                  <a:cubicBezTo>
                    <a:pt x="6302" y="2096"/>
                    <a:pt x="6302" y="2096"/>
                    <a:pt x="6294" y="2096"/>
                  </a:cubicBezTo>
                  <a:cubicBezTo>
                    <a:pt x="6250" y="2103"/>
                    <a:pt x="6250" y="2110"/>
                    <a:pt x="6236" y="2140"/>
                  </a:cubicBezTo>
                  <a:cubicBezTo>
                    <a:pt x="6214" y="2191"/>
                    <a:pt x="6177" y="2191"/>
                    <a:pt x="6140" y="2191"/>
                  </a:cubicBezTo>
                  <a:cubicBezTo>
                    <a:pt x="6133" y="2191"/>
                    <a:pt x="6133" y="2191"/>
                    <a:pt x="6133" y="2191"/>
                  </a:cubicBezTo>
                  <a:close/>
                  <a:moveTo>
                    <a:pt x="6104" y="2133"/>
                  </a:moveTo>
                  <a:lnTo>
                    <a:pt x="6104" y="2133"/>
                  </a:lnTo>
                  <a:cubicBezTo>
                    <a:pt x="6096" y="2140"/>
                    <a:pt x="6096" y="2140"/>
                    <a:pt x="6096" y="2140"/>
                  </a:cubicBezTo>
                  <a:cubicBezTo>
                    <a:pt x="6089" y="2147"/>
                    <a:pt x="6089" y="2155"/>
                    <a:pt x="6089" y="2155"/>
                  </a:cubicBezTo>
                  <a:cubicBezTo>
                    <a:pt x="6096" y="2162"/>
                    <a:pt x="6096" y="2169"/>
                    <a:pt x="6104" y="2169"/>
                  </a:cubicBezTo>
                  <a:lnTo>
                    <a:pt x="6104" y="2169"/>
                  </a:lnTo>
                  <a:cubicBezTo>
                    <a:pt x="6096" y="2162"/>
                    <a:pt x="6096" y="2147"/>
                    <a:pt x="6104" y="2133"/>
                  </a:cubicBezTo>
                  <a:close/>
                  <a:moveTo>
                    <a:pt x="1729" y="2286"/>
                  </a:moveTo>
                  <a:lnTo>
                    <a:pt x="1729" y="2286"/>
                  </a:lnTo>
                  <a:lnTo>
                    <a:pt x="1729" y="2286"/>
                  </a:lnTo>
                  <a:cubicBezTo>
                    <a:pt x="1729" y="2272"/>
                    <a:pt x="1729" y="2265"/>
                    <a:pt x="1729" y="2257"/>
                  </a:cubicBezTo>
                  <a:cubicBezTo>
                    <a:pt x="1729" y="2235"/>
                    <a:pt x="1722" y="2206"/>
                    <a:pt x="1758" y="2177"/>
                  </a:cubicBezTo>
                  <a:cubicBezTo>
                    <a:pt x="1766" y="2169"/>
                    <a:pt x="1773" y="2162"/>
                    <a:pt x="1781" y="2155"/>
                  </a:cubicBezTo>
                  <a:cubicBezTo>
                    <a:pt x="1788" y="2147"/>
                    <a:pt x="1795" y="2140"/>
                    <a:pt x="1817" y="2140"/>
                  </a:cubicBezTo>
                  <a:cubicBezTo>
                    <a:pt x="1824" y="2140"/>
                    <a:pt x="1832" y="2140"/>
                    <a:pt x="1839" y="2147"/>
                  </a:cubicBezTo>
                  <a:cubicBezTo>
                    <a:pt x="1861" y="2155"/>
                    <a:pt x="1883" y="2169"/>
                    <a:pt x="1890" y="2191"/>
                  </a:cubicBezTo>
                  <a:cubicBezTo>
                    <a:pt x="1890" y="2206"/>
                    <a:pt x="1883" y="2220"/>
                    <a:pt x="1868" y="2235"/>
                  </a:cubicBezTo>
                  <a:cubicBezTo>
                    <a:pt x="1839" y="2272"/>
                    <a:pt x="1773" y="2308"/>
                    <a:pt x="1766" y="2316"/>
                  </a:cubicBezTo>
                  <a:cubicBezTo>
                    <a:pt x="1758" y="2316"/>
                    <a:pt x="1758" y="2316"/>
                    <a:pt x="1758" y="2316"/>
                  </a:cubicBezTo>
                  <a:lnTo>
                    <a:pt x="1729" y="2286"/>
                  </a:lnTo>
                  <a:close/>
                  <a:moveTo>
                    <a:pt x="5312" y="1576"/>
                  </a:moveTo>
                  <a:lnTo>
                    <a:pt x="5312" y="1576"/>
                  </a:lnTo>
                  <a:cubicBezTo>
                    <a:pt x="5283" y="1576"/>
                    <a:pt x="5254" y="1561"/>
                    <a:pt x="5224" y="1546"/>
                  </a:cubicBezTo>
                  <a:cubicBezTo>
                    <a:pt x="5217" y="1539"/>
                    <a:pt x="5210" y="1532"/>
                    <a:pt x="5195" y="1524"/>
                  </a:cubicBezTo>
                  <a:cubicBezTo>
                    <a:pt x="5158" y="1510"/>
                    <a:pt x="5158" y="1510"/>
                    <a:pt x="5158" y="1510"/>
                  </a:cubicBezTo>
                  <a:cubicBezTo>
                    <a:pt x="5195" y="1495"/>
                    <a:pt x="5195" y="1495"/>
                    <a:pt x="5195" y="1495"/>
                  </a:cubicBezTo>
                  <a:cubicBezTo>
                    <a:pt x="5217" y="1495"/>
                    <a:pt x="5298" y="1458"/>
                    <a:pt x="5364" y="1392"/>
                  </a:cubicBezTo>
                  <a:cubicBezTo>
                    <a:pt x="5386" y="1370"/>
                    <a:pt x="5386" y="1370"/>
                    <a:pt x="5386" y="1370"/>
                  </a:cubicBezTo>
                  <a:cubicBezTo>
                    <a:pt x="5393" y="1385"/>
                    <a:pt x="5393" y="1385"/>
                    <a:pt x="5393" y="1385"/>
                  </a:cubicBezTo>
                  <a:cubicBezTo>
                    <a:pt x="5400" y="1392"/>
                    <a:pt x="5408" y="1400"/>
                    <a:pt x="5415" y="1415"/>
                  </a:cubicBezTo>
                  <a:cubicBezTo>
                    <a:pt x="5429" y="1422"/>
                    <a:pt x="5437" y="1444"/>
                    <a:pt x="5429" y="1458"/>
                  </a:cubicBezTo>
                  <a:cubicBezTo>
                    <a:pt x="5422" y="1502"/>
                    <a:pt x="5378" y="1554"/>
                    <a:pt x="5342" y="1568"/>
                  </a:cubicBezTo>
                  <a:cubicBezTo>
                    <a:pt x="5334" y="1576"/>
                    <a:pt x="5327" y="1576"/>
                    <a:pt x="5312" y="1576"/>
                  </a:cubicBezTo>
                  <a:close/>
                  <a:moveTo>
                    <a:pt x="5129" y="1458"/>
                  </a:moveTo>
                  <a:lnTo>
                    <a:pt x="5129" y="1458"/>
                  </a:lnTo>
                  <a:cubicBezTo>
                    <a:pt x="5114" y="1458"/>
                    <a:pt x="5100" y="1458"/>
                    <a:pt x="5085" y="1444"/>
                  </a:cubicBezTo>
                  <a:cubicBezTo>
                    <a:pt x="5070" y="1436"/>
                    <a:pt x="5056" y="1422"/>
                    <a:pt x="5048" y="1415"/>
                  </a:cubicBezTo>
                  <a:cubicBezTo>
                    <a:pt x="5019" y="1400"/>
                    <a:pt x="4997" y="1378"/>
                    <a:pt x="4975" y="1348"/>
                  </a:cubicBezTo>
                  <a:cubicBezTo>
                    <a:pt x="4953" y="1319"/>
                    <a:pt x="4924" y="1305"/>
                    <a:pt x="4895" y="1290"/>
                  </a:cubicBezTo>
                  <a:cubicBezTo>
                    <a:pt x="4865" y="1268"/>
                    <a:pt x="4865" y="1268"/>
                    <a:pt x="4865" y="1268"/>
                  </a:cubicBezTo>
                  <a:cubicBezTo>
                    <a:pt x="4829" y="1253"/>
                    <a:pt x="4785" y="1224"/>
                    <a:pt x="4785" y="1165"/>
                  </a:cubicBezTo>
                  <a:cubicBezTo>
                    <a:pt x="4785" y="1143"/>
                    <a:pt x="4785" y="1121"/>
                    <a:pt x="4785" y="1099"/>
                  </a:cubicBezTo>
                  <a:cubicBezTo>
                    <a:pt x="4792" y="1092"/>
                    <a:pt x="4792" y="1092"/>
                    <a:pt x="4792" y="1092"/>
                  </a:cubicBezTo>
                  <a:cubicBezTo>
                    <a:pt x="4799" y="1092"/>
                    <a:pt x="4799" y="1092"/>
                    <a:pt x="4799" y="1092"/>
                  </a:cubicBezTo>
                  <a:cubicBezTo>
                    <a:pt x="4807" y="1092"/>
                    <a:pt x="4865" y="1077"/>
                    <a:pt x="4990" y="1077"/>
                  </a:cubicBezTo>
                  <a:cubicBezTo>
                    <a:pt x="5019" y="1077"/>
                    <a:pt x="5034" y="1063"/>
                    <a:pt x="5034" y="1041"/>
                  </a:cubicBezTo>
                  <a:cubicBezTo>
                    <a:pt x="5034" y="997"/>
                    <a:pt x="4990" y="938"/>
                    <a:pt x="4953" y="938"/>
                  </a:cubicBezTo>
                  <a:cubicBezTo>
                    <a:pt x="4902" y="938"/>
                    <a:pt x="4880" y="916"/>
                    <a:pt x="4865" y="901"/>
                  </a:cubicBezTo>
                  <a:cubicBezTo>
                    <a:pt x="4858" y="894"/>
                    <a:pt x="4851" y="894"/>
                    <a:pt x="4851" y="894"/>
                  </a:cubicBezTo>
                  <a:cubicBezTo>
                    <a:pt x="4829" y="887"/>
                    <a:pt x="4829" y="887"/>
                    <a:pt x="4829" y="887"/>
                  </a:cubicBezTo>
                  <a:cubicBezTo>
                    <a:pt x="4829" y="894"/>
                    <a:pt x="4829" y="894"/>
                    <a:pt x="4829" y="894"/>
                  </a:cubicBezTo>
                  <a:cubicBezTo>
                    <a:pt x="4814" y="894"/>
                    <a:pt x="4814" y="894"/>
                    <a:pt x="4814" y="894"/>
                  </a:cubicBezTo>
                  <a:cubicBezTo>
                    <a:pt x="4777" y="887"/>
                    <a:pt x="4755" y="858"/>
                    <a:pt x="4755" y="821"/>
                  </a:cubicBezTo>
                  <a:cubicBezTo>
                    <a:pt x="4755" y="762"/>
                    <a:pt x="4785" y="726"/>
                    <a:pt x="4814" y="696"/>
                  </a:cubicBezTo>
                  <a:cubicBezTo>
                    <a:pt x="4829" y="682"/>
                    <a:pt x="4829" y="660"/>
                    <a:pt x="4836" y="630"/>
                  </a:cubicBezTo>
                  <a:cubicBezTo>
                    <a:pt x="4836" y="608"/>
                    <a:pt x="4836" y="608"/>
                    <a:pt x="4836" y="608"/>
                  </a:cubicBezTo>
                  <a:cubicBezTo>
                    <a:pt x="4836" y="579"/>
                    <a:pt x="4836" y="535"/>
                    <a:pt x="4851" y="498"/>
                  </a:cubicBezTo>
                  <a:cubicBezTo>
                    <a:pt x="4858" y="477"/>
                    <a:pt x="4865" y="447"/>
                    <a:pt x="4895" y="447"/>
                  </a:cubicBezTo>
                  <a:cubicBezTo>
                    <a:pt x="4902" y="447"/>
                    <a:pt x="4909" y="447"/>
                    <a:pt x="4924" y="455"/>
                  </a:cubicBezTo>
                  <a:cubicBezTo>
                    <a:pt x="4931" y="462"/>
                    <a:pt x="4939" y="462"/>
                    <a:pt x="4953" y="462"/>
                  </a:cubicBezTo>
                  <a:cubicBezTo>
                    <a:pt x="4961" y="462"/>
                    <a:pt x="4968" y="462"/>
                    <a:pt x="4968" y="455"/>
                  </a:cubicBezTo>
                  <a:cubicBezTo>
                    <a:pt x="4983" y="447"/>
                    <a:pt x="4983" y="447"/>
                    <a:pt x="4983" y="447"/>
                  </a:cubicBezTo>
                  <a:cubicBezTo>
                    <a:pt x="5005" y="469"/>
                    <a:pt x="5005" y="469"/>
                    <a:pt x="5005" y="469"/>
                  </a:cubicBezTo>
                  <a:cubicBezTo>
                    <a:pt x="5012" y="469"/>
                    <a:pt x="5019" y="469"/>
                    <a:pt x="5027" y="469"/>
                  </a:cubicBezTo>
                  <a:cubicBezTo>
                    <a:pt x="5056" y="469"/>
                    <a:pt x="5070" y="484"/>
                    <a:pt x="5078" y="506"/>
                  </a:cubicBezTo>
                  <a:cubicBezTo>
                    <a:pt x="5085" y="528"/>
                    <a:pt x="5085" y="528"/>
                    <a:pt x="5085" y="528"/>
                  </a:cubicBezTo>
                  <a:cubicBezTo>
                    <a:pt x="5093" y="550"/>
                    <a:pt x="5093" y="557"/>
                    <a:pt x="5107" y="565"/>
                  </a:cubicBezTo>
                  <a:cubicBezTo>
                    <a:pt x="5114" y="565"/>
                    <a:pt x="5114" y="572"/>
                    <a:pt x="5122" y="572"/>
                  </a:cubicBezTo>
                  <a:cubicBezTo>
                    <a:pt x="5129" y="572"/>
                    <a:pt x="5136" y="579"/>
                    <a:pt x="5144" y="579"/>
                  </a:cubicBezTo>
                  <a:lnTo>
                    <a:pt x="5144" y="579"/>
                  </a:lnTo>
                  <a:cubicBezTo>
                    <a:pt x="5144" y="565"/>
                    <a:pt x="5144" y="557"/>
                    <a:pt x="5144" y="542"/>
                  </a:cubicBezTo>
                  <a:cubicBezTo>
                    <a:pt x="5144" y="528"/>
                    <a:pt x="5144" y="520"/>
                    <a:pt x="5136" y="491"/>
                  </a:cubicBezTo>
                  <a:cubicBezTo>
                    <a:pt x="5136" y="484"/>
                    <a:pt x="5129" y="477"/>
                    <a:pt x="5129" y="469"/>
                  </a:cubicBezTo>
                  <a:cubicBezTo>
                    <a:pt x="5122" y="455"/>
                    <a:pt x="5114" y="440"/>
                    <a:pt x="5122" y="425"/>
                  </a:cubicBezTo>
                  <a:cubicBezTo>
                    <a:pt x="5122" y="410"/>
                    <a:pt x="5136" y="410"/>
                    <a:pt x="5158" y="403"/>
                  </a:cubicBezTo>
                  <a:cubicBezTo>
                    <a:pt x="5180" y="396"/>
                    <a:pt x="5180" y="396"/>
                    <a:pt x="5180" y="396"/>
                  </a:cubicBezTo>
                  <a:cubicBezTo>
                    <a:pt x="5188" y="396"/>
                    <a:pt x="5195" y="396"/>
                    <a:pt x="5203" y="396"/>
                  </a:cubicBezTo>
                  <a:cubicBezTo>
                    <a:pt x="5232" y="396"/>
                    <a:pt x="5239" y="425"/>
                    <a:pt x="5239" y="455"/>
                  </a:cubicBezTo>
                  <a:cubicBezTo>
                    <a:pt x="5246" y="498"/>
                    <a:pt x="5261" y="535"/>
                    <a:pt x="5290" y="535"/>
                  </a:cubicBezTo>
                  <a:cubicBezTo>
                    <a:pt x="5298" y="535"/>
                    <a:pt x="5298" y="535"/>
                    <a:pt x="5305" y="528"/>
                  </a:cubicBezTo>
                  <a:cubicBezTo>
                    <a:pt x="5312" y="528"/>
                    <a:pt x="5312" y="528"/>
                    <a:pt x="5320" y="528"/>
                  </a:cubicBezTo>
                  <a:cubicBezTo>
                    <a:pt x="5342" y="528"/>
                    <a:pt x="5349" y="550"/>
                    <a:pt x="5356" y="586"/>
                  </a:cubicBezTo>
                  <a:cubicBezTo>
                    <a:pt x="5371" y="645"/>
                    <a:pt x="5393" y="652"/>
                    <a:pt x="5422" y="667"/>
                  </a:cubicBezTo>
                  <a:cubicBezTo>
                    <a:pt x="5429" y="667"/>
                    <a:pt x="5437" y="667"/>
                    <a:pt x="5444" y="667"/>
                  </a:cubicBezTo>
                  <a:cubicBezTo>
                    <a:pt x="5466" y="674"/>
                    <a:pt x="5488" y="682"/>
                    <a:pt x="5481" y="740"/>
                  </a:cubicBezTo>
                  <a:cubicBezTo>
                    <a:pt x="5481" y="799"/>
                    <a:pt x="5474" y="828"/>
                    <a:pt x="5503" y="850"/>
                  </a:cubicBezTo>
                  <a:cubicBezTo>
                    <a:pt x="5517" y="858"/>
                    <a:pt x="5525" y="865"/>
                    <a:pt x="5532" y="872"/>
                  </a:cubicBezTo>
                  <a:cubicBezTo>
                    <a:pt x="5554" y="879"/>
                    <a:pt x="5561" y="887"/>
                    <a:pt x="5576" y="887"/>
                  </a:cubicBezTo>
                  <a:cubicBezTo>
                    <a:pt x="5584" y="887"/>
                    <a:pt x="5584" y="887"/>
                    <a:pt x="5591" y="887"/>
                  </a:cubicBezTo>
                  <a:cubicBezTo>
                    <a:pt x="5605" y="879"/>
                    <a:pt x="5620" y="872"/>
                    <a:pt x="5627" y="865"/>
                  </a:cubicBezTo>
                  <a:cubicBezTo>
                    <a:pt x="5649" y="858"/>
                    <a:pt x="5664" y="843"/>
                    <a:pt x="5686" y="843"/>
                  </a:cubicBezTo>
                  <a:cubicBezTo>
                    <a:pt x="5693" y="843"/>
                    <a:pt x="5701" y="850"/>
                    <a:pt x="5715" y="850"/>
                  </a:cubicBezTo>
                  <a:cubicBezTo>
                    <a:pt x="5715" y="858"/>
                    <a:pt x="5723" y="858"/>
                    <a:pt x="5723" y="858"/>
                  </a:cubicBezTo>
                  <a:cubicBezTo>
                    <a:pt x="5730" y="858"/>
                    <a:pt x="5730" y="858"/>
                    <a:pt x="5730" y="858"/>
                  </a:cubicBezTo>
                  <a:cubicBezTo>
                    <a:pt x="5730" y="865"/>
                    <a:pt x="5730" y="865"/>
                    <a:pt x="5730" y="865"/>
                  </a:cubicBezTo>
                  <a:cubicBezTo>
                    <a:pt x="5745" y="879"/>
                    <a:pt x="5759" y="894"/>
                    <a:pt x="5774" y="894"/>
                  </a:cubicBezTo>
                  <a:cubicBezTo>
                    <a:pt x="5781" y="901"/>
                    <a:pt x="5781" y="901"/>
                    <a:pt x="5781" y="901"/>
                  </a:cubicBezTo>
                  <a:lnTo>
                    <a:pt x="5781" y="901"/>
                  </a:lnTo>
                  <a:cubicBezTo>
                    <a:pt x="5796" y="924"/>
                    <a:pt x="5803" y="931"/>
                    <a:pt x="5811" y="931"/>
                  </a:cubicBezTo>
                  <a:cubicBezTo>
                    <a:pt x="5818" y="931"/>
                    <a:pt x="5833" y="931"/>
                    <a:pt x="5840" y="924"/>
                  </a:cubicBezTo>
                  <a:cubicBezTo>
                    <a:pt x="5847" y="924"/>
                    <a:pt x="5847" y="924"/>
                    <a:pt x="5847" y="924"/>
                  </a:cubicBezTo>
                  <a:cubicBezTo>
                    <a:pt x="5855" y="924"/>
                    <a:pt x="5855" y="924"/>
                    <a:pt x="5855" y="924"/>
                  </a:cubicBezTo>
                  <a:cubicBezTo>
                    <a:pt x="5884" y="938"/>
                    <a:pt x="5913" y="960"/>
                    <a:pt x="5935" y="982"/>
                  </a:cubicBezTo>
                  <a:cubicBezTo>
                    <a:pt x="5950" y="989"/>
                    <a:pt x="5957" y="997"/>
                    <a:pt x="5972" y="1004"/>
                  </a:cubicBezTo>
                  <a:cubicBezTo>
                    <a:pt x="6023" y="1041"/>
                    <a:pt x="6082" y="1085"/>
                    <a:pt x="6052" y="1136"/>
                  </a:cubicBezTo>
                  <a:cubicBezTo>
                    <a:pt x="6045" y="1158"/>
                    <a:pt x="6030" y="1165"/>
                    <a:pt x="6016" y="1173"/>
                  </a:cubicBezTo>
                  <a:cubicBezTo>
                    <a:pt x="6008" y="1180"/>
                    <a:pt x="6008" y="1180"/>
                    <a:pt x="6008" y="1187"/>
                  </a:cubicBezTo>
                  <a:cubicBezTo>
                    <a:pt x="6023" y="1224"/>
                    <a:pt x="6023" y="1290"/>
                    <a:pt x="6008" y="1334"/>
                  </a:cubicBezTo>
                  <a:cubicBezTo>
                    <a:pt x="6008" y="1341"/>
                    <a:pt x="6001" y="1363"/>
                    <a:pt x="5972" y="1363"/>
                  </a:cubicBezTo>
                  <a:cubicBezTo>
                    <a:pt x="5928" y="1363"/>
                    <a:pt x="5884" y="1334"/>
                    <a:pt x="5877" y="1334"/>
                  </a:cubicBezTo>
                  <a:cubicBezTo>
                    <a:pt x="5869" y="1327"/>
                    <a:pt x="5869" y="1327"/>
                    <a:pt x="5869" y="1327"/>
                  </a:cubicBezTo>
                  <a:lnTo>
                    <a:pt x="5869" y="1327"/>
                  </a:lnTo>
                  <a:cubicBezTo>
                    <a:pt x="5862" y="1312"/>
                    <a:pt x="5840" y="1231"/>
                    <a:pt x="5884" y="1202"/>
                  </a:cubicBezTo>
                  <a:cubicBezTo>
                    <a:pt x="5891" y="1187"/>
                    <a:pt x="5877" y="1151"/>
                    <a:pt x="5855" y="1129"/>
                  </a:cubicBezTo>
                  <a:cubicBezTo>
                    <a:pt x="5840" y="1143"/>
                    <a:pt x="5796" y="1180"/>
                    <a:pt x="5767" y="1180"/>
                  </a:cubicBezTo>
                  <a:cubicBezTo>
                    <a:pt x="5759" y="1180"/>
                    <a:pt x="5759" y="1180"/>
                    <a:pt x="5752" y="1173"/>
                  </a:cubicBezTo>
                  <a:cubicBezTo>
                    <a:pt x="5737" y="1173"/>
                    <a:pt x="5723" y="1158"/>
                    <a:pt x="5715" y="1143"/>
                  </a:cubicBezTo>
                  <a:cubicBezTo>
                    <a:pt x="5708" y="1136"/>
                    <a:pt x="5708" y="1129"/>
                    <a:pt x="5701" y="1129"/>
                  </a:cubicBezTo>
                  <a:cubicBezTo>
                    <a:pt x="5701" y="1129"/>
                    <a:pt x="5693" y="1129"/>
                    <a:pt x="5686" y="1136"/>
                  </a:cubicBezTo>
                  <a:cubicBezTo>
                    <a:pt x="5664" y="1151"/>
                    <a:pt x="5642" y="1187"/>
                    <a:pt x="5627" y="1209"/>
                  </a:cubicBezTo>
                  <a:cubicBezTo>
                    <a:pt x="5605" y="1239"/>
                    <a:pt x="5598" y="1246"/>
                    <a:pt x="5591" y="1246"/>
                  </a:cubicBezTo>
                  <a:cubicBezTo>
                    <a:pt x="5584" y="1246"/>
                    <a:pt x="5584" y="1246"/>
                    <a:pt x="5584" y="1246"/>
                  </a:cubicBezTo>
                  <a:cubicBezTo>
                    <a:pt x="5576" y="1239"/>
                    <a:pt x="5576" y="1239"/>
                    <a:pt x="5576" y="1239"/>
                  </a:cubicBezTo>
                  <a:cubicBezTo>
                    <a:pt x="5569" y="1231"/>
                    <a:pt x="5569" y="1224"/>
                    <a:pt x="5576" y="1217"/>
                  </a:cubicBezTo>
                  <a:cubicBezTo>
                    <a:pt x="5576" y="1202"/>
                    <a:pt x="5584" y="1187"/>
                    <a:pt x="5584" y="1180"/>
                  </a:cubicBezTo>
                  <a:lnTo>
                    <a:pt x="5584" y="1180"/>
                  </a:lnTo>
                  <a:cubicBezTo>
                    <a:pt x="5584" y="1173"/>
                    <a:pt x="5584" y="1173"/>
                    <a:pt x="5576" y="1173"/>
                  </a:cubicBezTo>
                  <a:cubicBezTo>
                    <a:pt x="5547" y="1173"/>
                    <a:pt x="5539" y="1180"/>
                    <a:pt x="5517" y="1195"/>
                  </a:cubicBezTo>
                  <a:cubicBezTo>
                    <a:pt x="5503" y="1202"/>
                    <a:pt x="5488" y="1209"/>
                    <a:pt x="5466" y="1217"/>
                  </a:cubicBezTo>
                  <a:cubicBezTo>
                    <a:pt x="5422" y="1246"/>
                    <a:pt x="5415" y="1253"/>
                    <a:pt x="5408" y="1283"/>
                  </a:cubicBezTo>
                  <a:cubicBezTo>
                    <a:pt x="5408" y="1290"/>
                    <a:pt x="5400" y="1305"/>
                    <a:pt x="5400" y="1312"/>
                  </a:cubicBezTo>
                  <a:cubicBezTo>
                    <a:pt x="5393" y="1319"/>
                    <a:pt x="5393" y="1319"/>
                    <a:pt x="5393" y="1319"/>
                  </a:cubicBezTo>
                  <a:cubicBezTo>
                    <a:pt x="5386" y="1334"/>
                    <a:pt x="5386" y="1334"/>
                    <a:pt x="5386" y="1334"/>
                  </a:cubicBezTo>
                  <a:cubicBezTo>
                    <a:pt x="5342" y="1348"/>
                    <a:pt x="5312" y="1363"/>
                    <a:pt x="5290" y="1363"/>
                  </a:cubicBezTo>
                  <a:cubicBezTo>
                    <a:pt x="5283" y="1363"/>
                    <a:pt x="5283" y="1363"/>
                    <a:pt x="5276" y="1363"/>
                  </a:cubicBezTo>
                  <a:cubicBezTo>
                    <a:pt x="5261" y="1363"/>
                    <a:pt x="5254" y="1356"/>
                    <a:pt x="5246" y="1356"/>
                  </a:cubicBezTo>
                  <a:lnTo>
                    <a:pt x="5239" y="1356"/>
                  </a:lnTo>
                  <a:cubicBezTo>
                    <a:pt x="5239" y="1356"/>
                    <a:pt x="5232" y="1356"/>
                    <a:pt x="5217" y="1378"/>
                  </a:cubicBezTo>
                  <a:cubicBezTo>
                    <a:pt x="5210" y="1385"/>
                    <a:pt x="5210" y="1392"/>
                    <a:pt x="5203" y="1400"/>
                  </a:cubicBezTo>
                  <a:cubicBezTo>
                    <a:pt x="5180" y="1429"/>
                    <a:pt x="5158" y="1458"/>
                    <a:pt x="5129" y="1458"/>
                  </a:cubicBezTo>
                  <a:close/>
                  <a:moveTo>
                    <a:pt x="4902" y="652"/>
                  </a:moveTo>
                  <a:lnTo>
                    <a:pt x="4902" y="652"/>
                  </a:lnTo>
                  <a:cubicBezTo>
                    <a:pt x="4946" y="674"/>
                    <a:pt x="4953" y="682"/>
                    <a:pt x="4946" y="696"/>
                  </a:cubicBezTo>
                  <a:cubicBezTo>
                    <a:pt x="4946" y="704"/>
                    <a:pt x="4946" y="704"/>
                    <a:pt x="4946" y="711"/>
                  </a:cubicBezTo>
                  <a:cubicBezTo>
                    <a:pt x="4953" y="748"/>
                    <a:pt x="4924" y="770"/>
                    <a:pt x="4887" y="799"/>
                  </a:cubicBezTo>
                  <a:cubicBezTo>
                    <a:pt x="4880" y="806"/>
                    <a:pt x="4873" y="806"/>
                    <a:pt x="4865" y="814"/>
                  </a:cubicBezTo>
                  <a:cubicBezTo>
                    <a:pt x="4851" y="828"/>
                    <a:pt x="4836" y="858"/>
                    <a:pt x="4836" y="872"/>
                  </a:cubicBezTo>
                  <a:cubicBezTo>
                    <a:pt x="4843" y="865"/>
                    <a:pt x="4843" y="865"/>
                    <a:pt x="4843" y="865"/>
                  </a:cubicBezTo>
                  <a:cubicBezTo>
                    <a:pt x="4865" y="850"/>
                    <a:pt x="4880" y="836"/>
                    <a:pt x="4895" y="821"/>
                  </a:cubicBezTo>
                  <a:cubicBezTo>
                    <a:pt x="4924" y="792"/>
                    <a:pt x="4968" y="777"/>
                    <a:pt x="5012" y="755"/>
                  </a:cubicBezTo>
                  <a:cubicBezTo>
                    <a:pt x="5027" y="748"/>
                    <a:pt x="5034" y="748"/>
                    <a:pt x="5048" y="740"/>
                  </a:cubicBezTo>
                  <a:cubicBezTo>
                    <a:pt x="5078" y="726"/>
                    <a:pt x="5078" y="718"/>
                    <a:pt x="5078" y="718"/>
                  </a:cubicBezTo>
                  <a:lnTo>
                    <a:pt x="5078" y="718"/>
                  </a:lnTo>
                  <a:cubicBezTo>
                    <a:pt x="5078" y="718"/>
                    <a:pt x="5070" y="718"/>
                    <a:pt x="5070" y="711"/>
                  </a:cubicBezTo>
                  <a:cubicBezTo>
                    <a:pt x="5063" y="711"/>
                    <a:pt x="5063" y="711"/>
                    <a:pt x="5063" y="704"/>
                  </a:cubicBezTo>
                  <a:cubicBezTo>
                    <a:pt x="5056" y="704"/>
                    <a:pt x="5048" y="696"/>
                    <a:pt x="5048" y="696"/>
                  </a:cubicBezTo>
                  <a:cubicBezTo>
                    <a:pt x="5034" y="682"/>
                    <a:pt x="5027" y="674"/>
                    <a:pt x="5012" y="652"/>
                  </a:cubicBezTo>
                  <a:cubicBezTo>
                    <a:pt x="4997" y="645"/>
                    <a:pt x="4997" y="630"/>
                    <a:pt x="4990" y="623"/>
                  </a:cubicBezTo>
                  <a:lnTo>
                    <a:pt x="4990" y="616"/>
                  </a:lnTo>
                  <a:lnTo>
                    <a:pt x="4983" y="616"/>
                  </a:lnTo>
                  <a:cubicBezTo>
                    <a:pt x="4983" y="616"/>
                    <a:pt x="4983" y="616"/>
                    <a:pt x="4975" y="616"/>
                  </a:cubicBezTo>
                  <a:cubicBezTo>
                    <a:pt x="4946" y="623"/>
                    <a:pt x="4939" y="623"/>
                    <a:pt x="4902" y="645"/>
                  </a:cubicBezTo>
                  <a:cubicBezTo>
                    <a:pt x="4902" y="645"/>
                    <a:pt x="4902" y="645"/>
                    <a:pt x="4895" y="645"/>
                  </a:cubicBezTo>
                  <a:cubicBezTo>
                    <a:pt x="4902" y="645"/>
                    <a:pt x="4902" y="645"/>
                    <a:pt x="4902" y="652"/>
                  </a:cubicBezTo>
                  <a:close/>
                  <a:moveTo>
                    <a:pt x="5561" y="696"/>
                  </a:moveTo>
                  <a:lnTo>
                    <a:pt x="5561" y="696"/>
                  </a:lnTo>
                  <a:cubicBezTo>
                    <a:pt x="5539" y="696"/>
                    <a:pt x="5525" y="689"/>
                    <a:pt x="5510" y="674"/>
                  </a:cubicBezTo>
                  <a:cubicBezTo>
                    <a:pt x="5510" y="674"/>
                    <a:pt x="5503" y="667"/>
                    <a:pt x="5495" y="667"/>
                  </a:cubicBezTo>
                  <a:cubicBezTo>
                    <a:pt x="5481" y="645"/>
                    <a:pt x="5474" y="638"/>
                    <a:pt x="5488" y="594"/>
                  </a:cubicBezTo>
                  <a:cubicBezTo>
                    <a:pt x="5503" y="528"/>
                    <a:pt x="5510" y="506"/>
                    <a:pt x="5503" y="469"/>
                  </a:cubicBezTo>
                  <a:cubicBezTo>
                    <a:pt x="5488" y="425"/>
                    <a:pt x="5488" y="389"/>
                    <a:pt x="5503" y="367"/>
                  </a:cubicBezTo>
                  <a:cubicBezTo>
                    <a:pt x="5525" y="330"/>
                    <a:pt x="5576" y="315"/>
                    <a:pt x="5627" y="301"/>
                  </a:cubicBezTo>
                  <a:cubicBezTo>
                    <a:pt x="5657" y="293"/>
                    <a:pt x="5693" y="286"/>
                    <a:pt x="5715" y="271"/>
                  </a:cubicBezTo>
                  <a:cubicBezTo>
                    <a:pt x="5723" y="271"/>
                    <a:pt x="5737" y="264"/>
                    <a:pt x="5745" y="264"/>
                  </a:cubicBezTo>
                  <a:cubicBezTo>
                    <a:pt x="5796" y="264"/>
                    <a:pt x="5825" y="345"/>
                    <a:pt x="5847" y="396"/>
                  </a:cubicBezTo>
                  <a:cubicBezTo>
                    <a:pt x="5855" y="410"/>
                    <a:pt x="5855" y="418"/>
                    <a:pt x="5862" y="425"/>
                  </a:cubicBezTo>
                  <a:cubicBezTo>
                    <a:pt x="5898" y="498"/>
                    <a:pt x="5796" y="557"/>
                    <a:pt x="5767" y="572"/>
                  </a:cubicBezTo>
                  <a:cubicBezTo>
                    <a:pt x="5723" y="601"/>
                    <a:pt x="5708" y="616"/>
                    <a:pt x="5671" y="660"/>
                  </a:cubicBezTo>
                  <a:cubicBezTo>
                    <a:pt x="5657" y="682"/>
                    <a:pt x="5657" y="682"/>
                    <a:pt x="5657" y="682"/>
                  </a:cubicBezTo>
                  <a:cubicBezTo>
                    <a:pt x="5649" y="682"/>
                    <a:pt x="5649" y="682"/>
                    <a:pt x="5649" y="682"/>
                  </a:cubicBezTo>
                  <a:cubicBezTo>
                    <a:pt x="5642" y="674"/>
                    <a:pt x="5642" y="674"/>
                    <a:pt x="5642" y="674"/>
                  </a:cubicBezTo>
                  <a:cubicBezTo>
                    <a:pt x="5635" y="682"/>
                    <a:pt x="5598" y="696"/>
                    <a:pt x="5561" y="696"/>
                  </a:cubicBezTo>
                  <a:close/>
                  <a:moveTo>
                    <a:pt x="4997" y="410"/>
                  </a:moveTo>
                  <a:lnTo>
                    <a:pt x="4997" y="410"/>
                  </a:lnTo>
                  <a:cubicBezTo>
                    <a:pt x="5012" y="418"/>
                    <a:pt x="5012" y="418"/>
                    <a:pt x="5012" y="418"/>
                  </a:cubicBezTo>
                  <a:cubicBezTo>
                    <a:pt x="4997" y="410"/>
                    <a:pt x="4997" y="410"/>
                    <a:pt x="4997" y="410"/>
                  </a:cubicBezTo>
                  <a:cubicBezTo>
                    <a:pt x="5005" y="389"/>
                    <a:pt x="5012" y="359"/>
                    <a:pt x="5027" y="330"/>
                  </a:cubicBezTo>
                  <a:cubicBezTo>
                    <a:pt x="5063" y="264"/>
                    <a:pt x="5056" y="227"/>
                    <a:pt x="5048" y="205"/>
                  </a:cubicBezTo>
                  <a:cubicBezTo>
                    <a:pt x="4909" y="257"/>
                    <a:pt x="4909" y="257"/>
                    <a:pt x="4909" y="257"/>
                  </a:cubicBezTo>
                  <a:cubicBezTo>
                    <a:pt x="4917" y="227"/>
                    <a:pt x="4917" y="227"/>
                    <a:pt x="4917" y="227"/>
                  </a:cubicBezTo>
                  <a:cubicBezTo>
                    <a:pt x="4917" y="227"/>
                    <a:pt x="4939" y="139"/>
                    <a:pt x="4990" y="103"/>
                  </a:cubicBezTo>
                  <a:cubicBezTo>
                    <a:pt x="5019" y="88"/>
                    <a:pt x="5048" y="74"/>
                    <a:pt x="5093" y="59"/>
                  </a:cubicBezTo>
                  <a:cubicBezTo>
                    <a:pt x="5114" y="51"/>
                    <a:pt x="5144" y="37"/>
                    <a:pt x="5173" y="22"/>
                  </a:cubicBezTo>
                  <a:cubicBezTo>
                    <a:pt x="5217" y="0"/>
                    <a:pt x="5268" y="0"/>
                    <a:pt x="5305" y="0"/>
                  </a:cubicBezTo>
                  <a:cubicBezTo>
                    <a:pt x="5327" y="0"/>
                    <a:pt x="5342" y="0"/>
                    <a:pt x="5342" y="0"/>
                  </a:cubicBezTo>
                  <a:cubicBezTo>
                    <a:pt x="5349" y="0"/>
                    <a:pt x="5349" y="0"/>
                    <a:pt x="5349" y="0"/>
                  </a:cubicBezTo>
                  <a:cubicBezTo>
                    <a:pt x="5356" y="15"/>
                    <a:pt x="5356" y="15"/>
                    <a:pt x="5356" y="15"/>
                  </a:cubicBezTo>
                  <a:cubicBezTo>
                    <a:pt x="5356" y="15"/>
                    <a:pt x="5364" y="81"/>
                    <a:pt x="5312" y="132"/>
                  </a:cubicBezTo>
                  <a:cubicBezTo>
                    <a:pt x="5283" y="161"/>
                    <a:pt x="5268" y="191"/>
                    <a:pt x="5268" y="227"/>
                  </a:cubicBezTo>
                  <a:cubicBezTo>
                    <a:pt x="5268" y="235"/>
                    <a:pt x="5268" y="235"/>
                    <a:pt x="5268" y="235"/>
                  </a:cubicBezTo>
                  <a:cubicBezTo>
                    <a:pt x="5268" y="242"/>
                    <a:pt x="5268" y="242"/>
                    <a:pt x="5268" y="242"/>
                  </a:cubicBezTo>
                  <a:cubicBezTo>
                    <a:pt x="5203" y="323"/>
                    <a:pt x="5188" y="330"/>
                    <a:pt x="5180" y="330"/>
                  </a:cubicBezTo>
                  <a:cubicBezTo>
                    <a:pt x="5166" y="337"/>
                    <a:pt x="5158" y="345"/>
                    <a:pt x="5144" y="359"/>
                  </a:cubicBezTo>
                  <a:cubicBezTo>
                    <a:pt x="5122" y="381"/>
                    <a:pt x="5107" y="396"/>
                    <a:pt x="5093" y="403"/>
                  </a:cubicBezTo>
                  <a:cubicBezTo>
                    <a:pt x="5063" y="418"/>
                    <a:pt x="5048" y="418"/>
                    <a:pt x="5027" y="425"/>
                  </a:cubicBezTo>
                  <a:cubicBezTo>
                    <a:pt x="4983" y="440"/>
                    <a:pt x="4983" y="440"/>
                    <a:pt x="4983" y="440"/>
                  </a:cubicBezTo>
                  <a:lnTo>
                    <a:pt x="4997" y="410"/>
                  </a:lnTo>
                  <a:close/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41" name="Freeform 140"/>
            <p:cNvSpPr>
              <a:spLocks noChangeArrowheads="1"/>
            </p:cNvSpPr>
            <p:nvPr/>
          </p:nvSpPr>
          <p:spPr bwMode="auto">
            <a:xfrm>
              <a:off x="6438102" y="4261498"/>
              <a:ext cx="463272" cy="441385"/>
            </a:xfrm>
            <a:custGeom>
              <a:avLst/>
              <a:gdLst>
                <a:gd name="T0" fmla="*/ 908 w 1202"/>
                <a:gd name="T1" fmla="*/ 1165 h 1166"/>
                <a:gd name="T2" fmla="*/ 733 w 1202"/>
                <a:gd name="T3" fmla="*/ 1026 h 1166"/>
                <a:gd name="T4" fmla="*/ 652 w 1202"/>
                <a:gd name="T5" fmla="*/ 1011 h 1166"/>
                <a:gd name="T6" fmla="*/ 578 w 1202"/>
                <a:gd name="T7" fmla="*/ 1070 h 1166"/>
                <a:gd name="T8" fmla="*/ 491 w 1202"/>
                <a:gd name="T9" fmla="*/ 1128 h 1166"/>
                <a:gd name="T10" fmla="*/ 388 w 1202"/>
                <a:gd name="T11" fmla="*/ 1026 h 1166"/>
                <a:gd name="T12" fmla="*/ 366 w 1202"/>
                <a:gd name="T13" fmla="*/ 989 h 1166"/>
                <a:gd name="T14" fmla="*/ 285 w 1202"/>
                <a:gd name="T15" fmla="*/ 1048 h 1166"/>
                <a:gd name="T16" fmla="*/ 190 w 1202"/>
                <a:gd name="T17" fmla="*/ 989 h 1166"/>
                <a:gd name="T18" fmla="*/ 139 w 1202"/>
                <a:gd name="T19" fmla="*/ 769 h 1166"/>
                <a:gd name="T20" fmla="*/ 51 w 1202"/>
                <a:gd name="T21" fmla="*/ 652 h 1166"/>
                <a:gd name="T22" fmla="*/ 29 w 1202"/>
                <a:gd name="T23" fmla="*/ 645 h 1166"/>
                <a:gd name="T24" fmla="*/ 29 w 1202"/>
                <a:gd name="T25" fmla="*/ 505 h 1166"/>
                <a:gd name="T26" fmla="*/ 80 w 1202"/>
                <a:gd name="T27" fmla="*/ 396 h 1166"/>
                <a:gd name="T28" fmla="*/ 161 w 1202"/>
                <a:gd name="T29" fmla="*/ 469 h 1166"/>
                <a:gd name="T30" fmla="*/ 183 w 1202"/>
                <a:gd name="T31" fmla="*/ 527 h 1166"/>
                <a:gd name="T32" fmla="*/ 249 w 1202"/>
                <a:gd name="T33" fmla="*/ 484 h 1166"/>
                <a:gd name="T34" fmla="*/ 307 w 1202"/>
                <a:gd name="T35" fmla="*/ 410 h 1166"/>
                <a:gd name="T36" fmla="*/ 505 w 1202"/>
                <a:gd name="T37" fmla="*/ 293 h 1166"/>
                <a:gd name="T38" fmla="*/ 549 w 1202"/>
                <a:gd name="T39" fmla="*/ 227 h 1166"/>
                <a:gd name="T40" fmla="*/ 623 w 1202"/>
                <a:gd name="T41" fmla="*/ 212 h 1166"/>
                <a:gd name="T42" fmla="*/ 681 w 1202"/>
                <a:gd name="T43" fmla="*/ 154 h 1166"/>
                <a:gd name="T44" fmla="*/ 769 w 1202"/>
                <a:gd name="T45" fmla="*/ 73 h 1166"/>
                <a:gd name="T46" fmla="*/ 908 w 1202"/>
                <a:gd name="T47" fmla="*/ 0 h 1166"/>
                <a:gd name="T48" fmla="*/ 923 w 1202"/>
                <a:gd name="T49" fmla="*/ 7 h 1166"/>
                <a:gd name="T50" fmla="*/ 850 w 1202"/>
                <a:gd name="T51" fmla="*/ 212 h 1166"/>
                <a:gd name="T52" fmla="*/ 938 w 1202"/>
                <a:gd name="T53" fmla="*/ 300 h 1166"/>
                <a:gd name="T54" fmla="*/ 1004 w 1202"/>
                <a:gd name="T55" fmla="*/ 403 h 1166"/>
                <a:gd name="T56" fmla="*/ 952 w 1202"/>
                <a:gd name="T57" fmla="*/ 505 h 1166"/>
                <a:gd name="T58" fmla="*/ 967 w 1202"/>
                <a:gd name="T59" fmla="*/ 550 h 1166"/>
                <a:gd name="T60" fmla="*/ 872 w 1202"/>
                <a:gd name="T61" fmla="*/ 586 h 1166"/>
                <a:gd name="T62" fmla="*/ 872 w 1202"/>
                <a:gd name="T63" fmla="*/ 645 h 1166"/>
                <a:gd name="T64" fmla="*/ 1033 w 1202"/>
                <a:gd name="T65" fmla="*/ 828 h 1166"/>
                <a:gd name="T66" fmla="*/ 1187 w 1202"/>
                <a:gd name="T67" fmla="*/ 989 h 1166"/>
                <a:gd name="T68" fmla="*/ 1201 w 1202"/>
                <a:gd name="T69" fmla="*/ 1062 h 1166"/>
                <a:gd name="T70" fmla="*/ 1143 w 1202"/>
                <a:gd name="T71" fmla="*/ 1070 h 1166"/>
                <a:gd name="T72" fmla="*/ 1055 w 1202"/>
                <a:gd name="T73" fmla="*/ 1128 h 1166"/>
                <a:gd name="T74" fmla="*/ 923 w 1202"/>
                <a:gd name="T75" fmla="*/ 1165 h 1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02" h="1166">
                  <a:moveTo>
                    <a:pt x="908" y="1165"/>
                  </a:moveTo>
                  <a:lnTo>
                    <a:pt x="908" y="1165"/>
                  </a:lnTo>
                  <a:cubicBezTo>
                    <a:pt x="850" y="1165"/>
                    <a:pt x="776" y="1084"/>
                    <a:pt x="733" y="1026"/>
                  </a:cubicBezTo>
                  <a:lnTo>
                    <a:pt x="733" y="1026"/>
                  </a:lnTo>
                  <a:cubicBezTo>
                    <a:pt x="710" y="996"/>
                    <a:pt x="696" y="996"/>
                    <a:pt x="688" y="996"/>
                  </a:cubicBezTo>
                  <a:cubicBezTo>
                    <a:pt x="681" y="996"/>
                    <a:pt x="666" y="1004"/>
                    <a:pt x="652" y="1011"/>
                  </a:cubicBezTo>
                  <a:cubicBezTo>
                    <a:pt x="637" y="1018"/>
                    <a:pt x="637" y="1018"/>
                    <a:pt x="637" y="1018"/>
                  </a:cubicBezTo>
                  <a:cubicBezTo>
                    <a:pt x="608" y="1033"/>
                    <a:pt x="593" y="1048"/>
                    <a:pt x="578" y="1070"/>
                  </a:cubicBezTo>
                  <a:cubicBezTo>
                    <a:pt x="571" y="1077"/>
                    <a:pt x="557" y="1092"/>
                    <a:pt x="535" y="1106"/>
                  </a:cubicBezTo>
                  <a:cubicBezTo>
                    <a:pt x="520" y="1121"/>
                    <a:pt x="505" y="1128"/>
                    <a:pt x="491" y="1128"/>
                  </a:cubicBezTo>
                  <a:cubicBezTo>
                    <a:pt x="447" y="1128"/>
                    <a:pt x="410" y="1099"/>
                    <a:pt x="395" y="1070"/>
                  </a:cubicBezTo>
                  <a:cubicBezTo>
                    <a:pt x="388" y="1055"/>
                    <a:pt x="388" y="1041"/>
                    <a:pt x="388" y="1026"/>
                  </a:cubicBezTo>
                  <a:cubicBezTo>
                    <a:pt x="381" y="1004"/>
                    <a:pt x="381" y="996"/>
                    <a:pt x="373" y="996"/>
                  </a:cubicBezTo>
                  <a:cubicBezTo>
                    <a:pt x="366" y="996"/>
                    <a:pt x="366" y="989"/>
                    <a:pt x="366" y="989"/>
                  </a:cubicBezTo>
                  <a:cubicBezTo>
                    <a:pt x="351" y="989"/>
                    <a:pt x="329" y="1011"/>
                    <a:pt x="307" y="1026"/>
                  </a:cubicBezTo>
                  <a:cubicBezTo>
                    <a:pt x="300" y="1033"/>
                    <a:pt x="293" y="1041"/>
                    <a:pt x="285" y="1048"/>
                  </a:cubicBezTo>
                  <a:cubicBezTo>
                    <a:pt x="271" y="1055"/>
                    <a:pt x="264" y="1062"/>
                    <a:pt x="256" y="1062"/>
                  </a:cubicBezTo>
                  <a:cubicBezTo>
                    <a:pt x="227" y="1062"/>
                    <a:pt x="212" y="1026"/>
                    <a:pt x="190" y="989"/>
                  </a:cubicBezTo>
                  <a:cubicBezTo>
                    <a:pt x="183" y="974"/>
                    <a:pt x="168" y="960"/>
                    <a:pt x="161" y="945"/>
                  </a:cubicBezTo>
                  <a:cubicBezTo>
                    <a:pt x="124" y="909"/>
                    <a:pt x="132" y="828"/>
                    <a:pt x="139" y="769"/>
                  </a:cubicBezTo>
                  <a:cubicBezTo>
                    <a:pt x="146" y="725"/>
                    <a:pt x="102" y="689"/>
                    <a:pt x="66" y="659"/>
                  </a:cubicBezTo>
                  <a:cubicBezTo>
                    <a:pt x="58" y="652"/>
                    <a:pt x="58" y="652"/>
                    <a:pt x="51" y="652"/>
                  </a:cubicBezTo>
                  <a:cubicBezTo>
                    <a:pt x="51" y="652"/>
                    <a:pt x="44" y="645"/>
                    <a:pt x="36" y="645"/>
                  </a:cubicBezTo>
                  <a:cubicBezTo>
                    <a:pt x="29" y="645"/>
                    <a:pt x="29" y="645"/>
                    <a:pt x="29" y="645"/>
                  </a:cubicBezTo>
                  <a:cubicBezTo>
                    <a:pt x="22" y="630"/>
                    <a:pt x="22" y="630"/>
                    <a:pt x="22" y="630"/>
                  </a:cubicBezTo>
                  <a:cubicBezTo>
                    <a:pt x="22" y="623"/>
                    <a:pt x="0" y="550"/>
                    <a:pt x="29" y="505"/>
                  </a:cubicBezTo>
                  <a:cubicBezTo>
                    <a:pt x="44" y="484"/>
                    <a:pt x="51" y="462"/>
                    <a:pt x="58" y="440"/>
                  </a:cubicBezTo>
                  <a:cubicBezTo>
                    <a:pt x="66" y="425"/>
                    <a:pt x="73" y="403"/>
                    <a:pt x="80" y="396"/>
                  </a:cubicBezTo>
                  <a:cubicBezTo>
                    <a:pt x="87" y="381"/>
                    <a:pt x="102" y="381"/>
                    <a:pt x="102" y="381"/>
                  </a:cubicBezTo>
                  <a:cubicBezTo>
                    <a:pt x="139" y="381"/>
                    <a:pt x="161" y="462"/>
                    <a:pt x="161" y="469"/>
                  </a:cubicBezTo>
                  <a:cubicBezTo>
                    <a:pt x="161" y="476"/>
                    <a:pt x="161" y="476"/>
                    <a:pt x="161" y="476"/>
                  </a:cubicBezTo>
                  <a:cubicBezTo>
                    <a:pt x="168" y="491"/>
                    <a:pt x="176" y="527"/>
                    <a:pt x="183" y="527"/>
                  </a:cubicBezTo>
                  <a:cubicBezTo>
                    <a:pt x="183" y="527"/>
                    <a:pt x="190" y="527"/>
                    <a:pt x="205" y="513"/>
                  </a:cubicBezTo>
                  <a:cubicBezTo>
                    <a:pt x="219" y="498"/>
                    <a:pt x="242" y="491"/>
                    <a:pt x="249" y="484"/>
                  </a:cubicBezTo>
                  <a:cubicBezTo>
                    <a:pt x="278" y="476"/>
                    <a:pt x="285" y="469"/>
                    <a:pt x="300" y="432"/>
                  </a:cubicBezTo>
                  <a:cubicBezTo>
                    <a:pt x="307" y="410"/>
                    <a:pt x="307" y="410"/>
                    <a:pt x="307" y="410"/>
                  </a:cubicBezTo>
                  <a:cubicBezTo>
                    <a:pt x="329" y="359"/>
                    <a:pt x="344" y="315"/>
                    <a:pt x="395" y="315"/>
                  </a:cubicBezTo>
                  <a:cubicBezTo>
                    <a:pt x="432" y="315"/>
                    <a:pt x="469" y="315"/>
                    <a:pt x="505" y="293"/>
                  </a:cubicBezTo>
                  <a:cubicBezTo>
                    <a:pt x="520" y="286"/>
                    <a:pt x="520" y="271"/>
                    <a:pt x="527" y="264"/>
                  </a:cubicBezTo>
                  <a:cubicBezTo>
                    <a:pt x="535" y="249"/>
                    <a:pt x="542" y="242"/>
                    <a:pt x="549" y="227"/>
                  </a:cubicBezTo>
                  <a:cubicBezTo>
                    <a:pt x="571" y="212"/>
                    <a:pt x="586" y="212"/>
                    <a:pt x="601" y="212"/>
                  </a:cubicBezTo>
                  <a:cubicBezTo>
                    <a:pt x="623" y="212"/>
                    <a:pt x="623" y="212"/>
                    <a:pt x="623" y="212"/>
                  </a:cubicBezTo>
                  <a:cubicBezTo>
                    <a:pt x="630" y="212"/>
                    <a:pt x="637" y="212"/>
                    <a:pt x="645" y="205"/>
                  </a:cubicBezTo>
                  <a:cubicBezTo>
                    <a:pt x="666" y="198"/>
                    <a:pt x="674" y="183"/>
                    <a:pt x="681" y="154"/>
                  </a:cubicBezTo>
                  <a:cubicBezTo>
                    <a:pt x="688" y="117"/>
                    <a:pt x="703" y="88"/>
                    <a:pt x="747" y="81"/>
                  </a:cubicBezTo>
                  <a:cubicBezTo>
                    <a:pt x="754" y="81"/>
                    <a:pt x="762" y="73"/>
                    <a:pt x="769" y="73"/>
                  </a:cubicBezTo>
                  <a:cubicBezTo>
                    <a:pt x="791" y="73"/>
                    <a:pt x="798" y="73"/>
                    <a:pt x="820" y="51"/>
                  </a:cubicBezTo>
                  <a:cubicBezTo>
                    <a:pt x="857" y="15"/>
                    <a:pt x="908" y="0"/>
                    <a:pt x="908" y="0"/>
                  </a:cubicBezTo>
                  <a:cubicBezTo>
                    <a:pt x="916" y="0"/>
                    <a:pt x="916" y="0"/>
                    <a:pt x="916" y="0"/>
                  </a:cubicBezTo>
                  <a:cubicBezTo>
                    <a:pt x="923" y="7"/>
                    <a:pt x="923" y="7"/>
                    <a:pt x="923" y="7"/>
                  </a:cubicBezTo>
                  <a:cubicBezTo>
                    <a:pt x="930" y="15"/>
                    <a:pt x="974" y="88"/>
                    <a:pt x="930" y="124"/>
                  </a:cubicBezTo>
                  <a:cubicBezTo>
                    <a:pt x="886" y="154"/>
                    <a:pt x="850" y="198"/>
                    <a:pt x="850" y="212"/>
                  </a:cubicBezTo>
                  <a:cubicBezTo>
                    <a:pt x="850" y="234"/>
                    <a:pt x="886" y="278"/>
                    <a:pt x="916" y="293"/>
                  </a:cubicBezTo>
                  <a:cubicBezTo>
                    <a:pt x="923" y="293"/>
                    <a:pt x="930" y="300"/>
                    <a:pt x="938" y="300"/>
                  </a:cubicBezTo>
                  <a:cubicBezTo>
                    <a:pt x="974" y="315"/>
                    <a:pt x="1018" y="337"/>
                    <a:pt x="1018" y="366"/>
                  </a:cubicBezTo>
                  <a:cubicBezTo>
                    <a:pt x="1026" y="374"/>
                    <a:pt x="1018" y="388"/>
                    <a:pt x="1004" y="403"/>
                  </a:cubicBezTo>
                  <a:cubicBezTo>
                    <a:pt x="982" y="432"/>
                    <a:pt x="974" y="454"/>
                    <a:pt x="967" y="469"/>
                  </a:cubicBezTo>
                  <a:cubicBezTo>
                    <a:pt x="959" y="484"/>
                    <a:pt x="952" y="491"/>
                    <a:pt x="952" y="505"/>
                  </a:cubicBezTo>
                  <a:cubicBezTo>
                    <a:pt x="938" y="520"/>
                    <a:pt x="952" y="535"/>
                    <a:pt x="952" y="535"/>
                  </a:cubicBezTo>
                  <a:cubicBezTo>
                    <a:pt x="967" y="550"/>
                    <a:pt x="967" y="550"/>
                    <a:pt x="967" y="550"/>
                  </a:cubicBezTo>
                  <a:cubicBezTo>
                    <a:pt x="952" y="557"/>
                    <a:pt x="952" y="557"/>
                    <a:pt x="952" y="557"/>
                  </a:cubicBezTo>
                  <a:cubicBezTo>
                    <a:pt x="945" y="564"/>
                    <a:pt x="901" y="586"/>
                    <a:pt x="872" y="586"/>
                  </a:cubicBezTo>
                  <a:cubicBezTo>
                    <a:pt x="864" y="586"/>
                    <a:pt x="864" y="586"/>
                    <a:pt x="864" y="586"/>
                  </a:cubicBezTo>
                  <a:cubicBezTo>
                    <a:pt x="864" y="601"/>
                    <a:pt x="864" y="623"/>
                    <a:pt x="872" y="645"/>
                  </a:cubicBezTo>
                  <a:cubicBezTo>
                    <a:pt x="879" y="689"/>
                    <a:pt x="894" y="755"/>
                    <a:pt x="916" y="755"/>
                  </a:cubicBezTo>
                  <a:cubicBezTo>
                    <a:pt x="982" y="755"/>
                    <a:pt x="1026" y="791"/>
                    <a:pt x="1033" y="828"/>
                  </a:cubicBezTo>
                  <a:cubicBezTo>
                    <a:pt x="1040" y="857"/>
                    <a:pt x="1062" y="886"/>
                    <a:pt x="1092" y="894"/>
                  </a:cubicBezTo>
                  <a:cubicBezTo>
                    <a:pt x="1128" y="909"/>
                    <a:pt x="1179" y="974"/>
                    <a:pt x="1187" y="989"/>
                  </a:cubicBezTo>
                  <a:lnTo>
                    <a:pt x="1187" y="989"/>
                  </a:lnTo>
                  <a:cubicBezTo>
                    <a:pt x="1201" y="1062"/>
                    <a:pt x="1201" y="1062"/>
                    <a:pt x="1201" y="1062"/>
                  </a:cubicBezTo>
                  <a:cubicBezTo>
                    <a:pt x="1172" y="1062"/>
                    <a:pt x="1172" y="1062"/>
                    <a:pt x="1172" y="1062"/>
                  </a:cubicBezTo>
                  <a:cubicBezTo>
                    <a:pt x="1165" y="1062"/>
                    <a:pt x="1150" y="1070"/>
                    <a:pt x="1143" y="1070"/>
                  </a:cubicBezTo>
                  <a:cubicBezTo>
                    <a:pt x="1106" y="1077"/>
                    <a:pt x="1092" y="1084"/>
                    <a:pt x="1069" y="1114"/>
                  </a:cubicBezTo>
                  <a:cubicBezTo>
                    <a:pt x="1055" y="1128"/>
                    <a:pt x="1055" y="1128"/>
                    <a:pt x="1055" y="1128"/>
                  </a:cubicBezTo>
                  <a:cubicBezTo>
                    <a:pt x="1026" y="1158"/>
                    <a:pt x="996" y="1158"/>
                    <a:pt x="959" y="1158"/>
                  </a:cubicBezTo>
                  <a:cubicBezTo>
                    <a:pt x="952" y="1158"/>
                    <a:pt x="938" y="1165"/>
                    <a:pt x="923" y="1165"/>
                  </a:cubicBezTo>
                  <a:cubicBezTo>
                    <a:pt x="916" y="1165"/>
                    <a:pt x="916" y="1165"/>
                    <a:pt x="908" y="1165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42" name="Freeform 141"/>
            <p:cNvSpPr>
              <a:spLocks noChangeArrowheads="1"/>
            </p:cNvSpPr>
            <p:nvPr/>
          </p:nvSpPr>
          <p:spPr bwMode="auto">
            <a:xfrm>
              <a:off x="6432631" y="4256026"/>
              <a:ext cx="472391" cy="454153"/>
            </a:xfrm>
            <a:custGeom>
              <a:avLst/>
              <a:gdLst>
                <a:gd name="T0" fmla="*/ 931 w 1232"/>
                <a:gd name="T1" fmla="*/ 125 h 1196"/>
                <a:gd name="T2" fmla="*/ 1011 w 1232"/>
                <a:gd name="T3" fmla="*/ 411 h 1196"/>
                <a:gd name="T4" fmla="*/ 887 w 1232"/>
                <a:gd name="T5" fmla="*/ 587 h 1196"/>
                <a:gd name="T6" fmla="*/ 872 w 1232"/>
                <a:gd name="T7" fmla="*/ 660 h 1196"/>
                <a:gd name="T8" fmla="*/ 1107 w 1232"/>
                <a:gd name="T9" fmla="*/ 924 h 1196"/>
                <a:gd name="T10" fmla="*/ 1187 w 1232"/>
                <a:gd name="T11" fmla="*/ 1063 h 1196"/>
                <a:gd name="T12" fmla="*/ 931 w 1232"/>
                <a:gd name="T13" fmla="*/ 1165 h 1196"/>
                <a:gd name="T14" fmla="*/ 703 w 1232"/>
                <a:gd name="T15" fmla="*/ 997 h 1196"/>
                <a:gd name="T16" fmla="*/ 506 w 1232"/>
                <a:gd name="T17" fmla="*/ 1129 h 1196"/>
                <a:gd name="T18" fmla="*/ 381 w 1232"/>
                <a:gd name="T19" fmla="*/ 989 h 1196"/>
                <a:gd name="T20" fmla="*/ 183 w 1232"/>
                <a:gd name="T21" fmla="*/ 953 h 1196"/>
                <a:gd name="T22" fmla="*/ 51 w 1232"/>
                <a:gd name="T23" fmla="*/ 645 h 1196"/>
                <a:gd name="T24" fmla="*/ 110 w 1232"/>
                <a:gd name="T25" fmla="*/ 418 h 1196"/>
                <a:gd name="T26" fmla="*/ 198 w 1232"/>
                <a:gd name="T27" fmla="*/ 557 h 1196"/>
                <a:gd name="T28" fmla="*/ 410 w 1232"/>
                <a:gd name="T29" fmla="*/ 345 h 1196"/>
                <a:gd name="T30" fmla="*/ 616 w 1232"/>
                <a:gd name="T31" fmla="*/ 242 h 1196"/>
                <a:gd name="T32" fmla="*/ 711 w 1232"/>
                <a:gd name="T33" fmla="*/ 169 h 1196"/>
                <a:gd name="T34" fmla="*/ 923 w 1232"/>
                <a:gd name="T35" fmla="*/ 30 h 1196"/>
                <a:gd name="T36" fmla="*/ 923 w 1232"/>
                <a:gd name="T37" fmla="*/ 0 h 1196"/>
                <a:gd name="T38" fmla="*/ 755 w 1232"/>
                <a:gd name="T39" fmla="*/ 81 h 1196"/>
                <a:gd name="T40" fmla="*/ 638 w 1232"/>
                <a:gd name="T41" fmla="*/ 213 h 1196"/>
                <a:gd name="T42" fmla="*/ 557 w 1232"/>
                <a:gd name="T43" fmla="*/ 235 h 1196"/>
                <a:gd name="T44" fmla="*/ 410 w 1232"/>
                <a:gd name="T45" fmla="*/ 315 h 1196"/>
                <a:gd name="T46" fmla="*/ 264 w 1232"/>
                <a:gd name="T47" fmla="*/ 484 h 1196"/>
                <a:gd name="T48" fmla="*/ 191 w 1232"/>
                <a:gd name="T49" fmla="*/ 484 h 1196"/>
                <a:gd name="T50" fmla="*/ 117 w 1232"/>
                <a:gd name="T51" fmla="*/ 381 h 1196"/>
                <a:gd name="T52" fmla="*/ 29 w 1232"/>
                <a:gd name="T53" fmla="*/ 513 h 1196"/>
                <a:gd name="T54" fmla="*/ 29 w 1232"/>
                <a:gd name="T55" fmla="*/ 667 h 1196"/>
                <a:gd name="T56" fmla="*/ 73 w 1232"/>
                <a:gd name="T57" fmla="*/ 689 h 1196"/>
                <a:gd name="T58" fmla="*/ 191 w 1232"/>
                <a:gd name="T59" fmla="*/ 1011 h 1196"/>
                <a:gd name="T60" fmla="*/ 337 w 1232"/>
                <a:gd name="T61" fmla="*/ 1056 h 1196"/>
                <a:gd name="T62" fmla="*/ 381 w 1232"/>
                <a:gd name="T63" fmla="*/ 1041 h 1196"/>
                <a:gd name="T64" fmla="*/ 564 w 1232"/>
                <a:gd name="T65" fmla="*/ 1136 h 1196"/>
                <a:gd name="T66" fmla="*/ 674 w 1232"/>
                <a:gd name="T67" fmla="*/ 1041 h 1196"/>
                <a:gd name="T68" fmla="*/ 733 w 1232"/>
                <a:gd name="T69" fmla="*/ 1056 h 1196"/>
                <a:gd name="T70" fmla="*/ 982 w 1232"/>
                <a:gd name="T71" fmla="*/ 1187 h 1196"/>
                <a:gd name="T72" fmla="*/ 1158 w 1232"/>
                <a:gd name="T73" fmla="*/ 1099 h 1196"/>
                <a:gd name="T74" fmla="*/ 1231 w 1232"/>
                <a:gd name="T75" fmla="*/ 1092 h 1196"/>
                <a:gd name="T76" fmla="*/ 1216 w 1232"/>
                <a:gd name="T77" fmla="*/ 997 h 1196"/>
                <a:gd name="T78" fmla="*/ 1062 w 1232"/>
                <a:gd name="T79" fmla="*/ 843 h 1196"/>
                <a:gd name="T80" fmla="*/ 901 w 1232"/>
                <a:gd name="T81" fmla="*/ 660 h 1196"/>
                <a:gd name="T82" fmla="*/ 974 w 1232"/>
                <a:gd name="T83" fmla="*/ 587 h 1196"/>
                <a:gd name="T84" fmla="*/ 982 w 1232"/>
                <a:gd name="T85" fmla="*/ 535 h 1196"/>
                <a:gd name="T86" fmla="*/ 1033 w 1232"/>
                <a:gd name="T87" fmla="*/ 425 h 1196"/>
                <a:gd name="T88" fmla="*/ 938 w 1232"/>
                <a:gd name="T89" fmla="*/ 293 h 1196"/>
                <a:gd name="T90" fmla="*/ 953 w 1232"/>
                <a:gd name="T91" fmla="*/ 15 h 1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32" h="1196">
                  <a:moveTo>
                    <a:pt x="923" y="30"/>
                  </a:moveTo>
                  <a:lnTo>
                    <a:pt x="923" y="30"/>
                  </a:lnTo>
                  <a:cubicBezTo>
                    <a:pt x="923" y="30"/>
                    <a:pt x="967" y="103"/>
                    <a:pt x="931" y="125"/>
                  </a:cubicBezTo>
                  <a:cubicBezTo>
                    <a:pt x="901" y="154"/>
                    <a:pt x="850" y="206"/>
                    <a:pt x="850" y="227"/>
                  </a:cubicBezTo>
                  <a:cubicBezTo>
                    <a:pt x="850" y="257"/>
                    <a:pt x="894" y="308"/>
                    <a:pt x="923" y="323"/>
                  </a:cubicBezTo>
                  <a:cubicBezTo>
                    <a:pt x="960" y="337"/>
                    <a:pt x="1055" y="367"/>
                    <a:pt x="1011" y="411"/>
                  </a:cubicBezTo>
                  <a:cubicBezTo>
                    <a:pt x="967" y="447"/>
                    <a:pt x="967" y="484"/>
                    <a:pt x="953" y="506"/>
                  </a:cubicBezTo>
                  <a:cubicBezTo>
                    <a:pt x="931" y="535"/>
                    <a:pt x="960" y="557"/>
                    <a:pt x="960" y="557"/>
                  </a:cubicBezTo>
                  <a:cubicBezTo>
                    <a:pt x="960" y="557"/>
                    <a:pt x="916" y="587"/>
                    <a:pt x="887" y="587"/>
                  </a:cubicBezTo>
                  <a:cubicBezTo>
                    <a:pt x="879" y="587"/>
                    <a:pt x="879" y="587"/>
                    <a:pt x="872" y="587"/>
                  </a:cubicBezTo>
                  <a:lnTo>
                    <a:pt x="872" y="587"/>
                  </a:lnTo>
                  <a:cubicBezTo>
                    <a:pt x="850" y="587"/>
                    <a:pt x="872" y="660"/>
                    <a:pt x="872" y="660"/>
                  </a:cubicBezTo>
                  <a:cubicBezTo>
                    <a:pt x="872" y="660"/>
                    <a:pt x="879" y="784"/>
                    <a:pt x="931" y="784"/>
                  </a:cubicBezTo>
                  <a:cubicBezTo>
                    <a:pt x="982" y="784"/>
                    <a:pt x="1026" y="814"/>
                    <a:pt x="1033" y="850"/>
                  </a:cubicBezTo>
                  <a:cubicBezTo>
                    <a:pt x="1048" y="887"/>
                    <a:pt x="1070" y="916"/>
                    <a:pt x="1107" y="924"/>
                  </a:cubicBezTo>
                  <a:cubicBezTo>
                    <a:pt x="1136" y="931"/>
                    <a:pt x="1187" y="1011"/>
                    <a:pt x="1187" y="1011"/>
                  </a:cubicBezTo>
                  <a:cubicBezTo>
                    <a:pt x="1194" y="1063"/>
                    <a:pt x="1194" y="1063"/>
                    <a:pt x="1194" y="1063"/>
                  </a:cubicBezTo>
                  <a:cubicBezTo>
                    <a:pt x="1187" y="1063"/>
                    <a:pt x="1187" y="1063"/>
                    <a:pt x="1187" y="1063"/>
                  </a:cubicBezTo>
                  <a:cubicBezTo>
                    <a:pt x="1172" y="1063"/>
                    <a:pt x="1165" y="1070"/>
                    <a:pt x="1158" y="1070"/>
                  </a:cubicBezTo>
                  <a:cubicBezTo>
                    <a:pt x="1107" y="1077"/>
                    <a:pt x="1099" y="1099"/>
                    <a:pt x="1062" y="1129"/>
                  </a:cubicBezTo>
                  <a:cubicBezTo>
                    <a:pt x="1026" y="1165"/>
                    <a:pt x="997" y="1158"/>
                    <a:pt x="931" y="1165"/>
                  </a:cubicBezTo>
                  <a:cubicBezTo>
                    <a:pt x="931" y="1165"/>
                    <a:pt x="931" y="1165"/>
                    <a:pt x="923" y="1165"/>
                  </a:cubicBezTo>
                  <a:cubicBezTo>
                    <a:pt x="865" y="1165"/>
                    <a:pt x="799" y="1077"/>
                    <a:pt x="755" y="1026"/>
                  </a:cubicBezTo>
                  <a:cubicBezTo>
                    <a:pt x="733" y="1004"/>
                    <a:pt x="718" y="997"/>
                    <a:pt x="703" y="997"/>
                  </a:cubicBezTo>
                  <a:cubicBezTo>
                    <a:pt x="689" y="997"/>
                    <a:pt x="674" y="1004"/>
                    <a:pt x="645" y="1019"/>
                  </a:cubicBezTo>
                  <a:cubicBezTo>
                    <a:pt x="593" y="1048"/>
                    <a:pt x="586" y="1077"/>
                    <a:pt x="542" y="1114"/>
                  </a:cubicBezTo>
                  <a:cubicBezTo>
                    <a:pt x="528" y="1121"/>
                    <a:pt x="520" y="1129"/>
                    <a:pt x="506" y="1129"/>
                  </a:cubicBezTo>
                  <a:cubicBezTo>
                    <a:pt x="469" y="1129"/>
                    <a:pt x="432" y="1099"/>
                    <a:pt x="425" y="1077"/>
                  </a:cubicBezTo>
                  <a:cubicBezTo>
                    <a:pt x="410" y="1048"/>
                    <a:pt x="425" y="1004"/>
                    <a:pt x="388" y="997"/>
                  </a:cubicBezTo>
                  <a:cubicBezTo>
                    <a:pt x="388" y="989"/>
                    <a:pt x="381" y="989"/>
                    <a:pt x="381" y="989"/>
                  </a:cubicBezTo>
                  <a:cubicBezTo>
                    <a:pt x="352" y="989"/>
                    <a:pt x="322" y="1026"/>
                    <a:pt x="286" y="1056"/>
                  </a:cubicBezTo>
                  <a:cubicBezTo>
                    <a:pt x="279" y="1056"/>
                    <a:pt x="279" y="1063"/>
                    <a:pt x="271" y="1063"/>
                  </a:cubicBezTo>
                  <a:cubicBezTo>
                    <a:pt x="242" y="1063"/>
                    <a:pt x="212" y="982"/>
                    <a:pt x="183" y="953"/>
                  </a:cubicBezTo>
                  <a:cubicBezTo>
                    <a:pt x="154" y="916"/>
                    <a:pt x="161" y="843"/>
                    <a:pt x="169" y="792"/>
                  </a:cubicBezTo>
                  <a:cubicBezTo>
                    <a:pt x="176" y="740"/>
                    <a:pt x="132" y="696"/>
                    <a:pt x="95" y="660"/>
                  </a:cubicBezTo>
                  <a:cubicBezTo>
                    <a:pt x="81" y="652"/>
                    <a:pt x="81" y="652"/>
                    <a:pt x="51" y="645"/>
                  </a:cubicBezTo>
                  <a:cubicBezTo>
                    <a:pt x="51" y="638"/>
                    <a:pt x="51" y="638"/>
                    <a:pt x="51" y="638"/>
                  </a:cubicBezTo>
                  <a:cubicBezTo>
                    <a:pt x="51" y="638"/>
                    <a:pt x="29" y="572"/>
                    <a:pt x="59" y="528"/>
                  </a:cubicBezTo>
                  <a:cubicBezTo>
                    <a:pt x="81" y="484"/>
                    <a:pt x="95" y="440"/>
                    <a:pt x="110" y="418"/>
                  </a:cubicBezTo>
                  <a:cubicBezTo>
                    <a:pt x="110" y="411"/>
                    <a:pt x="117" y="411"/>
                    <a:pt x="117" y="411"/>
                  </a:cubicBezTo>
                  <a:cubicBezTo>
                    <a:pt x="132" y="411"/>
                    <a:pt x="154" y="447"/>
                    <a:pt x="161" y="484"/>
                  </a:cubicBezTo>
                  <a:cubicBezTo>
                    <a:pt x="169" y="513"/>
                    <a:pt x="176" y="557"/>
                    <a:pt x="198" y="557"/>
                  </a:cubicBezTo>
                  <a:cubicBezTo>
                    <a:pt x="205" y="557"/>
                    <a:pt x="212" y="550"/>
                    <a:pt x="227" y="542"/>
                  </a:cubicBezTo>
                  <a:cubicBezTo>
                    <a:pt x="279" y="499"/>
                    <a:pt x="308" y="520"/>
                    <a:pt x="330" y="447"/>
                  </a:cubicBezTo>
                  <a:cubicBezTo>
                    <a:pt x="359" y="381"/>
                    <a:pt x="366" y="345"/>
                    <a:pt x="410" y="345"/>
                  </a:cubicBezTo>
                  <a:cubicBezTo>
                    <a:pt x="447" y="345"/>
                    <a:pt x="491" y="345"/>
                    <a:pt x="528" y="323"/>
                  </a:cubicBezTo>
                  <a:cubicBezTo>
                    <a:pt x="557" y="293"/>
                    <a:pt x="550" y="279"/>
                    <a:pt x="579" y="257"/>
                  </a:cubicBezTo>
                  <a:cubicBezTo>
                    <a:pt x="586" y="242"/>
                    <a:pt x="601" y="242"/>
                    <a:pt x="616" y="242"/>
                  </a:cubicBezTo>
                  <a:cubicBezTo>
                    <a:pt x="623" y="242"/>
                    <a:pt x="630" y="242"/>
                    <a:pt x="638" y="242"/>
                  </a:cubicBezTo>
                  <a:cubicBezTo>
                    <a:pt x="645" y="242"/>
                    <a:pt x="652" y="242"/>
                    <a:pt x="660" y="235"/>
                  </a:cubicBezTo>
                  <a:cubicBezTo>
                    <a:pt x="696" y="227"/>
                    <a:pt x="703" y="206"/>
                    <a:pt x="711" y="169"/>
                  </a:cubicBezTo>
                  <a:cubicBezTo>
                    <a:pt x="718" y="132"/>
                    <a:pt x="733" y="118"/>
                    <a:pt x="762" y="110"/>
                  </a:cubicBezTo>
                  <a:cubicBezTo>
                    <a:pt x="799" y="103"/>
                    <a:pt x="813" y="110"/>
                    <a:pt x="850" y="74"/>
                  </a:cubicBezTo>
                  <a:cubicBezTo>
                    <a:pt x="879" y="44"/>
                    <a:pt x="923" y="30"/>
                    <a:pt x="923" y="30"/>
                  </a:cubicBezTo>
                  <a:lnTo>
                    <a:pt x="938" y="0"/>
                  </a:lnTo>
                  <a:lnTo>
                    <a:pt x="938" y="0"/>
                  </a:lnTo>
                  <a:cubicBezTo>
                    <a:pt x="923" y="0"/>
                    <a:pt x="923" y="0"/>
                    <a:pt x="923" y="0"/>
                  </a:cubicBezTo>
                  <a:cubicBezTo>
                    <a:pt x="916" y="0"/>
                    <a:pt x="865" y="15"/>
                    <a:pt x="828" y="51"/>
                  </a:cubicBezTo>
                  <a:cubicBezTo>
                    <a:pt x="813" y="74"/>
                    <a:pt x="806" y="74"/>
                    <a:pt x="784" y="74"/>
                  </a:cubicBezTo>
                  <a:cubicBezTo>
                    <a:pt x="777" y="74"/>
                    <a:pt x="769" y="81"/>
                    <a:pt x="755" y="81"/>
                  </a:cubicBezTo>
                  <a:cubicBezTo>
                    <a:pt x="703" y="96"/>
                    <a:pt x="689" y="125"/>
                    <a:pt x="681" y="161"/>
                  </a:cubicBezTo>
                  <a:cubicBezTo>
                    <a:pt x="674" y="198"/>
                    <a:pt x="667" y="206"/>
                    <a:pt x="652" y="206"/>
                  </a:cubicBezTo>
                  <a:cubicBezTo>
                    <a:pt x="652" y="206"/>
                    <a:pt x="645" y="213"/>
                    <a:pt x="638" y="213"/>
                  </a:cubicBezTo>
                  <a:lnTo>
                    <a:pt x="630" y="213"/>
                  </a:lnTo>
                  <a:cubicBezTo>
                    <a:pt x="623" y="206"/>
                    <a:pt x="623" y="206"/>
                    <a:pt x="616" y="206"/>
                  </a:cubicBezTo>
                  <a:cubicBezTo>
                    <a:pt x="601" y="206"/>
                    <a:pt x="579" y="213"/>
                    <a:pt x="557" y="235"/>
                  </a:cubicBezTo>
                  <a:cubicBezTo>
                    <a:pt x="542" y="249"/>
                    <a:pt x="535" y="257"/>
                    <a:pt x="528" y="271"/>
                  </a:cubicBezTo>
                  <a:cubicBezTo>
                    <a:pt x="528" y="279"/>
                    <a:pt x="520" y="286"/>
                    <a:pt x="506" y="301"/>
                  </a:cubicBezTo>
                  <a:cubicBezTo>
                    <a:pt x="484" y="315"/>
                    <a:pt x="447" y="315"/>
                    <a:pt x="410" y="315"/>
                  </a:cubicBezTo>
                  <a:cubicBezTo>
                    <a:pt x="344" y="315"/>
                    <a:pt x="330" y="367"/>
                    <a:pt x="308" y="425"/>
                  </a:cubicBezTo>
                  <a:cubicBezTo>
                    <a:pt x="300" y="440"/>
                    <a:pt x="300" y="440"/>
                    <a:pt x="300" y="440"/>
                  </a:cubicBezTo>
                  <a:cubicBezTo>
                    <a:pt x="293" y="469"/>
                    <a:pt x="279" y="477"/>
                    <a:pt x="264" y="484"/>
                  </a:cubicBezTo>
                  <a:cubicBezTo>
                    <a:pt x="249" y="491"/>
                    <a:pt x="227" y="506"/>
                    <a:pt x="212" y="520"/>
                  </a:cubicBezTo>
                  <a:cubicBezTo>
                    <a:pt x="205" y="520"/>
                    <a:pt x="205" y="520"/>
                    <a:pt x="205" y="528"/>
                  </a:cubicBezTo>
                  <a:cubicBezTo>
                    <a:pt x="198" y="513"/>
                    <a:pt x="191" y="499"/>
                    <a:pt x="191" y="484"/>
                  </a:cubicBezTo>
                  <a:cubicBezTo>
                    <a:pt x="191" y="477"/>
                    <a:pt x="191" y="477"/>
                    <a:pt x="191" y="477"/>
                  </a:cubicBezTo>
                  <a:cubicBezTo>
                    <a:pt x="191" y="462"/>
                    <a:pt x="169" y="381"/>
                    <a:pt x="117" y="381"/>
                  </a:cubicBezTo>
                  <a:lnTo>
                    <a:pt x="117" y="381"/>
                  </a:lnTo>
                  <a:cubicBezTo>
                    <a:pt x="110" y="381"/>
                    <a:pt x="95" y="381"/>
                    <a:pt x="81" y="396"/>
                  </a:cubicBezTo>
                  <a:cubicBezTo>
                    <a:pt x="73" y="411"/>
                    <a:pt x="66" y="432"/>
                    <a:pt x="59" y="447"/>
                  </a:cubicBezTo>
                  <a:cubicBezTo>
                    <a:pt x="51" y="469"/>
                    <a:pt x="44" y="491"/>
                    <a:pt x="29" y="513"/>
                  </a:cubicBezTo>
                  <a:cubicBezTo>
                    <a:pt x="0" y="565"/>
                    <a:pt x="15" y="638"/>
                    <a:pt x="22" y="645"/>
                  </a:cubicBezTo>
                  <a:cubicBezTo>
                    <a:pt x="22" y="652"/>
                    <a:pt x="22" y="652"/>
                    <a:pt x="22" y="652"/>
                  </a:cubicBezTo>
                  <a:cubicBezTo>
                    <a:pt x="29" y="667"/>
                    <a:pt x="29" y="667"/>
                    <a:pt x="29" y="667"/>
                  </a:cubicBezTo>
                  <a:cubicBezTo>
                    <a:pt x="44" y="674"/>
                    <a:pt x="44" y="674"/>
                    <a:pt x="44" y="674"/>
                  </a:cubicBezTo>
                  <a:cubicBezTo>
                    <a:pt x="51" y="674"/>
                    <a:pt x="59" y="682"/>
                    <a:pt x="66" y="682"/>
                  </a:cubicBezTo>
                  <a:cubicBezTo>
                    <a:pt x="66" y="682"/>
                    <a:pt x="66" y="682"/>
                    <a:pt x="73" y="689"/>
                  </a:cubicBezTo>
                  <a:cubicBezTo>
                    <a:pt x="125" y="726"/>
                    <a:pt x="147" y="755"/>
                    <a:pt x="139" y="784"/>
                  </a:cubicBezTo>
                  <a:cubicBezTo>
                    <a:pt x="132" y="843"/>
                    <a:pt x="117" y="931"/>
                    <a:pt x="161" y="975"/>
                  </a:cubicBezTo>
                  <a:cubicBezTo>
                    <a:pt x="176" y="982"/>
                    <a:pt x="183" y="997"/>
                    <a:pt x="191" y="1011"/>
                  </a:cubicBezTo>
                  <a:cubicBezTo>
                    <a:pt x="212" y="1056"/>
                    <a:pt x="234" y="1092"/>
                    <a:pt x="271" y="1092"/>
                  </a:cubicBezTo>
                  <a:cubicBezTo>
                    <a:pt x="286" y="1092"/>
                    <a:pt x="293" y="1085"/>
                    <a:pt x="308" y="1077"/>
                  </a:cubicBezTo>
                  <a:cubicBezTo>
                    <a:pt x="315" y="1070"/>
                    <a:pt x="330" y="1063"/>
                    <a:pt x="337" y="1056"/>
                  </a:cubicBezTo>
                  <a:cubicBezTo>
                    <a:pt x="352" y="1041"/>
                    <a:pt x="366" y="1026"/>
                    <a:pt x="381" y="1026"/>
                  </a:cubicBezTo>
                  <a:lnTo>
                    <a:pt x="381" y="1026"/>
                  </a:lnTo>
                  <a:cubicBezTo>
                    <a:pt x="381" y="1026"/>
                    <a:pt x="381" y="1033"/>
                    <a:pt x="381" y="1041"/>
                  </a:cubicBezTo>
                  <a:cubicBezTo>
                    <a:pt x="388" y="1056"/>
                    <a:pt x="388" y="1077"/>
                    <a:pt x="396" y="1092"/>
                  </a:cubicBezTo>
                  <a:cubicBezTo>
                    <a:pt x="410" y="1121"/>
                    <a:pt x="454" y="1158"/>
                    <a:pt x="506" y="1158"/>
                  </a:cubicBezTo>
                  <a:cubicBezTo>
                    <a:pt x="528" y="1158"/>
                    <a:pt x="542" y="1151"/>
                    <a:pt x="564" y="1136"/>
                  </a:cubicBezTo>
                  <a:cubicBezTo>
                    <a:pt x="579" y="1121"/>
                    <a:pt x="593" y="1107"/>
                    <a:pt x="608" y="1092"/>
                  </a:cubicBezTo>
                  <a:cubicBezTo>
                    <a:pt x="623" y="1070"/>
                    <a:pt x="638" y="1056"/>
                    <a:pt x="660" y="1048"/>
                  </a:cubicBezTo>
                  <a:cubicBezTo>
                    <a:pt x="674" y="1041"/>
                    <a:pt x="674" y="1041"/>
                    <a:pt x="674" y="1041"/>
                  </a:cubicBezTo>
                  <a:cubicBezTo>
                    <a:pt x="689" y="1033"/>
                    <a:pt x="703" y="1026"/>
                    <a:pt x="703" y="1026"/>
                  </a:cubicBezTo>
                  <a:cubicBezTo>
                    <a:pt x="711" y="1026"/>
                    <a:pt x="718" y="1026"/>
                    <a:pt x="733" y="1048"/>
                  </a:cubicBezTo>
                  <a:cubicBezTo>
                    <a:pt x="733" y="1056"/>
                    <a:pt x="733" y="1056"/>
                    <a:pt x="733" y="1056"/>
                  </a:cubicBezTo>
                  <a:cubicBezTo>
                    <a:pt x="784" y="1107"/>
                    <a:pt x="857" y="1195"/>
                    <a:pt x="923" y="1195"/>
                  </a:cubicBezTo>
                  <a:cubicBezTo>
                    <a:pt x="931" y="1195"/>
                    <a:pt x="931" y="1195"/>
                    <a:pt x="938" y="1195"/>
                  </a:cubicBezTo>
                  <a:cubicBezTo>
                    <a:pt x="953" y="1195"/>
                    <a:pt x="967" y="1187"/>
                    <a:pt x="982" y="1187"/>
                  </a:cubicBezTo>
                  <a:cubicBezTo>
                    <a:pt x="1019" y="1187"/>
                    <a:pt x="1048" y="1187"/>
                    <a:pt x="1084" y="1151"/>
                  </a:cubicBezTo>
                  <a:cubicBezTo>
                    <a:pt x="1092" y="1143"/>
                    <a:pt x="1092" y="1143"/>
                    <a:pt x="1099" y="1136"/>
                  </a:cubicBezTo>
                  <a:cubicBezTo>
                    <a:pt x="1121" y="1114"/>
                    <a:pt x="1129" y="1107"/>
                    <a:pt x="1158" y="1099"/>
                  </a:cubicBezTo>
                  <a:cubicBezTo>
                    <a:pt x="1172" y="1099"/>
                    <a:pt x="1180" y="1099"/>
                    <a:pt x="1187" y="1092"/>
                  </a:cubicBezTo>
                  <a:cubicBezTo>
                    <a:pt x="1202" y="1092"/>
                    <a:pt x="1202" y="1092"/>
                    <a:pt x="1202" y="1092"/>
                  </a:cubicBezTo>
                  <a:cubicBezTo>
                    <a:pt x="1231" y="1092"/>
                    <a:pt x="1231" y="1092"/>
                    <a:pt x="1231" y="1092"/>
                  </a:cubicBezTo>
                  <a:cubicBezTo>
                    <a:pt x="1231" y="1056"/>
                    <a:pt x="1231" y="1056"/>
                    <a:pt x="1231" y="1056"/>
                  </a:cubicBezTo>
                  <a:cubicBezTo>
                    <a:pt x="1216" y="1004"/>
                    <a:pt x="1216" y="1004"/>
                    <a:pt x="1216" y="1004"/>
                  </a:cubicBezTo>
                  <a:cubicBezTo>
                    <a:pt x="1216" y="997"/>
                    <a:pt x="1216" y="997"/>
                    <a:pt x="1216" y="997"/>
                  </a:cubicBezTo>
                  <a:lnTo>
                    <a:pt x="1216" y="997"/>
                  </a:lnTo>
                  <a:cubicBezTo>
                    <a:pt x="1202" y="975"/>
                    <a:pt x="1150" y="909"/>
                    <a:pt x="1114" y="894"/>
                  </a:cubicBezTo>
                  <a:cubicBezTo>
                    <a:pt x="1092" y="894"/>
                    <a:pt x="1070" y="865"/>
                    <a:pt x="1062" y="843"/>
                  </a:cubicBezTo>
                  <a:cubicBezTo>
                    <a:pt x="1055" y="792"/>
                    <a:pt x="997" y="748"/>
                    <a:pt x="931" y="748"/>
                  </a:cubicBezTo>
                  <a:cubicBezTo>
                    <a:pt x="923" y="748"/>
                    <a:pt x="909" y="704"/>
                    <a:pt x="901" y="660"/>
                  </a:cubicBezTo>
                  <a:lnTo>
                    <a:pt x="901" y="660"/>
                  </a:lnTo>
                  <a:cubicBezTo>
                    <a:pt x="901" y="652"/>
                    <a:pt x="901" y="652"/>
                    <a:pt x="901" y="652"/>
                  </a:cubicBezTo>
                  <a:cubicBezTo>
                    <a:pt x="901" y="645"/>
                    <a:pt x="894" y="630"/>
                    <a:pt x="894" y="616"/>
                  </a:cubicBezTo>
                  <a:cubicBezTo>
                    <a:pt x="931" y="616"/>
                    <a:pt x="967" y="594"/>
                    <a:pt x="974" y="587"/>
                  </a:cubicBezTo>
                  <a:cubicBezTo>
                    <a:pt x="1011" y="565"/>
                    <a:pt x="1011" y="565"/>
                    <a:pt x="1011" y="565"/>
                  </a:cubicBezTo>
                  <a:cubicBezTo>
                    <a:pt x="982" y="535"/>
                    <a:pt x="982" y="535"/>
                    <a:pt x="982" y="535"/>
                  </a:cubicBezTo>
                  <a:lnTo>
                    <a:pt x="982" y="535"/>
                  </a:lnTo>
                  <a:lnTo>
                    <a:pt x="974" y="528"/>
                  </a:lnTo>
                  <a:cubicBezTo>
                    <a:pt x="982" y="513"/>
                    <a:pt x="989" y="506"/>
                    <a:pt x="997" y="491"/>
                  </a:cubicBezTo>
                  <a:cubicBezTo>
                    <a:pt x="1004" y="469"/>
                    <a:pt x="1011" y="455"/>
                    <a:pt x="1033" y="425"/>
                  </a:cubicBezTo>
                  <a:cubicBezTo>
                    <a:pt x="1055" y="411"/>
                    <a:pt x="1055" y="389"/>
                    <a:pt x="1048" y="374"/>
                  </a:cubicBezTo>
                  <a:cubicBezTo>
                    <a:pt x="1041" y="337"/>
                    <a:pt x="997" y="323"/>
                    <a:pt x="960" y="301"/>
                  </a:cubicBezTo>
                  <a:cubicBezTo>
                    <a:pt x="953" y="301"/>
                    <a:pt x="945" y="301"/>
                    <a:pt x="938" y="293"/>
                  </a:cubicBezTo>
                  <a:cubicBezTo>
                    <a:pt x="909" y="279"/>
                    <a:pt x="879" y="242"/>
                    <a:pt x="879" y="227"/>
                  </a:cubicBezTo>
                  <a:cubicBezTo>
                    <a:pt x="879" y="220"/>
                    <a:pt x="916" y="176"/>
                    <a:pt x="953" y="154"/>
                  </a:cubicBezTo>
                  <a:cubicBezTo>
                    <a:pt x="997" y="118"/>
                    <a:pt x="974" y="59"/>
                    <a:pt x="953" y="15"/>
                  </a:cubicBezTo>
                  <a:cubicBezTo>
                    <a:pt x="938" y="0"/>
                    <a:pt x="938" y="0"/>
                    <a:pt x="938" y="0"/>
                  </a:cubicBezTo>
                  <a:lnTo>
                    <a:pt x="923" y="30"/>
                  </a:ln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</p:grpSp>
      <p:sp>
        <p:nvSpPr>
          <p:cNvPr id="52" name="Rectangle 51"/>
          <p:cNvSpPr/>
          <p:nvPr/>
        </p:nvSpPr>
        <p:spPr>
          <a:xfrm>
            <a:off x="11850310" y="4938324"/>
            <a:ext cx="10744200" cy="71933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4" name="Shape 2540"/>
          <p:cNvSpPr/>
          <p:nvPr/>
        </p:nvSpPr>
        <p:spPr>
          <a:xfrm>
            <a:off x="12641550" y="5638239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5" name="Shape 2540"/>
          <p:cNvSpPr/>
          <p:nvPr/>
        </p:nvSpPr>
        <p:spPr>
          <a:xfrm>
            <a:off x="12641550" y="7273250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6" name="Shape 2540"/>
          <p:cNvSpPr/>
          <p:nvPr/>
        </p:nvSpPr>
        <p:spPr>
          <a:xfrm>
            <a:off x="12641550" y="8908261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7" name="Shape 2540"/>
          <p:cNvSpPr/>
          <p:nvPr/>
        </p:nvSpPr>
        <p:spPr>
          <a:xfrm>
            <a:off x="12641550" y="10543272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3554784" y="5421007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3554784" y="7072023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3554784" y="8723039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13554784" y="10377766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BBE83A-6AE3-4EC8-A76B-8D13EE7B7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Germany Ma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6324495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/>
          <p:nvPr/>
        </p:nvGrpSpPr>
        <p:grpSpPr>
          <a:xfrm>
            <a:off x="12658726" y="4317593"/>
            <a:ext cx="10609301" cy="7167573"/>
            <a:chOff x="13017546" y="3273350"/>
            <a:chExt cx="10283367" cy="6947373"/>
          </a:xfrm>
          <a:solidFill>
            <a:schemeClr val="bg1">
              <a:lumMod val="85000"/>
            </a:schemeClr>
          </a:solidFill>
        </p:grpSpPr>
        <p:sp>
          <p:nvSpPr>
            <p:cNvPr id="75" name="Freeform 6"/>
            <p:cNvSpPr>
              <a:spLocks/>
            </p:cNvSpPr>
            <p:nvPr/>
          </p:nvSpPr>
          <p:spPr bwMode="auto">
            <a:xfrm>
              <a:off x="17272874" y="3991979"/>
              <a:ext cx="426764" cy="559971"/>
            </a:xfrm>
            <a:custGeom>
              <a:avLst/>
              <a:gdLst>
                <a:gd name="T0" fmla="*/ 72 w 78"/>
                <a:gd name="T1" fmla="*/ 39 h 113"/>
                <a:gd name="T2" fmla="*/ 66 w 78"/>
                <a:gd name="T3" fmla="*/ 44 h 113"/>
                <a:gd name="T4" fmla="*/ 61 w 78"/>
                <a:gd name="T5" fmla="*/ 44 h 113"/>
                <a:gd name="T6" fmla="*/ 65 w 78"/>
                <a:gd name="T7" fmla="*/ 38 h 113"/>
                <a:gd name="T8" fmla="*/ 72 w 78"/>
                <a:gd name="T9" fmla="*/ 14 h 113"/>
                <a:gd name="T10" fmla="*/ 66 w 78"/>
                <a:gd name="T11" fmla="*/ 12 h 113"/>
                <a:gd name="T12" fmla="*/ 65 w 78"/>
                <a:gd name="T13" fmla="*/ 1 h 113"/>
                <a:gd name="T14" fmla="*/ 51 w 78"/>
                <a:gd name="T15" fmla="*/ 4 h 113"/>
                <a:gd name="T16" fmla="*/ 46 w 78"/>
                <a:gd name="T17" fmla="*/ 9 h 113"/>
                <a:gd name="T18" fmla="*/ 40 w 78"/>
                <a:gd name="T19" fmla="*/ 6 h 113"/>
                <a:gd name="T20" fmla="*/ 36 w 78"/>
                <a:gd name="T21" fmla="*/ 7 h 113"/>
                <a:gd name="T22" fmla="*/ 25 w 78"/>
                <a:gd name="T23" fmla="*/ 16 h 113"/>
                <a:gd name="T24" fmla="*/ 24 w 78"/>
                <a:gd name="T25" fmla="*/ 17 h 113"/>
                <a:gd name="T26" fmla="*/ 19 w 78"/>
                <a:gd name="T27" fmla="*/ 26 h 113"/>
                <a:gd name="T28" fmla="*/ 31 w 78"/>
                <a:gd name="T29" fmla="*/ 33 h 113"/>
                <a:gd name="T30" fmla="*/ 30 w 78"/>
                <a:gd name="T31" fmla="*/ 35 h 113"/>
                <a:gd name="T32" fmla="*/ 30 w 78"/>
                <a:gd name="T33" fmla="*/ 49 h 113"/>
                <a:gd name="T34" fmla="*/ 27 w 78"/>
                <a:gd name="T35" fmla="*/ 51 h 113"/>
                <a:gd name="T36" fmla="*/ 20 w 78"/>
                <a:gd name="T37" fmla="*/ 44 h 113"/>
                <a:gd name="T38" fmla="*/ 11 w 78"/>
                <a:gd name="T39" fmla="*/ 33 h 113"/>
                <a:gd name="T40" fmla="*/ 0 w 78"/>
                <a:gd name="T41" fmla="*/ 47 h 113"/>
                <a:gd name="T42" fmla="*/ 6 w 78"/>
                <a:gd name="T43" fmla="*/ 63 h 113"/>
                <a:gd name="T44" fmla="*/ 15 w 78"/>
                <a:gd name="T45" fmla="*/ 71 h 113"/>
                <a:gd name="T46" fmla="*/ 22 w 78"/>
                <a:gd name="T47" fmla="*/ 82 h 113"/>
                <a:gd name="T48" fmla="*/ 33 w 78"/>
                <a:gd name="T49" fmla="*/ 107 h 113"/>
                <a:gd name="T50" fmla="*/ 48 w 78"/>
                <a:gd name="T51" fmla="*/ 111 h 113"/>
                <a:gd name="T52" fmla="*/ 56 w 78"/>
                <a:gd name="T53" fmla="*/ 103 h 113"/>
                <a:gd name="T54" fmla="*/ 70 w 78"/>
                <a:gd name="T55" fmla="*/ 89 h 113"/>
                <a:gd name="T56" fmla="*/ 72 w 78"/>
                <a:gd name="T57" fmla="*/ 79 h 113"/>
                <a:gd name="T58" fmla="*/ 71 w 78"/>
                <a:gd name="T59" fmla="*/ 58 h 113"/>
                <a:gd name="T60" fmla="*/ 69 w 78"/>
                <a:gd name="T61" fmla="*/ 54 h 113"/>
                <a:gd name="T62" fmla="*/ 77 w 78"/>
                <a:gd name="T63" fmla="*/ 5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8" h="113">
                  <a:moveTo>
                    <a:pt x="77" y="42"/>
                  </a:moveTo>
                  <a:cubicBezTo>
                    <a:pt x="76" y="40"/>
                    <a:pt x="74" y="39"/>
                    <a:pt x="72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69" y="39"/>
                    <a:pt x="67" y="41"/>
                    <a:pt x="66" y="44"/>
                  </a:cubicBezTo>
                  <a:cubicBezTo>
                    <a:pt x="65" y="44"/>
                    <a:pt x="65" y="45"/>
                    <a:pt x="65" y="45"/>
                  </a:cubicBezTo>
                  <a:cubicBezTo>
                    <a:pt x="64" y="44"/>
                    <a:pt x="62" y="44"/>
                    <a:pt x="61" y="44"/>
                  </a:cubicBezTo>
                  <a:cubicBezTo>
                    <a:pt x="60" y="44"/>
                    <a:pt x="59" y="44"/>
                    <a:pt x="59" y="43"/>
                  </a:cubicBezTo>
                  <a:cubicBezTo>
                    <a:pt x="60" y="42"/>
                    <a:pt x="63" y="39"/>
                    <a:pt x="65" y="38"/>
                  </a:cubicBezTo>
                  <a:cubicBezTo>
                    <a:pt x="69" y="36"/>
                    <a:pt x="71" y="34"/>
                    <a:pt x="72" y="33"/>
                  </a:cubicBezTo>
                  <a:cubicBezTo>
                    <a:pt x="74" y="28"/>
                    <a:pt x="78" y="18"/>
                    <a:pt x="72" y="14"/>
                  </a:cubicBezTo>
                  <a:cubicBezTo>
                    <a:pt x="71" y="13"/>
                    <a:pt x="69" y="13"/>
                    <a:pt x="68" y="12"/>
                  </a:cubicBezTo>
                  <a:cubicBezTo>
                    <a:pt x="67" y="12"/>
                    <a:pt x="67" y="12"/>
                    <a:pt x="66" y="12"/>
                  </a:cubicBezTo>
                  <a:cubicBezTo>
                    <a:pt x="66" y="11"/>
                    <a:pt x="67" y="10"/>
                    <a:pt x="67" y="9"/>
                  </a:cubicBezTo>
                  <a:cubicBezTo>
                    <a:pt x="68" y="8"/>
                    <a:pt x="69" y="4"/>
                    <a:pt x="65" y="1"/>
                  </a:cubicBezTo>
                  <a:cubicBezTo>
                    <a:pt x="65" y="0"/>
                    <a:pt x="63" y="0"/>
                    <a:pt x="62" y="0"/>
                  </a:cubicBezTo>
                  <a:cubicBezTo>
                    <a:pt x="58" y="0"/>
                    <a:pt x="53" y="3"/>
                    <a:pt x="51" y="4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7"/>
                    <a:pt x="47" y="9"/>
                    <a:pt x="46" y="9"/>
                  </a:cubicBezTo>
                  <a:cubicBezTo>
                    <a:pt x="45" y="9"/>
                    <a:pt x="45" y="8"/>
                    <a:pt x="44" y="8"/>
                  </a:cubicBezTo>
                  <a:cubicBezTo>
                    <a:pt x="43" y="7"/>
                    <a:pt x="42" y="6"/>
                    <a:pt x="40" y="6"/>
                  </a:cubicBezTo>
                  <a:cubicBezTo>
                    <a:pt x="39" y="6"/>
                    <a:pt x="39" y="7"/>
                    <a:pt x="38" y="7"/>
                  </a:cubicBezTo>
                  <a:cubicBezTo>
                    <a:pt x="37" y="7"/>
                    <a:pt x="36" y="7"/>
                    <a:pt x="36" y="7"/>
                  </a:cubicBezTo>
                  <a:cubicBezTo>
                    <a:pt x="29" y="9"/>
                    <a:pt x="27" y="9"/>
                    <a:pt x="26" y="11"/>
                  </a:cubicBezTo>
                  <a:cubicBezTo>
                    <a:pt x="24" y="13"/>
                    <a:pt x="25" y="15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6"/>
                    <a:pt x="24" y="17"/>
                  </a:cubicBezTo>
                  <a:cubicBezTo>
                    <a:pt x="23" y="17"/>
                    <a:pt x="22" y="18"/>
                    <a:pt x="21" y="19"/>
                  </a:cubicBezTo>
                  <a:cubicBezTo>
                    <a:pt x="20" y="20"/>
                    <a:pt x="17" y="23"/>
                    <a:pt x="19" y="26"/>
                  </a:cubicBezTo>
                  <a:cubicBezTo>
                    <a:pt x="20" y="30"/>
                    <a:pt x="24" y="31"/>
                    <a:pt x="28" y="32"/>
                  </a:cubicBezTo>
                  <a:cubicBezTo>
                    <a:pt x="29" y="32"/>
                    <a:pt x="30" y="32"/>
                    <a:pt x="31" y="33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1" y="33"/>
                    <a:pt x="30" y="34"/>
                    <a:pt x="30" y="35"/>
                  </a:cubicBezTo>
                  <a:cubicBezTo>
                    <a:pt x="29" y="37"/>
                    <a:pt x="27" y="40"/>
                    <a:pt x="29" y="43"/>
                  </a:cubicBezTo>
                  <a:cubicBezTo>
                    <a:pt x="30" y="45"/>
                    <a:pt x="30" y="47"/>
                    <a:pt x="30" y="49"/>
                  </a:cubicBezTo>
                  <a:cubicBezTo>
                    <a:pt x="30" y="49"/>
                    <a:pt x="30" y="50"/>
                    <a:pt x="29" y="50"/>
                  </a:cubicBezTo>
                  <a:cubicBezTo>
                    <a:pt x="28" y="51"/>
                    <a:pt x="28" y="51"/>
                    <a:pt x="27" y="51"/>
                  </a:cubicBezTo>
                  <a:cubicBezTo>
                    <a:pt x="25" y="51"/>
                    <a:pt x="22" y="49"/>
                    <a:pt x="21" y="47"/>
                  </a:cubicBezTo>
                  <a:cubicBezTo>
                    <a:pt x="21" y="46"/>
                    <a:pt x="20" y="45"/>
                    <a:pt x="20" y="44"/>
                  </a:cubicBezTo>
                  <a:cubicBezTo>
                    <a:pt x="19" y="40"/>
                    <a:pt x="17" y="35"/>
                    <a:pt x="13" y="33"/>
                  </a:cubicBezTo>
                  <a:cubicBezTo>
                    <a:pt x="12" y="33"/>
                    <a:pt x="11" y="33"/>
                    <a:pt x="11" y="33"/>
                  </a:cubicBezTo>
                  <a:cubicBezTo>
                    <a:pt x="9" y="33"/>
                    <a:pt x="7" y="34"/>
                    <a:pt x="5" y="36"/>
                  </a:cubicBezTo>
                  <a:cubicBezTo>
                    <a:pt x="2" y="39"/>
                    <a:pt x="0" y="44"/>
                    <a:pt x="0" y="47"/>
                  </a:cubicBezTo>
                  <a:cubicBezTo>
                    <a:pt x="1" y="51"/>
                    <a:pt x="2" y="54"/>
                    <a:pt x="4" y="57"/>
                  </a:cubicBezTo>
                  <a:cubicBezTo>
                    <a:pt x="5" y="59"/>
                    <a:pt x="6" y="61"/>
                    <a:pt x="6" y="63"/>
                  </a:cubicBezTo>
                  <a:cubicBezTo>
                    <a:pt x="8" y="67"/>
                    <a:pt x="10" y="69"/>
                    <a:pt x="12" y="70"/>
                  </a:cubicBezTo>
                  <a:cubicBezTo>
                    <a:pt x="13" y="70"/>
                    <a:pt x="14" y="71"/>
                    <a:pt x="15" y="71"/>
                  </a:cubicBezTo>
                  <a:cubicBezTo>
                    <a:pt x="16" y="73"/>
                    <a:pt x="17" y="75"/>
                    <a:pt x="19" y="77"/>
                  </a:cubicBezTo>
                  <a:cubicBezTo>
                    <a:pt x="20" y="79"/>
                    <a:pt x="21" y="80"/>
                    <a:pt x="22" y="82"/>
                  </a:cubicBezTo>
                  <a:cubicBezTo>
                    <a:pt x="25" y="86"/>
                    <a:pt x="26" y="90"/>
                    <a:pt x="28" y="94"/>
                  </a:cubicBezTo>
                  <a:cubicBezTo>
                    <a:pt x="29" y="99"/>
                    <a:pt x="30" y="103"/>
                    <a:pt x="33" y="107"/>
                  </a:cubicBezTo>
                  <a:cubicBezTo>
                    <a:pt x="35" y="109"/>
                    <a:pt x="38" y="113"/>
                    <a:pt x="42" y="113"/>
                  </a:cubicBezTo>
                  <a:cubicBezTo>
                    <a:pt x="45" y="113"/>
                    <a:pt x="47" y="112"/>
                    <a:pt x="48" y="111"/>
                  </a:cubicBezTo>
                  <a:cubicBezTo>
                    <a:pt x="51" y="108"/>
                    <a:pt x="51" y="105"/>
                    <a:pt x="51" y="102"/>
                  </a:cubicBezTo>
                  <a:cubicBezTo>
                    <a:pt x="53" y="102"/>
                    <a:pt x="54" y="103"/>
                    <a:pt x="56" y="103"/>
                  </a:cubicBezTo>
                  <a:cubicBezTo>
                    <a:pt x="59" y="103"/>
                    <a:pt x="61" y="102"/>
                    <a:pt x="63" y="101"/>
                  </a:cubicBezTo>
                  <a:cubicBezTo>
                    <a:pt x="68" y="97"/>
                    <a:pt x="69" y="93"/>
                    <a:pt x="70" y="89"/>
                  </a:cubicBezTo>
                  <a:cubicBezTo>
                    <a:pt x="70" y="87"/>
                    <a:pt x="70" y="86"/>
                    <a:pt x="70" y="85"/>
                  </a:cubicBezTo>
                  <a:cubicBezTo>
                    <a:pt x="71" y="83"/>
                    <a:pt x="72" y="81"/>
                    <a:pt x="72" y="79"/>
                  </a:cubicBezTo>
                  <a:cubicBezTo>
                    <a:pt x="74" y="76"/>
                    <a:pt x="75" y="73"/>
                    <a:pt x="75" y="69"/>
                  </a:cubicBezTo>
                  <a:cubicBezTo>
                    <a:pt x="76" y="64"/>
                    <a:pt x="74" y="61"/>
                    <a:pt x="71" y="58"/>
                  </a:cubicBezTo>
                  <a:cubicBezTo>
                    <a:pt x="71" y="58"/>
                    <a:pt x="70" y="57"/>
                    <a:pt x="69" y="56"/>
                  </a:cubicBezTo>
                  <a:cubicBezTo>
                    <a:pt x="69" y="55"/>
                    <a:pt x="69" y="55"/>
                    <a:pt x="69" y="54"/>
                  </a:cubicBezTo>
                  <a:cubicBezTo>
                    <a:pt x="69" y="54"/>
                    <a:pt x="70" y="54"/>
                    <a:pt x="70" y="54"/>
                  </a:cubicBezTo>
                  <a:cubicBezTo>
                    <a:pt x="73" y="54"/>
                    <a:pt x="76" y="52"/>
                    <a:pt x="77" y="50"/>
                  </a:cubicBezTo>
                  <a:cubicBezTo>
                    <a:pt x="78" y="48"/>
                    <a:pt x="78" y="45"/>
                    <a:pt x="77" y="42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76" name="Freeform 7"/>
            <p:cNvSpPr>
              <a:spLocks/>
            </p:cNvSpPr>
            <p:nvPr/>
          </p:nvSpPr>
          <p:spPr bwMode="auto">
            <a:xfrm>
              <a:off x="17344685" y="4809537"/>
              <a:ext cx="342642" cy="304251"/>
            </a:xfrm>
            <a:custGeom>
              <a:avLst/>
              <a:gdLst>
                <a:gd name="T0" fmla="*/ 63 w 63"/>
                <a:gd name="T1" fmla="*/ 46 h 61"/>
                <a:gd name="T2" fmla="*/ 58 w 63"/>
                <a:gd name="T3" fmla="*/ 40 h 61"/>
                <a:gd name="T4" fmla="*/ 55 w 63"/>
                <a:gd name="T5" fmla="*/ 37 h 61"/>
                <a:gd name="T6" fmla="*/ 53 w 63"/>
                <a:gd name="T7" fmla="*/ 30 h 61"/>
                <a:gd name="T8" fmla="*/ 50 w 63"/>
                <a:gd name="T9" fmla="*/ 19 h 61"/>
                <a:gd name="T10" fmla="*/ 44 w 63"/>
                <a:gd name="T11" fmla="*/ 13 h 61"/>
                <a:gd name="T12" fmla="*/ 37 w 63"/>
                <a:gd name="T13" fmla="*/ 6 h 61"/>
                <a:gd name="T14" fmla="*/ 29 w 63"/>
                <a:gd name="T15" fmla="*/ 0 h 61"/>
                <a:gd name="T16" fmla="*/ 20 w 63"/>
                <a:gd name="T17" fmla="*/ 6 h 61"/>
                <a:gd name="T18" fmla="*/ 17 w 63"/>
                <a:gd name="T19" fmla="*/ 16 h 61"/>
                <a:gd name="T20" fmla="*/ 14 w 63"/>
                <a:gd name="T21" fmla="*/ 24 h 61"/>
                <a:gd name="T22" fmla="*/ 10 w 63"/>
                <a:gd name="T23" fmla="*/ 25 h 61"/>
                <a:gd name="T24" fmla="*/ 1 w 63"/>
                <a:gd name="T25" fmla="*/ 31 h 61"/>
                <a:gd name="T26" fmla="*/ 1 w 63"/>
                <a:gd name="T27" fmla="*/ 37 h 61"/>
                <a:gd name="T28" fmla="*/ 12 w 63"/>
                <a:gd name="T29" fmla="*/ 42 h 61"/>
                <a:gd name="T30" fmla="*/ 15 w 63"/>
                <a:gd name="T31" fmla="*/ 43 h 61"/>
                <a:gd name="T32" fmla="*/ 21 w 63"/>
                <a:gd name="T33" fmla="*/ 48 h 61"/>
                <a:gd name="T34" fmla="*/ 26 w 63"/>
                <a:gd name="T35" fmla="*/ 54 h 61"/>
                <a:gd name="T36" fmla="*/ 43 w 63"/>
                <a:gd name="T37" fmla="*/ 61 h 61"/>
                <a:gd name="T38" fmla="*/ 43 w 63"/>
                <a:gd name="T39" fmla="*/ 61 h 61"/>
                <a:gd name="T40" fmla="*/ 61 w 63"/>
                <a:gd name="T41" fmla="*/ 51 h 61"/>
                <a:gd name="T42" fmla="*/ 63 w 63"/>
                <a:gd name="T43" fmla="*/ 4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" h="61">
                  <a:moveTo>
                    <a:pt x="63" y="46"/>
                  </a:moveTo>
                  <a:cubicBezTo>
                    <a:pt x="63" y="43"/>
                    <a:pt x="60" y="41"/>
                    <a:pt x="58" y="40"/>
                  </a:cubicBezTo>
                  <a:cubicBezTo>
                    <a:pt x="57" y="39"/>
                    <a:pt x="56" y="38"/>
                    <a:pt x="55" y="37"/>
                  </a:cubicBezTo>
                  <a:cubicBezTo>
                    <a:pt x="54" y="35"/>
                    <a:pt x="53" y="33"/>
                    <a:pt x="53" y="30"/>
                  </a:cubicBezTo>
                  <a:cubicBezTo>
                    <a:pt x="53" y="26"/>
                    <a:pt x="53" y="22"/>
                    <a:pt x="50" y="19"/>
                  </a:cubicBezTo>
                  <a:cubicBezTo>
                    <a:pt x="48" y="16"/>
                    <a:pt x="46" y="14"/>
                    <a:pt x="44" y="13"/>
                  </a:cubicBezTo>
                  <a:cubicBezTo>
                    <a:pt x="41" y="11"/>
                    <a:pt x="39" y="9"/>
                    <a:pt x="37" y="6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26" y="0"/>
                    <a:pt x="23" y="2"/>
                    <a:pt x="20" y="6"/>
                  </a:cubicBezTo>
                  <a:cubicBezTo>
                    <a:pt x="18" y="9"/>
                    <a:pt x="18" y="13"/>
                    <a:pt x="17" y="16"/>
                  </a:cubicBezTo>
                  <a:cubicBezTo>
                    <a:pt x="17" y="19"/>
                    <a:pt x="16" y="23"/>
                    <a:pt x="14" y="24"/>
                  </a:cubicBezTo>
                  <a:cubicBezTo>
                    <a:pt x="13" y="25"/>
                    <a:pt x="12" y="25"/>
                    <a:pt x="10" y="25"/>
                  </a:cubicBezTo>
                  <a:cubicBezTo>
                    <a:pt x="7" y="26"/>
                    <a:pt x="3" y="27"/>
                    <a:pt x="1" y="31"/>
                  </a:cubicBezTo>
                  <a:cubicBezTo>
                    <a:pt x="0" y="34"/>
                    <a:pt x="1" y="36"/>
                    <a:pt x="1" y="37"/>
                  </a:cubicBezTo>
                  <a:cubicBezTo>
                    <a:pt x="3" y="41"/>
                    <a:pt x="8" y="41"/>
                    <a:pt x="12" y="42"/>
                  </a:cubicBezTo>
                  <a:cubicBezTo>
                    <a:pt x="13" y="42"/>
                    <a:pt x="14" y="42"/>
                    <a:pt x="15" y="43"/>
                  </a:cubicBezTo>
                  <a:cubicBezTo>
                    <a:pt x="18" y="43"/>
                    <a:pt x="19" y="46"/>
                    <a:pt x="21" y="48"/>
                  </a:cubicBezTo>
                  <a:cubicBezTo>
                    <a:pt x="22" y="50"/>
                    <a:pt x="24" y="52"/>
                    <a:pt x="26" y="54"/>
                  </a:cubicBezTo>
                  <a:cubicBezTo>
                    <a:pt x="27" y="54"/>
                    <a:pt x="37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8" y="61"/>
                    <a:pt x="59" y="53"/>
                    <a:pt x="61" y="51"/>
                  </a:cubicBezTo>
                  <a:cubicBezTo>
                    <a:pt x="63" y="49"/>
                    <a:pt x="63" y="47"/>
                    <a:pt x="63" y="46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77" name="Freeform 9"/>
            <p:cNvSpPr>
              <a:spLocks/>
            </p:cNvSpPr>
            <p:nvPr/>
          </p:nvSpPr>
          <p:spPr bwMode="auto">
            <a:xfrm>
              <a:off x="16162878" y="3907984"/>
              <a:ext cx="681181" cy="713030"/>
            </a:xfrm>
            <a:custGeom>
              <a:avLst/>
              <a:gdLst>
                <a:gd name="T0" fmla="*/ 110 w 125"/>
                <a:gd name="T1" fmla="*/ 51 h 144"/>
                <a:gd name="T2" fmla="*/ 108 w 125"/>
                <a:gd name="T3" fmla="*/ 50 h 144"/>
                <a:gd name="T4" fmla="*/ 111 w 125"/>
                <a:gd name="T5" fmla="*/ 35 h 144"/>
                <a:gd name="T6" fmla="*/ 96 w 125"/>
                <a:gd name="T7" fmla="*/ 19 h 144"/>
                <a:gd name="T8" fmla="*/ 85 w 125"/>
                <a:gd name="T9" fmla="*/ 26 h 144"/>
                <a:gd name="T10" fmla="*/ 80 w 125"/>
                <a:gd name="T11" fmla="*/ 30 h 144"/>
                <a:gd name="T12" fmla="*/ 81 w 125"/>
                <a:gd name="T13" fmla="*/ 27 h 144"/>
                <a:gd name="T14" fmla="*/ 89 w 125"/>
                <a:gd name="T15" fmla="*/ 18 h 144"/>
                <a:gd name="T16" fmla="*/ 92 w 125"/>
                <a:gd name="T17" fmla="*/ 4 h 144"/>
                <a:gd name="T18" fmla="*/ 85 w 125"/>
                <a:gd name="T19" fmla="*/ 0 h 144"/>
                <a:gd name="T20" fmla="*/ 75 w 125"/>
                <a:gd name="T21" fmla="*/ 1 h 144"/>
                <a:gd name="T22" fmla="*/ 61 w 125"/>
                <a:gd name="T23" fmla="*/ 2 h 144"/>
                <a:gd name="T24" fmla="*/ 54 w 125"/>
                <a:gd name="T25" fmla="*/ 3 h 144"/>
                <a:gd name="T26" fmla="*/ 36 w 125"/>
                <a:gd name="T27" fmla="*/ 9 h 144"/>
                <a:gd name="T28" fmla="*/ 26 w 125"/>
                <a:gd name="T29" fmla="*/ 18 h 144"/>
                <a:gd name="T30" fmla="*/ 27 w 125"/>
                <a:gd name="T31" fmla="*/ 23 h 144"/>
                <a:gd name="T32" fmla="*/ 14 w 125"/>
                <a:gd name="T33" fmla="*/ 29 h 144"/>
                <a:gd name="T34" fmla="*/ 8 w 125"/>
                <a:gd name="T35" fmla="*/ 38 h 144"/>
                <a:gd name="T36" fmla="*/ 19 w 125"/>
                <a:gd name="T37" fmla="*/ 47 h 144"/>
                <a:gd name="T38" fmla="*/ 21 w 125"/>
                <a:gd name="T39" fmla="*/ 48 h 144"/>
                <a:gd name="T40" fmla="*/ 12 w 125"/>
                <a:gd name="T41" fmla="*/ 52 h 144"/>
                <a:gd name="T42" fmla="*/ 17 w 125"/>
                <a:gd name="T43" fmla="*/ 61 h 144"/>
                <a:gd name="T44" fmla="*/ 24 w 125"/>
                <a:gd name="T45" fmla="*/ 61 h 144"/>
                <a:gd name="T46" fmla="*/ 28 w 125"/>
                <a:gd name="T47" fmla="*/ 61 h 144"/>
                <a:gd name="T48" fmla="*/ 37 w 125"/>
                <a:gd name="T49" fmla="*/ 63 h 144"/>
                <a:gd name="T50" fmla="*/ 39 w 125"/>
                <a:gd name="T51" fmla="*/ 63 h 144"/>
                <a:gd name="T52" fmla="*/ 43 w 125"/>
                <a:gd name="T53" fmla="*/ 63 h 144"/>
                <a:gd name="T54" fmla="*/ 34 w 125"/>
                <a:gd name="T55" fmla="*/ 64 h 144"/>
                <a:gd name="T56" fmla="*/ 17 w 125"/>
                <a:gd name="T57" fmla="*/ 63 h 144"/>
                <a:gd name="T58" fmla="*/ 3 w 125"/>
                <a:gd name="T59" fmla="*/ 72 h 144"/>
                <a:gd name="T60" fmla="*/ 18 w 125"/>
                <a:gd name="T61" fmla="*/ 93 h 144"/>
                <a:gd name="T62" fmla="*/ 38 w 125"/>
                <a:gd name="T63" fmla="*/ 102 h 144"/>
                <a:gd name="T64" fmla="*/ 50 w 125"/>
                <a:gd name="T65" fmla="*/ 105 h 144"/>
                <a:gd name="T66" fmla="*/ 60 w 125"/>
                <a:gd name="T67" fmla="*/ 110 h 144"/>
                <a:gd name="T68" fmla="*/ 66 w 125"/>
                <a:gd name="T69" fmla="*/ 115 h 144"/>
                <a:gd name="T70" fmla="*/ 67 w 125"/>
                <a:gd name="T71" fmla="*/ 123 h 144"/>
                <a:gd name="T72" fmla="*/ 54 w 125"/>
                <a:gd name="T73" fmla="*/ 116 h 144"/>
                <a:gd name="T74" fmla="*/ 19 w 125"/>
                <a:gd name="T75" fmla="*/ 105 h 144"/>
                <a:gd name="T76" fmla="*/ 14 w 125"/>
                <a:gd name="T77" fmla="*/ 104 h 144"/>
                <a:gd name="T78" fmla="*/ 0 w 125"/>
                <a:gd name="T79" fmla="*/ 107 h 144"/>
                <a:gd name="T80" fmla="*/ 125 w 125"/>
                <a:gd name="T81" fmla="*/ 4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5" h="144">
                  <a:moveTo>
                    <a:pt x="117" y="48"/>
                  </a:moveTo>
                  <a:cubicBezTo>
                    <a:pt x="115" y="50"/>
                    <a:pt x="112" y="51"/>
                    <a:pt x="110" y="51"/>
                  </a:cubicBezTo>
                  <a:cubicBezTo>
                    <a:pt x="109" y="51"/>
                    <a:pt x="109" y="51"/>
                    <a:pt x="108" y="51"/>
                  </a:cubicBezTo>
                  <a:cubicBezTo>
                    <a:pt x="108" y="50"/>
                    <a:pt x="108" y="50"/>
                    <a:pt x="108" y="50"/>
                  </a:cubicBezTo>
                  <a:cubicBezTo>
                    <a:pt x="108" y="50"/>
                    <a:pt x="109" y="48"/>
                    <a:pt x="109" y="47"/>
                  </a:cubicBezTo>
                  <a:cubicBezTo>
                    <a:pt x="111" y="44"/>
                    <a:pt x="114" y="40"/>
                    <a:pt x="111" y="35"/>
                  </a:cubicBezTo>
                  <a:cubicBezTo>
                    <a:pt x="110" y="34"/>
                    <a:pt x="110" y="33"/>
                    <a:pt x="109" y="31"/>
                  </a:cubicBezTo>
                  <a:cubicBezTo>
                    <a:pt x="106" y="26"/>
                    <a:pt x="103" y="19"/>
                    <a:pt x="96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0" y="20"/>
                    <a:pt x="87" y="23"/>
                    <a:pt x="85" y="26"/>
                  </a:cubicBezTo>
                  <a:cubicBezTo>
                    <a:pt x="83" y="30"/>
                    <a:pt x="83" y="30"/>
                    <a:pt x="80" y="30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79" y="30"/>
                    <a:pt x="79" y="30"/>
                    <a:pt x="78" y="30"/>
                  </a:cubicBezTo>
                  <a:cubicBezTo>
                    <a:pt x="79" y="29"/>
                    <a:pt x="80" y="28"/>
                    <a:pt x="81" y="27"/>
                  </a:cubicBezTo>
                  <a:cubicBezTo>
                    <a:pt x="82" y="27"/>
                    <a:pt x="82" y="27"/>
                    <a:pt x="83" y="26"/>
                  </a:cubicBezTo>
                  <a:cubicBezTo>
                    <a:pt x="86" y="24"/>
                    <a:pt x="88" y="21"/>
                    <a:pt x="89" y="18"/>
                  </a:cubicBezTo>
                  <a:cubicBezTo>
                    <a:pt x="90" y="17"/>
                    <a:pt x="91" y="16"/>
                    <a:pt x="92" y="14"/>
                  </a:cubicBezTo>
                  <a:cubicBezTo>
                    <a:pt x="94" y="12"/>
                    <a:pt x="94" y="8"/>
                    <a:pt x="92" y="4"/>
                  </a:cubicBezTo>
                  <a:cubicBezTo>
                    <a:pt x="91" y="2"/>
                    <a:pt x="89" y="0"/>
                    <a:pt x="87" y="0"/>
                  </a:cubicBezTo>
                  <a:cubicBezTo>
                    <a:pt x="86" y="0"/>
                    <a:pt x="85" y="0"/>
                    <a:pt x="85" y="0"/>
                  </a:cubicBezTo>
                  <a:cubicBezTo>
                    <a:pt x="83" y="0"/>
                    <a:pt x="81" y="0"/>
                    <a:pt x="79" y="0"/>
                  </a:cubicBezTo>
                  <a:cubicBezTo>
                    <a:pt x="77" y="1"/>
                    <a:pt x="76" y="1"/>
                    <a:pt x="75" y="1"/>
                  </a:cubicBezTo>
                  <a:cubicBezTo>
                    <a:pt x="71" y="1"/>
                    <a:pt x="67" y="2"/>
                    <a:pt x="63" y="2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0" y="2"/>
                    <a:pt x="60" y="2"/>
                    <a:pt x="59" y="2"/>
                  </a:cubicBezTo>
                  <a:cubicBezTo>
                    <a:pt x="57" y="3"/>
                    <a:pt x="56" y="3"/>
                    <a:pt x="54" y="3"/>
                  </a:cubicBezTo>
                  <a:cubicBezTo>
                    <a:pt x="49" y="4"/>
                    <a:pt x="44" y="6"/>
                    <a:pt x="40" y="8"/>
                  </a:cubicBezTo>
                  <a:cubicBezTo>
                    <a:pt x="39" y="8"/>
                    <a:pt x="37" y="9"/>
                    <a:pt x="36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2" y="11"/>
                    <a:pt x="26" y="13"/>
                    <a:pt x="26" y="18"/>
                  </a:cubicBezTo>
                  <a:cubicBezTo>
                    <a:pt x="26" y="20"/>
                    <a:pt x="26" y="21"/>
                    <a:pt x="27" y="22"/>
                  </a:cubicBezTo>
                  <a:cubicBezTo>
                    <a:pt x="27" y="22"/>
                    <a:pt x="27" y="22"/>
                    <a:pt x="27" y="23"/>
                  </a:cubicBezTo>
                  <a:cubicBezTo>
                    <a:pt x="26" y="24"/>
                    <a:pt x="26" y="24"/>
                    <a:pt x="24" y="24"/>
                  </a:cubicBezTo>
                  <a:cubicBezTo>
                    <a:pt x="19" y="25"/>
                    <a:pt x="17" y="27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1" y="31"/>
                    <a:pt x="9" y="34"/>
                    <a:pt x="8" y="38"/>
                  </a:cubicBezTo>
                  <a:cubicBezTo>
                    <a:pt x="7" y="45"/>
                    <a:pt x="14" y="46"/>
                    <a:pt x="17" y="47"/>
                  </a:cubicBezTo>
                  <a:cubicBezTo>
                    <a:pt x="18" y="47"/>
                    <a:pt x="18" y="47"/>
                    <a:pt x="19" y="47"/>
                  </a:cubicBezTo>
                  <a:cubicBezTo>
                    <a:pt x="20" y="47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0" y="48"/>
                    <a:pt x="19" y="48"/>
                    <a:pt x="18" y="48"/>
                  </a:cubicBezTo>
                  <a:cubicBezTo>
                    <a:pt x="17" y="48"/>
                    <a:pt x="13" y="48"/>
                    <a:pt x="12" y="52"/>
                  </a:cubicBezTo>
                  <a:cubicBezTo>
                    <a:pt x="11" y="53"/>
                    <a:pt x="11" y="55"/>
                    <a:pt x="12" y="57"/>
                  </a:cubicBezTo>
                  <a:cubicBezTo>
                    <a:pt x="13" y="59"/>
                    <a:pt x="15" y="61"/>
                    <a:pt x="17" y="61"/>
                  </a:cubicBezTo>
                  <a:cubicBezTo>
                    <a:pt x="18" y="61"/>
                    <a:pt x="19" y="62"/>
                    <a:pt x="21" y="62"/>
                  </a:cubicBezTo>
                  <a:cubicBezTo>
                    <a:pt x="22" y="62"/>
                    <a:pt x="23" y="61"/>
                    <a:pt x="24" y="61"/>
                  </a:cubicBezTo>
                  <a:cubicBezTo>
                    <a:pt x="26" y="61"/>
                    <a:pt x="27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9" y="61"/>
                    <a:pt x="30" y="61"/>
                    <a:pt x="31" y="62"/>
                  </a:cubicBezTo>
                  <a:cubicBezTo>
                    <a:pt x="33" y="62"/>
                    <a:pt x="35" y="63"/>
                    <a:pt x="37" y="63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8" y="63"/>
                    <a:pt x="38" y="63"/>
                    <a:pt x="39" y="63"/>
                  </a:cubicBezTo>
                  <a:cubicBezTo>
                    <a:pt x="40" y="63"/>
                    <a:pt x="40" y="63"/>
                    <a:pt x="41" y="63"/>
                  </a:cubicBezTo>
                  <a:cubicBezTo>
                    <a:pt x="42" y="63"/>
                    <a:pt x="42" y="63"/>
                    <a:pt x="43" y="63"/>
                  </a:cubicBezTo>
                  <a:cubicBezTo>
                    <a:pt x="41" y="63"/>
                    <a:pt x="38" y="64"/>
                    <a:pt x="35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2" y="64"/>
                    <a:pt x="29" y="64"/>
                    <a:pt x="26" y="63"/>
                  </a:cubicBezTo>
                  <a:cubicBezTo>
                    <a:pt x="23" y="63"/>
                    <a:pt x="20" y="63"/>
                    <a:pt x="17" y="63"/>
                  </a:cubicBezTo>
                  <a:cubicBezTo>
                    <a:pt x="15" y="63"/>
                    <a:pt x="13" y="63"/>
                    <a:pt x="11" y="63"/>
                  </a:cubicBezTo>
                  <a:cubicBezTo>
                    <a:pt x="7" y="64"/>
                    <a:pt x="4" y="68"/>
                    <a:pt x="3" y="72"/>
                  </a:cubicBezTo>
                  <a:cubicBezTo>
                    <a:pt x="1" y="77"/>
                    <a:pt x="4" y="81"/>
                    <a:pt x="6" y="84"/>
                  </a:cubicBezTo>
                  <a:cubicBezTo>
                    <a:pt x="10" y="89"/>
                    <a:pt x="12" y="91"/>
                    <a:pt x="18" y="93"/>
                  </a:cubicBezTo>
                  <a:cubicBezTo>
                    <a:pt x="22" y="94"/>
                    <a:pt x="25" y="96"/>
                    <a:pt x="30" y="99"/>
                  </a:cubicBezTo>
                  <a:cubicBezTo>
                    <a:pt x="32" y="101"/>
                    <a:pt x="35" y="101"/>
                    <a:pt x="38" y="102"/>
                  </a:cubicBezTo>
                  <a:cubicBezTo>
                    <a:pt x="40" y="102"/>
                    <a:pt x="41" y="103"/>
                    <a:pt x="43" y="103"/>
                  </a:cubicBezTo>
                  <a:cubicBezTo>
                    <a:pt x="45" y="104"/>
                    <a:pt x="48" y="104"/>
                    <a:pt x="50" y="105"/>
                  </a:cubicBezTo>
                  <a:cubicBezTo>
                    <a:pt x="52" y="105"/>
                    <a:pt x="54" y="105"/>
                    <a:pt x="56" y="106"/>
                  </a:cubicBezTo>
                  <a:cubicBezTo>
                    <a:pt x="57" y="106"/>
                    <a:pt x="59" y="108"/>
                    <a:pt x="60" y="110"/>
                  </a:cubicBezTo>
                  <a:cubicBezTo>
                    <a:pt x="61" y="111"/>
                    <a:pt x="62" y="112"/>
                    <a:pt x="63" y="112"/>
                  </a:cubicBezTo>
                  <a:cubicBezTo>
                    <a:pt x="64" y="113"/>
                    <a:pt x="65" y="114"/>
                    <a:pt x="66" y="115"/>
                  </a:cubicBezTo>
                  <a:cubicBezTo>
                    <a:pt x="69" y="117"/>
                    <a:pt x="71" y="119"/>
                    <a:pt x="71" y="120"/>
                  </a:cubicBezTo>
                  <a:cubicBezTo>
                    <a:pt x="70" y="122"/>
                    <a:pt x="70" y="123"/>
                    <a:pt x="67" y="123"/>
                  </a:cubicBezTo>
                  <a:cubicBezTo>
                    <a:pt x="66" y="123"/>
                    <a:pt x="66" y="123"/>
                    <a:pt x="65" y="123"/>
                  </a:cubicBezTo>
                  <a:cubicBezTo>
                    <a:pt x="61" y="122"/>
                    <a:pt x="57" y="119"/>
                    <a:pt x="54" y="116"/>
                  </a:cubicBezTo>
                  <a:cubicBezTo>
                    <a:pt x="51" y="115"/>
                    <a:pt x="49" y="113"/>
                    <a:pt x="46" y="111"/>
                  </a:cubicBezTo>
                  <a:cubicBezTo>
                    <a:pt x="38" y="107"/>
                    <a:pt x="28" y="106"/>
                    <a:pt x="19" y="105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5" y="104"/>
                    <a:pt x="15" y="104"/>
                    <a:pt x="14" y="104"/>
                  </a:cubicBezTo>
                  <a:cubicBezTo>
                    <a:pt x="12" y="104"/>
                    <a:pt x="11" y="104"/>
                    <a:pt x="9" y="105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125" y="42"/>
                    <a:pt x="125" y="42"/>
                    <a:pt x="125" y="42"/>
                  </a:cubicBezTo>
                  <a:lnTo>
                    <a:pt x="117" y="48"/>
                  </a:ln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78" name="Freeform 10"/>
            <p:cNvSpPr>
              <a:spLocks/>
            </p:cNvSpPr>
            <p:nvPr/>
          </p:nvSpPr>
          <p:spPr bwMode="auto">
            <a:xfrm>
              <a:off x="16979474" y="3372278"/>
              <a:ext cx="322125" cy="395713"/>
            </a:xfrm>
            <a:custGeom>
              <a:avLst/>
              <a:gdLst>
                <a:gd name="T0" fmla="*/ 57 w 59"/>
                <a:gd name="T1" fmla="*/ 41 h 80"/>
                <a:gd name="T2" fmla="*/ 46 w 59"/>
                <a:gd name="T3" fmla="*/ 34 h 80"/>
                <a:gd name="T4" fmla="*/ 40 w 59"/>
                <a:gd name="T5" fmla="*/ 38 h 80"/>
                <a:gd name="T6" fmla="*/ 40 w 59"/>
                <a:gd name="T7" fmla="*/ 39 h 80"/>
                <a:gd name="T8" fmla="*/ 40 w 59"/>
                <a:gd name="T9" fmla="*/ 38 h 80"/>
                <a:gd name="T10" fmla="*/ 39 w 59"/>
                <a:gd name="T11" fmla="*/ 37 h 80"/>
                <a:gd name="T12" fmla="*/ 39 w 59"/>
                <a:gd name="T13" fmla="*/ 34 h 80"/>
                <a:gd name="T14" fmla="*/ 38 w 59"/>
                <a:gd name="T15" fmla="*/ 32 h 80"/>
                <a:gd name="T16" fmla="*/ 36 w 59"/>
                <a:gd name="T17" fmla="*/ 32 h 80"/>
                <a:gd name="T18" fmla="*/ 35 w 59"/>
                <a:gd name="T19" fmla="*/ 32 h 80"/>
                <a:gd name="T20" fmla="*/ 36 w 59"/>
                <a:gd name="T21" fmla="*/ 31 h 80"/>
                <a:gd name="T22" fmla="*/ 38 w 59"/>
                <a:gd name="T23" fmla="*/ 26 h 80"/>
                <a:gd name="T24" fmla="*/ 36 w 59"/>
                <a:gd name="T25" fmla="*/ 20 h 80"/>
                <a:gd name="T26" fmla="*/ 36 w 59"/>
                <a:gd name="T27" fmla="*/ 19 h 80"/>
                <a:gd name="T28" fmla="*/ 35 w 59"/>
                <a:gd name="T29" fmla="*/ 13 h 80"/>
                <a:gd name="T30" fmla="*/ 37 w 59"/>
                <a:gd name="T31" fmla="*/ 12 h 80"/>
                <a:gd name="T32" fmla="*/ 40 w 59"/>
                <a:gd name="T33" fmla="*/ 8 h 80"/>
                <a:gd name="T34" fmla="*/ 39 w 59"/>
                <a:gd name="T35" fmla="*/ 2 h 80"/>
                <a:gd name="T36" fmla="*/ 34 w 59"/>
                <a:gd name="T37" fmla="*/ 0 h 80"/>
                <a:gd name="T38" fmla="*/ 27 w 59"/>
                <a:gd name="T39" fmla="*/ 2 h 80"/>
                <a:gd name="T40" fmla="*/ 22 w 59"/>
                <a:gd name="T41" fmla="*/ 6 h 80"/>
                <a:gd name="T42" fmla="*/ 18 w 59"/>
                <a:gd name="T43" fmla="*/ 10 h 80"/>
                <a:gd name="T44" fmla="*/ 13 w 59"/>
                <a:gd name="T45" fmla="*/ 17 h 80"/>
                <a:gd name="T46" fmla="*/ 17 w 59"/>
                <a:gd name="T47" fmla="*/ 26 h 80"/>
                <a:gd name="T48" fmla="*/ 18 w 59"/>
                <a:gd name="T49" fmla="*/ 27 h 80"/>
                <a:gd name="T50" fmla="*/ 17 w 59"/>
                <a:gd name="T51" fmla="*/ 28 h 80"/>
                <a:gd name="T52" fmla="*/ 15 w 59"/>
                <a:gd name="T53" fmla="*/ 33 h 80"/>
                <a:gd name="T54" fmla="*/ 18 w 59"/>
                <a:gd name="T55" fmla="*/ 42 h 80"/>
                <a:gd name="T56" fmla="*/ 20 w 59"/>
                <a:gd name="T57" fmla="*/ 46 h 80"/>
                <a:gd name="T58" fmla="*/ 16 w 59"/>
                <a:gd name="T59" fmla="*/ 48 h 80"/>
                <a:gd name="T60" fmla="*/ 12 w 59"/>
                <a:gd name="T61" fmla="*/ 47 h 80"/>
                <a:gd name="T62" fmla="*/ 9 w 59"/>
                <a:gd name="T63" fmla="*/ 46 h 80"/>
                <a:gd name="T64" fmla="*/ 0 w 59"/>
                <a:gd name="T65" fmla="*/ 76 h 80"/>
                <a:gd name="T66" fmla="*/ 5 w 59"/>
                <a:gd name="T67" fmla="*/ 75 h 80"/>
                <a:gd name="T68" fmla="*/ 10 w 59"/>
                <a:gd name="T69" fmla="*/ 74 h 80"/>
                <a:gd name="T70" fmla="*/ 14 w 59"/>
                <a:gd name="T71" fmla="*/ 74 h 80"/>
                <a:gd name="T72" fmla="*/ 15 w 59"/>
                <a:gd name="T73" fmla="*/ 74 h 80"/>
                <a:gd name="T74" fmla="*/ 17 w 59"/>
                <a:gd name="T75" fmla="*/ 75 h 80"/>
                <a:gd name="T76" fmla="*/ 20 w 59"/>
                <a:gd name="T77" fmla="*/ 77 h 80"/>
                <a:gd name="T78" fmla="*/ 26 w 59"/>
                <a:gd name="T79" fmla="*/ 78 h 80"/>
                <a:gd name="T80" fmla="*/ 28 w 59"/>
                <a:gd name="T81" fmla="*/ 78 h 80"/>
                <a:gd name="T82" fmla="*/ 36 w 59"/>
                <a:gd name="T83" fmla="*/ 80 h 80"/>
                <a:gd name="T84" fmla="*/ 36 w 59"/>
                <a:gd name="T85" fmla="*/ 80 h 80"/>
                <a:gd name="T86" fmla="*/ 48 w 59"/>
                <a:gd name="T87" fmla="*/ 74 h 80"/>
                <a:gd name="T88" fmla="*/ 56 w 59"/>
                <a:gd name="T89" fmla="*/ 57 h 80"/>
                <a:gd name="T90" fmla="*/ 57 w 59"/>
                <a:gd name="T91" fmla="*/ 4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9" h="80">
                  <a:moveTo>
                    <a:pt x="57" y="41"/>
                  </a:moveTo>
                  <a:cubicBezTo>
                    <a:pt x="55" y="37"/>
                    <a:pt x="50" y="34"/>
                    <a:pt x="46" y="34"/>
                  </a:cubicBezTo>
                  <a:cubicBezTo>
                    <a:pt x="43" y="34"/>
                    <a:pt x="41" y="36"/>
                    <a:pt x="40" y="38"/>
                  </a:cubicBezTo>
                  <a:cubicBezTo>
                    <a:pt x="40" y="38"/>
                    <a:pt x="40" y="39"/>
                    <a:pt x="40" y="39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39" y="37"/>
                    <a:pt x="39" y="37"/>
                    <a:pt x="39" y="37"/>
                  </a:cubicBezTo>
                  <a:cubicBezTo>
                    <a:pt x="39" y="36"/>
                    <a:pt x="39" y="35"/>
                    <a:pt x="39" y="34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5" y="32"/>
                  </a:cubicBezTo>
                  <a:cubicBezTo>
                    <a:pt x="35" y="31"/>
                    <a:pt x="35" y="31"/>
                    <a:pt x="36" y="31"/>
                  </a:cubicBezTo>
                  <a:cubicBezTo>
                    <a:pt x="36" y="30"/>
                    <a:pt x="37" y="28"/>
                    <a:pt x="38" y="26"/>
                  </a:cubicBezTo>
                  <a:cubicBezTo>
                    <a:pt x="38" y="24"/>
                    <a:pt x="37" y="22"/>
                    <a:pt x="36" y="20"/>
                  </a:cubicBezTo>
                  <a:cubicBezTo>
                    <a:pt x="36" y="20"/>
                    <a:pt x="36" y="19"/>
                    <a:pt x="36" y="19"/>
                  </a:cubicBezTo>
                  <a:cubicBezTo>
                    <a:pt x="35" y="15"/>
                    <a:pt x="35" y="14"/>
                    <a:pt x="35" y="13"/>
                  </a:cubicBezTo>
                  <a:cubicBezTo>
                    <a:pt x="36" y="13"/>
                    <a:pt x="36" y="12"/>
                    <a:pt x="37" y="12"/>
                  </a:cubicBezTo>
                  <a:cubicBezTo>
                    <a:pt x="38" y="11"/>
                    <a:pt x="39" y="10"/>
                    <a:pt x="40" y="8"/>
                  </a:cubicBezTo>
                  <a:cubicBezTo>
                    <a:pt x="40" y="5"/>
                    <a:pt x="40" y="3"/>
                    <a:pt x="39" y="2"/>
                  </a:cubicBezTo>
                  <a:cubicBezTo>
                    <a:pt x="38" y="0"/>
                    <a:pt x="36" y="0"/>
                    <a:pt x="34" y="0"/>
                  </a:cubicBezTo>
                  <a:cubicBezTo>
                    <a:pt x="32" y="0"/>
                    <a:pt x="29" y="0"/>
                    <a:pt x="27" y="2"/>
                  </a:cubicBezTo>
                  <a:cubicBezTo>
                    <a:pt x="25" y="3"/>
                    <a:pt x="24" y="5"/>
                    <a:pt x="22" y="6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5" y="12"/>
                    <a:pt x="14" y="14"/>
                    <a:pt x="13" y="17"/>
                  </a:cubicBezTo>
                  <a:cubicBezTo>
                    <a:pt x="13" y="20"/>
                    <a:pt x="14" y="23"/>
                    <a:pt x="17" y="26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7"/>
                    <a:pt x="18" y="28"/>
                    <a:pt x="17" y="28"/>
                  </a:cubicBezTo>
                  <a:cubicBezTo>
                    <a:pt x="17" y="29"/>
                    <a:pt x="15" y="30"/>
                    <a:pt x="15" y="33"/>
                  </a:cubicBezTo>
                  <a:cubicBezTo>
                    <a:pt x="14" y="37"/>
                    <a:pt x="16" y="40"/>
                    <a:pt x="18" y="42"/>
                  </a:cubicBezTo>
                  <a:cubicBezTo>
                    <a:pt x="19" y="44"/>
                    <a:pt x="20" y="45"/>
                    <a:pt x="20" y="46"/>
                  </a:cubicBezTo>
                  <a:cubicBezTo>
                    <a:pt x="20" y="48"/>
                    <a:pt x="17" y="48"/>
                    <a:pt x="16" y="48"/>
                  </a:cubicBezTo>
                  <a:cubicBezTo>
                    <a:pt x="15" y="48"/>
                    <a:pt x="13" y="48"/>
                    <a:pt x="12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5"/>
                    <a:pt x="8" y="75"/>
                    <a:pt x="10" y="74"/>
                  </a:cubicBezTo>
                  <a:cubicBezTo>
                    <a:pt x="11" y="74"/>
                    <a:pt x="13" y="74"/>
                    <a:pt x="14" y="74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6" y="74"/>
                    <a:pt x="16" y="74"/>
                    <a:pt x="17" y="75"/>
                  </a:cubicBezTo>
                  <a:cubicBezTo>
                    <a:pt x="18" y="76"/>
                    <a:pt x="19" y="76"/>
                    <a:pt x="20" y="77"/>
                  </a:cubicBezTo>
                  <a:cubicBezTo>
                    <a:pt x="22" y="78"/>
                    <a:pt x="24" y="78"/>
                    <a:pt x="26" y="78"/>
                  </a:cubicBezTo>
                  <a:cubicBezTo>
                    <a:pt x="27" y="78"/>
                    <a:pt x="28" y="78"/>
                    <a:pt x="28" y="78"/>
                  </a:cubicBezTo>
                  <a:cubicBezTo>
                    <a:pt x="31" y="79"/>
                    <a:pt x="34" y="80"/>
                    <a:pt x="36" y="8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40" y="80"/>
                    <a:pt x="44" y="78"/>
                    <a:pt x="48" y="74"/>
                  </a:cubicBezTo>
                  <a:cubicBezTo>
                    <a:pt x="52" y="69"/>
                    <a:pt x="55" y="63"/>
                    <a:pt x="56" y="57"/>
                  </a:cubicBezTo>
                  <a:cubicBezTo>
                    <a:pt x="57" y="52"/>
                    <a:pt x="59" y="47"/>
                    <a:pt x="57" y="41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79" name="Freeform 11"/>
            <p:cNvSpPr>
              <a:spLocks/>
            </p:cNvSpPr>
            <p:nvPr/>
          </p:nvSpPr>
          <p:spPr bwMode="auto">
            <a:xfrm>
              <a:off x="16558865" y="3351746"/>
              <a:ext cx="170295" cy="119460"/>
            </a:xfrm>
            <a:custGeom>
              <a:avLst/>
              <a:gdLst>
                <a:gd name="T0" fmla="*/ 26 w 31"/>
                <a:gd name="T1" fmla="*/ 0 h 24"/>
                <a:gd name="T2" fmla="*/ 9 w 31"/>
                <a:gd name="T3" fmla="*/ 6 h 24"/>
                <a:gd name="T4" fmla="*/ 9 w 31"/>
                <a:gd name="T5" fmla="*/ 6 h 24"/>
                <a:gd name="T6" fmla="*/ 1 w 31"/>
                <a:gd name="T7" fmla="*/ 12 h 24"/>
                <a:gd name="T8" fmla="*/ 2 w 31"/>
                <a:gd name="T9" fmla="*/ 18 h 24"/>
                <a:gd name="T10" fmla="*/ 7 w 31"/>
                <a:gd name="T11" fmla="*/ 24 h 24"/>
                <a:gd name="T12" fmla="*/ 9 w 31"/>
                <a:gd name="T13" fmla="*/ 24 h 24"/>
                <a:gd name="T14" fmla="*/ 9 w 31"/>
                <a:gd name="T15" fmla="*/ 24 h 24"/>
                <a:gd name="T16" fmla="*/ 17 w 31"/>
                <a:gd name="T17" fmla="*/ 20 h 24"/>
                <a:gd name="T18" fmla="*/ 18 w 31"/>
                <a:gd name="T19" fmla="*/ 19 h 24"/>
                <a:gd name="T20" fmla="*/ 29 w 31"/>
                <a:gd name="T21" fmla="*/ 4 h 24"/>
                <a:gd name="T22" fmla="*/ 31 w 31"/>
                <a:gd name="T23" fmla="*/ 0 h 24"/>
                <a:gd name="T24" fmla="*/ 26 w 31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24">
                  <a:moveTo>
                    <a:pt x="26" y="0"/>
                  </a:moveTo>
                  <a:cubicBezTo>
                    <a:pt x="20" y="1"/>
                    <a:pt x="13" y="4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6" y="7"/>
                    <a:pt x="3" y="9"/>
                    <a:pt x="1" y="12"/>
                  </a:cubicBezTo>
                  <a:cubicBezTo>
                    <a:pt x="0" y="13"/>
                    <a:pt x="0" y="16"/>
                    <a:pt x="2" y="18"/>
                  </a:cubicBezTo>
                  <a:cubicBezTo>
                    <a:pt x="3" y="20"/>
                    <a:pt x="5" y="23"/>
                    <a:pt x="7" y="24"/>
                  </a:cubicBezTo>
                  <a:cubicBezTo>
                    <a:pt x="8" y="24"/>
                    <a:pt x="8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12" y="24"/>
                    <a:pt x="15" y="21"/>
                    <a:pt x="17" y="20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14"/>
                    <a:pt x="28" y="9"/>
                    <a:pt x="29" y="4"/>
                  </a:cubicBezTo>
                  <a:cubicBezTo>
                    <a:pt x="31" y="0"/>
                    <a:pt x="31" y="0"/>
                    <a:pt x="31" y="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81" name="Freeform 12"/>
            <p:cNvSpPr>
              <a:spLocks/>
            </p:cNvSpPr>
            <p:nvPr/>
          </p:nvSpPr>
          <p:spPr bwMode="auto">
            <a:xfrm>
              <a:off x="17769397" y="3282683"/>
              <a:ext cx="190813" cy="110128"/>
            </a:xfrm>
            <a:custGeom>
              <a:avLst/>
              <a:gdLst>
                <a:gd name="T0" fmla="*/ 33 w 35"/>
                <a:gd name="T1" fmla="*/ 7 h 22"/>
                <a:gd name="T2" fmla="*/ 26 w 35"/>
                <a:gd name="T3" fmla="*/ 3 h 22"/>
                <a:gd name="T4" fmla="*/ 25 w 35"/>
                <a:gd name="T5" fmla="*/ 3 h 22"/>
                <a:gd name="T6" fmla="*/ 21 w 35"/>
                <a:gd name="T7" fmla="*/ 2 h 22"/>
                <a:gd name="T8" fmla="*/ 14 w 35"/>
                <a:gd name="T9" fmla="*/ 0 h 22"/>
                <a:gd name="T10" fmla="*/ 10 w 35"/>
                <a:gd name="T11" fmla="*/ 1 h 22"/>
                <a:gd name="T12" fmla="*/ 2 w 35"/>
                <a:gd name="T13" fmla="*/ 14 h 22"/>
                <a:gd name="T14" fmla="*/ 14 w 35"/>
                <a:gd name="T15" fmla="*/ 19 h 22"/>
                <a:gd name="T16" fmla="*/ 17 w 35"/>
                <a:gd name="T17" fmla="*/ 20 h 22"/>
                <a:gd name="T18" fmla="*/ 20 w 35"/>
                <a:gd name="T19" fmla="*/ 21 h 22"/>
                <a:gd name="T20" fmla="*/ 25 w 35"/>
                <a:gd name="T21" fmla="*/ 22 h 22"/>
                <a:gd name="T22" fmla="*/ 32 w 35"/>
                <a:gd name="T23" fmla="*/ 17 h 22"/>
                <a:gd name="T24" fmla="*/ 32 w 35"/>
                <a:gd name="T25" fmla="*/ 16 h 22"/>
                <a:gd name="T26" fmla="*/ 33 w 35"/>
                <a:gd name="T2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22">
                  <a:moveTo>
                    <a:pt x="33" y="7"/>
                  </a:moveTo>
                  <a:cubicBezTo>
                    <a:pt x="32" y="4"/>
                    <a:pt x="28" y="3"/>
                    <a:pt x="26" y="3"/>
                  </a:cubicBezTo>
                  <a:cubicBezTo>
                    <a:pt x="26" y="3"/>
                    <a:pt x="25" y="3"/>
                    <a:pt x="25" y="3"/>
                  </a:cubicBezTo>
                  <a:cubicBezTo>
                    <a:pt x="24" y="3"/>
                    <a:pt x="22" y="2"/>
                    <a:pt x="21" y="2"/>
                  </a:cubicBezTo>
                  <a:cubicBezTo>
                    <a:pt x="19" y="1"/>
                    <a:pt x="17" y="0"/>
                    <a:pt x="14" y="0"/>
                  </a:cubicBezTo>
                  <a:cubicBezTo>
                    <a:pt x="13" y="0"/>
                    <a:pt x="11" y="1"/>
                    <a:pt x="10" y="1"/>
                  </a:cubicBezTo>
                  <a:cubicBezTo>
                    <a:pt x="6" y="3"/>
                    <a:pt x="0" y="8"/>
                    <a:pt x="2" y="14"/>
                  </a:cubicBezTo>
                  <a:cubicBezTo>
                    <a:pt x="3" y="19"/>
                    <a:pt x="10" y="19"/>
                    <a:pt x="14" y="19"/>
                  </a:cubicBezTo>
                  <a:cubicBezTo>
                    <a:pt x="15" y="20"/>
                    <a:pt x="17" y="20"/>
                    <a:pt x="17" y="20"/>
                  </a:cubicBezTo>
                  <a:cubicBezTo>
                    <a:pt x="18" y="20"/>
                    <a:pt x="19" y="20"/>
                    <a:pt x="20" y="21"/>
                  </a:cubicBezTo>
                  <a:cubicBezTo>
                    <a:pt x="22" y="21"/>
                    <a:pt x="24" y="22"/>
                    <a:pt x="25" y="22"/>
                  </a:cubicBezTo>
                  <a:cubicBezTo>
                    <a:pt x="28" y="22"/>
                    <a:pt x="30" y="20"/>
                    <a:pt x="32" y="17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3" y="13"/>
                    <a:pt x="35" y="10"/>
                    <a:pt x="33" y="7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84" name="Freeform 13"/>
            <p:cNvSpPr>
              <a:spLocks/>
            </p:cNvSpPr>
            <p:nvPr/>
          </p:nvSpPr>
          <p:spPr bwMode="auto">
            <a:xfrm>
              <a:off x="18608563" y="4051710"/>
              <a:ext cx="354953" cy="212789"/>
            </a:xfrm>
            <a:custGeom>
              <a:avLst/>
              <a:gdLst>
                <a:gd name="T0" fmla="*/ 25 w 65"/>
                <a:gd name="T1" fmla="*/ 43 h 43"/>
                <a:gd name="T2" fmla="*/ 22 w 65"/>
                <a:gd name="T3" fmla="*/ 43 h 43"/>
                <a:gd name="T4" fmla="*/ 15 w 65"/>
                <a:gd name="T5" fmla="*/ 36 h 43"/>
                <a:gd name="T6" fmla="*/ 14 w 65"/>
                <a:gd name="T7" fmla="*/ 30 h 43"/>
                <a:gd name="T8" fmla="*/ 13 w 65"/>
                <a:gd name="T9" fmla="*/ 27 h 43"/>
                <a:gd name="T10" fmla="*/ 10 w 65"/>
                <a:gd name="T11" fmla="*/ 26 h 43"/>
                <a:gd name="T12" fmla="*/ 2 w 65"/>
                <a:gd name="T13" fmla="*/ 17 h 43"/>
                <a:gd name="T14" fmla="*/ 3 w 65"/>
                <a:gd name="T15" fmla="*/ 2 h 43"/>
                <a:gd name="T16" fmla="*/ 8 w 65"/>
                <a:gd name="T17" fmla="*/ 0 h 43"/>
                <a:gd name="T18" fmla="*/ 16 w 65"/>
                <a:gd name="T19" fmla="*/ 2 h 43"/>
                <a:gd name="T20" fmla="*/ 20 w 65"/>
                <a:gd name="T21" fmla="*/ 3 h 43"/>
                <a:gd name="T22" fmla="*/ 21 w 65"/>
                <a:gd name="T23" fmla="*/ 3 h 43"/>
                <a:gd name="T24" fmla="*/ 27 w 65"/>
                <a:gd name="T25" fmla="*/ 2 h 43"/>
                <a:gd name="T26" fmla="*/ 36 w 65"/>
                <a:gd name="T27" fmla="*/ 0 h 43"/>
                <a:gd name="T28" fmla="*/ 51 w 65"/>
                <a:gd name="T29" fmla="*/ 10 h 43"/>
                <a:gd name="T30" fmla="*/ 51 w 65"/>
                <a:gd name="T31" fmla="*/ 11 h 43"/>
                <a:gd name="T32" fmla="*/ 56 w 65"/>
                <a:gd name="T33" fmla="*/ 15 h 43"/>
                <a:gd name="T34" fmla="*/ 63 w 65"/>
                <a:gd name="T35" fmla="*/ 24 h 43"/>
                <a:gd name="T36" fmla="*/ 64 w 65"/>
                <a:gd name="T37" fmla="*/ 31 h 43"/>
                <a:gd name="T38" fmla="*/ 54 w 65"/>
                <a:gd name="T39" fmla="*/ 35 h 43"/>
                <a:gd name="T40" fmla="*/ 49 w 65"/>
                <a:gd name="T41" fmla="*/ 35 h 43"/>
                <a:gd name="T42" fmla="*/ 45 w 65"/>
                <a:gd name="T43" fmla="*/ 35 h 43"/>
                <a:gd name="T44" fmla="*/ 39 w 65"/>
                <a:gd name="T45" fmla="*/ 36 h 43"/>
                <a:gd name="T46" fmla="*/ 36 w 65"/>
                <a:gd name="T47" fmla="*/ 38 h 43"/>
                <a:gd name="T48" fmla="*/ 25 w 65"/>
                <a:gd name="T4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43">
                  <a:moveTo>
                    <a:pt x="25" y="43"/>
                  </a:moveTo>
                  <a:cubicBezTo>
                    <a:pt x="24" y="43"/>
                    <a:pt x="23" y="43"/>
                    <a:pt x="22" y="43"/>
                  </a:cubicBezTo>
                  <a:cubicBezTo>
                    <a:pt x="18" y="42"/>
                    <a:pt x="16" y="39"/>
                    <a:pt x="15" y="36"/>
                  </a:cubicBezTo>
                  <a:cubicBezTo>
                    <a:pt x="14" y="34"/>
                    <a:pt x="14" y="32"/>
                    <a:pt x="14" y="30"/>
                  </a:cubicBezTo>
                  <a:cubicBezTo>
                    <a:pt x="14" y="29"/>
                    <a:pt x="14" y="28"/>
                    <a:pt x="13" y="27"/>
                  </a:cubicBezTo>
                  <a:cubicBezTo>
                    <a:pt x="13" y="26"/>
                    <a:pt x="12" y="26"/>
                    <a:pt x="10" y="26"/>
                  </a:cubicBezTo>
                  <a:cubicBezTo>
                    <a:pt x="4" y="25"/>
                    <a:pt x="3" y="20"/>
                    <a:pt x="2" y="17"/>
                  </a:cubicBezTo>
                  <a:cubicBezTo>
                    <a:pt x="1" y="12"/>
                    <a:pt x="0" y="6"/>
                    <a:pt x="3" y="2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1" y="0"/>
                    <a:pt x="14" y="1"/>
                    <a:pt x="16" y="2"/>
                  </a:cubicBezTo>
                  <a:cubicBezTo>
                    <a:pt x="18" y="2"/>
                    <a:pt x="19" y="3"/>
                    <a:pt x="20" y="3"/>
                  </a:cubicBezTo>
                  <a:cubicBezTo>
                    <a:pt x="20" y="3"/>
                    <a:pt x="21" y="3"/>
                    <a:pt x="21" y="3"/>
                  </a:cubicBezTo>
                  <a:cubicBezTo>
                    <a:pt x="23" y="3"/>
                    <a:pt x="25" y="2"/>
                    <a:pt x="27" y="2"/>
                  </a:cubicBezTo>
                  <a:cubicBezTo>
                    <a:pt x="30" y="1"/>
                    <a:pt x="33" y="0"/>
                    <a:pt x="36" y="0"/>
                  </a:cubicBezTo>
                  <a:cubicBezTo>
                    <a:pt x="43" y="1"/>
                    <a:pt x="47" y="5"/>
                    <a:pt x="51" y="10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2" y="12"/>
                    <a:pt x="54" y="14"/>
                    <a:pt x="56" y="15"/>
                  </a:cubicBezTo>
                  <a:cubicBezTo>
                    <a:pt x="58" y="18"/>
                    <a:pt x="61" y="21"/>
                    <a:pt x="63" y="24"/>
                  </a:cubicBezTo>
                  <a:cubicBezTo>
                    <a:pt x="65" y="27"/>
                    <a:pt x="65" y="30"/>
                    <a:pt x="64" y="31"/>
                  </a:cubicBezTo>
                  <a:cubicBezTo>
                    <a:pt x="62" y="34"/>
                    <a:pt x="59" y="35"/>
                    <a:pt x="54" y="35"/>
                  </a:cubicBezTo>
                  <a:cubicBezTo>
                    <a:pt x="52" y="35"/>
                    <a:pt x="51" y="35"/>
                    <a:pt x="49" y="35"/>
                  </a:cubicBezTo>
                  <a:cubicBezTo>
                    <a:pt x="48" y="35"/>
                    <a:pt x="46" y="35"/>
                    <a:pt x="45" y="35"/>
                  </a:cubicBezTo>
                  <a:cubicBezTo>
                    <a:pt x="42" y="35"/>
                    <a:pt x="40" y="35"/>
                    <a:pt x="39" y="36"/>
                  </a:cubicBezTo>
                  <a:cubicBezTo>
                    <a:pt x="38" y="37"/>
                    <a:pt x="37" y="37"/>
                    <a:pt x="36" y="38"/>
                  </a:cubicBezTo>
                  <a:cubicBezTo>
                    <a:pt x="33" y="41"/>
                    <a:pt x="29" y="43"/>
                    <a:pt x="25" y="43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auto">
            <a:xfrm>
              <a:off x="18009452" y="3336813"/>
              <a:ext cx="114898" cy="113861"/>
            </a:xfrm>
            <a:custGeom>
              <a:avLst/>
              <a:gdLst>
                <a:gd name="T0" fmla="*/ 16 w 21"/>
                <a:gd name="T1" fmla="*/ 2 h 23"/>
                <a:gd name="T2" fmla="*/ 10 w 21"/>
                <a:gd name="T3" fmla="*/ 0 h 23"/>
                <a:gd name="T4" fmla="*/ 2 w 21"/>
                <a:gd name="T5" fmla="*/ 4 h 23"/>
                <a:gd name="T6" fmla="*/ 1 w 21"/>
                <a:gd name="T7" fmla="*/ 14 h 23"/>
                <a:gd name="T8" fmla="*/ 12 w 21"/>
                <a:gd name="T9" fmla="*/ 23 h 23"/>
                <a:gd name="T10" fmla="*/ 13 w 21"/>
                <a:gd name="T11" fmla="*/ 23 h 23"/>
                <a:gd name="T12" fmla="*/ 20 w 21"/>
                <a:gd name="T13" fmla="*/ 18 h 23"/>
                <a:gd name="T14" fmla="*/ 16 w 21"/>
                <a:gd name="T15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3">
                  <a:moveTo>
                    <a:pt x="16" y="2"/>
                  </a:moveTo>
                  <a:cubicBezTo>
                    <a:pt x="14" y="1"/>
                    <a:pt x="12" y="0"/>
                    <a:pt x="10" y="0"/>
                  </a:cubicBezTo>
                  <a:cubicBezTo>
                    <a:pt x="7" y="0"/>
                    <a:pt x="4" y="1"/>
                    <a:pt x="2" y="4"/>
                  </a:cubicBezTo>
                  <a:cubicBezTo>
                    <a:pt x="0" y="7"/>
                    <a:pt x="0" y="10"/>
                    <a:pt x="1" y="14"/>
                  </a:cubicBezTo>
                  <a:cubicBezTo>
                    <a:pt x="3" y="17"/>
                    <a:pt x="7" y="23"/>
                    <a:pt x="12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6" y="23"/>
                    <a:pt x="18" y="21"/>
                    <a:pt x="20" y="18"/>
                  </a:cubicBezTo>
                  <a:cubicBezTo>
                    <a:pt x="21" y="12"/>
                    <a:pt x="19" y="5"/>
                    <a:pt x="16" y="2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auto">
            <a:xfrm>
              <a:off x="17732466" y="3432008"/>
              <a:ext cx="974581" cy="550638"/>
            </a:xfrm>
            <a:custGeom>
              <a:avLst/>
              <a:gdLst>
                <a:gd name="T0" fmla="*/ 173 w 179"/>
                <a:gd name="T1" fmla="*/ 74 h 111"/>
                <a:gd name="T2" fmla="*/ 171 w 179"/>
                <a:gd name="T3" fmla="*/ 67 h 111"/>
                <a:gd name="T4" fmla="*/ 163 w 179"/>
                <a:gd name="T5" fmla="*/ 54 h 111"/>
                <a:gd name="T6" fmla="*/ 150 w 179"/>
                <a:gd name="T7" fmla="*/ 50 h 111"/>
                <a:gd name="T8" fmla="*/ 134 w 179"/>
                <a:gd name="T9" fmla="*/ 50 h 111"/>
                <a:gd name="T10" fmla="*/ 130 w 179"/>
                <a:gd name="T11" fmla="*/ 51 h 111"/>
                <a:gd name="T12" fmla="*/ 124 w 179"/>
                <a:gd name="T13" fmla="*/ 50 h 111"/>
                <a:gd name="T14" fmla="*/ 104 w 179"/>
                <a:gd name="T15" fmla="*/ 64 h 111"/>
                <a:gd name="T16" fmla="*/ 99 w 179"/>
                <a:gd name="T17" fmla="*/ 67 h 111"/>
                <a:gd name="T18" fmla="*/ 94 w 179"/>
                <a:gd name="T19" fmla="*/ 63 h 111"/>
                <a:gd name="T20" fmla="*/ 87 w 179"/>
                <a:gd name="T21" fmla="*/ 65 h 111"/>
                <a:gd name="T22" fmla="*/ 83 w 179"/>
                <a:gd name="T23" fmla="*/ 64 h 111"/>
                <a:gd name="T24" fmla="*/ 77 w 179"/>
                <a:gd name="T25" fmla="*/ 62 h 111"/>
                <a:gd name="T26" fmla="*/ 75 w 179"/>
                <a:gd name="T27" fmla="*/ 56 h 111"/>
                <a:gd name="T28" fmla="*/ 65 w 179"/>
                <a:gd name="T29" fmla="*/ 31 h 111"/>
                <a:gd name="T30" fmla="*/ 62 w 179"/>
                <a:gd name="T31" fmla="*/ 31 h 111"/>
                <a:gd name="T32" fmla="*/ 60 w 179"/>
                <a:gd name="T33" fmla="*/ 27 h 111"/>
                <a:gd name="T34" fmla="*/ 51 w 179"/>
                <a:gd name="T35" fmla="*/ 17 h 111"/>
                <a:gd name="T36" fmla="*/ 44 w 179"/>
                <a:gd name="T37" fmla="*/ 20 h 111"/>
                <a:gd name="T38" fmla="*/ 41 w 179"/>
                <a:gd name="T39" fmla="*/ 22 h 111"/>
                <a:gd name="T40" fmla="*/ 38 w 179"/>
                <a:gd name="T41" fmla="*/ 21 h 111"/>
                <a:gd name="T42" fmla="*/ 38 w 179"/>
                <a:gd name="T43" fmla="*/ 17 h 111"/>
                <a:gd name="T44" fmla="*/ 27 w 179"/>
                <a:gd name="T45" fmla="*/ 9 h 111"/>
                <a:gd name="T46" fmla="*/ 22 w 179"/>
                <a:gd name="T47" fmla="*/ 5 h 111"/>
                <a:gd name="T48" fmla="*/ 13 w 179"/>
                <a:gd name="T49" fmla="*/ 0 h 111"/>
                <a:gd name="T50" fmla="*/ 3 w 179"/>
                <a:gd name="T51" fmla="*/ 16 h 111"/>
                <a:gd name="T52" fmla="*/ 7 w 179"/>
                <a:gd name="T53" fmla="*/ 24 h 111"/>
                <a:gd name="T54" fmla="*/ 11 w 179"/>
                <a:gd name="T55" fmla="*/ 33 h 111"/>
                <a:gd name="T56" fmla="*/ 22 w 179"/>
                <a:gd name="T57" fmla="*/ 39 h 111"/>
                <a:gd name="T58" fmla="*/ 32 w 179"/>
                <a:gd name="T59" fmla="*/ 37 h 111"/>
                <a:gd name="T60" fmla="*/ 36 w 179"/>
                <a:gd name="T61" fmla="*/ 43 h 111"/>
                <a:gd name="T62" fmla="*/ 39 w 179"/>
                <a:gd name="T63" fmla="*/ 50 h 111"/>
                <a:gd name="T64" fmla="*/ 41 w 179"/>
                <a:gd name="T65" fmla="*/ 65 h 111"/>
                <a:gd name="T66" fmla="*/ 40 w 179"/>
                <a:gd name="T67" fmla="*/ 76 h 111"/>
                <a:gd name="T68" fmla="*/ 41 w 179"/>
                <a:gd name="T69" fmla="*/ 87 h 111"/>
                <a:gd name="T70" fmla="*/ 49 w 179"/>
                <a:gd name="T71" fmla="*/ 104 h 111"/>
                <a:gd name="T72" fmla="*/ 53 w 179"/>
                <a:gd name="T73" fmla="*/ 103 h 111"/>
                <a:gd name="T74" fmla="*/ 55 w 179"/>
                <a:gd name="T75" fmla="*/ 102 h 111"/>
                <a:gd name="T76" fmla="*/ 57 w 179"/>
                <a:gd name="T77" fmla="*/ 103 h 111"/>
                <a:gd name="T78" fmla="*/ 61 w 179"/>
                <a:gd name="T79" fmla="*/ 105 h 111"/>
                <a:gd name="T80" fmla="*/ 67 w 179"/>
                <a:gd name="T81" fmla="*/ 109 h 111"/>
                <a:gd name="T82" fmla="*/ 76 w 179"/>
                <a:gd name="T83" fmla="*/ 103 h 111"/>
                <a:gd name="T84" fmla="*/ 84 w 179"/>
                <a:gd name="T85" fmla="*/ 111 h 111"/>
                <a:gd name="T86" fmla="*/ 87 w 179"/>
                <a:gd name="T87" fmla="*/ 110 h 111"/>
                <a:gd name="T88" fmla="*/ 103 w 179"/>
                <a:gd name="T89" fmla="*/ 107 h 111"/>
                <a:gd name="T90" fmla="*/ 107 w 179"/>
                <a:gd name="T91" fmla="*/ 107 h 111"/>
                <a:gd name="T92" fmla="*/ 114 w 179"/>
                <a:gd name="T93" fmla="*/ 105 h 111"/>
                <a:gd name="T94" fmla="*/ 119 w 179"/>
                <a:gd name="T95" fmla="*/ 106 h 111"/>
                <a:gd name="T96" fmla="*/ 129 w 179"/>
                <a:gd name="T97" fmla="*/ 106 h 111"/>
                <a:gd name="T98" fmla="*/ 135 w 179"/>
                <a:gd name="T99" fmla="*/ 99 h 111"/>
                <a:gd name="T100" fmla="*/ 139 w 179"/>
                <a:gd name="T101" fmla="*/ 102 h 111"/>
                <a:gd name="T102" fmla="*/ 155 w 179"/>
                <a:gd name="T103" fmla="*/ 104 h 111"/>
                <a:gd name="T104" fmla="*/ 161 w 179"/>
                <a:gd name="T105" fmla="*/ 102 h 111"/>
                <a:gd name="T106" fmla="*/ 168 w 179"/>
                <a:gd name="T107" fmla="*/ 98 h 111"/>
                <a:gd name="T108" fmla="*/ 170 w 179"/>
                <a:gd name="T109" fmla="*/ 90 h 111"/>
                <a:gd name="T110" fmla="*/ 176 w 179"/>
                <a:gd name="T111" fmla="*/ 8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9" h="111">
                  <a:moveTo>
                    <a:pt x="178" y="80"/>
                  </a:moveTo>
                  <a:cubicBezTo>
                    <a:pt x="178" y="78"/>
                    <a:pt x="176" y="75"/>
                    <a:pt x="173" y="74"/>
                  </a:cubicBezTo>
                  <a:cubicBezTo>
                    <a:pt x="172" y="73"/>
                    <a:pt x="171" y="72"/>
                    <a:pt x="171" y="70"/>
                  </a:cubicBezTo>
                  <a:cubicBezTo>
                    <a:pt x="171" y="69"/>
                    <a:pt x="171" y="68"/>
                    <a:pt x="171" y="67"/>
                  </a:cubicBezTo>
                  <a:cubicBezTo>
                    <a:pt x="171" y="66"/>
                    <a:pt x="171" y="65"/>
                    <a:pt x="170" y="64"/>
                  </a:cubicBezTo>
                  <a:cubicBezTo>
                    <a:pt x="170" y="61"/>
                    <a:pt x="169" y="56"/>
                    <a:pt x="163" y="54"/>
                  </a:cubicBezTo>
                  <a:cubicBezTo>
                    <a:pt x="162" y="54"/>
                    <a:pt x="161" y="54"/>
                    <a:pt x="160" y="53"/>
                  </a:cubicBezTo>
                  <a:cubicBezTo>
                    <a:pt x="156" y="52"/>
                    <a:pt x="153" y="52"/>
                    <a:pt x="150" y="50"/>
                  </a:cubicBezTo>
                  <a:cubicBezTo>
                    <a:pt x="147" y="49"/>
                    <a:pt x="145" y="48"/>
                    <a:pt x="143" y="48"/>
                  </a:cubicBezTo>
                  <a:cubicBezTo>
                    <a:pt x="140" y="48"/>
                    <a:pt x="137" y="49"/>
                    <a:pt x="134" y="50"/>
                  </a:cubicBezTo>
                  <a:cubicBezTo>
                    <a:pt x="134" y="51"/>
                    <a:pt x="133" y="51"/>
                    <a:pt x="133" y="51"/>
                  </a:cubicBezTo>
                  <a:cubicBezTo>
                    <a:pt x="132" y="51"/>
                    <a:pt x="131" y="51"/>
                    <a:pt x="130" y="51"/>
                  </a:cubicBezTo>
                  <a:cubicBezTo>
                    <a:pt x="129" y="50"/>
                    <a:pt x="127" y="50"/>
                    <a:pt x="126" y="50"/>
                  </a:cubicBezTo>
                  <a:cubicBezTo>
                    <a:pt x="125" y="50"/>
                    <a:pt x="125" y="50"/>
                    <a:pt x="124" y="50"/>
                  </a:cubicBezTo>
                  <a:cubicBezTo>
                    <a:pt x="118" y="51"/>
                    <a:pt x="112" y="56"/>
                    <a:pt x="107" y="60"/>
                  </a:cubicBezTo>
                  <a:cubicBezTo>
                    <a:pt x="106" y="62"/>
                    <a:pt x="105" y="63"/>
                    <a:pt x="104" y="64"/>
                  </a:cubicBezTo>
                  <a:cubicBezTo>
                    <a:pt x="103" y="64"/>
                    <a:pt x="103" y="64"/>
                    <a:pt x="103" y="64"/>
                  </a:cubicBezTo>
                  <a:cubicBezTo>
                    <a:pt x="102" y="65"/>
                    <a:pt x="100" y="67"/>
                    <a:pt x="99" y="67"/>
                  </a:cubicBezTo>
                  <a:cubicBezTo>
                    <a:pt x="98" y="67"/>
                    <a:pt x="98" y="67"/>
                    <a:pt x="98" y="66"/>
                  </a:cubicBezTo>
                  <a:cubicBezTo>
                    <a:pt x="97" y="65"/>
                    <a:pt x="96" y="63"/>
                    <a:pt x="94" y="63"/>
                  </a:cubicBezTo>
                  <a:cubicBezTo>
                    <a:pt x="93" y="63"/>
                    <a:pt x="93" y="63"/>
                    <a:pt x="92" y="63"/>
                  </a:cubicBezTo>
                  <a:cubicBezTo>
                    <a:pt x="90" y="63"/>
                    <a:pt x="89" y="64"/>
                    <a:pt x="87" y="65"/>
                  </a:cubicBezTo>
                  <a:cubicBezTo>
                    <a:pt x="87" y="65"/>
                    <a:pt x="86" y="65"/>
                    <a:pt x="85" y="65"/>
                  </a:cubicBezTo>
                  <a:cubicBezTo>
                    <a:pt x="85" y="65"/>
                    <a:pt x="84" y="65"/>
                    <a:pt x="83" y="64"/>
                  </a:cubicBezTo>
                  <a:cubicBezTo>
                    <a:pt x="82" y="63"/>
                    <a:pt x="81" y="62"/>
                    <a:pt x="78" y="62"/>
                  </a:cubicBezTo>
                  <a:cubicBezTo>
                    <a:pt x="78" y="62"/>
                    <a:pt x="78" y="62"/>
                    <a:pt x="77" y="62"/>
                  </a:cubicBezTo>
                  <a:cubicBezTo>
                    <a:pt x="76" y="62"/>
                    <a:pt x="75" y="62"/>
                    <a:pt x="74" y="62"/>
                  </a:cubicBezTo>
                  <a:cubicBezTo>
                    <a:pt x="74" y="60"/>
                    <a:pt x="75" y="58"/>
                    <a:pt x="75" y="56"/>
                  </a:cubicBezTo>
                  <a:cubicBezTo>
                    <a:pt x="77" y="49"/>
                    <a:pt x="79" y="42"/>
                    <a:pt x="72" y="34"/>
                  </a:cubicBezTo>
                  <a:cubicBezTo>
                    <a:pt x="70" y="31"/>
                    <a:pt x="67" y="31"/>
                    <a:pt x="65" y="31"/>
                  </a:cubicBezTo>
                  <a:cubicBezTo>
                    <a:pt x="64" y="31"/>
                    <a:pt x="64" y="31"/>
                    <a:pt x="63" y="31"/>
                  </a:cubicBezTo>
                  <a:cubicBezTo>
                    <a:pt x="63" y="31"/>
                    <a:pt x="62" y="31"/>
                    <a:pt x="62" y="31"/>
                  </a:cubicBezTo>
                  <a:cubicBezTo>
                    <a:pt x="61" y="31"/>
                    <a:pt x="61" y="31"/>
                    <a:pt x="60" y="31"/>
                  </a:cubicBezTo>
                  <a:cubicBezTo>
                    <a:pt x="60" y="30"/>
                    <a:pt x="60" y="30"/>
                    <a:pt x="60" y="27"/>
                  </a:cubicBezTo>
                  <a:cubicBezTo>
                    <a:pt x="60" y="26"/>
                    <a:pt x="60" y="24"/>
                    <a:pt x="59" y="23"/>
                  </a:cubicBezTo>
                  <a:cubicBezTo>
                    <a:pt x="58" y="19"/>
                    <a:pt x="55" y="17"/>
                    <a:pt x="51" y="17"/>
                  </a:cubicBezTo>
                  <a:cubicBezTo>
                    <a:pt x="51" y="17"/>
                    <a:pt x="50" y="17"/>
                    <a:pt x="50" y="17"/>
                  </a:cubicBezTo>
                  <a:cubicBezTo>
                    <a:pt x="47" y="18"/>
                    <a:pt x="46" y="19"/>
                    <a:pt x="44" y="20"/>
                  </a:cubicBezTo>
                  <a:cubicBezTo>
                    <a:pt x="44" y="21"/>
                    <a:pt x="43" y="21"/>
                    <a:pt x="43" y="22"/>
                  </a:cubicBezTo>
                  <a:cubicBezTo>
                    <a:pt x="42" y="22"/>
                    <a:pt x="42" y="22"/>
                    <a:pt x="41" y="22"/>
                  </a:cubicBezTo>
                  <a:cubicBezTo>
                    <a:pt x="40" y="22"/>
                    <a:pt x="39" y="22"/>
                    <a:pt x="39" y="22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0"/>
                  </a:cubicBezTo>
                  <a:cubicBezTo>
                    <a:pt x="38" y="19"/>
                    <a:pt x="38" y="18"/>
                    <a:pt x="38" y="17"/>
                  </a:cubicBezTo>
                  <a:cubicBezTo>
                    <a:pt x="37" y="14"/>
                    <a:pt x="35" y="12"/>
                    <a:pt x="31" y="10"/>
                  </a:cubicBezTo>
                  <a:cubicBezTo>
                    <a:pt x="30" y="9"/>
                    <a:pt x="29" y="9"/>
                    <a:pt x="27" y="9"/>
                  </a:cubicBezTo>
                  <a:cubicBezTo>
                    <a:pt x="26" y="8"/>
                    <a:pt x="25" y="8"/>
                    <a:pt x="25" y="8"/>
                  </a:cubicBezTo>
                  <a:cubicBezTo>
                    <a:pt x="23" y="7"/>
                    <a:pt x="23" y="6"/>
                    <a:pt x="22" y="5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19" y="1"/>
                    <a:pt x="16" y="0"/>
                    <a:pt x="13" y="0"/>
                  </a:cubicBezTo>
                  <a:cubicBezTo>
                    <a:pt x="9" y="0"/>
                    <a:pt x="4" y="3"/>
                    <a:pt x="2" y="7"/>
                  </a:cubicBezTo>
                  <a:cubicBezTo>
                    <a:pt x="0" y="10"/>
                    <a:pt x="1" y="13"/>
                    <a:pt x="3" y="16"/>
                  </a:cubicBezTo>
                  <a:cubicBezTo>
                    <a:pt x="4" y="18"/>
                    <a:pt x="5" y="20"/>
                    <a:pt x="6" y="22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8" y="25"/>
                    <a:pt x="8" y="26"/>
                    <a:pt x="8" y="27"/>
                  </a:cubicBezTo>
                  <a:cubicBezTo>
                    <a:pt x="8" y="29"/>
                    <a:pt x="9" y="31"/>
                    <a:pt x="11" y="33"/>
                  </a:cubicBezTo>
                  <a:cubicBezTo>
                    <a:pt x="13" y="35"/>
                    <a:pt x="16" y="39"/>
                    <a:pt x="21" y="39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3" y="39"/>
                    <a:pt x="25" y="38"/>
                    <a:pt x="27" y="38"/>
                  </a:cubicBezTo>
                  <a:cubicBezTo>
                    <a:pt x="28" y="37"/>
                    <a:pt x="31" y="37"/>
                    <a:pt x="32" y="37"/>
                  </a:cubicBezTo>
                  <a:cubicBezTo>
                    <a:pt x="33" y="37"/>
                    <a:pt x="34" y="37"/>
                    <a:pt x="35" y="38"/>
                  </a:cubicBezTo>
                  <a:cubicBezTo>
                    <a:pt x="35" y="38"/>
                    <a:pt x="36" y="41"/>
                    <a:pt x="36" y="43"/>
                  </a:cubicBezTo>
                  <a:cubicBezTo>
                    <a:pt x="37" y="44"/>
                    <a:pt x="37" y="46"/>
                    <a:pt x="37" y="47"/>
                  </a:cubicBezTo>
                  <a:cubicBezTo>
                    <a:pt x="38" y="48"/>
                    <a:pt x="38" y="49"/>
                    <a:pt x="39" y="50"/>
                  </a:cubicBezTo>
                  <a:cubicBezTo>
                    <a:pt x="41" y="54"/>
                    <a:pt x="43" y="58"/>
                    <a:pt x="42" y="62"/>
                  </a:cubicBezTo>
                  <a:cubicBezTo>
                    <a:pt x="42" y="63"/>
                    <a:pt x="42" y="64"/>
                    <a:pt x="41" y="65"/>
                  </a:cubicBezTo>
                  <a:cubicBezTo>
                    <a:pt x="41" y="67"/>
                    <a:pt x="40" y="68"/>
                    <a:pt x="40" y="69"/>
                  </a:cubicBezTo>
                  <a:cubicBezTo>
                    <a:pt x="40" y="72"/>
                    <a:pt x="40" y="74"/>
                    <a:pt x="40" y="76"/>
                  </a:cubicBezTo>
                  <a:cubicBezTo>
                    <a:pt x="40" y="77"/>
                    <a:pt x="40" y="78"/>
                    <a:pt x="40" y="78"/>
                  </a:cubicBezTo>
                  <a:cubicBezTo>
                    <a:pt x="40" y="81"/>
                    <a:pt x="41" y="84"/>
                    <a:pt x="41" y="87"/>
                  </a:cubicBezTo>
                  <a:cubicBezTo>
                    <a:pt x="42" y="89"/>
                    <a:pt x="42" y="92"/>
                    <a:pt x="42" y="94"/>
                  </a:cubicBezTo>
                  <a:cubicBezTo>
                    <a:pt x="42" y="97"/>
                    <a:pt x="42" y="103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1" y="104"/>
                    <a:pt x="53" y="103"/>
                    <a:pt x="53" y="103"/>
                  </a:cubicBezTo>
                  <a:cubicBezTo>
                    <a:pt x="54" y="103"/>
                    <a:pt x="54" y="102"/>
                    <a:pt x="54" y="102"/>
                  </a:cubicBezTo>
                  <a:cubicBezTo>
                    <a:pt x="54" y="102"/>
                    <a:pt x="54" y="102"/>
                    <a:pt x="55" y="102"/>
                  </a:cubicBezTo>
                  <a:cubicBezTo>
                    <a:pt x="55" y="102"/>
                    <a:pt x="55" y="102"/>
                    <a:pt x="56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3"/>
                    <a:pt x="59" y="104"/>
                    <a:pt x="60" y="104"/>
                  </a:cubicBezTo>
                  <a:cubicBezTo>
                    <a:pt x="60" y="104"/>
                    <a:pt x="60" y="105"/>
                    <a:pt x="61" y="105"/>
                  </a:cubicBezTo>
                  <a:cubicBezTo>
                    <a:pt x="61" y="106"/>
                    <a:pt x="62" y="107"/>
                    <a:pt x="63" y="107"/>
                  </a:cubicBezTo>
                  <a:cubicBezTo>
                    <a:pt x="64" y="108"/>
                    <a:pt x="66" y="109"/>
                    <a:pt x="67" y="109"/>
                  </a:cubicBezTo>
                  <a:cubicBezTo>
                    <a:pt x="70" y="109"/>
                    <a:pt x="73" y="107"/>
                    <a:pt x="75" y="105"/>
                  </a:cubicBezTo>
                  <a:cubicBezTo>
                    <a:pt x="76" y="104"/>
                    <a:pt x="76" y="104"/>
                    <a:pt x="76" y="103"/>
                  </a:cubicBezTo>
                  <a:cubicBezTo>
                    <a:pt x="76" y="104"/>
                    <a:pt x="76" y="105"/>
                    <a:pt x="77" y="106"/>
                  </a:cubicBezTo>
                  <a:cubicBezTo>
                    <a:pt x="77" y="108"/>
                    <a:pt x="79" y="111"/>
                    <a:pt x="84" y="111"/>
                  </a:cubicBezTo>
                  <a:cubicBezTo>
                    <a:pt x="85" y="111"/>
                    <a:pt x="86" y="110"/>
                    <a:pt x="87" y="110"/>
                  </a:cubicBezTo>
                  <a:cubicBezTo>
                    <a:pt x="87" y="110"/>
                    <a:pt x="87" y="110"/>
                    <a:pt x="87" y="110"/>
                  </a:cubicBezTo>
                  <a:cubicBezTo>
                    <a:pt x="90" y="110"/>
                    <a:pt x="92" y="109"/>
                    <a:pt x="95" y="108"/>
                  </a:cubicBezTo>
                  <a:cubicBezTo>
                    <a:pt x="98" y="108"/>
                    <a:pt x="100" y="107"/>
                    <a:pt x="103" y="107"/>
                  </a:cubicBezTo>
                  <a:cubicBezTo>
                    <a:pt x="103" y="107"/>
                    <a:pt x="103" y="107"/>
                    <a:pt x="104" y="107"/>
                  </a:cubicBezTo>
                  <a:cubicBezTo>
                    <a:pt x="105" y="107"/>
                    <a:pt x="106" y="107"/>
                    <a:pt x="107" y="107"/>
                  </a:cubicBezTo>
                  <a:cubicBezTo>
                    <a:pt x="109" y="107"/>
                    <a:pt x="111" y="107"/>
                    <a:pt x="113" y="106"/>
                  </a:cubicBezTo>
                  <a:cubicBezTo>
                    <a:pt x="114" y="105"/>
                    <a:pt x="114" y="105"/>
                    <a:pt x="114" y="105"/>
                  </a:cubicBezTo>
                  <a:cubicBezTo>
                    <a:pt x="115" y="105"/>
                    <a:pt x="115" y="105"/>
                    <a:pt x="115" y="106"/>
                  </a:cubicBezTo>
                  <a:cubicBezTo>
                    <a:pt x="116" y="106"/>
                    <a:pt x="117" y="106"/>
                    <a:pt x="119" y="106"/>
                  </a:cubicBezTo>
                  <a:cubicBezTo>
                    <a:pt x="119" y="107"/>
                    <a:pt x="120" y="107"/>
                    <a:pt x="121" y="107"/>
                  </a:cubicBezTo>
                  <a:cubicBezTo>
                    <a:pt x="124" y="107"/>
                    <a:pt x="127" y="106"/>
                    <a:pt x="129" y="106"/>
                  </a:cubicBezTo>
                  <a:cubicBezTo>
                    <a:pt x="132" y="105"/>
                    <a:pt x="133" y="103"/>
                    <a:pt x="134" y="101"/>
                  </a:cubicBezTo>
                  <a:cubicBezTo>
                    <a:pt x="134" y="100"/>
                    <a:pt x="135" y="100"/>
                    <a:pt x="135" y="99"/>
                  </a:cubicBezTo>
                  <a:cubicBezTo>
                    <a:pt x="135" y="100"/>
                    <a:pt x="136" y="100"/>
                    <a:pt x="136" y="100"/>
                  </a:cubicBezTo>
                  <a:cubicBezTo>
                    <a:pt x="137" y="101"/>
                    <a:pt x="138" y="102"/>
                    <a:pt x="139" y="102"/>
                  </a:cubicBezTo>
                  <a:cubicBezTo>
                    <a:pt x="143" y="104"/>
                    <a:pt x="147" y="105"/>
                    <a:pt x="151" y="105"/>
                  </a:cubicBezTo>
                  <a:cubicBezTo>
                    <a:pt x="152" y="105"/>
                    <a:pt x="154" y="104"/>
                    <a:pt x="155" y="104"/>
                  </a:cubicBezTo>
                  <a:cubicBezTo>
                    <a:pt x="157" y="104"/>
                    <a:pt x="159" y="103"/>
                    <a:pt x="160" y="102"/>
                  </a:cubicBezTo>
                  <a:cubicBezTo>
                    <a:pt x="160" y="102"/>
                    <a:pt x="161" y="102"/>
                    <a:pt x="161" y="102"/>
                  </a:cubicBezTo>
                  <a:cubicBezTo>
                    <a:pt x="161" y="101"/>
                    <a:pt x="162" y="101"/>
                    <a:pt x="163" y="101"/>
                  </a:cubicBezTo>
                  <a:cubicBezTo>
                    <a:pt x="164" y="101"/>
                    <a:pt x="166" y="100"/>
                    <a:pt x="168" y="98"/>
                  </a:cubicBezTo>
                  <a:cubicBezTo>
                    <a:pt x="169" y="96"/>
                    <a:pt x="170" y="94"/>
                    <a:pt x="170" y="93"/>
                  </a:cubicBezTo>
                  <a:cubicBezTo>
                    <a:pt x="170" y="92"/>
                    <a:pt x="170" y="91"/>
                    <a:pt x="170" y="90"/>
                  </a:cubicBezTo>
                  <a:cubicBezTo>
                    <a:pt x="170" y="90"/>
                    <a:pt x="171" y="89"/>
                    <a:pt x="172" y="89"/>
                  </a:cubicBezTo>
                  <a:cubicBezTo>
                    <a:pt x="174" y="88"/>
                    <a:pt x="175" y="87"/>
                    <a:pt x="176" y="86"/>
                  </a:cubicBezTo>
                  <a:cubicBezTo>
                    <a:pt x="178" y="84"/>
                    <a:pt x="179" y="82"/>
                    <a:pt x="178" y="80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auto">
            <a:xfrm>
              <a:off x="17703741" y="3725060"/>
              <a:ext cx="213382" cy="216522"/>
            </a:xfrm>
            <a:custGeom>
              <a:avLst/>
              <a:gdLst>
                <a:gd name="T0" fmla="*/ 38 w 39"/>
                <a:gd name="T1" fmla="*/ 22 h 44"/>
                <a:gd name="T2" fmla="*/ 37 w 39"/>
                <a:gd name="T3" fmla="*/ 19 h 44"/>
                <a:gd name="T4" fmla="*/ 37 w 39"/>
                <a:gd name="T5" fmla="*/ 18 h 44"/>
                <a:gd name="T6" fmla="*/ 34 w 39"/>
                <a:gd name="T7" fmla="*/ 8 h 44"/>
                <a:gd name="T8" fmla="*/ 27 w 39"/>
                <a:gd name="T9" fmla="*/ 1 h 44"/>
                <a:gd name="T10" fmla="*/ 22 w 39"/>
                <a:gd name="T11" fmla="*/ 0 h 44"/>
                <a:gd name="T12" fmla="*/ 12 w 39"/>
                <a:gd name="T13" fmla="*/ 3 h 44"/>
                <a:gd name="T14" fmla="*/ 8 w 39"/>
                <a:gd name="T15" fmla="*/ 10 h 44"/>
                <a:gd name="T16" fmla="*/ 6 w 39"/>
                <a:gd name="T17" fmla="*/ 14 h 44"/>
                <a:gd name="T18" fmla="*/ 5 w 39"/>
                <a:gd name="T19" fmla="*/ 15 h 44"/>
                <a:gd name="T20" fmla="*/ 2 w 39"/>
                <a:gd name="T21" fmla="*/ 26 h 44"/>
                <a:gd name="T22" fmla="*/ 6 w 39"/>
                <a:gd name="T23" fmla="*/ 31 h 44"/>
                <a:gd name="T24" fmla="*/ 8 w 39"/>
                <a:gd name="T25" fmla="*/ 33 h 44"/>
                <a:gd name="T26" fmla="*/ 14 w 39"/>
                <a:gd name="T27" fmla="*/ 38 h 44"/>
                <a:gd name="T28" fmla="*/ 19 w 39"/>
                <a:gd name="T29" fmla="*/ 41 h 44"/>
                <a:gd name="T30" fmla="*/ 22 w 39"/>
                <a:gd name="T31" fmla="*/ 43 h 44"/>
                <a:gd name="T32" fmla="*/ 27 w 39"/>
                <a:gd name="T33" fmla="*/ 44 h 44"/>
                <a:gd name="T34" fmla="*/ 33 w 39"/>
                <a:gd name="T35" fmla="*/ 43 h 44"/>
                <a:gd name="T36" fmla="*/ 38 w 39"/>
                <a:gd name="T37" fmla="*/ 36 h 44"/>
                <a:gd name="T38" fmla="*/ 38 w 39"/>
                <a:gd name="T39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" h="44">
                  <a:moveTo>
                    <a:pt x="38" y="22"/>
                  </a:moveTo>
                  <a:cubicBezTo>
                    <a:pt x="38" y="21"/>
                    <a:pt x="37" y="20"/>
                    <a:pt x="37" y="19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6" y="15"/>
                    <a:pt x="36" y="11"/>
                    <a:pt x="34" y="8"/>
                  </a:cubicBezTo>
                  <a:cubicBezTo>
                    <a:pt x="33" y="5"/>
                    <a:pt x="30" y="2"/>
                    <a:pt x="27" y="1"/>
                  </a:cubicBezTo>
                  <a:cubicBezTo>
                    <a:pt x="26" y="0"/>
                    <a:pt x="24" y="0"/>
                    <a:pt x="22" y="0"/>
                  </a:cubicBezTo>
                  <a:cubicBezTo>
                    <a:pt x="19" y="0"/>
                    <a:pt x="14" y="1"/>
                    <a:pt x="12" y="3"/>
                  </a:cubicBezTo>
                  <a:cubicBezTo>
                    <a:pt x="10" y="5"/>
                    <a:pt x="9" y="8"/>
                    <a:pt x="8" y="10"/>
                  </a:cubicBezTo>
                  <a:cubicBezTo>
                    <a:pt x="8" y="11"/>
                    <a:pt x="7" y="13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3" y="17"/>
                    <a:pt x="0" y="21"/>
                    <a:pt x="2" y="26"/>
                  </a:cubicBezTo>
                  <a:cubicBezTo>
                    <a:pt x="3" y="29"/>
                    <a:pt x="5" y="30"/>
                    <a:pt x="6" y="31"/>
                  </a:cubicBezTo>
                  <a:cubicBezTo>
                    <a:pt x="7" y="32"/>
                    <a:pt x="8" y="32"/>
                    <a:pt x="8" y="33"/>
                  </a:cubicBezTo>
                  <a:cubicBezTo>
                    <a:pt x="10" y="35"/>
                    <a:pt x="12" y="37"/>
                    <a:pt x="14" y="38"/>
                  </a:cubicBezTo>
                  <a:cubicBezTo>
                    <a:pt x="16" y="40"/>
                    <a:pt x="18" y="41"/>
                    <a:pt x="19" y="41"/>
                  </a:cubicBezTo>
                  <a:cubicBezTo>
                    <a:pt x="20" y="42"/>
                    <a:pt x="21" y="42"/>
                    <a:pt x="22" y="43"/>
                  </a:cubicBezTo>
                  <a:cubicBezTo>
                    <a:pt x="24" y="44"/>
                    <a:pt x="26" y="44"/>
                    <a:pt x="27" y="44"/>
                  </a:cubicBezTo>
                  <a:cubicBezTo>
                    <a:pt x="29" y="44"/>
                    <a:pt x="31" y="44"/>
                    <a:pt x="33" y="43"/>
                  </a:cubicBezTo>
                  <a:cubicBezTo>
                    <a:pt x="35" y="41"/>
                    <a:pt x="37" y="39"/>
                    <a:pt x="38" y="36"/>
                  </a:cubicBezTo>
                  <a:cubicBezTo>
                    <a:pt x="39" y="31"/>
                    <a:pt x="38" y="26"/>
                    <a:pt x="38" y="22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88" name="Freeform 87"/>
            <p:cNvSpPr>
              <a:spLocks/>
            </p:cNvSpPr>
            <p:nvPr/>
          </p:nvSpPr>
          <p:spPr bwMode="auto">
            <a:xfrm>
              <a:off x="17621671" y="4874867"/>
              <a:ext cx="82070" cy="78396"/>
            </a:xfrm>
            <a:custGeom>
              <a:avLst/>
              <a:gdLst>
                <a:gd name="T0" fmla="*/ 10 w 15"/>
                <a:gd name="T1" fmla="*/ 1 h 16"/>
                <a:gd name="T2" fmla="*/ 6 w 15"/>
                <a:gd name="T3" fmla="*/ 0 h 16"/>
                <a:gd name="T4" fmla="*/ 1 w 15"/>
                <a:gd name="T5" fmla="*/ 2 h 16"/>
                <a:gd name="T6" fmla="*/ 0 w 15"/>
                <a:gd name="T7" fmla="*/ 7 h 16"/>
                <a:gd name="T8" fmla="*/ 10 w 15"/>
                <a:gd name="T9" fmla="*/ 16 h 16"/>
                <a:gd name="T10" fmla="*/ 10 w 15"/>
                <a:gd name="T11" fmla="*/ 16 h 16"/>
                <a:gd name="T12" fmla="*/ 12 w 15"/>
                <a:gd name="T13" fmla="*/ 16 h 16"/>
                <a:gd name="T14" fmla="*/ 15 w 15"/>
                <a:gd name="T15" fmla="*/ 10 h 16"/>
                <a:gd name="T16" fmla="*/ 10 w 15"/>
                <a:gd name="T1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6">
                  <a:moveTo>
                    <a:pt x="10" y="1"/>
                  </a:moveTo>
                  <a:cubicBezTo>
                    <a:pt x="9" y="1"/>
                    <a:pt x="7" y="0"/>
                    <a:pt x="6" y="0"/>
                  </a:cubicBezTo>
                  <a:cubicBezTo>
                    <a:pt x="4" y="0"/>
                    <a:pt x="3" y="1"/>
                    <a:pt x="1" y="2"/>
                  </a:cubicBezTo>
                  <a:cubicBezTo>
                    <a:pt x="0" y="4"/>
                    <a:pt x="0" y="5"/>
                    <a:pt x="0" y="7"/>
                  </a:cubicBezTo>
                  <a:cubicBezTo>
                    <a:pt x="1" y="11"/>
                    <a:pt x="6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4" y="15"/>
                    <a:pt x="15" y="13"/>
                    <a:pt x="15" y="10"/>
                  </a:cubicBezTo>
                  <a:cubicBezTo>
                    <a:pt x="15" y="7"/>
                    <a:pt x="12" y="3"/>
                    <a:pt x="10" y="1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89" name="Freeform 88"/>
            <p:cNvSpPr>
              <a:spLocks/>
            </p:cNvSpPr>
            <p:nvPr/>
          </p:nvSpPr>
          <p:spPr bwMode="auto">
            <a:xfrm>
              <a:off x="17933537" y="4835669"/>
              <a:ext cx="65656" cy="54131"/>
            </a:xfrm>
            <a:custGeom>
              <a:avLst/>
              <a:gdLst>
                <a:gd name="T0" fmla="*/ 11 w 12"/>
                <a:gd name="T1" fmla="*/ 4 h 11"/>
                <a:gd name="T2" fmla="*/ 7 w 12"/>
                <a:gd name="T3" fmla="*/ 0 h 11"/>
                <a:gd name="T4" fmla="*/ 1 w 12"/>
                <a:gd name="T5" fmla="*/ 6 h 11"/>
                <a:gd name="T6" fmla="*/ 3 w 12"/>
                <a:gd name="T7" fmla="*/ 10 h 11"/>
                <a:gd name="T8" fmla="*/ 5 w 12"/>
                <a:gd name="T9" fmla="*/ 11 h 11"/>
                <a:gd name="T10" fmla="*/ 5 w 12"/>
                <a:gd name="T11" fmla="*/ 11 h 11"/>
                <a:gd name="T12" fmla="*/ 10 w 12"/>
                <a:gd name="T13" fmla="*/ 8 h 11"/>
                <a:gd name="T14" fmla="*/ 11 w 12"/>
                <a:gd name="T15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1">
                  <a:moveTo>
                    <a:pt x="11" y="4"/>
                  </a:moveTo>
                  <a:cubicBezTo>
                    <a:pt x="11" y="0"/>
                    <a:pt x="8" y="0"/>
                    <a:pt x="7" y="0"/>
                  </a:cubicBezTo>
                  <a:cubicBezTo>
                    <a:pt x="3" y="0"/>
                    <a:pt x="1" y="4"/>
                    <a:pt x="1" y="6"/>
                  </a:cubicBezTo>
                  <a:cubicBezTo>
                    <a:pt x="0" y="8"/>
                    <a:pt x="2" y="10"/>
                    <a:pt x="3" y="10"/>
                  </a:cubicBezTo>
                  <a:cubicBezTo>
                    <a:pt x="4" y="10"/>
                    <a:pt x="4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7" y="11"/>
                    <a:pt x="9" y="10"/>
                    <a:pt x="10" y="8"/>
                  </a:cubicBezTo>
                  <a:cubicBezTo>
                    <a:pt x="11" y="7"/>
                    <a:pt x="12" y="6"/>
                    <a:pt x="11" y="4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54" name="Freeform 153"/>
            <p:cNvSpPr>
              <a:spLocks/>
            </p:cNvSpPr>
            <p:nvPr/>
          </p:nvSpPr>
          <p:spPr bwMode="auto">
            <a:xfrm>
              <a:off x="16146464" y="4036777"/>
              <a:ext cx="1171549" cy="946351"/>
            </a:xfrm>
            <a:custGeom>
              <a:avLst/>
              <a:gdLst>
                <a:gd name="T0" fmla="*/ 209 w 215"/>
                <a:gd name="T1" fmla="*/ 139 h 191"/>
                <a:gd name="T2" fmla="*/ 205 w 215"/>
                <a:gd name="T3" fmla="*/ 135 h 191"/>
                <a:gd name="T4" fmla="*/ 197 w 215"/>
                <a:gd name="T5" fmla="*/ 125 h 191"/>
                <a:gd name="T6" fmla="*/ 189 w 215"/>
                <a:gd name="T7" fmla="*/ 119 h 191"/>
                <a:gd name="T8" fmla="*/ 181 w 215"/>
                <a:gd name="T9" fmla="*/ 110 h 191"/>
                <a:gd name="T10" fmla="*/ 178 w 215"/>
                <a:gd name="T11" fmla="*/ 104 h 191"/>
                <a:gd name="T12" fmla="*/ 179 w 215"/>
                <a:gd name="T13" fmla="*/ 90 h 191"/>
                <a:gd name="T14" fmla="*/ 181 w 215"/>
                <a:gd name="T15" fmla="*/ 69 h 191"/>
                <a:gd name="T16" fmla="*/ 180 w 215"/>
                <a:gd name="T17" fmla="*/ 57 h 191"/>
                <a:gd name="T18" fmla="*/ 182 w 215"/>
                <a:gd name="T19" fmla="*/ 50 h 191"/>
                <a:gd name="T20" fmla="*/ 184 w 215"/>
                <a:gd name="T21" fmla="*/ 44 h 191"/>
                <a:gd name="T22" fmla="*/ 185 w 215"/>
                <a:gd name="T23" fmla="*/ 35 h 191"/>
                <a:gd name="T24" fmla="*/ 181 w 215"/>
                <a:gd name="T25" fmla="*/ 21 h 191"/>
                <a:gd name="T26" fmla="*/ 177 w 215"/>
                <a:gd name="T27" fmla="*/ 16 h 191"/>
                <a:gd name="T28" fmla="*/ 165 w 215"/>
                <a:gd name="T29" fmla="*/ 3 h 191"/>
                <a:gd name="T30" fmla="*/ 149 w 215"/>
                <a:gd name="T31" fmla="*/ 9 h 191"/>
                <a:gd name="T32" fmla="*/ 148 w 215"/>
                <a:gd name="T33" fmla="*/ 15 h 191"/>
                <a:gd name="T34" fmla="*/ 146 w 215"/>
                <a:gd name="T35" fmla="*/ 30 h 191"/>
                <a:gd name="T36" fmla="*/ 145 w 215"/>
                <a:gd name="T37" fmla="*/ 38 h 191"/>
                <a:gd name="T38" fmla="*/ 146 w 215"/>
                <a:gd name="T39" fmla="*/ 50 h 191"/>
                <a:gd name="T40" fmla="*/ 143 w 215"/>
                <a:gd name="T41" fmla="*/ 62 h 191"/>
                <a:gd name="T42" fmla="*/ 141 w 215"/>
                <a:gd name="T43" fmla="*/ 44 h 191"/>
                <a:gd name="T44" fmla="*/ 138 w 215"/>
                <a:gd name="T45" fmla="*/ 16 h 191"/>
                <a:gd name="T46" fmla="*/ 131 w 215"/>
                <a:gd name="T47" fmla="*/ 10 h 191"/>
                <a:gd name="T48" fmla="*/ 5 w 215"/>
                <a:gd name="T49" fmla="*/ 82 h 191"/>
                <a:gd name="T50" fmla="*/ 2 w 215"/>
                <a:gd name="T51" fmla="*/ 98 h 191"/>
                <a:gd name="T52" fmla="*/ 3 w 215"/>
                <a:gd name="T53" fmla="*/ 104 h 191"/>
                <a:gd name="T54" fmla="*/ 15 w 215"/>
                <a:gd name="T55" fmla="*/ 121 h 191"/>
                <a:gd name="T56" fmla="*/ 30 w 215"/>
                <a:gd name="T57" fmla="*/ 128 h 191"/>
                <a:gd name="T58" fmla="*/ 32 w 215"/>
                <a:gd name="T59" fmla="*/ 127 h 191"/>
                <a:gd name="T60" fmla="*/ 35 w 215"/>
                <a:gd name="T61" fmla="*/ 128 h 191"/>
                <a:gd name="T62" fmla="*/ 34 w 215"/>
                <a:gd name="T63" fmla="*/ 140 h 191"/>
                <a:gd name="T64" fmla="*/ 36 w 215"/>
                <a:gd name="T65" fmla="*/ 163 h 191"/>
                <a:gd name="T66" fmla="*/ 49 w 215"/>
                <a:gd name="T67" fmla="*/ 165 h 191"/>
                <a:gd name="T68" fmla="*/ 59 w 215"/>
                <a:gd name="T69" fmla="*/ 167 h 191"/>
                <a:gd name="T70" fmla="*/ 74 w 215"/>
                <a:gd name="T71" fmla="*/ 170 h 191"/>
                <a:gd name="T72" fmla="*/ 82 w 215"/>
                <a:gd name="T73" fmla="*/ 172 h 191"/>
                <a:gd name="T74" fmla="*/ 101 w 215"/>
                <a:gd name="T75" fmla="*/ 167 h 191"/>
                <a:gd name="T76" fmla="*/ 108 w 215"/>
                <a:gd name="T77" fmla="*/ 168 h 191"/>
                <a:gd name="T78" fmla="*/ 120 w 215"/>
                <a:gd name="T79" fmla="*/ 169 h 191"/>
                <a:gd name="T80" fmla="*/ 131 w 215"/>
                <a:gd name="T81" fmla="*/ 158 h 191"/>
                <a:gd name="T82" fmla="*/ 134 w 215"/>
                <a:gd name="T83" fmla="*/ 153 h 191"/>
                <a:gd name="T84" fmla="*/ 134 w 215"/>
                <a:gd name="T85" fmla="*/ 158 h 191"/>
                <a:gd name="T86" fmla="*/ 133 w 215"/>
                <a:gd name="T87" fmla="*/ 167 h 191"/>
                <a:gd name="T88" fmla="*/ 144 w 215"/>
                <a:gd name="T89" fmla="*/ 169 h 191"/>
                <a:gd name="T90" fmla="*/ 145 w 215"/>
                <a:gd name="T91" fmla="*/ 174 h 191"/>
                <a:gd name="T92" fmla="*/ 157 w 215"/>
                <a:gd name="T93" fmla="*/ 184 h 191"/>
                <a:gd name="T94" fmla="*/ 167 w 215"/>
                <a:gd name="T95" fmla="*/ 188 h 191"/>
                <a:gd name="T96" fmla="*/ 184 w 215"/>
                <a:gd name="T97" fmla="*/ 189 h 191"/>
                <a:gd name="T98" fmla="*/ 195 w 215"/>
                <a:gd name="T99" fmla="*/ 179 h 191"/>
                <a:gd name="T100" fmla="*/ 195 w 215"/>
                <a:gd name="T101" fmla="*/ 173 h 191"/>
                <a:gd name="T102" fmla="*/ 195 w 215"/>
                <a:gd name="T103" fmla="*/ 165 h 191"/>
                <a:gd name="T104" fmla="*/ 191 w 215"/>
                <a:gd name="T105" fmla="*/ 156 h 191"/>
                <a:gd name="T106" fmla="*/ 192 w 215"/>
                <a:gd name="T107" fmla="*/ 155 h 191"/>
                <a:gd name="T108" fmla="*/ 198 w 215"/>
                <a:gd name="T109" fmla="*/ 158 h 191"/>
                <a:gd name="T110" fmla="*/ 202 w 215"/>
                <a:gd name="T111" fmla="*/ 157 h 191"/>
                <a:gd name="T112" fmla="*/ 207 w 215"/>
                <a:gd name="T113" fmla="*/ 161 h 191"/>
                <a:gd name="T114" fmla="*/ 214 w 215"/>
                <a:gd name="T115" fmla="*/ 154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5" h="191">
                  <a:moveTo>
                    <a:pt x="212" y="142"/>
                  </a:moveTo>
                  <a:cubicBezTo>
                    <a:pt x="211" y="141"/>
                    <a:pt x="210" y="140"/>
                    <a:pt x="209" y="139"/>
                  </a:cubicBezTo>
                  <a:cubicBezTo>
                    <a:pt x="209" y="139"/>
                    <a:pt x="208" y="138"/>
                    <a:pt x="207" y="138"/>
                  </a:cubicBezTo>
                  <a:cubicBezTo>
                    <a:pt x="207" y="137"/>
                    <a:pt x="206" y="136"/>
                    <a:pt x="205" y="135"/>
                  </a:cubicBezTo>
                  <a:cubicBezTo>
                    <a:pt x="205" y="134"/>
                    <a:pt x="205" y="134"/>
                    <a:pt x="204" y="133"/>
                  </a:cubicBezTo>
                  <a:cubicBezTo>
                    <a:pt x="202" y="130"/>
                    <a:pt x="199" y="127"/>
                    <a:pt x="197" y="125"/>
                  </a:cubicBezTo>
                  <a:cubicBezTo>
                    <a:pt x="196" y="124"/>
                    <a:pt x="195" y="124"/>
                    <a:pt x="194" y="123"/>
                  </a:cubicBezTo>
                  <a:cubicBezTo>
                    <a:pt x="193" y="121"/>
                    <a:pt x="191" y="120"/>
                    <a:pt x="189" y="119"/>
                  </a:cubicBezTo>
                  <a:cubicBezTo>
                    <a:pt x="187" y="118"/>
                    <a:pt x="185" y="117"/>
                    <a:pt x="184" y="115"/>
                  </a:cubicBezTo>
                  <a:cubicBezTo>
                    <a:pt x="183" y="114"/>
                    <a:pt x="182" y="112"/>
                    <a:pt x="181" y="110"/>
                  </a:cubicBezTo>
                  <a:cubicBezTo>
                    <a:pt x="181" y="109"/>
                    <a:pt x="181" y="109"/>
                    <a:pt x="181" y="108"/>
                  </a:cubicBezTo>
                  <a:cubicBezTo>
                    <a:pt x="180" y="107"/>
                    <a:pt x="179" y="105"/>
                    <a:pt x="178" y="104"/>
                  </a:cubicBezTo>
                  <a:cubicBezTo>
                    <a:pt x="178" y="103"/>
                    <a:pt x="177" y="102"/>
                    <a:pt x="177" y="101"/>
                  </a:cubicBezTo>
                  <a:cubicBezTo>
                    <a:pt x="175" y="98"/>
                    <a:pt x="177" y="95"/>
                    <a:pt x="179" y="90"/>
                  </a:cubicBezTo>
                  <a:cubicBezTo>
                    <a:pt x="182" y="86"/>
                    <a:pt x="184" y="80"/>
                    <a:pt x="183" y="75"/>
                  </a:cubicBezTo>
                  <a:cubicBezTo>
                    <a:pt x="183" y="73"/>
                    <a:pt x="182" y="71"/>
                    <a:pt x="181" y="69"/>
                  </a:cubicBezTo>
                  <a:cubicBezTo>
                    <a:pt x="180" y="66"/>
                    <a:pt x="179" y="64"/>
                    <a:pt x="179" y="61"/>
                  </a:cubicBezTo>
                  <a:cubicBezTo>
                    <a:pt x="179" y="60"/>
                    <a:pt x="179" y="59"/>
                    <a:pt x="180" y="57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54"/>
                    <a:pt x="182" y="52"/>
                    <a:pt x="182" y="50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183" y="47"/>
                    <a:pt x="183" y="46"/>
                    <a:pt x="184" y="44"/>
                  </a:cubicBezTo>
                  <a:cubicBezTo>
                    <a:pt x="185" y="42"/>
                    <a:pt x="185" y="39"/>
                    <a:pt x="185" y="35"/>
                  </a:cubicBezTo>
                  <a:cubicBezTo>
                    <a:pt x="185" y="35"/>
                    <a:pt x="185" y="35"/>
                    <a:pt x="185" y="35"/>
                  </a:cubicBezTo>
                  <a:cubicBezTo>
                    <a:pt x="185" y="32"/>
                    <a:pt x="185" y="29"/>
                    <a:pt x="184" y="25"/>
                  </a:cubicBezTo>
                  <a:cubicBezTo>
                    <a:pt x="183" y="23"/>
                    <a:pt x="182" y="22"/>
                    <a:pt x="181" y="21"/>
                  </a:cubicBezTo>
                  <a:cubicBezTo>
                    <a:pt x="180" y="20"/>
                    <a:pt x="180" y="19"/>
                    <a:pt x="179" y="19"/>
                  </a:cubicBezTo>
                  <a:cubicBezTo>
                    <a:pt x="179" y="18"/>
                    <a:pt x="178" y="17"/>
                    <a:pt x="177" y="16"/>
                  </a:cubicBezTo>
                  <a:cubicBezTo>
                    <a:pt x="175" y="12"/>
                    <a:pt x="173" y="7"/>
                    <a:pt x="168" y="5"/>
                  </a:cubicBezTo>
                  <a:cubicBezTo>
                    <a:pt x="167" y="4"/>
                    <a:pt x="166" y="4"/>
                    <a:pt x="165" y="3"/>
                  </a:cubicBezTo>
                  <a:cubicBezTo>
                    <a:pt x="163" y="2"/>
                    <a:pt x="160" y="0"/>
                    <a:pt x="157" y="0"/>
                  </a:cubicBezTo>
                  <a:cubicBezTo>
                    <a:pt x="151" y="0"/>
                    <a:pt x="149" y="6"/>
                    <a:pt x="149" y="9"/>
                  </a:cubicBezTo>
                  <a:cubicBezTo>
                    <a:pt x="149" y="10"/>
                    <a:pt x="149" y="10"/>
                    <a:pt x="149" y="10"/>
                  </a:cubicBezTo>
                  <a:cubicBezTo>
                    <a:pt x="148" y="12"/>
                    <a:pt x="148" y="14"/>
                    <a:pt x="148" y="15"/>
                  </a:cubicBezTo>
                  <a:cubicBezTo>
                    <a:pt x="147" y="17"/>
                    <a:pt x="147" y="20"/>
                    <a:pt x="146" y="22"/>
                  </a:cubicBezTo>
                  <a:cubicBezTo>
                    <a:pt x="146" y="24"/>
                    <a:pt x="146" y="27"/>
                    <a:pt x="146" y="30"/>
                  </a:cubicBezTo>
                  <a:cubicBezTo>
                    <a:pt x="146" y="31"/>
                    <a:pt x="146" y="33"/>
                    <a:pt x="146" y="34"/>
                  </a:cubicBezTo>
                  <a:cubicBezTo>
                    <a:pt x="146" y="36"/>
                    <a:pt x="145" y="37"/>
                    <a:pt x="145" y="38"/>
                  </a:cubicBezTo>
                  <a:cubicBezTo>
                    <a:pt x="145" y="40"/>
                    <a:pt x="145" y="43"/>
                    <a:pt x="145" y="46"/>
                  </a:cubicBezTo>
                  <a:cubicBezTo>
                    <a:pt x="145" y="47"/>
                    <a:pt x="146" y="49"/>
                    <a:pt x="146" y="50"/>
                  </a:cubicBezTo>
                  <a:cubicBezTo>
                    <a:pt x="146" y="52"/>
                    <a:pt x="147" y="54"/>
                    <a:pt x="147" y="55"/>
                  </a:cubicBezTo>
                  <a:cubicBezTo>
                    <a:pt x="146" y="58"/>
                    <a:pt x="144" y="62"/>
                    <a:pt x="143" y="62"/>
                  </a:cubicBezTo>
                  <a:cubicBezTo>
                    <a:pt x="143" y="62"/>
                    <a:pt x="142" y="62"/>
                    <a:pt x="141" y="59"/>
                  </a:cubicBezTo>
                  <a:cubicBezTo>
                    <a:pt x="140" y="54"/>
                    <a:pt x="140" y="49"/>
                    <a:pt x="141" y="44"/>
                  </a:cubicBezTo>
                  <a:cubicBezTo>
                    <a:pt x="142" y="41"/>
                    <a:pt x="142" y="39"/>
                    <a:pt x="142" y="37"/>
                  </a:cubicBezTo>
                  <a:cubicBezTo>
                    <a:pt x="143" y="29"/>
                    <a:pt x="140" y="22"/>
                    <a:pt x="138" y="16"/>
                  </a:cubicBezTo>
                  <a:cubicBezTo>
                    <a:pt x="136" y="14"/>
                    <a:pt x="135" y="13"/>
                    <a:pt x="134" y="12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0" y="88"/>
                    <a:pt x="1" y="93"/>
                    <a:pt x="2" y="98"/>
                  </a:cubicBezTo>
                  <a:cubicBezTo>
                    <a:pt x="2" y="98"/>
                    <a:pt x="2" y="99"/>
                    <a:pt x="2" y="100"/>
                  </a:cubicBezTo>
                  <a:cubicBezTo>
                    <a:pt x="3" y="101"/>
                    <a:pt x="3" y="102"/>
                    <a:pt x="3" y="104"/>
                  </a:cubicBezTo>
                  <a:cubicBezTo>
                    <a:pt x="3" y="105"/>
                    <a:pt x="3" y="107"/>
                    <a:pt x="4" y="109"/>
                  </a:cubicBezTo>
                  <a:cubicBezTo>
                    <a:pt x="5" y="116"/>
                    <a:pt x="11" y="118"/>
                    <a:pt x="15" y="121"/>
                  </a:cubicBezTo>
                  <a:cubicBezTo>
                    <a:pt x="18" y="122"/>
                    <a:pt x="20" y="123"/>
                    <a:pt x="21" y="124"/>
                  </a:cubicBezTo>
                  <a:cubicBezTo>
                    <a:pt x="24" y="126"/>
                    <a:pt x="26" y="127"/>
                    <a:pt x="30" y="128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1" y="128"/>
                    <a:pt x="32" y="127"/>
                    <a:pt x="32" y="127"/>
                  </a:cubicBezTo>
                  <a:cubicBezTo>
                    <a:pt x="33" y="127"/>
                    <a:pt x="33" y="127"/>
                    <a:pt x="34" y="127"/>
                  </a:cubicBezTo>
                  <a:cubicBezTo>
                    <a:pt x="35" y="127"/>
                    <a:pt x="35" y="128"/>
                    <a:pt x="35" y="128"/>
                  </a:cubicBezTo>
                  <a:cubicBezTo>
                    <a:pt x="36" y="130"/>
                    <a:pt x="37" y="134"/>
                    <a:pt x="35" y="137"/>
                  </a:cubicBezTo>
                  <a:cubicBezTo>
                    <a:pt x="35" y="138"/>
                    <a:pt x="34" y="139"/>
                    <a:pt x="34" y="140"/>
                  </a:cubicBezTo>
                  <a:cubicBezTo>
                    <a:pt x="33" y="141"/>
                    <a:pt x="31" y="143"/>
                    <a:pt x="31" y="146"/>
                  </a:cubicBezTo>
                  <a:cubicBezTo>
                    <a:pt x="29" y="152"/>
                    <a:pt x="32" y="159"/>
                    <a:pt x="36" y="163"/>
                  </a:cubicBezTo>
                  <a:cubicBezTo>
                    <a:pt x="39" y="165"/>
                    <a:pt x="43" y="165"/>
                    <a:pt x="46" y="165"/>
                  </a:cubicBezTo>
                  <a:cubicBezTo>
                    <a:pt x="46" y="165"/>
                    <a:pt x="49" y="165"/>
                    <a:pt x="49" y="165"/>
                  </a:cubicBezTo>
                  <a:cubicBezTo>
                    <a:pt x="51" y="165"/>
                    <a:pt x="52" y="166"/>
                    <a:pt x="54" y="166"/>
                  </a:cubicBezTo>
                  <a:cubicBezTo>
                    <a:pt x="55" y="166"/>
                    <a:pt x="57" y="167"/>
                    <a:pt x="59" y="167"/>
                  </a:cubicBezTo>
                  <a:cubicBezTo>
                    <a:pt x="63" y="167"/>
                    <a:pt x="68" y="168"/>
                    <a:pt x="72" y="169"/>
                  </a:cubicBezTo>
                  <a:cubicBezTo>
                    <a:pt x="73" y="169"/>
                    <a:pt x="74" y="170"/>
                    <a:pt x="74" y="170"/>
                  </a:cubicBezTo>
                  <a:cubicBezTo>
                    <a:pt x="76" y="171"/>
                    <a:pt x="78" y="172"/>
                    <a:pt x="81" y="172"/>
                  </a:cubicBezTo>
                  <a:cubicBezTo>
                    <a:pt x="81" y="172"/>
                    <a:pt x="82" y="172"/>
                    <a:pt x="82" y="172"/>
                  </a:cubicBezTo>
                  <a:cubicBezTo>
                    <a:pt x="86" y="172"/>
                    <a:pt x="90" y="171"/>
                    <a:pt x="93" y="170"/>
                  </a:cubicBezTo>
                  <a:cubicBezTo>
                    <a:pt x="96" y="169"/>
                    <a:pt x="98" y="168"/>
                    <a:pt x="101" y="167"/>
                  </a:cubicBezTo>
                  <a:cubicBezTo>
                    <a:pt x="101" y="167"/>
                    <a:pt x="102" y="167"/>
                    <a:pt x="102" y="167"/>
                  </a:cubicBezTo>
                  <a:cubicBezTo>
                    <a:pt x="104" y="167"/>
                    <a:pt x="106" y="168"/>
                    <a:pt x="108" y="168"/>
                  </a:cubicBezTo>
                  <a:cubicBezTo>
                    <a:pt x="110" y="169"/>
                    <a:pt x="113" y="169"/>
                    <a:pt x="115" y="169"/>
                  </a:cubicBezTo>
                  <a:cubicBezTo>
                    <a:pt x="117" y="169"/>
                    <a:pt x="118" y="169"/>
                    <a:pt x="120" y="169"/>
                  </a:cubicBezTo>
                  <a:cubicBezTo>
                    <a:pt x="123" y="168"/>
                    <a:pt x="126" y="165"/>
                    <a:pt x="129" y="161"/>
                  </a:cubicBezTo>
                  <a:cubicBezTo>
                    <a:pt x="130" y="160"/>
                    <a:pt x="131" y="159"/>
                    <a:pt x="131" y="158"/>
                  </a:cubicBezTo>
                  <a:cubicBezTo>
                    <a:pt x="132" y="156"/>
                    <a:pt x="133" y="154"/>
                    <a:pt x="134" y="154"/>
                  </a:cubicBezTo>
                  <a:cubicBezTo>
                    <a:pt x="134" y="153"/>
                    <a:pt x="134" y="153"/>
                    <a:pt x="134" y="153"/>
                  </a:cubicBezTo>
                  <a:cubicBezTo>
                    <a:pt x="134" y="153"/>
                    <a:pt x="135" y="154"/>
                    <a:pt x="135" y="154"/>
                  </a:cubicBezTo>
                  <a:cubicBezTo>
                    <a:pt x="135" y="155"/>
                    <a:pt x="135" y="156"/>
                    <a:pt x="134" y="158"/>
                  </a:cubicBezTo>
                  <a:cubicBezTo>
                    <a:pt x="133" y="159"/>
                    <a:pt x="133" y="160"/>
                    <a:pt x="132" y="162"/>
                  </a:cubicBezTo>
                  <a:cubicBezTo>
                    <a:pt x="132" y="164"/>
                    <a:pt x="132" y="165"/>
                    <a:pt x="133" y="167"/>
                  </a:cubicBezTo>
                  <a:cubicBezTo>
                    <a:pt x="135" y="169"/>
                    <a:pt x="138" y="169"/>
                    <a:pt x="140" y="169"/>
                  </a:cubicBezTo>
                  <a:cubicBezTo>
                    <a:pt x="141" y="169"/>
                    <a:pt x="143" y="169"/>
                    <a:pt x="144" y="169"/>
                  </a:cubicBezTo>
                  <a:cubicBezTo>
                    <a:pt x="144" y="170"/>
                    <a:pt x="145" y="171"/>
                    <a:pt x="145" y="173"/>
                  </a:cubicBezTo>
                  <a:cubicBezTo>
                    <a:pt x="145" y="173"/>
                    <a:pt x="145" y="174"/>
                    <a:pt x="145" y="174"/>
                  </a:cubicBezTo>
                  <a:cubicBezTo>
                    <a:pt x="146" y="177"/>
                    <a:pt x="146" y="180"/>
                    <a:pt x="148" y="182"/>
                  </a:cubicBezTo>
                  <a:cubicBezTo>
                    <a:pt x="151" y="184"/>
                    <a:pt x="154" y="184"/>
                    <a:pt x="157" y="184"/>
                  </a:cubicBezTo>
                  <a:cubicBezTo>
                    <a:pt x="157" y="184"/>
                    <a:pt x="158" y="184"/>
                    <a:pt x="159" y="184"/>
                  </a:cubicBezTo>
                  <a:cubicBezTo>
                    <a:pt x="162" y="185"/>
                    <a:pt x="164" y="186"/>
                    <a:pt x="167" y="188"/>
                  </a:cubicBezTo>
                  <a:cubicBezTo>
                    <a:pt x="171" y="190"/>
                    <a:pt x="174" y="191"/>
                    <a:pt x="177" y="191"/>
                  </a:cubicBezTo>
                  <a:cubicBezTo>
                    <a:pt x="179" y="191"/>
                    <a:pt x="182" y="191"/>
                    <a:pt x="184" y="189"/>
                  </a:cubicBezTo>
                  <a:cubicBezTo>
                    <a:pt x="185" y="189"/>
                    <a:pt x="185" y="189"/>
                    <a:pt x="185" y="189"/>
                  </a:cubicBezTo>
                  <a:cubicBezTo>
                    <a:pt x="189" y="187"/>
                    <a:pt x="194" y="185"/>
                    <a:pt x="195" y="179"/>
                  </a:cubicBezTo>
                  <a:cubicBezTo>
                    <a:pt x="195" y="178"/>
                    <a:pt x="195" y="177"/>
                    <a:pt x="195" y="176"/>
                  </a:cubicBezTo>
                  <a:cubicBezTo>
                    <a:pt x="195" y="175"/>
                    <a:pt x="195" y="174"/>
                    <a:pt x="195" y="173"/>
                  </a:cubicBezTo>
                  <a:cubicBezTo>
                    <a:pt x="195" y="173"/>
                    <a:pt x="195" y="172"/>
                    <a:pt x="195" y="172"/>
                  </a:cubicBezTo>
                  <a:cubicBezTo>
                    <a:pt x="196" y="170"/>
                    <a:pt x="196" y="167"/>
                    <a:pt x="195" y="165"/>
                  </a:cubicBezTo>
                  <a:cubicBezTo>
                    <a:pt x="194" y="163"/>
                    <a:pt x="192" y="162"/>
                    <a:pt x="189" y="161"/>
                  </a:cubicBezTo>
                  <a:cubicBezTo>
                    <a:pt x="190" y="160"/>
                    <a:pt x="191" y="158"/>
                    <a:pt x="191" y="156"/>
                  </a:cubicBezTo>
                  <a:cubicBezTo>
                    <a:pt x="191" y="156"/>
                    <a:pt x="191" y="155"/>
                    <a:pt x="191" y="154"/>
                  </a:cubicBezTo>
                  <a:cubicBezTo>
                    <a:pt x="192" y="154"/>
                    <a:pt x="192" y="155"/>
                    <a:pt x="192" y="155"/>
                  </a:cubicBezTo>
                  <a:cubicBezTo>
                    <a:pt x="193" y="156"/>
                    <a:pt x="194" y="157"/>
                    <a:pt x="196" y="158"/>
                  </a:cubicBezTo>
                  <a:cubicBezTo>
                    <a:pt x="197" y="158"/>
                    <a:pt x="197" y="158"/>
                    <a:pt x="198" y="158"/>
                  </a:cubicBezTo>
                  <a:cubicBezTo>
                    <a:pt x="200" y="158"/>
                    <a:pt x="201" y="158"/>
                    <a:pt x="201" y="157"/>
                  </a:cubicBezTo>
                  <a:cubicBezTo>
                    <a:pt x="201" y="157"/>
                    <a:pt x="202" y="157"/>
                    <a:pt x="202" y="157"/>
                  </a:cubicBezTo>
                  <a:cubicBezTo>
                    <a:pt x="202" y="157"/>
                    <a:pt x="202" y="158"/>
                    <a:pt x="202" y="158"/>
                  </a:cubicBezTo>
                  <a:cubicBezTo>
                    <a:pt x="203" y="159"/>
                    <a:pt x="204" y="161"/>
                    <a:pt x="207" y="161"/>
                  </a:cubicBezTo>
                  <a:cubicBezTo>
                    <a:pt x="207" y="161"/>
                    <a:pt x="208" y="161"/>
                    <a:pt x="208" y="161"/>
                  </a:cubicBezTo>
                  <a:cubicBezTo>
                    <a:pt x="211" y="160"/>
                    <a:pt x="213" y="158"/>
                    <a:pt x="214" y="154"/>
                  </a:cubicBezTo>
                  <a:cubicBezTo>
                    <a:pt x="215" y="150"/>
                    <a:pt x="215" y="145"/>
                    <a:pt x="212" y="142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55" name="Freeform 154"/>
            <p:cNvSpPr>
              <a:spLocks/>
            </p:cNvSpPr>
            <p:nvPr/>
          </p:nvSpPr>
          <p:spPr bwMode="auto">
            <a:xfrm>
              <a:off x="17055388" y="3977047"/>
              <a:ext cx="180554" cy="188524"/>
            </a:xfrm>
            <a:custGeom>
              <a:avLst/>
              <a:gdLst>
                <a:gd name="T0" fmla="*/ 18 w 33"/>
                <a:gd name="T1" fmla="*/ 1 h 38"/>
                <a:gd name="T2" fmla="*/ 11 w 33"/>
                <a:gd name="T3" fmla="*/ 0 h 38"/>
                <a:gd name="T4" fmla="*/ 5 w 33"/>
                <a:gd name="T5" fmla="*/ 1 h 38"/>
                <a:gd name="T6" fmla="*/ 1 w 33"/>
                <a:gd name="T7" fmla="*/ 12 h 38"/>
                <a:gd name="T8" fmla="*/ 3 w 33"/>
                <a:gd name="T9" fmla="*/ 16 h 38"/>
                <a:gd name="T10" fmla="*/ 4 w 33"/>
                <a:gd name="T11" fmla="*/ 17 h 38"/>
                <a:gd name="T12" fmla="*/ 5 w 33"/>
                <a:gd name="T13" fmla="*/ 18 h 38"/>
                <a:gd name="T14" fmla="*/ 9 w 33"/>
                <a:gd name="T15" fmla="*/ 26 h 38"/>
                <a:gd name="T16" fmla="*/ 18 w 33"/>
                <a:gd name="T17" fmla="*/ 38 h 38"/>
                <a:gd name="T18" fmla="*/ 24 w 33"/>
                <a:gd name="T19" fmla="*/ 35 h 38"/>
                <a:gd name="T20" fmla="*/ 32 w 33"/>
                <a:gd name="T21" fmla="*/ 15 h 38"/>
                <a:gd name="T22" fmla="*/ 18 w 33"/>
                <a:gd name="T23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8">
                  <a:moveTo>
                    <a:pt x="18" y="1"/>
                  </a:moveTo>
                  <a:cubicBezTo>
                    <a:pt x="15" y="1"/>
                    <a:pt x="13" y="0"/>
                    <a:pt x="11" y="0"/>
                  </a:cubicBezTo>
                  <a:cubicBezTo>
                    <a:pt x="9" y="0"/>
                    <a:pt x="7" y="1"/>
                    <a:pt x="5" y="1"/>
                  </a:cubicBezTo>
                  <a:cubicBezTo>
                    <a:pt x="2" y="3"/>
                    <a:pt x="0" y="7"/>
                    <a:pt x="1" y="12"/>
                  </a:cubicBezTo>
                  <a:cubicBezTo>
                    <a:pt x="2" y="13"/>
                    <a:pt x="3" y="15"/>
                    <a:pt x="3" y="16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6" y="21"/>
                    <a:pt x="8" y="23"/>
                    <a:pt x="9" y="26"/>
                  </a:cubicBezTo>
                  <a:cubicBezTo>
                    <a:pt x="10" y="30"/>
                    <a:pt x="12" y="38"/>
                    <a:pt x="18" y="38"/>
                  </a:cubicBezTo>
                  <a:cubicBezTo>
                    <a:pt x="20" y="38"/>
                    <a:pt x="22" y="37"/>
                    <a:pt x="24" y="35"/>
                  </a:cubicBezTo>
                  <a:cubicBezTo>
                    <a:pt x="27" y="31"/>
                    <a:pt x="33" y="22"/>
                    <a:pt x="32" y="15"/>
                  </a:cubicBezTo>
                  <a:cubicBezTo>
                    <a:pt x="31" y="8"/>
                    <a:pt x="24" y="3"/>
                    <a:pt x="18" y="1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56" name="Freeform 155"/>
            <p:cNvSpPr>
              <a:spLocks/>
            </p:cNvSpPr>
            <p:nvPr/>
          </p:nvSpPr>
          <p:spPr bwMode="auto">
            <a:xfrm>
              <a:off x="16995888" y="3967714"/>
              <a:ext cx="43087" cy="59730"/>
            </a:xfrm>
            <a:custGeom>
              <a:avLst/>
              <a:gdLst>
                <a:gd name="T0" fmla="*/ 5 w 8"/>
                <a:gd name="T1" fmla="*/ 3 h 12"/>
                <a:gd name="T2" fmla="*/ 5 w 8"/>
                <a:gd name="T3" fmla="*/ 3 h 12"/>
                <a:gd name="T4" fmla="*/ 5 w 8"/>
                <a:gd name="T5" fmla="*/ 0 h 12"/>
                <a:gd name="T6" fmla="*/ 0 w 8"/>
                <a:gd name="T7" fmla="*/ 6 h 12"/>
                <a:gd name="T8" fmla="*/ 3 w 8"/>
                <a:gd name="T9" fmla="*/ 6 h 12"/>
                <a:gd name="T10" fmla="*/ 3 w 8"/>
                <a:gd name="T11" fmla="*/ 6 h 12"/>
                <a:gd name="T12" fmla="*/ 0 w 8"/>
                <a:gd name="T13" fmla="*/ 6 h 12"/>
                <a:gd name="T14" fmla="*/ 1 w 8"/>
                <a:gd name="T15" fmla="*/ 10 h 12"/>
                <a:gd name="T16" fmla="*/ 5 w 8"/>
                <a:gd name="T17" fmla="*/ 12 h 12"/>
                <a:gd name="T18" fmla="*/ 5 w 8"/>
                <a:gd name="T19" fmla="*/ 9 h 12"/>
                <a:gd name="T20" fmla="*/ 7 w 8"/>
                <a:gd name="T21" fmla="*/ 8 h 12"/>
                <a:gd name="T22" fmla="*/ 5 w 8"/>
                <a:gd name="T2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12"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8"/>
                    <a:pt x="1" y="10"/>
                  </a:cubicBezTo>
                  <a:cubicBezTo>
                    <a:pt x="2" y="11"/>
                    <a:pt x="3" y="12"/>
                    <a:pt x="5" y="12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7" y="8"/>
                  </a:cubicBezTo>
                  <a:cubicBezTo>
                    <a:pt x="8" y="6"/>
                    <a:pt x="8" y="4"/>
                    <a:pt x="5" y="3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57" name="Freeform 156"/>
            <p:cNvSpPr>
              <a:spLocks/>
            </p:cNvSpPr>
            <p:nvPr/>
          </p:nvSpPr>
          <p:spPr bwMode="auto">
            <a:xfrm>
              <a:off x="17256460" y="4940197"/>
              <a:ext cx="82070" cy="87729"/>
            </a:xfrm>
            <a:custGeom>
              <a:avLst/>
              <a:gdLst>
                <a:gd name="T0" fmla="*/ 9 w 15"/>
                <a:gd name="T1" fmla="*/ 0 h 18"/>
                <a:gd name="T2" fmla="*/ 5 w 15"/>
                <a:gd name="T3" fmla="*/ 1 h 18"/>
                <a:gd name="T4" fmla="*/ 0 w 15"/>
                <a:gd name="T5" fmla="*/ 11 h 18"/>
                <a:gd name="T6" fmla="*/ 3 w 15"/>
                <a:gd name="T7" fmla="*/ 17 h 18"/>
                <a:gd name="T8" fmla="*/ 6 w 15"/>
                <a:gd name="T9" fmla="*/ 18 h 18"/>
                <a:gd name="T10" fmla="*/ 12 w 15"/>
                <a:gd name="T11" fmla="*/ 13 h 18"/>
                <a:gd name="T12" fmla="*/ 12 w 15"/>
                <a:gd name="T13" fmla="*/ 12 h 18"/>
                <a:gd name="T14" fmla="*/ 13 w 15"/>
                <a:gd name="T15" fmla="*/ 3 h 18"/>
                <a:gd name="T16" fmla="*/ 9 w 15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9" y="0"/>
                  </a:moveTo>
                  <a:cubicBezTo>
                    <a:pt x="8" y="0"/>
                    <a:pt x="7" y="1"/>
                    <a:pt x="5" y="1"/>
                  </a:cubicBezTo>
                  <a:cubicBezTo>
                    <a:pt x="2" y="3"/>
                    <a:pt x="0" y="8"/>
                    <a:pt x="0" y="11"/>
                  </a:cubicBezTo>
                  <a:cubicBezTo>
                    <a:pt x="0" y="15"/>
                    <a:pt x="2" y="16"/>
                    <a:pt x="3" y="17"/>
                  </a:cubicBezTo>
                  <a:cubicBezTo>
                    <a:pt x="4" y="17"/>
                    <a:pt x="5" y="18"/>
                    <a:pt x="6" y="18"/>
                  </a:cubicBezTo>
                  <a:cubicBezTo>
                    <a:pt x="9" y="18"/>
                    <a:pt x="11" y="14"/>
                    <a:pt x="12" y="13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4" y="9"/>
                    <a:pt x="15" y="6"/>
                    <a:pt x="13" y="3"/>
                  </a:cubicBezTo>
                  <a:cubicBezTo>
                    <a:pt x="12" y="1"/>
                    <a:pt x="11" y="0"/>
                    <a:pt x="9" y="0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58" name="Freeform 157"/>
            <p:cNvSpPr>
              <a:spLocks/>
            </p:cNvSpPr>
            <p:nvPr/>
          </p:nvSpPr>
          <p:spPr bwMode="auto">
            <a:xfrm>
              <a:off x="17301598" y="4617280"/>
              <a:ext cx="98484" cy="83996"/>
            </a:xfrm>
            <a:custGeom>
              <a:avLst/>
              <a:gdLst>
                <a:gd name="T0" fmla="*/ 10 w 18"/>
                <a:gd name="T1" fmla="*/ 1 h 17"/>
                <a:gd name="T2" fmla="*/ 7 w 18"/>
                <a:gd name="T3" fmla="*/ 0 h 17"/>
                <a:gd name="T4" fmla="*/ 3 w 18"/>
                <a:gd name="T5" fmla="*/ 2 h 17"/>
                <a:gd name="T6" fmla="*/ 5 w 18"/>
                <a:gd name="T7" fmla="*/ 12 h 17"/>
                <a:gd name="T8" fmla="*/ 5 w 18"/>
                <a:gd name="T9" fmla="*/ 13 h 17"/>
                <a:gd name="T10" fmla="*/ 11 w 18"/>
                <a:gd name="T11" fmla="*/ 17 h 17"/>
                <a:gd name="T12" fmla="*/ 11 w 18"/>
                <a:gd name="T13" fmla="*/ 17 h 17"/>
                <a:gd name="T14" fmla="*/ 16 w 18"/>
                <a:gd name="T15" fmla="*/ 13 h 17"/>
                <a:gd name="T16" fmla="*/ 10 w 18"/>
                <a:gd name="T17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7">
                  <a:moveTo>
                    <a:pt x="10" y="1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5" y="0"/>
                    <a:pt x="4" y="1"/>
                    <a:pt x="3" y="2"/>
                  </a:cubicBezTo>
                  <a:cubicBezTo>
                    <a:pt x="0" y="6"/>
                    <a:pt x="3" y="10"/>
                    <a:pt x="5" y="1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4"/>
                    <a:pt x="8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2" y="17"/>
                    <a:pt x="15" y="16"/>
                    <a:pt x="16" y="13"/>
                  </a:cubicBezTo>
                  <a:cubicBezTo>
                    <a:pt x="18" y="8"/>
                    <a:pt x="15" y="2"/>
                    <a:pt x="10" y="1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59" name="Freeform 158"/>
            <p:cNvSpPr>
              <a:spLocks/>
            </p:cNvSpPr>
            <p:nvPr/>
          </p:nvSpPr>
          <p:spPr bwMode="auto">
            <a:xfrm>
              <a:off x="16919973" y="4958863"/>
              <a:ext cx="75915" cy="74663"/>
            </a:xfrm>
            <a:custGeom>
              <a:avLst/>
              <a:gdLst>
                <a:gd name="T0" fmla="*/ 6 w 14"/>
                <a:gd name="T1" fmla="*/ 0 h 15"/>
                <a:gd name="T2" fmla="*/ 0 w 14"/>
                <a:gd name="T3" fmla="*/ 5 h 15"/>
                <a:gd name="T4" fmla="*/ 3 w 14"/>
                <a:gd name="T5" fmla="*/ 11 h 15"/>
                <a:gd name="T6" fmla="*/ 3 w 14"/>
                <a:gd name="T7" fmla="*/ 11 h 15"/>
                <a:gd name="T8" fmla="*/ 8 w 14"/>
                <a:gd name="T9" fmla="*/ 15 h 15"/>
                <a:gd name="T10" fmla="*/ 8 w 14"/>
                <a:gd name="T11" fmla="*/ 15 h 15"/>
                <a:gd name="T12" fmla="*/ 13 w 14"/>
                <a:gd name="T13" fmla="*/ 13 h 15"/>
                <a:gd name="T14" fmla="*/ 13 w 14"/>
                <a:gd name="T15" fmla="*/ 5 h 15"/>
                <a:gd name="T16" fmla="*/ 6 w 14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5">
                  <a:moveTo>
                    <a:pt x="6" y="0"/>
                  </a:moveTo>
                  <a:cubicBezTo>
                    <a:pt x="3" y="0"/>
                    <a:pt x="1" y="2"/>
                    <a:pt x="0" y="5"/>
                  </a:cubicBezTo>
                  <a:cubicBezTo>
                    <a:pt x="0" y="7"/>
                    <a:pt x="0" y="9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5"/>
                    <a:pt x="7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5"/>
                    <a:pt x="11" y="14"/>
                    <a:pt x="13" y="13"/>
                  </a:cubicBezTo>
                  <a:cubicBezTo>
                    <a:pt x="14" y="10"/>
                    <a:pt x="14" y="7"/>
                    <a:pt x="13" y="5"/>
                  </a:cubicBezTo>
                  <a:cubicBezTo>
                    <a:pt x="12" y="2"/>
                    <a:pt x="9" y="0"/>
                    <a:pt x="6" y="0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60" name="Freeform 159"/>
            <p:cNvSpPr>
              <a:spLocks/>
            </p:cNvSpPr>
            <p:nvPr/>
          </p:nvSpPr>
          <p:spPr bwMode="auto">
            <a:xfrm>
              <a:off x="17131303" y="4973795"/>
              <a:ext cx="77966" cy="65330"/>
            </a:xfrm>
            <a:custGeom>
              <a:avLst/>
              <a:gdLst>
                <a:gd name="T0" fmla="*/ 8 w 14"/>
                <a:gd name="T1" fmla="*/ 0 h 13"/>
                <a:gd name="T2" fmla="*/ 1 w 14"/>
                <a:gd name="T3" fmla="*/ 4 h 13"/>
                <a:gd name="T4" fmla="*/ 0 w 14"/>
                <a:gd name="T5" fmla="*/ 9 h 13"/>
                <a:gd name="T6" fmla="*/ 3 w 14"/>
                <a:gd name="T7" fmla="*/ 13 h 13"/>
                <a:gd name="T8" fmla="*/ 6 w 14"/>
                <a:gd name="T9" fmla="*/ 13 h 13"/>
                <a:gd name="T10" fmla="*/ 13 w 14"/>
                <a:gd name="T11" fmla="*/ 10 h 13"/>
                <a:gd name="T12" fmla="*/ 13 w 14"/>
                <a:gd name="T13" fmla="*/ 3 h 13"/>
                <a:gd name="T14" fmla="*/ 8 w 14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3">
                  <a:moveTo>
                    <a:pt x="8" y="0"/>
                  </a:moveTo>
                  <a:cubicBezTo>
                    <a:pt x="5" y="0"/>
                    <a:pt x="2" y="1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1" y="10"/>
                    <a:pt x="1" y="12"/>
                    <a:pt x="3" y="13"/>
                  </a:cubicBezTo>
                  <a:cubicBezTo>
                    <a:pt x="4" y="13"/>
                    <a:pt x="5" y="13"/>
                    <a:pt x="6" y="13"/>
                  </a:cubicBezTo>
                  <a:cubicBezTo>
                    <a:pt x="8" y="13"/>
                    <a:pt x="11" y="12"/>
                    <a:pt x="13" y="10"/>
                  </a:cubicBezTo>
                  <a:cubicBezTo>
                    <a:pt x="14" y="8"/>
                    <a:pt x="14" y="5"/>
                    <a:pt x="13" y="3"/>
                  </a:cubicBezTo>
                  <a:cubicBezTo>
                    <a:pt x="13" y="1"/>
                    <a:pt x="10" y="0"/>
                    <a:pt x="8" y="0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61" name="Freeform 160"/>
            <p:cNvSpPr>
              <a:spLocks noEditPoints="1"/>
            </p:cNvSpPr>
            <p:nvPr/>
          </p:nvSpPr>
          <p:spPr bwMode="auto">
            <a:xfrm>
              <a:off x="15736114" y="4001312"/>
              <a:ext cx="4704661" cy="2713993"/>
            </a:xfrm>
            <a:custGeom>
              <a:avLst/>
              <a:gdLst>
                <a:gd name="T0" fmla="*/ 834 w 863"/>
                <a:gd name="T1" fmla="*/ 311 h 547"/>
                <a:gd name="T2" fmla="*/ 792 w 863"/>
                <a:gd name="T3" fmla="*/ 284 h 547"/>
                <a:gd name="T4" fmla="*/ 774 w 863"/>
                <a:gd name="T5" fmla="*/ 241 h 547"/>
                <a:gd name="T6" fmla="*/ 848 w 863"/>
                <a:gd name="T7" fmla="*/ 263 h 547"/>
                <a:gd name="T8" fmla="*/ 847 w 863"/>
                <a:gd name="T9" fmla="*/ 195 h 547"/>
                <a:gd name="T10" fmla="*/ 790 w 863"/>
                <a:gd name="T11" fmla="*/ 178 h 547"/>
                <a:gd name="T12" fmla="*/ 735 w 863"/>
                <a:gd name="T13" fmla="*/ 169 h 547"/>
                <a:gd name="T14" fmla="*/ 725 w 863"/>
                <a:gd name="T15" fmla="*/ 129 h 547"/>
                <a:gd name="T16" fmla="*/ 689 w 863"/>
                <a:gd name="T17" fmla="*/ 93 h 547"/>
                <a:gd name="T18" fmla="*/ 665 w 863"/>
                <a:gd name="T19" fmla="*/ 87 h 547"/>
                <a:gd name="T20" fmla="*/ 614 w 863"/>
                <a:gd name="T21" fmla="*/ 63 h 547"/>
                <a:gd name="T22" fmla="*/ 550 w 863"/>
                <a:gd name="T23" fmla="*/ 63 h 547"/>
                <a:gd name="T24" fmla="*/ 523 w 863"/>
                <a:gd name="T25" fmla="*/ 14 h 547"/>
                <a:gd name="T26" fmla="*/ 480 w 863"/>
                <a:gd name="T27" fmla="*/ 95 h 547"/>
                <a:gd name="T28" fmla="*/ 467 w 863"/>
                <a:gd name="T29" fmla="*/ 13 h 547"/>
                <a:gd name="T30" fmla="*/ 446 w 863"/>
                <a:gd name="T31" fmla="*/ 151 h 547"/>
                <a:gd name="T32" fmla="*/ 494 w 863"/>
                <a:gd name="T33" fmla="*/ 169 h 547"/>
                <a:gd name="T34" fmla="*/ 483 w 863"/>
                <a:gd name="T35" fmla="*/ 244 h 547"/>
                <a:gd name="T36" fmla="*/ 462 w 863"/>
                <a:gd name="T37" fmla="*/ 226 h 547"/>
                <a:gd name="T38" fmla="*/ 428 w 863"/>
                <a:gd name="T39" fmla="*/ 227 h 547"/>
                <a:gd name="T40" fmla="*/ 397 w 863"/>
                <a:gd name="T41" fmla="*/ 176 h 547"/>
                <a:gd name="T42" fmla="*/ 394 w 863"/>
                <a:gd name="T43" fmla="*/ 112 h 547"/>
                <a:gd name="T44" fmla="*/ 424 w 863"/>
                <a:gd name="T45" fmla="*/ 35 h 547"/>
                <a:gd name="T46" fmla="*/ 364 w 863"/>
                <a:gd name="T47" fmla="*/ 58 h 547"/>
                <a:gd name="T48" fmla="*/ 346 w 863"/>
                <a:gd name="T49" fmla="*/ 121 h 547"/>
                <a:gd name="T50" fmla="*/ 368 w 863"/>
                <a:gd name="T51" fmla="*/ 186 h 547"/>
                <a:gd name="T52" fmla="*/ 376 w 863"/>
                <a:gd name="T53" fmla="*/ 219 h 547"/>
                <a:gd name="T54" fmla="*/ 348 w 863"/>
                <a:gd name="T55" fmla="*/ 269 h 547"/>
                <a:gd name="T56" fmla="*/ 338 w 863"/>
                <a:gd name="T57" fmla="*/ 226 h 547"/>
                <a:gd name="T58" fmla="*/ 315 w 863"/>
                <a:gd name="T59" fmla="*/ 242 h 547"/>
                <a:gd name="T60" fmla="*/ 293 w 863"/>
                <a:gd name="T61" fmla="*/ 239 h 547"/>
                <a:gd name="T62" fmla="*/ 246 w 863"/>
                <a:gd name="T63" fmla="*/ 229 h 547"/>
                <a:gd name="T64" fmla="*/ 205 w 863"/>
                <a:gd name="T65" fmla="*/ 179 h 547"/>
                <a:gd name="T66" fmla="*/ 188 w 863"/>
                <a:gd name="T67" fmla="*/ 204 h 547"/>
                <a:gd name="T68" fmla="*/ 162 w 863"/>
                <a:gd name="T69" fmla="*/ 247 h 547"/>
                <a:gd name="T70" fmla="*/ 132 w 863"/>
                <a:gd name="T71" fmla="*/ 198 h 547"/>
                <a:gd name="T72" fmla="*/ 81 w 863"/>
                <a:gd name="T73" fmla="*/ 180 h 547"/>
                <a:gd name="T74" fmla="*/ 71 w 863"/>
                <a:gd name="T75" fmla="*/ 129 h 547"/>
                <a:gd name="T76" fmla="*/ 339 w 863"/>
                <a:gd name="T77" fmla="*/ 547 h 547"/>
                <a:gd name="T78" fmla="*/ 370 w 863"/>
                <a:gd name="T79" fmla="*/ 480 h 547"/>
                <a:gd name="T80" fmla="*/ 403 w 863"/>
                <a:gd name="T81" fmla="*/ 448 h 547"/>
                <a:gd name="T82" fmla="*/ 466 w 863"/>
                <a:gd name="T83" fmla="*/ 385 h 547"/>
                <a:gd name="T84" fmla="*/ 489 w 863"/>
                <a:gd name="T85" fmla="*/ 308 h 547"/>
                <a:gd name="T86" fmla="*/ 526 w 863"/>
                <a:gd name="T87" fmla="*/ 303 h 547"/>
                <a:gd name="T88" fmla="*/ 552 w 863"/>
                <a:gd name="T89" fmla="*/ 244 h 547"/>
                <a:gd name="T90" fmla="*/ 538 w 863"/>
                <a:gd name="T91" fmla="*/ 185 h 547"/>
                <a:gd name="T92" fmla="*/ 531 w 863"/>
                <a:gd name="T93" fmla="*/ 170 h 547"/>
                <a:gd name="T94" fmla="*/ 595 w 863"/>
                <a:gd name="T95" fmla="*/ 161 h 547"/>
                <a:gd name="T96" fmla="*/ 613 w 863"/>
                <a:gd name="T97" fmla="*/ 200 h 547"/>
                <a:gd name="T98" fmla="*/ 671 w 863"/>
                <a:gd name="T99" fmla="*/ 215 h 547"/>
                <a:gd name="T100" fmla="*/ 675 w 863"/>
                <a:gd name="T101" fmla="*/ 310 h 547"/>
                <a:gd name="T102" fmla="*/ 621 w 863"/>
                <a:gd name="T103" fmla="*/ 342 h 547"/>
                <a:gd name="T104" fmla="*/ 685 w 863"/>
                <a:gd name="T105" fmla="*/ 353 h 547"/>
                <a:gd name="T106" fmla="*/ 728 w 863"/>
                <a:gd name="T107" fmla="*/ 369 h 547"/>
                <a:gd name="T108" fmla="*/ 776 w 863"/>
                <a:gd name="T109" fmla="*/ 396 h 547"/>
                <a:gd name="T110" fmla="*/ 837 w 863"/>
                <a:gd name="T111" fmla="*/ 378 h 547"/>
                <a:gd name="T112" fmla="*/ 825 w 863"/>
                <a:gd name="T113" fmla="*/ 361 h 547"/>
                <a:gd name="T114" fmla="*/ 493 w 863"/>
                <a:gd name="T115" fmla="*/ 121 h 547"/>
                <a:gd name="T116" fmla="*/ 457 w 863"/>
                <a:gd name="T117" fmla="*/ 345 h 547"/>
                <a:gd name="T118" fmla="*/ 573 w 863"/>
                <a:gd name="T119" fmla="*/ 14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63" h="547">
                  <a:moveTo>
                    <a:pt x="862" y="359"/>
                  </a:moveTo>
                  <a:cubicBezTo>
                    <a:pt x="863" y="356"/>
                    <a:pt x="863" y="352"/>
                    <a:pt x="862" y="349"/>
                  </a:cubicBezTo>
                  <a:cubicBezTo>
                    <a:pt x="860" y="347"/>
                    <a:pt x="859" y="344"/>
                    <a:pt x="856" y="342"/>
                  </a:cubicBezTo>
                  <a:cubicBezTo>
                    <a:pt x="856" y="342"/>
                    <a:pt x="855" y="342"/>
                    <a:pt x="855" y="341"/>
                  </a:cubicBezTo>
                  <a:cubicBezTo>
                    <a:pt x="855" y="341"/>
                    <a:pt x="854" y="341"/>
                    <a:pt x="854" y="340"/>
                  </a:cubicBezTo>
                  <a:cubicBezTo>
                    <a:pt x="854" y="340"/>
                    <a:pt x="855" y="339"/>
                    <a:pt x="856" y="339"/>
                  </a:cubicBezTo>
                  <a:cubicBezTo>
                    <a:pt x="858" y="335"/>
                    <a:pt x="858" y="330"/>
                    <a:pt x="854" y="326"/>
                  </a:cubicBezTo>
                  <a:cubicBezTo>
                    <a:pt x="853" y="324"/>
                    <a:pt x="851" y="324"/>
                    <a:pt x="849" y="323"/>
                  </a:cubicBezTo>
                  <a:cubicBezTo>
                    <a:pt x="848" y="323"/>
                    <a:pt x="847" y="323"/>
                    <a:pt x="847" y="323"/>
                  </a:cubicBezTo>
                  <a:cubicBezTo>
                    <a:pt x="847" y="322"/>
                    <a:pt x="847" y="322"/>
                    <a:pt x="847" y="321"/>
                  </a:cubicBezTo>
                  <a:cubicBezTo>
                    <a:pt x="847" y="320"/>
                    <a:pt x="847" y="318"/>
                    <a:pt x="846" y="316"/>
                  </a:cubicBezTo>
                  <a:cubicBezTo>
                    <a:pt x="845" y="315"/>
                    <a:pt x="842" y="315"/>
                    <a:pt x="841" y="315"/>
                  </a:cubicBezTo>
                  <a:cubicBezTo>
                    <a:pt x="841" y="315"/>
                    <a:pt x="841" y="315"/>
                    <a:pt x="841" y="315"/>
                  </a:cubicBezTo>
                  <a:cubicBezTo>
                    <a:pt x="840" y="315"/>
                    <a:pt x="839" y="315"/>
                    <a:pt x="839" y="315"/>
                  </a:cubicBezTo>
                  <a:cubicBezTo>
                    <a:pt x="838" y="315"/>
                    <a:pt x="838" y="315"/>
                    <a:pt x="838" y="315"/>
                  </a:cubicBezTo>
                  <a:cubicBezTo>
                    <a:pt x="838" y="315"/>
                    <a:pt x="838" y="315"/>
                    <a:pt x="838" y="315"/>
                  </a:cubicBezTo>
                  <a:cubicBezTo>
                    <a:pt x="837" y="315"/>
                    <a:pt x="837" y="314"/>
                    <a:pt x="837" y="313"/>
                  </a:cubicBezTo>
                  <a:cubicBezTo>
                    <a:pt x="836" y="313"/>
                    <a:pt x="835" y="312"/>
                    <a:pt x="834" y="311"/>
                  </a:cubicBezTo>
                  <a:cubicBezTo>
                    <a:pt x="834" y="310"/>
                    <a:pt x="833" y="310"/>
                    <a:pt x="833" y="310"/>
                  </a:cubicBezTo>
                  <a:cubicBezTo>
                    <a:pt x="833" y="310"/>
                    <a:pt x="833" y="310"/>
                    <a:pt x="833" y="310"/>
                  </a:cubicBezTo>
                  <a:cubicBezTo>
                    <a:pt x="833" y="309"/>
                    <a:pt x="834" y="307"/>
                    <a:pt x="834" y="306"/>
                  </a:cubicBezTo>
                  <a:cubicBezTo>
                    <a:pt x="836" y="303"/>
                    <a:pt x="836" y="303"/>
                    <a:pt x="836" y="303"/>
                  </a:cubicBezTo>
                  <a:cubicBezTo>
                    <a:pt x="833" y="302"/>
                    <a:pt x="833" y="302"/>
                    <a:pt x="833" y="302"/>
                  </a:cubicBezTo>
                  <a:cubicBezTo>
                    <a:pt x="831" y="301"/>
                    <a:pt x="830" y="301"/>
                    <a:pt x="829" y="301"/>
                  </a:cubicBezTo>
                  <a:cubicBezTo>
                    <a:pt x="828" y="301"/>
                    <a:pt x="826" y="301"/>
                    <a:pt x="826" y="301"/>
                  </a:cubicBezTo>
                  <a:cubicBezTo>
                    <a:pt x="825" y="301"/>
                    <a:pt x="824" y="301"/>
                    <a:pt x="824" y="301"/>
                  </a:cubicBezTo>
                  <a:cubicBezTo>
                    <a:pt x="824" y="300"/>
                    <a:pt x="824" y="299"/>
                    <a:pt x="824" y="299"/>
                  </a:cubicBezTo>
                  <a:cubicBezTo>
                    <a:pt x="824" y="297"/>
                    <a:pt x="823" y="292"/>
                    <a:pt x="817" y="292"/>
                  </a:cubicBezTo>
                  <a:cubicBezTo>
                    <a:pt x="815" y="292"/>
                    <a:pt x="813" y="293"/>
                    <a:pt x="812" y="294"/>
                  </a:cubicBezTo>
                  <a:cubicBezTo>
                    <a:pt x="811" y="294"/>
                    <a:pt x="810" y="295"/>
                    <a:pt x="810" y="295"/>
                  </a:cubicBezTo>
                  <a:cubicBezTo>
                    <a:pt x="810" y="295"/>
                    <a:pt x="809" y="294"/>
                    <a:pt x="808" y="293"/>
                  </a:cubicBezTo>
                  <a:cubicBezTo>
                    <a:pt x="807" y="292"/>
                    <a:pt x="807" y="291"/>
                    <a:pt x="806" y="290"/>
                  </a:cubicBezTo>
                  <a:cubicBezTo>
                    <a:pt x="804" y="289"/>
                    <a:pt x="801" y="289"/>
                    <a:pt x="800" y="289"/>
                  </a:cubicBezTo>
                  <a:cubicBezTo>
                    <a:pt x="798" y="289"/>
                    <a:pt x="798" y="289"/>
                    <a:pt x="798" y="289"/>
                  </a:cubicBezTo>
                  <a:cubicBezTo>
                    <a:pt x="797" y="289"/>
                    <a:pt x="796" y="289"/>
                    <a:pt x="796" y="289"/>
                  </a:cubicBezTo>
                  <a:cubicBezTo>
                    <a:pt x="794" y="288"/>
                    <a:pt x="793" y="287"/>
                    <a:pt x="792" y="284"/>
                  </a:cubicBezTo>
                  <a:cubicBezTo>
                    <a:pt x="791" y="281"/>
                    <a:pt x="790" y="278"/>
                    <a:pt x="787" y="276"/>
                  </a:cubicBezTo>
                  <a:cubicBezTo>
                    <a:pt x="786" y="276"/>
                    <a:pt x="786" y="276"/>
                    <a:pt x="785" y="276"/>
                  </a:cubicBezTo>
                  <a:cubicBezTo>
                    <a:pt x="785" y="275"/>
                    <a:pt x="785" y="274"/>
                    <a:pt x="785" y="274"/>
                  </a:cubicBezTo>
                  <a:cubicBezTo>
                    <a:pt x="784" y="273"/>
                    <a:pt x="783" y="270"/>
                    <a:pt x="779" y="270"/>
                  </a:cubicBezTo>
                  <a:cubicBezTo>
                    <a:pt x="779" y="270"/>
                    <a:pt x="778" y="270"/>
                    <a:pt x="777" y="270"/>
                  </a:cubicBezTo>
                  <a:cubicBezTo>
                    <a:pt x="776" y="271"/>
                    <a:pt x="775" y="271"/>
                    <a:pt x="775" y="272"/>
                  </a:cubicBezTo>
                  <a:cubicBezTo>
                    <a:pt x="775" y="272"/>
                    <a:pt x="775" y="272"/>
                    <a:pt x="775" y="271"/>
                  </a:cubicBezTo>
                  <a:cubicBezTo>
                    <a:pt x="774" y="270"/>
                    <a:pt x="772" y="270"/>
                    <a:pt x="771" y="268"/>
                  </a:cubicBezTo>
                  <a:cubicBezTo>
                    <a:pt x="771" y="268"/>
                    <a:pt x="771" y="268"/>
                    <a:pt x="770" y="268"/>
                  </a:cubicBezTo>
                  <a:cubicBezTo>
                    <a:pt x="771" y="268"/>
                    <a:pt x="772" y="268"/>
                    <a:pt x="772" y="268"/>
                  </a:cubicBezTo>
                  <a:cubicBezTo>
                    <a:pt x="773" y="268"/>
                    <a:pt x="774" y="268"/>
                    <a:pt x="775" y="268"/>
                  </a:cubicBezTo>
                  <a:cubicBezTo>
                    <a:pt x="777" y="267"/>
                    <a:pt x="779" y="266"/>
                    <a:pt x="780" y="263"/>
                  </a:cubicBezTo>
                  <a:cubicBezTo>
                    <a:pt x="781" y="261"/>
                    <a:pt x="780" y="258"/>
                    <a:pt x="779" y="256"/>
                  </a:cubicBezTo>
                  <a:cubicBezTo>
                    <a:pt x="777" y="253"/>
                    <a:pt x="774" y="252"/>
                    <a:pt x="771" y="251"/>
                  </a:cubicBezTo>
                  <a:cubicBezTo>
                    <a:pt x="768" y="250"/>
                    <a:pt x="766" y="249"/>
                    <a:pt x="765" y="247"/>
                  </a:cubicBezTo>
                  <a:cubicBezTo>
                    <a:pt x="765" y="246"/>
                    <a:pt x="765" y="246"/>
                    <a:pt x="765" y="246"/>
                  </a:cubicBezTo>
                  <a:cubicBezTo>
                    <a:pt x="765" y="244"/>
                    <a:pt x="768" y="243"/>
                    <a:pt x="770" y="243"/>
                  </a:cubicBezTo>
                  <a:cubicBezTo>
                    <a:pt x="772" y="242"/>
                    <a:pt x="773" y="242"/>
                    <a:pt x="774" y="241"/>
                  </a:cubicBezTo>
                  <a:cubicBezTo>
                    <a:pt x="776" y="240"/>
                    <a:pt x="776" y="240"/>
                    <a:pt x="776" y="240"/>
                  </a:cubicBezTo>
                  <a:cubicBezTo>
                    <a:pt x="776" y="240"/>
                    <a:pt x="777" y="240"/>
                    <a:pt x="777" y="239"/>
                  </a:cubicBezTo>
                  <a:cubicBezTo>
                    <a:pt x="777" y="239"/>
                    <a:pt x="777" y="240"/>
                    <a:pt x="779" y="240"/>
                  </a:cubicBezTo>
                  <a:cubicBezTo>
                    <a:pt x="779" y="241"/>
                    <a:pt x="779" y="241"/>
                    <a:pt x="779" y="241"/>
                  </a:cubicBezTo>
                  <a:cubicBezTo>
                    <a:pt x="782" y="243"/>
                    <a:pt x="784" y="245"/>
                    <a:pt x="788" y="247"/>
                  </a:cubicBezTo>
                  <a:cubicBezTo>
                    <a:pt x="789" y="248"/>
                    <a:pt x="789" y="248"/>
                    <a:pt x="790" y="248"/>
                  </a:cubicBezTo>
                  <a:cubicBezTo>
                    <a:pt x="792" y="249"/>
                    <a:pt x="793" y="249"/>
                    <a:pt x="794" y="251"/>
                  </a:cubicBezTo>
                  <a:cubicBezTo>
                    <a:pt x="795" y="251"/>
                    <a:pt x="795" y="251"/>
                    <a:pt x="795" y="251"/>
                  </a:cubicBezTo>
                  <a:cubicBezTo>
                    <a:pt x="797" y="253"/>
                    <a:pt x="799" y="256"/>
                    <a:pt x="802" y="256"/>
                  </a:cubicBezTo>
                  <a:cubicBezTo>
                    <a:pt x="803" y="256"/>
                    <a:pt x="804" y="256"/>
                    <a:pt x="805" y="255"/>
                  </a:cubicBezTo>
                  <a:cubicBezTo>
                    <a:pt x="805" y="258"/>
                    <a:pt x="805" y="261"/>
                    <a:pt x="807" y="262"/>
                  </a:cubicBezTo>
                  <a:cubicBezTo>
                    <a:pt x="809" y="264"/>
                    <a:pt x="812" y="265"/>
                    <a:pt x="814" y="266"/>
                  </a:cubicBezTo>
                  <a:cubicBezTo>
                    <a:pt x="815" y="266"/>
                    <a:pt x="816" y="266"/>
                    <a:pt x="816" y="266"/>
                  </a:cubicBezTo>
                  <a:cubicBezTo>
                    <a:pt x="818" y="267"/>
                    <a:pt x="820" y="268"/>
                    <a:pt x="822" y="270"/>
                  </a:cubicBezTo>
                  <a:cubicBezTo>
                    <a:pt x="826" y="275"/>
                    <a:pt x="830" y="278"/>
                    <a:pt x="838" y="278"/>
                  </a:cubicBezTo>
                  <a:cubicBezTo>
                    <a:pt x="843" y="278"/>
                    <a:pt x="847" y="277"/>
                    <a:pt x="849" y="274"/>
                  </a:cubicBezTo>
                  <a:cubicBezTo>
                    <a:pt x="850" y="272"/>
                    <a:pt x="851" y="270"/>
                    <a:pt x="849" y="266"/>
                  </a:cubicBezTo>
                  <a:cubicBezTo>
                    <a:pt x="848" y="263"/>
                    <a:pt x="848" y="263"/>
                    <a:pt x="848" y="263"/>
                  </a:cubicBezTo>
                  <a:cubicBezTo>
                    <a:pt x="847" y="260"/>
                    <a:pt x="845" y="255"/>
                    <a:pt x="843" y="252"/>
                  </a:cubicBezTo>
                  <a:cubicBezTo>
                    <a:pt x="844" y="252"/>
                    <a:pt x="844" y="252"/>
                    <a:pt x="845" y="252"/>
                  </a:cubicBezTo>
                  <a:cubicBezTo>
                    <a:pt x="846" y="252"/>
                    <a:pt x="846" y="252"/>
                    <a:pt x="847" y="251"/>
                  </a:cubicBezTo>
                  <a:cubicBezTo>
                    <a:pt x="850" y="250"/>
                    <a:pt x="851" y="247"/>
                    <a:pt x="852" y="245"/>
                  </a:cubicBezTo>
                  <a:cubicBezTo>
                    <a:pt x="852" y="244"/>
                    <a:pt x="852" y="243"/>
                    <a:pt x="853" y="242"/>
                  </a:cubicBezTo>
                  <a:cubicBezTo>
                    <a:pt x="855" y="239"/>
                    <a:pt x="855" y="237"/>
                    <a:pt x="853" y="234"/>
                  </a:cubicBezTo>
                  <a:cubicBezTo>
                    <a:pt x="853" y="234"/>
                    <a:pt x="852" y="234"/>
                    <a:pt x="852" y="233"/>
                  </a:cubicBezTo>
                  <a:cubicBezTo>
                    <a:pt x="852" y="233"/>
                    <a:pt x="853" y="232"/>
                    <a:pt x="853" y="231"/>
                  </a:cubicBezTo>
                  <a:cubicBezTo>
                    <a:pt x="854" y="230"/>
                    <a:pt x="855" y="229"/>
                    <a:pt x="854" y="227"/>
                  </a:cubicBezTo>
                  <a:cubicBezTo>
                    <a:pt x="853" y="225"/>
                    <a:pt x="851" y="224"/>
                    <a:pt x="850" y="223"/>
                  </a:cubicBezTo>
                  <a:cubicBezTo>
                    <a:pt x="849" y="223"/>
                    <a:pt x="849" y="223"/>
                    <a:pt x="849" y="223"/>
                  </a:cubicBezTo>
                  <a:cubicBezTo>
                    <a:pt x="848" y="222"/>
                    <a:pt x="848" y="222"/>
                    <a:pt x="847" y="221"/>
                  </a:cubicBezTo>
                  <a:cubicBezTo>
                    <a:pt x="851" y="221"/>
                    <a:pt x="853" y="219"/>
                    <a:pt x="854" y="218"/>
                  </a:cubicBezTo>
                  <a:cubicBezTo>
                    <a:pt x="855" y="215"/>
                    <a:pt x="855" y="213"/>
                    <a:pt x="854" y="211"/>
                  </a:cubicBezTo>
                  <a:cubicBezTo>
                    <a:pt x="854" y="210"/>
                    <a:pt x="854" y="209"/>
                    <a:pt x="854" y="209"/>
                  </a:cubicBezTo>
                  <a:cubicBezTo>
                    <a:pt x="854" y="208"/>
                    <a:pt x="855" y="208"/>
                    <a:pt x="855" y="207"/>
                  </a:cubicBezTo>
                  <a:cubicBezTo>
                    <a:pt x="856" y="205"/>
                    <a:pt x="858" y="200"/>
                    <a:pt x="852" y="197"/>
                  </a:cubicBezTo>
                  <a:cubicBezTo>
                    <a:pt x="850" y="196"/>
                    <a:pt x="848" y="196"/>
                    <a:pt x="847" y="195"/>
                  </a:cubicBezTo>
                  <a:cubicBezTo>
                    <a:pt x="845" y="195"/>
                    <a:pt x="844" y="195"/>
                    <a:pt x="843" y="194"/>
                  </a:cubicBezTo>
                  <a:cubicBezTo>
                    <a:pt x="842" y="194"/>
                    <a:pt x="842" y="194"/>
                    <a:pt x="842" y="194"/>
                  </a:cubicBezTo>
                  <a:cubicBezTo>
                    <a:pt x="840" y="193"/>
                    <a:pt x="839" y="192"/>
                    <a:pt x="837" y="192"/>
                  </a:cubicBezTo>
                  <a:cubicBezTo>
                    <a:pt x="835" y="192"/>
                    <a:pt x="833" y="193"/>
                    <a:pt x="831" y="195"/>
                  </a:cubicBezTo>
                  <a:cubicBezTo>
                    <a:pt x="830" y="196"/>
                    <a:pt x="829" y="197"/>
                    <a:pt x="829" y="198"/>
                  </a:cubicBezTo>
                  <a:cubicBezTo>
                    <a:pt x="827" y="199"/>
                    <a:pt x="826" y="201"/>
                    <a:pt x="825" y="201"/>
                  </a:cubicBezTo>
                  <a:cubicBezTo>
                    <a:pt x="825" y="200"/>
                    <a:pt x="825" y="200"/>
                    <a:pt x="825" y="199"/>
                  </a:cubicBezTo>
                  <a:cubicBezTo>
                    <a:pt x="825" y="196"/>
                    <a:pt x="825" y="193"/>
                    <a:pt x="823" y="191"/>
                  </a:cubicBezTo>
                  <a:cubicBezTo>
                    <a:pt x="822" y="190"/>
                    <a:pt x="821" y="189"/>
                    <a:pt x="819" y="189"/>
                  </a:cubicBezTo>
                  <a:cubicBezTo>
                    <a:pt x="819" y="189"/>
                    <a:pt x="818" y="189"/>
                    <a:pt x="818" y="190"/>
                  </a:cubicBezTo>
                  <a:cubicBezTo>
                    <a:pt x="816" y="190"/>
                    <a:pt x="814" y="191"/>
                    <a:pt x="812" y="193"/>
                  </a:cubicBezTo>
                  <a:cubicBezTo>
                    <a:pt x="811" y="193"/>
                    <a:pt x="810" y="194"/>
                    <a:pt x="810" y="194"/>
                  </a:cubicBezTo>
                  <a:cubicBezTo>
                    <a:pt x="810" y="194"/>
                    <a:pt x="810" y="194"/>
                    <a:pt x="810" y="194"/>
                  </a:cubicBezTo>
                  <a:cubicBezTo>
                    <a:pt x="809" y="194"/>
                    <a:pt x="808" y="193"/>
                    <a:pt x="807" y="191"/>
                  </a:cubicBezTo>
                  <a:cubicBezTo>
                    <a:pt x="806" y="191"/>
                    <a:pt x="806" y="190"/>
                    <a:pt x="805" y="189"/>
                  </a:cubicBezTo>
                  <a:cubicBezTo>
                    <a:pt x="802" y="186"/>
                    <a:pt x="799" y="183"/>
                    <a:pt x="796" y="181"/>
                  </a:cubicBezTo>
                  <a:cubicBezTo>
                    <a:pt x="796" y="181"/>
                    <a:pt x="796" y="181"/>
                    <a:pt x="796" y="181"/>
                  </a:cubicBezTo>
                  <a:cubicBezTo>
                    <a:pt x="795" y="180"/>
                    <a:pt x="793" y="178"/>
                    <a:pt x="790" y="178"/>
                  </a:cubicBezTo>
                  <a:cubicBezTo>
                    <a:pt x="790" y="178"/>
                    <a:pt x="789" y="178"/>
                    <a:pt x="789" y="178"/>
                  </a:cubicBezTo>
                  <a:cubicBezTo>
                    <a:pt x="788" y="179"/>
                    <a:pt x="787" y="179"/>
                    <a:pt x="786" y="180"/>
                  </a:cubicBezTo>
                  <a:cubicBezTo>
                    <a:pt x="785" y="177"/>
                    <a:pt x="785" y="175"/>
                    <a:pt x="783" y="174"/>
                  </a:cubicBezTo>
                  <a:cubicBezTo>
                    <a:pt x="782" y="174"/>
                    <a:pt x="782" y="174"/>
                    <a:pt x="782" y="174"/>
                  </a:cubicBezTo>
                  <a:cubicBezTo>
                    <a:pt x="782" y="174"/>
                    <a:pt x="782" y="174"/>
                    <a:pt x="782" y="174"/>
                  </a:cubicBezTo>
                  <a:cubicBezTo>
                    <a:pt x="780" y="174"/>
                    <a:pt x="778" y="176"/>
                    <a:pt x="776" y="177"/>
                  </a:cubicBezTo>
                  <a:cubicBezTo>
                    <a:pt x="776" y="178"/>
                    <a:pt x="775" y="179"/>
                    <a:pt x="774" y="179"/>
                  </a:cubicBezTo>
                  <a:cubicBezTo>
                    <a:pt x="774" y="179"/>
                    <a:pt x="774" y="179"/>
                    <a:pt x="774" y="179"/>
                  </a:cubicBezTo>
                  <a:cubicBezTo>
                    <a:pt x="773" y="179"/>
                    <a:pt x="773" y="179"/>
                    <a:pt x="772" y="179"/>
                  </a:cubicBezTo>
                  <a:cubicBezTo>
                    <a:pt x="772" y="179"/>
                    <a:pt x="771" y="179"/>
                    <a:pt x="771" y="179"/>
                  </a:cubicBezTo>
                  <a:cubicBezTo>
                    <a:pt x="770" y="179"/>
                    <a:pt x="769" y="180"/>
                    <a:pt x="768" y="180"/>
                  </a:cubicBezTo>
                  <a:cubicBezTo>
                    <a:pt x="767" y="180"/>
                    <a:pt x="767" y="180"/>
                    <a:pt x="766" y="181"/>
                  </a:cubicBezTo>
                  <a:cubicBezTo>
                    <a:pt x="766" y="181"/>
                    <a:pt x="765" y="181"/>
                    <a:pt x="765" y="181"/>
                  </a:cubicBezTo>
                  <a:cubicBezTo>
                    <a:pt x="764" y="181"/>
                    <a:pt x="763" y="181"/>
                    <a:pt x="762" y="180"/>
                  </a:cubicBezTo>
                  <a:cubicBezTo>
                    <a:pt x="762" y="180"/>
                    <a:pt x="761" y="180"/>
                    <a:pt x="760" y="179"/>
                  </a:cubicBezTo>
                  <a:cubicBezTo>
                    <a:pt x="755" y="178"/>
                    <a:pt x="751" y="176"/>
                    <a:pt x="747" y="173"/>
                  </a:cubicBezTo>
                  <a:cubicBezTo>
                    <a:pt x="746" y="173"/>
                    <a:pt x="746" y="173"/>
                    <a:pt x="746" y="173"/>
                  </a:cubicBezTo>
                  <a:cubicBezTo>
                    <a:pt x="742" y="171"/>
                    <a:pt x="738" y="170"/>
                    <a:pt x="735" y="169"/>
                  </a:cubicBezTo>
                  <a:cubicBezTo>
                    <a:pt x="733" y="169"/>
                    <a:pt x="731" y="168"/>
                    <a:pt x="729" y="168"/>
                  </a:cubicBezTo>
                  <a:cubicBezTo>
                    <a:pt x="727" y="167"/>
                    <a:pt x="726" y="165"/>
                    <a:pt x="727" y="163"/>
                  </a:cubicBezTo>
                  <a:cubicBezTo>
                    <a:pt x="727" y="163"/>
                    <a:pt x="728" y="161"/>
                    <a:pt x="728" y="161"/>
                  </a:cubicBezTo>
                  <a:cubicBezTo>
                    <a:pt x="730" y="159"/>
                    <a:pt x="733" y="156"/>
                    <a:pt x="731" y="152"/>
                  </a:cubicBezTo>
                  <a:cubicBezTo>
                    <a:pt x="731" y="151"/>
                    <a:pt x="730" y="151"/>
                    <a:pt x="730" y="150"/>
                  </a:cubicBezTo>
                  <a:cubicBezTo>
                    <a:pt x="731" y="150"/>
                    <a:pt x="733" y="149"/>
                    <a:pt x="734" y="149"/>
                  </a:cubicBezTo>
                  <a:cubicBezTo>
                    <a:pt x="736" y="149"/>
                    <a:pt x="737" y="149"/>
                    <a:pt x="738" y="148"/>
                  </a:cubicBezTo>
                  <a:cubicBezTo>
                    <a:pt x="742" y="147"/>
                    <a:pt x="745" y="143"/>
                    <a:pt x="745" y="140"/>
                  </a:cubicBezTo>
                  <a:cubicBezTo>
                    <a:pt x="745" y="137"/>
                    <a:pt x="743" y="134"/>
                    <a:pt x="740" y="132"/>
                  </a:cubicBezTo>
                  <a:cubicBezTo>
                    <a:pt x="738" y="131"/>
                    <a:pt x="737" y="131"/>
                    <a:pt x="735" y="131"/>
                  </a:cubicBezTo>
                  <a:cubicBezTo>
                    <a:pt x="732" y="131"/>
                    <a:pt x="730" y="132"/>
                    <a:pt x="727" y="133"/>
                  </a:cubicBezTo>
                  <a:cubicBezTo>
                    <a:pt x="725" y="134"/>
                    <a:pt x="724" y="135"/>
                    <a:pt x="722" y="135"/>
                  </a:cubicBezTo>
                  <a:cubicBezTo>
                    <a:pt x="721" y="135"/>
                    <a:pt x="720" y="135"/>
                    <a:pt x="719" y="135"/>
                  </a:cubicBezTo>
                  <a:cubicBezTo>
                    <a:pt x="718" y="135"/>
                    <a:pt x="718" y="135"/>
                    <a:pt x="717" y="135"/>
                  </a:cubicBezTo>
                  <a:cubicBezTo>
                    <a:pt x="717" y="135"/>
                    <a:pt x="717" y="135"/>
                    <a:pt x="717" y="135"/>
                  </a:cubicBezTo>
                  <a:cubicBezTo>
                    <a:pt x="717" y="135"/>
                    <a:pt x="717" y="135"/>
                    <a:pt x="718" y="134"/>
                  </a:cubicBezTo>
                  <a:cubicBezTo>
                    <a:pt x="718" y="132"/>
                    <a:pt x="721" y="129"/>
                    <a:pt x="724" y="129"/>
                  </a:cubicBezTo>
                  <a:cubicBezTo>
                    <a:pt x="724" y="129"/>
                    <a:pt x="725" y="129"/>
                    <a:pt x="725" y="129"/>
                  </a:cubicBezTo>
                  <a:cubicBezTo>
                    <a:pt x="727" y="129"/>
                    <a:pt x="732" y="129"/>
                    <a:pt x="733" y="125"/>
                  </a:cubicBezTo>
                  <a:cubicBezTo>
                    <a:pt x="734" y="121"/>
                    <a:pt x="732" y="117"/>
                    <a:pt x="727" y="112"/>
                  </a:cubicBezTo>
                  <a:cubicBezTo>
                    <a:pt x="725" y="111"/>
                    <a:pt x="717" y="106"/>
                    <a:pt x="712" y="106"/>
                  </a:cubicBezTo>
                  <a:cubicBezTo>
                    <a:pt x="708" y="106"/>
                    <a:pt x="706" y="108"/>
                    <a:pt x="706" y="113"/>
                  </a:cubicBezTo>
                  <a:cubicBezTo>
                    <a:pt x="706" y="113"/>
                    <a:pt x="706" y="114"/>
                    <a:pt x="706" y="115"/>
                  </a:cubicBezTo>
                  <a:cubicBezTo>
                    <a:pt x="706" y="115"/>
                    <a:pt x="705" y="114"/>
                    <a:pt x="705" y="114"/>
                  </a:cubicBezTo>
                  <a:cubicBezTo>
                    <a:pt x="704" y="113"/>
                    <a:pt x="704" y="112"/>
                    <a:pt x="703" y="112"/>
                  </a:cubicBezTo>
                  <a:cubicBezTo>
                    <a:pt x="703" y="111"/>
                    <a:pt x="704" y="109"/>
                    <a:pt x="705" y="109"/>
                  </a:cubicBezTo>
                  <a:cubicBezTo>
                    <a:pt x="705" y="108"/>
                    <a:pt x="706" y="108"/>
                    <a:pt x="706" y="107"/>
                  </a:cubicBezTo>
                  <a:cubicBezTo>
                    <a:pt x="706" y="107"/>
                    <a:pt x="706" y="107"/>
                    <a:pt x="706" y="107"/>
                  </a:cubicBezTo>
                  <a:cubicBezTo>
                    <a:pt x="707" y="105"/>
                    <a:pt x="710" y="101"/>
                    <a:pt x="707" y="97"/>
                  </a:cubicBezTo>
                  <a:cubicBezTo>
                    <a:pt x="705" y="95"/>
                    <a:pt x="702" y="95"/>
                    <a:pt x="701" y="95"/>
                  </a:cubicBezTo>
                  <a:cubicBezTo>
                    <a:pt x="701" y="95"/>
                    <a:pt x="700" y="95"/>
                    <a:pt x="699" y="95"/>
                  </a:cubicBezTo>
                  <a:cubicBezTo>
                    <a:pt x="699" y="95"/>
                    <a:pt x="698" y="95"/>
                    <a:pt x="698" y="95"/>
                  </a:cubicBezTo>
                  <a:cubicBezTo>
                    <a:pt x="697" y="95"/>
                    <a:pt x="697" y="95"/>
                    <a:pt x="697" y="95"/>
                  </a:cubicBezTo>
                  <a:cubicBezTo>
                    <a:pt x="697" y="95"/>
                    <a:pt x="696" y="94"/>
                    <a:pt x="695" y="94"/>
                  </a:cubicBezTo>
                  <a:cubicBezTo>
                    <a:pt x="694" y="93"/>
                    <a:pt x="693" y="92"/>
                    <a:pt x="691" y="92"/>
                  </a:cubicBezTo>
                  <a:cubicBezTo>
                    <a:pt x="690" y="92"/>
                    <a:pt x="690" y="92"/>
                    <a:pt x="689" y="93"/>
                  </a:cubicBezTo>
                  <a:cubicBezTo>
                    <a:pt x="689" y="93"/>
                    <a:pt x="688" y="93"/>
                    <a:pt x="687" y="94"/>
                  </a:cubicBezTo>
                  <a:cubicBezTo>
                    <a:pt x="687" y="93"/>
                    <a:pt x="687" y="93"/>
                    <a:pt x="687" y="93"/>
                  </a:cubicBezTo>
                  <a:cubicBezTo>
                    <a:pt x="685" y="93"/>
                    <a:pt x="685" y="93"/>
                    <a:pt x="685" y="93"/>
                  </a:cubicBezTo>
                  <a:cubicBezTo>
                    <a:pt x="683" y="93"/>
                    <a:pt x="681" y="94"/>
                    <a:pt x="679" y="95"/>
                  </a:cubicBezTo>
                  <a:cubicBezTo>
                    <a:pt x="679" y="95"/>
                    <a:pt x="679" y="95"/>
                    <a:pt x="679" y="95"/>
                  </a:cubicBezTo>
                  <a:cubicBezTo>
                    <a:pt x="678" y="96"/>
                    <a:pt x="677" y="97"/>
                    <a:pt x="676" y="97"/>
                  </a:cubicBezTo>
                  <a:cubicBezTo>
                    <a:pt x="676" y="98"/>
                    <a:pt x="675" y="98"/>
                    <a:pt x="675" y="99"/>
                  </a:cubicBezTo>
                  <a:cubicBezTo>
                    <a:pt x="675" y="99"/>
                    <a:pt x="675" y="98"/>
                    <a:pt x="675" y="98"/>
                  </a:cubicBezTo>
                  <a:cubicBezTo>
                    <a:pt x="675" y="96"/>
                    <a:pt x="675" y="90"/>
                    <a:pt x="670" y="88"/>
                  </a:cubicBezTo>
                  <a:cubicBezTo>
                    <a:pt x="670" y="88"/>
                    <a:pt x="669" y="88"/>
                    <a:pt x="668" y="88"/>
                  </a:cubicBezTo>
                  <a:cubicBezTo>
                    <a:pt x="664" y="88"/>
                    <a:pt x="663" y="92"/>
                    <a:pt x="661" y="95"/>
                  </a:cubicBezTo>
                  <a:cubicBezTo>
                    <a:pt x="661" y="96"/>
                    <a:pt x="661" y="97"/>
                    <a:pt x="661" y="97"/>
                  </a:cubicBezTo>
                  <a:cubicBezTo>
                    <a:pt x="660" y="98"/>
                    <a:pt x="660" y="99"/>
                    <a:pt x="659" y="99"/>
                  </a:cubicBezTo>
                  <a:cubicBezTo>
                    <a:pt x="658" y="101"/>
                    <a:pt x="656" y="104"/>
                    <a:pt x="655" y="104"/>
                  </a:cubicBezTo>
                  <a:cubicBezTo>
                    <a:pt x="654" y="104"/>
                    <a:pt x="654" y="104"/>
                    <a:pt x="654" y="104"/>
                  </a:cubicBezTo>
                  <a:cubicBezTo>
                    <a:pt x="654" y="104"/>
                    <a:pt x="653" y="103"/>
                    <a:pt x="654" y="101"/>
                  </a:cubicBezTo>
                  <a:cubicBezTo>
                    <a:pt x="655" y="98"/>
                    <a:pt x="656" y="97"/>
                    <a:pt x="656" y="96"/>
                  </a:cubicBezTo>
                  <a:cubicBezTo>
                    <a:pt x="659" y="95"/>
                    <a:pt x="663" y="92"/>
                    <a:pt x="665" y="87"/>
                  </a:cubicBezTo>
                  <a:cubicBezTo>
                    <a:pt x="666" y="85"/>
                    <a:pt x="665" y="83"/>
                    <a:pt x="664" y="82"/>
                  </a:cubicBezTo>
                  <a:cubicBezTo>
                    <a:pt x="663" y="80"/>
                    <a:pt x="661" y="79"/>
                    <a:pt x="659" y="78"/>
                  </a:cubicBezTo>
                  <a:cubicBezTo>
                    <a:pt x="659" y="78"/>
                    <a:pt x="658" y="78"/>
                    <a:pt x="658" y="78"/>
                  </a:cubicBezTo>
                  <a:cubicBezTo>
                    <a:pt x="657" y="78"/>
                    <a:pt x="657" y="77"/>
                    <a:pt x="656" y="77"/>
                  </a:cubicBezTo>
                  <a:cubicBezTo>
                    <a:pt x="654" y="76"/>
                    <a:pt x="651" y="74"/>
                    <a:pt x="648" y="74"/>
                  </a:cubicBezTo>
                  <a:cubicBezTo>
                    <a:pt x="647" y="73"/>
                    <a:pt x="646" y="73"/>
                    <a:pt x="645" y="73"/>
                  </a:cubicBezTo>
                  <a:cubicBezTo>
                    <a:pt x="642" y="73"/>
                    <a:pt x="640" y="74"/>
                    <a:pt x="638" y="76"/>
                  </a:cubicBezTo>
                  <a:cubicBezTo>
                    <a:pt x="637" y="78"/>
                    <a:pt x="637" y="80"/>
                    <a:pt x="637" y="82"/>
                  </a:cubicBezTo>
                  <a:cubicBezTo>
                    <a:pt x="637" y="83"/>
                    <a:pt x="637" y="84"/>
                    <a:pt x="637" y="85"/>
                  </a:cubicBezTo>
                  <a:cubicBezTo>
                    <a:pt x="637" y="86"/>
                    <a:pt x="636" y="87"/>
                    <a:pt x="636" y="87"/>
                  </a:cubicBezTo>
                  <a:cubicBezTo>
                    <a:pt x="636" y="87"/>
                    <a:pt x="636" y="86"/>
                    <a:pt x="635" y="86"/>
                  </a:cubicBezTo>
                  <a:cubicBezTo>
                    <a:pt x="634" y="82"/>
                    <a:pt x="632" y="77"/>
                    <a:pt x="627" y="76"/>
                  </a:cubicBezTo>
                  <a:cubicBezTo>
                    <a:pt x="626" y="76"/>
                    <a:pt x="626" y="76"/>
                    <a:pt x="625" y="76"/>
                  </a:cubicBezTo>
                  <a:cubicBezTo>
                    <a:pt x="623" y="76"/>
                    <a:pt x="621" y="77"/>
                    <a:pt x="619" y="78"/>
                  </a:cubicBezTo>
                  <a:cubicBezTo>
                    <a:pt x="619" y="78"/>
                    <a:pt x="618" y="79"/>
                    <a:pt x="617" y="79"/>
                  </a:cubicBezTo>
                  <a:cubicBezTo>
                    <a:pt x="618" y="79"/>
                    <a:pt x="618" y="78"/>
                    <a:pt x="618" y="77"/>
                  </a:cubicBezTo>
                  <a:cubicBezTo>
                    <a:pt x="620" y="75"/>
                    <a:pt x="622" y="72"/>
                    <a:pt x="621" y="70"/>
                  </a:cubicBezTo>
                  <a:cubicBezTo>
                    <a:pt x="621" y="64"/>
                    <a:pt x="616" y="63"/>
                    <a:pt x="614" y="63"/>
                  </a:cubicBezTo>
                  <a:cubicBezTo>
                    <a:pt x="611" y="63"/>
                    <a:pt x="610" y="62"/>
                    <a:pt x="609" y="61"/>
                  </a:cubicBezTo>
                  <a:cubicBezTo>
                    <a:pt x="609" y="60"/>
                    <a:pt x="608" y="59"/>
                    <a:pt x="608" y="58"/>
                  </a:cubicBezTo>
                  <a:cubicBezTo>
                    <a:pt x="608" y="56"/>
                    <a:pt x="607" y="55"/>
                    <a:pt x="607" y="54"/>
                  </a:cubicBezTo>
                  <a:cubicBezTo>
                    <a:pt x="605" y="50"/>
                    <a:pt x="600" y="47"/>
                    <a:pt x="596" y="46"/>
                  </a:cubicBezTo>
                  <a:cubicBezTo>
                    <a:pt x="596" y="46"/>
                    <a:pt x="595" y="46"/>
                    <a:pt x="595" y="46"/>
                  </a:cubicBezTo>
                  <a:cubicBezTo>
                    <a:pt x="594" y="46"/>
                    <a:pt x="593" y="46"/>
                    <a:pt x="593" y="47"/>
                  </a:cubicBezTo>
                  <a:cubicBezTo>
                    <a:pt x="592" y="47"/>
                    <a:pt x="591" y="47"/>
                    <a:pt x="591" y="47"/>
                  </a:cubicBezTo>
                  <a:cubicBezTo>
                    <a:pt x="590" y="47"/>
                    <a:pt x="590" y="47"/>
                    <a:pt x="589" y="47"/>
                  </a:cubicBezTo>
                  <a:cubicBezTo>
                    <a:pt x="588" y="46"/>
                    <a:pt x="587" y="46"/>
                    <a:pt x="586" y="45"/>
                  </a:cubicBezTo>
                  <a:cubicBezTo>
                    <a:pt x="584" y="44"/>
                    <a:pt x="581" y="43"/>
                    <a:pt x="578" y="43"/>
                  </a:cubicBezTo>
                  <a:cubicBezTo>
                    <a:pt x="578" y="43"/>
                    <a:pt x="577" y="43"/>
                    <a:pt x="576" y="44"/>
                  </a:cubicBezTo>
                  <a:cubicBezTo>
                    <a:pt x="572" y="44"/>
                    <a:pt x="568" y="47"/>
                    <a:pt x="564" y="52"/>
                  </a:cubicBezTo>
                  <a:cubicBezTo>
                    <a:pt x="561" y="57"/>
                    <a:pt x="560" y="60"/>
                    <a:pt x="564" y="65"/>
                  </a:cubicBezTo>
                  <a:cubicBezTo>
                    <a:pt x="564" y="65"/>
                    <a:pt x="564" y="65"/>
                    <a:pt x="564" y="65"/>
                  </a:cubicBezTo>
                  <a:cubicBezTo>
                    <a:pt x="563" y="66"/>
                    <a:pt x="562" y="66"/>
                    <a:pt x="561" y="67"/>
                  </a:cubicBezTo>
                  <a:cubicBezTo>
                    <a:pt x="560" y="65"/>
                    <a:pt x="557" y="64"/>
                    <a:pt x="555" y="64"/>
                  </a:cubicBezTo>
                  <a:cubicBezTo>
                    <a:pt x="555" y="64"/>
                    <a:pt x="554" y="64"/>
                    <a:pt x="554" y="63"/>
                  </a:cubicBezTo>
                  <a:cubicBezTo>
                    <a:pt x="553" y="63"/>
                    <a:pt x="551" y="63"/>
                    <a:pt x="550" y="63"/>
                  </a:cubicBezTo>
                  <a:cubicBezTo>
                    <a:pt x="549" y="63"/>
                    <a:pt x="549" y="63"/>
                    <a:pt x="549" y="63"/>
                  </a:cubicBezTo>
                  <a:cubicBezTo>
                    <a:pt x="549" y="63"/>
                    <a:pt x="549" y="63"/>
                    <a:pt x="549" y="63"/>
                  </a:cubicBezTo>
                  <a:cubicBezTo>
                    <a:pt x="545" y="63"/>
                    <a:pt x="544" y="67"/>
                    <a:pt x="544" y="70"/>
                  </a:cubicBezTo>
                  <a:cubicBezTo>
                    <a:pt x="543" y="70"/>
                    <a:pt x="543" y="71"/>
                    <a:pt x="543" y="71"/>
                  </a:cubicBezTo>
                  <a:cubicBezTo>
                    <a:pt x="542" y="74"/>
                    <a:pt x="541" y="76"/>
                    <a:pt x="541" y="77"/>
                  </a:cubicBezTo>
                  <a:cubicBezTo>
                    <a:pt x="540" y="76"/>
                    <a:pt x="540" y="74"/>
                    <a:pt x="540" y="72"/>
                  </a:cubicBezTo>
                  <a:cubicBezTo>
                    <a:pt x="540" y="72"/>
                    <a:pt x="540" y="71"/>
                    <a:pt x="540" y="71"/>
                  </a:cubicBezTo>
                  <a:cubicBezTo>
                    <a:pt x="540" y="70"/>
                    <a:pt x="540" y="69"/>
                    <a:pt x="540" y="69"/>
                  </a:cubicBezTo>
                  <a:cubicBezTo>
                    <a:pt x="540" y="66"/>
                    <a:pt x="539" y="64"/>
                    <a:pt x="540" y="62"/>
                  </a:cubicBezTo>
                  <a:cubicBezTo>
                    <a:pt x="540" y="62"/>
                    <a:pt x="540" y="62"/>
                    <a:pt x="541" y="61"/>
                  </a:cubicBezTo>
                  <a:cubicBezTo>
                    <a:pt x="542" y="60"/>
                    <a:pt x="543" y="60"/>
                    <a:pt x="543" y="58"/>
                  </a:cubicBezTo>
                  <a:cubicBezTo>
                    <a:pt x="547" y="52"/>
                    <a:pt x="543" y="47"/>
                    <a:pt x="541" y="43"/>
                  </a:cubicBezTo>
                  <a:cubicBezTo>
                    <a:pt x="540" y="42"/>
                    <a:pt x="539" y="41"/>
                    <a:pt x="539" y="40"/>
                  </a:cubicBezTo>
                  <a:cubicBezTo>
                    <a:pt x="538" y="38"/>
                    <a:pt x="537" y="37"/>
                    <a:pt x="536" y="36"/>
                  </a:cubicBezTo>
                  <a:cubicBezTo>
                    <a:pt x="535" y="34"/>
                    <a:pt x="534" y="33"/>
                    <a:pt x="533" y="32"/>
                  </a:cubicBezTo>
                  <a:cubicBezTo>
                    <a:pt x="533" y="31"/>
                    <a:pt x="533" y="30"/>
                    <a:pt x="533" y="29"/>
                  </a:cubicBezTo>
                  <a:cubicBezTo>
                    <a:pt x="532" y="28"/>
                    <a:pt x="532" y="27"/>
                    <a:pt x="532" y="26"/>
                  </a:cubicBezTo>
                  <a:cubicBezTo>
                    <a:pt x="531" y="21"/>
                    <a:pt x="527" y="16"/>
                    <a:pt x="523" y="14"/>
                  </a:cubicBezTo>
                  <a:cubicBezTo>
                    <a:pt x="522" y="13"/>
                    <a:pt x="521" y="13"/>
                    <a:pt x="519" y="13"/>
                  </a:cubicBezTo>
                  <a:cubicBezTo>
                    <a:pt x="517" y="13"/>
                    <a:pt x="515" y="14"/>
                    <a:pt x="513" y="15"/>
                  </a:cubicBezTo>
                  <a:cubicBezTo>
                    <a:pt x="512" y="16"/>
                    <a:pt x="511" y="16"/>
                    <a:pt x="510" y="17"/>
                  </a:cubicBezTo>
                  <a:cubicBezTo>
                    <a:pt x="509" y="17"/>
                    <a:pt x="509" y="17"/>
                    <a:pt x="508" y="17"/>
                  </a:cubicBezTo>
                  <a:cubicBezTo>
                    <a:pt x="506" y="18"/>
                    <a:pt x="504" y="18"/>
                    <a:pt x="501" y="20"/>
                  </a:cubicBezTo>
                  <a:cubicBezTo>
                    <a:pt x="496" y="23"/>
                    <a:pt x="491" y="28"/>
                    <a:pt x="487" y="33"/>
                  </a:cubicBezTo>
                  <a:cubicBezTo>
                    <a:pt x="479" y="43"/>
                    <a:pt x="473" y="57"/>
                    <a:pt x="479" y="67"/>
                  </a:cubicBezTo>
                  <a:cubicBezTo>
                    <a:pt x="480" y="68"/>
                    <a:pt x="482" y="70"/>
                    <a:pt x="484" y="71"/>
                  </a:cubicBezTo>
                  <a:cubicBezTo>
                    <a:pt x="485" y="72"/>
                    <a:pt x="488" y="74"/>
                    <a:pt x="489" y="75"/>
                  </a:cubicBezTo>
                  <a:cubicBezTo>
                    <a:pt x="488" y="76"/>
                    <a:pt x="488" y="76"/>
                    <a:pt x="487" y="76"/>
                  </a:cubicBezTo>
                  <a:cubicBezTo>
                    <a:pt x="487" y="76"/>
                    <a:pt x="486" y="77"/>
                    <a:pt x="486" y="77"/>
                  </a:cubicBezTo>
                  <a:cubicBezTo>
                    <a:pt x="484" y="79"/>
                    <a:pt x="481" y="81"/>
                    <a:pt x="479" y="85"/>
                  </a:cubicBezTo>
                  <a:cubicBezTo>
                    <a:pt x="476" y="94"/>
                    <a:pt x="485" y="100"/>
                    <a:pt x="489" y="102"/>
                  </a:cubicBezTo>
                  <a:cubicBezTo>
                    <a:pt x="493" y="105"/>
                    <a:pt x="495" y="106"/>
                    <a:pt x="494" y="110"/>
                  </a:cubicBezTo>
                  <a:cubicBezTo>
                    <a:pt x="494" y="111"/>
                    <a:pt x="494" y="111"/>
                    <a:pt x="494" y="112"/>
                  </a:cubicBezTo>
                  <a:cubicBezTo>
                    <a:pt x="494" y="108"/>
                    <a:pt x="490" y="106"/>
                    <a:pt x="487" y="104"/>
                  </a:cubicBezTo>
                  <a:cubicBezTo>
                    <a:pt x="486" y="103"/>
                    <a:pt x="484" y="102"/>
                    <a:pt x="483" y="101"/>
                  </a:cubicBezTo>
                  <a:cubicBezTo>
                    <a:pt x="482" y="100"/>
                    <a:pt x="481" y="97"/>
                    <a:pt x="480" y="95"/>
                  </a:cubicBezTo>
                  <a:cubicBezTo>
                    <a:pt x="480" y="94"/>
                    <a:pt x="479" y="93"/>
                    <a:pt x="478" y="91"/>
                  </a:cubicBezTo>
                  <a:cubicBezTo>
                    <a:pt x="478" y="90"/>
                    <a:pt x="478" y="90"/>
                    <a:pt x="478" y="90"/>
                  </a:cubicBezTo>
                  <a:cubicBezTo>
                    <a:pt x="476" y="87"/>
                    <a:pt x="475" y="86"/>
                    <a:pt x="475" y="83"/>
                  </a:cubicBezTo>
                  <a:cubicBezTo>
                    <a:pt x="475" y="81"/>
                    <a:pt x="475" y="80"/>
                    <a:pt x="476" y="78"/>
                  </a:cubicBezTo>
                  <a:cubicBezTo>
                    <a:pt x="476" y="73"/>
                    <a:pt x="477" y="68"/>
                    <a:pt x="473" y="62"/>
                  </a:cubicBezTo>
                  <a:cubicBezTo>
                    <a:pt x="473" y="62"/>
                    <a:pt x="472" y="61"/>
                    <a:pt x="472" y="61"/>
                  </a:cubicBezTo>
                  <a:cubicBezTo>
                    <a:pt x="471" y="60"/>
                    <a:pt x="471" y="59"/>
                    <a:pt x="471" y="58"/>
                  </a:cubicBezTo>
                  <a:cubicBezTo>
                    <a:pt x="471" y="55"/>
                    <a:pt x="472" y="51"/>
                    <a:pt x="473" y="49"/>
                  </a:cubicBezTo>
                  <a:cubicBezTo>
                    <a:pt x="474" y="46"/>
                    <a:pt x="475" y="43"/>
                    <a:pt x="477" y="41"/>
                  </a:cubicBezTo>
                  <a:cubicBezTo>
                    <a:pt x="477" y="40"/>
                    <a:pt x="478" y="39"/>
                    <a:pt x="478" y="38"/>
                  </a:cubicBezTo>
                  <a:cubicBezTo>
                    <a:pt x="479" y="36"/>
                    <a:pt x="481" y="33"/>
                    <a:pt x="483" y="31"/>
                  </a:cubicBezTo>
                  <a:cubicBezTo>
                    <a:pt x="483" y="30"/>
                    <a:pt x="484" y="30"/>
                    <a:pt x="485" y="29"/>
                  </a:cubicBezTo>
                  <a:cubicBezTo>
                    <a:pt x="487" y="25"/>
                    <a:pt x="489" y="22"/>
                    <a:pt x="489" y="17"/>
                  </a:cubicBezTo>
                  <a:cubicBezTo>
                    <a:pt x="488" y="14"/>
                    <a:pt x="488" y="14"/>
                    <a:pt x="488" y="14"/>
                  </a:cubicBezTo>
                  <a:cubicBezTo>
                    <a:pt x="486" y="14"/>
                    <a:pt x="486" y="14"/>
                    <a:pt x="486" y="14"/>
                  </a:cubicBezTo>
                  <a:cubicBezTo>
                    <a:pt x="481" y="14"/>
                    <a:pt x="477" y="14"/>
                    <a:pt x="473" y="13"/>
                  </a:cubicBezTo>
                  <a:cubicBezTo>
                    <a:pt x="470" y="13"/>
                    <a:pt x="470" y="13"/>
                    <a:pt x="470" y="13"/>
                  </a:cubicBezTo>
                  <a:cubicBezTo>
                    <a:pt x="469" y="13"/>
                    <a:pt x="468" y="13"/>
                    <a:pt x="467" y="13"/>
                  </a:cubicBezTo>
                  <a:cubicBezTo>
                    <a:pt x="464" y="13"/>
                    <a:pt x="462" y="13"/>
                    <a:pt x="460" y="15"/>
                  </a:cubicBezTo>
                  <a:cubicBezTo>
                    <a:pt x="459" y="16"/>
                    <a:pt x="459" y="16"/>
                    <a:pt x="458" y="17"/>
                  </a:cubicBezTo>
                  <a:cubicBezTo>
                    <a:pt x="455" y="19"/>
                    <a:pt x="451" y="22"/>
                    <a:pt x="449" y="25"/>
                  </a:cubicBezTo>
                  <a:cubicBezTo>
                    <a:pt x="448" y="27"/>
                    <a:pt x="448" y="27"/>
                    <a:pt x="448" y="27"/>
                  </a:cubicBezTo>
                  <a:cubicBezTo>
                    <a:pt x="443" y="36"/>
                    <a:pt x="437" y="44"/>
                    <a:pt x="434" y="54"/>
                  </a:cubicBezTo>
                  <a:cubicBezTo>
                    <a:pt x="430" y="68"/>
                    <a:pt x="426" y="89"/>
                    <a:pt x="428" y="108"/>
                  </a:cubicBezTo>
                  <a:cubicBezTo>
                    <a:pt x="430" y="115"/>
                    <a:pt x="434" y="119"/>
                    <a:pt x="441" y="121"/>
                  </a:cubicBezTo>
                  <a:cubicBezTo>
                    <a:pt x="444" y="122"/>
                    <a:pt x="446" y="122"/>
                    <a:pt x="449" y="122"/>
                  </a:cubicBezTo>
                  <a:cubicBezTo>
                    <a:pt x="450" y="122"/>
                    <a:pt x="450" y="122"/>
                    <a:pt x="450" y="122"/>
                  </a:cubicBezTo>
                  <a:cubicBezTo>
                    <a:pt x="454" y="122"/>
                    <a:pt x="461" y="126"/>
                    <a:pt x="461" y="129"/>
                  </a:cubicBezTo>
                  <a:cubicBezTo>
                    <a:pt x="461" y="129"/>
                    <a:pt x="461" y="129"/>
                    <a:pt x="460" y="129"/>
                  </a:cubicBezTo>
                  <a:cubicBezTo>
                    <a:pt x="458" y="129"/>
                    <a:pt x="453" y="127"/>
                    <a:pt x="452" y="126"/>
                  </a:cubicBezTo>
                  <a:cubicBezTo>
                    <a:pt x="452" y="126"/>
                    <a:pt x="450" y="126"/>
                    <a:pt x="449" y="125"/>
                  </a:cubicBezTo>
                  <a:cubicBezTo>
                    <a:pt x="447" y="124"/>
                    <a:pt x="443" y="123"/>
                    <a:pt x="440" y="123"/>
                  </a:cubicBezTo>
                  <a:cubicBezTo>
                    <a:pt x="438" y="123"/>
                    <a:pt x="437" y="124"/>
                    <a:pt x="436" y="125"/>
                  </a:cubicBezTo>
                  <a:cubicBezTo>
                    <a:pt x="431" y="129"/>
                    <a:pt x="434" y="134"/>
                    <a:pt x="436" y="137"/>
                  </a:cubicBezTo>
                  <a:cubicBezTo>
                    <a:pt x="437" y="138"/>
                    <a:pt x="437" y="139"/>
                    <a:pt x="437" y="139"/>
                  </a:cubicBezTo>
                  <a:cubicBezTo>
                    <a:pt x="439" y="145"/>
                    <a:pt x="442" y="147"/>
                    <a:pt x="446" y="151"/>
                  </a:cubicBezTo>
                  <a:cubicBezTo>
                    <a:pt x="452" y="156"/>
                    <a:pt x="460" y="157"/>
                    <a:pt x="463" y="157"/>
                  </a:cubicBezTo>
                  <a:cubicBezTo>
                    <a:pt x="463" y="157"/>
                    <a:pt x="464" y="157"/>
                    <a:pt x="464" y="157"/>
                  </a:cubicBezTo>
                  <a:cubicBezTo>
                    <a:pt x="466" y="157"/>
                    <a:pt x="468" y="157"/>
                    <a:pt x="469" y="156"/>
                  </a:cubicBezTo>
                  <a:cubicBezTo>
                    <a:pt x="470" y="156"/>
                    <a:pt x="471" y="156"/>
                    <a:pt x="472" y="156"/>
                  </a:cubicBezTo>
                  <a:cubicBezTo>
                    <a:pt x="472" y="156"/>
                    <a:pt x="473" y="156"/>
                    <a:pt x="474" y="158"/>
                  </a:cubicBezTo>
                  <a:cubicBezTo>
                    <a:pt x="475" y="159"/>
                    <a:pt x="475" y="159"/>
                    <a:pt x="475" y="159"/>
                  </a:cubicBezTo>
                  <a:cubicBezTo>
                    <a:pt x="477" y="162"/>
                    <a:pt x="480" y="166"/>
                    <a:pt x="484" y="167"/>
                  </a:cubicBezTo>
                  <a:cubicBezTo>
                    <a:pt x="485" y="167"/>
                    <a:pt x="485" y="167"/>
                    <a:pt x="486" y="167"/>
                  </a:cubicBezTo>
                  <a:cubicBezTo>
                    <a:pt x="488" y="167"/>
                    <a:pt x="489" y="166"/>
                    <a:pt x="491" y="166"/>
                  </a:cubicBezTo>
                  <a:cubicBezTo>
                    <a:pt x="492" y="165"/>
                    <a:pt x="493" y="165"/>
                    <a:pt x="494" y="165"/>
                  </a:cubicBezTo>
                  <a:cubicBezTo>
                    <a:pt x="494" y="165"/>
                    <a:pt x="495" y="165"/>
                    <a:pt x="495" y="165"/>
                  </a:cubicBezTo>
                  <a:cubicBezTo>
                    <a:pt x="498" y="166"/>
                    <a:pt x="498" y="166"/>
                    <a:pt x="498" y="166"/>
                  </a:cubicBezTo>
                  <a:cubicBezTo>
                    <a:pt x="500" y="166"/>
                    <a:pt x="502" y="167"/>
                    <a:pt x="505" y="167"/>
                  </a:cubicBezTo>
                  <a:cubicBezTo>
                    <a:pt x="503" y="167"/>
                    <a:pt x="501" y="168"/>
                    <a:pt x="500" y="168"/>
                  </a:cubicBezTo>
                  <a:cubicBezTo>
                    <a:pt x="499" y="169"/>
                    <a:pt x="499" y="169"/>
                    <a:pt x="498" y="169"/>
                  </a:cubicBezTo>
                  <a:cubicBezTo>
                    <a:pt x="497" y="169"/>
                    <a:pt x="496" y="169"/>
                    <a:pt x="495" y="169"/>
                  </a:cubicBezTo>
                  <a:cubicBezTo>
                    <a:pt x="495" y="169"/>
                    <a:pt x="495" y="169"/>
                    <a:pt x="495" y="169"/>
                  </a:cubicBezTo>
                  <a:cubicBezTo>
                    <a:pt x="495" y="169"/>
                    <a:pt x="494" y="169"/>
                    <a:pt x="494" y="169"/>
                  </a:cubicBezTo>
                  <a:cubicBezTo>
                    <a:pt x="494" y="169"/>
                    <a:pt x="493" y="169"/>
                    <a:pt x="492" y="169"/>
                  </a:cubicBezTo>
                  <a:cubicBezTo>
                    <a:pt x="492" y="169"/>
                    <a:pt x="491" y="169"/>
                    <a:pt x="491" y="169"/>
                  </a:cubicBezTo>
                  <a:cubicBezTo>
                    <a:pt x="487" y="171"/>
                    <a:pt x="487" y="176"/>
                    <a:pt x="488" y="181"/>
                  </a:cubicBezTo>
                  <a:cubicBezTo>
                    <a:pt x="488" y="181"/>
                    <a:pt x="488" y="182"/>
                    <a:pt x="488" y="182"/>
                  </a:cubicBezTo>
                  <a:cubicBezTo>
                    <a:pt x="488" y="186"/>
                    <a:pt x="488" y="190"/>
                    <a:pt x="489" y="193"/>
                  </a:cubicBezTo>
                  <a:cubicBezTo>
                    <a:pt x="490" y="198"/>
                    <a:pt x="494" y="199"/>
                    <a:pt x="497" y="199"/>
                  </a:cubicBezTo>
                  <a:cubicBezTo>
                    <a:pt x="497" y="200"/>
                    <a:pt x="497" y="200"/>
                    <a:pt x="497" y="201"/>
                  </a:cubicBezTo>
                  <a:cubicBezTo>
                    <a:pt x="497" y="201"/>
                    <a:pt x="497" y="202"/>
                    <a:pt x="497" y="203"/>
                  </a:cubicBezTo>
                  <a:cubicBezTo>
                    <a:pt x="497" y="203"/>
                    <a:pt x="497" y="204"/>
                    <a:pt x="497" y="204"/>
                  </a:cubicBezTo>
                  <a:cubicBezTo>
                    <a:pt x="497" y="206"/>
                    <a:pt x="497" y="209"/>
                    <a:pt x="496" y="210"/>
                  </a:cubicBezTo>
                  <a:cubicBezTo>
                    <a:pt x="495" y="210"/>
                    <a:pt x="494" y="211"/>
                    <a:pt x="494" y="211"/>
                  </a:cubicBezTo>
                  <a:cubicBezTo>
                    <a:pt x="492" y="212"/>
                    <a:pt x="489" y="213"/>
                    <a:pt x="488" y="215"/>
                  </a:cubicBezTo>
                  <a:cubicBezTo>
                    <a:pt x="487" y="217"/>
                    <a:pt x="487" y="220"/>
                    <a:pt x="487" y="223"/>
                  </a:cubicBezTo>
                  <a:cubicBezTo>
                    <a:pt x="487" y="224"/>
                    <a:pt x="487" y="225"/>
                    <a:pt x="486" y="226"/>
                  </a:cubicBezTo>
                  <a:cubicBezTo>
                    <a:pt x="486" y="229"/>
                    <a:pt x="486" y="231"/>
                    <a:pt x="486" y="234"/>
                  </a:cubicBezTo>
                  <a:cubicBezTo>
                    <a:pt x="486" y="237"/>
                    <a:pt x="486" y="240"/>
                    <a:pt x="485" y="243"/>
                  </a:cubicBezTo>
                  <a:cubicBezTo>
                    <a:pt x="485" y="243"/>
                    <a:pt x="485" y="243"/>
                    <a:pt x="484" y="243"/>
                  </a:cubicBezTo>
                  <a:cubicBezTo>
                    <a:pt x="484" y="244"/>
                    <a:pt x="484" y="244"/>
                    <a:pt x="483" y="244"/>
                  </a:cubicBezTo>
                  <a:cubicBezTo>
                    <a:pt x="481" y="246"/>
                    <a:pt x="479" y="250"/>
                    <a:pt x="478" y="254"/>
                  </a:cubicBezTo>
                  <a:cubicBezTo>
                    <a:pt x="478" y="255"/>
                    <a:pt x="478" y="257"/>
                    <a:pt x="478" y="258"/>
                  </a:cubicBezTo>
                  <a:cubicBezTo>
                    <a:pt x="478" y="260"/>
                    <a:pt x="478" y="262"/>
                    <a:pt x="478" y="263"/>
                  </a:cubicBezTo>
                  <a:cubicBezTo>
                    <a:pt x="477" y="263"/>
                    <a:pt x="477" y="264"/>
                    <a:pt x="476" y="264"/>
                  </a:cubicBezTo>
                  <a:cubicBezTo>
                    <a:pt x="475" y="264"/>
                    <a:pt x="474" y="265"/>
                    <a:pt x="473" y="266"/>
                  </a:cubicBezTo>
                  <a:cubicBezTo>
                    <a:pt x="472" y="267"/>
                    <a:pt x="471" y="268"/>
                    <a:pt x="471" y="269"/>
                  </a:cubicBezTo>
                  <a:cubicBezTo>
                    <a:pt x="470" y="268"/>
                    <a:pt x="469" y="266"/>
                    <a:pt x="468" y="264"/>
                  </a:cubicBezTo>
                  <a:cubicBezTo>
                    <a:pt x="467" y="262"/>
                    <a:pt x="465" y="260"/>
                    <a:pt x="463" y="258"/>
                  </a:cubicBezTo>
                  <a:cubicBezTo>
                    <a:pt x="463" y="258"/>
                    <a:pt x="463" y="258"/>
                    <a:pt x="463" y="258"/>
                  </a:cubicBezTo>
                  <a:cubicBezTo>
                    <a:pt x="461" y="257"/>
                    <a:pt x="460" y="255"/>
                    <a:pt x="459" y="253"/>
                  </a:cubicBezTo>
                  <a:cubicBezTo>
                    <a:pt x="458" y="251"/>
                    <a:pt x="457" y="251"/>
                    <a:pt x="457" y="250"/>
                  </a:cubicBezTo>
                  <a:cubicBezTo>
                    <a:pt x="457" y="248"/>
                    <a:pt x="457" y="248"/>
                    <a:pt x="457" y="248"/>
                  </a:cubicBezTo>
                  <a:cubicBezTo>
                    <a:pt x="458" y="246"/>
                    <a:pt x="458" y="243"/>
                    <a:pt x="457" y="241"/>
                  </a:cubicBezTo>
                  <a:cubicBezTo>
                    <a:pt x="457" y="240"/>
                    <a:pt x="457" y="240"/>
                    <a:pt x="457" y="240"/>
                  </a:cubicBezTo>
                  <a:cubicBezTo>
                    <a:pt x="457" y="239"/>
                    <a:pt x="456" y="237"/>
                    <a:pt x="456" y="237"/>
                  </a:cubicBezTo>
                  <a:cubicBezTo>
                    <a:pt x="457" y="236"/>
                    <a:pt x="458" y="235"/>
                    <a:pt x="458" y="234"/>
                  </a:cubicBezTo>
                  <a:cubicBezTo>
                    <a:pt x="459" y="233"/>
                    <a:pt x="459" y="233"/>
                    <a:pt x="459" y="233"/>
                  </a:cubicBezTo>
                  <a:cubicBezTo>
                    <a:pt x="461" y="231"/>
                    <a:pt x="462" y="228"/>
                    <a:pt x="462" y="226"/>
                  </a:cubicBezTo>
                  <a:cubicBezTo>
                    <a:pt x="462" y="225"/>
                    <a:pt x="462" y="224"/>
                    <a:pt x="462" y="223"/>
                  </a:cubicBezTo>
                  <a:cubicBezTo>
                    <a:pt x="462" y="220"/>
                    <a:pt x="463" y="216"/>
                    <a:pt x="461" y="212"/>
                  </a:cubicBezTo>
                  <a:cubicBezTo>
                    <a:pt x="460" y="211"/>
                    <a:pt x="459" y="210"/>
                    <a:pt x="459" y="209"/>
                  </a:cubicBezTo>
                  <a:cubicBezTo>
                    <a:pt x="458" y="208"/>
                    <a:pt x="458" y="208"/>
                    <a:pt x="457" y="207"/>
                  </a:cubicBezTo>
                  <a:cubicBezTo>
                    <a:pt x="456" y="205"/>
                    <a:pt x="454" y="204"/>
                    <a:pt x="452" y="202"/>
                  </a:cubicBezTo>
                  <a:cubicBezTo>
                    <a:pt x="452" y="201"/>
                    <a:pt x="451" y="201"/>
                    <a:pt x="450" y="200"/>
                  </a:cubicBezTo>
                  <a:cubicBezTo>
                    <a:pt x="449" y="200"/>
                    <a:pt x="448" y="199"/>
                    <a:pt x="448" y="199"/>
                  </a:cubicBezTo>
                  <a:cubicBezTo>
                    <a:pt x="448" y="198"/>
                    <a:pt x="448" y="198"/>
                    <a:pt x="447" y="197"/>
                  </a:cubicBezTo>
                  <a:cubicBezTo>
                    <a:pt x="446" y="196"/>
                    <a:pt x="444" y="192"/>
                    <a:pt x="441" y="192"/>
                  </a:cubicBezTo>
                  <a:cubicBezTo>
                    <a:pt x="440" y="192"/>
                    <a:pt x="440" y="192"/>
                    <a:pt x="440" y="192"/>
                  </a:cubicBezTo>
                  <a:cubicBezTo>
                    <a:pt x="435" y="193"/>
                    <a:pt x="435" y="197"/>
                    <a:pt x="435" y="199"/>
                  </a:cubicBezTo>
                  <a:cubicBezTo>
                    <a:pt x="435" y="199"/>
                    <a:pt x="434" y="200"/>
                    <a:pt x="434" y="201"/>
                  </a:cubicBezTo>
                  <a:cubicBezTo>
                    <a:pt x="433" y="202"/>
                    <a:pt x="433" y="203"/>
                    <a:pt x="432" y="205"/>
                  </a:cubicBezTo>
                  <a:cubicBezTo>
                    <a:pt x="432" y="206"/>
                    <a:pt x="432" y="206"/>
                    <a:pt x="432" y="206"/>
                  </a:cubicBezTo>
                  <a:cubicBezTo>
                    <a:pt x="432" y="208"/>
                    <a:pt x="432" y="210"/>
                    <a:pt x="432" y="212"/>
                  </a:cubicBezTo>
                  <a:cubicBezTo>
                    <a:pt x="432" y="215"/>
                    <a:pt x="431" y="217"/>
                    <a:pt x="429" y="220"/>
                  </a:cubicBezTo>
                  <a:cubicBezTo>
                    <a:pt x="429" y="221"/>
                    <a:pt x="429" y="222"/>
                    <a:pt x="428" y="223"/>
                  </a:cubicBezTo>
                  <a:cubicBezTo>
                    <a:pt x="428" y="224"/>
                    <a:pt x="428" y="226"/>
                    <a:pt x="428" y="227"/>
                  </a:cubicBezTo>
                  <a:cubicBezTo>
                    <a:pt x="428" y="230"/>
                    <a:pt x="427" y="230"/>
                    <a:pt x="427" y="231"/>
                  </a:cubicBezTo>
                  <a:cubicBezTo>
                    <a:pt x="427" y="231"/>
                    <a:pt x="426" y="230"/>
                    <a:pt x="425" y="222"/>
                  </a:cubicBezTo>
                  <a:cubicBezTo>
                    <a:pt x="425" y="221"/>
                    <a:pt x="425" y="219"/>
                    <a:pt x="426" y="217"/>
                  </a:cubicBezTo>
                  <a:cubicBezTo>
                    <a:pt x="426" y="213"/>
                    <a:pt x="426" y="208"/>
                    <a:pt x="424" y="203"/>
                  </a:cubicBezTo>
                  <a:cubicBezTo>
                    <a:pt x="423" y="202"/>
                    <a:pt x="422" y="201"/>
                    <a:pt x="422" y="200"/>
                  </a:cubicBezTo>
                  <a:cubicBezTo>
                    <a:pt x="421" y="199"/>
                    <a:pt x="420" y="198"/>
                    <a:pt x="419" y="197"/>
                  </a:cubicBezTo>
                  <a:cubicBezTo>
                    <a:pt x="419" y="196"/>
                    <a:pt x="420" y="196"/>
                    <a:pt x="421" y="194"/>
                  </a:cubicBezTo>
                  <a:cubicBezTo>
                    <a:pt x="423" y="193"/>
                    <a:pt x="425" y="191"/>
                    <a:pt x="425" y="188"/>
                  </a:cubicBezTo>
                  <a:cubicBezTo>
                    <a:pt x="425" y="184"/>
                    <a:pt x="421" y="183"/>
                    <a:pt x="418" y="182"/>
                  </a:cubicBezTo>
                  <a:cubicBezTo>
                    <a:pt x="418" y="182"/>
                    <a:pt x="417" y="182"/>
                    <a:pt x="417" y="182"/>
                  </a:cubicBezTo>
                  <a:cubicBezTo>
                    <a:pt x="416" y="181"/>
                    <a:pt x="415" y="181"/>
                    <a:pt x="415" y="181"/>
                  </a:cubicBezTo>
                  <a:cubicBezTo>
                    <a:pt x="414" y="180"/>
                    <a:pt x="412" y="179"/>
                    <a:pt x="411" y="179"/>
                  </a:cubicBezTo>
                  <a:cubicBezTo>
                    <a:pt x="409" y="179"/>
                    <a:pt x="407" y="181"/>
                    <a:pt x="405" y="182"/>
                  </a:cubicBezTo>
                  <a:cubicBezTo>
                    <a:pt x="405" y="183"/>
                    <a:pt x="404" y="183"/>
                    <a:pt x="404" y="183"/>
                  </a:cubicBezTo>
                  <a:cubicBezTo>
                    <a:pt x="404" y="183"/>
                    <a:pt x="403" y="182"/>
                    <a:pt x="403" y="181"/>
                  </a:cubicBezTo>
                  <a:cubicBezTo>
                    <a:pt x="402" y="180"/>
                    <a:pt x="402" y="180"/>
                    <a:pt x="402" y="180"/>
                  </a:cubicBezTo>
                  <a:cubicBezTo>
                    <a:pt x="401" y="179"/>
                    <a:pt x="399" y="178"/>
                    <a:pt x="398" y="177"/>
                  </a:cubicBezTo>
                  <a:cubicBezTo>
                    <a:pt x="398" y="177"/>
                    <a:pt x="397" y="176"/>
                    <a:pt x="397" y="176"/>
                  </a:cubicBezTo>
                  <a:cubicBezTo>
                    <a:pt x="397" y="176"/>
                    <a:pt x="397" y="176"/>
                    <a:pt x="397" y="176"/>
                  </a:cubicBezTo>
                  <a:cubicBezTo>
                    <a:pt x="397" y="176"/>
                    <a:pt x="397" y="176"/>
                    <a:pt x="400" y="175"/>
                  </a:cubicBezTo>
                  <a:cubicBezTo>
                    <a:pt x="401" y="174"/>
                    <a:pt x="403" y="173"/>
                    <a:pt x="405" y="172"/>
                  </a:cubicBezTo>
                  <a:cubicBezTo>
                    <a:pt x="406" y="170"/>
                    <a:pt x="406" y="168"/>
                    <a:pt x="406" y="167"/>
                  </a:cubicBezTo>
                  <a:cubicBezTo>
                    <a:pt x="406" y="166"/>
                    <a:pt x="406" y="165"/>
                    <a:pt x="406" y="165"/>
                  </a:cubicBezTo>
                  <a:cubicBezTo>
                    <a:pt x="406" y="165"/>
                    <a:pt x="407" y="165"/>
                    <a:pt x="408" y="165"/>
                  </a:cubicBezTo>
                  <a:cubicBezTo>
                    <a:pt x="409" y="165"/>
                    <a:pt x="411" y="165"/>
                    <a:pt x="412" y="161"/>
                  </a:cubicBezTo>
                  <a:cubicBezTo>
                    <a:pt x="414" y="157"/>
                    <a:pt x="410" y="154"/>
                    <a:pt x="409" y="153"/>
                  </a:cubicBezTo>
                  <a:cubicBezTo>
                    <a:pt x="407" y="152"/>
                    <a:pt x="407" y="152"/>
                    <a:pt x="406" y="151"/>
                  </a:cubicBezTo>
                  <a:cubicBezTo>
                    <a:pt x="406" y="150"/>
                    <a:pt x="405" y="149"/>
                    <a:pt x="405" y="148"/>
                  </a:cubicBezTo>
                  <a:cubicBezTo>
                    <a:pt x="404" y="147"/>
                    <a:pt x="404" y="146"/>
                    <a:pt x="403" y="145"/>
                  </a:cubicBezTo>
                  <a:cubicBezTo>
                    <a:pt x="403" y="144"/>
                    <a:pt x="403" y="143"/>
                    <a:pt x="403" y="143"/>
                  </a:cubicBezTo>
                  <a:cubicBezTo>
                    <a:pt x="402" y="141"/>
                    <a:pt x="402" y="140"/>
                    <a:pt x="401" y="138"/>
                  </a:cubicBezTo>
                  <a:cubicBezTo>
                    <a:pt x="400" y="137"/>
                    <a:pt x="399" y="137"/>
                    <a:pt x="399" y="136"/>
                  </a:cubicBezTo>
                  <a:cubicBezTo>
                    <a:pt x="398" y="135"/>
                    <a:pt x="397" y="135"/>
                    <a:pt x="397" y="134"/>
                  </a:cubicBezTo>
                  <a:cubicBezTo>
                    <a:pt x="396" y="132"/>
                    <a:pt x="396" y="130"/>
                    <a:pt x="397" y="127"/>
                  </a:cubicBezTo>
                  <a:cubicBezTo>
                    <a:pt x="397" y="125"/>
                    <a:pt x="397" y="124"/>
                    <a:pt x="397" y="123"/>
                  </a:cubicBezTo>
                  <a:cubicBezTo>
                    <a:pt x="397" y="119"/>
                    <a:pt x="396" y="115"/>
                    <a:pt x="394" y="112"/>
                  </a:cubicBezTo>
                  <a:cubicBezTo>
                    <a:pt x="394" y="110"/>
                    <a:pt x="392" y="108"/>
                    <a:pt x="391" y="107"/>
                  </a:cubicBezTo>
                  <a:cubicBezTo>
                    <a:pt x="391" y="106"/>
                    <a:pt x="390" y="105"/>
                    <a:pt x="389" y="104"/>
                  </a:cubicBezTo>
                  <a:cubicBezTo>
                    <a:pt x="389" y="104"/>
                    <a:pt x="389" y="103"/>
                    <a:pt x="388" y="102"/>
                  </a:cubicBezTo>
                  <a:cubicBezTo>
                    <a:pt x="388" y="100"/>
                    <a:pt x="387" y="97"/>
                    <a:pt x="385" y="96"/>
                  </a:cubicBezTo>
                  <a:cubicBezTo>
                    <a:pt x="383" y="94"/>
                    <a:pt x="381" y="94"/>
                    <a:pt x="379" y="93"/>
                  </a:cubicBezTo>
                  <a:cubicBezTo>
                    <a:pt x="379" y="93"/>
                    <a:pt x="379" y="93"/>
                    <a:pt x="378" y="93"/>
                  </a:cubicBezTo>
                  <a:cubicBezTo>
                    <a:pt x="380" y="92"/>
                    <a:pt x="381" y="91"/>
                    <a:pt x="382" y="90"/>
                  </a:cubicBezTo>
                  <a:cubicBezTo>
                    <a:pt x="383" y="89"/>
                    <a:pt x="384" y="88"/>
                    <a:pt x="385" y="87"/>
                  </a:cubicBezTo>
                  <a:cubicBezTo>
                    <a:pt x="386" y="86"/>
                    <a:pt x="387" y="86"/>
                    <a:pt x="388" y="85"/>
                  </a:cubicBezTo>
                  <a:cubicBezTo>
                    <a:pt x="393" y="80"/>
                    <a:pt x="392" y="71"/>
                    <a:pt x="391" y="65"/>
                  </a:cubicBezTo>
                  <a:cubicBezTo>
                    <a:pt x="391" y="64"/>
                    <a:pt x="391" y="64"/>
                    <a:pt x="391" y="64"/>
                  </a:cubicBezTo>
                  <a:cubicBezTo>
                    <a:pt x="391" y="63"/>
                    <a:pt x="391" y="62"/>
                    <a:pt x="391" y="62"/>
                  </a:cubicBezTo>
                  <a:cubicBezTo>
                    <a:pt x="391" y="62"/>
                    <a:pt x="392" y="62"/>
                    <a:pt x="393" y="63"/>
                  </a:cubicBezTo>
                  <a:cubicBezTo>
                    <a:pt x="396" y="63"/>
                    <a:pt x="398" y="64"/>
                    <a:pt x="400" y="64"/>
                  </a:cubicBezTo>
                  <a:cubicBezTo>
                    <a:pt x="405" y="64"/>
                    <a:pt x="409" y="62"/>
                    <a:pt x="412" y="58"/>
                  </a:cubicBezTo>
                  <a:cubicBezTo>
                    <a:pt x="414" y="55"/>
                    <a:pt x="416" y="51"/>
                    <a:pt x="417" y="48"/>
                  </a:cubicBezTo>
                  <a:cubicBezTo>
                    <a:pt x="418" y="45"/>
                    <a:pt x="418" y="43"/>
                    <a:pt x="420" y="41"/>
                  </a:cubicBezTo>
                  <a:cubicBezTo>
                    <a:pt x="421" y="39"/>
                    <a:pt x="422" y="37"/>
                    <a:pt x="424" y="35"/>
                  </a:cubicBezTo>
                  <a:cubicBezTo>
                    <a:pt x="426" y="32"/>
                    <a:pt x="429" y="28"/>
                    <a:pt x="430" y="24"/>
                  </a:cubicBezTo>
                  <a:cubicBezTo>
                    <a:pt x="431" y="20"/>
                    <a:pt x="431" y="17"/>
                    <a:pt x="429" y="15"/>
                  </a:cubicBezTo>
                  <a:cubicBezTo>
                    <a:pt x="426" y="10"/>
                    <a:pt x="418" y="8"/>
                    <a:pt x="411" y="6"/>
                  </a:cubicBezTo>
                  <a:cubicBezTo>
                    <a:pt x="408" y="6"/>
                    <a:pt x="405" y="5"/>
                    <a:pt x="403" y="4"/>
                  </a:cubicBezTo>
                  <a:cubicBezTo>
                    <a:pt x="398" y="1"/>
                    <a:pt x="393" y="0"/>
                    <a:pt x="389" y="0"/>
                  </a:cubicBezTo>
                  <a:cubicBezTo>
                    <a:pt x="386" y="0"/>
                    <a:pt x="384" y="1"/>
                    <a:pt x="382" y="1"/>
                  </a:cubicBezTo>
                  <a:cubicBezTo>
                    <a:pt x="379" y="2"/>
                    <a:pt x="372" y="4"/>
                    <a:pt x="370" y="9"/>
                  </a:cubicBezTo>
                  <a:cubicBezTo>
                    <a:pt x="369" y="10"/>
                    <a:pt x="369" y="13"/>
                    <a:pt x="370" y="16"/>
                  </a:cubicBezTo>
                  <a:cubicBezTo>
                    <a:pt x="369" y="16"/>
                    <a:pt x="368" y="17"/>
                    <a:pt x="368" y="17"/>
                  </a:cubicBezTo>
                  <a:cubicBezTo>
                    <a:pt x="365" y="19"/>
                    <a:pt x="365" y="22"/>
                    <a:pt x="365" y="24"/>
                  </a:cubicBezTo>
                  <a:cubicBezTo>
                    <a:pt x="365" y="25"/>
                    <a:pt x="365" y="25"/>
                    <a:pt x="365" y="25"/>
                  </a:cubicBezTo>
                  <a:cubicBezTo>
                    <a:pt x="365" y="26"/>
                    <a:pt x="365" y="27"/>
                    <a:pt x="365" y="28"/>
                  </a:cubicBezTo>
                  <a:cubicBezTo>
                    <a:pt x="364" y="30"/>
                    <a:pt x="364" y="32"/>
                    <a:pt x="364" y="34"/>
                  </a:cubicBezTo>
                  <a:cubicBezTo>
                    <a:pt x="364" y="36"/>
                    <a:pt x="364" y="37"/>
                    <a:pt x="364" y="39"/>
                  </a:cubicBezTo>
                  <a:cubicBezTo>
                    <a:pt x="364" y="42"/>
                    <a:pt x="365" y="45"/>
                    <a:pt x="364" y="47"/>
                  </a:cubicBezTo>
                  <a:cubicBezTo>
                    <a:pt x="364" y="47"/>
                    <a:pt x="364" y="48"/>
                    <a:pt x="363" y="48"/>
                  </a:cubicBezTo>
                  <a:cubicBezTo>
                    <a:pt x="363" y="50"/>
                    <a:pt x="362" y="52"/>
                    <a:pt x="363" y="55"/>
                  </a:cubicBezTo>
                  <a:cubicBezTo>
                    <a:pt x="363" y="56"/>
                    <a:pt x="363" y="57"/>
                    <a:pt x="364" y="58"/>
                  </a:cubicBezTo>
                  <a:cubicBezTo>
                    <a:pt x="364" y="59"/>
                    <a:pt x="365" y="59"/>
                    <a:pt x="365" y="60"/>
                  </a:cubicBezTo>
                  <a:cubicBezTo>
                    <a:pt x="366" y="64"/>
                    <a:pt x="366" y="68"/>
                    <a:pt x="366" y="73"/>
                  </a:cubicBezTo>
                  <a:cubicBezTo>
                    <a:pt x="366" y="74"/>
                    <a:pt x="366" y="76"/>
                    <a:pt x="366" y="77"/>
                  </a:cubicBezTo>
                  <a:cubicBezTo>
                    <a:pt x="366" y="79"/>
                    <a:pt x="366" y="81"/>
                    <a:pt x="366" y="82"/>
                  </a:cubicBezTo>
                  <a:cubicBezTo>
                    <a:pt x="366" y="83"/>
                    <a:pt x="365" y="83"/>
                    <a:pt x="365" y="84"/>
                  </a:cubicBezTo>
                  <a:cubicBezTo>
                    <a:pt x="364" y="86"/>
                    <a:pt x="363" y="88"/>
                    <a:pt x="365" y="91"/>
                  </a:cubicBezTo>
                  <a:cubicBezTo>
                    <a:pt x="365" y="91"/>
                    <a:pt x="365" y="91"/>
                    <a:pt x="365" y="91"/>
                  </a:cubicBezTo>
                  <a:cubicBezTo>
                    <a:pt x="363" y="92"/>
                    <a:pt x="363" y="94"/>
                    <a:pt x="362" y="95"/>
                  </a:cubicBezTo>
                  <a:cubicBezTo>
                    <a:pt x="362" y="96"/>
                    <a:pt x="362" y="96"/>
                    <a:pt x="362" y="96"/>
                  </a:cubicBezTo>
                  <a:cubicBezTo>
                    <a:pt x="362" y="96"/>
                    <a:pt x="362" y="96"/>
                    <a:pt x="361" y="97"/>
                  </a:cubicBezTo>
                  <a:cubicBezTo>
                    <a:pt x="359" y="97"/>
                    <a:pt x="357" y="98"/>
                    <a:pt x="356" y="100"/>
                  </a:cubicBezTo>
                  <a:cubicBezTo>
                    <a:pt x="355" y="102"/>
                    <a:pt x="355" y="105"/>
                    <a:pt x="356" y="106"/>
                  </a:cubicBezTo>
                  <a:cubicBezTo>
                    <a:pt x="357" y="107"/>
                    <a:pt x="358" y="108"/>
                    <a:pt x="360" y="108"/>
                  </a:cubicBezTo>
                  <a:cubicBezTo>
                    <a:pt x="360" y="108"/>
                    <a:pt x="360" y="108"/>
                    <a:pt x="359" y="108"/>
                  </a:cubicBezTo>
                  <a:cubicBezTo>
                    <a:pt x="359" y="108"/>
                    <a:pt x="359" y="108"/>
                    <a:pt x="358" y="108"/>
                  </a:cubicBezTo>
                  <a:cubicBezTo>
                    <a:pt x="358" y="108"/>
                    <a:pt x="357" y="108"/>
                    <a:pt x="356" y="108"/>
                  </a:cubicBezTo>
                  <a:cubicBezTo>
                    <a:pt x="355" y="108"/>
                    <a:pt x="352" y="108"/>
                    <a:pt x="350" y="110"/>
                  </a:cubicBezTo>
                  <a:cubicBezTo>
                    <a:pt x="348" y="113"/>
                    <a:pt x="347" y="118"/>
                    <a:pt x="346" y="121"/>
                  </a:cubicBezTo>
                  <a:cubicBezTo>
                    <a:pt x="345" y="122"/>
                    <a:pt x="345" y="123"/>
                    <a:pt x="345" y="124"/>
                  </a:cubicBezTo>
                  <a:cubicBezTo>
                    <a:pt x="345" y="124"/>
                    <a:pt x="345" y="125"/>
                    <a:pt x="345" y="125"/>
                  </a:cubicBezTo>
                  <a:cubicBezTo>
                    <a:pt x="343" y="128"/>
                    <a:pt x="341" y="136"/>
                    <a:pt x="347" y="139"/>
                  </a:cubicBezTo>
                  <a:cubicBezTo>
                    <a:pt x="348" y="139"/>
                    <a:pt x="348" y="139"/>
                    <a:pt x="349" y="139"/>
                  </a:cubicBezTo>
                  <a:cubicBezTo>
                    <a:pt x="349" y="139"/>
                    <a:pt x="348" y="140"/>
                    <a:pt x="348" y="140"/>
                  </a:cubicBezTo>
                  <a:cubicBezTo>
                    <a:pt x="346" y="141"/>
                    <a:pt x="345" y="143"/>
                    <a:pt x="344" y="144"/>
                  </a:cubicBezTo>
                  <a:cubicBezTo>
                    <a:pt x="344" y="144"/>
                    <a:pt x="344" y="145"/>
                    <a:pt x="343" y="145"/>
                  </a:cubicBezTo>
                  <a:cubicBezTo>
                    <a:pt x="343" y="146"/>
                    <a:pt x="342" y="146"/>
                    <a:pt x="341" y="148"/>
                  </a:cubicBezTo>
                  <a:cubicBezTo>
                    <a:pt x="340" y="151"/>
                    <a:pt x="340" y="156"/>
                    <a:pt x="340" y="158"/>
                  </a:cubicBezTo>
                  <a:cubicBezTo>
                    <a:pt x="341" y="161"/>
                    <a:pt x="342" y="162"/>
                    <a:pt x="344" y="163"/>
                  </a:cubicBezTo>
                  <a:cubicBezTo>
                    <a:pt x="344" y="164"/>
                    <a:pt x="345" y="164"/>
                    <a:pt x="345" y="165"/>
                  </a:cubicBezTo>
                  <a:cubicBezTo>
                    <a:pt x="345" y="165"/>
                    <a:pt x="345" y="166"/>
                    <a:pt x="345" y="166"/>
                  </a:cubicBezTo>
                  <a:cubicBezTo>
                    <a:pt x="345" y="167"/>
                    <a:pt x="345" y="168"/>
                    <a:pt x="345" y="170"/>
                  </a:cubicBezTo>
                  <a:cubicBezTo>
                    <a:pt x="346" y="172"/>
                    <a:pt x="347" y="173"/>
                    <a:pt x="349" y="174"/>
                  </a:cubicBezTo>
                  <a:cubicBezTo>
                    <a:pt x="351" y="175"/>
                    <a:pt x="353" y="176"/>
                    <a:pt x="355" y="177"/>
                  </a:cubicBezTo>
                  <a:cubicBezTo>
                    <a:pt x="356" y="177"/>
                    <a:pt x="356" y="177"/>
                    <a:pt x="357" y="178"/>
                  </a:cubicBezTo>
                  <a:cubicBezTo>
                    <a:pt x="360" y="179"/>
                    <a:pt x="362" y="181"/>
                    <a:pt x="364" y="182"/>
                  </a:cubicBezTo>
                  <a:cubicBezTo>
                    <a:pt x="365" y="184"/>
                    <a:pt x="367" y="185"/>
                    <a:pt x="368" y="186"/>
                  </a:cubicBezTo>
                  <a:cubicBezTo>
                    <a:pt x="370" y="187"/>
                    <a:pt x="372" y="188"/>
                    <a:pt x="374" y="188"/>
                  </a:cubicBezTo>
                  <a:cubicBezTo>
                    <a:pt x="374" y="188"/>
                    <a:pt x="375" y="188"/>
                    <a:pt x="375" y="188"/>
                  </a:cubicBezTo>
                  <a:cubicBezTo>
                    <a:pt x="376" y="188"/>
                    <a:pt x="377" y="188"/>
                    <a:pt x="378" y="188"/>
                  </a:cubicBezTo>
                  <a:cubicBezTo>
                    <a:pt x="378" y="188"/>
                    <a:pt x="379" y="188"/>
                    <a:pt x="379" y="188"/>
                  </a:cubicBezTo>
                  <a:cubicBezTo>
                    <a:pt x="380" y="188"/>
                    <a:pt x="380" y="188"/>
                    <a:pt x="381" y="188"/>
                  </a:cubicBezTo>
                  <a:cubicBezTo>
                    <a:pt x="381" y="189"/>
                    <a:pt x="380" y="189"/>
                    <a:pt x="379" y="190"/>
                  </a:cubicBezTo>
                  <a:cubicBezTo>
                    <a:pt x="379" y="190"/>
                    <a:pt x="379" y="190"/>
                    <a:pt x="379" y="190"/>
                  </a:cubicBezTo>
                  <a:cubicBezTo>
                    <a:pt x="378" y="190"/>
                    <a:pt x="377" y="189"/>
                    <a:pt x="377" y="189"/>
                  </a:cubicBezTo>
                  <a:cubicBezTo>
                    <a:pt x="376" y="189"/>
                    <a:pt x="375" y="189"/>
                    <a:pt x="374" y="189"/>
                  </a:cubicBezTo>
                  <a:cubicBezTo>
                    <a:pt x="368" y="189"/>
                    <a:pt x="367" y="193"/>
                    <a:pt x="367" y="195"/>
                  </a:cubicBezTo>
                  <a:cubicBezTo>
                    <a:pt x="367" y="196"/>
                    <a:pt x="368" y="197"/>
                    <a:pt x="368" y="198"/>
                  </a:cubicBezTo>
                  <a:cubicBezTo>
                    <a:pt x="368" y="199"/>
                    <a:pt x="368" y="201"/>
                    <a:pt x="368" y="201"/>
                  </a:cubicBezTo>
                  <a:cubicBezTo>
                    <a:pt x="367" y="202"/>
                    <a:pt x="363" y="203"/>
                    <a:pt x="362" y="208"/>
                  </a:cubicBezTo>
                  <a:cubicBezTo>
                    <a:pt x="362" y="211"/>
                    <a:pt x="363" y="214"/>
                    <a:pt x="365" y="216"/>
                  </a:cubicBezTo>
                  <a:cubicBezTo>
                    <a:pt x="367" y="217"/>
                    <a:pt x="368" y="218"/>
                    <a:pt x="369" y="218"/>
                  </a:cubicBezTo>
                  <a:cubicBezTo>
                    <a:pt x="373" y="218"/>
                    <a:pt x="374" y="215"/>
                    <a:pt x="376" y="212"/>
                  </a:cubicBezTo>
                  <a:cubicBezTo>
                    <a:pt x="376" y="213"/>
                    <a:pt x="376" y="214"/>
                    <a:pt x="376" y="214"/>
                  </a:cubicBezTo>
                  <a:cubicBezTo>
                    <a:pt x="376" y="216"/>
                    <a:pt x="376" y="217"/>
                    <a:pt x="376" y="219"/>
                  </a:cubicBezTo>
                  <a:cubicBezTo>
                    <a:pt x="376" y="219"/>
                    <a:pt x="375" y="219"/>
                    <a:pt x="374" y="220"/>
                  </a:cubicBezTo>
                  <a:cubicBezTo>
                    <a:pt x="373" y="221"/>
                    <a:pt x="371" y="223"/>
                    <a:pt x="369" y="225"/>
                  </a:cubicBezTo>
                  <a:cubicBezTo>
                    <a:pt x="367" y="226"/>
                    <a:pt x="366" y="228"/>
                    <a:pt x="365" y="230"/>
                  </a:cubicBezTo>
                  <a:cubicBezTo>
                    <a:pt x="364" y="232"/>
                    <a:pt x="364" y="232"/>
                    <a:pt x="364" y="232"/>
                  </a:cubicBezTo>
                  <a:cubicBezTo>
                    <a:pt x="364" y="232"/>
                    <a:pt x="364" y="232"/>
                    <a:pt x="364" y="233"/>
                  </a:cubicBezTo>
                  <a:cubicBezTo>
                    <a:pt x="363" y="233"/>
                    <a:pt x="363" y="234"/>
                    <a:pt x="363" y="234"/>
                  </a:cubicBezTo>
                  <a:cubicBezTo>
                    <a:pt x="363" y="234"/>
                    <a:pt x="362" y="234"/>
                    <a:pt x="362" y="234"/>
                  </a:cubicBezTo>
                  <a:cubicBezTo>
                    <a:pt x="362" y="234"/>
                    <a:pt x="361" y="234"/>
                    <a:pt x="361" y="234"/>
                  </a:cubicBezTo>
                  <a:cubicBezTo>
                    <a:pt x="360" y="234"/>
                    <a:pt x="360" y="234"/>
                    <a:pt x="359" y="234"/>
                  </a:cubicBezTo>
                  <a:cubicBezTo>
                    <a:pt x="357" y="234"/>
                    <a:pt x="356" y="234"/>
                    <a:pt x="354" y="235"/>
                  </a:cubicBezTo>
                  <a:cubicBezTo>
                    <a:pt x="351" y="237"/>
                    <a:pt x="349" y="239"/>
                    <a:pt x="347" y="242"/>
                  </a:cubicBezTo>
                  <a:cubicBezTo>
                    <a:pt x="347" y="242"/>
                    <a:pt x="347" y="242"/>
                    <a:pt x="347" y="242"/>
                  </a:cubicBezTo>
                  <a:cubicBezTo>
                    <a:pt x="344" y="247"/>
                    <a:pt x="345" y="251"/>
                    <a:pt x="346" y="254"/>
                  </a:cubicBezTo>
                  <a:cubicBezTo>
                    <a:pt x="346" y="255"/>
                    <a:pt x="346" y="255"/>
                    <a:pt x="346" y="255"/>
                  </a:cubicBezTo>
                  <a:cubicBezTo>
                    <a:pt x="347" y="256"/>
                    <a:pt x="347" y="257"/>
                    <a:pt x="347" y="259"/>
                  </a:cubicBezTo>
                  <a:cubicBezTo>
                    <a:pt x="347" y="259"/>
                    <a:pt x="348" y="260"/>
                    <a:pt x="348" y="260"/>
                  </a:cubicBezTo>
                  <a:cubicBezTo>
                    <a:pt x="348" y="262"/>
                    <a:pt x="348" y="263"/>
                    <a:pt x="349" y="265"/>
                  </a:cubicBezTo>
                  <a:cubicBezTo>
                    <a:pt x="349" y="267"/>
                    <a:pt x="349" y="268"/>
                    <a:pt x="348" y="269"/>
                  </a:cubicBezTo>
                  <a:cubicBezTo>
                    <a:pt x="348" y="270"/>
                    <a:pt x="348" y="270"/>
                    <a:pt x="348" y="270"/>
                  </a:cubicBezTo>
                  <a:cubicBezTo>
                    <a:pt x="348" y="270"/>
                    <a:pt x="348" y="270"/>
                    <a:pt x="347" y="270"/>
                  </a:cubicBezTo>
                  <a:cubicBezTo>
                    <a:pt x="347" y="270"/>
                    <a:pt x="346" y="269"/>
                    <a:pt x="345" y="269"/>
                  </a:cubicBezTo>
                  <a:cubicBezTo>
                    <a:pt x="345" y="268"/>
                    <a:pt x="344" y="268"/>
                    <a:pt x="344" y="268"/>
                  </a:cubicBezTo>
                  <a:cubicBezTo>
                    <a:pt x="343" y="268"/>
                    <a:pt x="342" y="268"/>
                    <a:pt x="342" y="267"/>
                  </a:cubicBezTo>
                  <a:cubicBezTo>
                    <a:pt x="342" y="267"/>
                    <a:pt x="342" y="266"/>
                    <a:pt x="342" y="265"/>
                  </a:cubicBezTo>
                  <a:cubicBezTo>
                    <a:pt x="342" y="264"/>
                    <a:pt x="342" y="264"/>
                    <a:pt x="342" y="263"/>
                  </a:cubicBezTo>
                  <a:cubicBezTo>
                    <a:pt x="342" y="262"/>
                    <a:pt x="341" y="260"/>
                    <a:pt x="340" y="259"/>
                  </a:cubicBezTo>
                  <a:cubicBezTo>
                    <a:pt x="340" y="258"/>
                    <a:pt x="340" y="257"/>
                    <a:pt x="340" y="257"/>
                  </a:cubicBezTo>
                  <a:cubicBezTo>
                    <a:pt x="340" y="255"/>
                    <a:pt x="340" y="254"/>
                    <a:pt x="341" y="252"/>
                  </a:cubicBezTo>
                  <a:cubicBezTo>
                    <a:pt x="341" y="251"/>
                    <a:pt x="341" y="250"/>
                    <a:pt x="341" y="249"/>
                  </a:cubicBezTo>
                  <a:cubicBezTo>
                    <a:pt x="341" y="249"/>
                    <a:pt x="341" y="248"/>
                    <a:pt x="342" y="247"/>
                  </a:cubicBezTo>
                  <a:cubicBezTo>
                    <a:pt x="342" y="246"/>
                    <a:pt x="343" y="245"/>
                    <a:pt x="344" y="244"/>
                  </a:cubicBezTo>
                  <a:cubicBezTo>
                    <a:pt x="346" y="242"/>
                    <a:pt x="348" y="240"/>
                    <a:pt x="348" y="236"/>
                  </a:cubicBezTo>
                  <a:cubicBezTo>
                    <a:pt x="348" y="234"/>
                    <a:pt x="347" y="233"/>
                    <a:pt x="346" y="231"/>
                  </a:cubicBezTo>
                  <a:cubicBezTo>
                    <a:pt x="345" y="230"/>
                    <a:pt x="343" y="229"/>
                    <a:pt x="341" y="229"/>
                  </a:cubicBezTo>
                  <a:cubicBezTo>
                    <a:pt x="340" y="229"/>
                    <a:pt x="340" y="229"/>
                    <a:pt x="340" y="229"/>
                  </a:cubicBezTo>
                  <a:cubicBezTo>
                    <a:pt x="339" y="228"/>
                    <a:pt x="339" y="227"/>
                    <a:pt x="338" y="226"/>
                  </a:cubicBezTo>
                  <a:cubicBezTo>
                    <a:pt x="337" y="226"/>
                    <a:pt x="336" y="226"/>
                    <a:pt x="335" y="226"/>
                  </a:cubicBezTo>
                  <a:cubicBezTo>
                    <a:pt x="335" y="226"/>
                    <a:pt x="334" y="226"/>
                    <a:pt x="334" y="226"/>
                  </a:cubicBezTo>
                  <a:cubicBezTo>
                    <a:pt x="334" y="225"/>
                    <a:pt x="334" y="224"/>
                    <a:pt x="334" y="224"/>
                  </a:cubicBezTo>
                  <a:cubicBezTo>
                    <a:pt x="332" y="222"/>
                    <a:pt x="331" y="221"/>
                    <a:pt x="330" y="220"/>
                  </a:cubicBezTo>
                  <a:cubicBezTo>
                    <a:pt x="329" y="220"/>
                    <a:pt x="329" y="220"/>
                    <a:pt x="329" y="220"/>
                  </a:cubicBezTo>
                  <a:cubicBezTo>
                    <a:pt x="329" y="220"/>
                    <a:pt x="328" y="219"/>
                    <a:pt x="328" y="219"/>
                  </a:cubicBezTo>
                  <a:cubicBezTo>
                    <a:pt x="327" y="219"/>
                    <a:pt x="327" y="218"/>
                    <a:pt x="326" y="217"/>
                  </a:cubicBezTo>
                  <a:cubicBezTo>
                    <a:pt x="325" y="217"/>
                    <a:pt x="323" y="217"/>
                    <a:pt x="322" y="217"/>
                  </a:cubicBezTo>
                  <a:cubicBezTo>
                    <a:pt x="320" y="217"/>
                    <a:pt x="318" y="218"/>
                    <a:pt x="316" y="219"/>
                  </a:cubicBezTo>
                  <a:cubicBezTo>
                    <a:pt x="316" y="219"/>
                    <a:pt x="315" y="219"/>
                    <a:pt x="315" y="220"/>
                  </a:cubicBezTo>
                  <a:cubicBezTo>
                    <a:pt x="315" y="220"/>
                    <a:pt x="315" y="220"/>
                    <a:pt x="314" y="220"/>
                  </a:cubicBezTo>
                  <a:cubicBezTo>
                    <a:pt x="314" y="220"/>
                    <a:pt x="314" y="220"/>
                    <a:pt x="313" y="220"/>
                  </a:cubicBezTo>
                  <a:cubicBezTo>
                    <a:pt x="313" y="220"/>
                    <a:pt x="312" y="220"/>
                    <a:pt x="312" y="220"/>
                  </a:cubicBezTo>
                  <a:cubicBezTo>
                    <a:pt x="310" y="220"/>
                    <a:pt x="308" y="220"/>
                    <a:pt x="307" y="221"/>
                  </a:cubicBezTo>
                  <a:cubicBezTo>
                    <a:pt x="304" y="224"/>
                    <a:pt x="305" y="228"/>
                    <a:pt x="305" y="230"/>
                  </a:cubicBezTo>
                  <a:cubicBezTo>
                    <a:pt x="305" y="231"/>
                    <a:pt x="305" y="231"/>
                    <a:pt x="305" y="231"/>
                  </a:cubicBezTo>
                  <a:cubicBezTo>
                    <a:pt x="306" y="233"/>
                    <a:pt x="306" y="238"/>
                    <a:pt x="310" y="240"/>
                  </a:cubicBezTo>
                  <a:cubicBezTo>
                    <a:pt x="312" y="241"/>
                    <a:pt x="313" y="242"/>
                    <a:pt x="315" y="242"/>
                  </a:cubicBezTo>
                  <a:cubicBezTo>
                    <a:pt x="317" y="242"/>
                    <a:pt x="319" y="241"/>
                    <a:pt x="320" y="241"/>
                  </a:cubicBezTo>
                  <a:cubicBezTo>
                    <a:pt x="321" y="241"/>
                    <a:pt x="321" y="241"/>
                    <a:pt x="321" y="241"/>
                  </a:cubicBezTo>
                  <a:cubicBezTo>
                    <a:pt x="322" y="241"/>
                    <a:pt x="322" y="241"/>
                    <a:pt x="322" y="241"/>
                  </a:cubicBezTo>
                  <a:cubicBezTo>
                    <a:pt x="322" y="241"/>
                    <a:pt x="322" y="241"/>
                    <a:pt x="322" y="241"/>
                  </a:cubicBezTo>
                  <a:cubicBezTo>
                    <a:pt x="322" y="241"/>
                    <a:pt x="322" y="242"/>
                    <a:pt x="322" y="242"/>
                  </a:cubicBezTo>
                  <a:cubicBezTo>
                    <a:pt x="323" y="243"/>
                    <a:pt x="323" y="244"/>
                    <a:pt x="324" y="246"/>
                  </a:cubicBezTo>
                  <a:cubicBezTo>
                    <a:pt x="324" y="247"/>
                    <a:pt x="324" y="247"/>
                    <a:pt x="324" y="248"/>
                  </a:cubicBezTo>
                  <a:cubicBezTo>
                    <a:pt x="324" y="249"/>
                    <a:pt x="322" y="250"/>
                    <a:pt x="321" y="250"/>
                  </a:cubicBezTo>
                  <a:cubicBezTo>
                    <a:pt x="320" y="250"/>
                    <a:pt x="320" y="250"/>
                    <a:pt x="320" y="250"/>
                  </a:cubicBezTo>
                  <a:cubicBezTo>
                    <a:pt x="319" y="249"/>
                    <a:pt x="318" y="248"/>
                    <a:pt x="317" y="247"/>
                  </a:cubicBezTo>
                  <a:cubicBezTo>
                    <a:pt x="317" y="246"/>
                    <a:pt x="316" y="244"/>
                    <a:pt x="314" y="243"/>
                  </a:cubicBezTo>
                  <a:cubicBezTo>
                    <a:pt x="313" y="242"/>
                    <a:pt x="310" y="241"/>
                    <a:pt x="308" y="241"/>
                  </a:cubicBezTo>
                  <a:cubicBezTo>
                    <a:pt x="305" y="241"/>
                    <a:pt x="303" y="242"/>
                    <a:pt x="301" y="243"/>
                  </a:cubicBezTo>
                  <a:cubicBezTo>
                    <a:pt x="300" y="243"/>
                    <a:pt x="300" y="243"/>
                    <a:pt x="300" y="243"/>
                  </a:cubicBezTo>
                  <a:cubicBezTo>
                    <a:pt x="299" y="243"/>
                    <a:pt x="299" y="244"/>
                    <a:pt x="298" y="244"/>
                  </a:cubicBezTo>
                  <a:cubicBezTo>
                    <a:pt x="298" y="244"/>
                    <a:pt x="298" y="244"/>
                    <a:pt x="298" y="244"/>
                  </a:cubicBezTo>
                  <a:cubicBezTo>
                    <a:pt x="297" y="243"/>
                    <a:pt x="297" y="242"/>
                    <a:pt x="296" y="242"/>
                  </a:cubicBezTo>
                  <a:cubicBezTo>
                    <a:pt x="295" y="241"/>
                    <a:pt x="294" y="240"/>
                    <a:pt x="293" y="239"/>
                  </a:cubicBezTo>
                  <a:cubicBezTo>
                    <a:pt x="291" y="238"/>
                    <a:pt x="290" y="238"/>
                    <a:pt x="289" y="238"/>
                  </a:cubicBezTo>
                  <a:cubicBezTo>
                    <a:pt x="288" y="238"/>
                    <a:pt x="288" y="238"/>
                    <a:pt x="288" y="238"/>
                  </a:cubicBezTo>
                  <a:cubicBezTo>
                    <a:pt x="287" y="238"/>
                    <a:pt x="287" y="238"/>
                    <a:pt x="287" y="238"/>
                  </a:cubicBezTo>
                  <a:cubicBezTo>
                    <a:pt x="286" y="238"/>
                    <a:pt x="285" y="237"/>
                    <a:pt x="284" y="237"/>
                  </a:cubicBezTo>
                  <a:cubicBezTo>
                    <a:pt x="282" y="236"/>
                    <a:pt x="281" y="236"/>
                    <a:pt x="279" y="236"/>
                  </a:cubicBezTo>
                  <a:cubicBezTo>
                    <a:pt x="278" y="236"/>
                    <a:pt x="278" y="236"/>
                    <a:pt x="277" y="236"/>
                  </a:cubicBezTo>
                  <a:cubicBezTo>
                    <a:pt x="274" y="236"/>
                    <a:pt x="271" y="236"/>
                    <a:pt x="269" y="237"/>
                  </a:cubicBezTo>
                  <a:cubicBezTo>
                    <a:pt x="268" y="237"/>
                    <a:pt x="267" y="237"/>
                    <a:pt x="267" y="237"/>
                  </a:cubicBezTo>
                  <a:cubicBezTo>
                    <a:pt x="265" y="238"/>
                    <a:pt x="264" y="238"/>
                    <a:pt x="262" y="238"/>
                  </a:cubicBezTo>
                  <a:cubicBezTo>
                    <a:pt x="262" y="238"/>
                    <a:pt x="261" y="238"/>
                    <a:pt x="261" y="237"/>
                  </a:cubicBezTo>
                  <a:cubicBezTo>
                    <a:pt x="260" y="236"/>
                    <a:pt x="260" y="236"/>
                    <a:pt x="258" y="235"/>
                  </a:cubicBezTo>
                  <a:cubicBezTo>
                    <a:pt x="257" y="234"/>
                    <a:pt x="256" y="234"/>
                    <a:pt x="255" y="234"/>
                  </a:cubicBezTo>
                  <a:cubicBezTo>
                    <a:pt x="254" y="234"/>
                    <a:pt x="254" y="234"/>
                    <a:pt x="254" y="234"/>
                  </a:cubicBezTo>
                  <a:cubicBezTo>
                    <a:pt x="254" y="237"/>
                    <a:pt x="254" y="237"/>
                    <a:pt x="254" y="237"/>
                  </a:cubicBezTo>
                  <a:cubicBezTo>
                    <a:pt x="254" y="234"/>
                    <a:pt x="254" y="234"/>
                    <a:pt x="254" y="234"/>
                  </a:cubicBezTo>
                  <a:cubicBezTo>
                    <a:pt x="252" y="234"/>
                    <a:pt x="251" y="234"/>
                    <a:pt x="250" y="232"/>
                  </a:cubicBezTo>
                  <a:cubicBezTo>
                    <a:pt x="249" y="231"/>
                    <a:pt x="249" y="231"/>
                    <a:pt x="248" y="230"/>
                  </a:cubicBezTo>
                  <a:cubicBezTo>
                    <a:pt x="247" y="230"/>
                    <a:pt x="247" y="229"/>
                    <a:pt x="246" y="229"/>
                  </a:cubicBezTo>
                  <a:cubicBezTo>
                    <a:pt x="246" y="229"/>
                    <a:pt x="246" y="229"/>
                    <a:pt x="246" y="229"/>
                  </a:cubicBezTo>
                  <a:cubicBezTo>
                    <a:pt x="246" y="228"/>
                    <a:pt x="245" y="227"/>
                    <a:pt x="245" y="227"/>
                  </a:cubicBezTo>
                  <a:cubicBezTo>
                    <a:pt x="244" y="226"/>
                    <a:pt x="244" y="226"/>
                    <a:pt x="244" y="226"/>
                  </a:cubicBezTo>
                  <a:cubicBezTo>
                    <a:pt x="243" y="222"/>
                    <a:pt x="241" y="218"/>
                    <a:pt x="236" y="218"/>
                  </a:cubicBezTo>
                  <a:cubicBezTo>
                    <a:pt x="235" y="218"/>
                    <a:pt x="235" y="218"/>
                    <a:pt x="234" y="218"/>
                  </a:cubicBezTo>
                  <a:cubicBezTo>
                    <a:pt x="233" y="218"/>
                    <a:pt x="231" y="219"/>
                    <a:pt x="229" y="219"/>
                  </a:cubicBezTo>
                  <a:cubicBezTo>
                    <a:pt x="228" y="219"/>
                    <a:pt x="227" y="218"/>
                    <a:pt x="227" y="218"/>
                  </a:cubicBezTo>
                  <a:cubicBezTo>
                    <a:pt x="226" y="218"/>
                    <a:pt x="225" y="215"/>
                    <a:pt x="225" y="214"/>
                  </a:cubicBezTo>
                  <a:cubicBezTo>
                    <a:pt x="225" y="213"/>
                    <a:pt x="225" y="213"/>
                    <a:pt x="225" y="213"/>
                  </a:cubicBezTo>
                  <a:cubicBezTo>
                    <a:pt x="224" y="211"/>
                    <a:pt x="223" y="209"/>
                    <a:pt x="222" y="207"/>
                  </a:cubicBezTo>
                  <a:cubicBezTo>
                    <a:pt x="220" y="205"/>
                    <a:pt x="218" y="205"/>
                    <a:pt x="217" y="205"/>
                  </a:cubicBezTo>
                  <a:cubicBezTo>
                    <a:pt x="217" y="205"/>
                    <a:pt x="217" y="204"/>
                    <a:pt x="217" y="204"/>
                  </a:cubicBezTo>
                  <a:cubicBezTo>
                    <a:pt x="217" y="204"/>
                    <a:pt x="217" y="202"/>
                    <a:pt x="217" y="201"/>
                  </a:cubicBezTo>
                  <a:cubicBezTo>
                    <a:pt x="217" y="201"/>
                    <a:pt x="217" y="201"/>
                    <a:pt x="217" y="201"/>
                  </a:cubicBezTo>
                  <a:cubicBezTo>
                    <a:pt x="217" y="199"/>
                    <a:pt x="217" y="198"/>
                    <a:pt x="218" y="197"/>
                  </a:cubicBezTo>
                  <a:cubicBezTo>
                    <a:pt x="218" y="194"/>
                    <a:pt x="219" y="190"/>
                    <a:pt x="217" y="185"/>
                  </a:cubicBezTo>
                  <a:cubicBezTo>
                    <a:pt x="216" y="184"/>
                    <a:pt x="214" y="179"/>
                    <a:pt x="208" y="179"/>
                  </a:cubicBezTo>
                  <a:cubicBezTo>
                    <a:pt x="207" y="179"/>
                    <a:pt x="206" y="179"/>
                    <a:pt x="205" y="179"/>
                  </a:cubicBezTo>
                  <a:cubicBezTo>
                    <a:pt x="203" y="179"/>
                    <a:pt x="200" y="179"/>
                    <a:pt x="197" y="179"/>
                  </a:cubicBezTo>
                  <a:cubicBezTo>
                    <a:pt x="194" y="180"/>
                    <a:pt x="193" y="180"/>
                    <a:pt x="191" y="182"/>
                  </a:cubicBezTo>
                  <a:cubicBezTo>
                    <a:pt x="190" y="182"/>
                    <a:pt x="189" y="182"/>
                    <a:pt x="188" y="182"/>
                  </a:cubicBezTo>
                  <a:cubicBezTo>
                    <a:pt x="187" y="182"/>
                    <a:pt x="185" y="182"/>
                    <a:pt x="184" y="182"/>
                  </a:cubicBezTo>
                  <a:cubicBezTo>
                    <a:pt x="182" y="181"/>
                    <a:pt x="180" y="181"/>
                    <a:pt x="179" y="181"/>
                  </a:cubicBezTo>
                  <a:cubicBezTo>
                    <a:pt x="178" y="181"/>
                    <a:pt x="177" y="181"/>
                    <a:pt x="176" y="181"/>
                  </a:cubicBezTo>
                  <a:cubicBezTo>
                    <a:pt x="176" y="181"/>
                    <a:pt x="174" y="182"/>
                    <a:pt x="173" y="183"/>
                  </a:cubicBezTo>
                  <a:cubicBezTo>
                    <a:pt x="172" y="184"/>
                    <a:pt x="172" y="184"/>
                    <a:pt x="171" y="185"/>
                  </a:cubicBezTo>
                  <a:cubicBezTo>
                    <a:pt x="171" y="185"/>
                    <a:pt x="171" y="185"/>
                    <a:pt x="170" y="185"/>
                  </a:cubicBezTo>
                  <a:cubicBezTo>
                    <a:pt x="168" y="186"/>
                    <a:pt x="166" y="187"/>
                    <a:pt x="165" y="190"/>
                  </a:cubicBezTo>
                  <a:cubicBezTo>
                    <a:pt x="163" y="194"/>
                    <a:pt x="166" y="199"/>
                    <a:pt x="167" y="200"/>
                  </a:cubicBezTo>
                  <a:cubicBezTo>
                    <a:pt x="167" y="201"/>
                    <a:pt x="167" y="201"/>
                    <a:pt x="167" y="201"/>
                  </a:cubicBezTo>
                  <a:cubicBezTo>
                    <a:pt x="168" y="202"/>
                    <a:pt x="170" y="204"/>
                    <a:pt x="171" y="205"/>
                  </a:cubicBezTo>
                  <a:cubicBezTo>
                    <a:pt x="172" y="205"/>
                    <a:pt x="174" y="205"/>
                    <a:pt x="175" y="205"/>
                  </a:cubicBezTo>
                  <a:cubicBezTo>
                    <a:pt x="178" y="205"/>
                    <a:pt x="180" y="204"/>
                    <a:pt x="181" y="201"/>
                  </a:cubicBezTo>
                  <a:cubicBezTo>
                    <a:pt x="181" y="201"/>
                    <a:pt x="182" y="199"/>
                    <a:pt x="183" y="199"/>
                  </a:cubicBezTo>
                  <a:cubicBezTo>
                    <a:pt x="183" y="199"/>
                    <a:pt x="183" y="199"/>
                    <a:pt x="183" y="199"/>
                  </a:cubicBezTo>
                  <a:cubicBezTo>
                    <a:pt x="183" y="200"/>
                    <a:pt x="184" y="203"/>
                    <a:pt x="188" y="204"/>
                  </a:cubicBezTo>
                  <a:cubicBezTo>
                    <a:pt x="191" y="204"/>
                    <a:pt x="194" y="202"/>
                    <a:pt x="196" y="200"/>
                  </a:cubicBezTo>
                  <a:cubicBezTo>
                    <a:pt x="197" y="200"/>
                    <a:pt x="198" y="199"/>
                    <a:pt x="199" y="199"/>
                  </a:cubicBezTo>
                  <a:cubicBezTo>
                    <a:pt x="201" y="198"/>
                    <a:pt x="203" y="197"/>
                    <a:pt x="205" y="197"/>
                  </a:cubicBezTo>
                  <a:cubicBezTo>
                    <a:pt x="205" y="196"/>
                    <a:pt x="206" y="196"/>
                    <a:pt x="207" y="196"/>
                  </a:cubicBezTo>
                  <a:cubicBezTo>
                    <a:pt x="207" y="196"/>
                    <a:pt x="207" y="196"/>
                    <a:pt x="207" y="196"/>
                  </a:cubicBezTo>
                  <a:cubicBezTo>
                    <a:pt x="207" y="198"/>
                    <a:pt x="201" y="200"/>
                    <a:pt x="198" y="202"/>
                  </a:cubicBezTo>
                  <a:cubicBezTo>
                    <a:pt x="197" y="202"/>
                    <a:pt x="196" y="203"/>
                    <a:pt x="196" y="203"/>
                  </a:cubicBezTo>
                  <a:cubicBezTo>
                    <a:pt x="193" y="204"/>
                    <a:pt x="190" y="205"/>
                    <a:pt x="187" y="205"/>
                  </a:cubicBezTo>
                  <a:cubicBezTo>
                    <a:pt x="183" y="205"/>
                    <a:pt x="179" y="206"/>
                    <a:pt x="176" y="208"/>
                  </a:cubicBezTo>
                  <a:cubicBezTo>
                    <a:pt x="166" y="213"/>
                    <a:pt x="168" y="219"/>
                    <a:pt x="169" y="224"/>
                  </a:cubicBezTo>
                  <a:cubicBezTo>
                    <a:pt x="170" y="226"/>
                    <a:pt x="170" y="228"/>
                    <a:pt x="170" y="230"/>
                  </a:cubicBezTo>
                  <a:cubicBezTo>
                    <a:pt x="171" y="231"/>
                    <a:pt x="171" y="233"/>
                    <a:pt x="170" y="235"/>
                  </a:cubicBezTo>
                  <a:cubicBezTo>
                    <a:pt x="170" y="236"/>
                    <a:pt x="170" y="238"/>
                    <a:pt x="170" y="241"/>
                  </a:cubicBezTo>
                  <a:cubicBezTo>
                    <a:pt x="170" y="242"/>
                    <a:pt x="170" y="243"/>
                    <a:pt x="171" y="244"/>
                  </a:cubicBezTo>
                  <a:cubicBezTo>
                    <a:pt x="171" y="246"/>
                    <a:pt x="172" y="248"/>
                    <a:pt x="171" y="249"/>
                  </a:cubicBezTo>
                  <a:cubicBezTo>
                    <a:pt x="171" y="250"/>
                    <a:pt x="168" y="250"/>
                    <a:pt x="166" y="250"/>
                  </a:cubicBezTo>
                  <a:cubicBezTo>
                    <a:pt x="164" y="250"/>
                    <a:pt x="163" y="250"/>
                    <a:pt x="163" y="250"/>
                  </a:cubicBezTo>
                  <a:cubicBezTo>
                    <a:pt x="163" y="250"/>
                    <a:pt x="162" y="249"/>
                    <a:pt x="162" y="247"/>
                  </a:cubicBezTo>
                  <a:cubicBezTo>
                    <a:pt x="162" y="246"/>
                    <a:pt x="162" y="245"/>
                    <a:pt x="162" y="244"/>
                  </a:cubicBezTo>
                  <a:cubicBezTo>
                    <a:pt x="163" y="244"/>
                    <a:pt x="163" y="244"/>
                    <a:pt x="164" y="243"/>
                  </a:cubicBezTo>
                  <a:cubicBezTo>
                    <a:pt x="167" y="242"/>
                    <a:pt x="169" y="237"/>
                    <a:pt x="168" y="233"/>
                  </a:cubicBezTo>
                  <a:cubicBezTo>
                    <a:pt x="168" y="230"/>
                    <a:pt x="166" y="227"/>
                    <a:pt x="164" y="226"/>
                  </a:cubicBezTo>
                  <a:cubicBezTo>
                    <a:pt x="162" y="225"/>
                    <a:pt x="160" y="225"/>
                    <a:pt x="159" y="225"/>
                  </a:cubicBezTo>
                  <a:cubicBezTo>
                    <a:pt x="158" y="224"/>
                    <a:pt x="158" y="224"/>
                    <a:pt x="158" y="224"/>
                  </a:cubicBezTo>
                  <a:cubicBezTo>
                    <a:pt x="157" y="224"/>
                    <a:pt x="158" y="221"/>
                    <a:pt x="158" y="220"/>
                  </a:cubicBezTo>
                  <a:cubicBezTo>
                    <a:pt x="158" y="218"/>
                    <a:pt x="159" y="216"/>
                    <a:pt x="158" y="214"/>
                  </a:cubicBezTo>
                  <a:cubicBezTo>
                    <a:pt x="157" y="210"/>
                    <a:pt x="154" y="209"/>
                    <a:pt x="152" y="209"/>
                  </a:cubicBezTo>
                  <a:cubicBezTo>
                    <a:pt x="151" y="209"/>
                    <a:pt x="150" y="207"/>
                    <a:pt x="149" y="207"/>
                  </a:cubicBezTo>
                  <a:cubicBezTo>
                    <a:pt x="149" y="206"/>
                    <a:pt x="149" y="205"/>
                    <a:pt x="149" y="204"/>
                  </a:cubicBezTo>
                  <a:cubicBezTo>
                    <a:pt x="149" y="202"/>
                    <a:pt x="149" y="198"/>
                    <a:pt x="146" y="196"/>
                  </a:cubicBezTo>
                  <a:cubicBezTo>
                    <a:pt x="145" y="196"/>
                    <a:pt x="144" y="196"/>
                    <a:pt x="143" y="196"/>
                  </a:cubicBezTo>
                  <a:cubicBezTo>
                    <a:pt x="143" y="196"/>
                    <a:pt x="143" y="196"/>
                    <a:pt x="142" y="196"/>
                  </a:cubicBezTo>
                  <a:cubicBezTo>
                    <a:pt x="141" y="196"/>
                    <a:pt x="141" y="196"/>
                    <a:pt x="140" y="196"/>
                  </a:cubicBezTo>
                  <a:cubicBezTo>
                    <a:pt x="138" y="196"/>
                    <a:pt x="137" y="196"/>
                    <a:pt x="136" y="196"/>
                  </a:cubicBezTo>
                  <a:cubicBezTo>
                    <a:pt x="135" y="197"/>
                    <a:pt x="135" y="197"/>
                    <a:pt x="135" y="197"/>
                  </a:cubicBezTo>
                  <a:cubicBezTo>
                    <a:pt x="134" y="198"/>
                    <a:pt x="133" y="198"/>
                    <a:pt x="132" y="198"/>
                  </a:cubicBezTo>
                  <a:cubicBezTo>
                    <a:pt x="131" y="198"/>
                    <a:pt x="131" y="198"/>
                    <a:pt x="130" y="198"/>
                  </a:cubicBezTo>
                  <a:cubicBezTo>
                    <a:pt x="127" y="198"/>
                    <a:pt x="124" y="197"/>
                    <a:pt x="121" y="197"/>
                  </a:cubicBezTo>
                  <a:cubicBezTo>
                    <a:pt x="120" y="197"/>
                    <a:pt x="120" y="196"/>
                    <a:pt x="119" y="196"/>
                  </a:cubicBezTo>
                  <a:cubicBezTo>
                    <a:pt x="118" y="196"/>
                    <a:pt x="116" y="196"/>
                    <a:pt x="115" y="195"/>
                  </a:cubicBezTo>
                  <a:cubicBezTo>
                    <a:pt x="113" y="195"/>
                    <a:pt x="113" y="195"/>
                    <a:pt x="113" y="195"/>
                  </a:cubicBezTo>
                  <a:cubicBezTo>
                    <a:pt x="112" y="195"/>
                    <a:pt x="110" y="195"/>
                    <a:pt x="109" y="194"/>
                  </a:cubicBezTo>
                  <a:cubicBezTo>
                    <a:pt x="108" y="194"/>
                    <a:pt x="106" y="194"/>
                    <a:pt x="105" y="193"/>
                  </a:cubicBezTo>
                  <a:cubicBezTo>
                    <a:pt x="103" y="193"/>
                    <a:pt x="101" y="192"/>
                    <a:pt x="99" y="191"/>
                  </a:cubicBezTo>
                  <a:cubicBezTo>
                    <a:pt x="98" y="191"/>
                    <a:pt x="98" y="191"/>
                    <a:pt x="98" y="191"/>
                  </a:cubicBezTo>
                  <a:cubicBezTo>
                    <a:pt x="97" y="191"/>
                    <a:pt x="97" y="191"/>
                    <a:pt x="96" y="191"/>
                  </a:cubicBezTo>
                  <a:cubicBezTo>
                    <a:pt x="96" y="190"/>
                    <a:pt x="96" y="190"/>
                    <a:pt x="96" y="190"/>
                  </a:cubicBezTo>
                  <a:cubicBezTo>
                    <a:pt x="95" y="189"/>
                    <a:pt x="95" y="188"/>
                    <a:pt x="93" y="187"/>
                  </a:cubicBezTo>
                  <a:cubicBezTo>
                    <a:pt x="92" y="186"/>
                    <a:pt x="92" y="186"/>
                    <a:pt x="91" y="186"/>
                  </a:cubicBezTo>
                  <a:cubicBezTo>
                    <a:pt x="91" y="186"/>
                    <a:pt x="90" y="186"/>
                    <a:pt x="90" y="185"/>
                  </a:cubicBezTo>
                  <a:cubicBezTo>
                    <a:pt x="89" y="185"/>
                    <a:pt x="89" y="185"/>
                    <a:pt x="88" y="184"/>
                  </a:cubicBezTo>
                  <a:cubicBezTo>
                    <a:pt x="88" y="184"/>
                    <a:pt x="87" y="183"/>
                    <a:pt x="86" y="182"/>
                  </a:cubicBezTo>
                  <a:cubicBezTo>
                    <a:pt x="84" y="182"/>
                    <a:pt x="83" y="181"/>
                    <a:pt x="81" y="181"/>
                  </a:cubicBezTo>
                  <a:cubicBezTo>
                    <a:pt x="81" y="180"/>
                    <a:pt x="81" y="180"/>
                    <a:pt x="81" y="180"/>
                  </a:cubicBezTo>
                  <a:cubicBezTo>
                    <a:pt x="78" y="179"/>
                    <a:pt x="76" y="178"/>
                    <a:pt x="75" y="177"/>
                  </a:cubicBezTo>
                  <a:cubicBezTo>
                    <a:pt x="78" y="176"/>
                    <a:pt x="79" y="173"/>
                    <a:pt x="79" y="172"/>
                  </a:cubicBezTo>
                  <a:cubicBezTo>
                    <a:pt x="80" y="171"/>
                    <a:pt x="80" y="171"/>
                    <a:pt x="82" y="170"/>
                  </a:cubicBezTo>
                  <a:cubicBezTo>
                    <a:pt x="84" y="170"/>
                    <a:pt x="85" y="170"/>
                    <a:pt x="87" y="170"/>
                  </a:cubicBezTo>
                  <a:cubicBezTo>
                    <a:pt x="89" y="170"/>
                    <a:pt x="91" y="170"/>
                    <a:pt x="92" y="171"/>
                  </a:cubicBezTo>
                  <a:cubicBezTo>
                    <a:pt x="93" y="171"/>
                    <a:pt x="93" y="171"/>
                    <a:pt x="94" y="171"/>
                  </a:cubicBezTo>
                  <a:cubicBezTo>
                    <a:pt x="97" y="171"/>
                    <a:pt x="100" y="169"/>
                    <a:pt x="101" y="166"/>
                  </a:cubicBezTo>
                  <a:cubicBezTo>
                    <a:pt x="103" y="164"/>
                    <a:pt x="102" y="161"/>
                    <a:pt x="101" y="159"/>
                  </a:cubicBezTo>
                  <a:cubicBezTo>
                    <a:pt x="100" y="159"/>
                    <a:pt x="100" y="158"/>
                    <a:pt x="100" y="158"/>
                  </a:cubicBezTo>
                  <a:cubicBezTo>
                    <a:pt x="100" y="154"/>
                    <a:pt x="98" y="150"/>
                    <a:pt x="96" y="148"/>
                  </a:cubicBezTo>
                  <a:cubicBezTo>
                    <a:pt x="95" y="147"/>
                    <a:pt x="95" y="145"/>
                    <a:pt x="94" y="144"/>
                  </a:cubicBezTo>
                  <a:cubicBezTo>
                    <a:pt x="94" y="143"/>
                    <a:pt x="94" y="143"/>
                    <a:pt x="94" y="143"/>
                  </a:cubicBezTo>
                  <a:cubicBezTo>
                    <a:pt x="93" y="141"/>
                    <a:pt x="90" y="134"/>
                    <a:pt x="85" y="132"/>
                  </a:cubicBezTo>
                  <a:cubicBezTo>
                    <a:pt x="84" y="131"/>
                    <a:pt x="82" y="131"/>
                    <a:pt x="81" y="131"/>
                  </a:cubicBezTo>
                  <a:cubicBezTo>
                    <a:pt x="79" y="131"/>
                    <a:pt x="77" y="131"/>
                    <a:pt x="76" y="131"/>
                  </a:cubicBezTo>
                  <a:cubicBezTo>
                    <a:pt x="75" y="132"/>
                    <a:pt x="75" y="132"/>
                    <a:pt x="75" y="132"/>
                  </a:cubicBezTo>
                  <a:cubicBezTo>
                    <a:pt x="74" y="132"/>
                    <a:pt x="73" y="131"/>
                    <a:pt x="72" y="130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0" y="128"/>
                    <a:pt x="68" y="127"/>
                    <a:pt x="67" y="126"/>
                  </a:cubicBezTo>
                  <a:cubicBezTo>
                    <a:pt x="65" y="124"/>
                    <a:pt x="63" y="123"/>
                    <a:pt x="61" y="121"/>
                  </a:cubicBezTo>
                  <a:cubicBezTo>
                    <a:pt x="59" y="118"/>
                    <a:pt x="57" y="116"/>
                    <a:pt x="56" y="113"/>
                  </a:cubicBezTo>
                  <a:cubicBezTo>
                    <a:pt x="55" y="110"/>
                    <a:pt x="53" y="106"/>
                    <a:pt x="49" y="102"/>
                  </a:cubicBezTo>
                  <a:cubicBezTo>
                    <a:pt x="46" y="100"/>
                    <a:pt x="44" y="99"/>
                    <a:pt x="42" y="98"/>
                  </a:cubicBezTo>
                  <a:cubicBezTo>
                    <a:pt x="41" y="97"/>
                    <a:pt x="41" y="97"/>
                    <a:pt x="41" y="97"/>
                  </a:cubicBezTo>
                  <a:cubicBezTo>
                    <a:pt x="40" y="97"/>
                    <a:pt x="40" y="96"/>
                    <a:pt x="39" y="95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7" y="91"/>
                    <a:pt x="35" y="89"/>
                    <a:pt x="34" y="86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63" y="257"/>
                    <a:pt x="63" y="257"/>
                    <a:pt x="63" y="257"/>
                  </a:cubicBezTo>
                  <a:cubicBezTo>
                    <a:pt x="74" y="287"/>
                    <a:pt x="101" y="288"/>
                    <a:pt x="103" y="288"/>
                  </a:cubicBezTo>
                  <a:cubicBezTo>
                    <a:pt x="115" y="319"/>
                    <a:pt x="115" y="319"/>
                    <a:pt x="115" y="319"/>
                  </a:cubicBezTo>
                  <a:cubicBezTo>
                    <a:pt x="228" y="374"/>
                    <a:pt x="228" y="374"/>
                    <a:pt x="228" y="374"/>
                  </a:cubicBezTo>
                  <a:cubicBezTo>
                    <a:pt x="224" y="384"/>
                    <a:pt x="215" y="434"/>
                    <a:pt x="200" y="526"/>
                  </a:cubicBezTo>
                  <a:cubicBezTo>
                    <a:pt x="199" y="529"/>
                    <a:pt x="199" y="529"/>
                    <a:pt x="199" y="529"/>
                  </a:cubicBezTo>
                  <a:cubicBezTo>
                    <a:pt x="339" y="547"/>
                    <a:pt x="339" y="547"/>
                    <a:pt x="339" y="547"/>
                  </a:cubicBezTo>
                  <a:cubicBezTo>
                    <a:pt x="339" y="545"/>
                    <a:pt x="339" y="545"/>
                    <a:pt x="339" y="545"/>
                  </a:cubicBezTo>
                  <a:cubicBezTo>
                    <a:pt x="340" y="543"/>
                    <a:pt x="340" y="541"/>
                    <a:pt x="341" y="540"/>
                  </a:cubicBezTo>
                  <a:cubicBezTo>
                    <a:pt x="341" y="538"/>
                    <a:pt x="342" y="537"/>
                    <a:pt x="342" y="535"/>
                  </a:cubicBezTo>
                  <a:cubicBezTo>
                    <a:pt x="342" y="535"/>
                    <a:pt x="343" y="534"/>
                    <a:pt x="343" y="534"/>
                  </a:cubicBezTo>
                  <a:cubicBezTo>
                    <a:pt x="343" y="533"/>
                    <a:pt x="343" y="533"/>
                    <a:pt x="343" y="532"/>
                  </a:cubicBezTo>
                  <a:cubicBezTo>
                    <a:pt x="343" y="531"/>
                    <a:pt x="344" y="531"/>
                    <a:pt x="344" y="530"/>
                  </a:cubicBezTo>
                  <a:cubicBezTo>
                    <a:pt x="345" y="529"/>
                    <a:pt x="346" y="528"/>
                    <a:pt x="346" y="526"/>
                  </a:cubicBezTo>
                  <a:cubicBezTo>
                    <a:pt x="347" y="525"/>
                    <a:pt x="348" y="524"/>
                    <a:pt x="348" y="522"/>
                  </a:cubicBezTo>
                  <a:cubicBezTo>
                    <a:pt x="349" y="519"/>
                    <a:pt x="351" y="516"/>
                    <a:pt x="353" y="514"/>
                  </a:cubicBezTo>
                  <a:cubicBezTo>
                    <a:pt x="353" y="514"/>
                    <a:pt x="353" y="513"/>
                    <a:pt x="354" y="513"/>
                  </a:cubicBezTo>
                  <a:cubicBezTo>
                    <a:pt x="354" y="512"/>
                    <a:pt x="355" y="512"/>
                    <a:pt x="356" y="510"/>
                  </a:cubicBezTo>
                  <a:cubicBezTo>
                    <a:pt x="357" y="509"/>
                    <a:pt x="357" y="507"/>
                    <a:pt x="357" y="506"/>
                  </a:cubicBezTo>
                  <a:cubicBezTo>
                    <a:pt x="357" y="506"/>
                    <a:pt x="357" y="505"/>
                    <a:pt x="357" y="505"/>
                  </a:cubicBezTo>
                  <a:cubicBezTo>
                    <a:pt x="357" y="504"/>
                    <a:pt x="357" y="503"/>
                    <a:pt x="357" y="502"/>
                  </a:cubicBezTo>
                  <a:cubicBezTo>
                    <a:pt x="357" y="500"/>
                    <a:pt x="357" y="497"/>
                    <a:pt x="358" y="496"/>
                  </a:cubicBezTo>
                  <a:cubicBezTo>
                    <a:pt x="360" y="494"/>
                    <a:pt x="362" y="492"/>
                    <a:pt x="364" y="490"/>
                  </a:cubicBezTo>
                  <a:cubicBezTo>
                    <a:pt x="366" y="487"/>
                    <a:pt x="366" y="487"/>
                    <a:pt x="366" y="487"/>
                  </a:cubicBezTo>
                  <a:cubicBezTo>
                    <a:pt x="368" y="485"/>
                    <a:pt x="370" y="484"/>
                    <a:pt x="370" y="480"/>
                  </a:cubicBezTo>
                  <a:cubicBezTo>
                    <a:pt x="370" y="479"/>
                    <a:pt x="370" y="478"/>
                    <a:pt x="370" y="477"/>
                  </a:cubicBezTo>
                  <a:cubicBezTo>
                    <a:pt x="370" y="477"/>
                    <a:pt x="370" y="477"/>
                    <a:pt x="370" y="476"/>
                  </a:cubicBezTo>
                  <a:cubicBezTo>
                    <a:pt x="370" y="476"/>
                    <a:pt x="370" y="476"/>
                    <a:pt x="371" y="476"/>
                  </a:cubicBezTo>
                  <a:cubicBezTo>
                    <a:pt x="372" y="476"/>
                    <a:pt x="374" y="475"/>
                    <a:pt x="375" y="473"/>
                  </a:cubicBezTo>
                  <a:cubicBezTo>
                    <a:pt x="376" y="472"/>
                    <a:pt x="376" y="471"/>
                    <a:pt x="376" y="469"/>
                  </a:cubicBezTo>
                  <a:cubicBezTo>
                    <a:pt x="376" y="469"/>
                    <a:pt x="377" y="468"/>
                    <a:pt x="377" y="468"/>
                  </a:cubicBezTo>
                  <a:cubicBezTo>
                    <a:pt x="377" y="468"/>
                    <a:pt x="378" y="467"/>
                    <a:pt x="378" y="467"/>
                  </a:cubicBezTo>
                  <a:cubicBezTo>
                    <a:pt x="379" y="466"/>
                    <a:pt x="380" y="465"/>
                    <a:pt x="381" y="463"/>
                  </a:cubicBezTo>
                  <a:cubicBezTo>
                    <a:pt x="382" y="462"/>
                    <a:pt x="382" y="462"/>
                    <a:pt x="382" y="461"/>
                  </a:cubicBezTo>
                  <a:cubicBezTo>
                    <a:pt x="383" y="460"/>
                    <a:pt x="383" y="459"/>
                    <a:pt x="385" y="457"/>
                  </a:cubicBezTo>
                  <a:cubicBezTo>
                    <a:pt x="385" y="457"/>
                    <a:pt x="385" y="457"/>
                    <a:pt x="386" y="456"/>
                  </a:cubicBezTo>
                  <a:cubicBezTo>
                    <a:pt x="387" y="456"/>
                    <a:pt x="388" y="455"/>
                    <a:pt x="388" y="453"/>
                  </a:cubicBezTo>
                  <a:cubicBezTo>
                    <a:pt x="389" y="454"/>
                    <a:pt x="391" y="454"/>
                    <a:pt x="392" y="454"/>
                  </a:cubicBezTo>
                  <a:cubicBezTo>
                    <a:pt x="394" y="454"/>
                    <a:pt x="396" y="453"/>
                    <a:pt x="396" y="449"/>
                  </a:cubicBezTo>
                  <a:cubicBezTo>
                    <a:pt x="396" y="448"/>
                    <a:pt x="396" y="448"/>
                    <a:pt x="396" y="447"/>
                  </a:cubicBezTo>
                  <a:cubicBezTo>
                    <a:pt x="397" y="447"/>
                    <a:pt x="397" y="447"/>
                    <a:pt x="398" y="447"/>
                  </a:cubicBezTo>
                  <a:cubicBezTo>
                    <a:pt x="398" y="447"/>
                    <a:pt x="399" y="447"/>
                    <a:pt x="399" y="447"/>
                  </a:cubicBezTo>
                  <a:cubicBezTo>
                    <a:pt x="401" y="448"/>
                    <a:pt x="402" y="448"/>
                    <a:pt x="403" y="448"/>
                  </a:cubicBezTo>
                  <a:cubicBezTo>
                    <a:pt x="405" y="448"/>
                    <a:pt x="407" y="447"/>
                    <a:pt x="408" y="446"/>
                  </a:cubicBezTo>
                  <a:cubicBezTo>
                    <a:pt x="409" y="445"/>
                    <a:pt x="409" y="444"/>
                    <a:pt x="410" y="443"/>
                  </a:cubicBezTo>
                  <a:cubicBezTo>
                    <a:pt x="410" y="443"/>
                    <a:pt x="410" y="443"/>
                    <a:pt x="410" y="443"/>
                  </a:cubicBezTo>
                  <a:cubicBezTo>
                    <a:pt x="411" y="442"/>
                    <a:pt x="411" y="442"/>
                    <a:pt x="412" y="442"/>
                  </a:cubicBezTo>
                  <a:cubicBezTo>
                    <a:pt x="413" y="441"/>
                    <a:pt x="413" y="441"/>
                    <a:pt x="413" y="441"/>
                  </a:cubicBezTo>
                  <a:cubicBezTo>
                    <a:pt x="415" y="440"/>
                    <a:pt x="418" y="438"/>
                    <a:pt x="418" y="434"/>
                  </a:cubicBezTo>
                  <a:cubicBezTo>
                    <a:pt x="419" y="431"/>
                    <a:pt x="419" y="428"/>
                    <a:pt x="418" y="426"/>
                  </a:cubicBezTo>
                  <a:cubicBezTo>
                    <a:pt x="417" y="423"/>
                    <a:pt x="416" y="420"/>
                    <a:pt x="414" y="418"/>
                  </a:cubicBezTo>
                  <a:cubicBezTo>
                    <a:pt x="414" y="418"/>
                    <a:pt x="414" y="418"/>
                    <a:pt x="415" y="418"/>
                  </a:cubicBezTo>
                  <a:cubicBezTo>
                    <a:pt x="415" y="418"/>
                    <a:pt x="415" y="418"/>
                    <a:pt x="415" y="418"/>
                  </a:cubicBezTo>
                  <a:cubicBezTo>
                    <a:pt x="419" y="418"/>
                    <a:pt x="424" y="416"/>
                    <a:pt x="427" y="413"/>
                  </a:cubicBezTo>
                  <a:cubicBezTo>
                    <a:pt x="428" y="411"/>
                    <a:pt x="429" y="408"/>
                    <a:pt x="430" y="405"/>
                  </a:cubicBezTo>
                  <a:cubicBezTo>
                    <a:pt x="431" y="399"/>
                    <a:pt x="432" y="397"/>
                    <a:pt x="434" y="397"/>
                  </a:cubicBezTo>
                  <a:cubicBezTo>
                    <a:pt x="435" y="397"/>
                    <a:pt x="435" y="397"/>
                    <a:pt x="435" y="397"/>
                  </a:cubicBezTo>
                  <a:cubicBezTo>
                    <a:pt x="437" y="397"/>
                    <a:pt x="438" y="398"/>
                    <a:pt x="441" y="399"/>
                  </a:cubicBezTo>
                  <a:cubicBezTo>
                    <a:pt x="443" y="400"/>
                    <a:pt x="446" y="401"/>
                    <a:pt x="449" y="401"/>
                  </a:cubicBezTo>
                  <a:cubicBezTo>
                    <a:pt x="451" y="401"/>
                    <a:pt x="452" y="401"/>
                    <a:pt x="453" y="400"/>
                  </a:cubicBezTo>
                  <a:cubicBezTo>
                    <a:pt x="461" y="398"/>
                    <a:pt x="464" y="391"/>
                    <a:pt x="466" y="385"/>
                  </a:cubicBezTo>
                  <a:cubicBezTo>
                    <a:pt x="468" y="380"/>
                    <a:pt x="471" y="375"/>
                    <a:pt x="474" y="370"/>
                  </a:cubicBezTo>
                  <a:cubicBezTo>
                    <a:pt x="474" y="369"/>
                    <a:pt x="474" y="369"/>
                    <a:pt x="474" y="369"/>
                  </a:cubicBezTo>
                  <a:cubicBezTo>
                    <a:pt x="476" y="367"/>
                    <a:pt x="478" y="364"/>
                    <a:pt x="479" y="360"/>
                  </a:cubicBezTo>
                  <a:cubicBezTo>
                    <a:pt x="479" y="359"/>
                    <a:pt x="480" y="358"/>
                    <a:pt x="480" y="357"/>
                  </a:cubicBezTo>
                  <a:cubicBezTo>
                    <a:pt x="480" y="356"/>
                    <a:pt x="480" y="356"/>
                    <a:pt x="480" y="355"/>
                  </a:cubicBezTo>
                  <a:cubicBezTo>
                    <a:pt x="480" y="355"/>
                    <a:pt x="480" y="355"/>
                    <a:pt x="480" y="355"/>
                  </a:cubicBezTo>
                  <a:cubicBezTo>
                    <a:pt x="480" y="353"/>
                    <a:pt x="481" y="351"/>
                    <a:pt x="479" y="349"/>
                  </a:cubicBezTo>
                  <a:cubicBezTo>
                    <a:pt x="478" y="348"/>
                    <a:pt x="478" y="347"/>
                    <a:pt x="477" y="347"/>
                  </a:cubicBezTo>
                  <a:cubicBezTo>
                    <a:pt x="478" y="346"/>
                    <a:pt x="478" y="345"/>
                    <a:pt x="479" y="343"/>
                  </a:cubicBezTo>
                  <a:cubicBezTo>
                    <a:pt x="479" y="343"/>
                    <a:pt x="479" y="342"/>
                    <a:pt x="479" y="342"/>
                  </a:cubicBezTo>
                  <a:cubicBezTo>
                    <a:pt x="479" y="341"/>
                    <a:pt x="479" y="341"/>
                    <a:pt x="480" y="340"/>
                  </a:cubicBezTo>
                  <a:cubicBezTo>
                    <a:pt x="482" y="339"/>
                    <a:pt x="484" y="337"/>
                    <a:pt x="486" y="335"/>
                  </a:cubicBezTo>
                  <a:cubicBezTo>
                    <a:pt x="487" y="333"/>
                    <a:pt x="488" y="331"/>
                    <a:pt x="488" y="328"/>
                  </a:cubicBezTo>
                  <a:cubicBezTo>
                    <a:pt x="488" y="327"/>
                    <a:pt x="488" y="326"/>
                    <a:pt x="489" y="325"/>
                  </a:cubicBezTo>
                  <a:cubicBezTo>
                    <a:pt x="489" y="324"/>
                    <a:pt x="490" y="324"/>
                    <a:pt x="491" y="323"/>
                  </a:cubicBezTo>
                  <a:cubicBezTo>
                    <a:pt x="493" y="322"/>
                    <a:pt x="495" y="320"/>
                    <a:pt x="496" y="316"/>
                  </a:cubicBezTo>
                  <a:cubicBezTo>
                    <a:pt x="496" y="313"/>
                    <a:pt x="495" y="310"/>
                    <a:pt x="492" y="309"/>
                  </a:cubicBezTo>
                  <a:cubicBezTo>
                    <a:pt x="491" y="308"/>
                    <a:pt x="490" y="308"/>
                    <a:pt x="489" y="308"/>
                  </a:cubicBezTo>
                  <a:cubicBezTo>
                    <a:pt x="488" y="308"/>
                    <a:pt x="488" y="308"/>
                    <a:pt x="487" y="307"/>
                  </a:cubicBezTo>
                  <a:cubicBezTo>
                    <a:pt x="486" y="307"/>
                    <a:pt x="485" y="306"/>
                    <a:pt x="484" y="305"/>
                  </a:cubicBezTo>
                  <a:cubicBezTo>
                    <a:pt x="482" y="303"/>
                    <a:pt x="482" y="302"/>
                    <a:pt x="482" y="302"/>
                  </a:cubicBezTo>
                  <a:cubicBezTo>
                    <a:pt x="483" y="302"/>
                    <a:pt x="485" y="302"/>
                    <a:pt x="486" y="302"/>
                  </a:cubicBezTo>
                  <a:cubicBezTo>
                    <a:pt x="487" y="302"/>
                    <a:pt x="487" y="302"/>
                    <a:pt x="487" y="302"/>
                  </a:cubicBezTo>
                  <a:cubicBezTo>
                    <a:pt x="488" y="302"/>
                    <a:pt x="489" y="302"/>
                    <a:pt x="490" y="302"/>
                  </a:cubicBezTo>
                  <a:cubicBezTo>
                    <a:pt x="491" y="302"/>
                    <a:pt x="492" y="301"/>
                    <a:pt x="493" y="301"/>
                  </a:cubicBezTo>
                  <a:cubicBezTo>
                    <a:pt x="495" y="301"/>
                    <a:pt x="496" y="300"/>
                    <a:pt x="498" y="300"/>
                  </a:cubicBezTo>
                  <a:cubicBezTo>
                    <a:pt x="499" y="305"/>
                    <a:pt x="502" y="312"/>
                    <a:pt x="509" y="313"/>
                  </a:cubicBezTo>
                  <a:cubicBezTo>
                    <a:pt x="510" y="313"/>
                    <a:pt x="510" y="313"/>
                    <a:pt x="510" y="313"/>
                  </a:cubicBezTo>
                  <a:cubicBezTo>
                    <a:pt x="510" y="313"/>
                    <a:pt x="511" y="313"/>
                    <a:pt x="511" y="313"/>
                  </a:cubicBezTo>
                  <a:cubicBezTo>
                    <a:pt x="513" y="313"/>
                    <a:pt x="514" y="313"/>
                    <a:pt x="516" y="311"/>
                  </a:cubicBezTo>
                  <a:cubicBezTo>
                    <a:pt x="517" y="310"/>
                    <a:pt x="517" y="309"/>
                    <a:pt x="517" y="308"/>
                  </a:cubicBezTo>
                  <a:cubicBezTo>
                    <a:pt x="517" y="308"/>
                    <a:pt x="517" y="308"/>
                    <a:pt x="517" y="308"/>
                  </a:cubicBezTo>
                  <a:cubicBezTo>
                    <a:pt x="518" y="308"/>
                    <a:pt x="519" y="309"/>
                    <a:pt x="520" y="309"/>
                  </a:cubicBezTo>
                  <a:cubicBezTo>
                    <a:pt x="521" y="309"/>
                    <a:pt x="521" y="309"/>
                    <a:pt x="522" y="309"/>
                  </a:cubicBezTo>
                  <a:cubicBezTo>
                    <a:pt x="523" y="308"/>
                    <a:pt x="525" y="307"/>
                    <a:pt x="526" y="305"/>
                  </a:cubicBezTo>
                  <a:cubicBezTo>
                    <a:pt x="526" y="304"/>
                    <a:pt x="526" y="304"/>
                    <a:pt x="526" y="303"/>
                  </a:cubicBezTo>
                  <a:cubicBezTo>
                    <a:pt x="527" y="304"/>
                    <a:pt x="528" y="304"/>
                    <a:pt x="528" y="304"/>
                  </a:cubicBezTo>
                  <a:cubicBezTo>
                    <a:pt x="529" y="305"/>
                    <a:pt x="530" y="305"/>
                    <a:pt x="531" y="305"/>
                  </a:cubicBezTo>
                  <a:cubicBezTo>
                    <a:pt x="535" y="305"/>
                    <a:pt x="537" y="301"/>
                    <a:pt x="538" y="299"/>
                  </a:cubicBezTo>
                  <a:cubicBezTo>
                    <a:pt x="539" y="298"/>
                    <a:pt x="539" y="297"/>
                    <a:pt x="540" y="297"/>
                  </a:cubicBezTo>
                  <a:cubicBezTo>
                    <a:pt x="541" y="296"/>
                    <a:pt x="541" y="295"/>
                    <a:pt x="542" y="294"/>
                  </a:cubicBezTo>
                  <a:cubicBezTo>
                    <a:pt x="542" y="293"/>
                    <a:pt x="543" y="293"/>
                    <a:pt x="543" y="292"/>
                  </a:cubicBezTo>
                  <a:cubicBezTo>
                    <a:pt x="544" y="292"/>
                    <a:pt x="545" y="291"/>
                    <a:pt x="545" y="291"/>
                  </a:cubicBezTo>
                  <a:cubicBezTo>
                    <a:pt x="547" y="290"/>
                    <a:pt x="549" y="289"/>
                    <a:pt x="550" y="286"/>
                  </a:cubicBezTo>
                  <a:cubicBezTo>
                    <a:pt x="551" y="285"/>
                    <a:pt x="551" y="284"/>
                    <a:pt x="552" y="283"/>
                  </a:cubicBezTo>
                  <a:cubicBezTo>
                    <a:pt x="552" y="281"/>
                    <a:pt x="552" y="280"/>
                    <a:pt x="553" y="280"/>
                  </a:cubicBezTo>
                  <a:cubicBezTo>
                    <a:pt x="553" y="279"/>
                    <a:pt x="554" y="279"/>
                    <a:pt x="555" y="278"/>
                  </a:cubicBezTo>
                  <a:cubicBezTo>
                    <a:pt x="556" y="278"/>
                    <a:pt x="558" y="277"/>
                    <a:pt x="559" y="276"/>
                  </a:cubicBezTo>
                  <a:cubicBezTo>
                    <a:pt x="562" y="272"/>
                    <a:pt x="562" y="268"/>
                    <a:pt x="561" y="264"/>
                  </a:cubicBezTo>
                  <a:cubicBezTo>
                    <a:pt x="561" y="263"/>
                    <a:pt x="561" y="262"/>
                    <a:pt x="561" y="261"/>
                  </a:cubicBezTo>
                  <a:cubicBezTo>
                    <a:pt x="561" y="261"/>
                    <a:pt x="561" y="260"/>
                    <a:pt x="561" y="260"/>
                  </a:cubicBezTo>
                  <a:cubicBezTo>
                    <a:pt x="562" y="259"/>
                    <a:pt x="562" y="257"/>
                    <a:pt x="561" y="255"/>
                  </a:cubicBezTo>
                  <a:cubicBezTo>
                    <a:pt x="560" y="253"/>
                    <a:pt x="558" y="251"/>
                    <a:pt x="556" y="248"/>
                  </a:cubicBezTo>
                  <a:cubicBezTo>
                    <a:pt x="555" y="247"/>
                    <a:pt x="554" y="246"/>
                    <a:pt x="552" y="244"/>
                  </a:cubicBezTo>
                  <a:cubicBezTo>
                    <a:pt x="551" y="242"/>
                    <a:pt x="550" y="241"/>
                    <a:pt x="549" y="239"/>
                  </a:cubicBezTo>
                  <a:cubicBezTo>
                    <a:pt x="548" y="238"/>
                    <a:pt x="547" y="237"/>
                    <a:pt x="547" y="235"/>
                  </a:cubicBezTo>
                  <a:cubicBezTo>
                    <a:pt x="547" y="234"/>
                    <a:pt x="546" y="232"/>
                    <a:pt x="545" y="231"/>
                  </a:cubicBezTo>
                  <a:cubicBezTo>
                    <a:pt x="545" y="230"/>
                    <a:pt x="544" y="229"/>
                    <a:pt x="543" y="228"/>
                  </a:cubicBezTo>
                  <a:cubicBezTo>
                    <a:pt x="542" y="227"/>
                    <a:pt x="540" y="224"/>
                    <a:pt x="540" y="223"/>
                  </a:cubicBezTo>
                  <a:cubicBezTo>
                    <a:pt x="540" y="223"/>
                    <a:pt x="540" y="223"/>
                    <a:pt x="540" y="223"/>
                  </a:cubicBezTo>
                  <a:cubicBezTo>
                    <a:pt x="540" y="223"/>
                    <a:pt x="541" y="223"/>
                    <a:pt x="541" y="223"/>
                  </a:cubicBezTo>
                  <a:cubicBezTo>
                    <a:pt x="542" y="223"/>
                    <a:pt x="543" y="223"/>
                    <a:pt x="544" y="223"/>
                  </a:cubicBezTo>
                  <a:cubicBezTo>
                    <a:pt x="546" y="223"/>
                    <a:pt x="547" y="222"/>
                    <a:pt x="549" y="221"/>
                  </a:cubicBezTo>
                  <a:cubicBezTo>
                    <a:pt x="550" y="220"/>
                    <a:pt x="551" y="218"/>
                    <a:pt x="553" y="217"/>
                  </a:cubicBezTo>
                  <a:cubicBezTo>
                    <a:pt x="555" y="214"/>
                    <a:pt x="556" y="212"/>
                    <a:pt x="556" y="209"/>
                  </a:cubicBezTo>
                  <a:cubicBezTo>
                    <a:pt x="556" y="203"/>
                    <a:pt x="552" y="203"/>
                    <a:pt x="550" y="203"/>
                  </a:cubicBezTo>
                  <a:cubicBezTo>
                    <a:pt x="549" y="203"/>
                    <a:pt x="549" y="203"/>
                    <a:pt x="548" y="202"/>
                  </a:cubicBezTo>
                  <a:cubicBezTo>
                    <a:pt x="548" y="202"/>
                    <a:pt x="548" y="202"/>
                    <a:pt x="548" y="202"/>
                  </a:cubicBezTo>
                  <a:cubicBezTo>
                    <a:pt x="549" y="200"/>
                    <a:pt x="552" y="197"/>
                    <a:pt x="551" y="193"/>
                  </a:cubicBezTo>
                  <a:cubicBezTo>
                    <a:pt x="551" y="192"/>
                    <a:pt x="550" y="190"/>
                    <a:pt x="548" y="189"/>
                  </a:cubicBezTo>
                  <a:cubicBezTo>
                    <a:pt x="546" y="188"/>
                    <a:pt x="544" y="187"/>
                    <a:pt x="542" y="187"/>
                  </a:cubicBezTo>
                  <a:cubicBezTo>
                    <a:pt x="540" y="187"/>
                    <a:pt x="539" y="186"/>
                    <a:pt x="538" y="185"/>
                  </a:cubicBezTo>
                  <a:cubicBezTo>
                    <a:pt x="537" y="185"/>
                    <a:pt x="536" y="184"/>
                    <a:pt x="536" y="184"/>
                  </a:cubicBezTo>
                  <a:cubicBezTo>
                    <a:pt x="535" y="183"/>
                    <a:pt x="534" y="181"/>
                    <a:pt x="533" y="180"/>
                  </a:cubicBezTo>
                  <a:cubicBezTo>
                    <a:pt x="532" y="180"/>
                    <a:pt x="532" y="180"/>
                    <a:pt x="532" y="180"/>
                  </a:cubicBezTo>
                  <a:cubicBezTo>
                    <a:pt x="532" y="180"/>
                    <a:pt x="532" y="179"/>
                    <a:pt x="532" y="179"/>
                  </a:cubicBezTo>
                  <a:cubicBezTo>
                    <a:pt x="533" y="176"/>
                    <a:pt x="533" y="174"/>
                    <a:pt x="532" y="173"/>
                  </a:cubicBezTo>
                  <a:cubicBezTo>
                    <a:pt x="531" y="172"/>
                    <a:pt x="530" y="170"/>
                    <a:pt x="526" y="170"/>
                  </a:cubicBezTo>
                  <a:cubicBezTo>
                    <a:pt x="523" y="170"/>
                    <a:pt x="520" y="171"/>
                    <a:pt x="519" y="172"/>
                  </a:cubicBezTo>
                  <a:cubicBezTo>
                    <a:pt x="518" y="173"/>
                    <a:pt x="517" y="173"/>
                    <a:pt x="516" y="173"/>
                  </a:cubicBezTo>
                  <a:cubicBezTo>
                    <a:pt x="515" y="173"/>
                    <a:pt x="515" y="173"/>
                    <a:pt x="514" y="173"/>
                  </a:cubicBezTo>
                  <a:cubicBezTo>
                    <a:pt x="513" y="172"/>
                    <a:pt x="513" y="172"/>
                    <a:pt x="512" y="171"/>
                  </a:cubicBezTo>
                  <a:cubicBezTo>
                    <a:pt x="511" y="170"/>
                    <a:pt x="510" y="169"/>
                    <a:pt x="508" y="168"/>
                  </a:cubicBezTo>
                  <a:cubicBezTo>
                    <a:pt x="508" y="168"/>
                    <a:pt x="508" y="168"/>
                    <a:pt x="507" y="168"/>
                  </a:cubicBezTo>
                  <a:cubicBezTo>
                    <a:pt x="509" y="168"/>
                    <a:pt x="510" y="168"/>
                    <a:pt x="511" y="168"/>
                  </a:cubicBezTo>
                  <a:cubicBezTo>
                    <a:pt x="513" y="168"/>
                    <a:pt x="516" y="168"/>
                    <a:pt x="518" y="167"/>
                  </a:cubicBezTo>
                  <a:cubicBezTo>
                    <a:pt x="519" y="167"/>
                    <a:pt x="520" y="167"/>
                    <a:pt x="520" y="167"/>
                  </a:cubicBezTo>
                  <a:cubicBezTo>
                    <a:pt x="521" y="167"/>
                    <a:pt x="522" y="167"/>
                    <a:pt x="524" y="168"/>
                  </a:cubicBezTo>
                  <a:cubicBezTo>
                    <a:pt x="525" y="168"/>
                    <a:pt x="526" y="169"/>
                    <a:pt x="526" y="169"/>
                  </a:cubicBezTo>
                  <a:cubicBezTo>
                    <a:pt x="528" y="170"/>
                    <a:pt x="530" y="170"/>
                    <a:pt x="531" y="170"/>
                  </a:cubicBezTo>
                  <a:cubicBezTo>
                    <a:pt x="535" y="170"/>
                    <a:pt x="538" y="168"/>
                    <a:pt x="540" y="165"/>
                  </a:cubicBezTo>
                  <a:cubicBezTo>
                    <a:pt x="543" y="162"/>
                    <a:pt x="547" y="160"/>
                    <a:pt x="551" y="160"/>
                  </a:cubicBezTo>
                  <a:cubicBezTo>
                    <a:pt x="552" y="160"/>
                    <a:pt x="554" y="161"/>
                    <a:pt x="555" y="161"/>
                  </a:cubicBezTo>
                  <a:cubicBezTo>
                    <a:pt x="557" y="161"/>
                    <a:pt x="558" y="162"/>
                    <a:pt x="560" y="162"/>
                  </a:cubicBezTo>
                  <a:cubicBezTo>
                    <a:pt x="563" y="163"/>
                    <a:pt x="567" y="165"/>
                    <a:pt x="571" y="165"/>
                  </a:cubicBezTo>
                  <a:cubicBezTo>
                    <a:pt x="573" y="165"/>
                    <a:pt x="575" y="164"/>
                    <a:pt x="577" y="164"/>
                  </a:cubicBezTo>
                  <a:cubicBezTo>
                    <a:pt x="581" y="162"/>
                    <a:pt x="582" y="159"/>
                    <a:pt x="582" y="157"/>
                  </a:cubicBezTo>
                  <a:cubicBezTo>
                    <a:pt x="583" y="152"/>
                    <a:pt x="579" y="147"/>
                    <a:pt x="578" y="146"/>
                  </a:cubicBezTo>
                  <a:cubicBezTo>
                    <a:pt x="579" y="146"/>
                    <a:pt x="579" y="147"/>
                    <a:pt x="580" y="147"/>
                  </a:cubicBezTo>
                  <a:cubicBezTo>
                    <a:pt x="582" y="147"/>
                    <a:pt x="583" y="148"/>
                    <a:pt x="585" y="148"/>
                  </a:cubicBezTo>
                  <a:cubicBezTo>
                    <a:pt x="585" y="148"/>
                    <a:pt x="586" y="148"/>
                    <a:pt x="586" y="148"/>
                  </a:cubicBezTo>
                  <a:cubicBezTo>
                    <a:pt x="587" y="147"/>
                    <a:pt x="587" y="147"/>
                    <a:pt x="588" y="147"/>
                  </a:cubicBezTo>
                  <a:cubicBezTo>
                    <a:pt x="588" y="147"/>
                    <a:pt x="589" y="148"/>
                    <a:pt x="589" y="148"/>
                  </a:cubicBezTo>
                  <a:cubicBezTo>
                    <a:pt x="589" y="148"/>
                    <a:pt x="589" y="148"/>
                    <a:pt x="589" y="148"/>
                  </a:cubicBezTo>
                  <a:cubicBezTo>
                    <a:pt x="589" y="148"/>
                    <a:pt x="589" y="148"/>
                    <a:pt x="589" y="150"/>
                  </a:cubicBezTo>
                  <a:cubicBezTo>
                    <a:pt x="589" y="150"/>
                    <a:pt x="589" y="151"/>
                    <a:pt x="589" y="151"/>
                  </a:cubicBezTo>
                  <a:cubicBezTo>
                    <a:pt x="589" y="153"/>
                    <a:pt x="588" y="157"/>
                    <a:pt x="591" y="160"/>
                  </a:cubicBezTo>
                  <a:cubicBezTo>
                    <a:pt x="592" y="160"/>
                    <a:pt x="594" y="161"/>
                    <a:pt x="595" y="161"/>
                  </a:cubicBezTo>
                  <a:cubicBezTo>
                    <a:pt x="596" y="161"/>
                    <a:pt x="597" y="161"/>
                    <a:pt x="598" y="160"/>
                  </a:cubicBezTo>
                  <a:cubicBezTo>
                    <a:pt x="599" y="160"/>
                    <a:pt x="599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1" y="161"/>
                    <a:pt x="601" y="162"/>
                  </a:cubicBezTo>
                  <a:cubicBezTo>
                    <a:pt x="601" y="163"/>
                    <a:pt x="601" y="163"/>
                    <a:pt x="601" y="163"/>
                  </a:cubicBezTo>
                  <a:cubicBezTo>
                    <a:pt x="601" y="167"/>
                    <a:pt x="603" y="168"/>
                    <a:pt x="606" y="168"/>
                  </a:cubicBezTo>
                  <a:cubicBezTo>
                    <a:pt x="606" y="168"/>
                    <a:pt x="607" y="169"/>
                    <a:pt x="607" y="169"/>
                  </a:cubicBezTo>
                  <a:cubicBezTo>
                    <a:pt x="608" y="169"/>
                    <a:pt x="608" y="170"/>
                    <a:pt x="609" y="170"/>
                  </a:cubicBezTo>
                  <a:cubicBezTo>
                    <a:pt x="610" y="171"/>
                    <a:pt x="611" y="173"/>
                    <a:pt x="613" y="174"/>
                  </a:cubicBezTo>
                  <a:cubicBezTo>
                    <a:pt x="615" y="174"/>
                    <a:pt x="617" y="174"/>
                    <a:pt x="618" y="174"/>
                  </a:cubicBezTo>
                  <a:cubicBezTo>
                    <a:pt x="620" y="174"/>
                    <a:pt x="621" y="174"/>
                    <a:pt x="622" y="175"/>
                  </a:cubicBezTo>
                  <a:cubicBezTo>
                    <a:pt x="623" y="177"/>
                    <a:pt x="623" y="178"/>
                    <a:pt x="623" y="179"/>
                  </a:cubicBezTo>
                  <a:cubicBezTo>
                    <a:pt x="623" y="179"/>
                    <a:pt x="622" y="180"/>
                    <a:pt x="622" y="181"/>
                  </a:cubicBezTo>
                  <a:cubicBezTo>
                    <a:pt x="621" y="181"/>
                    <a:pt x="620" y="181"/>
                    <a:pt x="619" y="182"/>
                  </a:cubicBezTo>
                  <a:cubicBezTo>
                    <a:pt x="617" y="182"/>
                    <a:pt x="614" y="183"/>
                    <a:pt x="612" y="187"/>
                  </a:cubicBezTo>
                  <a:cubicBezTo>
                    <a:pt x="611" y="190"/>
                    <a:pt x="611" y="197"/>
                    <a:pt x="613" y="200"/>
                  </a:cubicBezTo>
                  <a:cubicBezTo>
                    <a:pt x="614" y="202"/>
                    <a:pt x="616" y="203"/>
                    <a:pt x="618" y="203"/>
                  </a:cubicBezTo>
                  <a:cubicBezTo>
                    <a:pt x="619" y="203"/>
                    <a:pt x="621" y="203"/>
                    <a:pt x="622" y="202"/>
                  </a:cubicBezTo>
                  <a:cubicBezTo>
                    <a:pt x="626" y="199"/>
                    <a:pt x="628" y="195"/>
                    <a:pt x="630" y="192"/>
                  </a:cubicBezTo>
                  <a:cubicBezTo>
                    <a:pt x="631" y="189"/>
                    <a:pt x="633" y="187"/>
                    <a:pt x="635" y="185"/>
                  </a:cubicBezTo>
                  <a:cubicBezTo>
                    <a:pt x="636" y="185"/>
                    <a:pt x="638" y="184"/>
                    <a:pt x="638" y="184"/>
                  </a:cubicBezTo>
                  <a:cubicBezTo>
                    <a:pt x="638" y="184"/>
                    <a:pt x="638" y="185"/>
                    <a:pt x="638" y="185"/>
                  </a:cubicBezTo>
                  <a:cubicBezTo>
                    <a:pt x="638" y="187"/>
                    <a:pt x="638" y="188"/>
                    <a:pt x="638" y="189"/>
                  </a:cubicBezTo>
                  <a:cubicBezTo>
                    <a:pt x="638" y="192"/>
                    <a:pt x="639" y="194"/>
                    <a:pt x="641" y="197"/>
                  </a:cubicBezTo>
                  <a:cubicBezTo>
                    <a:pt x="643" y="198"/>
                    <a:pt x="646" y="201"/>
                    <a:pt x="649" y="201"/>
                  </a:cubicBezTo>
                  <a:cubicBezTo>
                    <a:pt x="650" y="201"/>
                    <a:pt x="650" y="201"/>
                    <a:pt x="650" y="201"/>
                  </a:cubicBezTo>
                  <a:cubicBezTo>
                    <a:pt x="650" y="201"/>
                    <a:pt x="650" y="201"/>
                    <a:pt x="650" y="201"/>
                  </a:cubicBezTo>
                  <a:cubicBezTo>
                    <a:pt x="652" y="201"/>
                    <a:pt x="652" y="200"/>
                    <a:pt x="653" y="200"/>
                  </a:cubicBezTo>
                  <a:cubicBezTo>
                    <a:pt x="653" y="205"/>
                    <a:pt x="656" y="207"/>
                    <a:pt x="657" y="207"/>
                  </a:cubicBezTo>
                  <a:cubicBezTo>
                    <a:pt x="658" y="208"/>
                    <a:pt x="659" y="208"/>
                    <a:pt x="660" y="208"/>
                  </a:cubicBezTo>
                  <a:cubicBezTo>
                    <a:pt x="661" y="208"/>
                    <a:pt x="662" y="208"/>
                    <a:pt x="663" y="207"/>
                  </a:cubicBezTo>
                  <a:cubicBezTo>
                    <a:pt x="664" y="207"/>
                    <a:pt x="664" y="207"/>
                    <a:pt x="665" y="207"/>
                  </a:cubicBezTo>
                  <a:cubicBezTo>
                    <a:pt x="665" y="207"/>
                    <a:pt x="665" y="207"/>
                    <a:pt x="665" y="207"/>
                  </a:cubicBezTo>
                  <a:cubicBezTo>
                    <a:pt x="667" y="208"/>
                    <a:pt x="669" y="212"/>
                    <a:pt x="671" y="215"/>
                  </a:cubicBezTo>
                  <a:cubicBezTo>
                    <a:pt x="672" y="217"/>
                    <a:pt x="673" y="219"/>
                    <a:pt x="675" y="221"/>
                  </a:cubicBezTo>
                  <a:cubicBezTo>
                    <a:pt x="677" y="223"/>
                    <a:pt x="677" y="223"/>
                    <a:pt x="677" y="223"/>
                  </a:cubicBezTo>
                  <a:cubicBezTo>
                    <a:pt x="679" y="226"/>
                    <a:pt x="682" y="229"/>
                    <a:pt x="684" y="233"/>
                  </a:cubicBezTo>
                  <a:cubicBezTo>
                    <a:pt x="685" y="236"/>
                    <a:pt x="687" y="241"/>
                    <a:pt x="686" y="244"/>
                  </a:cubicBezTo>
                  <a:cubicBezTo>
                    <a:pt x="686" y="245"/>
                    <a:pt x="685" y="246"/>
                    <a:pt x="684" y="248"/>
                  </a:cubicBezTo>
                  <a:cubicBezTo>
                    <a:pt x="682" y="250"/>
                    <a:pt x="680" y="252"/>
                    <a:pt x="680" y="256"/>
                  </a:cubicBezTo>
                  <a:cubicBezTo>
                    <a:pt x="680" y="258"/>
                    <a:pt x="680" y="260"/>
                    <a:pt x="682" y="262"/>
                  </a:cubicBezTo>
                  <a:cubicBezTo>
                    <a:pt x="680" y="262"/>
                    <a:pt x="678" y="263"/>
                    <a:pt x="677" y="265"/>
                  </a:cubicBezTo>
                  <a:cubicBezTo>
                    <a:pt x="676" y="266"/>
                    <a:pt x="675" y="268"/>
                    <a:pt x="675" y="269"/>
                  </a:cubicBezTo>
                  <a:cubicBezTo>
                    <a:pt x="675" y="270"/>
                    <a:pt x="674" y="271"/>
                    <a:pt x="674" y="271"/>
                  </a:cubicBezTo>
                  <a:cubicBezTo>
                    <a:pt x="673" y="273"/>
                    <a:pt x="672" y="275"/>
                    <a:pt x="671" y="277"/>
                  </a:cubicBezTo>
                  <a:cubicBezTo>
                    <a:pt x="669" y="281"/>
                    <a:pt x="666" y="285"/>
                    <a:pt x="667" y="290"/>
                  </a:cubicBezTo>
                  <a:cubicBezTo>
                    <a:pt x="669" y="296"/>
                    <a:pt x="674" y="298"/>
                    <a:pt x="678" y="300"/>
                  </a:cubicBezTo>
                  <a:cubicBezTo>
                    <a:pt x="681" y="302"/>
                    <a:pt x="684" y="303"/>
                    <a:pt x="686" y="305"/>
                  </a:cubicBezTo>
                  <a:cubicBezTo>
                    <a:pt x="686" y="306"/>
                    <a:pt x="686" y="306"/>
                    <a:pt x="686" y="307"/>
                  </a:cubicBezTo>
                  <a:cubicBezTo>
                    <a:pt x="686" y="307"/>
                    <a:pt x="684" y="308"/>
                    <a:pt x="681" y="309"/>
                  </a:cubicBezTo>
                  <a:cubicBezTo>
                    <a:pt x="680" y="309"/>
                    <a:pt x="680" y="309"/>
                    <a:pt x="679" y="309"/>
                  </a:cubicBezTo>
                  <a:cubicBezTo>
                    <a:pt x="678" y="310"/>
                    <a:pt x="676" y="310"/>
                    <a:pt x="675" y="310"/>
                  </a:cubicBezTo>
                  <a:cubicBezTo>
                    <a:pt x="672" y="312"/>
                    <a:pt x="671" y="314"/>
                    <a:pt x="669" y="315"/>
                  </a:cubicBezTo>
                  <a:cubicBezTo>
                    <a:pt x="669" y="316"/>
                    <a:pt x="668" y="317"/>
                    <a:pt x="668" y="317"/>
                  </a:cubicBezTo>
                  <a:cubicBezTo>
                    <a:pt x="667" y="318"/>
                    <a:pt x="666" y="319"/>
                    <a:pt x="665" y="320"/>
                  </a:cubicBezTo>
                  <a:cubicBezTo>
                    <a:pt x="664" y="321"/>
                    <a:pt x="664" y="321"/>
                    <a:pt x="664" y="321"/>
                  </a:cubicBezTo>
                  <a:cubicBezTo>
                    <a:pt x="662" y="322"/>
                    <a:pt x="659" y="323"/>
                    <a:pt x="655" y="323"/>
                  </a:cubicBezTo>
                  <a:cubicBezTo>
                    <a:pt x="655" y="323"/>
                    <a:pt x="655" y="323"/>
                    <a:pt x="655" y="323"/>
                  </a:cubicBezTo>
                  <a:cubicBezTo>
                    <a:pt x="652" y="323"/>
                    <a:pt x="649" y="322"/>
                    <a:pt x="645" y="322"/>
                  </a:cubicBezTo>
                  <a:cubicBezTo>
                    <a:pt x="642" y="321"/>
                    <a:pt x="638" y="321"/>
                    <a:pt x="634" y="321"/>
                  </a:cubicBezTo>
                  <a:cubicBezTo>
                    <a:pt x="632" y="321"/>
                    <a:pt x="630" y="321"/>
                    <a:pt x="628" y="321"/>
                  </a:cubicBezTo>
                  <a:cubicBezTo>
                    <a:pt x="626" y="322"/>
                    <a:pt x="626" y="322"/>
                    <a:pt x="626" y="322"/>
                  </a:cubicBezTo>
                  <a:cubicBezTo>
                    <a:pt x="626" y="324"/>
                    <a:pt x="626" y="324"/>
                    <a:pt x="626" y="324"/>
                  </a:cubicBezTo>
                  <a:cubicBezTo>
                    <a:pt x="625" y="325"/>
                    <a:pt x="625" y="325"/>
                    <a:pt x="625" y="325"/>
                  </a:cubicBezTo>
                  <a:cubicBezTo>
                    <a:pt x="625" y="326"/>
                    <a:pt x="625" y="328"/>
                    <a:pt x="626" y="329"/>
                  </a:cubicBezTo>
                  <a:cubicBezTo>
                    <a:pt x="626" y="331"/>
                    <a:pt x="627" y="332"/>
                    <a:pt x="628" y="332"/>
                  </a:cubicBezTo>
                  <a:cubicBezTo>
                    <a:pt x="628" y="332"/>
                    <a:pt x="628" y="332"/>
                    <a:pt x="628" y="332"/>
                  </a:cubicBezTo>
                  <a:cubicBezTo>
                    <a:pt x="629" y="334"/>
                    <a:pt x="629" y="334"/>
                    <a:pt x="628" y="335"/>
                  </a:cubicBezTo>
                  <a:cubicBezTo>
                    <a:pt x="627" y="335"/>
                    <a:pt x="627" y="336"/>
                    <a:pt x="626" y="336"/>
                  </a:cubicBezTo>
                  <a:cubicBezTo>
                    <a:pt x="625" y="337"/>
                    <a:pt x="623" y="338"/>
                    <a:pt x="621" y="342"/>
                  </a:cubicBezTo>
                  <a:cubicBezTo>
                    <a:pt x="621" y="343"/>
                    <a:pt x="621" y="343"/>
                    <a:pt x="621" y="344"/>
                  </a:cubicBezTo>
                  <a:cubicBezTo>
                    <a:pt x="621" y="345"/>
                    <a:pt x="621" y="345"/>
                    <a:pt x="620" y="346"/>
                  </a:cubicBezTo>
                  <a:cubicBezTo>
                    <a:pt x="620" y="347"/>
                    <a:pt x="620" y="347"/>
                    <a:pt x="620" y="347"/>
                  </a:cubicBezTo>
                  <a:cubicBezTo>
                    <a:pt x="619" y="349"/>
                    <a:pt x="619" y="350"/>
                    <a:pt x="619" y="352"/>
                  </a:cubicBezTo>
                  <a:cubicBezTo>
                    <a:pt x="619" y="353"/>
                    <a:pt x="620" y="354"/>
                    <a:pt x="620" y="355"/>
                  </a:cubicBezTo>
                  <a:cubicBezTo>
                    <a:pt x="620" y="358"/>
                    <a:pt x="620" y="361"/>
                    <a:pt x="624" y="365"/>
                  </a:cubicBezTo>
                  <a:cubicBezTo>
                    <a:pt x="627" y="369"/>
                    <a:pt x="632" y="371"/>
                    <a:pt x="637" y="372"/>
                  </a:cubicBezTo>
                  <a:cubicBezTo>
                    <a:pt x="638" y="373"/>
                    <a:pt x="639" y="373"/>
                    <a:pt x="640" y="373"/>
                  </a:cubicBezTo>
                  <a:cubicBezTo>
                    <a:pt x="644" y="373"/>
                    <a:pt x="647" y="371"/>
                    <a:pt x="649" y="370"/>
                  </a:cubicBezTo>
                  <a:cubicBezTo>
                    <a:pt x="650" y="369"/>
                    <a:pt x="651" y="369"/>
                    <a:pt x="652" y="368"/>
                  </a:cubicBezTo>
                  <a:cubicBezTo>
                    <a:pt x="655" y="367"/>
                    <a:pt x="658" y="365"/>
                    <a:pt x="662" y="362"/>
                  </a:cubicBezTo>
                  <a:cubicBezTo>
                    <a:pt x="664" y="360"/>
                    <a:pt x="665" y="358"/>
                    <a:pt x="665" y="357"/>
                  </a:cubicBezTo>
                  <a:cubicBezTo>
                    <a:pt x="666" y="356"/>
                    <a:pt x="666" y="355"/>
                    <a:pt x="666" y="355"/>
                  </a:cubicBezTo>
                  <a:cubicBezTo>
                    <a:pt x="667" y="355"/>
                    <a:pt x="667" y="355"/>
                    <a:pt x="667" y="355"/>
                  </a:cubicBezTo>
                  <a:cubicBezTo>
                    <a:pt x="668" y="355"/>
                    <a:pt x="669" y="355"/>
                    <a:pt x="670" y="356"/>
                  </a:cubicBezTo>
                  <a:cubicBezTo>
                    <a:pt x="671" y="356"/>
                    <a:pt x="671" y="356"/>
                    <a:pt x="671" y="356"/>
                  </a:cubicBezTo>
                  <a:cubicBezTo>
                    <a:pt x="673" y="356"/>
                    <a:pt x="675" y="357"/>
                    <a:pt x="676" y="357"/>
                  </a:cubicBezTo>
                  <a:cubicBezTo>
                    <a:pt x="680" y="357"/>
                    <a:pt x="684" y="355"/>
                    <a:pt x="685" y="353"/>
                  </a:cubicBezTo>
                  <a:cubicBezTo>
                    <a:pt x="686" y="351"/>
                    <a:pt x="686" y="350"/>
                    <a:pt x="685" y="348"/>
                  </a:cubicBezTo>
                  <a:cubicBezTo>
                    <a:pt x="686" y="347"/>
                    <a:pt x="686" y="347"/>
                    <a:pt x="686" y="347"/>
                  </a:cubicBezTo>
                  <a:cubicBezTo>
                    <a:pt x="687" y="348"/>
                    <a:pt x="688" y="350"/>
                    <a:pt x="691" y="351"/>
                  </a:cubicBezTo>
                  <a:cubicBezTo>
                    <a:pt x="691" y="351"/>
                    <a:pt x="691" y="351"/>
                    <a:pt x="691" y="351"/>
                  </a:cubicBezTo>
                  <a:cubicBezTo>
                    <a:pt x="692" y="351"/>
                    <a:pt x="692" y="351"/>
                    <a:pt x="692" y="351"/>
                  </a:cubicBezTo>
                  <a:cubicBezTo>
                    <a:pt x="695" y="351"/>
                    <a:pt x="696" y="348"/>
                    <a:pt x="697" y="347"/>
                  </a:cubicBezTo>
                  <a:cubicBezTo>
                    <a:pt x="697" y="346"/>
                    <a:pt x="697" y="346"/>
                    <a:pt x="697" y="346"/>
                  </a:cubicBezTo>
                  <a:cubicBezTo>
                    <a:pt x="698" y="346"/>
                    <a:pt x="698" y="347"/>
                    <a:pt x="698" y="348"/>
                  </a:cubicBezTo>
                  <a:cubicBezTo>
                    <a:pt x="699" y="348"/>
                    <a:pt x="699" y="348"/>
                    <a:pt x="699" y="348"/>
                  </a:cubicBezTo>
                  <a:cubicBezTo>
                    <a:pt x="700" y="350"/>
                    <a:pt x="702" y="352"/>
                    <a:pt x="703" y="353"/>
                  </a:cubicBezTo>
                  <a:cubicBezTo>
                    <a:pt x="704" y="354"/>
                    <a:pt x="704" y="354"/>
                    <a:pt x="705" y="355"/>
                  </a:cubicBezTo>
                  <a:cubicBezTo>
                    <a:pt x="707" y="357"/>
                    <a:pt x="709" y="358"/>
                    <a:pt x="711" y="359"/>
                  </a:cubicBezTo>
                  <a:cubicBezTo>
                    <a:pt x="713" y="360"/>
                    <a:pt x="713" y="360"/>
                    <a:pt x="713" y="360"/>
                  </a:cubicBezTo>
                  <a:cubicBezTo>
                    <a:pt x="715" y="361"/>
                    <a:pt x="716" y="362"/>
                    <a:pt x="717" y="364"/>
                  </a:cubicBezTo>
                  <a:cubicBezTo>
                    <a:pt x="717" y="364"/>
                    <a:pt x="717" y="364"/>
                    <a:pt x="717" y="364"/>
                  </a:cubicBezTo>
                  <a:cubicBezTo>
                    <a:pt x="719" y="367"/>
                    <a:pt x="721" y="368"/>
                    <a:pt x="724" y="368"/>
                  </a:cubicBezTo>
                  <a:cubicBezTo>
                    <a:pt x="724" y="368"/>
                    <a:pt x="725" y="368"/>
                    <a:pt x="726" y="368"/>
                  </a:cubicBezTo>
                  <a:cubicBezTo>
                    <a:pt x="727" y="368"/>
                    <a:pt x="727" y="368"/>
                    <a:pt x="728" y="369"/>
                  </a:cubicBezTo>
                  <a:cubicBezTo>
                    <a:pt x="729" y="369"/>
                    <a:pt x="731" y="370"/>
                    <a:pt x="733" y="370"/>
                  </a:cubicBezTo>
                  <a:cubicBezTo>
                    <a:pt x="733" y="370"/>
                    <a:pt x="733" y="370"/>
                    <a:pt x="733" y="370"/>
                  </a:cubicBezTo>
                  <a:cubicBezTo>
                    <a:pt x="734" y="370"/>
                    <a:pt x="735" y="370"/>
                    <a:pt x="737" y="370"/>
                  </a:cubicBezTo>
                  <a:cubicBezTo>
                    <a:pt x="739" y="370"/>
                    <a:pt x="740" y="370"/>
                    <a:pt x="742" y="370"/>
                  </a:cubicBezTo>
                  <a:cubicBezTo>
                    <a:pt x="741" y="371"/>
                    <a:pt x="741" y="371"/>
                    <a:pt x="740" y="372"/>
                  </a:cubicBezTo>
                  <a:cubicBezTo>
                    <a:pt x="738" y="374"/>
                    <a:pt x="736" y="377"/>
                    <a:pt x="736" y="380"/>
                  </a:cubicBezTo>
                  <a:cubicBezTo>
                    <a:pt x="736" y="381"/>
                    <a:pt x="737" y="383"/>
                    <a:pt x="739" y="384"/>
                  </a:cubicBezTo>
                  <a:cubicBezTo>
                    <a:pt x="741" y="386"/>
                    <a:pt x="742" y="388"/>
                    <a:pt x="744" y="390"/>
                  </a:cubicBezTo>
                  <a:cubicBezTo>
                    <a:pt x="746" y="392"/>
                    <a:pt x="748" y="392"/>
                    <a:pt x="751" y="392"/>
                  </a:cubicBezTo>
                  <a:cubicBezTo>
                    <a:pt x="752" y="392"/>
                    <a:pt x="753" y="392"/>
                    <a:pt x="754" y="392"/>
                  </a:cubicBezTo>
                  <a:cubicBezTo>
                    <a:pt x="755" y="392"/>
                    <a:pt x="756" y="392"/>
                    <a:pt x="757" y="392"/>
                  </a:cubicBezTo>
                  <a:cubicBezTo>
                    <a:pt x="757" y="392"/>
                    <a:pt x="758" y="392"/>
                    <a:pt x="758" y="392"/>
                  </a:cubicBezTo>
                  <a:cubicBezTo>
                    <a:pt x="759" y="393"/>
                    <a:pt x="759" y="394"/>
                    <a:pt x="758" y="395"/>
                  </a:cubicBezTo>
                  <a:cubicBezTo>
                    <a:pt x="758" y="396"/>
                    <a:pt x="758" y="397"/>
                    <a:pt x="759" y="398"/>
                  </a:cubicBezTo>
                  <a:cubicBezTo>
                    <a:pt x="759" y="402"/>
                    <a:pt x="763" y="407"/>
                    <a:pt x="769" y="407"/>
                  </a:cubicBezTo>
                  <a:cubicBezTo>
                    <a:pt x="770" y="407"/>
                    <a:pt x="770" y="407"/>
                    <a:pt x="771" y="407"/>
                  </a:cubicBezTo>
                  <a:cubicBezTo>
                    <a:pt x="776" y="405"/>
                    <a:pt x="776" y="401"/>
                    <a:pt x="776" y="399"/>
                  </a:cubicBezTo>
                  <a:cubicBezTo>
                    <a:pt x="775" y="397"/>
                    <a:pt x="776" y="396"/>
                    <a:pt x="776" y="396"/>
                  </a:cubicBezTo>
                  <a:cubicBezTo>
                    <a:pt x="777" y="396"/>
                    <a:pt x="779" y="395"/>
                    <a:pt x="781" y="395"/>
                  </a:cubicBezTo>
                  <a:cubicBezTo>
                    <a:pt x="783" y="395"/>
                    <a:pt x="784" y="395"/>
                    <a:pt x="785" y="395"/>
                  </a:cubicBezTo>
                  <a:cubicBezTo>
                    <a:pt x="786" y="396"/>
                    <a:pt x="788" y="398"/>
                    <a:pt x="789" y="399"/>
                  </a:cubicBezTo>
                  <a:cubicBezTo>
                    <a:pt x="792" y="401"/>
                    <a:pt x="795" y="403"/>
                    <a:pt x="798" y="404"/>
                  </a:cubicBezTo>
                  <a:cubicBezTo>
                    <a:pt x="801" y="405"/>
                    <a:pt x="803" y="405"/>
                    <a:pt x="806" y="405"/>
                  </a:cubicBezTo>
                  <a:cubicBezTo>
                    <a:pt x="808" y="405"/>
                    <a:pt x="809" y="405"/>
                    <a:pt x="811" y="405"/>
                  </a:cubicBezTo>
                  <a:cubicBezTo>
                    <a:pt x="812" y="405"/>
                    <a:pt x="813" y="405"/>
                    <a:pt x="814" y="405"/>
                  </a:cubicBezTo>
                  <a:cubicBezTo>
                    <a:pt x="814" y="405"/>
                    <a:pt x="814" y="405"/>
                    <a:pt x="815" y="405"/>
                  </a:cubicBezTo>
                  <a:cubicBezTo>
                    <a:pt x="817" y="405"/>
                    <a:pt x="819" y="405"/>
                    <a:pt x="822" y="405"/>
                  </a:cubicBezTo>
                  <a:cubicBezTo>
                    <a:pt x="823" y="405"/>
                    <a:pt x="823" y="405"/>
                    <a:pt x="823" y="405"/>
                  </a:cubicBezTo>
                  <a:cubicBezTo>
                    <a:pt x="823" y="405"/>
                    <a:pt x="824" y="405"/>
                    <a:pt x="824" y="405"/>
                  </a:cubicBezTo>
                  <a:cubicBezTo>
                    <a:pt x="826" y="405"/>
                    <a:pt x="827" y="405"/>
                    <a:pt x="828" y="405"/>
                  </a:cubicBezTo>
                  <a:cubicBezTo>
                    <a:pt x="829" y="405"/>
                    <a:pt x="830" y="404"/>
                    <a:pt x="831" y="404"/>
                  </a:cubicBezTo>
                  <a:cubicBezTo>
                    <a:pt x="832" y="404"/>
                    <a:pt x="835" y="405"/>
                    <a:pt x="836" y="405"/>
                  </a:cubicBezTo>
                  <a:cubicBezTo>
                    <a:pt x="839" y="406"/>
                    <a:pt x="842" y="407"/>
                    <a:pt x="845" y="407"/>
                  </a:cubicBezTo>
                  <a:cubicBezTo>
                    <a:pt x="848" y="407"/>
                    <a:pt x="850" y="406"/>
                    <a:pt x="851" y="404"/>
                  </a:cubicBezTo>
                  <a:cubicBezTo>
                    <a:pt x="853" y="403"/>
                    <a:pt x="853" y="400"/>
                    <a:pt x="853" y="398"/>
                  </a:cubicBezTo>
                  <a:cubicBezTo>
                    <a:pt x="853" y="389"/>
                    <a:pt x="844" y="382"/>
                    <a:pt x="837" y="378"/>
                  </a:cubicBezTo>
                  <a:cubicBezTo>
                    <a:pt x="834" y="377"/>
                    <a:pt x="832" y="376"/>
                    <a:pt x="829" y="375"/>
                  </a:cubicBezTo>
                  <a:cubicBezTo>
                    <a:pt x="824" y="373"/>
                    <a:pt x="820" y="371"/>
                    <a:pt x="816" y="368"/>
                  </a:cubicBezTo>
                  <a:cubicBezTo>
                    <a:pt x="814" y="367"/>
                    <a:pt x="812" y="367"/>
                    <a:pt x="810" y="366"/>
                  </a:cubicBezTo>
                  <a:cubicBezTo>
                    <a:pt x="809" y="366"/>
                    <a:pt x="808" y="366"/>
                    <a:pt x="807" y="365"/>
                  </a:cubicBezTo>
                  <a:cubicBezTo>
                    <a:pt x="803" y="364"/>
                    <a:pt x="798" y="361"/>
                    <a:pt x="794" y="359"/>
                  </a:cubicBezTo>
                  <a:cubicBezTo>
                    <a:pt x="793" y="358"/>
                    <a:pt x="791" y="357"/>
                    <a:pt x="790" y="357"/>
                  </a:cubicBezTo>
                  <a:cubicBezTo>
                    <a:pt x="788" y="355"/>
                    <a:pt x="786" y="354"/>
                    <a:pt x="785" y="353"/>
                  </a:cubicBezTo>
                  <a:cubicBezTo>
                    <a:pt x="785" y="352"/>
                    <a:pt x="785" y="352"/>
                    <a:pt x="785" y="352"/>
                  </a:cubicBezTo>
                  <a:cubicBezTo>
                    <a:pt x="786" y="352"/>
                    <a:pt x="788" y="353"/>
                    <a:pt x="789" y="353"/>
                  </a:cubicBezTo>
                  <a:cubicBezTo>
                    <a:pt x="791" y="354"/>
                    <a:pt x="792" y="354"/>
                    <a:pt x="793" y="354"/>
                  </a:cubicBezTo>
                  <a:cubicBezTo>
                    <a:pt x="794" y="354"/>
                    <a:pt x="795" y="354"/>
                    <a:pt x="796" y="354"/>
                  </a:cubicBezTo>
                  <a:cubicBezTo>
                    <a:pt x="797" y="354"/>
                    <a:pt x="797" y="354"/>
                    <a:pt x="798" y="354"/>
                  </a:cubicBezTo>
                  <a:cubicBezTo>
                    <a:pt x="799" y="354"/>
                    <a:pt x="799" y="354"/>
                    <a:pt x="800" y="354"/>
                  </a:cubicBezTo>
                  <a:cubicBezTo>
                    <a:pt x="801" y="354"/>
                    <a:pt x="802" y="354"/>
                    <a:pt x="802" y="355"/>
                  </a:cubicBezTo>
                  <a:cubicBezTo>
                    <a:pt x="806" y="355"/>
                    <a:pt x="809" y="357"/>
                    <a:pt x="812" y="358"/>
                  </a:cubicBezTo>
                  <a:cubicBezTo>
                    <a:pt x="815" y="359"/>
                    <a:pt x="817" y="360"/>
                    <a:pt x="819" y="361"/>
                  </a:cubicBezTo>
                  <a:cubicBezTo>
                    <a:pt x="820" y="361"/>
                    <a:pt x="821" y="362"/>
                    <a:pt x="822" y="362"/>
                  </a:cubicBezTo>
                  <a:cubicBezTo>
                    <a:pt x="823" y="362"/>
                    <a:pt x="824" y="361"/>
                    <a:pt x="825" y="361"/>
                  </a:cubicBezTo>
                  <a:cubicBezTo>
                    <a:pt x="826" y="361"/>
                    <a:pt x="827" y="361"/>
                    <a:pt x="827" y="361"/>
                  </a:cubicBezTo>
                  <a:cubicBezTo>
                    <a:pt x="827" y="361"/>
                    <a:pt x="828" y="361"/>
                    <a:pt x="828" y="361"/>
                  </a:cubicBezTo>
                  <a:cubicBezTo>
                    <a:pt x="828" y="361"/>
                    <a:pt x="829" y="362"/>
                    <a:pt x="830" y="362"/>
                  </a:cubicBezTo>
                  <a:cubicBezTo>
                    <a:pt x="831" y="363"/>
                    <a:pt x="832" y="365"/>
                    <a:pt x="834" y="365"/>
                  </a:cubicBezTo>
                  <a:cubicBezTo>
                    <a:pt x="835" y="366"/>
                    <a:pt x="836" y="366"/>
                    <a:pt x="838" y="366"/>
                  </a:cubicBezTo>
                  <a:cubicBezTo>
                    <a:pt x="838" y="366"/>
                    <a:pt x="839" y="366"/>
                    <a:pt x="840" y="366"/>
                  </a:cubicBezTo>
                  <a:cubicBezTo>
                    <a:pt x="841" y="366"/>
                    <a:pt x="842" y="366"/>
                    <a:pt x="842" y="366"/>
                  </a:cubicBezTo>
                  <a:cubicBezTo>
                    <a:pt x="843" y="366"/>
                    <a:pt x="843" y="366"/>
                    <a:pt x="843" y="366"/>
                  </a:cubicBezTo>
                  <a:cubicBezTo>
                    <a:pt x="844" y="366"/>
                    <a:pt x="845" y="366"/>
                    <a:pt x="846" y="367"/>
                  </a:cubicBezTo>
                  <a:cubicBezTo>
                    <a:pt x="847" y="367"/>
                    <a:pt x="847" y="367"/>
                    <a:pt x="847" y="367"/>
                  </a:cubicBezTo>
                  <a:cubicBezTo>
                    <a:pt x="848" y="368"/>
                    <a:pt x="848" y="368"/>
                    <a:pt x="849" y="368"/>
                  </a:cubicBezTo>
                  <a:cubicBezTo>
                    <a:pt x="850" y="369"/>
                    <a:pt x="851" y="369"/>
                    <a:pt x="852" y="370"/>
                  </a:cubicBezTo>
                  <a:cubicBezTo>
                    <a:pt x="854" y="371"/>
                    <a:pt x="855" y="371"/>
                    <a:pt x="857" y="371"/>
                  </a:cubicBezTo>
                  <a:cubicBezTo>
                    <a:pt x="859" y="371"/>
                    <a:pt x="861" y="370"/>
                    <a:pt x="862" y="367"/>
                  </a:cubicBezTo>
                  <a:cubicBezTo>
                    <a:pt x="863" y="365"/>
                    <a:pt x="862" y="362"/>
                    <a:pt x="861" y="360"/>
                  </a:cubicBezTo>
                  <a:cubicBezTo>
                    <a:pt x="861" y="360"/>
                    <a:pt x="861" y="360"/>
                    <a:pt x="862" y="359"/>
                  </a:cubicBezTo>
                  <a:close/>
                  <a:moveTo>
                    <a:pt x="493" y="120"/>
                  </a:moveTo>
                  <a:cubicBezTo>
                    <a:pt x="493" y="120"/>
                    <a:pt x="493" y="121"/>
                    <a:pt x="493" y="121"/>
                  </a:cubicBezTo>
                  <a:cubicBezTo>
                    <a:pt x="492" y="120"/>
                    <a:pt x="490" y="120"/>
                    <a:pt x="489" y="120"/>
                  </a:cubicBezTo>
                  <a:cubicBezTo>
                    <a:pt x="489" y="120"/>
                    <a:pt x="489" y="120"/>
                    <a:pt x="489" y="120"/>
                  </a:cubicBezTo>
                  <a:cubicBezTo>
                    <a:pt x="490" y="120"/>
                    <a:pt x="490" y="120"/>
                    <a:pt x="490" y="120"/>
                  </a:cubicBezTo>
                  <a:cubicBezTo>
                    <a:pt x="492" y="118"/>
                    <a:pt x="493" y="116"/>
                    <a:pt x="494" y="115"/>
                  </a:cubicBezTo>
                  <a:cubicBezTo>
                    <a:pt x="494" y="116"/>
                    <a:pt x="493" y="120"/>
                    <a:pt x="493" y="120"/>
                  </a:cubicBezTo>
                  <a:close/>
                  <a:moveTo>
                    <a:pt x="457" y="346"/>
                  </a:moveTo>
                  <a:cubicBezTo>
                    <a:pt x="452" y="346"/>
                    <a:pt x="448" y="345"/>
                    <a:pt x="445" y="342"/>
                  </a:cubicBezTo>
                  <a:cubicBezTo>
                    <a:pt x="444" y="341"/>
                    <a:pt x="444" y="341"/>
                    <a:pt x="444" y="341"/>
                  </a:cubicBezTo>
                  <a:cubicBezTo>
                    <a:pt x="443" y="340"/>
                    <a:pt x="442" y="339"/>
                    <a:pt x="441" y="338"/>
                  </a:cubicBezTo>
                  <a:cubicBezTo>
                    <a:pt x="440" y="336"/>
                    <a:pt x="439" y="335"/>
                    <a:pt x="438" y="333"/>
                  </a:cubicBezTo>
                  <a:cubicBezTo>
                    <a:pt x="437" y="331"/>
                    <a:pt x="435" y="330"/>
                    <a:pt x="433" y="329"/>
                  </a:cubicBezTo>
                  <a:cubicBezTo>
                    <a:pt x="431" y="328"/>
                    <a:pt x="430" y="327"/>
                    <a:pt x="428" y="326"/>
                  </a:cubicBezTo>
                  <a:cubicBezTo>
                    <a:pt x="430" y="326"/>
                    <a:pt x="433" y="326"/>
                    <a:pt x="435" y="327"/>
                  </a:cubicBezTo>
                  <a:cubicBezTo>
                    <a:pt x="437" y="328"/>
                    <a:pt x="439" y="329"/>
                    <a:pt x="440" y="330"/>
                  </a:cubicBezTo>
                  <a:cubicBezTo>
                    <a:pt x="443" y="332"/>
                    <a:pt x="445" y="334"/>
                    <a:pt x="447" y="336"/>
                  </a:cubicBezTo>
                  <a:cubicBezTo>
                    <a:pt x="448" y="338"/>
                    <a:pt x="450" y="340"/>
                    <a:pt x="453" y="342"/>
                  </a:cubicBezTo>
                  <a:cubicBezTo>
                    <a:pt x="453" y="342"/>
                    <a:pt x="454" y="342"/>
                    <a:pt x="454" y="343"/>
                  </a:cubicBezTo>
                  <a:cubicBezTo>
                    <a:pt x="455" y="344"/>
                    <a:pt x="456" y="345"/>
                    <a:pt x="457" y="345"/>
                  </a:cubicBezTo>
                  <a:cubicBezTo>
                    <a:pt x="458" y="346"/>
                    <a:pt x="458" y="346"/>
                    <a:pt x="458" y="346"/>
                  </a:cubicBezTo>
                  <a:cubicBezTo>
                    <a:pt x="458" y="346"/>
                    <a:pt x="458" y="346"/>
                    <a:pt x="458" y="346"/>
                  </a:cubicBezTo>
                  <a:cubicBezTo>
                    <a:pt x="458" y="346"/>
                    <a:pt x="458" y="346"/>
                    <a:pt x="457" y="346"/>
                  </a:cubicBezTo>
                  <a:close/>
                  <a:moveTo>
                    <a:pt x="567" y="79"/>
                  </a:moveTo>
                  <a:cubicBezTo>
                    <a:pt x="566" y="78"/>
                    <a:pt x="566" y="78"/>
                    <a:pt x="566" y="78"/>
                  </a:cubicBezTo>
                  <a:cubicBezTo>
                    <a:pt x="565" y="77"/>
                    <a:pt x="564" y="76"/>
                    <a:pt x="563" y="75"/>
                  </a:cubicBezTo>
                  <a:cubicBezTo>
                    <a:pt x="563" y="75"/>
                    <a:pt x="563" y="75"/>
                    <a:pt x="563" y="74"/>
                  </a:cubicBezTo>
                  <a:cubicBezTo>
                    <a:pt x="563" y="74"/>
                    <a:pt x="564" y="74"/>
                    <a:pt x="564" y="74"/>
                  </a:cubicBezTo>
                  <a:cubicBezTo>
                    <a:pt x="567" y="75"/>
                    <a:pt x="572" y="79"/>
                    <a:pt x="573" y="81"/>
                  </a:cubicBezTo>
                  <a:cubicBezTo>
                    <a:pt x="573" y="82"/>
                    <a:pt x="573" y="82"/>
                    <a:pt x="573" y="82"/>
                  </a:cubicBezTo>
                  <a:cubicBezTo>
                    <a:pt x="573" y="82"/>
                    <a:pt x="573" y="82"/>
                    <a:pt x="572" y="82"/>
                  </a:cubicBezTo>
                  <a:cubicBezTo>
                    <a:pt x="571" y="82"/>
                    <a:pt x="569" y="81"/>
                    <a:pt x="567" y="79"/>
                  </a:cubicBezTo>
                  <a:close/>
                  <a:moveTo>
                    <a:pt x="573" y="140"/>
                  </a:moveTo>
                  <a:cubicBezTo>
                    <a:pt x="573" y="140"/>
                    <a:pt x="574" y="140"/>
                    <a:pt x="574" y="140"/>
                  </a:cubicBezTo>
                  <a:cubicBezTo>
                    <a:pt x="574" y="140"/>
                    <a:pt x="574" y="140"/>
                    <a:pt x="574" y="140"/>
                  </a:cubicBezTo>
                  <a:cubicBezTo>
                    <a:pt x="575" y="140"/>
                    <a:pt x="575" y="141"/>
                    <a:pt x="575" y="142"/>
                  </a:cubicBezTo>
                  <a:cubicBezTo>
                    <a:pt x="575" y="142"/>
                    <a:pt x="576" y="143"/>
                    <a:pt x="576" y="144"/>
                  </a:cubicBezTo>
                  <a:cubicBezTo>
                    <a:pt x="575" y="143"/>
                    <a:pt x="574" y="142"/>
                    <a:pt x="573" y="140"/>
                  </a:cubicBezTo>
                  <a:close/>
                  <a:moveTo>
                    <a:pt x="739" y="259"/>
                  </a:moveTo>
                  <a:cubicBezTo>
                    <a:pt x="739" y="260"/>
                    <a:pt x="738" y="261"/>
                    <a:pt x="736" y="261"/>
                  </a:cubicBezTo>
                  <a:cubicBezTo>
                    <a:pt x="736" y="261"/>
                    <a:pt x="735" y="261"/>
                    <a:pt x="735" y="261"/>
                  </a:cubicBezTo>
                  <a:cubicBezTo>
                    <a:pt x="734" y="261"/>
                    <a:pt x="732" y="261"/>
                    <a:pt x="732" y="261"/>
                  </a:cubicBezTo>
                  <a:cubicBezTo>
                    <a:pt x="731" y="261"/>
                    <a:pt x="731" y="261"/>
                    <a:pt x="730" y="261"/>
                  </a:cubicBezTo>
                  <a:cubicBezTo>
                    <a:pt x="726" y="263"/>
                    <a:pt x="723" y="268"/>
                    <a:pt x="720" y="273"/>
                  </a:cubicBezTo>
                  <a:cubicBezTo>
                    <a:pt x="719" y="273"/>
                    <a:pt x="719" y="273"/>
                    <a:pt x="719" y="273"/>
                  </a:cubicBezTo>
                  <a:cubicBezTo>
                    <a:pt x="720" y="271"/>
                    <a:pt x="720" y="270"/>
                    <a:pt x="719" y="267"/>
                  </a:cubicBezTo>
                  <a:cubicBezTo>
                    <a:pt x="717" y="262"/>
                    <a:pt x="714" y="259"/>
                    <a:pt x="710" y="258"/>
                  </a:cubicBezTo>
                  <a:cubicBezTo>
                    <a:pt x="712" y="254"/>
                    <a:pt x="713" y="250"/>
                    <a:pt x="713" y="246"/>
                  </a:cubicBezTo>
                  <a:cubicBezTo>
                    <a:pt x="716" y="247"/>
                    <a:pt x="719" y="249"/>
                    <a:pt x="723" y="250"/>
                  </a:cubicBezTo>
                  <a:cubicBezTo>
                    <a:pt x="725" y="250"/>
                    <a:pt x="727" y="251"/>
                    <a:pt x="729" y="251"/>
                  </a:cubicBezTo>
                  <a:cubicBezTo>
                    <a:pt x="731" y="251"/>
                    <a:pt x="734" y="251"/>
                    <a:pt x="736" y="252"/>
                  </a:cubicBezTo>
                  <a:cubicBezTo>
                    <a:pt x="738" y="253"/>
                    <a:pt x="739" y="255"/>
                    <a:pt x="740" y="257"/>
                  </a:cubicBezTo>
                  <a:cubicBezTo>
                    <a:pt x="740" y="258"/>
                    <a:pt x="740" y="259"/>
                    <a:pt x="739" y="259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62" name="Freeform 161"/>
            <p:cNvSpPr>
              <a:spLocks/>
            </p:cNvSpPr>
            <p:nvPr/>
          </p:nvSpPr>
          <p:spPr bwMode="auto">
            <a:xfrm>
              <a:off x="17687327" y="3713860"/>
              <a:ext cx="92329" cy="69063"/>
            </a:xfrm>
            <a:custGeom>
              <a:avLst/>
              <a:gdLst>
                <a:gd name="T0" fmla="*/ 16 w 17"/>
                <a:gd name="T1" fmla="*/ 2 h 14"/>
                <a:gd name="T2" fmla="*/ 12 w 17"/>
                <a:gd name="T3" fmla="*/ 0 h 14"/>
                <a:gd name="T4" fmla="*/ 10 w 17"/>
                <a:gd name="T5" fmla="*/ 0 h 14"/>
                <a:gd name="T6" fmla="*/ 7 w 17"/>
                <a:gd name="T7" fmla="*/ 2 h 14"/>
                <a:gd name="T8" fmla="*/ 6 w 17"/>
                <a:gd name="T9" fmla="*/ 3 h 14"/>
                <a:gd name="T10" fmla="*/ 1 w 17"/>
                <a:gd name="T11" fmla="*/ 7 h 14"/>
                <a:gd name="T12" fmla="*/ 1 w 17"/>
                <a:gd name="T13" fmla="*/ 11 h 14"/>
                <a:gd name="T14" fmla="*/ 5 w 17"/>
                <a:gd name="T15" fmla="*/ 14 h 14"/>
                <a:gd name="T16" fmla="*/ 10 w 17"/>
                <a:gd name="T17" fmla="*/ 11 h 14"/>
                <a:gd name="T18" fmla="*/ 10 w 17"/>
                <a:gd name="T19" fmla="*/ 11 h 14"/>
                <a:gd name="T20" fmla="*/ 12 w 17"/>
                <a:gd name="T21" fmla="*/ 11 h 14"/>
                <a:gd name="T22" fmla="*/ 16 w 17"/>
                <a:gd name="T23" fmla="*/ 7 h 14"/>
                <a:gd name="T24" fmla="*/ 16 w 17"/>
                <a:gd name="T2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14">
                  <a:moveTo>
                    <a:pt x="16" y="2"/>
                  </a:moveTo>
                  <a:cubicBezTo>
                    <a:pt x="15" y="0"/>
                    <a:pt x="14" y="0"/>
                    <a:pt x="12" y="0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9" y="0"/>
                    <a:pt x="8" y="1"/>
                    <a:pt x="7" y="2"/>
                  </a:cubicBezTo>
                  <a:cubicBezTo>
                    <a:pt x="7" y="2"/>
                    <a:pt x="6" y="3"/>
                    <a:pt x="6" y="3"/>
                  </a:cubicBezTo>
                  <a:cubicBezTo>
                    <a:pt x="4" y="3"/>
                    <a:pt x="2" y="4"/>
                    <a:pt x="1" y="7"/>
                  </a:cubicBezTo>
                  <a:cubicBezTo>
                    <a:pt x="0" y="7"/>
                    <a:pt x="0" y="9"/>
                    <a:pt x="1" y="11"/>
                  </a:cubicBezTo>
                  <a:cubicBezTo>
                    <a:pt x="2" y="14"/>
                    <a:pt x="4" y="14"/>
                    <a:pt x="5" y="14"/>
                  </a:cubicBezTo>
                  <a:cubicBezTo>
                    <a:pt x="7" y="14"/>
                    <a:pt x="9" y="12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1"/>
                    <a:pt x="12" y="11"/>
                  </a:cubicBezTo>
                  <a:cubicBezTo>
                    <a:pt x="13" y="10"/>
                    <a:pt x="15" y="9"/>
                    <a:pt x="16" y="7"/>
                  </a:cubicBezTo>
                  <a:cubicBezTo>
                    <a:pt x="17" y="6"/>
                    <a:pt x="17" y="3"/>
                    <a:pt x="16" y="2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63" name="Freeform 162"/>
            <p:cNvSpPr>
              <a:spLocks/>
            </p:cNvSpPr>
            <p:nvPr/>
          </p:nvSpPr>
          <p:spPr bwMode="auto">
            <a:xfrm>
              <a:off x="20249962" y="6269195"/>
              <a:ext cx="108743" cy="102661"/>
            </a:xfrm>
            <a:custGeom>
              <a:avLst/>
              <a:gdLst>
                <a:gd name="T0" fmla="*/ 19 w 20"/>
                <a:gd name="T1" fmla="*/ 8 h 21"/>
                <a:gd name="T2" fmla="*/ 14 w 20"/>
                <a:gd name="T3" fmla="*/ 3 h 21"/>
                <a:gd name="T4" fmla="*/ 10 w 20"/>
                <a:gd name="T5" fmla="*/ 0 h 21"/>
                <a:gd name="T6" fmla="*/ 7 w 20"/>
                <a:gd name="T7" fmla="*/ 0 h 21"/>
                <a:gd name="T8" fmla="*/ 2 w 20"/>
                <a:gd name="T9" fmla="*/ 3 h 21"/>
                <a:gd name="T10" fmla="*/ 3 w 20"/>
                <a:gd name="T11" fmla="*/ 7 h 21"/>
                <a:gd name="T12" fmla="*/ 0 w 20"/>
                <a:gd name="T13" fmla="*/ 8 h 21"/>
                <a:gd name="T14" fmla="*/ 0 w 20"/>
                <a:gd name="T15" fmla="*/ 11 h 21"/>
                <a:gd name="T16" fmla="*/ 1 w 20"/>
                <a:gd name="T17" fmla="*/ 13 h 21"/>
                <a:gd name="T18" fmla="*/ 3 w 20"/>
                <a:gd name="T19" fmla="*/ 19 h 21"/>
                <a:gd name="T20" fmla="*/ 7 w 20"/>
                <a:gd name="T21" fmla="*/ 21 h 21"/>
                <a:gd name="T22" fmla="*/ 12 w 20"/>
                <a:gd name="T23" fmla="*/ 18 h 21"/>
                <a:gd name="T24" fmla="*/ 13 w 20"/>
                <a:gd name="T25" fmla="*/ 17 h 21"/>
                <a:gd name="T26" fmla="*/ 14 w 20"/>
                <a:gd name="T27" fmla="*/ 16 h 21"/>
                <a:gd name="T28" fmla="*/ 16 w 20"/>
                <a:gd name="T29" fmla="*/ 15 h 21"/>
                <a:gd name="T30" fmla="*/ 19 w 20"/>
                <a:gd name="T31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" h="21">
                  <a:moveTo>
                    <a:pt x="19" y="8"/>
                  </a:moveTo>
                  <a:cubicBezTo>
                    <a:pt x="18" y="5"/>
                    <a:pt x="16" y="3"/>
                    <a:pt x="14" y="3"/>
                  </a:cubicBezTo>
                  <a:cubicBezTo>
                    <a:pt x="13" y="2"/>
                    <a:pt x="12" y="1"/>
                    <a:pt x="10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5" y="0"/>
                    <a:pt x="3" y="1"/>
                    <a:pt x="2" y="3"/>
                  </a:cubicBezTo>
                  <a:cubicBezTo>
                    <a:pt x="2" y="5"/>
                    <a:pt x="2" y="6"/>
                    <a:pt x="3" y="7"/>
                  </a:cubicBezTo>
                  <a:cubicBezTo>
                    <a:pt x="3" y="7"/>
                    <a:pt x="0" y="8"/>
                    <a:pt x="0" y="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1" y="15"/>
                    <a:pt x="1" y="17"/>
                    <a:pt x="3" y="19"/>
                  </a:cubicBezTo>
                  <a:cubicBezTo>
                    <a:pt x="4" y="20"/>
                    <a:pt x="6" y="21"/>
                    <a:pt x="7" y="21"/>
                  </a:cubicBezTo>
                  <a:cubicBezTo>
                    <a:pt x="10" y="21"/>
                    <a:pt x="11" y="19"/>
                    <a:pt x="12" y="18"/>
                  </a:cubicBezTo>
                  <a:cubicBezTo>
                    <a:pt x="12" y="17"/>
                    <a:pt x="12" y="17"/>
                    <a:pt x="13" y="17"/>
                  </a:cubicBezTo>
                  <a:cubicBezTo>
                    <a:pt x="13" y="16"/>
                    <a:pt x="13" y="16"/>
                    <a:pt x="14" y="16"/>
                  </a:cubicBezTo>
                  <a:cubicBezTo>
                    <a:pt x="14" y="16"/>
                    <a:pt x="15" y="16"/>
                    <a:pt x="16" y="15"/>
                  </a:cubicBezTo>
                  <a:cubicBezTo>
                    <a:pt x="19" y="14"/>
                    <a:pt x="20" y="11"/>
                    <a:pt x="19" y="8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64" name="Freeform 163"/>
            <p:cNvSpPr>
              <a:spLocks noEditPoints="1"/>
            </p:cNvSpPr>
            <p:nvPr/>
          </p:nvSpPr>
          <p:spPr bwMode="auto">
            <a:xfrm>
              <a:off x="20619277" y="6168400"/>
              <a:ext cx="1743987" cy="1597784"/>
            </a:xfrm>
            <a:custGeom>
              <a:avLst/>
              <a:gdLst>
                <a:gd name="T0" fmla="*/ 307 w 320"/>
                <a:gd name="T1" fmla="*/ 198 h 322"/>
                <a:gd name="T2" fmla="*/ 303 w 320"/>
                <a:gd name="T3" fmla="*/ 188 h 322"/>
                <a:gd name="T4" fmla="*/ 296 w 320"/>
                <a:gd name="T5" fmla="*/ 170 h 322"/>
                <a:gd name="T6" fmla="*/ 274 w 320"/>
                <a:gd name="T7" fmla="*/ 161 h 322"/>
                <a:gd name="T8" fmla="*/ 258 w 320"/>
                <a:gd name="T9" fmla="*/ 166 h 322"/>
                <a:gd name="T10" fmla="*/ 247 w 320"/>
                <a:gd name="T11" fmla="*/ 156 h 322"/>
                <a:gd name="T12" fmla="*/ 229 w 320"/>
                <a:gd name="T13" fmla="*/ 166 h 322"/>
                <a:gd name="T14" fmla="*/ 221 w 320"/>
                <a:gd name="T15" fmla="*/ 175 h 322"/>
                <a:gd name="T16" fmla="*/ 218 w 320"/>
                <a:gd name="T17" fmla="*/ 175 h 322"/>
                <a:gd name="T18" fmla="*/ 227 w 320"/>
                <a:gd name="T19" fmla="*/ 162 h 322"/>
                <a:gd name="T20" fmla="*/ 240 w 320"/>
                <a:gd name="T21" fmla="*/ 144 h 322"/>
                <a:gd name="T22" fmla="*/ 225 w 320"/>
                <a:gd name="T23" fmla="*/ 140 h 322"/>
                <a:gd name="T24" fmla="*/ 208 w 320"/>
                <a:gd name="T25" fmla="*/ 147 h 322"/>
                <a:gd name="T26" fmla="*/ 195 w 320"/>
                <a:gd name="T27" fmla="*/ 140 h 322"/>
                <a:gd name="T28" fmla="*/ 174 w 320"/>
                <a:gd name="T29" fmla="*/ 143 h 322"/>
                <a:gd name="T30" fmla="*/ 165 w 320"/>
                <a:gd name="T31" fmla="*/ 148 h 322"/>
                <a:gd name="T32" fmla="*/ 155 w 320"/>
                <a:gd name="T33" fmla="*/ 132 h 322"/>
                <a:gd name="T34" fmla="*/ 142 w 320"/>
                <a:gd name="T35" fmla="*/ 132 h 322"/>
                <a:gd name="T36" fmla="*/ 132 w 320"/>
                <a:gd name="T37" fmla="*/ 132 h 322"/>
                <a:gd name="T38" fmla="*/ 112 w 320"/>
                <a:gd name="T39" fmla="*/ 119 h 322"/>
                <a:gd name="T40" fmla="*/ 117 w 320"/>
                <a:gd name="T41" fmla="*/ 107 h 322"/>
                <a:gd name="T42" fmla="*/ 110 w 320"/>
                <a:gd name="T43" fmla="*/ 93 h 322"/>
                <a:gd name="T44" fmla="*/ 104 w 320"/>
                <a:gd name="T45" fmla="*/ 92 h 322"/>
                <a:gd name="T46" fmla="*/ 95 w 320"/>
                <a:gd name="T47" fmla="*/ 76 h 322"/>
                <a:gd name="T48" fmla="*/ 73 w 320"/>
                <a:gd name="T49" fmla="*/ 68 h 322"/>
                <a:gd name="T50" fmla="*/ 62 w 320"/>
                <a:gd name="T51" fmla="*/ 60 h 322"/>
                <a:gd name="T52" fmla="*/ 38 w 320"/>
                <a:gd name="T53" fmla="*/ 36 h 322"/>
                <a:gd name="T54" fmla="*/ 13 w 320"/>
                <a:gd name="T55" fmla="*/ 14 h 322"/>
                <a:gd name="T56" fmla="*/ 3 w 320"/>
                <a:gd name="T57" fmla="*/ 11 h 322"/>
                <a:gd name="T58" fmla="*/ 11 w 320"/>
                <a:gd name="T59" fmla="*/ 42 h 322"/>
                <a:gd name="T60" fmla="*/ 21 w 320"/>
                <a:gd name="T61" fmla="*/ 50 h 322"/>
                <a:gd name="T62" fmla="*/ 38 w 320"/>
                <a:gd name="T63" fmla="*/ 58 h 322"/>
                <a:gd name="T64" fmla="*/ 65 w 320"/>
                <a:gd name="T65" fmla="*/ 114 h 322"/>
                <a:gd name="T66" fmla="*/ 83 w 320"/>
                <a:gd name="T67" fmla="*/ 156 h 322"/>
                <a:gd name="T68" fmla="*/ 104 w 320"/>
                <a:gd name="T69" fmla="*/ 181 h 322"/>
                <a:gd name="T70" fmla="*/ 94 w 320"/>
                <a:gd name="T71" fmla="*/ 207 h 322"/>
                <a:gd name="T72" fmla="*/ 43 w 320"/>
                <a:gd name="T73" fmla="*/ 210 h 322"/>
                <a:gd name="T74" fmla="*/ 34 w 320"/>
                <a:gd name="T75" fmla="*/ 223 h 322"/>
                <a:gd name="T76" fmla="*/ 24 w 320"/>
                <a:gd name="T77" fmla="*/ 242 h 322"/>
                <a:gd name="T78" fmla="*/ 38 w 320"/>
                <a:gd name="T79" fmla="*/ 272 h 322"/>
                <a:gd name="T80" fmla="*/ 59 w 320"/>
                <a:gd name="T81" fmla="*/ 290 h 322"/>
                <a:gd name="T82" fmla="*/ 72 w 320"/>
                <a:gd name="T83" fmla="*/ 292 h 322"/>
                <a:gd name="T84" fmla="*/ 81 w 320"/>
                <a:gd name="T85" fmla="*/ 311 h 322"/>
                <a:gd name="T86" fmla="*/ 107 w 320"/>
                <a:gd name="T87" fmla="*/ 312 h 322"/>
                <a:gd name="T88" fmla="*/ 135 w 320"/>
                <a:gd name="T89" fmla="*/ 322 h 322"/>
                <a:gd name="T90" fmla="*/ 129 w 320"/>
                <a:gd name="T91" fmla="*/ 263 h 322"/>
                <a:gd name="T92" fmla="*/ 154 w 320"/>
                <a:gd name="T93" fmla="*/ 297 h 322"/>
                <a:gd name="T94" fmla="*/ 302 w 320"/>
                <a:gd name="T95" fmla="*/ 249 h 322"/>
                <a:gd name="T96" fmla="*/ 201 w 320"/>
                <a:gd name="T97" fmla="*/ 212 h 322"/>
                <a:gd name="T98" fmla="*/ 214 w 320"/>
                <a:gd name="T99" fmla="*/ 189 h 322"/>
                <a:gd name="T100" fmla="*/ 201 w 320"/>
                <a:gd name="T101" fmla="*/ 216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0" h="322">
                  <a:moveTo>
                    <a:pt x="320" y="207"/>
                  </a:moveTo>
                  <a:cubicBezTo>
                    <a:pt x="319" y="206"/>
                    <a:pt x="319" y="206"/>
                    <a:pt x="319" y="206"/>
                  </a:cubicBezTo>
                  <a:cubicBezTo>
                    <a:pt x="319" y="204"/>
                    <a:pt x="319" y="202"/>
                    <a:pt x="316" y="200"/>
                  </a:cubicBezTo>
                  <a:cubicBezTo>
                    <a:pt x="314" y="198"/>
                    <a:pt x="311" y="198"/>
                    <a:pt x="310" y="198"/>
                  </a:cubicBezTo>
                  <a:cubicBezTo>
                    <a:pt x="309" y="198"/>
                    <a:pt x="308" y="198"/>
                    <a:pt x="307" y="198"/>
                  </a:cubicBezTo>
                  <a:cubicBezTo>
                    <a:pt x="306" y="198"/>
                    <a:pt x="306" y="198"/>
                    <a:pt x="305" y="198"/>
                  </a:cubicBezTo>
                  <a:cubicBezTo>
                    <a:pt x="304" y="198"/>
                    <a:pt x="304" y="198"/>
                    <a:pt x="303" y="198"/>
                  </a:cubicBezTo>
                  <a:cubicBezTo>
                    <a:pt x="303" y="197"/>
                    <a:pt x="303" y="197"/>
                    <a:pt x="302" y="195"/>
                  </a:cubicBezTo>
                  <a:cubicBezTo>
                    <a:pt x="302" y="193"/>
                    <a:pt x="302" y="192"/>
                    <a:pt x="303" y="190"/>
                  </a:cubicBezTo>
                  <a:cubicBezTo>
                    <a:pt x="303" y="189"/>
                    <a:pt x="303" y="189"/>
                    <a:pt x="303" y="188"/>
                  </a:cubicBezTo>
                  <a:cubicBezTo>
                    <a:pt x="303" y="186"/>
                    <a:pt x="303" y="183"/>
                    <a:pt x="301" y="181"/>
                  </a:cubicBezTo>
                  <a:cubicBezTo>
                    <a:pt x="300" y="180"/>
                    <a:pt x="299" y="180"/>
                    <a:pt x="298" y="180"/>
                  </a:cubicBezTo>
                  <a:cubicBezTo>
                    <a:pt x="298" y="180"/>
                    <a:pt x="298" y="180"/>
                    <a:pt x="298" y="180"/>
                  </a:cubicBezTo>
                  <a:cubicBezTo>
                    <a:pt x="298" y="179"/>
                    <a:pt x="298" y="179"/>
                    <a:pt x="298" y="179"/>
                  </a:cubicBezTo>
                  <a:cubicBezTo>
                    <a:pt x="299" y="177"/>
                    <a:pt x="300" y="174"/>
                    <a:pt x="296" y="170"/>
                  </a:cubicBezTo>
                  <a:cubicBezTo>
                    <a:pt x="293" y="167"/>
                    <a:pt x="290" y="166"/>
                    <a:pt x="286" y="164"/>
                  </a:cubicBezTo>
                  <a:cubicBezTo>
                    <a:pt x="284" y="164"/>
                    <a:pt x="283" y="163"/>
                    <a:pt x="281" y="163"/>
                  </a:cubicBezTo>
                  <a:cubicBezTo>
                    <a:pt x="281" y="163"/>
                    <a:pt x="281" y="163"/>
                    <a:pt x="280" y="163"/>
                  </a:cubicBezTo>
                  <a:cubicBezTo>
                    <a:pt x="279" y="163"/>
                    <a:pt x="279" y="163"/>
                    <a:pt x="278" y="162"/>
                  </a:cubicBezTo>
                  <a:cubicBezTo>
                    <a:pt x="277" y="162"/>
                    <a:pt x="275" y="162"/>
                    <a:pt x="274" y="161"/>
                  </a:cubicBezTo>
                  <a:cubicBezTo>
                    <a:pt x="273" y="161"/>
                    <a:pt x="272" y="161"/>
                    <a:pt x="272" y="161"/>
                  </a:cubicBezTo>
                  <a:cubicBezTo>
                    <a:pt x="271" y="161"/>
                    <a:pt x="269" y="161"/>
                    <a:pt x="268" y="161"/>
                  </a:cubicBezTo>
                  <a:cubicBezTo>
                    <a:pt x="268" y="161"/>
                    <a:pt x="267" y="161"/>
                    <a:pt x="267" y="161"/>
                  </a:cubicBezTo>
                  <a:cubicBezTo>
                    <a:pt x="264" y="161"/>
                    <a:pt x="261" y="163"/>
                    <a:pt x="261" y="163"/>
                  </a:cubicBezTo>
                  <a:cubicBezTo>
                    <a:pt x="260" y="164"/>
                    <a:pt x="259" y="165"/>
                    <a:pt x="258" y="166"/>
                  </a:cubicBezTo>
                  <a:cubicBezTo>
                    <a:pt x="258" y="165"/>
                    <a:pt x="257" y="164"/>
                    <a:pt x="257" y="163"/>
                  </a:cubicBezTo>
                  <a:cubicBezTo>
                    <a:pt x="256" y="161"/>
                    <a:pt x="254" y="161"/>
                    <a:pt x="253" y="160"/>
                  </a:cubicBezTo>
                  <a:cubicBezTo>
                    <a:pt x="253" y="160"/>
                    <a:pt x="252" y="160"/>
                    <a:pt x="252" y="159"/>
                  </a:cubicBezTo>
                  <a:cubicBezTo>
                    <a:pt x="252" y="159"/>
                    <a:pt x="251" y="159"/>
                    <a:pt x="251" y="158"/>
                  </a:cubicBezTo>
                  <a:cubicBezTo>
                    <a:pt x="250" y="158"/>
                    <a:pt x="249" y="157"/>
                    <a:pt x="247" y="156"/>
                  </a:cubicBezTo>
                  <a:cubicBezTo>
                    <a:pt x="246" y="156"/>
                    <a:pt x="244" y="155"/>
                    <a:pt x="242" y="155"/>
                  </a:cubicBezTo>
                  <a:cubicBezTo>
                    <a:pt x="241" y="155"/>
                    <a:pt x="240" y="155"/>
                    <a:pt x="239" y="155"/>
                  </a:cubicBezTo>
                  <a:cubicBezTo>
                    <a:pt x="234" y="156"/>
                    <a:pt x="233" y="158"/>
                    <a:pt x="231" y="162"/>
                  </a:cubicBezTo>
                  <a:cubicBezTo>
                    <a:pt x="231" y="163"/>
                    <a:pt x="231" y="163"/>
                    <a:pt x="231" y="163"/>
                  </a:cubicBezTo>
                  <a:cubicBezTo>
                    <a:pt x="230" y="164"/>
                    <a:pt x="230" y="165"/>
                    <a:pt x="229" y="166"/>
                  </a:cubicBezTo>
                  <a:cubicBezTo>
                    <a:pt x="229" y="166"/>
                    <a:pt x="229" y="166"/>
                    <a:pt x="229" y="167"/>
                  </a:cubicBezTo>
                  <a:cubicBezTo>
                    <a:pt x="228" y="167"/>
                    <a:pt x="228" y="167"/>
                    <a:pt x="227" y="167"/>
                  </a:cubicBezTo>
                  <a:cubicBezTo>
                    <a:pt x="226" y="168"/>
                    <a:pt x="225" y="170"/>
                    <a:pt x="224" y="171"/>
                  </a:cubicBezTo>
                  <a:cubicBezTo>
                    <a:pt x="224" y="172"/>
                    <a:pt x="223" y="173"/>
                    <a:pt x="223" y="173"/>
                  </a:cubicBezTo>
                  <a:cubicBezTo>
                    <a:pt x="222" y="174"/>
                    <a:pt x="222" y="175"/>
                    <a:pt x="221" y="175"/>
                  </a:cubicBezTo>
                  <a:cubicBezTo>
                    <a:pt x="220" y="176"/>
                    <a:pt x="219" y="177"/>
                    <a:pt x="218" y="178"/>
                  </a:cubicBezTo>
                  <a:cubicBezTo>
                    <a:pt x="218" y="178"/>
                    <a:pt x="218" y="178"/>
                    <a:pt x="218" y="178"/>
                  </a:cubicBezTo>
                  <a:cubicBezTo>
                    <a:pt x="218" y="178"/>
                    <a:pt x="218" y="177"/>
                    <a:pt x="218" y="177"/>
                  </a:cubicBezTo>
                  <a:cubicBezTo>
                    <a:pt x="218" y="176"/>
                    <a:pt x="218" y="176"/>
                    <a:pt x="218" y="175"/>
                  </a:cubicBezTo>
                  <a:cubicBezTo>
                    <a:pt x="218" y="175"/>
                    <a:pt x="218" y="175"/>
                    <a:pt x="218" y="175"/>
                  </a:cubicBezTo>
                  <a:cubicBezTo>
                    <a:pt x="219" y="174"/>
                    <a:pt x="219" y="172"/>
                    <a:pt x="219" y="172"/>
                  </a:cubicBezTo>
                  <a:cubicBezTo>
                    <a:pt x="220" y="172"/>
                    <a:pt x="220" y="171"/>
                    <a:pt x="221" y="171"/>
                  </a:cubicBezTo>
                  <a:cubicBezTo>
                    <a:pt x="222" y="171"/>
                    <a:pt x="223" y="170"/>
                    <a:pt x="224" y="169"/>
                  </a:cubicBezTo>
                  <a:cubicBezTo>
                    <a:pt x="226" y="168"/>
                    <a:pt x="226" y="166"/>
                    <a:pt x="227" y="164"/>
                  </a:cubicBezTo>
                  <a:cubicBezTo>
                    <a:pt x="227" y="163"/>
                    <a:pt x="227" y="163"/>
                    <a:pt x="227" y="162"/>
                  </a:cubicBezTo>
                  <a:cubicBezTo>
                    <a:pt x="228" y="161"/>
                    <a:pt x="230" y="160"/>
                    <a:pt x="231" y="159"/>
                  </a:cubicBezTo>
                  <a:cubicBezTo>
                    <a:pt x="232" y="158"/>
                    <a:pt x="232" y="158"/>
                    <a:pt x="232" y="158"/>
                  </a:cubicBezTo>
                  <a:cubicBezTo>
                    <a:pt x="232" y="157"/>
                    <a:pt x="233" y="157"/>
                    <a:pt x="234" y="156"/>
                  </a:cubicBezTo>
                  <a:cubicBezTo>
                    <a:pt x="235" y="155"/>
                    <a:pt x="237" y="154"/>
                    <a:pt x="239" y="152"/>
                  </a:cubicBezTo>
                  <a:cubicBezTo>
                    <a:pt x="241" y="149"/>
                    <a:pt x="241" y="146"/>
                    <a:pt x="240" y="144"/>
                  </a:cubicBezTo>
                  <a:cubicBezTo>
                    <a:pt x="240" y="142"/>
                    <a:pt x="238" y="141"/>
                    <a:pt x="236" y="140"/>
                  </a:cubicBezTo>
                  <a:cubicBezTo>
                    <a:pt x="235" y="140"/>
                    <a:pt x="234" y="139"/>
                    <a:pt x="233" y="139"/>
                  </a:cubicBezTo>
                  <a:cubicBezTo>
                    <a:pt x="231" y="139"/>
                    <a:pt x="229" y="140"/>
                    <a:pt x="228" y="141"/>
                  </a:cubicBezTo>
                  <a:cubicBezTo>
                    <a:pt x="227" y="141"/>
                    <a:pt x="227" y="141"/>
                    <a:pt x="227" y="141"/>
                  </a:cubicBezTo>
                  <a:cubicBezTo>
                    <a:pt x="227" y="141"/>
                    <a:pt x="226" y="140"/>
                    <a:pt x="225" y="140"/>
                  </a:cubicBezTo>
                  <a:cubicBezTo>
                    <a:pt x="225" y="140"/>
                    <a:pt x="223" y="139"/>
                    <a:pt x="222" y="139"/>
                  </a:cubicBezTo>
                  <a:cubicBezTo>
                    <a:pt x="221" y="138"/>
                    <a:pt x="221" y="138"/>
                    <a:pt x="220" y="138"/>
                  </a:cubicBezTo>
                  <a:cubicBezTo>
                    <a:pt x="217" y="138"/>
                    <a:pt x="213" y="140"/>
                    <a:pt x="211" y="143"/>
                  </a:cubicBezTo>
                  <a:cubicBezTo>
                    <a:pt x="211" y="144"/>
                    <a:pt x="211" y="144"/>
                    <a:pt x="211" y="144"/>
                  </a:cubicBezTo>
                  <a:cubicBezTo>
                    <a:pt x="210" y="146"/>
                    <a:pt x="209" y="147"/>
                    <a:pt x="208" y="147"/>
                  </a:cubicBezTo>
                  <a:cubicBezTo>
                    <a:pt x="207" y="147"/>
                    <a:pt x="207" y="147"/>
                    <a:pt x="207" y="147"/>
                  </a:cubicBezTo>
                  <a:cubicBezTo>
                    <a:pt x="206" y="147"/>
                    <a:pt x="204" y="147"/>
                    <a:pt x="204" y="146"/>
                  </a:cubicBezTo>
                  <a:cubicBezTo>
                    <a:pt x="203" y="146"/>
                    <a:pt x="203" y="145"/>
                    <a:pt x="203" y="145"/>
                  </a:cubicBezTo>
                  <a:cubicBezTo>
                    <a:pt x="202" y="144"/>
                    <a:pt x="201" y="142"/>
                    <a:pt x="199" y="141"/>
                  </a:cubicBezTo>
                  <a:cubicBezTo>
                    <a:pt x="198" y="140"/>
                    <a:pt x="196" y="140"/>
                    <a:pt x="195" y="140"/>
                  </a:cubicBezTo>
                  <a:cubicBezTo>
                    <a:pt x="192" y="140"/>
                    <a:pt x="189" y="141"/>
                    <a:pt x="187" y="143"/>
                  </a:cubicBezTo>
                  <a:cubicBezTo>
                    <a:pt x="186" y="143"/>
                    <a:pt x="185" y="144"/>
                    <a:pt x="184" y="144"/>
                  </a:cubicBezTo>
                  <a:cubicBezTo>
                    <a:pt x="183" y="144"/>
                    <a:pt x="182" y="144"/>
                    <a:pt x="182" y="143"/>
                  </a:cubicBezTo>
                  <a:cubicBezTo>
                    <a:pt x="181" y="143"/>
                    <a:pt x="179" y="142"/>
                    <a:pt x="177" y="142"/>
                  </a:cubicBezTo>
                  <a:cubicBezTo>
                    <a:pt x="176" y="142"/>
                    <a:pt x="175" y="142"/>
                    <a:pt x="174" y="143"/>
                  </a:cubicBezTo>
                  <a:cubicBezTo>
                    <a:pt x="172" y="144"/>
                    <a:pt x="171" y="145"/>
                    <a:pt x="170" y="147"/>
                  </a:cubicBezTo>
                  <a:cubicBezTo>
                    <a:pt x="169" y="148"/>
                    <a:pt x="169" y="149"/>
                    <a:pt x="168" y="149"/>
                  </a:cubicBezTo>
                  <a:cubicBezTo>
                    <a:pt x="168" y="149"/>
                    <a:pt x="167" y="149"/>
                    <a:pt x="166" y="149"/>
                  </a:cubicBezTo>
                  <a:cubicBezTo>
                    <a:pt x="165" y="149"/>
                    <a:pt x="165" y="149"/>
                    <a:pt x="165" y="149"/>
                  </a:cubicBezTo>
                  <a:cubicBezTo>
                    <a:pt x="165" y="148"/>
                    <a:pt x="165" y="148"/>
                    <a:pt x="165" y="148"/>
                  </a:cubicBezTo>
                  <a:cubicBezTo>
                    <a:pt x="165" y="146"/>
                    <a:pt x="166" y="141"/>
                    <a:pt x="162" y="139"/>
                  </a:cubicBezTo>
                  <a:cubicBezTo>
                    <a:pt x="162" y="138"/>
                    <a:pt x="161" y="138"/>
                    <a:pt x="160" y="138"/>
                  </a:cubicBezTo>
                  <a:cubicBezTo>
                    <a:pt x="160" y="138"/>
                    <a:pt x="160" y="137"/>
                    <a:pt x="160" y="137"/>
                  </a:cubicBezTo>
                  <a:cubicBezTo>
                    <a:pt x="160" y="136"/>
                    <a:pt x="160" y="134"/>
                    <a:pt x="158" y="133"/>
                  </a:cubicBezTo>
                  <a:cubicBezTo>
                    <a:pt x="157" y="132"/>
                    <a:pt x="156" y="132"/>
                    <a:pt x="155" y="132"/>
                  </a:cubicBezTo>
                  <a:cubicBezTo>
                    <a:pt x="153" y="132"/>
                    <a:pt x="152" y="132"/>
                    <a:pt x="151" y="133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51" y="133"/>
                    <a:pt x="150" y="133"/>
                    <a:pt x="150" y="133"/>
                  </a:cubicBezTo>
                  <a:cubicBezTo>
                    <a:pt x="149" y="133"/>
                    <a:pt x="148" y="133"/>
                    <a:pt x="148" y="132"/>
                  </a:cubicBezTo>
                  <a:cubicBezTo>
                    <a:pt x="146" y="132"/>
                    <a:pt x="144" y="132"/>
                    <a:pt x="142" y="132"/>
                  </a:cubicBezTo>
                  <a:cubicBezTo>
                    <a:pt x="141" y="132"/>
                    <a:pt x="140" y="132"/>
                    <a:pt x="139" y="132"/>
                  </a:cubicBezTo>
                  <a:cubicBezTo>
                    <a:pt x="138" y="132"/>
                    <a:pt x="138" y="132"/>
                    <a:pt x="138" y="132"/>
                  </a:cubicBezTo>
                  <a:cubicBezTo>
                    <a:pt x="137" y="132"/>
                    <a:pt x="137" y="131"/>
                    <a:pt x="136" y="131"/>
                  </a:cubicBezTo>
                  <a:cubicBezTo>
                    <a:pt x="134" y="131"/>
                    <a:pt x="134" y="132"/>
                    <a:pt x="133" y="132"/>
                  </a:cubicBezTo>
                  <a:cubicBezTo>
                    <a:pt x="132" y="132"/>
                    <a:pt x="132" y="132"/>
                    <a:pt x="132" y="132"/>
                  </a:cubicBezTo>
                  <a:cubicBezTo>
                    <a:pt x="131" y="132"/>
                    <a:pt x="129" y="131"/>
                    <a:pt x="128" y="129"/>
                  </a:cubicBezTo>
                  <a:cubicBezTo>
                    <a:pt x="126" y="127"/>
                    <a:pt x="124" y="126"/>
                    <a:pt x="121" y="124"/>
                  </a:cubicBezTo>
                  <a:cubicBezTo>
                    <a:pt x="120" y="124"/>
                    <a:pt x="119" y="123"/>
                    <a:pt x="118" y="123"/>
                  </a:cubicBezTo>
                  <a:cubicBezTo>
                    <a:pt x="117" y="123"/>
                    <a:pt x="116" y="123"/>
                    <a:pt x="116" y="122"/>
                  </a:cubicBezTo>
                  <a:cubicBezTo>
                    <a:pt x="115" y="121"/>
                    <a:pt x="114" y="120"/>
                    <a:pt x="112" y="119"/>
                  </a:cubicBezTo>
                  <a:cubicBezTo>
                    <a:pt x="111" y="119"/>
                    <a:pt x="111" y="118"/>
                    <a:pt x="111" y="118"/>
                  </a:cubicBezTo>
                  <a:cubicBezTo>
                    <a:pt x="110" y="118"/>
                    <a:pt x="110" y="118"/>
                    <a:pt x="110" y="118"/>
                  </a:cubicBezTo>
                  <a:cubicBezTo>
                    <a:pt x="111" y="117"/>
                    <a:pt x="111" y="117"/>
                    <a:pt x="111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5" y="115"/>
                    <a:pt x="117" y="109"/>
                    <a:pt x="117" y="107"/>
                  </a:cubicBezTo>
                  <a:cubicBezTo>
                    <a:pt x="117" y="107"/>
                    <a:pt x="118" y="106"/>
                    <a:pt x="118" y="105"/>
                  </a:cubicBezTo>
                  <a:cubicBezTo>
                    <a:pt x="118" y="105"/>
                    <a:pt x="118" y="105"/>
                    <a:pt x="118" y="105"/>
                  </a:cubicBezTo>
                  <a:cubicBezTo>
                    <a:pt x="119" y="105"/>
                    <a:pt x="119" y="104"/>
                    <a:pt x="119" y="102"/>
                  </a:cubicBezTo>
                  <a:cubicBezTo>
                    <a:pt x="120" y="99"/>
                    <a:pt x="118" y="97"/>
                    <a:pt x="116" y="95"/>
                  </a:cubicBezTo>
                  <a:cubicBezTo>
                    <a:pt x="114" y="94"/>
                    <a:pt x="112" y="93"/>
                    <a:pt x="110" y="93"/>
                  </a:cubicBezTo>
                  <a:cubicBezTo>
                    <a:pt x="109" y="93"/>
                    <a:pt x="108" y="93"/>
                    <a:pt x="107" y="94"/>
                  </a:cubicBezTo>
                  <a:cubicBezTo>
                    <a:pt x="107" y="94"/>
                    <a:pt x="106" y="94"/>
                    <a:pt x="105" y="94"/>
                  </a:cubicBezTo>
                  <a:cubicBezTo>
                    <a:pt x="105" y="94"/>
                    <a:pt x="105" y="94"/>
                    <a:pt x="105" y="94"/>
                  </a:cubicBezTo>
                  <a:cubicBezTo>
                    <a:pt x="105" y="94"/>
                    <a:pt x="105" y="94"/>
                    <a:pt x="105" y="94"/>
                  </a:cubicBezTo>
                  <a:cubicBezTo>
                    <a:pt x="104" y="94"/>
                    <a:pt x="104" y="93"/>
                    <a:pt x="104" y="92"/>
                  </a:cubicBezTo>
                  <a:cubicBezTo>
                    <a:pt x="104" y="92"/>
                    <a:pt x="104" y="92"/>
                    <a:pt x="104" y="92"/>
                  </a:cubicBezTo>
                  <a:cubicBezTo>
                    <a:pt x="102" y="89"/>
                    <a:pt x="100" y="88"/>
                    <a:pt x="98" y="88"/>
                  </a:cubicBezTo>
                  <a:cubicBezTo>
                    <a:pt x="98" y="88"/>
                    <a:pt x="97" y="88"/>
                    <a:pt x="97" y="88"/>
                  </a:cubicBezTo>
                  <a:cubicBezTo>
                    <a:pt x="97" y="87"/>
                    <a:pt x="97" y="86"/>
                    <a:pt x="97" y="84"/>
                  </a:cubicBezTo>
                  <a:cubicBezTo>
                    <a:pt x="97" y="82"/>
                    <a:pt x="97" y="79"/>
                    <a:pt x="95" y="76"/>
                  </a:cubicBezTo>
                  <a:cubicBezTo>
                    <a:pt x="91" y="73"/>
                    <a:pt x="87" y="73"/>
                    <a:pt x="84" y="73"/>
                  </a:cubicBezTo>
                  <a:cubicBezTo>
                    <a:pt x="84" y="73"/>
                    <a:pt x="82" y="73"/>
                    <a:pt x="82" y="73"/>
                  </a:cubicBezTo>
                  <a:cubicBezTo>
                    <a:pt x="82" y="71"/>
                    <a:pt x="82" y="71"/>
                    <a:pt x="81" y="70"/>
                  </a:cubicBezTo>
                  <a:cubicBezTo>
                    <a:pt x="80" y="69"/>
                    <a:pt x="78" y="68"/>
                    <a:pt x="75" y="68"/>
                  </a:cubicBezTo>
                  <a:cubicBezTo>
                    <a:pt x="74" y="68"/>
                    <a:pt x="74" y="68"/>
                    <a:pt x="73" y="68"/>
                  </a:cubicBezTo>
                  <a:cubicBezTo>
                    <a:pt x="73" y="67"/>
                    <a:pt x="73" y="66"/>
                    <a:pt x="73" y="65"/>
                  </a:cubicBezTo>
                  <a:cubicBezTo>
                    <a:pt x="74" y="64"/>
                    <a:pt x="73" y="63"/>
                    <a:pt x="73" y="62"/>
                  </a:cubicBezTo>
                  <a:cubicBezTo>
                    <a:pt x="71" y="60"/>
                    <a:pt x="67" y="59"/>
                    <a:pt x="64" y="59"/>
                  </a:cubicBezTo>
                  <a:cubicBezTo>
                    <a:pt x="63" y="59"/>
                    <a:pt x="63" y="59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3" y="58"/>
                    <a:pt x="64" y="55"/>
                    <a:pt x="63" y="52"/>
                  </a:cubicBezTo>
                  <a:cubicBezTo>
                    <a:pt x="61" y="48"/>
                    <a:pt x="56" y="46"/>
                    <a:pt x="52" y="45"/>
                  </a:cubicBezTo>
                  <a:cubicBezTo>
                    <a:pt x="51" y="44"/>
                    <a:pt x="51" y="43"/>
                    <a:pt x="51" y="43"/>
                  </a:cubicBezTo>
                  <a:cubicBezTo>
                    <a:pt x="50" y="40"/>
                    <a:pt x="46" y="39"/>
                    <a:pt x="44" y="38"/>
                  </a:cubicBezTo>
                  <a:cubicBezTo>
                    <a:pt x="42" y="38"/>
                    <a:pt x="40" y="37"/>
                    <a:pt x="38" y="36"/>
                  </a:cubicBezTo>
                  <a:cubicBezTo>
                    <a:pt x="35" y="35"/>
                    <a:pt x="31" y="32"/>
                    <a:pt x="28" y="30"/>
                  </a:cubicBezTo>
                  <a:cubicBezTo>
                    <a:pt x="26" y="29"/>
                    <a:pt x="25" y="27"/>
                    <a:pt x="23" y="25"/>
                  </a:cubicBezTo>
                  <a:cubicBezTo>
                    <a:pt x="22" y="25"/>
                    <a:pt x="22" y="24"/>
                    <a:pt x="21" y="23"/>
                  </a:cubicBezTo>
                  <a:cubicBezTo>
                    <a:pt x="20" y="22"/>
                    <a:pt x="19" y="20"/>
                    <a:pt x="18" y="19"/>
                  </a:cubicBezTo>
                  <a:cubicBezTo>
                    <a:pt x="16" y="18"/>
                    <a:pt x="14" y="16"/>
                    <a:pt x="13" y="14"/>
                  </a:cubicBezTo>
                  <a:cubicBezTo>
                    <a:pt x="12" y="13"/>
                    <a:pt x="12" y="12"/>
                    <a:pt x="12" y="12"/>
                  </a:cubicBezTo>
                  <a:cubicBezTo>
                    <a:pt x="11" y="9"/>
                    <a:pt x="9" y="6"/>
                    <a:pt x="6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3" y="11"/>
                    <a:pt x="3" y="11"/>
                  </a:cubicBezTo>
                  <a:cubicBezTo>
                    <a:pt x="3" y="14"/>
                    <a:pt x="4" y="17"/>
                    <a:pt x="5" y="20"/>
                  </a:cubicBezTo>
                  <a:cubicBezTo>
                    <a:pt x="6" y="22"/>
                    <a:pt x="6" y="24"/>
                    <a:pt x="7" y="28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9" y="37"/>
                    <a:pt x="10" y="40"/>
                    <a:pt x="11" y="42"/>
                  </a:cubicBezTo>
                  <a:cubicBezTo>
                    <a:pt x="13" y="43"/>
                    <a:pt x="14" y="43"/>
                    <a:pt x="14" y="43"/>
                  </a:cubicBezTo>
                  <a:cubicBezTo>
                    <a:pt x="15" y="43"/>
                    <a:pt x="15" y="43"/>
                    <a:pt x="16" y="43"/>
                  </a:cubicBezTo>
                  <a:cubicBezTo>
                    <a:pt x="16" y="43"/>
                    <a:pt x="17" y="43"/>
                    <a:pt x="17" y="43"/>
                  </a:cubicBezTo>
                  <a:cubicBezTo>
                    <a:pt x="19" y="43"/>
                    <a:pt x="20" y="43"/>
                    <a:pt x="21" y="45"/>
                  </a:cubicBezTo>
                  <a:cubicBezTo>
                    <a:pt x="22" y="46"/>
                    <a:pt x="22" y="48"/>
                    <a:pt x="21" y="50"/>
                  </a:cubicBezTo>
                  <a:cubicBezTo>
                    <a:pt x="21" y="52"/>
                    <a:pt x="20" y="54"/>
                    <a:pt x="21" y="55"/>
                  </a:cubicBezTo>
                  <a:cubicBezTo>
                    <a:pt x="21" y="57"/>
                    <a:pt x="22" y="60"/>
                    <a:pt x="25" y="60"/>
                  </a:cubicBezTo>
                  <a:cubicBezTo>
                    <a:pt x="26" y="60"/>
                    <a:pt x="28" y="59"/>
                    <a:pt x="29" y="59"/>
                  </a:cubicBezTo>
                  <a:cubicBezTo>
                    <a:pt x="31" y="58"/>
                    <a:pt x="33" y="58"/>
                    <a:pt x="35" y="58"/>
                  </a:cubicBezTo>
                  <a:cubicBezTo>
                    <a:pt x="36" y="58"/>
                    <a:pt x="37" y="58"/>
                    <a:pt x="38" y="58"/>
                  </a:cubicBezTo>
                  <a:cubicBezTo>
                    <a:pt x="45" y="61"/>
                    <a:pt x="45" y="67"/>
                    <a:pt x="44" y="76"/>
                  </a:cubicBezTo>
                  <a:cubicBezTo>
                    <a:pt x="43" y="83"/>
                    <a:pt x="42" y="90"/>
                    <a:pt x="49" y="93"/>
                  </a:cubicBezTo>
                  <a:cubicBezTo>
                    <a:pt x="52" y="95"/>
                    <a:pt x="54" y="95"/>
                    <a:pt x="56" y="96"/>
                  </a:cubicBezTo>
                  <a:cubicBezTo>
                    <a:pt x="61" y="96"/>
                    <a:pt x="63" y="97"/>
                    <a:pt x="65" y="105"/>
                  </a:cubicBezTo>
                  <a:cubicBezTo>
                    <a:pt x="65" y="108"/>
                    <a:pt x="65" y="111"/>
                    <a:pt x="65" y="114"/>
                  </a:cubicBezTo>
                  <a:cubicBezTo>
                    <a:pt x="65" y="118"/>
                    <a:pt x="65" y="122"/>
                    <a:pt x="66" y="127"/>
                  </a:cubicBezTo>
                  <a:cubicBezTo>
                    <a:pt x="67" y="129"/>
                    <a:pt x="67" y="132"/>
                    <a:pt x="67" y="136"/>
                  </a:cubicBezTo>
                  <a:cubicBezTo>
                    <a:pt x="68" y="141"/>
                    <a:pt x="68" y="146"/>
                    <a:pt x="70" y="150"/>
                  </a:cubicBezTo>
                  <a:cubicBezTo>
                    <a:pt x="72" y="154"/>
                    <a:pt x="75" y="154"/>
                    <a:pt x="78" y="154"/>
                  </a:cubicBezTo>
                  <a:cubicBezTo>
                    <a:pt x="79" y="155"/>
                    <a:pt x="81" y="155"/>
                    <a:pt x="83" y="156"/>
                  </a:cubicBezTo>
                  <a:cubicBezTo>
                    <a:pt x="85" y="157"/>
                    <a:pt x="86" y="158"/>
                    <a:pt x="87" y="160"/>
                  </a:cubicBezTo>
                  <a:cubicBezTo>
                    <a:pt x="88" y="161"/>
                    <a:pt x="89" y="162"/>
                    <a:pt x="90" y="163"/>
                  </a:cubicBezTo>
                  <a:cubicBezTo>
                    <a:pt x="92" y="165"/>
                    <a:pt x="94" y="166"/>
                    <a:pt x="96" y="167"/>
                  </a:cubicBezTo>
                  <a:cubicBezTo>
                    <a:pt x="100" y="169"/>
                    <a:pt x="104" y="170"/>
                    <a:pt x="104" y="176"/>
                  </a:cubicBezTo>
                  <a:cubicBezTo>
                    <a:pt x="104" y="178"/>
                    <a:pt x="104" y="179"/>
                    <a:pt x="104" y="181"/>
                  </a:cubicBezTo>
                  <a:cubicBezTo>
                    <a:pt x="103" y="183"/>
                    <a:pt x="103" y="185"/>
                    <a:pt x="104" y="188"/>
                  </a:cubicBezTo>
                  <a:cubicBezTo>
                    <a:pt x="105" y="190"/>
                    <a:pt x="106" y="191"/>
                    <a:pt x="107" y="192"/>
                  </a:cubicBezTo>
                  <a:cubicBezTo>
                    <a:pt x="108" y="194"/>
                    <a:pt x="110" y="196"/>
                    <a:pt x="110" y="199"/>
                  </a:cubicBezTo>
                  <a:cubicBezTo>
                    <a:pt x="110" y="205"/>
                    <a:pt x="106" y="207"/>
                    <a:pt x="98" y="207"/>
                  </a:cubicBezTo>
                  <a:cubicBezTo>
                    <a:pt x="94" y="207"/>
                    <a:pt x="94" y="207"/>
                    <a:pt x="94" y="207"/>
                  </a:cubicBezTo>
                  <a:cubicBezTo>
                    <a:pt x="92" y="207"/>
                    <a:pt x="90" y="207"/>
                    <a:pt x="88" y="208"/>
                  </a:cubicBezTo>
                  <a:cubicBezTo>
                    <a:pt x="85" y="209"/>
                    <a:pt x="82" y="210"/>
                    <a:pt x="78" y="211"/>
                  </a:cubicBezTo>
                  <a:cubicBezTo>
                    <a:pt x="73" y="213"/>
                    <a:pt x="68" y="216"/>
                    <a:pt x="62" y="216"/>
                  </a:cubicBezTo>
                  <a:cubicBezTo>
                    <a:pt x="56" y="216"/>
                    <a:pt x="52" y="214"/>
                    <a:pt x="47" y="211"/>
                  </a:cubicBezTo>
                  <a:cubicBezTo>
                    <a:pt x="46" y="211"/>
                    <a:pt x="44" y="210"/>
                    <a:pt x="43" y="210"/>
                  </a:cubicBezTo>
                  <a:cubicBezTo>
                    <a:pt x="38" y="208"/>
                    <a:pt x="38" y="208"/>
                    <a:pt x="38" y="208"/>
                  </a:cubicBezTo>
                  <a:cubicBezTo>
                    <a:pt x="39" y="213"/>
                    <a:pt x="39" y="213"/>
                    <a:pt x="39" y="213"/>
                  </a:cubicBezTo>
                  <a:cubicBezTo>
                    <a:pt x="39" y="215"/>
                    <a:pt x="40" y="221"/>
                    <a:pt x="39" y="222"/>
                  </a:cubicBezTo>
                  <a:cubicBezTo>
                    <a:pt x="38" y="223"/>
                    <a:pt x="37" y="223"/>
                    <a:pt x="36" y="223"/>
                  </a:cubicBezTo>
                  <a:cubicBezTo>
                    <a:pt x="36" y="223"/>
                    <a:pt x="35" y="223"/>
                    <a:pt x="34" y="223"/>
                  </a:cubicBezTo>
                  <a:cubicBezTo>
                    <a:pt x="31" y="228"/>
                    <a:pt x="31" y="228"/>
                    <a:pt x="31" y="228"/>
                  </a:cubicBezTo>
                  <a:cubicBezTo>
                    <a:pt x="33" y="230"/>
                    <a:pt x="34" y="231"/>
                    <a:pt x="34" y="234"/>
                  </a:cubicBezTo>
                  <a:cubicBezTo>
                    <a:pt x="30" y="235"/>
                    <a:pt x="27" y="237"/>
                    <a:pt x="25" y="240"/>
                  </a:cubicBezTo>
                  <a:cubicBezTo>
                    <a:pt x="24" y="241"/>
                    <a:pt x="24" y="241"/>
                    <a:pt x="24" y="241"/>
                  </a:cubicBezTo>
                  <a:cubicBezTo>
                    <a:pt x="24" y="242"/>
                    <a:pt x="24" y="242"/>
                    <a:pt x="24" y="242"/>
                  </a:cubicBezTo>
                  <a:cubicBezTo>
                    <a:pt x="26" y="255"/>
                    <a:pt x="27" y="258"/>
                    <a:pt x="28" y="259"/>
                  </a:cubicBezTo>
                  <a:cubicBezTo>
                    <a:pt x="29" y="260"/>
                    <a:pt x="31" y="261"/>
                    <a:pt x="32" y="261"/>
                  </a:cubicBezTo>
                  <a:cubicBezTo>
                    <a:pt x="34" y="262"/>
                    <a:pt x="35" y="262"/>
                    <a:pt x="36" y="263"/>
                  </a:cubicBezTo>
                  <a:cubicBezTo>
                    <a:pt x="37" y="265"/>
                    <a:pt x="37" y="266"/>
                    <a:pt x="37" y="268"/>
                  </a:cubicBezTo>
                  <a:cubicBezTo>
                    <a:pt x="37" y="269"/>
                    <a:pt x="38" y="271"/>
                    <a:pt x="38" y="272"/>
                  </a:cubicBezTo>
                  <a:cubicBezTo>
                    <a:pt x="41" y="275"/>
                    <a:pt x="44" y="275"/>
                    <a:pt x="47" y="275"/>
                  </a:cubicBezTo>
                  <a:cubicBezTo>
                    <a:pt x="49" y="275"/>
                    <a:pt x="51" y="276"/>
                    <a:pt x="53" y="277"/>
                  </a:cubicBezTo>
                  <a:cubicBezTo>
                    <a:pt x="57" y="279"/>
                    <a:pt x="58" y="282"/>
                    <a:pt x="58" y="286"/>
                  </a:cubicBezTo>
                  <a:cubicBezTo>
                    <a:pt x="59" y="287"/>
                    <a:pt x="59" y="289"/>
                    <a:pt x="59" y="290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61" y="298"/>
                    <a:pt x="63" y="300"/>
                    <a:pt x="64" y="301"/>
                  </a:cubicBezTo>
                  <a:cubicBezTo>
                    <a:pt x="67" y="303"/>
                    <a:pt x="67" y="303"/>
                    <a:pt x="67" y="303"/>
                  </a:cubicBezTo>
                  <a:cubicBezTo>
                    <a:pt x="68" y="299"/>
                    <a:pt x="68" y="299"/>
                    <a:pt x="68" y="299"/>
                  </a:cubicBezTo>
                  <a:cubicBezTo>
                    <a:pt x="69" y="299"/>
                    <a:pt x="69" y="298"/>
                    <a:pt x="69" y="297"/>
                  </a:cubicBezTo>
                  <a:cubicBezTo>
                    <a:pt x="70" y="294"/>
                    <a:pt x="71" y="293"/>
                    <a:pt x="72" y="292"/>
                  </a:cubicBezTo>
                  <a:cubicBezTo>
                    <a:pt x="72" y="292"/>
                    <a:pt x="72" y="292"/>
                    <a:pt x="72" y="292"/>
                  </a:cubicBezTo>
                  <a:cubicBezTo>
                    <a:pt x="74" y="292"/>
                    <a:pt x="75" y="294"/>
                    <a:pt x="76" y="294"/>
                  </a:cubicBezTo>
                  <a:cubicBezTo>
                    <a:pt x="77" y="295"/>
                    <a:pt x="78" y="299"/>
                    <a:pt x="79" y="303"/>
                  </a:cubicBezTo>
                  <a:cubicBezTo>
                    <a:pt x="79" y="306"/>
                    <a:pt x="80" y="309"/>
                    <a:pt x="81" y="310"/>
                  </a:cubicBezTo>
                  <a:cubicBezTo>
                    <a:pt x="81" y="311"/>
                    <a:pt x="81" y="311"/>
                    <a:pt x="81" y="311"/>
                  </a:cubicBezTo>
                  <a:cubicBezTo>
                    <a:pt x="84" y="316"/>
                    <a:pt x="85" y="316"/>
                    <a:pt x="90" y="316"/>
                  </a:cubicBezTo>
                  <a:cubicBezTo>
                    <a:pt x="92" y="316"/>
                    <a:pt x="92" y="316"/>
                    <a:pt x="92" y="316"/>
                  </a:cubicBezTo>
                  <a:cubicBezTo>
                    <a:pt x="93" y="316"/>
                    <a:pt x="94" y="316"/>
                    <a:pt x="95" y="316"/>
                  </a:cubicBezTo>
                  <a:cubicBezTo>
                    <a:pt x="99" y="316"/>
                    <a:pt x="101" y="315"/>
                    <a:pt x="105" y="313"/>
                  </a:cubicBezTo>
                  <a:cubicBezTo>
                    <a:pt x="107" y="312"/>
                    <a:pt x="107" y="312"/>
                    <a:pt x="107" y="312"/>
                  </a:cubicBezTo>
                  <a:cubicBezTo>
                    <a:pt x="109" y="310"/>
                    <a:pt x="111" y="309"/>
                    <a:pt x="113" y="309"/>
                  </a:cubicBezTo>
                  <a:cubicBezTo>
                    <a:pt x="114" y="309"/>
                    <a:pt x="116" y="310"/>
                    <a:pt x="119" y="311"/>
                  </a:cubicBezTo>
                  <a:cubicBezTo>
                    <a:pt x="119" y="312"/>
                    <a:pt x="119" y="312"/>
                    <a:pt x="119" y="312"/>
                  </a:cubicBezTo>
                  <a:cubicBezTo>
                    <a:pt x="124" y="316"/>
                    <a:pt x="128" y="319"/>
                    <a:pt x="130" y="320"/>
                  </a:cubicBezTo>
                  <a:cubicBezTo>
                    <a:pt x="135" y="322"/>
                    <a:pt x="135" y="322"/>
                    <a:pt x="135" y="322"/>
                  </a:cubicBezTo>
                  <a:cubicBezTo>
                    <a:pt x="135" y="315"/>
                    <a:pt x="135" y="315"/>
                    <a:pt x="135" y="315"/>
                  </a:cubicBezTo>
                  <a:cubicBezTo>
                    <a:pt x="136" y="308"/>
                    <a:pt x="136" y="300"/>
                    <a:pt x="134" y="294"/>
                  </a:cubicBezTo>
                  <a:cubicBezTo>
                    <a:pt x="132" y="291"/>
                    <a:pt x="130" y="289"/>
                    <a:pt x="128" y="286"/>
                  </a:cubicBezTo>
                  <a:cubicBezTo>
                    <a:pt x="126" y="283"/>
                    <a:pt x="123" y="280"/>
                    <a:pt x="123" y="275"/>
                  </a:cubicBezTo>
                  <a:cubicBezTo>
                    <a:pt x="123" y="270"/>
                    <a:pt x="125" y="264"/>
                    <a:pt x="129" y="263"/>
                  </a:cubicBezTo>
                  <a:cubicBezTo>
                    <a:pt x="130" y="263"/>
                    <a:pt x="130" y="263"/>
                    <a:pt x="131" y="263"/>
                  </a:cubicBezTo>
                  <a:cubicBezTo>
                    <a:pt x="133" y="263"/>
                    <a:pt x="135" y="264"/>
                    <a:pt x="137" y="267"/>
                  </a:cubicBezTo>
                  <a:cubicBezTo>
                    <a:pt x="140" y="271"/>
                    <a:pt x="139" y="274"/>
                    <a:pt x="139" y="278"/>
                  </a:cubicBezTo>
                  <a:cubicBezTo>
                    <a:pt x="138" y="282"/>
                    <a:pt x="138" y="286"/>
                    <a:pt x="142" y="291"/>
                  </a:cubicBezTo>
                  <a:cubicBezTo>
                    <a:pt x="146" y="295"/>
                    <a:pt x="149" y="297"/>
                    <a:pt x="154" y="297"/>
                  </a:cubicBezTo>
                  <a:cubicBezTo>
                    <a:pt x="156" y="297"/>
                    <a:pt x="158" y="297"/>
                    <a:pt x="161" y="296"/>
                  </a:cubicBezTo>
                  <a:cubicBezTo>
                    <a:pt x="165" y="293"/>
                    <a:pt x="170" y="291"/>
                    <a:pt x="174" y="289"/>
                  </a:cubicBezTo>
                  <a:cubicBezTo>
                    <a:pt x="201" y="275"/>
                    <a:pt x="228" y="262"/>
                    <a:pt x="253" y="249"/>
                  </a:cubicBezTo>
                  <a:cubicBezTo>
                    <a:pt x="266" y="242"/>
                    <a:pt x="279" y="236"/>
                    <a:pt x="292" y="229"/>
                  </a:cubicBezTo>
                  <a:cubicBezTo>
                    <a:pt x="302" y="249"/>
                    <a:pt x="302" y="249"/>
                    <a:pt x="302" y="249"/>
                  </a:cubicBezTo>
                  <a:cubicBezTo>
                    <a:pt x="305" y="246"/>
                    <a:pt x="305" y="246"/>
                    <a:pt x="305" y="246"/>
                  </a:cubicBezTo>
                  <a:cubicBezTo>
                    <a:pt x="307" y="244"/>
                    <a:pt x="309" y="242"/>
                    <a:pt x="310" y="240"/>
                  </a:cubicBezTo>
                  <a:cubicBezTo>
                    <a:pt x="313" y="232"/>
                    <a:pt x="316" y="225"/>
                    <a:pt x="318" y="219"/>
                  </a:cubicBezTo>
                  <a:cubicBezTo>
                    <a:pt x="319" y="215"/>
                    <a:pt x="320" y="211"/>
                    <a:pt x="320" y="207"/>
                  </a:cubicBezTo>
                  <a:close/>
                  <a:moveTo>
                    <a:pt x="201" y="212"/>
                  </a:moveTo>
                  <a:cubicBezTo>
                    <a:pt x="201" y="206"/>
                    <a:pt x="201" y="202"/>
                    <a:pt x="204" y="198"/>
                  </a:cubicBezTo>
                  <a:cubicBezTo>
                    <a:pt x="205" y="197"/>
                    <a:pt x="207" y="196"/>
                    <a:pt x="208" y="195"/>
                  </a:cubicBezTo>
                  <a:cubicBezTo>
                    <a:pt x="208" y="194"/>
                    <a:pt x="209" y="193"/>
                    <a:pt x="210" y="192"/>
                  </a:cubicBezTo>
                  <a:cubicBezTo>
                    <a:pt x="211" y="191"/>
                    <a:pt x="213" y="189"/>
                    <a:pt x="214" y="187"/>
                  </a:cubicBezTo>
                  <a:cubicBezTo>
                    <a:pt x="214" y="188"/>
                    <a:pt x="214" y="188"/>
                    <a:pt x="214" y="189"/>
                  </a:cubicBezTo>
                  <a:cubicBezTo>
                    <a:pt x="214" y="190"/>
                    <a:pt x="214" y="191"/>
                    <a:pt x="214" y="192"/>
                  </a:cubicBezTo>
                  <a:cubicBezTo>
                    <a:pt x="213" y="195"/>
                    <a:pt x="212" y="197"/>
                    <a:pt x="209" y="199"/>
                  </a:cubicBezTo>
                  <a:cubicBezTo>
                    <a:pt x="208" y="200"/>
                    <a:pt x="207" y="200"/>
                    <a:pt x="206" y="202"/>
                  </a:cubicBezTo>
                  <a:cubicBezTo>
                    <a:pt x="203" y="205"/>
                    <a:pt x="203" y="209"/>
                    <a:pt x="202" y="212"/>
                  </a:cubicBezTo>
                  <a:cubicBezTo>
                    <a:pt x="202" y="214"/>
                    <a:pt x="202" y="215"/>
                    <a:pt x="201" y="216"/>
                  </a:cubicBezTo>
                  <a:cubicBezTo>
                    <a:pt x="201" y="216"/>
                    <a:pt x="201" y="215"/>
                    <a:pt x="201" y="214"/>
                  </a:cubicBezTo>
                  <a:cubicBezTo>
                    <a:pt x="201" y="213"/>
                    <a:pt x="201" y="213"/>
                    <a:pt x="201" y="212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65" name="Freeform 164"/>
            <p:cNvSpPr>
              <a:spLocks/>
            </p:cNvSpPr>
            <p:nvPr/>
          </p:nvSpPr>
          <p:spPr bwMode="auto">
            <a:xfrm>
              <a:off x="20434619" y="5811885"/>
              <a:ext cx="55397" cy="59730"/>
            </a:xfrm>
            <a:custGeom>
              <a:avLst/>
              <a:gdLst>
                <a:gd name="T0" fmla="*/ 9 w 10"/>
                <a:gd name="T1" fmla="*/ 4 h 12"/>
                <a:gd name="T2" fmla="*/ 7 w 10"/>
                <a:gd name="T3" fmla="*/ 3 h 12"/>
                <a:gd name="T4" fmla="*/ 7 w 10"/>
                <a:gd name="T5" fmla="*/ 0 h 12"/>
                <a:gd name="T6" fmla="*/ 0 w 10"/>
                <a:gd name="T7" fmla="*/ 7 h 12"/>
                <a:gd name="T8" fmla="*/ 1 w 10"/>
                <a:gd name="T9" fmla="*/ 11 h 12"/>
                <a:gd name="T10" fmla="*/ 5 w 10"/>
                <a:gd name="T11" fmla="*/ 12 h 12"/>
                <a:gd name="T12" fmla="*/ 5 w 10"/>
                <a:gd name="T13" fmla="*/ 9 h 12"/>
                <a:gd name="T14" fmla="*/ 5 w 10"/>
                <a:gd name="T15" fmla="*/ 9 h 12"/>
                <a:gd name="T16" fmla="*/ 9 w 10"/>
                <a:gd name="T1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2">
                  <a:moveTo>
                    <a:pt x="9" y="4"/>
                  </a:moveTo>
                  <a:cubicBezTo>
                    <a:pt x="9" y="3"/>
                    <a:pt x="8" y="3"/>
                    <a:pt x="7" y="3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4"/>
                    <a:pt x="0" y="7"/>
                  </a:cubicBezTo>
                  <a:cubicBezTo>
                    <a:pt x="0" y="9"/>
                    <a:pt x="0" y="10"/>
                    <a:pt x="1" y="11"/>
                  </a:cubicBezTo>
                  <a:cubicBezTo>
                    <a:pt x="2" y="11"/>
                    <a:pt x="4" y="12"/>
                    <a:pt x="5" y="12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8" y="9"/>
                    <a:pt x="10" y="7"/>
                    <a:pt x="9" y="4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66" name="Freeform 165"/>
            <p:cNvSpPr>
              <a:spLocks/>
            </p:cNvSpPr>
            <p:nvPr/>
          </p:nvSpPr>
          <p:spPr bwMode="auto">
            <a:xfrm>
              <a:off x="22685388" y="7532862"/>
              <a:ext cx="92329" cy="83996"/>
            </a:xfrm>
            <a:custGeom>
              <a:avLst/>
              <a:gdLst>
                <a:gd name="T0" fmla="*/ 13 w 17"/>
                <a:gd name="T1" fmla="*/ 0 h 17"/>
                <a:gd name="T2" fmla="*/ 10 w 17"/>
                <a:gd name="T3" fmla="*/ 1 h 17"/>
                <a:gd name="T4" fmla="*/ 2 w 17"/>
                <a:gd name="T5" fmla="*/ 10 h 17"/>
                <a:gd name="T6" fmla="*/ 1 w 17"/>
                <a:gd name="T7" fmla="*/ 16 h 17"/>
                <a:gd name="T8" fmla="*/ 4 w 17"/>
                <a:gd name="T9" fmla="*/ 17 h 17"/>
                <a:gd name="T10" fmla="*/ 8 w 17"/>
                <a:gd name="T11" fmla="*/ 16 h 17"/>
                <a:gd name="T12" fmla="*/ 11 w 17"/>
                <a:gd name="T13" fmla="*/ 11 h 17"/>
                <a:gd name="T14" fmla="*/ 12 w 17"/>
                <a:gd name="T15" fmla="*/ 10 h 17"/>
                <a:gd name="T16" fmla="*/ 12 w 17"/>
                <a:gd name="T17" fmla="*/ 10 h 17"/>
                <a:gd name="T18" fmla="*/ 17 w 17"/>
                <a:gd name="T19" fmla="*/ 4 h 17"/>
                <a:gd name="T20" fmla="*/ 13 w 17"/>
                <a:gd name="T2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7">
                  <a:moveTo>
                    <a:pt x="13" y="0"/>
                  </a:moveTo>
                  <a:cubicBezTo>
                    <a:pt x="12" y="0"/>
                    <a:pt x="11" y="1"/>
                    <a:pt x="10" y="1"/>
                  </a:cubicBezTo>
                  <a:cubicBezTo>
                    <a:pt x="7" y="3"/>
                    <a:pt x="3" y="7"/>
                    <a:pt x="2" y="10"/>
                  </a:cubicBezTo>
                  <a:cubicBezTo>
                    <a:pt x="0" y="12"/>
                    <a:pt x="0" y="14"/>
                    <a:pt x="1" y="16"/>
                  </a:cubicBezTo>
                  <a:cubicBezTo>
                    <a:pt x="2" y="17"/>
                    <a:pt x="3" y="17"/>
                    <a:pt x="4" y="17"/>
                  </a:cubicBezTo>
                  <a:cubicBezTo>
                    <a:pt x="6" y="17"/>
                    <a:pt x="7" y="17"/>
                    <a:pt x="8" y="16"/>
                  </a:cubicBezTo>
                  <a:cubicBezTo>
                    <a:pt x="10" y="15"/>
                    <a:pt x="11" y="13"/>
                    <a:pt x="11" y="11"/>
                  </a:cubicBezTo>
                  <a:cubicBezTo>
                    <a:pt x="12" y="11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6" y="9"/>
                    <a:pt x="17" y="7"/>
                    <a:pt x="17" y="4"/>
                  </a:cubicBezTo>
                  <a:cubicBezTo>
                    <a:pt x="17" y="0"/>
                    <a:pt x="14" y="0"/>
                    <a:pt x="13" y="0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67" name="Freeform 166"/>
            <p:cNvSpPr>
              <a:spLocks/>
            </p:cNvSpPr>
            <p:nvPr/>
          </p:nvSpPr>
          <p:spPr bwMode="auto">
            <a:xfrm>
              <a:off x="22767458" y="7493664"/>
              <a:ext cx="69759" cy="54131"/>
            </a:xfrm>
            <a:custGeom>
              <a:avLst/>
              <a:gdLst>
                <a:gd name="T0" fmla="*/ 12 w 13"/>
                <a:gd name="T1" fmla="*/ 2 h 11"/>
                <a:gd name="T2" fmla="*/ 7 w 13"/>
                <a:gd name="T3" fmla="*/ 0 h 11"/>
                <a:gd name="T4" fmla="*/ 0 w 13"/>
                <a:gd name="T5" fmla="*/ 4 h 11"/>
                <a:gd name="T6" fmla="*/ 1 w 13"/>
                <a:gd name="T7" fmla="*/ 9 h 11"/>
                <a:gd name="T8" fmla="*/ 6 w 13"/>
                <a:gd name="T9" fmla="*/ 11 h 11"/>
                <a:gd name="T10" fmla="*/ 6 w 13"/>
                <a:gd name="T11" fmla="*/ 11 h 11"/>
                <a:gd name="T12" fmla="*/ 13 w 13"/>
                <a:gd name="T13" fmla="*/ 5 h 11"/>
                <a:gd name="T14" fmla="*/ 12 w 13"/>
                <a:gd name="T1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1">
                  <a:moveTo>
                    <a:pt x="12" y="2"/>
                  </a:moveTo>
                  <a:cubicBezTo>
                    <a:pt x="11" y="1"/>
                    <a:pt x="10" y="0"/>
                    <a:pt x="7" y="0"/>
                  </a:cubicBezTo>
                  <a:cubicBezTo>
                    <a:pt x="5" y="0"/>
                    <a:pt x="1" y="1"/>
                    <a:pt x="0" y="4"/>
                  </a:cubicBezTo>
                  <a:cubicBezTo>
                    <a:pt x="0" y="5"/>
                    <a:pt x="0" y="7"/>
                    <a:pt x="1" y="9"/>
                  </a:cubicBezTo>
                  <a:cubicBezTo>
                    <a:pt x="2" y="10"/>
                    <a:pt x="4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9" y="10"/>
                    <a:pt x="12" y="8"/>
                    <a:pt x="13" y="5"/>
                  </a:cubicBezTo>
                  <a:cubicBezTo>
                    <a:pt x="13" y="4"/>
                    <a:pt x="13" y="3"/>
                    <a:pt x="12" y="2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68" name="Freeform 167"/>
            <p:cNvSpPr>
              <a:spLocks/>
            </p:cNvSpPr>
            <p:nvPr/>
          </p:nvSpPr>
          <p:spPr bwMode="auto">
            <a:xfrm>
              <a:off x="20440775" y="5936945"/>
              <a:ext cx="125157" cy="117594"/>
            </a:xfrm>
            <a:custGeom>
              <a:avLst/>
              <a:gdLst>
                <a:gd name="T0" fmla="*/ 22 w 23"/>
                <a:gd name="T1" fmla="*/ 15 h 24"/>
                <a:gd name="T2" fmla="*/ 18 w 23"/>
                <a:gd name="T3" fmla="*/ 9 h 24"/>
                <a:gd name="T4" fmla="*/ 14 w 23"/>
                <a:gd name="T5" fmla="*/ 8 h 24"/>
                <a:gd name="T6" fmla="*/ 14 w 23"/>
                <a:gd name="T7" fmla="*/ 8 h 24"/>
                <a:gd name="T8" fmla="*/ 13 w 23"/>
                <a:gd name="T9" fmla="*/ 8 h 24"/>
                <a:gd name="T10" fmla="*/ 13 w 23"/>
                <a:gd name="T11" fmla="*/ 6 h 24"/>
                <a:gd name="T12" fmla="*/ 11 w 23"/>
                <a:gd name="T13" fmla="*/ 3 h 24"/>
                <a:gd name="T14" fmla="*/ 6 w 23"/>
                <a:gd name="T15" fmla="*/ 0 h 24"/>
                <a:gd name="T16" fmla="*/ 2 w 23"/>
                <a:gd name="T17" fmla="*/ 2 h 24"/>
                <a:gd name="T18" fmla="*/ 0 w 23"/>
                <a:gd name="T19" fmla="*/ 6 h 24"/>
                <a:gd name="T20" fmla="*/ 4 w 23"/>
                <a:gd name="T21" fmla="*/ 11 h 24"/>
                <a:gd name="T22" fmla="*/ 4 w 23"/>
                <a:gd name="T23" fmla="*/ 11 h 24"/>
                <a:gd name="T24" fmla="*/ 1 w 23"/>
                <a:gd name="T25" fmla="*/ 17 h 24"/>
                <a:gd name="T26" fmla="*/ 2 w 23"/>
                <a:gd name="T27" fmla="*/ 21 h 24"/>
                <a:gd name="T28" fmla="*/ 7 w 23"/>
                <a:gd name="T29" fmla="*/ 23 h 24"/>
                <a:gd name="T30" fmla="*/ 9 w 23"/>
                <a:gd name="T31" fmla="*/ 23 h 24"/>
                <a:gd name="T32" fmla="*/ 12 w 23"/>
                <a:gd name="T33" fmla="*/ 23 h 24"/>
                <a:gd name="T34" fmla="*/ 15 w 23"/>
                <a:gd name="T35" fmla="*/ 24 h 24"/>
                <a:gd name="T36" fmla="*/ 15 w 23"/>
                <a:gd name="T37" fmla="*/ 24 h 24"/>
                <a:gd name="T38" fmla="*/ 21 w 23"/>
                <a:gd name="T39" fmla="*/ 21 h 24"/>
                <a:gd name="T40" fmla="*/ 22 w 23"/>
                <a:gd name="T41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24">
                  <a:moveTo>
                    <a:pt x="22" y="15"/>
                  </a:moveTo>
                  <a:cubicBezTo>
                    <a:pt x="22" y="12"/>
                    <a:pt x="20" y="10"/>
                    <a:pt x="18" y="9"/>
                  </a:cubicBezTo>
                  <a:cubicBezTo>
                    <a:pt x="17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3" y="8"/>
                    <a:pt x="13" y="8"/>
                  </a:cubicBezTo>
                  <a:cubicBezTo>
                    <a:pt x="13" y="7"/>
                    <a:pt x="13" y="7"/>
                    <a:pt x="13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1"/>
                    <a:pt x="8" y="0"/>
                    <a:pt x="6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8"/>
                    <a:pt x="2" y="10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2" y="12"/>
                    <a:pt x="1" y="14"/>
                    <a:pt x="1" y="17"/>
                  </a:cubicBezTo>
                  <a:cubicBezTo>
                    <a:pt x="1" y="19"/>
                    <a:pt x="1" y="20"/>
                    <a:pt x="2" y="21"/>
                  </a:cubicBezTo>
                  <a:cubicBezTo>
                    <a:pt x="4" y="23"/>
                    <a:pt x="6" y="23"/>
                    <a:pt x="7" y="23"/>
                  </a:cubicBezTo>
                  <a:cubicBezTo>
                    <a:pt x="7" y="23"/>
                    <a:pt x="9" y="23"/>
                    <a:pt x="9" y="23"/>
                  </a:cubicBezTo>
                  <a:cubicBezTo>
                    <a:pt x="10" y="23"/>
                    <a:pt x="11" y="23"/>
                    <a:pt x="12" y="23"/>
                  </a:cubicBezTo>
                  <a:cubicBezTo>
                    <a:pt x="13" y="24"/>
                    <a:pt x="14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8" y="24"/>
                    <a:pt x="20" y="23"/>
                    <a:pt x="21" y="21"/>
                  </a:cubicBezTo>
                  <a:cubicBezTo>
                    <a:pt x="22" y="19"/>
                    <a:pt x="23" y="17"/>
                    <a:pt x="22" y="15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69" name="Freeform 168"/>
            <p:cNvSpPr>
              <a:spLocks/>
            </p:cNvSpPr>
            <p:nvPr/>
          </p:nvSpPr>
          <p:spPr bwMode="auto">
            <a:xfrm>
              <a:off x="22277090" y="7964040"/>
              <a:ext cx="86173" cy="89595"/>
            </a:xfrm>
            <a:custGeom>
              <a:avLst/>
              <a:gdLst>
                <a:gd name="T0" fmla="*/ 14 w 16"/>
                <a:gd name="T1" fmla="*/ 3 h 18"/>
                <a:gd name="T2" fmla="*/ 10 w 16"/>
                <a:gd name="T3" fmla="*/ 0 h 18"/>
                <a:gd name="T4" fmla="*/ 7 w 16"/>
                <a:gd name="T5" fmla="*/ 1 h 18"/>
                <a:gd name="T6" fmla="*/ 1 w 16"/>
                <a:gd name="T7" fmla="*/ 10 h 18"/>
                <a:gd name="T8" fmla="*/ 2 w 16"/>
                <a:gd name="T9" fmla="*/ 16 h 18"/>
                <a:gd name="T10" fmla="*/ 6 w 16"/>
                <a:gd name="T11" fmla="*/ 18 h 18"/>
                <a:gd name="T12" fmla="*/ 9 w 16"/>
                <a:gd name="T13" fmla="*/ 16 h 18"/>
                <a:gd name="T14" fmla="*/ 15 w 16"/>
                <a:gd name="T15" fmla="*/ 9 h 18"/>
                <a:gd name="T16" fmla="*/ 14 w 16"/>
                <a:gd name="T17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8">
                  <a:moveTo>
                    <a:pt x="14" y="3"/>
                  </a:moveTo>
                  <a:cubicBezTo>
                    <a:pt x="13" y="1"/>
                    <a:pt x="11" y="0"/>
                    <a:pt x="10" y="0"/>
                  </a:cubicBezTo>
                  <a:cubicBezTo>
                    <a:pt x="9" y="0"/>
                    <a:pt x="8" y="1"/>
                    <a:pt x="7" y="1"/>
                  </a:cubicBezTo>
                  <a:cubicBezTo>
                    <a:pt x="4" y="2"/>
                    <a:pt x="1" y="8"/>
                    <a:pt x="1" y="10"/>
                  </a:cubicBezTo>
                  <a:cubicBezTo>
                    <a:pt x="0" y="12"/>
                    <a:pt x="1" y="15"/>
                    <a:pt x="2" y="16"/>
                  </a:cubicBezTo>
                  <a:cubicBezTo>
                    <a:pt x="3" y="17"/>
                    <a:pt x="4" y="18"/>
                    <a:pt x="6" y="18"/>
                  </a:cubicBezTo>
                  <a:cubicBezTo>
                    <a:pt x="7" y="18"/>
                    <a:pt x="8" y="17"/>
                    <a:pt x="9" y="16"/>
                  </a:cubicBezTo>
                  <a:cubicBezTo>
                    <a:pt x="12" y="15"/>
                    <a:pt x="14" y="12"/>
                    <a:pt x="15" y="9"/>
                  </a:cubicBezTo>
                  <a:cubicBezTo>
                    <a:pt x="16" y="7"/>
                    <a:pt x="16" y="5"/>
                    <a:pt x="14" y="3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70" name="Freeform 169"/>
            <p:cNvSpPr>
              <a:spLocks/>
            </p:cNvSpPr>
            <p:nvPr/>
          </p:nvSpPr>
          <p:spPr bwMode="auto">
            <a:xfrm>
              <a:off x="19519539" y="6039607"/>
              <a:ext cx="92329" cy="50397"/>
            </a:xfrm>
            <a:custGeom>
              <a:avLst/>
              <a:gdLst>
                <a:gd name="T0" fmla="*/ 16 w 17"/>
                <a:gd name="T1" fmla="*/ 2 h 10"/>
                <a:gd name="T2" fmla="*/ 13 w 17"/>
                <a:gd name="T3" fmla="*/ 1 h 10"/>
                <a:gd name="T4" fmla="*/ 10 w 17"/>
                <a:gd name="T5" fmla="*/ 1 h 10"/>
                <a:gd name="T6" fmla="*/ 10 w 17"/>
                <a:gd name="T7" fmla="*/ 2 h 10"/>
                <a:gd name="T8" fmla="*/ 9 w 17"/>
                <a:gd name="T9" fmla="*/ 1 h 10"/>
                <a:gd name="T10" fmla="*/ 5 w 17"/>
                <a:gd name="T11" fmla="*/ 0 h 10"/>
                <a:gd name="T12" fmla="*/ 4 w 17"/>
                <a:gd name="T13" fmla="*/ 0 h 10"/>
                <a:gd name="T14" fmla="*/ 0 w 17"/>
                <a:gd name="T15" fmla="*/ 3 h 10"/>
                <a:gd name="T16" fmla="*/ 1 w 17"/>
                <a:gd name="T17" fmla="*/ 8 h 10"/>
                <a:gd name="T18" fmla="*/ 6 w 17"/>
                <a:gd name="T19" fmla="*/ 10 h 10"/>
                <a:gd name="T20" fmla="*/ 6 w 17"/>
                <a:gd name="T21" fmla="*/ 10 h 10"/>
                <a:gd name="T22" fmla="*/ 7 w 17"/>
                <a:gd name="T23" fmla="*/ 10 h 10"/>
                <a:gd name="T24" fmla="*/ 10 w 17"/>
                <a:gd name="T25" fmla="*/ 10 h 10"/>
                <a:gd name="T26" fmla="*/ 17 w 17"/>
                <a:gd name="T27" fmla="*/ 6 h 10"/>
                <a:gd name="T28" fmla="*/ 16 w 17"/>
                <a:gd name="T2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10">
                  <a:moveTo>
                    <a:pt x="16" y="2"/>
                  </a:moveTo>
                  <a:cubicBezTo>
                    <a:pt x="16" y="2"/>
                    <a:pt x="15" y="1"/>
                    <a:pt x="13" y="1"/>
                  </a:cubicBezTo>
                  <a:cubicBezTo>
                    <a:pt x="12" y="1"/>
                    <a:pt x="11" y="1"/>
                    <a:pt x="10" y="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1"/>
                    <a:pt x="9" y="1"/>
                  </a:cubicBezTo>
                  <a:cubicBezTo>
                    <a:pt x="8" y="1"/>
                    <a:pt x="7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2" y="1"/>
                    <a:pt x="1" y="2"/>
                    <a:pt x="0" y="3"/>
                  </a:cubicBezTo>
                  <a:cubicBezTo>
                    <a:pt x="0" y="5"/>
                    <a:pt x="0" y="7"/>
                    <a:pt x="1" y="8"/>
                  </a:cubicBezTo>
                  <a:cubicBezTo>
                    <a:pt x="2" y="10"/>
                    <a:pt x="5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10"/>
                    <a:pt x="9" y="10"/>
                    <a:pt x="10" y="10"/>
                  </a:cubicBezTo>
                  <a:cubicBezTo>
                    <a:pt x="15" y="10"/>
                    <a:pt x="17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71" name="Freeform 170"/>
            <p:cNvSpPr>
              <a:spLocks/>
            </p:cNvSpPr>
            <p:nvPr/>
          </p:nvSpPr>
          <p:spPr bwMode="auto">
            <a:xfrm>
              <a:off x="19131759" y="5964944"/>
              <a:ext cx="131312" cy="100795"/>
            </a:xfrm>
            <a:custGeom>
              <a:avLst/>
              <a:gdLst>
                <a:gd name="T0" fmla="*/ 23 w 24"/>
                <a:gd name="T1" fmla="*/ 8 h 20"/>
                <a:gd name="T2" fmla="*/ 12 w 24"/>
                <a:gd name="T3" fmla="*/ 0 h 20"/>
                <a:gd name="T4" fmla="*/ 11 w 24"/>
                <a:gd name="T5" fmla="*/ 0 h 20"/>
                <a:gd name="T6" fmla="*/ 3 w 24"/>
                <a:gd name="T7" fmla="*/ 3 h 20"/>
                <a:gd name="T8" fmla="*/ 0 w 24"/>
                <a:gd name="T9" fmla="*/ 8 h 20"/>
                <a:gd name="T10" fmla="*/ 2 w 24"/>
                <a:gd name="T11" fmla="*/ 12 h 20"/>
                <a:gd name="T12" fmla="*/ 4 w 24"/>
                <a:gd name="T13" fmla="*/ 13 h 20"/>
                <a:gd name="T14" fmla="*/ 5 w 24"/>
                <a:gd name="T15" fmla="*/ 14 h 20"/>
                <a:gd name="T16" fmla="*/ 7 w 24"/>
                <a:gd name="T17" fmla="*/ 16 h 20"/>
                <a:gd name="T18" fmla="*/ 8 w 24"/>
                <a:gd name="T19" fmla="*/ 17 h 20"/>
                <a:gd name="T20" fmla="*/ 15 w 24"/>
                <a:gd name="T21" fmla="*/ 20 h 20"/>
                <a:gd name="T22" fmla="*/ 15 w 24"/>
                <a:gd name="T23" fmla="*/ 20 h 20"/>
                <a:gd name="T24" fmla="*/ 20 w 24"/>
                <a:gd name="T25" fmla="*/ 18 h 20"/>
                <a:gd name="T26" fmla="*/ 23 w 24"/>
                <a:gd name="T27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0">
                  <a:moveTo>
                    <a:pt x="23" y="8"/>
                  </a:moveTo>
                  <a:cubicBezTo>
                    <a:pt x="22" y="4"/>
                    <a:pt x="17" y="0"/>
                    <a:pt x="12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8" y="0"/>
                    <a:pt x="6" y="1"/>
                    <a:pt x="3" y="3"/>
                  </a:cubicBezTo>
                  <a:cubicBezTo>
                    <a:pt x="2" y="4"/>
                    <a:pt x="0" y="6"/>
                    <a:pt x="0" y="8"/>
                  </a:cubicBezTo>
                  <a:cubicBezTo>
                    <a:pt x="0" y="9"/>
                    <a:pt x="0" y="11"/>
                    <a:pt x="2" y="12"/>
                  </a:cubicBezTo>
                  <a:cubicBezTo>
                    <a:pt x="2" y="12"/>
                    <a:pt x="3" y="13"/>
                    <a:pt x="4" y="13"/>
                  </a:cubicBezTo>
                  <a:cubicBezTo>
                    <a:pt x="4" y="13"/>
                    <a:pt x="5" y="14"/>
                    <a:pt x="5" y="14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8"/>
                    <a:pt x="12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7" y="20"/>
                    <a:pt x="19" y="19"/>
                    <a:pt x="20" y="18"/>
                  </a:cubicBezTo>
                  <a:cubicBezTo>
                    <a:pt x="23" y="15"/>
                    <a:pt x="24" y="11"/>
                    <a:pt x="23" y="8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72" name="Freeform 171"/>
            <p:cNvSpPr>
              <a:spLocks/>
            </p:cNvSpPr>
            <p:nvPr/>
          </p:nvSpPr>
          <p:spPr bwMode="auto">
            <a:xfrm>
              <a:off x="19164587" y="5862282"/>
              <a:ext cx="59501" cy="54131"/>
            </a:xfrm>
            <a:custGeom>
              <a:avLst/>
              <a:gdLst>
                <a:gd name="T0" fmla="*/ 10 w 11"/>
                <a:gd name="T1" fmla="*/ 3 h 11"/>
                <a:gd name="T2" fmla="*/ 7 w 11"/>
                <a:gd name="T3" fmla="*/ 0 h 11"/>
                <a:gd name="T4" fmla="*/ 3 w 11"/>
                <a:gd name="T5" fmla="*/ 2 h 11"/>
                <a:gd name="T6" fmla="*/ 1 w 11"/>
                <a:gd name="T7" fmla="*/ 9 h 11"/>
                <a:gd name="T8" fmla="*/ 4 w 11"/>
                <a:gd name="T9" fmla="*/ 11 h 11"/>
                <a:gd name="T10" fmla="*/ 8 w 11"/>
                <a:gd name="T11" fmla="*/ 9 h 11"/>
                <a:gd name="T12" fmla="*/ 8 w 11"/>
                <a:gd name="T13" fmla="*/ 9 h 11"/>
                <a:gd name="T14" fmla="*/ 10 w 11"/>
                <a:gd name="T15" fmla="*/ 7 h 11"/>
                <a:gd name="T16" fmla="*/ 10 w 11"/>
                <a:gd name="T1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1">
                  <a:moveTo>
                    <a:pt x="10" y="3"/>
                  </a:move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1"/>
                    <a:pt x="3" y="2"/>
                  </a:cubicBezTo>
                  <a:cubicBezTo>
                    <a:pt x="1" y="4"/>
                    <a:pt x="0" y="6"/>
                    <a:pt x="1" y="9"/>
                  </a:cubicBezTo>
                  <a:cubicBezTo>
                    <a:pt x="1" y="10"/>
                    <a:pt x="3" y="11"/>
                    <a:pt x="4" y="11"/>
                  </a:cubicBezTo>
                  <a:cubicBezTo>
                    <a:pt x="5" y="11"/>
                    <a:pt x="7" y="10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" y="9"/>
                    <a:pt x="10" y="8"/>
                    <a:pt x="10" y="7"/>
                  </a:cubicBezTo>
                  <a:cubicBezTo>
                    <a:pt x="11" y="6"/>
                    <a:pt x="11" y="4"/>
                    <a:pt x="10" y="3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73" name="Freeform 172"/>
            <p:cNvSpPr>
              <a:spLocks/>
            </p:cNvSpPr>
            <p:nvPr/>
          </p:nvSpPr>
          <p:spPr bwMode="auto">
            <a:xfrm>
              <a:off x="19224087" y="5916413"/>
              <a:ext cx="114898" cy="78396"/>
            </a:xfrm>
            <a:custGeom>
              <a:avLst/>
              <a:gdLst>
                <a:gd name="T0" fmla="*/ 18 w 21"/>
                <a:gd name="T1" fmla="*/ 3 h 16"/>
                <a:gd name="T2" fmla="*/ 9 w 21"/>
                <a:gd name="T3" fmla="*/ 0 h 16"/>
                <a:gd name="T4" fmla="*/ 1 w 21"/>
                <a:gd name="T5" fmla="*/ 5 h 16"/>
                <a:gd name="T6" fmla="*/ 3 w 21"/>
                <a:gd name="T7" fmla="*/ 10 h 16"/>
                <a:gd name="T8" fmla="*/ 7 w 21"/>
                <a:gd name="T9" fmla="*/ 11 h 16"/>
                <a:gd name="T10" fmla="*/ 9 w 21"/>
                <a:gd name="T11" fmla="*/ 12 h 16"/>
                <a:gd name="T12" fmla="*/ 10 w 21"/>
                <a:gd name="T13" fmla="*/ 13 h 16"/>
                <a:gd name="T14" fmla="*/ 15 w 21"/>
                <a:gd name="T15" fmla="*/ 16 h 16"/>
                <a:gd name="T16" fmla="*/ 18 w 21"/>
                <a:gd name="T17" fmla="*/ 15 h 16"/>
                <a:gd name="T18" fmla="*/ 21 w 21"/>
                <a:gd name="T19" fmla="*/ 10 h 16"/>
                <a:gd name="T20" fmla="*/ 18 w 21"/>
                <a:gd name="T21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6">
                  <a:moveTo>
                    <a:pt x="18" y="3"/>
                  </a:moveTo>
                  <a:cubicBezTo>
                    <a:pt x="15" y="0"/>
                    <a:pt x="10" y="0"/>
                    <a:pt x="9" y="0"/>
                  </a:cubicBezTo>
                  <a:cubicBezTo>
                    <a:pt x="7" y="0"/>
                    <a:pt x="2" y="1"/>
                    <a:pt x="1" y="5"/>
                  </a:cubicBezTo>
                  <a:cubicBezTo>
                    <a:pt x="1" y="5"/>
                    <a:pt x="0" y="8"/>
                    <a:pt x="3" y="10"/>
                  </a:cubicBezTo>
                  <a:cubicBezTo>
                    <a:pt x="4" y="10"/>
                    <a:pt x="5" y="11"/>
                    <a:pt x="7" y="11"/>
                  </a:cubicBezTo>
                  <a:cubicBezTo>
                    <a:pt x="7" y="11"/>
                    <a:pt x="8" y="12"/>
                    <a:pt x="9" y="12"/>
                  </a:cubicBezTo>
                  <a:cubicBezTo>
                    <a:pt x="9" y="12"/>
                    <a:pt x="9" y="13"/>
                    <a:pt x="10" y="13"/>
                  </a:cubicBezTo>
                  <a:cubicBezTo>
                    <a:pt x="11" y="14"/>
                    <a:pt x="13" y="16"/>
                    <a:pt x="15" y="16"/>
                  </a:cubicBezTo>
                  <a:cubicBezTo>
                    <a:pt x="16" y="16"/>
                    <a:pt x="17" y="16"/>
                    <a:pt x="18" y="15"/>
                  </a:cubicBezTo>
                  <a:cubicBezTo>
                    <a:pt x="20" y="14"/>
                    <a:pt x="21" y="12"/>
                    <a:pt x="21" y="10"/>
                  </a:cubicBezTo>
                  <a:cubicBezTo>
                    <a:pt x="21" y="7"/>
                    <a:pt x="20" y="4"/>
                    <a:pt x="18" y="3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74" name="Freeform 173"/>
            <p:cNvSpPr>
              <a:spLocks/>
            </p:cNvSpPr>
            <p:nvPr/>
          </p:nvSpPr>
          <p:spPr bwMode="auto">
            <a:xfrm>
              <a:off x="19061999" y="5027926"/>
              <a:ext cx="342642" cy="248254"/>
            </a:xfrm>
            <a:custGeom>
              <a:avLst/>
              <a:gdLst>
                <a:gd name="T0" fmla="*/ 59 w 63"/>
                <a:gd name="T1" fmla="*/ 7 h 50"/>
                <a:gd name="T2" fmla="*/ 50 w 63"/>
                <a:gd name="T3" fmla="*/ 4 h 50"/>
                <a:gd name="T4" fmla="*/ 47 w 63"/>
                <a:gd name="T5" fmla="*/ 4 h 50"/>
                <a:gd name="T6" fmla="*/ 44 w 63"/>
                <a:gd name="T7" fmla="*/ 4 h 50"/>
                <a:gd name="T8" fmla="*/ 36 w 63"/>
                <a:gd name="T9" fmla="*/ 7 h 50"/>
                <a:gd name="T10" fmla="*/ 35 w 63"/>
                <a:gd name="T11" fmla="*/ 9 h 50"/>
                <a:gd name="T12" fmla="*/ 25 w 63"/>
                <a:gd name="T13" fmla="*/ 1 h 50"/>
                <a:gd name="T14" fmla="*/ 21 w 63"/>
                <a:gd name="T15" fmla="*/ 0 h 50"/>
                <a:gd name="T16" fmla="*/ 10 w 63"/>
                <a:gd name="T17" fmla="*/ 6 h 50"/>
                <a:gd name="T18" fmla="*/ 10 w 63"/>
                <a:gd name="T19" fmla="*/ 6 h 50"/>
                <a:gd name="T20" fmla="*/ 2 w 63"/>
                <a:gd name="T21" fmla="*/ 19 h 50"/>
                <a:gd name="T22" fmla="*/ 8 w 63"/>
                <a:gd name="T23" fmla="*/ 47 h 50"/>
                <a:gd name="T24" fmla="*/ 18 w 63"/>
                <a:gd name="T25" fmla="*/ 50 h 50"/>
                <a:gd name="T26" fmla="*/ 35 w 63"/>
                <a:gd name="T27" fmla="*/ 42 h 50"/>
                <a:gd name="T28" fmla="*/ 38 w 63"/>
                <a:gd name="T29" fmla="*/ 17 h 50"/>
                <a:gd name="T30" fmla="*/ 43 w 63"/>
                <a:gd name="T31" fmla="*/ 21 h 50"/>
                <a:gd name="T32" fmla="*/ 45 w 63"/>
                <a:gd name="T33" fmla="*/ 21 h 50"/>
                <a:gd name="T34" fmla="*/ 48 w 63"/>
                <a:gd name="T35" fmla="*/ 21 h 50"/>
                <a:gd name="T36" fmla="*/ 49 w 63"/>
                <a:gd name="T37" fmla="*/ 21 h 50"/>
                <a:gd name="T38" fmla="*/ 51 w 63"/>
                <a:gd name="T39" fmla="*/ 21 h 50"/>
                <a:gd name="T40" fmla="*/ 54 w 63"/>
                <a:gd name="T41" fmla="*/ 21 h 50"/>
                <a:gd name="T42" fmla="*/ 55 w 63"/>
                <a:gd name="T43" fmla="*/ 21 h 50"/>
                <a:gd name="T44" fmla="*/ 62 w 63"/>
                <a:gd name="T45" fmla="*/ 16 h 50"/>
                <a:gd name="T46" fmla="*/ 59 w 63"/>
                <a:gd name="T47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" h="50">
                  <a:moveTo>
                    <a:pt x="59" y="7"/>
                  </a:moveTo>
                  <a:cubicBezTo>
                    <a:pt x="57" y="4"/>
                    <a:pt x="53" y="4"/>
                    <a:pt x="50" y="4"/>
                  </a:cubicBezTo>
                  <a:cubicBezTo>
                    <a:pt x="49" y="4"/>
                    <a:pt x="48" y="4"/>
                    <a:pt x="47" y="4"/>
                  </a:cubicBezTo>
                  <a:cubicBezTo>
                    <a:pt x="46" y="4"/>
                    <a:pt x="45" y="4"/>
                    <a:pt x="44" y="4"/>
                  </a:cubicBezTo>
                  <a:cubicBezTo>
                    <a:pt x="42" y="4"/>
                    <a:pt x="38" y="4"/>
                    <a:pt x="36" y="7"/>
                  </a:cubicBezTo>
                  <a:cubicBezTo>
                    <a:pt x="35" y="7"/>
                    <a:pt x="35" y="8"/>
                    <a:pt x="35" y="9"/>
                  </a:cubicBezTo>
                  <a:cubicBezTo>
                    <a:pt x="33" y="6"/>
                    <a:pt x="30" y="3"/>
                    <a:pt x="25" y="1"/>
                  </a:cubicBezTo>
                  <a:cubicBezTo>
                    <a:pt x="24" y="0"/>
                    <a:pt x="23" y="0"/>
                    <a:pt x="21" y="0"/>
                  </a:cubicBezTo>
                  <a:cubicBezTo>
                    <a:pt x="17" y="0"/>
                    <a:pt x="13" y="3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6" y="10"/>
                    <a:pt x="3" y="14"/>
                    <a:pt x="2" y="19"/>
                  </a:cubicBezTo>
                  <a:cubicBezTo>
                    <a:pt x="0" y="28"/>
                    <a:pt x="1" y="40"/>
                    <a:pt x="8" y="47"/>
                  </a:cubicBezTo>
                  <a:cubicBezTo>
                    <a:pt x="10" y="49"/>
                    <a:pt x="14" y="50"/>
                    <a:pt x="18" y="50"/>
                  </a:cubicBezTo>
                  <a:cubicBezTo>
                    <a:pt x="25" y="50"/>
                    <a:pt x="31" y="46"/>
                    <a:pt x="35" y="42"/>
                  </a:cubicBezTo>
                  <a:cubicBezTo>
                    <a:pt x="42" y="35"/>
                    <a:pt x="40" y="24"/>
                    <a:pt x="38" y="17"/>
                  </a:cubicBezTo>
                  <a:cubicBezTo>
                    <a:pt x="39" y="19"/>
                    <a:pt x="40" y="20"/>
                    <a:pt x="43" y="21"/>
                  </a:cubicBezTo>
                  <a:cubicBezTo>
                    <a:pt x="43" y="21"/>
                    <a:pt x="44" y="21"/>
                    <a:pt x="45" y="21"/>
                  </a:cubicBezTo>
                  <a:cubicBezTo>
                    <a:pt x="46" y="21"/>
                    <a:pt x="47" y="21"/>
                    <a:pt x="48" y="21"/>
                  </a:cubicBezTo>
                  <a:cubicBezTo>
                    <a:pt x="48" y="21"/>
                    <a:pt x="49" y="21"/>
                    <a:pt x="49" y="21"/>
                  </a:cubicBezTo>
                  <a:cubicBezTo>
                    <a:pt x="50" y="21"/>
                    <a:pt x="50" y="21"/>
                    <a:pt x="51" y="21"/>
                  </a:cubicBezTo>
                  <a:cubicBezTo>
                    <a:pt x="51" y="21"/>
                    <a:pt x="53" y="21"/>
                    <a:pt x="54" y="21"/>
                  </a:cubicBezTo>
                  <a:cubicBezTo>
                    <a:pt x="54" y="21"/>
                    <a:pt x="55" y="21"/>
                    <a:pt x="55" y="21"/>
                  </a:cubicBezTo>
                  <a:cubicBezTo>
                    <a:pt x="58" y="20"/>
                    <a:pt x="61" y="19"/>
                    <a:pt x="62" y="16"/>
                  </a:cubicBezTo>
                  <a:cubicBezTo>
                    <a:pt x="63" y="13"/>
                    <a:pt x="62" y="10"/>
                    <a:pt x="59" y="7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75" name="Freeform 174"/>
            <p:cNvSpPr>
              <a:spLocks/>
            </p:cNvSpPr>
            <p:nvPr/>
          </p:nvSpPr>
          <p:spPr bwMode="auto">
            <a:xfrm>
              <a:off x="19170742" y="4953263"/>
              <a:ext cx="86173" cy="85862"/>
            </a:xfrm>
            <a:custGeom>
              <a:avLst/>
              <a:gdLst>
                <a:gd name="T0" fmla="*/ 7 w 16"/>
                <a:gd name="T1" fmla="*/ 16 h 17"/>
                <a:gd name="T2" fmla="*/ 10 w 16"/>
                <a:gd name="T3" fmla="*/ 17 h 17"/>
                <a:gd name="T4" fmla="*/ 14 w 16"/>
                <a:gd name="T5" fmla="*/ 15 h 17"/>
                <a:gd name="T6" fmla="*/ 15 w 16"/>
                <a:gd name="T7" fmla="*/ 10 h 17"/>
                <a:gd name="T8" fmla="*/ 13 w 16"/>
                <a:gd name="T9" fmla="*/ 5 h 17"/>
                <a:gd name="T10" fmla="*/ 11 w 16"/>
                <a:gd name="T11" fmla="*/ 4 h 17"/>
                <a:gd name="T12" fmla="*/ 6 w 16"/>
                <a:gd name="T13" fmla="*/ 0 h 17"/>
                <a:gd name="T14" fmla="*/ 1 w 16"/>
                <a:gd name="T15" fmla="*/ 6 h 17"/>
                <a:gd name="T16" fmla="*/ 7 w 16"/>
                <a:gd name="T1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7">
                  <a:moveTo>
                    <a:pt x="7" y="16"/>
                  </a:moveTo>
                  <a:cubicBezTo>
                    <a:pt x="8" y="17"/>
                    <a:pt x="9" y="17"/>
                    <a:pt x="10" y="17"/>
                  </a:cubicBezTo>
                  <a:cubicBezTo>
                    <a:pt x="12" y="17"/>
                    <a:pt x="13" y="16"/>
                    <a:pt x="14" y="15"/>
                  </a:cubicBezTo>
                  <a:cubicBezTo>
                    <a:pt x="15" y="14"/>
                    <a:pt x="16" y="12"/>
                    <a:pt x="15" y="10"/>
                  </a:cubicBezTo>
                  <a:cubicBezTo>
                    <a:pt x="15" y="8"/>
                    <a:pt x="14" y="6"/>
                    <a:pt x="13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10" y="1"/>
                    <a:pt x="8" y="0"/>
                    <a:pt x="6" y="0"/>
                  </a:cubicBezTo>
                  <a:cubicBezTo>
                    <a:pt x="3" y="0"/>
                    <a:pt x="1" y="2"/>
                    <a:pt x="1" y="6"/>
                  </a:cubicBezTo>
                  <a:cubicBezTo>
                    <a:pt x="0" y="10"/>
                    <a:pt x="4" y="14"/>
                    <a:pt x="7" y="16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76" name="Freeform 175"/>
            <p:cNvSpPr>
              <a:spLocks/>
            </p:cNvSpPr>
            <p:nvPr/>
          </p:nvSpPr>
          <p:spPr bwMode="auto">
            <a:xfrm>
              <a:off x="19049689" y="6760102"/>
              <a:ext cx="55397" cy="57864"/>
            </a:xfrm>
            <a:custGeom>
              <a:avLst/>
              <a:gdLst>
                <a:gd name="T0" fmla="*/ 6 w 10"/>
                <a:gd name="T1" fmla="*/ 0 h 12"/>
                <a:gd name="T2" fmla="*/ 5 w 10"/>
                <a:gd name="T3" fmla="*/ 0 h 12"/>
                <a:gd name="T4" fmla="*/ 2 w 10"/>
                <a:gd name="T5" fmla="*/ 2 h 12"/>
                <a:gd name="T6" fmla="*/ 1 w 10"/>
                <a:gd name="T7" fmla="*/ 9 h 12"/>
                <a:gd name="T8" fmla="*/ 1 w 10"/>
                <a:gd name="T9" fmla="*/ 11 h 12"/>
                <a:gd name="T10" fmla="*/ 3 w 10"/>
                <a:gd name="T11" fmla="*/ 11 h 12"/>
                <a:gd name="T12" fmla="*/ 5 w 10"/>
                <a:gd name="T13" fmla="*/ 12 h 12"/>
                <a:gd name="T14" fmla="*/ 10 w 10"/>
                <a:gd name="T15" fmla="*/ 6 h 12"/>
                <a:gd name="T16" fmla="*/ 6 w 10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0" y="4"/>
                    <a:pt x="1" y="8"/>
                    <a:pt x="1" y="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8" y="12"/>
                    <a:pt x="10" y="9"/>
                    <a:pt x="10" y="6"/>
                  </a:cubicBezTo>
                  <a:cubicBezTo>
                    <a:pt x="10" y="3"/>
                    <a:pt x="9" y="1"/>
                    <a:pt x="6" y="0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77" name="Freeform 176"/>
            <p:cNvSpPr>
              <a:spLocks/>
            </p:cNvSpPr>
            <p:nvPr/>
          </p:nvSpPr>
          <p:spPr bwMode="auto">
            <a:xfrm>
              <a:off x="19203570" y="7295808"/>
              <a:ext cx="207227" cy="182924"/>
            </a:xfrm>
            <a:custGeom>
              <a:avLst/>
              <a:gdLst>
                <a:gd name="T0" fmla="*/ 37 w 38"/>
                <a:gd name="T1" fmla="*/ 11 h 37"/>
                <a:gd name="T2" fmla="*/ 37 w 38"/>
                <a:gd name="T3" fmla="*/ 10 h 37"/>
                <a:gd name="T4" fmla="*/ 37 w 38"/>
                <a:gd name="T5" fmla="*/ 9 h 37"/>
                <a:gd name="T6" fmla="*/ 36 w 38"/>
                <a:gd name="T7" fmla="*/ 5 h 37"/>
                <a:gd name="T8" fmla="*/ 33 w 38"/>
                <a:gd name="T9" fmla="*/ 3 h 37"/>
                <a:gd name="T10" fmla="*/ 30 w 38"/>
                <a:gd name="T11" fmla="*/ 5 h 37"/>
                <a:gd name="T12" fmla="*/ 29 w 38"/>
                <a:gd name="T13" fmla="*/ 5 h 37"/>
                <a:gd name="T14" fmla="*/ 28 w 38"/>
                <a:gd name="T15" fmla="*/ 5 h 37"/>
                <a:gd name="T16" fmla="*/ 26 w 38"/>
                <a:gd name="T17" fmla="*/ 2 h 37"/>
                <a:gd name="T18" fmla="*/ 23 w 38"/>
                <a:gd name="T19" fmla="*/ 0 h 37"/>
                <a:gd name="T20" fmla="*/ 18 w 38"/>
                <a:gd name="T21" fmla="*/ 6 h 37"/>
                <a:gd name="T22" fmla="*/ 17 w 38"/>
                <a:gd name="T23" fmla="*/ 7 h 37"/>
                <a:gd name="T24" fmla="*/ 16 w 38"/>
                <a:gd name="T25" fmla="*/ 9 h 37"/>
                <a:gd name="T26" fmla="*/ 15 w 38"/>
                <a:gd name="T27" fmla="*/ 8 h 37"/>
                <a:gd name="T28" fmla="*/ 11 w 38"/>
                <a:gd name="T29" fmla="*/ 7 h 37"/>
                <a:gd name="T30" fmla="*/ 9 w 38"/>
                <a:gd name="T31" fmla="*/ 7 h 37"/>
                <a:gd name="T32" fmla="*/ 6 w 38"/>
                <a:gd name="T33" fmla="*/ 11 h 37"/>
                <a:gd name="T34" fmla="*/ 6 w 38"/>
                <a:gd name="T35" fmla="*/ 11 h 37"/>
                <a:gd name="T36" fmla="*/ 1 w 38"/>
                <a:gd name="T37" fmla="*/ 16 h 37"/>
                <a:gd name="T38" fmla="*/ 1 w 38"/>
                <a:gd name="T39" fmla="*/ 21 h 37"/>
                <a:gd name="T40" fmla="*/ 5 w 38"/>
                <a:gd name="T41" fmla="*/ 24 h 37"/>
                <a:gd name="T42" fmla="*/ 6 w 38"/>
                <a:gd name="T43" fmla="*/ 23 h 37"/>
                <a:gd name="T44" fmla="*/ 5 w 38"/>
                <a:gd name="T45" fmla="*/ 25 h 37"/>
                <a:gd name="T46" fmla="*/ 4 w 38"/>
                <a:gd name="T47" fmla="*/ 26 h 37"/>
                <a:gd name="T48" fmla="*/ 3 w 38"/>
                <a:gd name="T49" fmla="*/ 29 h 37"/>
                <a:gd name="T50" fmla="*/ 4 w 38"/>
                <a:gd name="T51" fmla="*/ 32 h 37"/>
                <a:gd name="T52" fmla="*/ 4 w 38"/>
                <a:gd name="T53" fmla="*/ 36 h 37"/>
                <a:gd name="T54" fmla="*/ 8 w 38"/>
                <a:gd name="T55" fmla="*/ 35 h 37"/>
                <a:gd name="T56" fmla="*/ 8 w 38"/>
                <a:gd name="T57" fmla="*/ 35 h 37"/>
                <a:gd name="T58" fmla="*/ 10 w 38"/>
                <a:gd name="T59" fmla="*/ 36 h 37"/>
                <a:gd name="T60" fmla="*/ 12 w 38"/>
                <a:gd name="T61" fmla="*/ 36 h 37"/>
                <a:gd name="T62" fmla="*/ 16 w 38"/>
                <a:gd name="T63" fmla="*/ 35 h 37"/>
                <a:gd name="T64" fmla="*/ 17 w 38"/>
                <a:gd name="T65" fmla="*/ 37 h 37"/>
                <a:gd name="T66" fmla="*/ 20 w 38"/>
                <a:gd name="T67" fmla="*/ 33 h 37"/>
                <a:gd name="T68" fmla="*/ 21 w 38"/>
                <a:gd name="T69" fmla="*/ 32 h 37"/>
                <a:gd name="T70" fmla="*/ 22 w 38"/>
                <a:gd name="T71" fmla="*/ 32 h 37"/>
                <a:gd name="T72" fmla="*/ 24 w 38"/>
                <a:gd name="T73" fmla="*/ 32 h 37"/>
                <a:gd name="T74" fmla="*/ 24 w 38"/>
                <a:gd name="T75" fmla="*/ 31 h 37"/>
                <a:gd name="T76" fmla="*/ 25 w 38"/>
                <a:gd name="T77" fmla="*/ 30 h 37"/>
                <a:gd name="T78" fmla="*/ 27 w 38"/>
                <a:gd name="T79" fmla="*/ 30 h 37"/>
                <a:gd name="T80" fmla="*/ 30 w 38"/>
                <a:gd name="T81" fmla="*/ 28 h 37"/>
                <a:gd name="T82" fmla="*/ 30 w 38"/>
                <a:gd name="T83" fmla="*/ 24 h 37"/>
                <a:gd name="T84" fmla="*/ 30 w 38"/>
                <a:gd name="T85" fmla="*/ 23 h 37"/>
                <a:gd name="T86" fmla="*/ 30 w 38"/>
                <a:gd name="T87" fmla="*/ 22 h 37"/>
                <a:gd name="T88" fmla="*/ 30 w 38"/>
                <a:gd name="T89" fmla="*/ 20 h 37"/>
                <a:gd name="T90" fmla="*/ 32 w 38"/>
                <a:gd name="T91" fmla="*/ 21 h 37"/>
                <a:gd name="T92" fmla="*/ 33 w 38"/>
                <a:gd name="T93" fmla="*/ 21 h 37"/>
                <a:gd name="T94" fmla="*/ 33 w 38"/>
                <a:gd name="T95" fmla="*/ 21 h 37"/>
                <a:gd name="T96" fmla="*/ 36 w 38"/>
                <a:gd name="T97" fmla="*/ 17 h 37"/>
                <a:gd name="T98" fmla="*/ 36 w 38"/>
                <a:gd name="T99" fmla="*/ 17 h 37"/>
                <a:gd name="T100" fmla="*/ 38 w 38"/>
                <a:gd name="T101" fmla="*/ 14 h 37"/>
                <a:gd name="T102" fmla="*/ 37 w 38"/>
                <a:gd name="T103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37">
                  <a:moveTo>
                    <a:pt x="37" y="11"/>
                  </a:moveTo>
                  <a:cubicBezTo>
                    <a:pt x="37" y="10"/>
                    <a:pt x="37" y="10"/>
                    <a:pt x="37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6" y="5"/>
                  </a:cubicBezTo>
                  <a:cubicBezTo>
                    <a:pt x="35" y="3"/>
                    <a:pt x="34" y="3"/>
                    <a:pt x="33" y="3"/>
                  </a:cubicBezTo>
                  <a:cubicBezTo>
                    <a:pt x="32" y="3"/>
                    <a:pt x="31" y="3"/>
                    <a:pt x="30" y="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4"/>
                    <a:pt x="27" y="3"/>
                    <a:pt x="26" y="2"/>
                  </a:cubicBezTo>
                  <a:cubicBezTo>
                    <a:pt x="25" y="1"/>
                    <a:pt x="24" y="0"/>
                    <a:pt x="23" y="0"/>
                  </a:cubicBezTo>
                  <a:cubicBezTo>
                    <a:pt x="20" y="0"/>
                    <a:pt x="19" y="4"/>
                    <a:pt x="18" y="6"/>
                  </a:cubicBezTo>
                  <a:cubicBezTo>
                    <a:pt x="18" y="6"/>
                    <a:pt x="18" y="6"/>
                    <a:pt x="17" y="7"/>
                  </a:cubicBezTo>
                  <a:cubicBezTo>
                    <a:pt x="17" y="7"/>
                    <a:pt x="16" y="8"/>
                    <a:pt x="16" y="9"/>
                  </a:cubicBezTo>
                  <a:cubicBezTo>
                    <a:pt x="16" y="9"/>
                    <a:pt x="16" y="9"/>
                    <a:pt x="15" y="8"/>
                  </a:cubicBezTo>
                  <a:cubicBezTo>
                    <a:pt x="14" y="7"/>
                    <a:pt x="13" y="7"/>
                    <a:pt x="11" y="7"/>
                  </a:cubicBezTo>
                  <a:cubicBezTo>
                    <a:pt x="11" y="7"/>
                    <a:pt x="10" y="7"/>
                    <a:pt x="9" y="7"/>
                  </a:cubicBezTo>
                  <a:cubicBezTo>
                    <a:pt x="7" y="8"/>
                    <a:pt x="6" y="10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4" y="12"/>
                    <a:pt x="1" y="13"/>
                    <a:pt x="1" y="16"/>
                  </a:cubicBezTo>
                  <a:cubicBezTo>
                    <a:pt x="0" y="18"/>
                    <a:pt x="0" y="20"/>
                    <a:pt x="1" y="21"/>
                  </a:cubicBezTo>
                  <a:cubicBezTo>
                    <a:pt x="2" y="23"/>
                    <a:pt x="3" y="24"/>
                    <a:pt x="5" y="24"/>
                  </a:cubicBezTo>
                  <a:cubicBezTo>
                    <a:pt x="5" y="24"/>
                    <a:pt x="5" y="23"/>
                    <a:pt x="6" y="23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5" y="25"/>
                    <a:pt x="5" y="25"/>
                    <a:pt x="4" y="26"/>
                  </a:cubicBezTo>
                  <a:cubicBezTo>
                    <a:pt x="4" y="27"/>
                    <a:pt x="3" y="28"/>
                    <a:pt x="3" y="29"/>
                  </a:cubicBezTo>
                  <a:cubicBezTo>
                    <a:pt x="3" y="31"/>
                    <a:pt x="4" y="31"/>
                    <a:pt x="4" y="32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1" y="36"/>
                    <a:pt x="12" y="36"/>
                    <a:pt x="12" y="36"/>
                  </a:cubicBezTo>
                  <a:cubicBezTo>
                    <a:pt x="14" y="36"/>
                    <a:pt x="15" y="36"/>
                    <a:pt x="16" y="35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1"/>
                    <a:pt x="25" y="30"/>
                    <a:pt x="25" y="30"/>
                  </a:cubicBezTo>
                  <a:cubicBezTo>
                    <a:pt x="26" y="30"/>
                    <a:pt x="26" y="30"/>
                    <a:pt x="27" y="30"/>
                  </a:cubicBezTo>
                  <a:cubicBezTo>
                    <a:pt x="28" y="30"/>
                    <a:pt x="29" y="29"/>
                    <a:pt x="30" y="28"/>
                  </a:cubicBezTo>
                  <a:cubicBezTo>
                    <a:pt x="31" y="26"/>
                    <a:pt x="30" y="25"/>
                    <a:pt x="30" y="24"/>
                  </a:cubicBezTo>
                  <a:cubicBezTo>
                    <a:pt x="30" y="24"/>
                    <a:pt x="30" y="23"/>
                    <a:pt x="30" y="23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1"/>
                    <a:pt x="30" y="21"/>
                    <a:pt x="30" y="20"/>
                  </a:cubicBezTo>
                  <a:cubicBezTo>
                    <a:pt x="30" y="21"/>
                    <a:pt x="31" y="21"/>
                    <a:pt x="32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4" y="21"/>
                    <a:pt x="36" y="20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7" y="16"/>
                    <a:pt x="37" y="15"/>
                    <a:pt x="38" y="14"/>
                  </a:cubicBezTo>
                  <a:cubicBezTo>
                    <a:pt x="38" y="13"/>
                    <a:pt x="38" y="12"/>
                    <a:pt x="37" y="11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78" name="Freeform 177"/>
            <p:cNvSpPr>
              <a:spLocks/>
            </p:cNvSpPr>
            <p:nvPr/>
          </p:nvSpPr>
          <p:spPr bwMode="auto">
            <a:xfrm>
              <a:off x="19197415" y="7116617"/>
              <a:ext cx="49242" cy="44798"/>
            </a:xfrm>
            <a:custGeom>
              <a:avLst/>
              <a:gdLst>
                <a:gd name="T0" fmla="*/ 5 w 9"/>
                <a:gd name="T1" fmla="*/ 9 h 9"/>
                <a:gd name="T2" fmla="*/ 7 w 9"/>
                <a:gd name="T3" fmla="*/ 8 h 9"/>
                <a:gd name="T4" fmla="*/ 9 w 9"/>
                <a:gd name="T5" fmla="*/ 3 h 9"/>
                <a:gd name="T6" fmla="*/ 5 w 9"/>
                <a:gd name="T7" fmla="*/ 0 h 9"/>
                <a:gd name="T8" fmla="*/ 5 w 9"/>
                <a:gd name="T9" fmla="*/ 0 h 9"/>
                <a:gd name="T10" fmla="*/ 2 w 9"/>
                <a:gd name="T11" fmla="*/ 1 h 9"/>
                <a:gd name="T12" fmla="*/ 1 w 9"/>
                <a:gd name="T13" fmla="*/ 6 h 9"/>
                <a:gd name="T14" fmla="*/ 5 w 9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6" y="9"/>
                    <a:pt x="7" y="8"/>
                  </a:cubicBezTo>
                  <a:cubicBezTo>
                    <a:pt x="9" y="7"/>
                    <a:pt x="9" y="4"/>
                    <a:pt x="9" y="3"/>
                  </a:cubicBezTo>
                  <a:cubicBezTo>
                    <a:pt x="8" y="1"/>
                    <a:pt x="7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2" y="1"/>
                  </a:cubicBezTo>
                  <a:cubicBezTo>
                    <a:pt x="1" y="3"/>
                    <a:pt x="0" y="4"/>
                    <a:pt x="1" y="6"/>
                  </a:cubicBezTo>
                  <a:cubicBezTo>
                    <a:pt x="1" y="8"/>
                    <a:pt x="3" y="9"/>
                    <a:pt x="5" y="9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79" name="Freeform 178"/>
            <p:cNvSpPr>
              <a:spLocks/>
            </p:cNvSpPr>
            <p:nvPr/>
          </p:nvSpPr>
          <p:spPr bwMode="auto">
            <a:xfrm>
              <a:off x="19252812" y="7260343"/>
              <a:ext cx="47190" cy="50397"/>
            </a:xfrm>
            <a:custGeom>
              <a:avLst/>
              <a:gdLst>
                <a:gd name="T0" fmla="*/ 2 w 9"/>
                <a:gd name="T1" fmla="*/ 10 h 10"/>
                <a:gd name="T2" fmla="*/ 3 w 9"/>
                <a:gd name="T3" fmla="*/ 10 h 10"/>
                <a:gd name="T4" fmla="*/ 4 w 9"/>
                <a:gd name="T5" fmla="*/ 10 h 10"/>
                <a:gd name="T6" fmla="*/ 8 w 9"/>
                <a:gd name="T7" fmla="*/ 8 h 10"/>
                <a:gd name="T8" fmla="*/ 9 w 9"/>
                <a:gd name="T9" fmla="*/ 4 h 10"/>
                <a:gd name="T10" fmla="*/ 5 w 9"/>
                <a:gd name="T11" fmla="*/ 0 h 10"/>
                <a:gd name="T12" fmla="*/ 0 w 9"/>
                <a:gd name="T13" fmla="*/ 3 h 10"/>
                <a:gd name="T14" fmla="*/ 1 w 9"/>
                <a:gd name="T15" fmla="*/ 8 h 10"/>
                <a:gd name="T16" fmla="*/ 2 w 9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2" y="10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0"/>
                    <a:pt x="7" y="9"/>
                    <a:pt x="8" y="8"/>
                  </a:cubicBezTo>
                  <a:cubicBezTo>
                    <a:pt x="9" y="7"/>
                    <a:pt x="9" y="6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3" y="0"/>
                    <a:pt x="1" y="2"/>
                    <a:pt x="0" y="3"/>
                  </a:cubicBezTo>
                  <a:cubicBezTo>
                    <a:pt x="0" y="5"/>
                    <a:pt x="0" y="7"/>
                    <a:pt x="1" y="8"/>
                  </a:cubicBezTo>
                  <a:lnTo>
                    <a:pt x="2" y="10"/>
                  </a:ln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80" name="Freeform 179"/>
            <p:cNvSpPr>
              <a:spLocks/>
            </p:cNvSpPr>
            <p:nvPr/>
          </p:nvSpPr>
          <p:spPr bwMode="auto">
            <a:xfrm>
              <a:off x="19072258" y="7964040"/>
              <a:ext cx="207227" cy="113861"/>
            </a:xfrm>
            <a:custGeom>
              <a:avLst/>
              <a:gdLst>
                <a:gd name="T0" fmla="*/ 18 w 38"/>
                <a:gd name="T1" fmla="*/ 1 h 23"/>
                <a:gd name="T2" fmla="*/ 17 w 38"/>
                <a:gd name="T3" fmla="*/ 0 h 23"/>
                <a:gd name="T4" fmla="*/ 1 w 38"/>
                <a:gd name="T5" fmla="*/ 9 h 23"/>
                <a:gd name="T6" fmla="*/ 2 w 38"/>
                <a:gd name="T7" fmla="*/ 16 h 23"/>
                <a:gd name="T8" fmla="*/ 13 w 38"/>
                <a:gd name="T9" fmla="*/ 19 h 23"/>
                <a:gd name="T10" fmla="*/ 17 w 38"/>
                <a:gd name="T11" fmla="*/ 20 h 23"/>
                <a:gd name="T12" fmla="*/ 18 w 38"/>
                <a:gd name="T13" fmla="*/ 21 h 23"/>
                <a:gd name="T14" fmla="*/ 31 w 38"/>
                <a:gd name="T15" fmla="*/ 23 h 23"/>
                <a:gd name="T16" fmla="*/ 36 w 38"/>
                <a:gd name="T17" fmla="*/ 22 h 23"/>
                <a:gd name="T18" fmla="*/ 38 w 38"/>
                <a:gd name="T19" fmla="*/ 22 h 23"/>
                <a:gd name="T20" fmla="*/ 38 w 38"/>
                <a:gd name="T21" fmla="*/ 19 h 23"/>
                <a:gd name="T22" fmla="*/ 18 w 38"/>
                <a:gd name="T23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23">
                  <a:moveTo>
                    <a:pt x="18" y="1"/>
                  </a:moveTo>
                  <a:cubicBezTo>
                    <a:pt x="18" y="1"/>
                    <a:pt x="18" y="0"/>
                    <a:pt x="17" y="0"/>
                  </a:cubicBezTo>
                  <a:cubicBezTo>
                    <a:pt x="13" y="0"/>
                    <a:pt x="3" y="4"/>
                    <a:pt x="1" y="9"/>
                  </a:cubicBezTo>
                  <a:cubicBezTo>
                    <a:pt x="0" y="11"/>
                    <a:pt x="0" y="14"/>
                    <a:pt x="2" y="16"/>
                  </a:cubicBezTo>
                  <a:cubicBezTo>
                    <a:pt x="4" y="18"/>
                    <a:pt x="8" y="18"/>
                    <a:pt x="13" y="19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2" y="22"/>
                    <a:pt x="26" y="23"/>
                    <a:pt x="31" y="23"/>
                  </a:cubicBezTo>
                  <a:cubicBezTo>
                    <a:pt x="33" y="23"/>
                    <a:pt x="34" y="23"/>
                    <a:pt x="36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7" y="10"/>
                    <a:pt x="26" y="2"/>
                    <a:pt x="18" y="1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81" name="Freeform 180"/>
            <p:cNvSpPr>
              <a:spLocks/>
            </p:cNvSpPr>
            <p:nvPr/>
          </p:nvSpPr>
          <p:spPr bwMode="auto">
            <a:xfrm>
              <a:off x="18641391" y="6125469"/>
              <a:ext cx="223641" cy="197856"/>
            </a:xfrm>
            <a:custGeom>
              <a:avLst/>
              <a:gdLst>
                <a:gd name="T0" fmla="*/ 33 w 41"/>
                <a:gd name="T1" fmla="*/ 0 h 40"/>
                <a:gd name="T2" fmla="*/ 24 w 41"/>
                <a:gd name="T3" fmla="*/ 3 h 40"/>
                <a:gd name="T4" fmla="*/ 19 w 41"/>
                <a:gd name="T5" fmla="*/ 5 h 40"/>
                <a:gd name="T6" fmla="*/ 18 w 41"/>
                <a:gd name="T7" fmla="*/ 5 h 40"/>
                <a:gd name="T8" fmla="*/ 17 w 41"/>
                <a:gd name="T9" fmla="*/ 5 h 40"/>
                <a:gd name="T10" fmla="*/ 15 w 41"/>
                <a:gd name="T11" fmla="*/ 5 h 40"/>
                <a:gd name="T12" fmla="*/ 10 w 41"/>
                <a:gd name="T13" fmla="*/ 7 h 40"/>
                <a:gd name="T14" fmla="*/ 4 w 41"/>
                <a:gd name="T15" fmla="*/ 15 h 40"/>
                <a:gd name="T16" fmla="*/ 4 w 41"/>
                <a:gd name="T17" fmla="*/ 17 h 40"/>
                <a:gd name="T18" fmla="*/ 2 w 41"/>
                <a:gd name="T19" fmla="*/ 29 h 40"/>
                <a:gd name="T20" fmla="*/ 3 w 41"/>
                <a:gd name="T21" fmla="*/ 31 h 40"/>
                <a:gd name="T22" fmla="*/ 10 w 41"/>
                <a:gd name="T23" fmla="*/ 40 h 40"/>
                <a:gd name="T24" fmla="*/ 10 w 41"/>
                <a:gd name="T25" fmla="*/ 40 h 40"/>
                <a:gd name="T26" fmla="*/ 14 w 41"/>
                <a:gd name="T27" fmla="*/ 37 h 40"/>
                <a:gd name="T28" fmla="*/ 15 w 41"/>
                <a:gd name="T29" fmla="*/ 37 h 40"/>
                <a:gd name="T30" fmla="*/ 19 w 41"/>
                <a:gd name="T31" fmla="*/ 35 h 40"/>
                <a:gd name="T32" fmla="*/ 29 w 41"/>
                <a:gd name="T33" fmla="*/ 28 h 40"/>
                <a:gd name="T34" fmla="*/ 31 w 41"/>
                <a:gd name="T35" fmla="*/ 25 h 40"/>
                <a:gd name="T36" fmla="*/ 35 w 41"/>
                <a:gd name="T37" fmla="*/ 19 h 40"/>
                <a:gd name="T38" fmla="*/ 40 w 41"/>
                <a:gd name="T39" fmla="*/ 6 h 40"/>
                <a:gd name="T40" fmla="*/ 33 w 41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" h="40">
                  <a:moveTo>
                    <a:pt x="33" y="0"/>
                  </a:moveTo>
                  <a:cubicBezTo>
                    <a:pt x="30" y="0"/>
                    <a:pt x="27" y="1"/>
                    <a:pt x="24" y="3"/>
                  </a:cubicBezTo>
                  <a:cubicBezTo>
                    <a:pt x="22" y="4"/>
                    <a:pt x="20" y="5"/>
                    <a:pt x="19" y="5"/>
                  </a:cubicBezTo>
                  <a:cubicBezTo>
                    <a:pt x="19" y="5"/>
                    <a:pt x="19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6" y="5"/>
                    <a:pt x="15" y="5"/>
                    <a:pt x="15" y="5"/>
                  </a:cubicBezTo>
                  <a:cubicBezTo>
                    <a:pt x="13" y="5"/>
                    <a:pt x="11" y="5"/>
                    <a:pt x="10" y="7"/>
                  </a:cubicBezTo>
                  <a:cubicBezTo>
                    <a:pt x="7" y="9"/>
                    <a:pt x="5" y="12"/>
                    <a:pt x="4" y="15"/>
                  </a:cubicBezTo>
                  <a:cubicBezTo>
                    <a:pt x="4" y="16"/>
                    <a:pt x="4" y="17"/>
                    <a:pt x="4" y="17"/>
                  </a:cubicBezTo>
                  <a:cubicBezTo>
                    <a:pt x="2" y="21"/>
                    <a:pt x="0" y="25"/>
                    <a:pt x="2" y="29"/>
                  </a:cubicBezTo>
                  <a:cubicBezTo>
                    <a:pt x="2" y="30"/>
                    <a:pt x="2" y="30"/>
                    <a:pt x="3" y="31"/>
                  </a:cubicBezTo>
                  <a:cubicBezTo>
                    <a:pt x="3" y="34"/>
                    <a:pt x="5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2" y="39"/>
                    <a:pt x="14" y="38"/>
                    <a:pt x="14" y="37"/>
                  </a:cubicBezTo>
                  <a:cubicBezTo>
                    <a:pt x="14" y="37"/>
                    <a:pt x="14" y="37"/>
                    <a:pt x="15" y="37"/>
                  </a:cubicBezTo>
                  <a:cubicBezTo>
                    <a:pt x="16" y="36"/>
                    <a:pt x="17" y="36"/>
                    <a:pt x="19" y="35"/>
                  </a:cubicBezTo>
                  <a:cubicBezTo>
                    <a:pt x="23" y="34"/>
                    <a:pt x="26" y="32"/>
                    <a:pt x="29" y="28"/>
                  </a:cubicBezTo>
                  <a:cubicBezTo>
                    <a:pt x="29" y="27"/>
                    <a:pt x="30" y="26"/>
                    <a:pt x="31" y="25"/>
                  </a:cubicBezTo>
                  <a:cubicBezTo>
                    <a:pt x="32" y="23"/>
                    <a:pt x="34" y="21"/>
                    <a:pt x="35" y="19"/>
                  </a:cubicBezTo>
                  <a:cubicBezTo>
                    <a:pt x="37" y="16"/>
                    <a:pt x="41" y="12"/>
                    <a:pt x="40" y="6"/>
                  </a:cubicBezTo>
                  <a:cubicBezTo>
                    <a:pt x="39" y="0"/>
                    <a:pt x="35" y="0"/>
                    <a:pt x="33" y="0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82" name="Freeform 181"/>
            <p:cNvSpPr>
              <a:spLocks/>
            </p:cNvSpPr>
            <p:nvPr/>
          </p:nvSpPr>
          <p:spPr bwMode="auto">
            <a:xfrm>
              <a:off x="19000447" y="6194532"/>
              <a:ext cx="141571" cy="182924"/>
            </a:xfrm>
            <a:custGeom>
              <a:avLst/>
              <a:gdLst>
                <a:gd name="T0" fmla="*/ 15 w 26"/>
                <a:gd name="T1" fmla="*/ 37 h 37"/>
                <a:gd name="T2" fmla="*/ 18 w 26"/>
                <a:gd name="T3" fmla="*/ 36 h 37"/>
                <a:gd name="T4" fmla="*/ 21 w 26"/>
                <a:gd name="T5" fmla="*/ 29 h 37"/>
                <a:gd name="T6" fmla="*/ 21 w 26"/>
                <a:gd name="T7" fmla="*/ 28 h 37"/>
                <a:gd name="T8" fmla="*/ 24 w 26"/>
                <a:gd name="T9" fmla="*/ 20 h 37"/>
                <a:gd name="T10" fmla="*/ 19 w 26"/>
                <a:gd name="T11" fmla="*/ 2 h 37"/>
                <a:gd name="T12" fmla="*/ 14 w 26"/>
                <a:gd name="T13" fmla="*/ 0 h 37"/>
                <a:gd name="T14" fmla="*/ 3 w 26"/>
                <a:gd name="T15" fmla="*/ 9 h 37"/>
                <a:gd name="T16" fmla="*/ 2 w 26"/>
                <a:gd name="T17" fmla="*/ 27 h 37"/>
                <a:gd name="T18" fmla="*/ 15 w 26"/>
                <a:gd name="T19" fmla="*/ 37 h 37"/>
                <a:gd name="T20" fmla="*/ 15 w 26"/>
                <a:gd name="T2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37">
                  <a:moveTo>
                    <a:pt x="15" y="37"/>
                  </a:moveTo>
                  <a:cubicBezTo>
                    <a:pt x="16" y="37"/>
                    <a:pt x="17" y="36"/>
                    <a:pt x="18" y="36"/>
                  </a:cubicBezTo>
                  <a:cubicBezTo>
                    <a:pt x="21" y="35"/>
                    <a:pt x="21" y="31"/>
                    <a:pt x="21" y="29"/>
                  </a:cubicBezTo>
                  <a:cubicBezTo>
                    <a:pt x="21" y="29"/>
                    <a:pt x="21" y="28"/>
                    <a:pt x="21" y="28"/>
                  </a:cubicBezTo>
                  <a:cubicBezTo>
                    <a:pt x="22" y="25"/>
                    <a:pt x="23" y="23"/>
                    <a:pt x="24" y="20"/>
                  </a:cubicBezTo>
                  <a:cubicBezTo>
                    <a:pt x="26" y="14"/>
                    <a:pt x="25" y="6"/>
                    <a:pt x="19" y="2"/>
                  </a:cubicBezTo>
                  <a:cubicBezTo>
                    <a:pt x="17" y="1"/>
                    <a:pt x="16" y="0"/>
                    <a:pt x="14" y="0"/>
                  </a:cubicBezTo>
                  <a:cubicBezTo>
                    <a:pt x="10" y="0"/>
                    <a:pt x="6" y="4"/>
                    <a:pt x="3" y="9"/>
                  </a:cubicBezTo>
                  <a:cubicBezTo>
                    <a:pt x="0" y="15"/>
                    <a:pt x="0" y="21"/>
                    <a:pt x="2" y="27"/>
                  </a:cubicBezTo>
                  <a:cubicBezTo>
                    <a:pt x="4" y="30"/>
                    <a:pt x="9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83" name="Freeform 182"/>
            <p:cNvSpPr>
              <a:spLocks/>
            </p:cNvSpPr>
            <p:nvPr/>
          </p:nvSpPr>
          <p:spPr bwMode="auto">
            <a:xfrm>
              <a:off x="19066103" y="6685440"/>
              <a:ext cx="75915" cy="89595"/>
            </a:xfrm>
            <a:custGeom>
              <a:avLst/>
              <a:gdLst>
                <a:gd name="T0" fmla="*/ 13 w 14"/>
                <a:gd name="T1" fmla="*/ 2 h 18"/>
                <a:gd name="T2" fmla="*/ 9 w 14"/>
                <a:gd name="T3" fmla="*/ 0 h 18"/>
                <a:gd name="T4" fmla="*/ 7 w 14"/>
                <a:gd name="T5" fmla="*/ 1 h 18"/>
                <a:gd name="T6" fmla="*/ 3 w 14"/>
                <a:gd name="T7" fmla="*/ 8 h 18"/>
                <a:gd name="T8" fmla="*/ 3 w 14"/>
                <a:gd name="T9" fmla="*/ 8 h 18"/>
                <a:gd name="T10" fmla="*/ 3 w 14"/>
                <a:gd name="T11" fmla="*/ 9 h 18"/>
                <a:gd name="T12" fmla="*/ 0 w 14"/>
                <a:gd name="T13" fmla="*/ 13 h 18"/>
                <a:gd name="T14" fmla="*/ 1 w 14"/>
                <a:gd name="T15" fmla="*/ 16 h 18"/>
                <a:gd name="T16" fmla="*/ 4 w 14"/>
                <a:gd name="T17" fmla="*/ 18 h 18"/>
                <a:gd name="T18" fmla="*/ 5 w 14"/>
                <a:gd name="T19" fmla="*/ 18 h 18"/>
                <a:gd name="T20" fmla="*/ 9 w 14"/>
                <a:gd name="T21" fmla="*/ 14 h 18"/>
                <a:gd name="T22" fmla="*/ 10 w 14"/>
                <a:gd name="T23" fmla="*/ 13 h 18"/>
                <a:gd name="T24" fmla="*/ 12 w 14"/>
                <a:gd name="T25" fmla="*/ 10 h 18"/>
                <a:gd name="T26" fmla="*/ 13 w 14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18">
                  <a:moveTo>
                    <a:pt x="13" y="2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8" y="0"/>
                    <a:pt x="8" y="0"/>
                    <a:pt x="7" y="1"/>
                  </a:cubicBezTo>
                  <a:cubicBezTo>
                    <a:pt x="4" y="2"/>
                    <a:pt x="4" y="5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9"/>
                    <a:pt x="3" y="9"/>
                  </a:cubicBezTo>
                  <a:cubicBezTo>
                    <a:pt x="2" y="9"/>
                    <a:pt x="0" y="11"/>
                    <a:pt x="0" y="13"/>
                  </a:cubicBezTo>
                  <a:cubicBezTo>
                    <a:pt x="0" y="14"/>
                    <a:pt x="0" y="15"/>
                    <a:pt x="1" y="16"/>
                  </a:cubicBezTo>
                  <a:cubicBezTo>
                    <a:pt x="2" y="17"/>
                    <a:pt x="3" y="18"/>
                    <a:pt x="4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8" y="17"/>
                    <a:pt x="8" y="15"/>
                    <a:pt x="9" y="14"/>
                  </a:cubicBezTo>
                  <a:cubicBezTo>
                    <a:pt x="9" y="13"/>
                    <a:pt x="9" y="13"/>
                    <a:pt x="10" y="13"/>
                  </a:cubicBezTo>
                  <a:cubicBezTo>
                    <a:pt x="11" y="12"/>
                    <a:pt x="12" y="11"/>
                    <a:pt x="12" y="10"/>
                  </a:cubicBezTo>
                  <a:cubicBezTo>
                    <a:pt x="13" y="8"/>
                    <a:pt x="14" y="5"/>
                    <a:pt x="13" y="2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84" name="Freeform 183"/>
            <p:cNvSpPr>
              <a:spLocks/>
            </p:cNvSpPr>
            <p:nvPr/>
          </p:nvSpPr>
          <p:spPr bwMode="auto">
            <a:xfrm>
              <a:off x="13497655" y="7577660"/>
              <a:ext cx="32828" cy="59730"/>
            </a:xfrm>
            <a:custGeom>
              <a:avLst/>
              <a:gdLst>
                <a:gd name="T0" fmla="*/ 4 w 6"/>
                <a:gd name="T1" fmla="*/ 5 h 12"/>
                <a:gd name="T2" fmla="*/ 3 w 6"/>
                <a:gd name="T3" fmla="*/ 2 h 12"/>
                <a:gd name="T4" fmla="*/ 1 w 6"/>
                <a:gd name="T5" fmla="*/ 5 h 12"/>
                <a:gd name="T6" fmla="*/ 2 w 6"/>
                <a:gd name="T7" fmla="*/ 7 h 12"/>
                <a:gd name="T8" fmla="*/ 5 w 6"/>
                <a:gd name="T9" fmla="*/ 11 h 12"/>
                <a:gd name="T10" fmla="*/ 5 w 6"/>
                <a:gd name="T11" fmla="*/ 6 h 12"/>
                <a:gd name="T12" fmla="*/ 4 w 6"/>
                <a:gd name="T1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2">
                  <a:moveTo>
                    <a:pt x="4" y="5"/>
                  </a:moveTo>
                  <a:cubicBezTo>
                    <a:pt x="4" y="4"/>
                    <a:pt x="4" y="2"/>
                    <a:pt x="3" y="2"/>
                  </a:cubicBezTo>
                  <a:cubicBezTo>
                    <a:pt x="0" y="0"/>
                    <a:pt x="0" y="3"/>
                    <a:pt x="1" y="5"/>
                  </a:cubicBezTo>
                  <a:cubicBezTo>
                    <a:pt x="1" y="6"/>
                    <a:pt x="2" y="6"/>
                    <a:pt x="2" y="7"/>
                  </a:cubicBezTo>
                  <a:cubicBezTo>
                    <a:pt x="3" y="8"/>
                    <a:pt x="3" y="12"/>
                    <a:pt x="5" y="11"/>
                  </a:cubicBezTo>
                  <a:cubicBezTo>
                    <a:pt x="6" y="10"/>
                    <a:pt x="5" y="8"/>
                    <a:pt x="5" y="6"/>
                  </a:cubicBezTo>
                  <a:cubicBezTo>
                    <a:pt x="4" y="6"/>
                    <a:pt x="4" y="5"/>
                    <a:pt x="4" y="5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85" name="Freeform 184"/>
            <p:cNvSpPr>
              <a:spLocks/>
            </p:cNvSpPr>
            <p:nvPr/>
          </p:nvSpPr>
          <p:spPr bwMode="auto">
            <a:xfrm>
              <a:off x="14406580" y="6069472"/>
              <a:ext cx="1614727" cy="2385476"/>
            </a:xfrm>
            <a:custGeom>
              <a:avLst/>
              <a:gdLst>
                <a:gd name="T0" fmla="*/ 267 w 296"/>
                <a:gd name="T1" fmla="*/ 110 h 481"/>
                <a:gd name="T2" fmla="*/ 272 w 296"/>
                <a:gd name="T3" fmla="*/ 108 h 481"/>
                <a:gd name="T4" fmla="*/ 278 w 296"/>
                <a:gd name="T5" fmla="*/ 106 h 481"/>
                <a:gd name="T6" fmla="*/ 285 w 296"/>
                <a:gd name="T7" fmla="*/ 104 h 481"/>
                <a:gd name="T8" fmla="*/ 287 w 296"/>
                <a:gd name="T9" fmla="*/ 103 h 481"/>
                <a:gd name="T10" fmla="*/ 296 w 296"/>
                <a:gd name="T11" fmla="*/ 76 h 481"/>
                <a:gd name="T12" fmla="*/ 293 w 296"/>
                <a:gd name="T13" fmla="*/ 75 h 481"/>
                <a:gd name="T14" fmla="*/ 120 w 296"/>
                <a:gd name="T15" fmla="*/ 1 h 481"/>
                <a:gd name="T16" fmla="*/ 117 w 296"/>
                <a:gd name="T17" fmla="*/ 0 h 481"/>
                <a:gd name="T18" fmla="*/ 116 w 296"/>
                <a:gd name="T19" fmla="*/ 3 h 481"/>
                <a:gd name="T20" fmla="*/ 99 w 296"/>
                <a:gd name="T21" fmla="*/ 37 h 481"/>
                <a:gd name="T22" fmla="*/ 97 w 296"/>
                <a:gd name="T23" fmla="*/ 40 h 481"/>
                <a:gd name="T24" fmla="*/ 83 w 296"/>
                <a:gd name="T25" fmla="*/ 69 h 481"/>
                <a:gd name="T26" fmla="*/ 62 w 296"/>
                <a:gd name="T27" fmla="*/ 110 h 481"/>
                <a:gd name="T28" fmla="*/ 24 w 296"/>
                <a:gd name="T29" fmla="*/ 184 h 481"/>
                <a:gd name="T30" fmla="*/ 20 w 296"/>
                <a:gd name="T31" fmla="*/ 191 h 481"/>
                <a:gd name="T32" fmla="*/ 5 w 296"/>
                <a:gd name="T33" fmla="*/ 235 h 481"/>
                <a:gd name="T34" fmla="*/ 10 w 296"/>
                <a:gd name="T35" fmla="*/ 239 h 481"/>
                <a:gd name="T36" fmla="*/ 14 w 296"/>
                <a:gd name="T37" fmla="*/ 241 h 481"/>
                <a:gd name="T38" fmla="*/ 22 w 296"/>
                <a:gd name="T39" fmla="*/ 263 h 481"/>
                <a:gd name="T40" fmla="*/ 23 w 296"/>
                <a:gd name="T41" fmla="*/ 266 h 481"/>
                <a:gd name="T42" fmla="*/ 23 w 296"/>
                <a:gd name="T43" fmla="*/ 272 h 481"/>
                <a:gd name="T44" fmla="*/ 23 w 296"/>
                <a:gd name="T45" fmla="*/ 280 h 481"/>
                <a:gd name="T46" fmla="*/ 25 w 296"/>
                <a:gd name="T47" fmla="*/ 284 h 481"/>
                <a:gd name="T48" fmla="*/ 29 w 296"/>
                <a:gd name="T49" fmla="*/ 287 h 481"/>
                <a:gd name="T50" fmla="*/ 29 w 296"/>
                <a:gd name="T51" fmla="*/ 285 h 481"/>
                <a:gd name="T52" fmla="*/ 33 w 296"/>
                <a:gd name="T53" fmla="*/ 287 h 481"/>
                <a:gd name="T54" fmla="*/ 38 w 296"/>
                <a:gd name="T55" fmla="*/ 310 h 481"/>
                <a:gd name="T56" fmla="*/ 38 w 296"/>
                <a:gd name="T57" fmla="*/ 312 h 481"/>
                <a:gd name="T58" fmla="*/ 42 w 296"/>
                <a:gd name="T59" fmla="*/ 325 h 481"/>
                <a:gd name="T60" fmla="*/ 47 w 296"/>
                <a:gd name="T61" fmla="*/ 333 h 481"/>
                <a:gd name="T62" fmla="*/ 53 w 296"/>
                <a:gd name="T63" fmla="*/ 353 h 481"/>
                <a:gd name="T64" fmla="*/ 54 w 296"/>
                <a:gd name="T65" fmla="*/ 358 h 481"/>
                <a:gd name="T66" fmla="*/ 60 w 296"/>
                <a:gd name="T67" fmla="*/ 372 h 481"/>
                <a:gd name="T68" fmla="*/ 65 w 296"/>
                <a:gd name="T69" fmla="*/ 380 h 481"/>
                <a:gd name="T70" fmla="*/ 62 w 296"/>
                <a:gd name="T71" fmla="*/ 405 h 481"/>
                <a:gd name="T72" fmla="*/ 61 w 296"/>
                <a:gd name="T73" fmla="*/ 411 h 481"/>
                <a:gd name="T74" fmla="*/ 57 w 296"/>
                <a:gd name="T75" fmla="*/ 437 h 481"/>
                <a:gd name="T76" fmla="*/ 60 w 296"/>
                <a:gd name="T77" fmla="*/ 444 h 481"/>
                <a:gd name="T78" fmla="*/ 60 w 296"/>
                <a:gd name="T79" fmla="*/ 445 h 481"/>
                <a:gd name="T80" fmla="*/ 61 w 296"/>
                <a:gd name="T81" fmla="*/ 446 h 481"/>
                <a:gd name="T82" fmla="*/ 62 w 296"/>
                <a:gd name="T83" fmla="*/ 447 h 481"/>
                <a:gd name="T84" fmla="*/ 156 w 296"/>
                <a:gd name="T85" fmla="*/ 480 h 481"/>
                <a:gd name="T86" fmla="*/ 159 w 296"/>
                <a:gd name="T87" fmla="*/ 481 h 481"/>
                <a:gd name="T88" fmla="*/ 286 w 296"/>
                <a:gd name="T89" fmla="*/ 106 h 481"/>
                <a:gd name="T90" fmla="*/ 280 w 296"/>
                <a:gd name="T91" fmla="*/ 109 h 481"/>
                <a:gd name="T92" fmla="*/ 276 w 296"/>
                <a:gd name="T93" fmla="*/ 110 h 481"/>
                <a:gd name="T94" fmla="*/ 272 w 296"/>
                <a:gd name="T95" fmla="*/ 113 h 481"/>
                <a:gd name="T96" fmla="*/ 263 w 296"/>
                <a:gd name="T97" fmla="*/ 119 h 481"/>
                <a:gd name="T98" fmla="*/ 261 w 296"/>
                <a:gd name="T99" fmla="*/ 116 h 481"/>
                <a:gd name="T100" fmla="*/ 267 w 296"/>
                <a:gd name="T101" fmla="*/ 11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6" h="481">
                  <a:moveTo>
                    <a:pt x="267" y="110"/>
                  </a:moveTo>
                  <a:cubicBezTo>
                    <a:pt x="269" y="109"/>
                    <a:pt x="270" y="109"/>
                    <a:pt x="272" y="108"/>
                  </a:cubicBezTo>
                  <a:cubicBezTo>
                    <a:pt x="274" y="107"/>
                    <a:pt x="276" y="106"/>
                    <a:pt x="278" y="106"/>
                  </a:cubicBezTo>
                  <a:cubicBezTo>
                    <a:pt x="281" y="105"/>
                    <a:pt x="283" y="105"/>
                    <a:pt x="285" y="104"/>
                  </a:cubicBezTo>
                  <a:cubicBezTo>
                    <a:pt x="287" y="103"/>
                    <a:pt x="287" y="103"/>
                    <a:pt x="287" y="103"/>
                  </a:cubicBezTo>
                  <a:cubicBezTo>
                    <a:pt x="296" y="76"/>
                    <a:pt x="296" y="76"/>
                    <a:pt x="296" y="76"/>
                  </a:cubicBezTo>
                  <a:cubicBezTo>
                    <a:pt x="293" y="75"/>
                    <a:pt x="293" y="75"/>
                    <a:pt x="293" y="75"/>
                  </a:cubicBezTo>
                  <a:cubicBezTo>
                    <a:pt x="234" y="55"/>
                    <a:pt x="176" y="31"/>
                    <a:pt x="120" y="1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0" y="14"/>
                    <a:pt x="104" y="26"/>
                    <a:pt x="99" y="37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2" y="50"/>
                    <a:pt x="88" y="59"/>
                    <a:pt x="83" y="69"/>
                  </a:cubicBezTo>
                  <a:cubicBezTo>
                    <a:pt x="76" y="83"/>
                    <a:pt x="69" y="97"/>
                    <a:pt x="62" y="110"/>
                  </a:cubicBezTo>
                  <a:cubicBezTo>
                    <a:pt x="50" y="135"/>
                    <a:pt x="38" y="160"/>
                    <a:pt x="24" y="184"/>
                  </a:cubicBezTo>
                  <a:cubicBezTo>
                    <a:pt x="23" y="186"/>
                    <a:pt x="22" y="188"/>
                    <a:pt x="20" y="191"/>
                  </a:cubicBezTo>
                  <a:cubicBezTo>
                    <a:pt x="10" y="207"/>
                    <a:pt x="0" y="226"/>
                    <a:pt x="5" y="235"/>
                  </a:cubicBezTo>
                  <a:cubicBezTo>
                    <a:pt x="6" y="238"/>
                    <a:pt x="8" y="238"/>
                    <a:pt x="10" y="239"/>
                  </a:cubicBezTo>
                  <a:cubicBezTo>
                    <a:pt x="11" y="240"/>
                    <a:pt x="12" y="240"/>
                    <a:pt x="14" y="241"/>
                  </a:cubicBezTo>
                  <a:cubicBezTo>
                    <a:pt x="20" y="246"/>
                    <a:pt x="21" y="255"/>
                    <a:pt x="22" y="263"/>
                  </a:cubicBezTo>
                  <a:cubicBezTo>
                    <a:pt x="23" y="266"/>
                    <a:pt x="23" y="266"/>
                    <a:pt x="23" y="266"/>
                  </a:cubicBezTo>
                  <a:cubicBezTo>
                    <a:pt x="23" y="268"/>
                    <a:pt x="23" y="270"/>
                    <a:pt x="23" y="272"/>
                  </a:cubicBezTo>
                  <a:cubicBezTo>
                    <a:pt x="23" y="275"/>
                    <a:pt x="23" y="277"/>
                    <a:pt x="23" y="280"/>
                  </a:cubicBezTo>
                  <a:cubicBezTo>
                    <a:pt x="24" y="283"/>
                    <a:pt x="25" y="284"/>
                    <a:pt x="25" y="284"/>
                  </a:cubicBezTo>
                  <a:cubicBezTo>
                    <a:pt x="29" y="287"/>
                    <a:pt x="29" y="287"/>
                    <a:pt x="29" y="287"/>
                  </a:cubicBezTo>
                  <a:cubicBezTo>
                    <a:pt x="29" y="285"/>
                    <a:pt x="29" y="285"/>
                    <a:pt x="29" y="285"/>
                  </a:cubicBezTo>
                  <a:cubicBezTo>
                    <a:pt x="30" y="286"/>
                    <a:pt x="31" y="286"/>
                    <a:pt x="33" y="287"/>
                  </a:cubicBezTo>
                  <a:cubicBezTo>
                    <a:pt x="39" y="291"/>
                    <a:pt x="38" y="302"/>
                    <a:pt x="38" y="310"/>
                  </a:cubicBezTo>
                  <a:cubicBezTo>
                    <a:pt x="38" y="312"/>
                    <a:pt x="38" y="312"/>
                    <a:pt x="38" y="312"/>
                  </a:cubicBezTo>
                  <a:cubicBezTo>
                    <a:pt x="37" y="320"/>
                    <a:pt x="39" y="322"/>
                    <a:pt x="42" y="325"/>
                  </a:cubicBezTo>
                  <a:cubicBezTo>
                    <a:pt x="44" y="327"/>
                    <a:pt x="45" y="329"/>
                    <a:pt x="47" y="333"/>
                  </a:cubicBezTo>
                  <a:cubicBezTo>
                    <a:pt x="50" y="338"/>
                    <a:pt x="52" y="346"/>
                    <a:pt x="53" y="353"/>
                  </a:cubicBezTo>
                  <a:cubicBezTo>
                    <a:pt x="53" y="355"/>
                    <a:pt x="54" y="356"/>
                    <a:pt x="54" y="358"/>
                  </a:cubicBezTo>
                  <a:cubicBezTo>
                    <a:pt x="55" y="364"/>
                    <a:pt x="58" y="368"/>
                    <a:pt x="60" y="372"/>
                  </a:cubicBezTo>
                  <a:cubicBezTo>
                    <a:pt x="62" y="374"/>
                    <a:pt x="64" y="377"/>
                    <a:pt x="65" y="380"/>
                  </a:cubicBezTo>
                  <a:cubicBezTo>
                    <a:pt x="68" y="388"/>
                    <a:pt x="65" y="398"/>
                    <a:pt x="62" y="405"/>
                  </a:cubicBezTo>
                  <a:cubicBezTo>
                    <a:pt x="62" y="407"/>
                    <a:pt x="61" y="411"/>
                    <a:pt x="61" y="411"/>
                  </a:cubicBezTo>
                  <a:cubicBezTo>
                    <a:pt x="58" y="419"/>
                    <a:pt x="55" y="427"/>
                    <a:pt x="57" y="437"/>
                  </a:cubicBezTo>
                  <a:cubicBezTo>
                    <a:pt x="58" y="439"/>
                    <a:pt x="59" y="441"/>
                    <a:pt x="60" y="444"/>
                  </a:cubicBezTo>
                  <a:cubicBezTo>
                    <a:pt x="60" y="445"/>
                    <a:pt x="60" y="445"/>
                    <a:pt x="60" y="445"/>
                  </a:cubicBezTo>
                  <a:cubicBezTo>
                    <a:pt x="61" y="446"/>
                    <a:pt x="61" y="446"/>
                    <a:pt x="61" y="446"/>
                  </a:cubicBezTo>
                  <a:cubicBezTo>
                    <a:pt x="62" y="447"/>
                    <a:pt x="62" y="447"/>
                    <a:pt x="62" y="447"/>
                  </a:cubicBezTo>
                  <a:cubicBezTo>
                    <a:pt x="91" y="458"/>
                    <a:pt x="123" y="469"/>
                    <a:pt x="156" y="480"/>
                  </a:cubicBezTo>
                  <a:cubicBezTo>
                    <a:pt x="159" y="481"/>
                    <a:pt x="159" y="481"/>
                    <a:pt x="159" y="481"/>
                  </a:cubicBezTo>
                  <a:cubicBezTo>
                    <a:pt x="286" y="106"/>
                    <a:pt x="286" y="106"/>
                    <a:pt x="286" y="106"/>
                  </a:cubicBezTo>
                  <a:cubicBezTo>
                    <a:pt x="280" y="109"/>
                    <a:pt x="280" y="109"/>
                    <a:pt x="280" y="109"/>
                  </a:cubicBezTo>
                  <a:cubicBezTo>
                    <a:pt x="278" y="109"/>
                    <a:pt x="277" y="110"/>
                    <a:pt x="276" y="110"/>
                  </a:cubicBezTo>
                  <a:cubicBezTo>
                    <a:pt x="275" y="111"/>
                    <a:pt x="273" y="112"/>
                    <a:pt x="272" y="113"/>
                  </a:cubicBezTo>
                  <a:cubicBezTo>
                    <a:pt x="269" y="116"/>
                    <a:pt x="265" y="119"/>
                    <a:pt x="263" y="119"/>
                  </a:cubicBezTo>
                  <a:cubicBezTo>
                    <a:pt x="262" y="119"/>
                    <a:pt x="261" y="117"/>
                    <a:pt x="261" y="116"/>
                  </a:cubicBezTo>
                  <a:cubicBezTo>
                    <a:pt x="260" y="113"/>
                    <a:pt x="261" y="112"/>
                    <a:pt x="267" y="110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86" name="Freeform 185"/>
            <p:cNvSpPr>
              <a:spLocks/>
            </p:cNvSpPr>
            <p:nvPr/>
          </p:nvSpPr>
          <p:spPr bwMode="auto">
            <a:xfrm>
              <a:off x="13323257" y="3594400"/>
              <a:ext cx="1557278" cy="2286548"/>
            </a:xfrm>
            <a:custGeom>
              <a:avLst/>
              <a:gdLst>
                <a:gd name="T0" fmla="*/ 280 w 286"/>
                <a:gd name="T1" fmla="*/ 55 h 461"/>
                <a:gd name="T2" fmla="*/ 278 w 286"/>
                <a:gd name="T3" fmla="*/ 44 h 461"/>
                <a:gd name="T4" fmla="*/ 276 w 286"/>
                <a:gd name="T5" fmla="*/ 28 h 461"/>
                <a:gd name="T6" fmla="*/ 264 w 286"/>
                <a:gd name="T7" fmla="*/ 3 h 461"/>
                <a:gd name="T8" fmla="*/ 261 w 286"/>
                <a:gd name="T9" fmla="*/ 0 h 461"/>
                <a:gd name="T10" fmla="*/ 2 w 286"/>
                <a:gd name="T11" fmla="*/ 252 h 461"/>
                <a:gd name="T12" fmla="*/ 8 w 286"/>
                <a:gd name="T13" fmla="*/ 264 h 461"/>
                <a:gd name="T14" fmla="*/ 18 w 286"/>
                <a:gd name="T15" fmla="*/ 272 h 461"/>
                <a:gd name="T16" fmla="*/ 23 w 286"/>
                <a:gd name="T17" fmla="*/ 276 h 461"/>
                <a:gd name="T18" fmla="*/ 19 w 286"/>
                <a:gd name="T19" fmla="*/ 279 h 461"/>
                <a:gd name="T20" fmla="*/ 19 w 286"/>
                <a:gd name="T21" fmla="*/ 283 h 461"/>
                <a:gd name="T22" fmla="*/ 250 w 286"/>
                <a:gd name="T23" fmla="*/ 461 h 461"/>
                <a:gd name="T24" fmla="*/ 253 w 286"/>
                <a:gd name="T25" fmla="*/ 454 h 461"/>
                <a:gd name="T26" fmla="*/ 253 w 286"/>
                <a:gd name="T27" fmla="*/ 437 h 461"/>
                <a:gd name="T28" fmla="*/ 258 w 286"/>
                <a:gd name="T29" fmla="*/ 425 h 461"/>
                <a:gd name="T30" fmla="*/ 250 w 286"/>
                <a:gd name="T31" fmla="*/ 423 h 461"/>
                <a:gd name="T32" fmla="*/ 243 w 286"/>
                <a:gd name="T33" fmla="*/ 422 h 461"/>
                <a:gd name="T34" fmla="*/ 239 w 286"/>
                <a:gd name="T35" fmla="*/ 417 h 461"/>
                <a:gd name="T36" fmla="*/ 227 w 286"/>
                <a:gd name="T37" fmla="*/ 413 h 461"/>
                <a:gd name="T38" fmla="*/ 226 w 286"/>
                <a:gd name="T39" fmla="*/ 395 h 461"/>
                <a:gd name="T40" fmla="*/ 225 w 286"/>
                <a:gd name="T41" fmla="*/ 379 h 461"/>
                <a:gd name="T42" fmla="*/ 221 w 286"/>
                <a:gd name="T43" fmla="*/ 362 h 461"/>
                <a:gd name="T44" fmla="*/ 216 w 286"/>
                <a:gd name="T45" fmla="*/ 343 h 461"/>
                <a:gd name="T46" fmla="*/ 218 w 286"/>
                <a:gd name="T47" fmla="*/ 331 h 461"/>
                <a:gd name="T48" fmla="*/ 221 w 286"/>
                <a:gd name="T49" fmla="*/ 315 h 461"/>
                <a:gd name="T50" fmla="*/ 227 w 286"/>
                <a:gd name="T51" fmla="*/ 298 h 461"/>
                <a:gd name="T52" fmla="*/ 235 w 286"/>
                <a:gd name="T53" fmla="*/ 279 h 461"/>
                <a:gd name="T54" fmla="*/ 234 w 286"/>
                <a:gd name="T55" fmla="*/ 263 h 461"/>
                <a:gd name="T56" fmla="*/ 235 w 286"/>
                <a:gd name="T57" fmla="*/ 258 h 461"/>
                <a:gd name="T58" fmla="*/ 233 w 286"/>
                <a:gd name="T59" fmla="*/ 244 h 461"/>
                <a:gd name="T60" fmla="*/ 229 w 286"/>
                <a:gd name="T61" fmla="*/ 233 h 461"/>
                <a:gd name="T62" fmla="*/ 238 w 286"/>
                <a:gd name="T63" fmla="*/ 210 h 461"/>
                <a:gd name="T64" fmla="*/ 249 w 286"/>
                <a:gd name="T65" fmla="*/ 184 h 461"/>
                <a:gd name="T66" fmla="*/ 254 w 286"/>
                <a:gd name="T67" fmla="*/ 160 h 461"/>
                <a:gd name="T68" fmla="*/ 264 w 286"/>
                <a:gd name="T69" fmla="*/ 141 h 461"/>
                <a:gd name="T70" fmla="*/ 244 w 286"/>
                <a:gd name="T71" fmla="*/ 130 h 461"/>
                <a:gd name="T72" fmla="*/ 243 w 286"/>
                <a:gd name="T73" fmla="*/ 117 h 461"/>
                <a:gd name="T74" fmla="*/ 255 w 286"/>
                <a:gd name="T75" fmla="*/ 104 h 461"/>
                <a:gd name="T76" fmla="*/ 259 w 286"/>
                <a:gd name="T77" fmla="*/ 91 h 461"/>
                <a:gd name="T78" fmla="*/ 272 w 286"/>
                <a:gd name="T79" fmla="*/ 82 h 461"/>
                <a:gd name="T80" fmla="*/ 282 w 286"/>
                <a:gd name="T81" fmla="*/ 68 h 461"/>
                <a:gd name="T82" fmla="*/ 286 w 286"/>
                <a:gd name="T83" fmla="*/ 62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6" h="461">
                  <a:moveTo>
                    <a:pt x="283" y="59"/>
                  </a:moveTo>
                  <a:cubicBezTo>
                    <a:pt x="282" y="58"/>
                    <a:pt x="281" y="57"/>
                    <a:pt x="280" y="55"/>
                  </a:cubicBezTo>
                  <a:cubicBezTo>
                    <a:pt x="279" y="54"/>
                    <a:pt x="279" y="52"/>
                    <a:pt x="279" y="50"/>
                  </a:cubicBezTo>
                  <a:cubicBezTo>
                    <a:pt x="279" y="48"/>
                    <a:pt x="279" y="46"/>
                    <a:pt x="278" y="44"/>
                  </a:cubicBezTo>
                  <a:cubicBezTo>
                    <a:pt x="276" y="40"/>
                    <a:pt x="276" y="36"/>
                    <a:pt x="276" y="32"/>
                  </a:cubicBezTo>
                  <a:cubicBezTo>
                    <a:pt x="276" y="31"/>
                    <a:pt x="276" y="29"/>
                    <a:pt x="276" y="28"/>
                  </a:cubicBezTo>
                  <a:cubicBezTo>
                    <a:pt x="277" y="24"/>
                    <a:pt x="277" y="20"/>
                    <a:pt x="274" y="15"/>
                  </a:cubicBezTo>
                  <a:cubicBezTo>
                    <a:pt x="272" y="11"/>
                    <a:pt x="267" y="7"/>
                    <a:pt x="264" y="3"/>
                  </a:cubicBezTo>
                  <a:cubicBezTo>
                    <a:pt x="263" y="3"/>
                    <a:pt x="263" y="3"/>
                    <a:pt x="263" y="3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0" y="250"/>
                    <a:pt x="0" y="250"/>
                    <a:pt x="0" y="250"/>
                  </a:cubicBezTo>
                  <a:cubicBezTo>
                    <a:pt x="2" y="252"/>
                    <a:pt x="2" y="252"/>
                    <a:pt x="2" y="252"/>
                  </a:cubicBezTo>
                  <a:cubicBezTo>
                    <a:pt x="2" y="253"/>
                    <a:pt x="3" y="255"/>
                    <a:pt x="4" y="257"/>
                  </a:cubicBezTo>
                  <a:cubicBezTo>
                    <a:pt x="5" y="259"/>
                    <a:pt x="7" y="262"/>
                    <a:pt x="8" y="264"/>
                  </a:cubicBezTo>
                  <a:cubicBezTo>
                    <a:pt x="11" y="268"/>
                    <a:pt x="12" y="269"/>
                    <a:pt x="18" y="271"/>
                  </a:cubicBezTo>
                  <a:cubicBezTo>
                    <a:pt x="18" y="272"/>
                    <a:pt x="18" y="272"/>
                    <a:pt x="18" y="272"/>
                  </a:cubicBezTo>
                  <a:cubicBezTo>
                    <a:pt x="24" y="274"/>
                    <a:pt x="25" y="275"/>
                    <a:pt x="25" y="275"/>
                  </a:cubicBezTo>
                  <a:cubicBezTo>
                    <a:pt x="25" y="275"/>
                    <a:pt x="24" y="275"/>
                    <a:pt x="23" y="276"/>
                  </a:cubicBezTo>
                  <a:cubicBezTo>
                    <a:pt x="22" y="276"/>
                    <a:pt x="21" y="277"/>
                    <a:pt x="20" y="278"/>
                  </a:cubicBezTo>
                  <a:cubicBezTo>
                    <a:pt x="20" y="278"/>
                    <a:pt x="19" y="279"/>
                    <a:pt x="19" y="279"/>
                  </a:cubicBezTo>
                  <a:cubicBezTo>
                    <a:pt x="17" y="281"/>
                    <a:pt x="17" y="281"/>
                    <a:pt x="17" y="281"/>
                  </a:cubicBezTo>
                  <a:cubicBezTo>
                    <a:pt x="19" y="283"/>
                    <a:pt x="19" y="283"/>
                    <a:pt x="19" y="283"/>
                  </a:cubicBezTo>
                  <a:cubicBezTo>
                    <a:pt x="42" y="306"/>
                    <a:pt x="125" y="385"/>
                    <a:pt x="247" y="459"/>
                  </a:cubicBezTo>
                  <a:cubicBezTo>
                    <a:pt x="250" y="461"/>
                    <a:pt x="250" y="461"/>
                    <a:pt x="250" y="461"/>
                  </a:cubicBezTo>
                  <a:cubicBezTo>
                    <a:pt x="251" y="457"/>
                    <a:pt x="251" y="457"/>
                    <a:pt x="251" y="457"/>
                  </a:cubicBezTo>
                  <a:cubicBezTo>
                    <a:pt x="252" y="456"/>
                    <a:pt x="252" y="456"/>
                    <a:pt x="253" y="454"/>
                  </a:cubicBezTo>
                  <a:cubicBezTo>
                    <a:pt x="253" y="451"/>
                    <a:pt x="253" y="449"/>
                    <a:pt x="252" y="447"/>
                  </a:cubicBezTo>
                  <a:cubicBezTo>
                    <a:pt x="252" y="443"/>
                    <a:pt x="251" y="440"/>
                    <a:pt x="253" y="437"/>
                  </a:cubicBezTo>
                  <a:cubicBezTo>
                    <a:pt x="253" y="436"/>
                    <a:pt x="254" y="435"/>
                    <a:pt x="255" y="434"/>
                  </a:cubicBezTo>
                  <a:cubicBezTo>
                    <a:pt x="258" y="431"/>
                    <a:pt x="260" y="428"/>
                    <a:pt x="258" y="425"/>
                  </a:cubicBezTo>
                  <a:cubicBezTo>
                    <a:pt x="256" y="423"/>
                    <a:pt x="253" y="423"/>
                    <a:pt x="252" y="423"/>
                  </a:cubicBezTo>
                  <a:cubicBezTo>
                    <a:pt x="251" y="423"/>
                    <a:pt x="251" y="423"/>
                    <a:pt x="250" y="423"/>
                  </a:cubicBezTo>
                  <a:cubicBezTo>
                    <a:pt x="249" y="423"/>
                    <a:pt x="249" y="423"/>
                    <a:pt x="248" y="423"/>
                  </a:cubicBezTo>
                  <a:cubicBezTo>
                    <a:pt x="246" y="423"/>
                    <a:pt x="244" y="422"/>
                    <a:pt x="243" y="422"/>
                  </a:cubicBezTo>
                  <a:cubicBezTo>
                    <a:pt x="242" y="421"/>
                    <a:pt x="241" y="420"/>
                    <a:pt x="241" y="419"/>
                  </a:cubicBezTo>
                  <a:cubicBezTo>
                    <a:pt x="240" y="419"/>
                    <a:pt x="240" y="418"/>
                    <a:pt x="239" y="417"/>
                  </a:cubicBezTo>
                  <a:cubicBezTo>
                    <a:pt x="237" y="416"/>
                    <a:pt x="235" y="416"/>
                    <a:pt x="233" y="415"/>
                  </a:cubicBezTo>
                  <a:cubicBezTo>
                    <a:pt x="231" y="415"/>
                    <a:pt x="229" y="415"/>
                    <a:pt x="227" y="413"/>
                  </a:cubicBezTo>
                  <a:cubicBezTo>
                    <a:pt x="224" y="411"/>
                    <a:pt x="222" y="408"/>
                    <a:pt x="223" y="403"/>
                  </a:cubicBezTo>
                  <a:cubicBezTo>
                    <a:pt x="223" y="400"/>
                    <a:pt x="224" y="398"/>
                    <a:pt x="226" y="395"/>
                  </a:cubicBezTo>
                  <a:cubicBezTo>
                    <a:pt x="227" y="393"/>
                    <a:pt x="229" y="390"/>
                    <a:pt x="228" y="385"/>
                  </a:cubicBezTo>
                  <a:cubicBezTo>
                    <a:pt x="228" y="383"/>
                    <a:pt x="227" y="381"/>
                    <a:pt x="225" y="379"/>
                  </a:cubicBezTo>
                  <a:cubicBezTo>
                    <a:pt x="224" y="377"/>
                    <a:pt x="223" y="376"/>
                    <a:pt x="222" y="374"/>
                  </a:cubicBezTo>
                  <a:cubicBezTo>
                    <a:pt x="221" y="370"/>
                    <a:pt x="221" y="366"/>
                    <a:pt x="221" y="362"/>
                  </a:cubicBezTo>
                  <a:cubicBezTo>
                    <a:pt x="221" y="357"/>
                    <a:pt x="221" y="351"/>
                    <a:pt x="219" y="346"/>
                  </a:cubicBezTo>
                  <a:cubicBezTo>
                    <a:pt x="218" y="345"/>
                    <a:pt x="217" y="344"/>
                    <a:pt x="216" y="343"/>
                  </a:cubicBezTo>
                  <a:cubicBezTo>
                    <a:pt x="214" y="341"/>
                    <a:pt x="213" y="339"/>
                    <a:pt x="215" y="335"/>
                  </a:cubicBezTo>
                  <a:cubicBezTo>
                    <a:pt x="216" y="333"/>
                    <a:pt x="217" y="332"/>
                    <a:pt x="218" y="331"/>
                  </a:cubicBezTo>
                  <a:cubicBezTo>
                    <a:pt x="220" y="328"/>
                    <a:pt x="222" y="325"/>
                    <a:pt x="221" y="320"/>
                  </a:cubicBezTo>
                  <a:cubicBezTo>
                    <a:pt x="221" y="318"/>
                    <a:pt x="221" y="317"/>
                    <a:pt x="221" y="315"/>
                  </a:cubicBezTo>
                  <a:cubicBezTo>
                    <a:pt x="220" y="311"/>
                    <a:pt x="220" y="307"/>
                    <a:pt x="222" y="304"/>
                  </a:cubicBezTo>
                  <a:cubicBezTo>
                    <a:pt x="223" y="301"/>
                    <a:pt x="225" y="299"/>
                    <a:pt x="227" y="298"/>
                  </a:cubicBezTo>
                  <a:cubicBezTo>
                    <a:pt x="230" y="295"/>
                    <a:pt x="233" y="293"/>
                    <a:pt x="234" y="289"/>
                  </a:cubicBezTo>
                  <a:cubicBezTo>
                    <a:pt x="236" y="285"/>
                    <a:pt x="235" y="282"/>
                    <a:pt x="235" y="279"/>
                  </a:cubicBezTo>
                  <a:cubicBezTo>
                    <a:pt x="235" y="279"/>
                    <a:pt x="234" y="277"/>
                    <a:pt x="234" y="277"/>
                  </a:cubicBezTo>
                  <a:cubicBezTo>
                    <a:pt x="234" y="272"/>
                    <a:pt x="234" y="267"/>
                    <a:pt x="234" y="263"/>
                  </a:cubicBezTo>
                  <a:cubicBezTo>
                    <a:pt x="235" y="261"/>
                    <a:pt x="235" y="261"/>
                    <a:pt x="235" y="261"/>
                  </a:cubicBezTo>
                  <a:cubicBezTo>
                    <a:pt x="235" y="260"/>
                    <a:pt x="235" y="259"/>
                    <a:pt x="235" y="258"/>
                  </a:cubicBezTo>
                  <a:cubicBezTo>
                    <a:pt x="236" y="253"/>
                    <a:pt x="236" y="250"/>
                    <a:pt x="235" y="247"/>
                  </a:cubicBezTo>
                  <a:cubicBezTo>
                    <a:pt x="234" y="246"/>
                    <a:pt x="233" y="245"/>
                    <a:pt x="233" y="244"/>
                  </a:cubicBezTo>
                  <a:cubicBezTo>
                    <a:pt x="231" y="241"/>
                    <a:pt x="230" y="239"/>
                    <a:pt x="229" y="235"/>
                  </a:cubicBezTo>
                  <a:cubicBezTo>
                    <a:pt x="229" y="233"/>
                    <a:pt x="229" y="233"/>
                    <a:pt x="229" y="233"/>
                  </a:cubicBezTo>
                  <a:cubicBezTo>
                    <a:pt x="229" y="225"/>
                    <a:pt x="228" y="217"/>
                    <a:pt x="236" y="212"/>
                  </a:cubicBezTo>
                  <a:cubicBezTo>
                    <a:pt x="238" y="210"/>
                    <a:pt x="238" y="210"/>
                    <a:pt x="238" y="210"/>
                  </a:cubicBezTo>
                  <a:cubicBezTo>
                    <a:pt x="244" y="206"/>
                    <a:pt x="251" y="201"/>
                    <a:pt x="254" y="195"/>
                  </a:cubicBezTo>
                  <a:cubicBezTo>
                    <a:pt x="257" y="189"/>
                    <a:pt x="253" y="187"/>
                    <a:pt x="249" y="184"/>
                  </a:cubicBezTo>
                  <a:cubicBezTo>
                    <a:pt x="247" y="182"/>
                    <a:pt x="245" y="180"/>
                    <a:pt x="243" y="178"/>
                  </a:cubicBezTo>
                  <a:cubicBezTo>
                    <a:pt x="241" y="173"/>
                    <a:pt x="246" y="167"/>
                    <a:pt x="254" y="160"/>
                  </a:cubicBezTo>
                  <a:cubicBezTo>
                    <a:pt x="258" y="157"/>
                    <a:pt x="262" y="154"/>
                    <a:pt x="263" y="151"/>
                  </a:cubicBezTo>
                  <a:cubicBezTo>
                    <a:pt x="265" y="147"/>
                    <a:pt x="265" y="144"/>
                    <a:pt x="264" y="141"/>
                  </a:cubicBezTo>
                  <a:cubicBezTo>
                    <a:pt x="263" y="138"/>
                    <a:pt x="258" y="136"/>
                    <a:pt x="254" y="135"/>
                  </a:cubicBezTo>
                  <a:cubicBezTo>
                    <a:pt x="250" y="134"/>
                    <a:pt x="246" y="132"/>
                    <a:pt x="244" y="130"/>
                  </a:cubicBezTo>
                  <a:cubicBezTo>
                    <a:pt x="241" y="128"/>
                    <a:pt x="240" y="125"/>
                    <a:pt x="240" y="123"/>
                  </a:cubicBezTo>
                  <a:cubicBezTo>
                    <a:pt x="240" y="121"/>
                    <a:pt x="241" y="118"/>
                    <a:pt x="243" y="117"/>
                  </a:cubicBezTo>
                  <a:cubicBezTo>
                    <a:pt x="244" y="116"/>
                    <a:pt x="244" y="116"/>
                    <a:pt x="244" y="116"/>
                  </a:cubicBezTo>
                  <a:cubicBezTo>
                    <a:pt x="248" y="112"/>
                    <a:pt x="252" y="109"/>
                    <a:pt x="255" y="104"/>
                  </a:cubicBezTo>
                  <a:cubicBezTo>
                    <a:pt x="256" y="102"/>
                    <a:pt x="257" y="100"/>
                    <a:pt x="257" y="98"/>
                  </a:cubicBezTo>
                  <a:cubicBezTo>
                    <a:pt x="258" y="95"/>
                    <a:pt x="258" y="93"/>
                    <a:pt x="259" y="91"/>
                  </a:cubicBezTo>
                  <a:cubicBezTo>
                    <a:pt x="261" y="88"/>
                    <a:pt x="264" y="87"/>
                    <a:pt x="267" y="85"/>
                  </a:cubicBezTo>
                  <a:cubicBezTo>
                    <a:pt x="269" y="84"/>
                    <a:pt x="271" y="83"/>
                    <a:pt x="272" y="82"/>
                  </a:cubicBezTo>
                  <a:cubicBezTo>
                    <a:pt x="275" y="80"/>
                    <a:pt x="276" y="77"/>
                    <a:pt x="278" y="73"/>
                  </a:cubicBezTo>
                  <a:cubicBezTo>
                    <a:pt x="280" y="72"/>
                    <a:pt x="281" y="70"/>
                    <a:pt x="282" y="68"/>
                  </a:cubicBezTo>
                  <a:cubicBezTo>
                    <a:pt x="283" y="67"/>
                    <a:pt x="284" y="65"/>
                    <a:pt x="285" y="64"/>
                  </a:cubicBezTo>
                  <a:cubicBezTo>
                    <a:pt x="286" y="62"/>
                    <a:pt x="286" y="62"/>
                    <a:pt x="286" y="62"/>
                  </a:cubicBezTo>
                  <a:lnTo>
                    <a:pt x="283" y="59"/>
                  </a:ln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87" name="Freeform 186"/>
            <p:cNvSpPr>
              <a:spLocks noEditPoints="1"/>
            </p:cNvSpPr>
            <p:nvPr/>
          </p:nvSpPr>
          <p:spPr bwMode="auto">
            <a:xfrm>
              <a:off x="15274470" y="6446519"/>
              <a:ext cx="1547019" cy="2292148"/>
            </a:xfrm>
            <a:custGeom>
              <a:avLst/>
              <a:gdLst>
                <a:gd name="T0" fmla="*/ 281 w 284"/>
                <a:gd name="T1" fmla="*/ 36 h 462"/>
                <a:gd name="T2" fmla="*/ 140 w 284"/>
                <a:gd name="T3" fmla="*/ 1 h 462"/>
                <a:gd name="T4" fmla="*/ 137 w 284"/>
                <a:gd name="T5" fmla="*/ 0 h 462"/>
                <a:gd name="T6" fmla="*/ 128 w 284"/>
                <a:gd name="T7" fmla="*/ 27 h 462"/>
                <a:gd name="T8" fmla="*/ 136 w 284"/>
                <a:gd name="T9" fmla="*/ 21 h 462"/>
                <a:gd name="T10" fmla="*/ 140 w 284"/>
                <a:gd name="T11" fmla="*/ 19 h 462"/>
                <a:gd name="T12" fmla="*/ 141 w 284"/>
                <a:gd name="T13" fmla="*/ 19 h 462"/>
                <a:gd name="T14" fmla="*/ 145 w 284"/>
                <a:gd name="T15" fmla="*/ 24 h 462"/>
                <a:gd name="T16" fmla="*/ 152 w 284"/>
                <a:gd name="T17" fmla="*/ 31 h 462"/>
                <a:gd name="T18" fmla="*/ 158 w 284"/>
                <a:gd name="T19" fmla="*/ 32 h 462"/>
                <a:gd name="T20" fmla="*/ 166 w 284"/>
                <a:gd name="T21" fmla="*/ 34 h 462"/>
                <a:gd name="T22" fmla="*/ 165 w 284"/>
                <a:gd name="T23" fmla="*/ 34 h 462"/>
                <a:gd name="T24" fmla="*/ 158 w 284"/>
                <a:gd name="T25" fmla="*/ 36 h 462"/>
                <a:gd name="T26" fmla="*/ 155 w 284"/>
                <a:gd name="T27" fmla="*/ 36 h 462"/>
                <a:gd name="T28" fmla="*/ 145 w 284"/>
                <a:gd name="T29" fmla="*/ 34 h 462"/>
                <a:gd name="T30" fmla="*/ 130 w 284"/>
                <a:gd name="T31" fmla="*/ 31 h 462"/>
                <a:gd name="T32" fmla="*/ 129 w 284"/>
                <a:gd name="T33" fmla="*/ 31 h 462"/>
                <a:gd name="T34" fmla="*/ 127 w 284"/>
                <a:gd name="T35" fmla="*/ 31 h 462"/>
                <a:gd name="T36" fmla="*/ 0 w 284"/>
                <a:gd name="T37" fmla="*/ 405 h 462"/>
                <a:gd name="T38" fmla="*/ 3 w 284"/>
                <a:gd name="T39" fmla="*/ 406 h 462"/>
                <a:gd name="T40" fmla="*/ 127 w 284"/>
                <a:gd name="T41" fmla="*/ 442 h 462"/>
                <a:gd name="T42" fmla="*/ 177 w 284"/>
                <a:gd name="T43" fmla="*/ 454 h 462"/>
                <a:gd name="T44" fmla="*/ 184 w 284"/>
                <a:gd name="T45" fmla="*/ 455 h 462"/>
                <a:gd name="T46" fmla="*/ 217 w 284"/>
                <a:gd name="T47" fmla="*/ 461 h 462"/>
                <a:gd name="T48" fmla="*/ 220 w 284"/>
                <a:gd name="T49" fmla="*/ 462 h 462"/>
                <a:gd name="T50" fmla="*/ 221 w 284"/>
                <a:gd name="T51" fmla="*/ 459 h 462"/>
                <a:gd name="T52" fmla="*/ 267 w 284"/>
                <a:gd name="T53" fmla="*/ 144 h 462"/>
                <a:gd name="T54" fmla="*/ 261 w 284"/>
                <a:gd name="T55" fmla="*/ 143 h 462"/>
                <a:gd name="T56" fmla="*/ 261 w 284"/>
                <a:gd name="T57" fmla="*/ 145 h 462"/>
                <a:gd name="T58" fmla="*/ 257 w 284"/>
                <a:gd name="T59" fmla="*/ 150 h 462"/>
                <a:gd name="T60" fmla="*/ 255 w 284"/>
                <a:gd name="T61" fmla="*/ 151 h 462"/>
                <a:gd name="T62" fmla="*/ 253 w 284"/>
                <a:gd name="T63" fmla="*/ 154 h 462"/>
                <a:gd name="T64" fmla="*/ 253 w 284"/>
                <a:gd name="T65" fmla="*/ 148 h 462"/>
                <a:gd name="T66" fmla="*/ 252 w 284"/>
                <a:gd name="T67" fmla="*/ 145 h 462"/>
                <a:gd name="T68" fmla="*/ 252 w 284"/>
                <a:gd name="T69" fmla="*/ 144 h 462"/>
                <a:gd name="T70" fmla="*/ 251 w 284"/>
                <a:gd name="T71" fmla="*/ 143 h 462"/>
                <a:gd name="T72" fmla="*/ 251 w 284"/>
                <a:gd name="T73" fmla="*/ 142 h 462"/>
                <a:gd name="T74" fmla="*/ 251 w 284"/>
                <a:gd name="T75" fmla="*/ 140 h 462"/>
                <a:gd name="T76" fmla="*/ 250 w 284"/>
                <a:gd name="T77" fmla="*/ 136 h 462"/>
                <a:gd name="T78" fmla="*/ 249 w 284"/>
                <a:gd name="T79" fmla="*/ 135 h 462"/>
                <a:gd name="T80" fmla="*/ 257 w 284"/>
                <a:gd name="T81" fmla="*/ 125 h 462"/>
                <a:gd name="T82" fmla="*/ 258 w 284"/>
                <a:gd name="T83" fmla="*/ 123 h 462"/>
                <a:gd name="T84" fmla="*/ 260 w 284"/>
                <a:gd name="T85" fmla="*/ 121 h 462"/>
                <a:gd name="T86" fmla="*/ 269 w 284"/>
                <a:gd name="T87" fmla="*/ 114 h 462"/>
                <a:gd name="T88" fmla="*/ 272 w 284"/>
                <a:gd name="T89" fmla="*/ 113 h 462"/>
                <a:gd name="T90" fmla="*/ 272 w 284"/>
                <a:gd name="T91" fmla="*/ 111 h 462"/>
                <a:gd name="T92" fmla="*/ 284 w 284"/>
                <a:gd name="T93" fmla="*/ 39 h 462"/>
                <a:gd name="T94" fmla="*/ 284 w 284"/>
                <a:gd name="T95" fmla="*/ 36 h 462"/>
                <a:gd name="T96" fmla="*/ 281 w 284"/>
                <a:gd name="T97" fmla="*/ 36 h 462"/>
                <a:gd name="T98" fmla="*/ 233 w 284"/>
                <a:gd name="T99" fmla="*/ 166 h 462"/>
                <a:gd name="T100" fmla="*/ 237 w 284"/>
                <a:gd name="T101" fmla="*/ 160 h 462"/>
                <a:gd name="T102" fmla="*/ 239 w 284"/>
                <a:gd name="T103" fmla="*/ 164 h 462"/>
                <a:gd name="T104" fmla="*/ 238 w 284"/>
                <a:gd name="T105" fmla="*/ 165 h 462"/>
                <a:gd name="T106" fmla="*/ 233 w 284"/>
                <a:gd name="T107" fmla="*/ 167 h 462"/>
                <a:gd name="T108" fmla="*/ 233 w 284"/>
                <a:gd name="T109" fmla="*/ 167 h 462"/>
                <a:gd name="T110" fmla="*/ 233 w 284"/>
                <a:gd name="T111" fmla="*/ 16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4" h="462">
                  <a:moveTo>
                    <a:pt x="281" y="36"/>
                  </a:moveTo>
                  <a:cubicBezTo>
                    <a:pt x="267" y="34"/>
                    <a:pt x="214" y="25"/>
                    <a:pt x="140" y="1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7" y="20"/>
                    <a:pt x="139" y="19"/>
                    <a:pt x="140" y="19"/>
                  </a:cubicBezTo>
                  <a:cubicBezTo>
                    <a:pt x="140" y="19"/>
                    <a:pt x="141" y="19"/>
                    <a:pt x="141" y="19"/>
                  </a:cubicBezTo>
                  <a:cubicBezTo>
                    <a:pt x="143" y="20"/>
                    <a:pt x="144" y="22"/>
                    <a:pt x="145" y="24"/>
                  </a:cubicBezTo>
                  <a:cubicBezTo>
                    <a:pt x="147" y="26"/>
                    <a:pt x="149" y="29"/>
                    <a:pt x="152" y="31"/>
                  </a:cubicBezTo>
                  <a:cubicBezTo>
                    <a:pt x="154" y="32"/>
                    <a:pt x="156" y="32"/>
                    <a:pt x="158" y="32"/>
                  </a:cubicBezTo>
                  <a:cubicBezTo>
                    <a:pt x="163" y="32"/>
                    <a:pt x="165" y="33"/>
                    <a:pt x="166" y="34"/>
                  </a:cubicBezTo>
                  <a:cubicBezTo>
                    <a:pt x="166" y="34"/>
                    <a:pt x="166" y="34"/>
                    <a:pt x="165" y="34"/>
                  </a:cubicBezTo>
                  <a:cubicBezTo>
                    <a:pt x="165" y="35"/>
                    <a:pt x="162" y="36"/>
                    <a:pt x="158" y="36"/>
                  </a:cubicBezTo>
                  <a:cubicBezTo>
                    <a:pt x="156" y="36"/>
                    <a:pt x="155" y="36"/>
                    <a:pt x="155" y="36"/>
                  </a:cubicBezTo>
                  <a:cubicBezTo>
                    <a:pt x="152" y="36"/>
                    <a:pt x="148" y="35"/>
                    <a:pt x="145" y="34"/>
                  </a:cubicBezTo>
                  <a:cubicBezTo>
                    <a:pt x="140" y="32"/>
                    <a:pt x="135" y="31"/>
                    <a:pt x="130" y="31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7" y="31"/>
                    <a:pt x="127" y="31"/>
                    <a:pt x="127" y="31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3" y="406"/>
                    <a:pt x="3" y="406"/>
                    <a:pt x="3" y="406"/>
                  </a:cubicBezTo>
                  <a:cubicBezTo>
                    <a:pt x="42" y="418"/>
                    <a:pt x="83" y="430"/>
                    <a:pt x="127" y="442"/>
                  </a:cubicBezTo>
                  <a:cubicBezTo>
                    <a:pt x="143" y="447"/>
                    <a:pt x="160" y="450"/>
                    <a:pt x="177" y="454"/>
                  </a:cubicBezTo>
                  <a:cubicBezTo>
                    <a:pt x="184" y="455"/>
                    <a:pt x="184" y="455"/>
                    <a:pt x="184" y="455"/>
                  </a:cubicBezTo>
                  <a:cubicBezTo>
                    <a:pt x="194" y="457"/>
                    <a:pt x="205" y="459"/>
                    <a:pt x="217" y="461"/>
                  </a:cubicBezTo>
                  <a:cubicBezTo>
                    <a:pt x="220" y="462"/>
                    <a:pt x="220" y="462"/>
                    <a:pt x="220" y="462"/>
                  </a:cubicBezTo>
                  <a:cubicBezTo>
                    <a:pt x="221" y="459"/>
                    <a:pt x="221" y="459"/>
                    <a:pt x="221" y="459"/>
                  </a:cubicBezTo>
                  <a:cubicBezTo>
                    <a:pt x="226" y="419"/>
                    <a:pt x="247" y="277"/>
                    <a:pt x="267" y="144"/>
                  </a:cubicBezTo>
                  <a:cubicBezTo>
                    <a:pt x="261" y="143"/>
                    <a:pt x="261" y="143"/>
                    <a:pt x="261" y="143"/>
                  </a:cubicBezTo>
                  <a:cubicBezTo>
                    <a:pt x="261" y="143"/>
                    <a:pt x="261" y="144"/>
                    <a:pt x="261" y="145"/>
                  </a:cubicBezTo>
                  <a:cubicBezTo>
                    <a:pt x="260" y="147"/>
                    <a:pt x="258" y="148"/>
                    <a:pt x="257" y="150"/>
                  </a:cubicBezTo>
                  <a:cubicBezTo>
                    <a:pt x="256" y="150"/>
                    <a:pt x="256" y="151"/>
                    <a:pt x="255" y="151"/>
                  </a:cubicBezTo>
                  <a:cubicBezTo>
                    <a:pt x="254" y="152"/>
                    <a:pt x="253" y="153"/>
                    <a:pt x="253" y="154"/>
                  </a:cubicBezTo>
                  <a:cubicBezTo>
                    <a:pt x="253" y="152"/>
                    <a:pt x="253" y="150"/>
                    <a:pt x="253" y="148"/>
                  </a:cubicBezTo>
                  <a:cubicBezTo>
                    <a:pt x="253" y="147"/>
                    <a:pt x="252" y="146"/>
                    <a:pt x="252" y="145"/>
                  </a:cubicBezTo>
                  <a:cubicBezTo>
                    <a:pt x="252" y="144"/>
                    <a:pt x="252" y="144"/>
                    <a:pt x="252" y="144"/>
                  </a:cubicBezTo>
                  <a:cubicBezTo>
                    <a:pt x="251" y="143"/>
                    <a:pt x="251" y="143"/>
                    <a:pt x="251" y="143"/>
                  </a:cubicBezTo>
                  <a:cubicBezTo>
                    <a:pt x="251" y="142"/>
                    <a:pt x="251" y="142"/>
                    <a:pt x="251" y="142"/>
                  </a:cubicBezTo>
                  <a:cubicBezTo>
                    <a:pt x="251" y="141"/>
                    <a:pt x="251" y="141"/>
                    <a:pt x="251" y="140"/>
                  </a:cubicBezTo>
                  <a:cubicBezTo>
                    <a:pt x="251" y="138"/>
                    <a:pt x="250" y="137"/>
                    <a:pt x="250" y="136"/>
                  </a:cubicBezTo>
                  <a:cubicBezTo>
                    <a:pt x="250" y="136"/>
                    <a:pt x="250" y="135"/>
                    <a:pt x="249" y="135"/>
                  </a:cubicBezTo>
                  <a:cubicBezTo>
                    <a:pt x="248" y="132"/>
                    <a:pt x="254" y="127"/>
                    <a:pt x="257" y="125"/>
                  </a:cubicBezTo>
                  <a:cubicBezTo>
                    <a:pt x="258" y="123"/>
                    <a:pt x="258" y="123"/>
                    <a:pt x="258" y="123"/>
                  </a:cubicBezTo>
                  <a:cubicBezTo>
                    <a:pt x="258" y="123"/>
                    <a:pt x="259" y="122"/>
                    <a:pt x="260" y="121"/>
                  </a:cubicBezTo>
                  <a:cubicBezTo>
                    <a:pt x="262" y="119"/>
                    <a:pt x="267" y="114"/>
                    <a:pt x="269" y="114"/>
                  </a:cubicBezTo>
                  <a:cubicBezTo>
                    <a:pt x="272" y="113"/>
                    <a:pt x="272" y="113"/>
                    <a:pt x="272" y="113"/>
                  </a:cubicBezTo>
                  <a:cubicBezTo>
                    <a:pt x="272" y="111"/>
                    <a:pt x="272" y="111"/>
                    <a:pt x="272" y="111"/>
                  </a:cubicBezTo>
                  <a:cubicBezTo>
                    <a:pt x="276" y="86"/>
                    <a:pt x="280" y="62"/>
                    <a:pt x="284" y="39"/>
                  </a:cubicBezTo>
                  <a:cubicBezTo>
                    <a:pt x="284" y="36"/>
                    <a:pt x="284" y="36"/>
                    <a:pt x="284" y="36"/>
                  </a:cubicBezTo>
                  <a:lnTo>
                    <a:pt x="281" y="36"/>
                  </a:lnTo>
                  <a:close/>
                  <a:moveTo>
                    <a:pt x="233" y="166"/>
                  </a:moveTo>
                  <a:cubicBezTo>
                    <a:pt x="233" y="164"/>
                    <a:pt x="235" y="161"/>
                    <a:pt x="237" y="160"/>
                  </a:cubicBezTo>
                  <a:cubicBezTo>
                    <a:pt x="237" y="161"/>
                    <a:pt x="237" y="163"/>
                    <a:pt x="239" y="164"/>
                  </a:cubicBezTo>
                  <a:cubicBezTo>
                    <a:pt x="238" y="164"/>
                    <a:pt x="238" y="165"/>
                    <a:pt x="238" y="165"/>
                  </a:cubicBezTo>
                  <a:cubicBezTo>
                    <a:pt x="236" y="166"/>
                    <a:pt x="235" y="167"/>
                    <a:pt x="233" y="167"/>
                  </a:cubicBezTo>
                  <a:cubicBezTo>
                    <a:pt x="233" y="167"/>
                    <a:pt x="233" y="167"/>
                    <a:pt x="233" y="167"/>
                  </a:cubicBezTo>
                  <a:cubicBezTo>
                    <a:pt x="233" y="167"/>
                    <a:pt x="233" y="167"/>
                    <a:pt x="233" y="166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88" name="Freeform 187"/>
            <p:cNvSpPr>
              <a:spLocks noEditPoints="1"/>
            </p:cNvSpPr>
            <p:nvPr/>
          </p:nvSpPr>
          <p:spPr bwMode="auto">
            <a:xfrm>
              <a:off x="13152961" y="4988728"/>
              <a:ext cx="1891713" cy="3292629"/>
            </a:xfrm>
            <a:custGeom>
              <a:avLst/>
              <a:gdLst>
                <a:gd name="T0" fmla="*/ 281 w 347"/>
                <a:gd name="T1" fmla="*/ 180 h 664"/>
                <a:gd name="T2" fmla="*/ 48 w 347"/>
                <a:gd name="T3" fmla="*/ 37 h 664"/>
                <a:gd name="T4" fmla="*/ 56 w 347"/>
                <a:gd name="T5" fmla="*/ 60 h 664"/>
                <a:gd name="T6" fmla="*/ 94 w 347"/>
                <a:gd name="T7" fmla="*/ 61 h 664"/>
                <a:gd name="T8" fmla="*/ 90 w 347"/>
                <a:gd name="T9" fmla="*/ 86 h 664"/>
                <a:gd name="T10" fmla="*/ 83 w 347"/>
                <a:gd name="T11" fmla="*/ 161 h 664"/>
                <a:gd name="T12" fmla="*/ 76 w 347"/>
                <a:gd name="T13" fmla="*/ 193 h 664"/>
                <a:gd name="T14" fmla="*/ 79 w 347"/>
                <a:gd name="T15" fmla="*/ 207 h 664"/>
                <a:gd name="T16" fmla="*/ 91 w 347"/>
                <a:gd name="T17" fmla="*/ 235 h 664"/>
                <a:gd name="T18" fmla="*/ 77 w 347"/>
                <a:gd name="T19" fmla="*/ 268 h 664"/>
                <a:gd name="T20" fmla="*/ 63 w 347"/>
                <a:gd name="T21" fmla="*/ 276 h 664"/>
                <a:gd name="T22" fmla="*/ 56 w 347"/>
                <a:gd name="T23" fmla="*/ 282 h 664"/>
                <a:gd name="T24" fmla="*/ 40 w 347"/>
                <a:gd name="T25" fmla="*/ 293 h 664"/>
                <a:gd name="T26" fmla="*/ 31 w 347"/>
                <a:gd name="T27" fmla="*/ 295 h 664"/>
                <a:gd name="T28" fmla="*/ 36 w 347"/>
                <a:gd name="T29" fmla="*/ 311 h 664"/>
                <a:gd name="T30" fmla="*/ 28 w 347"/>
                <a:gd name="T31" fmla="*/ 327 h 664"/>
                <a:gd name="T32" fmla="*/ 40 w 347"/>
                <a:gd name="T33" fmla="*/ 337 h 664"/>
                <a:gd name="T34" fmla="*/ 60 w 347"/>
                <a:gd name="T35" fmla="*/ 330 h 664"/>
                <a:gd name="T36" fmla="*/ 52 w 347"/>
                <a:gd name="T37" fmla="*/ 338 h 664"/>
                <a:gd name="T38" fmla="*/ 31 w 347"/>
                <a:gd name="T39" fmla="*/ 352 h 664"/>
                <a:gd name="T40" fmla="*/ 39 w 347"/>
                <a:gd name="T41" fmla="*/ 365 h 664"/>
                <a:gd name="T42" fmla="*/ 46 w 347"/>
                <a:gd name="T43" fmla="*/ 369 h 664"/>
                <a:gd name="T44" fmla="*/ 45 w 347"/>
                <a:gd name="T45" fmla="*/ 382 h 664"/>
                <a:gd name="T46" fmla="*/ 41 w 347"/>
                <a:gd name="T47" fmla="*/ 390 h 664"/>
                <a:gd name="T48" fmla="*/ 26 w 347"/>
                <a:gd name="T49" fmla="*/ 405 h 664"/>
                <a:gd name="T50" fmla="*/ 34 w 347"/>
                <a:gd name="T51" fmla="*/ 418 h 664"/>
                <a:gd name="T52" fmla="*/ 26 w 347"/>
                <a:gd name="T53" fmla="*/ 433 h 664"/>
                <a:gd name="T54" fmla="*/ 38 w 347"/>
                <a:gd name="T55" fmla="*/ 450 h 664"/>
                <a:gd name="T56" fmla="*/ 33 w 347"/>
                <a:gd name="T57" fmla="*/ 454 h 664"/>
                <a:gd name="T58" fmla="*/ 9 w 347"/>
                <a:gd name="T59" fmla="*/ 427 h 664"/>
                <a:gd name="T60" fmla="*/ 6 w 347"/>
                <a:gd name="T61" fmla="*/ 448 h 664"/>
                <a:gd name="T62" fmla="*/ 8 w 347"/>
                <a:gd name="T63" fmla="*/ 465 h 664"/>
                <a:gd name="T64" fmla="*/ 10 w 347"/>
                <a:gd name="T65" fmla="*/ 479 h 664"/>
                <a:gd name="T66" fmla="*/ 14 w 347"/>
                <a:gd name="T67" fmla="*/ 494 h 664"/>
                <a:gd name="T68" fmla="*/ 26 w 347"/>
                <a:gd name="T69" fmla="*/ 516 h 664"/>
                <a:gd name="T70" fmla="*/ 30 w 347"/>
                <a:gd name="T71" fmla="*/ 536 h 664"/>
                <a:gd name="T72" fmla="*/ 33 w 347"/>
                <a:gd name="T73" fmla="*/ 539 h 664"/>
                <a:gd name="T74" fmla="*/ 46 w 347"/>
                <a:gd name="T75" fmla="*/ 575 h 664"/>
                <a:gd name="T76" fmla="*/ 70 w 347"/>
                <a:gd name="T77" fmla="*/ 560 h 664"/>
                <a:gd name="T78" fmla="*/ 59 w 347"/>
                <a:gd name="T79" fmla="*/ 486 h 664"/>
                <a:gd name="T80" fmla="*/ 64 w 347"/>
                <a:gd name="T81" fmla="*/ 487 h 664"/>
                <a:gd name="T82" fmla="*/ 59 w 347"/>
                <a:gd name="T83" fmla="*/ 502 h 664"/>
                <a:gd name="T84" fmla="*/ 62 w 347"/>
                <a:gd name="T85" fmla="*/ 512 h 664"/>
                <a:gd name="T86" fmla="*/ 70 w 347"/>
                <a:gd name="T87" fmla="*/ 534 h 664"/>
                <a:gd name="T88" fmla="*/ 83 w 347"/>
                <a:gd name="T89" fmla="*/ 545 h 664"/>
                <a:gd name="T90" fmla="*/ 284 w 347"/>
                <a:gd name="T91" fmla="*/ 662 h 664"/>
                <a:gd name="T92" fmla="*/ 295 w 347"/>
                <a:gd name="T93" fmla="*/ 599 h 664"/>
                <a:gd name="T94" fmla="*/ 268 w 347"/>
                <a:gd name="T95" fmla="*/ 530 h 664"/>
                <a:gd name="T96" fmla="*/ 252 w 347"/>
                <a:gd name="T97" fmla="*/ 484 h 664"/>
                <a:gd name="T98" fmla="*/ 254 w 347"/>
                <a:gd name="T99" fmla="*/ 402 h 664"/>
                <a:gd name="T100" fmla="*/ 346 w 347"/>
                <a:gd name="T101" fmla="*/ 220 h 664"/>
                <a:gd name="T102" fmla="*/ 70 w 347"/>
                <a:gd name="T103" fmla="*/ 500 h 664"/>
                <a:gd name="T104" fmla="*/ 47 w 347"/>
                <a:gd name="T105" fmla="*/ 465 h 664"/>
                <a:gd name="T106" fmla="*/ 45 w 347"/>
                <a:gd name="T107" fmla="*/ 465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7" h="664">
                  <a:moveTo>
                    <a:pt x="345" y="216"/>
                  </a:moveTo>
                  <a:cubicBezTo>
                    <a:pt x="324" y="205"/>
                    <a:pt x="303" y="193"/>
                    <a:pt x="282" y="181"/>
                  </a:cubicBezTo>
                  <a:cubicBezTo>
                    <a:pt x="282" y="181"/>
                    <a:pt x="282" y="181"/>
                    <a:pt x="282" y="181"/>
                  </a:cubicBezTo>
                  <a:cubicBezTo>
                    <a:pt x="282" y="181"/>
                    <a:pt x="282" y="181"/>
                    <a:pt x="282" y="181"/>
                  </a:cubicBezTo>
                  <a:cubicBezTo>
                    <a:pt x="281" y="180"/>
                    <a:pt x="281" y="180"/>
                    <a:pt x="281" y="180"/>
                  </a:cubicBezTo>
                  <a:cubicBezTo>
                    <a:pt x="281" y="180"/>
                    <a:pt x="281" y="180"/>
                    <a:pt x="281" y="180"/>
                  </a:cubicBezTo>
                  <a:cubicBezTo>
                    <a:pt x="160" y="107"/>
                    <a:pt x="75" y="27"/>
                    <a:pt x="52" y="4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6" y="11"/>
                    <a:pt x="47" y="17"/>
                    <a:pt x="47" y="23"/>
                  </a:cubicBezTo>
                  <a:cubicBezTo>
                    <a:pt x="48" y="26"/>
                    <a:pt x="48" y="30"/>
                    <a:pt x="48" y="32"/>
                  </a:cubicBezTo>
                  <a:cubicBezTo>
                    <a:pt x="48" y="34"/>
                    <a:pt x="48" y="35"/>
                    <a:pt x="48" y="37"/>
                  </a:cubicBezTo>
                  <a:cubicBezTo>
                    <a:pt x="48" y="40"/>
                    <a:pt x="48" y="43"/>
                    <a:pt x="48" y="45"/>
                  </a:cubicBezTo>
                  <a:cubicBezTo>
                    <a:pt x="48" y="46"/>
                    <a:pt x="47" y="47"/>
                    <a:pt x="47" y="48"/>
                  </a:cubicBezTo>
                  <a:cubicBezTo>
                    <a:pt x="46" y="51"/>
                    <a:pt x="43" y="57"/>
                    <a:pt x="48" y="60"/>
                  </a:cubicBezTo>
                  <a:cubicBezTo>
                    <a:pt x="49" y="61"/>
                    <a:pt x="50" y="61"/>
                    <a:pt x="51" y="61"/>
                  </a:cubicBezTo>
                  <a:cubicBezTo>
                    <a:pt x="52" y="61"/>
                    <a:pt x="54" y="61"/>
                    <a:pt x="55" y="61"/>
                  </a:cubicBezTo>
                  <a:cubicBezTo>
                    <a:pt x="55" y="60"/>
                    <a:pt x="56" y="60"/>
                    <a:pt x="56" y="60"/>
                  </a:cubicBezTo>
                  <a:cubicBezTo>
                    <a:pt x="58" y="60"/>
                    <a:pt x="60" y="61"/>
                    <a:pt x="62" y="62"/>
                  </a:cubicBezTo>
                  <a:cubicBezTo>
                    <a:pt x="64" y="62"/>
                    <a:pt x="66" y="63"/>
                    <a:pt x="67" y="63"/>
                  </a:cubicBezTo>
                  <a:cubicBezTo>
                    <a:pt x="70" y="63"/>
                    <a:pt x="72" y="61"/>
                    <a:pt x="75" y="59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8" y="57"/>
                    <a:pt x="81" y="56"/>
                    <a:pt x="85" y="56"/>
                  </a:cubicBezTo>
                  <a:cubicBezTo>
                    <a:pt x="87" y="56"/>
                    <a:pt x="93" y="56"/>
                    <a:pt x="94" y="61"/>
                  </a:cubicBezTo>
                  <a:cubicBezTo>
                    <a:pt x="95" y="64"/>
                    <a:pt x="93" y="68"/>
                    <a:pt x="91" y="72"/>
                  </a:cubicBezTo>
                  <a:cubicBezTo>
                    <a:pt x="91" y="72"/>
                    <a:pt x="91" y="73"/>
                    <a:pt x="91" y="73"/>
                  </a:cubicBezTo>
                  <a:cubicBezTo>
                    <a:pt x="90" y="74"/>
                    <a:pt x="89" y="75"/>
                    <a:pt x="89" y="77"/>
                  </a:cubicBezTo>
                  <a:cubicBezTo>
                    <a:pt x="89" y="79"/>
                    <a:pt x="89" y="80"/>
                    <a:pt x="89" y="82"/>
                  </a:cubicBezTo>
                  <a:cubicBezTo>
                    <a:pt x="89" y="82"/>
                    <a:pt x="89" y="83"/>
                    <a:pt x="89" y="83"/>
                  </a:cubicBezTo>
                  <a:cubicBezTo>
                    <a:pt x="90" y="86"/>
                    <a:pt x="90" y="86"/>
                    <a:pt x="90" y="86"/>
                  </a:cubicBezTo>
                  <a:cubicBezTo>
                    <a:pt x="90" y="87"/>
                    <a:pt x="90" y="89"/>
                    <a:pt x="90" y="90"/>
                  </a:cubicBezTo>
                  <a:cubicBezTo>
                    <a:pt x="90" y="92"/>
                    <a:pt x="90" y="94"/>
                    <a:pt x="90" y="97"/>
                  </a:cubicBezTo>
                  <a:cubicBezTo>
                    <a:pt x="89" y="100"/>
                    <a:pt x="89" y="103"/>
                    <a:pt x="89" y="106"/>
                  </a:cubicBezTo>
                  <a:cubicBezTo>
                    <a:pt x="90" y="111"/>
                    <a:pt x="90" y="117"/>
                    <a:pt x="90" y="122"/>
                  </a:cubicBezTo>
                  <a:cubicBezTo>
                    <a:pt x="90" y="131"/>
                    <a:pt x="88" y="142"/>
                    <a:pt x="85" y="152"/>
                  </a:cubicBezTo>
                  <a:cubicBezTo>
                    <a:pt x="84" y="155"/>
                    <a:pt x="83" y="158"/>
                    <a:pt x="83" y="161"/>
                  </a:cubicBezTo>
                  <a:cubicBezTo>
                    <a:pt x="82" y="164"/>
                    <a:pt x="81" y="167"/>
                    <a:pt x="81" y="170"/>
                  </a:cubicBezTo>
                  <a:cubicBezTo>
                    <a:pt x="80" y="171"/>
                    <a:pt x="80" y="172"/>
                    <a:pt x="80" y="173"/>
                  </a:cubicBezTo>
                  <a:cubicBezTo>
                    <a:pt x="80" y="174"/>
                    <a:pt x="79" y="176"/>
                    <a:pt x="79" y="178"/>
                  </a:cubicBezTo>
                  <a:cubicBezTo>
                    <a:pt x="78" y="179"/>
                    <a:pt x="78" y="179"/>
                    <a:pt x="78" y="179"/>
                  </a:cubicBezTo>
                  <a:cubicBezTo>
                    <a:pt x="78" y="180"/>
                    <a:pt x="77" y="182"/>
                    <a:pt x="77" y="184"/>
                  </a:cubicBezTo>
                  <a:cubicBezTo>
                    <a:pt x="76" y="187"/>
                    <a:pt x="76" y="189"/>
                    <a:pt x="76" y="193"/>
                  </a:cubicBezTo>
                  <a:cubicBezTo>
                    <a:pt x="76" y="194"/>
                    <a:pt x="76" y="195"/>
                    <a:pt x="76" y="196"/>
                  </a:cubicBezTo>
                  <a:cubicBezTo>
                    <a:pt x="76" y="196"/>
                    <a:pt x="76" y="197"/>
                    <a:pt x="76" y="197"/>
                  </a:cubicBezTo>
                  <a:cubicBezTo>
                    <a:pt x="76" y="198"/>
                    <a:pt x="76" y="198"/>
                    <a:pt x="76" y="199"/>
                  </a:cubicBezTo>
                  <a:cubicBezTo>
                    <a:pt x="76" y="200"/>
                    <a:pt x="76" y="201"/>
                    <a:pt x="77" y="202"/>
                  </a:cubicBezTo>
                  <a:cubicBezTo>
                    <a:pt x="77" y="204"/>
                    <a:pt x="77" y="205"/>
                    <a:pt x="78" y="205"/>
                  </a:cubicBezTo>
                  <a:cubicBezTo>
                    <a:pt x="78" y="206"/>
                    <a:pt x="78" y="206"/>
                    <a:pt x="79" y="207"/>
                  </a:cubicBezTo>
                  <a:cubicBezTo>
                    <a:pt x="80" y="211"/>
                    <a:pt x="83" y="215"/>
                    <a:pt x="85" y="218"/>
                  </a:cubicBezTo>
                  <a:cubicBezTo>
                    <a:pt x="86" y="219"/>
                    <a:pt x="87" y="221"/>
                    <a:pt x="87" y="222"/>
                  </a:cubicBezTo>
                  <a:cubicBezTo>
                    <a:pt x="87" y="223"/>
                    <a:pt x="87" y="223"/>
                    <a:pt x="87" y="224"/>
                  </a:cubicBezTo>
                  <a:cubicBezTo>
                    <a:pt x="87" y="226"/>
                    <a:pt x="87" y="227"/>
                    <a:pt x="88" y="229"/>
                  </a:cubicBezTo>
                  <a:cubicBezTo>
                    <a:pt x="89" y="230"/>
                    <a:pt x="89" y="230"/>
                    <a:pt x="89" y="231"/>
                  </a:cubicBezTo>
                  <a:cubicBezTo>
                    <a:pt x="90" y="232"/>
                    <a:pt x="91" y="234"/>
                    <a:pt x="91" y="235"/>
                  </a:cubicBezTo>
                  <a:cubicBezTo>
                    <a:pt x="92" y="240"/>
                    <a:pt x="92" y="247"/>
                    <a:pt x="88" y="249"/>
                  </a:cubicBezTo>
                  <a:cubicBezTo>
                    <a:pt x="88" y="250"/>
                    <a:pt x="87" y="250"/>
                    <a:pt x="87" y="250"/>
                  </a:cubicBezTo>
                  <a:cubicBezTo>
                    <a:pt x="84" y="252"/>
                    <a:pt x="81" y="254"/>
                    <a:pt x="81" y="259"/>
                  </a:cubicBezTo>
                  <a:cubicBezTo>
                    <a:pt x="81" y="260"/>
                    <a:pt x="81" y="261"/>
                    <a:pt x="81" y="262"/>
                  </a:cubicBezTo>
                  <a:cubicBezTo>
                    <a:pt x="81" y="263"/>
                    <a:pt x="81" y="265"/>
                    <a:pt x="81" y="266"/>
                  </a:cubicBezTo>
                  <a:cubicBezTo>
                    <a:pt x="80" y="267"/>
                    <a:pt x="79" y="267"/>
                    <a:pt x="77" y="268"/>
                  </a:cubicBezTo>
                  <a:cubicBezTo>
                    <a:pt x="77" y="269"/>
                    <a:pt x="76" y="269"/>
                    <a:pt x="75" y="270"/>
                  </a:cubicBezTo>
                  <a:cubicBezTo>
                    <a:pt x="74" y="271"/>
                    <a:pt x="73" y="271"/>
                    <a:pt x="73" y="272"/>
                  </a:cubicBezTo>
                  <a:cubicBezTo>
                    <a:pt x="72" y="273"/>
                    <a:pt x="72" y="273"/>
                    <a:pt x="72" y="273"/>
                  </a:cubicBezTo>
                  <a:cubicBezTo>
                    <a:pt x="71" y="273"/>
                    <a:pt x="70" y="273"/>
                    <a:pt x="69" y="274"/>
                  </a:cubicBezTo>
                  <a:cubicBezTo>
                    <a:pt x="69" y="274"/>
                    <a:pt x="69" y="274"/>
                    <a:pt x="69" y="274"/>
                  </a:cubicBezTo>
                  <a:cubicBezTo>
                    <a:pt x="66" y="274"/>
                    <a:pt x="64" y="275"/>
                    <a:pt x="63" y="276"/>
                  </a:cubicBezTo>
                  <a:cubicBezTo>
                    <a:pt x="61" y="276"/>
                    <a:pt x="60" y="277"/>
                    <a:pt x="59" y="279"/>
                  </a:cubicBezTo>
                  <a:cubicBezTo>
                    <a:pt x="59" y="280"/>
                    <a:pt x="59" y="280"/>
                    <a:pt x="59" y="281"/>
                  </a:cubicBezTo>
                  <a:cubicBezTo>
                    <a:pt x="59" y="281"/>
                    <a:pt x="58" y="282"/>
                    <a:pt x="58" y="282"/>
                  </a:cubicBezTo>
                  <a:cubicBezTo>
                    <a:pt x="58" y="282"/>
                    <a:pt x="58" y="282"/>
                    <a:pt x="58" y="282"/>
                  </a:cubicBezTo>
                  <a:cubicBezTo>
                    <a:pt x="58" y="282"/>
                    <a:pt x="58" y="282"/>
                    <a:pt x="58" y="282"/>
                  </a:cubicBezTo>
                  <a:cubicBezTo>
                    <a:pt x="57" y="282"/>
                    <a:pt x="57" y="282"/>
                    <a:pt x="56" y="282"/>
                  </a:cubicBezTo>
                  <a:cubicBezTo>
                    <a:pt x="55" y="281"/>
                    <a:pt x="53" y="280"/>
                    <a:pt x="51" y="280"/>
                  </a:cubicBezTo>
                  <a:cubicBezTo>
                    <a:pt x="50" y="280"/>
                    <a:pt x="49" y="280"/>
                    <a:pt x="48" y="281"/>
                  </a:cubicBezTo>
                  <a:cubicBezTo>
                    <a:pt x="43" y="284"/>
                    <a:pt x="44" y="290"/>
                    <a:pt x="45" y="295"/>
                  </a:cubicBezTo>
                  <a:cubicBezTo>
                    <a:pt x="45" y="295"/>
                    <a:pt x="45" y="296"/>
                    <a:pt x="45" y="296"/>
                  </a:cubicBezTo>
                  <a:cubicBezTo>
                    <a:pt x="45" y="296"/>
                    <a:pt x="45" y="295"/>
                    <a:pt x="45" y="295"/>
                  </a:cubicBezTo>
                  <a:cubicBezTo>
                    <a:pt x="43" y="293"/>
                    <a:pt x="41" y="293"/>
                    <a:pt x="40" y="293"/>
                  </a:cubicBezTo>
                  <a:cubicBezTo>
                    <a:pt x="40" y="293"/>
                    <a:pt x="40" y="293"/>
                    <a:pt x="39" y="293"/>
                  </a:cubicBezTo>
                  <a:cubicBezTo>
                    <a:pt x="39" y="293"/>
                    <a:pt x="39" y="293"/>
                    <a:pt x="39" y="292"/>
                  </a:cubicBezTo>
                  <a:cubicBezTo>
                    <a:pt x="38" y="292"/>
                    <a:pt x="37" y="292"/>
                    <a:pt x="35" y="292"/>
                  </a:cubicBezTo>
                  <a:cubicBezTo>
                    <a:pt x="35" y="292"/>
                    <a:pt x="35" y="292"/>
                    <a:pt x="35" y="292"/>
                  </a:cubicBezTo>
                  <a:cubicBezTo>
                    <a:pt x="34" y="292"/>
                    <a:pt x="34" y="292"/>
                    <a:pt x="34" y="292"/>
                  </a:cubicBezTo>
                  <a:cubicBezTo>
                    <a:pt x="33" y="292"/>
                    <a:pt x="31" y="293"/>
                    <a:pt x="31" y="295"/>
                  </a:cubicBezTo>
                  <a:cubicBezTo>
                    <a:pt x="30" y="296"/>
                    <a:pt x="29" y="298"/>
                    <a:pt x="30" y="300"/>
                  </a:cubicBezTo>
                  <a:cubicBezTo>
                    <a:pt x="31" y="302"/>
                    <a:pt x="32" y="303"/>
                    <a:pt x="33" y="303"/>
                  </a:cubicBezTo>
                  <a:cubicBezTo>
                    <a:pt x="34" y="303"/>
                    <a:pt x="34" y="303"/>
                    <a:pt x="34" y="303"/>
                  </a:cubicBezTo>
                  <a:cubicBezTo>
                    <a:pt x="34" y="304"/>
                    <a:pt x="34" y="306"/>
                    <a:pt x="36" y="307"/>
                  </a:cubicBezTo>
                  <a:cubicBezTo>
                    <a:pt x="36" y="307"/>
                    <a:pt x="37" y="307"/>
                    <a:pt x="37" y="307"/>
                  </a:cubicBezTo>
                  <a:cubicBezTo>
                    <a:pt x="37" y="309"/>
                    <a:pt x="37" y="310"/>
                    <a:pt x="36" y="311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5" y="308"/>
                    <a:pt x="32" y="308"/>
                    <a:pt x="31" y="308"/>
                  </a:cubicBezTo>
                  <a:cubicBezTo>
                    <a:pt x="28" y="308"/>
                    <a:pt x="26" y="311"/>
                    <a:pt x="25" y="314"/>
                  </a:cubicBezTo>
                  <a:cubicBezTo>
                    <a:pt x="25" y="317"/>
                    <a:pt x="26" y="319"/>
                    <a:pt x="27" y="322"/>
                  </a:cubicBezTo>
                  <a:cubicBezTo>
                    <a:pt x="27" y="323"/>
                    <a:pt x="28" y="324"/>
                    <a:pt x="28" y="325"/>
                  </a:cubicBezTo>
                  <a:cubicBezTo>
                    <a:pt x="28" y="326"/>
                    <a:pt x="28" y="326"/>
                    <a:pt x="28" y="327"/>
                  </a:cubicBezTo>
                  <a:cubicBezTo>
                    <a:pt x="27" y="330"/>
                    <a:pt x="27" y="334"/>
                    <a:pt x="29" y="336"/>
                  </a:cubicBezTo>
                  <a:cubicBezTo>
                    <a:pt x="30" y="337"/>
                    <a:pt x="31" y="337"/>
                    <a:pt x="33" y="337"/>
                  </a:cubicBezTo>
                  <a:cubicBezTo>
                    <a:pt x="33" y="337"/>
                    <a:pt x="33" y="337"/>
                    <a:pt x="33" y="337"/>
                  </a:cubicBezTo>
                  <a:cubicBezTo>
                    <a:pt x="33" y="337"/>
                    <a:pt x="33" y="337"/>
                    <a:pt x="34" y="337"/>
                  </a:cubicBezTo>
                  <a:cubicBezTo>
                    <a:pt x="35" y="337"/>
                    <a:pt x="36" y="336"/>
                    <a:pt x="37" y="336"/>
                  </a:cubicBezTo>
                  <a:cubicBezTo>
                    <a:pt x="38" y="337"/>
                    <a:pt x="39" y="337"/>
                    <a:pt x="40" y="337"/>
                  </a:cubicBezTo>
                  <a:cubicBezTo>
                    <a:pt x="40" y="337"/>
                    <a:pt x="40" y="337"/>
                    <a:pt x="40" y="337"/>
                  </a:cubicBezTo>
                  <a:cubicBezTo>
                    <a:pt x="42" y="337"/>
                    <a:pt x="44" y="335"/>
                    <a:pt x="45" y="333"/>
                  </a:cubicBezTo>
                  <a:cubicBezTo>
                    <a:pt x="45" y="334"/>
                    <a:pt x="45" y="334"/>
                    <a:pt x="46" y="334"/>
                  </a:cubicBezTo>
                  <a:cubicBezTo>
                    <a:pt x="47" y="335"/>
                    <a:pt x="48" y="335"/>
                    <a:pt x="49" y="335"/>
                  </a:cubicBezTo>
                  <a:cubicBezTo>
                    <a:pt x="53" y="335"/>
                    <a:pt x="55" y="333"/>
                    <a:pt x="57" y="331"/>
                  </a:cubicBezTo>
                  <a:cubicBezTo>
                    <a:pt x="58" y="331"/>
                    <a:pt x="59" y="330"/>
                    <a:pt x="60" y="330"/>
                  </a:cubicBezTo>
                  <a:cubicBezTo>
                    <a:pt x="62" y="328"/>
                    <a:pt x="65" y="327"/>
                    <a:pt x="67" y="327"/>
                  </a:cubicBezTo>
                  <a:cubicBezTo>
                    <a:pt x="67" y="328"/>
                    <a:pt x="65" y="329"/>
                    <a:pt x="63" y="331"/>
                  </a:cubicBezTo>
                  <a:cubicBezTo>
                    <a:pt x="62" y="331"/>
                    <a:pt x="62" y="331"/>
                    <a:pt x="62" y="331"/>
                  </a:cubicBezTo>
                  <a:cubicBezTo>
                    <a:pt x="61" y="332"/>
                    <a:pt x="60" y="332"/>
                    <a:pt x="59" y="332"/>
                  </a:cubicBezTo>
                  <a:cubicBezTo>
                    <a:pt x="57" y="333"/>
                    <a:pt x="55" y="334"/>
                    <a:pt x="54" y="336"/>
                  </a:cubicBezTo>
                  <a:cubicBezTo>
                    <a:pt x="53" y="336"/>
                    <a:pt x="53" y="337"/>
                    <a:pt x="52" y="338"/>
                  </a:cubicBezTo>
                  <a:cubicBezTo>
                    <a:pt x="52" y="338"/>
                    <a:pt x="51" y="338"/>
                    <a:pt x="51" y="338"/>
                  </a:cubicBezTo>
                  <a:cubicBezTo>
                    <a:pt x="48" y="338"/>
                    <a:pt x="46" y="339"/>
                    <a:pt x="44" y="342"/>
                  </a:cubicBezTo>
                  <a:cubicBezTo>
                    <a:pt x="44" y="342"/>
                    <a:pt x="43" y="343"/>
                    <a:pt x="41" y="343"/>
                  </a:cubicBezTo>
                  <a:cubicBezTo>
                    <a:pt x="39" y="344"/>
                    <a:pt x="36" y="346"/>
                    <a:pt x="35" y="350"/>
                  </a:cubicBezTo>
                  <a:cubicBezTo>
                    <a:pt x="35" y="350"/>
                    <a:pt x="35" y="350"/>
                    <a:pt x="35" y="350"/>
                  </a:cubicBezTo>
                  <a:cubicBezTo>
                    <a:pt x="33" y="350"/>
                    <a:pt x="32" y="351"/>
                    <a:pt x="31" y="352"/>
                  </a:cubicBezTo>
                  <a:cubicBezTo>
                    <a:pt x="29" y="354"/>
                    <a:pt x="28" y="357"/>
                    <a:pt x="28" y="359"/>
                  </a:cubicBezTo>
                  <a:cubicBezTo>
                    <a:pt x="28" y="361"/>
                    <a:pt x="28" y="361"/>
                    <a:pt x="28" y="361"/>
                  </a:cubicBezTo>
                  <a:cubicBezTo>
                    <a:pt x="28" y="363"/>
                    <a:pt x="28" y="367"/>
                    <a:pt x="30" y="369"/>
                  </a:cubicBezTo>
                  <a:cubicBezTo>
                    <a:pt x="31" y="369"/>
                    <a:pt x="32" y="370"/>
                    <a:pt x="33" y="370"/>
                  </a:cubicBezTo>
                  <a:cubicBezTo>
                    <a:pt x="33" y="370"/>
                    <a:pt x="33" y="370"/>
                    <a:pt x="33" y="370"/>
                  </a:cubicBezTo>
                  <a:cubicBezTo>
                    <a:pt x="36" y="370"/>
                    <a:pt x="38" y="367"/>
                    <a:pt x="39" y="365"/>
                  </a:cubicBezTo>
                  <a:cubicBezTo>
                    <a:pt x="39" y="365"/>
                    <a:pt x="39" y="365"/>
                    <a:pt x="40" y="365"/>
                  </a:cubicBezTo>
                  <a:cubicBezTo>
                    <a:pt x="40" y="365"/>
                    <a:pt x="41" y="365"/>
                    <a:pt x="42" y="365"/>
                  </a:cubicBezTo>
                  <a:cubicBezTo>
                    <a:pt x="42" y="365"/>
                    <a:pt x="42" y="365"/>
                    <a:pt x="43" y="365"/>
                  </a:cubicBezTo>
                  <a:cubicBezTo>
                    <a:pt x="43" y="365"/>
                    <a:pt x="43" y="365"/>
                    <a:pt x="43" y="365"/>
                  </a:cubicBezTo>
                  <a:cubicBezTo>
                    <a:pt x="43" y="368"/>
                    <a:pt x="44" y="369"/>
                    <a:pt x="46" y="369"/>
                  </a:cubicBezTo>
                  <a:cubicBezTo>
                    <a:pt x="46" y="369"/>
                    <a:pt x="46" y="369"/>
                    <a:pt x="46" y="369"/>
                  </a:cubicBezTo>
                  <a:cubicBezTo>
                    <a:pt x="46" y="369"/>
                    <a:pt x="45" y="370"/>
                    <a:pt x="45" y="370"/>
                  </a:cubicBezTo>
                  <a:cubicBezTo>
                    <a:pt x="45" y="371"/>
                    <a:pt x="44" y="372"/>
                    <a:pt x="44" y="373"/>
                  </a:cubicBezTo>
                  <a:cubicBezTo>
                    <a:pt x="44" y="373"/>
                    <a:pt x="44" y="373"/>
                    <a:pt x="44" y="374"/>
                  </a:cubicBezTo>
                  <a:cubicBezTo>
                    <a:pt x="44" y="374"/>
                    <a:pt x="44" y="374"/>
                    <a:pt x="44" y="374"/>
                  </a:cubicBezTo>
                  <a:cubicBezTo>
                    <a:pt x="44" y="375"/>
                    <a:pt x="43" y="376"/>
                    <a:pt x="43" y="377"/>
                  </a:cubicBezTo>
                  <a:cubicBezTo>
                    <a:pt x="43" y="379"/>
                    <a:pt x="44" y="381"/>
                    <a:pt x="45" y="382"/>
                  </a:cubicBezTo>
                  <a:cubicBezTo>
                    <a:pt x="45" y="382"/>
                    <a:pt x="45" y="382"/>
                    <a:pt x="46" y="383"/>
                  </a:cubicBezTo>
                  <a:cubicBezTo>
                    <a:pt x="46" y="385"/>
                    <a:pt x="48" y="388"/>
                    <a:pt x="47" y="389"/>
                  </a:cubicBezTo>
                  <a:cubicBezTo>
                    <a:pt x="47" y="390"/>
                    <a:pt x="47" y="391"/>
                    <a:pt x="46" y="391"/>
                  </a:cubicBezTo>
                  <a:cubicBezTo>
                    <a:pt x="46" y="390"/>
                    <a:pt x="46" y="390"/>
                    <a:pt x="46" y="390"/>
                  </a:cubicBezTo>
                  <a:cubicBezTo>
                    <a:pt x="43" y="390"/>
                    <a:pt x="43" y="390"/>
                    <a:pt x="43" y="390"/>
                  </a:cubicBezTo>
                  <a:cubicBezTo>
                    <a:pt x="42" y="390"/>
                    <a:pt x="42" y="390"/>
                    <a:pt x="41" y="390"/>
                  </a:cubicBezTo>
                  <a:cubicBezTo>
                    <a:pt x="41" y="390"/>
                    <a:pt x="40" y="390"/>
                    <a:pt x="39" y="390"/>
                  </a:cubicBezTo>
                  <a:cubicBezTo>
                    <a:pt x="38" y="390"/>
                    <a:pt x="37" y="390"/>
                    <a:pt x="37" y="390"/>
                  </a:cubicBezTo>
                  <a:cubicBezTo>
                    <a:pt x="35" y="391"/>
                    <a:pt x="33" y="393"/>
                    <a:pt x="32" y="395"/>
                  </a:cubicBezTo>
                  <a:cubicBezTo>
                    <a:pt x="30" y="397"/>
                    <a:pt x="30" y="399"/>
                    <a:pt x="30" y="400"/>
                  </a:cubicBezTo>
                  <a:cubicBezTo>
                    <a:pt x="30" y="400"/>
                    <a:pt x="31" y="401"/>
                    <a:pt x="31" y="402"/>
                  </a:cubicBezTo>
                  <a:cubicBezTo>
                    <a:pt x="30" y="402"/>
                    <a:pt x="28" y="403"/>
                    <a:pt x="26" y="405"/>
                  </a:cubicBezTo>
                  <a:cubicBezTo>
                    <a:pt x="25" y="407"/>
                    <a:pt x="25" y="408"/>
                    <a:pt x="25" y="409"/>
                  </a:cubicBezTo>
                  <a:cubicBezTo>
                    <a:pt x="25" y="410"/>
                    <a:pt x="25" y="410"/>
                    <a:pt x="25" y="410"/>
                  </a:cubicBezTo>
                  <a:cubicBezTo>
                    <a:pt x="25" y="412"/>
                    <a:pt x="25" y="414"/>
                    <a:pt x="26" y="417"/>
                  </a:cubicBezTo>
                  <a:cubicBezTo>
                    <a:pt x="27" y="418"/>
                    <a:pt x="29" y="419"/>
                    <a:pt x="31" y="419"/>
                  </a:cubicBezTo>
                  <a:cubicBezTo>
                    <a:pt x="31" y="419"/>
                    <a:pt x="32" y="419"/>
                    <a:pt x="32" y="418"/>
                  </a:cubicBezTo>
                  <a:cubicBezTo>
                    <a:pt x="33" y="418"/>
                    <a:pt x="33" y="418"/>
                    <a:pt x="34" y="418"/>
                  </a:cubicBezTo>
                  <a:cubicBezTo>
                    <a:pt x="34" y="419"/>
                    <a:pt x="33" y="419"/>
                    <a:pt x="31" y="420"/>
                  </a:cubicBezTo>
                  <a:cubicBezTo>
                    <a:pt x="30" y="420"/>
                    <a:pt x="30" y="420"/>
                    <a:pt x="30" y="420"/>
                  </a:cubicBezTo>
                  <a:cubicBezTo>
                    <a:pt x="29" y="421"/>
                    <a:pt x="27" y="421"/>
                    <a:pt x="26" y="423"/>
                  </a:cubicBezTo>
                  <a:cubicBezTo>
                    <a:pt x="23" y="426"/>
                    <a:pt x="25" y="429"/>
                    <a:pt x="26" y="431"/>
                  </a:cubicBezTo>
                  <a:cubicBezTo>
                    <a:pt x="26" y="431"/>
                    <a:pt x="27" y="432"/>
                    <a:pt x="27" y="432"/>
                  </a:cubicBezTo>
                  <a:cubicBezTo>
                    <a:pt x="27" y="432"/>
                    <a:pt x="27" y="432"/>
                    <a:pt x="26" y="433"/>
                  </a:cubicBezTo>
                  <a:cubicBezTo>
                    <a:pt x="26" y="433"/>
                    <a:pt x="25" y="435"/>
                    <a:pt x="25" y="437"/>
                  </a:cubicBezTo>
                  <a:cubicBezTo>
                    <a:pt x="26" y="439"/>
                    <a:pt x="27" y="440"/>
                    <a:pt x="27" y="442"/>
                  </a:cubicBezTo>
                  <a:cubicBezTo>
                    <a:pt x="28" y="443"/>
                    <a:pt x="28" y="443"/>
                    <a:pt x="28" y="443"/>
                  </a:cubicBezTo>
                  <a:cubicBezTo>
                    <a:pt x="29" y="445"/>
                    <a:pt x="32" y="446"/>
                    <a:pt x="34" y="447"/>
                  </a:cubicBezTo>
                  <a:cubicBezTo>
                    <a:pt x="35" y="447"/>
                    <a:pt x="35" y="447"/>
                    <a:pt x="35" y="447"/>
                  </a:cubicBezTo>
                  <a:cubicBezTo>
                    <a:pt x="36" y="448"/>
                    <a:pt x="37" y="449"/>
                    <a:pt x="38" y="450"/>
                  </a:cubicBezTo>
                  <a:cubicBezTo>
                    <a:pt x="39" y="451"/>
                    <a:pt x="40" y="452"/>
                    <a:pt x="42" y="453"/>
                  </a:cubicBezTo>
                  <a:cubicBezTo>
                    <a:pt x="43" y="453"/>
                    <a:pt x="44" y="453"/>
                    <a:pt x="45" y="454"/>
                  </a:cubicBezTo>
                  <a:cubicBezTo>
                    <a:pt x="43" y="454"/>
                    <a:pt x="40" y="455"/>
                    <a:pt x="39" y="459"/>
                  </a:cubicBezTo>
                  <a:cubicBezTo>
                    <a:pt x="39" y="460"/>
                    <a:pt x="39" y="460"/>
                    <a:pt x="39" y="460"/>
                  </a:cubicBezTo>
                  <a:cubicBezTo>
                    <a:pt x="39" y="460"/>
                    <a:pt x="39" y="460"/>
                    <a:pt x="39" y="460"/>
                  </a:cubicBezTo>
                  <a:cubicBezTo>
                    <a:pt x="37" y="458"/>
                    <a:pt x="35" y="456"/>
                    <a:pt x="33" y="454"/>
                  </a:cubicBezTo>
                  <a:cubicBezTo>
                    <a:pt x="32" y="452"/>
                    <a:pt x="31" y="450"/>
                    <a:pt x="30" y="448"/>
                  </a:cubicBezTo>
                  <a:cubicBezTo>
                    <a:pt x="30" y="446"/>
                    <a:pt x="29" y="444"/>
                    <a:pt x="27" y="442"/>
                  </a:cubicBezTo>
                  <a:cubicBezTo>
                    <a:pt x="27" y="441"/>
                    <a:pt x="27" y="441"/>
                    <a:pt x="26" y="440"/>
                  </a:cubicBezTo>
                  <a:cubicBezTo>
                    <a:pt x="25" y="437"/>
                    <a:pt x="22" y="434"/>
                    <a:pt x="19" y="432"/>
                  </a:cubicBezTo>
                  <a:cubicBezTo>
                    <a:pt x="19" y="432"/>
                    <a:pt x="18" y="431"/>
                    <a:pt x="18" y="431"/>
                  </a:cubicBezTo>
                  <a:cubicBezTo>
                    <a:pt x="15" y="429"/>
                    <a:pt x="13" y="427"/>
                    <a:pt x="9" y="427"/>
                  </a:cubicBezTo>
                  <a:cubicBezTo>
                    <a:pt x="8" y="427"/>
                    <a:pt x="8" y="427"/>
                    <a:pt x="7" y="427"/>
                  </a:cubicBezTo>
                  <a:cubicBezTo>
                    <a:pt x="6" y="428"/>
                    <a:pt x="4" y="429"/>
                    <a:pt x="2" y="431"/>
                  </a:cubicBezTo>
                  <a:cubicBezTo>
                    <a:pt x="0" y="436"/>
                    <a:pt x="1" y="442"/>
                    <a:pt x="2" y="445"/>
                  </a:cubicBezTo>
                  <a:cubicBezTo>
                    <a:pt x="3" y="446"/>
                    <a:pt x="4" y="447"/>
                    <a:pt x="5" y="448"/>
                  </a:cubicBezTo>
                  <a:cubicBezTo>
                    <a:pt x="5" y="448"/>
                    <a:pt x="6" y="448"/>
                    <a:pt x="6" y="448"/>
                  </a:cubicBezTo>
                  <a:cubicBezTo>
                    <a:pt x="6" y="448"/>
                    <a:pt x="6" y="448"/>
                    <a:pt x="6" y="448"/>
                  </a:cubicBezTo>
                  <a:cubicBezTo>
                    <a:pt x="6" y="448"/>
                    <a:pt x="5" y="450"/>
                    <a:pt x="4" y="450"/>
                  </a:cubicBezTo>
                  <a:cubicBezTo>
                    <a:pt x="4" y="452"/>
                    <a:pt x="3" y="453"/>
                    <a:pt x="2" y="454"/>
                  </a:cubicBezTo>
                  <a:cubicBezTo>
                    <a:pt x="2" y="454"/>
                    <a:pt x="2" y="454"/>
                    <a:pt x="2" y="454"/>
                  </a:cubicBezTo>
                  <a:cubicBezTo>
                    <a:pt x="2" y="457"/>
                    <a:pt x="0" y="460"/>
                    <a:pt x="3" y="463"/>
                  </a:cubicBezTo>
                  <a:cubicBezTo>
                    <a:pt x="3" y="464"/>
                    <a:pt x="5" y="465"/>
                    <a:pt x="7" y="465"/>
                  </a:cubicBezTo>
                  <a:cubicBezTo>
                    <a:pt x="7" y="465"/>
                    <a:pt x="8" y="465"/>
                    <a:pt x="8" y="465"/>
                  </a:cubicBezTo>
                  <a:cubicBezTo>
                    <a:pt x="8" y="465"/>
                    <a:pt x="8" y="465"/>
                    <a:pt x="8" y="465"/>
                  </a:cubicBezTo>
                  <a:cubicBezTo>
                    <a:pt x="8" y="465"/>
                    <a:pt x="8" y="465"/>
                    <a:pt x="9" y="466"/>
                  </a:cubicBezTo>
                  <a:cubicBezTo>
                    <a:pt x="9" y="467"/>
                    <a:pt x="10" y="467"/>
                    <a:pt x="10" y="468"/>
                  </a:cubicBezTo>
                  <a:cubicBezTo>
                    <a:pt x="10" y="469"/>
                    <a:pt x="11" y="469"/>
                    <a:pt x="11" y="470"/>
                  </a:cubicBezTo>
                  <a:cubicBezTo>
                    <a:pt x="11" y="471"/>
                    <a:pt x="11" y="471"/>
                    <a:pt x="10" y="472"/>
                  </a:cubicBezTo>
                  <a:cubicBezTo>
                    <a:pt x="8" y="474"/>
                    <a:pt x="8" y="477"/>
                    <a:pt x="10" y="479"/>
                  </a:cubicBezTo>
                  <a:cubicBezTo>
                    <a:pt x="10" y="480"/>
                    <a:pt x="11" y="480"/>
                    <a:pt x="12" y="481"/>
                  </a:cubicBezTo>
                  <a:cubicBezTo>
                    <a:pt x="12" y="481"/>
                    <a:pt x="12" y="482"/>
                    <a:pt x="12" y="482"/>
                  </a:cubicBezTo>
                  <a:cubicBezTo>
                    <a:pt x="12" y="482"/>
                    <a:pt x="12" y="482"/>
                    <a:pt x="12" y="482"/>
                  </a:cubicBezTo>
                  <a:cubicBezTo>
                    <a:pt x="12" y="482"/>
                    <a:pt x="12" y="483"/>
                    <a:pt x="11" y="483"/>
                  </a:cubicBezTo>
                  <a:cubicBezTo>
                    <a:pt x="10" y="485"/>
                    <a:pt x="8" y="488"/>
                    <a:pt x="10" y="491"/>
                  </a:cubicBezTo>
                  <a:cubicBezTo>
                    <a:pt x="11" y="492"/>
                    <a:pt x="12" y="493"/>
                    <a:pt x="14" y="494"/>
                  </a:cubicBezTo>
                  <a:cubicBezTo>
                    <a:pt x="12" y="496"/>
                    <a:pt x="12" y="500"/>
                    <a:pt x="13" y="501"/>
                  </a:cubicBezTo>
                  <a:cubicBezTo>
                    <a:pt x="14" y="505"/>
                    <a:pt x="17" y="507"/>
                    <a:pt x="20" y="509"/>
                  </a:cubicBezTo>
                  <a:cubicBezTo>
                    <a:pt x="21" y="510"/>
                    <a:pt x="21" y="510"/>
                    <a:pt x="21" y="510"/>
                  </a:cubicBezTo>
                  <a:cubicBezTo>
                    <a:pt x="22" y="511"/>
                    <a:pt x="23" y="511"/>
                    <a:pt x="24" y="513"/>
                  </a:cubicBezTo>
                  <a:cubicBezTo>
                    <a:pt x="24" y="513"/>
                    <a:pt x="25" y="514"/>
                    <a:pt x="25" y="515"/>
                  </a:cubicBezTo>
                  <a:cubicBezTo>
                    <a:pt x="26" y="515"/>
                    <a:pt x="26" y="516"/>
                    <a:pt x="26" y="516"/>
                  </a:cubicBezTo>
                  <a:cubicBezTo>
                    <a:pt x="27" y="516"/>
                    <a:pt x="26" y="517"/>
                    <a:pt x="26" y="518"/>
                  </a:cubicBezTo>
                  <a:cubicBezTo>
                    <a:pt x="25" y="519"/>
                    <a:pt x="25" y="519"/>
                    <a:pt x="24" y="520"/>
                  </a:cubicBezTo>
                  <a:cubicBezTo>
                    <a:pt x="24" y="521"/>
                    <a:pt x="24" y="521"/>
                    <a:pt x="24" y="522"/>
                  </a:cubicBezTo>
                  <a:cubicBezTo>
                    <a:pt x="23" y="523"/>
                    <a:pt x="22" y="525"/>
                    <a:pt x="22" y="527"/>
                  </a:cubicBezTo>
                  <a:cubicBezTo>
                    <a:pt x="22" y="530"/>
                    <a:pt x="25" y="533"/>
                    <a:pt x="27" y="535"/>
                  </a:cubicBezTo>
                  <a:cubicBezTo>
                    <a:pt x="28" y="535"/>
                    <a:pt x="29" y="535"/>
                    <a:pt x="30" y="536"/>
                  </a:cubicBezTo>
                  <a:cubicBezTo>
                    <a:pt x="31" y="536"/>
                    <a:pt x="31" y="536"/>
                    <a:pt x="31" y="536"/>
                  </a:cubicBezTo>
                  <a:cubicBezTo>
                    <a:pt x="31" y="536"/>
                    <a:pt x="32" y="536"/>
                    <a:pt x="32" y="536"/>
                  </a:cubicBezTo>
                  <a:cubicBezTo>
                    <a:pt x="33" y="537"/>
                    <a:pt x="33" y="537"/>
                    <a:pt x="34" y="537"/>
                  </a:cubicBezTo>
                  <a:cubicBezTo>
                    <a:pt x="35" y="537"/>
                    <a:pt x="36" y="538"/>
                    <a:pt x="36" y="538"/>
                  </a:cubicBezTo>
                  <a:cubicBezTo>
                    <a:pt x="37" y="538"/>
                    <a:pt x="37" y="538"/>
                    <a:pt x="37" y="538"/>
                  </a:cubicBezTo>
                  <a:cubicBezTo>
                    <a:pt x="36" y="538"/>
                    <a:pt x="35" y="538"/>
                    <a:pt x="33" y="539"/>
                  </a:cubicBezTo>
                  <a:cubicBezTo>
                    <a:pt x="33" y="539"/>
                    <a:pt x="33" y="539"/>
                    <a:pt x="33" y="539"/>
                  </a:cubicBezTo>
                  <a:cubicBezTo>
                    <a:pt x="31" y="540"/>
                    <a:pt x="28" y="541"/>
                    <a:pt x="29" y="546"/>
                  </a:cubicBezTo>
                  <a:cubicBezTo>
                    <a:pt x="29" y="547"/>
                    <a:pt x="30" y="548"/>
                    <a:pt x="31" y="549"/>
                  </a:cubicBezTo>
                  <a:cubicBezTo>
                    <a:pt x="31" y="550"/>
                    <a:pt x="32" y="550"/>
                    <a:pt x="33" y="550"/>
                  </a:cubicBezTo>
                  <a:cubicBezTo>
                    <a:pt x="34" y="559"/>
                    <a:pt x="39" y="566"/>
                    <a:pt x="44" y="572"/>
                  </a:cubicBezTo>
                  <a:cubicBezTo>
                    <a:pt x="46" y="575"/>
                    <a:pt x="46" y="575"/>
                    <a:pt x="46" y="575"/>
                  </a:cubicBezTo>
                  <a:cubicBezTo>
                    <a:pt x="49" y="579"/>
                    <a:pt x="54" y="583"/>
                    <a:pt x="61" y="583"/>
                  </a:cubicBezTo>
                  <a:cubicBezTo>
                    <a:pt x="61" y="583"/>
                    <a:pt x="62" y="583"/>
                    <a:pt x="62" y="583"/>
                  </a:cubicBezTo>
                  <a:cubicBezTo>
                    <a:pt x="65" y="583"/>
                    <a:pt x="67" y="582"/>
                    <a:pt x="69" y="580"/>
                  </a:cubicBezTo>
                  <a:cubicBezTo>
                    <a:pt x="72" y="575"/>
                    <a:pt x="71" y="570"/>
                    <a:pt x="71" y="565"/>
                  </a:cubicBezTo>
                  <a:cubicBezTo>
                    <a:pt x="71" y="564"/>
                    <a:pt x="71" y="564"/>
                    <a:pt x="71" y="564"/>
                  </a:cubicBezTo>
                  <a:cubicBezTo>
                    <a:pt x="70" y="560"/>
                    <a:pt x="70" y="560"/>
                    <a:pt x="70" y="560"/>
                  </a:cubicBezTo>
                  <a:cubicBezTo>
                    <a:pt x="69" y="551"/>
                    <a:pt x="68" y="542"/>
                    <a:pt x="63" y="533"/>
                  </a:cubicBezTo>
                  <a:cubicBezTo>
                    <a:pt x="58" y="523"/>
                    <a:pt x="58" y="517"/>
                    <a:pt x="58" y="506"/>
                  </a:cubicBezTo>
                  <a:cubicBezTo>
                    <a:pt x="58" y="504"/>
                    <a:pt x="58" y="502"/>
                    <a:pt x="58" y="501"/>
                  </a:cubicBezTo>
                  <a:cubicBezTo>
                    <a:pt x="58" y="498"/>
                    <a:pt x="58" y="496"/>
                    <a:pt x="58" y="495"/>
                  </a:cubicBezTo>
                  <a:cubicBezTo>
                    <a:pt x="59" y="493"/>
                    <a:pt x="59" y="493"/>
                    <a:pt x="59" y="493"/>
                  </a:cubicBezTo>
                  <a:cubicBezTo>
                    <a:pt x="59" y="491"/>
                    <a:pt x="59" y="489"/>
                    <a:pt x="59" y="486"/>
                  </a:cubicBezTo>
                  <a:cubicBezTo>
                    <a:pt x="59" y="484"/>
                    <a:pt x="57" y="482"/>
                    <a:pt x="56" y="481"/>
                  </a:cubicBezTo>
                  <a:cubicBezTo>
                    <a:pt x="56" y="481"/>
                    <a:pt x="56" y="481"/>
                    <a:pt x="56" y="480"/>
                  </a:cubicBezTo>
                  <a:cubicBezTo>
                    <a:pt x="57" y="481"/>
                    <a:pt x="58" y="481"/>
                    <a:pt x="59" y="481"/>
                  </a:cubicBezTo>
                  <a:cubicBezTo>
                    <a:pt x="59" y="481"/>
                    <a:pt x="60" y="481"/>
                    <a:pt x="60" y="481"/>
                  </a:cubicBezTo>
                  <a:cubicBezTo>
                    <a:pt x="61" y="481"/>
                    <a:pt x="61" y="481"/>
                    <a:pt x="62" y="481"/>
                  </a:cubicBezTo>
                  <a:cubicBezTo>
                    <a:pt x="62" y="483"/>
                    <a:pt x="63" y="485"/>
                    <a:pt x="64" y="487"/>
                  </a:cubicBezTo>
                  <a:cubicBezTo>
                    <a:pt x="64" y="487"/>
                    <a:pt x="64" y="487"/>
                    <a:pt x="64" y="487"/>
                  </a:cubicBezTo>
                  <a:cubicBezTo>
                    <a:pt x="62" y="487"/>
                    <a:pt x="61" y="488"/>
                    <a:pt x="60" y="489"/>
                  </a:cubicBezTo>
                  <a:cubicBezTo>
                    <a:pt x="58" y="491"/>
                    <a:pt x="59" y="493"/>
                    <a:pt x="60" y="494"/>
                  </a:cubicBezTo>
                  <a:cubicBezTo>
                    <a:pt x="60" y="495"/>
                    <a:pt x="60" y="495"/>
                    <a:pt x="60" y="495"/>
                  </a:cubicBezTo>
                  <a:cubicBezTo>
                    <a:pt x="60" y="496"/>
                    <a:pt x="60" y="496"/>
                    <a:pt x="60" y="497"/>
                  </a:cubicBezTo>
                  <a:cubicBezTo>
                    <a:pt x="59" y="498"/>
                    <a:pt x="58" y="500"/>
                    <a:pt x="59" y="502"/>
                  </a:cubicBezTo>
                  <a:cubicBezTo>
                    <a:pt x="59" y="504"/>
                    <a:pt x="60" y="504"/>
                    <a:pt x="62" y="505"/>
                  </a:cubicBezTo>
                  <a:cubicBezTo>
                    <a:pt x="62" y="505"/>
                    <a:pt x="62" y="505"/>
                    <a:pt x="63" y="505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62" y="507"/>
                    <a:pt x="62" y="509"/>
                    <a:pt x="62" y="510"/>
                  </a:cubicBezTo>
                  <a:cubicBezTo>
                    <a:pt x="62" y="511"/>
                    <a:pt x="62" y="511"/>
                    <a:pt x="62" y="512"/>
                  </a:cubicBezTo>
                  <a:cubicBezTo>
                    <a:pt x="62" y="512"/>
                    <a:pt x="62" y="512"/>
                    <a:pt x="62" y="512"/>
                  </a:cubicBezTo>
                  <a:cubicBezTo>
                    <a:pt x="62" y="515"/>
                    <a:pt x="62" y="516"/>
                    <a:pt x="64" y="519"/>
                  </a:cubicBezTo>
                  <a:cubicBezTo>
                    <a:pt x="64" y="519"/>
                    <a:pt x="64" y="519"/>
                    <a:pt x="64" y="520"/>
                  </a:cubicBezTo>
                  <a:cubicBezTo>
                    <a:pt x="65" y="521"/>
                    <a:pt x="65" y="522"/>
                    <a:pt x="66" y="522"/>
                  </a:cubicBezTo>
                  <a:cubicBezTo>
                    <a:pt x="68" y="524"/>
                    <a:pt x="70" y="524"/>
                    <a:pt x="71" y="524"/>
                  </a:cubicBezTo>
                  <a:cubicBezTo>
                    <a:pt x="71" y="524"/>
                    <a:pt x="71" y="524"/>
                    <a:pt x="72" y="524"/>
                  </a:cubicBezTo>
                  <a:cubicBezTo>
                    <a:pt x="70" y="526"/>
                    <a:pt x="69" y="530"/>
                    <a:pt x="70" y="534"/>
                  </a:cubicBezTo>
                  <a:cubicBezTo>
                    <a:pt x="71" y="536"/>
                    <a:pt x="72" y="537"/>
                    <a:pt x="73" y="538"/>
                  </a:cubicBezTo>
                  <a:cubicBezTo>
                    <a:pt x="74" y="539"/>
                    <a:pt x="74" y="539"/>
                    <a:pt x="74" y="539"/>
                  </a:cubicBezTo>
                  <a:cubicBezTo>
                    <a:pt x="74" y="539"/>
                    <a:pt x="74" y="540"/>
                    <a:pt x="75" y="540"/>
                  </a:cubicBezTo>
                  <a:cubicBezTo>
                    <a:pt x="75" y="541"/>
                    <a:pt x="76" y="542"/>
                    <a:pt x="77" y="543"/>
                  </a:cubicBezTo>
                  <a:cubicBezTo>
                    <a:pt x="77" y="543"/>
                    <a:pt x="80" y="545"/>
                    <a:pt x="82" y="545"/>
                  </a:cubicBezTo>
                  <a:cubicBezTo>
                    <a:pt x="83" y="545"/>
                    <a:pt x="83" y="545"/>
                    <a:pt x="83" y="545"/>
                  </a:cubicBezTo>
                  <a:cubicBezTo>
                    <a:pt x="83" y="545"/>
                    <a:pt x="83" y="546"/>
                    <a:pt x="83" y="546"/>
                  </a:cubicBezTo>
                  <a:cubicBezTo>
                    <a:pt x="82" y="549"/>
                    <a:pt x="82" y="551"/>
                    <a:pt x="82" y="553"/>
                  </a:cubicBezTo>
                  <a:cubicBezTo>
                    <a:pt x="82" y="556"/>
                    <a:pt x="82" y="556"/>
                    <a:pt x="82" y="556"/>
                  </a:cubicBezTo>
                  <a:cubicBezTo>
                    <a:pt x="83" y="559"/>
                    <a:pt x="83" y="559"/>
                    <a:pt x="83" y="559"/>
                  </a:cubicBezTo>
                  <a:cubicBezTo>
                    <a:pt x="84" y="559"/>
                    <a:pt x="84" y="559"/>
                    <a:pt x="84" y="559"/>
                  </a:cubicBezTo>
                  <a:cubicBezTo>
                    <a:pt x="85" y="561"/>
                    <a:pt x="125" y="602"/>
                    <a:pt x="284" y="662"/>
                  </a:cubicBezTo>
                  <a:cubicBezTo>
                    <a:pt x="290" y="664"/>
                    <a:pt x="290" y="664"/>
                    <a:pt x="290" y="664"/>
                  </a:cubicBezTo>
                  <a:cubicBezTo>
                    <a:pt x="288" y="658"/>
                    <a:pt x="288" y="658"/>
                    <a:pt x="288" y="658"/>
                  </a:cubicBezTo>
                  <a:cubicBezTo>
                    <a:pt x="288" y="657"/>
                    <a:pt x="287" y="656"/>
                    <a:pt x="287" y="655"/>
                  </a:cubicBezTo>
                  <a:cubicBezTo>
                    <a:pt x="285" y="645"/>
                    <a:pt x="287" y="638"/>
                    <a:pt x="290" y="629"/>
                  </a:cubicBezTo>
                  <a:cubicBezTo>
                    <a:pt x="291" y="627"/>
                    <a:pt x="292" y="625"/>
                    <a:pt x="292" y="623"/>
                  </a:cubicBezTo>
                  <a:cubicBezTo>
                    <a:pt x="294" y="616"/>
                    <a:pt x="298" y="606"/>
                    <a:pt x="295" y="599"/>
                  </a:cubicBezTo>
                  <a:cubicBezTo>
                    <a:pt x="293" y="595"/>
                    <a:pt x="292" y="593"/>
                    <a:pt x="290" y="590"/>
                  </a:cubicBezTo>
                  <a:cubicBezTo>
                    <a:pt x="287" y="586"/>
                    <a:pt x="285" y="582"/>
                    <a:pt x="284" y="576"/>
                  </a:cubicBezTo>
                  <a:cubicBezTo>
                    <a:pt x="284" y="574"/>
                    <a:pt x="283" y="573"/>
                    <a:pt x="283" y="571"/>
                  </a:cubicBezTo>
                  <a:cubicBezTo>
                    <a:pt x="282" y="564"/>
                    <a:pt x="280" y="556"/>
                    <a:pt x="277" y="551"/>
                  </a:cubicBezTo>
                  <a:cubicBezTo>
                    <a:pt x="275" y="547"/>
                    <a:pt x="273" y="545"/>
                    <a:pt x="272" y="543"/>
                  </a:cubicBezTo>
                  <a:cubicBezTo>
                    <a:pt x="269" y="540"/>
                    <a:pt x="267" y="538"/>
                    <a:pt x="268" y="530"/>
                  </a:cubicBezTo>
                  <a:cubicBezTo>
                    <a:pt x="268" y="528"/>
                    <a:pt x="268" y="528"/>
                    <a:pt x="268" y="528"/>
                  </a:cubicBezTo>
                  <a:cubicBezTo>
                    <a:pt x="268" y="520"/>
                    <a:pt x="269" y="509"/>
                    <a:pt x="262" y="505"/>
                  </a:cubicBezTo>
                  <a:cubicBezTo>
                    <a:pt x="260" y="504"/>
                    <a:pt x="259" y="503"/>
                    <a:pt x="258" y="503"/>
                  </a:cubicBezTo>
                  <a:cubicBezTo>
                    <a:pt x="255" y="503"/>
                    <a:pt x="254" y="503"/>
                    <a:pt x="253" y="498"/>
                  </a:cubicBezTo>
                  <a:cubicBezTo>
                    <a:pt x="253" y="495"/>
                    <a:pt x="253" y="493"/>
                    <a:pt x="253" y="490"/>
                  </a:cubicBezTo>
                  <a:cubicBezTo>
                    <a:pt x="253" y="488"/>
                    <a:pt x="253" y="486"/>
                    <a:pt x="252" y="484"/>
                  </a:cubicBezTo>
                  <a:cubicBezTo>
                    <a:pt x="252" y="481"/>
                    <a:pt x="252" y="481"/>
                    <a:pt x="252" y="481"/>
                  </a:cubicBezTo>
                  <a:cubicBezTo>
                    <a:pt x="251" y="473"/>
                    <a:pt x="250" y="464"/>
                    <a:pt x="244" y="460"/>
                  </a:cubicBezTo>
                  <a:cubicBezTo>
                    <a:pt x="242" y="458"/>
                    <a:pt x="241" y="458"/>
                    <a:pt x="240" y="457"/>
                  </a:cubicBezTo>
                  <a:cubicBezTo>
                    <a:pt x="238" y="456"/>
                    <a:pt x="236" y="456"/>
                    <a:pt x="235" y="453"/>
                  </a:cubicBezTo>
                  <a:cubicBezTo>
                    <a:pt x="230" y="444"/>
                    <a:pt x="240" y="425"/>
                    <a:pt x="250" y="408"/>
                  </a:cubicBezTo>
                  <a:cubicBezTo>
                    <a:pt x="252" y="406"/>
                    <a:pt x="253" y="404"/>
                    <a:pt x="254" y="402"/>
                  </a:cubicBezTo>
                  <a:cubicBezTo>
                    <a:pt x="267" y="378"/>
                    <a:pt x="280" y="353"/>
                    <a:pt x="291" y="329"/>
                  </a:cubicBezTo>
                  <a:cubicBezTo>
                    <a:pt x="292" y="328"/>
                    <a:pt x="292" y="328"/>
                    <a:pt x="292" y="328"/>
                  </a:cubicBezTo>
                  <a:cubicBezTo>
                    <a:pt x="299" y="313"/>
                    <a:pt x="306" y="300"/>
                    <a:pt x="312" y="287"/>
                  </a:cubicBezTo>
                  <a:cubicBezTo>
                    <a:pt x="318" y="277"/>
                    <a:pt x="322" y="267"/>
                    <a:pt x="327" y="257"/>
                  </a:cubicBezTo>
                  <a:cubicBezTo>
                    <a:pt x="328" y="255"/>
                    <a:pt x="328" y="255"/>
                    <a:pt x="328" y="255"/>
                  </a:cubicBezTo>
                  <a:cubicBezTo>
                    <a:pt x="334" y="244"/>
                    <a:pt x="340" y="232"/>
                    <a:pt x="346" y="220"/>
                  </a:cubicBezTo>
                  <a:cubicBezTo>
                    <a:pt x="347" y="218"/>
                    <a:pt x="347" y="218"/>
                    <a:pt x="347" y="218"/>
                  </a:cubicBezTo>
                  <a:lnTo>
                    <a:pt x="345" y="216"/>
                  </a:lnTo>
                  <a:close/>
                  <a:moveTo>
                    <a:pt x="69" y="498"/>
                  </a:moveTo>
                  <a:cubicBezTo>
                    <a:pt x="69" y="497"/>
                    <a:pt x="69" y="496"/>
                    <a:pt x="70" y="495"/>
                  </a:cubicBezTo>
                  <a:cubicBezTo>
                    <a:pt x="71" y="496"/>
                    <a:pt x="71" y="496"/>
                    <a:pt x="71" y="497"/>
                  </a:cubicBezTo>
                  <a:cubicBezTo>
                    <a:pt x="71" y="499"/>
                    <a:pt x="71" y="499"/>
                    <a:pt x="70" y="500"/>
                  </a:cubicBezTo>
                  <a:cubicBezTo>
                    <a:pt x="70" y="500"/>
                    <a:pt x="69" y="500"/>
                    <a:pt x="68" y="501"/>
                  </a:cubicBezTo>
                  <a:cubicBezTo>
                    <a:pt x="68" y="501"/>
                    <a:pt x="68" y="501"/>
                    <a:pt x="68" y="501"/>
                  </a:cubicBezTo>
                  <a:cubicBezTo>
                    <a:pt x="69" y="500"/>
                    <a:pt x="69" y="499"/>
                    <a:pt x="69" y="498"/>
                  </a:cubicBezTo>
                  <a:close/>
                  <a:moveTo>
                    <a:pt x="45" y="465"/>
                  </a:moveTo>
                  <a:cubicBezTo>
                    <a:pt x="46" y="465"/>
                    <a:pt x="46" y="465"/>
                    <a:pt x="47" y="465"/>
                  </a:cubicBezTo>
                  <a:cubicBezTo>
                    <a:pt x="47" y="465"/>
                    <a:pt x="47" y="465"/>
                    <a:pt x="47" y="465"/>
                  </a:cubicBezTo>
                  <a:cubicBezTo>
                    <a:pt x="48" y="465"/>
                    <a:pt x="48" y="465"/>
                    <a:pt x="48" y="465"/>
                  </a:cubicBezTo>
                  <a:cubicBezTo>
                    <a:pt x="48" y="465"/>
                    <a:pt x="49" y="465"/>
                    <a:pt x="49" y="465"/>
                  </a:cubicBezTo>
                  <a:cubicBezTo>
                    <a:pt x="49" y="466"/>
                    <a:pt x="48" y="467"/>
                    <a:pt x="48" y="469"/>
                  </a:cubicBezTo>
                  <a:cubicBezTo>
                    <a:pt x="48" y="469"/>
                    <a:pt x="48" y="469"/>
                    <a:pt x="48" y="469"/>
                  </a:cubicBezTo>
                  <a:cubicBezTo>
                    <a:pt x="46" y="468"/>
                    <a:pt x="45" y="467"/>
                    <a:pt x="44" y="465"/>
                  </a:cubicBezTo>
                  <a:cubicBezTo>
                    <a:pt x="44" y="465"/>
                    <a:pt x="44" y="465"/>
                    <a:pt x="45" y="465"/>
                  </a:cubicBezTo>
                  <a:cubicBezTo>
                    <a:pt x="45" y="465"/>
                    <a:pt x="45" y="465"/>
                    <a:pt x="45" y="465"/>
                  </a:cubicBezTo>
                  <a:close/>
                </a:path>
              </a:pathLst>
            </a:custGeom>
            <a:solidFill>
              <a:schemeClr val="accent1"/>
            </a:solidFill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89" name="Freeform 188"/>
            <p:cNvSpPr>
              <a:spLocks/>
            </p:cNvSpPr>
            <p:nvPr/>
          </p:nvSpPr>
          <p:spPr bwMode="auto">
            <a:xfrm>
              <a:off x="13017546" y="6263595"/>
              <a:ext cx="246210" cy="466642"/>
            </a:xfrm>
            <a:custGeom>
              <a:avLst/>
              <a:gdLst>
                <a:gd name="T0" fmla="*/ 33 w 45"/>
                <a:gd name="T1" fmla="*/ 35 h 94"/>
                <a:gd name="T2" fmla="*/ 36 w 45"/>
                <a:gd name="T3" fmla="*/ 31 h 94"/>
                <a:gd name="T4" fmla="*/ 43 w 45"/>
                <a:gd name="T5" fmla="*/ 19 h 94"/>
                <a:gd name="T6" fmla="*/ 33 w 45"/>
                <a:gd name="T7" fmla="*/ 11 h 94"/>
                <a:gd name="T8" fmla="*/ 21 w 45"/>
                <a:gd name="T9" fmla="*/ 0 h 94"/>
                <a:gd name="T10" fmla="*/ 14 w 45"/>
                <a:gd name="T11" fmla="*/ 5 h 94"/>
                <a:gd name="T12" fmla="*/ 12 w 45"/>
                <a:gd name="T13" fmla="*/ 7 h 94"/>
                <a:gd name="T14" fmla="*/ 7 w 45"/>
                <a:gd name="T15" fmla="*/ 20 h 94"/>
                <a:gd name="T16" fmla="*/ 6 w 45"/>
                <a:gd name="T17" fmla="*/ 27 h 94"/>
                <a:gd name="T18" fmla="*/ 6 w 45"/>
                <a:gd name="T19" fmla="*/ 40 h 94"/>
                <a:gd name="T20" fmla="*/ 3 w 45"/>
                <a:gd name="T21" fmla="*/ 40 h 94"/>
                <a:gd name="T22" fmla="*/ 2 w 45"/>
                <a:gd name="T23" fmla="*/ 43 h 94"/>
                <a:gd name="T24" fmla="*/ 2 w 45"/>
                <a:gd name="T25" fmla="*/ 46 h 94"/>
                <a:gd name="T26" fmla="*/ 1 w 45"/>
                <a:gd name="T27" fmla="*/ 51 h 94"/>
                <a:gd name="T28" fmla="*/ 3 w 45"/>
                <a:gd name="T29" fmla="*/ 57 h 94"/>
                <a:gd name="T30" fmla="*/ 3 w 45"/>
                <a:gd name="T31" fmla="*/ 59 h 94"/>
                <a:gd name="T32" fmla="*/ 3 w 45"/>
                <a:gd name="T33" fmla="*/ 75 h 94"/>
                <a:gd name="T34" fmla="*/ 3 w 45"/>
                <a:gd name="T35" fmla="*/ 76 h 94"/>
                <a:gd name="T36" fmla="*/ 2 w 45"/>
                <a:gd name="T37" fmla="*/ 84 h 94"/>
                <a:gd name="T38" fmla="*/ 2 w 45"/>
                <a:gd name="T39" fmla="*/ 86 h 94"/>
                <a:gd name="T40" fmla="*/ 10 w 45"/>
                <a:gd name="T41" fmla="*/ 94 h 94"/>
                <a:gd name="T42" fmla="*/ 14 w 45"/>
                <a:gd name="T43" fmla="*/ 92 h 94"/>
                <a:gd name="T44" fmla="*/ 13 w 45"/>
                <a:gd name="T45" fmla="*/ 82 h 94"/>
                <a:gd name="T46" fmla="*/ 13 w 45"/>
                <a:gd name="T47" fmla="*/ 82 h 94"/>
                <a:gd name="T48" fmla="*/ 12 w 45"/>
                <a:gd name="T49" fmla="*/ 69 h 94"/>
                <a:gd name="T50" fmla="*/ 14 w 45"/>
                <a:gd name="T51" fmla="*/ 64 h 94"/>
                <a:gd name="T52" fmla="*/ 18 w 45"/>
                <a:gd name="T53" fmla="*/ 61 h 94"/>
                <a:gd name="T54" fmla="*/ 21 w 45"/>
                <a:gd name="T55" fmla="*/ 58 h 94"/>
                <a:gd name="T56" fmla="*/ 24 w 45"/>
                <a:gd name="T57" fmla="*/ 52 h 94"/>
                <a:gd name="T58" fmla="*/ 23 w 45"/>
                <a:gd name="T59" fmla="*/ 44 h 94"/>
                <a:gd name="T60" fmla="*/ 26 w 45"/>
                <a:gd name="T61" fmla="*/ 41 h 94"/>
                <a:gd name="T62" fmla="*/ 28 w 45"/>
                <a:gd name="T63" fmla="*/ 3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5" h="94">
                  <a:moveTo>
                    <a:pt x="28" y="39"/>
                  </a:moveTo>
                  <a:cubicBezTo>
                    <a:pt x="31" y="39"/>
                    <a:pt x="32" y="36"/>
                    <a:pt x="33" y="35"/>
                  </a:cubicBezTo>
                  <a:cubicBezTo>
                    <a:pt x="33" y="35"/>
                    <a:pt x="34" y="34"/>
                    <a:pt x="34" y="34"/>
                  </a:cubicBezTo>
                  <a:cubicBezTo>
                    <a:pt x="35" y="33"/>
                    <a:pt x="36" y="33"/>
                    <a:pt x="36" y="31"/>
                  </a:cubicBezTo>
                  <a:cubicBezTo>
                    <a:pt x="39" y="31"/>
                    <a:pt x="44" y="29"/>
                    <a:pt x="45" y="26"/>
                  </a:cubicBezTo>
                  <a:cubicBezTo>
                    <a:pt x="45" y="23"/>
                    <a:pt x="45" y="21"/>
                    <a:pt x="43" y="19"/>
                  </a:cubicBezTo>
                  <a:cubicBezTo>
                    <a:pt x="42" y="18"/>
                    <a:pt x="40" y="17"/>
                    <a:pt x="38" y="16"/>
                  </a:cubicBezTo>
                  <a:cubicBezTo>
                    <a:pt x="37" y="14"/>
                    <a:pt x="36" y="12"/>
                    <a:pt x="33" y="11"/>
                  </a:cubicBezTo>
                  <a:cubicBezTo>
                    <a:pt x="31" y="10"/>
                    <a:pt x="31" y="10"/>
                    <a:pt x="31" y="9"/>
                  </a:cubicBezTo>
                  <a:cubicBezTo>
                    <a:pt x="30" y="5"/>
                    <a:pt x="26" y="0"/>
                    <a:pt x="21" y="0"/>
                  </a:cubicBezTo>
                  <a:cubicBezTo>
                    <a:pt x="20" y="0"/>
                    <a:pt x="19" y="1"/>
                    <a:pt x="18" y="1"/>
                  </a:cubicBezTo>
                  <a:cubicBezTo>
                    <a:pt x="16" y="2"/>
                    <a:pt x="15" y="4"/>
                    <a:pt x="14" y="5"/>
                  </a:cubicBezTo>
                  <a:cubicBezTo>
                    <a:pt x="13" y="5"/>
                    <a:pt x="13" y="6"/>
                    <a:pt x="12" y="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8"/>
                    <a:pt x="9" y="10"/>
                    <a:pt x="8" y="12"/>
                  </a:cubicBezTo>
                  <a:cubicBezTo>
                    <a:pt x="7" y="15"/>
                    <a:pt x="7" y="18"/>
                    <a:pt x="7" y="20"/>
                  </a:cubicBezTo>
                  <a:cubicBezTo>
                    <a:pt x="7" y="23"/>
                    <a:pt x="7" y="25"/>
                    <a:pt x="7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30"/>
                    <a:pt x="5" y="32"/>
                    <a:pt x="5" y="35"/>
                  </a:cubicBezTo>
                  <a:cubicBezTo>
                    <a:pt x="6" y="37"/>
                    <a:pt x="6" y="39"/>
                    <a:pt x="6" y="40"/>
                  </a:cubicBezTo>
                  <a:cubicBezTo>
                    <a:pt x="6" y="40"/>
                    <a:pt x="5" y="40"/>
                    <a:pt x="5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3"/>
                    <a:pt x="2" y="43"/>
                  </a:cubicBezTo>
                  <a:cubicBezTo>
                    <a:pt x="2" y="43"/>
                    <a:pt x="2" y="45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1" y="52"/>
                    <a:pt x="1" y="53"/>
                    <a:pt x="1" y="54"/>
                  </a:cubicBezTo>
                  <a:cubicBezTo>
                    <a:pt x="2" y="56"/>
                    <a:pt x="3" y="57"/>
                    <a:pt x="3" y="57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2" y="59"/>
                    <a:pt x="2" y="60"/>
                    <a:pt x="2" y="61"/>
                  </a:cubicBezTo>
                  <a:cubicBezTo>
                    <a:pt x="0" y="65"/>
                    <a:pt x="1" y="72"/>
                    <a:pt x="3" y="75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1" y="81"/>
                    <a:pt x="1" y="83"/>
                    <a:pt x="2" y="84"/>
                  </a:cubicBezTo>
                  <a:cubicBezTo>
                    <a:pt x="2" y="85"/>
                    <a:pt x="2" y="85"/>
                    <a:pt x="2" y="85"/>
                  </a:cubicBezTo>
                  <a:cubicBezTo>
                    <a:pt x="2" y="86"/>
                    <a:pt x="2" y="86"/>
                    <a:pt x="2" y="86"/>
                  </a:cubicBezTo>
                  <a:cubicBezTo>
                    <a:pt x="3" y="88"/>
                    <a:pt x="3" y="90"/>
                    <a:pt x="6" y="91"/>
                  </a:cubicBezTo>
                  <a:cubicBezTo>
                    <a:pt x="7" y="94"/>
                    <a:pt x="8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2" y="94"/>
                    <a:pt x="13" y="93"/>
                    <a:pt x="14" y="92"/>
                  </a:cubicBezTo>
                  <a:cubicBezTo>
                    <a:pt x="16" y="89"/>
                    <a:pt x="14" y="85"/>
                    <a:pt x="13" y="83"/>
                  </a:cubicBezTo>
                  <a:cubicBezTo>
                    <a:pt x="13" y="83"/>
                    <a:pt x="13" y="83"/>
                    <a:pt x="13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3" y="82"/>
                    <a:pt x="13" y="82"/>
                  </a:cubicBezTo>
                  <a:cubicBezTo>
                    <a:pt x="15" y="78"/>
                    <a:pt x="13" y="75"/>
                    <a:pt x="13" y="72"/>
                  </a:cubicBezTo>
                  <a:cubicBezTo>
                    <a:pt x="12" y="71"/>
                    <a:pt x="12" y="70"/>
                    <a:pt x="12" y="69"/>
                  </a:cubicBezTo>
                  <a:cubicBezTo>
                    <a:pt x="12" y="68"/>
                    <a:pt x="12" y="68"/>
                    <a:pt x="13" y="67"/>
                  </a:cubicBezTo>
                  <a:cubicBezTo>
                    <a:pt x="13" y="66"/>
                    <a:pt x="14" y="65"/>
                    <a:pt x="14" y="64"/>
                  </a:cubicBezTo>
                  <a:cubicBezTo>
                    <a:pt x="15" y="63"/>
                    <a:pt x="16" y="63"/>
                    <a:pt x="17" y="62"/>
                  </a:cubicBezTo>
                  <a:cubicBezTo>
                    <a:pt x="17" y="62"/>
                    <a:pt x="18" y="61"/>
                    <a:pt x="18" y="61"/>
                  </a:cubicBezTo>
                  <a:cubicBezTo>
                    <a:pt x="18" y="61"/>
                    <a:pt x="18" y="61"/>
                    <a:pt x="19" y="60"/>
                  </a:cubicBezTo>
                  <a:cubicBezTo>
                    <a:pt x="20" y="60"/>
                    <a:pt x="21" y="59"/>
                    <a:pt x="21" y="58"/>
                  </a:cubicBezTo>
                  <a:cubicBezTo>
                    <a:pt x="23" y="57"/>
                    <a:pt x="22" y="55"/>
                    <a:pt x="22" y="54"/>
                  </a:cubicBezTo>
                  <a:cubicBezTo>
                    <a:pt x="23" y="54"/>
                    <a:pt x="23" y="53"/>
                    <a:pt x="24" y="52"/>
                  </a:cubicBezTo>
                  <a:cubicBezTo>
                    <a:pt x="24" y="51"/>
                    <a:pt x="24" y="49"/>
                    <a:pt x="24" y="48"/>
                  </a:cubicBezTo>
                  <a:cubicBezTo>
                    <a:pt x="24" y="46"/>
                    <a:pt x="24" y="45"/>
                    <a:pt x="23" y="44"/>
                  </a:cubicBezTo>
                  <a:cubicBezTo>
                    <a:pt x="24" y="44"/>
                    <a:pt x="25" y="43"/>
                    <a:pt x="25" y="42"/>
                  </a:cubicBezTo>
                  <a:cubicBezTo>
                    <a:pt x="26" y="42"/>
                    <a:pt x="26" y="42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7" y="41"/>
                    <a:pt x="27" y="40"/>
                    <a:pt x="28" y="39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90" name="Freeform 189"/>
            <p:cNvSpPr>
              <a:spLocks/>
            </p:cNvSpPr>
            <p:nvPr/>
          </p:nvSpPr>
          <p:spPr bwMode="auto">
            <a:xfrm>
              <a:off x="21089127" y="8454948"/>
              <a:ext cx="816596" cy="640233"/>
            </a:xfrm>
            <a:custGeom>
              <a:avLst/>
              <a:gdLst>
                <a:gd name="T0" fmla="*/ 147 w 150"/>
                <a:gd name="T1" fmla="*/ 54 h 129"/>
                <a:gd name="T2" fmla="*/ 142 w 150"/>
                <a:gd name="T3" fmla="*/ 53 h 129"/>
                <a:gd name="T4" fmla="*/ 140 w 150"/>
                <a:gd name="T5" fmla="*/ 53 h 129"/>
                <a:gd name="T6" fmla="*/ 135 w 150"/>
                <a:gd name="T7" fmla="*/ 53 h 129"/>
                <a:gd name="T8" fmla="*/ 130 w 150"/>
                <a:gd name="T9" fmla="*/ 50 h 129"/>
                <a:gd name="T10" fmla="*/ 127 w 150"/>
                <a:gd name="T11" fmla="*/ 48 h 129"/>
                <a:gd name="T12" fmla="*/ 123 w 150"/>
                <a:gd name="T13" fmla="*/ 42 h 129"/>
                <a:gd name="T14" fmla="*/ 116 w 150"/>
                <a:gd name="T15" fmla="*/ 37 h 129"/>
                <a:gd name="T16" fmla="*/ 116 w 150"/>
                <a:gd name="T17" fmla="*/ 31 h 129"/>
                <a:gd name="T18" fmla="*/ 102 w 150"/>
                <a:gd name="T19" fmla="*/ 30 h 129"/>
                <a:gd name="T20" fmla="*/ 103 w 150"/>
                <a:gd name="T21" fmla="*/ 29 h 129"/>
                <a:gd name="T22" fmla="*/ 96 w 150"/>
                <a:gd name="T23" fmla="*/ 0 h 129"/>
                <a:gd name="T24" fmla="*/ 83 w 150"/>
                <a:gd name="T25" fmla="*/ 10 h 129"/>
                <a:gd name="T26" fmla="*/ 82 w 150"/>
                <a:gd name="T27" fmla="*/ 10 h 129"/>
                <a:gd name="T28" fmla="*/ 73 w 150"/>
                <a:gd name="T29" fmla="*/ 5 h 129"/>
                <a:gd name="T30" fmla="*/ 69 w 150"/>
                <a:gd name="T31" fmla="*/ 6 h 129"/>
                <a:gd name="T32" fmla="*/ 68 w 150"/>
                <a:gd name="T33" fmla="*/ 6 h 129"/>
                <a:gd name="T34" fmla="*/ 49 w 150"/>
                <a:gd name="T35" fmla="*/ 17 h 129"/>
                <a:gd name="T36" fmla="*/ 43 w 150"/>
                <a:gd name="T37" fmla="*/ 21 h 129"/>
                <a:gd name="T38" fmla="*/ 38 w 150"/>
                <a:gd name="T39" fmla="*/ 22 h 129"/>
                <a:gd name="T40" fmla="*/ 33 w 150"/>
                <a:gd name="T41" fmla="*/ 21 h 129"/>
                <a:gd name="T42" fmla="*/ 13 w 150"/>
                <a:gd name="T43" fmla="*/ 31 h 129"/>
                <a:gd name="T44" fmla="*/ 13 w 150"/>
                <a:gd name="T45" fmla="*/ 39 h 129"/>
                <a:gd name="T46" fmla="*/ 8 w 150"/>
                <a:gd name="T47" fmla="*/ 56 h 129"/>
                <a:gd name="T48" fmla="*/ 0 w 150"/>
                <a:gd name="T49" fmla="*/ 64 h 129"/>
                <a:gd name="T50" fmla="*/ 15 w 150"/>
                <a:gd name="T51" fmla="*/ 60 h 129"/>
                <a:gd name="T52" fmla="*/ 21 w 150"/>
                <a:gd name="T53" fmla="*/ 58 h 129"/>
                <a:gd name="T54" fmla="*/ 43 w 150"/>
                <a:gd name="T55" fmla="*/ 81 h 129"/>
                <a:gd name="T56" fmla="*/ 48 w 150"/>
                <a:gd name="T57" fmla="*/ 91 h 129"/>
                <a:gd name="T58" fmla="*/ 49 w 150"/>
                <a:gd name="T59" fmla="*/ 99 h 129"/>
                <a:gd name="T60" fmla="*/ 60 w 150"/>
                <a:gd name="T61" fmla="*/ 111 h 129"/>
                <a:gd name="T62" fmla="*/ 64 w 150"/>
                <a:gd name="T63" fmla="*/ 111 h 129"/>
                <a:gd name="T64" fmla="*/ 65 w 150"/>
                <a:gd name="T65" fmla="*/ 113 h 129"/>
                <a:gd name="T66" fmla="*/ 74 w 150"/>
                <a:gd name="T67" fmla="*/ 129 h 129"/>
                <a:gd name="T68" fmla="*/ 83 w 150"/>
                <a:gd name="T69" fmla="*/ 126 h 129"/>
                <a:gd name="T70" fmla="*/ 88 w 150"/>
                <a:gd name="T71" fmla="*/ 124 h 129"/>
                <a:gd name="T72" fmla="*/ 92 w 150"/>
                <a:gd name="T73" fmla="*/ 124 h 129"/>
                <a:gd name="T74" fmla="*/ 97 w 150"/>
                <a:gd name="T75" fmla="*/ 122 h 129"/>
                <a:gd name="T76" fmla="*/ 101 w 150"/>
                <a:gd name="T77" fmla="*/ 119 h 129"/>
                <a:gd name="T78" fmla="*/ 124 w 150"/>
                <a:gd name="T79" fmla="*/ 98 h 129"/>
                <a:gd name="T80" fmla="*/ 129 w 150"/>
                <a:gd name="T81" fmla="*/ 93 h 129"/>
                <a:gd name="T82" fmla="*/ 133 w 150"/>
                <a:gd name="T83" fmla="*/ 92 h 129"/>
                <a:gd name="T84" fmla="*/ 144 w 150"/>
                <a:gd name="T85" fmla="*/ 96 h 129"/>
                <a:gd name="T86" fmla="*/ 144 w 150"/>
                <a:gd name="T87" fmla="*/ 78 h 129"/>
                <a:gd name="T88" fmla="*/ 150 w 150"/>
                <a:gd name="T89" fmla="*/ 5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0" h="129">
                  <a:moveTo>
                    <a:pt x="150" y="57"/>
                  </a:moveTo>
                  <a:cubicBezTo>
                    <a:pt x="149" y="56"/>
                    <a:pt x="149" y="54"/>
                    <a:pt x="147" y="54"/>
                  </a:cubicBezTo>
                  <a:cubicBezTo>
                    <a:pt x="146" y="53"/>
                    <a:pt x="145" y="53"/>
                    <a:pt x="144" y="53"/>
                  </a:cubicBezTo>
                  <a:cubicBezTo>
                    <a:pt x="144" y="53"/>
                    <a:pt x="143" y="53"/>
                    <a:pt x="142" y="53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0" y="53"/>
                    <a:pt x="140" y="53"/>
                    <a:pt x="140" y="53"/>
                  </a:cubicBezTo>
                  <a:cubicBezTo>
                    <a:pt x="139" y="53"/>
                    <a:pt x="137" y="53"/>
                    <a:pt x="136" y="53"/>
                  </a:cubicBezTo>
                  <a:cubicBezTo>
                    <a:pt x="135" y="53"/>
                    <a:pt x="135" y="53"/>
                    <a:pt x="135" y="53"/>
                  </a:cubicBezTo>
                  <a:cubicBezTo>
                    <a:pt x="134" y="53"/>
                    <a:pt x="133" y="53"/>
                    <a:pt x="132" y="52"/>
                  </a:cubicBezTo>
                  <a:cubicBezTo>
                    <a:pt x="132" y="51"/>
                    <a:pt x="131" y="51"/>
                    <a:pt x="130" y="50"/>
                  </a:cubicBezTo>
                  <a:cubicBezTo>
                    <a:pt x="130" y="49"/>
                    <a:pt x="129" y="49"/>
                    <a:pt x="128" y="48"/>
                  </a:cubicBezTo>
                  <a:cubicBezTo>
                    <a:pt x="128" y="48"/>
                    <a:pt x="127" y="48"/>
                    <a:pt x="127" y="48"/>
                  </a:cubicBezTo>
                  <a:cubicBezTo>
                    <a:pt x="127" y="47"/>
                    <a:pt x="126" y="47"/>
                    <a:pt x="126" y="46"/>
                  </a:cubicBezTo>
                  <a:cubicBezTo>
                    <a:pt x="126" y="45"/>
                    <a:pt x="125" y="44"/>
                    <a:pt x="123" y="42"/>
                  </a:cubicBezTo>
                  <a:cubicBezTo>
                    <a:pt x="122" y="41"/>
                    <a:pt x="121" y="41"/>
                    <a:pt x="120" y="40"/>
                  </a:cubicBezTo>
                  <a:cubicBezTo>
                    <a:pt x="118" y="39"/>
                    <a:pt x="117" y="38"/>
                    <a:pt x="116" y="37"/>
                  </a:cubicBezTo>
                  <a:cubicBezTo>
                    <a:pt x="116" y="37"/>
                    <a:pt x="116" y="36"/>
                    <a:pt x="116" y="36"/>
                  </a:cubicBezTo>
                  <a:cubicBezTo>
                    <a:pt x="116" y="34"/>
                    <a:pt x="116" y="33"/>
                    <a:pt x="116" y="31"/>
                  </a:cubicBezTo>
                  <a:cubicBezTo>
                    <a:pt x="115" y="29"/>
                    <a:pt x="113" y="27"/>
                    <a:pt x="110" y="27"/>
                  </a:cubicBezTo>
                  <a:cubicBezTo>
                    <a:pt x="108" y="27"/>
                    <a:pt x="105" y="28"/>
                    <a:pt x="102" y="3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6" y="24"/>
                    <a:pt x="107" y="11"/>
                    <a:pt x="104" y="4"/>
                  </a:cubicBezTo>
                  <a:cubicBezTo>
                    <a:pt x="102" y="1"/>
                    <a:pt x="100" y="0"/>
                    <a:pt x="96" y="0"/>
                  </a:cubicBezTo>
                  <a:cubicBezTo>
                    <a:pt x="90" y="0"/>
                    <a:pt x="86" y="6"/>
                    <a:pt x="84" y="9"/>
                  </a:cubicBezTo>
                  <a:cubicBezTo>
                    <a:pt x="84" y="9"/>
                    <a:pt x="83" y="10"/>
                    <a:pt x="83" y="10"/>
                  </a:cubicBezTo>
                  <a:cubicBezTo>
                    <a:pt x="83" y="10"/>
                    <a:pt x="83" y="11"/>
                    <a:pt x="83" y="11"/>
                  </a:cubicBezTo>
                  <a:cubicBezTo>
                    <a:pt x="82" y="11"/>
                    <a:pt x="82" y="11"/>
                    <a:pt x="82" y="10"/>
                  </a:cubicBezTo>
                  <a:cubicBezTo>
                    <a:pt x="81" y="9"/>
                    <a:pt x="80" y="8"/>
                    <a:pt x="79" y="7"/>
                  </a:cubicBezTo>
                  <a:cubicBezTo>
                    <a:pt x="77" y="6"/>
                    <a:pt x="75" y="5"/>
                    <a:pt x="73" y="5"/>
                  </a:cubicBezTo>
                  <a:cubicBezTo>
                    <a:pt x="72" y="5"/>
                    <a:pt x="71" y="5"/>
                    <a:pt x="71" y="5"/>
                  </a:cubicBezTo>
                  <a:cubicBezTo>
                    <a:pt x="70" y="5"/>
                    <a:pt x="69" y="6"/>
                    <a:pt x="69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1" y="8"/>
                    <a:pt x="55" y="12"/>
                    <a:pt x="51" y="15"/>
                  </a:cubicBezTo>
                  <a:cubicBezTo>
                    <a:pt x="50" y="15"/>
                    <a:pt x="49" y="16"/>
                    <a:pt x="49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6" y="19"/>
                    <a:pt x="45" y="21"/>
                    <a:pt x="43" y="21"/>
                  </a:cubicBezTo>
                  <a:cubicBezTo>
                    <a:pt x="42" y="22"/>
                    <a:pt x="41" y="22"/>
                    <a:pt x="40" y="22"/>
                  </a:cubicBezTo>
                  <a:cubicBezTo>
                    <a:pt x="39" y="22"/>
                    <a:pt x="38" y="22"/>
                    <a:pt x="38" y="22"/>
                  </a:cubicBezTo>
                  <a:cubicBezTo>
                    <a:pt x="37" y="21"/>
                    <a:pt x="36" y="21"/>
                    <a:pt x="35" y="21"/>
                  </a:cubicBezTo>
                  <a:cubicBezTo>
                    <a:pt x="34" y="21"/>
                    <a:pt x="34" y="21"/>
                    <a:pt x="33" y="21"/>
                  </a:cubicBezTo>
                  <a:cubicBezTo>
                    <a:pt x="30" y="22"/>
                    <a:pt x="16" y="28"/>
                    <a:pt x="13" y="3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2" y="33"/>
                    <a:pt x="12" y="36"/>
                    <a:pt x="13" y="39"/>
                  </a:cubicBezTo>
                  <a:cubicBezTo>
                    <a:pt x="14" y="42"/>
                    <a:pt x="15" y="46"/>
                    <a:pt x="12" y="51"/>
                  </a:cubicBezTo>
                  <a:cubicBezTo>
                    <a:pt x="11" y="53"/>
                    <a:pt x="9" y="54"/>
                    <a:pt x="8" y="56"/>
                  </a:cubicBezTo>
                  <a:cubicBezTo>
                    <a:pt x="7" y="56"/>
                    <a:pt x="7" y="57"/>
                    <a:pt x="6" y="58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11" y="62"/>
                    <a:pt x="13" y="61"/>
                    <a:pt x="15" y="60"/>
                  </a:cubicBezTo>
                  <a:cubicBezTo>
                    <a:pt x="17" y="59"/>
                    <a:pt x="18" y="59"/>
                    <a:pt x="20" y="58"/>
                  </a:cubicBezTo>
                  <a:cubicBezTo>
                    <a:pt x="20" y="58"/>
                    <a:pt x="21" y="58"/>
                    <a:pt x="21" y="58"/>
                  </a:cubicBezTo>
                  <a:cubicBezTo>
                    <a:pt x="24" y="58"/>
                    <a:pt x="26" y="59"/>
                    <a:pt x="29" y="61"/>
                  </a:cubicBezTo>
                  <a:cubicBezTo>
                    <a:pt x="36" y="67"/>
                    <a:pt x="41" y="75"/>
                    <a:pt x="43" y="81"/>
                  </a:cubicBezTo>
                  <a:cubicBezTo>
                    <a:pt x="44" y="82"/>
                    <a:pt x="45" y="84"/>
                    <a:pt x="45" y="85"/>
                  </a:cubicBezTo>
                  <a:cubicBezTo>
                    <a:pt x="46" y="87"/>
                    <a:pt x="48" y="89"/>
                    <a:pt x="48" y="91"/>
                  </a:cubicBezTo>
                  <a:cubicBezTo>
                    <a:pt x="48" y="92"/>
                    <a:pt x="48" y="93"/>
                    <a:pt x="48" y="94"/>
                  </a:cubicBezTo>
                  <a:cubicBezTo>
                    <a:pt x="49" y="96"/>
                    <a:pt x="49" y="97"/>
                    <a:pt x="49" y="99"/>
                  </a:cubicBezTo>
                  <a:cubicBezTo>
                    <a:pt x="50" y="102"/>
                    <a:pt x="52" y="107"/>
                    <a:pt x="55" y="110"/>
                  </a:cubicBezTo>
                  <a:cubicBezTo>
                    <a:pt x="57" y="111"/>
                    <a:pt x="58" y="111"/>
                    <a:pt x="60" y="111"/>
                  </a:cubicBezTo>
                  <a:cubicBezTo>
                    <a:pt x="61" y="111"/>
                    <a:pt x="61" y="111"/>
                    <a:pt x="62" y="111"/>
                  </a:cubicBezTo>
                  <a:cubicBezTo>
                    <a:pt x="63" y="111"/>
                    <a:pt x="64" y="111"/>
                    <a:pt x="64" y="111"/>
                  </a:cubicBezTo>
                  <a:cubicBezTo>
                    <a:pt x="65" y="111"/>
                    <a:pt x="65" y="111"/>
                    <a:pt x="65" y="111"/>
                  </a:cubicBezTo>
                  <a:cubicBezTo>
                    <a:pt x="65" y="111"/>
                    <a:pt x="66" y="111"/>
                    <a:pt x="65" y="113"/>
                  </a:cubicBezTo>
                  <a:cubicBezTo>
                    <a:pt x="65" y="115"/>
                    <a:pt x="66" y="117"/>
                    <a:pt x="66" y="119"/>
                  </a:cubicBezTo>
                  <a:cubicBezTo>
                    <a:pt x="67" y="122"/>
                    <a:pt x="68" y="128"/>
                    <a:pt x="74" y="129"/>
                  </a:cubicBezTo>
                  <a:cubicBezTo>
                    <a:pt x="75" y="129"/>
                    <a:pt x="75" y="129"/>
                    <a:pt x="76" y="129"/>
                  </a:cubicBezTo>
                  <a:cubicBezTo>
                    <a:pt x="79" y="129"/>
                    <a:pt x="81" y="128"/>
                    <a:pt x="83" y="126"/>
                  </a:cubicBezTo>
                  <a:cubicBezTo>
                    <a:pt x="84" y="126"/>
                    <a:pt x="85" y="126"/>
                    <a:pt x="85" y="125"/>
                  </a:cubicBezTo>
                  <a:cubicBezTo>
                    <a:pt x="86" y="125"/>
                    <a:pt x="87" y="124"/>
                    <a:pt x="88" y="124"/>
                  </a:cubicBezTo>
                  <a:cubicBezTo>
                    <a:pt x="90" y="124"/>
                    <a:pt x="90" y="124"/>
                    <a:pt x="90" y="124"/>
                  </a:cubicBezTo>
                  <a:cubicBezTo>
                    <a:pt x="90" y="124"/>
                    <a:pt x="91" y="124"/>
                    <a:pt x="92" y="124"/>
                  </a:cubicBezTo>
                  <a:cubicBezTo>
                    <a:pt x="92" y="124"/>
                    <a:pt x="93" y="124"/>
                    <a:pt x="93" y="124"/>
                  </a:cubicBezTo>
                  <a:cubicBezTo>
                    <a:pt x="94" y="124"/>
                    <a:pt x="96" y="124"/>
                    <a:pt x="97" y="122"/>
                  </a:cubicBezTo>
                  <a:cubicBezTo>
                    <a:pt x="98" y="122"/>
                    <a:pt x="99" y="121"/>
                    <a:pt x="99" y="121"/>
                  </a:cubicBezTo>
                  <a:cubicBezTo>
                    <a:pt x="100" y="120"/>
                    <a:pt x="100" y="120"/>
                    <a:pt x="101" y="119"/>
                  </a:cubicBezTo>
                  <a:cubicBezTo>
                    <a:pt x="108" y="114"/>
                    <a:pt x="115" y="108"/>
                    <a:pt x="122" y="100"/>
                  </a:cubicBezTo>
                  <a:cubicBezTo>
                    <a:pt x="124" y="98"/>
                    <a:pt x="124" y="98"/>
                    <a:pt x="124" y="98"/>
                  </a:cubicBezTo>
                  <a:cubicBezTo>
                    <a:pt x="125" y="97"/>
                    <a:pt x="127" y="95"/>
                    <a:pt x="128" y="94"/>
                  </a:cubicBezTo>
                  <a:cubicBezTo>
                    <a:pt x="129" y="93"/>
                    <a:pt x="129" y="93"/>
                    <a:pt x="129" y="93"/>
                  </a:cubicBezTo>
                  <a:cubicBezTo>
                    <a:pt x="130" y="93"/>
                    <a:pt x="131" y="91"/>
                    <a:pt x="131" y="91"/>
                  </a:cubicBezTo>
                  <a:cubicBezTo>
                    <a:pt x="132" y="91"/>
                    <a:pt x="132" y="92"/>
                    <a:pt x="133" y="92"/>
                  </a:cubicBezTo>
                  <a:cubicBezTo>
                    <a:pt x="134" y="94"/>
                    <a:pt x="135" y="95"/>
                    <a:pt x="138" y="96"/>
                  </a:cubicBezTo>
                  <a:cubicBezTo>
                    <a:pt x="144" y="96"/>
                    <a:pt x="144" y="96"/>
                    <a:pt x="144" y="96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2" y="87"/>
                    <a:pt x="144" y="82"/>
                    <a:pt x="144" y="78"/>
                  </a:cubicBezTo>
                  <a:cubicBezTo>
                    <a:pt x="146" y="72"/>
                    <a:pt x="148" y="66"/>
                    <a:pt x="150" y="60"/>
                  </a:cubicBezTo>
                  <a:cubicBezTo>
                    <a:pt x="150" y="59"/>
                    <a:pt x="150" y="59"/>
                    <a:pt x="150" y="59"/>
                  </a:cubicBezTo>
                  <a:lnTo>
                    <a:pt x="150" y="57"/>
                  </a:ln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91" name="Freeform 190"/>
            <p:cNvSpPr>
              <a:spLocks/>
            </p:cNvSpPr>
            <p:nvPr/>
          </p:nvSpPr>
          <p:spPr bwMode="auto">
            <a:xfrm>
              <a:off x="21704652" y="8654671"/>
              <a:ext cx="670922" cy="653299"/>
            </a:xfrm>
            <a:custGeom>
              <a:avLst/>
              <a:gdLst>
                <a:gd name="T0" fmla="*/ 117 w 123"/>
                <a:gd name="T1" fmla="*/ 8 h 132"/>
                <a:gd name="T2" fmla="*/ 110 w 123"/>
                <a:gd name="T3" fmla="*/ 0 h 132"/>
                <a:gd name="T4" fmla="*/ 102 w 123"/>
                <a:gd name="T5" fmla="*/ 3 h 132"/>
                <a:gd name="T6" fmla="*/ 96 w 123"/>
                <a:gd name="T7" fmla="*/ 5 h 132"/>
                <a:gd name="T8" fmla="*/ 91 w 123"/>
                <a:gd name="T9" fmla="*/ 4 h 132"/>
                <a:gd name="T10" fmla="*/ 79 w 123"/>
                <a:gd name="T11" fmla="*/ 11 h 132"/>
                <a:gd name="T12" fmla="*/ 72 w 123"/>
                <a:gd name="T13" fmla="*/ 10 h 132"/>
                <a:gd name="T14" fmla="*/ 64 w 123"/>
                <a:gd name="T15" fmla="*/ 14 h 132"/>
                <a:gd name="T16" fmla="*/ 61 w 123"/>
                <a:gd name="T17" fmla="*/ 17 h 132"/>
                <a:gd name="T18" fmla="*/ 59 w 123"/>
                <a:gd name="T19" fmla="*/ 17 h 132"/>
                <a:gd name="T20" fmla="*/ 54 w 123"/>
                <a:gd name="T21" fmla="*/ 18 h 132"/>
                <a:gd name="T22" fmla="*/ 47 w 123"/>
                <a:gd name="T23" fmla="*/ 19 h 132"/>
                <a:gd name="T24" fmla="*/ 40 w 123"/>
                <a:gd name="T25" fmla="*/ 19 h 132"/>
                <a:gd name="T26" fmla="*/ 37 w 123"/>
                <a:gd name="T27" fmla="*/ 21 h 132"/>
                <a:gd name="T28" fmla="*/ 29 w 123"/>
                <a:gd name="T29" fmla="*/ 47 h 132"/>
                <a:gd name="T30" fmla="*/ 34 w 123"/>
                <a:gd name="T31" fmla="*/ 50 h 132"/>
                <a:gd name="T32" fmla="*/ 43 w 123"/>
                <a:gd name="T33" fmla="*/ 48 h 132"/>
                <a:gd name="T34" fmla="*/ 44 w 123"/>
                <a:gd name="T35" fmla="*/ 49 h 132"/>
                <a:gd name="T36" fmla="*/ 40 w 123"/>
                <a:gd name="T37" fmla="*/ 51 h 132"/>
                <a:gd name="T38" fmla="*/ 35 w 123"/>
                <a:gd name="T39" fmla="*/ 50 h 132"/>
                <a:gd name="T40" fmla="*/ 24 w 123"/>
                <a:gd name="T41" fmla="*/ 59 h 132"/>
                <a:gd name="T42" fmla="*/ 3 w 123"/>
                <a:gd name="T43" fmla="*/ 103 h 132"/>
                <a:gd name="T44" fmla="*/ 12 w 123"/>
                <a:gd name="T45" fmla="*/ 119 h 132"/>
                <a:gd name="T46" fmla="*/ 14 w 123"/>
                <a:gd name="T47" fmla="*/ 122 h 132"/>
                <a:gd name="T48" fmla="*/ 23 w 123"/>
                <a:gd name="T49" fmla="*/ 131 h 132"/>
                <a:gd name="T50" fmla="*/ 36 w 123"/>
                <a:gd name="T51" fmla="*/ 128 h 132"/>
                <a:gd name="T52" fmla="*/ 40 w 123"/>
                <a:gd name="T53" fmla="*/ 123 h 132"/>
                <a:gd name="T54" fmla="*/ 43 w 123"/>
                <a:gd name="T55" fmla="*/ 118 h 132"/>
                <a:gd name="T56" fmla="*/ 49 w 123"/>
                <a:gd name="T57" fmla="*/ 104 h 132"/>
                <a:gd name="T58" fmla="*/ 52 w 123"/>
                <a:gd name="T59" fmla="*/ 96 h 132"/>
                <a:gd name="T60" fmla="*/ 55 w 123"/>
                <a:gd name="T61" fmla="*/ 83 h 132"/>
                <a:gd name="T62" fmla="*/ 56 w 123"/>
                <a:gd name="T63" fmla="*/ 74 h 132"/>
                <a:gd name="T64" fmla="*/ 69 w 123"/>
                <a:gd name="T65" fmla="*/ 67 h 132"/>
                <a:gd name="T66" fmla="*/ 76 w 123"/>
                <a:gd name="T67" fmla="*/ 64 h 132"/>
                <a:gd name="T68" fmla="*/ 88 w 123"/>
                <a:gd name="T69" fmla="*/ 54 h 132"/>
                <a:gd name="T70" fmla="*/ 100 w 123"/>
                <a:gd name="T71" fmla="*/ 41 h 132"/>
                <a:gd name="T72" fmla="*/ 114 w 123"/>
                <a:gd name="T73" fmla="*/ 26 h 132"/>
                <a:gd name="T74" fmla="*/ 119 w 123"/>
                <a:gd name="T75" fmla="*/ 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32">
                  <a:moveTo>
                    <a:pt x="119" y="9"/>
                  </a:moveTo>
                  <a:cubicBezTo>
                    <a:pt x="118" y="8"/>
                    <a:pt x="117" y="8"/>
                    <a:pt x="117" y="8"/>
                  </a:cubicBezTo>
                  <a:cubicBezTo>
                    <a:pt x="116" y="7"/>
                    <a:pt x="116" y="6"/>
                    <a:pt x="116" y="5"/>
                  </a:cubicBezTo>
                  <a:cubicBezTo>
                    <a:pt x="115" y="3"/>
                    <a:pt x="114" y="0"/>
                    <a:pt x="110" y="0"/>
                  </a:cubicBezTo>
                  <a:cubicBezTo>
                    <a:pt x="109" y="0"/>
                    <a:pt x="109" y="0"/>
                    <a:pt x="108" y="0"/>
                  </a:cubicBezTo>
                  <a:cubicBezTo>
                    <a:pt x="105" y="0"/>
                    <a:pt x="104" y="2"/>
                    <a:pt x="102" y="3"/>
                  </a:cubicBezTo>
                  <a:cubicBezTo>
                    <a:pt x="100" y="4"/>
                    <a:pt x="99" y="5"/>
                    <a:pt x="97" y="5"/>
                  </a:cubicBezTo>
                  <a:cubicBezTo>
                    <a:pt x="97" y="5"/>
                    <a:pt x="96" y="5"/>
                    <a:pt x="96" y="5"/>
                  </a:cubicBezTo>
                  <a:cubicBezTo>
                    <a:pt x="94" y="4"/>
                    <a:pt x="94" y="4"/>
                    <a:pt x="94" y="4"/>
                  </a:cubicBezTo>
                  <a:cubicBezTo>
                    <a:pt x="93" y="4"/>
                    <a:pt x="92" y="4"/>
                    <a:pt x="91" y="4"/>
                  </a:cubicBezTo>
                  <a:cubicBezTo>
                    <a:pt x="88" y="4"/>
                    <a:pt x="85" y="5"/>
                    <a:pt x="83" y="8"/>
                  </a:cubicBezTo>
                  <a:cubicBezTo>
                    <a:pt x="80" y="11"/>
                    <a:pt x="80" y="11"/>
                    <a:pt x="79" y="11"/>
                  </a:cubicBezTo>
                  <a:cubicBezTo>
                    <a:pt x="78" y="11"/>
                    <a:pt x="77" y="11"/>
                    <a:pt x="76" y="10"/>
                  </a:cubicBezTo>
                  <a:cubicBezTo>
                    <a:pt x="74" y="10"/>
                    <a:pt x="73" y="10"/>
                    <a:pt x="72" y="10"/>
                  </a:cubicBezTo>
                  <a:cubicBezTo>
                    <a:pt x="69" y="10"/>
                    <a:pt x="67" y="10"/>
                    <a:pt x="66" y="12"/>
                  </a:cubicBezTo>
                  <a:cubicBezTo>
                    <a:pt x="65" y="13"/>
                    <a:pt x="64" y="14"/>
                    <a:pt x="64" y="14"/>
                  </a:cubicBezTo>
                  <a:cubicBezTo>
                    <a:pt x="64" y="15"/>
                    <a:pt x="64" y="15"/>
                    <a:pt x="63" y="15"/>
                  </a:cubicBezTo>
                  <a:cubicBezTo>
                    <a:pt x="63" y="16"/>
                    <a:pt x="62" y="17"/>
                    <a:pt x="61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8" y="17"/>
                    <a:pt x="57" y="17"/>
                    <a:pt x="57" y="18"/>
                  </a:cubicBezTo>
                  <a:cubicBezTo>
                    <a:pt x="56" y="18"/>
                    <a:pt x="55" y="18"/>
                    <a:pt x="54" y="18"/>
                  </a:cubicBezTo>
                  <a:cubicBezTo>
                    <a:pt x="53" y="19"/>
                    <a:pt x="52" y="19"/>
                    <a:pt x="52" y="19"/>
                  </a:cubicBezTo>
                  <a:cubicBezTo>
                    <a:pt x="50" y="19"/>
                    <a:pt x="48" y="19"/>
                    <a:pt x="47" y="19"/>
                  </a:cubicBezTo>
                  <a:cubicBezTo>
                    <a:pt x="45" y="19"/>
                    <a:pt x="43" y="19"/>
                    <a:pt x="42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4" y="27"/>
                    <a:pt x="33" y="33"/>
                    <a:pt x="32" y="38"/>
                  </a:cubicBezTo>
                  <a:cubicBezTo>
                    <a:pt x="31" y="41"/>
                    <a:pt x="30" y="44"/>
                    <a:pt x="29" y="47"/>
                  </a:cubicBezTo>
                  <a:cubicBezTo>
                    <a:pt x="27" y="54"/>
                    <a:pt x="27" y="54"/>
                    <a:pt x="27" y="54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5" y="49"/>
                    <a:pt x="37" y="49"/>
                    <a:pt x="38" y="49"/>
                  </a:cubicBezTo>
                  <a:cubicBezTo>
                    <a:pt x="40" y="48"/>
                    <a:pt x="41" y="48"/>
                    <a:pt x="43" y="48"/>
                  </a:cubicBezTo>
                  <a:cubicBezTo>
                    <a:pt x="44" y="47"/>
                    <a:pt x="44" y="47"/>
                    <a:pt x="45" y="46"/>
                  </a:cubicBezTo>
                  <a:cubicBezTo>
                    <a:pt x="45" y="47"/>
                    <a:pt x="44" y="48"/>
                    <a:pt x="44" y="49"/>
                  </a:cubicBezTo>
                  <a:cubicBezTo>
                    <a:pt x="43" y="50"/>
                    <a:pt x="43" y="51"/>
                    <a:pt x="42" y="52"/>
                  </a:cubicBezTo>
                  <a:cubicBezTo>
                    <a:pt x="42" y="52"/>
                    <a:pt x="41" y="52"/>
                    <a:pt x="40" y="51"/>
                  </a:cubicBezTo>
                  <a:cubicBezTo>
                    <a:pt x="39" y="51"/>
                    <a:pt x="37" y="50"/>
                    <a:pt x="36" y="50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0" y="51"/>
                    <a:pt x="28" y="55"/>
                    <a:pt x="26" y="57"/>
                  </a:cubicBezTo>
                  <a:cubicBezTo>
                    <a:pt x="25" y="58"/>
                    <a:pt x="25" y="59"/>
                    <a:pt x="24" y="59"/>
                  </a:cubicBezTo>
                  <a:cubicBezTo>
                    <a:pt x="23" y="60"/>
                    <a:pt x="22" y="62"/>
                    <a:pt x="21" y="63"/>
                  </a:cubicBezTo>
                  <a:cubicBezTo>
                    <a:pt x="12" y="74"/>
                    <a:pt x="0" y="88"/>
                    <a:pt x="3" y="103"/>
                  </a:cubicBezTo>
                  <a:cubicBezTo>
                    <a:pt x="4" y="107"/>
                    <a:pt x="6" y="111"/>
                    <a:pt x="9" y="116"/>
                  </a:cubicBezTo>
                  <a:cubicBezTo>
                    <a:pt x="10" y="117"/>
                    <a:pt x="11" y="118"/>
                    <a:pt x="12" y="119"/>
                  </a:cubicBezTo>
                  <a:cubicBezTo>
                    <a:pt x="12" y="120"/>
                    <a:pt x="13" y="120"/>
                    <a:pt x="13" y="121"/>
                  </a:cubicBezTo>
                  <a:cubicBezTo>
                    <a:pt x="13" y="121"/>
                    <a:pt x="14" y="121"/>
                    <a:pt x="14" y="122"/>
                  </a:cubicBezTo>
                  <a:cubicBezTo>
                    <a:pt x="14" y="123"/>
                    <a:pt x="14" y="124"/>
                    <a:pt x="15" y="125"/>
                  </a:cubicBezTo>
                  <a:cubicBezTo>
                    <a:pt x="17" y="128"/>
                    <a:pt x="21" y="130"/>
                    <a:pt x="23" y="131"/>
                  </a:cubicBezTo>
                  <a:cubicBezTo>
                    <a:pt x="25" y="132"/>
                    <a:pt x="26" y="132"/>
                    <a:pt x="28" y="132"/>
                  </a:cubicBezTo>
                  <a:cubicBezTo>
                    <a:pt x="31" y="132"/>
                    <a:pt x="34" y="131"/>
                    <a:pt x="36" y="128"/>
                  </a:cubicBezTo>
                  <a:cubicBezTo>
                    <a:pt x="37" y="127"/>
                    <a:pt x="38" y="126"/>
                    <a:pt x="39" y="125"/>
                  </a:cubicBezTo>
                  <a:cubicBezTo>
                    <a:pt x="39" y="124"/>
                    <a:pt x="39" y="123"/>
                    <a:pt x="40" y="123"/>
                  </a:cubicBezTo>
                  <a:cubicBezTo>
                    <a:pt x="40" y="122"/>
                    <a:pt x="41" y="122"/>
                    <a:pt x="41" y="121"/>
                  </a:cubicBezTo>
                  <a:cubicBezTo>
                    <a:pt x="42" y="120"/>
                    <a:pt x="43" y="119"/>
                    <a:pt x="43" y="118"/>
                  </a:cubicBezTo>
                  <a:cubicBezTo>
                    <a:pt x="45" y="115"/>
                    <a:pt x="47" y="111"/>
                    <a:pt x="49" y="106"/>
                  </a:cubicBezTo>
                  <a:cubicBezTo>
                    <a:pt x="49" y="105"/>
                    <a:pt x="49" y="105"/>
                    <a:pt x="49" y="104"/>
                  </a:cubicBezTo>
                  <a:cubicBezTo>
                    <a:pt x="50" y="102"/>
                    <a:pt x="50" y="100"/>
                    <a:pt x="51" y="98"/>
                  </a:cubicBezTo>
                  <a:cubicBezTo>
                    <a:pt x="52" y="97"/>
                    <a:pt x="52" y="97"/>
                    <a:pt x="52" y="96"/>
                  </a:cubicBezTo>
                  <a:cubicBezTo>
                    <a:pt x="54" y="94"/>
                    <a:pt x="55" y="91"/>
                    <a:pt x="55" y="88"/>
                  </a:cubicBezTo>
                  <a:cubicBezTo>
                    <a:pt x="55" y="86"/>
                    <a:pt x="55" y="84"/>
                    <a:pt x="55" y="83"/>
                  </a:cubicBezTo>
                  <a:cubicBezTo>
                    <a:pt x="54" y="82"/>
                    <a:pt x="54" y="82"/>
                    <a:pt x="54" y="81"/>
                  </a:cubicBezTo>
                  <a:cubicBezTo>
                    <a:pt x="54" y="77"/>
                    <a:pt x="54" y="75"/>
                    <a:pt x="56" y="74"/>
                  </a:cubicBezTo>
                  <a:cubicBezTo>
                    <a:pt x="60" y="72"/>
                    <a:pt x="63" y="70"/>
                    <a:pt x="66" y="68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70" y="66"/>
                    <a:pt x="71" y="66"/>
                    <a:pt x="72" y="65"/>
                  </a:cubicBezTo>
                  <a:cubicBezTo>
                    <a:pt x="74" y="65"/>
                    <a:pt x="75" y="65"/>
                    <a:pt x="76" y="64"/>
                  </a:cubicBezTo>
                  <a:cubicBezTo>
                    <a:pt x="79" y="63"/>
                    <a:pt x="82" y="60"/>
                    <a:pt x="84" y="58"/>
                  </a:cubicBezTo>
                  <a:cubicBezTo>
                    <a:pt x="85" y="56"/>
                    <a:pt x="87" y="55"/>
                    <a:pt x="88" y="54"/>
                  </a:cubicBezTo>
                  <a:cubicBezTo>
                    <a:pt x="92" y="51"/>
                    <a:pt x="94" y="48"/>
                    <a:pt x="97" y="44"/>
                  </a:cubicBezTo>
                  <a:cubicBezTo>
                    <a:pt x="98" y="43"/>
                    <a:pt x="99" y="42"/>
                    <a:pt x="100" y="41"/>
                  </a:cubicBezTo>
                  <a:cubicBezTo>
                    <a:pt x="104" y="36"/>
                    <a:pt x="108" y="31"/>
                    <a:pt x="113" y="27"/>
                  </a:cubicBezTo>
                  <a:cubicBezTo>
                    <a:pt x="113" y="27"/>
                    <a:pt x="114" y="26"/>
                    <a:pt x="114" y="26"/>
                  </a:cubicBezTo>
                  <a:cubicBezTo>
                    <a:pt x="119" y="21"/>
                    <a:pt x="123" y="18"/>
                    <a:pt x="123" y="14"/>
                  </a:cubicBezTo>
                  <a:cubicBezTo>
                    <a:pt x="123" y="11"/>
                    <a:pt x="120" y="10"/>
                    <a:pt x="119" y="9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92" name="Freeform 191"/>
            <p:cNvSpPr>
              <a:spLocks/>
            </p:cNvSpPr>
            <p:nvPr/>
          </p:nvSpPr>
          <p:spPr bwMode="auto">
            <a:xfrm>
              <a:off x="22037035" y="8301889"/>
              <a:ext cx="82070" cy="128793"/>
            </a:xfrm>
            <a:custGeom>
              <a:avLst/>
              <a:gdLst>
                <a:gd name="T0" fmla="*/ 14 w 15"/>
                <a:gd name="T1" fmla="*/ 2 h 26"/>
                <a:gd name="T2" fmla="*/ 10 w 15"/>
                <a:gd name="T3" fmla="*/ 0 h 26"/>
                <a:gd name="T4" fmla="*/ 9 w 15"/>
                <a:gd name="T5" fmla="*/ 0 h 26"/>
                <a:gd name="T6" fmla="*/ 0 w 15"/>
                <a:gd name="T7" fmla="*/ 20 h 26"/>
                <a:gd name="T8" fmla="*/ 5 w 15"/>
                <a:gd name="T9" fmla="*/ 26 h 26"/>
                <a:gd name="T10" fmla="*/ 6 w 15"/>
                <a:gd name="T11" fmla="*/ 26 h 26"/>
                <a:gd name="T12" fmla="*/ 6 w 15"/>
                <a:gd name="T13" fmla="*/ 26 h 26"/>
                <a:gd name="T14" fmla="*/ 9 w 15"/>
                <a:gd name="T15" fmla="*/ 20 h 26"/>
                <a:gd name="T16" fmla="*/ 9 w 15"/>
                <a:gd name="T17" fmla="*/ 20 h 26"/>
                <a:gd name="T18" fmla="*/ 12 w 15"/>
                <a:gd name="T19" fmla="*/ 11 h 26"/>
                <a:gd name="T20" fmla="*/ 12 w 15"/>
                <a:gd name="T21" fmla="*/ 10 h 26"/>
                <a:gd name="T22" fmla="*/ 14 w 15"/>
                <a:gd name="T2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26">
                  <a:moveTo>
                    <a:pt x="14" y="2"/>
                  </a:moveTo>
                  <a:cubicBezTo>
                    <a:pt x="14" y="2"/>
                    <a:pt x="13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3" y="1"/>
                    <a:pt x="0" y="15"/>
                    <a:pt x="0" y="20"/>
                  </a:cubicBezTo>
                  <a:cubicBezTo>
                    <a:pt x="1" y="26"/>
                    <a:pt x="4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10" y="26"/>
                    <a:pt x="10" y="22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16"/>
                    <a:pt x="10" y="14"/>
                    <a:pt x="12" y="11"/>
                  </a:cubicBezTo>
                  <a:cubicBezTo>
                    <a:pt x="12" y="11"/>
                    <a:pt x="12" y="11"/>
                    <a:pt x="12" y="10"/>
                  </a:cubicBezTo>
                  <a:cubicBezTo>
                    <a:pt x="13" y="8"/>
                    <a:pt x="15" y="5"/>
                    <a:pt x="14" y="2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93" name="Freeform 192"/>
            <p:cNvSpPr>
              <a:spLocks/>
            </p:cNvSpPr>
            <p:nvPr/>
          </p:nvSpPr>
          <p:spPr bwMode="auto">
            <a:xfrm>
              <a:off x="22297608" y="7265943"/>
              <a:ext cx="1003305" cy="940751"/>
            </a:xfrm>
            <a:custGeom>
              <a:avLst/>
              <a:gdLst>
                <a:gd name="T0" fmla="*/ 177 w 184"/>
                <a:gd name="T1" fmla="*/ 104 h 190"/>
                <a:gd name="T2" fmla="*/ 165 w 184"/>
                <a:gd name="T3" fmla="*/ 100 h 190"/>
                <a:gd name="T4" fmla="*/ 161 w 184"/>
                <a:gd name="T5" fmla="*/ 107 h 190"/>
                <a:gd name="T6" fmla="*/ 157 w 184"/>
                <a:gd name="T7" fmla="*/ 81 h 190"/>
                <a:gd name="T8" fmla="*/ 146 w 184"/>
                <a:gd name="T9" fmla="*/ 89 h 190"/>
                <a:gd name="T10" fmla="*/ 143 w 184"/>
                <a:gd name="T11" fmla="*/ 97 h 190"/>
                <a:gd name="T12" fmla="*/ 141 w 184"/>
                <a:gd name="T13" fmla="*/ 97 h 190"/>
                <a:gd name="T14" fmla="*/ 142 w 184"/>
                <a:gd name="T15" fmla="*/ 84 h 190"/>
                <a:gd name="T16" fmla="*/ 131 w 184"/>
                <a:gd name="T17" fmla="*/ 71 h 190"/>
                <a:gd name="T18" fmla="*/ 128 w 184"/>
                <a:gd name="T19" fmla="*/ 81 h 190"/>
                <a:gd name="T20" fmla="*/ 128 w 184"/>
                <a:gd name="T21" fmla="*/ 85 h 190"/>
                <a:gd name="T22" fmla="*/ 120 w 184"/>
                <a:gd name="T23" fmla="*/ 74 h 190"/>
                <a:gd name="T24" fmla="*/ 116 w 184"/>
                <a:gd name="T25" fmla="*/ 56 h 190"/>
                <a:gd name="T26" fmla="*/ 91 w 184"/>
                <a:gd name="T27" fmla="*/ 59 h 190"/>
                <a:gd name="T28" fmla="*/ 81 w 184"/>
                <a:gd name="T29" fmla="*/ 71 h 190"/>
                <a:gd name="T30" fmla="*/ 73 w 184"/>
                <a:gd name="T31" fmla="*/ 69 h 190"/>
                <a:gd name="T32" fmla="*/ 63 w 184"/>
                <a:gd name="T33" fmla="*/ 73 h 190"/>
                <a:gd name="T34" fmla="*/ 56 w 184"/>
                <a:gd name="T35" fmla="*/ 73 h 190"/>
                <a:gd name="T36" fmla="*/ 58 w 184"/>
                <a:gd name="T37" fmla="*/ 67 h 190"/>
                <a:gd name="T38" fmla="*/ 48 w 184"/>
                <a:gd name="T39" fmla="*/ 56 h 190"/>
                <a:gd name="T40" fmla="*/ 40 w 184"/>
                <a:gd name="T41" fmla="*/ 62 h 190"/>
                <a:gd name="T42" fmla="*/ 34 w 184"/>
                <a:gd name="T43" fmla="*/ 76 h 190"/>
                <a:gd name="T44" fmla="*/ 31 w 184"/>
                <a:gd name="T45" fmla="*/ 57 h 190"/>
                <a:gd name="T46" fmla="*/ 30 w 184"/>
                <a:gd name="T47" fmla="*/ 35 h 190"/>
                <a:gd name="T48" fmla="*/ 31 w 184"/>
                <a:gd name="T49" fmla="*/ 12 h 190"/>
                <a:gd name="T50" fmla="*/ 30 w 184"/>
                <a:gd name="T51" fmla="*/ 1 h 190"/>
                <a:gd name="T52" fmla="*/ 17 w 184"/>
                <a:gd name="T53" fmla="*/ 5 h 190"/>
                <a:gd name="T54" fmla="*/ 12 w 184"/>
                <a:gd name="T55" fmla="*/ 7 h 190"/>
                <a:gd name="T56" fmla="*/ 5 w 184"/>
                <a:gd name="T57" fmla="*/ 18 h 190"/>
                <a:gd name="T58" fmla="*/ 0 w 184"/>
                <a:gd name="T59" fmla="*/ 35 h 190"/>
                <a:gd name="T60" fmla="*/ 3 w 184"/>
                <a:gd name="T61" fmla="*/ 47 h 190"/>
                <a:gd name="T62" fmla="*/ 2 w 184"/>
                <a:gd name="T63" fmla="*/ 64 h 190"/>
                <a:gd name="T64" fmla="*/ 3 w 184"/>
                <a:gd name="T65" fmla="*/ 79 h 190"/>
                <a:gd name="T66" fmla="*/ 7 w 184"/>
                <a:gd name="T67" fmla="*/ 102 h 190"/>
                <a:gd name="T68" fmla="*/ 15 w 184"/>
                <a:gd name="T69" fmla="*/ 119 h 190"/>
                <a:gd name="T70" fmla="*/ 8 w 184"/>
                <a:gd name="T71" fmla="*/ 123 h 190"/>
                <a:gd name="T72" fmla="*/ 13 w 184"/>
                <a:gd name="T73" fmla="*/ 147 h 190"/>
                <a:gd name="T74" fmla="*/ 11 w 184"/>
                <a:gd name="T75" fmla="*/ 161 h 190"/>
                <a:gd name="T76" fmla="*/ 21 w 184"/>
                <a:gd name="T77" fmla="*/ 190 h 190"/>
                <a:gd name="T78" fmla="*/ 52 w 184"/>
                <a:gd name="T79" fmla="*/ 169 h 190"/>
                <a:gd name="T80" fmla="*/ 83 w 184"/>
                <a:gd name="T81" fmla="*/ 152 h 190"/>
                <a:gd name="T82" fmla="*/ 87 w 184"/>
                <a:gd name="T83" fmla="*/ 147 h 190"/>
                <a:gd name="T84" fmla="*/ 93 w 184"/>
                <a:gd name="T85" fmla="*/ 144 h 190"/>
                <a:gd name="T86" fmla="*/ 100 w 184"/>
                <a:gd name="T87" fmla="*/ 151 h 190"/>
                <a:gd name="T88" fmla="*/ 111 w 184"/>
                <a:gd name="T89" fmla="*/ 146 h 190"/>
                <a:gd name="T90" fmla="*/ 105 w 184"/>
                <a:gd name="T91" fmla="*/ 159 h 190"/>
                <a:gd name="T92" fmla="*/ 105 w 184"/>
                <a:gd name="T93" fmla="*/ 169 h 190"/>
                <a:gd name="T94" fmla="*/ 119 w 184"/>
                <a:gd name="T95" fmla="*/ 166 h 190"/>
                <a:gd name="T96" fmla="*/ 128 w 184"/>
                <a:gd name="T97" fmla="*/ 159 h 190"/>
                <a:gd name="T98" fmla="*/ 129 w 184"/>
                <a:gd name="T99" fmla="*/ 147 h 190"/>
                <a:gd name="T100" fmla="*/ 135 w 184"/>
                <a:gd name="T101" fmla="*/ 122 h 190"/>
                <a:gd name="T102" fmla="*/ 145 w 184"/>
                <a:gd name="T103" fmla="*/ 137 h 190"/>
                <a:gd name="T104" fmla="*/ 160 w 184"/>
                <a:gd name="T105" fmla="*/ 138 h 190"/>
                <a:gd name="T106" fmla="*/ 168 w 184"/>
                <a:gd name="T107" fmla="*/ 147 h 190"/>
                <a:gd name="T108" fmla="*/ 176 w 184"/>
                <a:gd name="T109" fmla="*/ 14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4" h="190">
                  <a:moveTo>
                    <a:pt x="181" y="128"/>
                  </a:moveTo>
                  <a:cubicBezTo>
                    <a:pt x="181" y="127"/>
                    <a:pt x="180" y="126"/>
                    <a:pt x="180" y="126"/>
                  </a:cubicBezTo>
                  <a:cubicBezTo>
                    <a:pt x="177" y="119"/>
                    <a:pt x="177" y="114"/>
                    <a:pt x="177" y="106"/>
                  </a:cubicBezTo>
                  <a:cubicBezTo>
                    <a:pt x="177" y="104"/>
                    <a:pt x="177" y="104"/>
                    <a:pt x="177" y="104"/>
                  </a:cubicBezTo>
                  <a:cubicBezTo>
                    <a:pt x="178" y="101"/>
                    <a:pt x="178" y="98"/>
                    <a:pt x="178" y="96"/>
                  </a:cubicBezTo>
                  <a:cubicBezTo>
                    <a:pt x="178" y="95"/>
                    <a:pt x="177" y="92"/>
                    <a:pt x="172" y="92"/>
                  </a:cubicBezTo>
                  <a:cubicBezTo>
                    <a:pt x="172" y="92"/>
                    <a:pt x="168" y="92"/>
                    <a:pt x="167" y="94"/>
                  </a:cubicBezTo>
                  <a:cubicBezTo>
                    <a:pt x="165" y="95"/>
                    <a:pt x="165" y="98"/>
                    <a:pt x="165" y="100"/>
                  </a:cubicBezTo>
                  <a:cubicBezTo>
                    <a:pt x="165" y="100"/>
                    <a:pt x="165" y="100"/>
                    <a:pt x="164" y="101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64" y="106"/>
                    <a:pt x="163" y="107"/>
                    <a:pt x="162" y="107"/>
                  </a:cubicBezTo>
                  <a:cubicBezTo>
                    <a:pt x="161" y="107"/>
                    <a:pt x="161" y="107"/>
                    <a:pt x="161" y="107"/>
                  </a:cubicBezTo>
                  <a:cubicBezTo>
                    <a:pt x="159" y="105"/>
                    <a:pt x="159" y="99"/>
                    <a:pt x="159" y="97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1"/>
                    <a:pt x="159" y="90"/>
                    <a:pt x="159" y="90"/>
                  </a:cubicBezTo>
                  <a:cubicBezTo>
                    <a:pt x="160" y="87"/>
                    <a:pt x="160" y="83"/>
                    <a:pt x="157" y="81"/>
                  </a:cubicBezTo>
                  <a:cubicBezTo>
                    <a:pt x="156" y="81"/>
                    <a:pt x="155" y="80"/>
                    <a:pt x="154" y="80"/>
                  </a:cubicBezTo>
                  <a:cubicBezTo>
                    <a:pt x="152" y="80"/>
                    <a:pt x="150" y="81"/>
                    <a:pt x="149" y="82"/>
                  </a:cubicBezTo>
                  <a:cubicBezTo>
                    <a:pt x="147" y="83"/>
                    <a:pt x="147" y="86"/>
                    <a:pt x="146" y="87"/>
                  </a:cubicBezTo>
                  <a:cubicBezTo>
                    <a:pt x="146" y="88"/>
                    <a:pt x="146" y="89"/>
                    <a:pt x="146" y="89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46" y="90"/>
                    <a:pt x="145" y="90"/>
                    <a:pt x="145" y="91"/>
                  </a:cubicBezTo>
                  <a:cubicBezTo>
                    <a:pt x="145" y="91"/>
                    <a:pt x="144" y="92"/>
                    <a:pt x="144" y="93"/>
                  </a:cubicBezTo>
                  <a:cubicBezTo>
                    <a:pt x="143" y="94"/>
                    <a:pt x="143" y="96"/>
                    <a:pt x="143" y="97"/>
                  </a:cubicBezTo>
                  <a:cubicBezTo>
                    <a:pt x="143" y="100"/>
                    <a:pt x="144" y="102"/>
                    <a:pt x="145" y="105"/>
                  </a:cubicBezTo>
                  <a:cubicBezTo>
                    <a:pt x="145" y="104"/>
                    <a:pt x="145" y="104"/>
                    <a:pt x="144" y="104"/>
                  </a:cubicBezTo>
                  <a:cubicBezTo>
                    <a:pt x="143" y="102"/>
                    <a:pt x="142" y="100"/>
                    <a:pt x="141" y="98"/>
                  </a:cubicBezTo>
                  <a:cubicBezTo>
                    <a:pt x="141" y="98"/>
                    <a:pt x="141" y="98"/>
                    <a:pt x="141" y="97"/>
                  </a:cubicBezTo>
                  <a:cubicBezTo>
                    <a:pt x="141" y="97"/>
                    <a:pt x="141" y="96"/>
                    <a:pt x="141" y="96"/>
                  </a:cubicBezTo>
                  <a:cubicBezTo>
                    <a:pt x="141" y="95"/>
                    <a:pt x="141" y="94"/>
                    <a:pt x="141" y="94"/>
                  </a:cubicBezTo>
                  <a:cubicBezTo>
                    <a:pt x="141" y="93"/>
                    <a:pt x="140" y="93"/>
                    <a:pt x="140" y="92"/>
                  </a:cubicBezTo>
                  <a:cubicBezTo>
                    <a:pt x="140" y="90"/>
                    <a:pt x="141" y="87"/>
                    <a:pt x="142" y="84"/>
                  </a:cubicBezTo>
                  <a:cubicBezTo>
                    <a:pt x="143" y="83"/>
                    <a:pt x="143" y="83"/>
                    <a:pt x="143" y="83"/>
                  </a:cubicBezTo>
                  <a:cubicBezTo>
                    <a:pt x="145" y="77"/>
                    <a:pt x="147" y="72"/>
                    <a:pt x="145" y="68"/>
                  </a:cubicBezTo>
                  <a:cubicBezTo>
                    <a:pt x="144" y="67"/>
                    <a:pt x="143" y="66"/>
                    <a:pt x="140" y="66"/>
                  </a:cubicBezTo>
                  <a:cubicBezTo>
                    <a:pt x="137" y="66"/>
                    <a:pt x="133" y="68"/>
                    <a:pt x="131" y="71"/>
                  </a:cubicBezTo>
                  <a:cubicBezTo>
                    <a:pt x="130" y="73"/>
                    <a:pt x="130" y="75"/>
                    <a:pt x="130" y="76"/>
                  </a:cubicBezTo>
                  <a:cubicBezTo>
                    <a:pt x="129" y="77"/>
                    <a:pt x="129" y="78"/>
                    <a:pt x="129" y="78"/>
                  </a:cubicBezTo>
                  <a:cubicBezTo>
                    <a:pt x="129" y="79"/>
                    <a:pt x="129" y="79"/>
                    <a:pt x="129" y="79"/>
                  </a:cubicBezTo>
                  <a:cubicBezTo>
                    <a:pt x="129" y="80"/>
                    <a:pt x="128" y="80"/>
                    <a:pt x="128" y="81"/>
                  </a:cubicBezTo>
                  <a:cubicBezTo>
                    <a:pt x="128" y="82"/>
                    <a:pt x="128" y="83"/>
                    <a:pt x="128" y="84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28" y="85"/>
                    <a:pt x="128" y="85"/>
                    <a:pt x="128" y="85"/>
                  </a:cubicBezTo>
                  <a:cubicBezTo>
                    <a:pt x="128" y="84"/>
                    <a:pt x="128" y="83"/>
                    <a:pt x="128" y="83"/>
                  </a:cubicBezTo>
                  <a:cubicBezTo>
                    <a:pt x="127" y="80"/>
                    <a:pt x="127" y="78"/>
                    <a:pt x="125" y="76"/>
                  </a:cubicBezTo>
                  <a:cubicBezTo>
                    <a:pt x="124" y="74"/>
                    <a:pt x="122" y="74"/>
                    <a:pt x="121" y="74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17" y="73"/>
                    <a:pt x="117" y="72"/>
                    <a:pt x="116" y="67"/>
                  </a:cubicBezTo>
                  <a:cubicBezTo>
                    <a:pt x="116" y="67"/>
                    <a:pt x="116" y="67"/>
                    <a:pt x="116" y="67"/>
                  </a:cubicBezTo>
                  <a:cubicBezTo>
                    <a:pt x="116" y="65"/>
                    <a:pt x="116" y="64"/>
                    <a:pt x="116" y="63"/>
                  </a:cubicBezTo>
                  <a:cubicBezTo>
                    <a:pt x="116" y="61"/>
                    <a:pt x="117" y="59"/>
                    <a:pt x="116" y="56"/>
                  </a:cubicBezTo>
                  <a:cubicBezTo>
                    <a:pt x="113" y="51"/>
                    <a:pt x="108" y="50"/>
                    <a:pt x="104" y="50"/>
                  </a:cubicBezTo>
                  <a:cubicBezTo>
                    <a:pt x="104" y="50"/>
                    <a:pt x="104" y="50"/>
                    <a:pt x="103" y="50"/>
                  </a:cubicBezTo>
                  <a:cubicBezTo>
                    <a:pt x="98" y="50"/>
                    <a:pt x="95" y="52"/>
                    <a:pt x="93" y="56"/>
                  </a:cubicBezTo>
                  <a:cubicBezTo>
                    <a:pt x="92" y="58"/>
                    <a:pt x="92" y="59"/>
                    <a:pt x="91" y="59"/>
                  </a:cubicBezTo>
                  <a:cubicBezTo>
                    <a:pt x="90" y="59"/>
                    <a:pt x="90" y="59"/>
                    <a:pt x="90" y="60"/>
                  </a:cubicBezTo>
                  <a:cubicBezTo>
                    <a:pt x="88" y="60"/>
                    <a:pt x="86" y="60"/>
                    <a:pt x="84" y="62"/>
                  </a:cubicBezTo>
                  <a:cubicBezTo>
                    <a:pt x="82" y="64"/>
                    <a:pt x="82" y="67"/>
                    <a:pt x="81" y="69"/>
                  </a:cubicBezTo>
                  <a:cubicBezTo>
                    <a:pt x="81" y="70"/>
                    <a:pt x="81" y="71"/>
                    <a:pt x="81" y="71"/>
                  </a:cubicBezTo>
                  <a:cubicBezTo>
                    <a:pt x="80" y="72"/>
                    <a:pt x="80" y="73"/>
                    <a:pt x="80" y="73"/>
                  </a:cubicBezTo>
                  <a:cubicBezTo>
                    <a:pt x="80" y="73"/>
                    <a:pt x="79" y="73"/>
                    <a:pt x="79" y="72"/>
                  </a:cubicBezTo>
                  <a:cubicBezTo>
                    <a:pt x="78" y="71"/>
                    <a:pt x="76" y="70"/>
                    <a:pt x="74" y="69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2" y="69"/>
                    <a:pt x="70" y="70"/>
                    <a:pt x="69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68" y="71"/>
                    <a:pt x="67" y="72"/>
                    <a:pt x="67" y="72"/>
                  </a:cubicBezTo>
                  <a:cubicBezTo>
                    <a:pt x="65" y="72"/>
                    <a:pt x="64" y="73"/>
                    <a:pt x="63" y="73"/>
                  </a:cubicBezTo>
                  <a:cubicBezTo>
                    <a:pt x="62" y="74"/>
                    <a:pt x="61" y="74"/>
                    <a:pt x="60" y="74"/>
                  </a:cubicBezTo>
                  <a:cubicBezTo>
                    <a:pt x="60" y="74"/>
                    <a:pt x="59" y="74"/>
                    <a:pt x="59" y="74"/>
                  </a:cubicBezTo>
                  <a:cubicBezTo>
                    <a:pt x="58" y="74"/>
                    <a:pt x="57" y="74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2"/>
                    <a:pt x="56" y="71"/>
                    <a:pt x="56" y="70"/>
                  </a:cubicBezTo>
                  <a:cubicBezTo>
                    <a:pt x="57" y="70"/>
                    <a:pt x="57" y="69"/>
                    <a:pt x="57" y="69"/>
                  </a:cubicBezTo>
                  <a:cubicBezTo>
                    <a:pt x="57" y="68"/>
                    <a:pt x="57" y="68"/>
                    <a:pt x="58" y="67"/>
                  </a:cubicBezTo>
                  <a:cubicBezTo>
                    <a:pt x="59" y="65"/>
                    <a:pt x="61" y="60"/>
                    <a:pt x="57" y="57"/>
                  </a:cubicBezTo>
                  <a:cubicBezTo>
                    <a:pt x="55" y="56"/>
                    <a:pt x="53" y="56"/>
                    <a:pt x="52" y="56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49" y="56"/>
                    <a:pt x="48" y="56"/>
                    <a:pt x="48" y="56"/>
                  </a:cubicBezTo>
                  <a:cubicBezTo>
                    <a:pt x="47" y="56"/>
                    <a:pt x="44" y="56"/>
                    <a:pt x="43" y="58"/>
                  </a:cubicBezTo>
                  <a:cubicBezTo>
                    <a:pt x="42" y="59"/>
                    <a:pt x="42" y="60"/>
                    <a:pt x="42" y="60"/>
                  </a:cubicBezTo>
                  <a:cubicBezTo>
                    <a:pt x="42" y="61"/>
                    <a:pt x="41" y="61"/>
                    <a:pt x="41" y="61"/>
                  </a:cubicBezTo>
                  <a:cubicBezTo>
                    <a:pt x="41" y="61"/>
                    <a:pt x="41" y="61"/>
                    <a:pt x="40" y="62"/>
                  </a:cubicBezTo>
                  <a:cubicBezTo>
                    <a:pt x="38" y="62"/>
                    <a:pt x="35" y="63"/>
                    <a:pt x="35" y="67"/>
                  </a:cubicBezTo>
                  <a:cubicBezTo>
                    <a:pt x="34" y="68"/>
                    <a:pt x="34" y="69"/>
                    <a:pt x="34" y="70"/>
                  </a:cubicBezTo>
                  <a:cubicBezTo>
                    <a:pt x="34" y="72"/>
                    <a:pt x="34" y="74"/>
                    <a:pt x="34" y="76"/>
                  </a:cubicBezTo>
                  <a:cubicBezTo>
                    <a:pt x="34" y="76"/>
                    <a:pt x="34" y="76"/>
                    <a:pt x="34" y="76"/>
                  </a:cubicBezTo>
                  <a:cubicBezTo>
                    <a:pt x="34" y="77"/>
                    <a:pt x="34" y="78"/>
                    <a:pt x="33" y="79"/>
                  </a:cubicBezTo>
                  <a:cubicBezTo>
                    <a:pt x="33" y="78"/>
                    <a:pt x="32" y="76"/>
                    <a:pt x="32" y="74"/>
                  </a:cubicBezTo>
                  <a:cubicBezTo>
                    <a:pt x="31" y="70"/>
                    <a:pt x="31" y="66"/>
                    <a:pt x="31" y="62"/>
                  </a:cubicBezTo>
                  <a:cubicBezTo>
                    <a:pt x="31" y="60"/>
                    <a:pt x="31" y="59"/>
                    <a:pt x="31" y="57"/>
                  </a:cubicBezTo>
                  <a:cubicBezTo>
                    <a:pt x="31" y="56"/>
                    <a:pt x="32" y="54"/>
                    <a:pt x="32" y="53"/>
                  </a:cubicBezTo>
                  <a:cubicBezTo>
                    <a:pt x="32" y="50"/>
                    <a:pt x="32" y="47"/>
                    <a:pt x="32" y="44"/>
                  </a:cubicBezTo>
                  <a:cubicBezTo>
                    <a:pt x="31" y="42"/>
                    <a:pt x="31" y="39"/>
                    <a:pt x="30" y="37"/>
                  </a:cubicBezTo>
                  <a:cubicBezTo>
                    <a:pt x="29" y="37"/>
                    <a:pt x="29" y="36"/>
                    <a:pt x="30" y="35"/>
                  </a:cubicBezTo>
                  <a:cubicBezTo>
                    <a:pt x="33" y="32"/>
                    <a:pt x="33" y="27"/>
                    <a:pt x="32" y="23"/>
                  </a:cubicBezTo>
                  <a:cubicBezTo>
                    <a:pt x="32" y="19"/>
                    <a:pt x="29" y="17"/>
                    <a:pt x="25" y="17"/>
                  </a:cubicBezTo>
                  <a:cubicBezTo>
                    <a:pt x="26" y="16"/>
                    <a:pt x="27" y="16"/>
                    <a:pt x="27" y="16"/>
                  </a:cubicBezTo>
                  <a:cubicBezTo>
                    <a:pt x="29" y="15"/>
                    <a:pt x="31" y="14"/>
                    <a:pt x="31" y="12"/>
                  </a:cubicBezTo>
                  <a:cubicBezTo>
                    <a:pt x="32" y="11"/>
                    <a:pt x="32" y="9"/>
                    <a:pt x="32" y="8"/>
                  </a:cubicBezTo>
                  <a:cubicBezTo>
                    <a:pt x="32" y="8"/>
                    <a:pt x="31" y="7"/>
                    <a:pt x="31" y="7"/>
                  </a:cubicBezTo>
                  <a:cubicBezTo>
                    <a:pt x="31" y="7"/>
                    <a:pt x="32" y="7"/>
                    <a:pt x="32" y="6"/>
                  </a:cubicBezTo>
                  <a:cubicBezTo>
                    <a:pt x="32" y="6"/>
                    <a:pt x="32" y="3"/>
                    <a:pt x="30" y="1"/>
                  </a:cubicBezTo>
                  <a:cubicBezTo>
                    <a:pt x="28" y="0"/>
                    <a:pt x="27" y="0"/>
                    <a:pt x="26" y="0"/>
                  </a:cubicBezTo>
                  <a:cubicBezTo>
                    <a:pt x="23" y="0"/>
                    <a:pt x="21" y="1"/>
                    <a:pt x="19" y="2"/>
                  </a:cubicBezTo>
                  <a:cubicBezTo>
                    <a:pt x="18" y="3"/>
                    <a:pt x="18" y="4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6" y="5"/>
                  </a:cubicBezTo>
                  <a:cubicBezTo>
                    <a:pt x="15" y="5"/>
                    <a:pt x="14" y="5"/>
                    <a:pt x="13" y="6"/>
                  </a:cubicBezTo>
                  <a:cubicBezTo>
                    <a:pt x="13" y="6"/>
                    <a:pt x="12" y="7"/>
                    <a:pt x="12" y="7"/>
                  </a:cubicBezTo>
                  <a:cubicBezTo>
                    <a:pt x="11" y="8"/>
                    <a:pt x="10" y="9"/>
                    <a:pt x="10" y="10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3"/>
                    <a:pt x="7" y="15"/>
                    <a:pt x="6" y="16"/>
                  </a:cubicBezTo>
                  <a:cubicBezTo>
                    <a:pt x="6" y="16"/>
                    <a:pt x="5" y="17"/>
                    <a:pt x="5" y="18"/>
                  </a:cubicBezTo>
                  <a:cubicBezTo>
                    <a:pt x="3" y="19"/>
                    <a:pt x="2" y="20"/>
                    <a:pt x="1" y="21"/>
                  </a:cubicBezTo>
                  <a:cubicBezTo>
                    <a:pt x="0" y="23"/>
                    <a:pt x="0" y="26"/>
                    <a:pt x="0" y="27"/>
                  </a:cubicBezTo>
                  <a:cubicBezTo>
                    <a:pt x="0" y="28"/>
                    <a:pt x="0" y="30"/>
                    <a:pt x="0" y="30"/>
                  </a:cubicBezTo>
                  <a:cubicBezTo>
                    <a:pt x="0" y="32"/>
                    <a:pt x="0" y="34"/>
                    <a:pt x="0" y="35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0" y="41"/>
                    <a:pt x="1" y="43"/>
                  </a:cubicBezTo>
                  <a:cubicBezTo>
                    <a:pt x="2" y="44"/>
                    <a:pt x="3" y="45"/>
                    <a:pt x="3" y="47"/>
                  </a:cubicBezTo>
                  <a:cubicBezTo>
                    <a:pt x="3" y="48"/>
                    <a:pt x="3" y="49"/>
                    <a:pt x="2" y="50"/>
                  </a:cubicBezTo>
                  <a:cubicBezTo>
                    <a:pt x="1" y="52"/>
                    <a:pt x="1" y="54"/>
                    <a:pt x="1" y="56"/>
                  </a:cubicBezTo>
                  <a:cubicBezTo>
                    <a:pt x="0" y="59"/>
                    <a:pt x="1" y="61"/>
                    <a:pt x="1" y="62"/>
                  </a:cubicBezTo>
                  <a:cubicBezTo>
                    <a:pt x="1" y="63"/>
                    <a:pt x="1" y="64"/>
                    <a:pt x="2" y="64"/>
                  </a:cubicBezTo>
                  <a:cubicBezTo>
                    <a:pt x="2" y="66"/>
                    <a:pt x="2" y="68"/>
                    <a:pt x="2" y="70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2" y="73"/>
                    <a:pt x="3" y="75"/>
                    <a:pt x="3" y="77"/>
                  </a:cubicBezTo>
                  <a:cubicBezTo>
                    <a:pt x="3" y="77"/>
                    <a:pt x="3" y="78"/>
                    <a:pt x="3" y="79"/>
                  </a:cubicBezTo>
                  <a:cubicBezTo>
                    <a:pt x="4" y="82"/>
                    <a:pt x="4" y="85"/>
                    <a:pt x="4" y="88"/>
                  </a:cubicBezTo>
                  <a:cubicBezTo>
                    <a:pt x="4" y="89"/>
                    <a:pt x="4" y="90"/>
                    <a:pt x="4" y="91"/>
                  </a:cubicBezTo>
                  <a:cubicBezTo>
                    <a:pt x="4" y="94"/>
                    <a:pt x="5" y="97"/>
                    <a:pt x="6" y="100"/>
                  </a:cubicBezTo>
                  <a:cubicBezTo>
                    <a:pt x="6" y="101"/>
                    <a:pt x="7" y="101"/>
                    <a:pt x="7" y="102"/>
                  </a:cubicBezTo>
                  <a:cubicBezTo>
                    <a:pt x="6" y="102"/>
                    <a:pt x="6" y="103"/>
                    <a:pt x="5" y="104"/>
                  </a:cubicBezTo>
                  <a:cubicBezTo>
                    <a:pt x="3" y="107"/>
                    <a:pt x="3" y="113"/>
                    <a:pt x="6" y="116"/>
                  </a:cubicBezTo>
                  <a:cubicBezTo>
                    <a:pt x="8" y="118"/>
                    <a:pt x="11" y="118"/>
                    <a:pt x="13" y="118"/>
                  </a:cubicBezTo>
                  <a:cubicBezTo>
                    <a:pt x="14" y="118"/>
                    <a:pt x="15" y="118"/>
                    <a:pt x="15" y="119"/>
                  </a:cubicBezTo>
                  <a:cubicBezTo>
                    <a:pt x="16" y="119"/>
                    <a:pt x="16" y="120"/>
                    <a:pt x="16" y="121"/>
                  </a:cubicBezTo>
                  <a:cubicBezTo>
                    <a:pt x="16" y="121"/>
                    <a:pt x="16" y="121"/>
                    <a:pt x="15" y="121"/>
                  </a:cubicBezTo>
                  <a:cubicBezTo>
                    <a:pt x="15" y="121"/>
                    <a:pt x="14" y="121"/>
                    <a:pt x="14" y="121"/>
                  </a:cubicBezTo>
                  <a:cubicBezTo>
                    <a:pt x="11" y="121"/>
                    <a:pt x="10" y="122"/>
                    <a:pt x="8" y="123"/>
                  </a:cubicBezTo>
                  <a:cubicBezTo>
                    <a:pt x="4" y="127"/>
                    <a:pt x="4" y="132"/>
                    <a:pt x="4" y="135"/>
                  </a:cubicBezTo>
                  <a:cubicBezTo>
                    <a:pt x="4" y="135"/>
                    <a:pt x="4" y="135"/>
                    <a:pt x="4" y="136"/>
                  </a:cubicBezTo>
                  <a:cubicBezTo>
                    <a:pt x="4" y="137"/>
                    <a:pt x="4" y="138"/>
                    <a:pt x="4" y="140"/>
                  </a:cubicBezTo>
                  <a:cubicBezTo>
                    <a:pt x="5" y="143"/>
                    <a:pt x="10" y="147"/>
                    <a:pt x="13" y="147"/>
                  </a:cubicBezTo>
                  <a:cubicBezTo>
                    <a:pt x="13" y="147"/>
                    <a:pt x="14" y="147"/>
                    <a:pt x="14" y="147"/>
                  </a:cubicBezTo>
                  <a:cubicBezTo>
                    <a:pt x="14" y="147"/>
                    <a:pt x="14" y="147"/>
                    <a:pt x="15" y="147"/>
                  </a:cubicBezTo>
                  <a:cubicBezTo>
                    <a:pt x="15" y="147"/>
                    <a:pt x="15" y="148"/>
                    <a:pt x="15" y="148"/>
                  </a:cubicBezTo>
                  <a:cubicBezTo>
                    <a:pt x="15" y="152"/>
                    <a:pt x="13" y="157"/>
                    <a:pt x="11" y="161"/>
                  </a:cubicBezTo>
                  <a:cubicBezTo>
                    <a:pt x="10" y="162"/>
                    <a:pt x="9" y="163"/>
                    <a:pt x="9" y="164"/>
                  </a:cubicBezTo>
                  <a:cubicBezTo>
                    <a:pt x="6" y="170"/>
                    <a:pt x="5" y="179"/>
                    <a:pt x="9" y="185"/>
                  </a:cubicBezTo>
                  <a:cubicBezTo>
                    <a:pt x="10" y="187"/>
                    <a:pt x="13" y="190"/>
                    <a:pt x="19" y="190"/>
                  </a:cubicBezTo>
                  <a:cubicBezTo>
                    <a:pt x="19" y="190"/>
                    <a:pt x="20" y="190"/>
                    <a:pt x="21" y="190"/>
                  </a:cubicBezTo>
                  <a:cubicBezTo>
                    <a:pt x="26" y="190"/>
                    <a:pt x="29" y="186"/>
                    <a:pt x="32" y="182"/>
                  </a:cubicBezTo>
                  <a:cubicBezTo>
                    <a:pt x="32" y="182"/>
                    <a:pt x="33" y="181"/>
                    <a:pt x="33" y="181"/>
                  </a:cubicBezTo>
                  <a:cubicBezTo>
                    <a:pt x="36" y="177"/>
                    <a:pt x="39" y="175"/>
                    <a:pt x="43" y="173"/>
                  </a:cubicBezTo>
                  <a:cubicBezTo>
                    <a:pt x="46" y="172"/>
                    <a:pt x="48" y="171"/>
                    <a:pt x="52" y="169"/>
                  </a:cubicBezTo>
                  <a:cubicBezTo>
                    <a:pt x="54" y="169"/>
                    <a:pt x="57" y="168"/>
                    <a:pt x="59" y="167"/>
                  </a:cubicBezTo>
                  <a:cubicBezTo>
                    <a:pt x="62" y="166"/>
                    <a:pt x="65" y="165"/>
                    <a:pt x="68" y="164"/>
                  </a:cubicBezTo>
                  <a:cubicBezTo>
                    <a:pt x="73" y="163"/>
                    <a:pt x="78" y="161"/>
                    <a:pt x="81" y="156"/>
                  </a:cubicBezTo>
                  <a:cubicBezTo>
                    <a:pt x="82" y="155"/>
                    <a:pt x="82" y="153"/>
                    <a:pt x="83" y="152"/>
                  </a:cubicBezTo>
                  <a:cubicBezTo>
                    <a:pt x="83" y="152"/>
                    <a:pt x="83" y="151"/>
                    <a:pt x="84" y="151"/>
                  </a:cubicBezTo>
                  <a:cubicBezTo>
                    <a:pt x="84" y="150"/>
                    <a:pt x="84" y="150"/>
                    <a:pt x="84" y="150"/>
                  </a:cubicBezTo>
                  <a:cubicBezTo>
                    <a:pt x="85" y="148"/>
                    <a:pt x="85" y="148"/>
                    <a:pt x="86" y="148"/>
                  </a:cubicBezTo>
                  <a:cubicBezTo>
                    <a:pt x="86" y="147"/>
                    <a:pt x="87" y="147"/>
                    <a:pt x="87" y="147"/>
                  </a:cubicBezTo>
                  <a:cubicBezTo>
                    <a:pt x="88" y="147"/>
                    <a:pt x="89" y="147"/>
                    <a:pt x="89" y="146"/>
                  </a:cubicBezTo>
                  <a:cubicBezTo>
                    <a:pt x="91" y="145"/>
                    <a:pt x="92" y="144"/>
                    <a:pt x="92" y="144"/>
                  </a:cubicBezTo>
                  <a:cubicBezTo>
                    <a:pt x="92" y="143"/>
                    <a:pt x="93" y="143"/>
                    <a:pt x="93" y="143"/>
                  </a:cubicBezTo>
                  <a:cubicBezTo>
                    <a:pt x="93" y="143"/>
                    <a:pt x="93" y="144"/>
                    <a:pt x="93" y="144"/>
                  </a:cubicBezTo>
                  <a:cubicBezTo>
                    <a:pt x="93" y="145"/>
                    <a:pt x="93" y="145"/>
                    <a:pt x="93" y="145"/>
                  </a:cubicBezTo>
                  <a:cubicBezTo>
                    <a:pt x="93" y="146"/>
                    <a:pt x="93" y="149"/>
                    <a:pt x="96" y="150"/>
                  </a:cubicBezTo>
                  <a:cubicBezTo>
                    <a:pt x="96" y="151"/>
                    <a:pt x="97" y="151"/>
                    <a:pt x="98" y="151"/>
                  </a:cubicBezTo>
                  <a:cubicBezTo>
                    <a:pt x="99" y="151"/>
                    <a:pt x="99" y="151"/>
                    <a:pt x="100" y="151"/>
                  </a:cubicBezTo>
                  <a:cubicBezTo>
                    <a:pt x="100" y="151"/>
                    <a:pt x="100" y="151"/>
                    <a:pt x="100" y="151"/>
                  </a:cubicBezTo>
                  <a:cubicBezTo>
                    <a:pt x="104" y="151"/>
                    <a:pt x="108" y="149"/>
                    <a:pt x="110" y="146"/>
                  </a:cubicBezTo>
                  <a:cubicBezTo>
                    <a:pt x="110" y="145"/>
                    <a:pt x="110" y="145"/>
                    <a:pt x="110" y="145"/>
                  </a:cubicBezTo>
                  <a:cubicBezTo>
                    <a:pt x="111" y="146"/>
                    <a:pt x="111" y="146"/>
                    <a:pt x="111" y="146"/>
                  </a:cubicBezTo>
                  <a:cubicBezTo>
                    <a:pt x="112" y="147"/>
                    <a:pt x="113" y="147"/>
                    <a:pt x="113" y="147"/>
                  </a:cubicBezTo>
                  <a:cubicBezTo>
                    <a:pt x="113" y="148"/>
                    <a:pt x="113" y="149"/>
                    <a:pt x="111" y="151"/>
                  </a:cubicBezTo>
                  <a:cubicBezTo>
                    <a:pt x="110" y="153"/>
                    <a:pt x="109" y="155"/>
                    <a:pt x="107" y="157"/>
                  </a:cubicBezTo>
                  <a:cubicBezTo>
                    <a:pt x="107" y="158"/>
                    <a:pt x="106" y="158"/>
                    <a:pt x="105" y="159"/>
                  </a:cubicBezTo>
                  <a:cubicBezTo>
                    <a:pt x="104" y="162"/>
                    <a:pt x="104" y="163"/>
                    <a:pt x="104" y="165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5" y="166"/>
                    <a:pt x="105" y="166"/>
                    <a:pt x="105" y="167"/>
                  </a:cubicBezTo>
                  <a:cubicBezTo>
                    <a:pt x="105" y="167"/>
                    <a:pt x="105" y="168"/>
                    <a:pt x="105" y="169"/>
                  </a:cubicBezTo>
                  <a:cubicBezTo>
                    <a:pt x="105" y="171"/>
                    <a:pt x="107" y="172"/>
                    <a:pt x="110" y="172"/>
                  </a:cubicBezTo>
                  <a:cubicBezTo>
                    <a:pt x="112" y="172"/>
                    <a:pt x="114" y="172"/>
                    <a:pt x="115" y="171"/>
                  </a:cubicBezTo>
                  <a:cubicBezTo>
                    <a:pt x="116" y="170"/>
                    <a:pt x="117" y="169"/>
                    <a:pt x="118" y="168"/>
                  </a:cubicBezTo>
                  <a:cubicBezTo>
                    <a:pt x="118" y="167"/>
                    <a:pt x="119" y="167"/>
                    <a:pt x="119" y="166"/>
                  </a:cubicBezTo>
                  <a:cubicBezTo>
                    <a:pt x="120" y="166"/>
                    <a:pt x="121" y="166"/>
                    <a:pt x="121" y="166"/>
                  </a:cubicBezTo>
                  <a:cubicBezTo>
                    <a:pt x="123" y="166"/>
                    <a:pt x="125" y="165"/>
                    <a:pt x="126" y="164"/>
                  </a:cubicBezTo>
                  <a:cubicBezTo>
                    <a:pt x="127" y="162"/>
                    <a:pt x="128" y="161"/>
                    <a:pt x="128" y="160"/>
                  </a:cubicBezTo>
                  <a:cubicBezTo>
                    <a:pt x="128" y="159"/>
                    <a:pt x="128" y="159"/>
                    <a:pt x="128" y="159"/>
                  </a:cubicBezTo>
                  <a:cubicBezTo>
                    <a:pt x="128" y="158"/>
                    <a:pt x="129" y="157"/>
                    <a:pt x="129" y="156"/>
                  </a:cubicBezTo>
                  <a:cubicBezTo>
                    <a:pt x="129" y="155"/>
                    <a:pt x="129" y="155"/>
                    <a:pt x="129" y="155"/>
                  </a:cubicBezTo>
                  <a:cubicBezTo>
                    <a:pt x="129" y="154"/>
                    <a:pt x="129" y="153"/>
                    <a:pt x="130" y="152"/>
                  </a:cubicBezTo>
                  <a:cubicBezTo>
                    <a:pt x="130" y="150"/>
                    <a:pt x="129" y="149"/>
                    <a:pt x="129" y="147"/>
                  </a:cubicBezTo>
                  <a:cubicBezTo>
                    <a:pt x="129" y="147"/>
                    <a:pt x="128" y="147"/>
                    <a:pt x="128" y="146"/>
                  </a:cubicBezTo>
                  <a:cubicBezTo>
                    <a:pt x="127" y="142"/>
                    <a:pt x="127" y="138"/>
                    <a:pt x="129" y="135"/>
                  </a:cubicBezTo>
                  <a:cubicBezTo>
                    <a:pt x="130" y="134"/>
                    <a:pt x="131" y="133"/>
                    <a:pt x="131" y="132"/>
                  </a:cubicBezTo>
                  <a:cubicBezTo>
                    <a:pt x="133" y="130"/>
                    <a:pt x="135" y="127"/>
                    <a:pt x="135" y="122"/>
                  </a:cubicBezTo>
                  <a:cubicBezTo>
                    <a:pt x="135" y="121"/>
                    <a:pt x="135" y="120"/>
                    <a:pt x="135" y="118"/>
                  </a:cubicBezTo>
                  <a:cubicBezTo>
                    <a:pt x="134" y="117"/>
                    <a:pt x="134" y="116"/>
                    <a:pt x="134" y="115"/>
                  </a:cubicBezTo>
                  <a:cubicBezTo>
                    <a:pt x="134" y="115"/>
                    <a:pt x="134" y="115"/>
                    <a:pt x="134" y="115"/>
                  </a:cubicBezTo>
                  <a:cubicBezTo>
                    <a:pt x="142" y="116"/>
                    <a:pt x="145" y="130"/>
                    <a:pt x="145" y="137"/>
                  </a:cubicBezTo>
                  <a:cubicBezTo>
                    <a:pt x="145" y="141"/>
                    <a:pt x="147" y="148"/>
                    <a:pt x="152" y="148"/>
                  </a:cubicBezTo>
                  <a:cubicBezTo>
                    <a:pt x="154" y="148"/>
                    <a:pt x="156" y="146"/>
                    <a:pt x="158" y="143"/>
                  </a:cubicBezTo>
                  <a:cubicBezTo>
                    <a:pt x="159" y="141"/>
                    <a:pt x="159" y="140"/>
                    <a:pt x="160" y="138"/>
                  </a:cubicBezTo>
                  <a:cubicBezTo>
                    <a:pt x="160" y="138"/>
                    <a:pt x="160" y="138"/>
                    <a:pt x="160" y="138"/>
                  </a:cubicBezTo>
                  <a:cubicBezTo>
                    <a:pt x="160" y="139"/>
                    <a:pt x="161" y="140"/>
                    <a:pt x="161" y="140"/>
                  </a:cubicBezTo>
                  <a:cubicBezTo>
                    <a:pt x="162" y="140"/>
                    <a:pt x="162" y="141"/>
                    <a:pt x="162" y="141"/>
                  </a:cubicBezTo>
                  <a:cubicBezTo>
                    <a:pt x="162" y="142"/>
                    <a:pt x="162" y="142"/>
                    <a:pt x="162" y="143"/>
                  </a:cubicBezTo>
                  <a:cubicBezTo>
                    <a:pt x="163" y="145"/>
                    <a:pt x="166" y="147"/>
                    <a:pt x="168" y="147"/>
                  </a:cubicBezTo>
                  <a:cubicBezTo>
                    <a:pt x="170" y="147"/>
                    <a:pt x="172" y="147"/>
                    <a:pt x="172" y="145"/>
                  </a:cubicBezTo>
                  <a:cubicBezTo>
                    <a:pt x="173" y="144"/>
                    <a:pt x="173" y="143"/>
                    <a:pt x="173" y="142"/>
                  </a:cubicBezTo>
                  <a:cubicBezTo>
                    <a:pt x="174" y="141"/>
                    <a:pt x="174" y="141"/>
                    <a:pt x="174" y="140"/>
                  </a:cubicBezTo>
                  <a:cubicBezTo>
                    <a:pt x="175" y="140"/>
                    <a:pt x="176" y="140"/>
                    <a:pt x="176" y="140"/>
                  </a:cubicBezTo>
                  <a:cubicBezTo>
                    <a:pt x="178" y="139"/>
                    <a:pt x="180" y="138"/>
                    <a:pt x="181" y="137"/>
                  </a:cubicBezTo>
                  <a:cubicBezTo>
                    <a:pt x="184" y="133"/>
                    <a:pt x="182" y="130"/>
                    <a:pt x="181" y="128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94" name="Freeform 193"/>
            <p:cNvSpPr>
              <a:spLocks noEditPoints="1"/>
            </p:cNvSpPr>
            <p:nvPr/>
          </p:nvSpPr>
          <p:spPr bwMode="auto">
            <a:xfrm>
              <a:off x="16472692" y="6625709"/>
              <a:ext cx="1727573" cy="2221218"/>
            </a:xfrm>
            <a:custGeom>
              <a:avLst/>
              <a:gdLst>
                <a:gd name="T0" fmla="*/ 309 w 317"/>
                <a:gd name="T1" fmla="*/ 141 h 448"/>
                <a:gd name="T2" fmla="*/ 303 w 317"/>
                <a:gd name="T3" fmla="*/ 138 h 448"/>
                <a:gd name="T4" fmla="*/ 291 w 317"/>
                <a:gd name="T5" fmla="*/ 135 h 448"/>
                <a:gd name="T6" fmla="*/ 282 w 317"/>
                <a:gd name="T7" fmla="*/ 129 h 448"/>
                <a:gd name="T8" fmla="*/ 261 w 317"/>
                <a:gd name="T9" fmla="*/ 129 h 448"/>
                <a:gd name="T10" fmla="*/ 240 w 317"/>
                <a:gd name="T11" fmla="*/ 136 h 448"/>
                <a:gd name="T12" fmla="*/ 241 w 317"/>
                <a:gd name="T13" fmla="*/ 131 h 448"/>
                <a:gd name="T14" fmla="*/ 240 w 317"/>
                <a:gd name="T15" fmla="*/ 107 h 448"/>
                <a:gd name="T16" fmla="*/ 239 w 317"/>
                <a:gd name="T17" fmla="*/ 104 h 448"/>
                <a:gd name="T18" fmla="*/ 237 w 317"/>
                <a:gd name="T19" fmla="*/ 93 h 448"/>
                <a:gd name="T20" fmla="*/ 234 w 317"/>
                <a:gd name="T21" fmla="*/ 84 h 448"/>
                <a:gd name="T22" fmla="*/ 234 w 317"/>
                <a:gd name="T23" fmla="*/ 76 h 448"/>
                <a:gd name="T24" fmla="*/ 225 w 317"/>
                <a:gd name="T25" fmla="*/ 66 h 448"/>
                <a:gd name="T26" fmla="*/ 216 w 317"/>
                <a:gd name="T27" fmla="*/ 67 h 448"/>
                <a:gd name="T28" fmla="*/ 203 w 317"/>
                <a:gd name="T29" fmla="*/ 63 h 448"/>
                <a:gd name="T30" fmla="*/ 201 w 317"/>
                <a:gd name="T31" fmla="*/ 52 h 448"/>
                <a:gd name="T32" fmla="*/ 204 w 317"/>
                <a:gd name="T33" fmla="*/ 28 h 448"/>
                <a:gd name="T34" fmla="*/ 64 w 317"/>
                <a:gd name="T35" fmla="*/ 0 h 448"/>
                <a:gd name="T36" fmla="*/ 51 w 317"/>
                <a:gd name="T37" fmla="*/ 86 h 448"/>
                <a:gd name="T38" fmla="*/ 50 w 317"/>
                <a:gd name="T39" fmla="*/ 89 h 448"/>
                <a:gd name="T40" fmla="*/ 0 w 317"/>
                <a:gd name="T41" fmla="*/ 426 h 448"/>
                <a:gd name="T42" fmla="*/ 101 w 317"/>
                <a:gd name="T43" fmla="*/ 442 h 448"/>
                <a:gd name="T44" fmla="*/ 136 w 317"/>
                <a:gd name="T45" fmla="*/ 447 h 448"/>
                <a:gd name="T46" fmla="*/ 156 w 317"/>
                <a:gd name="T47" fmla="*/ 447 h 448"/>
                <a:gd name="T48" fmla="*/ 315 w 317"/>
                <a:gd name="T49" fmla="*/ 147 h 448"/>
                <a:gd name="T50" fmla="*/ 132 w 317"/>
                <a:gd name="T51" fmla="*/ 369 h 448"/>
                <a:gd name="T52" fmla="*/ 121 w 317"/>
                <a:gd name="T53" fmla="*/ 382 h 448"/>
                <a:gd name="T54" fmla="*/ 123 w 317"/>
                <a:gd name="T55" fmla="*/ 364 h 448"/>
                <a:gd name="T56" fmla="*/ 124 w 317"/>
                <a:gd name="T57" fmla="*/ 355 h 448"/>
                <a:gd name="T58" fmla="*/ 126 w 317"/>
                <a:gd name="T59" fmla="*/ 349 h 448"/>
                <a:gd name="T60" fmla="*/ 131 w 317"/>
                <a:gd name="T61" fmla="*/ 351 h 448"/>
                <a:gd name="T62" fmla="*/ 133 w 317"/>
                <a:gd name="T63" fmla="*/ 360 h 448"/>
                <a:gd name="T64" fmla="*/ 62 w 317"/>
                <a:gd name="T65" fmla="*/ 245 h 448"/>
                <a:gd name="T66" fmla="*/ 58 w 317"/>
                <a:gd name="T67" fmla="*/ 247 h 448"/>
                <a:gd name="T68" fmla="*/ 58 w 317"/>
                <a:gd name="T69" fmla="*/ 238 h 448"/>
                <a:gd name="T70" fmla="*/ 64 w 317"/>
                <a:gd name="T71" fmla="*/ 244 h 448"/>
                <a:gd name="T72" fmla="*/ 58 w 317"/>
                <a:gd name="T73" fmla="*/ 257 h 448"/>
                <a:gd name="T74" fmla="*/ 60 w 317"/>
                <a:gd name="T75" fmla="*/ 267 h 448"/>
                <a:gd name="T76" fmla="*/ 64 w 317"/>
                <a:gd name="T77" fmla="*/ 270 h 448"/>
                <a:gd name="T78" fmla="*/ 50 w 317"/>
                <a:gd name="T79" fmla="*/ 261 h 448"/>
                <a:gd name="T80" fmla="*/ 49 w 317"/>
                <a:gd name="T81" fmla="*/ 255 h 448"/>
                <a:gd name="T82" fmla="*/ 98 w 317"/>
                <a:gd name="T83" fmla="*/ 306 h 448"/>
                <a:gd name="T84" fmla="*/ 86 w 317"/>
                <a:gd name="T85" fmla="*/ 284 h 448"/>
                <a:gd name="T86" fmla="*/ 90 w 317"/>
                <a:gd name="T87" fmla="*/ 284 h 448"/>
                <a:gd name="T88" fmla="*/ 96 w 317"/>
                <a:gd name="T89" fmla="*/ 274 h 448"/>
                <a:gd name="T90" fmla="*/ 85 w 317"/>
                <a:gd name="T91" fmla="*/ 273 h 448"/>
                <a:gd name="T92" fmla="*/ 82 w 317"/>
                <a:gd name="T93" fmla="*/ 267 h 448"/>
                <a:gd name="T94" fmla="*/ 93 w 317"/>
                <a:gd name="T95" fmla="*/ 249 h 448"/>
                <a:gd name="T96" fmla="*/ 119 w 317"/>
                <a:gd name="T97" fmla="*/ 305 h 448"/>
                <a:gd name="T98" fmla="*/ 124 w 317"/>
                <a:gd name="T99" fmla="*/ 325 h 448"/>
                <a:gd name="T100" fmla="*/ 121 w 317"/>
                <a:gd name="T101" fmla="*/ 333 h 448"/>
                <a:gd name="T102" fmla="*/ 108 w 317"/>
                <a:gd name="T103" fmla="*/ 314 h 448"/>
                <a:gd name="T104" fmla="*/ 98 w 317"/>
                <a:gd name="T105" fmla="*/ 306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17" h="448">
                  <a:moveTo>
                    <a:pt x="313" y="142"/>
                  </a:moveTo>
                  <a:cubicBezTo>
                    <a:pt x="313" y="141"/>
                    <a:pt x="313" y="141"/>
                    <a:pt x="312" y="141"/>
                  </a:cubicBezTo>
                  <a:cubicBezTo>
                    <a:pt x="311" y="141"/>
                    <a:pt x="310" y="141"/>
                    <a:pt x="309" y="141"/>
                  </a:cubicBezTo>
                  <a:cubicBezTo>
                    <a:pt x="309" y="141"/>
                    <a:pt x="308" y="141"/>
                    <a:pt x="308" y="140"/>
                  </a:cubicBezTo>
                  <a:cubicBezTo>
                    <a:pt x="306" y="140"/>
                    <a:pt x="305" y="139"/>
                    <a:pt x="304" y="139"/>
                  </a:cubicBezTo>
                  <a:cubicBezTo>
                    <a:pt x="303" y="138"/>
                    <a:pt x="303" y="138"/>
                    <a:pt x="303" y="138"/>
                  </a:cubicBezTo>
                  <a:cubicBezTo>
                    <a:pt x="301" y="137"/>
                    <a:pt x="299" y="136"/>
                    <a:pt x="297" y="136"/>
                  </a:cubicBezTo>
                  <a:cubicBezTo>
                    <a:pt x="296" y="136"/>
                    <a:pt x="295" y="136"/>
                    <a:pt x="294" y="136"/>
                  </a:cubicBezTo>
                  <a:cubicBezTo>
                    <a:pt x="292" y="136"/>
                    <a:pt x="292" y="136"/>
                    <a:pt x="291" y="135"/>
                  </a:cubicBezTo>
                  <a:cubicBezTo>
                    <a:pt x="291" y="135"/>
                    <a:pt x="290" y="134"/>
                    <a:pt x="290" y="134"/>
                  </a:cubicBezTo>
                  <a:cubicBezTo>
                    <a:pt x="289" y="133"/>
                    <a:pt x="288" y="132"/>
                    <a:pt x="286" y="131"/>
                  </a:cubicBezTo>
                  <a:cubicBezTo>
                    <a:pt x="285" y="130"/>
                    <a:pt x="284" y="130"/>
                    <a:pt x="282" y="129"/>
                  </a:cubicBezTo>
                  <a:cubicBezTo>
                    <a:pt x="281" y="129"/>
                    <a:pt x="280" y="128"/>
                    <a:pt x="279" y="128"/>
                  </a:cubicBezTo>
                  <a:cubicBezTo>
                    <a:pt x="277" y="127"/>
                    <a:pt x="274" y="127"/>
                    <a:pt x="272" y="127"/>
                  </a:cubicBezTo>
                  <a:cubicBezTo>
                    <a:pt x="268" y="127"/>
                    <a:pt x="265" y="127"/>
                    <a:pt x="261" y="129"/>
                  </a:cubicBezTo>
                  <a:cubicBezTo>
                    <a:pt x="260" y="129"/>
                    <a:pt x="258" y="130"/>
                    <a:pt x="256" y="131"/>
                  </a:cubicBezTo>
                  <a:cubicBezTo>
                    <a:pt x="251" y="134"/>
                    <a:pt x="245" y="137"/>
                    <a:pt x="242" y="137"/>
                  </a:cubicBezTo>
                  <a:cubicBezTo>
                    <a:pt x="241" y="137"/>
                    <a:pt x="240" y="137"/>
                    <a:pt x="240" y="136"/>
                  </a:cubicBezTo>
                  <a:cubicBezTo>
                    <a:pt x="239" y="136"/>
                    <a:pt x="239" y="136"/>
                    <a:pt x="239" y="136"/>
                  </a:cubicBezTo>
                  <a:cubicBezTo>
                    <a:pt x="239" y="136"/>
                    <a:pt x="240" y="134"/>
                    <a:pt x="240" y="133"/>
                  </a:cubicBezTo>
                  <a:cubicBezTo>
                    <a:pt x="241" y="132"/>
                    <a:pt x="241" y="132"/>
                    <a:pt x="241" y="131"/>
                  </a:cubicBezTo>
                  <a:cubicBezTo>
                    <a:pt x="244" y="126"/>
                    <a:pt x="244" y="122"/>
                    <a:pt x="243" y="117"/>
                  </a:cubicBezTo>
                  <a:cubicBezTo>
                    <a:pt x="243" y="114"/>
                    <a:pt x="242" y="111"/>
                    <a:pt x="240" y="108"/>
                  </a:cubicBezTo>
                  <a:cubicBezTo>
                    <a:pt x="240" y="108"/>
                    <a:pt x="240" y="108"/>
                    <a:pt x="240" y="107"/>
                  </a:cubicBezTo>
                  <a:cubicBezTo>
                    <a:pt x="239" y="107"/>
                    <a:pt x="239" y="107"/>
                    <a:pt x="239" y="107"/>
                  </a:cubicBezTo>
                  <a:cubicBezTo>
                    <a:pt x="239" y="107"/>
                    <a:pt x="239" y="106"/>
                    <a:pt x="239" y="105"/>
                  </a:cubicBezTo>
                  <a:cubicBezTo>
                    <a:pt x="239" y="105"/>
                    <a:pt x="239" y="104"/>
                    <a:pt x="239" y="104"/>
                  </a:cubicBezTo>
                  <a:cubicBezTo>
                    <a:pt x="239" y="103"/>
                    <a:pt x="239" y="102"/>
                    <a:pt x="239" y="102"/>
                  </a:cubicBezTo>
                  <a:cubicBezTo>
                    <a:pt x="238" y="100"/>
                    <a:pt x="238" y="99"/>
                    <a:pt x="238" y="97"/>
                  </a:cubicBezTo>
                  <a:cubicBezTo>
                    <a:pt x="237" y="96"/>
                    <a:pt x="237" y="95"/>
                    <a:pt x="237" y="93"/>
                  </a:cubicBezTo>
                  <a:cubicBezTo>
                    <a:pt x="237" y="92"/>
                    <a:pt x="236" y="91"/>
                    <a:pt x="236" y="90"/>
                  </a:cubicBezTo>
                  <a:cubicBezTo>
                    <a:pt x="236" y="89"/>
                    <a:pt x="236" y="88"/>
                    <a:pt x="235" y="87"/>
                  </a:cubicBezTo>
                  <a:cubicBezTo>
                    <a:pt x="235" y="86"/>
                    <a:pt x="234" y="85"/>
                    <a:pt x="234" y="84"/>
                  </a:cubicBezTo>
                  <a:cubicBezTo>
                    <a:pt x="234" y="83"/>
                    <a:pt x="234" y="81"/>
                    <a:pt x="234" y="80"/>
                  </a:cubicBezTo>
                  <a:cubicBezTo>
                    <a:pt x="234" y="79"/>
                    <a:pt x="234" y="78"/>
                    <a:pt x="234" y="77"/>
                  </a:cubicBezTo>
                  <a:cubicBezTo>
                    <a:pt x="234" y="76"/>
                    <a:pt x="234" y="76"/>
                    <a:pt x="234" y="76"/>
                  </a:cubicBezTo>
                  <a:cubicBezTo>
                    <a:pt x="234" y="74"/>
                    <a:pt x="234" y="72"/>
                    <a:pt x="233" y="70"/>
                  </a:cubicBezTo>
                  <a:cubicBezTo>
                    <a:pt x="231" y="68"/>
                    <a:pt x="229" y="66"/>
                    <a:pt x="226" y="66"/>
                  </a:cubicBezTo>
                  <a:cubicBezTo>
                    <a:pt x="225" y="66"/>
                    <a:pt x="225" y="66"/>
                    <a:pt x="225" y="66"/>
                  </a:cubicBezTo>
                  <a:cubicBezTo>
                    <a:pt x="224" y="66"/>
                    <a:pt x="223" y="66"/>
                    <a:pt x="222" y="66"/>
                  </a:cubicBezTo>
                  <a:cubicBezTo>
                    <a:pt x="222" y="66"/>
                    <a:pt x="221" y="66"/>
                    <a:pt x="220" y="66"/>
                  </a:cubicBezTo>
                  <a:cubicBezTo>
                    <a:pt x="219" y="66"/>
                    <a:pt x="217" y="66"/>
                    <a:pt x="216" y="67"/>
                  </a:cubicBezTo>
                  <a:cubicBezTo>
                    <a:pt x="214" y="67"/>
                    <a:pt x="212" y="67"/>
                    <a:pt x="211" y="67"/>
                  </a:cubicBezTo>
                  <a:cubicBezTo>
                    <a:pt x="210" y="67"/>
                    <a:pt x="209" y="67"/>
                    <a:pt x="208" y="67"/>
                  </a:cubicBezTo>
                  <a:cubicBezTo>
                    <a:pt x="206" y="66"/>
                    <a:pt x="204" y="65"/>
                    <a:pt x="203" y="63"/>
                  </a:cubicBezTo>
                  <a:cubicBezTo>
                    <a:pt x="202" y="63"/>
                    <a:pt x="202" y="62"/>
                    <a:pt x="202" y="61"/>
                  </a:cubicBezTo>
                  <a:cubicBezTo>
                    <a:pt x="202" y="60"/>
                    <a:pt x="202" y="60"/>
                    <a:pt x="202" y="59"/>
                  </a:cubicBezTo>
                  <a:cubicBezTo>
                    <a:pt x="201" y="57"/>
                    <a:pt x="201" y="54"/>
                    <a:pt x="201" y="52"/>
                  </a:cubicBezTo>
                  <a:cubicBezTo>
                    <a:pt x="202" y="51"/>
                    <a:pt x="202" y="50"/>
                    <a:pt x="202" y="49"/>
                  </a:cubicBezTo>
                  <a:cubicBezTo>
                    <a:pt x="203" y="47"/>
                    <a:pt x="203" y="45"/>
                    <a:pt x="203" y="43"/>
                  </a:cubicBezTo>
                  <a:cubicBezTo>
                    <a:pt x="204" y="38"/>
                    <a:pt x="204" y="33"/>
                    <a:pt x="204" y="28"/>
                  </a:cubicBezTo>
                  <a:cubicBezTo>
                    <a:pt x="204" y="26"/>
                    <a:pt x="204" y="23"/>
                    <a:pt x="204" y="21"/>
                  </a:cubicBezTo>
                  <a:cubicBezTo>
                    <a:pt x="204" y="19"/>
                    <a:pt x="204" y="19"/>
                    <a:pt x="204" y="19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0" y="28"/>
                    <a:pt x="56" y="55"/>
                    <a:pt x="51" y="82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7"/>
                    <a:pt x="52" y="87"/>
                    <a:pt x="51" y="88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31" y="213"/>
                    <a:pt x="10" y="357"/>
                    <a:pt x="1" y="423"/>
                  </a:cubicBezTo>
                  <a:cubicBezTo>
                    <a:pt x="0" y="426"/>
                    <a:pt x="0" y="426"/>
                    <a:pt x="0" y="426"/>
                  </a:cubicBezTo>
                  <a:cubicBezTo>
                    <a:pt x="3" y="426"/>
                    <a:pt x="3" y="426"/>
                    <a:pt x="3" y="426"/>
                  </a:cubicBezTo>
                  <a:cubicBezTo>
                    <a:pt x="36" y="432"/>
                    <a:pt x="68" y="437"/>
                    <a:pt x="100" y="442"/>
                  </a:cubicBezTo>
                  <a:cubicBezTo>
                    <a:pt x="101" y="442"/>
                    <a:pt x="101" y="442"/>
                    <a:pt x="101" y="442"/>
                  </a:cubicBezTo>
                  <a:cubicBezTo>
                    <a:pt x="104" y="442"/>
                    <a:pt x="107" y="443"/>
                    <a:pt x="111" y="443"/>
                  </a:cubicBezTo>
                  <a:cubicBezTo>
                    <a:pt x="118" y="445"/>
                    <a:pt x="125" y="446"/>
                    <a:pt x="133" y="447"/>
                  </a:cubicBezTo>
                  <a:cubicBezTo>
                    <a:pt x="134" y="447"/>
                    <a:pt x="135" y="447"/>
                    <a:pt x="136" y="447"/>
                  </a:cubicBezTo>
                  <a:cubicBezTo>
                    <a:pt x="139" y="447"/>
                    <a:pt x="144" y="448"/>
                    <a:pt x="148" y="448"/>
                  </a:cubicBezTo>
                  <a:cubicBezTo>
                    <a:pt x="148" y="448"/>
                    <a:pt x="148" y="448"/>
                    <a:pt x="148" y="448"/>
                  </a:cubicBezTo>
                  <a:cubicBezTo>
                    <a:pt x="151" y="448"/>
                    <a:pt x="154" y="447"/>
                    <a:pt x="156" y="447"/>
                  </a:cubicBezTo>
                  <a:cubicBezTo>
                    <a:pt x="158" y="446"/>
                    <a:pt x="158" y="446"/>
                    <a:pt x="158" y="446"/>
                  </a:cubicBezTo>
                  <a:cubicBezTo>
                    <a:pt x="170" y="296"/>
                    <a:pt x="170" y="296"/>
                    <a:pt x="170" y="296"/>
                  </a:cubicBezTo>
                  <a:cubicBezTo>
                    <a:pt x="192" y="282"/>
                    <a:pt x="286" y="178"/>
                    <a:pt x="315" y="147"/>
                  </a:cubicBezTo>
                  <a:cubicBezTo>
                    <a:pt x="317" y="143"/>
                    <a:pt x="317" y="143"/>
                    <a:pt x="317" y="143"/>
                  </a:cubicBezTo>
                  <a:lnTo>
                    <a:pt x="313" y="142"/>
                  </a:lnTo>
                  <a:close/>
                  <a:moveTo>
                    <a:pt x="132" y="369"/>
                  </a:moveTo>
                  <a:cubicBezTo>
                    <a:pt x="132" y="371"/>
                    <a:pt x="132" y="373"/>
                    <a:pt x="131" y="375"/>
                  </a:cubicBezTo>
                  <a:cubicBezTo>
                    <a:pt x="129" y="379"/>
                    <a:pt x="125" y="383"/>
                    <a:pt x="123" y="383"/>
                  </a:cubicBezTo>
                  <a:cubicBezTo>
                    <a:pt x="123" y="383"/>
                    <a:pt x="122" y="383"/>
                    <a:pt x="121" y="382"/>
                  </a:cubicBezTo>
                  <a:cubicBezTo>
                    <a:pt x="120" y="380"/>
                    <a:pt x="121" y="378"/>
                    <a:pt x="122" y="375"/>
                  </a:cubicBezTo>
                  <a:cubicBezTo>
                    <a:pt x="123" y="372"/>
                    <a:pt x="123" y="370"/>
                    <a:pt x="123" y="368"/>
                  </a:cubicBezTo>
                  <a:cubicBezTo>
                    <a:pt x="123" y="366"/>
                    <a:pt x="123" y="365"/>
                    <a:pt x="123" y="364"/>
                  </a:cubicBezTo>
                  <a:cubicBezTo>
                    <a:pt x="123" y="364"/>
                    <a:pt x="124" y="364"/>
                    <a:pt x="124" y="363"/>
                  </a:cubicBezTo>
                  <a:cubicBezTo>
                    <a:pt x="124" y="362"/>
                    <a:pt x="125" y="361"/>
                    <a:pt x="125" y="359"/>
                  </a:cubicBezTo>
                  <a:cubicBezTo>
                    <a:pt x="125" y="358"/>
                    <a:pt x="125" y="356"/>
                    <a:pt x="124" y="355"/>
                  </a:cubicBezTo>
                  <a:cubicBezTo>
                    <a:pt x="124" y="355"/>
                    <a:pt x="124" y="354"/>
                    <a:pt x="123" y="353"/>
                  </a:cubicBezTo>
                  <a:cubicBezTo>
                    <a:pt x="123" y="353"/>
                    <a:pt x="124" y="352"/>
                    <a:pt x="125" y="350"/>
                  </a:cubicBezTo>
                  <a:cubicBezTo>
                    <a:pt x="126" y="349"/>
                    <a:pt x="126" y="349"/>
                    <a:pt x="126" y="349"/>
                  </a:cubicBezTo>
                  <a:cubicBezTo>
                    <a:pt x="127" y="347"/>
                    <a:pt x="128" y="346"/>
                    <a:pt x="129" y="345"/>
                  </a:cubicBezTo>
                  <a:cubicBezTo>
                    <a:pt x="130" y="346"/>
                    <a:pt x="130" y="347"/>
                    <a:pt x="130" y="347"/>
                  </a:cubicBezTo>
                  <a:cubicBezTo>
                    <a:pt x="130" y="348"/>
                    <a:pt x="131" y="350"/>
                    <a:pt x="131" y="351"/>
                  </a:cubicBezTo>
                  <a:cubicBezTo>
                    <a:pt x="132" y="351"/>
                    <a:pt x="132" y="352"/>
                    <a:pt x="132" y="353"/>
                  </a:cubicBezTo>
                  <a:cubicBezTo>
                    <a:pt x="134" y="355"/>
                    <a:pt x="134" y="356"/>
                    <a:pt x="134" y="357"/>
                  </a:cubicBezTo>
                  <a:cubicBezTo>
                    <a:pt x="134" y="358"/>
                    <a:pt x="133" y="359"/>
                    <a:pt x="133" y="360"/>
                  </a:cubicBezTo>
                  <a:cubicBezTo>
                    <a:pt x="133" y="362"/>
                    <a:pt x="132" y="364"/>
                    <a:pt x="132" y="367"/>
                  </a:cubicBezTo>
                  <a:cubicBezTo>
                    <a:pt x="132" y="367"/>
                    <a:pt x="132" y="368"/>
                    <a:pt x="132" y="369"/>
                  </a:cubicBezTo>
                  <a:close/>
                  <a:moveTo>
                    <a:pt x="62" y="245"/>
                  </a:moveTo>
                  <a:cubicBezTo>
                    <a:pt x="61" y="246"/>
                    <a:pt x="59" y="246"/>
                    <a:pt x="58" y="248"/>
                  </a:cubicBezTo>
                  <a:cubicBezTo>
                    <a:pt x="57" y="248"/>
                    <a:pt x="57" y="249"/>
                    <a:pt x="57" y="249"/>
                  </a:cubicBezTo>
                  <a:cubicBezTo>
                    <a:pt x="57" y="248"/>
                    <a:pt x="58" y="248"/>
                    <a:pt x="58" y="247"/>
                  </a:cubicBezTo>
                  <a:cubicBezTo>
                    <a:pt x="59" y="245"/>
                    <a:pt x="58" y="242"/>
                    <a:pt x="58" y="241"/>
                  </a:cubicBezTo>
                  <a:cubicBezTo>
                    <a:pt x="57" y="240"/>
                    <a:pt x="57" y="239"/>
                    <a:pt x="57" y="239"/>
                  </a:cubicBezTo>
                  <a:cubicBezTo>
                    <a:pt x="58" y="239"/>
                    <a:pt x="58" y="238"/>
                    <a:pt x="58" y="238"/>
                  </a:cubicBezTo>
                  <a:cubicBezTo>
                    <a:pt x="58" y="239"/>
                    <a:pt x="58" y="241"/>
                    <a:pt x="59" y="242"/>
                  </a:cubicBezTo>
                  <a:cubicBezTo>
                    <a:pt x="60" y="244"/>
                    <a:pt x="62" y="244"/>
                    <a:pt x="64" y="244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44"/>
                    <a:pt x="63" y="245"/>
                    <a:pt x="62" y="245"/>
                  </a:cubicBezTo>
                  <a:close/>
                  <a:moveTo>
                    <a:pt x="57" y="249"/>
                  </a:moveTo>
                  <a:cubicBezTo>
                    <a:pt x="55" y="253"/>
                    <a:pt x="57" y="255"/>
                    <a:pt x="58" y="257"/>
                  </a:cubicBezTo>
                  <a:cubicBezTo>
                    <a:pt x="58" y="257"/>
                    <a:pt x="59" y="258"/>
                    <a:pt x="59" y="258"/>
                  </a:cubicBezTo>
                  <a:cubicBezTo>
                    <a:pt x="59" y="258"/>
                    <a:pt x="59" y="259"/>
                    <a:pt x="59" y="260"/>
                  </a:cubicBezTo>
                  <a:cubicBezTo>
                    <a:pt x="59" y="262"/>
                    <a:pt x="58" y="265"/>
                    <a:pt x="60" y="267"/>
                  </a:cubicBezTo>
                  <a:cubicBezTo>
                    <a:pt x="62" y="269"/>
                    <a:pt x="65" y="269"/>
                    <a:pt x="66" y="269"/>
                  </a:cubicBezTo>
                  <a:cubicBezTo>
                    <a:pt x="66" y="269"/>
                    <a:pt x="67" y="269"/>
                    <a:pt x="67" y="269"/>
                  </a:cubicBezTo>
                  <a:cubicBezTo>
                    <a:pt x="66" y="269"/>
                    <a:pt x="65" y="270"/>
                    <a:pt x="64" y="270"/>
                  </a:cubicBezTo>
                  <a:cubicBezTo>
                    <a:pt x="63" y="270"/>
                    <a:pt x="63" y="270"/>
                    <a:pt x="62" y="269"/>
                  </a:cubicBezTo>
                  <a:cubicBezTo>
                    <a:pt x="59" y="268"/>
                    <a:pt x="55" y="265"/>
                    <a:pt x="52" y="262"/>
                  </a:cubicBezTo>
                  <a:cubicBezTo>
                    <a:pt x="52" y="262"/>
                    <a:pt x="51" y="261"/>
                    <a:pt x="50" y="261"/>
                  </a:cubicBezTo>
                  <a:cubicBezTo>
                    <a:pt x="48" y="259"/>
                    <a:pt x="46" y="257"/>
                    <a:pt x="44" y="254"/>
                  </a:cubicBezTo>
                  <a:cubicBezTo>
                    <a:pt x="46" y="255"/>
                    <a:pt x="47" y="255"/>
                    <a:pt x="48" y="255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52" y="254"/>
                    <a:pt x="55" y="252"/>
                    <a:pt x="57" y="249"/>
                  </a:cubicBezTo>
                  <a:close/>
                  <a:moveTo>
                    <a:pt x="98" y="306"/>
                  </a:moveTo>
                  <a:cubicBezTo>
                    <a:pt x="97" y="304"/>
                    <a:pt x="96" y="303"/>
                    <a:pt x="95" y="301"/>
                  </a:cubicBezTo>
                  <a:cubicBezTo>
                    <a:pt x="93" y="297"/>
                    <a:pt x="91" y="293"/>
                    <a:pt x="88" y="289"/>
                  </a:cubicBezTo>
                  <a:cubicBezTo>
                    <a:pt x="86" y="286"/>
                    <a:pt x="86" y="284"/>
                    <a:pt x="86" y="284"/>
                  </a:cubicBezTo>
                  <a:cubicBezTo>
                    <a:pt x="86" y="284"/>
                    <a:pt x="87" y="283"/>
                    <a:pt x="87" y="283"/>
                  </a:cubicBezTo>
                  <a:cubicBezTo>
                    <a:pt x="88" y="283"/>
                    <a:pt x="88" y="284"/>
                    <a:pt x="89" y="284"/>
                  </a:cubicBezTo>
                  <a:cubicBezTo>
                    <a:pt x="89" y="284"/>
                    <a:pt x="90" y="284"/>
                    <a:pt x="90" y="284"/>
                  </a:cubicBezTo>
                  <a:cubicBezTo>
                    <a:pt x="91" y="284"/>
                    <a:pt x="93" y="284"/>
                    <a:pt x="94" y="282"/>
                  </a:cubicBezTo>
                  <a:cubicBezTo>
                    <a:pt x="96" y="280"/>
                    <a:pt x="96" y="278"/>
                    <a:pt x="96" y="277"/>
                  </a:cubicBezTo>
                  <a:cubicBezTo>
                    <a:pt x="96" y="274"/>
                    <a:pt x="96" y="274"/>
                    <a:pt x="96" y="274"/>
                  </a:cubicBezTo>
                  <a:cubicBezTo>
                    <a:pt x="93" y="274"/>
                    <a:pt x="93" y="274"/>
                    <a:pt x="93" y="274"/>
                  </a:cubicBezTo>
                  <a:cubicBezTo>
                    <a:pt x="92" y="274"/>
                    <a:pt x="91" y="274"/>
                    <a:pt x="90" y="274"/>
                  </a:cubicBezTo>
                  <a:cubicBezTo>
                    <a:pt x="88" y="274"/>
                    <a:pt x="86" y="274"/>
                    <a:pt x="85" y="273"/>
                  </a:cubicBezTo>
                  <a:cubicBezTo>
                    <a:pt x="84" y="273"/>
                    <a:pt x="83" y="272"/>
                    <a:pt x="82" y="271"/>
                  </a:cubicBezTo>
                  <a:cubicBezTo>
                    <a:pt x="81" y="271"/>
                    <a:pt x="81" y="270"/>
                    <a:pt x="80" y="269"/>
                  </a:cubicBezTo>
                  <a:cubicBezTo>
                    <a:pt x="81" y="269"/>
                    <a:pt x="82" y="268"/>
                    <a:pt x="82" y="267"/>
                  </a:cubicBezTo>
                  <a:cubicBezTo>
                    <a:pt x="85" y="264"/>
                    <a:pt x="86" y="260"/>
                    <a:pt x="88" y="256"/>
                  </a:cubicBezTo>
                  <a:cubicBezTo>
                    <a:pt x="88" y="254"/>
                    <a:pt x="88" y="254"/>
                    <a:pt x="88" y="254"/>
                  </a:cubicBezTo>
                  <a:cubicBezTo>
                    <a:pt x="90" y="251"/>
                    <a:pt x="91" y="249"/>
                    <a:pt x="93" y="249"/>
                  </a:cubicBezTo>
                  <a:cubicBezTo>
                    <a:pt x="93" y="249"/>
                    <a:pt x="93" y="249"/>
                    <a:pt x="94" y="249"/>
                  </a:cubicBezTo>
                  <a:cubicBezTo>
                    <a:pt x="99" y="249"/>
                    <a:pt x="107" y="255"/>
                    <a:pt x="109" y="259"/>
                  </a:cubicBezTo>
                  <a:cubicBezTo>
                    <a:pt x="115" y="273"/>
                    <a:pt x="118" y="290"/>
                    <a:pt x="119" y="305"/>
                  </a:cubicBezTo>
                  <a:cubicBezTo>
                    <a:pt x="120" y="309"/>
                    <a:pt x="120" y="309"/>
                    <a:pt x="120" y="309"/>
                  </a:cubicBezTo>
                  <a:cubicBezTo>
                    <a:pt x="121" y="314"/>
                    <a:pt x="122" y="318"/>
                    <a:pt x="123" y="321"/>
                  </a:cubicBezTo>
                  <a:cubicBezTo>
                    <a:pt x="123" y="322"/>
                    <a:pt x="123" y="323"/>
                    <a:pt x="124" y="325"/>
                  </a:cubicBezTo>
                  <a:cubicBezTo>
                    <a:pt x="124" y="326"/>
                    <a:pt x="125" y="330"/>
                    <a:pt x="125" y="331"/>
                  </a:cubicBezTo>
                  <a:cubicBezTo>
                    <a:pt x="125" y="331"/>
                    <a:pt x="124" y="331"/>
                    <a:pt x="124" y="332"/>
                  </a:cubicBezTo>
                  <a:cubicBezTo>
                    <a:pt x="123" y="332"/>
                    <a:pt x="122" y="332"/>
                    <a:pt x="121" y="333"/>
                  </a:cubicBezTo>
                  <a:cubicBezTo>
                    <a:pt x="121" y="330"/>
                    <a:pt x="120" y="324"/>
                    <a:pt x="119" y="321"/>
                  </a:cubicBezTo>
                  <a:cubicBezTo>
                    <a:pt x="117" y="317"/>
                    <a:pt x="114" y="315"/>
                    <a:pt x="110" y="314"/>
                  </a:cubicBezTo>
                  <a:cubicBezTo>
                    <a:pt x="109" y="314"/>
                    <a:pt x="108" y="314"/>
                    <a:pt x="108" y="314"/>
                  </a:cubicBezTo>
                  <a:cubicBezTo>
                    <a:pt x="103" y="314"/>
                    <a:pt x="102" y="317"/>
                    <a:pt x="102" y="319"/>
                  </a:cubicBezTo>
                  <a:cubicBezTo>
                    <a:pt x="101" y="316"/>
                    <a:pt x="100" y="313"/>
                    <a:pt x="100" y="311"/>
                  </a:cubicBezTo>
                  <a:cubicBezTo>
                    <a:pt x="99" y="308"/>
                    <a:pt x="98" y="307"/>
                    <a:pt x="98" y="306"/>
                  </a:cubicBezTo>
                  <a:close/>
                </a:path>
              </a:pathLst>
            </a:custGeom>
            <a:solidFill>
              <a:schemeClr val="accent2"/>
            </a:solidFill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95" name="Freeform 194"/>
            <p:cNvSpPr>
              <a:spLocks/>
            </p:cNvSpPr>
            <p:nvPr/>
          </p:nvSpPr>
          <p:spPr bwMode="auto">
            <a:xfrm>
              <a:off x="22217589" y="8350420"/>
              <a:ext cx="266727" cy="313584"/>
            </a:xfrm>
            <a:custGeom>
              <a:avLst/>
              <a:gdLst>
                <a:gd name="T0" fmla="*/ 47 w 49"/>
                <a:gd name="T1" fmla="*/ 27 h 63"/>
                <a:gd name="T2" fmla="*/ 42 w 49"/>
                <a:gd name="T3" fmla="*/ 24 h 63"/>
                <a:gd name="T4" fmla="*/ 41 w 49"/>
                <a:gd name="T5" fmla="*/ 24 h 63"/>
                <a:gd name="T6" fmla="*/ 40 w 49"/>
                <a:gd name="T7" fmla="*/ 23 h 63"/>
                <a:gd name="T8" fmla="*/ 37 w 49"/>
                <a:gd name="T9" fmla="*/ 22 h 63"/>
                <a:gd name="T10" fmla="*/ 34 w 49"/>
                <a:gd name="T11" fmla="*/ 21 h 63"/>
                <a:gd name="T12" fmla="*/ 26 w 49"/>
                <a:gd name="T13" fmla="*/ 23 h 63"/>
                <a:gd name="T14" fmla="*/ 26 w 49"/>
                <a:gd name="T15" fmla="*/ 19 h 63"/>
                <a:gd name="T16" fmla="*/ 25 w 49"/>
                <a:gd name="T17" fmla="*/ 15 h 63"/>
                <a:gd name="T18" fmla="*/ 23 w 49"/>
                <a:gd name="T19" fmla="*/ 8 h 63"/>
                <a:gd name="T20" fmla="*/ 18 w 49"/>
                <a:gd name="T21" fmla="*/ 6 h 63"/>
                <a:gd name="T22" fmla="*/ 18 w 49"/>
                <a:gd name="T23" fmla="*/ 5 h 63"/>
                <a:gd name="T24" fmla="*/ 18 w 49"/>
                <a:gd name="T25" fmla="*/ 6 h 63"/>
                <a:gd name="T26" fmla="*/ 18 w 49"/>
                <a:gd name="T27" fmla="*/ 5 h 63"/>
                <a:gd name="T28" fmla="*/ 17 w 49"/>
                <a:gd name="T29" fmla="*/ 4 h 63"/>
                <a:gd name="T30" fmla="*/ 12 w 49"/>
                <a:gd name="T31" fmla="*/ 0 h 63"/>
                <a:gd name="T32" fmla="*/ 8 w 49"/>
                <a:gd name="T33" fmla="*/ 2 h 63"/>
                <a:gd name="T34" fmla="*/ 5 w 49"/>
                <a:gd name="T35" fmla="*/ 12 h 63"/>
                <a:gd name="T36" fmla="*/ 5 w 49"/>
                <a:gd name="T37" fmla="*/ 15 h 63"/>
                <a:gd name="T38" fmla="*/ 3 w 49"/>
                <a:gd name="T39" fmla="*/ 30 h 63"/>
                <a:gd name="T40" fmla="*/ 2 w 49"/>
                <a:gd name="T41" fmla="*/ 44 h 63"/>
                <a:gd name="T42" fmla="*/ 7 w 49"/>
                <a:gd name="T43" fmla="*/ 60 h 63"/>
                <a:gd name="T44" fmla="*/ 14 w 49"/>
                <a:gd name="T45" fmla="*/ 63 h 63"/>
                <a:gd name="T46" fmla="*/ 20 w 49"/>
                <a:gd name="T47" fmla="*/ 61 h 63"/>
                <a:gd name="T48" fmla="*/ 23 w 49"/>
                <a:gd name="T49" fmla="*/ 55 h 63"/>
                <a:gd name="T50" fmla="*/ 24 w 49"/>
                <a:gd name="T51" fmla="*/ 54 h 63"/>
                <a:gd name="T52" fmla="*/ 27 w 49"/>
                <a:gd name="T53" fmla="*/ 61 h 63"/>
                <a:gd name="T54" fmla="*/ 30 w 49"/>
                <a:gd name="T55" fmla="*/ 62 h 63"/>
                <a:gd name="T56" fmla="*/ 30 w 49"/>
                <a:gd name="T57" fmla="*/ 62 h 63"/>
                <a:gd name="T58" fmla="*/ 41 w 49"/>
                <a:gd name="T59" fmla="*/ 53 h 63"/>
                <a:gd name="T60" fmla="*/ 41 w 49"/>
                <a:gd name="T61" fmla="*/ 53 h 63"/>
                <a:gd name="T62" fmla="*/ 47 w 49"/>
                <a:gd name="T63" fmla="*/ 39 h 63"/>
                <a:gd name="T64" fmla="*/ 48 w 49"/>
                <a:gd name="T65" fmla="*/ 37 h 63"/>
                <a:gd name="T66" fmla="*/ 47 w 49"/>
                <a:gd name="T67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9" h="63">
                  <a:moveTo>
                    <a:pt x="47" y="27"/>
                  </a:moveTo>
                  <a:cubicBezTo>
                    <a:pt x="46" y="25"/>
                    <a:pt x="44" y="24"/>
                    <a:pt x="42" y="24"/>
                  </a:cubicBezTo>
                  <a:cubicBezTo>
                    <a:pt x="42" y="24"/>
                    <a:pt x="41" y="24"/>
                    <a:pt x="41" y="24"/>
                  </a:cubicBezTo>
                  <a:cubicBezTo>
                    <a:pt x="41" y="24"/>
                    <a:pt x="40" y="23"/>
                    <a:pt x="40" y="23"/>
                  </a:cubicBezTo>
                  <a:cubicBezTo>
                    <a:pt x="39" y="23"/>
                    <a:pt x="38" y="22"/>
                    <a:pt x="37" y="22"/>
                  </a:cubicBezTo>
                  <a:cubicBezTo>
                    <a:pt x="36" y="22"/>
                    <a:pt x="35" y="21"/>
                    <a:pt x="34" y="21"/>
                  </a:cubicBezTo>
                  <a:cubicBezTo>
                    <a:pt x="31" y="21"/>
                    <a:pt x="28" y="22"/>
                    <a:pt x="26" y="23"/>
                  </a:cubicBezTo>
                  <a:cubicBezTo>
                    <a:pt x="26" y="22"/>
                    <a:pt x="26" y="20"/>
                    <a:pt x="26" y="19"/>
                  </a:cubicBezTo>
                  <a:cubicBezTo>
                    <a:pt x="25" y="17"/>
                    <a:pt x="25" y="16"/>
                    <a:pt x="25" y="15"/>
                  </a:cubicBezTo>
                  <a:cubicBezTo>
                    <a:pt x="25" y="13"/>
                    <a:pt x="24" y="10"/>
                    <a:pt x="23" y="8"/>
                  </a:cubicBezTo>
                  <a:cubicBezTo>
                    <a:pt x="21" y="6"/>
                    <a:pt x="19" y="6"/>
                    <a:pt x="18" y="6"/>
                  </a:cubicBezTo>
                  <a:cubicBezTo>
                    <a:pt x="18" y="6"/>
                    <a:pt x="18" y="5"/>
                    <a:pt x="18" y="5"/>
                  </a:cubicBezTo>
                  <a:cubicBezTo>
                    <a:pt x="18" y="5"/>
                    <a:pt x="18" y="6"/>
                    <a:pt x="18" y="6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4"/>
                    <a:pt x="17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10" y="0"/>
                    <a:pt x="9" y="1"/>
                    <a:pt x="8" y="2"/>
                  </a:cubicBezTo>
                  <a:cubicBezTo>
                    <a:pt x="4" y="4"/>
                    <a:pt x="5" y="9"/>
                    <a:pt x="5" y="12"/>
                  </a:cubicBezTo>
                  <a:cubicBezTo>
                    <a:pt x="5" y="13"/>
                    <a:pt x="5" y="14"/>
                    <a:pt x="5" y="15"/>
                  </a:cubicBezTo>
                  <a:cubicBezTo>
                    <a:pt x="3" y="20"/>
                    <a:pt x="3" y="25"/>
                    <a:pt x="3" y="30"/>
                  </a:cubicBezTo>
                  <a:cubicBezTo>
                    <a:pt x="4" y="35"/>
                    <a:pt x="3" y="39"/>
                    <a:pt x="2" y="44"/>
                  </a:cubicBezTo>
                  <a:cubicBezTo>
                    <a:pt x="0" y="51"/>
                    <a:pt x="2" y="57"/>
                    <a:pt x="7" y="60"/>
                  </a:cubicBezTo>
                  <a:cubicBezTo>
                    <a:pt x="9" y="62"/>
                    <a:pt x="12" y="63"/>
                    <a:pt x="14" y="63"/>
                  </a:cubicBezTo>
                  <a:cubicBezTo>
                    <a:pt x="16" y="63"/>
                    <a:pt x="18" y="62"/>
                    <a:pt x="20" y="61"/>
                  </a:cubicBezTo>
                  <a:cubicBezTo>
                    <a:pt x="22" y="59"/>
                    <a:pt x="23" y="57"/>
                    <a:pt x="23" y="55"/>
                  </a:cubicBezTo>
                  <a:cubicBezTo>
                    <a:pt x="23" y="55"/>
                    <a:pt x="23" y="55"/>
                    <a:pt x="24" y="54"/>
                  </a:cubicBezTo>
                  <a:cubicBezTo>
                    <a:pt x="23" y="57"/>
                    <a:pt x="24" y="59"/>
                    <a:pt x="27" y="61"/>
                  </a:cubicBezTo>
                  <a:cubicBezTo>
                    <a:pt x="28" y="61"/>
                    <a:pt x="29" y="62"/>
                    <a:pt x="3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4" y="62"/>
                    <a:pt x="38" y="57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4" y="49"/>
                    <a:pt x="47" y="45"/>
                    <a:pt x="47" y="39"/>
                  </a:cubicBezTo>
                  <a:cubicBezTo>
                    <a:pt x="47" y="39"/>
                    <a:pt x="47" y="38"/>
                    <a:pt x="48" y="37"/>
                  </a:cubicBezTo>
                  <a:cubicBezTo>
                    <a:pt x="48" y="34"/>
                    <a:pt x="49" y="30"/>
                    <a:pt x="47" y="27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96" name="Freeform 195"/>
            <p:cNvSpPr>
              <a:spLocks/>
            </p:cNvSpPr>
            <p:nvPr/>
          </p:nvSpPr>
          <p:spPr bwMode="auto">
            <a:xfrm>
              <a:off x="21497425" y="8003238"/>
              <a:ext cx="451385" cy="130660"/>
            </a:xfrm>
            <a:custGeom>
              <a:avLst/>
              <a:gdLst>
                <a:gd name="T0" fmla="*/ 82 w 83"/>
                <a:gd name="T1" fmla="*/ 10 h 26"/>
                <a:gd name="T2" fmla="*/ 71 w 83"/>
                <a:gd name="T3" fmla="*/ 3 h 26"/>
                <a:gd name="T4" fmla="*/ 66 w 83"/>
                <a:gd name="T5" fmla="*/ 3 h 26"/>
                <a:gd name="T6" fmla="*/ 61 w 83"/>
                <a:gd name="T7" fmla="*/ 4 h 26"/>
                <a:gd name="T8" fmla="*/ 59 w 83"/>
                <a:gd name="T9" fmla="*/ 3 h 26"/>
                <a:gd name="T10" fmla="*/ 52 w 83"/>
                <a:gd name="T11" fmla="*/ 2 h 26"/>
                <a:gd name="T12" fmla="*/ 39 w 83"/>
                <a:gd name="T13" fmla="*/ 0 h 26"/>
                <a:gd name="T14" fmla="*/ 33 w 83"/>
                <a:gd name="T15" fmla="*/ 1 h 26"/>
                <a:gd name="T16" fmla="*/ 30 w 83"/>
                <a:gd name="T17" fmla="*/ 1 h 26"/>
                <a:gd name="T18" fmla="*/ 15 w 83"/>
                <a:gd name="T19" fmla="*/ 4 h 26"/>
                <a:gd name="T20" fmla="*/ 1 w 83"/>
                <a:gd name="T21" fmla="*/ 11 h 26"/>
                <a:gd name="T22" fmla="*/ 2 w 83"/>
                <a:gd name="T23" fmla="*/ 16 h 26"/>
                <a:gd name="T24" fmla="*/ 11 w 83"/>
                <a:gd name="T25" fmla="*/ 19 h 26"/>
                <a:gd name="T26" fmla="*/ 13 w 83"/>
                <a:gd name="T27" fmla="*/ 19 h 26"/>
                <a:gd name="T28" fmla="*/ 16 w 83"/>
                <a:gd name="T29" fmla="*/ 19 h 26"/>
                <a:gd name="T30" fmla="*/ 23 w 83"/>
                <a:gd name="T31" fmla="*/ 20 h 26"/>
                <a:gd name="T32" fmla="*/ 24 w 83"/>
                <a:gd name="T33" fmla="*/ 22 h 26"/>
                <a:gd name="T34" fmla="*/ 28 w 83"/>
                <a:gd name="T35" fmla="*/ 24 h 26"/>
                <a:gd name="T36" fmla="*/ 35 w 83"/>
                <a:gd name="T37" fmla="*/ 25 h 26"/>
                <a:gd name="T38" fmla="*/ 37 w 83"/>
                <a:gd name="T39" fmla="*/ 25 h 26"/>
                <a:gd name="T40" fmla="*/ 40 w 83"/>
                <a:gd name="T41" fmla="*/ 25 h 26"/>
                <a:gd name="T42" fmla="*/ 42 w 83"/>
                <a:gd name="T43" fmla="*/ 26 h 26"/>
                <a:gd name="T44" fmla="*/ 46 w 83"/>
                <a:gd name="T45" fmla="*/ 26 h 26"/>
                <a:gd name="T46" fmla="*/ 48 w 83"/>
                <a:gd name="T47" fmla="*/ 26 h 26"/>
                <a:gd name="T48" fmla="*/ 55 w 83"/>
                <a:gd name="T49" fmla="*/ 25 h 26"/>
                <a:gd name="T50" fmla="*/ 64 w 83"/>
                <a:gd name="T51" fmla="*/ 24 h 26"/>
                <a:gd name="T52" fmla="*/ 76 w 83"/>
                <a:gd name="T53" fmla="*/ 20 h 26"/>
                <a:gd name="T54" fmla="*/ 77 w 83"/>
                <a:gd name="T55" fmla="*/ 19 h 26"/>
                <a:gd name="T56" fmla="*/ 82 w 83"/>
                <a:gd name="T57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3" h="26">
                  <a:moveTo>
                    <a:pt x="82" y="10"/>
                  </a:moveTo>
                  <a:cubicBezTo>
                    <a:pt x="81" y="5"/>
                    <a:pt x="74" y="3"/>
                    <a:pt x="71" y="3"/>
                  </a:cubicBezTo>
                  <a:cubicBezTo>
                    <a:pt x="69" y="3"/>
                    <a:pt x="67" y="3"/>
                    <a:pt x="66" y="3"/>
                  </a:cubicBezTo>
                  <a:cubicBezTo>
                    <a:pt x="64" y="4"/>
                    <a:pt x="63" y="4"/>
                    <a:pt x="61" y="4"/>
                  </a:cubicBezTo>
                  <a:cubicBezTo>
                    <a:pt x="60" y="4"/>
                    <a:pt x="59" y="4"/>
                    <a:pt x="59" y="3"/>
                  </a:cubicBezTo>
                  <a:cubicBezTo>
                    <a:pt x="56" y="3"/>
                    <a:pt x="54" y="3"/>
                    <a:pt x="52" y="2"/>
                  </a:cubicBezTo>
                  <a:cubicBezTo>
                    <a:pt x="48" y="1"/>
                    <a:pt x="43" y="0"/>
                    <a:pt x="39" y="0"/>
                  </a:cubicBezTo>
                  <a:cubicBezTo>
                    <a:pt x="37" y="0"/>
                    <a:pt x="35" y="0"/>
                    <a:pt x="33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25" y="3"/>
                    <a:pt x="20" y="4"/>
                    <a:pt x="15" y="4"/>
                  </a:cubicBezTo>
                  <a:cubicBezTo>
                    <a:pt x="11" y="5"/>
                    <a:pt x="3" y="5"/>
                    <a:pt x="1" y="11"/>
                  </a:cubicBezTo>
                  <a:cubicBezTo>
                    <a:pt x="0" y="13"/>
                    <a:pt x="1" y="15"/>
                    <a:pt x="2" y="16"/>
                  </a:cubicBezTo>
                  <a:cubicBezTo>
                    <a:pt x="4" y="19"/>
                    <a:pt x="8" y="19"/>
                    <a:pt x="11" y="19"/>
                  </a:cubicBezTo>
                  <a:cubicBezTo>
                    <a:pt x="12" y="19"/>
                    <a:pt x="12" y="19"/>
                    <a:pt x="13" y="19"/>
                  </a:cubicBezTo>
                  <a:cubicBezTo>
                    <a:pt x="13" y="19"/>
                    <a:pt x="15" y="19"/>
                    <a:pt x="16" y="19"/>
                  </a:cubicBezTo>
                  <a:cubicBezTo>
                    <a:pt x="18" y="19"/>
                    <a:pt x="21" y="19"/>
                    <a:pt x="23" y="20"/>
                  </a:cubicBezTo>
                  <a:cubicBezTo>
                    <a:pt x="23" y="20"/>
                    <a:pt x="23" y="21"/>
                    <a:pt x="24" y="22"/>
                  </a:cubicBezTo>
                  <a:cubicBezTo>
                    <a:pt x="25" y="23"/>
                    <a:pt x="27" y="24"/>
                    <a:pt x="28" y="24"/>
                  </a:cubicBezTo>
                  <a:cubicBezTo>
                    <a:pt x="30" y="25"/>
                    <a:pt x="33" y="25"/>
                    <a:pt x="35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5"/>
                    <a:pt x="39" y="25"/>
                    <a:pt x="40" y="25"/>
                  </a:cubicBezTo>
                  <a:cubicBezTo>
                    <a:pt x="40" y="25"/>
                    <a:pt x="41" y="26"/>
                    <a:pt x="42" y="26"/>
                  </a:cubicBezTo>
                  <a:cubicBezTo>
                    <a:pt x="43" y="26"/>
                    <a:pt x="45" y="26"/>
                    <a:pt x="46" y="26"/>
                  </a:cubicBezTo>
                  <a:cubicBezTo>
                    <a:pt x="47" y="26"/>
                    <a:pt x="47" y="26"/>
                    <a:pt x="48" y="26"/>
                  </a:cubicBezTo>
                  <a:cubicBezTo>
                    <a:pt x="50" y="26"/>
                    <a:pt x="53" y="26"/>
                    <a:pt x="55" y="25"/>
                  </a:cubicBezTo>
                  <a:cubicBezTo>
                    <a:pt x="58" y="25"/>
                    <a:pt x="61" y="24"/>
                    <a:pt x="64" y="24"/>
                  </a:cubicBezTo>
                  <a:cubicBezTo>
                    <a:pt x="68" y="24"/>
                    <a:pt x="72" y="23"/>
                    <a:pt x="76" y="20"/>
                  </a:cubicBezTo>
                  <a:cubicBezTo>
                    <a:pt x="76" y="19"/>
                    <a:pt x="77" y="19"/>
                    <a:pt x="77" y="19"/>
                  </a:cubicBezTo>
                  <a:cubicBezTo>
                    <a:pt x="79" y="17"/>
                    <a:pt x="83" y="14"/>
                    <a:pt x="82" y="10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97" name="Freeform 196"/>
            <p:cNvSpPr>
              <a:spLocks noEditPoints="1"/>
            </p:cNvSpPr>
            <p:nvPr/>
          </p:nvSpPr>
          <p:spPr bwMode="auto">
            <a:xfrm>
              <a:off x="14482495" y="3868786"/>
              <a:ext cx="2496979" cy="2756924"/>
            </a:xfrm>
            <a:custGeom>
              <a:avLst/>
              <a:gdLst>
                <a:gd name="T0" fmla="*/ 230 w 458"/>
                <a:gd name="T1" fmla="*/ 169 h 556"/>
                <a:gd name="T2" fmla="*/ 248 w 458"/>
                <a:gd name="T3" fmla="*/ 90 h 556"/>
                <a:gd name="T4" fmla="*/ 223 w 458"/>
                <a:gd name="T5" fmla="*/ 97 h 556"/>
                <a:gd name="T6" fmla="*/ 230 w 458"/>
                <a:gd name="T7" fmla="*/ 67 h 556"/>
                <a:gd name="T8" fmla="*/ 212 w 458"/>
                <a:gd name="T9" fmla="*/ 74 h 556"/>
                <a:gd name="T10" fmla="*/ 200 w 458"/>
                <a:gd name="T11" fmla="*/ 71 h 556"/>
                <a:gd name="T12" fmla="*/ 202 w 458"/>
                <a:gd name="T13" fmla="*/ 59 h 556"/>
                <a:gd name="T14" fmla="*/ 203 w 458"/>
                <a:gd name="T15" fmla="*/ 29 h 556"/>
                <a:gd name="T16" fmla="*/ 183 w 458"/>
                <a:gd name="T17" fmla="*/ 42 h 556"/>
                <a:gd name="T18" fmla="*/ 173 w 458"/>
                <a:gd name="T19" fmla="*/ 44 h 556"/>
                <a:gd name="T20" fmla="*/ 176 w 458"/>
                <a:gd name="T21" fmla="*/ 30 h 556"/>
                <a:gd name="T22" fmla="*/ 167 w 458"/>
                <a:gd name="T23" fmla="*/ 23 h 556"/>
                <a:gd name="T24" fmla="*/ 147 w 458"/>
                <a:gd name="T25" fmla="*/ 21 h 556"/>
                <a:gd name="T26" fmla="*/ 124 w 458"/>
                <a:gd name="T27" fmla="*/ 20 h 556"/>
                <a:gd name="T28" fmla="*/ 107 w 458"/>
                <a:gd name="T29" fmla="*/ 5 h 556"/>
                <a:gd name="T30" fmla="*/ 93 w 458"/>
                <a:gd name="T31" fmla="*/ 5 h 556"/>
                <a:gd name="T32" fmla="*/ 80 w 458"/>
                <a:gd name="T33" fmla="*/ 7 h 556"/>
                <a:gd name="T34" fmla="*/ 69 w 458"/>
                <a:gd name="T35" fmla="*/ 13 h 556"/>
                <a:gd name="T36" fmla="*/ 42 w 458"/>
                <a:gd name="T37" fmla="*/ 49 h 556"/>
                <a:gd name="T38" fmla="*/ 51 w 458"/>
                <a:gd name="T39" fmla="*/ 86 h 556"/>
                <a:gd name="T40" fmla="*/ 25 w 458"/>
                <a:gd name="T41" fmla="*/ 155 h 556"/>
                <a:gd name="T42" fmla="*/ 22 w 458"/>
                <a:gd name="T43" fmla="*/ 203 h 556"/>
                <a:gd name="T44" fmla="*/ 14 w 458"/>
                <a:gd name="T45" fmla="*/ 243 h 556"/>
                <a:gd name="T46" fmla="*/ 3 w 458"/>
                <a:gd name="T47" fmla="*/ 288 h 556"/>
                <a:gd name="T48" fmla="*/ 13 w 458"/>
                <a:gd name="T49" fmla="*/ 341 h 556"/>
                <a:gd name="T50" fmla="*/ 30 w 458"/>
                <a:gd name="T51" fmla="*/ 367 h 556"/>
                <a:gd name="T52" fmla="*/ 40 w 458"/>
                <a:gd name="T53" fmla="*/ 382 h 556"/>
                <a:gd name="T54" fmla="*/ 39 w 458"/>
                <a:gd name="T55" fmla="*/ 407 h 556"/>
                <a:gd name="T56" fmla="*/ 457 w 458"/>
                <a:gd name="T57" fmla="*/ 403 h 556"/>
                <a:gd name="T58" fmla="*/ 111 w 458"/>
                <a:gd name="T59" fmla="*/ 37 h 556"/>
                <a:gd name="T60" fmla="*/ 232 w 458"/>
                <a:gd name="T61" fmla="*/ 212 h 556"/>
                <a:gd name="T62" fmla="*/ 208 w 458"/>
                <a:gd name="T63" fmla="*/ 222 h 556"/>
                <a:gd name="T64" fmla="*/ 226 w 458"/>
                <a:gd name="T65" fmla="*/ 238 h 556"/>
                <a:gd name="T66" fmla="*/ 243 w 458"/>
                <a:gd name="T67" fmla="*/ 243 h 556"/>
                <a:gd name="T68" fmla="*/ 226 w 458"/>
                <a:gd name="T69" fmla="*/ 258 h 556"/>
                <a:gd name="T70" fmla="*/ 200 w 458"/>
                <a:gd name="T71" fmla="*/ 259 h 556"/>
                <a:gd name="T72" fmla="*/ 185 w 458"/>
                <a:gd name="T73" fmla="*/ 265 h 556"/>
                <a:gd name="T74" fmla="*/ 179 w 458"/>
                <a:gd name="T75" fmla="*/ 245 h 556"/>
                <a:gd name="T76" fmla="*/ 152 w 458"/>
                <a:gd name="T77" fmla="*/ 246 h 556"/>
                <a:gd name="T78" fmla="*/ 169 w 458"/>
                <a:gd name="T79" fmla="*/ 236 h 556"/>
                <a:gd name="T80" fmla="*/ 194 w 458"/>
                <a:gd name="T81" fmla="*/ 233 h 556"/>
                <a:gd name="T82" fmla="*/ 171 w 458"/>
                <a:gd name="T83" fmla="*/ 207 h 556"/>
                <a:gd name="T84" fmla="*/ 157 w 458"/>
                <a:gd name="T85" fmla="*/ 199 h 556"/>
                <a:gd name="T86" fmla="*/ 169 w 458"/>
                <a:gd name="T87" fmla="*/ 199 h 556"/>
                <a:gd name="T88" fmla="*/ 202 w 458"/>
                <a:gd name="T89" fmla="*/ 208 h 556"/>
                <a:gd name="T90" fmla="*/ 144 w 458"/>
                <a:gd name="T91" fmla="*/ 195 h 556"/>
                <a:gd name="T92" fmla="*/ 151 w 458"/>
                <a:gd name="T93" fmla="*/ 197 h 556"/>
                <a:gd name="T94" fmla="*/ 146 w 458"/>
                <a:gd name="T95" fmla="*/ 42 h 556"/>
                <a:gd name="T96" fmla="*/ 144 w 458"/>
                <a:gd name="T97" fmla="*/ 36 h 556"/>
                <a:gd name="T98" fmla="*/ 310 w 458"/>
                <a:gd name="T99" fmla="*/ 417 h 556"/>
                <a:gd name="T100" fmla="*/ 291 w 458"/>
                <a:gd name="T101" fmla="*/ 423 h 556"/>
                <a:gd name="T102" fmla="*/ 240 w 458"/>
                <a:gd name="T103" fmla="*/ 442 h 556"/>
                <a:gd name="T104" fmla="*/ 223 w 458"/>
                <a:gd name="T105" fmla="*/ 452 h 556"/>
                <a:gd name="T106" fmla="*/ 196 w 458"/>
                <a:gd name="T107" fmla="*/ 448 h 556"/>
                <a:gd name="T108" fmla="*/ 192 w 458"/>
                <a:gd name="T109" fmla="*/ 435 h 556"/>
                <a:gd name="T110" fmla="*/ 221 w 458"/>
                <a:gd name="T111" fmla="*/ 425 h 556"/>
                <a:gd name="T112" fmla="*/ 218 w 458"/>
                <a:gd name="T113" fmla="*/ 383 h 556"/>
                <a:gd name="T114" fmla="*/ 260 w 458"/>
                <a:gd name="T115" fmla="*/ 431 h 556"/>
                <a:gd name="T116" fmla="*/ 283 w 458"/>
                <a:gd name="T117" fmla="*/ 421 h 556"/>
                <a:gd name="T118" fmla="*/ 313 w 458"/>
                <a:gd name="T119" fmla="*/ 412 h 556"/>
                <a:gd name="T120" fmla="*/ 311 w 458"/>
                <a:gd name="T121" fmla="*/ 415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58" h="556">
                  <a:moveTo>
                    <a:pt x="345" y="346"/>
                  </a:moveTo>
                  <a:cubicBezTo>
                    <a:pt x="332" y="315"/>
                    <a:pt x="332" y="315"/>
                    <a:pt x="332" y="315"/>
                  </a:cubicBezTo>
                  <a:cubicBezTo>
                    <a:pt x="331" y="315"/>
                    <a:pt x="331" y="315"/>
                    <a:pt x="331" y="315"/>
                  </a:cubicBezTo>
                  <a:cubicBezTo>
                    <a:pt x="324" y="314"/>
                    <a:pt x="303" y="310"/>
                    <a:pt x="293" y="284"/>
                  </a:cubicBezTo>
                  <a:cubicBezTo>
                    <a:pt x="293" y="284"/>
                    <a:pt x="293" y="284"/>
                    <a:pt x="293" y="284"/>
                  </a:cubicBezTo>
                  <a:cubicBezTo>
                    <a:pt x="230" y="169"/>
                    <a:pt x="230" y="169"/>
                    <a:pt x="230" y="169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62" y="106"/>
                    <a:pt x="262" y="106"/>
                    <a:pt x="262" y="106"/>
                  </a:cubicBezTo>
                  <a:cubicBezTo>
                    <a:pt x="262" y="105"/>
                    <a:pt x="262" y="105"/>
                    <a:pt x="262" y="105"/>
                  </a:cubicBezTo>
                  <a:cubicBezTo>
                    <a:pt x="262" y="104"/>
                    <a:pt x="261" y="103"/>
                    <a:pt x="261" y="101"/>
                  </a:cubicBezTo>
                  <a:cubicBezTo>
                    <a:pt x="259" y="97"/>
                    <a:pt x="256" y="95"/>
                    <a:pt x="253" y="93"/>
                  </a:cubicBezTo>
                  <a:cubicBezTo>
                    <a:pt x="251" y="92"/>
                    <a:pt x="250" y="91"/>
                    <a:pt x="248" y="90"/>
                  </a:cubicBezTo>
                  <a:cubicBezTo>
                    <a:pt x="247" y="88"/>
                    <a:pt x="244" y="86"/>
                    <a:pt x="241" y="86"/>
                  </a:cubicBezTo>
                  <a:cubicBezTo>
                    <a:pt x="238" y="86"/>
                    <a:pt x="236" y="89"/>
                    <a:pt x="234" y="90"/>
                  </a:cubicBezTo>
                  <a:cubicBezTo>
                    <a:pt x="234" y="90"/>
                    <a:pt x="234" y="91"/>
                    <a:pt x="233" y="91"/>
                  </a:cubicBezTo>
                  <a:cubicBezTo>
                    <a:pt x="233" y="92"/>
                    <a:pt x="232" y="92"/>
                    <a:pt x="231" y="93"/>
                  </a:cubicBezTo>
                  <a:cubicBezTo>
                    <a:pt x="229" y="94"/>
                    <a:pt x="229" y="94"/>
                    <a:pt x="229" y="94"/>
                  </a:cubicBezTo>
                  <a:cubicBezTo>
                    <a:pt x="228" y="95"/>
                    <a:pt x="225" y="97"/>
                    <a:pt x="223" y="97"/>
                  </a:cubicBezTo>
                  <a:cubicBezTo>
                    <a:pt x="223" y="95"/>
                    <a:pt x="224" y="90"/>
                    <a:pt x="224" y="88"/>
                  </a:cubicBezTo>
                  <a:cubicBezTo>
                    <a:pt x="225" y="86"/>
                    <a:pt x="225" y="85"/>
                    <a:pt x="225" y="84"/>
                  </a:cubicBezTo>
                  <a:cubicBezTo>
                    <a:pt x="225" y="82"/>
                    <a:pt x="226" y="80"/>
                    <a:pt x="227" y="78"/>
                  </a:cubicBezTo>
                  <a:cubicBezTo>
                    <a:pt x="227" y="77"/>
                    <a:pt x="227" y="77"/>
                    <a:pt x="227" y="76"/>
                  </a:cubicBezTo>
                  <a:cubicBezTo>
                    <a:pt x="227" y="76"/>
                    <a:pt x="228" y="75"/>
                    <a:pt x="228" y="75"/>
                  </a:cubicBezTo>
                  <a:cubicBezTo>
                    <a:pt x="230" y="73"/>
                    <a:pt x="232" y="70"/>
                    <a:pt x="230" y="67"/>
                  </a:cubicBezTo>
                  <a:cubicBezTo>
                    <a:pt x="229" y="65"/>
                    <a:pt x="228" y="64"/>
                    <a:pt x="226" y="64"/>
                  </a:cubicBezTo>
                  <a:cubicBezTo>
                    <a:pt x="224" y="64"/>
                    <a:pt x="222" y="65"/>
                    <a:pt x="221" y="66"/>
                  </a:cubicBezTo>
                  <a:cubicBezTo>
                    <a:pt x="221" y="67"/>
                    <a:pt x="221" y="67"/>
                    <a:pt x="221" y="67"/>
                  </a:cubicBezTo>
                  <a:cubicBezTo>
                    <a:pt x="220" y="67"/>
                    <a:pt x="219" y="68"/>
                    <a:pt x="219" y="68"/>
                  </a:cubicBezTo>
                  <a:cubicBezTo>
                    <a:pt x="218" y="69"/>
                    <a:pt x="217" y="69"/>
                    <a:pt x="215" y="70"/>
                  </a:cubicBezTo>
                  <a:cubicBezTo>
                    <a:pt x="214" y="71"/>
                    <a:pt x="213" y="72"/>
                    <a:pt x="212" y="74"/>
                  </a:cubicBezTo>
                  <a:cubicBezTo>
                    <a:pt x="211" y="75"/>
                    <a:pt x="211" y="75"/>
                    <a:pt x="211" y="75"/>
                  </a:cubicBezTo>
                  <a:cubicBezTo>
                    <a:pt x="208" y="77"/>
                    <a:pt x="205" y="80"/>
                    <a:pt x="201" y="80"/>
                  </a:cubicBezTo>
                  <a:cubicBezTo>
                    <a:pt x="201" y="80"/>
                    <a:pt x="201" y="80"/>
                    <a:pt x="201" y="80"/>
                  </a:cubicBezTo>
                  <a:cubicBezTo>
                    <a:pt x="201" y="80"/>
                    <a:pt x="200" y="78"/>
                    <a:pt x="200" y="78"/>
                  </a:cubicBezTo>
                  <a:cubicBezTo>
                    <a:pt x="200" y="77"/>
                    <a:pt x="200" y="76"/>
                    <a:pt x="200" y="75"/>
                  </a:cubicBezTo>
                  <a:cubicBezTo>
                    <a:pt x="200" y="74"/>
                    <a:pt x="200" y="73"/>
                    <a:pt x="200" y="71"/>
                  </a:cubicBezTo>
                  <a:cubicBezTo>
                    <a:pt x="200" y="70"/>
                    <a:pt x="200" y="69"/>
                    <a:pt x="200" y="67"/>
                  </a:cubicBezTo>
                  <a:cubicBezTo>
                    <a:pt x="200" y="66"/>
                    <a:pt x="200" y="65"/>
                    <a:pt x="200" y="64"/>
                  </a:cubicBezTo>
                  <a:cubicBezTo>
                    <a:pt x="200" y="64"/>
                    <a:pt x="200" y="64"/>
                    <a:pt x="200" y="64"/>
                  </a:cubicBezTo>
                  <a:cubicBezTo>
                    <a:pt x="200" y="64"/>
                    <a:pt x="200" y="64"/>
                    <a:pt x="200" y="64"/>
                  </a:cubicBezTo>
                  <a:cubicBezTo>
                    <a:pt x="200" y="63"/>
                    <a:pt x="201" y="63"/>
                    <a:pt x="201" y="62"/>
                  </a:cubicBezTo>
                  <a:cubicBezTo>
                    <a:pt x="201" y="61"/>
                    <a:pt x="202" y="60"/>
                    <a:pt x="202" y="59"/>
                  </a:cubicBezTo>
                  <a:cubicBezTo>
                    <a:pt x="202" y="58"/>
                    <a:pt x="202" y="58"/>
                    <a:pt x="203" y="57"/>
                  </a:cubicBezTo>
                  <a:cubicBezTo>
                    <a:pt x="203" y="56"/>
                    <a:pt x="203" y="54"/>
                    <a:pt x="203" y="53"/>
                  </a:cubicBezTo>
                  <a:cubicBezTo>
                    <a:pt x="203" y="53"/>
                    <a:pt x="204" y="52"/>
                    <a:pt x="204" y="52"/>
                  </a:cubicBezTo>
                  <a:cubicBezTo>
                    <a:pt x="204" y="50"/>
                    <a:pt x="204" y="49"/>
                    <a:pt x="205" y="48"/>
                  </a:cubicBezTo>
                  <a:cubicBezTo>
                    <a:pt x="206" y="44"/>
                    <a:pt x="207" y="41"/>
                    <a:pt x="206" y="37"/>
                  </a:cubicBezTo>
                  <a:cubicBezTo>
                    <a:pt x="206" y="34"/>
                    <a:pt x="205" y="31"/>
                    <a:pt x="203" y="29"/>
                  </a:cubicBezTo>
                  <a:cubicBezTo>
                    <a:pt x="201" y="27"/>
                    <a:pt x="200" y="26"/>
                    <a:pt x="198" y="26"/>
                  </a:cubicBezTo>
                  <a:cubicBezTo>
                    <a:pt x="197" y="26"/>
                    <a:pt x="195" y="26"/>
                    <a:pt x="193" y="29"/>
                  </a:cubicBezTo>
                  <a:cubicBezTo>
                    <a:pt x="192" y="31"/>
                    <a:pt x="191" y="35"/>
                    <a:pt x="191" y="39"/>
                  </a:cubicBezTo>
                  <a:cubicBezTo>
                    <a:pt x="191" y="39"/>
                    <a:pt x="191" y="39"/>
                    <a:pt x="191" y="39"/>
                  </a:cubicBezTo>
                  <a:cubicBezTo>
                    <a:pt x="190" y="39"/>
                    <a:pt x="189" y="39"/>
                    <a:pt x="188" y="39"/>
                  </a:cubicBezTo>
                  <a:cubicBezTo>
                    <a:pt x="187" y="39"/>
                    <a:pt x="185" y="40"/>
                    <a:pt x="183" y="42"/>
                  </a:cubicBezTo>
                  <a:cubicBezTo>
                    <a:pt x="182" y="42"/>
                    <a:pt x="182" y="43"/>
                    <a:pt x="181" y="43"/>
                  </a:cubicBezTo>
                  <a:cubicBezTo>
                    <a:pt x="179" y="44"/>
                    <a:pt x="179" y="44"/>
                    <a:pt x="179" y="44"/>
                  </a:cubicBezTo>
                  <a:cubicBezTo>
                    <a:pt x="179" y="44"/>
                    <a:pt x="179" y="44"/>
                    <a:pt x="178" y="45"/>
                  </a:cubicBezTo>
                  <a:cubicBezTo>
                    <a:pt x="177" y="45"/>
                    <a:pt x="175" y="46"/>
                    <a:pt x="175" y="46"/>
                  </a:cubicBezTo>
                  <a:cubicBezTo>
                    <a:pt x="174" y="46"/>
                    <a:pt x="174" y="46"/>
                    <a:pt x="174" y="45"/>
                  </a:cubicBezTo>
                  <a:cubicBezTo>
                    <a:pt x="173" y="45"/>
                    <a:pt x="173" y="44"/>
                    <a:pt x="173" y="44"/>
                  </a:cubicBezTo>
                  <a:cubicBezTo>
                    <a:pt x="173" y="43"/>
                    <a:pt x="172" y="41"/>
                    <a:pt x="171" y="40"/>
                  </a:cubicBezTo>
                  <a:cubicBezTo>
                    <a:pt x="169" y="39"/>
                    <a:pt x="167" y="38"/>
                    <a:pt x="165" y="38"/>
                  </a:cubicBezTo>
                  <a:cubicBezTo>
                    <a:pt x="166" y="38"/>
                    <a:pt x="167" y="38"/>
                    <a:pt x="168" y="37"/>
                  </a:cubicBezTo>
                  <a:cubicBezTo>
                    <a:pt x="168" y="37"/>
                    <a:pt x="169" y="37"/>
                    <a:pt x="169" y="37"/>
                  </a:cubicBezTo>
                  <a:cubicBezTo>
                    <a:pt x="170" y="37"/>
                    <a:pt x="171" y="37"/>
                    <a:pt x="172" y="37"/>
                  </a:cubicBezTo>
                  <a:cubicBezTo>
                    <a:pt x="176" y="36"/>
                    <a:pt x="176" y="31"/>
                    <a:pt x="176" y="30"/>
                  </a:cubicBezTo>
                  <a:cubicBezTo>
                    <a:pt x="176" y="28"/>
                    <a:pt x="175" y="25"/>
                    <a:pt x="170" y="25"/>
                  </a:cubicBezTo>
                  <a:cubicBezTo>
                    <a:pt x="170" y="25"/>
                    <a:pt x="170" y="25"/>
                    <a:pt x="170" y="25"/>
                  </a:cubicBezTo>
                  <a:cubicBezTo>
                    <a:pt x="169" y="25"/>
                    <a:pt x="169" y="25"/>
                    <a:pt x="168" y="26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5"/>
                    <a:pt x="167" y="24"/>
                    <a:pt x="167" y="23"/>
                  </a:cubicBezTo>
                  <a:cubicBezTo>
                    <a:pt x="165" y="21"/>
                    <a:pt x="162" y="20"/>
                    <a:pt x="158" y="20"/>
                  </a:cubicBezTo>
                  <a:cubicBezTo>
                    <a:pt x="157" y="20"/>
                    <a:pt x="156" y="20"/>
                    <a:pt x="155" y="21"/>
                  </a:cubicBezTo>
                  <a:cubicBezTo>
                    <a:pt x="153" y="21"/>
                    <a:pt x="153" y="22"/>
                    <a:pt x="152" y="22"/>
                  </a:cubicBezTo>
                  <a:cubicBezTo>
                    <a:pt x="151" y="23"/>
                    <a:pt x="151" y="23"/>
                    <a:pt x="151" y="23"/>
                  </a:cubicBezTo>
                  <a:cubicBezTo>
                    <a:pt x="151" y="23"/>
                    <a:pt x="151" y="23"/>
                    <a:pt x="150" y="23"/>
                  </a:cubicBezTo>
                  <a:cubicBezTo>
                    <a:pt x="150" y="22"/>
                    <a:pt x="149" y="21"/>
                    <a:pt x="147" y="21"/>
                  </a:cubicBezTo>
                  <a:cubicBezTo>
                    <a:pt x="146" y="20"/>
                    <a:pt x="144" y="20"/>
                    <a:pt x="143" y="20"/>
                  </a:cubicBezTo>
                  <a:cubicBezTo>
                    <a:pt x="141" y="20"/>
                    <a:pt x="140" y="20"/>
                    <a:pt x="139" y="20"/>
                  </a:cubicBezTo>
                  <a:cubicBezTo>
                    <a:pt x="138" y="20"/>
                    <a:pt x="137" y="20"/>
                    <a:pt x="137" y="20"/>
                  </a:cubicBezTo>
                  <a:cubicBezTo>
                    <a:pt x="135" y="20"/>
                    <a:pt x="134" y="20"/>
                    <a:pt x="133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5" y="20"/>
                    <a:pt x="125" y="20"/>
                    <a:pt x="124" y="20"/>
                  </a:cubicBezTo>
                  <a:cubicBezTo>
                    <a:pt x="123" y="20"/>
                    <a:pt x="122" y="21"/>
                    <a:pt x="121" y="21"/>
                  </a:cubicBezTo>
                  <a:cubicBezTo>
                    <a:pt x="117" y="21"/>
                    <a:pt x="115" y="20"/>
                    <a:pt x="114" y="19"/>
                  </a:cubicBezTo>
                  <a:cubicBezTo>
                    <a:pt x="114" y="18"/>
                    <a:pt x="114" y="18"/>
                    <a:pt x="115" y="17"/>
                  </a:cubicBezTo>
                  <a:cubicBezTo>
                    <a:pt x="115" y="16"/>
                    <a:pt x="116" y="14"/>
                    <a:pt x="116" y="12"/>
                  </a:cubicBezTo>
                  <a:cubicBezTo>
                    <a:pt x="116" y="8"/>
                    <a:pt x="113" y="5"/>
                    <a:pt x="108" y="5"/>
                  </a:cubicBezTo>
                  <a:cubicBezTo>
                    <a:pt x="108" y="5"/>
                    <a:pt x="108" y="5"/>
                    <a:pt x="107" y="5"/>
                  </a:cubicBezTo>
                  <a:cubicBezTo>
                    <a:pt x="107" y="5"/>
                    <a:pt x="106" y="5"/>
                    <a:pt x="106" y="6"/>
                  </a:cubicBezTo>
                  <a:cubicBezTo>
                    <a:pt x="106" y="5"/>
                    <a:pt x="106" y="5"/>
                    <a:pt x="105" y="5"/>
                  </a:cubicBezTo>
                  <a:cubicBezTo>
                    <a:pt x="105" y="5"/>
                    <a:pt x="105" y="5"/>
                    <a:pt x="104" y="4"/>
                  </a:cubicBezTo>
                  <a:cubicBezTo>
                    <a:pt x="103" y="3"/>
                    <a:pt x="102" y="2"/>
                    <a:pt x="99" y="2"/>
                  </a:cubicBezTo>
                  <a:cubicBezTo>
                    <a:pt x="99" y="2"/>
                    <a:pt x="98" y="2"/>
                    <a:pt x="97" y="2"/>
                  </a:cubicBezTo>
                  <a:cubicBezTo>
                    <a:pt x="95" y="3"/>
                    <a:pt x="94" y="4"/>
                    <a:pt x="93" y="5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2" y="3"/>
                    <a:pt x="91" y="0"/>
                    <a:pt x="87" y="0"/>
                  </a:cubicBezTo>
                  <a:cubicBezTo>
                    <a:pt x="87" y="0"/>
                    <a:pt x="86" y="1"/>
                    <a:pt x="85" y="1"/>
                  </a:cubicBezTo>
                  <a:cubicBezTo>
                    <a:pt x="82" y="2"/>
                    <a:pt x="81" y="4"/>
                    <a:pt x="81" y="6"/>
                  </a:cubicBezTo>
                  <a:cubicBezTo>
                    <a:pt x="80" y="6"/>
                    <a:pt x="80" y="7"/>
                    <a:pt x="80" y="7"/>
                  </a:cubicBezTo>
                  <a:cubicBezTo>
                    <a:pt x="80" y="8"/>
                    <a:pt x="80" y="8"/>
                    <a:pt x="79" y="8"/>
                  </a:cubicBezTo>
                  <a:cubicBezTo>
                    <a:pt x="78" y="9"/>
                    <a:pt x="77" y="11"/>
                    <a:pt x="77" y="14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76" y="14"/>
                    <a:pt x="73" y="7"/>
                    <a:pt x="73" y="7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2"/>
                    <a:pt x="70" y="13"/>
                    <a:pt x="69" y="13"/>
                  </a:cubicBezTo>
                  <a:cubicBezTo>
                    <a:pt x="68" y="15"/>
                    <a:pt x="67" y="17"/>
                    <a:pt x="65" y="19"/>
                  </a:cubicBezTo>
                  <a:cubicBezTo>
                    <a:pt x="64" y="22"/>
                    <a:pt x="62" y="25"/>
                    <a:pt x="59" y="27"/>
                  </a:cubicBezTo>
                  <a:cubicBezTo>
                    <a:pt x="58" y="28"/>
                    <a:pt x="56" y="29"/>
                    <a:pt x="54" y="30"/>
                  </a:cubicBezTo>
                  <a:cubicBezTo>
                    <a:pt x="51" y="32"/>
                    <a:pt x="48" y="33"/>
                    <a:pt x="47" y="36"/>
                  </a:cubicBezTo>
                  <a:cubicBezTo>
                    <a:pt x="45" y="38"/>
                    <a:pt x="45" y="40"/>
                    <a:pt x="44" y="43"/>
                  </a:cubicBezTo>
                  <a:cubicBezTo>
                    <a:pt x="44" y="45"/>
                    <a:pt x="43" y="47"/>
                    <a:pt x="42" y="49"/>
                  </a:cubicBezTo>
                  <a:cubicBezTo>
                    <a:pt x="39" y="54"/>
                    <a:pt x="36" y="57"/>
                    <a:pt x="31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29" y="63"/>
                    <a:pt x="27" y="66"/>
                    <a:pt x="27" y="68"/>
                  </a:cubicBezTo>
                  <a:cubicBezTo>
                    <a:pt x="27" y="70"/>
                    <a:pt x="28" y="73"/>
                    <a:pt x="31" y="75"/>
                  </a:cubicBezTo>
                  <a:cubicBezTo>
                    <a:pt x="33" y="77"/>
                    <a:pt x="37" y="78"/>
                    <a:pt x="41" y="80"/>
                  </a:cubicBezTo>
                  <a:cubicBezTo>
                    <a:pt x="45" y="81"/>
                    <a:pt x="50" y="83"/>
                    <a:pt x="51" y="86"/>
                  </a:cubicBezTo>
                  <a:cubicBezTo>
                    <a:pt x="52" y="89"/>
                    <a:pt x="52" y="92"/>
                    <a:pt x="50" y="96"/>
                  </a:cubicBezTo>
                  <a:cubicBezTo>
                    <a:pt x="49" y="99"/>
                    <a:pt x="45" y="102"/>
                    <a:pt x="41" y="105"/>
                  </a:cubicBezTo>
                  <a:cubicBezTo>
                    <a:pt x="35" y="111"/>
                    <a:pt x="28" y="117"/>
                    <a:pt x="31" y="123"/>
                  </a:cubicBezTo>
                  <a:cubicBezTo>
                    <a:pt x="32" y="125"/>
                    <a:pt x="34" y="127"/>
                    <a:pt x="36" y="129"/>
                  </a:cubicBezTo>
                  <a:cubicBezTo>
                    <a:pt x="41" y="132"/>
                    <a:pt x="44" y="135"/>
                    <a:pt x="41" y="140"/>
                  </a:cubicBezTo>
                  <a:cubicBezTo>
                    <a:pt x="38" y="146"/>
                    <a:pt x="31" y="151"/>
                    <a:pt x="25" y="155"/>
                  </a:cubicBezTo>
                  <a:cubicBezTo>
                    <a:pt x="23" y="157"/>
                    <a:pt x="23" y="157"/>
                    <a:pt x="23" y="157"/>
                  </a:cubicBezTo>
                  <a:cubicBezTo>
                    <a:pt x="15" y="162"/>
                    <a:pt x="16" y="170"/>
                    <a:pt x="16" y="178"/>
                  </a:cubicBezTo>
                  <a:cubicBezTo>
                    <a:pt x="17" y="180"/>
                    <a:pt x="17" y="180"/>
                    <a:pt x="17" y="180"/>
                  </a:cubicBezTo>
                  <a:cubicBezTo>
                    <a:pt x="17" y="184"/>
                    <a:pt x="18" y="186"/>
                    <a:pt x="20" y="189"/>
                  </a:cubicBezTo>
                  <a:cubicBezTo>
                    <a:pt x="20" y="190"/>
                    <a:pt x="21" y="191"/>
                    <a:pt x="22" y="192"/>
                  </a:cubicBezTo>
                  <a:cubicBezTo>
                    <a:pt x="23" y="195"/>
                    <a:pt x="23" y="199"/>
                    <a:pt x="22" y="203"/>
                  </a:cubicBezTo>
                  <a:cubicBezTo>
                    <a:pt x="22" y="204"/>
                    <a:pt x="22" y="205"/>
                    <a:pt x="22" y="206"/>
                  </a:cubicBezTo>
                  <a:cubicBezTo>
                    <a:pt x="22" y="208"/>
                    <a:pt x="22" y="208"/>
                    <a:pt x="22" y="208"/>
                  </a:cubicBezTo>
                  <a:cubicBezTo>
                    <a:pt x="21" y="212"/>
                    <a:pt x="21" y="217"/>
                    <a:pt x="21" y="222"/>
                  </a:cubicBezTo>
                  <a:cubicBezTo>
                    <a:pt x="21" y="222"/>
                    <a:pt x="22" y="223"/>
                    <a:pt x="22" y="224"/>
                  </a:cubicBezTo>
                  <a:cubicBezTo>
                    <a:pt x="22" y="227"/>
                    <a:pt x="23" y="230"/>
                    <a:pt x="21" y="234"/>
                  </a:cubicBezTo>
                  <a:cubicBezTo>
                    <a:pt x="20" y="238"/>
                    <a:pt x="17" y="240"/>
                    <a:pt x="14" y="243"/>
                  </a:cubicBezTo>
                  <a:cubicBezTo>
                    <a:pt x="12" y="245"/>
                    <a:pt x="10" y="246"/>
                    <a:pt x="9" y="249"/>
                  </a:cubicBezTo>
                  <a:cubicBezTo>
                    <a:pt x="7" y="252"/>
                    <a:pt x="7" y="256"/>
                    <a:pt x="8" y="261"/>
                  </a:cubicBezTo>
                  <a:cubicBezTo>
                    <a:pt x="8" y="262"/>
                    <a:pt x="8" y="264"/>
                    <a:pt x="8" y="265"/>
                  </a:cubicBezTo>
                  <a:cubicBezTo>
                    <a:pt x="9" y="270"/>
                    <a:pt x="7" y="273"/>
                    <a:pt x="4" y="276"/>
                  </a:cubicBezTo>
                  <a:cubicBezTo>
                    <a:pt x="4" y="277"/>
                    <a:pt x="3" y="278"/>
                    <a:pt x="2" y="280"/>
                  </a:cubicBezTo>
                  <a:cubicBezTo>
                    <a:pt x="0" y="284"/>
                    <a:pt x="1" y="285"/>
                    <a:pt x="3" y="288"/>
                  </a:cubicBezTo>
                  <a:cubicBezTo>
                    <a:pt x="4" y="289"/>
                    <a:pt x="5" y="290"/>
                    <a:pt x="6" y="291"/>
                  </a:cubicBezTo>
                  <a:cubicBezTo>
                    <a:pt x="8" y="296"/>
                    <a:pt x="8" y="301"/>
                    <a:pt x="8" y="307"/>
                  </a:cubicBezTo>
                  <a:cubicBezTo>
                    <a:pt x="8" y="311"/>
                    <a:pt x="8" y="315"/>
                    <a:pt x="9" y="319"/>
                  </a:cubicBezTo>
                  <a:cubicBezTo>
                    <a:pt x="10" y="321"/>
                    <a:pt x="11" y="322"/>
                    <a:pt x="12" y="324"/>
                  </a:cubicBezTo>
                  <a:cubicBezTo>
                    <a:pt x="14" y="326"/>
                    <a:pt x="15" y="328"/>
                    <a:pt x="15" y="330"/>
                  </a:cubicBezTo>
                  <a:cubicBezTo>
                    <a:pt x="16" y="335"/>
                    <a:pt x="14" y="338"/>
                    <a:pt x="13" y="341"/>
                  </a:cubicBezTo>
                  <a:cubicBezTo>
                    <a:pt x="11" y="343"/>
                    <a:pt x="10" y="345"/>
                    <a:pt x="10" y="348"/>
                  </a:cubicBezTo>
                  <a:cubicBezTo>
                    <a:pt x="9" y="352"/>
                    <a:pt x="11" y="356"/>
                    <a:pt x="14" y="358"/>
                  </a:cubicBezTo>
                  <a:cubicBezTo>
                    <a:pt x="16" y="359"/>
                    <a:pt x="18" y="360"/>
                    <a:pt x="20" y="360"/>
                  </a:cubicBezTo>
                  <a:cubicBezTo>
                    <a:pt x="22" y="360"/>
                    <a:pt x="24" y="361"/>
                    <a:pt x="26" y="362"/>
                  </a:cubicBezTo>
                  <a:cubicBezTo>
                    <a:pt x="27" y="363"/>
                    <a:pt x="27" y="363"/>
                    <a:pt x="28" y="364"/>
                  </a:cubicBezTo>
                  <a:cubicBezTo>
                    <a:pt x="29" y="365"/>
                    <a:pt x="29" y="366"/>
                    <a:pt x="30" y="367"/>
                  </a:cubicBezTo>
                  <a:cubicBezTo>
                    <a:pt x="32" y="368"/>
                    <a:pt x="33" y="368"/>
                    <a:pt x="35" y="368"/>
                  </a:cubicBezTo>
                  <a:cubicBezTo>
                    <a:pt x="35" y="368"/>
                    <a:pt x="36" y="368"/>
                    <a:pt x="37" y="368"/>
                  </a:cubicBezTo>
                  <a:cubicBezTo>
                    <a:pt x="38" y="368"/>
                    <a:pt x="38" y="368"/>
                    <a:pt x="39" y="368"/>
                  </a:cubicBezTo>
                  <a:cubicBezTo>
                    <a:pt x="42" y="368"/>
                    <a:pt x="44" y="368"/>
                    <a:pt x="45" y="370"/>
                  </a:cubicBezTo>
                  <a:cubicBezTo>
                    <a:pt x="47" y="373"/>
                    <a:pt x="46" y="375"/>
                    <a:pt x="42" y="379"/>
                  </a:cubicBezTo>
                  <a:cubicBezTo>
                    <a:pt x="41" y="380"/>
                    <a:pt x="41" y="381"/>
                    <a:pt x="40" y="382"/>
                  </a:cubicBezTo>
                  <a:cubicBezTo>
                    <a:pt x="38" y="385"/>
                    <a:pt x="39" y="388"/>
                    <a:pt x="39" y="392"/>
                  </a:cubicBezTo>
                  <a:cubicBezTo>
                    <a:pt x="40" y="394"/>
                    <a:pt x="40" y="396"/>
                    <a:pt x="40" y="399"/>
                  </a:cubicBezTo>
                  <a:cubicBezTo>
                    <a:pt x="39" y="401"/>
                    <a:pt x="39" y="402"/>
                    <a:pt x="39" y="402"/>
                  </a:cubicBezTo>
                  <a:cubicBezTo>
                    <a:pt x="38" y="403"/>
                    <a:pt x="38" y="403"/>
                    <a:pt x="38" y="404"/>
                  </a:cubicBezTo>
                  <a:cubicBezTo>
                    <a:pt x="37" y="406"/>
                    <a:pt x="37" y="406"/>
                    <a:pt x="37" y="406"/>
                  </a:cubicBezTo>
                  <a:cubicBezTo>
                    <a:pt x="39" y="407"/>
                    <a:pt x="39" y="407"/>
                    <a:pt x="39" y="407"/>
                  </a:cubicBezTo>
                  <a:cubicBezTo>
                    <a:pt x="60" y="420"/>
                    <a:pt x="82" y="432"/>
                    <a:pt x="103" y="444"/>
                  </a:cubicBezTo>
                  <a:cubicBezTo>
                    <a:pt x="103" y="444"/>
                    <a:pt x="103" y="444"/>
                    <a:pt x="103" y="444"/>
                  </a:cubicBezTo>
                  <a:cubicBezTo>
                    <a:pt x="268" y="530"/>
                    <a:pt x="401" y="552"/>
                    <a:pt x="426" y="556"/>
                  </a:cubicBezTo>
                  <a:cubicBezTo>
                    <a:pt x="429" y="556"/>
                    <a:pt x="429" y="556"/>
                    <a:pt x="429" y="556"/>
                  </a:cubicBezTo>
                  <a:cubicBezTo>
                    <a:pt x="430" y="553"/>
                    <a:pt x="430" y="553"/>
                    <a:pt x="430" y="553"/>
                  </a:cubicBezTo>
                  <a:cubicBezTo>
                    <a:pt x="443" y="468"/>
                    <a:pt x="453" y="418"/>
                    <a:pt x="457" y="403"/>
                  </a:cubicBezTo>
                  <a:cubicBezTo>
                    <a:pt x="458" y="401"/>
                    <a:pt x="458" y="401"/>
                    <a:pt x="458" y="401"/>
                  </a:cubicBezTo>
                  <a:lnTo>
                    <a:pt x="345" y="346"/>
                  </a:lnTo>
                  <a:close/>
                  <a:moveTo>
                    <a:pt x="106" y="44"/>
                  </a:moveTo>
                  <a:cubicBezTo>
                    <a:pt x="106" y="44"/>
                    <a:pt x="105" y="44"/>
                    <a:pt x="105" y="43"/>
                  </a:cubicBezTo>
                  <a:cubicBezTo>
                    <a:pt x="104" y="43"/>
                    <a:pt x="104" y="42"/>
                    <a:pt x="104" y="41"/>
                  </a:cubicBezTo>
                  <a:cubicBezTo>
                    <a:pt x="104" y="39"/>
                    <a:pt x="106" y="38"/>
                    <a:pt x="111" y="37"/>
                  </a:cubicBezTo>
                  <a:cubicBezTo>
                    <a:pt x="111" y="37"/>
                    <a:pt x="112" y="37"/>
                    <a:pt x="112" y="37"/>
                  </a:cubicBezTo>
                  <a:cubicBezTo>
                    <a:pt x="112" y="38"/>
                    <a:pt x="111" y="38"/>
                    <a:pt x="111" y="39"/>
                  </a:cubicBezTo>
                  <a:cubicBezTo>
                    <a:pt x="111" y="40"/>
                    <a:pt x="110" y="40"/>
                    <a:pt x="110" y="40"/>
                  </a:cubicBezTo>
                  <a:cubicBezTo>
                    <a:pt x="109" y="42"/>
                    <a:pt x="109" y="43"/>
                    <a:pt x="107" y="44"/>
                  </a:cubicBezTo>
                  <a:cubicBezTo>
                    <a:pt x="107" y="44"/>
                    <a:pt x="107" y="44"/>
                    <a:pt x="106" y="44"/>
                  </a:cubicBezTo>
                  <a:close/>
                  <a:moveTo>
                    <a:pt x="232" y="212"/>
                  </a:moveTo>
                  <a:cubicBezTo>
                    <a:pt x="231" y="212"/>
                    <a:pt x="230" y="212"/>
                    <a:pt x="229" y="212"/>
                  </a:cubicBezTo>
                  <a:cubicBezTo>
                    <a:pt x="229" y="212"/>
                    <a:pt x="229" y="212"/>
                    <a:pt x="229" y="212"/>
                  </a:cubicBezTo>
                  <a:cubicBezTo>
                    <a:pt x="228" y="212"/>
                    <a:pt x="227" y="212"/>
                    <a:pt x="226" y="212"/>
                  </a:cubicBezTo>
                  <a:cubicBezTo>
                    <a:pt x="225" y="212"/>
                    <a:pt x="224" y="212"/>
                    <a:pt x="222" y="212"/>
                  </a:cubicBezTo>
                  <a:cubicBezTo>
                    <a:pt x="220" y="212"/>
                    <a:pt x="217" y="212"/>
                    <a:pt x="214" y="214"/>
                  </a:cubicBezTo>
                  <a:cubicBezTo>
                    <a:pt x="212" y="216"/>
                    <a:pt x="208" y="218"/>
                    <a:pt x="208" y="222"/>
                  </a:cubicBezTo>
                  <a:cubicBezTo>
                    <a:pt x="208" y="225"/>
                    <a:pt x="211" y="227"/>
                    <a:pt x="213" y="228"/>
                  </a:cubicBezTo>
                  <a:cubicBezTo>
                    <a:pt x="213" y="228"/>
                    <a:pt x="213" y="228"/>
                    <a:pt x="213" y="228"/>
                  </a:cubicBezTo>
                  <a:cubicBezTo>
                    <a:pt x="217" y="230"/>
                    <a:pt x="220" y="232"/>
                    <a:pt x="222" y="235"/>
                  </a:cubicBezTo>
                  <a:cubicBezTo>
                    <a:pt x="222" y="236"/>
                    <a:pt x="222" y="236"/>
                    <a:pt x="222" y="236"/>
                  </a:cubicBezTo>
                  <a:cubicBezTo>
                    <a:pt x="223" y="236"/>
                    <a:pt x="223" y="236"/>
                    <a:pt x="223" y="236"/>
                  </a:cubicBezTo>
                  <a:cubicBezTo>
                    <a:pt x="224" y="237"/>
                    <a:pt x="225" y="237"/>
                    <a:pt x="226" y="238"/>
                  </a:cubicBezTo>
                  <a:cubicBezTo>
                    <a:pt x="228" y="239"/>
                    <a:pt x="230" y="240"/>
                    <a:pt x="233" y="240"/>
                  </a:cubicBezTo>
                  <a:cubicBezTo>
                    <a:pt x="233" y="240"/>
                    <a:pt x="234" y="240"/>
                    <a:pt x="234" y="240"/>
                  </a:cubicBezTo>
                  <a:cubicBezTo>
                    <a:pt x="237" y="240"/>
                    <a:pt x="239" y="239"/>
                    <a:pt x="241" y="238"/>
                  </a:cubicBezTo>
                  <a:cubicBezTo>
                    <a:pt x="242" y="237"/>
                    <a:pt x="243" y="237"/>
                    <a:pt x="244" y="236"/>
                  </a:cubicBezTo>
                  <a:cubicBezTo>
                    <a:pt x="244" y="236"/>
                    <a:pt x="245" y="236"/>
                    <a:pt x="244" y="236"/>
                  </a:cubicBezTo>
                  <a:cubicBezTo>
                    <a:pt x="245" y="237"/>
                    <a:pt x="244" y="241"/>
                    <a:pt x="243" y="243"/>
                  </a:cubicBezTo>
                  <a:cubicBezTo>
                    <a:pt x="242" y="244"/>
                    <a:pt x="240" y="245"/>
                    <a:pt x="238" y="246"/>
                  </a:cubicBezTo>
                  <a:cubicBezTo>
                    <a:pt x="235" y="248"/>
                    <a:pt x="231" y="250"/>
                    <a:pt x="230" y="255"/>
                  </a:cubicBezTo>
                  <a:cubicBezTo>
                    <a:pt x="230" y="255"/>
                    <a:pt x="230" y="256"/>
                    <a:pt x="230" y="257"/>
                  </a:cubicBezTo>
                  <a:cubicBezTo>
                    <a:pt x="230" y="258"/>
                    <a:pt x="230" y="259"/>
                    <a:pt x="230" y="259"/>
                  </a:cubicBezTo>
                  <a:cubicBezTo>
                    <a:pt x="230" y="259"/>
                    <a:pt x="229" y="259"/>
                    <a:pt x="229" y="259"/>
                  </a:cubicBezTo>
                  <a:cubicBezTo>
                    <a:pt x="228" y="259"/>
                    <a:pt x="226" y="259"/>
                    <a:pt x="226" y="258"/>
                  </a:cubicBezTo>
                  <a:cubicBezTo>
                    <a:pt x="225" y="258"/>
                    <a:pt x="225" y="257"/>
                    <a:pt x="224" y="256"/>
                  </a:cubicBezTo>
                  <a:cubicBezTo>
                    <a:pt x="223" y="254"/>
                    <a:pt x="223" y="253"/>
                    <a:pt x="221" y="252"/>
                  </a:cubicBezTo>
                  <a:cubicBezTo>
                    <a:pt x="219" y="249"/>
                    <a:pt x="214" y="248"/>
                    <a:pt x="212" y="247"/>
                  </a:cubicBezTo>
                  <a:cubicBezTo>
                    <a:pt x="211" y="247"/>
                    <a:pt x="211" y="247"/>
                    <a:pt x="210" y="247"/>
                  </a:cubicBezTo>
                  <a:cubicBezTo>
                    <a:pt x="207" y="247"/>
                    <a:pt x="202" y="249"/>
                    <a:pt x="200" y="252"/>
                  </a:cubicBezTo>
                  <a:cubicBezTo>
                    <a:pt x="199" y="254"/>
                    <a:pt x="199" y="257"/>
                    <a:pt x="200" y="259"/>
                  </a:cubicBezTo>
                  <a:cubicBezTo>
                    <a:pt x="200" y="260"/>
                    <a:pt x="201" y="261"/>
                    <a:pt x="201" y="261"/>
                  </a:cubicBezTo>
                  <a:cubicBezTo>
                    <a:pt x="201" y="261"/>
                    <a:pt x="200" y="261"/>
                    <a:pt x="199" y="261"/>
                  </a:cubicBezTo>
                  <a:cubicBezTo>
                    <a:pt x="198" y="261"/>
                    <a:pt x="197" y="261"/>
                    <a:pt x="196" y="262"/>
                  </a:cubicBezTo>
                  <a:cubicBezTo>
                    <a:pt x="195" y="262"/>
                    <a:pt x="194" y="262"/>
                    <a:pt x="193" y="263"/>
                  </a:cubicBezTo>
                  <a:cubicBezTo>
                    <a:pt x="192" y="263"/>
                    <a:pt x="191" y="263"/>
                    <a:pt x="190" y="263"/>
                  </a:cubicBezTo>
                  <a:cubicBezTo>
                    <a:pt x="189" y="264"/>
                    <a:pt x="187" y="264"/>
                    <a:pt x="185" y="265"/>
                  </a:cubicBezTo>
                  <a:cubicBezTo>
                    <a:pt x="186" y="264"/>
                    <a:pt x="187" y="264"/>
                    <a:pt x="188" y="264"/>
                  </a:cubicBezTo>
                  <a:cubicBezTo>
                    <a:pt x="192" y="262"/>
                    <a:pt x="195" y="259"/>
                    <a:pt x="197" y="256"/>
                  </a:cubicBezTo>
                  <a:cubicBezTo>
                    <a:pt x="198" y="252"/>
                    <a:pt x="198" y="249"/>
                    <a:pt x="196" y="245"/>
                  </a:cubicBezTo>
                  <a:cubicBezTo>
                    <a:pt x="195" y="243"/>
                    <a:pt x="195" y="243"/>
                    <a:pt x="195" y="243"/>
                  </a:cubicBezTo>
                  <a:cubicBezTo>
                    <a:pt x="193" y="243"/>
                    <a:pt x="193" y="243"/>
                    <a:pt x="193" y="243"/>
                  </a:cubicBezTo>
                  <a:cubicBezTo>
                    <a:pt x="189" y="243"/>
                    <a:pt x="184" y="244"/>
                    <a:pt x="179" y="245"/>
                  </a:cubicBezTo>
                  <a:cubicBezTo>
                    <a:pt x="175" y="246"/>
                    <a:pt x="173" y="249"/>
                    <a:pt x="170" y="251"/>
                  </a:cubicBezTo>
                  <a:cubicBezTo>
                    <a:pt x="169" y="252"/>
                    <a:pt x="167" y="253"/>
                    <a:pt x="166" y="254"/>
                  </a:cubicBezTo>
                  <a:cubicBezTo>
                    <a:pt x="165" y="255"/>
                    <a:pt x="164" y="255"/>
                    <a:pt x="163" y="255"/>
                  </a:cubicBezTo>
                  <a:cubicBezTo>
                    <a:pt x="161" y="255"/>
                    <a:pt x="159" y="252"/>
                    <a:pt x="156" y="250"/>
                  </a:cubicBezTo>
                  <a:cubicBezTo>
                    <a:pt x="155" y="249"/>
                    <a:pt x="154" y="248"/>
                    <a:pt x="154" y="247"/>
                  </a:cubicBezTo>
                  <a:cubicBezTo>
                    <a:pt x="153" y="247"/>
                    <a:pt x="152" y="246"/>
                    <a:pt x="152" y="246"/>
                  </a:cubicBezTo>
                  <a:cubicBezTo>
                    <a:pt x="151" y="246"/>
                    <a:pt x="151" y="245"/>
                    <a:pt x="151" y="245"/>
                  </a:cubicBezTo>
                  <a:cubicBezTo>
                    <a:pt x="152" y="245"/>
                    <a:pt x="153" y="246"/>
                    <a:pt x="154" y="246"/>
                  </a:cubicBezTo>
                  <a:cubicBezTo>
                    <a:pt x="155" y="246"/>
                    <a:pt x="156" y="245"/>
                    <a:pt x="157" y="245"/>
                  </a:cubicBezTo>
                  <a:cubicBezTo>
                    <a:pt x="161" y="243"/>
                    <a:pt x="163" y="239"/>
                    <a:pt x="164" y="236"/>
                  </a:cubicBezTo>
                  <a:cubicBezTo>
                    <a:pt x="165" y="236"/>
                    <a:pt x="165" y="236"/>
                    <a:pt x="166" y="236"/>
                  </a:cubicBezTo>
                  <a:cubicBezTo>
                    <a:pt x="167" y="236"/>
                    <a:pt x="168" y="236"/>
                    <a:pt x="169" y="236"/>
                  </a:cubicBezTo>
                  <a:cubicBezTo>
                    <a:pt x="170" y="236"/>
                    <a:pt x="173" y="236"/>
                    <a:pt x="176" y="233"/>
                  </a:cubicBezTo>
                  <a:cubicBezTo>
                    <a:pt x="177" y="231"/>
                    <a:pt x="178" y="230"/>
                    <a:pt x="178" y="228"/>
                  </a:cubicBezTo>
                  <a:cubicBezTo>
                    <a:pt x="178" y="228"/>
                    <a:pt x="178" y="229"/>
                    <a:pt x="178" y="229"/>
                  </a:cubicBezTo>
                  <a:cubicBezTo>
                    <a:pt x="182" y="232"/>
                    <a:pt x="184" y="234"/>
                    <a:pt x="189" y="234"/>
                  </a:cubicBezTo>
                  <a:cubicBezTo>
                    <a:pt x="189" y="234"/>
                    <a:pt x="190" y="234"/>
                    <a:pt x="191" y="234"/>
                  </a:cubicBezTo>
                  <a:cubicBezTo>
                    <a:pt x="194" y="233"/>
                    <a:pt x="194" y="233"/>
                    <a:pt x="194" y="233"/>
                  </a:cubicBezTo>
                  <a:cubicBezTo>
                    <a:pt x="194" y="231"/>
                    <a:pt x="194" y="231"/>
                    <a:pt x="194" y="231"/>
                  </a:cubicBezTo>
                  <a:cubicBezTo>
                    <a:pt x="194" y="221"/>
                    <a:pt x="190" y="217"/>
                    <a:pt x="184" y="211"/>
                  </a:cubicBezTo>
                  <a:cubicBezTo>
                    <a:pt x="183" y="211"/>
                    <a:pt x="183" y="211"/>
                    <a:pt x="182" y="210"/>
                  </a:cubicBezTo>
                  <a:cubicBezTo>
                    <a:pt x="181" y="209"/>
                    <a:pt x="178" y="207"/>
                    <a:pt x="175" y="206"/>
                  </a:cubicBezTo>
                  <a:cubicBezTo>
                    <a:pt x="174" y="206"/>
                    <a:pt x="174" y="206"/>
                    <a:pt x="174" y="206"/>
                  </a:cubicBezTo>
                  <a:cubicBezTo>
                    <a:pt x="173" y="206"/>
                    <a:pt x="172" y="207"/>
                    <a:pt x="171" y="207"/>
                  </a:cubicBezTo>
                  <a:cubicBezTo>
                    <a:pt x="171" y="207"/>
                    <a:pt x="171" y="207"/>
                    <a:pt x="171" y="207"/>
                  </a:cubicBezTo>
                  <a:cubicBezTo>
                    <a:pt x="170" y="207"/>
                    <a:pt x="169" y="206"/>
                    <a:pt x="168" y="205"/>
                  </a:cubicBezTo>
                  <a:cubicBezTo>
                    <a:pt x="168" y="205"/>
                    <a:pt x="168" y="205"/>
                    <a:pt x="168" y="205"/>
                  </a:cubicBezTo>
                  <a:cubicBezTo>
                    <a:pt x="166" y="203"/>
                    <a:pt x="165" y="203"/>
                    <a:pt x="162" y="202"/>
                  </a:cubicBezTo>
                  <a:cubicBezTo>
                    <a:pt x="161" y="201"/>
                    <a:pt x="161" y="201"/>
                    <a:pt x="160" y="200"/>
                  </a:cubicBezTo>
                  <a:cubicBezTo>
                    <a:pt x="159" y="200"/>
                    <a:pt x="158" y="199"/>
                    <a:pt x="157" y="199"/>
                  </a:cubicBezTo>
                  <a:cubicBezTo>
                    <a:pt x="157" y="199"/>
                    <a:pt x="157" y="199"/>
                    <a:pt x="156" y="198"/>
                  </a:cubicBezTo>
                  <a:cubicBezTo>
                    <a:pt x="157" y="199"/>
                    <a:pt x="157" y="199"/>
                    <a:pt x="158" y="199"/>
                  </a:cubicBezTo>
                  <a:cubicBezTo>
                    <a:pt x="159" y="200"/>
                    <a:pt x="161" y="200"/>
                    <a:pt x="163" y="200"/>
                  </a:cubicBezTo>
                  <a:cubicBezTo>
                    <a:pt x="163" y="200"/>
                    <a:pt x="163" y="200"/>
                    <a:pt x="164" y="200"/>
                  </a:cubicBezTo>
                  <a:cubicBezTo>
                    <a:pt x="165" y="200"/>
                    <a:pt x="166" y="200"/>
                    <a:pt x="167" y="199"/>
                  </a:cubicBezTo>
                  <a:cubicBezTo>
                    <a:pt x="167" y="199"/>
                    <a:pt x="168" y="199"/>
                    <a:pt x="169" y="199"/>
                  </a:cubicBezTo>
                  <a:cubicBezTo>
                    <a:pt x="169" y="199"/>
                    <a:pt x="169" y="199"/>
                    <a:pt x="170" y="199"/>
                  </a:cubicBezTo>
                  <a:cubicBezTo>
                    <a:pt x="171" y="199"/>
                    <a:pt x="171" y="200"/>
                    <a:pt x="172" y="200"/>
                  </a:cubicBezTo>
                  <a:cubicBezTo>
                    <a:pt x="174" y="201"/>
                    <a:pt x="175" y="201"/>
                    <a:pt x="176" y="201"/>
                  </a:cubicBezTo>
                  <a:cubicBezTo>
                    <a:pt x="179" y="202"/>
                    <a:pt x="182" y="203"/>
                    <a:pt x="185" y="204"/>
                  </a:cubicBezTo>
                  <a:cubicBezTo>
                    <a:pt x="190" y="206"/>
                    <a:pt x="194" y="208"/>
                    <a:pt x="200" y="208"/>
                  </a:cubicBezTo>
                  <a:cubicBezTo>
                    <a:pt x="201" y="208"/>
                    <a:pt x="201" y="208"/>
                    <a:pt x="202" y="208"/>
                  </a:cubicBezTo>
                  <a:cubicBezTo>
                    <a:pt x="205" y="207"/>
                    <a:pt x="207" y="207"/>
                    <a:pt x="209" y="206"/>
                  </a:cubicBezTo>
                  <a:cubicBezTo>
                    <a:pt x="212" y="206"/>
                    <a:pt x="214" y="205"/>
                    <a:pt x="217" y="205"/>
                  </a:cubicBezTo>
                  <a:cubicBezTo>
                    <a:pt x="217" y="205"/>
                    <a:pt x="218" y="205"/>
                    <a:pt x="218" y="205"/>
                  </a:cubicBezTo>
                  <a:cubicBezTo>
                    <a:pt x="222" y="205"/>
                    <a:pt x="227" y="208"/>
                    <a:pt x="231" y="211"/>
                  </a:cubicBezTo>
                  <a:cubicBezTo>
                    <a:pt x="231" y="211"/>
                    <a:pt x="232" y="212"/>
                    <a:pt x="232" y="212"/>
                  </a:cubicBezTo>
                  <a:close/>
                  <a:moveTo>
                    <a:pt x="144" y="195"/>
                  </a:moveTo>
                  <a:cubicBezTo>
                    <a:pt x="144" y="195"/>
                    <a:pt x="145" y="195"/>
                    <a:pt x="146" y="195"/>
                  </a:cubicBezTo>
                  <a:cubicBezTo>
                    <a:pt x="146" y="195"/>
                    <a:pt x="146" y="195"/>
                    <a:pt x="146" y="195"/>
                  </a:cubicBezTo>
                  <a:cubicBezTo>
                    <a:pt x="147" y="195"/>
                    <a:pt x="147" y="195"/>
                    <a:pt x="148" y="196"/>
                  </a:cubicBezTo>
                  <a:cubicBezTo>
                    <a:pt x="149" y="196"/>
                    <a:pt x="149" y="196"/>
                    <a:pt x="150" y="197"/>
                  </a:cubicBezTo>
                  <a:cubicBezTo>
                    <a:pt x="150" y="197"/>
                    <a:pt x="151" y="197"/>
                    <a:pt x="152" y="197"/>
                  </a:cubicBezTo>
                  <a:cubicBezTo>
                    <a:pt x="152" y="197"/>
                    <a:pt x="151" y="197"/>
                    <a:pt x="151" y="197"/>
                  </a:cubicBezTo>
                  <a:cubicBezTo>
                    <a:pt x="149" y="197"/>
                    <a:pt x="147" y="198"/>
                    <a:pt x="145" y="199"/>
                  </a:cubicBezTo>
                  <a:cubicBezTo>
                    <a:pt x="144" y="199"/>
                    <a:pt x="143" y="199"/>
                    <a:pt x="143" y="199"/>
                  </a:cubicBezTo>
                  <a:cubicBezTo>
                    <a:pt x="143" y="199"/>
                    <a:pt x="143" y="199"/>
                    <a:pt x="143" y="198"/>
                  </a:cubicBezTo>
                  <a:cubicBezTo>
                    <a:pt x="143" y="197"/>
                    <a:pt x="143" y="196"/>
                    <a:pt x="144" y="195"/>
                  </a:cubicBezTo>
                  <a:close/>
                  <a:moveTo>
                    <a:pt x="154" y="38"/>
                  </a:moveTo>
                  <a:cubicBezTo>
                    <a:pt x="151" y="38"/>
                    <a:pt x="148" y="41"/>
                    <a:pt x="146" y="42"/>
                  </a:cubicBezTo>
                  <a:cubicBezTo>
                    <a:pt x="146" y="43"/>
                    <a:pt x="145" y="43"/>
                    <a:pt x="144" y="44"/>
                  </a:cubicBezTo>
                  <a:cubicBezTo>
                    <a:pt x="144" y="44"/>
                    <a:pt x="144" y="44"/>
                    <a:pt x="144" y="44"/>
                  </a:cubicBezTo>
                  <a:cubicBezTo>
                    <a:pt x="143" y="41"/>
                    <a:pt x="141" y="40"/>
                    <a:pt x="138" y="38"/>
                  </a:cubicBezTo>
                  <a:cubicBezTo>
                    <a:pt x="135" y="36"/>
                    <a:pt x="131" y="34"/>
                    <a:pt x="126" y="34"/>
                  </a:cubicBezTo>
                  <a:cubicBezTo>
                    <a:pt x="128" y="33"/>
                    <a:pt x="129" y="33"/>
                    <a:pt x="131" y="33"/>
                  </a:cubicBezTo>
                  <a:cubicBezTo>
                    <a:pt x="135" y="33"/>
                    <a:pt x="140" y="34"/>
                    <a:pt x="144" y="36"/>
                  </a:cubicBezTo>
                  <a:cubicBezTo>
                    <a:pt x="147" y="36"/>
                    <a:pt x="150" y="37"/>
                    <a:pt x="153" y="38"/>
                  </a:cubicBezTo>
                  <a:cubicBezTo>
                    <a:pt x="154" y="38"/>
                    <a:pt x="154" y="38"/>
                    <a:pt x="155" y="38"/>
                  </a:cubicBezTo>
                  <a:cubicBezTo>
                    <a:pt x="155" y="38"/>
                    <a:pt x="155" y="38"/>
                    <a:pt x="154" y="38"/>
                  </a:cubicBezTo>
                  <a:close/>
                  <a:moveTo>
                    <a:pt x="311" y="415"/>
                  </a:moveTo>
                  <a:cubicBezTo>
                    <a:pt x="311" y="415"/>
                    <a:pt x="311" y="415"/>
                    <a:pt x="311" y="415"/>
                  </a:cubicBezTo>
                  <a:cubicBezTo>
                    <a:pt x="310" y="417"/>
                    <a:pt x="310" y="417"/>
                    <a:pt x="310" y="417"/>
                  </a:cubicBezTo>
                  <a:cubicBezTo>
                    <a:pt x="309" y="417"/>
                    <a:pt x="309" y="417"/>
                    <a:pt x="309" y="417"/>
                  </a:cubicBezTo>
                  <a:cubicBezTo>
                    <a:pt x="310" y="418"/>
                    <a:pt x="310" y="422"/>
                    <a:pt x="310" y="423"/>
                  </a:cubicBezTo>
                  <a:cubicBezTo>
                    <a:pt x="310" y="424"/>
                    <a:pt x="309" y="426"/>
                    <a:pt x="305" y="426"/>
                  </a:cubicBezTo>
                  <a:cubicBezTo>
                    <a:pt x="302" y="426"/>
                    <a:pt x="299" y="425"/>
                    <a:pt x="297" y="424"/>
                  </a:cubicBezTo>
                  <a:cubicBezTo>
                    <a:pt x="296" y="424"/>
                    <a:pt x="296" y="424"/>
                    <a:pt x="296" y="424"/>
                  </a:cubicBezTo>
                  <a:cubicBezTo>
                    <a:pt x="294" y="423"/>
                    <a:pt x="292" y="423"/>
                    <a:pt x="291" y="423"/>
                  </a:cubicBezTo>
                  <a:cubicBezTo>
                    <a:pt x="285" y="423"/>
                    <a:pt x="281" y="426"/>
                    <a:pt x="277" y="430"/>
                  </a:cubicBezTo>
                  <a:cubicBezTo>
                    <a:pt x="276" y="431"/>
                    <a:pt x="276" y="431"/>
                    <a:pt x="276" y="431"/>
                  </a:cubicBezTo>
                  <a:cubicBezTo>
                    <a:pt x="270" y="437"/>
                    <a:pt x="261" y="445"/>
                    <a:pt x="253" y="445"/>
                  </a:cubicBezTo>
                  <a:cubicBezTo>
                    <a:pt x="252" y="445"/>
                    <a:pt x="250" y="445"/>
                    <a:pt x="248" y="444"/>
                  </a:cubicBezTo>
                  <a:cubicBezTo>
                    <a:pt x="247" y="443"/>
                    <a:pt x="245" y="442"/>
                    <a:pt x="243" y="442"/>
                  </a:cubicBezTo>
                  <a:cubicBezTo>
                    <a:pt x="242" y="442"/>
                    <a:pt x="241" y="442"/>
                    <a:pt x="240" y="442"/>
                  </a:cubicBezTo>
                  <a:cubicBezTo>
                    <a:pt x="238" y="443"/>
                    <a:pt x="237" y="443"/>
                    <a:pt x="236" y="444"/>
                  </a:cubicBezTo>
                  <a:cubicBezTo>
                    <a:pt x="235" y="444"/>
                    <a:pt x="235" y="445"/>
                    <a:pt x="234" y="445"/>
                  </a:cubicBezTo>
                  <a:cubicBezTo>
                    <a:pt x="233" y="445"/>
                    <a:pt x="233" y="446"/>
                    <a:pt x="232" y="446"/>
                  </a:cubicBezTo>
                  <a:cubicBezTo>
                    <a:pt x="230" y="446"/>
                    <a:pt x="229" y="447"/>
                    <a:pt x="227" y="449"/>
                  </a:cubicBezTo>
                  <a:cubicBezTo>
                    <a:pt x="226" y="449"/>
                    <a:pt x="226" y="450"/>
                    <a:pt x="225" y="450"/>
                  </a:cubicBezTo>
                  <a:cubicBezTo>
                    <a:pt x="224" y="451"/>
                    <a:pt x="223" y="452"/>
                    <a:pt x="223" y="452"/>
                  </a:cubicBezTo>
                  <a:cubicBezTo>
                    <a:pt x="222" y="453"/>
                    <a:pt x="220" y="453"/>
                    <a:pt x="219" y="453"/>
                  </a:cubicBezTo>
                  <a:cubicBezTo>
                    <a:pt x="217" y="453"/>
                    <a:pt x="215" y="453"/>
                    <a:pt x="214" y="453"/>
                  </a:cubicBezTo>
                  <a:cubicBezTo>
                    <a:pt x="213" y="453"/>
                    <a:pt x="211" y="453"/>
                    <a:pt x="210" y="452"/>
                  </a:cubicBezTo>
                  <a:cubicBezTo>
                    <a:pt x="208" y="452"/>
                    <a:pt x="206" y="452"/>
                    <a:pt x="204" y="450"/>
                  </a:cubicBezTo>
                  <a:cubicBezTo>
                    <a:pt x="203" y="450"/>
                    <a:pt x="202" y="449"/>
                    <a:pt x="200" y="449"/>
                  </a:cubicBezTo>
                  <a:cubicBezTo>
                    <a:pt x="199" y="448"/>
                    <a:pt x="197" y="448"/>
                    <a:pt x="196" y="448"/>
                  </a:cubicBezTo>
                  <a:cubicBezTo>
                    <a:pt x="194" y="447"/>
                    <a:pt x="192" y="447"/>
                    <a:pt x="191" y="446"/>
                  </a:cubicBezTo>
                  <a:cubicBezTo>
                    <a:pt x="186" y="443"/>
                    <a:pt x="180" y="437"/>
                    <a:pt x="179" y="432"/>
                  </a:cubicBezTo>
                  <a:cubicBezTo>
                    <a:pt x="179" y="431"/>
                    <a:pt x="179" y="431"/>
                    <a:pt x="179" y="430"/>
                  </a:cubicBezTo>
                  <a:cubicBezTo>
                    <a:pt x="180" y="430"/>
                    <a:pt x="182" y="431"/>
                    <a:pt x="183" y="432"/>
                  </a:cubicBezTo>
                  <a:cubicBezTo>
                    <a:pt x="184" y="432"/>
                    <a:pt x="185" y="433"/>
                    <a:pt x="186" y="433"/>
                  </a:cubicBezTo>
                  <a:cubicBezTo>
                    <a:pt x="188" y="434"/>
                    <a:pt x="190" y="435"/>
                    <a:pt x="192" y="435"/>
                  </a:cubicBezTo>
                  <a:cubicBezTo>
                    <a:pt x="197" y="435"/>
                    <a:pt x="200" y="431"/>
                    <a:pt x="201" y="429"/>
                  </a:cubicBezTo>
                  <a:cubicBezTo>
                    <a:pt x="203" y="427"/>
                    <a:pt x="204" y="425"/>
                    <a:pt x="206" y="423"/>
                  </a:cubicBezTo>
                  <a:cubicBezTo>
                    <a:pt x="207" y="423"/>
                    <a:pt x="207" y="423"/>
                    <a:pt x="208" y="423"/>
                  </a:cubicBezTo>
                  <a:cubicBezTo>
                    <a:pt x="208" y="423"/>
                    <a:pt x="210" y="424"/>
                    <a:pt x="211" y="424"/>
                  </a:cubicBezTo>
                  <a:cubicBezTo>
                    <a:pt x="213" y="425"/>
                    <a:pt x="215" y="426"/>
                    <a:pt x="217" y="426"/>
                  </a:cubicBezTo>
                  <a:cubicBezTo>
                    <a:pt x="219" y="426"/>
                    <a:pt x="220" y="426"/>
                    <a:pt x="221" y="425"/>
                  </a:cubicBezTo>
                  <a:cubicBezTo>
                    <a:pt x="229" y="421"/>
                    <a:pt x="225" y="414"/>
                    <a:pt x="223" y="409"/>
                  </a:cubicBezTo>
                  <a:cubicBezTo>
                    <a:pt x="223" y="407"/>
                    <a:pt x="222" y="406"/>
                    <a:pt x="222" y="405"/>
                  </a:cubicBezTo>
                  <a:cubicBezTo>
                    <a:pt x="222" y="403"/>
                    <a:pt x="222" y="401"/>
                    <a:pt x="222" y="400"/>
                  </a:cubicBezTo>
                  <a:cubicBezTo>
                    <a:pt x="222" y="396"/>
                    <a:pt x="223" y="391"/>
                    <a:pt x="217" y="388"/>
                  </a:cubicBezTo>
                  <a:cubicBezTo>
                    <a:pt x="217" y="386"/>
                    <a:pt x="217" y="383"/>
                    <a:pt x="217" y="382"/>
                  </a:cubicBezTo>
                  <a:cubicBezTo>
                    <a:pt x="217" y="382"/>
                    <a:pt x="217" y="382"/>
                    <a:pt x="218" y="383"/>
                  </a:cubicBezTo>
                  <a:cubicBezTo>
                    <a:pt x="219" y="383"/>
                    <a:pt x="220" y="385"/>
                    <a:pt x="221" y="387"/>
                  </a:cubicBezTo>
                  <a:cubicBezTo>
                    <a:pt x="222" y="389"/>
                    <a:pt x="223" y="391"/>
                    <a:pt x="225" y="393"/>
                  </a:cubicBezTo>
                  <a:cubicBezTo>
                    <a:pt x="231" y="398"/>
                    <a:pt x="233" y="404"/>
                    <a:pt x="236" y="412"/>
                  </a:cubicBezTo>
                  <a:cubicBezTo>
                    <a:pt x="236" y="412"/>
                    <a:pt x="236" y="412"/>
                    <a:pt x="236" y="412"/>
                  </a:cubicBezTo>
                  <a:cubicBezTo>
                    <a:pt x="239" y="422"/>
                    <a:pt x="247" y="429"/>
                    <a:pt x="256" y="430"/>
                  </a:cubicBezTo>
                  <a:cubicBezTo>
                    <a:pt x="258" y="431"/>
                    <a:pt x="259" y="431"/>
                    <a:pt x="260" y="431"/>
                  </a:cubicBezTo>
                  <a:cubicBezTo>
                    <a:pt x="263" y="431"/>
                    <a:pt x="267" y="430"/>
                    <a:pt x="269" y="428"/>
                  </a:cubicBezTo>
                  <a:cubicBezTo>
                    <a:pt x="270" y="428"/>
                    <a:pt x="271" y="427"/>
                    <a:pt x="271" y="427"/>
                  </a:cubicBezTo>
                  <a:cubicBezTo>
                    <a:pt x="272" y="426"/>
                    <a:pt x="272" y="426"/>
                    <a:pt x="273" y="426"/>
                  </a:cubicBezTo>
                  <a:cubicBezTo>
                    <a:pt x="273" y="426"/>
                    <a:pt x="274" y="426"/>
                    <a:pt x="275" y="425"/>
                  </a:cubicBezTo>
                  <a:cubicBezTo>
                    <a:pt x="276" y="425"/>
                    <a:pt x="277" y="425"/>
                    <a:pt x="279" y="424"/>
                  </a:cubicBezTo>
                  <a:cubicBezTo>
                    <a:pt x="280" y="423"/>
                    <a:pt x="282" y="422"/>
                    <a:pt x="283" y="421"/>
                  </a:cubicBezTo>
                  <a:cubicBezTo>
                    <a:pt x="284" y="421"/>
                    <a:pt x="285" y="420"/>
                    <a:pt x="286" y="419"/>
                  </a:cubicBezTo>
                  <a:cubicBezTo>
                    <a:pt x="288" y="418"/>
                    <a:pt x="290" y="416"/>
                    <a:pt x="291" y="415"/>
                  </a:cubicBezTo>
                  <a:cubicBezTo>
                    <a:pt x="293" y="413"/>
                    <a:pt x="295" y="411"/>
                    <a:pt x="296" y="411"/>
                  </a:cubicBezTo>
                  <a:cubicBezTo>
                    <a:pt x="299" y="410"/>
                    <a:pt x="301" y="410"/>
                    <a:pt x="304" y="410"/>
                  </a:cubicBezTo>
                  <a:cubicBezTo>
                    <a:pt x="307" y="410"/>
                    <a:pt x="310" y="411"/>
                    <a:pt x="313" y="412"/>
                  </a:cubicBezTo>
                  <a:cubicBezTo>
                    <a:pt x="313" y="412"/>
                    <a:pt x="313" y="412"/>
                    <a:pt x="313" y="412"/>
                  </a:cubicBezTo>
                  <a:cubicBezTo>
                    <a:pt x="313" y="412"/>
                    <a:pt x="313" y="412"/>
                    <a:pt x="312" y="412"/>
                  </a:cubicBezTo>
                  <a:cubicBezTo>
                    <a:pt x="312" y="412"/>
                    <a:pt x="312" y="412"/>
                    <a:pt x="312" y="412"/>
                  </a:cubicBezTo>
                  <a:cubicBezTo>
                    <a:pt x="310" y="412"/>
                    <a:pt x="310" y="412"/>
                    <a:pt x="310" y="412"/>
                  </a:cubicBezTo>
                  <a:cubicBezTo>
                    <a:pt x="310" y="412"/>
                    <a:pt x="310" y="412"/>
                    <a:pt x="310" y="412"/>
                  </a:cubicBezTo>
                  <a:cubicBezTo>
                    <a:pt x="311" y="415"/>
                    <a:pt x="311" y="415"/>
                    <a:pt x="311" y="415"/>
                  </a:cubicBezTo>
                  <a:cubicBezTo>
                    <a:pt x="311" y="415"/>
                    <a:pt x="311" y="415"/>
                    <a:pt x="311" y="415"/>
                  </a:cubicBezTo>
                  <a:close/>
                  <a:moveTo>
                    <a:pt x="320" y="416"/>
                  </a:moveTo>
                  <a:cubicBezTo>
                    <a:pt x="319" y="416"/>
                    <a:pt x="319" y="416"/>
                    <a:pt x="319" y="416"/>
                  </a:cubicBezTo>
                  <a:cubicBezTo>
                    <a:pt x="318" y="416"/>
                    <a:pt x="318" y="415"/>
                    <a:pt x="317" y="415"/>
                  </a:cubicBezTo>
                  <a:cubicBezTo>
                    <a:pt x="316" y="414"/>
                    <a:pt x="314" y="413"/>
                    <a:pt x="313" y="412"/>
                  </a:cubicBezTo>
                  <a:cubicBezTo>
                    <a:pt x="315" y="413"/>
                    <a:pt x="318" y="415"/>
                    <a:pt x="320" y="416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98" name="Freeform 197"/>
            <p:cNvSpPr>
              <a:spLocks/>
            </p:cNvSpPr>
            <p:nvPr/>
          </p:nvSpPr>
          <p:spPr bwMode="auto">
            <a:xfrm>
              <a:off x="19082517" y="9382633"/>
              <a:ext cx="266727" cy="113861"/>
            </a:xfrm>
            <a:custGeom>
              <a:avLst/>
              <a:gdLst>
                <a:gd name="T0" fmla="*/ 41 w 49"/>
                <a:gd name="T1" fmla="*/ 4 h 23"/>
                <a:gd name="T2" fmla="*/ 41 w 49"/>
                <a:gd name="T3" fmla="*/ 4 h 23"/>
                <a:gd name="T4" fmla="*/ 36 w 49"/>
                <a:gd name="T5" fmla="*/ 0 h 23"/>
                <a:gd name="T6" fmla="*/ 35 w 49"/>
                <a:gd name="T7" fmla="*/ 0 h 23"/>
                <a:gd name="T8" fmla="*/ 30 w 49"/>
                <a:gd name="T9" fmla="*/ 2 h 23"/>
                <a:gd name="T10" fmla="*/ 30 w 49"/>
                <a:gd name="T11" fmla="*/ 2 h 23"/>
                <a:gd name="T12" fmla="*/ 25 w 49"/>
                <a:gd name="T13" fmla="*/ 0 h 23"/>
                <a:gd name="T14" fmla="*/ 19 w 49"/>
                <a:gd name="T15" fmla="*/ 3 h 23"/>
                <a:gd name="T16" fmla="*/ 18 w 49"/>
                <a:gd name="T17" fmla="*/ 6 h 23"/>
                <a:gd name="T18" fmla="*/ 18 w 49"/>
                <a:gd name="T19" fmla="*/ 7 h 23"/>
                <a:gd name="T20" fmla="*/ 18 w 49"/>
                <a:gd name="T21" fmla="*/ 7 h 23"/>
                <a:gd name="T22" fmla="*/ 17 w 49"/>
                <a:gd name="T23" fmla="*/ 7 h 23"/>
                <a:gd name="T24" fmla="*/ 17 w 49"/>
                <a:gd name="T25" fmla="*/ 7 h 23"/>
                <a:gd name="T26" fmla="*/ 14 w 49"/>
                <a:gd name="T27" fmla="*/ 3 h 23"/>
                <a:gd name="T28" fmla="*/ 9 w 49"/>
                <a:gd name="T29" fmla="*/ 2 h 23"/>
                <a:gd name="T30" fmla="*/ 5 w 49"/>
                <a:gd name="T31" fmla="*/ 3 h 23"/>
                <a:gd name="T32" fmla="*/ 0 w 49"/>
                <a:gd name="T33" fmla="*/ 8 h 23"/>
                <a:gd name="T34" fmla="*/ 2 w 49"/>
                <a:gd name="T35" fmla="*/ 13 h 23"/>
                <a:gd name="T36" fmla="*/ 10 w 49"/>
                <a:gd name="T37" fmla="*/ 15 h 23"/>
                <a:gd name="T38" fmla="*/ 15 w 49"/>
                <a:gd name="T39" fmla="*/ 14 h 23"/>
                <a:gd name="T40" fmla="*/ 15 w 49"/>
                <a:gd name="T41" fmla="*/ 14 h 23"/>
                <a:gd name="T42" fmla="*/ 21 w 49"/>
                <a:gd name="T43" fmla="*/ 18 h 23"/>
                <a:gd name="T44" fmla="*/ 29 w 49"/>
                <a:gd name="T45" fmla="*/ 21 h 23"/>
                <a:gd name="T46" fmla="*/ 36 w 49"/>
                <a:gd name="T47" fmla="*/ 23 h 23"/>
                <a:gd name="T48" fmla="*/ 42 w 49"/>
                <a:gd name="T49" fmla="*/ 21 h 23"/>
                <a:gd name="T50" fmla="*/ 49 w 49"/>
                <a:gd name="T51" fmla="*/ 10 h 23"/>
                <a:gd name="T52" fmla="*/ 41 w 49"/>
                <a:gd name="T53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" h="23">
                  <a:moveTo>
                    <a:pt x="41" y="4"/>
                  </a:moveTo>
                  <a:cubicBezTo>
                    <a:pt x="41" y="4"/>
                    <a:pt x="41" y="4"/>
                    <a:pt x="41" y="4"/>
                  </a:cubicBezTo>
                  <a:cubicBezTo>
                    <a:pt x="41" y="2"/>
                    <a:pt x="40" y="0"/>
                    <a:pt x="36" y="0"/>
                  </a:cubicBezTo>
                  <a:cubicBezTo>
                    <a:pt x="36" y="0"/>
                    <a:pt x="35" y="0"/>
                    <a:pt x="35" y="0"/>
                  </a:cubicBezTo>
                  <a:cubicBezTo>
                    <a:pt x="32" y="0"/>
                    <a:pt x="31" y="1"/>
                    <a:pt x="30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8" y="1"/>
                    <a:pt x="27" y="0"/>
                    <a:pt x="25" y="0"/>
                  </a:cubicBezTo>
                  <a:cubicBezTo>
                    <a:pt x="23" y="0"/>
                    <a:pt x="21" y="1"/>
                    <a:pt x="19" y="3"/>
                  </a:cubicBezTo>
                  <a:cubicBezTo>
                    <a:pt x="18" y="4"/>
                    <a:pt x="18" y="5"/>
                    <a:pt x="18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7" y="7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2" y="2"/>
                    <a:pt x="11" y="2"/>
                    <a:pt x="9" y="2"/>
                  </a:cubicBezTo>
                  <a:cubicBezTo>
                    <a:pt x="8" y="2"/>
                    <a:pt x="7" y="2"/>
                    <a:pt x="5" y="3"/>
                  </a:cubicBezTo>
                  <a:cubicBezTo>
                    <a:pt x="3" y="3"/>
                    <a:pt x="1" y="5"/>
                    <a:pt x="0" y="8"/>
                  </a:cubicBezTo>
                  <a:cubicBezTo>
                    <a:pt x="0" y="10"/>
                    <a:pt x="1" y="11"/>
                    <a:pt x="2" y="13"/>
                  </a:cubicBezTo>
                  <a:cubicBezTo>
                    <a:pt x="4" y="14"/>
                    <a:pt x="8" y="15"/>
                    <a:pt x="10" y="15"/>
                  </a:cubicBezTo>
                  <a:cubicBezTo>
                    <a:pt x="12" y="15"/>
                    <a:pt x="14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6" y="17"/>
                    <a:pt x="19" y="18"/>
                    <a:pt x="21" y="18"/>
                  </a:cubicBezTo>
                  <a:cubicBezTo>
                    <a:pt x="24" y="19"/>
                    <a:pt x="26" y="20"/>
                    <a:pt x="29" y="21"/>
                  </a:cubicBezTo>
                  <a:cubicBezTo>
                    <a:pt x="32" y="22"/>
                    <a:pt x="34" y="23"/>
                    <a:pt x="36" y="23"/>
                  </a:cubicBezTo>
                  <a:cubicBezTo>
                    <a:pt x="38" y="23"/>
                    <a:pt x="40" y="22"/>
                    <a:pt x="42" y="21"/>
                  </a:cubicBezTo>
                  <a:cubicBezTo>
                    <a:pt x="45" y="19"/>
                    <a:pt x="49" y="15"/>
                    <a:pt x="49" y="10"/>
                  </a:cubicBezTo>
                  <a:cubicBezTo>
                    <a:pt x="49" y="9"/>
                    <a:pt x="48" y="4"/>
                    <a:pt x="41" y="4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199" name="Freeform 198"/>
            <p:cNvSpPr>
              <a:spLocks/>
            </p:cNvSpPr>
            <p:nvPr/>
          </p:nvSpPr>
          <p:spPr bwMode="auto">
            <a:xfrm>
              <a:off x="21757998" y="8544543"/>
              <a:ext cx="387781" cy="158658"/>
            </a:xfrm>
            <a:custGeom>
              <a:avLst/>
              <a:gdLst>
                <a:gd name="T0" fmla="*/ 71 w 71"/>
                <a:gd name="T1" fmla="*/ 6 h 32"/>
                <a:gd name="T2" fmla="*/ 70 w 71"/>
                <a:gd name="T3" fmla="*/ 1 h 32"/>
                <a:gd name="T4" fmla="*/ 66 w 71"/>
                <a:gd name="T5" fmla="*/ 0 h 32"/>
                <a:gd name="T6" fmla="*/ 56 w 71"/>
                <a:gd name="T7" fmla="*/ 5 h 32"/>
                <a:gd name="T8" fmla="*/ 46 w 71"/>
                <a:gd name="T9" fmla="*/ 13 h 32"/>
                <a:gd name="T10" fmla="*/ 41 w 71"/>
                <a:gd name="T11" fmla="*/ 15 h 32"/>
                <a:gd name="T12" fmla="*/ 36 w 71"/>
                <a:gd name="T13" fmla="*/ 17 h 32"/>
                <a:gd name="T14" fmla="*/ 34 w 71"/>
                <a:gd name="T15" fmla="*/ 16 h 32"/>
                <a:gd name="T16" fmla="*/ 33 w 71"/>
                <a:gd name="T17" fmla="*/ 16 h 32"/>
                <a:gd name="T18" fmla="*/ 29 w 71"/>
                <a:gd name="T19" fmla="*/ 14 h 32"/>
                <a:gd name="T20" fmla="*/ 24 w 71"/>
                <a:gd name="T21" fmla="*/ 16 h 32"/>
                <a:gd name="T22" fmla="*/ 23 w 71"/>
                <a:gd name="T23" fmla="*/ 18 h 32"/>
                <a:gd name="T24" fmla="*/ 23 w 71"/>
                <a:gd name="T25" fmla="*/ 18 h 32"/>
                <a:gd name="T26" fmla="*/ 19 w 71"/>
                <a:gd name="T27" fmla="*/ 14 h 32"/>
                <a:gd name="T28" fmla="*/ 16 w 71"/>
                <a:gd name="T29" fmla="*/ 12 h 32"/>
                <a:gd name="T30" fmla="*/ 14 w 71"/>
                <a:gd name="T31" fmla="*/ 11 h 32"/>
                <a:gd name="T32" fmla="*/ 15 w 71"/>
                <a:gd name="T33" fmla="*/ 10 h 32"/>
                <a:gd name="T34" fmla="*/ 14 w 71"/>
                <a:gd name="T35" fmla="*/ 5 h 32"/>
                <a:gd name="T36" fmla="*/ 10 w 71"/>
                <a:gd name="T37" fmla="*/ 2 h 32"/>
                <a:gd name="T38" fmla="*/ 5 w 71"/>
                <a:gd name="T39" fmla="*/ 5 h 32"/>
                <a:gd name="T40" fmla="*/ 2 w 71"/>
                <a:gd name="T41" fmla="*/ 12 h 32"/>
                <a:gd name="T42" fmla="*/ 3 w 71"/>
                <a:gd name="T43" fmla="*/ 22 h 32"/>
                <a:gd name="T44" fmla="*/ 8 w 71"/>
                <a:gd name="T45" fmla="*/ 25 h 32"/>
                <a:gd name="T46" fmla="*/ 10 w 71"/>
                <a:gd name="T47" fmla="*/ 25 h 32"/>
                <a:gd name="T48" fmla="*/ 11 w 71"/>
                <a:gd name="T49" fmla="*/ 25 h 32"/>
                <a:gd name="T50" fmla="*/ 11 w 71"/>
                <a:gd name="T51" fmla="*/ 25 h 32"/>
                <a:gd name="T52" fmla="*/ 12 w 71"/>
                <a:gd name="T53" fmla="*/ 26 h 32"/>
                <a:gd name="T54" fmla="*/ 15 w 71"/>
                <a:gd name="T55" fmla="*/ 30 h 32"/>
                <a:gd name="T56" fmla="*/ 18 w 71"/>
                <a:gd name="T57" fmla="*/ 30 h 32"/>
                <a:gd name="T58" fmla="*/ 22 w 71"/>
                <a:gd name="T59" fmla="*/ 28 h 32"/>
                <a:gd name="T60" fmla="*/ 25 w 71"/>
                <a:gd name="T61" fmla="*/ 28 h 32"/>
                <a:gd name="T62" fmla="*/ 27 w 71"/>
                <a:gd name="T63" fmla="*/ 28 h 32"/>
                <a:gd name="T64" fmla="*/ 31 w 71"/>
                <a:gd name="T65" fmla="*/ 29 h 32"/>
                <a:gd name="T66" fmla="*/ 33 w 71"/>
                <a:gd name="T67" fmla="*/ 28 h 32"/>
                <a:gd name="T68" fmla="*/ 34 w 71"/>
                <a:gd name="T69" fmla="*/ 28 h 32"/>
                <a:gd name="T70" fmla="*/ 37 w 71"/>
                <a:gd name="T71" fmla="*/ 28 h 32"/>
                <a:gd name="T72" fmla="*/ 38 w 71"/>
                <a:gd name="T73" fmla="*/ 28 h 32"/>
                <a:gd name="T74" fmla="*/ 40 w 71"/>
                <a:gd name="T75" fmla="*/ 28 h 32"/>
                <a:gd name="T76" fmla="*/ 44 w 71"/>
                <a:gd name="T77" fmla="*/ 28 h 32"/>
                <a:gd name="T78" fmla="*/ 47 w 71"/>
                <a:gd name="T79" fmla="*/ 27 h 32"/>
                <a:gd name="T80" fmla="*/ 51 w 71"/>
                <a:gd name="T81" fmla="*/ 29 h 32"/>
                <a:gd name="T82" fmla="*/ 58 w 71"/>
                <a:gd name="T83" fmla="*/ 32 h 32"/>
                <a:gd name="T84" fmla="*/ 63 w 71"/>
                <a:gd name="T85" fmla="*/ 27 h 32"/>
                <a:gd name="T86" fmla="*/ 66 w 71"/>
                <a:gd name="T87" fmla="*/ 25 h 32"/>
                <a:gd name="T88" fmla="*/ 66 w 71"/>
                <a:gd name="T89" fmla="*/ 19 h 32"/>
                <a:gd name="T90" fmla="*/ 63 w 71"/>
                <a:gd name="T91" fmla="*/ 16 h 32"/>
                <a:gd name="T92" fmla="*/ 71 w 71"/>
                <a:gd name="T93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1" h="32">
                  <a:moveTo>
                    <a:pt x="71" y="6"/>
                  </a:moveTo>
                  <a:cubicBezTo>
                    <a:pt x="71" y="4"/>
                    <a:pt x="71" y="2"/>
                    <a:pt x="70" y="1"/>
                  </a:cubicBezTo>
                  <a:cubicBezTo>
                    <a:pt x="69" y="0"/>
                    <a:pt x="68" y="0"/>
                    <a:pt x="66" y="0"/>
                  </a:cubicBezTo>
                  <a:cubicBezTo>
                    <a:pt x="62" y="0"/>
                    <a:pt x="56" y="5"/>
                    <a:pt x="56" y="5"/>
                  </a:cubicBezTo>
                  <a:cubicBezTo>
                    <a:pt x="53" y="8"/>
                    <a:pt x="50" y="11"/>
                    <a:pt x="46" y="13"/>
                  </a:cubicBezTo>
                  <a:cubicBezTo>
                    <a:pt x="44" y="13"/>
                    <a:pt x="42" y="14"/>
                    <a:pt x="41" y="15"/>
                  </a:cubicBezTo>
                  <a:cubicBezTo>
                    <a:pt x="39" y="16"/>
                    <a:pt x="37" y="17"/>
                    <a:pt x="36" y="17"/>
                  </a:cubicBezTo>
                  <a:cubicBezTo>
                    <a:pt x="35" y="17"/>
                    <a:pt x="35" y="17"/>
                    <a:pt x="34" y="16"/>
                  </a:cubicBezTo>
                  <a:cubicBezTo>
                    <a:pt x="34" y="16"/>
                    <a:pt x="33" y="16"/>
                    <a:pt x="33" y="16"/>
                  </a:cubicBezTo>
                  <a:cubicBezTo>
                    <a:pt x="32" y="15"/>
                    <a:pt x="30" y="14"/>
                    <a:pt x="29" y="14"/>
                  </a:cubicBezTo>
                  <a:cubicBezTo>
                    <a:pt x="27" y="14"/>
                    <a:pt x="26" y="15"/>
                    <a:pt x="24" y="16"/>
                  </a:cubicBezTo>
                  <a:cubicBezTo>
                    <a:pt x="24" y="17"/>
                    <a:pt x="23" y="17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6"/>
                    <a:pt x="21" y="15"/>
                    <a:pt x="19" y="14"/>
                  </a:cubicBezTo>
                  <a:cubicBezTo>
                    <a:pt x="18" y="13"/>
                    <a:pt x="17" y="13"/>
                    <a:pt x="16" y="12"/>
                  </a:cubicBezTo>
                  <a:cubicBezTo>
                    <a:pt x="16" y="12"/>
                    <a:pt x="15" y="11"/>
                    <a:pt x="14" y="11"/>
                  </a:cubicBezTo>
                  <a:cubicBezTo>
                    <a:pt x="14" y="11"/>
                    <a:pt x="14" y="10"/>
                    <a:pt x="15" y="10"/>
                  </a:cubicBezTo>
                  <a:cubicBezTo>
                    <a:pt x="15" y="9"/>
                    <a:pt x="15" y="7"/>
                    <a:pt x="14" y="5"/>
                  </a:cubicBezTo>
                  <a:cubicBezTo>
                    <a:pt x="14" y="3"/>
                    <a:pt x="12" y="2"/>
                    <a:pt x="10" y="2"/>
                  </a:cubicBezTo>
                  <a:cubicBezTo>
                    <a:pt x="8" y="2"/>
                    <a:pt x="7" y="3"/>
                    <a:pt x="5" y="5"/>
                  </a:cubicBezTo>
                  <a:cubicBezTo>
                    <a:pt x="4" y="7"/>
                    <a:pt x="3" y="9"/>
                    <a:pt x="2" y="12"/>
                  </a:cubicBezTo>
                  <a:cubicBezTo>
                    <a:pt x="2" y="13"/>
                    <a:pt x="0" y="18"/>
                    <a:pt x="3" y="22"/>
                  </a:cubicBezTo>
                  <a:cubicBezTo>
                    <a:pt x="4" y="24"/>
                    <a:pt x="6" y="25"/>
                    <a:pt x="8" y="25"/>
                  </a:cubicBezTo>
                  <a:cubicBezTo>
                    <a:pt x="8" y="25"/>
                    <a:pt x="9" y="25"/>
                    <a:pt x="10" y="25"/>
                  </a:cubicBezTo>
                  <a:cubicBezTo>
                    <a:pt x="10" y="25"/>
                    <a:pt x="10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2" y="25"/>
                    <a:pt x="12" y="26"/>
                  </a:cubicBezTo>
                  <a:cubicBezTo>
                    <a:pt x="12" y="27"/>
                    <a:pt x="13" y="29"/>
                    <a:pt x="15" y="30"/>
                  </a:cubicBezTo>
                  <a:cubicBezTo>
                    <a:pt x="16" y="30"/>
                    <a:pt x="17" y="30"/>
                    <a:pt x="18" y="30"/>
                  </a:cubicBezTo>
                  <a:cubicBezTo>
                    <a:pt x="19" y="30"/>
                    <a:pt x="21" y="29"/>
                    <a:pt x="22" y="28"/>
                  </a:cubicBezTo>
                  <a:cubicBezTo>
                    <a:pt x="23" y="28"/>
                    <a:pt x="24" y="28"/>
                    <a:pt x="25" y="28"/>
                  </a:cubicBezTo>
                  <a:cubicBezTo>
                    <a:pt x="25" y="28"/>
                    <a:pt x="26" y="28"/>
                    <a:pt x="27" y="28"/>
                  </a:cubicBezTo>
                  <a:cubicBezTo>
                    <a:pt x="28" y="28"/>
                    <a:pt x="29" y="29"/>
                    <a:pt x="31" y="29"/>
                  </a:cubicBezTo>
                  <a:cubicBezTo>
                    <a:pt x="32" y="29"/>
                    <a:pt x="32" y="29"/>
                    <a:pt x="33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6" y="28"/>
                    <a:pt x="37" y="28"/>
                  </a:cubicBezTo>
                  <a:cubicBezTo>
                    <a:pt x="37" y="28"/>
                    <a:pt x="38" y="28"/>
                    <a:pt x="38" y="28"/>
                  </a:cubicBezTo>
                  <a:cubicBezTo>
                    <a:pt x="39" y="28"/>
                    <a:pt x="40" y="28"/>
                    <a:pt x="40" y="28"/>
                  </a:cubicBezTo>
                  <a:cubicBezTo>
                    <a:pt x="42" y="28"/>
                    <a:pt x="43" y="28"/>
                    <a:pt x="44" y="28"/>
                  </a:cubicBezTo>
                  <a:cubicBezTo>
                    <a:pt x="45" y="28"/>
                    <a:pt x="46" y="27"/>
                    <a:pt x="47" y="27"/>
                  </a:cubicBezTo>
                  <a:cubicBezTo>
                    <a:pt x="48" y="27"/>
                    <a:pt x="50" y="28"/>
                    <a:pt x="51" y="29"/>
                  </a:cubicBezTo>
                  <a:cubicBezTo>
                    <a:pt x="53" y="30"/>
                    <a:pt x="56" y="32"/>
                    <a:pt x="58" y="32"/>
                  </a:cubicBezTo>
                  <a:cubicBezTo>
                    <a:pt x="59" y="32"/>
                    <a:pt x="62" y="31"/>
                    <a:pt x="63" y="27"/>
                  </a:cubicBezTo>
                  <a:cubicBezTo>
                    <a:pt x="64" y="27"/>
                    <a:pt x="65" y="26"/>
                    <a:pt x="66" y="25"/>
                  </a:cubicBezTo>
                  <a:cubicBezTo>
                    <a:pt x="67" y="23"/>
                    <a:pt x="67" y="21"/>
                    <a:pt x="66" y="19"/>
                  </a:cubicBezTo>
                  <a:cubicBezTo>
                    <a:pt x="65" y="18"/>
                    <a:pt x="64" y="17"/>
                    <a:pt x="63" y="16"/>
                  </a:cubicBezTo>
                  <a:cubicBezTo>
                    <a:pt x="67" y="13"/>
                    <a:pt x="71" y="9"/>
                    <a:pt x="71" y="6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00" name="Freeform 199"/>
            <p:cNvSpPr>
              <a:spLocks/>
            </p:cNvSpPr>
            <p:nvPr/>
          </p:nvSpPr>
          <p:spPr bwMode="auto">
            <a:xfrm>
              <a:off x="17338530" y="7338739"/>
              <a:ext cx="3106348" cy="2881984"/>
            </a:xfrm>
            <a:custGeom>
              <a:avLst/>
              <a:gdLst>
                <a:gd name="T0" fmla="*/ 559 w 570"/>
                <a:gd name="T1" fmla="*/ 394 h 581"/>
                <a:gd name="T2" fmla="*/ 526 w 570"/>
                <a:gd name="T3" fmla="*/ 405 h 581"/>
                <a:gd name="T4" fmla="*/ 491 w 570"/>
                <a:gd name="T5" fmla="*/ 395 h 581"/>
                <a:gd name="T6" fmla="*/ 440 w 570"/>
                <a:gd name="T7" fmla="*/ 385 h 581"/>
                <a:gd name="T8" fmla="*/ 410 w 570"/>
                <a:gd name="T9" fmla="*/ 340 h 581"/>
                <a:gd name="T10" fmla="*/ 384 w 570"/>
                <a:gd name="T11" fmla="*/ 194 h 581"/>
                <a:gd name="T12" fmla="*/ 380 w 570"/>
                <a:gd name="T13" fmla="*/ 198 h 581"/>
                <a:gd name="T14" fmla="*/ 354 w 570"/>
                <a:gd name="T15" fmla="*/ 176 h 581"/>
                <a:gd name="T16" fmla="*/ 337 w 570"/>
                <a:gd name="T17" fmla="*/ 165 h 581"/>
                <a:gd name="T18" fmla="*/ 318 w 570"/>
                <a:gd name="T19" fmla="*/ 142 h 581"/>
                <a:gd name="T20" fmla="*/ 316 w 570"/>
                <a:gd name="T21" fmla="*/ 132 h 581"/>
                <a:gd name="T22" fmla="*/ 315 w 570"/>
                <a:gd name="T23" fmla="*/ 115 h 581"/>
                <a:gd name="T24" fmla="*/ 310 w 570"/>
                <a:gd name="T25" fmla="*/ 95 h 581"/>
                <a:gd name="T26" fmla="*/ 309 w 570"/>
                <a:gd name="T27" fmla="*/ 73 h 581"/>
                <a:gd name="T28" fmla="*/ 296 w 570"/>
                <a:gd name="T29" fmla="*/ 54 h 581"/>
                <a:gd name="T30" fmla="*/ 282 w 570"/>
                <a:gd name="T31" fmla="*/ 54 h 581"/>
                <a:gd name="T32" fmla="*/ 269 w 570"/>
                <a:gd name="T33" fmla="*/ 51 h 581"/>
                <a:gd name="T34" fmla="*/ 246 w 570"/>
                <a:gd name="T35" fmla="*/ 56 h 581"/>
                <a:gd name="T36" fmla="*/ 238 w 570"/>
                <a:gd name="T37" fmla="*/ 51 h 581"/>
                <a:gd name="T38" fmla="*/ 226 w 570"/>
                <a:gd name="T39" fmla="*/ 42 h 581"/>
                <a:gd name="T40" fmla="*/ 208 w 570"/>
                <a:gd name="T41" fmla="*/ 36 h 581"/>
                <a:gd name="T42" fmla="*/ 193 w 570"/>
                <a:gd name="T43" fmla="*/ 30 h 581"/>
                <a:gd name="T44" fmla="*/ 177 w 570"/>
                <a:gd name="T45" fmla="*/ 13 h 581"/>
                <a:gd name="T46" fmla="*/ 161 w 570"/>
                <a:gd name="T47" fmla="*/ 1 h 581"/>
                <a:gd name="T48" fmla="*/ 0 w 570"/>
                <a:gd name="T49" fmla="*/ 288 h 581"/>
                <a:gd name="T50" fmla="*/ 6 w 570"/>
                <a:gd name="T51" fmla="*/ 297 h 581"/>
                <a:gd name="T52" fmla="*/ 47 w 570"/>
                <a:gd name="T53" fmla="*/ 322 h 581"/>
                <a:gd name="T54" fmla="*/ 69 w 570"/>
                <a:gd name="T55" fmla="*/ 337 h 581"/>
                <a:gd name="T56" fmla="*/ 87 w 570"/>
                <a:gd name="T57" fmla="*/ 346 h 581"/>
                <a:gd name="T58" fmla="*/ 121 w 570"/>
                <a:gd name="T59" fmla="*/ 345 h 581"/>
                <a:gd name="T60" fmla="*/ 160 w 570"/>
                <a:gd name="T61" fmla="*/ 332 h 581"/>
                <a:gd name="T62" fmla="*/ 182 w 570"/>
                <a:gd name="T63" fmla="*/ 310 h 581"/>
                <a:gd name="T64" fmla="*/ 208 w 570"/>
                <a:gd name="T65" fmla="*/ 316 h 581"/>
                <a:gd name="T66" fmla="*/ 227 w 570"/>
                <a:gd name="T67" fmla="*/ 325 h 581"/>
                <a:gd name="T68" fmla="*/ 243 w 570"/>
                <a:gd name="T69" fmla="*/ 348 h 581"/>
                <a:gd name="T70" fmla="*/ 266 w 570"/>
                <a:gd name="T71" fmla="*/ 346 h 581"/>
                <a:gd name="T72" fmla="*/ 275 w 570"/>
                <a:gd name="T73" fmla="*/ 370 h 581"/>
                <a:gd name="T74" fmla="*/ 282 w 570"/>
                <a:gd name="T75" fmla="*/ 389 h 581"/>
                <a:gd name="T76" fmla="*/ 327 w 570"/>
                <a:gd name="T77" fmla="*/ 413 h 581"/>
                <a:gd name="T78" fmla="*/ 385 w 570"/>
                <a:gd name="T79" fmla="*/ 418 h 581"/>
                <a:gd name="T80" fmla="*/ 393 w 570"/>
                <a:gd name="T81" fmla="*/ 421 h 581"/>
                <a:gd name="T82" fmla="*/ 415 w 570"/>
                <a:gd name="T83" fmla="*/ 448 h 581"/>
                <a:gd name="T84" fmla="*/ 414 w 570"/>
                <a:gd name="T85" fmla="*/ 460 h 581"/>
                <a:gd name="T86" fmla="*/ 398 w 570"/>
                <a:gd name="T87" fmla="*/ 458 h 581"/>
                <a:gd name="T88" fmla="*/ 384 w 570"/>
                <a:gd name="T89" fmla="*/ 447 h 581"/>
                <a:gd name="T90" fmla="*/ 365 w 570"/>
                <a:gd name="T91" fmla="*/ 441 h 581"/>
                <a:gd name="T92" fmla="*/ 374 w 570"/>
                <a:gd name="T93" fmla="*/ 471 h 581"/>
                <a:gd name="T94" fmla="*/ 370 w 570"/>
                <a:gd name="T95" fmla="*/ 495 h 581"/>
                <a:gd name="T96" fmla="*/ 360 w 570"/>
                <a:gd name="T97" fmla="*/ 530 h 581"/>
                <a:gd name="T98" fmla="*/ 363 w 570"/>
                <a:gd name="T99" fmla="*/ 551 h 581"/>
                <a:gd name="T100" fmla="*/ 340 w 570"/>
                <a:gd name="T101" fmla="*/ 577 h 581"/>
                <a:gd name="T102" fmla="*/ 386 w 570"/>
                <a:gd name="T103" fmla="*/ 555 h 581"/>
                <a:gd name="T104" fmla="*/ 409 w 570"/>
                <a:gd name="T105" fmla="*/ 547 h 581"/>
                <a:gd name="T106" fmla="*/ 439 w 570"/>
                <a:gd name="T107" fmla="*/ 535 h 581"/>
                <a:gd name="T108" fmla="*/ 457 w 570"/>
                <a:gd name="T109" fmla="*/ 512 h 581"/>
                <a:gd name="T110" fmla="*/ 441 w 570"/>
                <a:gd name="T111" fmla="*/ 502 h 581"/>
                <a:gd name="T112" fmla="*/ 492 w 570"/>
                <a:gd name="T113" fmla="*/ 477 h 581"/>
                <a:gd name="T114" fmla="*/ 521 w 570"/>
                <a:gd name="T115" fmla="*/ 460 h 581"/>
                <a:gd name="T116" fmla="*/ 570 w 570"/>
                <a:gd name="T117" fmla="*/ 416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0" h="581">
                  <a:moveTo>
                    <a:pt x="569" y="413"/>
                  </a:moveTo>
                  <a:cubicBezTo>
                    <a:pt x="568" y="411"/>
                    <a:pt x="568" y="410"/>
                    <a:pt x="567" y="408"/>
                  </a:cubicBezTo>
                  <a:cubicBezTo>
                    <a:pt x="567" y="408"/>
                    <a:pt x="566" y="405"/>
                    <a:pt x="566" y="404"/>
                  </a:cubicBezTo>
                  <a:cubicBezTo>
                    <a:pt x="565" y="399"/>
                    <a:pt x="563" y="396"/>
                    <a:pt x="561" y="395"/>
                  </a:cubicBezTo>
                  <a:cubicBezTo>
                    <a:pt x="560" y="394"/>
                    <a:pt x="560" y="394"/>
                    <a:pt x="559" y="394"/>
                  </a:cubicBezTo>
                  <a:cubicBezTo>
                    <a:pt x="556" y="394"/>
                    <a:pt x="553" y="395"/>
                    <a:pt x="550" y="397"/>
                  </a:cubicBezTo>
                  <a:cubicBezTo>
                    <a:pt x="547" y="397"/>
                    <a:pt x="544" y="398"/>
                    <a:pt x="542" y="399"/>
                  </a:cubicBezTo>
                  <a:cubicBezTo>
                    <a:pt x="537" y="400"/>
                    <a:pt x="533" y="401"/>
                    <a:pt x="529" y="403"/>
                  </a:cubicBezTo>
                  <a:cubicBezTo>
                    <a:pt x="528" y="404"/>
                    <a:pt x="527" y="405"/>
                    <a:pt x="526" y="405"/>
                  </a:cubicBezTo>
                  <a:cubicBezTo>
                    <a:pt x="526" y="405"/>
                    <a:pt x="526" y="405"/>
                    <a:pt x="526" y="405"/>
                  </a:cubicBezTo>
                  <a:cubicBezTo>
                    <a:pt x="523" y="407"/>
                    <a:pt x="521" y="408"/>
                    <a:pt x="518" y="408"/>
                  </a:cubicBezTo>
                  <a:cubicBezTo>
                    <a:pt x="516" y="408"/>
                    <a:pt x="514" y="407"/>
                    <a:pt x="511" y="406"/>
                  </a:cubicBezTo>
                  <a:cubicBezTo>
                    <a:pt x="508" y="405"/>
                    <a:pt x="506" y="403"/>
                    <a:pt x="504" y="401"/>
                  </a:cubicBezTo>
                  <a:cubicBezTo>
                    <a:pt x="500" y="398"/>
                    <a:pt x="496" y="395"/>
                    <a:pt x="492" y="395"/>
                  </a:cubicBezTo>
                  <a:cubicBezTo>
                    <a:pt x="491" y="395"/>
                    <a:pt x="491" y="395"/>
                    <a:pt x="491" y="395"/>
                  </a:cubicBezTo>
                  <a:cubicBezTo>
                    <a:pt x="487" y="395"/>
                    <a:pt x="481" y="397"/>
                    <a:pt x="476" y="398"/>
                  </a:cubicBezTo>
                  <a:cubicBezTo>
                    <a:pt x="473" y="398"/>
                    <a:pt x="470" y="399"/>
                    <a:pt x="468" y="399"/>
                  </a:cubicBezTo>
                  <a:cubicBezTo>
                    <a:pt x="466" y="400"/>
                    <a:pt x="464" y="400"/>
                    <a:pt x="462" y="400"/>
                  </a:cubicBezTo>
                  <a:cubicBezTo>
                    <a:pt x="451" y="400"/>
                    <a:pt x="447" y="394"/>
                    <a:pt x="441" y="386"/>
                  </a:cubicBezTo>
                  <a:cubicBezTo>
                    <a:pt x="440" y="385"/>
                    <a:pt x="440" y="385"/>
                    <a:pt x="440" y="385"/>
                  </a:cubicBezTo>
                  <a:cubicBezTo>
                    <a:pt x="439" y="383"/>
                    <a:pt x="438" y="382"/>
                    <a:pt x="436" y="380"/>
                  </a:cubicBezTo>
                  <a:cubicBezTo>
                    <a:pt x="434" y="377"/>
                    <a:pt x="432" y="375"/>
                    <a:pt x="430" y="373"/>
                  </a:cubicBezTo>
                  <a:cubicBezTo>
                    <a:pt x="427" y="371"/>
                    <a:pt x="425" y="369"/>
                    <a:pt x="423" y="366"/>
                  </a:cubicBezTo>
                  <a:cubicBezTo>
                    <a:pt x="422" y="365"/>
                    <a:pt x="421" y="364"/>
                    <a:pt x="420" y="363"/>
                  </a:cubicBezTo>
                  <a:cubicBezTo>
                    <a:pt x="415" y="355"/>
                    <a:pt x="411" y="351"/>
                    <a:pt x="410" y="340"/>
                  </a:cubicBezTo>
                  <a:cubicBezTo>
                    <a:pt x="410" y="336"/>
                    <a:pt x="410" y="332"/>
                    <a:pt x="409" y="328"/>
                  </a:cubicBezTo>
                  <a:cubicBezTo>
                    <a:pt x="409" y="327"/>
                    <a:pt x="408" y="325"/>
                    <a:pt x="408" y="324"/>
                  </a:cubicBezTo>
                  <a:cubicBezTo>
                    <a:pt x="401" y="278"/>
                    <a:pt x="395" y="232"/>
                    <a:pt x="390" y="194"/>
                  </a:cubicBezTo>
                  <a:cubicBezTo>
                    <a:pt x="384" y="194"/>
                    <a:pt x="384" y="194"/>
                    <a:pt x="384" y="194"/>
                  </a:cubicBezTo>
                  <a:cubicBezTo>
                    <a:pt x="384" y="194"/>
                    <a:pt x="384" y="194"/>
                    <a:pt x="384" y="194"/>
                  </a:cubicBezTo>
                  <a:cubicBezTo>
                    <a:pt x="384" y="195"/>
                    <a:pt x="384" y="195"/>
                    <a:pt x="384" y="196"/>
                  </a:cubicBezTo>
                  <a:cubicBezTo>
                    <a:pt x="384" y="197"/>
                    <a:pt x="384" y="197"/>
                    <a:pt x="384" y="197"/>
                  </a:cubicBezTo>
                  <a:cubicBezTo>
                    <a:pt x="384" y="198"/>
                    <a:pt x="383" y="200"/>
                    <a:pt x="383" y="201"/>
                  </a:cubicBezTo>
                  <a:cubicBezTo>
                    <a:pt x="382" y="200"/>
                    <a:pt x="382" y="200"/>
                    <a:pt x="381" y="199"/>
                  </a:cubicBezTo>
                  <a:cubicBezTo>
                    <a:pt x="380" y="199"/>
                    <a:pt x="380" y="198"/>
                    <a:pt x="380" y="198"/>
                  </a:cubicBezTo>
                  <a:cubicBezTo>
                    <a:pt x="377" y="196"/>
                    <a:pt x="374" y="195"/>
                    <a:pt x="371" y="195"/>
                  </a:cubicBezTo>
                  <a:cubicBezTo>
                    <a:pt x="369" y="195"/>
                    <a:pt x="368" y="195"/>
                    <a:pt x="366" y="196"/>
                  </a:cubicBezTo>
                  <a:cubicBezTo>
                    <a:pt x="366" y="195"/>
                    <a:pt x="366" y="195"/>
                    <a:pt x="366" y="195"/>
                  </a:cubicBezTo>
                  <a:cubicBezTo>
                    <a:pt x="367" y="192"/>
                    <a:pt x="367" y="189"/>
                    <a:pt x="364" y="185"/>
                  </a:cubicBezTo>
                  <a:cubicBezTo>
                    <a:pt x="362" y="181"/>
                    <a:pt x="358" y="178"/>
                    <a:pt x="354" y="176"/>
                  </a:cubicBezTo>
                  <a:cubicBezTo>
                    <a:pt x="350" y="173"/>
                    <a:pt x="345" y="170"/>
                    <a:pt x="341" y="168"/>
                  </a:cubicBezTo>
                  <a:cubicBezTo>
                    <a:pt x="340" y="167"/>
                    <a:pt x="340" y="167"/>
                    <a:pt x="340" y="167"/>
                  </a:cubicBezTo>
                  <a:cubicBezTo>
                    <a:pt x="339" y="167"/>
                    <a:pt x="338" y="166"/>
                    <a:pt x="337" y="166"/>
                  </a:cubicBezTo>
                  <a:cubicBezTo>
                    <a:pt x="337" y="166"/>
                    <a:pt x="336" y="166"/>
                    <a:pt x="336" y="166"/>
                  </a:cubicBezTo>
                  <a:cubicBezTo>
                    <a:pt x="336" y="166"/>
                    <a:pt x="337" y="165"/>
                    <a:pt x="337" y="165"/>
                  </a:cubicBezTo>
                  <a:cubicBezTo>
                    <a:pt x="339" y="158"/>
                    <a:pt x="332" y="153"/>
                    <a:pt x="327" y="149"/>
                  </a:cubicBezTo>
                  <a:cubicBezTo>
                    <a:pt x="326" y="148"/>
                    <a:pt x="325" y="148"/>
                    <a:pt x="325" y="147"/>
                  </a:cubicBezTo>
                  <a:cubicBezTo>
                    <a:pt x="324" y="146"/>
                    <a:pt x="322" y="145"/>
                    <a:pt x="321" y="144"/>
                  </a:cubicBezTo>
                  <a:cubicBezTo>
                    <a:pt x="320" y="144"/>
                    <a:pt x="320" y="144"/>
                    <a:pt x="320" y="144"/>
                  </a:cubicBezTo>
                  <a:cubicBezTo>
                    <a:pt x="320" y="143"/>
                    <a:pt x="319" y="143"/>
                    <a:pt x="318" y="142"/>
                  </a:cubicBezTo>
                  <a:cubicBezTo>
                    <a:pt x="318" y="142"/>
                    <a:pt x="317" y="142"/>
                    <a:pt x="317" y="141"/>
                  </a:cubicBezTo>
                  <a:cubicBezTo>
                    <a:pt x="317" y="141"/>
                    <a:pt x="317" y="140"/>
                    <a:pt x="316" y="140"/>
                  </a:cubicBezTo>
                  <a:cubicBezTo>
                    <a:pt x="316" y="138"/>
                    <a:pt x="316" y="138"/>
                    <a:pt x="316" y="138"/>
                  </a:cubicBezTo>
                  <a:cubicBezTo>
                    <a:pt x="316" y="136"/>
                    <a:pt x="316" y="135"/>
                    <a:pt x="316" y="133"/>
                  </a:cubicBezTo>
                  <a:cubicBezTo>
                    <a:pt x="316" y="133"/>
                    <a:pt x="316" y="133"/>
                    <a:pt x="316" y="132"/>
                  </a:cubicBezTo>
                  <a:cubicBezTo>
                    <a:pt x="316" y="131"/>
                    <a:pt x="317" y="131"/>
                    <a:pt x="317" y="130"/>
                  </a:cubicBezTo>
                  <a:cubicBezTo>
                    <a:pt x="318" y="127"/>
                    <a:pt x="318" y="123"/>
                    <a:pt x="317" y="120"/>
                  </a:cubicBezTo>
                  <a:cubicBezTo>
                    <a:pt x="317" y="120"/>
                    <a:pt x="316" y="119"/>
                    <a:pt x="316" y="119"/>
                  </a:cubicBezTo>
                  <a:cubicBezTo>
                    <a:pt x="316" y="118"/>
                    <a:pt x="316" y="118"/>
                    <a:pt x="316" y="118"/>
                  </a:cubicBezTo>
                  <a:cubicBezTo>
                    <a:pt x="315" y="117"/>
                    <a:pt x="315" y="116"/>
                    <a:pt x="315" y="115"/>
                  </a:cubicBezTo>
                  <a:cubicBezTo>
                    <a:pt x="315" y="115"/>
                    <a:pt x="315" y="115"/>
                    <a:pt x="315" y="115"/>
                  </a:cubicBezTo>
                  <a:cubicBezTo>
                    <a:pt x="315" y="113"/>
                    <a:pt x="315" y="111"/>
                    <a:pt x="315" y="109"/>
                  </a:cubicBezTo>
                  <a:cubicBezTo>
                    <a:pt x="315" y="108"/>
                    <a:pt x="315" y="106"/>
                    <a:pt x="315" y="104"/>
                  </a:cubicBezTo>
                  <a:cubicBezTo>
                    <a:pt x="315" y="102"/>
                    <a:pt x="315" y="100"/>
                    <a:pt x="314" y="98"/>
                  </a:cubicBezTo>
                  <a:cubicBezTo>
                    <a:pt x="313" y="96"/>
                    <a:pt x="311" y="95"/>
                    <a:pt x="310" y="95"/>
                  </a:cubicBezTo>
                  <a:cubicBezTo>
                    <a:pt x="309" y="95"/>
                    <a:pt x="309" y="95"/>
                    <a:pt x="309" y="95"/>
                  </a:cubicBezTo>
                  <a:cubicBezTo>
                    <a:pt x="307" y="94"/>
                    <a:pt x="307" y="89"/>
                    <a:pt x="307" y="87"/>
                  </a:cubicBezTo>
                  <a:cubicBezTo>
                    <a:pt x="307" y="85"/>
                    <a:pt x="307" y="84"/>
                    <a:pt x="307" y="84"/>
                  </a:cubicBezTo>
                  <a:cubicBezTo>
                    <a:pt x="307" y="82"/>
                    <a:pt x="308" y="79"/>
                    <a:pt x="308" y="77"/>
                  </a:cubicBezTo>
                  <a:cubicBezTo>
                    <a:pt x="309" y="76"/>
                    <a:pt x="309" y="74"/>
                    <a:pt x="309" y="73"/>
                  </a:cubicBezTo>
                  <a:cubicBezTo>
                    <a:pt x="310" y="70"/>
                    <a:pt x="309" y="68"/>
                    <a:pt x="309" y="67"/>
                  </a:cubicBezTo>
                  <a:cubicBezTo>
                    <a:pt x="308" y="66"/>
                    <a:pt x="308" y="65"/>
                    <a:pt x="308" y="64"/>
                  </a:cubicBezTo>
                  <a:cubicBezTo>
                    <a:pt x="308" y="64"/>
                    <a:pt x="308" y="64"/>
                    <a:pt x="308" y="64"/>
                  </a:cubicBezTo>
                  <a:cubicBezTo>
                    <a:pt x="308" y="62"/>
                    <a:pt x="307" y="59"/>
                    <a:pt x="305" y="57"/>
                  </a:cubicBezTo>
                  <a:cubicBezTo>
                    <a:pt x="302" y="55"/>
                    <a:pt x="299" y="54"/>
                    <a:pt x="296" y="54"/>
                  </a:cubicBezTo>
                  <a:cubicBezTo>
                    <a:pt x="295" y="54"/>
                    <a:pt x="294" y="54"/>
                    <a:pt x="292" y="55"/>
                  </a:cubicBezTo>
                  <a:cubicBezTo>
                    <a:pt x="292" y="55"/>
                    <a:pt x="291" y="55"/>
                    <a:pt x="291" y="55"/>
                  </a:cubicBezTo>
                  <a:cubicBezTo>
                    <a:pt x="289" y="55"/>
                    <a:pt x="288" y="55"/>
                    <a:pt x="287" y="54"/>
                  </a:cubicBezTo>
                  <a:cubicBezTo>
                    <a:pt x="286" y="54"/>
                    <a:pt x="286" y="54"/>
                    <a:pt x="285" y="54"/>
                  </a:cubicBezTo>
                  <a:cubicBezTo>
                    <a:pt x="284" y="54"/>
                    <a:pt x="283" y="54"/>
                    <a:pt x="282" y="54"/>
                  </a:cubicBezTo>
                  <a:cubicBezTo>
                    <a:pt x="281" y="54"/>
                    <a:pt x="280" y="54"/>
                    <a:pt x="279" y="54"/>
                  </a:cubicBezTo>
                  <a:cubicBezTo>
                    <a:pt x="278" y="54"/>
                    <a:pt x="276" y="54"/>
                    <a:pt x="276" y="54"/>
                  </a:cubicBezTo>
                  <a:cubicBezTo>
                    <a:pt x="275" y="54"/>
                    <a:pt x="275" y="54"/>
                    <a:pt x="275" y="53"/>
                  </a:cubicBezTo>
                  <a:cubicBezTo>
                    <a:pt x="274" y="53"/>
                    <a:pt x="273" y="52"/>
                    <a:pt x="272" y="52"/>
                  </a:cubicBezTo>
                  <a:cubicBezTo>
                    <a:pt x="271" y="51"/>
                    <a:pt x="270" y="51"/>
                    <a:pt x="269" y="51"/>
                  </a:cubicBezTo>
                  <a:cubicBezTo>
                    <a:pt x="267" y="51"/>
                    <a:pt x="266" y="51"/>
                    <a:pt x="265" y="52"/>
                  </a:cubicBezTo>
                  <a:cubicBezTo>
                    <a:pt x="262" y="52"/>
                    <a:pt x="259" y="53"/>
                    <a:pt x="256" y="54"/>
                  </a:cubicBezTo>
                  <a:cubicBezTo>
                    <a:pt x="254" y="55"/>
                    <a:pt x="252" y="55"/>
                    <a:pt x="250" y="56"/>
                  </a:cubicBezTo>
                  <a:cubicBezTo>
                    <a:pt x="249" y="56"/>
                    <a:pt x="247" y="56"/>
                    <a:pt x="246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245" y="55"/>
                    <a:pt x="244" y="54"/>
                    <a:pt x="243" y="53"/>
                  </a:cubicBezTo>
                  <a:cubicBezTo>
                    <a:pt x="242" y="53"/>
                    <a:pt x="241" y="52"/>
                    <a:pt x="239" y="52"/>
                  </a:cubicBezTo>
                  <a:cubicBezTo>
                    <a:pt x="239" y="51"/>
                    <a:pt x="239" y="51"/>
                    <a:pt x="238" y="51"/>
                  </a:cubicBezTo>
                  <a:cubicBezTo>
                    <a:pt x="238" y="51"/>
                    <a:pt x="238" y="51"/>
                    <a:pt x="237" y="51"/>
                  </a:cubicBezTo>
                  <a:cubicBezTo>
                    <a:pt x="237" y="51"/>
                    <a:pt x="237" y="51"/>
                    <a:pt x="237" y="51"/>
                  </a:cubicBezTo>
                  <a:cubicBezTo>
                    <a:pt x="237" y="50"/>
                    <a:pt x="237" y="48"/>
                    <a:pt x="235" y="46"/>
                  </a:cubicBezTo>
                  <a:cubicBezTo>
                    <a:pt x="233" y="45"/>
                    <a:pt x="230" y="43"/>
                    <a:pt x="227" y="42"/>
                  </a:cubicBezTo>
                  <a:cubicBezTo>
                    <a:pt x="227" y="42"/>
                    <a:pt x="226" y="42"/>
                    <a:pt x="226" y="42"/>
                  </a:cubicBezTo>
                  <a:cubicBezTo>
                    <a:pt x="225" y="41"/>
                    <a:pt x="225" y="41"/>
                    <a:pt x="224" y="41"/>
                  </a:cubicBezTo>
                  <a:cubicBezTo>
                    <a:pt x="224" y="41"/>
                    <a:pt x="224" y="41"/>
                    <a:pt x="224" y="41"/>
                  </a:cubicBezTo>
                  <a:cubicBezTo>
                    <a:pt x="223" y="40"/>
                    <a:pt x="222" y="39"/>
                    <a:pt x="221" y="39"/>
                  </a:cubicBezTo>
                  <a:cubicBezTo>
                    <a:pt x="217" y="38"/>
                    <a:pt x="213" y="37"/>
                    <a:pt x="209" y="36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7" y="35"/>
                    <a:pt x="207" y="35"/>
                    <a:pt x="207" y="35"/>
                  </a:cubicBezTo>
                  <a:cubicBezTo>
                    <a:pt x="205" y="34"/>
                    <a:pt x="204" y="33"/>
                    <a:pt x="201" y="32"/>
                  </a:cubicBezTo>
                  <a:cubicBezTo>
                    <a:pt x="200" y="31"/>
                    <a:pt x="199" y="31"/>
                    <a:pt x="198" y="31"/>
                  </a:cubicBezTo>
                  <a:cubicBezTo>
                    <a:pt x="197" y="31"/>
                    <a:pt x="196" y="31"/>
                    <a:pt x="196" y="31"/>
                  </a:cubicBezTo>
                  <a:cubicBezTo>
                    <a:pt x="195" y="31"/>
                    <a:pt x="194" y="31"/>
                    <a:pt x="193" y="30"/>
                  </a:cubicBezTo>
                  <a:cubicBezTo>
                    <a:pt x="192" y="30"/>
                    <a:pt x="192" y="29"/>
                    <a:pt x="191" y="29"/>
                  </a:cubicBezTo>
                  <a:cubicBezTo>
                    <a:pt x="190" y="29"/>
                    <a:pt x="190" y="29"/>
                    <a:pt x="190" y="29"/>
                  </a:cubicBezTo>
                  <a:cubicBezTo>
                    <a:pt x="190" y="28"/>
                    <a:pt x="187" y="27"/>
                    <a:pt x="187" y="26"/>
                  </a:cubicBezTo>
                  <a:cubicBezTo>
                    <a:pt x="186" y="24"/>
                    <a:pt x="185" y="22"/>
                    <a:pt x="184" y="19"/>
                  </a:cubicBezTo>
                  <a:cubicBezTo>
                    <a:pt x="182" y="17"/>
                    <a:pt x="180" y="15"/>
                    <a:pt x="177" y="13"/>
                  </a:cubicBezTo>
                  <a:cubicBezTo>
                    <a:pt x="177" y="13"/>
                    <a:pt x="176" y="12"/>
                    <a:pt x="175" y="12"/>
                  </a:cubicBezTo>
                  <a:cubicBezTo>
                    <a:pt x="174" y="12"/>
                    <a:pt x="173" y="11"/>
                    <a:pt x="172" y="11"/>
                  </a:cubicBezTo>
                  <a:cubicBezTo>
                    <a:pt x="172" y="10"/>
                    <a:pt x="171" y="9"/>
                    <a:pt x="170" y="8"/>
                  </a:cubicBezTo>
                  <a:cubicBezTo>
                    <a:pt x="169" y="7"/>
                    <a:pt x="167" y="6"/>
                    <a:pt x="166" y="5"/>
                  </a:cubicBezTo>
                  <a:cubicBezTo>
                    <a:pt x="165" y="4"/>
                    <a:pt x="163" y="2"/>
                    <a:pt x="161" y="1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37" y="23"/>
                    <a:pt x="37" y="133"/>
                    <a:pt x="12" y="151"/>
                  </a:cubicBezTo>
                  <a:cubicBezTo>
                    <a:pt x="11" y="152"/>
                    <a:pt x="11" y="152"/>
                    <a:pt x="11" y="15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3" y="289"/>
                    <a:pt x="3" y="289"/>
                    <a:pt x="3" y="289"/>
                  </a:cubicBezTo>
                  <a:cubicBezTo>
                    <a:pt x="4" y="289"/>
                    <a:pt x="4" y="289"/>
                    <a:pt x="5" y="289"/>
                  </a:cubicBezTo>
                  <a:cubicBezTo>
                    <a:pt x="5" y="289"/>
                    <a:pt x="6" y="289"/>
                    <a:pt x="6" y="292"/>
                  </a:cubicBezTo>
                  <a:cubicBezTo>
                    <a:pt x="6" y="292"/>
                    <a:pt x="6" y="293"/>
                    <a:pt x="6" y="293"/>
                  </a:cubicBezTo>
                  <a:cubicBezTo>
                    <a:pt x="6" y="295"/>
                    <a:pt x="6" y="296"/>
                    <a:pt x="6" y="297"/>
                  </a:cubicBezTo>
                  <a:cubicBezTo>
                    <a:pt x="7" y="298"/>
                    <a:pt x="7" y="300"/>
                    <a:pt x="7" y="301"/>
                  </a:cubicBezTo>
                  <a:cubicBezTo>
                    <a:pt x="7" y="307"/>
                    <a:pt x="7" y="315"/>
                    <a:pt x="15" y="319"/>
                  </a:cubicBezTo>
                  <a:cubicBezTo>
                    <a:pt x="22" y="322"/>
                    <a:pt x="30" y="324"/>
                    <a:pt x="38" y="324"/>
                  </a:cubicBezTo>
                  <a:cubicBezTo>
                    <a:pt x="38" y="324"/>
                    <a:pt x="39" y="324"/>
                    <a:pt x="40" y="324"/>
                  </a:cubicBezTo>
                  <a:cubicBezTo>
                    <a:pt x="42" y="324"/>
                    <a:pt x="45" y="323"/>
                    <a:pt x="47" y="322"/>
                  </a:cubicBezTo>
                  <a:cubicBezTo>
                    <a:pt x="49" y="321"/>
                    <a:pt x="50" y="320"/>
                    <a:pt x="52" y="320"/>
                  </a:cubicBezTo>
                  <a:cubicBezTo>
                    <a:pt x="53" y="320"/>
                    <a:pt x="54" y="320"/>
                    <a:pt x="54" y="321"/>
                  </a:cubicBezTo>
                  <a:cubicBezTo>
                    <a:pt x="57" y="322"/>
                    <a:pt x="62" y="327"/>
                    <a:pt x="64" y="331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4" y="333"/>
                    <a:pt x="65" y="335"/>
                    <a:pt x="69" y="337"/>
                  </a:cubicBezTo>
                  <a:cubicBezTo>
                    <a:pt x="69" y="337"/>
                    <a:pt x="70" y="337"/>
                    <a:pt x="70" y="337"/>
                  </a:cubicBezTo>
                  <a:cubicBezTo>
                    <a:pt x="72" y="337"/>
                    <a:pt x="73" y="337"/>
                    <a:pt x="74" y="336"/>
                  </a:cubicBezTo>
                  <a:cubicBezTo>
                    <a:pt x="75" y="336"/>
                    <a:pt x="76" y="335"/>
                    <a:pt x="77" y="335"/>
                  </a:cubicBezTo>
                  <a:cubicBezTo>
                    <a:pt x="78" y="336"/>
                    <a:pt x="80" y="337"/>
                    <a:pt x="82" y="340"/>
                  </a:cubicBezTo>
                  <a:cubicBezTo>
                    <a:pt x="83" y="342"/>
                    <a:pt x="85" y="344"/>
                    <a:pt x="87" y="346"/>
                  </a:cubicBezTo>
                  <a:cubicBezTo>
                    <a:pt x="89" y="347"/>
                    <a:pt x="91" y="348"/>
                    <a:pt x="93" y="348"/>
                  </a:cubicBezTo>
                  <a:cubicBezTo>
                    <a:pt x="98" y="348"/>
                    <a:pt x="101" y="345"/>
                    <a:pt x="104" y="343"/>
                  </a:cubicBezTo>
                  <a:cubicBezTo>
                    <a:pt x="107" y="342"/>
                    <a:pt x="108" y="341"/>
                    <a:pt x="110" y="341"/>
                  </a:cubicBezTo>
                  <a:cubicBezTo>
                    <a:pt x="111" y="341"/>
                    <a:pt x="113" y="342"/>
                    <a:pt x="115" y="342"/>
                  </a:cubicBezTo>
                  <a:cubicBezTo>
                    <a:pt x="116" y="343"/>
                    <a:pt x="118" y="344"/>
                    <a:pt x="121" y="345"/>
                  </a:cubicBezTo>
                  <a:cubicBezTo>
                    <a:pt x="127" y="348"/>
                    <a:pt x="136" y="352"/>
                    <a:pt x="142" y="352"/>
                  </a:cubicBezTo>
                  <a:cubicBezTo>
                    <a:pt x="148" y="352"/>
                    <a:pt x="150" y="349"/>
                    <a:pt x="152" y="347"/>
                  </a:cubicBezTo>
                  <a:cubicBezTo>
                    <a:pt x="153" y="345"/>
                    <a:pt x="154" y="342"/>
                    <a:pt x="154" y="339"/>
                  </a:cubicBezTo>
                  <a:cubicBezTo>
                    <a:pt x="155" y="336"/>
                    <a:pt x="155" y="334"/>
                    <a:pt x="157" y="333"/>
                  </a:cubicBezTo>
                  <a:cubicBezTo>
                    <a:pt x="158" y="333"/>
                    <a:pt x="159" y="332"/>
                    <a:pt x="160" y="332"/>
                  </a:cubicBezTo>
                  <a:cubicBezTo>
                    <a:pt x="161" y="331"/>
                    <a:pt x="163" y="330"/>
                    <a:pt x="165" y="329"/>
                  </a:cubicBezTo>
                  <a:cubicBezTo>
                    <a:pt x="166" y="328"/>
                    <a:pt x="166" y="328"/>
                    <a:pt x="166" y="328"/>
                  </a:cubicBezTo>
                  <a:cubicBezTo>
                    <a:pt x="168" y="326"/>
                    <a:pt x="170" y="324"/>
                    <a:pt x="172" y="322"/>
                  </a:cubicBezTo>
                  <a:cubicBezTo>
                    <a:pt x="173" y="321"/>
                    <a:pt x="173" y="319"/>
                    <a:pt x="174" y="318"/>
                  </a:cubicBezTo>
                  <a:cubicBezTo>
                    <a:pt x="177" y="313"/>
                    <a:pt x="179" y="310"/>
                    <a:pt x="182" y="310"/>
                  </a:cubicBezTo>
                  <a:cubicBezTo>
                    <a:pt x="183" y="310"/>
                    <a:pt x="184" y="311"/>
                    <a:pt x="186" y="311"/>
                  </a:cubicBezTo>
                  <a:cubicBezTo>
                    <a:pt x="187" y="312"/>
                    <a:pt x="188" y="313"/>
                    <a:pt x="189" y="313"/>
                  </a:cubicBezTo>
                  <a:cubicBezTo>
                    <a:pt x="193" y="314"/>
                    <a:pt x="197" y="315"/>
                    <a:pt x="201" y="316"/>
                  </a:cubicBezTo>
                  <a:cubicBezTo>
                    <a:pt x="202" y="316"/>
                    <a:pt x="202" y="316"/>
                    <a:pt x="202" y="316"/>
                  </a:cubicBezTo>
                  <a:cubicBezTo>
                    <a:pt x="204" y="316"/>
                    <a:pt x="206" y="316"/>
                    <a:pt x="208" y="316"/>
                  </a:cubicBezTo>
                  <a:cubicBezTo>
                    <a:pt x="209" y="316"/>
                    <a:pt x="210" y="316"/>
                    <a:pt x="212" y="316"/>
                  </a:cubicBezTo>
                  <a:cubicBezTo>
                    <a:pt x="213" y="316"/>
                    <a:pt x="214" y="316"/>
                    <a:pt x="215" y="316"/>
                  </a:cubicBezTo>
                  <a:cubicBezTo>
                    <a:pt x="216" y="316"/>
                    <a:pt x="218" y="316"/>
                    <a:pt x="219" y="316"/>
                  </a:cubicBezTo>
                  <a:cubicBezTo>
                    <a:pt x="223" y="317"/>
                    <a:pt x="224" y="319"/>
                    <a:pt x="227" y="325"/>
                  </a:cubicBezTo>
                  <a:cubicBezTo>
                    <a:pt x="227" y="325"/>
                    <a:pt x="227" y="325"/>
                    <a:pt x="227" y="325"/>
                  </a:cubicBezTo>
                  <a:cubicBezTo>
                    <a:pt x="227" y="326"/>
                    <a:pt x="227" y="327"/>
                    <a:pt x="227" y="328"/>
                  </a:cubicBezTo>
                  <a:cubicBezTo>
                    <a:pt x="228" y="329"/>
                    <a:pt x="228" y="330"/>
                    <a:pt x="228" y="332"/>
                  </a:cubicBezTo>
                  <a:cubicBezTo>
                    <a:pt x="229" y="333"/>
                    <a:pt x="230" y="334"/>
                    <a:pt x="231" y="336"/>
                  </a:cubicBezTo>
                  <a:cubicBezTo>
                    <a:pt x="231" y="336"/>
                    <a:pt x="232" y="337"/>
                    <a:pt x="232" y="337"/>
                  </a:cubicBezTo>
                  <a:cubicBezTo>
                    <a:pt x="235" y="341"/>
                    <a:pt x="238" y="346"/>
                    <a:pt x="243" y="348"/>
                  </a:cubicBezTo>
                  <a:cubicBezTo>
                    <a:pt x="245" y="349"/>
                    <a:pt x="247" y="349"/>
                    <a:pt x="250" y="349"/>
                  </a:cubicBezTo>
                  <a:cubicBezTo>
                    <a:pt x="252" y="349"/>
                    <a:pt x="254" y="349"/>
                    <a:pt x="257" y="348"/>
                  </a:cubicBezTo>
                  <a:cubicBezTo>
                    <a:pt x="258" y="348"/>
                    <a:pt x="258" y="348"/>
                    <a:pt x="259" y="347"/>
                  </a:cubicBezTo>
                  <a:cubicBezTo>
                    <a:pt x="261" y="346"/>
                    <a:pt x="264" y="345"/>
                    <a:pt x="265" y="345"/>
                  </a:cubicBezTo>
                  <a:cubicBezTo>
                    <a:pt x="265" y="345"/>
                    <a:pt x="266" y="345"/>
                    <a:pt x="266" y="346"/>
                  </a:cubicBezTo>
                  <a:cubicBezTo>
                    <a:pt x="266" y="346"/>
                    <a:pt x="266" y="346"/>
                    <a:pt x="266" y="346"/>
                  </a:cubicBezTo>
                  <a:cubicBezTo>
                    <a:pt x="265" y="347"/>
                    <a:pt x="265" y="347"/>
                    <a:pt x="265" y="348"/>
                  </a:cubicBezTo>
                  <a:cubicBezTo>
                    <a:pt x="263" y="353"/>
                    <a:pt x="264" y="358"/>
                    <a:pt x="266" y="363"/>
                  </a:cubicBezTo>
                  <a:cubicBezTo>
                    <a:pt x="267" y="366"/>
                    <a:pt x="270" y="367"/>
                    <a:pt x="272" y="368"/>
                  </a:cubicBezTo>
                  <a:cubicBezTo>
                    <a:pt x="274" y="369"/>
                    <a:pt x="275" y="369"/>
                    <a:pt x="275" y="370"/>
                  </a:cubicBezTo>
                  <a:cubicBezTo>
                    <a:pt x="275" y="371"/>
                    <a:pt x="275" y="371"/>
                    <a:pt x="274" y="373"/>
                  </a:cubicBezTo>
                  <a:cubicBezTo>
                    <a:pt x="272" y="375"/>
                    <a:pt x="270" y="378"/>
                    <a:pt x="272" y="382"/>
                  </a:cubicBezTo>
                  <a:cubicBezTo>
                    <a:pt x="273" y="386"/>
                    <a:pt x="277" y="386"/>
                    <a:pt x="279" y="387"/>
                  </a:cubicBezTo>
                  <a:cubicBezTo>
                    <a:pt x="280" y="387"/>
                    <a:pt x="282" y="387"/>
                    <a:pt x="282" y="387"/>
                  </a:cubicBezTo>
                  <a:cubicBezTo>
                    <a:pt x="282" y="387"/>
                    <a:pt x="282" y="388"/>
                    <a:pt x="282" y="389"/>
                  </a:cubicBezTo>
                  <a:cubicBezTo>
                    <a:pt x="282" y="390"/>
                    <a:pt x="281" y="391"/>
                    <a:pt x="281" y="392"/>
                  </a:cubicBezTo>
                  <a:cubicBezTo>
                    <a:pt x="282" y="398"/>
                    <a:pt x="285" y="403"/>
                    <a:pt x="292" y="406"/>
                  </a:cubicBezTo>
                  <a:cubicBezTo>
                    <a:pt x="302" y="410"/>
                    <a:pt x="312" y="411"/>
                    <a:pt x="322" y="413"/>
                  </a:cubicBezTo>
                  <a:cubicBezTo>
                    <a:pt x="325" y="413"/>
                    <a:pt x="325" y="413"/>
                    <a:pt x="325" y="413"/>
                  </a:cubicBezTo>
                  <a:cubicBezTo>
                    <a:pt x="325" y="413"/>
                    <a:pt x="326" y="413"/>
                    <a:pt x="327" y="413"/>
                  </a:cubicBezTo>
                  <a:cubicBezTo>
                    <a:pt x="331" y="413"/>
                    <a:pt x="335" y="412"/>
                    <a:pt x="339" y="411"/>
                  </a:cubicBezTo>
                  <a:cubicBezTo>
                    <a:pt x="342" y="409"/>
                    <a:pt x="345" y="408"/>
                    <a:pt x="348" y="408"/>
                  </a:cubicBezTo>
                  <a:cubicBezTo>
                    <a:pt x="349" y="408"/>
                    <a:pt x="349" y="408"/>
                    <a:pt x="350" y="408"/>
                  </a:cubicBezTo>
                  <a:cubicBezTo>
                    <a:pt x="355" y="409"/>
                    <a:pt x="361" y="411"/>
                    <a:pt x="366" y="413"/>
                  </a:cubicBezTo>
                  <a:cubicBezTo>
                    <a:pt x="372" y="416"/>
                    <a:pt x="378" y="418"/>
                    <a:pt x="385" y="418"/>
                  </a:cubicBezTo>
                  <a:cubicBezTo>
                    <a:pt x="385" y="418"/>
                    <a:pt x="386" y="418"/>
                    <a:pt x="387" y="418"/>
                  </a:cubicBezTo>
                  <a:cubicBezTo>
                    <a:pt x="388" y="418"/>
                    <a:pt x="389" y="417"/>
                    <a:pt x="390" y="417"/>
                  </a:cubicBezTo>
                  <a:cubicBezTo>
                    <a:pt x="391" y="417"/>
                    <a:pt x="391" y="417"/>
                    <a:pt x="391" y="417"/>
                  </a:cubicBezTo>
                  <a:cubicBezTo>
                    <a:pt x="391" y="417"/>
                    <a:pt x="391" y="417"/>
                    <a:pt x="392" y="417"/>
                  </a:cubicBezTo>
                  <a:cubicBezTo>
                    <a:pt x="392" y="418"/>
                    <a:pt x="393" y="419"/>
                    <a:pt x="393" y="421"/>
                  </a:cubicBezTo>
                  <a:cubicBezTo>
                    <a:pt x="393" y="422"/>
                    <a:pt x="393" y="425"/>
                    <a:pt x="394" y="426"/>
                  </a:cubicBezTo>
                  <a:cubicBezTo>
                    <a:pt x="396" y="428"/>
                    <a:pt x="399" y="433"/>
                    <a:pt x="403" y="435"/>
                  </a:cubicBezTo>
                  <a:cubicBezTo>
                    <a:pt x="405" y="436"/>
                    <a:pt x="406" y="437"/>
                    <a:pt x="408" y="437"/>
                  </a:cubicBezTo>
                  <a:cubicBezTo>
                    <a:pt x="410" y="437"/>
                    <a:pt x="411" y="438"/>
                    <a:pt x="412" y="439"/>
                  </a:cubicBezTo>
                  <a:cubicBezTo>
                    <a:pt x="414" y="441"/>
                    <a:pt x="416" y="445"/>
                    <a:pt x="415" y="448"/>
                  </a:cubicBezTo>
                  <a:cubicBezTo>
                    <a:pt x="415" y="448"/>
                    <a:pt x="415" y="448"/>
                    <a:pt x="415" y="448"/>
                  </a:cubicBezTo>
                  <a:cubicBezTo>
                    <a:pt x="414" y="448"/>
                    <a:pt x="411" y="449"/>
                    <a:pt x="410" y="452"/>
                  </a:cubicBezTo>
                  <a:cubicBezTo>
                    <a:pt x="409" y="455"/>
                    <a:pt x="411" y="457"/>
                    <a:pt x="413" y="458"/>
                  </a:cubicBezTo>
                  <a:cubicBezTo>
                    <a:pt x="413" y="458"/>
                    <a:pt x="413" y="459"/>
                    <a:pt x="413" y="459"/>
                  </a:cubicBezTo>
                  <a:cubicBezTo>
                    <a:pt x="413" y="459"/>
                    <a:pt x="414" y="460"/>
                    <a:pt x="414" y="460"/>
                  </a:cubicBezTo>
                  <a:cubicBezTo>
                    <a:pt x="414" y="460"/>
                    <a:pt x="414" y="461"/>
                    <a:pt x="414" y="461"/>
                  </a:cubicBezTo>
                  <a:cubicBezTo>
                    <a:pt x="414" y="461"/>
                    <a:pt x="414" y="461"/>
                    <a:pt x="414" y="462"/>
                  </a:cubicBezTo>
                  <a:cubicBezTo>
                    <a:pt x="414" y="464"/>
                    <a:pt x="414" y="464"/>
                    <a:pt x="413" y="464"/>
                  </a:cubicBezTo>
                  <a:cubicBezTo>
                    <a:pt x="412" y="464"/>
                    <a:pt x="409" y="462"/>
                    <a:pt x="407" y="461"/>
                  </a:cubicBezTo>
                  <a:cubicBezTo>
                    <a:pt x="404" y="460"/>
                    <a:pt x="401" y="458"/>
                    <a:pt x="398" y="458"/>
                  </a:cubicBezTo>
                  <a:cubicBezTo>
                    <a:pt x="396" y="458"/>
                    <a:pt x="396" y="458"/>
                    <a:pt x="396" y="458"/>
                  </a:cubicBezTo>
                  <a:cubicBezTo>
                    <a:pt x="394" y="458"/>
                    <a:pt x="393" y="458"/>
                    <a:pt x="393" y="457"/>
                  </a:cubicBezTo>
                  <a:cubicBezTo>
                    <a:pt x="392" y="456"/>
                    <a:pt x="391" y="455"/>
                    <a:pt x="391" y="454"/>
                  </a:cubicBezTo>
                  <a:cubicBezTo>
                    <a:pt x="390" y="452"/>
                    <a:pt x="388" y="450"/>
                    <a:pt x="386" y="448"/>
                  </a:cubicBezTo>
                  <a:cubicBezTo>
                    <a:pt x="385" y="448"/>
                    <a:pt x="385" y="447"/>
                    <a:pt x="384" y="447"/>
                  </a:cubicBezTo>
                  <a:cubicBezTo>
                    <a:pt x="383" y="446"/>
                    <a:pt x="383" y="446"/>
                    <a:pt x="383" y="445"/>
                  </a:cubicBezTo>
                  <a:cubicBezTo>
                    <a:pt x="382" y="445"/>
                    <a:pt x="382" y="445"/>
                    <a:pt x="382" y="444"/>
                  </a:cubicBezTo>
                  <a:cubicBezTo>
                    <a:pt x="382" y="443"/>
                    <a:pt x="382" y="442"/>
                    <a:pt x="381" y="440"/>
                  </a:cubicBezTo>
                  <a:cubicBezTo>
                    <a:pt x="380" y="438"/>
                    <a:pt x="377" y="437"/>
                    <a:pt x="374" y="437"/>
                  </a:cubicBezTo>
                  <a:cubicBezTo>
                    <a:pt x="371" y="437"/>
                    <a:pt x="367" y="438"/>
                    <a:pt x="365" y="441"/>
                  </a:cubicBezTo>
                  <a:cubicBezTo>
                    <a:pt x="364" y="443"/>
                    <a:pt x="364" y="445"/>
                    <a:pt x="364" y="447"/>
                  </a:cubicBezTo>
                  <a:cubicBezTo>
                    <a:pt x="365" y="450"/>
                    <a:pt x="368" y="451"/>
                    <a:pt x="370" y="452"/>
                  </a:cubicBezTo>
                  <a:cubicBezTo>
                    <a:pt x="371" y="453"/>
                    <a:pt x="372" y="454"/>
                    <a:pt x="372" y="454"/>
                  </a:cubicBezTo>
                  <a:cubicBezTo>
                    <a:pt x="375" y="457"/>
                    <a:pt x="380" y="464"/>
                    <a:pt x="376" y="468"/>
                  </a:cubicBezTo>
                  <a:cubicBezTo>
                    <a:pt x="376" y="469"/>
                    <a:pt x="375" y="470"/>
                    <a:pt x="374" y="471"/>
                  </a:cubicBezTo>
                  <a:cubicBezTo>
                    <a:pt x="371" y="473"/>
                    <a:pt x="368" y="475"/>
                    <a:pt x="368" y="479"/>
                  </a:cubicBezTo>
                  <a:cubicBezTo>
                    <a:pt x="367" y="481"/>
                    <a:pt x="368" y="483"/>
                    <a:pt x="368" y="485"/>
                  </a:cubicBezTo>
                  <a:cubicBezTo>
                    <a:pt x="368" y="485"/>
                    <a:pt x="369" y="486"/>
                    <a:pt x="369" y="486"/>
                  </a:cubicBezTo>
                  <a:cubicBezTo>
                    <a:pt x="369" y="488"/>
                    <a:pt x="369" y="490"/>
                    <a:pt x="370" y="491"/>
                  </a:cubicBezTo>
                  <a:cubicBezTo>
                    <a:pt x="370" y="492"/>
                    <a:pt x="370" y="494"/>
                    <a:pt x="370" y="495"/>
                  </a:cubicBezTo>
                  <a:cubicBezTo>
                    <a:pt x="371" y="498"/>
                    <a:pt x="371" y="502"/>
                    <a:pt x="371" y="506"/>
                  </a:cubicBezTo>
                  <a:cubicBezTo>
                    <a:pt x="371" y="508"/>
                    <a:pt x="371" y="508"/>
                    <a:pt x="371" y="508"/>
                  </a:cubicBezTo>
                  <a:cubicBezTo>
                    <a:pt x="372" y="513"/>
                    <a:pt x="370" y="519"/>
                    <a:pt x="367" y="524"/>
                  </a:cubicBezTo>
                  <a:cubicBezTo>
                    <a:pt x="366" y="525"/>
                    <a:pt x="365" y="528"/>
                    <a:pt x="364" y="529"/>
                  </a:cubicBezTo>
                  <a:cubicBezTo>
                    <a:pt x="362" y="529"/>
                    <a:pt x="361" y="530"/>
                    <a:pt x="360" y="530"/>
                  </a:cubicBezTo>
                  <a:cubicBezTo>
                    <a:pt x="357" y="531"/>
                    <a:pt x="354" y="532"/>
                    <a:pt x="351" y="536"/>
                  </a:cubicBezTo>
                  <a:cubicBezTo>
                    <a:pt x="349" y="540"/>
                    <a:pt x="345" y="548"/>
                    <a:pt x="349" y="553"/>
                  </a:cubicBezTo>
                  <a:cubicBezTo>
                    <a:pt x="351" y="554"/>
                    <a:pt x="352" y="555"/>
                    <a:pt x="354" y="555"/>
                  </a:cubicBezTo>
                  <a:cubicBezTo>
                    <a:pt x="356" y="555"/>
                    <a:pt x="358" y="554"/>
                    <a:pt x="360" y="553"/>
                  </a:cubicBezTo>
                  <a:cubicBezTo>
                    <a:pt x="361" y="552"/>
                    <a:pt x="363" y="551"/>
                    <a:pt x="363" y="551"/>
                  </a:cubicBezTo>
                  <a:cubicBezTo>
                    <a:pt x="363" y="551"/>
                    <a:pt x="363" y="551"/>
                    <a:pt x="363" y="551"/>
                  </a:cubicBezTo>
                  <a:cubicBezTo>
                    <a:pt x="363" y="554"/>
                    <a:pt x="356" y="560"/>
                    <a:pt x="354" y="561"/>
                  </a:cubicBezTo>
                  <a:cubicBezTo>
                    <a:pt x="353" y="561"/>
                    <a:pt x="352" y="561"/>
                    <a:pt x="351" y="561"/>
                  </a:cubicBezTo>
                  <a:cubicBezTo>
                    <a:pt x="349" y="562"/>
                    <a:pt x="346" y="562"/>
                    <a:pt x="344" y="564"/>
                  </a:cubicBezTo>
                  <a:cubicBezTo>
                    <a:pt x="340" y="567"/>
                    <a:pt x="338" y="573"/>
                    <a:pt x="340" y="577"/>
                  </a:cubicBezTo>
                  <a:cubicBezTo>
                    <a:pt x="341" y="580"/>
                    <a:pt x="343" y="581"/>
                    <a:pt x="347" y="581"/>
                  </a:cubicBezTo>
                  <a:cubicBezTo>
                    <a:pt x="348" y="581"/>
                    <a:pt x="349" y="581"/>
                    <a:pt x="350" y="581"/>
                  </a:cubicBezTo>
                  <a:cubicBezTo>
                    <a:pt x="357" y="579"/>
                    <a:pt x="366" y="574"/>
                    <a:pt x="373" y="568"/>
                  </a:cubicBezTo>
                  <a:cubicBezTo>
                    <a:pt x="374" y="566"/>
                    <a:pt x="376" y="564"/>
                    <a:pt x="378" y="563"/>
                  </a:cubicBezTo>
                  <a:cubicBezTo>
                    <a:pt x="381" y="560"/>
                    <a:pt x="383" y="557"/>
                    <a:pt x="386" y="555"/>
                  </a:cubicBezTo>
                  <a:cubicBezTo>
                    <a:pt x="387" y="553"/>
                    <a:pt x="389" y="552"/>
                    <a:pt x="390" y="550"/>
                  </a:cubicBezTo>
                  <a:cubicBezTo>
                    <a:pt x="393" y="547"/>
                    <a:pt x="395" y="545"/>
                    <a:pt x="399" y="544"/>
                  </a:cubicBezTo>
                  <a:cubicBezTo>
                    <a:pt x="399" y="543"/>
                    <a:pt x="400" y="543"/>
                    <a:pt x="401" y="543"/>
                  </a:cubicBezTo>
                  <a:cubicBezTo>
                    <a:pt x="402" y="543"/>
                    <a:pt x="403" y="544"/>
                    <a:pt x="405" y="545"/>
                  </a:cubicBezTo>
                  <a:cubicBezTo>
                    <a:pt x="406" y="546"/>
                    <a:pt x="407" y="547"/>
                    <a:pt x="409" y="547"/>
                  </a:cubicBezTo>
                  <a:cubicBezTo>
                    <a:pt x="410" y="548"/>
                    <a:pt x="411" y="548"/>
                    <a:pt x="412" y="548"/>
                  </a:cubicBezTo>
                  <a:cubicBezTo>
                    <a:pt x="416" y="548"/>
                    <a:pt x="419" y="545"/>
                    <a:pt x="421" y="543"/>
                  </a:cubicBezTo>
                  <a:cubicBezTo>
                    <a:pt x="422" y="542"/>
                    <a:pt x="423" y="541"/>
                    <a:pt x="423" y="541"/>
                  </a:cubicBezTo>
                  <a:cubicBezTo>
                    <a:pt x="425" y="539"/>
                    <a:pt x="428" y="538"/>
                    <a:pt x="431" y="538"/>
                  </a:cubicBezTo>
                  <a:cubicBezTo>
                    <a:pt x="433" y="537"/>
                    <a:pt x="436" y="536"/>
                    <a:pt x="439" y="535"/>
                  </a:cubicBezTo>
                  <a:cubicBezTo>
                    <a:pt x="440" y="534"/>
                    <a:pt x="442" y="533"/>
                    <a:pt x="444" y="533"/>
                  </a:cubicBezTo>
                  <a:cubicBezTo>
                    <a:pt x="448" y="531"/>
                    <a:pt x="453" y="530"/>
                    <a:pt x="456" y="526"/>
                  </a:cubicBezTo>
                  <a:cubicBezTo>
                    <a:pt x="457" y="524"/>
                    <a:pt x="458" y="523"/>
                    <a:pt x="458" y="522"/>
                  </a:cubicBezTo>
                  <a:cubicBezTo>
                    <a:pt x="458" y="522"/>
                    <a:pt x="458" y="521"/>
                    <a:pt x="458" y="521"/>
                  </a:cubicBezTo>
                  <a:cubicBezTo>
                    <a:pt x="458" y="518"/>
                    <a:pt x="459" y="515"/>
                    <a:pt x="457" y="512"/>
                  </a:cubicBezTo>
                  <a:cubicBezTo>
                    <a:pt x="456" y="511"/>
                    <a:pt x="454" y="510"/>
                    <a:pt x="452" y="510"/>
                  </a:cubicBezTo>
                  <a:cubicBezTo>
                    <a:pt x="450" y="510"/>
                    <a:pt x="448" y="510"/>
                    <a:pt x="446" y="511"/>
                  </a:cubicBezTo>
                  <a:cubicBezTo>
                    <a:pt x="444" y="511"/>
                    <a:pt x="442" y="511"/>
                    <a:pt x="440" y="511"/>
                  </a:cubicBezTo>
                  <a:cubicBezTo>
                    <a:pt x="438" y="511"/>
                    <a:pt x="437" y="511"/>
                    <a:pt x="437" y="510"/>
                  </a:cubicBezTo>
                  <a:cubicBezTo>
                    <a:pt x="435" y="508"/>
                    <a:pt x="437" y="506"/>
                    <a:pt x="441" y="502"/>
                  </a:cubicBezTo>
                  <a:cubicBezTo>
                    <a:pt x="442" y="501"/>
                    <a:pt x="442" y="500"/>
                    <a:pt x="443" y="500"/>
                  </a:cubicBezTo>
                  <a:cubicBezTo>
                    <a:pt x="450" y="492"/>
                    <a:pt x="455" y="488"/>
                    <a:pt x="464" y="485"/>
                  </a:cubicBezTo>
                  <a:cubicBezTo>
                    <a:pt x="466" y="484"/>
                    <a:pt x="469" y="482"/>
                    <a:pt x="472" y="481"/>
                  </a:cubicBezTo>
                  <a:cubicBezTo>
                    <a:pt x="476" y="478"/>
                    <a:pt x="481" y="475"/>
                    <a:pt x="485" y="475"/>
                  </a:cubicBezTo>
                  <a:cubicBezTo>
                    <a:pt x="487" y="475"/>
                    <a:pt x="490" y="476"/>
                    <a:pt x="492" y="477"/>
                  </a:cubicBezTo>
                  <a:cubicBezTo>
                    <a:pt x="495" y="479"/>
                    <a:pt x="499" y="480"/>
                    <a:pt x="502" y="480"/>
                  </a:cubicBezTo>
                  <a:cubicBezTo>
                    <a:pt x="505" y="480"/>
                    <a:pt x="507" y="479"/>
                    <a:pt x="509" y="477"/>
                  </a:cubicBezTo>
                  <a:cubicBezTo>
                    <a:pt x="513" y="475"/>
                    <a:pt x="513" y="472"/>
                    <a:pt x="513" y="469"/>
                  </a:cubicBezTo>
                  <a:cubicBezTo>
                    <a:pt x="514" y="468"/>
                    <a:pt x="514" y="466"/>
                    <a:pt x="515" y="465"/>
                  </a:cubicBezTo>
                  <a:cubicBezTo>
                    <a:pt x="516" y="463"/>
                    <a:pt x="519" y="461"/>
                    <a:pt x="521" y="460"/>
                  </a:cubicBezTo>
                  <a:cubicBezTo>
                    <a:pt x="524" y="458"/>
                    <a:pt x="527" y="456"/>
                    <a:pt x="529" y="454"/>
                  </a:cubicBezTo>
                  <a:cubicBezTo>
                    <a:pt x="531" y="451"/>
                    <a:pt x="534" y="448"/>
                    <a:pt x="536" y="445"/>
                  </a:cubicBezTo>
                  <a:cubicBezTo>
                    <a:pt x="537" y="443"/>
                    <a:pt x="539" y="441"/>
                    <a:pt x="540" y="439"/>
                  </a:cubicBezTo>
                  <a:cubicBezTo>
                    <a:pt x="548" y="429"/>
                    <a:pt x="556" y="420"/>
                    <a:pt x="567" y="417"/>
                  </a:cubicBezTo>
                  <a:cubicBezTo>
                    <a:pt x="570" y="416"/>
                    <a:pt x="570" y="416"/>
                    <a:pt x="570" y="416"/>
                  </a:cubicBezTo>
                  <a:lnTo>
                    <a:pt x="569" y="413"/>
                  </a:ln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01" name="Freeform 200"/>
            <p:cNvSpPr>
              <a:spLocks/>
            </p:cNvSpPr>
            <p:nvPr/>
          </p:nvSpPr>
          <p:spPr bwMode="auto">
            <a:xfrm>
              <a:off x="19203570" y="6084404"/>
              <a:ext cx="3061210" cy="3318761"/>
            </a:xfrm>
            <a:custGeom>
              <a:avLst/>
              <a:gdLst>
                <a:gd name="T0" fmla="*/ 399 w 562"/>
                <a:gd name="T1" fmla="*/ 295 h 669"/>
                <a:gd name="T2" fmla="*/ 394 w 562"/>
                <a:gd name="T3" fmla="*/ 338 h 669"/>
                <a:gd name="T4" fmla="*/ 350 w 562"/>
                <a:gd name="T5" fmla="*/ 333 h 669"/>
                <a:gd name="T6" fmla="*/ 329 w 562"/>
                <a:gd name="T7" fmla="*/ 314 h 669"/>
                <a:gd name="T8" fmla="*/ 298 w 562"/>
                <a:gd name="T9" fmla="*/ 289 h 669"/>
                <a:gd name="T10" fmla="*/ 293 w 562"/>
                <a:gd name="T11" fmla="*/ 248 h 669"/>
                <a:gd name="T12" fmla="*/ 298 w 562"/>
                <a:gd name="T13" fmla="*/ 228 h 669"/>
                <a:gd name="T14" fmla="*/ 367 w 562"/>
                <a:gd name="T15" fmla="*/ 209 h 669"/>
                <a:gd name="T16" fmla="*/ 329 w 562"/>
                <a:gd name="T17" fmla="*/ 167 h 669"/>
                <a:gd name="T18" fmla="*/ 295 w 562"/>
                <a:gd name="T19" fmla="*/ 75 h 669"/>
                <a:gd name="T20" fmla="*/ 276 w 562"/>
                <a:gd name="T21" fmla="*/ 60 h 669"/>
                <a:gd name="T22" fmla="*/ 257 w 562"/>
                <a:gd name="T23" fmla="*/ 33 h 669"/>
                <a:gd name="T24" fmla="*/ 259 w 562"/>
                <a:gd name="T25" fmla="*/ 65 h 669"/>
                <a:gd name="T26" fmla="*/ 257 w 562"/>
                <a:gd name="T27" fmla="*/ 90 h 669"/>
                <a:gd name="T28" fmla="*/ 247 w 562"/>
                <a:gd name="T29" fmla="*/ 109 h 669"/>
                <a:gd name="T30" fmla="*/ 227 w 562"/>
                <a:gd name="T31" fmla="*/ 113 h 669"/>
                <a:gd name="T32" fmla="*/ 200 w 562"/>
                <a:gd name="T33" fmla="*/ 106 h 669"/>
                <a:gd name="T34" fmla="*/ 186 w 562"/>
                <a:gd name="T35" fmla="*/ 87 h 669"/>
                <a:gd name="T36" fmla="*/ 173 w 562"/>
                <a:gd name="T37" fmla="*/ 53 h 669"/>
                <a:gd name="T38" fmla="*/ 154 w 562"/>
                <a:gd name="T39" fmla="*/ 32 h 669"/>
                <a:gd name="T40" fmla="*/ 135 w 562"/>
                <a:gd name="T41" fmla="*/ 35 h 669"/>
                <a:gd name="T42" fmla="*/ 108 w 562"/>
                <a:gd name="T43" fmla="*/ 14 h 669"/>
                <a:gd name="T44" fmla="*/ 76 w 562"/>
                <a:gd name="T45" fmla="*/ 1 h 669"/>
                <a:gd name="T46" fmla="*/ 58 w 562"/>
                <a:gd name="T47" fmla="*/ 15 h 669"/>
                <a:gd name="T48" fmla="*/ 39 w 562"/>
                <a:gd name="T49" fmla="*/ 13 h 669"/>
                <a:gd name="T50" fmla="*/ 11 w 562"/>
                <a:gd name="T51" fmla="*/ 49 h 669"/>
                <a:gd name="T52" fmla="*/ 12 w 562"/>
                <a:gd name="T53" fmla="*/ 79 h 669"/>
                <a:gd name="T54" fmla="*/ 26 w 562"/>
                <a:gd name="T55" fmla="*/ 102 h 669"/>
                <a:gd name="T56" fmla="*/ 30 w 562"/>
                <a:gd name="T57" fmla="*/ 119 h 669"/>
                <a:gd name="T58" fmla="*/ 48 w 562"/>
                <a:gd name="T59" fmla="*/ 184 h 669"/>
                <a:gd name="T60" fmla="*/ 73 w 562"/>
                <a:gd name="T61" fmla="*/ 231 h 669"/>
                <a:gd name="T62" fmla="*/ 86 w 562"/>
                <a:gd name="T63" fmla="*/ 250 h 669"/>
                <a:gd name="T64" fmla="*/ 61 w 562"/>
                <a:gd name="T65" fmla="*/ 283 h 669"/>
                <a:gd name="T66" fmla="*/ 25 w 562"/>
                <a:gd name="T67" fmla="*/ 329 h 669"/>
                <a:gd name="T68" fmla="*/ 40 w 562"/>
                <a:gd name="T69" fmla="*/ 347 h 669"/>
                <a:gd name="T70" fmla="*/ 59 w 562"/>
                <a:gd name="T71" fmla="*/ 403 h 669"/>
                <a:gd name="T72" fmla="*/ 46 w 562"/>
                <a:gd name="T73" fmla="*/ 432 h 669"/>
                <a:gd name="T74" fmla="*/ 99 w 562"/>
                <a:gd name="T75" fmla="*/ 639 h 669"/>
                <a:gd name="T76" fmla="*/ 183 w 562"/>
                <a:gd name="T77" fmla="*/ 658 h 669"/>
                <a:gd name="T78" fmla="*/ 226 w 562"/>
                <a:gd name="T79" fmla="*/ 661 h 669"/>
                <a:gd name="T80" fmla="*/ 286 w 562"/>
                <a:gd name="T81" fmla="*/ 655 h 669"/>
                <a:gd name="T82" fmla="*/ 330 w 562"/>
                <a:gd name="T83" fmla="*/ 613 h 669"/>
                <a:gd name="T84" fmla="*/ 339 w 562"/>
                <a:gd name="T85" fmla="*/ 546 h 669"/>
                <a:gd name="T86" fmla="*/ 359 w 562"/>
                <a:gd name="T87" fmla="*/ 509 h 669"/>
                <a:gd name="T88" fmla="*/ 414 w 562"/>
                <a:gd name="T89" fmla="*/ 484 h 669"/>
                <a:gd name="T90" fmla="*/ 442 w 562"/>
                <a:gd name="T91" fmla="*/ 468 h 669"/>
                <a:gd name="T92" fmla="*/ 446 w 562"/>
                <a:gd name="T93" fmla="*/ 436 h 669"/>
                <a:gd name="T94" fmla="*/ 309 w 562"/>
                <a:gd name="T95" fmla="*/ 562 h 669"/>
                <a:gd name="T96" fmla="*/ 308 w 562"/>
                <a:gd name="T97" fmla="*/ 554 h 669"/>
                <a:gd name="T98" fmla="*/ 318 w 562"/>
                <a:gd name="T99" fmla="*/ 532 h 669"/>
                <a:gd name="T100" fmla="*/ 350 w 562"/>
                <a:gd name="T101" fmla="*/ 457 h 669"/>
                <a:gd name="T102" fmla="*/ 372 w 562"/>
                <a:gd name="T103" fmla="*/ 411 h 669"/>
                <a:gd name="T104" fmla="*/ 412 w 562"/>
                <a:gd name="T105" fmla="*/ 390 h 669"/>
                <a:gd name="T106" fmla="*/ 435 w 562"/>
                <a:gd name="T107" fmla="*/ 383 h 669"/>
                <a:gd name="T108" fmla="*/ 459 w 562"/>
                <a:gd name="T109" fmla="*/ 373 h 669"/>
                <a:gd name="T110" fmla="*/ 477 w 562"/>
                <a:gd name="T111" fmla="*/ 365 h 669"/>
                <a:gd name="T112" fmla="*/ 507 w 562"/>
                <a:gd name="T113" fmla="*/ 351 h 669"/>
                <a:gd name="T114" fmla="*/ 532 w 562"/>
                <a:gd name="T115" fmla="*/ 311 h 669"/>
                <a:gd name="T116" fmla="*/ 547 w 562"/>
                <a:gd name="T117" fmla="*/ 281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2" h="669">
                  <a:moveTo>
                    <a:pt x="551" y="246"/>
                  </a:moveTo>
                  <a:cubicBezTo>
                    <a:pt x="549" y="248"/>
                    <a:pt x="549" y="248"/>
                    <a:pt x="549" y="248"/>
                  </a:cubicBezTo>
                  <a:cubicBezTo>
                    <a:pt x="538" y="253"/>
                    <a:pt x="526" y="259"/>
                    <a:pt x="515" y="265"/>
                  </a:cubicBezTo>
                  <a:cubicBezTo>
                    <a:pt x="513" y="266"/>
                    <a:pt x="513" y="266"/>
                    <a:pt x="513" y="266"/>
                  </a:cubicBezTo>
                  <a:cubicBezTo>
                    <a:pt x="488" y="279"/>
                    <a:pt x="461" y="292"/>
                    <a:pt x="435" y="306"/>
                  </a:cubicBezTo>
                  <a:cubicBezTo>
                    <a:pt x="430" y="308"/>
                    <a:pt x="425" y="310"/>
                    <a:pt x="421" y="313"/>
                  </a:cubicBezTo>
                  <a:cubicBezTo>
                    <a:pt x="418" y="314"/>
                    <a:pt x="416" y="314"/>
                    <a:pt x="414" y="314"/>
                  </a:cubicBezTo>
                  <a:cubicBezTo>
                    <a:pt x="409" y="314"/>
                    <a:pt x="406" y="312"/>
                    <a:pt x="401" y="308"/>
                  </a:cubicBezTo>
                  <a:cubicBezTo>
                    <a:pt x="397" y="303"/>
                    <a:pt x="398" y="299"/>
                    <a:pt x="399" y="295"/>
                  </a:cubicBezTo>
                  <a:cubicBezTo>
                    <a:pt x="399" y="291"/>
                    <a:pt x="400" y="288"/>
                    <a:pt x="397" y="284"/>
                  </a:cubicBezTo>
                  <a:cubicBezTo>
                    <a:pt x="395" y="281"/>
                    <a:pt x="393" y="280"/>
                    <a:pt x="391" y="280"/>
                  </a:cubicBezTo>
                  <a:cubicBezTo>
                    <a:pt x="390" y="280"/>
                    <a:pt x="390" y="280"/>
                    <a:pt x="389" y="280"/>
                  </a:cubicBezTo>
                  <a:cubicBezTo>
                    <a:pt x="386" y="281"/>
                    <a:pt x="383" y="287"/>
                    <a:pt x="383" y="292"/>
                  </a:cubicBezTo>
                  <a:cubicBezTo>
                    <a:pt x="383" y="297"/>
                    <a:pt x="386" y="300"/>
                    <a:pt x="389" y="303"/>
                  </a:cubicBezTo>
                  <a:cubicBezTo>
                    <a:pt x="391" y="306"/>
                    <a:pt x="392" y="308"/>
                    <a:pt x="394" y="311"/>
                  </a:cubicBezTo>
                  <a:cubicBezTo>
                    <a:pt x="396" y="317"/>
                    <a:pt x="396" y="325"/>
                    <a:pt x="395" y="333"/>
                  </a:cubicBezTo>
                  <a:cubicBezTo>
                    <a:pt x="395" y="334"/>
                    <a:pt x="395" y="336"/>
                    <a:pt x="395" y="337"/>
                  </a:cubicBezTo>
                  <a:cubicBezTo>
                    <a:pt x="395" y="338"/>
                    <a:pt x="395" y="338"/>
                    <a:pt x="394" y="338"/>
                  </a:cubicBezTo>
                  <a:cubicBezTo>
                    <a:pt x="394" y="338"/>
                    <a:pt x="394" y="338"/>
                    <a:pt x="394" y="338"/>
                  </a:cubicBezTo>
                  <a:cubicBezTo>
                    <a:pt x="392" y="338"/>
                    <a:pt x="387" y="335"/>
                    <a:pt x="379" y="329"/>
                  </a:cubicBezTo>
                  <a:cubicBezTo>
                    <a:pt x="378" y="328"/>
                    <a:pt x="378" y="328"/>
                    <a:pt x="378" y="328"/>
                  </a:cubicBezTo>
                  <a:cubicBezTo>
                    <a:pt x="376" y="327"/>
                    <a:pt x="375" y="326"/>
                    <a:pt x="373" y="326"/>
                  </a:cubicBezTo>
                  <a:cubicBezTo>
                    <a:pt x="371" y="326"/>
                    <a:pt x="369" y="327"/>
                    <a:pt x="367" y="329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60" y="333"/>
                    <a:pt x="358" y="333"/>
                    <a:pt x="355" y="333"/>
                  </a:cubicBezTo>
                  <a:cubicBezTo>
                    <a:pt x="354" y="333"/>
                    <a:pt x="353" y="333"/>
                    <a:pt x="352" y="333"/>
                  </a:cubicBezTo>
                  <a:cubicBezTo>
                    <a:pt x="350" y="333"/>
                    <a:pt x="350" y="333"/>
                    <a:pt x="350" y="333"/>
                  </a:cubicBezTo>
                  <a:cubicBezTo>
                    <a:pt x="344" y="333"/>
                    <a:pt x="344" y="333"/>
                    <a:pt x="341" y="328"/>
                  </a:cubicBezTo>
                  <a:cubicBezTo>
                    <a:pt x="341" y="327"/>
                    <a:pt x="341" y="327"/>
                    <a:pt x="341" y="327"/>
                  </a:cubicBezTo>
                  <a:cubicBezTo>
                    <a:pt x="340" y="325"/>
                    <a:pt x="339" y="323"/>
                    <a:pt x="339" y="320"/>
                  </a:cubicBezTo>
                  <a:cubicBezTo>
                    <a:pt x="338" y="315"/>
                    <a:pt x="337" y="313"/>
                    <a:pt x="336" y="311"/>
                  </a:cubicBezTo>
                  <a:cubicBezTo>
                    <a:pt x="335" y="311"/>
                    <a:pt x="335" y="310"/>
                    <a:pt x="335" y="310"/>
                  </a:cubicBezTo>
                  <a:cubicBezTo>
                    <a:pt x="332" y="308"/>
                    <a:pt x="332" y="308"/>
                    <a:pt x="332" y="308"/>
                  </a:cubicBezTo>
                  <a:cubicBezTo>
                    <a:pt x="330" y="312"/>
                    <a:pt x="330" y="312"/>
                    <a:pt x="330" y="312"/>
                  </a:cubicBezTo>
                  <a:cubicBezTo>
                    <a:pt x="330" y="312"/>
                    <a:pt x="330" y="313"/>
                    <a:pt x="330" y="313"/>
                  </a:cubicBezTo>
                  <a:cubicBezTo>
                    <a:pt x="329" y="314"/>
                    <a:pt x="329" y="314"/>
                    <a:pt x="329" y="314"/>
                  </a:cubicBezTo>
                  <a:cubicBezTo>
                    <a:pt x="329" y="316"/>
                    <a:pt x="328" y="318"/>
                    <a:pt x="327" y="318"/>
                  </a:cubicBezTo>
                  <a:cubicBezTo>
                    <a:pt x="327" y="318"/>
                    <a:pt x="326" y="318"/>
                    <a:pt x="326" y="318"/>
                  </a:cubicBezTo>
                  <a:cubicBezTo>
                    <a:pt x="325" y="318"/>
                    <a:pt x="325" y="318"/>
                    <a:pt x="324" y="318"/>
                  </a:cubicBezTo>
                  <a:cubicBezTo>
                    <a:pt x="321" y="316"/>
                    <a:pt x="320" y="310"/>
                    <a:pt x="319" y="307"/>
                  </a:cubicBezTo>
                  <a:cubicBezTo>
                    <a:pt x="319" y="307"/>
                    <a:pt x="319" y="307"/>
                    <a:pt x="319" y="307"/>
                  </a:cubicBezTo>
                  <a:cubicBezTo>
                    <a:pt x="319" y="305"/>
                    <a:pt x="318" y="304"/>
                    <a:pt x="318" y="303"/>
                  </a:cubicBezTo>
                  <a:cubicBezTo>
                    <a:pt x="317" y="299"/>
                    <a:pt x="317" y="296"/>
                    <a:pt x="313" y="294"/>
                  </a:cubicBezTo>
                  <a:cubicBezTo>
                    <a:pt x="311" y="293"/>
                    <a:pt x="309" y="293"/>
                    <a:pt x="307" y="292"/>
                  </a:cubicBezTo>
                  <a:cubicBezTo>
                    <a:pt x="304" y="292"/>
                    <a:pt x="301" y="292"/>
                    <a:pt x="298" y="289"/>
                  </a:cubicBezTo>
                  <a:cubicBezTo>
                    <a:pt x="297" y="288"/>
                    <a:pt x="297" y="286"/>
                    <a:pt x="297" y="285"/>
                  </a:cubicBezTo>
                  <a:cubicBezTo>
                    <a:pt x="297" y="283"/>
                    <a:pt x="297" y="282"/>
                    <a:pt x="296" y="281"/>
                  </a:cubicBezTo>
                  <a:cubicBezTo>
                    <a:pt x="295" y="279"/>
                    <a:pt x="294" y="279"/>
                    <a:pt x="292" y="278"/>
                  </a:cubicBezTo>
                  <a:cubicBezTo>
                    <a:pt x="291" y="278"/>
                    <a:pt x="289" y="277"/>
                    <a:pt x="288" y="276"/>
                  </a:cubicBezTo>
                  <a:cubicBezTo>
                    <a:pt x="287" y="274"/>
                    <a:pt x="285" y="266"/>
                    <a:pt x="284" y="258"/>
                  </a:cubicBezTo>
                  <a:cubicBezTo>
                    <a:pt x="284" y="258"/>
                    <a:pt x="284" y="258"/>
                    <a:pt x="284" y="258"/>
                  </a:cubicBezTo>
                  <a:cubicBezTo>
                    <a:pt x="286" y="255"/>
                    <a:pt x="288" y="253"/>
                    <a:pt x="292" y="252"/>
                  </a:cubicBezTo>
                  <a:cubicBezTo>
                    <a:pt x="294" y="251"/>
                    <a:pt x="294" y="251"/>
                    <a:pt x="294" y="251"/>
                  </a:cubicBezTo>
                  <a:cubicBezTo>
                    <a:pt x="293" y="248"/>
                    <a:pt x="293" y="248"/>
                    <a:pt x="293" y="248"/>
                  </a:cubicBezTo>
                  <a:cubicBezTo>
                    <a:pt x="293" y="247"/>
                    <a:pt x="292" y="246"/>
                    <a:pt x="290" y="244"/>
                  </a:cubicBezTo>
                  <a:cubicBezTo>
                    <a:pt x="287" y="242"/>
                    <a:pt x="285" y="240"/>
                    <a:pt x="286" y="237"/>
                  </a:cubicBezTo>
                  <a:cubicBezTo>
                    <a:pt x="286" y="237"/>
                    <a:pt x="287" y="237"/>
                    <a:pt x="287" y="237"/>
                  </a:cubicBezTo>
                  <a:cubicBezTo>
                    <a:pt x="289" y="237"/>
                    <a:pt x="290" y="238"/>
                    <a:pt x="292" y="239"/>
                  </a:cubicBezTo>
                  <a:cubicBezTo>
                    <a:pt x="294" y="240"/>
                    <a:pt x="295" y="240"/>
                    <a:pt x="296" y="240"/>
                  </a:cubicBezTo>
                  <a:cubicBezTo>
                    <a:pt x="297" y="240"/>
                    <a:pt x="297" y="240"/>
                    <a:pt x="297" y="240"/>
                  </a:cubicBezTo>
                  <a:cubicBezTo>
                    <a:pt x="299" y="240"/>
                    <a:pt x="299" y="240"/>
                    <a:pt x="299" y="240"/>
                  </a:cubicBezTo>
                  <a:cubicBezTo>
                    <a:pt x="299" y="238"/>
                    <a:pt x="299" y="238"/>
                    <a:pt x="299" y="238"/>
                  </a:cubicBezTo>
                  <a:cubicBezTo>
                    <a:pt x="300" y="236"/>
                    <a:pt x="299" y="233"/>
                    <a:pt x="298" y="228"/>
                  </a:cubicBezTo>
                  <a:cubicBezTo>
                    <a:pt x="298" y="227"/>
                    <a:pt x="298" y="226"/>
                    <a:pt x="298" y="225"/>
                  </a:cubicBezTo>
                  <a:cubicBezTo>
                    <a:pt x="301" y="226"/>
                    <a:pt x="304" y="227"/>
                    <a:pt x="307" y="228"/>
                  </a:cubicBezTo>
                  <a:cubicBezTo>
                    <a:pt x="312" y="230"/>
                    <a:pt x="316" y="233"/>
                    <a:pt x="322" y="233"/>
                  </a:cubicBezTo>
                  <a:cubicBezTo>
                    <a:pt x="328" y="233"/>
                    <a:pt x="333" y="230"/>
                    <a:pt x="338" y="228"/>
                  </a:cubicBezTo>
                  <a:cubicBezTo>
                    <a:pt x="342" y="227"/>
                    <a:pt x="345" y="225"/>
                    <a:pt x="348" y="225"/>
                  </a:cubicBezTo>
                  <a:cubicBezTo>
                    <a:pt x="350" y="224"/>
                    <a:pt x="352" y="224"/>
                    <a:pt x="354" y="224"/>
                  </a:cubicBezTo>
                  <a:cubicBezTo>
                    <a:pt x="358" y="224"/>
                    <a:pt x="358" y="224"/>
                    <a:pt x="358" y="224"/>
                  </a:cubicBezTo>
                  <a:cubicBezTo>
                    <a:pt x="363" y="224"/>
                    <a:pt x="369" y="224"/>
                    <a:pt x="370" y="216"/>
                  </a:cubicBezTo>
                  <a:cubicBezTo>
                    <a:pt x="370" y="213"/>
                    <a:pt x="368" y="211"/>
                    <a:pt x="367" y="209"/>
                  </a:cubicBezTo>
                  <a:cubicBezTo>
                    <a:pt x="366" y="208"/>
                    <a:pt x="365" y="207"/>
                    <a:pt x="364" y="205"/>
                  </a:cubicBezTo>
                  <a:cubicBezTo>
                    <a:pt x="363" y="202"/>
                    <a:pt x="363" y="200"/>
                    <a:pt x="364" y="198"/>
                  </a:cubicBezTo>
                  <a:cubicBezTo>
                    <a:pt x="364" y="196"/>
                    <a:pt x="364" y="195"/>
                    <a:pt x="364" y="193"/>
                  </a:cubicBezTo>
                  <a:cubicBezTo>
                    <a:pt x="364" y="187"/>
                    <a:pt x="360" y="186"/>
                    <a:pt x="356" y="184"/>
                  </a:cubicBezTo>
                  <a:cubicBezTo>
                    <a:pt x="354" y="183"/>
                    <a:pt x="352" y="182"/>
                    <a:pt x="350" y="181"/>
                  </a:cubicBezTo>
                  <a:cubicBezTo>
                    <a:pt x="349" y="179"/>
                    <a:pt x="348" y="178"/>
                    <a:pt x="347" y="177"/>
                  </a:cubicBezTo>
                  <a:cubicBezTo>
                    <a:pt x="346" y="175"/>
                    <a:pt x="345" y="174"/>
                    <a:pt x="343" y="173"/>
                  </a:cubicBezTo>
                  <a:cubicBezTo>
                    <a:pt x="341" y="172"/>
                    <a:pt x="339" y="172"/>
                    <a:pt x="338" y="172"/>
                  </a:cubicBezTo>
                  <a:cubicBezTo>
                    <a:pt x="335" y="171"/>
                    <a:pt x="332" y="171"/>
                    <a:pt x="329" y="167"/>
                  </a:cubicBezTo>
                  <a:cubicBezTo>
                    <a:pt x="328" y="163"/>
                    <a:pt x="327" y="158"/>
                    <a:pt x="327" y="153"/>
                  </a:cubicBezTo>
                  <a:cubicBezTo>
                    <a:pt x="327" y="149"/>
                    <a:pt x="327" y="146"/>
                    <a:pt x="326" y="144"/>
                  </a:cubicBezTo>
                  <a:cubicBezTo>
                    <a:pt x="325" y="139"/>
                    <a:pt x="325" y="135"/>
                    <a:pt x="325" y="131"/>
                  </a:cubicBezTo>
                  <a:cubicBezTo>
                    <a:pt x="325" y="128"/>
                    <a:pt x="325" y="125"/>
                    <a:pt x="324" y="122"/>
                  </a:cubicBezTo>
                  <a:cubicBezTo>
                    <a:pt x="323" y="115"/>
                    <a:pt x="322" y="114"/>
                    <a:pt x="316" y="113"/>
                  </a:cubicBezTo>
                  <a:cubicBezTo>
                    <a:pt x="314" y="112"/>
                    <a:pt x="312" y="112"/>
                    <a:pt x="309" y="110"/>
                  </a:cubicBezTo>
                  <a:cubicBezTo>
                    <a:pt x="303" y="107"/>
                    <a:pt x="303" y="101"/>
                    <a:pt x="304" y="93"/>
                  </a:cubicBezTo>
                  <a:cubicBezTo>
                    <a:pt x="305" y="85"/>
                    <a:pt x="306" y="78"/>
                    <a:pt x="298" y="76"/>
                  </a:cubicBezTo>
                  <a:cubicBezTo>
                    <a:pt x="297" y="75"/>
                    <a:pt x="296" y="75"/>
                    <a:pt x="295" y="75"/>
                  </a:cubicBezTo>
                  <a:cubicBezTo>
                    <a:pt x="293" y="75"/>
                    <a:pt x="291" y="76"/>
                    <a:pt x="289" y="76"/>
                  </a:cubicBezTo>
                  <a:cubicBezTo>
                    <a:pt x="288" y="76"/>
                    <a:pt x="287" y="77"/>
                    <a:pt x="285" y="77"/>
                  </a:cubicBezTo>
                  <a:cubicBezTo>
                    <a:pt x="284" y="77"/>
                    <a:pt x="282" y="76"/>
                    <a:pt x="280" y="72"/>
                  </a:cubicBezTo>
                  <a:cubicBezTo>
                    <a:pt x="280" y="71"/>
                    <a:pt x="280" y="69"/>
                    <a:pt x="281" y="67"/>
                  </a:cubicBezTo>
                  <a:cubicBezTo>
                    <a:pt x="282" y="65"/>
                    <a:pt x="282" y="64"/>
                    <a:pt x="282" y="63"/>
                  </a:cubicBezTo>
                  <a:cubicBezTo>
                    <a:pt x="281" y="63"/>
                    <a:pt x="281" y="63"/>
                    <a:pt x="281" y="63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81" y="61"/>
                    <a:pt x="280" y="60"/>
                    <a:pt x="277" y="60"/>
                  </a:cubicBezTo>
                  <a:cubicBezTo>
                    <a:pt x="277" y="60"/>
                    <a:pt x="276" y="60"/>
                    <a:pt x="276" y="60"/>
                  </a:cubicBezTo>
                  <a:cubicBezTo>
                    <a:pt x="275" y="60"/>
                    <a:pt x="275" y="60"/>
                    <a:pt x="274" y="60"/>
                  </a:cubicBezTo>
                  <a:cubicBezTo>
                    <a:pt x="273" y="60"/>
                    <a:pt x="272" y="60"/>
                    <a:pt x="271" y="59"/>
                  </a:cubicBezTo>
                  <a:cubicBezTo>
                    <a:pt x="269" y="57"/>
                    <a:pt x="268" y="50"/>
                    <a:pt x="267" y="45"/>
                  </a:cubicBezTo>
                  <a:cubicBezTo>
                    <a:pt x="266" y="42"/>
                    <a:pt x="266" y="39"/>
                    <a:pt x="265" y="37"/>
                  </a:cubicBezTo>
                  <a:cubicBezTo>
                    <a:pt x="264" y="34"/>
                    <a:pt x="263" y="31"/>
                    <a:pt x="263" y="28"/>
                  </a:cubicBezTo>
                  <a:cubicBezTo>
                    <a:pt x="262" y="24"/>
                    <a:pt x="262" y="24"/>
                    <a:pt x="262" y="24"/>
                  </a:cubicBezTo>
                  <a:cubicBezTo>
                    <a:pt x="256" y="25"/>
                    <a:pt x="256" y="25"/>
                    <a:pt x="256" y="25"/>
                  </a:cubicBezTo>
                  <a:cubicBezTo>
                    <a:pt x="256" y="25"/>
                    <a:pt x="256" y="25"/>
                    <a:pt x="256" y="26"/>
                  </a:cubicBezTo>
                  <a:cubicBezTo>
                    <a:pt x="255" y="28"/>
                    <a:pt x="256" y="30"/>
                    <a:pt x="257" y="33"/>
                  </a:cubicBezTo>
                  <a:cubicBezTo>
                    <a:pt x="257" y="33"/>
                    <a:pt x="257" y="34"/>
                    <a:pt x="258" y="36"/>
                  </a:cubicBezTo>
                  <a:cubicBezTo>
                    <a:pt x="258" y="36"/>
                    <a:pt x="258" y="37"/>
                    <a:pt x="258" y="38"/>
                  </a:cubicBezTo>
                  <a:cubicBezTo>
                    <a:pt x="258" y="39"/>
                    <a:pt x="259" y="40"/>
                    <a:pt x="259" y="41"/>
                  </a:cubicBezTo>
                  <a:cubicBezTo>
                    <a:pt x="259" y="43"/>
                    <a:pt x="259" y="44"/>
                    <a:pt x="259" y="46"/>
                  </a:cubicBezTo>
                  <a:cubicBezTo>
                    <a:pt x="259" y="47"/>
                    <a:pt x="258" y="47"/>
                    <a:pt x="257" y="48"/>
                  </a:cubicBezTo>
                  <a:cubicBezTo>
                    <a:pt x="257" y="49"/>
                    <a:pt x="256" y="49"/>
                    <a:pt x="256" y="50"/>
                  </a:cubicBezTo>
                  <a:cubicBezTo>
                    <a:pt x="254" y="52"/>
                    <a:pt x="253" y="55"/>
                    <a:pt x="254" y="59"/>
                  </a:cubicBezTo>
                  <a:cubicBezTo>
                    <a:pt x="254" y="62"/>
                    <a:pt x="257" y="63"/>
                    <a:pt x="258" y="65"/>
                  </a:cubicBezTo>
                  <a:cubicBezTo>
                    <a:pt x="259" y="65"/>
                    <a:pt x="259" y="65"/>
                    <a:pt x="259" y="65"/>
                  </a:cubicBezTo>
                  <a:cubicBezTo>
                    <a:pt x="260" y="66"/>
                    <a:pt x="260" y="67"/>
                    <a:pt x="260" y="70"/>
                  </a:cubicBezTo>
                  <a:cubicBezTo>
                    <a:pt x="260" y="71"/>
                    <a:pt x="260" y="72"/>
                    <a:pt x="260" y="73"/>
                  </a:cubicBezTo>
                  <a:cubicBezTo>
                    <a:pt x="260" y="74"/>
                    <a:pt x="260" y="74"/>
                    <a:pt x="260" y="74"/>
                  </a:cubicBezTo>
                  <a:cubicBezTo>
                    <a:pt x="260" y="76"/>
                    <a:pt x="260" y="78"/>
                    <a:pt x="262" y="80"/>
                  </a:cubicBezTo>
                  <a:cubicBezTo>
                    <a:pt x="262" y="80"/>
                    <a:pt x="262" y="80"/>
                    <a:pt x="262" y="80"/>
                  </a:cubicBezTo>
                  <a:cubicBezTo>
                    <a:pt x="262" y="81"/>
                    <a:pt x="262" y="82"/>
                    <a:pt x="261" y="83"/>
                  </a:cubicBezTo>
                  <a:cubicBezTo>
                    <a:pt x="260" y="84"/>
                    <a:pt x="259" y="85"/>
                    <a:pt x="259" y="86"/>
                  </a:cubicBezTo>
                  <a:cubicBezTo>
                    <a:pt x="259" y="86"/>
                    <a:pt x="259" y="87"/>
                    <a:pt x="258" y="87"/>
                  </a:cubicBezTo>
                  <a:cubicBezTo>
                    <a:pt x="258" y="88"/>
                    <a:pt x="257" y="89"/>
                    <a:pt x="257" y="90"/>
                  </a:cubicBezTo>
                  <a:cubicBezTo>
                    <a:pt x="257" y="90"/>
                    <a:pt x="257" y="91"/>
                    <a:pt x="257" y="91"/>
                  </a:cubicBezTo>
                  <a:cubicBezTo>
                    <a:pt x="257" y="91"/>
                    <a:pt x="256" y="91"/>
                    <a:pt x="256" y="91"/>
                  </a:cubicBezTo>
                  <a:cubicBezTo>
                    <a:pt x="256" y="91"/>
                    <a:pt x="255" y="91"/>
                    <a:pt x="255" y="91"/>
                  </a:cubicBezTo>
                  <a:cubicBezTo>
                    <a:pt x="253" y="91"/>
                    <a:pt x="251" y="91"/>
                    <a:pt x="250" y="92"/>
                  </a:cubicBezTo>
                  <a:cubicBezTo>
                    <a:pt x="248" y="95"/>
                    <a:pt x="248" y="100"/>
                    <a:pt x="248" y="103"/>
                  </a:cubicBezTo>
                  <a:cubicBezTo>
                    <a:pt x="248" y="104"/>
                    <a:pt x="248" y="104"/>
                    <a:pt x="248" y="104"/>
                  </a:cubicBezTo>
                  <a:cubicBezTo>
                    <a:pt x="249" y="105"/>
                    <a:pt x="249" y="106"/>
                    <a:pt x="249" y="108"/>
                  </a:cubicBezTo>
                  <a:cubicBezTo>
                    <a:pt x="248" y="108"/>
                    <a:pt x="248" y="108"/>
                    <a:pt x="248" y="108"/>
                  </a:cubicBezTo>
                  <a:cubicBezTo>
                    <a:pt x="248" y="108"/>
                    <a:pt x="248" y="109"/>
                    <a:pt x="247" y="109"/>
                  </a:cubicBezTo>
                  <a:cubicBezTo>
                    <a:pt x="245" y="109"/>
                    <a:pt x="244" y="110"/>
                    <a:pt x="243" y="111"/>
                  </a:cubicBezTo>
                  <a:cubicBezTo>
                    <a:pt x="241" y="113"/>
                    <a:pt x="240" y="115"/>
                    <a:pt x="239" y="117"/>
                  </a:cubicBezTo>
                  <a:cubicBezTo>
                    <a:pt x="239" y="118"/>
                    <a:pt x="239" y="118"/>
                    <a:pt x="239" y="119"/>
                  </a:cubicBezTo>
                  <a:cubicBezTo>
                    <a:pt x="239" y="119"/>
                    <a:pt x="239" y="120"/>
                    <a:pt x="239" y="120"/>
                  </a:cubicBezTo>
                  <a:cubicBezTo>
                    <a:pt x="238" y="120"/>
                    <a:pt x="238" y="120"/>
                    <a:pt x="237" y="120"/>
                  </a:cubicBezTo>
                  <a:cubicBezTo>
                    <a:pt x="237" y="120"/>
                    <a:pt x="237" y="120"/>
                    <a:pt x="236" y="120"/>
                  </a:cubicBezTo>
                  <a:cubicBezTo>
                    <a:pt x="236" y="120"/>
                    <a:pt x="235" y="119"/>
                    <a:pt x="234" y="118"/>
                  </a:cubicBezTo>
                  <a:cubicBezTo>
                    <a:pt x="234" y="117"/>
                    <a:pt x="234" y="117"/>
                    <a:pt x="234" y="117"/>
                  </a:cubicBezTo>
                  <a:cubicBezTo>
                    <a:pt x="232" y="115"/>
                    <a:pt x="230" y="113"/>
                    <a:pt x="227" y="113"/>
                  </a:cubicBezTo>
                  <a:cubicBezTo>
                    <a:pt x="226" y="112"/>
                    <a:pt x="225" y="112"/>
                    <a:pt x="224" y="112"/>
                  </a:cubicBezTo>
                  <a:cubicBezTo>
                    <a:pt x="223" y="112"/>
                    <a:pt x="223" y="112"/>
                    <a:pt x="223" y="112"/>
                  </a:cubicBezTo>
                  <a:cubicBezTo>
                    <a:pt x="222" y="112"/>
                    <a:pt x="221" y="112"/>
                    <a:pt x="220" y="111"/>
                  </a:cubicBezTo>
                  <a:cubicBezTo>
                    <a:pt x="220" y="111"/>
                    <a:pt x="220" y="110"/>
                    <a:pt x="219" y="110"/>
                  </a:cubicBezTo>
                  <a:cubicBezTo>
                    <a:pt x="219" y="108"/>
                    <a:pt x="218" y="107"/>
                    <a:pt x="216" y="106"/>
                  </a:cubicBezTo>
                  <a:cubicBezTo>
                    <a:pt x="214" y="104"/>
                    <a:pt x="212" y="104"/>
                    <a:pt x="210" y="104"/>
                  </a:cubicBezTo>
                  <a:cubicBezTo>
                    <a:pt x="210" y="104"/>
                    <a:pt x="209" y="104"/>
                    <a:pt x="208" y="104"/>
                  </a:cubicBezTo>
                  <a:cubicBezTo>
                    <a:pt x="208" y="104"/>
                    <a:pt x="207" y="104"/>
                    <a:pt x="206" y="104"/>
                  </a:cubicBezTo>
                  <a:cubicBezTo>
                    <a:pt x="204" y="104"/>
                    <a:pt x="202" y="104"/>
                    <a:pt x="200" y="106"/>
                  </a:cubicBezTo>
                  <a:cubicBezTo>
                    <a:pt x="199" y="106"/>
                    <a:pt x="197" y="107"/>
                    <a:pt x="196" y="108"/>
                  </a:cubicBezTo>
                  <a:cubicBezTo>
                    <a:pt x="197" y="106"/>
                    <a:pt x="197" y="105"/>
                    <a:pt x="197" y="103"/>
                  </a:cubicBezTo>
                  <a:cubicBezTo>
                    <a:pt x="197" y="103"/>
                    <a:pt x="197" y="102"/>
                    <a:pt x="198" y="101"/>
                  </a:cubicBezTo>
                  <a:cubicBezTo>
                    <a:pt x="198" y="101"/>
                    <a:pt x="198" y="101"/>
                    <a:pt x="198" y="101"/>
                  </a:cubicBezTo>
                  <a:cubicBezTo>
                    <a:pt x="198" y="99"/>
                    <a:pt x="199" y="95"/>
                    <a:pt x="196" y="93"/>
                  </a:cubicBezTo>
                  <a:cubicBezTo>
                    <a:pt x="195" y="92"/>
                    <a:pt x="194" y="91"/>
                    <a:pt x="192" y="91"/>
                  </a:cubicBezTo>
                  <a:cubicBezTo>
                    <a:pt x="191" y="91"/>
                    <a:pt x="190" y="92"/>
                    <a:pt x="189" y="92"/>
                  </a:cubicBezTo>
                  <a:cubicBezTo>
                    <a:pt x="188" y="92"/>
                    <a:pt x="187" y="93"/>
                    <a:pt x="187" y="93"/>
                  </a:cubicBezTo>
                  <a:cubicBezTo>
                    <a:pt x="187" y="92"/>
                    <a:pt x="186" y="91"/>
                    <a:pt x="186" y="87"/>
                  </a:cubicBezTo>
                  <a:cubicBezTo>
                    <a:pt x="186" y="81"/>
                    <a:pt x="184" y="79"/>
                    <a:pt x="182" y="75"/>
                  </a:cubicBezTo>
                  <a:cubicBezTo>
                    <a:pt x="181" y="73"/>
                    <a:pt x="181" y="72"/>
                    <a:pt x="181" y="70"/>
                  </a:cubicBezTo>
                  <a:cubicBezTo>
                    <a:pt x="181" y="66"/>
                    <a:pt x="180" y="63"/>
                    <a:pt x="177" y="61"/>
                  </a:cubicBezTo>
                  <a:cubicBezTo>
                    <a:pt x="176" y="59"/>
                    <a:pt x="176" y="59"/>
                    <a:pt x="176" y="59"/>
                  </a:cubicBezTo>
                  <a:cubicBezTo>
                    <a:pt x="175" y="59"/>
                    <a:pt x="175" y="58"/>
                    <a:pt x="174" y="57"/>
                  </a:cubicBezTo>
                  <a:cubicBezTo>
                    <a:pt x="173" y="57"/>
                    <a:pt x="173" y="57"/>
                    <a:pt x="173" y="57"/>
                  </a:cubicBezTo>
                  <a:cubicBezTo>
                    <a:pt x="173" y="56"/>
                    <a:pt x="172" y="56"/>
                    <a:pt x="172" y="56"/>
                  </a:cubicBezTo>
                  <a:cubicBezTo>
                    <a:pt x="172" y="55"/>
                    <a:pt x="172" y="55"/>
                    <a:pt x="172" y="55"/>
                  </a:cubicBezTo>
                  <a:cubicBezTo>
                    <a:pt x="172" y="54"/>
                    <a:pt x="173" y="54"/>
                    <a:pt x="173" y="53"/>
                  </a:cubicBezTo>
                  <a:cubicBezTo>
                    <a:pt x="173" y="53"/>
                    <a:pt x="172" y="52"/>
                    <a:pt x="172" y="51"/>
                  </a:cubicBezTo>
                  <a:cubicBezTo>
                    <a:pt x="172" y="49"/>
                    <a:pt x="172" y="48"/>
                    <a:pt x="173" y="46"/>
                  </a:cubicBezTo>
                  <a:cubicBezTo>
                    <a:pt x="173" y="45"/>
                    <a:pt x="173" y="45"/>
                    <a:pt x="174" y="44"/>
                  </a:cubicBezTo>
                  <a:cubicBezTo>
                    <a:pt x="175" y="41"/>
                    <a:pt x="177" y="35"/>
                    <a:pt x="172" y="33"/>
                  </a:cubicBezTo>
                  <a:cubicBezTo>
                    <a:pt x="170" y="32"/>
                    <a:pt x="169" y="32"/>
                    <a:pt x="168" y="32"/>
                  </a:cubicBezTo>
                  <a:cubicBezTo>
                    <a:pt x="165" y="32"/>
                    <a:pt x="164" y="35"/>
                    <a:pt x="163" y="36"/>
                  </a:cubicBezTo>
                  <a:cubicBezTo>
                    <a:pt x="163" y="37"/>
                    <a:pt x="162" y="38"/>
                    <a:pt x="162" y="38"/>
                  </a:cubicBezTo>
                  <a:cubicBezTo>
                    <a:pt x="162" y="38"/>
                    <a:pt x="161" y="37"/>
                    <a:pt x="160" y="36"/>
                  </a:cubicBezTo>
                  <a:cubicBezTo>
                    <a:pt x="159" y="34"/>
                    <a:pt x="157" y="32"/>
                    <a:pt x="154" y="32"/>
                  </a:cubicBezTo>
                  <a:cubicBezTo>
                    <a:pt x="153" y="32"/>
                    <a:pt x="153" y="32"/>
                    <a:pt x="152" y="32"/>
                  </a:cubicBezTo>
                  <a:cubicBezTo>
                    <a:pt x="150" y="32"/>
                    <a:pt x="149" y="34"/>
                    <a:pt x="148" y="34"/>
                  </a:cubicBezTo>
                  <a:cubicBezTo>
                    <a:pt x="148" y="35"/>
                    <a:pt x="148" y="35"/>
                    <a:pt x="148" y="35"/>
                  </a:cubicBezTo>
                  <a:cubicBezTo>
                    <a:pt x="147" y="35"/>
                    <a:pt x="147" y="35"/>
                    <a:pt x="145" y="35"/>
                  </a:cubicBezTo>
                  <a:cubicBezTo>
                    <a:pt x="145" y="35"/>
                    <a:pt x="144" y="35"/>
                    <a:pt x="144" y="35"/>
                  </a:cubicBezTo>
                  <a:cubicBezTo>
                    <a:pt x="143" y="35"/>
                    <a:pt x="142" y="35"/>
                    <a:pt x="142" y="35"/>
                  </a:cubicBezTo>
                  <a:cubicBezTo>
                    <a:pt x="138" y="35"/>
                    <a:pt x="138" y="35"/>
                    <a:pt x="138" y="35"/>
                  </a:cubicBezTo>
                  <a:cubicBezTo>
                    <a:pt x="137" y="35"/>
                    <a:pt x="137" y="35"/>
                    <a:pt x="136" y="35"/>
                  </a:cubicBezTo>
                  <a:cubicBezTo>
                    <a:pt x="135" y="35"/>
                    <a:pt x="135" y="35"/>
                    <a:pt x="135" y="35"/>
                  </a:cubicBezTo>
                  <a:cubicBezTo>
                    <a:pt x="133" y="35"/>
                    <a:pt x="132" y="35"/>
                    <a:pt x="131" y="34"/>
                  </a:cubicBezTo>
                  <a:cubicBezTo>
                    <a:pt x="129" y="34"/>
                    <a:pt x="126" y="31"/>
                    <a:pt x="126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5"/>
                    <a:pt x="126" y="23"/>
                    <a:pt x="124" y="21"/>
                  </a:cubicBezTo>
                  <a:cubicBezTo>
                    <a:pt x="122" y="19"/>
                    <a:pt x="119" y="18"/>
                    <a:pt x="116" y="18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15" y="17"/>
                    <a:pt x="115" y="17"/>
                    <a:pt x="114" y="17"/>
                  </a:cubicBezTo>
                  <a:cubicBezTo>
                    <a:pt x="114" y="16"/>
                    <a:pt x="114" y="16"/>
                    <a:pt x="114" y="16"/>
                  </a:cubicBezTo>
                  <a:cubicBezTo>
                    <a:pt x="112" y="14"/>
                    <a:pt x="110" y="14"/>
                    <a:pt x="108" y="14"/>
                  </a:cubicBezTo>
                  <a:cubicBezTo>
                    <a:pt x="108" y="14"/>
                    <a:pt x="107" y="14"/>
                    <a:pt x="107" y="14"/>
                  </a:cubicBezTo>
                  <a:cubicBezTo>
                    <a:pt x="107" y="14"/>
                    <a:pt x="106" y="14"/>
                    <a:pt x="106" y="13"/>
                  </a:cubicBezTo>
                  <a:cubicBezTo>
                    <a:pt x="105" y="12"/>
                    <a:pt x="104" y="11"/>
                    <a:pt x="103" y="10"/>
                  </a:cubicBezTo>
                  <a:cubicBezTo>
                    <a:pt x="101" y="9"/>
                    <a:pt x="100" y="9"/>
                    <a:pt x="98" y="8"/>
                  </a:cubicBezTo>
                  <a:cubicBezTo>
                    <a:pt x="98" y="8"/>
                    <a:pt x="97" y="8"/>
                    <a:pt x="96" y="7"/>
                  </a:cubicBezTo>
                  <a:cubicBezTo>
                    <a:pt x="96" y="7"/>
                    <a:pt x="95" y="6"/>
                    <a:pt x="94" y="6"/>
                  </a:cubicBezTo>
                  <a:cubicBezTo>
                    <a:pt x="94" y="5"/>
                    <a:pt x="93" y="5"/>
                    <a:pt x="93" y="5"/>
                  </a:cubicBezTo>
                  <a:cubicBezTo>
                    <a:pt x="88" y="2"/>
                    <a:pt x="85" y="0"/>
                    <a:pt x="81" y="0"/>
                  </a:cubicBezTo>
                  <a:cubicBezTo>
                    <a:pt x="80" y="0"/>
                    <a:pt x="78" y="1"/>
                    <a:pt x="76" y="1"/>
                  </a:cubicBezTo>
                  <a:cubicBezTo>
                    <a:pt x="74" y="3"/>
                    <a:pt x="72" y="4"/>
                    <a:pt x="70" y="6"/>
                  </a:cubicBezTo>
                  <a:cubicBezTo>
                    <a:pt x="69" y="7"/>
                    <a:pt x="68" y="8"/>
                    <a:pt x="67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5" y="10"/>
                    <a:pt x="64" y="10"/>
                    <a:pt x="63" y="12"/>
                  </a:cubicBezTo>
                  <a:cubicBezTo>
                    <a:pt x="63" y="12"/>
                    <a:pt x="62" y="13"/>
                    <a:pt x="62" y="13"/>
                  </a:cubicBezTo>
                  <a:cubicBezTo>
                    <a:pt x="62" y="14"/>
                    <a:pt x="61" y="15"/>
                    <a:pt x="61" y="15"/>
                  </a:cubicBezTo>
                  <a:cubicBezTo>
                    <a:pt x="61" y="15"/>
                    <a:pt x="60" y="15"/>
                    <a:pt x="60" y="15"/>
                  </a:cubicBezTo>
                  <a:cubicBezTo>
                    <a:pt x="59" y="15"/>
                    <a:pt x="59" y="15"/>
                    <a:pt x="58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7" y="15"/>
                    <a:pt x="57" y="15"/>
                    <a:pt x="56" y="16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5" y="15"/>
                    <a:pt x="55" y="15"/>
                    <a:pt x="54" y="15"/>
                  </a:cubicBezTo>
                  <a:cubicBezTo>
                    <a:pt x="53" y="14"/>
                    <a:pt x="51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8" y="14"/>
                    <a:pt x="48" y="14"/>
                    <a:pt x="47" y="14"/>
                  </a:cubicBezTo>
                  <a:cubicBezTo>
                    <a:pt x="46" y="14"/>
                    <a:pt x="45" y="14"/>
                    <a:pt x="45" y="14"/>
                  </a:cubicBezTo>
                  <a:cubicBezTo>
                    <a:pt x="44" y="14"/>
                    <a:pt x="43" y="14"/>
                    <a:pt x="42" y="14"/>
                  </a:cubicBezTo>
                  <a:cubicBezTo>
                    <a:pt x="41" y="14"/>
                    <a:pt x="40" y="13"/>
                    <a:pt x="39" y="13"/>
                  </a:cubicBezTo>
                  <a:cubicBezTo>
                    <a:pt x="38" y="12"/>
                    <a:pt x="36" y="12"/>
                    <a:pt x="35" y="11"/>
                  </a:cubicBezTo>
                  <a:cubicBezTo>
                    <a:pt x="31" y="10"/>
                    <a:pt x="27" y="9"/>
                    <a:pt x="22" y="9"/>
                  </a:cubicBezTo>
                  <a:cubicBezTo>
                    <a:pt x="20" y="9"/>
                    <a:pt x="19" y="9"/>
                    <a:pt x="17" y="9"/>
                  </a:cubicBezTo>
                  <a:cubicBezTo>
                    <a:pt x="12" y="10"/>
                    <a:pt x="8" y="12"/>
                    <a:pt x="5" y="16"/>
                  </a:cubicBezTo>
                  <a:cubicBezTo>
                    <a:pt x="3" y="18"/>
                    <a:pt x="2" y="20"/>
                    <a:pt x="2" y="23"/>
                  </a:cubicBezTo>
                  <a:cubicBezTo>
                    <a:pt x="2" y="23"/>
                    <a:pt x="1" y="24"/>
                    <a:pt x="1" y="24"/>
                  </a:cubicBezTo>
                  <a:cubicBezTo>
                    <a:pt x="1" y="26"/>
                    <a:pt x="0" y="28"/>
                    <a:pt x="0" y="30"/>
                  </a:cubicBezTo>
                  <a:cubicBezTo>
                    <a:pt x="1" y="34"/>
                    <a:pt x="3" y="39"/>
                    <a:pt x="4" y="42"/>
                  </a:cubicBezTo>
                  <a:cubicBezTo>
                    <a:pt x="6" y="45"/>
                    <a:pt x="9" y="48"/>
                    <a:pt x="11" y="49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4" y="51"/>
                    <a:pt x="15" y="52"/>
                    <a:pt x="15" y="53"/>
                  </a:cubicBezTo>
                  <a:cubicBezTo>
                    <a:pt x="15" y="54"/>
                    <a:pt x="14" y="54"/>
                    <a:pt x="14" y="55"/>
                  </a:cubicBezTo>
                  <a:cubicBezTo>
                    <a:pt x="14" y="56"/>
                    <a:pt x="13" y="57"/>
                    <a:pt x="13" y="58"/>
                  </a:cubicBezTo>
                  <a:cubicBezTo>
                    <a:pt x="13" y="60"/>
                    <a:pt x="14" y="63"/>
                    <a:pt x="15" y="65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6" y="66"/>
                    <a:pt x="15" y="66"/>
                    <a:pt x="15" y="67"/>
                  </a:cubicBezTo>
                  <a:cubicBezTo>
                    <a:pt x="15" y="67"/>
                    <a:pt x="14" y="68"/>
                    <a:pt x="14" y="69"/>
                  </a:cubicBezTo>
                  <a:cubicBezTo>
                    <a:pt x="12" y="71"/>
                    <a:pt x="9" y="75"/>
                    <a:pt x="12" y="79"/>
                  </a:cubicBezTo>
                  <a:cubicBezTo>
                    <a:pt x="13" y="81"/>
                    <a:pt x="14" y="83"/>
                    <a:pt x="17" y="84"/>
                  </a:cubicBezTo>
                  <a:cubicBezTo>
                    <a:pt x="18" y="84"/>
                    <a:pt x="18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9" y="86"/>
                    <a:pt x="19" y="87"/>
                    <a:pt x="20" y="88"/>
                  </a:cubicBezTo>
                  <a:cubicBezTo>
                    <a:pt x="20" y="89"/>
                    <a:pt x="20" y="90"/>
                    <a:pt x="20" y="92"/>
                  </a:cubicBezTo>
                  <a:cubicBezTo>
                    <a:pt x="20" y="93"/>
                    <a:pt x="20" y="95"/>
                    <a:pt x="21" y="97"/>
                  </a:cubicBezTo>
                  <a:cubicBezTo>
                    <a:pt x="22" y="99"/>
                    <a:pt x="23" y="100"/>
                    <a:pt x="25" y="101"/>
                  </a:cubicBezTo>
                  <a:cubicBezTo>
                    <a:pt x="25" y="101"/>
                    <a:pt x="26" y="102"/>
                    <a:pt x="26" y="102"/>
                  </a:cubicBezTo>
                  <a:cubicBezTo>
                    <a:pt x="26" y="102"/>
                    <a:pt x="26" y="103"/>
                    <a:pt x="26" y="104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26" y="106"/>
                    <a:pt x="27" y="109"/>
                    <a:pt x="29" y="110"/>
                  </a:cubicBezTo>
                  <a:cubicBezTo>
                    <a:pt x="29" y="110"/>
                    <a:pt x="30" y="111"/>
                    <a:pt x="30" y="111"/>
                  </a:cubicBezTo>
                  <a:cubicBezTo>
                    <a:pt x="30" y="111"/>
                    <a:pt x="31" y="111"/>
                    <a:pt x="31" y="111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1" y="112"/>
                    <a:pt x="31" y="113"/>
                    <a:pt x="31" y="114"/>
                  </a:cubicBezTo>
                  <a:cubicBezTo>
                    <a:pt x="31" y="115"/>
                    <a:pt x="31" y="115"/>
                    <a:pt x="31" y="115"/>
                  </a:cubicBezTo>
                  <a:cubicBezTo>
                    <a:pt x="32" y="116"/>
                    <a:pt x="31" y="117"/>
                    <a:pt x="30" y="119"/>
                  </a:cubicBezTo>
                  <a:cubicBezTo>
                    <a:pt x="28" y="122"/>
                    <a:pt x="27" y="125"/>
                    <a:pt x="27" y="128"/>
                  </a:cubicBezTo>
                  <a:cubicBezTo>
                    <a:pt x="27" y="130"/>
                    <a:pt x="27" y="131"/>
                    <a:pt x="26" y="132"/>
                  </a:cubicBezTo>
                  <a:cubicBezTo>
                    <a:pt x="26" y="135"/>
                    <a:pt x="26" y="135"/>
                    <a:pt x="26" y="135"/>
                  </a:cubicBezTo>
                  <a:cubicBezTo>
                    <a:pt x="26" y="136"/>
                    <a:pt x="25" y="138"/>
                    <a:pt x="24" y="139"/>
                  </a:cubicBezTo>
                  <a:cubicBezTo>
                    <a:pt x="24" y="140"/>
                    <a:pt x="24" y="140"/>
                    <a:pt x="24" y="140"/>
                  </a:cubicBezTo>
                  <a:cubicBezTo>
                    <a:pt x="21" y="146"/>
                    <a:pt x="12" y="160"/>
                    <a:pt x="23" y="168"/>
                  </a:cubicBezTo>
                  <a:cubicBezTo>
                    <a:pt x="27" y="171"/>
                    <a:pt x="31" y="173"/>
                    <a:pt x="35" y="176"/>
                  </a:cubicBezTo>
                  <a:cubicBezTo>
                    <a:pt x="38" y="178"/>
                    <a:pt x="42" y="180"/>
                    <a:pt x="45" y="182"/>
                  </a:cubicBezTo>
                  <a:cubicBezTo>
                    <a:pt x="46" y="183"/>
                    <a:pt x="47" y="184"/>
                    <a:pt x="48" y="184"/>
                  </a:cubicBezTo>
                  <a:cubicBezTo>
                    <a:pt x="49" y="185"/>
                    <a:pt x="50" y="185"/>
                    <a:pt x="51" y="186"/>
                  </a:cubicBezTo>
                  <a:cubicBezTo>
                    <a:pt x="53" y="187"/>
                    <a:pt x="54" y="189"/>
                    <a:pt x="55" y="190"/>
                  </a:cubicBezTo>
                  <a:cubicBezTo>
                    <a:pt x="56" y="191"/>
                    <a:pt x="57" y="192"/>
                    <a:pt x="58" y="194"/>
                  </a:cubicBezTo>
                  <a:cubicBezTo>
                    <a:pt x="59" y="195"/>
                    <a:pt x="59" y="195"/>
                    <a:pt x="59" y="195"/>
                  </a:cubicBezTo>
                  <a:cubicBezTo>
                    <a:pt x="62" y="199"/>
                    <a:pt x="64" y="202"/>
                    <a:pt x="65" y="206"/>
                  </a:cubicBezTo>
                  <a:cubicBezTo>
                    <a:pt x="66" y="211"/>
                    <a:pt x="68" y="214"/>
                    <a:pt x="70" y="217"/>
                  </a:cubicBezTo>
                  <a:cubicBezTo>
                    <a:pt x="71" y="219"/>
                    <a:pt x="71" y="219"/>
                    <a:pt x="71" y="219"/>
                  </a:cubicBezTo>
                  <a:cubicBezTo>
                    <a:pt x="72" y="221"/>
                    <a:pt x="72" y="224"/>
                    <a:pt x="73" y="227"/>
                  </a:cubicBezTo>
                  <a:cubicBezTo>
                    <a:pt x="73" y="229"/>
                    <a:pt x="73" y="230"/>
                    <a:pt x="73" y="231"/>
                  </a:cubicBezTo>
                  <a:cubicBezTo>
                    <a:pt x="74" y="233"/>
                    <a:pt x="74" y="235"/>
                    <a:pt x="75" y="237"/>
                  </a:cubicBezTo>
                  <a:cubicBezTo>
                    <a:pt x="75" y="238"/>
                    <a:pt x="76" y="239"/>
                    <a:pt x="76" y="240"/>
                  </a:cubicBezTo>
                  <a:cubicBezTo>
                    <a:pt x="76" y="241"/>
                    <a:pt x="76" y="241"/>
                    <a:pt x="76" y="242"/>
                  </a:cubicBezTo>
                  <a:cubicBezTo>
                    <a:pt x="77" y="243"/>
                    <a:pt x="77" y="248"/>
                    <a:pt x="82" y="248"/>
                  </a:cubicBezTo>
                  <a:cubicBezTo>
                    <a:pt x="82" y="248"/>
                    <a:pt x="83" y="247"/>
                    <a:pt x="84" y="247"/>
                  </a:cubicBezTo>
                  <a:cubicBezTo>
                    <a:pt x="85" y="247"/>
                    <a:pt x="86" y="246"/>
                    <a:pt x="87" y="246"/>
                  </a:cubicBezTo>
                  <a:cubicBezTo>
                    <a:pt x="89" y="246"/>
                    <a:pt x="90" y="248"/>
                    <a:pt x="90" y="248"/>
                  </a:cubicBezTo>
                  <a:cubicBezTo>
                    <a:pt x="90" y="249"/>
                    <a:pt x="90" y="249"/>
                    <a:pt x="90" y="249"/>
                  </a:cubicBezTo>
                  <a:cubicBezTo>
                    <a:pt x="89" y="250"/>
                    <a:pt x="87" y="250"/>
                    <a:pt x="86" y="250"/>
                  </a:cubicBezTo>
                  <a:cubicBezTo>
                    <a:pt x="84" y="250"/>
                    <a:pt x="83" y="250"/>
                    <a:pt x="82" y="250"/>
                  </a:cubicBezTo>
                  <a:cubicBezTo>
                    <a:pt x="76" y="251"/>
                    <a:pt x="74" y="256"/>
                    <a:pt x="73" y="260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2" y="262"/>
                    <a:pt x="72" y="262"/>
                    <a:pt x="71" y="263"/>
                  </a:cubicBezTo>
                  <a:cubicBezTo>
                    <a:pt x="71" y="264"/>
                    <a:pt x="70" y="265"/>
                    <a:pt x="70" y="266"/>
                  </a:cubicBezTo>
                  <a:cubicBezTo>
                    <a:pt x="69" y="269"/>
                    <a:pt x="68" y="271"/>
                    <a:pt x="67" y="273"/>
                  </a:cubicBezTo>
                  <a:cubicBezTo>
                    <a:pt x="66" y="274"/>
                    <a:pt x="66" y="274"/>
                    <a:pt x="66" y="274"/>
                  </a:cubicBezTo>
                  <a:cubicBezTo>
                    <a:pt x="66" y="276"/>
                    <a:pt x="65" y="278"/>
                    <a:pt x="63" y="280"/>
                  </a:cubicBezTo>
                  <a:cubicBezTo>
                    <a:pt x="63" y="282"/>
                    <a:pt x="62" y="282"/>
                    <a:pt x="61" y="283"/>
                  </a:cubicBezTo>
                  <a:cubicBezTo>
                    <a:pt x="61" y="284"/>
                    <a:pt x="60" y="284"/>
                    <a:pt x="60" y="285"/>
                  </a:cubicBezTo>
                  <a:cubicBezTo>
                    <a:pt x="59" y="286"/>
                    <a:pt x="58" y="287"/>
                    <a:pt x="57" y="288"/>
                  </a:cubicBezTo>
                  <a:cubicBezTo>
                    <a:pt x="57" y="289"/>
                    <a:pt x="56" y="290"/>
                    <a:pt x="55" y="291"/>
                  </a:cubicBezTo>
                  <a:cubicBezTo>
                    <a:pt x="52" y="294"/>
                    <a:pt x="49" y="298"/>
                    <a:pt x="45" y="301"/>
                  </a:cubicBezTo>
                  <a:cubicBezTo>
                    <a:pt x="44" y="302"/>
                    <a:pt x="43" y="303"/>
                    <a:pt x="42" y="304"/>
                  </a:cubicBezTo>
                  <a:cubicBezTo>
                    <a:pt x="39" y="307"/>
                    <a:pt x="36" y="310"/>
                    <a:pt x="33" y="311"/>
                  </a:cubicBezTo>
                  <a:cubicBezTo>
                    <a:pt x="32" y="312"/>
                    <a:pt x="32" y="312"/>
                    <a:pt x="31" y="312"/>
                  </a:cubicBezTo>
                  <a:cubicBezTo>
                    <a:pt x="27" y="314"/>
                    <a:pt x="21" y="316"/>
                    <a:pt x="21" y="322"/>
                  </a:cubicBezTo>
                  <a:cubicBezTo>
                    <a:pt x="22" y="325"/>
                    <a:pt x="24" y="327"/>
                    <a:pt x="25" y="329"/>
                  </a:cubicBezTo>
                  <a:cubicBezTo>
                    <a:pt x="25" y="329"/>
                    <a:pt x="26" y="329"/>
                    <a:pt x="26" y="330"/>
                  </a:cubicBezTo>
                  <a:cubicBezTo>
                    <a:pt x="27" y="330"/>
                    <a:pt x="27" y="331"/>
                    <a:pt x="28" y="332"/>
                  </a:cubicBezTo>
                  <a:cubicBezTo>
                    <a:pt x="28" y="333"/>
                    <a:pt x="28" y="333"/>
                    <a:pt x="28" y="333"/>
                  </a:cubicBezTo>
                  <a:cubicBezTo>
                    <a:pt x="29" y="335"/>
                    <a:pt x="30" y="336"/>
                    <a:pt x="30" y="337"/>
                  </a:cubicBezTo>
                  <a:cubicBezTo>
                    <a:pt x="31" y="337"/>
                    <a:pt x="31" y="337"/>
                    <a:pt x="31" y="337"/>
                  </a:cubicBezTo>
                  <a:cubicBezTo>
                    <a:pt x="34" y="340"/>
                    <a:pt x="36" y="342"/>
                    <a:pt x="39" y="344"/>
                  </a:cubicBezTo>
                  <a:cubicBezTo>
                    <a:pt x="40" y="345"/>
                    <a:pt x="40" y="345"/>
                    <a:pt x="40" y="345"/>
                  </a:cubicBezTo>
                  <a:cubicBezTo>
                    <a:pt x="40" y="345"/>
                    <a:pt x="40" y="346"/>
                    <a:pt x="40" y="346"/>
                  </a:cubicBezTo>
                  <a:cubicBezTo>
                    <a:pt x="40" y="347"/>
                    <a:pt x="40" y="347"/>
                    <a:pt x="40" y="347"/>
                  </a:cubicBezTo>
                  <a:cubicBezTo>
                    <a:pt x="40" y="348"/>
                    <a:pt x="40" y="348"/>
                    <a:pt x="40" y="349"/>
                  </a:cubicBezTo>
                  <a:cubicBezTo>
                    <a:pt x="39" y="351"/>
                    <a:pt x="38" y="352"/>
                    <a:pt x="38" y="354"/>
                  </a:cubicBezTo>
                  <a:cubicBezTo>
                    <a:pt x="38" y="359"/>
                    <a:pt x="40" y="362"/>
                    <a:pt x="41" y="366"/>
                  </a:cubicBezTo>
                  <a:cubicBezTo>
                    <a:pt x="41" y="367"/>
                    <a:pt x="41" y="367"/>
                    <a:pt x="41" y="367"/>
                  </a:cubicBezTo>
                  <a:cubicBezTo>
                    <a:pt x="42" y="369"/>
                    <a:pt x="44" y="372"/>
                    <a:pt x="45" y="374"/>
                  </a:cubicBezTo>
                  <a:cubicBezTo>
                    <a:pt x="46" y="377"/>
                    <a:pt x="48" y="381"/>
                    <a:pt x="49" y="384"/>
                  </a:cubicBezTo>
                  <a:cubicBezTo>
                    <a:pt x="49" y="385"/>
                    <a:pt x="49" y="386"/>
                    <a:pt x="50" y="387"/>
                  </a:cubicBezTo>
                  <a:cubicBezTo>
                    <a:pt x="51" y="392"/>
                    <a:pt x="52" y="396"/>
                    <a:pt x="56" y="401"/>
                  </a:cubicBezTo>
                  <a:cubicBezTo>
                    <a:pt x="57" y="401"/>
                    <a:pt x="58" y="402"/>
                    <a:pt x="59" y="403"/>
                  </a:cubicBezTo>
                  <a:cubicBezTo>
                    <a:pt x="61" y="405"/>
                    <a:pt x="64" y="408"/>
                    <a:pt x="64" y="410"/>
                  </a:cubicBezTo>
                  <a:cubicBezTo>
                    <a:pt x="64" y="412"/>
                    <a:pt x="63" y="413"/>
                    <a:pt x="61" y="416"/>
                  </a:cubicBezTo>
                  <a:cubicBezTo>
                    <a:pt x="60" y="416"/>
                    <a:pt x="60" y="417"/>
                    <a:pt x="59" y="417"/>
                  </a:cubicBezTo>
                  <a:cubicBezTo>
                    <a:pt x="56" y="421"/>
                    <a:pt x="54" y="428"/>
                    <a:pt x="56" y="433"/>
                  </a:cubicBezTo>
                  <a:cubicBezTo>
                    <a:pt x="56" y="435"/>
                    <a:pt x="58" y="437"/>
                    <a:pt x="59" y="438"/>
                  </a:cubicBezTo>
                  <a:cubicBezTo>
                    <a:pt x="60" y="438"/>
                    <a:pt x="60" y="439"/>
                    <a:pt x="60" y="439"/>
                  </a:cubicBezTo>
                  <a:cubicBezTo>
                    <a:pt x="61" y="440"/>
                    <a:pt x="61" y="442"/>
                    <a:pt x="61" y="443"/>
                  </a:cubicBezTo>
                  <a:cubicBezTo>
                    <a:pt x="58" y="438"/>
                    <a:pt x="54" y="433"/>
                    <a:pt x="50" y="433"/>
                  </a:cubicBezTo>
                  <a:cubicBezTo>
                    <a:pt x="46" y="432"/>
                    <a:pt x="46" y="432"/>
                    <a:pt x="46" y="432"/>
                  </a:cubicBezTo>
                  <a:cubicBezTo>
                    <a:pt x="47" y="436"/>
                    <a:pt x="47" y="436"/>
                    <a:pt x="47" y="436"/>
                  </a:cubicBezTo>
                  <a:cubicBezTo>
                    <a:pt x="52" y="478"/>
                    <a:pt x="59" y="528"/>
                    <a:pt x="66" y="577"/>
                  </a:cubicBezTo>
                  <a:cubicBezTo>
                    <a:pt x="67" y="578"/>
                    <a:pt x="67" y="580"/>
                    <a:pt x="67" y="581"/>
                  </a:cubicBezTo>
                  <a:cubicBezTo>
                    <a:pt x="68" y="585"/>
                    <a:pt x="68" y="589"/>
                    <a:pt x="69" y="593"/>
                  </a:cubicBezTo>
                  <a:cubicBezTo>
                    <a:pt x="69" y="604"/>
                    <a:pt x="73" y="608"/>
                    <a:pt x="78" y="616"/>
                  </a:cubicBezTo>
                  <a:cubicBezTo>
                    <a:pt x="81" y="619"/>
                    <a:pt x="81" y="619"/>
                    <a:pt x="81" y="619"/>
                  </a:cubicBezTo>
                  <a:cubicBezTo>
                    <a:pt x="83" y="622"/>
                    <a:pt x="85" y="624"/>
                    <a:pt x="88" y="626"/>
                  </a:cubicBezTo>
                  <a:cubicBezTo>
                    <a:pt x="90" y="628"/>
                    <a:pt x="92" y="630"/>
                    <a:pt x="94" y="633"/>
                  </a:cubicBezTo>
                  <a:cubicBezTo>
                    <a:pt x="96" y="635"/>
                    <a:pt x="97" y="637"/>
                    <a:pt x="99" y="639"/>
                  </a:cubicBezTo>
                  <a:cubicBezTo>
                    <a:pt x="105" y="647"/>
                    <a:pt x="109" y="653"/>
                    <a:pt x="120" y="653"/>
                  </a:cubicBezTo>
                  <a:cubicBezTo>
                    <a:pt x="122" y="653"/>
                    <a:pt x="124" y="653"/>
                    <a:pt x="126" y="652"/>
                  </a:cubicBezTo>
                  <a:cubicBezTo>
                    <a:pt x="128" y="652"/>
                    <a:pt x="131" y="651"/>
                    <a:pt x="134" y="651"/>
                  </a:cubicBezTo>
                  <a:cubicBezTo>
                    <a:pt x="138" y="650"/>
                    <a:pt x="145" y="648"/>
                    <a:pt x="149" y="648"/>
                  </a:cubicBezTo>
                  <a:cubicBezTo>
                    <a:pt x="150" y="648"/>
                    <a:pt x="150" y="648"/>
                    <a:pt x="150" y="648"/>
                  </a:cubicBezTo>
                  <a:cubicBezTo>
                    <a:pt x="154" y="648"/>
                    <a:pt x="158" y="651"/>
                    <a:pt x="162" y="654"/>
                  </a:cubicBezTo>
                  <a:cubicBezTo>
                    <a:pt x="164" y="656"/>
                    <a:pt x="166" y="658"/>
                    <a:pt x="169" y="659"/>
                  </a:cubicBezTo>
                  <a:cubicBezTo>
                    <a:pt x="172" y="660"/>
                    <a:pt x="174" y="661"/>
                    <a:pt x="176" y="661"/>
                  </a:cubicBezTo>
                  <a:cubicBezTo>
                    <a:pt x="179" y="661"/>
                    <a:pt x="181" y="660"/>
                    <a:pt x="183" y="658"/>
                  </a:cubicBezTo>
                  <a:cubicBezTo>
                    <a:pt x="184" y="658"/>
                    <a:pt x="184" y="658"/>
                    <a:pt x="184" y="658"/>
                  </a:cubicBezTo>
                  <a:cubicBezTo>
                    <a:pt x="185" y="657"/>
                    <a:pt x="186" y="657"/>
                    <a:pt x="187" y="656"/>
                  </a:cubicBezTo>
                  <a:cubicBezTo>
                    <a:pt x="191" y="654"/>
                    <a:pt x="195" y="653"/>
                    <a:pt x="200" y="652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3" y="651"/>
                    <a:pt x="205" y="650"/>
                    <a:pt x="208" y="649"/>
                  </a:cubicBezTo>
                  <a:cubicBezTo>
                    <a:pt x="211" y="648"/>
                    <a:pt x="214" y="647"/>
                    <a:pt x="217" y="647"/>
                  </a:cubicBezTo>
                  <a:cubicBezTo>
                    <a:pt x="218" y="647"/>
                    <a:pt x="218" y="647"/>
                    <a:pt x="219" y="648"/>
                  </a:cubicBezTo>
                  <a:cubicBezTo>
                    <a:pt x="222" y="649"/>
                    <a:pt x="223" y="652"/>
                    <a:pt x="224" y="657"/>
                  </a:cubicBezTo>
                  <a:cubicBezTo>
                    <a:pt x="226" y="661"/>
                    <a:pt x="226" y="661"/>
                    <a:pt x="226" y="661"/>
                  </a:cubicBezTo>
                  <a:cubicBezTo>
                    <a:pt x="226" y="663"/>
                    <a:pt x="227" y="664"/>
                    <a:pt x="227" y="666"/>
                  </a:cubicBezTo>
                  <a:cubicBezTo>
                    <a:pt x="228" y="669"/>
                    <a:pt x="228" y="669"/>
                    <a:pt x="228" y="669"/>
                  </a:cubicBezTo>
                  <a:cubicBezTo>
                    <a:pt x="231" y="668"/>
                    <a:pt x="231" y="668"/>
                    <a:pt x="231" y="668"/>
                  </a:cubicBezTo>
                  <a:cubicBezTo>
                    <a:pt x="234" y="668"/>
                    <a:pt x="238" y="667"/>
                    <a:pt x="241" y="667"/>
                  </a:cubicBezTo>
                  <a:cubicBezTo>
                    <a:pt x="246" y="666"/>
                    <a:pt x="252" y="665"/>
                    <a:pt x="257" y="664"/>
                  </a:cubicBezTo>
                  <a:cubicBezTo>
                    <a:pt x="260" y="663"/>
                    <a:pt x="262" y="662"/>
                    <a:pt x="264" y="661"/>
                  </a:cubicBezTo>
                  <a:cubicBezTo>
                    <a:pt x="267" y="660"/>
                    <a:pt x="269" y="659"/>
                    <a:pt x="271" y="658"/>
                  </a:cubicBezTo>
                  <a:cubicBezTo>
                    <a:pt x="272" y="658"/>
                    <a:pt x="274" y="657"/>
                    <a:pt x="275" y="657"/>
                  </a:cubicBezTo>
                  <a:cubicBezTo>
                    <a:pt x="279" y="656"/>
                    <a:pt x="282" y="655"/>
                    <a:pt x="286" y="655"/>
                  </a:cubicBezTo>
                  <a:cubicBezTo>
                    <a:pt x="291" y="655"/>
                    <a:pt x="296" y="653"/>
                    <a:pt x="301" y="651"/>
                  </a:cubicBezTo>
                  <a:cubicBezTo>
                    <a:pt x="302" y="650"/>
                    <a:pt x="302" y="650"/>
                    <a:pt x="302" y="650"/>
                  </a:cubicBezTo>
                  <a:cubicBezTo>
                    <a:pt x="306" y="648"/>
                    <a:pt x="310" y="646"/>
                    <a:pt x="312" y="640"/>
                  </a:cubicBezTo>
                  <a:cubicBezTo>
                    <a:pt x="312" y="640"/>
                    <a:pt x="312" y="639"/>
                    <a:pt x="313" y="638"/>
                  </a:cubicBezTo>
                  <a:cubicBezTo>
                    <a:pt x="313" y="637"/>
                    <a:pt x="313" y="636"/>
                    <a:pt x="314" y="635"/>
                  </a:cubicBezTo>
                  <a:cubicBezTo>
                    <a:pt x="316" y="633"/>
                    <a:pt x="317" y="632"/>
                    <a:pt x="319" y="631"/>
                  </a:cubicBezTo>
                  <a:cubicBezTo>
                    <a:pt x="322" y="631"/>
                    <a:pt x="325" y="629"/>
                    <a:pt x="327" y="626"/>
                  </a:cubicBezTo>
                  <a:cubicBezTo>
                    <a:pt x="328" y="623"/>
                    <a:pt x="328" y="621"/>
                    <a:pt x="329" y="619"/>
                  </a:cubicBezTo>
                  <a:cubicBezTo>
                    <a:pt x="329" y="617"/>
                    <a:pt x="329" y="615"/>
                    <a:pt x="330" y="613"/>
                  </a:cubicBezTo>
                  <a:cubicBezTo>
                    <a:pt x="332" y="609"/>
                    <a:pt x="333" y="605"/>
                    <a:pt x="333" y="599"/>
                  </a:cubicBezTo>
                  <a:cubicBezTo>
                    <a:pt x="333" y="596"/>
                    <a:pt x="333" y="593"/>
                    <a:pt x="332" y="591"/>
                  </a:cubicBezTo>
                  <a:cubicBezTo>
                    <a:pt x="332" y="589"/>
                    <a:pt x="332" y="587"/>
                    <a:pt x="331" y="585"/>
                  </a:cubicBezTo>
                  <a:cubicBezTo>
                    <a:pt x="331" y="582"/>
                    <a:pt x="332" y="579"/>
                    <a:pt x="333" y="575"/>
                  </a:cubicBezTo>
                  <a:cubicBezTo>
                    <a:pt x="334" y="574"/>
                    <a:pt x="334" y="571"/>
                    <a:pt x="335" y="569"/>
                  </a:cubicBezTo>
                  <a:cubicBezTo>
                    <a:pt x="335" y="567"/>
                    <a:pt x="335" y="565"/>
                    <a:pt x="335" y="562"/>
                  </a:cubicBezTo>
                  <a:cubicBezTo>
                    <a:pt x="334" y="560"/>
                    <a:pt x="334" y="558"/>
                    <a:pt x="335" y="556"/>
                  </a:cubicBezTo>
                  <a:cubicBezTo>
                    <a:pt x="335" y="554"/>
                    <a:pt x="336" y="553"/>
                    <a:pt x="337" y="552"/>
                  </a:cubicBezTo>
                  <a:cubicBezTo>
                    <a:pt x="338" y="550"/>
                    <a:pt x="338" y="548"/>
                    <a:pt x="339" y="546"/>
                  </a:cubicBezTo>
                  <a:cubicBezTo>
                    <a:pt x="339" y="545"/>
                    <a:pt x="340" y="544"/>
                    <a:pt x="340" y="543"/>
                  </a:cubicBezTo>
                  <a:cubicBezTo>
                    <a:pt x="340" y="542"/>
                    <a:pt x="341" y="537"/>
                    <a:pt x="342" y="537"/>
                  </a:cubicBezTo>
                  <a:cubicBezTo>
                    <a:pt x="343" y="537"/>
                    <a:pt x="344" y="538"/>
                    <a:pt x="346" y="538"/>
                  </a:cubicBezTo>
                  <a:cubicBezTo>
                    <a:pt x="348" y="540"/>
                    <a:pt x="348" y="540"/>
                    <a:pt x="348" y="540"/>
                  </a:cubicBezTo>
                  <a:cubicBezTo>
                    <a:pt x="350" y="538"/>
                    <a:pt x="350" y="538"/>
                    <a:pt x="350" y="538"/>
                  </a:cubicBezTo>
                  <a:cubicBezTo>
                    <a:pt x="351" y="536"/>
                    <a:pt x="352" y="535"/>
                    <a:pt x="354" y="534"/>
                  </a:cubicBezTo>
                  <a:cubicBezTo>
                    <a:pt x="355" y="532"/>
                    <a:pt x="357" y="530"/>
                    <a:pt x="358" y="528"/>
                  </a:cubicBezTo>
                  <a:cubicBezTo>
                    <a:pt x="361" y="524"/>
                    <a:pt x="360" y="520"/>
                    <a:pt x="359" y="517"/>
                  </a:cubicBezTo>
                  <a:cubicBezTo>
                    <a:pt x="358" y="514"/>
                    <a:pt x="357" y="511"/>
                    <a:pt x="359" y="509"/>
                  </a:cubicBezTo>
                  <a:cubicBezTo>
                    <a:pt x="361" y="506"/>
                    <a:pt x="376" y="499"/>
                    <a:pt x="379" y="499"/>
                  </a:cubicBezTo>
                  <a:cubicBezTo>
                    <a:pt x="380" y="499"/>
                    <a:pt x="380" y="499"/>
                    <a:pt x="381" y="499"/>
                  </a:cubicBezTo>
                  <a:cubicBezTo>
                    <a:pt x="382" y="499"/>
                    <a:pt x="383" y="499"/>
                    <a:pt x="384" y="500"/>
                  </a:cubicBezTo>
                  <a:cubicBezTo>
                    <a:pt x="384" y="500"/>
                    <a:pt x="385" y="500"/>
                    <a:pt x="386" y="500"/>
                  </a:cubicBezTo>
                  <a:cubicBezTo>
                    <a:pt x="387" y="500"/>
                    <a:pt x="388" y="500"/>
                    <a:pt x="389" y="499"/>
                  </a:cubicBezTo>
                  <a:cubicBezTo>
                    <a:pt x="390" y="499"/>
                    <a:pt x="391" y="498"/>
                    <a:pt x="394" y="495"/>
                  </a:cubicBezTo>
                  <a:cubicBezTo>
                    <a:pt x="395" y="494"/>
                    <a:pt x="396" y="493"/>
                    <a:pt x="397" y="493"/>
                  </a:cubicBezTo>
                  <a:cubicBezTo>
                    <a:pt x="402" y="489"/>
                    <a:pt x="407" y="486"/>
                    <a:pt x="412" y="484"/>
                  </a:cubicBezTo>
                  <a:cubicBezTo>
                    <a:pt x="414" y="484"/>
                    <a:pt x="414" y="484"/>
                    <a:pt x="414" y="484"/>
                  </a:cubicBezTo>
                  <a:cubicBezTo>
                    <a:pt x="414" y="482"/>
                    <a:pt x="414" y="482"/>
                    <a:pt x="414" y="482"/>
                  </a:cubicBezTo>
                  <a:cubicBezTo>
                    <a:pt x="414" y="482"/>
                    <a:pt x="414" y="481"/>
                    <a:pt x="414" y="481"/>
                  </a:cubicBezTo>
                  <a:cubicBezTo>
                    <a:pt x="414" y="481"/>
                    <a:pt x="415" y="481"/>
                    <a:pt x="415" y="481"/>
                  </a:cubicBezTo>
                  <a:cubicBezTo>
                    <a:pt x="416" y="481"/>
                    <a:pt x="417" y="481"/>
                    <a:pt x="417" y="482"/>
                  </a:cubicBezTo>
                  <a:cubicBezTo>
                    <a:pt x="418" y="482"/>
                    <a:pt x="419" y="482"/>
                    <a:pt x="420" y="482"/>
                  </a:cubicBezTo>
                  <a:cubicBezTo>
                    <a:pt x="424" y="482"/>
                    <a:pt x="428" y="481"/>
                    <a:pt x="431" y="480"/>
                  </a:cubicBezTo>
                  <a:cubicBezTo>
                    <a:pt x="436" y="478"/>
                    <a:pt x="438" y="474"/>
                    <a:pt x="440" y="471"/>
                  </a:cubicBezTo>
                  <a:cubicBezTo>
                    <a:pt x="441" y="470"/>
                    <a:pt x="441" y="470"/>
                    <a:pt x="441" y="470"/>
                  </a:cubicBezTo>
                  <a:cubicBezTo>
                    <a:pt x="441" y="469"/>
                    <a:pt x="441" y="469"/>
                    <a:pt x="442" y="468"/>
                  </a:cubicBezTo>
                  <a:cubicBezTo>
                    <a:pt x="442" y="467"/>
                    <a:pt x="443" y="466"/>
                    <a:pt x="444" y="465"/>
                  </a:cubicBezTo>
                  <a:cubicBezTo>
                    <a:pt x="444" y="464"/>
                    <a:pt x="444" y="464"/>
                    <a:pt x="444" y="464"/>
                  </a:cubicBezTo>
                  <a:cubicBezTo>
                    <a:pt x="445" y="463"/>
                    <a:pt x="445" y="462"/>
                    <a:pt x="445" y="461"/>
                  </a:cubicBezTo>
                  <a:cubicBezTo>
                    <a:pt x="446" y="461"/>
                    <a:pt x="446" y="460"/>
                    <a:pt x="447" y="459"/>
                  </a:cubicBezTo>
                  <a:cubicBezTo>
                    <a:pt x="447" y="459"/>
                    <a:pt x="447" y="458"/>
                    <a:pt x="448" y="457"/>
                  </a:cubicBezTo>
                  <a:cubicBezTo>
                    <a:pt x="448" y="457"/>
                    <a:pt x="448" y="457"/>
                    <a:pt x="449" y="456"/>
                  </a:cubicBezTo>
                  <a:cubicBezTo>
                    <a:pt x="449" y="456"/>
                    <a:pt x="450" y="455"/>
                    <a:pt x="450" y="454"/>
                  </a:cubicBezTo>
                  <a:cubicBezTo>
                    <a:pt x="452" y="452"/>
                    <a:pt x="452" y="449"/>
                    <a:pt x="451" y="445"/>
                  </a:cubicBezTo>
                  <a:cubicBezTo>
                    <a:pt x="451" y="442"/>
                    <a:pt x="449" y="439"/>
                    <a:pt x="446" y="436"/>
                  </a:cubicBezTo>
                  <a:cubicBezTo>
                    <a:pt x="442" y="430"/>
                    <a:pt x="435" y="427"/>
                    <a:pt x="427" y="427"/>
                  </a:cubicBezTo>
                  <a:cubicBezTo>
                    <a:pt x="416" y="427"/>
                    <a:pt x="403" y="433"/>
                    <a:pt x="397" y="437"/>
                  </a:cubicBezTo>
                  <a:cubicBezTo>
                    <a:pt x="380" y="446"/>
                    <a:pt x="367" y="460"/>
                    <a:pt x="357" y="471"/>
                  </a:cubicBezTo>
                  <a:cubicBezTo>
                    <a:pt x="347" y="482"/>
                    <a:pt x="339" y="493"/>
                    <a:pt x="333" y="504"/>
                  </a:cubicBezTo>
                  <a:cubicBezTo>
                    <a:pt x="332" y="506"/>
                    <a:pt x="332" y="506"/>
                    <a:pt x="332" y="506"/>
                  </a:cubicBezTo>
                  <a:cubicBezTo>
                    <a:pt x="330" y="510"/>
                    <a:pt x="327" y="515"/>
                    <a:pt x="326" y="520"/>
                  </a:cubicBezTo>
                  <a:cubicBezTo>
                    <a:pt x="324" y="527"/>
                    <a:pt x="322" y="533"/>
                    <a:pt x="319" y="540"/>
                  </a:cubicBezTo>
                  <a:cubicBezTo>
                    <a:pt x="317" y="543"/>
                    <a:pt x="316" y="546"/>
                    <a:pt x="315" y="549"/>
                  </a:cubicBezTo>
                  <a:cubicBezTo>
                    <a:pt x="314" y="554"/>
                    <a:pt x="312" y="558"/>
                    <a:pt x="309" y="562"/>
                  </a:cubicBezTo>
                  <a:cubicBezTo>
                    <a:pt x="309" y="562"/>
                    <a:pt x="309" y="562"/>
                    <a:pt x="309" y="562"/>
                  </a:cubicBezTo>
                  <a:cubicBezTo>
                    <a:pt x="308" y="563"/>
                    <a:pt x="307" y="565"/>
                    <a:pt x="306" y="565"/>
                  </a:cubicBezTo>
                  <a:cubicBezTo>
                    <a:pt x="306" y="566"/>
                    <a:pt x="305" y="566"/>
                    <a:pt x="305" y="566"/>
                  </a:cubicBezTo>
                  <a:cubicBezTo>
                    <a:pt x="303" y="567"/>
                    <a:pt x="302" y="567"/>
                    <a:pt x="301" y="568"/>
                  </a:cubicBezTo>
                  <a:cubicBezTo>
                    <a:pt x="301" y="568"/>
                    <a:pt x="301" y="568"/>
                    <a:pt x="302" y="567"/>
                  </a:cubicBezTo>
                  <a:cubicBezTo>
                    <a:pt x="302" y="567"/>
                    <a:pt x="302" y="566"/>
                    <a:pt x="303" y="566"/>
                  </a:cubicBezTo>
                  <a:cubicBezTo>
                    <a:pt x="303" y="565"/>
                    <a:pt x="303" y="564"/>
                    <a:pt x="304" y="564"/>
                  </a:cubicBezTo>
                  <a:cubicBezTo>
                    <a:pt x="305" y="563"/>
                    <a:pt x="308" y="562"/>
                    <a:pt x="308" y="558"/>
                  </a:cubicBezTo>
                  <a:cubicBezTo>
                    <a:pt x="308" y="557"/>
                    <a:pt x="308" y="556"/>
                    <a:pt x="308" y="554"/>
                  </a:cubicBezTo>
                  <a:cubicBezTo>
                    <a:pt x="308" y="553"/>
                    <a:pt x="308" y="551"/>
                    <a:pt x="308" y="550"/>
                  </a:cubicBezTo>
                  <a:cubicBezTo>
                    <a:pt x="308" y="549"/>
                    <a:pt x="309" y="548"/>
                    <a:pt x="309" y="547"/>
                  </a:cubicBezTo>
                  <a:cubicBezTo>
                    <a:pt x="310" y="545"/>
                    <a:pt x="310" y="543"/>
                    <a:pt x="311" y="541"/>
                  </a:cubicBezTo>
                  <a:cubicBezTo>
                    <a:pt x="312" y="540"/>
                    <a:pt x="312" y="539"/>
                    <a:pt x="312" y="539"/>
                  </a:cubicBezTo>
                  <a:cubicBezTo>
                    <a:pt x="313" y="538"/>
                    <a:pt x="313" y="537"/>
                    <a:pt x="314" y="536"/>
                  </a:cubicBezTo>
                  <a:cubicBezTo>
                    <a:pt x="314" y="536"/>
                    <a:pt x="314" y="536"/>
                    <a:pt x="314" y="536"/>
                  </a:cubicBezTo>
                  <a:cubicBezTo>
                    <a:pt x="315" y="536"/>
                    <a:pt x="316" y="535"/>
                    <a:pt x="316" y="535"/>
                  </a:cubicBezTo>
                  <a:cubicBezTo>
                    <a:pt x="317" y="534"/>
                    <a:pt x="317" y="533"/>
                    <a:pt x="318" y="532"/>
                  </a:cubicBezTo>
                  <a:cubicBezTo>
                    <a:pt x="318" y="532"/>
                    <a:pt x="318" y="532"/>
                    <a:pt x="318" y="532"/>
                  </a:cubicBezTo>
                  <a:cubicBezTo>
                    <a:pt x="320" y="527"/>
                    <a:pt x="320" y="523"/>
                    <a:pt x="321" y="519"/>
                  </a:cubicBezTo>
                  <a:cubicBezTo>
                    <a:pt x="321" y="517"/>
                    <a:pt x="321" y="514"/>
                    <a:pt x="322" y="512"/>
                  </a:cubicBezTo>
                  <a:cubicBezTo>
                    <a:pt x="322" y="510"/>
                    <a:pt x="323" y="509"/>
                    <a:pt x="324" y="507"/>
                  </a:cubicBezTo>
                  <a:cubicBezTo>
                    <a:pt x="325" y="507"/>
                    <a:pt x="325" y="506"/>
                    <a:pt x="325" y="505"/>
                  </a:cubicBezTo>
                  <a:cubicBezTo>
                    <a:pt x="328" y="502"/>
                    <a:pt x="328" y="497"/>
                    <a:pt x="328" y="493"/>
                  </a:cubicBezTo>
                  <a:cubicBezTo>
                    <a:pt x="328" y="491"/>
                    <a:pt x="328" y="489"/>
                    <a:pt x="329" y="486"/>
                  </a:cubicBezTo>
                  <a:cubicBezTo>
                    <a:pt x="331" y="479"/>
                    <a:pt x="335" y="473"/>
                    <a:pt x="339" y="468"/>
                  </a:cubicBezTo>
                  <a:cubicBezTo>
                    <a:pt x="340" y="466"/>
                    <a:pt x="342" y="464"/>
                    <a:pt x="344" y="462"/>
                  </a:cubicBezTo>
                  <a:cubicBezTo>
                    <a:pt x="346" y="460"/>
                    <a:pt x="348" y="458"/>
                    <a:pt x="350" y="457"/>
                  </a:cubicBezTo>
                  <a:cubicBezTo>
                    <a:pt x="352" y="455"/>
                    <a:pt x="354" y="453"/>
                    <a:pt x="356" y="452"/>
                  </a:cubicBezTo>
                  <a:cubicBezTo>
                    <a:pt x="357" y="451"/>
                    <a:pt x="358" y="450"/>
                    <a:pt x="360" y="449"/>
                  </a:cubicBezTo>
                  <a:cubicBezTo>
                    <a:pt x="361" y="449"/>
                    <a:pt x="364" y="447"/>
                    <a:pt x="365" y="444"/>
                  </a:cubicBezTo>
                  <a:cubicBezTo>
                    <a:pt x="365" y="443"/>
                    <a:pt x="365" y="442"/>
                    <a:pt x="365" y="441"/>
                  </a:cubicBezTo>
                  <a:cubicBezTo>
                    <a:pt x="365" y="441"/>
                    <a:pt x="365" y="441"/>
                    <a:pt x="365" y="440"/>
                  </a:cubicBezTo>
                  <a:cubicBezTo>
                    <a:pt x="365" y="439"/>
                    <a:pt x="365" y="437"/>
                    <a:pt x="365" y="435"/>
                  </a:cubicBezTo>
                  <a:cubicBezTo>
                    <a:pt x="365" y="433"/>
                    <a:pt x="365" y="431"/>
                    <a:pt x="365" y="429"/>
                  </a:cubicBezTo>
                  <a:cubicBezTo>
                    <a:pt x="365" y="426"/>
                    <a:pt x="365" y="423"/>
                    <a:pt x="366" y="420"/>
                  </a:cubicBezTo>
                  <a:cubicBezTo>
                    <a:pt x="367" y="416"/>
                    <a:pt x="369" y="413"/>
                    <a:pt x="372" y="411"/>
                  </a:cubicBezTo>
                  <a:cubicBezTo>
                    <a:pt x="373" y="410"/>
                    <a:pt x="373" y="410"/>
                    <a:pt x="373" y="410"/>
                  </a:cubicBezTo>
                  <a:cubicBezTo>
                    <a:pt x="373" y="409"/>
                    <a:pt x="374" y="408"/>
                    <a:pt x="375" y="408"/>
                  </a:cubicBezTo>
                  <a:cubicBezTo>
                    <a:pt x="377" y="407"/>
                    <a:pt x="379" y="407"/>
                    <a:pt x="381" y="406"/>
                  </a:cubicBezTo>
                  <a:cubicBezTo>
                    <a:pt x="383" y="404"/>
                    <a:pt x="385" y="403"/>
                    <a:pt x="388" y="401"/>
                  </a:cubicBezTo>
                  <a:cubicBezTo>
                    <a:pt x="389" y="400"/>
                    <a:pt x="389" y="400"/>
                    <a:pt x="389" y="400"/>
                  </a:cubicBezTo>
                  <a:cubicBezTo>
                    <a:pt x="391" y="399"/>
                    <a:pt x="393" y="398"/>
                    <a:pt x="395" y="397"/>
                  </a:cubicBezTo>
                  <a:cubicBezTo>
                    <a:pt x="396" y="395"/>
                    <a:pt x="396" y="395"/>
                    <a:pt x="397" y="395"/>
                  </a:cubicBezTo>
                  <a:cubicBezTo>
                    <a:pt x="401" y="394"/>
                    <a:pt x="405" y="393"/>
                    <a:pt x="409" y="392"/>
                  </a:cubicBezTo>
                  <a:cubicBezTo>
                    <a:pt x="410" y="391"/>
                    <a:pt x="411" y="391"/>
                    <a:pt x="412" y="390"/>
                  </a:cubicBezTo>
                  <a:cubicBezTo>
                    <a:pt x="413" y="390"/>
                    <a:pt x="413" y="390"/>
                    <a:pt x="414" y="389"/>
                  </a:cubicBezTo>
                  <a:cubicBezTo>
                    <a:pt x="415" y="389"/>
                    <a:pt x="415" y="389"/>
                    <a:pt x="416" y="388"/>
                  </a:cubicBezTo>
                  <a:cubicBezTo>
                    <a:pt x="417" y="388"/>
                    <a:pt x="418" y="388"/>
                    <a:pt x="418" y="387"/>
                  </a:cubicBezTo>
                  <a:cubicBezTo>
                    <a:pt x="419" y="387"/>
                    <a:pt x="420" y="387"/>
                    <a:pt x="421" y="387"/>
                  </a:cubicBezTo>
                  <a:cubicBezTo>
                    <a:pt x="422" y="387"/>
                    <a:pt x="422" y="387"/>
                    <a:pt x="422" y="387"/>
                  </a:cubicBezTo>
                  <a:cubicBezTo>
                    <a:pt x="423" y="386"/>
                    <a:pt x="424" y="386"/>
                    <a:pt x="426" y="386"/>
                  </a:cubicBezTo>
                  <a:cubicBezTo>
                    <a:pt x="428" y="385"/>
                    <a:pt x="429" y="384"/>
                    <a:pt x="431" y="383"/>
                  </a:cubicBezTo>
                  <a:cubicBezTo>
                    <a:pt x="431" y="383"/>
                    <a:pt x="432" y="383"/>
                    <a:pt x="432" y="382"/>
                  </a:cubicBezTo>
                  <a:cubicBezTo>
                    <a:pt x="433" y="382"/>
                    <a:pt x="434" y="383"/>
                    <a:pt x="435" y="383"/>
                  </a:cubicBezTo>
                  <a:cubicBezTo>
                    <a:pt x="435" y="383"/>
                    <a:pt x="436" y="383"/>
                    <a:pt x="436" y="383"/>
                  </a:cubicBezTo>
                  <a:cubicBezTo>
                    <a:pt x="439" y="383"/>
                    <a:pt x="442" y="381"/>
                    <a:pt x="444" y="380"/>
                  </a:cubicBezTo>
                  <a:cubicBezTo>
                    <a:pt x="445" y="380"/>
                    <a:pt x="447" y="379"/>
                    <a:pt x="449" y="377"/>
                  </a:cubicBezTo>
                  <a:cubicBezTo>
                    <a:pt x="449" y="377"/>
                    <a:pt x="450" y="376"/>
                    <a:pt x="450" y="376"/>
                  </a:cubicBezTo>
                  <a:cubicBezTo>
                    <a:pt x="450" y="376"/>
                    <a:pt x="450" y="375"/>
                    <a:pt x="451" y="375"/>
                  </a:cubicBezTo>
                  <a:cubicBezTo>
                    <a:pt x="451" y="375"/>
                    <a:pt x="451" y="375"/>
                    <a:pt x="452" y="375"/>
                  </a:cubicBezTo>
                  <a:cubicBezTo>
                    <a:pt x="453" y="375"/>
                    <a:pt x="453" y="375"/>
                    <a:pt x="454" y="375"/>
                  </a:cubicBezTo>
                  <a:cubicBezTo>
                    <a:pt x="455" y="374"/>
                    <a:pt x="455" y="374"/>
                    <a:pt x="456" y="374"/>
                  </a:cubicBezTo>
                  <a:cubicBezTo>
                    <a:pt x="457" y="373"/>
                    <a:pt x="458" y="373"/>
                    <a:pt x="459" y="373"/>
                  </a:cubicBezTo>
                  <a:cubicBezTo>
                    <a:pt x="460" y="372"/>
                    <a:pt x="461" y="372"/>
                    <a:pt x="463" y="371"/>
                  </a:cubicBezTo>
                  <a:cubicBezTo>
                    <a:pt x="463" y="371"/>
                    <a:pt x="464" y="371"/>
                    <a:pt x="464" y="370"/>
                  </a:cubicBezTo>
                  <a:cubicBezTo>
                    <a:pt x="465" y="370"/>
                    <a:pt x="465" y="370"/>
                    <a:pt x="466" y="370"/>
                  </a:cubicBezTo>
                  <a:cubicBezTo>
                    <a:pt x="467" y="370"/>
                    <a:pt x="468" y="369"/>
                    <a:pt x="469" y="369"/>
                  </a:cubicBezTo>
                  <a:cubicBezTo>
                    <a:pt x="469" y="369"/>
                    <a:pt x="470" y="368"/>
                    <a:pt x="471" y="368"/>
                  </a:cubicBezTo>
                  <a:cubicBezTo>
                    <a:pt x="472" y="368"/>
                    <a:pt x="472" y="368"/>
                    <a:pt x="472" y="368"/>
                  </a:cubicBezTo>
                  <a:cubicBezTo>
                    <a:pt x="473" y="367"/>
                    <a:pt x="474" y="367"/>
                    <a:pt x="475" y="366"/>
                  </a:cubicBezTo>
                  <a:cubicBezTo>
                    <a:pt x="476" y="366"/>
                    <a:pt x="476" y="365"/>
                    <a:pt x="477" y="365"/>
                  </a:cubicBezTo>
                  <a:cubicBezTo>
                    <a:pt x="477" y="365"/>
                    <a:pt x="477" y="365"/>
                    <a:pt x="477" y="365"/>
                  </a:cubicBezTo>
                  <a:cubicBezTo>
                    <a:pt x="478" y="365"/>
                    <a:pt x="479" y="365"/>
                    <a:pt x="480" y="366"/>
                  </a:cubicBezTo>
                  <a:cubicBezTo>
                    <a:pt x="481" y="366"/>
                    <a:pt x="482" y="366"/>
                    <a:pt x="484" y="366"/>
                  </a:cubicBezTo>
                  <a:cubicBezTo>
                    <a:pt x="485" y="366"/>
                    <a:pt x="486" y="366"/>
                    <a:pt x="486" y="366"/>
                  </a:cubicBezTo>
                  <a:cubicBezTo>
                    <a:pt x="489" y="365"/>
                    <a:pt x="491" y="363"/>
                    <a:pt x="492" y="361"/>
                  </a:cubicBezTo>
                  <a:cubicBezTo>
                    <a:pt x="493" y="361"/>
                    <a:pt x="493" y="361"/>
                    <a:pt x="493" y="361"/>
                  </a:cubicBezTo>
                  <a:cubicBezTo>
                    <a:pt x="495" y="359"/>
                    <a:pt x="497" y="357"/>
                    <a:pt x="499" y="356"/>
                  </a:cubicBezTo>
                  <a:cubicBezTo>
                    <a:pt x="499" y="356"/>
                    <a:pt x="500" y="356"/>
                    <a:pt x="501" y="355"/>
                  </a:cubicBezTo>
                  <a:cubicBezTo>
                    <a:pt x="502" y="355"/>
                    <a:pt x="503" y="355"/>
                    <a:pt x="504" y="354"/>
                  </a:cubicBezTo>
                  <a:cubicBezTo>
                    <a:pt x="505" y="353"/>
                    <a:pt x="506" y="352"/>
                    <a:pt x="507" y="351"/>
                  </a:cubicBezTo>
                  <a:cubicBezTo>
                    <a:pt x="508" y="350"/>
                    <a:pt x="510" y="349"/>
                    <a:pt x="511" y="349"/>
                  </a:cubicBezTo>
                  <a:cubicBezTo>
                    <a:pt x="512" y="348"/>
                    <a:pt x="513" y="348"/>
                    <a:pt x="514" y="348"/>
                  </a:cubicBezTo>
                  <a:cubicBezTo>
                    <a:pt x="516" y="348"/>
                    <a:pt x="517" y="348"/>
                    <a:pt x="519" y="348"/>
                  </a:cubicBezTo>
                  <a:cubicBezTo>
                    <a:pt x="523" y="346"/>
                    <a:pt x="523" y="343"/>
                    <a:pt x="524" y="341"/>
                  </a:cubicBezTo>
                  <a:cubicBezTo>
                    <a:pt x="524" y="341"/>
                    <a:pt x="524" y="339"/>
                    <a:pt x="524" y="338"/>
                  </a:cubicBezTo>
                  <a:cubicBezTo>
                    <a:pt x="524" y="337"/>
                    <a:pt x="524" y="336"/>
                    <a:pt x="524" y="335"/>
                  </a:cubicBezTo>
                  <a:cubicBezTo>
                    <a:pt x="525" y="332"/>
                    <a:pt x="526" y="329"/>
                    <a:pt x="527" y="326"/>
                  </a:cubicBezTo>
                  <a:cubicBezTo>
                    <a:pt x="528" y="323"/>
                    <a:pt x="529" y="321"/>
                    <a:pt x="530" y="318"/>
                  </a:cubicBezTo>
                  <a:cubicBezTo>
                    <a:pt x="531" y="315"/>
                    <a:pt x="532" y="313"/>
                    <a:pt x="532" y="311"/>
                  </a:cubicBezTo>
                  <a:cubicBezTo>
                    <a:pt x="532" y="309"/>
                    <a:pt x="532" y="309"/>
                    <a:pt x="532" y="309"/>
                  </a:cubicBezTo>
                  <a:cubicBezTo>
                    <a:pt x="533" y="308"/>
                    <a:pt x="533" y="307"/>
                    <a:pt x="533" y="306"/>
                  </a:cubicBezTo>
                  <a:cubicBezTo>
                    <a:pt x="534" y="305"/>
                    <a:pt x="534" y="304"/>
                    <a:pt x="534" y="303"/>
                  </a:cubicBezTo>
                  <a:cubicBezTo>
                    <a:pt x="535" y="301"/>
                    <a:pt x="535" y="300"/>
                    <a:pt x="535" y="298"/>
                  </a:cubicBezTo>
                  <a:cubicBezTo>
                    <a:pt x="535" y="297"/>
                    <a:pt x="536" y="296"/>
                    <a:pt x="536" y="295"/>
                  </a:cubicBezTo>
                  <a:cubicBezTo>
                    <a:pt x="536" y="295"/>
                    <a:pt x="536" y="294"/>
                    <a:pt x="536" y="293"/>
                  </a:cubicBezTo>
                  <a:cubicBezTo>
                    <a:pt x="536" y="291"/>
                    <a:pt x="537" y="290"/>
                    <a:pt x="538" y="289"/>
                  </a:cubicBezTo>
                  <a:cubicBezTo>
                    <a:pt x="539" y="288"/>
                    <a:pt x="540" y="287"/>
                    <a:pt x="541" y="287"/>
                  </a:cubicBezTo>
                  <a:cubicBezTo>
                    <a:pt x="544" y="286"/>
                    <a:pt x="545" y="283"/>
                    <a:pt x="547" y="281"/>
                  </a:cubicBezTo>
                  <a:cubicBezTo>
                    <a:pt x="547" y="281"/>
                    <a:pt x="547" y="280"/>
                    <a:pt x="547" y="280"/>
                  </a:cubicBezTo>
                  <a:cubicBezTo>
                    <a:pt x="549" y="277"/>
                    <a:pt x="551" y="274"/>
                    <a:pt x="553" y="272"/>
                  </a:cubicBezTo>
                  <a:cubicBezTo>
                    <a:pt x="555" y="270"/>
                    <a:pt x="557" y="269"/>
                    <a:pt x="559" y="267"/>
                  </a:cubicBezTo>
                  <a:cubicBezTo>
                    <a:pt x="562" y="266"/>
                    <a:pt x="562" y="266"/>
                    <a:pt x="562" y="266"/>
                  </a:cubicBezTo>
                  <a:lnTo>
                    <a:pt x="551" y="246"/>
                  </a:ln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02" name="Freeform 201"/>
            <p:cNvSpPr>
              <a:spLocks/>
            </p:cNvSpPr>
            <p:nvPr/>
          </p:nvSpPr>
          <p:spPr bwMode="auto">
            <a:xfrm>
              <a:off x="19398486" y="8148830"/>
              <a:ext cx="82070" cy="78396"/>
            </a:xfrm>
            <a:custGeom>
              <a:avLst/>
              <a:gdLst>
                <a:gd name="T0" fmla="*/ 13 w 15"/>
                <a:gd name="T1" fmla="*/ 2 h 16"/>
                <a:gd name="T2" fmla="*/ 9 w 15"/>
                <a:gd name="T3" fmla="*/ 0 h 16"/>
                <a:gd name="T4" fmla="*/ 5 w 15"/>
                <a:gd name="T5" fmla="*/ 0 h 16"/>
                <a:gd name="T6" fmla="*/ 0 w 15"/>
                <a:gd name="T7" fmla="*/ 8 h 16"/>
                <a:gd name="T8" fmla="*/ 5 w 15"/>
                <a:gd name="T9" fmla="*/ 15 h 16"/>
                <a:gd name="T10" fmla="*/ 8 w 15"/>
                <a:gd name="T11" fmla="*/ 16 h 16"/>
                <a:gd name="T12" fmla="*/ 15 w 15"/>
                <a:gd name="T13" fmla="*/ 8 h 16"/>
                <a:gd name="T14" fmla="*/ 13 w 15"/>
                <a:gd name="T15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6">
                  <a:moveTo>
                    <a:pt x="13" y="2"/>
                  </a:moveTo>
                  <a:cubicBezTo>
                    <a:pt x="12" y="0"/>
                    <a:pt x="10" y="0"/>
                    <a:pt x="9" y="0"/>
                  </a:cubicBezTo>
                  <a:cubicBezTo>
                    <a:pt x="8" y="0"/>
                    <a:pt x="7" y="0"/>
                    <a:pt x="5" y="0"/>
                  </a:cubicBezTo>
                  <a:cubicBezTo>
                    <a:pt x="2" y="2"/>
                    <a:pt x="0" y="5"/>
                    <a:pt x="0" y="8"/>
                  </a:cubicBezTo>
                  <a:cubicBezTo>
                    <a:pt x="0" y="11"/>
                    <a:pt x="2" y="14"/>
                    <a:pt x="5" y="15"/>
                  </a:cubicBezTo>
                  <a:cubicBezTo>
                    <a:pt x="6" y="16"/>
                    <a:pt x="7" y="16"/>
                    <a:pt x="8" y="16"/>
                  </a:cubicBezTo>
                  <a:cubicBezTo>
                    <a:pt x="11" y="16"/>
                    <a:pt x="14" y="14"/>
                    <a:pt x="15" y="8"/>
                  </a:cubicBezTo>
                  <a:cubicBezTo>
                    <a:pt x="15" y="6"/>
                    <a:pt x="15" y="3"/>
                    <a:pt x="13" y="2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03" name="Freeform 73"/>
            <p:cNvSpPr>
              <a:spLocks/>
            </p:cNvSpPr>
            <p:nvPr/>
          </p:nvSpPr>
          <p:spPr bwMode="auto">
            <a:xfrm>
              <a:off x="18684477" y="4790871"/>
              <a:ext cx="77966" cy="59730"/>
            </a:xfrm>
            <a:custGeom>
              <a:avLst/>
              <a:gdLst>
                <a:gd name="T0" fmla="*/ 7 w 14"/>
                <a:gd name="T1" fmla="*/ 0 h 12"/>
                <a:gd name="T2" fmla="*/ 1 w 14"/>
                <a:gd name="T3" fmla="*/ 3 h 12"/>
                <a:gd name="T4" fmla="*/ 3 w 14"/>
                <a:gd name="T5" fmla="*/ 9 h 12"/>
                <a:gd name="T6" fmla="*/ 7 w 14"/>
                <a:gd name="T7" fmla="*/ 11 h 12"/>
                <a:gd name="T8" fmla="*/ 9 w 14"/>
                <a:gd name="T9" fmla="*/ 12 h 12"/>
                <a:gd name="T10" fmla="*/ 9 w 14"/>
                <a:gd name="T11" fmla="*/ 12 h 12"/>
                <a:gd name="T12" fmla="*/ 13 w 14"/>
                <a:gd name="T13" fmla="*/ 10 h 12"/>
                <a:gd name="T14" fmla="*/ 14 w 14"/>
                <a:gd name="T15" fmla="*/ 6 h 12"/>
                <a:gd name="T16" fmla="*/ 7 w 14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2">
                  <a:moveTo>
                    <a:pt x="7" y="0"/>
                  </a:moveTo>
                  <a:cubicBezTo>
                    <a:pt x="4" y="0"/>
                    <a:pt x="2" y="1"/>
                    <a:pt x="1" y="3"/>
                  </a:cubicBezTo>
                  <a:cubicBezTo>
                    <a:pt x="1" y="4"/>
                    <a:pt x="0" y="6"/>
                    <a:pt x="3" y="9"/>
                  </a:cubicBezTo>
                  <a:cubicBezTo>
                    <a:pt x="4" y="10"/>
                    <a:pt x="5" y="10"/>
                    <a:pt x="7" y="11"/>
                  </a:cubicBezTo>
                  <a:cubicBezTo>
                    <a:pt x="8" y="11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1" y="12"/>
                    <a:pt x="12" y="11"/>
                    <a:pt x="13" y="10"/>
                  </a:cubicBezTo>
                  <a:cubicBezTo>
                    <a:pt x="14" y="9"/>
                    <a:pt x="14" y="8"/>
                    <a:pt x="14" y="6"/>
                  </a:cubicBezTo>
                  <a:cubicBezTo>
                    <a:pt x="14" y="2"/>
                    <a:pt x="11" y="0"/>
                    <a:pt x="7" y="0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04" name="Freeform 74"/>
            <p:cNvSpPr>
              <a:spLocks/>
            </p:cNvSpPr>
            <p:nvPr/>
          </p:nvSpPr>
          <p:spPr bwMode="auto">
            <a:xfrm>
              <a:off x="18298748" y="5138053"/>
              <a:ext cx="82070" cy="134393"/>
            </a:xfrm>
            <a:custGeom>
              <a:avLst/>
              <a:gdLst>
                <a:gd name="T0" fmla="*/ 15 w 15"/>
                <a:gd name="T1" fmla="*/ 7 h 27"/>
                <a:gd name="T2" fmla="*/ 8 w 15"/>
                <a:gd name="T3" fmla="*/ 0 h 27"/>
                <a:gd name="T4" fmla="*/ 7 w 15"/>
                <a:gd name="T5" fmla="*/ 0 h 27"/>
                <a:gd name="T6" fmla="*/ 2 w 15"/>
                <a:gd name="T7" fmla="*/ 6 h 27"/>
                <a:gd name="T8" fmla="*/ 1 w 15"/>
                <a:gd name="T9" fmla="*/ 7 h 27"/>
                <a:gd name="T10" fmla="*/ 1 w 15"/>
                <a:gd name="T11" fmla="*/ 8 h 27"/>
                <a:gd name="T12" fmla="*/ 0 w 15"/>
                <a:gd name="T13" fmla="*/ 13 h 27"/>
                <a:gd name="T14" fmla="*/ 0 w 15"/>
                <a:gd name="T15" fmla="*/ 15 h 27"/>
                <a:gd name="T16" fmla="*/ 3 w 15"/>
                <a:gd name="T17" fmla="*/ 25 h 27"/>
                <a:gd name="T18" fmla="*/ 7 w 15"/>
                <a:gd name="T19" fmla="*/ 27 h 27"/>
                <a:gd name="T20" fmla="*/ 10 w 15"/>
                <a:gd name="T21" fmla="*/ 25 h 27"/>
                <a:gd name="T22" fmla="*/ 15 w 15"/>
                <a:gd name="T2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27">
                  <a:moveTo>
                    <a:pt x="15" y="7"/>
                  </a:moveTo>
                  <a:cubicBezTo>
                    <a:pt x="14" y="4"/>
                    <a:pt x="12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2" y="4"/>
                    <a:pt x="2" y="6"/>
                  </a:cubicBezTo>
                  <a:cubicBezTo>
                    <a:pt x="2" y="6"/>
                    <a:pt x="2" y="7"/>
                    <a:pt x="1" y="7"/>
                  </a:cubicBezTo>
                  <a:cubicBezTo>
                    <a:pt x="1" y="7"/>
                    <a:pt x="1" y="8"/>
                    <a:pt x="1" y="8"/>
                  </a:cubicBezTo>
                  <a:cubicBezTo>
                    <a:pt x="1" y="9"/>
                    <a:pt x="0" y="11"/>
                    <a:pt x="0" y="13"/>
                  </a:cubicBez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1" y="23"/>
                    <a:pt x="3" y="25"/>
                  </a:cubicBezTo>
                  <a:cubicBezTo>
                    <a:pt x="4" y="26"/>
                    <a:pt x="5" y="27"/>
                    <a:pt x="7" y="27"/>
                  </a:cubicBezTo>
                  <a:cubicBezTo>
                    <a:pt x="8" y="27"/>
                    <a:pt x="9" y="26"/>
                    <a:pt x="10" y="25"/>
                  </a:cubicBezTo>
                  <a:cubicBezTo>
                    <a:pt x="14" y="21"/>
                    <a:pt x="15" y="9"/>
                    <a:pt x="15" y="7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05" name="Freeform 75"/>
            <p:cNvSpPr>
              <a:spLocks/>
            </p:cNvSpPr>
            <p:nvPr/>
          </p:nvSpPr>
          <p:spPr bwMode="auto">
            <a:xfrm>
              <a:off x="15851012" y="3486139"/>
              <a:ext cx="769406" cy="625301"/>
            </a:xfrm>
            <a:custGeom>
              <a:avLst/>
              <a:gdLst>
                <a:gd name="T0" fmla="*/ 136 w 141"/>
                <a:gd name="T1" fmla="*/ 61 h 126"/>
                <a:gd name="T2" fmla="*/ 132 w 141"/>
                <a:gd name="T3" fmla="*/ 44 h 126"/>
                <a:gd name="T4" fmla="*/ 115 w 141"/>
                <a:gd name="T5" fmla="*/ 36 h 126"/>
                <a:gd name="T6" fmla="*/ 106 w 141"/>
                <a:gd name="T7" fmla="*/ 30 h 126"/>
                <a:gd name="T8" fmla="*/ 99 w 141"/>
                <a:gd name="T9" fmla="*/ 14 h 126"/>
                <a:gd name="T10" fmla="*/ 84 w 141"/>
                <a:gd name="T11" fmla="*/ 8 h 126"/>
                <a:gd name="T12" fmla="*/ 70 w 141"/>
                <a:gd name="T13" fmla="*/ 2 h 126"/>
                <a:gd name="T14" fmla="*/ 61 w 141"/>
                <a:gd name="T15" fmla="*/ 1 h 126"/>
                <a:gd name="T16" fmla="*/ 56 w 141"/>
                <a:gd name="T17" fmla="*/ 8 h 126"/>
                <a:gd name="T18" fmla="*/ 55 w 141"/>
                <a:gd name="T19" fmla="*/ 20 h 126"/>
                <a:gd name="T20" fmla="*/ 49 w 141"/>
                <a:gd name="T21" fmla="*/ 33 h 126"/>
                <a:gd name="T22" fmla="*/ 38 w 141"/>
                <a:gd name="T23" fmla="*/ 40 h 126"/>
                <a:gd name="T24" fmla="*/ 33 w 141"/>
                <a:gd name="T25" fmla="*/ 45 h 126"/>
                <a:gd name="T26" fmla="*/ 32 w 141"/>
                <a:gd name="T27" fmla="*/ 48 h 126"/>
                <a:gd name="T28" fmla="*/ 25 w 141"/>
                <a:gd name="T29" fmla="*/ 50 h 126"/>
                <a:gd name="T30" fmla="*/ 21 w 141"/>
                <a:gd name="T31" fmla="*/ 57 h 126"/>
                <a:gd name="T32" fmla="*/ 14 w 141"/>
                <a:gd name="T33" fmla="*/ 60 h 126"/>
                <a:gd name="T34" fmla="*/ 9 w 141"/>
                <a:gd name="T35" fmla="*/ 64 h 126"/>
                <a:gd name="T36" fmla="*/ 4 w 141"/>
                <a:gd name="T37" fmla="*/ 81 h 126"/>
                <a:gd name="T38" fmla="*/ 6 w 141"/>
                <a:gd name="T39" fmla="*/ 85 h 126"/>
                <a:gd name="T40" fmla="*/ 10 w 141"/>
                <a:gd name="T41" fmla="*/ 92 h 126"/>
                <a:gd name="T42" fmla="*/ 13 w 141"/>
                <a:gd name="T43" fmla="*/ 103 h 126"/>
                <a:gd name="T44" fmla="*/ 8 w 141"/>
                <a:gd name="T45" fmla="*/ 121 h 126"/>
                <a:gd name="T46" fmla="*/ 17 w 141"/>
                <a:gd name="T47" fmla="*/ 126 h 126"/>
                <a:gd name="T48" fmla="*/ 23 w 141"/>
                <a:gd name="T49" fmla="*/ 125 h 126"/>
                <a:gd name="T50" fmla="*/ 28 w 141"/>
                <a:gd name="T51" fmla="*/ 124 h 126"/>
                <a:gd name="T52" fmla="*/ 36 w 141"/>
                <a:gd name="T53" fmla="*/ 123 h 126"/>
                <a:gd name="T54" fmla="*/ 44 w 141"/>
                <a:gd name="T55" fmla="*/ 126 h 126"/>
                <a:gd name="T56" fmla="*/ 54 w 141"/>
                <a:gd name="T57" fmla="*/ 119 h 126"/>
                <a:gd name="T58" fmla="*/ 59 w 141"/>
                <a:gd name="T59" fmla="*/ 112 h 126"/>
                <a:gd name="T60" fmla="*/ 67 w 141"/>
                <a:gd name="T61" fmla="*/ 104 h 126"/>
                <a:gd name="T62" fmla="*/ 73 w 141"/>
                <a:gd name="T63" fmla="*/ 105 h 126"/>
                <a:gd name="T64" fmla="*/ 85 w 141"/>
                <a:gd name="T65" fmla="*/ 95 h 126"/>
                <a:gd name="T66" fmla="*/ 94 w 141"/>
                <a:gd name="T67" fmla="*/ 93 h 126"/>
                <a:gd name="T68" fmla="*/ 102 w 141"/>
                <a:gd name="T69" fmla="*/ 91 h 126"/>
                <a:gd name="T70" fmla="*/ 111 w 141"/>
                <a:gd name="T71" fmla="*/ 88 h 126"/>
                <a:gd name="T72" fmla="*/ 118 w 141"/>
                <a:gd name="T73" fmla="*/ 86 h 126"/>
                <a:gd name="T74" fmla="*/ 123 w 141"/>
                <a:gd name="T75" fmla="*/ 86 h 126"/>
                <a:gd name="T76" fmla="*/ 140 w 141"/>
                <a:gd name="T77" fmla="*/ 7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1" h="126">
                  <a:moveTo>
                    <a:pt x="137" y="64"/>
                  </a:moveTo>
                  <a:cubicBezTo>
                    <a:pt x="137" y="63"/>
                    <a:pt x="136" y="62"/>
                    <a:pt x="136" y="61"/>
                  </a:cubicBezTo>
                  <a:cubicBezTo>
                    <a:pt x="135" y="59"/>
                    <a:pt x="135" y="56"/>
                    <a:pt x="135" y="54"/>
                  </a:cubicBezTo>
                  <a:cubicBezTo>
                    <a:pt x="134" y="51"/>
                    <a:pt x="134" y="47"/>
                    <a:pt x="132" y="44"/>
                  </a:cubicBezTo>
                  <a:cubicBezTo>
                    <a:pt x="129" y="37"/>
                    <a:pt x="122" y="36"/>
                    <a:pt x="117" y="36"/>
                  </a:cubicBezTo>
                  <a:cubicBezTo>
                    <a:pt x="116" y="36"/>
                    <a:pt x="116" y="36"/>
                    <a:pt x="115" y="36"/>
                  </a:cubicBezTo>
                  <a:cubicBezTo>
                    <a:pt x="114" y="36"/>
                    <a:pt x="114" y="36"/>
                    <a:pt x="113" y="36"/>
                  </a:cubicBezTo>
                  <a:cubicBezTo>
                    <a:pt x="110" y="36"/>
                    <a:pt x="108" y="35"/>
                    <a:pt x="106" y="30"/>
                  </a:cubicBezTo>
                  <a:cubicBezTo>
                    <a:pt x="105" y="28"/>
                    <a:pt x="104" y="27"/>
                    <a:pt x="103" y="25"/>
                  </a:cubicBezTo>
                  <a:cubicBezTo>
                    <a:pt x="102" y="21"/>
                    <a:pt x="100" y="18"/>
                    <a:pt x="99" y="14"/>
                  </a:cubicBezTo>
                  <a:cubicBezTo>
                    <a:pt x="97" y="11"/>
                    <a:pt x="92" y="10"/>
                    <a:pt x="88" y="9"/>
                  </a:cubicBezTo>
                  <a:cubicBezTo>
                    <a:pt x="87" y="8"/>
                    <a:pt x="85" y="8"/>
                    <a:pt x="84" y="8"/>
                  </a:cubicBezTo>
                  <a:cubicBezTo>
                    <a:pt x="82" y="7"/>
                    <a:pt x="80" y="6"/>
                    <a:pt x="78" y="5"/>
                  </a:cubicBezTo>
                  <a:cubicBezTo>
                    <a:pt x="76" y="4"/>
                    <a:pt x="73" y="3"/>
                    <a:pt x="70" y="2"/>
                  </a:cubicBezTo>
                  <a:cubicBezTo>
                    <a:pt x="68" y="1"/>
                    <a:pt x="66" y="0"/>
                    <a:pt x="63" y="0"/>
                  </a:cubicBezTo>
                  <a:cubicBezTo>
                    <a:pt x="62" y="0"/>
                    <a:pt x="61" y="1"/>
                    <a:pt x="61" y="1"/>
                  </a:cubicBezTo>
                  <a:cubicBezTo>
                    <a:pt x="57" y="2"/>
                    <a:pt x="56" y="5"/>
                    <a:pt x="56" y="7"/>
                  </a:cubicBezTo>
                  <a:cubicBezTo>
                    <a:pt x="56" y="7"/>
                    <a:pt x="56" y="8"/>
                    <a:pt x="56" y="8"/>
                  </a:cubicBezTo>
                  <a:cubicBezTo>
                    <a:pt x="55" y="11"/>
                    <a:pt x="55" y="14"/>
                    <a:pt x="56" y="16"/>
                  </a:cubicBezTo>
                  <a:cubicBezTo>
                    <a:pt x="56" y="18"/>
                    <a:pt x="55" y="19"/>
                    <a:pt x="55" y="20"/>
                  </a:cubicBezTo>
                  <a:cubicBezTo>
                    <a:pt x="55" y="22"/>
                    <a:pt x="55" y="23"/>
                    <a:pt x="54" y="24"/>
                  </a:cubicBezTo>
                  <a:cubicBezTo>
                    <a:pt x="54" y="27"/>
                    <a:pt x="51" y="31"/>
                    <a:pt x="49" y="33"/>
                  </a:cubicBezTo>
                  <a:cubicBezTo>
                    <a:pt x="47" y="34"/>
                    <a:pt x="45" y="35"/>
                    <a:pt x="44" y="36"/>
                  </a:cubicBezTo>
                  <a:cubicBezTo>
                    <a:pt x="42" y="37"/>
                    <a:pt x="40" y="39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6" y="42"/>
                    <a:pt x="34" y="43"/>
                    <a:pt x="33" y="45"/>
                  </a:cubicBezTo>
                  <a:cubicBezTo>
                    <a:pt x="33" y="46"/>
                    <a:pt x="33" y="46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9"/>
                    <a:pt x="31" y="49"/>
                    <a:pt x="30" y="49"/>
                  </a:cubicBezTo>
                  <a:cubicBezTo>
                    <a:pt x="29" y="49"/>
                    <a:pt x="27" y="49"/>
                    <a:pt x="25" y="50"/>
                  </a:cubicBezTo>
                  <a:cubicBezTo>
                    <a:pt x="24" y="51"/>
                    <a:pt x="23" y="53"/>
                    <a:pt x="22" y="55"/>
                  </a:cubicBezTo>
                  <a:cubicBezTo>
                    <a:pt x="21" y="55"/>
                    <a:pt x="21" y="56"/>
                    <a:pt x="21" y="57"/>
                  </a:cubicBezTo>
                  <a:cubicBezTo>
                    <a:pt x="20" y="57"/>
                    <a:pt x="19" y="58"/>
                    <a:pt x="18" y="58"/>
                  </a:cubicBezTo>
                  <a:cubicBezTo>
                    <a:pt x="17" y="59"/>
                    <a:pt x="16" y="59"/>
                    <a:pt x="14" y="60"/>
                  </a:cubicBezTo>
                  <a:cubicBezTo>
                    <a:pt x="13" y="61"/>
                    <a:pt x="12" y="61"/>
                    <a:pt x="11" y="62"/>
                  </a:cubicBezTo>
                  <a:cubicBezTo>
                    <a:pt x="10" y="63"/>
                    <a:pt x="9" y="63"/>
                    <a:pt x="9" y="64"/>
                  </a:cubicBezTo>
                  <a:cubicBezTo>
                    <a:pt x="5" y="66"/>
                    <a:pt x="1" y="69"/>
                    <a:pt x="0" y="75"/>
                  </a:cubicBezTo>
                  <a:cubicBezTo>
                    <a:pt x="0" y="79"/>
                    <a:pt x="2" y="81"/>
                    <a:pt x="4" y="81"/>
                  </a:cubicBezTo>
                  <a:cubicBezTo>
                    <a:pt x="5" y="82"/>
                    <a:pt x="5" y="82"/>
                    <a:pt x="5" y="83"/>
                  </a:cubicBezTo>
                  <a:cubicBezTo>
                    <a:pt x="6" y="83"/>
                    <a:pt x="6" y="84"/>
                    <a:pt x="6" y="85"/>
                  </a:cubicBezTo>
                  <a:cubicBezTo>
                    <a:pt x="6" y="86"/>
                    <a:pt x="6" y="87"/>
                    <a:pt x="7" y="89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3"/>
                    <a:pt x="10" y="93"/>
                    <a:pt x="11" y="93"/>
                  </a:cubicBezTo>
                  <a:cubicBezTo>
                    <a:pt x="13" y="97"/>
                    <a:pt x="14" y="100"/>
                    <a:pt x="13" y="103"/>
                  </a:cubicBezTo>
                  <a:cubicBezTo>
                    <a:pt x="13" y="106"/>
                    <a:pt x="12" y="110"/>
                    <a:pt x="10" y="113"/>
                  </a:cubicBezTo>
                  <a:cubicBezTo>
                    <a:pt x="9" y="115"/>
                    <a:pt x="7" y="118"/>
                    <a:pt x="8" y="121"/>
                  </a:cubicBezTo>
                  <a:cubicBezTo>
                    <a:pt x="9" y="122"/>
                    <a:pt x="10" y="124"/>
                    <a:pt x="12" y="125"/>
                  </a:cubicBezTo>
                  <a:cubicBezTo>
                    <a:pt x="13" y="126"/>
                    <a:pt x="15" y="126"/>
                    <a:pt x="17" y="126"/>
                  </a:cubicBezTo>
                  <a:cubicBezTo>
                    <a:pt x="17" y="126"/>
                    <a:pt x="17" y="126"/>
                    <a:pt x="17" y="126"/>
                  </a:cubicBezTo>
                  <a:cubicBezTo>
                    <a:pt x="19" y="126"/>
                    <a:pt x="21" y="126"/>
                    <a:pt x="23" y="125"/>
                  </a:cubicBezTo>
                  <a:cubicBezTo>
                    <a:pt x="24" y="125"/>
                    <a:pt x="26" y="124"/>
                    <a:pt x="27" y="124"/>
                  </a:cubicBezTo>
                  <a:cubicBezTo>
                    <a:pt x="28" y="124"/>
                    <a:pt x="28" y="124"/>
                    <a:pt x="28" y="124"/>
                  </a:cubicBezTo>
                  <a:cubicBezTo>
                    <a:pt x="30" y="124"/>
                    <a:pt x="32" y="123"/>
                    <a:pt x="34" y="123"/>
                  </a:cubicBezTo>
                  <a:cubicBezTo>
                    <a:pt x="34" y="123"/>
                    <a:pt x="35" y="123"/>
                    <a:pt x="36" y="123"/>
                  </a:cubicBezTo>
                  <a:cubicBezTo>
                    <a:pt x="36" y="124"/>
                    <a:pt x="37" y="124"/>
                    <a:pt x="38" y="124"/>
                  </a:cubicBezTo>
                  <a:cubicBezTo>
                    <a:pt x="40" y="125"/>
                    <a:pt x="42" y="126"/>
                    <a:pt x="44" y="126"/>
                  </a:cubicBezTo>
                  <a:cubicBezTo>
                    <a:pt x="44" y="126"/>
                    <a:pt x="45" y="126"/>
                    <a:pt x="45" y="126"/>
                  </a:cubicBezTo>
                  <a:cubicBezTo>
                    <a:pt x="50" y="126"/>
                    <a:pt x="52" y="122"/>
                    <a:pt x="54" y="119"/>
                  </a:cubicBezTo>
                  <a:cubicBezTo>
                    <a:pt x="55" y="118"/>
                    <a:pt x="56" y="117"/>
                    <a:pt x="56" y="116"/>
                  </a:cubicBezTo>
                  <a:cubicBezTo>
                    <a:pt x="57" y="114"/>
                    <a:pt x="58" y="113"/>
                    <a:pt x="59" y="112"/>
                  </a:cubicBezTo>
                  <a:cubicBezTo>
                    <a:pt x="61" y="109"/>
                    <a:pt x="63" y="106"/>
                    <a:pt x="66" y="104"/>
                  </a:cubicBezTo>
                  <a:cubicBezTo>
                    <a:pt x="66" y="104"/>
                    <a:pt x="67" y="104"/>
                    <a:pt x="67" y="104"/>
                  </a:cubicBezTo>
                  <a:cubicBezTo>
                    <a:pt x="68" y="105"/>
                    <a:pt x="70" y="105"/>
                    <a:pt x="71" y="105"/>
                  </a:cubicBezTo>
                  <a:cubicBezTo>
                    <a:pt x="72" y="105"/>
                    <a:pt x="72" y="105"/>
                    <a:pt x="73" y="105"/>
                  </a:cubicBezTo>
                  <a:cubicBezTo>
                    <a:pt x="77" y="104"/>
                    <a:pt x="80" y="101"/>
                    <a:pt x="82" y="98"/>
                  </a:cubicBezTo>
                  <a:cubicBezTo>
                    <a:pt x="83" y="97"/>
                    <a:pt x="84" y="96"/>
                    <a:pt x="85" y="95"/>
                  </a:cubicBezTo>
                  <a:cubicBezTo>
                    <a:pt x="86" y="94"/>
                    <a:pt x="87" y="94"/>
                    <a:pt x="89" y="94"/>
                  </a:cubicBezTo>
                  <a:cubicBezTo>
                    <a:pt x="91" y="93"/>
                    <a:pt x="92" y="93"/>
                    <a:pt x="94" y="93"/>
                  </a:cubicBezTo>
                  <a:cubicBezTo>
                    <a:pt x="94" y="93"/>
                    <a:pt x="95" y="92"/>
                    <a:pt x="96" y="92"/>
                  </a:cubicBezTo>
                  <a:cubicBezTo>
                    <a:pt x="98" y="92"/>
                    <a:pt x="100" y="92"/>
                    <a:pt x="102" y="91"/>
                  </a:cubicBezTo>
                  <a:cubicBezTo>
                    <a:pt x="103" y="91"/>
                    <a:pt x="103" y="91"/>
                    <a:pt x="103" y="91"/>
                  </a:cubicBezTo>
                  <a:cubicBezTo>
                    <a:pt x="106" y="90"/>
                    <a:pt x="109" y="89"/>
                    <a:pt x="111" y="88"/>
                  </a:cubicBezTo>
                  <a:cubicBezTo>
                    <a:pt x="113" y="87"/>
                    <a:pt x="114" y="87"/>
                    <a:pt x="115" y="86"/>
                  </a:cubicBezTo>
                  <a:cubicBezTo>
                    <a:pt x="116" y="86"/>
                    <a:pt x="117" y="86"/>
                    <a:pt x="118" y="86"/>
                  </a:cubicBezTo>
                  <a:cubicBezTo>
                    <a:pt x="118" y="86"/>
                    <a:pt x="119" y="86"/>
                    <a:pt x="120" y="86"/>
                  </a:cubicBezTo>
                  <a:cubicBezTo>
                    <a:pt x="121" y="86"/>
                    <a:pt x="122" y="86"/>
                    <a:pt x="123" y="86"/>
                  </a:cubicBezTo>
                  <a:cubicBezTo>
                    <a:pt x="125" y="86"/>
                    <a:pt x="125" y="86"/>
                    <a:pt x="125" y="86"/>
                  </a:cubicBezTo>
                  <a:cubicBezTo>
                    <a:pt x="130" y="86"/>
                    <a:pt x="138" y="86"/>
                    <a:pt x="140" y="79"/>
                  </a:cubicBezTo>
                  <a:cubicBezTo>
                    <a:pt x="141" y="74"/>
                    <a:pt x="139" y="69"/>
                    <a:pt x="137" y="64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06" name="Freeform 76"/>
            <p:cNvSpPr>
              <a:spLocks/>
            </p:cNvSpPr>
            <p:nvPr/>
          </p:nvSpPr>
          <p:spPr bwMode="auto">
            <a:xfrm>
              <a:off x="18315162" y="5563631"/>
              <a:ext cx="675025" cy="580503"/>
            </a:xfrm>
            <a:custGeom>
              <a:avLst/>
              <a:gdLst>
                <a:gd name="T0" fmla="*/ 116 w 124"/>
                <a:gd name="T1" fmla="*/ 72 h 117"/>
                <a:gd name="T2" fmla="*/ 107 w 124"/>
                <a:gd name="T3" fmla="*/ 67 h 117"/>
                <a:gd name="T4" fmla="*/ 101 w 124"/>
                <a:gd name="T5" fmla="*/ 68 h 117"/>
                <a:gd name="T6" fmla="*/ 98 w 124"/>
                <a:gd name="T7" fmla="*/ 66 h 117"/>
                <a:gd name="T8" fmla="*/ 95 w 124"/>
                <a:gd name="T9" fmla="*/ 60 h 117"/>
                <a:gd name="T10" fmla="*/ 82 w 124"/>
                <a:gd name="T11" fmla="*/ 46 h 117"/>
                <a:gd name="T12" fmla="*/ 78 w 124"/>
                <a:gd name="T13" fmla="*/ 45 h 117"/>
                <a:gd name="T14" fmla="*/ 75 w 124"/>
                <a:gd name="T15" fmla="*/ 44 h 117"/>
                <a:gd name="T16" fmla="*/ 72 w 124"/>
                <a:gd name="T17" fmla="*/ 41 h 117"/>
                <a:gd name="T18" fmla="*/ 58 w 124"/>
                <a:gd name="T19" fmla="*/ 31 h 117"/>
                <a:gd name="T20" fmla="*/ 52 w 124"/>
                <a:gd name="T21" fmla="*/ 28 h 117"/>
                <a:gd name="T22" fmla="*/ 44 w 124"/>
                <a:gd name="T23" fmla="*/ 22 h 117"/>
                <a:gd name="T24" fmla="*/ 39 w 124"/>
                <a:gd name="T25" fmla="*/ 25 h 117"/>
                <a:gd name="T26" fmla="*/ 37 w 124"/>
                <a:gd name="T27" fmla="*/ 20 h 117"/>
                <a:gd name="T28" fmla="*/ 40 w 124"/>
                <a:gd name="T29" fmla="*/ 21 h 117"/>
                <a:gd name="T30" fmla="*/ 42 w 124"/>
                <a:gd name="T31" fmla="*/ 8 h 117"/>
                <a:gd name="T32" fmla="*/ 41 w 124"/>
                <a:gd name="T33" fmla="*/ 6 h 117"/>
                <a:gd name="T34" fmla="*/ 29 w 124"/>
                <a:gd name="T35" fmla="*/ 6 h 117"/>
                <a:gd name="T36" fmla="*/ 27 w 124"/>
                <a:gd name="T37" fmla="*/ 6 h 117"/>
                <a:gd name="T38" fmla="*/ 16 w 124"/>
                <a:gd name="T39" fmla="*/ 23 h 117"/>
                <a:gd name="T40" fmla="*/ 15 w 124"/>
                <a:gd name="T41" fmla="*/ 39 h 117"/>
                <a:gd name="T42" fmla="*/ 15 w 124"/>
                <a:gd name="T43" fmla="*/ 71 h 117"/>
                <a:gd name="T44" fmla="*/ 10 w 124"/>
                <a:gd name="T45" fmla="*/ 81 h 117"/>
                <a:gd name="T46" fmla="*/ 2 w 124"/>
                <a:gd name="T47" fmla="*/ 100 h 117"/>
                <a:gd name="T48" fmla="*/ 21 w 124"/>
                <a:gd name="T49" fmla="*/ 98 h 117"/>
                <a:gd name="T50" fmla="*/ 27 w 124"/>
                <a:gd name="T51" fmla="*/ 95 h 117"/>
                <a:gd name="T52" fmla="*/ 29 w 124"/>
                <a:gd name="T53" fmla="*/ 103 h 117"/>
                <a:gd name="T54" fmla="*/ 30 w 124"/>
                <a:gd name="T55" fmla="*/ 113 h 117"/>
                <a:gd name="T56" fmla="*/ 46 w 124"/>
                <a:gd name="T57" fmla="*/ 112 h 117"/>
                <a:gd name="T58" fmla="*/ 52 w 124"/>
                <a:gd name="T59" fmla="*/ 106 h 117"/>
                <a:gd name="T60" fmla="*/ 56 w 124"/>
                <a:gd name="T61" fmla="*/ 98 h 117"/>
                <a:gd name="T62" fmla="*/ 66 w 124"/>
                <a:gd name="T63" fmla="*/ 83 h 117"/>
                <a:gd name="T64" fmla="*/ 67 w 124"/>
                <a:gd name="T65" fmla="*/ 77 h 117"/>
                <a:gd name="T66" fmla="*/ 71 w 124"/>
                <a:gd name="T67" fmla="*/ 76 h 117"/>
                <a:gd name="T68" fmla="*/ 72 w 124"/>
                <a:gd name="T69" fmla="*/ 79 h 117"/>
                <a:gd name="T70" fmla="*/ 76 w 124"/>
                <a:gd name="T71" fmla="*/ 82 h 117"/>
                <a:gd name="T72" fmla="*/ 81 w 124"/>
                <a:gd name="T73" fmla="*/ 81 h 117"/>
                <a:gd name="T74" fmla="*/ 82 w 124"/>
                <a:gd name="T75" fmla="*/ 81 h 117"/>
                <a:gd name="T76" fmla="*/ 80 w 124"/>
                <a:gd name="T77" fmla="*/ 88 h 117"/>
                <a:gd name="T78" fmla="*/ 90 w 124"/>
                <a:gd name="T79" fmla="*/ 91 h 117"/>
                <a:gd name="T80" fmla="*/ 96 w 124"/>
                <a:gd name="T81" fmla="*/ 93 h 117"/>
                <a:gd name="T82" fmla="*/ 105 w 124"/>
                <a:gd name="T83" fmla="*/ 96 h 117"/>
                <a:gd name="T84" fmla="*/ 124 w 124"/>
                <a:gd name="T85" fmla="*/ 8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4" h="117">
                  <a:moveTo>
                    <a:pt x="120" y="75"/>
                  </a:moveTo>
                  <a:cubicBezTo>
                    <a:pt x="119" y="74"/>
                    <a:pt x="118" y="73"/>
                    <a:pt x="116" y="72"/>
                  </a:cubicBezTo>
                  <a:cubicBezTo>
                    <a:pt x="115" y="71"/>
                    <a:pt x="114" y="70"/>
                    <a:pt x="113" y="69"/>
                  </a:cubicBezTo>
                  <a:cubicBezTo>
                    <a:pt x="111" y="67"/>
                    <a:pt x="110" y="67"/>
                    <a:pt x="107" y="67"/>
                  </a:cubicBezTo>
                  <a:cubicBezTo>
                    <a:pt x="106" y="67"/>
                    <a:pt x="104" y="67"/>
                    <a:pt x="103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100" y="68"/>
                    <a:pt x="99" y="68"/>
                    <a:pt x="98" y="68"/>
                  </a:cubicBezTo>
                  <a:cubicBezTo>
                    <a:pt x="98" y="68"/>
                    <a:pt x="98" y="67"/>
                    <a:pt x="98" y="66"/>
                  </a:cubicBezTo>
                  <a:cubicBezTo>
                    <a:pt x="97" y="65"/>
                    <a:pt x="97" y="63"/>
                    <a:pt x="96" y="62"/>
                  </a:cubicBezTo>
                  <a:cubicBezTo>
                    <a:pt x="95" y="61"/>
                    <a:pt x="95" y="60"/>
                    <a:pt x="95" y="60"/>
                  </a:cubicBezTo>
                  <a:cubicBezTo>
                    <a:pt x="94" y="52"/>
                    <a:pt x="90" y="47"/>
                    <a:pt x="83" y="46"/>
                  </a:cubicBezTo>
                  <a:cubicBezTo>
                    <a:pt x="83" y="46"/>
                    <a:pt x="82" y="46"/>
                    <a:pt x="82" y="46"/>
                  </a:cubicBezTo>
                  <a:cubicBezTo>
                    <a:pt x="81" y="46"/>
                    <a:pt x="80" y="46"/>
                    <a:pt x="79" y="46"/>
                  </a:cubicBezTo>
                  <a:cubicBezTo>
                    <a:pt x="79" y="46"/>
                    <a:pt x="79" y="46"/>
                    <a:pt x="78" y="45"/>
                  </a:cubicBezTo>
                  <a:cubicBezTo>
                    <a:pt x="77" y="45"/>
                    <a:pt x="77" y="45"/>
                    <a:pt x="76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3" y="44"/>
                    <a:pt x="73" y="44"/>
                    <a:pt x="73" y="43"/>
                  </a:cubicBezTo>
                  <a:cubicBezTo>
                    <a:pt x="72" y="43"/>
                    <a:pt x="72" y="42"/>
                    <a:pt x="72" y="41"/>
                  </a:cubicBezTo>
                  <a:cubicBezTo>
                    <a:pt x="71" y="40"/>
                    <a:pt x="71" y="38"/>
                    <a:pt x="69" y="37"/>
                  </a:cubicBezTo>
                  <a:cubicBezTo>
                    <a:pt x="68" y="36"/>
                    <a:pt x="64" y="32"/>
                    <a:pt x="58" y="31"/>
                  </a:cubicBezTo>
                  <a:cubicBezTo>
                    <a:pt x="56" y="31"/>
                    <a:pt x="55" y="31"/>
                    <a:pt x="53" y="29"/>
                  </a:cubicBezTo>
                  <a:cubicBezTo>
                    <a:pt x="53" y="28"/>
                    <a:pt x="53" y="28"/>
                    <a:pt x="52" y="28"/>
                  </a:cubicBezTo>
                  <a:cubicBezTo>
                    <a:pt x="51" y="25"/>
                    <a:pt x="49" y="22"/>
                    <a:pt x="45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2" y="22"/>
                    <a:pt x="40" y="24"/>
                    <a:pt x="40" y="24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8" y="25"/>
                    <a:pt x="38" y="25"/>
                  </a:cubicBezTo>
                  <a:cubicBezTo>
                    <a:pt x="38" y="25"/>
                    <a:pt x="37" y="22"/>
                    <a:pt x="37" y="20"/>
                  </a:cubicBezTo>
                  <a:cubicBezTo>
                    <a:pt x="38" y="20"/>
                    <a:pt x="39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2" y="21"/>
                    <a:pt x="43" y="20"/>
                    <a:pt x="44" y="19"/>
                  </a:cubicBezTo>
                  <a:cubicBezTo>
                    <a:pt x="48" y="15"/>
                    <a:pt x="43" y="10"/>
                    <a:pt x="42" y="8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6"/>
                    <a:pt x="41" y="6"/>
                  </a:cubicBezTo>
                  <a:cubicBezTo>
                    <a:pt x="40" y="4"/>
                    <a:pt x="39" y="0"/>
                    <a:pt x="35" y="0"/>
                  </a:cubicBezTo>
                  <a:cubicBezTo>
                    <a:pt x="31" y="0"/>
                    <a:pt x="29" y="3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8" y="6"/>
                    <a:pt x="28" y="6"/>
                    <a:pt x="27" y="6"/>
                  </a:cubicBezTo>
                  <a:cubicBezTo>
                    <a:pt x="26" y="6"/>
                    <a:pt x="24" y="7"/>
                    <a:pt x="23" y="7"/>
                  </a:cubicBezTo>
                  <a:cubicBezTo>
                    <a:pt x="16" y="11"/>
                    <a:pt x="16" y="19"/>
                    <a:pt x="16" y="23"/>
                  </a:cubicBezTo>
                  <a:cubicBezTo>
                    <a:pt x="16" y="25"/>
                    <a:pt x="16" y="28"/>
                    <a:pt x="16" y="30"/>
                  </a:cubicBezTo>
                  <a:cubicBezTo>
                    <a:pt x="16" y="33"/>
                    <a:pt x="16" y="36"/>
                    <a:pt x="15" y="39"/>
                  </a:cubicBezTo>
                  <a:cubicBezTo>
                    <a:pt x="15" y="45"/>
                    <a:pt x="15" y="49"/>
                    <a:pt x="14" y="54"/>
                  </a:cubicBezTo>
                  <a:cubicBezTo>
                    <a:pt x="13" y="60"/>
                    <a:pt x="13" y="66"/>
                    <a:pt x="15" y="71"/>
                  </a:cubicBezTo>
                  <a:cubicBezTo>
                    <a:pt x="16" y="76"/>
                    <a:pt x="16" y="78"/>
                    <a:pt x="13" y="80"/>
                  </a:cubicBezTo>
                  <a:cubicBezTo>
                    <a:pt x="12" y="80"/>
                    <a:pt x="11" y="81"/>
                    <a:pt x="10" y="81"/>
                  </a:cubicBezTo>
                  <a:cubicBezTo>
                    <a:pt x="6" y="84"/>
                    <a:pt x="1" y="87"/>
                    <a:pt x="0" y="94"/>
                  </a:cubicBezTo>
                  <a:cubicBezTo>
                    <a:pt x="0" y="96"/>
                    <a:pt x="1" y="99"/>
                    <a:pt x="2" y="100"/>
                  </a:cubicBezTo>
                  <a:cubicBezTo>
                    <a:pt x="3" y="101"/>
                    <a:pt x="5" y="102"/>
                    <a:pt x="7" y="102"/>
                  </a:cubicBezTo>
                  <a:cubicBezTo>
                    <a:pt x="12" y="102"/>
                    <a:pt x="17" y="100"/>
                    <a:pt x="21" y="98"/>
                  </a:cubicBezTo>
                  <a:cubicBezTo>
                    <a:pt x="23" y="97"/>
                    <a:pt x="25" y="96"/>
                    <a:pt x="26" y="95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7" y="95"/>
                    <a:pt x="27" y="95"/>
                    <a:pt x="27" y="96"/>
                  </a:cubicBezTo>
                  <a:cubicBezTo>
                    <a:pt x="29" y="98"/>
                    <a:pt x="29" y="101"/>
                    <a:pt x="29" y="103"/>
                  </a:cubicBezTo>
                  <a:cubicBezTo>
                    <a:pt x="29" y="104"/>
                    <a:pt x="29" y="105"/>
                    <a:pt x="29" y="105"/>
                  </a:cubicBezTo>
                  <a:cubicBezTo>
                    <a:pt x="29" y="108"/>
                    <a:pt x="29" y="110"/>
                    <a:pt x="30" y="113"/>
                  </a:cubicBezTo>
                  <a:cubicBezTo>
                    <a:pt x="32" y="117"/>
                    <a:pt x="35" y="117"/>
                    <a:pt x="36" y="117"/>
                  </a:cubicBezTo>
                  <a:cubicBezTo>
                    <a:pt x="40" y="117"/>
                    <a:pt x="43" y="114"/>
                    <a:pt x="46" y="112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49" y="109"/>
                    <a:pt x="51" y="108"/>
                    <a:pt x="52" y="106"/>
                  </a:cubicBezTo>
                  <a:cubicBezTo>
                    <a:pt x="53" y="104"/>
                    <a:pt x="54" y="102"/>
                    <a:pt x="54" y="101"/>
                  </a:cubicBezTo>
                  <a:cubicBezTo>
                    <a:pt x="55" y="100"/>
                    <a:pt x="55" y="99"/>
                    <a:pt x="56" y="98"/>
                  </a:cubicBezTo>
                  <a:cubicBezTo>
                    <a:pt x="56" y="96"/>
                    <a:pt x="58" y="95"/>
                    <a:pt x="60" y="93"/>
                  </a:cubicBezTo>
                  <a:cubicBezTo>
                    <a:pt x="62" y="91"/>
                    <a:pt x="65" y="88"/>
                    <a:pt x="66" y="83"/>
                  </a:cubicBezTo>
                  <a:cubicBezTo>
                    <a:pt x="66" y="82"/>
                    <a:pt x="66" y="82"/>
                    <a:pt x="66" y="81"/>
                  </a:cubicBezTo>
                  <a:cubicBezTo>
                    <a:pt x="66" y="79"/>
                    <a:pt x="66" y="78"/>
                    <a:pt x="67" y="77"/>
                  </a:cubicBezTo>
                  <a:cubicBezTo>
                    <a:pt x="68" y="76"/>
                    <a:pt x="69" y="75"/>
                    <a:pt x="71" y="75"/>
                  </a:cubicBezTo>
                  <a:cubicBezTo>
                    <a:pt x="71" y="75"/>
                    <a:pt x="71" y="76"/>
                    <a:pt x="71" y="76"/>
                  </a:cubicBezTo>
                  <a:cubicBezTo>
                    <a:pt x="71" y="77"/>
                    <a:pt x="72" y="78"/>
                    <a:pt x="72" y="78"/>
                  </a:cubicBezTo>
                  <a:cubicBezTo>
                    <a:pt x="72" y="78"/>
                    <a:pt x="72" y="79"/>
                    <a:pt x="72" y="79"/>
                  </a:cubicBezTo>
                  <a:cubicBezTo>
                    <a:pt x="72" y="82"/>
                    <a:pt x="72" y="82"/>
                    <a:pt x="72" y="82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8" y="81"/>
                    <a:pt x="80" y="81"/>
                    <a:pt x="81" y="81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2" y="81"/>
                    <a:pt x="82" y="82"/>
                    <a:pt x="81" y="83"/>
                  </a:cubicBezTo>
                  <a:cubicBezTo>
                    <a:pt x="81" y="84"/>
                    <a:pt x="80" y="86"/>
                    <a:pt x="80" y="88"/>
                  </a:cubicBezTo>
                  <a:cubicBezTo>
                    <a:pt x="81" y="90"/>
                    <a:pt x="82" y="92"/>
                    <a:pt x="86" y="92"/>
                  </a:cubicBezTo>
                  <a:cubicBezTo>
                    <a:pt x="87" y="92"/>
                    <a:pt x="89" y="92"/>
                    <a:pt x="90" y="91"/>
                  </a:cubicBezTo>
                  <a:cubicBezTo>
                    <a:pt x="90" y="91"/>
                    <a:pt x="91" y="91"/>
                    <a:pt x="91" y="91"/>
                  </a:cubicBezTo>
                  <a:cubicBezTo>
                    <a:pt x="93" y="91"/>
                    <a:pt x="94" y="92"/>
                    <a:pt x="96" y="93"/>
                  </a:cubicBezTo>
                  <a:cubicBezTo>
                    <a:pt x="97" y="93"/>
                    <a:pt x="98" y="94"/>
                    <a:pt x="99" y="94"/>
                  </a:cubicBezTo>
                  <a:cubicBezTo>
                    <a:pt x="101" y="95"/>
                    <a:pt x="103" y="96"/>
                    <a:pt x="105" y="96"/>
                  </a:cubicBezTo>
                  <a:cubicBezTo>
                    <a:pt x="112" y="96"/>
                    <a:pt x="117" y="90"/>
                    <a:pt x="121" y="86"/>
                  </a:cubicBezTo>
                  <a:cubicBezTo>
                    <a:pt x="122" y="84"/>
                    <a:pt x="124" y="82"/>
                    <a:pt x="124" y="80"/>
                  </a:cubicBezTo>
                  <a:cubicBezTo>
                    <a:pt x="123" y="78"/>
                    <a:pt x="122" y="76"/>
                    <a:pt x="120" y="75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07" name="Freeform 77"/>
            <p:cNvSpPr>
              <a:spLocks/>
            </p:cNvSpPr>
            <p:nvPr/>
          </p:nvSpPr>
          <p:spPr bwMode="auto">
            <a:xfrm>
              <a:off x="18532648" y="5539366"/>
              <a:ext cx="147726" cy="113861"/>
            </a:xfrm>
            <a:custGeom>
              <a:avLst/>
              <a:gdLst>
                <a:gd name="T0" fmla="*/ 6 w 27"/>
                <a:gd name="T1" fmla="*/ 14 h 23"/>
                <a:gd name="T2" fmla="*/ 6 w 27"/>
                <a:gd name="T3" fmla="*/ 15 h 23"/>
                <a:gd name="T4" fmla="*/ 10 w 27"/>
                <a:gd name="T5" fmla="*/ 20 h 23"/>
                <a:gd name="T6" fmla="*/ 11 w 27"/>
                <a:gd name="T7" fmla="*/ 21 h 23"/>
                <a:gd name="T8" fmla="*/ 17 w 27"/>
                <a:gd name="T9" fmla="*/ 23 h 23"/>
                <a:gd name="T10" fmla="*/ 18 w 27"/>
                <a:gd name="T11" fmla="*/ 23 h 23"/>
                <a:gd name="T12" fmla="*/ 19 w 27"/>
                <a:gd name="T13" fmla="*/ 23 h 23"/>
                <a:gd name="T14" fmla="*/ 27 w 27"/>
                <a:gd name="T15" fmla="*/ 18 h 23"/>
                <a:gd name="T16" fmla="*/ 27 w 27"/>
                <a:gd name="T17" fmla="*/ 15 h 23"/>
                <a:gd name="T18" fmla="*/ 24 w 27"/>
                <a:gd name="T19" fmla="*/ 15 h 23"/>
                <a:gd name="T20" fmla="*/ 23 w 27"/>
                <a:gd name="T21" fmla="*/ 14 h 23"/>
                <a:gd name="T22" fmla="*/ 21 w 27"/>
                <a:gd name="T23" fmla="*/ 13 h 23"/>
                <a:gd name="T24" fmla="*/ 19 w 27"/>
                <a:gd name="T25" fmla="*/ 13 h 23"/>
                <a:gd name="T26" fmla="*/ 19 w 27"/>
                <a:gd name="T27" fmla="*/ 13 h 23"/>
                <a:gd name="T28" fmla="*/ 18 w 27"/>
                <a:gd name="T29" fmla="*/ 12 h 23"/>
                <a:gd name="T30" fmla="*/ 18 w 27"/>
                <a:gd name="T31" fmla="*/ 10 h 23"/>
                <a:gd name="T32" fmla="*/ 15 w 27"/>
                <a:gd name="T33" fmla="*/ 6 h 23"/>
                <a:gd name="T34" fmla="*/ 14 w 27"/>
                <a:gd name="T35" fmla="*/ 6 h 23"/>
                <a:gd name="T36" fmla="*/ 13 w 27"/>
                <a:gd name="T37" fmla="*/ 4 h 23"/>
                <a:gd name="T38" fmla="*/ 6 w 27"/>
                <a:gd name="T39" fmla="*/ 0 h 23"/>
                <a:gd name="T40" fmla="*/ 4 w 27"/>
                <a:gd name="T41" fmla="*/ 0 h 23"/>
                <a:gd name="T42" fmla="*/ 1 w 27"/>
                <a:gd name="T43" fmla="*/ 3 h 23"/>
                <a:gd name="T44" fmla="*/ 5 w 27"/>
                <a:gd name="T45" fmla="*/ 13 h 23"/>
                <a:gd name="T46" fmla="*/ 6 w 27"/>
                <a:gd name="T47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23">
                  <a:moveTo>
                    <a:pt x="6" y="14"/>
                  </a:moveTo>
                  <a:cubicBezTo>
                    <a:pt x="6" y="14"/>
                    <a:pt x="6" y="15"/>
                    <a:pt x="6" y="15"/>
                  </a:cubicBezTo>
                  <a:cubicBezTo>
                    <a:pt x="6" y="17"/>
                    <a:pt x="7" y="19"/>
                    <a:pt x="10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2" y="22"/>
                    <a:pt x="14" y="23"/>
                    <a:pt x="17" y="23"/>
                  </a:cubicBezTo>
                  <a:cubicBezTo>
                    <a:pt x="17" y="23"/>
                    <a:pt x="18" y="23"/>
                    <a:pt x="18" y="23"/>
                  </a:cubicBezTo>
                  <a:cubicBezTo>
                    <a:pt x="18" y="23"/>
                    <a:pt x="19" y="23"/>
                    <a:pt x="19" y="23"/>
                  </a:cubicBezTo>
                  <a:cubicBezTo>
                    <a:pt x="21" y="23"/>
                    <a:pt x="27" y="22"/>
                    <a:pt x="27" y="18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3" y="14"/>
                    <a:pt x="23" y="14"/>
                  </a:cubicBezTo>
                  <a:cubicBezTo>
                    <a:pt x="22" y="14"/>
                    <a:pt x="22" y="13"/>
                    <a:pt x="21" y="13"/>
                  </a:cubicBezTo>
                  <a:cubicBezTo>
                    <a:pt x="20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2"/>
                    <a:pt x="18" y="12"/>
                    <a:pt x="18" y="12"/>
                  </a:cubicBezTo>
                  <a:cubicBezTo>
                    <a:pt x="18" y="11"/>
                    <a:pt x="18" y="10"/>
                    <a:pt x="18" y="10"/>
                  </a:cubicBezTo>
                  <a:cubicBezTo>
                    <a:pt x="17" y="8"/>
                    <a:pt x="16" y="7"/>
                    <a:pt x="15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3" y="5"/>
                    <a:pt x="13" y="4"/>
                  </a:cubicBezTo>
                  <a:cubicBezTo>
                    <a:pt x="11" y="2"/>
                    <a:pt x="9" y="0"/>
                    <a:pt x="6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3" y="1"/>
                    <a:pt x="1" y="2"/>
                    <a:pt x="1" y="3"/>
                  </a:cubicBezTo>
                  <a:cubicBezTo>
                    <a:pt x="0" y="7"/>
                    <a:pt x="3" y="10"/>
                    <a:pt x="5" y="13"/>
                  </a:cubicBezTo>
                  <a:cubicBezTo>
                    <a:pt x="5" y="13"/>
                    <a:pt x="5" y="13"/>
                    <a:pt x="6" y="14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08" name="Freeform 78"/>
            <p:cNvSpPr>
              <a:spLocks/>
            </p:cNvSpPr>
            <p:nvPr/>
          </p:nvSpPr>
          <p:spPr bwMode="auto">
            <a:xfrm>
              <a:off x="18996343" y="4835669"/>
              <a:ext cx="86173" cy="89595"/>
            </a:xfrm>
            <a:custGeom>
              <a:avLst/>
              <a:gdLst>
                <a:gd name="T0" fmla="*/ 16 w 16"/>
                <a:gd name="T1" fmla="*/ 6 h 18"/>
                <a:gd name="T2" fmla="*/ 11 w 16"/>
                <a:gd name="T3" fmla="*/ 1 h 18"/>
                <a:gd name="T4" fmla="*/ 7 w 16"/>
                <a:gd name="T5" fmla="*/ 0 h 18"/>
                <a:gd name="T6" fmla="*/ 1 w 16"/>
                <a:gd name="T7" fmla="*/ 5 h 18"/>
                <a:gd name="T8" fmla="*/ 2 w 16"/>
                <a:gd name="T9" fmla="*/ 13 h 18"/>
                <a:gd name="T10" fmla="*/ 3 w 16"/>
                <a:gd name="T11" fmla="*/ 14 h 18"/>
                <a:gd name="T12" fmla="*/ 8 w 16"/>
                <a:gd name="T13" fmla="*/ 18 h 18"/>
                <a:gd name="T14" fmla="*/ 10 w 16"/>
                <a:gd name="T15" fmla="*/ 18 h 18"/>
                <a:gd name="T16" fmla="*/ 14 w 16"/>
                <a:gd name="T17" fmla="*/ 12 h 18"/>
                <a:gd name="T18" fmla="*/ 15 w 16"/>
                <a:gd name="T19" fmla="*/ 11 h 18"/>
                <a:gd name="T20" fmla="*/ 16 w 16"/>
                <a:gd name="T2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18">
                  <a:moveTo>
                    <a:pt x="16" y="6"/>
                  </a:moveTo>
                  <a:cubicBezTo>
                    <a:pt x="15" y="4"/>
                    <a:pt x="13" y="2"/>
                    <a:pt x="11" y="1"/>
                  </a:cubicBezTo>
                  <a:cubicBezTo>
                    <a:pt x="10" y="1"/>
                    <a:pt x="9" y="0"/>
                    <a:pt x="7" y="0"/>
                  </a:cubicBezTo>
                  <a:cubicBezTo>
                    <a:pt x="6" y="0"/>
                    <a:pt x="3" y="1"/>
                    <a:pt x="1" y="5"/>
                  </a:cubicBezTo>
                  <a:cubicBezTo>
                    <a:pt x="0" y="8"/>
                    <a:pt x="0" y="10"/>
                    <a:pt x="2" y="13"/>
                  </a:cubicBezTo>
                  <a:cubicBezTo>
                    <a:pt x="3" y="13"/>
                    <a:pt x="3" y="14"/>
                    <a:pt x="3" y="14"/>
                  </a:cubicBezTo>
                  <a:cubicBezTo>
                    <a:pt x="3" y="15"/>
                    <a:pt x="5" y="18"/>
                    <a:pt x="8" y="18"/>
                  </a:cubicBezTo>
                  <a:cubicBezTo>
                    <a:pt x="8" y="18"/>
                    <a:pt x="9" y="18"/>
                    <a:pt x="10" y="18"/>
                  </a:cubicBezTo>
                  <a:cubicBezTo>
                    <a:pt x="12" y="17"/>
                    <a:pt x="13" y="14"/>
                    <a:pt x="14" y="12"/>
                  </a:cubicBezTo>
                  <a:cubicBezTo>
                    <a:pt x="14" y="12"/>
                    <a:pt x="14" y="11"/>
                    <a:pt x="15" y="11"/>
                  </a:cubicBezTo>
                  <a:cubicBezTo>
                    <a:pt x="16" y="9"/>
                    <a:pt x="16" y="8"/>
                    <a:pt x="16" y="6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09" name="Freeform 79"/>
            <p:cNvSpPr>
              <a:spLocks/>
            </p:cNvSpPr>
            <p:nvPr/>
          </p:nvSpPr>
          <p:spPr bwMode="auto">
            <a:xfrm>
              <a:off x="18858876" y="4800204"/>
              <a:ext cx="121053" cy="203456"/>
            </a:xfrm>
            <a:custGeom>
              <a:avLst/>
              <a:gdLst>
                <a:gd name="T0" fmla="*/ 18 w 22"/>
                <a:gd name="T1" fmla="*/ 25 h 41"/>
                <a:gd name="T2" fmla="*/ 19 w 22"/>
                <a:gd name="T3" fmla="*/ 24 h 41"/>
                <a:gd name="T4" fmla="*/ 19 w 22"/>
                <a:gd name="T5" fmla="*/ 18 h 41"/>
                <a:gd name="T6" fmla="*/ 14 w 22"/>
                <a:gd name="T7" fmla="*/ 15 h 41"/>
                <a:gd name="T8" fmla="*/ 15 w 22"/>
                <a:gd name="T9" fmla="*/ 14 h 41"/>
                <a:gd name="T10" fmla="*/ 16 w 22"/>
                <a:gd name="T11" fmla="*/ 13 h 41"/>
                <a:gd name="T12" fmla="*/ 20 w 22"/>
                <a:gd name="T13" fmla="*/ 9 h 41"/>
                <a:gd name="T14" fmla="*/ 21 w 22"/>
                <a:gd name="T15" fmla="*/ 4 h 41"/>
                <a:gd name="T16" fmla="*/ 16 w 22"/>
                <a:gd name="T17" fmla="*/ 0 h 41"/>
                <a:gd name="T18" fmla="*/ 15 w 22"/>
                <a:gd name="T19" fmla="*/ 0 h 41"/>
                <a:gd name="T20" fmla="*/ 8 w 22"/>
                <a:gd name="T21" fmla="*/ 5 h 41"/>
                <a:gd name="T22" fmla="*/ 8 w 22"/>
                <a:gd name="T23" fmla="*/ 5 h 41"/>
                <a:gd name="T24" fmla="*/ 6 w 22"/>
                <a:gd name="T25" fmla="*/ 13 h 41"/>
                <a:gd name="T26" fmla="*/ 9 w 22"/>
                <a:gd name="T27" fmla="*/ 16 h 41"/>
                <a:gd name="T28" fmla="*/ 7 w 22"/>
                <a:gd name="T29" fmla="*/ 20 h 41"/>
                <a:gd name="T30" fmla="*/ 7 w 22"/>
                <a:gd name="T31" fmla="*/ 22 h 41"/>
                <a:gd name="T32" fmla="*/ 7 w 22"/>
                <a:gd name="T33" fmla="*/ 22 h 41"/>
                <a:gd name="T34" fmla="*/ 5 w 22"/>
                <a:gd name="T35" fmla="*/ 27 h 41"/>
                <a:gd name="T36" fmla="*/ 5 w 22"/>
                <a:gd name="T37" fmla="*/ 27 h 41"/>
                <a:gd name="T38" fmla="*/ 0 w 22"/>
                <a:gd name="T39" fmla="*/ 37 h 41"/>
                <a:gd name="T40" fmla="*/ 3 w 22"/>
                <a:gd name="T41" fmla="*/ 41 h 41"/>
                <a:gd name="T42" fmla="*/ 6 w 22"/>
                <a:gd name="T43" fmla="*/ 41 h 41"/>
                <a:gd name="T44" fmla="*/ 6 w 22"/>
                <a:gd name="T45" fmla="*/ 41 h 41"/>
                <a:gd name="T46" fmla="*/ 18 w 22"/>
                <a:gd name="T47" fmla="*/ 2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" h="41">
                  <a:moveTo>
                    <a:pt x="18" y="25"/>
                  </a:moveTo>
                  <a:cubicBezTo>
                    <a:pt x="19" y="24"/>
                    <a:pt x="19" y="24"/>
                    <a:pt x="19" y="24"/>
                  </a:cubicBezTo>
                  <a:cubicBezTo>
                    <a:pt x="20" y="21"/>
                    <a:pt x="20" y="19"/>
                    <a:pt x="19" y="18"/>
                  </a:cubicBezTo>
                  <a:cubicBezTo>
                    <a:pt x="18" y="16"/>
                    <a:pt x="16" y="15"/>
                    <a:pt x="14" y="15"/>
                  </a:cubicBezTo>
                  <a:cubicBezTo>
                    <a:pt x="14" y="14"/>
                    <a:pt x="15" y="14"/>
                    <a:pt x="15" y="14"/>
                  </a:cubicBezTo>
                  <a:cubicBezTo>
                    <a:pt x="15" y="14"/>
                    <a:pt x="16" y="13"/>
                    <a:pt x="16" y="13"/>
                  </a:cubicBezTo>
                  <a:cubicBezTo>
                    <a:pt x="18" y="12"/>
                    <a:pt x="19" y="11"/>
                    <a:pt x="20" y="9"/>
                  </a:cubicBezTo>
                  <a:cubicBezTo>
                    <a:pt x="21" y="8"/>
                    <a:pt x="22" y="5"/>
                    <a:pt x="21" y="4"/>
                  </a:cubicBezTo>
                  <a:cubicBezTo>
                    <a:pt x="20" y="2"/>
                    <a:pt x="18" y="0"/>
                    <a:pt x="16" y="0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2" y="0"/>
                    <a:pt x="9" y="3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6" y="7"/>
                    <a:pt x="4" y="10"/>
                    <a:pt x="6" y="13"/>
                  </a:cubicBezTo>
                  <a:cubicBezTo>
                    <a:pt x="6" y="15"/>
                    <a:pt x="8" y="16"/>
                    <a:pt x="9" y="16"/>
                  </a:cubicBezTo>
                  <a:cubicBezTo>
                    <a:pt x="8" y="17"/>
                    <a:pt x="7" y="18"/>
                    <a:pt x="7" y="20"/>
                  </a:cubicBezTo>
                  <a:cubicBezTo>
                    <a:pt x="7" y="21"/>
                    <a:pt x="7" y="21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7" y="25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2" y="30"/>
                    <a:pt x="0" y="33"/>
                    <a:pt x="0" y="37"/>
                  </a:cubicBezTo>
                  <a:cubicBezTo>
                    <a:pt x="1" y="38"/>
                    <a:pt x="2" y="40"/>
                    <a:pt x="3" y="41"/>
                  </a:cubicBezTo>
                  <a:cubicBezTo>
                    <a:pt x="4" y="41"/>
                    <a:pt x="5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9" y="41"/>
                    <a:pt x="13" y="37"/>
                    <a:pt x="18" y="25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10" name="Freeform 80"/>
            <p:cNvSpPr>
              <a:spLocks/>
            </p:cNvSpPr>
            <p:nvPr/>
          </p:nvSpPr>
          <p:spPr bwMode="auto">
            <a:xfrm>
              <a:off x="18897859" y="5003660"/>
              <a:ext cx="82070" cy="123194"/>
            </a:xfrm>
            <a:custGeom>
              <a:avLst/>
              <a:gdLst>
                <a:gd name="T0" fmla="*/ 8 w 15"/>
                <a:gd name="T1" fmla="*/ 0 h 25"/>
                <a:gd name="T2" fmla="*/ 5 w 15"/>
                <a:gd name="T3" fmla="*/ 1 h 25"/>
                <a:gd name="T4" fmla="*/ 4 w 15"/>
                <a:gd name="T5" fmla="*/ 7 h 25"/>
                <a:gd name="T6" fmla="*/ 4 w 15"/>
                <a:gd name="T7" fmla="*/ 7 h 25"/>
                <a:gd name="T8" fmla="*/ 4 w 15"/>
                <a:gd name="T9" fmla="*/ 7 h 25"/>
                <a:gd name="T10" fmla="*/ 3 w 15"/>
                <a:gd name="T11" fmla="*/ 12 h 25"/>
                <a:gd name="T12" fmla="*/ 3 w 15"/>
                <a:gd name="T13" fmla="*/ 14 h 25"/>
                <a:gd name="T14" fmla="*/ 1 w 15"/>
                <a:gd name="T15" fmla="*/ 15 h 25"/>
                <a:gd name="T16" fmla="*/ 0 w 15"/>
                <a:gd name="T17" fmla="*/ 19 h 25"/>
                <a:gd name="T18" fmla="*/ 6 w 15"/>
                <a:gd name="T19" fmla="*/ 25 h 25"/>
                <a:gd name="T20" fmla="*/ 11 w 15"/>
                <a:gd name="T21" fmla="*/ 20 h 25"/>
                <a:gd name="T22" fmla="*/ 9 w 15"/>
                <a:gd name="T23" fmla="*/ 15 h 25"/>
                <a:gd name="T24" fmla="*/ 9 w 15"/>
                <a:gd name="T25" fmla="*/ 15 h 25"/>
                <a:gd name="T26" fmla="*/ 11 w 15"/>
                <a:gd name="T27" fmla="*/ 12 h 25"/>
                <a:gd name="T28" fmla="*/ 12 w 15"/>
                <a:gd name="T29" fmla="*/ 11 h 25"/>
                <a:gd name="T30" fmla="*/ 12 w 15"/>
                <a:gd name="T31" fmla="*/ 11 h 25"/>
                <a:gd name="T32" fmla="*/ 15 w 15"/>
                <a:gd name="T33" fmla="*/ 6 h 25"/>
                <a:gd name="T34" fmla="*/ 8 w 15"/>
                <a:gd name="T3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25">
                  <a:moveTo>
                    <a:pt x="8" y="0"/>
                  </a:moveTo>
                  <a:cubicBezTo>
                    <a:pt x="7" y="0"/>
                    <a:pt x="6" y="0"/>
                    <a:pt x="5" y="1"/>
                  </a:cubicBezTo>
                  <a:cubicBezTo>
                    <a:pt x="2" y="3"/>
                    <a:pt x="4" y="6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3" y="8"/>
                    <a:pt x="2" y="10"/>
                    <a:pt x="3" y="12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" y="14"/>
                    <a:pt x="2" y="14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  <a:cubicBezTo>
                    <a:pt x="1" y="22"/>
                    <a:pt x="3" y="25"/>
                    <a:pt x="6" y="25"/>
                  </a:cubicBezTo>
                  <a:cubicBezTo>
                    <a:pt x="8" y="25"/>
                    <a:pt x="11" y="23"/>
                    <a:pt x="11" y="20"/>
                  </a:cubicBezTo>
                  <a:cubicBezTo>
                    <a:pt x="11" y="18"/>
                    <a:pt x="11" y="16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0" y="14"/>
                    <a:pt x="11" y="13"/>
                    <a:pt x="11" y="12"/>
                  </a:cubicBezTo>
                  <a:cubicBezTo>
                    <a:pt x="12" y="12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5" y="9"/>
                    <a:pt x="15" y="6"/>
                  </a:cubicBezTo>
                  <a:cubicBezTo>
                    <a:pt x="15" y="3"/>
                    <a:pt x="11" y="0"/>
                    <a:pt x="8" y="0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11" name="Freeform 81"/>
            <p:cNvSpPr>
              <a:spLocks/>
            </p:cNvSpPr>
            <p:nvPr/>
          </p:nvSpPr>
          <p:spPr bwMode="auto">
            <a:xfrm>
              <a:off x="18750133" y="4800204"/>
              <a:ext cx="108743" cy="83996"/>
            </a:xfrm>
            <a:custGeom>
              <a:avLst/>
              <a:gdLst>
                <a:gd name="T0" fmla="*/ 14 w 20"/>
                <a:gd name="T1" fmla="*/ 2 h 17"/>
                <a:gd name="T2" fmla="*/ 12 w 20"/>
                <a:gd name="T3" fmla="*/ 1 h 17"/>
                <a:gd name="T4" fmla="*/ 8 w 20"/>
                <a:gd name="T5" fmla="*/ 0 h 17"/>
                <a:gd name="T6" fmla="*/ 4 w 20"/>
                <a:gd name="T7" fmla="*/ 1 h 17"/>
                <a:gd name="T8" fmla="*/ 1 w 20"/>
                <a:gd name="T9" fmla="*/ 6 h 17"/>
                <a:gd name="T10" fmla="*/ 4 w 20"/>
                <a:gd name="T11" fmla="*/ 12 h 17"/>
                <a:gd name="T12" fmla="*/ 5 w 20"/>
                <a:gd name="T13" fmla="*/ 13 h 17"/>
                <a:gd name="T14" fmla="*/ 5 w 20"/>
                <a:gd name="T15" fmla="*/ 14 h 17"/>
                <a:gd name="T16" fmla="*/ 10 w 20"/>
                <a:gd name="T17" fmla="*/ 17 h 17"/>
                <a:gd name="T18" fmla="*/ 12 w 20"/>
                <a:gd name="T19" fmla="*/ 17 h 17"/>
                <a:gd name="T20" fmla="*/ 14 w 20"/>
                <a:gd name="T21" fmla="*/ 17 h 17"/>
                <a:gd name="T22" fmla="*/ 14 w 20"/>
                <a:gd name="T23" fmla="*/ 15 h 17"/>
                <a:gd name="T24" fmla="*/ 14 w 20"/>
                <a:gd name="T25" fmla="*/ 14 h 17"/>
                <a:gd name="T26" fmla="*/ 14 w 20"/>
                <a:gd name="T27" fmla="*/ 14 h 17"/>
                <a:gd name="T28" fmla="*/ 18 w 20"/>
                <a:gd name="T29" fmla="*/ 12 h 17"/>
                <a:gd name="T30" fmla="*/ 20 w 20"/>
                <a:gd name="T31" fmla="*/ 7 h 17"/>
                <a:gd name="T32" fmla="*/ 14 w 20"/>
                <a:gd name="T33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17">
                  <a:moveTo>
                    <a:pt x="14" y="2"/>
                  </a:moveTo>
                  <a:cubicBezTo>
                    <a:pt x="14" y="2"/>
                    <a:pt x="13" y="2"/>
                    <a:pt x="12" y="1"/>
                  </a:cubicBezTo>
                  <a:cubicBezTo>
                    <a:pt x="11" y="1"/>
                    <a:pt x="10" y="0"/>
                    <a:pt x="8" y="0"/>
                  </a:cubicBezTo>
                  <a:cubicBezTo>
                    <a:pt x="7" y="0"/>
                    <a:pt x="5" y="1"/>
                    <a:pt x="4" y="1"/>
                  </a:cubicBezTo>
                  <a:cubicBezTo>
                    <a:pt x="3" y="2"/>
                    <a:pt x="1" y="3"/>
                    <a:pt x="1" y="6"/>
                  </a:cubicBezTo>
                  <a:cubicBezTo>
                    <a:pt x="0" y="9"/>
                    <a:pt x="2" y="10"/>
                    <a:pt x="4" y="12"/>
                  </a:cubicBezTo>
                  <a:cubicBezTo>
                    <a:pt x="4" y="12"/>
                    <a:pt x="4" y="13"/>
                    <a:pt x="5" y="13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6" y="15"/>
                    <a:pt x="7" y="17"/>
                    <a:pt x="10" y="17"/>
                  </a:cubicBezTo>
                  <a:cubicBezTo>
                    <a:pt x="10" y="17"/>
                    <a:pt x="11" y="17"/>
                    <a:pt x="12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" y="13"/>
                    <a:pt x="16" y="13"/>
                    <a:pt x="18" y="12"/>
                  </a:cubicBezTo>
                  <a:cubicBezTo>
                    <a:pt x="20" y="10"/>
                    <a:pt x="20" y="8"/>
                    <a:pt x="20" y="7"/>
                  </a:cubicBezTo>
                  <a:cubicBezTo>
                    <a:pt x="19" y="4"/>
                    <a:pt x="17" y="3"/>
                    <a:pt x="14" y="2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12" name="Freeform 83"/>
            <p:cNvSpPr>
              <a:spLocks noEditPoints="1"/>
            </p:cNvSpPr>
            <p:nvPr/>
          </p:nvSpPr>
          <p:spPr bwMode="auto">
            <a:xfrm>
              <a:off x="16608107" y="3336813"/>
              <a:ext cx="420609" cy="451710"/>
            </a:xfrm>
            <a:custGeom>
              <a:avLst/>
              <a:gdLst>
                <a:gd name="T0" fmla="*/ 68 w 77"/>
                <a:gd name="T1" fmla="*/ 49 h 91"/>
                <a:gd name="T2" fmla="*/ 67 w 77"/>
                <a:gd name="T3" fmla="*/ 43 h 91"/>
                <a:gd name="T4" fmla="*/ 67 w 77"/>
                <a:gd name="T5" fmla="*/ 34 h 91"/>
                <a:gd name="T6" fmla="*/ 65 w 77"/>
                <a:gd name="T7" fmla="*/ 21 h 91"/>
                <a:gd name="T8" fmla="*/ 55 w 77"/>
                <a:gd name="T9" fmla="*/ 15 h 91"/>
                <a:gd name="T10" fmla="*/ 55 w 77"/>
                <a:gd name="T11" fmla="*/ 12 h 91"/>
                <a:gd name="T12" fmla="*/ 41 w 77"/>
                <a:gd name="T13" fmla="*/ 0 h 91"/>
                <a:gd name="T14" fmla="*/ 33 w 77"/>
                <a:gd name="T15" fmla="*/ 8 h 91"/>
                <a:gd name="T16" fmla="*/ 28 w 77"/>
                <a:gd name="T17" fmla="*/ 7 h 91"/>
                <a:gd name="T18" fmla="*/ 22 w 77"/>
                <a:gd name="T19" fmla="*/ 19 h 91"/>
                <a:gd name="T20" fmla="*/ 18 w 77"/>
                <a:gd name="T21" fmla="*/ 19 h 91"/>
                <a:gd name="T22" fmla="*/ 9 w 77"/>
                <a:gd name="T23" fmla="*/ 30 h 91"/>
                <a:gd name="T24" fmla="*/ 2 w 77"/>
                <a:gd name="T25" fmla="*/ 32 h 91"/>
                <a:gd name="T26" fmla="*/ 4 w 77"/>
                <a:gd name="T27" fmla="*/ 44 h 91"/>
                <a:gd name="T28" fmla="*/ 10 w 77"/>
                <a:gd name="T29" fmla="*/ 46 h 91"/>
                <a:gd name="T30" fmla="*/ 11 w 77"/>
                <a:gd name="T31" fmla="*/ 54 h 91"/>
                <a:gd name="T32" fmla="*/ 19 w 77"/>
                <a:gd name="T33" fmla="*/ 56 h 91"/>
                <a:gd name="T34" fmla="*/ 21 w 77"/>
                <a:gd name="T35" fmla="*/ 57 h 91"/>
                <a:gd name="T36" fmla="*/ 27 w 77"/>
                <a:gd name="T37" fmla="*/ 61 h 91"/>
                <a:gd name="T38" fmla="*/ 32 w 77"/>
                <a:gd name="T39" fmla="*/ 61 h 91"/>
                <a:gd name="T40" fmla="*/ 40 w 77"/>
                <a:gd name="T41" fmla="*/ 63 h 91"/>
                <a:gd name="T42" fmla="*/ 38 w 77"/>
                <a:gd name="T43" fmla="*/ 66 h 91"/>
                <a:gd name="T44" fmla="*/ 35 w 77"/>
                <a:gd name="T45" fmla="*/ 67 h 91"/>
                <a:gd name="T46" fmla="*/ 30 w 77"/>
                <a:gd name="T47" fmla="*/ 66 h 91"/>
                <a:gd name="T48" fmla="*/ 22 w 77"/>
                <a:gd name="T49" fmla="*/ 68 h 91"/>
                <a:gd name="T50" fmla="*/ 24 w 77"/>
                <a:gd name="T51" fmla="*/ 78 h 91"/>
                <a:gd name="T52" fmla="*/ 43 w 77"/>
                <a:gd name="T53" fmla="*/ 91 h 91"/>
                <a:gd name="T54" fmla="*/ 66 w 77"/>
                <a:gd name="T55" fmla="*/ 85 h 91"/>
                <a:gd name="T56" fmla="*/ 77 w 77"/>
                <a:gd name="T57" fmla="*/ 53 h 91"/>
                <a:gd name="T58" fmla="*/ 50 w 77"/>
                <a:gd name="T59" fmla="*/ 65 h 91"/>
                <a:gd name="T60" fmla="*/ 47 w 77"/>
                <a:gd name="T61" fmla="*/ 61 h 91"/>
                <a:gd name="T62" fmla="*/ 49 w 77"/>
                <a:gd name="T63" fmla="*/ 61 h 91"/>
                <a:gd name="T64" fmla="*/ 56 w 77"/>
                <a:gd name="T65" fmla="*/ 65 h 91"/>
                <a:gd name="T66" fmla="*/ 52 w 77"/>
                <a:gd name="T67" fmla="*/ 67 h 91"/>
                <a:gd name="T68" fmla="*/ 39 w 77"/>
                <a:gd name="T69" fmla="*/ 48 h 91"/>
                <a:gd name="T70" fmla="*/ 37 w 77"/>
                <a:gd name="T71" fmla="*/ 5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7" h="91">
                  <a:moveTo>
                    <a:pt x="73" y="51"/>
                  </a:moveTo>
                  <a:cubicBezTo>
                    <a:pt x="71" y="51"/>
                    <a:pt x="70" y="50"/>
                    <a:pt x="68" y="49"/>
                  </a:cubicBezTo>
                  <a:cubicBezTo>
                    <a:pt x="68" y="49"/>
                    <a:pt x="68" y="48"/>
                    <a:pt x="68" y="46"/>
                  </a:cubicBezTo>
                  <a:cubicBezTo>
                    <a:pt x="68" y="45"/>
                    <a:pt x="68" y="44"/>
                    <a:pt x="67" y="43"/>
                  </a:cubicBezTo>
                  <a:cubicBezTo>
                    <a:pt x="67" y="41"/>
                    <a:pt x="67" y="40"/>
                    <a:pt x="67" y="38"/>
                  </a:cubicBezTo>
                  <a:cubicBezTo>
                    <a:pt x="67" y="37"/>
                    <a:pt x="67" y="35"/>
                    <a:pt x="67" y="34"/>
                  </a:cubicBezTo>
                  <a:cubicBezTo>
                    <a:pt x="67" y="33"/>
                    <a:pt x="67" y="32"/>
                    <a:pt x="67" y="31"/>
                  </a:cubicBezTo>
                  <a:cubicBezTo>
                    <a:pt x="66" y="28"/>
                    <a:pt x="66" y="24"/>
                    <a:pt x="65" y="21"/>
                  </a:cubicBezTo>
                  <a:cubicBezTo>
                    <a:pt x="63" y="17"/>
                    <a:pt x="59" y="16"/>
                    <a:pt x="56" y="15"/>
                  </a:cubicBezTo>
                  <a:cubicBezTo>
                    <a:pt x="56" y="15"/>
                    <a:pt x="55" y="15"/>
                    <a:pt x="55" y="15"/>
                  </a:cubicBezTo>
                  <a:cubicBezTo>
                    <a:pt x="55" y="14"/>
                    <a:pt x="55" y="14"/>
                    <a:pt x="55" y="13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6" y="7"/>
                    <a:pt x="55" y="5"/>
                    <a:pt x="54" y="4"/>
                  </a:cubicBezTo>
                  <a:cubicBezTo>
                    <a:pt x="51" y="2"/>
                    <a:pt x="46" y="0"/>
                    <a:pt x="41" y="0"/>
                  </a:cubicBezTo>
                  <a:cubicBezTo>
                    <a:pt x="35" y="0"/>
                    <a:pt x="34" y="4"/>
                    <a:pt x="33" y="5"/>
                  </a:cubicBezTo>
                  <a:cubicBezTo>
                    <a:pt x="33" y="6"/>
                    <a:pt x="33" y="7"/>
                    <a:pt x="33" y="8"/>
                  </a:cubicBezTo>
                  <a:cubicBezTo>
                    <a:pt x="33" y="8"/>
                    <a:pt x="33" y="8"/>
                    <a:pt x="32" y="8"/>
                  </a:cubicBezTo>
                  <a:cubicBezTo>
                    <a:pt x="31" y="8"/>
                    <a:pt x="30" y="7"/>
                    <a:pt x="28" y="7"/>
                  </a:cubicBezTo>
                  <a:cubicBezTo>
                    <a:pt x="26" y="7"/>
                    <a:pt x="25" y="8"/>
                    <a:pt x="23" y="9"/>
                  </a:cubicBezTo>
                  <a:cubicBezTo>
                    <a:pt x="21" y="12"/>
                    <a:pt x="20" y="16"/>
                    <a:pt x="2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0" y="19"/>
                    <a:pt x="19" y="19"/>
                    <a:pt x="18" y="19"/>
                  </a:cubicBezTo>
                  <a:cubicBezTo>
                    <a:pt x="11" y="19"/>
                    <a:pt x="11" y="24"/>
                    <a:pt x="10" y="27"/>
                  </a:cubicBezTo>
                  <a:cubicBezTo>
                    <a:pt x="10" y="30"/>
                    <a:pt x="9" y="30"/>
                    <a:pt x="9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6" y="30"/>
                    <a:pt x="4" y="30"/>
                    <a:pt x="2" y="32"/>
                  </a:cubicBezTo>
                  <a:cubicBezTo>
                    <a:pt x="1" y="34"/>
                    <a:pt x="0" y="36"/>
                    <a:pt x="1" y="38"/>
                  </a:cubicBezTo>
                  <a:cubicBezTo>
                    <a:pt x="1" y="41"/>
                    <a:pt x="2" y="43"/>
                    <a:pt x="4" y="44"/>
                  </a:cubicBezTo>
                  <a:cubicBezTo>
                    <a:pt x="6" y="45"/>
                    <a:pt x="7" y="45"/>
                    <a:pt x="9" y="46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10" y="46"/>
                    <a:pt x="10" y="47"/>
                    <a:pt x="10" y="47"/>
                  </a:cubicBezTo>
                  <a:cubicBezTo>
                    <a:pt x="10" y="49"/>
                    <a:pt x="9" y="51"/>
                    <a:pt x="11" y="54"/>
                  </a:cubicBezTo>
                  <a:cubicBezTo>
                    <a:pt x="12" y="56"/>
                    <a:pt x="14" y="56"/>
                    <a:pt x="16" y="56"/>
                  </a:cubicBezTo>
                  <a:cubicBezTo>
                    <a:pt x="17" y="56"/>
                    <a:pt x="18" y="56"/>
                    <a:pt x="19" y="56"/>
                  </a:cubicBezTo>
                  <a:cubicBezTo>
                    <a:pt x="19" y="56"/>
                    <a:pt x="20" y="56"/>
                    <a:pt x="20" y="56"/>
                  </a:cubicBezTo>
                  <a:cubicBezTo>
                    <a:pt x="20" y="56"/>
                    <a:pt x="21" y="57"/>
                    <a:pt x="21" y="57"/>
                  </a:cubicBezTo>
                  <a:cubicBezTo>
                    <a:pt x="22" y="58"/>
                    <a:pt x="23" y="60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9" y="61"/>
                    <a:pt x="31" y="60"/>
                    <a:pt x="32" y="59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6" y="63"/>
                    <a:pt x="38" y="63"/>
                    <a:pt x="40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39" y="64"/>
                    <a:pt x="39" y="65"/>
                    <a:pt x="38" y="66"/>
                  </a:cubicBezTo>
                  <a:cubicBezTo>
                    <a:pt x="38" y="66"/>
                    <a:pt x="38" y="66"/>
                    <a:pt x="37" y="66"/>
                  </a:cubicBezTo>
                  <a:cubicBezTo>
                    <a:pt x="36" y="67"/>
                    <a:pt x="36" y="67"/>
                    <a:pt x="35" y="67"/>
                  </a:cubicBezTo>
                  <a:cubicBezTo>
                    <a:pt x="34" y="67"/>
                    <a:pt x="32" y="67"/>
                    <a:pt x="31" y="66"/>
                  </a:cubicBezTo>
                  <a:cubicBezTo>
                    <a:pt x="31" y="66"/>
                    <a:pt x="30" y="66"/>
                    <a:pt x="30" y="66"/>
                  </a:cubicBezTo>
                  <a:cubicBezTo>
                    <a:pt x="29" y="66"/>
                    <a:pt x="28" y="65"/>
                    <a:pt x="27" y="65"/>
                  </a:cubicBezTo>
                  <a:cubicBezTo>
                    <a:pt x="25" y="65"/>
                    <a:pt x="23" y="66"/>
                    <a:pt x="22" y="68"/>
                  </a:cubicBezTo>
                  <a:cubicBezTo>
                    <a:pt x="20" y="71"/>
                    <a:pt x="22" y="75"/>
                    <a:pt x="23" y="77"/>
                  </a:cubicBezTo>
                  <a:cubicBezTo>
                    <a:pt x="23" y="78"/>
                    <a:pt x="24" y="78"/>
                    <a:pt x="24" y="78"/>
                  </a:cubicBezTo>
                  <a:cubicBezTo>
                    <a:pt x="28" y="90"/>
                    <a:pt x="36" y="91"/>
                    <a:pt x="43" y="91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46" y="91"/>
                    <a:pt x="49" y="91"/>
                    <a:pt x="53" y="90"/>
                  </a:cubicBezTo>
                  <a:cubicBezTo>
                    <a:pt x="57" y="90"/>
                    <a:pt x="61" y="88"/>
                    <a:pt x="66" y="85"/>
                  </a:cubicBezTo>
                  <a:cubicBezTo>
                    <a:pt x="67" y="84"/>
                    <a:pt x="67" y="84"/>
                    <a:pt x="67" y="84"/>
                  </a:cubicBezTo>
                  <a:cubicBezTo>
                    <a:pt x="77" y="53"/>
                    <a:pt x="77" y="53"/>
                    <a:pt x="77" y="53"/>
                  </a:cubicBezTo>
                  <a:lnTo>
                    <a:pt x="73" y="51"/>
                  </a:lnTo>
                  <a:close/>
                  <a:moveTo>
                    <a:pt x="50" y="65"/>
                  </a:moveTo>
                  <a:cubicBezTo>
                    <a:pt x="49" y="64"/>
                    <a:pt x="48" y="62"/>
                    <a:pt x="46" y="62"/>
                  </a:cubicBezTo>
                  <a:cubicBezTo>
                    <a:pt x="46" y="62"/>
                    <a:pt x="47" y="61"/>
                    <a:pt x="47" y="61"/>
                  </a:cubicBezTo>
                  <a:cubicBezTo>
                    <a:pt x="47" y="61"/>
                    <a:pt x="48" y="60"/>
                    <a:pt x="48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50" y="63"/>
                    <a:pt x="51" y="64"/>
                    <a:pt x="54" y="64"/>
                  </a:cubicBezTo>
                  <a:cubicBezTo>
                    <a:pt x="55" y="64"/>
                    <a:pt x="56" y="64"/>
                    <a:pt x="56" y="65"/>
                  </a:cubicBezTo>
                  <a:cubicBezTo>
                    <a:pt x="57" y="65"/>
                    <a:pt x="57" y="65"/>
                    <a:pt x="58" y="65"/>
                  </a:cubicBezTo>
                  <a:cubicBezTo>
                    <a:pt x="56" y="66"/>
                    <a:pt x="54" y="67"/>
                    <a:pt x="52" y="67"/>
                  </a:cubicBezTo>
                  <a:cubicBezTo>
                    <a:pt x="52" y="67"/>
                    <a:pt x="50" y="66"/>
                    <a:pt x="50" y="65"/>
                  </a:cubicBezTo>
                  <a:close/>
                  <a:moveTo>
                    <a:pt x="39" y="48"/>
                  </a:moveTo>
                  <a:cubicBezTo>
                    <a:pt x="39" y="49"/>
                    <a:pt x="39" y="49"/>
                    <a:pt x="38" y="49"/>
                  </a:cubicBezTo>
                  <a:cubicBezTo>
                    <a:pt x="38" y="49"/>
                    <a:pt x="37" y="50"/>
                    <a:pt x="37" y="50"/>
                  </a:cubicBezTo>
                  <a:cubicBezTo>
                    <a:pt x="37" y="49"/>
                    <a:pt x="38" y="49"/>
                    <a:pt x="39" y="48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13" name="Freeform 86"/>
            <p:cNvSpPr>
              <a:spLocks/>
            </p:cNvSpPr>
            <p:nvPr/>
          </p:nvSpPr>
          <p:spPr bwMode="auto">
            <a:xfrm>
              <a:off x="16870731" y="3273350"/>
              <a:ext cx="98484" cy="69063"/>
            </a:xfrm>
            <a:custGeom>
              <a:avLst/>
              <a:gdLst>
                <a:gd name="T0" fmla="*/ 17 w 18"/>
                <a:gd name="T1" fmla="*/ 6 h 14"/>
                <a:gd name="T2" fmla="*/ 7 w 18"/>
                <a:gd name="T3" fmla="*/ 0 h 14"/>
                <a:gd name="T4" fmla="*/ 6 w 18"/>
                <a:gd name="T5" fmla="*/ 0 h 14"/>
                <a:gd name="T6" fmla="*/ 1 w 18"/>
                <a:gd name="T7" fmla="*/ 3 h 14"/>
                <a:gd name="T8" fmla="*/ 2 w 18"/>
                <a:gd name="T9" fmla="*/ 8 h 14"/>
                <a:gd name="T10" fmla="*/ 10 w 18"/>
                <a:gd name="T11" fmla="*/ 14 h 14"/>
                <a:gd name="T12" fmla="*/ 11 w 18"/>
                <a:gd name="T13" fmla="*/ 14 h 14"/>
                <a:gd name="T14" fmla="*/ 17 w 18"/>
                <a:gd name="T15" fmla="*/ 11 h 14"/>
                <a:gd name="T16" fmla="*/ 17 w 18"/>
                <a:gd name="T17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4">
                  <a:moveTo>
                    <a:pt x="17" y="6"/>
                  </a:moveTo>
                  <a:cubicBezTo>
                    <a:pt x="15" y="3"/>
                    <a:pt x="9" y="1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2" y="2"/>
                    <a:pt x="1" y="3"/>
                  </a:cubicBezTo>
                  <a:cubicBezTo>
                    <a:pt x="1" y="4"/>
                    <a:pt x="0" y="6"/>
                    <a:pt x="2" y="8"/>
                  </a:cubicBezTo>
                  <a:cubicBezTo>
                    <a:pt x="3" y="11"/>
                    <a:pt x="7" y="14"/>
                    <a:pt x="10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3" y="14"/>
                    <a:pt x="16" y="13"/>
                    <a:pt x="17" y="11"/>
                  </a:cubicBezTo>
                  <a:cubicBezTo>
                    <a:pt x="18" y="9"/>
                    <a:pt x="18" y="7"/>
                    <a:pt x="17" y="6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14" name="Freeform 88"/>
            <p:cNvSpPr>
              <a:spLocks/>
            </p:cNvSpPr>
            <p:nvPr/>
          </p:nvSpPr>
          <p:spPr bwMode="auto">
            <a:xfrm>
              <a:off x="18255662" y="4785272"/>
              <a:ext cx="96432" cy="69063"/>
            </a:xfrm>
            <a:custGeom>
              <a:avLst/>
              <a:gdLst>
                <a:gd name="T0" fmla="*/ 17 w 18"/>
                <a:gd name="T1" fmla="*/ 7 h 14"/>
                <a:gd name="T2" fmla="*/ 6 w 18"/>
                <a:gd name="T3" fmla="*/ 0 h 14"/>
                <a:gd name="T4" fmla="*/ 2 w 18"/>
                <a:gd name="T5" fmla="*/ 2 h 14"/>
                <a:gd name="T6" fmla="*/ 0 w 18"/>
                <a:gd name="T7" fmla="*/ 7 h 14"/>
                <a:gd name="T8" fmla="*/ 3 w 18"/>
                <a:gd name="T9" fmla="*/ 11 h 14"/>
                <a:gd name="T10" fmla="*/ 5 w 18"/>
                <a:gd name="T11" fmla="*/ 11 h 14"/>
                <a:gd name="T12" fmla="*/ 7 w 18"/>
                <a:gd name="T13" fmla="*/ 11 h 14"/>
                <a:gd name="T14" fmla="*/ 8 w 18"/>
                <a:gd name="T15" fmla="*/ 12 h 14"/>
                <a:gd name="T16" fmla="*/ 13 w 18"/>
                <a:gd name="T17" fmla="*/ 14 h 14"/>
                <a:gd name="T18" fmla="*/ 16 w 18"/>
                <a:gd name="T19" fmla="*/ 13 h 14"/>
                <a:gd name="T20" fmla="*/ 17 w 18"/>
                <a:gd name="T21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4">
                  <a:moveTo>
                    <a:pt x="17" y="7"/>
                  </a:moveTo>
                  <a:cubicBezTo>
                    <a:pt x="16" y="4"/>
                    <a:pt x="11" y="0"/>
                    <a:pt x="6" y="0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9"/>
                    <a:pt x="1" y="10"/>
                    <a:pt x="3" y="11"/>
                  </a:cubicBezTo>
                  <a:cubicBezTo>
                    <a:pt x="4" y="11"/>
                    <a:pt x="4" y="11"/>
                    <a:pt x="5" y="11"/>
                  </a:cubicBezTo>
                  <a:cubicBezTo>
                    <a:pt x="6" y="11"/>
                    <a:pt x="7" y="11"/>
                    <a:pt x="7" y="11"/>
                  </a:cubicBezTo>
                  <a:cubicBezTo>
                    <a:pt x="8" y="11"/>
                    <a:pt x="8" y="12"/>
                    <a:pt x="8" y="12"/>
                  </a:cubicBezTo>
                  <a:cubicBezTo>
                    <a:pt x="9" y="13"/>
                    <a:pt x="11" y="14"/>
                    <a:pt x="13" y="14"/>
                  </a:cubicBezTo>
                  <a:cubicBezTo>
                    <a:pt x="14" y="14"/>
                    <a:pt x="15" y="13"/>
                    <a:pt x="16" y="13"/>
                  </a:cubicBezTo>
                  <a:cubicBezTo>
                    <a:pt x="18" y="11"/>
                    <a:pt x="18" y="9"/>
                    <a:pt x="17" y="7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15" name="Freeform 90"/>
            <p:cNvSpPr>
              <a:spLocks/>
            </p:cNvSpPr>
            <p:nvPr/>
          </p:nvSpPr>
          <p:spPr bwMode="auto">
            <a:xfrm>
              <a:off x="17256460" y="3695195"/>
              <a:ext cx="110794" cy="98928"/>
            </a:xfrm>
            <a:custGeom>
              <a:avLst/>
              <a:gdLst>
                <a:gd name="T0" fmla="*/ 19 w 20"/>
                <a:gd name="T1" fmla="*/ 4 h 20"/>
                <a:gd name="T2" fmla="*/ 12 w 20"/>
                <a:gd name="T3" fmla="*/ 0 h 20"/>
                <a:gd name="T4" fmla="*/ 1 w 20"/>
                <a:gd name="T5" fmla="*/ 10 h 20"/>
                <a:gd name="T6" fmla="*/ 8 w 20"/>
                <a:gd name="T7" fmla="*/ 20 h 20"/>
                <a:gd name="T8" fmla="*/ 11 w 20"/>
                <a:gd name="T9" fmla="*/ 20 h 20"/>
                <a:gd name="T10" fmla="*/ 11 w 20"/>
                <a:gd name="T11" fmla="*/ 20 h 20"/>
                <a:gd name="T12" fmla="*/ 18 w 20"/>
                <a:gd name="T13" fmla="*/ 16 h 20"/>
                <a:gd name="T14" fmla="*/ 19 w 20"/>
                <a:gd name="T15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9" y="4"/>
                  </a:moveTo>
                  <a:cubicBezTo>
                    <a:pt x="17" y="0"/>
                    <a:pt x="14" y="0"/>
                    <a:pt x="12" y="0"/>
                  </a:cubicBezTo>
                  <a:cubicBezTo>
                    <a:pt x="7" y="0"/>
                    <a:pt x="2" y="6"/>
                    <a:pt x="1" y="10"/>
                  </a:cubicBezTo>
                  <a:cubicBezTo>
                    <a:pt x="0" y="15"/>
                    <a:pt x="2" y="18"/>
                    <a:pt x="8" y="20"/>
                  </a:cubicBezTo>
                  <a:cubicBezTo>
                    <a:pt x="9" y="20"/>
                    <a:pt x="10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4" y="20"/>
                    <a:pt x="16" y="19"/>
                    <a:pt x="18" y="16"/>
                  </a:cubicBezTo>
                  <a:cubicBezTo>
                    <a:pt x="20" y="13"/>
                    <a:pt x="20" y="8"/>
                    <a:pt x="19" y="4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16" name="Freeform 92"/>
            <p:cNvSpPr>
              <a:spLocks noEditPoints="1"/>
            </p:cNvSpPr>
            <p:nvPr/>
          </p:nvSpPr>
          <p:spPr bwMode="auto">
            <a:xfrm>
              <a:off x="17334426" y="3450674"/>
              <a:ext cx="385729" cy="391980"/>
            </a:xfrm>
            <a:custGeom>
              <a:avLst/>
              <a:gdLst>
                <a:gd name="T0" fmla="*/ 69 w 71"/>
                <a:gd name="T1" fmla="*/ 23 h 79"/>
                <a:gd name="T2" fmla="*/ 60 w 71"/>
                <a:gd name="T3" fmla="*/ 11 h 79"/>
                <a:gd name="T4" fmla="*/ 54 w 71"/>
                <a:gd name="T5" fmla="*/ 12 h 79"/>
                <a:gd name="T6" fmla="*/ 46 w 71"/>
                <a:gd name="T7" fmla="*/ 9 h 79"/>
                <a:gd name="T8" fmla="*/ 41 w 71"/>
                <a:gd name="T9" fmla="*/ 3 h 79"/>
                <a:gd name="T10" fmla="*/ 35 w 71"/>
                <a:gd name="T11" fmla="*/ 5 h 79"/>
                <a:gd name="T12" fmla="*/ 34 w 71"/>
                <a:gd name="T13" fmla="*/ 6 h 79"/>
                <a:gd name="T14" fmla="*/ 31 w 71"/>
                <a:gd name="T15" fmla="*/ 13 h 79"/>
                <a:gd name="T16" fmla="*/ 29 w 71"/>
                <a:gd name="T17" fmla="*/ 13 h 79"/>
                <a:gd name="T18" fmla="*/ 23 w 71"/>
                <a:gd name="T19" fmla="*/ 21 h 79"/>
                <a:gd name="T20" fmla="*/ 19 w 71"/>
                <a:gd name="T21" fmla="*/ 17 h 79"/>
                <a:gd name="T22" fmla="*/ 19 w 71"/>
                <a:gd name="T23" fmla="*/ 9 h 79"/>
                <a:gd name="T24" fmla="*/ 15 w 71"/>
                <a:gd name="T25" fmla="*/ 5 h 79"/>
                <a:gd name="T26" fmla="*/ 11 w 71"/>
                <a:gd name="T27" fmla="*/ 1 h 79"/>
                <a:gd name="T28" fmla="*/ 2 w 71"/>
                <a:gd name="T29" fmla="*/ 3 h 79"/>
                <a:gd name="T30" fmla="*/ 2 w 71"/>
                <a:gd name="T31" fmla="*/ 11 h 79"/>
                <a:gd name="T32" fmla="*/ 2 w 71"/>
                <a:gd name="T33" fmla="*/ 16 h 79"/>
                <a:gd name="T34" fmla="*/ 2 w 71"/>
                <a:gd name="T35" fmla="*/ 23 h 79"/>
                <a:gd name="T36" fmla="*/ 6 w 71"/>
                <a:gd name="T37" fmla="*/ 31 h 79"/>
                <a:gd name="T38" fmla="*/ 10 w 71"/>
                <a:gd name="T39" fmla="*/ 40 h 79"/>
                <a:gd name="T40" fmla="*/ 11 w 71"/>
                <a:gd name="T41" fmla="*/ 41 h 79"/>
                <a:gd name="T42" fmla="*/ 13 w 71"/>
                <a:gd name="T43" fmla="*/ 47 h 79"/>
                <a:gd name="T44" fmla="*/ 19 w 71"/>
                <a:gd name="T45" fmla="*/ 52 h 79"/>
                <a:gd name="T46" fmla="*/ 26 w 71"/>
                <a:gd name="T47" fmla="*/ 51 h 79"/>
                <a:gd name="T48" fmla="*/ 33 w 71"/>
                <a:gd name="T49" fmla="*/ 52 h 79"/>
                <a:gd name="T50" fmla="*/ 39 w 71"/>
                <a:gd name="T51" fmla="*/ 51 h 79"/>
                <a:gd name="T52" fmla="*/ 40 w 71"/>
                <a:gd name="T53" fmla="*/ 51 h 79"/>
                <a:gd name="T54" fmla="*/ 31 w 71"/>
                <a:gd name="T55" fmla="*/ 58 h 79"/>
                <a:gd name="T56" fmla="*/ 31 w 71"/>
                <a:gd name="T57" fmla="*/ 65 h 79"/>
                <a:gd name="T58" fmla="*/ 31 w 71"/>
                <a:gd name="T59" fmla="*/ 71 h 79"/>
                <a:gd name="T60" fmla="*/ 37 w 71"/>
                <a:gd name="T61" fmla="*/ 78 h 79"/>
                <a:gd name="T62" fmla="*/ 41 w 71"/>
                <a:gd name="T63" fmla="*/ 77 h 79"/>
                <a:gd name="T64" fmla="*/ 42 w 71"/>
                <a:gd name="T65" fmla="*/ 77 h 79"/>
                <a:gd name="T66" fmla="*/ 47 w 71"/>
                <a:gd name="T67" fmla="*/ 79 h 79"/>
                <a:gd name="T68" fmla="*/ 53 w 71"/>
                <a:gd name="T69" fmla="*/ 79 h 79"/>
                <a:gd name="T70" fmla="*/ 58 w 71"/>
                <a:gd name="T71" fmla="*/ 78 h 79"/>
                <a:gd name="T72" fmla="*/ 62 w 71"/>
                <a:gd name="T73" fmla="*/ 67 h 79"/>
                <a:gd name="T74" fmla="*/ 63 w 71"/>
                <a:gd name="T75" fmla="*/ 62 h 79"/>
                <a:gd name="T76" fmla="*/ 67 w 71"/>
                <a:gd name="T77" fmla="*/ 51 h 79"/>
                <a:gd name="T78" fmla="*/ 66 w 71"/>
                <a:gd name="T79" fmla="*/ 46 h 79"/>
                <a:gd name="T80" fmla="*/ 69 w 71"/>
                <a:gd name="T81" fmla="*/ 39 h 79"/>
                <a:gd name="T82" fmla="*/ 23 w 71"/>
                <a:gd name="T83" fmla="*/ 25 h 79"/>
                <a:gd name="T84" fmla="*/ 23 w 71"/>
                <a:gd name="T85" fmla="*/ 26 h 79"/>
                <a:gd name="T86" fmla="*/ 23 w 71"/>
                <a:gd name="T87" fmla="*/ 25 h 79"/>
                <a:gd name="T88" fmla="*/ 35 w 71"/>
                <a:gd name="T89" fmla="*/ 16 h 79"/>
                <a:gd name="T90" fmla="*/ 35 w 71"/>
                <a:gd name="T91" fmla="*/ 16 h 79"/>
                <a:gd name="T92" fmla="*/ 40 w 71"/>
                <a:gd name="T93" fmla="*/ 28 h 79"/>
                <a:gd name="T94" fmla="*/ 37 w 71"/>
                <a:gd name="T95" fmla="*/ 22 h 79"/>
                <a:gd name="T96" fmla="*/ 36 w 71"/>
                <a:gd name="T97" fmla="*/ 18 h 79"/>
                <a:gd name="T98" fmla="*/ 40 w 71"/>
                <a:gd name="T99" fmla="*/ 22 h 79"/>
                <a:gd name="T100" fmla="*/ 43 w 71"/>
                <a:gd name="T101" fmla="*/ 3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1" h="79">
                  <a:moveTo>
                    <a:pt x="69" y="26"/>
                  </a:moveTo>
                  <a:cubicBezTo>
                    <a:pt x="69" y="25"/>
                    <a:pt x="69" y="24"/>
                    <a:pt x="69" y="23"/>
                  </a:cubicBezTo>
                  <a:cubicBezTo>
                    <a:pt x="68" y="20"/>
                    <a:pt x="68" y="18"/>
                    <a:pt x="67" y="16"/>
                  </a:cubicBezTo>
                  <a:cubicBezTo>
                    <a:pt x="66" y="13"/>
                    <a:pt x="63" y="11"/>
                    <a:pt x="60" y="11"/>
                  </a:cubicBezTo>
                  <a:cubicBezTo>
                    <a:pt x="58" y="11"/>
                    <a:pt x="57" y="11"/>
                    <a:pt x="55" y="12"/>
                  </a:cubicBezTo>
                  <a:cubicBezTo>
                    <a:pt x="55" y="12"/>
                    <a:pt x="54" y="12"/>
                    <a:pt x="54" y="12"/>
                  </a:cubicBezTo>
                  <a:cubicBezTo>
                    <a:pt x="52" y="10"/>
                    <a:pt x="51" y="9"/>
                    <a:pt x="47" y="8"/>
                  </a:cubicBezTo>
                  <a:cubicBezTo>
                    <a:pt x="47" y="8"/>
                    <a:pt x="47" y="9"/>
                    <a:pt x="46" y="9"/>
                  </a:cubicBezTo>
                  <a:cubicBezTo>
                    <a:pt x="47" y="7"/>
                    <a:pt x="46" y="6"/>
                    <a:pt x="46" y="5"/>
                  </a:cubicBezTo>
                  <a:cubicBezTo>
                    <a:pt x="45" y="3"/>
                    <a:pt x="43" y="3"/>
                    <a:pt x="41" y="3"/>
                  </a:cubicBezTo>
                  <a:cubicBezTo>
                    <a:pt x="39" y="3"/>
                    <a:pt x="38" y="3"/>
                    <a:pt x="36" y="4"/>
                  </a:cubicBezTo>
                  <a:cubicBezTo>
                    <a:pt x="36" y="4"/>
                    <a:pt x="36" y="5"/>
                    <a:pt x="35" y="5"/>
                  </a:cubicBezTo>
                  <a:cubicBezTo>
                    <a:pt x="35" y="5"/>
                    <a:pt x="35" y="5"/>
                    <a:pt x="35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3" y="6"/>
                    <a:pt x="32" y="7"/>
                    <a:pt x="31" y="8"/>
                  </a:cubicBezTo>
                  <a:cubicBezTo>
                    <a:pt x="30" y="9"/>
                    <a:pt x="30" y="11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0" y="13"/>
                    <a:pt x="29" y="13"/>
                  </a:cubicBezTo>
                  <a:cubicBezTo>
                    <a:pt x="28" y="13"/>
                    <a:pt x="26" y="14"/>
                    <a:pt x="25" y="15"/>
                  </a:cubicBezTo>
                  <a:cubicBezTo>
                    <a:pt x="24" y="16"/>
                    <a:pt x="23" y="19"/>
                    <a:pt x="23" y="21"/>
                  </a:cubicBezTo>
                  <a:cubicBezTo>
                    <a:pt x="23" y="20"/>
                    <a:pt x="23" y="19"/>
                    <a:pt x="22" y="19"/>
                  </a:cubicBezTo>
                  <a:cubicBezTo>
                    <a:pt x="22" y="18"/>
                    <a:pt x="20" y="17"/>
                    <a:pt x="19" y="17"/>
                  </a:cubicBezTo>
                  <a:cubicBezTo>
                    <a:pt x="19" y="17"/>
                    <a:pt x="19" y="16"/>
                    <a:pt x="20" y="16"/>
                  </a:cubicBezTo>
                  <a:cubicBezTo>
                    <a:pt x="20" y="14"/>
                    <a:pt x="20" y="11"/>
                    <a:pt x="19" y="9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6" y="6"/>
                    <a:pt x="16" y="6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4" y="3"/>
                    <a:pt x="13" y="2"/>
                    <a:pt x="11" y="1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5" y="0"/>
                    <a:pt x="3" y="1"/>
                    <a:pt x="2" y="3"/>
                  </a:cubicBezTo>
                  <a:cubicBezTo>
                    <a:pt x="0" y="5"/>
                    <a:pt x="0" y="8"/>
                    <a:pt x="1" y="10"/>
                  </a:cubicBezTo>
                  <a:cubicBezTo>
                    <a:pt x="1" y="11"/>
                    <a:pt x="2" y="11"/>
                    <a:pt x="2" y="1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3"/>
                    <a:pt x="2" y="15"/>
                    <a:pt x="2" y="16"/>
                  </a:cubicBezTo>
                  <a:cubicBezTo>
                    <a:pt x="3" y="17"/>
                    <a:pt x="4" y="18"/>
                    <a:pt x="5" y="19"/>
                  </a:cubicBezTo>
                  <a:cubicBezTo>
                    <a:pt x="3" y="20"/>
                    <a:pt x="2" y="22"/>
                    <a:pt x="2" y="23"/>
                  </a:cubicBezTo>
                  <a:cubicBezTo>
                    <a:pt x="1" y="26"/>
                    <a:pt x="2" y="28"/>
                    <a:pt x="3" y="29"/>
                  </a:cubicBezTo>
                  <a:cubicBezTo>
                    <a:pt x="4" y="30"/>
                    <a:pt x="5" y="31"/>
                    <a:pt x="6" y="31"/>
                  </a:cubicBezTo>
                  <a:cubicBezTo>
                    <a:pt x="6" y="32"/>
                    <a:pt x="5" y="33"/>
                    <a:pt x="6" y="35"/>
                  </a:cubicBezTo>
                  <a:cubicBezTo>
                    <a:pt x="6" y="37"/>
                    <a:pt x="8" y="39"/>
                    <a:pt x="10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1"/>
                    <a:pt x="11" y="41"/>
                  </a:cubicBezTo>
                  <a:cubicBezTo>
                    <a:pt x="12" y="42"/>
                    <a:pt x="13" y="42"/>
                    <a:pt x="14" y="43"/>
                  </a:cubicBezTo>
                  <a:cubicBezTo>
                    <a:pt x="13" y="44"/>
                    <a:pt x="13" y="45"/>
                    <a:pt x="13" y="47"/>
                  </a:cubicBezTo>
                  <a:cubicBezTo>
                    <a:pt x="14" y="48"/>
                    <a:pt x="15" y="51"/>
                    <a:pt x="18" y="52"/>
                  </a:cubicBezTo>
                  <a:cubicBezTo>
                    <a:pt x="18" y="52"/>
                    <a:pt x="19" y="52"/>
                    <a:pt x="19" y="52"/>
                  </a:cubicBezTo>
                  <a:cubicBezTo>
                    <a:pt x="20" y="52"/>
                    <a:pt x="22" y="52"/>
                    <a:pt x="23" y="52"/>
                  </a:cubicBezTo>
                  <a:cubicBezTo>
                    <a:pt x="24" y="51"/>
                    <a:pt x="25" y="51"/>
                    <a:pt x="26" y="51"/>
                  </a:cubicBezTo>
                  <a:cubicBezTo>
                    <a:pt x="27" y="51"/>
                    <a:pt x="28" y="51"/>
                    <a:pt x="29" y="52"/>
                  </a:cubicBezTo>
                  <a:cubicBezTo>
                    <a:pt x="30" y="52"/>
                    <a:pt x="31" y="52"/>
                    <a:pt x="33" y="52"/>
                  </a:cubicBezTo>
                  <a:cubicBezTo>
                    <a:pt x="34" y="52"/>
                    <a:pt x="35" y="51"/>
                    <a:pt x="37" y="51"/>
                  </a:cubicBezTo>
                  <a:cubicBezTo>
                    <a:pt x="38" y="51"/>
                    <a:pt x="38" y="51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2"/>
                    <a:pt x="38" y="52"/>
                    <a:pt x="37" y="53"/>
                  </a:cubicBezTo>
                  <a:cubicBezTo>
                    <a:pt x="35" y="54"/>
                    <a:pt x="33" y="55"/>
                    <a:pt x="31" y="58"/>
                  </a:cubicBezTo>
                  <a:cubicBezTo>
                    <a:pt x="30" y="60"/>
                    <a:pt x="31" y="62"/>
                    <a:pt x="31" y="63"/>
                  </a:cubicBezTo>
                  <a:cubicBezTo>
                    <a:pt x="31" y="64"/>
                    <a:pt x="31" y="64"/>
                    <a:pt x="31" y="65"/>
                  </a:cubicBezTo>
                  <a:cubicBezTo>
                    <a:pt x="31" y="66"/>
                    <a:pt x="31" y="67"/>
                    <a:pt x="31" y="68"/>
                  </a:cubicBezTo>
                  <a:cubicBezTo>
                    <a:pt x="31" y="69"/>
                    <a:pt x="31" y="70"/>
                    <a:pt x="31" y="71"/>
                  </a:cubicBezTo>
                  <a:cubicBezTo>
                    <a:pt x="31" y="73"/>
                    <a:pt x="31" y="75"/>
                    <a:pt x="32" y="76"/>
                  </a:cubicBezTo>
                  <a:cubicBezTo>
                    <a:pt x="33" y="77"/>
                    <a:pt x="35" y="78"/>
                    <a:pt x="37" y="78"/>
                  </a:cubicBezTo>
                  <a:cubicBezTo>
                    <a:pt x="38" y="78"/>
                    <a:pt x="39" y="77"/>
                    <a:pt x="40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77"/>
                    <a:pt x="42" y="77"/>
                    <a:pt x="42" y="77"/>
                  </a:cubicBezTo>
                  <a:cubicBezTo>
                    <a:pt x="43" y="78"/>
                    <a:pt x="44" y="79"/>
                    <a:pt x="46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8" y="79"/>
                    <a:pt x="49" y="79"/>
                    <a:pt x="50" y="79"/>
                  </a:cubicBezTo>
                  <a:cubicBezTo>
                    <a:pt x="51" y="79"/>
                    <a:pt x="52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5" y="79"/>
                    <a:pt x="57" y="79"/>
                    <a:pt x="58" y="78"/>
                  </a:cubicBezTo>
                  <a:cubicBezTo>
                    <a:pt x="61" y="76"/>
                    <a:pt x="62" y="72"/>
                    <a:pt x="62" y="70"/>
                  </a:cubicBezTo>
                  <a:cubicBezTo>
                    <a:pt x="62" y="69"/>
                    <a:pt x="62" y="68"/>
                    <a:pt x="62" y="67"/>
                  </a:cubicBezTo>
                  <a:cubicBezTo>
                    <a:pt x="62" y="65"/>
                    <a:pt x="62" y="64"/>
                    <a:pt x="62" y="64"/>
                  </a:cubicBezTo>
                  <a:cubicBezTo>
                    <a:pt x="62" y="63"/>
                    <a:pt x="63" y="63"/>
                    <a:pt x="63" y="62"/>
                  </a:cubicBezTo>
                  <a:cubicBezTo>
                    <a:pt x="64" y="62"/>
                    <a:pt x="65" y="61"/>
                    <a:pt x="65" y="60"/>
                  </a:cubicBezTo>
                  <a:cubicBezTo>
                    <a:pt x="68" y="57"/>
                    <a:pt x="67" y="54"/>
                    <a:pt x="67" y="51"/>
                  </a:cubicBezTo>
                  <a:cubicBezTo>
                    <a:pt x="67" y="51"/>
                    <a:pt x="67" y="50"/>
                    <a:pt x="67" y="50"/>
                  </a:cubicBezTo>
                  <a:cubicBezTo>
                    <a:pt x="66" y="48"/>
                    <a:pt x="66" y="47"/>
                    <a:pt x="66" y="46"/>
                  </a:cubicBezTo>
                  <a:cubicBezTo>
                    <a:pt x="67" y="45"/>
                    <a:pt x="67" y="44"/>
                    <a:pt x="68" y="42"/>
                  </a:cubicBezTo>
                  <a:cubicBezTo>
                    <a:pt x="68" y="41"/>
                    <a:pt x="69" y="40"/>
                    <a:pt x="69" y="39"/>
                  </a:cubicBezTo>
                  <a:cubicBezTo>
                    <a:pt x="71" y="34"/>
                    <a:pt x="70" y="30"/>
                    <a:pt x="69" y="26"/>
                  </a:cubicBezTo>
                  <a:close/>
                  <a:moveTo>
                    <a:pt x="23" y="25"/>
                  </a:moveTo>
                  <a:cubicBezTo>
                    <a:pt x="23" y="26"/>
                    <a:pt x="23" y="26"/>
                    <a:pt x="23" y="27"/>
                  </a:cubicBezTo>
                  <a:cubicBezTo>
                    <a:pt x="23" y="27"/>
                    <a:pt x="23" y="26"/>
                    <a:pt x="23" y="26"/>
                  </a:cubicBezTo>
                  <a:cubicBezTo>
                    <a:pt x="23" y="26"/>
                    <a:pt x="23" y="25"/>
                    <a:pt x="23" y="25"/>
                  </a:cubicBezTo>
                  <a:cubicBezTo>
                    <a:pt x="23" y="25"/>
                    <a:pt x="23" y="25"/>
                    <a:pt x="23" y="25"/>
                  </a:cubicBezTo>
                  <a:close/>
                  <a:moveTo>
                    <a:pt x="35" y="16"/>
                  </a:move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7"/>
                    <a:pt x="35" y="16"/>
                    <a:pt x="35" y="16"/>
                  </a:cubicBezTo>
                  <a:close/>
                  <a:moveTo>
                    <a:pt x="43" y="30"/>
                  </a:moveTo>
                  <a:cubicBezTo>
                    <a:pt x="42" y="29"/>
                    <a:pt x="41" y="29"/>
                    <a:pt x="40" y="28"/>
                  </a:cubicBezTo>
                  <a:cubicBezTo>
                    <a:pt x="40" y="27"/>
                    <a:pt x="40" y="27"/>
                    <a:pt x="39" y="26"/>
                  </a:cubicBezTo>
                  <a:cubicBezTo>
                    <a:pt x="38" y="25"/>
                    <a:pt x="37" y="23"/>
                    <a:pt x="37" y="22"/>
                  </a:cubicBezTo>
                  <a:cubicBezTo>
                    <a:pt x="36" y="21"/>
                    <a:pt x="36" y="21"/>
                    <a:pt x="36" y="20"/>
                  </a:cubicBezTo>
                  <a:cubicBezTo>
                    <a:pt x="36" y="20"/>
                    <a:pt x="36" y="19"/>
                    <a:pt x="36" y="18"/>
                  </a:cubicBezTo>
                  <a:cubicBezTo>
                    <a:pt x="36" y="19"/>
                    <a:pt x="36" y="19"/>
                    <a:pt x="36" y="20"/>
                  </a:cubicBezTo>
                  <a:cubicBezTo>
                    <a:pt x="37" y="21"/>
                    <a:pt x="39" y="22"/>
                    <a:pt x="40" y="22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3" y="23"/>
                    <a:pt x="43" y="27"/>
                    <a:pt x="43" y="30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17" name="Freeform 27"/>
            <p:cNvSpPr>
              <a:spLocks noEditPoints="1"/>
            </p:cNvSpPr>
            <p:nvPr/>
          </p:nvSpPr>
          <p:spPr bwMode="auto">
            <a:xfrm>
              <a:off x="14109676" y="4001313"/>
              <a:ext cx="4704662" cy="2713993"/>
            </a:xfrm>
            <a:custGeom>
              <a:avLst/>
              <a:gdLst>
                <a:gd name="T0" fmla="*/ 834 w 863"/>
                <a:gd name="T1" fmla="*/ 311 h 547"/>
                <a:gd name="T2" fmla="*/ 792 w 863"/>
                <a:gd name="T3" fmla="*/ 284 h 547"/>
                <a:gd name="T4" fmla="*/ 774 w 863"/>
                <a:gd name="T5" fmla="*/ 241 h 547"/>
                <a:gd name="T6" fmla="*/ 848 w 863"/>
                <a:gd name="T7" fmla="*/ 263 h 547"/>
                <a:gd name="T8" fmla="*/ 847 w 863"/>
                <a:gd name="T9" fmla="*/ 195 h 547"/>
                <a:gd name="T10" fmla="*/ 790 w 863"/>
                <a:gd name="T11" fmla="*/ 178 h 547"/>
                <a:gd name="T12" fmla="*/ 735 w 863"/>
                <a:gd name="T13" fmla="*/ 169 h 547"/>
                <a:gd name="T14" fmla="*/ 725 w 863"/>
                <a:gd name="T15" fmla="*/ 129 h 547"/>
                <a:gd name="T16" fmla="*/ 689 w 863"/>
                <a:gd name="T17" fmla="*/ 93 h 547"/>
                <a:gd name="T18" fmla="*/ 665 w 863"/>
                <a:gd name="T19" fmla="*/ 87 h 547"/>
                <a:gd name="T20" fmla="*/ 614 w 863"/>
                <a:gd name="T21" fmla="*/ 63 h 547"/>
                <a:gd name="T22" fmla="*/ 550 w 863"/>
                <a:gd name="T23" fmla="*/ 63 h 547"/>
                <a:gd name="T24" fmla="*/ 523 w 863"/>
                <a:gd name="T25" fmla="*/ 14 h 547"/>
                <a:gd name="T26" fmla="*/ 480 w 863"/>
                <a:gd name="T27" fmla="*/ 95 h 547"/>
                <a:gd name="T28" fmla="*/ 467 w 863"/>
                <a:gd name="T29" fmla="*/ 13 h 547"/>
                <a:gd name="T30" fmla="*/ 446 w 863"/>
                <a:gd name="T31" fmla="*/ 151 h 547"/>
                <a:gd name="T32" fmla="*/ 494 w 863"/>
                <a:gd name="T33" fmla="*/ 169 h 547"/>
                <a:gd name="T34" fmla="*/ 483 w 863"/>
                <a:gd name="T35" fmla="*/ 244 h 547"/>
                <a:gd name="T36" fmla="*/ 462 w 863"/>
                <a:gd name="T37" fmla="*/ 226 h 547"/>
                <a:gd name="T38" fmla="*/ 428 w 863"/>
                <a:gd name="T39" fmla="*/ 227 h 547"/>
                <a:gd name="T40" fmla="*/ 397 w 863"/>
                <a:gd name="T41" fmla="*/ 176 h 547"/>
                <a:gd name="T42" fmla="*/ 394 w 863"/>
                <a:gd name="T43" fmla="*/ 112 h 547"/>
                <a:gd name="T44" fmla="*/ 424 w 863"/>
                <a:gd name="T45" fmla="*/ 35 h 547"/>
                <a:gd name="T46" fmla="*/ 364 w 863"/>
                <a:gd name="T47" fmla="*/ 58 h 547"/>
                <a:gd name="T48" fmla="*/ 346 w 863"/>
                <a:gd name="T49" fmla="*/ 121 h 547"/>
                <a:gd name="T50" fmla="*/ 368 w 863"/>
                <a:gd name="T51" fmla="*/ 186 h 547"/>
                <a:gd name="T52" fmla="*/ 376 w 863"/>
                <a:gd name="T53" fmla="*/ 219 h 547"/>
                <a:gd name="T54" fmla="*/ 348 w 863"/>
                <a:gd name="T55" fmla="*/ 269 h 547"/>
                <a:gd name="T56" fmla="*/ 338 w 863"/>
                <a:gd name="T57" fmla="*/ 226 h 547"/>
                <a:gd name="T58" fmla="*/ 315 w 863"/>
                <a:gd name="T59" fmla="*/ 242 h 547"/>
                <a:gd name="T60" fmla="*/ 293 w 863"/>
                <a:gd name="T61" fmla="*/ 239 h 547"/>
                <a:gd name="T62" fmla="*/ 246 w 863"/>
                <a:gd name="T63" fmla="*/ 229 h 547"/>
                <a:gd name="T64" fmla="*/ 205 w 863"/>
                <a:gd name="T65" fmla="*/ 179 h 547"/>
                <a:gd name="T66" fmla="*/ 188 w 863"/>
                <a:gd name="T67" fmla="*/ 204 h 547"/>
                <a:gd name="T68" fmla="*/ 162 w 863"/>
                <a:gd name="T69" fmla="*/ 247 h 547"/>
                <a:gd name="T70" fmla="*/ 132 w 863"/>
                <a:gd name="T71" fmla="*/ 198 h 547"/>
                <a:gd name="T72" fmla="*/ 81 w 863"/>
                <a:gd name="T73" fmla="*/ 180 h 547"/>
                <a:gd name="T74" fmla="*/ 71 w 863"/>
                <a:gd name="T75" fmla="*/ 129 h 547"/>
                <a:gd name="T76" fmla="*/ 339 w 863"/>
                <a:gd name="T77" fmla="*/ 547 h 547"/>
                <a:gd name="T78" fmla="*/ 370 w 863"/>
                <a:gd name="T79" fmla="*/ 480 h 547"/>
                <a:gd name="T80" fmla="*/ 403 w 863"/>
                <a:gd name="T81" fmla="*/ 448 h 547"/>
                <a:gd name="T82" fmla="*/ 466 w 863"/>
                <a:gd name="T83" fmla="*/ 385 h 547"/>
                <a:gd name="T84" fmla="*/ 489 w 863"/>
                <a:gd name="T85" fmla="*/ 308 h 547"/>
                <a:gd name="T86" fmla="*/ 526 w 863"/>
                <a:gd name="T87" fmla="*/ 303 h 547"/>
                <a:gd name="T88" fmla="*/ 552 w 863"/>
                <a:gd name="T89" fmla="*/ 244 h 547"/>
                <a:gd name="T90" fmla="*/ 538 w 863"/>
                <a:gd name="T91" fmla="*/ 185 h 547"/>
                <a:gd name="T92" fmla="*/ 531 w 863"/>
                <a:gd name="T93" fmla="*/ 170 h 547"/>
                <a:gd name="T94" fmla="*/ 595 w 863"/>
                <a:gd name="T95" fmla="*/ 161 h 547"/>
                <a:gd name="T96" fmla="*/ 613 w 863"/>
                <a:gd name="T97" fmla="*/ 200 h 547"/>
                <a:gd name="T98" fmla="*/ 671 w 863"/>
                <a:gd name="T99" fmla="*/ 215 h 547"/>
                <a:gd name="T100" fmla="*/ 675 w 863"/>
                <a:gd name="T101" fmla="*/ 310 h 547"/>
                <a:gd name="T102" fmla="*/ 621 w 863"/>
                <a:gd name="T103" fmla="*/ 342 h 547"/>
                <a:gd name="T104" fmla="*/ 685 w 863"/>
                <a:gd name="T105" fmla="*/ 353 h 547"/>
                <a:gd name="T106" fmla="*/ 728 w 863"/>
                <a:gd name="T107" fmla="*/ 369 h 547"/>
                <a:gd name="T108" fmla="*/ 776 w 863"/>
                <a:gd name="T109" fmla="*/ 396 h 547"/>
                <a:gd name="T110" fmla="*/ 837 w 863"/>
                <a:gd name="T111" fmla="*/ 378 h 547"/>
                <a:gd name="T112" fmla="*/ 825 w 863"/>
                <a:gd name="T113" fmla="*/ 361 h 547"/>
                <a:gd name="T114" fmla="*/ 493 w 863"/>
                <a:gd name="T115" fmla="*/ 121 h 547"/>
                <a:gd name="T116" fmla="*/ 457 w 863"/>
                <a:gd name="T117" fmla="*/ 345 h 547"/>
                <a:gd name="T118" fmla="*/ 573 w 863"/>
                <a:gd name="T119" fmla="*/ 14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63" h="547">
                  <a:moveTo>
                    <a:pt x="862" y="359"/>
                  </a:moveTo>
                  <a:cubicBezTo>
                    <a:pt x="863" y="356"/>
                    <a:pt x="863" y="352"/>
                    <a:pt x="862" y="349"/>
                  </a:cubicBezTo>
                  <a:cubicBezTo>
                    <a:pt x="860" y="347"/>
                    <a:pt x="859" y="344"/>
                    <a:pt x="856" y="342"/>
                  </a:cubicBezTo>
                  <a:cubicBezTo>
                    <a:pt x="856" y="342"/>
                    <a:pt x="855" y="342"/>
                    <a:pt x="855" y="341"/>
                  </a:cubicBezTo>
                  <a:cubicBezTo>
                    <a:pt x="855" y="341"/>
                    <a:pt x="854" y="341"/>
                    <a:pt x="854" y="340"/>
                  </a:cubicBezTo>
                  <a:cubicBezTo>
                    <a:pt x="854" y="340"/>
                    <a:pt x="855" y="339"/>
                    <a:pt x="856" y="339"/>
                  </a:cubicBezTo>
                  <a:cubicBezTo>
                    <a:pt x="858" y="335"/>
                    <a:pt x="858" y="330"/>
                    <a:pt x="854" y="326"/>
                  </a:cubicBezTo>
                  <a:cubicBezTo>
                    <a:pt x="853" y="324"/>
                    <a:pt x="851" y="324"/>
                    <a:pt x="849" y="323"/>
                  </a:cubicBezTo>
                  <a:cubicBezTo>
                    <a:pt x="848" y="323"/>
                    <a:pt x="847" y="323"/>
                    <a:pt x="847" y="323"/>
                  </a:cubicBezTo>
                  <a:cubicBezTo>
                    <a:pt x="847" y="322"/>
                    <a:pt x="847" y="322"/>
                    <a:pt x="847" y="321"/>
                  </a:cubicBezTo>
                  <a:cubicBezTo>
                    <a:pt x="847" y="320"/>
                    <a:pt x="847" y="318"/>
                    <a:pt x="846" y="316"/>
                  </a:cubicBezTo>
                  <a:cubicBezTo>
                    <a:pt x="845" y="315"/>
                    <a:pt x="842" y="315"/>
                    <a:pt x="841" y="315"/>
                  </a:cubicBezTo>
                  <a:cubicBezTo>
                    <a:pt x="841" y="315"/>
                    <a:pt x="841" y="315"/>
                    <a:pt x="841" y="315"/>
                  </a:cubicBezTo>
                  <a:cubicBezTo>
                    <a:pt x="840" y="315"/>
                    <a:pt x="839" y="315"/>
                    <a:pt x="839" y="315"/>
                  </a:cubicBezTo>
                  <a:cubicBezTo>
                    <a:pt x="838" y="315"/>
                    <a:pt x="838" y="315"/>
                    <a:pt x="838" y="315"/>
                  </a:cubicBezTo>
                  <a:cubicBezTo>
                    <a:pt x="838" y="315"/>
                    <a:pt x="838" y="315"/>
                    <a:pt x="838" y="315"/>
                  </a:cubicBezTo>
                  <a:cubicBezTo>
                    <a:pt x="837" y="315"/>
                    <a:pt x="837" y="314"/>
                    <a:pt x="837" y="313"/>
                  </a:cubicBezTo>
                  <a:cubicBezTo>
                    <a:pt x="836" y="313"/>
                    <a:pt x="835" y="312"/>
                    <a:pt x="834" y="311"/>
                  </a:cubicBezTo>
                  <a:cubicBezTo>
                    <a:pt x="834" y="310"/>
                    <a:pt x="833" y="310"/>
                    <a:pt x="833" y="310"/>
                  </a:cubicBezTo>
                  <a:cubicBezTo>
                    <a:pt x="833" y="310"/>
                    <a:pt x="833" y="310"/>
                    <a:pt x="833" y="310"/>
                  </a:cubicBezTo>
                  <a:cubicBezTo>
                    <a:pt x="833" y="309"/>
                    <a:pt x="834" y="307"/>
                    <a:pt x="834" y="306"/>
                  </a:cubicBezTo>
                  <a:cubicBezTo>
                    <a:pt x="836" y="303"/>
                    <a:pt x="836" y="303"/>
                    <a:pt x="836" y="303"/>
                  </a:cubicBezTo>
                  <a:cubicBezTo>
                    <a:pt x="833" y="302"/>
                    <a:pt x="833" y="302"/>
                    <a:pt x="833" y="302"/>
                  </a:cubicBezTo>
                  <a:cubicBezTo>
                    <a:pt x="831" y="301"/>
                    <a:pt x="830" y="301"/>
                    <a:pt x="829" y="301"/>
                  </a:cubicBezTo>
                  <a:cubicBezTo>
                    <a:pt x="828" y="301"/>
                    <a:pt x="826" y="301"/>
                    <a:pt x="826" y="301"/>
                  </a:cubicBezTo>
                  <a:cubicBezTo>
                    <a:pt x="825" y="301"/>
                    <a:pt x="824" y="301"/>
                    <a:pt x="824" y="301"/>
                  </a:cubicBezTo>
                  <a:cubicBezTo>
                    <a:pt x="824" y="300"/>
                    <a:pt x="824" y="299"/>
                    <a:pt x="824" y="299"/>
                  </a:cubicBezTo>
                  <a:cubicBezTo>
                    <a:pt x="824" y="297"/>
                    <a:pt x="823" y="292"/>
                    <a:pt x="817" y="292"/>
                  </a:cubicBezTo>
                  <a:cubicBezTo>
                    <a:pt x="815" y="292"/>
                    <a:pt x="813" y="293"/>
                    <a:pt x="812" y="294"/>
                  </a:cubicBezTo>
                  <a:cubicBezTo>
                    <a:pt x="811" y="294"/>
                    <a:pt x="810" y="295"/>
                    <a:pt x="810" y="295"/>
                  </a:cubicBezTo>
                  <a:cubicBezTo>
                    <a:pt x="810" y="295"/>
                    <a:pt x="809" y="294"/>
                    <a:pt x="808" y="293"/>
                  </a:cubicBezTo>
                  <a:cubicBezTo>
                    <a:pt x="807" y="292"/>
                    <a:pt x="807" y="291"/>
                    <a:pt x="806" y="290"/>
                  </a:cubicBezTo>
                  <a:cubicBezTo>
                    <a:pt x="804" y="289"/>
                    <a:pt x="801" y="289"/>
                    <a:pt x="800" y="289"/>
                  </a:cubicBezTo>
                  <a:cubicBezTo>
                    <a:pt x="798" y="289"/>
                    <a:pt x="798" y="289"/>
                    <a:pt x="798" y="289"/>
                  </a:cubicBezTo>
                  <a:cubicBezTo>
                    <a:pt x="797" y="289"/>
                    <a:pt x="796" y="289"/>
                    <a:pt x="796" y="289"/>
                  </a:cubicBezTo>
                  <a:cubicBezTo>
                    <a:pt x="794" y="288"/>
                    <a:pt x="793" y="287"/>
                    <a:pt x="792" y="284"/>
                  </a:cubicBezTo>
                  <a:cubicBezTo>
                    <a:pt x="791" y="281"/>
                    <a:pt x="790" y="278"/>
                    <a:pt x="787" y="276"/>
                  </a:cubicBezTo>
                  <a:cubicBezTo>
                    <a:pt x="786" y="276"/>
                    <a:pt x="786" y="276"/>
                    <a:pt x="785" y="276"/>
                  </a:cubicBezTo>
                  <a:cubicBezTo>
                    <a:pt x="785" y="275"/>
                    <a:pt x="785" y="274"/>
                    <a:pt x="785" y="274"/>
                  </a:cubicBezTo>
                  <a:cubicBezTo>
                    <a:pt x="784" y="273"/>
                    <a:pt x="783" y="270"/>
                    <a:pt x="779" y="270"/>
                  </a:cubicBezTo>
                  <a:cubicBezTo>
                    <a:pt x="779" y="270"/>
                    <a:pt x="778" y="270"/>
                    <a:pt x="777" y="270"/>
                  </a:cubicBezTo>
                  <a:cubicBezTo>
                    <a:pt x="776" y="271"/>
                    <a:pt x="775" y="271"/>
                    <a:pt x="775" y="272"/>
                  </a:cubicBezTo>
                  <a:cubicBezTo>
                    <a:pt x="775" y="272"/>
                    <a:pt x="775" y="272"/>
                    <a:pt x="775" y="271"/>
                  </a:cubicBezTo>
                  <a:cubicBezTo>
                    <a:pt x="774" y="270"/>
                    <a:pt x="772" y="270"/>
                    <a:pt x="771" y="268"/>
                  </a:cubicBezTo>
                  <a:cubicBezTo>
                    <a:pt x="771" y="268"/>
                    <a:pt x="771" y="268"/>
                    <a:pt x="770" y="268"/>
                  </a:cubicBezTo>
                  <a:cubicBezTo>
                    <a:pt x="771" y="268"/>
                    <a:pt x="772" y="268"/>
                    <a:pt x="772" y="268"/>
                  </a:cubicBezTo>
                  <a:cubicBezTo>
                    <a:pt x="773" y="268"/>
                    <a:pt x="774" y="268"/>
                    <a:pt x="775" y="268"/>
                  </a:cubicBezTo>
                  <a:cubicBezTo>
                    <a:pt x="777" y="267"/>
                    <a:pt x="779" y="266"/>
                    <a:pt x="780" y="263"/>
                  </a:cubicBezTo>
                  <a:cubicBezTo>
                    <a:pt x="781" y="261"/>
                    <a:pt x="780" y="258"/>
                    <a:pt x="779" y="256"/>
                  </a:cubicBezTo>
                  <a:cubicBezTo>
                    <a:pt x="777" y="253"/>
                    <a:pt x="774" y="252"/>
                    <a:pt x="771" y="251"/>
                  </a:cubicBezTo>
                  <a:cubicBezTo>
                    <a:pt x="768" y="250"/>
                    <a:pt x="766" y="249"/>
                    <a:pt x="765" y="247"/>
                  </a:cubicBezTo>
                  <a:cubicBezTo>
                    <a:pt x="765" y="246"/>
                    <a:pt x="765" y="246"/>
                    <a:pt x="765" y="246"/>
                  </a:cubicBezTo>
                  <a:cubicBezTo>
                    <a:pt x="765" y="244"/>
                    <a:pt x="768" y="243"/>
                    <a:pt x="770" y="243"/>
                  </a:cubicBezTo>
                  <a:cubicBezTo>
                    <a:pt x="772" y="242"/>
                    <a:pt x="773" y="242"/>
                    <a:pt x="774" y="241"/>
                  </a:cubicBezTo>
                  <a:cubicBezTo>
                    <a:pt x="776" y="240"/>
                    <a:pt x="776" y="240"/>
                    <a:pt x="776" y="240"/>
                  </a:cubicBezTo>
                  <a:cubicBezTo>
                    <a:pt x="776" y="240"/>
                    <a:pt x="777" y="240"/>
                    <a:pt x="777" y="239"/>
                  </a:cubicBezTo>
                  <a:cubicBezTo>
                    <a:pt x="777" y="239"/>
                    <a:pt x="777" y="240"/>
                    <a:pt x="779" y="240"/>
                  </a:cubicBezTo>
                  <a:cubicBezTo>
                    <a:pt x="779" y="241"/>
                    <a:pt x="779" y="241"/>
                    <a:pt x="779" y="241"/>
                  </a:cubicBezTo>
                  <a:cubicBezTo>
                    <a:pt x="782" y="243"/>
                    <a:pt x="784" y="245"/>
                    <a:pt x="788" y="247"/>
                  </a:cubicBezTo>
                  <a:cubicBezTo>
                    <a:pt x="789" y="248"/>
                    <a:pt x="789" y="248"/>
                    <a:pt x="790" y="248"/>
                  </a:cubicBezTo>
                  <a:cubicBezTo>
                    <a:pt x="792" y="249"/>
                    <a:pt x="793" y="249"/>
                    <a:pt x="794" y="251"/>
                  </a:cubicBezTo>
                  <a:cubicBezTo>
                    <a:pt x="795" y="251"/>
                    <a:pt x="795" y="251"/>
                    <a:pt x="795" y="251"/>
                  </a:cubicBezTo>
                  <a:cubicBezTo>
                    <a:pt x="797" y="253"/>
                    <a:pt x="799" y="256"/>
                    <a:pt x="802" y="256"/>
                  </a:cubicBezTo>
                  <a:cubicBezTo>
                    <a:pt x="803" y="256"/>
                    <a:pt x="804" y="256"/>
                    <a:pt x="805" y="255"/>
                  </a:cubicBezTo>
                  <a:cubicBezTo>
                    <a:pt x="805" y="258"/>
                    <a:pt x="805" y="261"/>
                    <a:pt x="807" y="262"/>
                  </a:cubicBezTo>
                  <a:cubicBezTo>
                    <a:pt x="809" y="264"/>
                    <a:pt x="812" y="265"/>
                    <a:pt x="814" y="266"/>
                  </a:cubicBezTo>
                  <a:cubicBezTo>
                    <a:pt x="815" y="266"/>
                    <a:pt x="816" y="266"/>
                    <a:pt x="816" y="266"/>
                  </a:cubicBezTo>
                  <a:cubicBezTo>
                    <a:pt x="818" y="267"/>
                    <a:pt x="820" y="268"/>
                    <a:pt x="822" y="270"/>
                  </a:cubicBezTo>
                  <a:cubicBezTo>
                    <a:pt x="826" y="275"/>
                    <a:pt x="830" y="278"/>
                    <a:pt x="838" y="278"/>
                  </a:cubicBezTo>
                  <a:cubicBezTo>
                    <a:pt x="843" y="278"/>
                    <a:pt x="847" y="277"/>
                    <a:pt x="849" y="274"/>
                  </a:cubicBezTo>
                  <a:cubicBezTo>
                    <a:pt x="850" y="272"/>
                    <a:pt x="851" y="270"/>
                    <a:pt x="849" y="266"/>
                  </a:cubicBezTo>
                  <a:cubicBezTo>
                    <a:pt x="848" y="263"/>
                    <a:pt x="848" y="263"/>
                    <a:pt x="848" y="263"/>
                  </a:cubicBezTo>
                  <a:cubicBezTo>
                    <a:pt x="847" y="260"/>
                    <a:pt x="845" y="255"/>
                    <a:pt x="843" y="252"/>
                  </a:cubicBezTo>
                  <a:cubicBezTo>
                    <a:pt x="844" y="252"/>
                    <a:pt x="844" y="252"/>
                    <a:pt x="845" y="252"/>
                  </a:cubicBezTo>
                  <a:cubicBezTo>
                    <a:pt x="846" y="252"/>
                    <a:pt x="846" y="252"/>
                    <a:pt x="847" y="251"/>
                  </a:cubicBezTo>
                  <a:cubicBezTo>
                    <a:pt x="850" y="250"/>
                    <a:pt x="851" y="247"/>
                    <a:pt x="852" y="245"/>
                  </a:cubicBezTo>
                  <a:cubicBezTo>
                    <a:pt x="852" y="244"/>
                    <a:pt x="852" y="243"/>
                    <a:pt x="853" y="242"/>
                  </a:cubicBezTo>
                  <a:cubicBezTo>
                    <a:pt x="855" y="239"/>
                    <a:pt x="855" y="237"/>
                    <a:pt x="853" y="234"/>
                  </a:cubicBezTo>
                  <a:cubicBezTo>
                    <a:pt x="853" y="234"/>
                    <a:pt x="852" y="234"/>
                    <a:pt x="852" y="233"/>
                  </a:cubicBezTo>
                  <a:cubicBezTo>
                    <a:pt x="852" y="233"/>
                    <a:pt x="853" y="232"/>
                    <a:pt x="853" y="231"/>
                  </a:cubicBezTo>
                  <a:cubicBezTo>
                    <a:pt x="854" y="230"/>
                    <a:pt x="855" y="229"/>
                    <a:pt x="854" y="227"/>
                  </a:cubicBezTo>
                  <a:cubicBezTo>
                    <a:pt x="853" y="225"/>
                    <a:pt x="851" y="224"/>
                    <a:pt x="850" y="223"/>
                  </a:cubicBezTo>
                  <a:cubicBezTo>
                    <a:pt x="849" y="223"/>
                    <a:pt x="849" y="223"/>
                    <a:pt x="849" y="223"/>
                  </a:cubicBezTo>
                  <a:cubicBezTo>
                    <a:pt x="848" y="222"/>
                    <a:pt x="848" y="222"/>
                    <a:pt x="847" y="221"/>
                  </a:cubicBezTo>
                  <a:cubicBezTo>
                    <a:pt x="851" y="221"/>
                    <a:pt x="853" y="219"/>
                    <a:pt x="854" y="218"/>
                  </a:cubicBezTo>
                  <a:cubicBezTo>
                    <a:pt x="855" y="215"/>
                    <a:pt x="855" y="213"/>
                    <a:pt x="854" y="211"/>
                  </a:cubicBezTo>
                  <a:cubicBezTo>
                    <a:pt x="854" y="210"/>
                    <a:pt x="854" y="209"/>
                    <a:pt x="854" y="209"/>
                  </a:cubicBezTo>
                  <a:cubicBezTo>
                    <a:pt x="854" y="208"/>
                    <a:pt x="855" y="208"/>
                    <a:pt x="855" y="207"/>
                  </a:cubicBezTo>
                  <a:cubicBezTo>
                    <a:pt x="856" y="205"/>
                    <a:pt x="858" y="200"/>
                    <a:pt x="852" y="197"/>
                  </a:cubicBezTo>
                  <a:cubicBezTo>
                    <a:pt x="850" y="196"/>
                    <a:pt x="848" y="196"/>
                    <a:pt x="847" y="195"/>
                  </a:cubicBezTo>
                  <a:cubicBezTo>
                    <a:pt x="845" y="195"/>
                    <a:pt x="844" y="195"/>
                    <a:pt x="843" y="194"/>
                  </a:cubicBezTo>
                  <a:cubicBezTo>
                    <a:pt x="842" y="194"/>
                    <a:pt x="842" y="194"/>
                    <a:pt x="842" y="194"/>
                  </a:cubicBezTo>
                  <a:cubicBezTo>
                    <a:pt x="840" y="193"/>
                    <a:pt x="839" y="192"/>
                    <a:pt x="837" y="192"/>
                  </a:cubicBezTo>
                  <a:cubicBezTo>
                    <a:pt x="835" y="192"/>
                    <a:pt x="833" y="193"/>
                    <a:pt x="831" y="195"/>
                  </a:cubicBezTo>
                  <a:cubicBezTo>
                    <a:pt x="830" y="196"/>
                    <a:pt x="829" y="197"/>
                    <a:pt x="829" y="198"/>
                  </a:cubicBezTo>
                  <a:cubicBezTo>
                    <a:pt x="827" y="199"/>
                    <a:pt x="826" y="201"/>
                    <a:pt x="825" y="201"/>
                  </a:cubicBezTo>
                  <a:cubicBezTo>
                    <a:pt x="825" y="200"/>
                    <a:pt x="825" y="200"/>
                    <a:pt x="825" y="199"/>
                  </a:cubicBezTo>
                  <a:cubicBezTo>
                    <a:pt x="825" y="196"/>
                    <a:pt x="825" y="193"/>
                    <a:pt x="823" y="191"/>
                  </a:cubicBezTo>
                  <a:cubicBezTo>
                    <a:pt x="822" y="190"/>
                    <a:pt x="821" y="189"/>
                    <a:pt x="819" y="189"/>
                  </a:cubicBezTo>
                  <a:cubicBezTo>
                    <a:pt x="819" y="189"/>
                    <a:pt x="818" y="189"/>
                    <a:pt x="818" y="190"/>
                  </a:cubicBezTo>
                  <a:cubicBezTo>
                    <a:pt x="816" y="190"/>
                    <a:pt x="814" y="191"/>
                    <a:pt x="812" y="193"/>
                  </a:cubicBezTo>
                  <a:cubicBezTo>
                    <a:pt x="811" y="193"/>
                    <a:pt x="810" y="194"/>
                    <a:pt x="810" y="194"/>
                  </a:cubicBezTo>
                  <a:cubicBezTo>
                    <a:pt x="810" y="194"/>
                    <a:pt x="810" y="194"/>
                    <a:pt x="810" y="194"/>
                  </a:cubicBezTo>
                  <a:cubicBezTo>
                    <a:pt x="809" y="194"/>
                    <a:pt x="808" y="193"/>
                    <a:pt x="807" y="191"/>
                  </a:cubicBezTo>
                  <a:cubicBezTo>
                    <a:pt x="806" y="191"/>
                    <a:pt x="806" y="190"/>
                    <a:pt x="805" y="189"/>
                  </a:cubicBezTo>
                  <a:cubicBezTo>
                    <a:pt x="802" y="186"/>
                    <a:pt x="799" y="183"/>
                    <a:pt x="796" y="181"/>
                  </a:cubicBezTo>
                  <a:cubicBezTo>
                    <a:pt x="796" y="181"/>
                    <a:pt x="796" y="181"/>
                    <a:pt x="796" y="181"/>
                  </a:cubicBezTo>
                  <a:cubicBezTo>
                    <a:pt x="795" y="180"/>
                    <a:pt x="793" y="178"/>
                    <a:pt x="790" y="178"/>
                  </a:cubicBezTo>
                  <a:cubicBezTo>
                    <a:pt x="790" y="178"/>
                    <a:pt x="789" y="178"/>
                    <a:pt x="789" y="178"/>
                  </a:cubicBezTo>
                  <a:cubicBezTo>
                    <a:pt x="788" y="179"/>
                    <a:pt x="787" y="179"/>
                    <a:pt x="786" y="180"/>
                  </a:cubicBezTo>
                  <a:cubicBezTo>
                    <a:pt x="785" y="177"/>
                    <a:pt x="785" y="175"/>
                    <a:pt x="783" y="174"/>
                  </a:cubicBezTo>
                  <a:cubicBezTo>
                    <a:pt x="782" y="174"/>
                    <a:pt x="782" y="174"/>
                    <a:pt x="782" y="174"/>
                  </a:cubicBezTo>
                  <a:cubicBezTo>
                    <a:pt x="782" y="174"/>
                    <a:pt x="782" y="174"/>
                    <a:pt x="782" y="174"/>
                  </a:cubicBezTo>
                  <a:cubicBezTo>
                    <a:pt x="780" y="174"/>
                    <a:pt x="778" y="176"/>
                    <a:pt x="776" y="177"/>
                  </a:cubicBezTo>
                  <a:cubicBezTo>
                    <a:pt x="776" y="178"/>
                    <a:pt x="775" y="179"/>
                    <a:pt x="774" y="179"/>
                  </a:cubicBezTo>
                  <a:cubicBezTo>
                    <a:pt x="774" y="179"/>
                    <a:pt x="774" y="179"/>
                    <a:pt x="774" y="179"/>
                  </a:cubicBezTo>
                  <a:cubicBezTo>
                    <a:pt x="773" y="179"/>
                    <a:pt x="773" y="179"/>
                    <a:pt x="772" y="179"/>
                  </a:cubicBezTo>
                  <a:cubicBezTo>
                    <a:pt x="772" y="179"/>
                    <a:pt x="771" y="179"/>
                    <a:pt x="771" y="179"/>
                  </a:cubicBezTo>
                  <a:cubicBezTo>
                    <a:pt x="770" y="179"/>
                    <a:pt x="769" y="180"/>
                    <a:pt x="768" y="180"/>
                  </a:cubicBezTo>
                  <a:cubicBezTo>
                    <a:pt x="767" y="180"/>
                    <a:pt x="767" y="180"/>
                    <a:pt x="766" y="181"/>
                  </a:cubicBezTo>
                  <a:cubicBezTo>
                    <a:pt x="766" y="181"/>
                    <a:pt x="765" y="181"/>
                    <a:pt x="765" y="181"/>
                  </a:cubicBezTo>
                  <a:cubicBezTo>
                    <a:pt x="764" y="181"/>
                    <a:pt x="763" y="181"/>
                    <a:pt x="762" y="180"/>
                  </a:cubicBezTo>
                  <a:cubicBezTo>
                    <a:pt x="762" y="180"/>
                    <a:pt x="761" y="180"/>
                    <a:pt x="760" y="179"/>
                  </a:cubicBezTo>
                  <a:cubicBezTo>
                    <a:pt x="755" y="178"/>
                    <a:pt x="751" y="176"/>
                    <a:pt x="747" y="173"/>
                  </a:cubicBezTo>
                  <a:cubicBezTo>
                    <a:pt x="746" y="173"/>
                    <a:pt x="746" y="173"/>
                    <a:pt x="746" y="173"/>
                  </a:cubicBezTo>
                  <a:cubicBezTo>
                    <a:pt x="742" y="171"/>
                    <a:pt x="738" y="170"/>
                    <a:pt x="735" y="169"/>
                  </a:cubicBezTo>
                  <a:cubicBezTo>
                    <a:pt x="733" y="169"/>
                    <a:pt x="731" y="168"/>
                    <a:pt x="729" y="168"/>
                  </a:cubicBezTo>
                  <a:cubicBezTo>
                    <a:pt x="727" y="167"/>
                    <a:pt x="726" y="165"/>
                    <a:pt x="727" y="163"/>
                  </a:cubicBezTo>
                  <a:cubicBezTo>
                    <a:pt x="727" y="163"/>
                    <a:pt x="728" y="161"/>
                    <a:pt x="728" y="161"/>
                  </a:cubicBezTo>
                  <a:cubicBezTo>
                    <a:pt x="730" y="159"/>
                    <a:pt x="733" y="156"/>
                    <a:pt x="731" y="152"/>
                  </a:cubicBezTo>
                  <a:cubicBezTo>
                    <a:pt x="731" y="151"/>
                    <a:pt x="730" y="151"/>
                    <a:pt x="730" y="150"/>
                  </a:cubicBezTo>
                  <a:cubicBezTo>
                    <a:pt x="731" y="150"/>
                    <a:pt x="733" y="149"/>
                    <a:pt x="734" y="149"/>
                  </a:cubicBezTo>
                  <a:cubicBezTo>
                    <a:pt x="736" y="149"/>
                    <a:pt x="737" y="149"/>
                    <a:pt x="738" y="148"/>
                  </a:cubicBezTo>
                  <a:cubicBezTo>
                    <a:pt x="742" y="147"/>
                    <a:pt x="745" y="143"/>
                    <a:pt x="745" y="140"/>
                  </a:cubicBezTo>
                  <a:cubicBezTo>
                    <a:pt x="745" y="137"/>
                    <a:pt x="743" y="134"/>
                    <a:pt x="740" y="132"/>
                  </a:cubicBezTo>
                  <a:cubicBezTo>
                    <a:pt x="738" y="131"/>
                    <a:pt x="737" y="131"/>
                    <a:pt x="735" y="131"/>
                  </a:cubicBezTo>
                  <a:cubicBezTo>
                    <a:pt x="732" y="131"/>
                    <a:pt x="730" y="132"/>
                    <a:pt x="727" y="133"/>
                  </a:cubicBezTo>
                  <a:cubicBezTo>
                    <a:pt x="725" y="134"/>
                    <a:pt x="724" y="135"/>
                    <a:pt x="722" y="135"/>
                  </a:cubicBezTo>
                  <a:cubicBezTo>
                    <a:pt x="721" y="135"/>
                    <a:pt x="720" y="135"/>
                    <a:pt x="719" y="135"/>
                  </a:cubicBezTo>
                  <a:cubicBezTo>
                    <a:pt x="718" y="135"/>
                    <a:pt x="718" y="135"/>
                    <a:pt x="717" y="135"/>
                  </a:cubicBezTo>
                  <a:cubicBezTo>
                    <a:pt x="717" y="135"/>
                    <a:pt x="717" y="135"/>
                    <a:pt x="717" y="135"/>
                  </a:cubicBezTo>
                  <a:cubicBezTo>
                    <a:pt x="717" y="135"/>
                    <a:pt x="717" y="135"/>
                    <a:pt x="718" y="134"/>
                  </a:cubicBezTo>
                  <a:cubicBezTo>
                    <a:pt x="718" y="132"/>
                    <a:pt x="721" y="129"/>
                    <a:pt x="724" y="129"/>
                  </a:cubicBezTo>
                  <a:cubicBezTo>
                    <a:pt x="724" y="129"/>
                    <a:pt x="725" y="129"/>
                    <a:pt x="725" y="129"/>
                  </a:cubicBezTo>
                  <a:cubicBezTo>
                    <a:pt x="727" y="129"/>
                    <a:pt x="732" y="129"/>
                    <a:pt x="733" y="125"/>
                  </a:cubicBezTo>
                  <a:cubicBezTo>
                    <a:pt x="734" y="121"/>
                    <a:pt x="732" y="117"/>
                    <a:pt x="727" y="112"/>
                  </a:cubicBezTo>
                  <a:cubicBezTo>
                    <a:pt x="725" y="111"/>
                    <a:pt x="717" y="106"/>
                    <a:pt x="712" y="106"/>
                  </a:cubicBezTo>
                  <a:cubicBezTo>
                    <a:pt x="708" y="106"/>
                    <a:pt x="706" y="108"/>
                    <a:pt x="706" y="113"/>
                  </a:cubicBezTo>
                  <a:cubicBezTo>
                    <a:pt x="706" y="113"/>
                    <a:pt x="706" y="114"/>
                    <a:pt x="706" y="115"/>
                  </a:cubicBezTo>
                  <a:cubicBezTo>
                    <a:pt x="706" y="115"/>
                    <a:pt x="705" y="114"/>
                    <a:pt x="705" y="114"/>
                  </a:cubicBezTo>
                  <a:cubicBezTo>
                    <a:pt x="704" y="113"/>
                    <a:pt x="704" y="112"/>
                    <a:pt x="703" y="112"/>
                  </a:cubicBezTo>
                  <a:cubicBezTo>
                    <a:pt x="703" y="111"/>
                    <a:pt x="704" y="109"/>
                    <a:pt x="705" y="109"/>
                  </a:cubicBezTo>
                  <a:cubicBezTo>
                    <a:pt x="705" y="108"/>
                    <a:pt x="706" y="108"/>
                    <a:pt x="706" y="107"/>
                  </a:cubicBezTo>
                  <a:cubicBezTo>
                    <a:pt x="706" y="107"/>
                    <a:pt x="706" y="107"/>
                    <a:pt x="706" y="107"/>
                  </a:cubicBezTo>
                  <a:cubicBezTo>
                    <a:pt x="707" y="105"/>
                    <a:pt x="710" y="101"/>
                    <a:pt x="707" y="97"/>
                  </a:cubicBezTo>
                  <a:cubicBezTo>
                    <a:pt x="705" y="95"/>
                    <a:pt x="702" y="95"/>
                    <a:pt x="701" y="95"/>
                  </a:cubicBezTo>
                  <a:cubicBezTo>
                    <a:pt x="701" y="95"/>
                    <a:pt x="700" y="95"/>
                    <a:pt x="699" y="95"/>
                  </a:cubicBezTo>
                  <a:cubicBezTo>
                    <a:pt x="699" y="95"/>
                    <a:pt x="698" y="95"/>
                    <a:pt x="698" y="95"/>
                  </a:cubicBezTo>
                  <a:cubicBezTo>
                    <a:pt x="697" y="95"/>
                    <a:pt x="697" y="95"/>
                    <a:pt x="697" y="95"/>
                  </a:cubicBezTo>
                  <a:cubicBezTo>
                    <a:pt x="697" y="95"/>
                    <a:pt x="696" y="94"/>
                    <a:pt x="695" y="94"/>
                  </a:cubicBezTo>
                  <a:cubicBezTo>
                    <a:pt x="694" y="93"/>
                    <a:pt x="693" y="92"/>
                    <a:pt x="691" y="92"/>
                  </a:cubicBezTo>
                  <a:cubicBezTo>
                    <a:pt x="690" y="92"/>
                    <a:pt x="690" y="92"/>
                    <a:pt x="689" y="93"/>
                  </a:cubicBezTo>
                  <a:cubicBezTo>
                    <a:pt x="689" y="93"/>
                    <a:pt x="688" y="93"/>
                    <a:pt x="687" y="94"/>
                  </a:cubicBezTo>
                  <a:cubicBezTo>
                    <a:pt x="687" y="93"/>
                    <a:pt x="687" y="93"/>
                    <a:pt x="687" y="93"/>
                  </a:cubicBezTo>
                  <a:cubicBezTo>
                    <a:pt x="685" y="93"/>
                    <a:pt x="685" y="93"/>
                    <a:pt x="685" y="93"/>
                  </a:cubicBezTo>
                  <a:cubicBezTo>
                    <a:pt x="683" y="93"/>
                    <a:pt x="681" y="94"/>
                    <a:pt x="679" y="95"/>
                  </a:cubicBezTo>
                  <a:cubicBezTo>
                    <a:pt x="679" y="95"/>
                    <a:pt x="679" y="95"/>
                    <a:pt x="679" y="95"/>
                  </a:cubicBezTo>
                  <a:cubicBezTo>
                    <a:pt x="678" y="96"/>
                    <a:pt x="677" y="97"/>
                    <a:pt x="676" y="97"/>
                  </a:cubicBezTo>
                  <a:cubicBezTo>
                    <a:pt x="676" y="98"/>
                    <a:pt x="675" y="98"/>
                    <a:pt x="675" y="99"/>
                  </a:cubicBezTo>
                  <a:cubicBezTo>
                    <a:pt x="675" y="99"/>
                    <a:pt x="675" y="98"/>
                    <a:pt x="675" y="98"/>
                  </a:cubicBezTo>
                  <a:cubicBezTo>
                    <a:pt x="675" y="96"/>
                    <a:pt x="675" y="90"/>
                    <a:pt x="670" y="88"/>
                  </a:cubicBezTo>
                  <a:cubicBezTo>
                    <a:pt x="670" y="88"/>
                    <a:pt x="669" y="88"/>
                    <a:pt x="668" y="88"/>
                  </a:cubicBezTo>
                  <a:cubicBezTo>
                    <a:pt x="664" y="88"/>
                    <a:pt x="663" y="92"/>
                    <a:pt x="661" y="95"/>
                  </a:cubicBezTo>
                  <a:cubicBezTo>
                    <a:pt x="661" y="96"/>
                    <a:pt x="661" y="97"/>
                    <a:pt x="661" y="97"/>
                  </a:cubicBezTo>
                  <a:cubicBezTo>
                    <a:pt x="660" y="98"/>
                    <a:pt x="660" y="99"/>
                    <a:pt x="659" y="99"/>
                  </a:cubicBezTo>
                  <a:cubicBezTo>
                    <a:pt x="658" y="101"/>
                    <a:pt x="656" y="104"/>
                    <a:pt x="655" y="104"/>
                  </a:cubicBezTo>
                  <a:cubicBezTo>
                    <a:pt x="654" y="104"/>
                    <a:pt x="654" y="104"/>
                    <a:pt x="654" y="104"/>
                  </a:cubicBezTo>
                  <a:cubicBezTo>
                    <a:pt x="654" y="104"/>
                    <a:pt x="653" y="103"/>
                    <a:pt x="654" y="101"/>
                  </a:cubicBezTo>
                  <a:cubicBezTo>
                    <a:pt x="655" y="98"/>
                    <a:pt x="656" y="97"/>
                    <a:pt x="656" y="96"/>
                  </a:cubicBezTo>
                  <a:cubicBezTo>
                    <a:pt x="659" y="95"/>
                    <a:pt x="663" y="92"/>
                    <a:pt x="665" y="87"/>
                  </a:cubicBezTo>
                  <a:cubicBezTo>
                    <a:pt x="666" y="85"/>
                    <a:pt x="665" y="83"/>
                    <a:pt x="664" y="82"/>
                  </a:cubicBezTo>
                  <a:cubicBezTo>
                    <a:pt x="663" y="80"/>
                    <a:pt x="661" y="79"/>
                    <a:pt x="659" y="78"/>
                  </a:cubicBezTo>
                  <a:cubicBezTo>
                    <a:pt x="659" y="78"/>
                    <a:pt x="658" y="78"/>
                    <a:pt x="658" y="78"/>
                  </a:cubicBezTo>
                  <a:cubicBezTo>
                    <a:pt x="657" y="78"/>
                    <a:pt x="657" y="77"/>
                    <a:pt x="656" y="77"/>
                  </a:cubicBezTo>
                  <a:cubicBezTo>
                    <a:pt x="654" y="76"/>
                    <a:pt x="651" y="74"/>
                    <a:pt x="648" y="74"/>
                  </a:cubicBezTo>
                  <a:cubicBezTo>
                    <a:pt x="647" y="73"/>
                    <a:pt x="646" y="73"/>
                    <a:pt x="645" y="73"/>
                  </a:cubicBezTo>
                  <a:cubicBezTo>
                    <a:pt x="642" y="73"/>
                    <a:pt x="640" y="74"/>
                    <a:pt x="638" y="76"/>
                  </a:cubicBezTo>
                  <a:cubicBezTo>
                    <a:pt x="637" y="78"/>
                    <a:pt x="637" y="80"/>
                    <a:pt x="637" y="82"/>
                  </a:cubicBezTo>
                  <a:cubicBezTo>
                    <a:pt x="637" y="83"/>
                    <a:pt x="637" y="84"/>
                    <a:pt x="637" y="85"/>
                  </a:cubicBezTo>
                  <a:cubicBezTo>
                    <a:pt x="637" y="86"/>
                    <a:pt x="636" y="87"/>
                    <a:pt x="636" y="87"/>
                  </a:cubicBezTo>
                  <a:cubicBezTo>
                    <a:pt x="636" y="87"/>
                    <a:pt x="636" y="86"/>
                    <a:pt x="635" y="86"/>
                  </a:cubicBezTo>
                  <a:cubicBezTo>
                    <a:pt x="634" y="82"/>
                    <a:pt x="632" y="77"/>
                    <a:pt x="627" y="76"/>
                  </a:cubicBezTo>
                  <a:cubicBezTo>
                    <a:pt x="626" y="76"/>
                    <a:pt x="626" y="76"/>
                    <a:pt x="625" y="76"/>
                  </a:cubicBezTo>
                  <a:cubicBezTo>
                    <a:pt x="623" y="76"/>
                    <a:pt x="621" y="77"/>
                    <a:pt x="619" y="78"/>
                  </a:cubicBezTo>
                  <a:cubicBezTo>
                    <a:pt x="619" y="78"/>
                    <a:pt x="618" y="79"/>
                    <a:pt x="617" y="79"/>
                  </a:cubicBezTo>
                  <a:cubicBezTo>
                    <a:pt x="618" y="79"/>
                    <a:pt x="618" y="78"/>
                    <a:pt x="618" y="77"/>
                  </a:cubicBezTo>
                  <a:cubicBezTo>
                    <a:pt x="620" y="75"/>
                    <a:pt x="622" y="72"/>
                    <a:pt x="621" y="70"/>
                  </a:cubicBezTo>
                  <a:cubicBezTo>
                    <a:pt x="621" y="64"/>
                    <a:pt x="616" y="63"/>
                    <a:pt x="614" y="63"/>
                  </a:cubicBezTo>
                  <a:cubicBezTo>
                    <a:pt x="611" y="63"/>
                    <a:pt x="610" y="62"/>
                    <a:pt x="609" y="61"/>
                  </a:cubicBezTo>
                  <a:cubicBezTo>
                    <a:pt x="609" y="60"/>
                    <a:pt x="608" y="59"/>
                    <a:pt x="608" y="58"/>
                  </a:cubicBezTo>
                  <a:cubicBezTo>
                    <a:pt x="608" y="56"/>
                    <a:pt x="607" y="55"/>
                    <a:pt x="607" y="54"/>
                  </a:cubicBezTo>
                  <a:cubicBezTo>
                    <a:pt x="605" y="50"/>
                    <a:pt x="600" y="47"/>
                    <a:pt x="596" y="46"/>
                  </a:cubicBezTo>
                  <a:cubicBezTo>
                    <a:pt x="596" y="46"/>
                    <a:pt x="595" y="46"/>
                    <a:pt x="595" y="46"/>
                  </a:cubicBezTo>
                  <a:cubicBezTo>
                    <a:pt x="594" y="46"/>
                    <a:pt x="593" y="46"/>
                    <a:pt x="593" y="47"/>
                  </a:cubicBezTo>
                  <a:cubicBezTo>
                    <a:pt x="592" y="47"/>
                    <a:pt x="591" y="47"/>
                    <a:pt x="591" y="47"/>
                  </a:cubicBezTo>
                  <a:cubicBezTo>
                    <a:pt x="590" y="47"/>
                    <a:pt x="590" y="47"/>
                    <a:pt x="589" y="47"/>
                  </a:cubicBezTo>
                  <a:cubicBezTo>
                    <a:pt x="588" y="46"/>
                    <a:pt x="587" y="46"/>
                    <a:pt x="586" y="45"/>
                  </a:cubicBezTo>
                  <a:cubicBezTo>
                    <a:pt x="584" y="44"/>
                    <a:pt x="581" y="43"/>
                    <a:pt x="578" y="43"/>
                  </a:cubicBezTo>
                  <a:cubicBezTo>
                    <a:pt x="578" y="43"/>
                    <a:pt x="577" y="43"/>
                    <a:pt x="576" y="44"/>
                  </a:cubicBezTo>
                  <a:cubicBezTo>
                    <a:pt x="572" y="44"/>
                    <a:pt x="568" y="47"/>
                    <a:pt x="564" y="52"/>
                  </a:cubicBezTo>
                  <a:cubicBezTo>
                    <a:pt x="561" y="57"/>
                    <a:pt x="560" y="60"/>
                    <a:pt x="564" y="65"/>
                  </a:cubicBezTo>
                  <a:cubicBezTo>
                    <a:pt x="564" y="65"/>
                    <a:pt x="564" y="65"/>
                    <a:pt x="564" y="65"/>
                  </a:cubicBezTo>
                  <a:cubicBezTo>
                    <a:pt x="563" y="66"/>
                    <a:pt x="562" y="66"/>
                    <a:pt x="561" y="67"/>
                  </a:cubicBezTo>
                  <a:cubicBezTo>
                    <a:pt x="560" y="65"/>
                    <a:pt x="557" y="64"/>
                    <a:pt x="555" y="64"/>
                  </a:cubicBezTo>
                  <a:cubicBezTo>
                    <a:pt x="555" y="64"/>
                    <a:pt x="554" y="64"/>
                    <a:pt x="554" y="63"/>
                  </a:cubicBezTo>
                  <a:cubicBezTo>
                    <a:pt x="553" y="63"/>
                    <a:pt x="551" y="63"/>
                    <a:pt x="550" y="63"/>
                  </a:cubicBezTo>
                  <a:cubicBezTo>
                    <a:pt x="549" y="63"/>
                    <a:pt x="549" y="63"/>
                    <a:pt x="549" y="63"/>
                  </a:cubicBezTo>
                  <a:cubicBezTo>
                    <a:pt x="549" y="63"/>
                    <a:pt x="549" y="63"/>
                    <a:pt x="549" y="63"/>
                  </a:cubicBezTo>
                  <a:cubicBezTo>
                    <a:pt x="545" y="63"/>
                    <a:pt x="544" y="67"/>
                    <a:pt x="544" y="70"/>
                  </a:cubicBezTo>
                  <a:cubicBezTo>
                    <a:pt x="543" y="70"/>
                    <a:pt x="543" y="71"/>
                    <a:pt x="543" y="71"/>
                  </a:cubicBezTo>
                  <a:cubicBezTo>
                    <a:pt x="542" y="74"/>
                    <a:pt x="541" y="76"/>
                    <a:pt x="541" y="77"/>
                  </a:cubicBezTo>
                  <a:cubicBezTo>
                    <a:pt x="540" y="76"/>
                    <a:pt x="540" y="74"/>
                    <a:pt x="540" y="72"/>
                  </a:cubicBezTo>
                  <a:cubicBezTo>
                    <a:pt x="540" y="72"/>
                    <a:pt x="540" y="71"/>
                    <a:pt x="540" y="71"/>
                  </a:cubicBezTo>
                  <a:cubicBezTo>
                    <a:pt x="540" y="70"/>
                    <a:pt x="540" y="69"/>
                    <a:pt x="540" y="69"/>
                  </a:cubicBezTo>
                  <a:cubicBezTo>
                    <a:pt x="540" y="66"/>
                    <a:pt x="539" y="64"/>
                    <a:pt x="540" y="62"/>
                  </a:cubicBezTo>
                  <a:cubicBezTo>
                    <a:pt x="540" y="62"/>
                    <a:pt x="540" y="62"/>
                    <a:pt x="541" y="61"/>
                  </a:cubicBezTo>
                  <a:cubicBezTo>
                    <a:pt x="542" y="60"/>
                    <a:pt x="543" y="60"/>
                    <a:pt x="543" y="58"/>
                  </a:cubicBezTo>
                  <a:cubicBezTo>
                    <a:pt x="547" y="52"/>
                    <a:pt x="543" y="47"/>
                    <a:pt x="541" y="43"/>
                  </a:cubicBezTo>
                  <a:cubicBezTo>
                    <a:pt x="540" y="42"/>
                    <a:pt x="539" y="41"/>
                    <a:pt x="539" y="40"/>
                  </a:cubicBezTo>
                  <a:cubicBezTo>
                    <a:pt x="538" y="38"/>
                    <a:pt x="537" y="37"/>
                    <a:pt x="536" y="36"/>
                  </a:cubicBezTo>
                  <a:cubicBezTo>
                    <a:pt x="535" y="34"/>
                    <a:pt x="534" y="33"/>
                    <a:pt x="533" y="32"/>
                  </a:cubicBezTo>
                  <a:cubicBezTo>
                    <a:pt x="533" y="31"/>
                    <a:pt x="533" y="30"/>
                    <a:pt x="533" y="29"/>
                  </a:cubicBezTo>
                  <a:cubicBezTo>
                    <a:pt x="532" y="28"/>
                    <a:pt x="532" y="27"/>
                    <a:pt x="532" y="26"/>
                  </a:cubicBezTo>
                  <a:cubicBezTo>
                    <a:pt x="531" y="21"/>
                    <a:pt x="527" y="16"/>
                    <a:pt x="523" y="14"/>
                  </a:cubicBezTo>
                  <a:cubicBezTo>
                    <a:pt x="522" y="13"/>
                    <a:pt x="521" y="13"/>
                    <a:pt x="519" y="13"/>
                  </a:cubicBezTo>
                  <a:cubicBezTo>
                    <a:pt x="517" y="13"/>
                    <a:pt x="515" y="14"/>
                    <a:pt x="513" y="15"/>
                  </a:cubicBezTo>
                  <a:cubicBezTo>
                    <a:pt x="512" y="16"/>
                    <a:pt x="511" y="16"/>
                    <a:pt x="510" y="17"/>
                  </a:cubicBezTo>
                  <a:cubicBezTo>
                    <a:pt x="509" y="17"/>
                    <a:pt x="509" y="17"/>
                    <a:pt x="508" y="17"/>
                  </a:cubicBezTo>
                  <a:cubicBezTo>
                    <a:pt x="506" y="18"/>
                    <a:pt x="504" y="18"/>
                    <a:pt x="501" y="20"/>
                  </a:cubicBezTo>
                  <a:cubicBezTo>
                    <a:pt x="496" y="23"/>
                    <a:pt x="491" y="28"/>
                    <a:pt x="487" y="33"/>
                  </a:cubicBezTo>
                  <a:cubicBezTo>
                    <a:pt x="479" y="43"/>
                    <a:pt x="473" y="57"/>
                    <a:pt x="479" y="67"/>
                  </a:cubicBezTo>
                  <a:cubicBezTo>
                    <a:pt x="480" y="68"/>
                    <a:pt x="482" y="70"/>
                    <a:pt x="484" y="71"/>
                  </a:cubicBezTo>
                  <a:cubicBezTo>
                    <a:pt x="485" y="72"/>
                    <a:pt x="488" y="74"/>
                    <a:pt x="489" y="75"/>
                  </a:cubicBezTo>
                  <a:cubicBezTo>
                    <a:pt x="488" y="76"/>
                    <a:pt x="488" y="76"/>
                    <a:pt x="487" y="76"/>
                  </a:cubicBezTo>
                  <a:cubicBezTo>
                    <a:pt x="487" y="76"/>
                    <a:pt x="486" y="77"/>
                    <a:pt x="486" y="77"/>
                  </a:cubicBezTo>
                  <a:cubicBezTo>
                    <a:pt x="484" y="79"/>
                    <a:pt x="481" y="81"/>
                    <a:pt x="479" y="85"/>
                  </a:cubicBezTo>
                  <a:cubicBezTo>
                    <a:pt x="476" y="94"/>
                    <a:pt x="485" y="100"/>
                    <a:pt x="489" y="102"/>
                  </a:cubicBezTo>
                  <a:cubicBezTo>
                    <a:pt x="493" y="105"/>
                    <a:pt x="495" y="106"/>
                    <a:pt x="494" y="110"/>
                  </a:cubicBezTo>
                  <a:cubicBezTo>
                    <a:pt x="494" y="111"/>
                    <a:pt x="494" y="111"/>
                    <a:pt x="494" y="112"/>
                  </a:cubicBezTo>
                  <a:cubicBezTo>
                    <a:pt x="494" y="108"/>
                    <a:pt x="490" y="106"/>
                    <a:pt x="487" y="104"/>
                  </a:cubicBezTo>
                  <a:cubicBezTo>
                    <a:pt x="486" y="103"/>
                    <a:pt x="484" y="102"/>
                    <a:pt x="483" y="101"/>
                  </a:cubicBezTo>
                  <a:cubicBezTo>
                    <a:pt x="482" y="100"/>
                    <a:pt x="481" y="97"/>
                    <a:pt x="480" y="95"/>
                  </a:cubicBezTo>
                  <a:cubicBezTo>
                    <a:pt x="480" y="94"/>
                    <a:pt x="479" y="93"/>
                    <a:pt x="478" y="91"/>
                  </a:cubicBezTo>
                  <a:cubicBezTo>
                    <a:pt x="478" y="90"/>
                    <a:pt x="478" y="90"/>
                    <a:pt x="478" y="90"/>
                  </a:cubicBezTo>
                  <a:cubicBezTo>
                    <a:pt x="476" y="87"/>
                    <a:pt x="475" y="86"/>
                    <a:pt x="475" y="83"/>
                  </a:cubicBezTo>
                  <a:cubicBezTo>
                    <a:pt x="475" y="81"/>
                    <a:pt x="475" y="80"/>
                    <a:pt x="476" y="78"/>
                  </a:cubicBezTo>
                  <a:cubicBezTo>
                    <a:pt x="476" y="73"/>
                    <a:pt x="477" y="68"/>
                    <a:pt x="473" y="62"/>
                  </a:cubicBezTo>
                  <a:cubicBezTo>
                    <a:pt x="473" y="62"/>
                    <a:pt x="472" y="61"/>
                    <a:pt x="472" y="61"/>
                  </a:cubicBezTo>
                  <a:cubicBezTo>
                    <a:pt x="471" y="60"/>
                    <a:pt x="471" y="59"/>
                    <a:pt x="471" y="58"/>
                  </a:cubicBezTo>
                  <a:cubicBezTo>
                    <a:pt x="471" y="55"/>
                    <a:pt x="472" y="51"/>
                    <a:pt x="473" y="49"/>
                  </a:cubicBezTo>
                  <a:cubicBezTo>
                    <a:pt x="474" y="46"/>
                    <a:pt x="475" y="43"/>
                    <a:pt x="477" y="41"/>
                  </a:cubicBezTo>
                  <a:cubicBezTo>
                    <a:pt x="477" y="40"/>
                    <a:pt x="478" y="39"/>
                    <a:pt x="478" y="38"/>
                  </a:cubicBezTo>
                  <a:cubicBezTo>
                    <a:pt x="479" y="36"/>
                    <a:pt x="481" y="33"/>
                    <a:pt x="483" y="31"/>
                  </a:cubicBezTo>
                  <a:cubicBezTo>
                    <a:pt x="483" y="30"/>
                    <a:pt x="484" y="30"/>
                    <a:pt x="485" y="29"/>
                  </a:cubicBezTo>
                  <a:cubicBezTo>
                    <a:pt x="487" y="25"/>
                    <a:pt x="489" y="22"/>
                    <a:pt x="489" y="17"/>
                  </a:cubicBezTo>
                  <a:cubicBezTo>
                    <a:pt x="488" y="14"/>
                    <a:pt x="488" y="14"/>
                    <a:pt x="488" y="14"/>
                  </a:cubicBezTo>
                  <a:cubicBezTo>
                    <a:pt x="486" y="14"/>
                    <a:pt x="486" y="14"/>
                    <a:pt x="486" y="14"/>
                  </a:cubicBezTo>
                  <a:cubicBezTo>
                    <a:pt x="481" y="14"/>
                    <a:pt x="477" y="14"/>
                    <a:pt x="473" y="13"/>
                  </a:cubicBezTo>
                  <a:cubicBezTo>
                    <a:pt x="470" y="13"/>
                    <a:pt x="470" y="13"/>
                    <a:pt x="470" y="13"/>
                  </a:cubicBezTo>
                  <a:cubicBezTo>
                    <a:pt x="469" y="13"/>
                    <a:pt x="468" y="13"/>
                    <a:pt x="467" y="13"/>
                  </a:cubicBezTo>
                  <a:cubicBezTo>
                    <a:pt x="464" y="13"/>
                    <a:pt x="462" y="13"/>
                    <a:pt x="460" y="15"/>
                  </a:cubicBezTo>
                  <a:cubicBezTo>
                    <a:pt x="459" y="16"/>
                    <a:pt x="459" y="16"/>
                    <a:pt x="458" y="17"/>
                  </a:cubicBezTo>
                  <a:cubicBezTo>
                    <a:pt x="455" y="19"/>
                    <a:pt x="451" y="22"/>
                    <a:pt x="449" y="25"/>
                  </a:cubicBezTo>
                  <a:cubicBezTo>
                    <a:pt x="448" y="27"/>
                    <a:pt x="448" y="27"/>
                    <a:pt x="448" y="27"/>
                  </a:cubicBezTo>
                  <a:cubicBezTo>
                    <a:pt x="443" y="36"/>
                    <a:pt x="437" y="44"/>
                    <a:pt x="434" y="54"/>
                  </a:cubicBezTo>
                  <a:cubicBezTo>
                    <a:pt x="430" y="68"/>
                    <a:pt x="426" y="89"/>
                    <a:pt x="428" y="108"/>
                  </a:cubicBezTo>
                  <a:cubicBezTo>
                    <a:pt x="430" y="115"/>
                    <a:pt x="434" y="119"/>
                    <a:pt x="441" y="121"/>
                  </a:cubicBezTo>
                  <a:cubicBezTo>
                    <a:pt x="444" y="122"/>
                    <a:pt x="446" y="122"/>
                    <a:pt x="449" y="122"/>
                  </a:cubicBezTo>
                  <a:cubicBezTo>
                    <a:pt x="450" y="122"/>
                    <a:pt x="450" y="122"/>
                    <a:pt x="450" y="122"/>
                  </a:cubicBezTo>
                  <a:cubicBezTo>
                    <a:pt x="454" y="122"/>
                    <a:pt x="461" y="126"/>
                    <a:pt x="461" y="129"/>
                  </a:cubicBezTo>
                  <a:cubicBezTo>
                    <a:pt x="461" y="129"/>
                    <a:pt x="461" y="129"/>
                    <a:pt x="460" y="129"/>
                  </a:cubicBezTo>
                  <a:cubicBezTo>
                    <a:pt x="458" y="129"/>
                    <a:pt x="453" y="127"/>
                    <a:pt x="452" y="126"/>
                  </a:cubicBezTo>
                  <a:cubicBezTo>
                    <a:pt x="452" y="126"/>
                    <a:pt x="450" y="126"/>
                    <a:pt x="449" y="125"/>
                  </a:cubicBezTo>
                  <a:cubicBezTo>
                    <a:pt x="447" y="124"/>
                    <a:pt x="443" y="123"/>
                    <a:pt x="440" y="123"/>
                  </a:cubicBezTo>
                  <a:cubicBezTo>
                    <a:pt x="438" y="123"/>
                    <a:pt x="437" y="124"/>
                    <a:pt x="436" y="125"/>
                  </a:cubicBezTo>
                  <a:cubicBezTo>
                    <a:pt x="431" y="129"/>
                    <a:pt x="434" y="134"/>
                    <a:pt x="436" y="137"/>
                  </a:cubicBezTo>
                  <a:cubicBezTo>
                    <a:pt x="437" y="138"/>
                    <a:pt x="437" y="139"/>
                    <a:pt x="437" y="139"/>
                  </a:cubicBezTo>
                  <a:cubicBezTo>
                    <a:pt x="439" y="145"/>
                    <a:pt x="442" y="147"/>
                    <a:pt x="446" y="151"/>
                  </a:cubicBezTo>
                  <a:cubicBezTo>
                    <a:pt x="452" y="156"/>
                    <a:pt x="460" y="157"/>
                    <a:pt x="463" y="157"/>
                  </a:cubicBezTo>
                  <a:cubicBezTo>
                    <a:pt x="463" y="157"/>
                    <a:pt x="464" y="157"/>
                    <a:pt x="464" y="157"/>
                  </a:cubicBezTo>
                  <a:cubicBezTo>
                    <a:pt x="466" y="157"/>
                    <a:pt x="468" y="157"/>
                    <a:pt x="469" y="156"/>
                  </a:cubicBezTo>
                  <a:cubicBezTo>
                    <a:pt x="470" y="156"/>
                    <a:pt x="471" y="156"/>
                    <a:pt x="472" y="156"/>
                  </a:cubicBezTo>
                  <a:cubicBezTo>
                    <a:pt x="472" y="156"/>
                    <a:pt x="473" y="156"/>
                    <a:pt x="474" y="158"/>
                  </a:cubicBezTo>
                  <a:cubicBezTo>
                    <a:pt x="475" y="159"/>
                    <a:pt x="475" y="159"/>
                    <a:pt x="475" y="159"/>
                  </a:cubicBezTo>
                  <a:cubicBezTo>
                    <a:pt x="477" y="162"/>
                    <a:pt x="480" y="166"/>
                    <a:pt x="484" y="167"/>
                  </a:cubicBezTo>
                  <a:cubicBezTo>
                    <a:pt x="485" y="167"/>
                    <a:pt x="485" y="167"/>
                    <a:pt x="486" y="167"/>
                  </a:cubicBezTo>
                  <a:cubicBezTo>
                    <a:pt x="488" y="167"/>
                    <a:pt x="489" y="166"/>
                    <a:pt x="491" y="166"/>
                  </a:cubicBezTo>
                  <a:cubicBezTo>
                    <a:pt x="492" y="165"/>
                    <a:pt x="493" y="165"/>
                    <a:pt x="494" y="165"/>
                  </a:cubicBezTo>
                  <a:cubicBezTo>
                    <a:pt x="494" y="165"/>
                    <a:pt x="495" y="165"/>
                    <a:pt x="495" y="165"/>
                  </a:cubicBezTo>
                  <a:cubicBezTo>
                    <a:pt x="498" y="166"/>
                    <a:pt x="498" y="166"/>
                    <a:pt x="498" y="166"/>
                  </a:cubicBezTo>
                  <a:cubicBezTo>
                    <a:pt x="500" y="166"/>
                    <a:pt x="502" y="167"/>
                    <a:pt x="505" y="167"/>
                  </a:cubicBezTo>
                  <a:cubicBezTo>
                    <a:pt x="503" y="167"/>
                    <a:pt x="501" y="168"/>
                    <a:pt x="500" y="168"/>
                  </a:cubicBezTo>
                  <a:cubicBezTo>
                    <a:pt x="499" y="169"/>
                    <a:pt x="499" y="169"/>
                    <a:pt x="498" y="169"/>
                  </a:cubicBezTo>
                  <a:cubicBezTo>
                    <a:pt x="497" y="169"/>
                    <a:pt x="496" y="169"/>
                    <a:pt x="495" y="169"/>
                  </a:cubicBezTo>
                  <a:cubicBezTo>
                    <a:pt x="495" y="169"/>
                    <a:pt x="495" y="169"/>
                    <a:pt x="495" y="169"/>
                  </a:cubicBezTo>
                  <a:cubicBezTo>
                    <a:pt x="495" y="169"/>
                    <a:pt x="494" y="169"/>
                    <a:pt x="494" y="169"/>
                  </a:cubicBezTo>
                  <a:cubicBezTo>
                    <a:pt x="494" y="169"/>
                    <a:pt x="493" y="169"/>
                    <a:pt x="492" y="169"/>
                  </a:cubicBezTo>
                  <a:cubicBezTo>
                    <a:pt x="492" y="169"/>
                    <a:pt x="491" y="169"/>
                    <a:pt x="491" y="169"/>
                  </a:cubicBezTo>
                  <a:cubicBezTo>
                    <a:pt x="487" y="171"/>
                    <a:pt x="487" y="176"/>
                    <a:pt x="488" y="181"/>
                  </a:cubicBezTo>
                  <a:cubicBezTo>
                    <a:pt x="488" y="181"/>
                    <a:pt x="488" y="182"/>
                    <a:pt x="488" y="182"/>
                  </a:cubicBezTo>
                  <a:cubicBezTo>
                    <a:pt x="488" y="186"/>
                    <a:pt x="488" y="190"/>
                    <a:pt x="489" y="193"/>
                  </a:cubicBezTo>
                  <a:cubicBezTo>
                    <a:pt x="490" y="198"/>
                    <a:pt x="494" y="199"/>
                    <a:pt x="497" y="199"/>
                  </a:cubicBezTo>
                  <a:cubicBezTo>
                    <a:pt x="497" y="200"/>
                    <a:pt x="497" y="200"/>
                    <a:pt x="497" y="201"/>
                  </a:cubicBezTo>
                  <a:cubicBezTo>
                    <a:pt x="497" y="201"/>
                    <a:pt x="497" y="202"/>
                    <a:pt x="497" y="203"/>
                  </a:cubicBezTo>
                  <a:cubicBezTo>
                    <a:pt x="497" y="203"/>
                    <a:pt x="497" y="204"/>
                    <a:pt x="497" y="204"/>
                  </a:cubicBezTo>
                  <a:cubicBezTo>
                    <a:pt x="497" y="206"/>
                    <a:pt x="497" y="209"/>
                    <a:pt x="496" y="210"/>
                  </a:cubicBezTo>
                  <a:cubicBezTo>
                    <a:pt x="495" y="210"/>
                    <a:pt x="494" y="211"/>
                    <a:pt x="494" y="211"/>
                  </a:cubicBezTo>
                  <a:cubicBezTo>
                    <a:pt x="492" y="212"/>
                    <a:pt x="489" y="213"/>
                    <a:pt x="488" y="215"/>
                  </a:cubicBezTo>
                  <a:cubicBezTo>
                    <a:pt x="487" y="217"/>
                    <a:pt x="487" y="220"/>
                    <a:pt x="487" y="223"/>
                  </a:cubicBezTo>
                  <a:cubicBezTo>
                    <a:pt x="487" y="224"/>
                    <a:pt x="487" y="225"/>
                    <a:pt x="486" y="226"/>
                  </a:cubicBezTo>
                  <a:cubicBezTo>
                    <a:pt x="486" y="229"/>
                    <a:pt x="486" y="231"/>
                    <a:pt x="486" y="234"/>
                  </a:cubicBezTo>
                  <a:cubicBezTo>
                    <a:pt x="486" y="237"/>
                    <a:pt x="486" y="240"/>
                    <a:pt x="485" y="243"/>
                  </a:cubicBezTo>
                  <a:cubicBezTo>
                    <a:pt x="485" y="243"/>
                    <a:pt x="485" y="243"/>
                    <a:pt x="484" y="243"/>
                  </a:cubicBezTo>
                  <a:cubicBezTo>
                    <a:pt x="484" y="244"/>
                    <a:pt x="484" y="244"/>
                    <a:pt x="483" y="244"/>
                  </a:cubicBezTo>
                  <a:cubicBezTo>
                    <a:pt x="481" y="246"/>
                    <a:pt x="479" y="250"/>
                    <a:pt x="478" y="254"/>
                  </a:cubicBezTo>
                  <a:cubicBezTo>
                    <a:pt x="478" y="255"/>
                    <a:pt x="478" y="257"/>
                    <a:pt x="478" y="258"/>
                  </a:cubicBezTo>
                  <a:cubicBezTo>
                    <a:pt x="478" y="260"/>
                    <a:pt x="478" y="262"/>
                    <a:pt x="478" y="263"/>
                  </a:cubicBezTo>
                  <a:cubicBezTo>
                    <a:pt x="477" y="263"/>
                    <a:pt x="477" y="264"/>
                    <a:pt x="476" y="264"/>
                  </a:cubicBezTo>
                  <a:cubicBezTo>
                    <a:pt x="475" y="264"/>
                    <a:pt x="474" y="265"/>
                    <a:pt x="473" y="266"/>
                  </a:cubicBezTo>
                  <a:cubicBezTo>
                    <a:pt x="472" y="267"/>
                    <a:pt x="471" y="268"/>
                    <a:pt x="471" y="269"/>
                  </a:cubicBezTo>
                  <a:cubicBezTo>
                    <a:pt x="470" y="268"/>
                    <a:pt x="469" y="266"/>
                    <a:pt x="468" y="264"/>
                  </a:cubicBezTo>
                  <a:cubicBezTo>
                    <a:pt x="467" y="262"/>
                    <a:pt x="465" y="260"/>
                    <a:pt x="463" y="258"/>
                  </a:cubicBezTo>
                  <a:cubicBezTo>
                    <a:pt x="463" y="258"/>
                    <a:pt x="463" y="258"/>
                    <a:pt x="463" y="258"/>
                  </a:cubicBezTo>
                  <a:cubicBezTo>
                    <a:pt x="461" y="257"/>
                    <a:pt x="460" y="255"/>
                    <a:pt x="459" y="253"/>
                  </a:cubicBezTo>
                  <a:cubicBezTo>
                    <a:pt x="458" y="251"/>
                    <a:pt x="457" y="251"/>
                    <a:pt x="457" y="250"/>
                  </a:cubicBezTo>
                  <a:cubicBezTo>
                    <a:pt x="457" y="248"/>
                    <a:pt x="457" y="248"/>
                    <a:pt x="457" y="248"/>
                  </a:cubicBezTo>
                  <a:cubicBezTo>
                    <a:pt x="458" y="246"/>
                    <a:pt x="458" y="243"/>
                    <a:pt x="457" y="241"/>
                  </a:cubicBezTo>
                  <a:cubicBezTo>
                    <a:pt x="457" y="240"/>
                    <a:pt x="457" y="240"/>
                    <a:pt x="457" y="240"/>
                  </a:cubicBezTo>
                  <a:cubicBezTo>
                    <a:pt x="457" y="239"/>
                    <a:pt x="456" y="237"/>
                    <a:pt x="456" y="237"/>
                  </a:cubicBezTo>
                  <a:cubicBezTo>
                    <a:pt x="457" y="236"/>
                    <a:pt x="458" y="235"/>
                    <a:pt x="458" y="234"/>
                  </a:cubicBezTo>
                  <a:cubicBezTo>
                    <a:pt x="459" y="233"/>
                    <a:pt x="459" y="233"/>
                    <a:pt x="459" y="233"/>
                  </a:cubicBezTo>
                  <a:cubicBezTo>
                    <a:pt x="461" y="231"/>
                    <a:pt x="462" y="228"/>
                    <a:pt x="462" y="226"/>
                  </a:cubicBezTo>
                  <a:cubicBezTo>
                    <a:pt x="462" y="225"/>
                    <a:pt x="462" y="224"/>
                    <a:pt x="462" y="223"/>
                  </a:cubicBezTo>
                  <a:cubicBezTo>
                    <a:pt x="462" y="220"/>
                    <a:pt x="463" y="216"/>
                    <a:pt x="461" y="212"/>
                  </a:cubicBezTo>
                  <a:cubicBezTo>
                    <a:pt x="460" y="211"/>
                    <a:pt x="459" y="210"/>
                    <a:pt x="459" y="209"/>
                  </a:cubicBezTo>
                  <a:cubicBezTo>
                    <a:pt x="458" y="208"/>
                    <a:pt x="458" y="208"/>
                    <a:pt x="457" y="207"/>
                  </a:cubicBezTo>
                  <a:cubicBezTo>
                    <a:pt x="456" y="205"/>
                    <a:pt x="454" y="204"/>
                    <a:pt x="452" y="202"/>
                  </a:cubicBezTo>
                  <a:cubicBezTo>
                    <a:pt x="452" y="201"/>
                    <a:pt x="451" y="201"/>
                    <a:pt x="450" y="200"/>
                  </a:cubicBezTo>
                  <a:cubicBezTo>
                    <a:pt x="449" y="200"/>
                    <a:pt x="448" y="199"/>
                    <a:pt x="448" y="199"/>
                  </a:cubicBezTo>
                  <a:cubicBezTo>
                    <a:pt x="448" y="198"/>
                    <a:pt x="448" y="198"/>
                    <a:pt x="447" y="197"/>
                  </a:cubicBezTo>
                  <a:cubicBezTo>
                    <a:pt x="446" y="196"/>
                    <a:pt x="444" y="192"/>
                    <a:pt x="441" y="192"/>
                  </a:cubicBezTo>
                  <a:cubicBezTo>
                    <a:pt x="440" y="192"/>
                    <a:pt x="440" y="192"/>
                    <a:pt x="440" y="192"/>
                  </a:cubicBezTo>
                  <a:cubicBezTo>
                    <a:pt x="435" y="193"/>
                    <a:pt x="435" y="197"/>
                    <a:pt x="435" y="199"/>
                  </a:cubicBezTo>
                  <a:cubicBezTo>
                    <a:pt x="435" y="199"/>
                    <a:pt x="434" y="200"/>
                    <a:pt x="434" y="201"/>
                  </a:cubicBezTo>
                  <a:cubicBezTo>
                    <a:pt x="433" y="202"/>
                    <a:pt x="433" y="203"/>
                    <a:pt x="432" y="205"/>
                  </a:cubicBezTo>
                  <a:cubicBezTo>
                    <a:pt x="432" y="206"/>
                    <a:pt x="432" y="206"/>
                    <a:pt x="432" y="206"/>
                  </a:cubicBezTo>
                  <a:cubicBezTo>
                    <a:pt x="432" y="208"/>
                    <a:pt x="432" y="210"/>
                    <a:pt x="432" y="212"/>
                  </a:cubicBezTo>
                  <a:cubicBezTo>
                    <a:pt x="432" y="215"/>
                    <a:pt x="431" y="217"/>
                    <a:pt x="429" y="220"/>
                  </a:cubicBezTo>
                  <a:cubicBezTo>
                    <a:pt x="429" y="221"/>
                    <a:pt x="429" y="222"/>
                    <a:pt x="428" y="223"/>
                  </a:cubicBezTo>
                  <a:cubicBezTo>
                    <a:pt x="428" y="224"/>
                    <a:pt x="428" y="226"/>
                    <a:pt x="428" y="227"/>
                  </a:cubicBezTo>
                  <a:cubicBezTo>
                    <a:pt x="428" y="230"/>
                    <a:pt x="427" y="230"/>
                    <a:pt x="427" y="231"/>
                  </a:cubicBezTo>
                  <a:cubicBezTo>
                    <a:pt x="427" y="231"/>
                    <a:pt x="426" y="230"/>
                    <a:pt x="425" y="222"/>
                  </a:cubicBezTo>
                  <a:cubicBezTo>
                    <a:pt x="425" y="221"/>
                    <a:pt x="425" y="219"/>
                    <a:pt x="426" y="217"/>
                  </a:cubicBezTo>
                  <a:cubicBezTo>
                    <a:pt x="426" y="213"/>
                    <a:pt x="426" y="208"/>
                    <a:pt x="424" y="203"/>
                  </a:cubicBezTo>
                  <a:cubicBezTo>
                    <a:pt x="423" y="202"/>
                    <a:pt x="422" y="201"/>
                    <a:pt x="422" y="200"/>
                  </a:cubicBezTo>
                  <a:cubicBezTo>
                    <a:pt x="421" y="199"/>
                    <a:pt x="420" y="198"/>
                    <a:pt x="419" y="197"/>
                  </a:cubicBezTo>
                  <a:cubicBezTo>
                    <a:pt x="419" y="196"/>
                    <a:pt x="420" y="196"/>
                    <a:pt x="421" y="194"/>
                  </a:cubicBezTo>
                  <a:cubicBezTo>
                    <a:pt x="423" y="193"/>
                    <a:pt x="425" y="191"/>
                    <a:pt x="425" y="188"/>
                  </a:cubicBezTo>
                  <a:cubicBezTo>
                    <a:pt x="425" y="184"/>
                    <a:pt x="421" y="183"/>
                    <a:pt x="418" y="182"/>
                  </a:cubicBezTo>
                  <a:cubicBezTo>
                    <a:pt x="418" y="182"/>
                    <a:pt x="417" y="182"/>
                    <a:pt x="417" y="182"/>
                  </a:cubicBezTo>
                  <a:cubicBezTo>
                    <a:pt x="416" y="181"/>
                    <a:pt x="415" y="181"/>
                    <a:pt x="415" y="181"/>
                  </a:cubicBezTo>
                  <a:cubicBezTo>
                    <a:pt x="414" y="180"/>
                    <a:pt x="412" y="179"/>
                    <a:pt x="411" y="179"/>
                  </a:cubicBezTo>
                  <a:cubicBezTo>
                    <a:pt x="409" y="179"/>
                    <a:pt x="407" y="181"/>
                    <a:pt x="405" y="182"/>
                  </a:cubicBezTo>
                  <a:cubicBezTo>
                    <a:pt x="405" y="183"/>
                    <a:pt x="404" y="183"/>
                    <a:pt x="404" y="183"/>
                  </a:cubicBezTo>
                  <a:cubicBezTo>
                    <a:pt x="404" y="183"/>
                    <a:pt x="403" y="182"/>
                    <a:pt x="403" y="181"/>
                  </a:cubicBezTo>
                  <a:cubicBezTo>
                    <a:pt x="402" y="180"/>
                    <a:pt x="402" y="180"/>
                    <a:pt x="402" y="180"/>
                  </a:cubicBezTo>
                  <a:cubicBezTo>
                    <a:pt x="401" y="179"/>
                    <a:pt x="399" y="178"/>
                    <a:pt x="398" y="177"/>
                  </a:cubicBezTo>
                  <a:cubicBezTo>
                    <a:pt x="398" y="177"/>
                    <a:pt x="397" y="176"/>
                    <a:pt x="397" y="176"/>
                  </a:cubicBezTo>
                  <a:cubicBezTo>
                    <a:pt x="397" y="176"/>
                    <a:pt x="397" y="176"/>
                    <a:pt x="397" y="176"/>
                  </a:cubicBezTo>
                  <a:cubicBezTo>
                    <a:pt x="397" y="176"/>
                    <a:pt x="397" y="176"/>
                    <a:pt x="400" y="175"/>
                  </a:cubicBezTo>
                  <a:cubicBezTo>
                    <a:pt x="401" y="174"/>
                    <a:pt x="403" y="173"/>
                    <a:pt x="405" y="172"/>
                  </a:cubicBezTo>
                  <a:cubicBezTo>
                    <a:pt x="406" y="170"/>
                    <a:pt x="406" y="168"/>
                    <a:pt x="406" y="167"/>
                  </a:cubicBezTo>
                  <a:cubicBezTo>
                    <a:pt x="406" y="166"/>
                    <a:pt x="406" y="165"/>
                    <a:pt x="406" y="165"/>
                  </a:cubicBezTo>
                  <a:cubicBezTo>
                    <a:pt x="406" y="165"/>
                    <a:pt x="407" y="165"/>
                    <a:pt x="408" y="165"/>
                  </a:cubicBezTo>
                  <a:cubicBezTo>
                    <a:pt x="409" y="165"/>
                    <a:pt x="411" y="165"/>
                    <a:pt x="412" y="161"/>
                  </a:cubicBezTo>
                  <a:cubicBezTo>
                    <a:pt x="414" y="157"/>
                    <a:pt x="410" y="154"/>
                    <a:pt x="409" y="153"/>
                  </a:cubicBezTo>
                  <a:cubicBezTo>
                    <a:pt x="407" y="152"/>
                    <a:pt x="407" y="152"/>
                    <a:pt x="406" y="151"/>
                  </a:cubicBezTo>
                  <a:cubicBezTo>
                    <a:pt x="406" y="150"/>
                    <a:pt x="405" y="149"/>
                    <a:pt x="405" y="148"/>
                  </a:cubicBezTo>
                  <a:cubicBezTo>
                    <a:pt x="404" y="147"/>
                    <a:pt x="404" y="146"/>
                    <a:pt x="403" y="145"/>
                  </a:cubicBezTo>
                  <a:cubicBezTo>
                    <a:pt x="403" y="144"/>
                    <a:pt x="403" y="143"/>
                    <a:pt x="403" y="143"/>
                  </a:cubicBezTo>
                  <a:cubicBezTo>
                    <a:pt x="402" y="141"/>
                    <a:pt x="402" y="140"/>
                    <a:pt x="401" y="138"/>
                  </a:cubicBezTo>
                  <a:cubicBezTo>
                    <a:pt x="400" y="137"/>
                    <a:pt x="399" y="137"/>
                    <a:pt x="399" y="136"/>
                  </a:cubicBezTo>
                  <a:cubicBezTo>
                    <a:pt x="398" y="135"/>
                    <a:pt x="397" y="135"/>
                    <a:pt x="397" y="134"/>
                  </a:cubicBezTo>
                  <a:cubicBezTo>
                    <a:pt x="396" y="132"/>
                    <a:pt x="396" y="130"/>
                    <a:pt x="397" y="127"/>
                  </a:cubicBezTo>
                  <a:cubicBezTo>
                    <a:pt x="397" y="125"/>
                    <a:pt x="397" y="124"/>
                    <a:pt x="397" y="123"/>
                  </a:cubicBezTo>
                  <a:cubicBezTo>
                    <a:pt x="397" y="119"/>
                    <a:pt x="396" y="115"/>
                    <a:pt x="394" y="112"/>
                  </a:cubicBezTo>
                  <a:cubicBezTo>
                    <a:pt x="394" y="110"/>
                    <a:pt x="392" y="108"/>
                    <a:pt x="391" y="107"/>
                  </a:cubicBezTo>
                  <a:cubicBezTo>
                    <a:pt x="391" y="106"/>
                    <a:pt x="390" y="105"/>
                    <a:pt x="389" y="104"/>
                  </a:cubicBezTo>
                  <a:cubicBezTo>
                    <a:pt x="389" y="104"/>
                    <a:pt x="389" y="103"/>
                    <a:pt x="388" y="102"/>
                  </a:cubicBezTo>
                  <a:cubicBezTo>
                    <a:pt x="388" y="100"/>
                    <a:pt x="387" y="97"/>
                    <a:pt x="385" y="96"/>
                  </a:cubicBezTo>
                  <a:cubicBezTo>
                    <a:pt x="383" y="94"/>
                    <a:pt x="381" y="94"/>
                    <a:pt x="379" y="93"/>
                  </a:cubicBezTo>
                  <a:cubicBezTo>
                    <a:pt x="379" y="93"/>
                    <a:pt x="379" y="93"/>
                    <a:pt x="378" y="93"/>
                  </a:cubicBezTo>
                  <a:cubicBezTo>
                    <a:pt x="380" y="92"/>
                    <a:pt x="381" y="91"/>
                    <a:pt x="382" y="90"/>
                  </a:cubicBezTo>
                  <a:cubicBezTo>
                    <a:pt x="383" y="89"/>
                    <a:pt x="384" y="88"/>
                    <a:pt x="385" y="87"/>
                  </a:cubicBezTo>
                  <a:cubicBezTo>
                    <a:pt x="386" y="86"/>
                    <a:pt x="387" y="86"/>
                    <a:pt x="388" y="85"/>
                  </a:cubicBezTo>
                  <a:cubicBezTo>
                    <a:pt x="393" y="80"/>
                    <a:pt x="392" y="71"/>
                    <a:pt x="391" y="65"/>
                  </a:cubicBezTo>
                  <a:cubicBezTo>
                    <a:pt x="391" y="64"/>
                    <a:pt x="391" y="64"/>
                    <a:pt x="391" y="64"/>
                  </a:cubicBezTo>
                  <a:cubicBezTo>
                    <a:pt x="391" y="63"/>
                    <a:pt x="391" y="62"/>
                    <a:pt x="391" y="62"/>
                  </a:cubicBezTo>
                  <a:cubicBezTo>
                    <a:pt x="391" y="62"/>
                    <a:pt x="392" y="62"/>
                    <a:pt x="393" y="63"/>
                  </a:cubicBezTo>
                  <a:cubicBezTo>
                    <a:pt x="396" y="63"/>
                    <a:pt x="398" y="64"/>
                    <a:pt x="400" y="64"/>
                  </a:cubicBezTo>
                  <a:cubicBezTo>
                    <a:pt x="405" y="64"/>
                    <a:pt x="409" y="62"/>
                    <a:pt x="412" y="58"/>
                  </a:cubicBezTo>
                  <a:cubicBezTo>
                    <a:pt x="414" y="55"/>
                    <a:pt x="416" y="51"/>
                    <a:pt x="417" y="48"/>
                  </a:cubicBezTo>
                  <a:cubicBezTo>
                    <a:pt x="418" y="45"/>
                    <a:pt x="418" y="43"/>
                    <a:pt x="420" y="41"/>
                  </a:cubicBezTo>
                  <a:cubicBezTo>
                    <a:pt x="421" y="39"/>
                    <a:pt x="422" y="37"/>
                    <a:pt x="424" y="35"/>
                  </a:cubicBezTo>
                  <a:cubicBezTo>
                    <a:pt x="426" y="32"/>
                    <a:pt x="429" y="28"/>
                    <a:pt x="430" y="24"/>
                  </a:cubicBezTo>
                  <a:cubicBezTo>
                    <a:pt x="431" y="20"/>
                    <a:pt x="431" y="17"/>
                    <a:pt x="429" y="15"/>
                  </a:cubicBezTo>
                  <a:cubicBezTo>
                    <a:pt x="426" y="10"/>
                    <a:pt x="418" y="8"/>
                    <a:pt x="411" y="6"/>
                  </a:cubicBezTo>
                  <a:cubicBezTo>
                    <a:pt x="408" y="6"/>
                    <a:pt x="405" y="5"/>
                    <a:pt x="403" y="4"/>
                  </a:cubicBezTo>
                  <a:cubicBezTo>
                    <a:pt x="398" y="1"/>
                    <a:pt x="393" y="0"/>
                    <a:pt x="389" y="0"/>
                  </a:cubicBezTo>
                  <a:cubicBezTo>
                    <a:pt x="386" y="0"/>
                    <a:pt x="384" y="1"/>
                    <a:pt x="382" y="1"/>
                  </a:cubicBezTo>
                  <a:cubicBezTo>
                    <a:pt x="379" y="2"/>
                    <a:pt x="372" y="4"/>
                    <a:pt x="370" y="9"/>
                  </a:cubicBezTo>
                  <a:cubicBezTo>
                    <a:pt x="369" y="10"/>
                    <a:pt x="369" y="13"/>
                    <a:pt x="370" y="16"/>
                  </a:cubicBezTo>
                  <a:cubicBezTo>
                    <a:pt x="369" y="16"/>
                    <a:pt x="368" y="17"/>
                    <a:pt x="368" y="17"/>
                  </a:cubicBezTo>
                  <a:cubicBezTo>
                    <a:pt x="365" y="19"/>
                    <a:pt x="365" y="22"/>
                    <a:pt x="365" y="24"/>
                  </a:cubicBezTo>
                  <a:cubicBezTo>
                    <a:pt x="365" y="25"/>
                    <a:pt x="365" y="25"/>
                    <a:pt x="365" y="25"/>
                  </a:cubicBezTo>
                  <a:cubicBezTo>
                    <a:pt x="365" y="26"/>
                    <a:pt x="365" y="27"/>
                    <a:pt x="365" y="28"/>
                  </a:cubicBezTo>
                  <a:cubicBezTo>
                    <a:pt x="364" y="30"/>
                    <a:pt x="364" y="32"/>
                    <a:pt x="364" y="34"/>
                  </a:cubicBezTo>
                  <a:cubicBezTo>
                    <a:pt x="364" y="36"/>
                    <a:pt x="364" y="37"/>
                    <a:pt x="364" y="39"/>
                  </a:cubicBezTo>
                  <a:cubicBezTo>
                    <a:pt x="364" y="42"/>
                    <a:pt x="365" y="45"/>
                    <a:pt x="364" y="47"/>
                  </a:cubicBezTo>
                  <a:cubicBezTo>
                    <a:pt x="364" y="47"/>
                    <a:pt x="364" y="48"/>
                    <a:pt x="363" y="48"/>
                  </a:cubicBezTo>
                  <a:cubicBezTo>
                    <a:pt x="363" y="50"/>
                    <a:pt x="362" y="52"/>
                    <a:pt x="363" y="55"/>
                  </a:cubicBezTo>
                  <a:cubicBezTo>
                    <a:pt x="363" y="56"/>
                    <a:pt x="363" y="57"/>
                    <a:pt x="364" y="58"/>
                  </a:cubicBezTo>
                  <a:cubicBezTo>
                    <a:pt x="364" y="59"/>
                    <a:pt x="365" y="59"/>
                    <a:pt x="365" y="60"/>
                  </a:cubicBezTo>
                  <a:cubicBezTo>
                    <a:pt x="366" y="64"/>
                    <a:pt x="366" y="68"/>
                    <a:pt x="366" y="73"/>
                  </a:cubicBezTo>
                  <a:cubicBezTo>
                    <a:pt x="366" y="74"/>
                    <a:pt x="366" y="76"/>
                    <a:pt x="366" y="77"/>
                  </a:cubicBezTo>
                  <a:cubicBezTo>
                    <a:pt x="366" y="79"/>
                    <a:pt x="366" y="81"/>
                    <a:pt x="366" y="82"/>
                  </a:cubicBezTo>
                  <a:cubicBezTo>
                    <a:pt x="366" y="83"/>
                    <a:pt x="365" y="83"/>
                    <a:pt x="365" y="84"/>
                  </a:cubicBezTo>
                  <a:cubicBezTo>
                    <a:pt x="364" y="86"/>
                    <a:pt x="363" y="88"/>
                    <a:pt x="365" y="91"/>
                  </a:cubicBezTo>
                  <a:cubicBezTo>
                    <a:pt x="365" y="91"/>
                    <a:pt x="365" y="91"/>
                    <a:pt x="365" y="91"/>
                  </a:cubicBezTo>
                  <a:cubicBezTo>
                    <a:pt x="363" y="92"/>
                    <a:pt x="363" y="94"/>
                    <a:pt x="362" y="95"/>
                  </a:cubicBezTo>
                  <a:cubicBezTo>
                    <a:pt x="362" y="96"/>
                    <a:pt x="362" y="96"/>
                    <a:pt x="362" y="96"/>
                  </a:cubicBezTo>
                  <a:cubicBezTo>
                    <a:pt x="362" y="96"/>
                    <a:pt x="362" y="96"/>
                    <a:pt x="361" y="97"/>
                  </a:cubicBezTo>
                  <a:cubicBezTo>
                    <a:pt x="359" y="97"/>
                    <a:pt x="357" y="98"/>
                    <a:pt x="356" y="100"/>
                  </a:cubicBezTo>
                  <a:cubicBezTo>
                    <a:pt x="355" y="102"/>
                    <a:pt x="355" y="105"/>
                    <a:pt x="356" y="106"/>
                  </a:cubicBezTo>
                  <a:cubicBezTo>
                    <a:pt x="357" y="107"/>
                    <a:pt x="358" y="108"/>
                    <a:pt x="360" y="108"/>
                  </a:cubicBezTo>
                  <a:cubicBezTo>
                    <a:pt x="360" y="108"/>
                    <a:pt x="360" y="108"/>
                    <a:pt x="359" y="108"/>
                  </a:cubicBezTo>
                  <a:cubicBezTo>
                    <a:pt x="359" y="108"/>
                    <a:pt x="359" y="108"/>
                    <a:pt x="358" y="108"/>
                  </a:cubicBezTo>
                  <a:cubicBezTo>
                    <a:pt x="358" y="108"/>
                    <a:pt x="357" y="108"/>
                    <a:pt x="356" y="108"/>
                  </a:cubicBezTo>
                  <a:cubicBezTo>
                    <a:pt x="355" y="108"/>
                    <a:pt x="352" y="108"/>
                    <a:pt x="350" y="110"/>
                  </a:cubicBezTo>
                  <a:cubicBezTo>
                    <a:pt x="348" y="113"/>
                    <a:pt x="347" y="118"/>
                    <a:pt x="346" y="121"/>
                  </a:cubicBezTo>
                  <a:cubicBezTo>
                    <a:pt x="345" y="122"/>
                    <a:pt x="345" y="123"/>
                    <a:pt x="345" y="124"/>
                  </a:cubicBezTo>
                  <a:cubicBezTo>
                    <a:pt x="345" y="124"/>
                    <a:pt x="345" y="125"/>
                    <a:pt x="345" y="125"/>
                  </a:cubicBezTo>
                  <a:cubicBezTo>
                    <a:pt x="343" y="128"/>
                    <a:pt x="341" y="136"/>
                    <a:pt x="347" y="139"/>
                  </a:cubicBezTo>
                  <a:cubicBezTo>
                    <a:pt x="348" y="139"/>
                    <a:pt x="348" y="139"/>
                    <a:pt x="349" y="139"/>
                  </a:cubicBezTo>
                  <a:cubicBezTo>
                    <a:pt x="349" y="139"/>
                    <a:pt x="348" y="140"/>
                    <a:pt x="348" y="140"/>
                  </a:cubicBezTo>
                  <a:cubicBezTo>
                    <a:pt x="346" y="141"/>
                    <a:pt x="345" y="143"/>
                    <a:pt x="344" y="144"/>
                  </a:cubicBezTo>
                  <a:cubicBezTo>
                    <a:pt x="344" y="144"/>
                    <a:pt x="344" y="145"/>
                    <a:pt x="343" y="145"/>
                  </a:cubicBezTo>
                  <a:cubicBezTo>
                    <a:pt x="343" y="146"/>
                    <a:pt x="342" y="146"/>
                    <a:pt x="341" y="148"/>
                  </a:cubicBezTo>
                  <a:cubicBezTo>
                    <a:pt x="340" y="151"/>
                    <a:pt x="340" y="156"/>
                    <a:pt x="340" y="158"/>
                  </a:cubicBezTo>
                  <a:cubicBezTo>
                    <a:pt x="341" y="161"/>
                    <a:pt x="342" y="162"/>
                    <a:pt x="344" y="163"/>
                  </a:cubicBezTo>
                  <a:cubicBezTo>
                    <a:pt x="344" y="164"/>
                    <a:pt x="345" y="164"/>
                    <a:pt x="345" y="165"/>
                  </a:cubicBezTo>
                  <a:cubicBezTo>
                    <a:pt x="345" y="165"/>
                    <a:pt x="345" y="166"/>
                    <a:pt x="345" y="166"/>
                  </a:cubicBezTo>
                  <a:cubicBezTo>
                    <a:pt x="345" y="167"/>
                    <a:pt x="345" y="168"/>
                    <a:pt x="345" y="170"/>
                  </a:cubicBezTo>
                  <a:cubicBezTo>
                    <a:pt x="346" y="172"/>
                    <a:pt x="347" y="173"/>
                    <a:pt x="349" y="174"/>
                  </a:cubicBezTo>
                  <a:cubicBezTo>
                    <a:pt x="351" y="175"/>
                    <a:pt x="353" y="176"/>
                    <a:pt x="355" y="177"/>
                  </a:cubicBezTo>
                  <a:cubicBezTo>
                    <a:pt x="356" y="177"/>
                    <a:pt x="356" y="177"/>
                    <a:pt x="357" y="178"/>
                  </a:cubicBezTo>
                  <a:cubicBezTo>
                    <a:pt x="360" y="179"/>
                    <a:pt x="362" y="181"/>
                    <a:pt x="364" y="182"/>
                  </a:cubicBezTo>
                  <a:cubicBezTo>
                    <a:pt x="365" y="184"/>
                    <a:pt x="367" y="185"/>
                    <a:pt x="368" y="186"/>
                  </a:cubicBezTo>
                  <a:cubicBezTo>
                    <a:pt x="370" y="187"/>
                    <a:pt x="372" y="188"/>
                    <a:pt x="374" y="188"/>
                  </a:cubicBezTo>
                  <a:cubicBezTo>
                    <a:pt x="374" y="188"/>
                    <a:pt x="375" y="188"/>
                    <a:pt x="375" y="188"/>
                  </a:cubicBezTo>
                  <a:cubicBezTo>
                    <a:pt x="376" y="188"/>
                    <a:pt x="377" y="188"/>
                    <a:pt x="378" y="188"/>
                  </a:cubicBezTo>
                  <a:cubicBezTo>
                    <a:pt x="378" y="188"/>
                    <a:pt x="379" y="188"/>
                    <a:pt x="379" y="188"/>
                  </a:cubicBezTo>
                  <a:cubicBezTo>
                    <a:pt x="380" y="188"/>
                    <a:pt x="380" y="188"/>
                    <a:pt x="381" y="188"/>
                  </a:cubicBezTo>
                  <a:cubicBezTo>
                    <a:pt x="381" y="189"/>
                    <a:pt x="380" y="189"/>
                    <a:pt x="379" y="190"/>
                  </a:cubicBezTo>
                  <a:cubicBezTo>
                    <a:pt x="379" y="190"/>
                    <a:pt x="379" y="190"/>
                    <a:pt x="379" y="190"/>
                  </a:cubicBezTo>
                  <a:cubicBezTo>
                    <a:pt x="378" y="190"/>
                    <a:pt x="377" y="189"/>
                    <a:pt x="377" y="189"/>
                  </a:cubicBezTo>
                  <a:cubicBezTo>
                    <a:pt x="376" y="189"/>
                    <a:pt x="375" y="189"/>
                    <a:pt x="374" y="189"/>
                  </a:cubicBezTo>
                  <a:cubicBezTo>
                    <a:pt x="368" y="189"/>
                    <a:pt x="367" y="193"/>
                    <a:pt x="367" y="195"/>
                  </a:cubicBezTo>
                  <a:cubicBezTo>
                    <a:pt x="367" y="196"/>
                    <a:pt x="368" y="197"/>
                    <a:pt x="368" y="198"/>
                  </a:cubicBezTo>
                  <a:cubicBezTo>
                    <a:pt x="368" y="199"/>
                    <a:pt x="368" y="201"/>
                    <a:pt x="368" y="201"/>
                  </a:cubicBezTo>
                  <a:cubicBezTo>
                    <a:pt x="367" y="202"/>
                    <a:pt x="363" y="203"/>
                    <a:pt x="362" y="208"/>
                  </a:cubicBezTo>
                  <a:cubicBezTo>
                    <a:pt x="362" y="211"/>
                    <a:pt x="363" y="214"/>
                    <a:pt x="365" y="216"/>
                  </a:cubicBezTo>
                  <a:cubicBezTo>
                    <a:pt x="367" y="217"/>
                    <a:pt x="368" y="218"/>
                    <a:pt x="369" y="218"/>
                  </a:cubicBezTo>
                  <a:cubicBezTo>
                    <a:pt x="373" y="218"/>
                    <a:pt x="374" y="215"/>
                    <a:pt x="376" y="212"/>
                  </a:cubicBezTo>
                  <a:cubicBezTo>
                    <a:pt x="376" y="213"/>
                    <a:pt x="376" y="214"/>
                    <a:pt x="376" y="214"/>
                  </a:cubicBezTo>
                  <a:cubicBezTo>
                    <a:pt x="376" y="216"/>
                    <a:pt x="376" y="217"/>
                    <a:pt x="376" y="219"/>
                  </a:cubicBezTo>
                  <a:cubicBezTo>
                    <a:pt x="376" y="219"/>
                    <a:pt x="375" y="219"/>
                    <a:pt x="374" y="220"/>
                  </a:cubicBezTo>
                  <a:cubicBezTo>
                    <a:pt x="373" y="221"/>
                    <a:pt x="371" y="223"/>
                    <a:pt x="369" y="225"/>
                  </a:cubicBezTo>
                  <a:cubicBezTo>
                    <a:pt x="367" y="226"/>
                    <a:pt x="366" y="228"/>
                    <a:pt x="365" y="230"/>
                  </a:cubicBezTo>
                  <a:cubicBezTo>
                    <a:pt x="364" y="232"/>
                    <a:pt x="364" y="232"/>
                    <a:pt x="364" y="232"/>
                  </a:cubicBezTo>
                  <a:cubicBezTo>
                    <a:pt x="364" y="232"/>
                    <a:pt x="364" y="232"/>
                    <a:pt x="364" y="233"/>
                  </a:cubicBezTo>
                  <a:cubicBezTo>
                    <a:pt x="363" y="233"/>
                    <a:pt x="363" y="234"/>
                    <a:pt x="363" y="234"/>
                  </a:cubicBezTo>
                  <a:cubicBezTo>
                    <a:pt x="363" y="234"/>
                    <a:pt x="362" y="234"/>
                    <a:pt x="362" y="234"/>
                  </a:cubicBezTo>
                  <a:cubicBezTo>
                    <a:pt x="362" y="234"/>
                    <a:pt x="361" y="234"/>
                    <a:pt x="361" y="234"/>
                  </a:cubicBezTo>
                  <a:cubicBezTo>
                    <a:pt x="360" y="234"/>
                    <a:pt x="360" y="234"/>
                    <a:pt x="359" y="234"/>
                  </a:cubicBezTo>
                  <a:cubicBezTo>
                    <a:pt x="357" y="234"/>
                    <a:pt x="356" y="234"/>
                    <a:pt x="354" y="235"/>
                  </a:cubicBezTo>
                  <a:cubicBezTo>
                    <a:pt x="351" y="237"/>
                    <a:pt x="349" y="239"/>
                    <a:pt x="347" y="242"/>
                  </a:cubicBezTo>
                  <a:cubicBezTo>
                    <a:pt x="347" y="242"/>
                    <a:pt x="347" y="242"/>
                    <a:pt x="347" y="242"/>
                  </a:cubicBezTo>
                  <a:cubicBezTo>
                    <a:pt x="344" y="247"/>
                    <a:pt x="345" y="251"/>
                    <a:pt x="346" y="254"/>
                  </a:cubicBezTo>
                  <a:cubicBezTo>
                    <a:pt x="346" y="255"/>
                    <a:pt x="346" y="255"/>
                    <a:pt x="346" y="255"/>
                  </a:cubicBezTo>
                  <a:cubicBezTo>
                    <a:pt x="347" y="256"/>
                    <a:pt x="347" y="257"/>
                    <a:pt x="347" y="259"/>
                  </a:cubicBezTo>
                  <a:cubicBezTo>
                    <a:pt x="347" y="259"/>
                    <a:pt x="348" y="260"/>
                    <a:pt x="348" y="260"/>
                  </a:cubicBezTo>
                  <a:cubicBezTo>
                    <a:pt x="348" y="262"/>
                    <a:pt x="348" y="263"/>
                    <a:pt x="349" y="265"/>
                  </a:cubicBezTo>
                  <a:cubicBezTo>
                    <a:pt x="349" y="267"/>
                    <a:pt x="349" y="268"/>
                    <a:pt x="348" y="269"/>
                  </a:cubicBezTo>
                  <a:cubicBezTo>
                    <a:pt x="348" y="270"/>
                    <a:pt x="348" y="270"/>
                    <a:pt x="348" y="270"/>
                  </a:cubicBezTo>
                  <a:cubicBezTo>
                    <a:pt x="348" y="270"/>
                    <a:pt x="348" y="270"/>
                    <a:pt x="347" y="270"/>
                  </a:cubicBezTo>
                  <a:cubicBezTo>
                    <a:pt x="347" y="270"/>
                    <a:pt x="346" y="269"/>
                    <a:pt x="345" y="269"/>
                  </a:cubicBezTo>
                  <a:cubicBezTo>
                    <a:pt x="345" y="268"/>
                    <a:pt x="344" y="268"/>
                    <a:pt x="344" y="268"/>
                  </a:cubicBezTo>
                  <a:cubicBezTo>
                    <a:pt x="343" y="268"/>
                    <a:pt x="342" y="268"/>
                    <a:pt x="342" y="267"/>
                  </a:cubicBezTo>
                  <a:cubicBezTo>
                    <a:pt x="342" y="267"/>
                    <a:pt x="342" y="266"/>
                    <a:pt x="342" y="265"/>
                  </a:cubicBezTo>
                  <a:cubicBezTo>
                    <a:pt x="342" y="264"/>
                    <a:pt x="342" y="264"/>
                    <a:pt x="342" y="263"/>
                  </a:cubicBezTo>
                  <a:cubicBezTo>
                    <a:pt x="342" y="262"/>
                    <a:pt x="341" y="260"/>
                    <a:pt x="340" y="259"/>
                  </a:cubicBezTo>
                  <a:cubicBezTo>
                    <a:pt x="340" y="258"/>
                    <a:pt x="340" y="257"/>
                    <a:pt x="340" y="257"/>
                  </a:cubicBezTo>
                  <a:cubicBezTo>
                    <a:pt x="340" y="255"/>
                    <a:pt x="340" y="254"/>
                    <a:pt x="341" y="252"/>
                  </a:cubicBezTo>
                  <a:cubicBezTo>
                    <a:pt x="341" y="251"/>
                    <a:pt x="341" y="250"/>
                    <a:pt x="341" y="249"/>
                  </a:cubicBezTo>
                  <a:cubicBezTo>
                    <a:pt x="341" y="249"/>
                    <a:pt x="341" y="248"/>
                    <a:pt x="342" y="247"/>
                  </a:cubicBezTo>
                  <a:cubicBezTo>
                    <a:pt x="342" y="246"/>
                    <a:pt x="343" y="245"/>
                    <a:pt x="344" y="244"/>
                  </a:cubicBezTo>
                  <a:cubicBezTo>
                    <a:pt x="346" y="242"/>
                    <a:pt x="348" y="240"/>
                    <a:pt x="348" y="236"/>
                  </a:cubicBezTo>
                  <a:cubicBezTo>
                    <a:pt x="348" y="234"/>
                    <a:pt x="347" y="233"/>
                    <a:pt x="346" y="231"/>
                  </a:cubicBezTo>
                  <a:cubicBezTo>
                    <a:pt x="345" y="230"/>
                    <a:pt x="343" y="229"/>
                    <a:pt x="341" y="229"/>
                  </a:cubicBezTo>
                  <a:cubicBezTo>
                    <a:pt x="340" y="229"/>
                    <a:pt x="340" y="229"/>
                    <a:pt x="340" y="229"/>
                  </a:cubicBezTo>
                  <a:cubicBezTo>
                    <a:pt x="339" y="228"/>
                    <a:pt x="339" y="227"/>
                    <a:pt x="338" y="226"/>
                  </a:cubicBezTo>
                  <a:cubicBezTo>
                    <a:pt x="337" y="226"/>
                    <a:pt x="336" y="226"/>
                    <a:pt x="335" y="226"/>
                  </a:cubicBezTo>
                  <a:cubicBezTo>
                    <a:pt x="335" y="226"/>
                    <a:pt x="334" y="226"/>
                    <a:pt x="334" y="226"/>
                  </a:cubicBezTo>
                  <a:cubicBezTo>
                    <a:pt x="334" y="225"/>
                    <a:pt x="334" y="224"/>
                    <a:pt x="334" y="224"/>
                  </a:cubicBezTo>
                  <a:cubicBezTo>
                    <a:pt x="332" y="222"/>
                    <a:pt x="331" y="221"/>
                    <a:pt x="330" y="220"/>
                  </a:cubicBezTo>
                  <a:cubicBezTo>
                    <a:pt x="329" y="220"/>
                    <a:pt x="329" y="220"/>
                    <a:pt x="329" y="220"/>
                  </a:cubicBezTo>
                  <a:cubicBezTo>
                    <a:pt x="329" y="220"/>
                    <a:pt x="328" y="219"/>
                    <a:pt x="328" y="219"/>
                  </a:cubicBezTo>
                  <a:cubicBezTo>
                    <a:pt x="327" y="219"/>
                    <a:pt x="327" y="218"/>
                    <a:pt x="326" y="217"/>
                  </a:cubicBezTo>
                  <a:cubicBezTo>
                    <a:pt x="325" y="217"/>
                    <a:pt x="323" y="217"/>
                    <a:pt x="322" y="217"/>
                  </a:cubicBezTo>
                  <a:cubicBezTo>
                    <a:pt x="320" y="217"/>
                    <a:pt x="318" y="218"/>
                    <a:pt x="316" y="219"/>
                  </a:cubicBezTo>
                  <a:cubicBezTo>
                    <a:pt x="316" y="219"/>
                    <a:pt x="315" y="219"/>
                    <a:pt x="315" y="220"/>
                  </a:cubicBezTo>
                  <a:cubicBezTo>
                    <a:pt x="315" y="220"/>
                    <a:pt x="315" y="220"/>
                    <a:pt x="314" y="220"/>
                  </a:cubicBezTo>
                  <a:cubicBezTo>
                    <a:pt x="314" y="220"/>
                    <a:pt x="314" y="220"/>
                    <a:pt x="313" y="220"/>
                  </a:cubicBezTo>
                  <a:cubicBezTo>
                    <a:pt x="313" y="220"/>
                    <a:pt x="312" y="220"/>
                    <a:pt x="312" y="220"/>
                  </a:cubicBezTo>
                  <a:cubicBezTo>
                    <a:pt x="310" y="220"/>
                    <a:pt x="308" y="220"/>
                    <a:pt x="307" y="221"/>
                  </a:cubicBezTo>
                  <a:cubicBezTo>
                    <a:pt x="304" y="224"/>
                    <a:pt x="305" y="228"/>
                    <a:pt x="305" y="230"/>
                  </a:cubicBezTo>
                  <a:cubicBezTo>
                    <a:pt x="305" y="231"/>
                    <a:pt x="305" y="231"/>
                    <a:pt x="305" y="231"/>
                  </a:cubicBezTo>
                  <a:cubicBezTo>
                    <a:pt x="306" y="233"/>
                    <a:pt x="306" y="238"/>
                    <a:pt x="310" y="240"/>
                  </a:cubicBezTo>
                  <a:cubicBezTo>
                    <a:pt x="312" y="241"/>
                    <a:pt x="313" y="242"/>
                    <a:pt x="315" y="242"/>
                  </a:cubicBezTo>
                  <a:cubicBezTo>
                    <a:pt x="317" y="242"/>
                    <a:pt x="319" y="241"/>
                    <a:pt x="320" y="241"/>
                  </a:cubicBezTo>
                  <a:cubicBezTo>
                    <a:pt x="321" y="241"/>
                    <a:pt x="321" y="241"/>
                    <a:pt x="321" y="241"/>
                  </a:cubicBezTo>
                  <a:cubicBezTo>
                    <a:pt x="322" y="241"/>
                    <a:pt x="322" y="241"/>
                    <a:pt x="322" y="241"/>
                  </a:cubicBezTo>
                  <a:cubicBezTo>
                    <a:pt x="322" y="241"/>
                    <a:pt x="322" y="241"/>
                    <a:pt x="322" y="241"/>
                  </a:cubicBezTo>
                  <a:cubicBezTo>
                    <a:pt x="322" y="241"/>
                    <a:pt x="322" y="242"/>
                    <a:pt x="322" y="242"/>
                  </a:cubicBezTo>
                  <a:cubicBezTo>
                    <a:pt x="323" y="243"/>
                    <a:pt x="323" y="244"/>
                    <a:pt x="324" y="246"/>
                  </a:cubicBezTo>
                  <a:cubicBezTo>
                    <a:pt x="324" y="247"/>
                    <a:pt x="324" y="247"/>
                    <a:pt x="324" y="248"/>
                  </a:cubicBezTo>
                  <a:cubicBezTo>
                    <a:pt x="324" y="249"/>
                    <a:pt x="322" y="250"/>
                    <a:pt x="321" y="250"/>
                  </a:cubicBezTo>
                  <a:cubicBezTo>
                    <a:pt x="320" y="250"/>
                    <a:pt x="320" y="250"/>
                    <a:pt x="320" y="250"/>
                  </a:cubicBezTo>
                  <a:cubicBezTo>
                    <a:pt x="319" y="249"/>
                    <a:pt x="318" y="248"/>
                    <a:pt x="317" y="247"/>
                  </a:cubicBezTo>
                  <a:cubicBezTo>
                    <a:pt x="317" y="246"/>
                    <a:pt x="316" y="244"/>
                    <a:pt x="314" y="243"/>
                  </a:cubicBezTo>
                  <a:cubicBezTo>
                    <a:pt x="313" y="242"/>
                    <a:pt x="310" y="241"/>
                    <a:pt x="308" y="241"/>
                  </a:cubicBezTo>
                  <a:cubicBezTo>
                    <a:pt x="305" y="241"/>
                    <a:pt x="303" y="242"/>
                    <a:pt x="301" y="243"/>
                  </a:cubicBezTo>
                  <a:cubicBezTo>
                    <a:pt x="300" y="243"/>
                    <a:pt x="300" y="243"/>
                    <a:pt x="300" y="243"/>
                  </a:cubicBezTo>
                  <a:cubicBezTo>
                    <a:pt x="299" y="243"/>
                    <a:pt x="299" y="244"/>
                    <a:pt x="298" y="244"/>
                  </a:cubicBezTo>
                  <a:cubicBezTo>
                    <a:pt x="298" y="244"/>
                    <a:pt x="298" y="244"/>
                    <a:pt x="298" y="244"/>
                  </a:cubicBezTo>
                  <a:cubicBezTo>
                    <a:pt x="297" y="243"/>
                    <a:pt x="297" y="242"/>
                    <a:pt x="296" y="242"/>
                  </a:cubicBezTo>
                  <a:cubicBezTo>
                    <a:pt x="295" y="241"/>
                    <a:pt x="294" y="240"/>
                    <a:pt x="293" y="239"/>
                  </a:cubicBezTo>
                  <a:cubicBezTo>
                    <a:pt x="291" y="238"/>
                    <a:pt x="290" y="238"/>
                    <a:pt x="289" y="238"/>
                  </a:cubicBezTo>
                  <a:cubicBezTo>
                    <a:pt x="288" y="238"/>
                    <a:pt x="288" y="238"/>
                    <a:pt x="288" y="238"/>
                  </a:cubicBezTo>
                  <a:cubicBezTo>
                    <a:pt x="287" y="238"/>
                    <a:pt x="287" y="238"/>
                    <a:pt x="287" y="238"/>
                  </a:cubicBezTo>
                  <a:cubicBezTo>
                    <a:pt x="286" y="238"/>
                    <a:pt x="285" y="237"/>
                    <a:pt x="284" y="237"/>
                  </a:cubicBezTo>
                  <a:cubicBezTo>
                    <a:pt x="282" y="236"/>
                    <a:pt x="281" y="236"/>
                    <a:pt x="279" y="236"/>
                  </a:cubicBezTo>
                  <a:cubicBezTo>
                    <a:pt x="278" y="236"/>
                    <a:pt x="278" y="236"/>
                    <a:pt x="277" y="236"/>
                  </a:cubicBezTo>
                  <a:cubicBezTo>
                    <a:pt x="274" y="236"/>
                    <a:pt x="271" y="236"/>
                    <a:pt x="269" y="237"/>
                  </a:cubicBezTo>
                  <a:cubicBezTo>
                    <a:pt x="268" y="237"/>
                    <a:pt x="267" y="237"/>
                    <a:pt x="267" y="237"/>
                  </a:cubicBezTo>
                  <a:cubicBezTo>
                    <a:pt x="265" y="238"/>
                    <a:pt x="264" y="238"/>
                    <a:pt x="262" y="238"/>
                  </a:cubicBezTo>
                  <a:cubicBezTo>
                    <a:pt x="262" y="238"/>
                    <a:pt x="261" y="238"/>
                    <a:pt x="261" y="237"/>
                  </a:cubicBezTo>
                  <a:cubicBezTo>
                    <a:pt x="260" y="236"/>
                    <a:pt x="260" y="236"/>
                    <a:pt x="258" y="235"/>
                  </a:cubicBezTo>
                  <a:cubicBezTo>
                    <a:pt x="257" y="234"/>
                    <a:pt x="256" y="234"/>
                    <a:pt x="255" y="234"/>
                  </a:cubicBezTo>
                  <a:cubicBezTo>
                    <a:pt x="254" y="234"/>
                    <a:pt x="254" y="234"/>
                    <a:pt x="254" y="234"/>
                  </a:cubicBezTo>
                  <a:cubicBezTo>
                    <a:pt x="254" y="237"/>
                    <a:pt x="254" y="237"/>
                    <a:pt x="254" y="237"/>
                  </a:cubicBezTo>
                  <a:cubicBezTo>
                    <a:pt x="254" y="234"/>
                    <a:pt x="254" y="234"/>
                    <a:pt x="254" y="234"/>
                  </a:cubicBezTo>
                  <a:cubicBezTo>
                    <a:pt x="252" y="234"/>
                    <a:pt x="251" y="234"/>
                    <a:pt x="250" y="232"/>
                  </a:cubicBezTo>
                  <a:cubicBezTo>
                    <a:pt x="249" y="231"/>
                    <a:pt x="249" y="231"/>
                    <a:pt x="248" y="230"/>
                  </a:cubicBezTo>
                  <a:cubicBezTo>
                    <a:pt x="247" y="230"/>
                    <a:pt x="247" y="229"/>
                    <a:pt x="246" y="229"/>
                  </a:cubicBezTo>
                  <a:cubicBezTo>
                    <a:pt x="246" y="229"/>
                    <a:pt x="246" y="229"/>
                    <a:pt x="246" y="229"/>
                  </a:cubicBezTo>
                  <a:cubicBezTo>
                    <a:pt x="246" y="228"/>
                    <a:pt x="245" y="227"/>
                    <a:pt x="245" y="227"/>
                  </a:cubicBezTo>
                  <a:cubicBezTo>
                    <a:pt x="244" y="226"/>
                    <a:pt x="244" y="226"/>
                    <a:pt x="244" y="226"/>
                  </a:cubicBezTo>
                  <a:cubicBezTo>
                    <a:pt x="243" y="222"/>
                    <a:pt x="241" y="218"/>
                    <a:pt x="236" y="218"/>
                  </a:cubicBezTo>
                  <a:cubicBezTo>
                    <a:pt x="235" y="218"/>
                    <a:pt x="235" y="218"/>
                    <a:pt x="234" y="218"/>
                  </a:cubicBezTo>
                  <a:cubicBezTo>
                    <a:pt x="233" y="218"/>
                    <a:pt x="231" y="219"/>
                    <a:pt x="229" y="219"/>
                  </a:cubicBezTo>
                  <a:cubicBezTo>
                    <a:pt x="228" y="219"/>
                    <a:pt x="227" y="218"/>
                    <a:pt x="227" y="218"/>
                  </a:cubicBezTo>
                  <a:cubicBezTo>
                    <a:pt x="226" y="218"/>
                    <a:pt x="225" y="215"/>
                    <a:pt x="225" y="214"/>
                  </a:cubicBezTo>
                  <a:cubicBezTo>
                    <a:pt x="225" y="213"/>
                    <a:pt x="225" y="213"/>
                    <a:pt x="225" y="213"/>
                  </a:cubicBezTo>
                  <a:cubicBezTo>
                    <a:pt x="224" y="211"/>
                    <a:pt x="223" y="209"/>
                    <a:pt x="222" y="207"/>
                  </a:cubicBezTo>
                  <a:cubicBezTo>
                    <a:pt x="220" y="205"/>
                    <a:pt x="218" y="205"/>
                    <a:pt x="217" y="205"/>
                  </a:cubicBezTo>
                  <a:cubicBezTo>
                    <a:pt x="217" y="205"/>
                    <a:pt x="217" y="204"/>
                    <a:pt x="217" y="204"/>
                  </a:cubicBezTo>
                  <a:cubicBezTo>
                    <a:pt x="217" y="204"/>
                    <a:pt x="217" y="202"/>
                    <a:pt x="217" y="201"/>
                  </a:cubicBezTo>
                  <a:cubicBezTo>
                    <a:pt x="217" y="201"/>
                    <a:pt x="217" y="201"/>
                    <a:pt x="217" y="201"/>
                  </a:cubicBezTo>
                  <a:cubicBezTo>
                    <a:pt x="217" y="199"/>
                    <a:pt x="217" y="198"/>
                    <a:pt x="218" y="197"/>
                  </a:cubicBezTo>
                  <a:cubicBezTo>
                    <a:pt x="218" y="194"/>
                    <a:pt x="219" y="190"/>
                    <a:pt x="217" y="185"/>
                  </a:cubicBezTo>
                  <a:cubicBezTo>
                    <a:pt x="216" y="184"/>
                    <a:pt x="214" y="179"/>
                    <a:pt x="208" y="179"/>
                  </a:cubicBezTo>
                  <a:cubicBezTo>
                    <a:pt x="207" y="179"/>
                    <a:pt x="206" y="179"/>
                    <a:pt x="205" y="179"/>
                  </a:cubicBezTo>
                  <a:cubicBezTo>
                    <a:pt x="203" y="179"/>
                    <a:pt x="200" y="179"/>
                    <a:pt x="197" y="179"/>
                  </a:cubicBezTo>
                  <a:cubicBezTo>
                    <a:pt x="194" y="180"/>
                    <a:pt x="193" y="180"/>
                    <a:pt x="191" y="182"/>
                  </a:cubicBezTo>
                  <a:cubicBezTo>
                    <a:pt x="190" y="182"/>
                    <a:pt x="189" y="182"/>
                    <a:pt x="188" y="182"/>
                  </a:cubicBezTo>
                  <a:cubicBezTo>
                    <a:pt x="187" y="182"/>
                    <a:pt x="185" y="182"/>
                    <a:pt x="184" y="182"/>
                  </a:cubicBezTo>
                  <a:cubicBezTo>
                    <a:pt x="182" y="181"/>
                    <a:pt x="180" y="181"/>
                    <a:pt x="179" y="181"/>
                  </a:cubicBezTo>
                  <a:cubicBezTo>
                    <a:pt x="178" y="181"/>
                    <a:pt x="177" y="181"/>
                    <a:pt x="176" y="181"/>
                  </a:cubicBezTo>
                  <a:cubicBezTo>
                    <a:pt x="176" y="181"/>
                    <a:pt x="174" y="182"/>
                    <a:pt x="173" y="183"/>
                  </a:cubicBezTo>
                  <a:cubicBezTo>
                    <a:pt x="172" y="184"/>
                    <a:pt x="172" y="184"/>
                    <a:pt x="171" y="185"/>
                  </a:cubicBezTo>
                  <a:cubicBezTo>
                    <a:pt x="171" y="185"/>
                    <a:pt x="171" y="185"/>
                    <a:pt x="170" y="185"/>
                  </a:cubicBezTo>
                  <a:cubicBezTo>
                    <a:pt x="168" y="186"/>
                    <a:pt x="166" y="187"/>
                    <a:pt x="165" y="190"/>
                  </a:cubicBezTo>
                  <a:cubicBezTo>
                    <a:pt x="163" y="194"/>
                    <a:pt x="166" y="199"/>
                    <a:pt x="167" y="200"/>
                  </a:cubicBezTo>
                  <a:cubicBezTo>
                    <a:pt x="167" y="201"/>
                    <a:pt x="167" y="201"/>
                    <a:pt x="167" y="201"/>
                  </a:cubicBezTo>
                  <a:cubicBezTo>
                    <a:pt x="168" y="202"/>
                    <a:pt x="170" y="204"/>
                    <a:pt x="171" y="205"/>
                  </a:cubicBezTo>
                  <a:cubicBezTo>
                    <a:pt x="172" y="205"/>
                    <a:pt x="174" y="205"/>
                    <a:pt x="175" y="205"/>
                  </a:cubicBezTo>
                  <a:cubicBezTo>
                    <a:pt x="178" y="205"/>
                    <a:pt x="180" y="204"/>
                    <a:pt x="181" y="201"/>
                  </a:cubicBezTo>
                  <a:cubicBezTo>
                    <a:pt x="181" y="201"/>
                    <a:pt x="182" y="199"/>
                    <a:pt x="183" y="199"/>
                  </a:cubicBezTo>
                  <a:cubicBezTo>
                    <a:pt x="183" y="199"/>
                    <a:pt x="183" y="199"/>
                    <a:pt x="183" y="199"/>
                  </a:cubicBezTo>
                  <a:cubicBezTo>
                    <a:pt x="183" y="200"/>
                    <a:pt x="184" y="203"/>
                    <a:pt x="188" y="204"/>
                  </a:cubicBezTo>
                  <a:cubicBezTo>
                    <a:pt x="191" y="204"/>
                    <a:pt x="194" y="202"/>
                    <a:pt x="196" y="200"/>
                  </a:cubicBezTo>
                  <a:cubicBezTo>
                    <a:pt x="197" y="200"/>
                    <a:pt x="198" y="199"/>
                    <a:pt x="199" y="199"/>
                  </a:cubicBezTo>
                  <a:cubicBezTo>
                    <a:pt x="201" y="198"/>
                    <a:pt x="203" y="197"/>
                    <a:pt x="205" y="197"/>
                  </a:cubicBezTo>
                  <a:cubicBezTo>
                    <a:pt x="205" y="196"/>
                    <a:pt x="206" y="196"/>
                    <a:pt x="207" y="196"/>
                  </a:cubicBezTo>
                  <a:cubicBezTo>
                    <a:pt x="207" y="196"/>
                    <a:pt x="207" y="196"/>
                    <a:pt x="207" y="196"/>
                  </a:cubicBezTo>
                  <a:cubicBezTo>
                    <a:pt x="207" y="198"/>
                    <a:pt x="201" y="200"/>
                    <a:pt x="198" y="202"/>
                  </a:cubicBezTo>
                  <a:cubicBezTo>
                    <a:pt x="197" y="202"/>
                    <a:pt x="196" y="203"/>
                    <a:pt x="196" y="203"/>
                  </a:cubicBezTo>
                  <a:cubicBezTo>
                    <a:pt x="193" y="204"/>
                    <a:pt x="190" y="205"/>
                    <a:pt x="187" y="205"/>
                  </a:cubicBezTo>
                  <a:cubicBezTo>
                    <a:pt x="183" y="205"/>
                    <a:pt x="179" y="206"/>
                    <a:pt x="176" y="208"/>
                  </a:cubicBezTo>
                  <a:cubicBezTo>
                    <a:pt x="166" y="213"/>
                    <a:pt x="168" y="219"/>
                    <a:pt x="169" y="224"/>
                  </a:cubicBezTo>
                  <a:cubicBezTo>
                    <a:pt x="170" y="226"/>
                    <a:pt x="170" y="228"/>
                    <a:pt x="170" y="230"/>
                  </a:cubicBezTo>
                  <a:cubicBezTo>
                    <a:pt x="171" y="231"/>
                    <a:pt x="171" y="233"/>
                    <a:pt x="170" y="235"/>
                  </a:cubicBezTo>
                  <a:cubicBezTo>
                    <a:pt x="170" y="236"/>
                    <a:pt x="170" y="238"/>
                    <a:pt x="170" y="241"/>
                  </a:cubicBezTo>
                  <a:cubicBezTo>
                    <a:pt x="170" y="242"/>
                    <a:pt x="170" y="243"/>
                    <a:pt x="171" y="244"/>
                  </a:cubicBezTo>
                  <a:cubicBezTo>
                    <a:pt x="171" y="246"/>
                    <a:pt x="172" y="248"/>
                    <a:pt x="171" y="249"/>
                  </a:cubicBezTo>
                  <a:cubicBezTo>
                    <a:pt x="171" y="250"/>
                    <a:pt x="168" y="250"/>
                    <a:pt x="166" y="250"/>
                  </a:cubicBezTo>
                  <a:cubicBezTo>
                    <a:pt x="164" y="250"/>
                    <a:pt x="163" y="250"/>
                    <a:pt x="163" y="250"/>
                  </a:cubicBezTo>
                  <a:cubicBezTo>
                    <a:pt x="163" y="250"/>
                    <a:pt x="162" y="249"/>
                    <a:pt x="162" y="247"/>
                  </a:cubicBezTo>
                  <a:cubicBezTo>
                    <a:pt x="162" y="246"/>
                    <a:pt x="162" y="245"/>
                    <a:pt x="162" y="244"/>
                  </a:cubicBezTo>
                  <a:cubicBezTo>
                    <a:pt x="163" y="244"/>
                    <a:pt x="163" y="244"/>
                    <a:pt x="164" y="243"/>
                  </a:cubicBezTo>
                  <a:cubicBezTo>
                    <a:pt x="167" y="242"/>
                    <a:pt x="169" y="237"/>
                    <a:pt x="168" y="233"/>
                  </a:cubicBezTo>
                  <a:cubicBezTo>
                    <a:pt x="168" y="230"/>
                    <a:pt x="166" y="227"/>
                    <a:pt x="164" y="226"/>
                  </a:cubicBezTo>
                  <a:cubicBezTo>
                    <a:pt x="162" y="225"/>
                    <a:pt x="160" y="225"/>
                    <a:pt x="159" y="225"/>
                  </a:cubicBezTo>
                  <a:cubicBezTo>
                    <a:pt x="158" y="224"/>
                    <a:pt x="158" y="224"/>
                    <a:pt x="158" y="224"/>
                  </a:cubicBezTo>
                  <a:cubicBezTo>
                    <a:pt x="157" y="224"/>
                    <a:pt x="158" y="221"/>
                    <a:pt x="158" y="220"/>
                  </a:cubicBezTo>
                  <a:cubicBezTo>
                    <a:pt x="158" y="218"/>
                    <a:pt x="159" y="216"/>
                    <a:pt x="158" y="214"/>
                  </a:cubicBezTo>
                  <a:cubicBezTo>
                    <a:pt x="157" y="210"/>
                    <a:pt x="154" y="209"/>
                    <a:pt x="152" y="209"/>
                  </a:cubicBezTo>
                  <a:cubicBezTo>
                    <a:pt x="151" y="209"/>
                    <a:pt x="150" y="207"/>
                    <a:pt x="149" y="207"/>
                  </a:cubicBezTo>
                  <a:cubicBezTo>
                    <a:pt x="149" y="206"/>
                    <a:pt x="149" y="205"/>
                    <a:pt x="149" y="204"/>
                  </a:cubicBezTo>
                  <a:cubicBezTo>
                    <a:pt x="149" y="202"/>
                    <a:pt x="149" y="198"/>
                    <a:pt x="146" y="196"/>
                  </a:cubicBezTo>
                  <a:cubicBezTo>
                    <a:pt x="145" y="196"/>
                    <a:pt x="144" y="196"/>
                    <a:pt x="143" y="196"/>
                  </a:cubicBezTo>
                  <a:cubicBezTo>
                    <a:pt x="143" y="196"/>
                    <a:pt x="143" y="196"/>
                    <a:pt x="142" y="196"/>
                  </a:cubicBezTo>
                  <a:cubicBezTo>
                    <a:pt x="141" y="196"/>
                    <a:pt x="141" y="196"/>
                    <a:pt x="140" y="196"/>
                  </a:cubicBezTo>
                  <a:cubicBezTo>
                    <a:pt x="138" y="196"/>
                    <a:pt x="137" y="196"/>
                    <a:pt x="136" y="196"/>
                  </a:cubicBezTo>
                  <a:cubicBezTo>
                    <a:pt x="135" y="197"/>
                    <a:pt x="135" y="197"/>
                    <a:pt x="135" y="197"/>
                  </a:cubicBezTo>
                  <a:cubicBezTo>
                    <a:pt x="134" y="198"/>
                    <a:pt x="133" y="198"/>
                    <a:pt x="132" y="198"/>
                  </a:cubicBezTo>
                  <a:cubicBezTo>
                    <a:pt x="131" y="198"/>
                    <a:pt x="131" y="198"/>
                    <a:pt x="130" y="198"/>
                  </a:cubicBezTo>
                  <a:cubicBezTo>
                    <a:pt x="127" y="198"/>
                    <a:pt x="124" y="197"/>
                    <a:pt x="121" y="197"/>
                  </a:cubicBezTo>
                  <a:cubicBezTo>
                    <a:pt x="120" y="197"/>
                    <a:pt x="120" y="196"/>
                    <a:pt x="119" y="196"/>
                  </a:cubicBezTo>
                  <a:cubicBezTo>
                    <a:pt x="118" y="196"/>
                    <a:pt x="116" y="196"/>
                    <a:pt x="115" y="195"/>
                  </a:cubicBezTo>
                  <a:cubicBezTo>
                    <a:pt x="113" y="195"/>
                    <a:pt x="113" y="195"/>
                    <a:pt x="113" y="195"/>
                  </a:cubicBezTo>
                  <a:cubicBezTo>
                    <a:pt x="112" y="195"/>
                    <a:pt x="110" y="195"/>
                    <a:pt x="109" y="194"/>
                  </a:cubicBezTo>
                  <a:cubicBezTo>
                    <a:pt x="108" y="194"/>
                    <a:pt x="106" y="194"/>
                    <a:pt x="105" y="193"/>
                  </a:cubicBezTo>
                  <a:cubicBezTo>
                    <a:pt x="103" y="193"/>
                    <a:pt x="101" y="192"/>
                    <a:pt x="99" y="191"/>
                  </a:cubicBezTo>
                  <a:cubicBezTo>
                    <a:pt x="98" y="191"/>
                    <a:pt x="98" y="191"/>
                    <a:pt x="98" y="191"/>
                  </a:cubicBezTo>
                  <a:cubicBezTo>
                    <a:pt x="97" y="191"/>
                    <a:pt x="97" y="191"/>
                    <a:pt x="96" y="191"/>
                  </a:cubicBezTo>
                  <a:cubicBezTo>
                    <a:pt x="96" y="190"/>
                    <a:pt x="96" y="190"/>
                    <a:pt x="96" y="190"/>
                  </a:cubicBezTo>
                  <a:cubicBezTo>
                    <a:pt x="95" y="189"/>
                    <a:pt x="95" y="188"/>
                    <a:pt x="93" y="187"/>
                  </a:cubicBezTo>
                  <a:cubicBezTo>
                    <a:pt x="92" y="186"/>
                    <a:pt x="92" y="186"/>
                    <a:pt x="91" y="186"/>
                  </a:cubicBezTo>
                  <a:cubicBezTo>
                    <a:pt x="91" y="186"/>
                    <a:pt x="90" y="186"/>
                    <a:pt x="90" y="185"/>
                  </a:cubicBezTo>
                  <a:cubicBezTo>
                    <a:pt x="89" y="185"/>
                    <a:pt x="89" y="185"/>
                    <a:pt x="88" y="184"/>
                  </a:cubicBezTo>
                  <a:cubicBezTo>
                    <a:pt x="88" y="184"/>
                    <a:pt x="87" y="183"/>
                    <a:pt x="86" y="182"/>
                  </a:cubicBezTo>
                  <a:cubicBezTo>
                    <a:pt x="84" y="182"/>
                    <a:pt x="83" y="181"/>
                    <a:pt x="81" y="181"/>
                  </a:cubicBezTo>
                  <a:cubicBezTo>
                    <a:pt x="81" y="180"/>
                    <a:pt x="81" y="180"/>
                    <a:pt x="81" y="180"/>
                  </a:cubicBezTo>
                  <a:cubicBezTo>
                    <a:pt x="78" y="179"/>
                    <a:pt x="76" y="178"/>
                    <a:pt x="75" y="177"/>
                  </a:cubicBezTo>
                  <a:cubicBezTo>
                    <a:pt x="78" y="176"/>
                    <a:pt x="79" y="173"/>
                    <a:pt x="79" y="172"/>
                  </a:cubicBezTo>
                  <a:cubicBezTo>
                    <a:pt x="80" y="171"/>
                    <a:pt x="80" y="171"/>
                    <a:pt x="82" y="170"/>
                  </a:cubicBezTo>
                  <a:cubicBezTo>
                    <a:pt x="84" y="170"/>
                    <a:pt x="85" y="170"/>
                    <a:pt x="87" y="170"/>
                  </a:cubicBezTo>
                  <a:cubicBezTo>
                    <a:pt x="89" y="170"/>
                    <a:pt x="91" y="170"/>
                    <a:pt x="92" y="171"/>
                  </a:cubicBezTo>
                  <a:cubicBezTo>
                    <a:pt x="93" y="171"/>
                    <a:pt x="93" y="171"/>
                    <a:pt x="94" y="171"/>
                  </a:cubicBezTo>
                  <a:cubicBezTo>
                    <a:pt x="97" y="171"/>
                    <a:pt x="100" y="169"/>
                    <a:pt x="101" y="166"/>
                  </a:cubicBezTo>
                  <a:cubicBezTo>
                    <a:pt x="103" y="164"/>
                    <a:pt x="102" y="161"/>
                    <a:pt x="101" y="159"/>
                  </a:cubicBezTo>
                  <a:cubicBezTo>
                    <a:pt x="100" y="159"/>
                    <a:pt x="100" y="158"/>
                    <a:pt x="100" y="158"/>
                  </a:cubicBezTo>
                  <a:cubicBezTo>
                    <a:pt x="100" y="154"/>
                    <a:pt x="98" y="150"/>
                    <a:pt x="96" y="148"/>
                  </a:cubicBezTo>
                  <a:cubicBezTo>
                    <a:pt x="95" y="147"/>
                    <a:pt x="95" y="145"/>
                    <a:pt x="94" y="144"/>
                  </a:cubicBezTo>
                  <a:cubicBezTo>
                    <a:pt x="94" y="143"/>
                    <a:pt x="94" y="143"/>
                    <a:pt x="94" y="143"/>
                  </a:cubicBezTo>
                  <a:cubicBezTo>
                    <a:pt x="93" y="141"/>
                    <a:pt x="90" y="134"/>
                    <a:pt x="85" y="132"/>
                  </a:cubicBezTo>
                  <a:cubicBezTo>
                    <a:pt x="84" y="131"/>
                    <a:pt x="82" y="131"/>
                    <a:pt x="81" y="131"/>
                  </a:cubicBezTo>
                  <a:cubicBezTo>
                    <a:pt x="79" y="131"/>
                    <a:pt x="77" y="131"/>
                    <a:pt x="76" y="131"/>
                  </a:cubicBezTo>
                  <a:cubicBezTo>
                    <a:pt x="75" y="132"/>
                    <a:pt x="75" y="132"/>
                    <a:pt x="75" y="132"/>
                  </a:cubicBezTo>
                  <a:cubicBezTo>
                    <a:pt x="74" y="132"/>
                    <a:pt x="73" y="131"/>
                    <a:pt x="72" y="130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0" y="128"/>
                    <a:pt x="68" y="127"/>
                    <a:pt x="67" y="126"/>
                  </a:cubicBezTo>
                  <a:cubicBezTo>
                    <a:pt x="65" y="124"/>
                    <a:pt x="63" y="123"/>
                    <a:pt x="61" y="121"/>
                  </a:cubicBezTo>
                  <a:cubicBezTo>
                    <a:pt x="59" y="118"/>
                    <a:pt x="57" y="116"/>
                    <a:pt x="56" y="113"/>
                  </a:cubicBezTo>
                  <a:cubicBezTo>
                    <a:pt x="55" y="110"/>
                    <a:pt x="53" y="106"/>
                    <a:pt x="49" y="102"/>
                  </a:cubicBezTo>
                  <a:cubicBezTo>
                    <a:pt x="46" y="100"/>
                    <a:pt x="44" y="99"/>
                    <a:pt x="42" y="98"/>
                  </a:cubicBezTo>
                  <a:cubicBezTo>
                    <a:pt x="41" y="97"/>
                    <a:pt x="41" y="97"/>
                    <a:pt x="41" y="97"/>
                  </a:cubicBezTo>
                  <a:cubicBezTo>
                    <a:pt x="40" y="97"/>
                    <a:pt x="40" y="96"/>
                    <a:pt x="39" y="95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7" y="91"/>
                    <a:pt x="35" y="89"/>
                    <a:pt x="34" y="86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63" y="257"/>
                    <a:pt x="63" y="257"/>
                    <a:pt x="63" y="257"/>
                  </a:cubicBezTo>
                  <a:cubicBezTo>
                    <a:pt x="74" y="287"/>
                    <a:pt x="101" y="288"/>
                    <a:pt x="103" y="288"/>
                  </a:cubicBezTo>
                  <a:cubicBezTo>
                    <a:pt x="115" y="319"/>
                    <a:pt x="115" y="319"/>
                    <a:pt x="115" y="319"/>
                  </a:cubicBezTo>
                  <a:cubicBezTo>
                    <a:pt x="228" y="374"/>
                    <a:pt x="228" y="374"/>
                    <a:pt x="228" y="374"/>
                  </a:cubicBezTo>
                  <a:cubicBezTo>
                    <a:pt x="224" y="384"/>
                    <a:pt x="215" y="434"/>
                    <a:pt x="200" y="526"/>
                  </a:cubicBezTo>
                  <a:cubicBezTo>
                    <a:pt x="199" y="529"/>
                    <a:pt x="199" y="529"/>
                    <a:pt x="199" y="529"/>
                  </a:cubicBezTo>
                  <a:cubicBezTo>
                    <a:pt x="339" y="547"/>
                    <a:pt x="339" y="547"/>
                    <a:pt x="339" y="547"/>
                  </a:cubicBezTo>
                  <a:cubicBezTo>
                    <a:pt x="339" y="545"/>
                    <a:pt x="339" y="545"/>
                    <a:pt x="339" y="545"/>
                  </a:cubicBezTo>
                  <a:cubicBezTo>
                    <a:pt x="340" y="543"/>
                    <a:pt x="340" y="541"/>
                    <a:pt x="341" y="540"/>
                  </a:cubicBezTo>
                  <a:cubicBezTo>
                    <a:pt x="341" y="538"/>
                    <a:pt x="342" y="537"/>
                    <a:pt x="342" y="535"/>
                  </a:cubicBezTo>
                  <a:cubicBezTo>
                    <a:pt x="342" y="535"/>
                    <a:pt x="343" y="534"/>
                    <a:pt x="343" y="534"/>
                  </a:cubicBezTo>
                  <a:cubicBezTo>
                    <a:pt x="343" y="533"/>
                    <a:pt x="343" y="533"/>
                    <a:pt x="343" y="532"/>
                  </a:cubicBezTo>
                  <a:cubicBezTo>
                    <a:pt x="343" y="531"/>
                    <a:pt x="344" y="531"/>
                    <a:pt x="344" y="530"/>
                  </a:cubicBezTo>
                  <a:cubicBezTo>
                    <a:pt x="345" y="529"/>
                    <a:pt x="346" y="528"/>
                    <a:pt x="346" y="526"/>
                  </a:cubicBezTo>
                  <a:cubicBezTo>
                    <a:pt x="347" y="525"/>
                    <a:pt x="348" y="524"/>
                    <a:pt x="348" y="522"/>
                  </a:cubicBezTo>
                  <a:cubicBezTo>
                    <a:pt x="349" y="519"/>
                    <a:pt x="351" y="516"/>
                    <a:pt x="353" y="514"/>
                  </a:cubicBezTo>
                  <a:cubicBezTo>
                    <a:pt x="353" y="514"/>
                    <a:pt x="353" y="513"/>
                    <a:pt x="354" y="513"/>
                  </a:cubicBezTo>
                  <a:cubicBezTo>
                    <a:pt x="354" y="512"/>
                    <a:pt x="355" y="512"/>
                    <a:pt x="356" y="510"/>
                  </a:cubicBezTo>
                  <a:cubicBezTo>
                    <a:pt x="357" y="509"/>
                    <a:pt x="357" y="507"/>
                    <a:pt x="357" y="506"/>
                  </a:cubicBezTo>
                  <a:cubicBezTo>
                    <a:pt x="357" y="506"/>
                    <a:pt x="357" y="505"/>
                    <a:pt x="357" y="505"/>
                  </a:cubicBezTo>
                  <a:cubicBezTo>
                    <a:pt x="357" y="504"/>
                    <a:pt x="357" y="503"/>
                    <a:pt x="357" y="502"/>
                  </a:cubicBezTo>
                  <a:cubicBezTo>
                    <a:pt x="357" y="500"/>
                    <a:pt x="357" y="497"/>
                    <a:pt x="358" y="496"/>
                  </a:cubicBezTo>
                  <a:cubicBezTo>
                    <a:pt x="360" y="494"/>
                    <a:pt x="362" y="492"/>
                    <a:pt x="364" y="490"/>
                  </a:cubicBezTo>
                  <a:cubicBezTo>
                    <a:pt x="366" y="487"/>
                    <a:pt x="366" y="487"/>
                    <a:pt x="366" y="487"/>
                  </a:cubicBezTo>
                  <a:cubicBezTo>
                    <a:pt x="368" y="485"/>
                    <a:pt x="370" y="484"/>
                    <a:pt x="370" y="480"/>
                  </a:cubicBezTo>
                  <a:cubicBezTo>
                    <a:pt x="370" y="479"/>
                    <a:pt x="370" y="478"/>
                    <a:pt x="370" y="477"/>
                  </a:cubicBezTo>
                  <a:cubicBezTo>
                    <a:pt x="370" y="477"/>
                    <a:pt x="370" y="477"/>
                    <a:pt x="370" y="476"/>
                  </a:cubicBezTo>
                  <a:cubicBezTo>
                    <a:pt x="370" y="476"/>
                    <a:pt x="370" y="476"/>
                    <a:pt x="371" y="476"/>
                  </a:cubicBezTo>
                  <a:cubicBezTo>
                    <a:pt x="372" y="476"/>
                    <a:pt x="374" y="475"/>
                    <a:pt x="375" y="473"/>
                  </a:cubicBezTo>
                  <a:cubicBezTo>
                    <a:pt x="376" y="472"/>
                    <a:pt x="376" y="471"/>
                    <a:pt x="376" y="469"/>
                  </a:cubicBezTo>
                  <a:cubicBezTo>
                    <a:pt x="376" y="469"/>
                    <a:pt x="377" y="468"/>
                    <a:pt x="377" y="468"/>
                  </a:cubicBezTo>
                  <a:cubicBezTo>
                    <a:pt x="377" y="468"/>
                    <a:pt x="378" y="467"/>
                    <a:pt x="378" y="467"/>
                  </a:cubicBezTo>
                  <a:cubicBezTo>
                    <a:pt x="379" y="466"/>
                    <a:pt x="380" y="465"/>
                    <a:pt x="381" y="463"/>
                  </a:cubicBezTo>
                  <a:cubicBezTo>
                    <a:pt x="382" y="462"/>
                    <a:pt x="382" y="462"/>
                    <a:pt x="382" y="461"/>
                  </a:cubicBezTo>
                  <a:cubicBezTo>
                    <a:pt x="383" y="460"/>
                    <a:pt x="383" y="459"/>
                    <a:pt x="385" y="457"/>
                  </a:cubicBezTo>
                  <a:cubicBezTo>
                    <a:pt x="385" y="457"/>
                    <a:pt x="385" y="457"/>
                    <a:pt x="386" y="456"/>
                  </a:cubicBezTo>
                  <a:cubicBezTo>
                    <a:pt x="387" y="456"/>
                    <a:pt x="388" y="455"/>
                    <a:pt x="388" y="453"/>
                  </a:cubicBezTo>
                  <a:cubicBezTo>
                    <a:pt x="389" y="454"/>
                    <a:pt x="391" y="454"/>
                    <a:pt x="392" y="454"/>
                  </a:cubicBezTo>
                  <a:cubicBezTo>
                    <a:pt x="394" y="454"/>
                    <a:pt x="396" y="453"/>
                    <a:pt x="396" y="449"/>
                  </a:cubicBezTo>
                  <a:cubicBezTo>
                    <a:pt x="396" y="448"/>
                    <a:pt x="396" y="448"/>
                    <a:pt x="396" y="447"/>
                  </a:cubicBezTo>
                  <a:cubicBezTo>
                    <a:pt x="397" y="447"/>
                    <a:pt x="397" y="447"/>
                    <a:pt x="398" y="447"/>
                  </a:cubicBezTo>
                  <a:cubicBezTo>
                    <a:pt x="398" y="447"/>
                    <a:pt x="399" y="447"/>
                    <a:pt x="399" y="447"/>
                  </a:cubicBezTo>
                  <a:cubicBezTo>
                    <a:pt x="401" y="448"/>
                    <a:pt x="402" y="448"/>
                    <a:pt x="403" y="448"/>
                  </a:cubicBezTo>
                  <a:cubicBezTo>
                    <a:pt x="405" y="448"/>
                    <a:pt x="407" y="447"/>
                    <a:pt x="408" y="446"/>
                  </a:cubicBezTo>
                  <a:cubicBezTo>
                    <a:pt x="409" y="445"/>
                    <a:pt x="409" y="444"/>
                    <a:pt x="410" y="443"/>
                  </a:cubicBezTo>
                  <a:cubicBezTo>
                    <a:pt x="410" y="443"/>
                    <a:pt x="410" y="443"/>
                    <a:pt x="410" y="443"/>
                  </a:cubicBezTo>
                  <a:cubicBezTo>
                    <a:pt x="411" y="442"/>
                    <a:pt x="411" y="442"/>
                    <a:pt x="412" y="442"/>
                  </a:cubicBezTo>
                  <a:cubicBezTo>
                    <a:pt x="413" y="441"/>
                    <a:pt x="413" y="441"/>
                    <a:pt x="413" y="441"/>
                  </a:cubicBezTo>
                  <a:cubicBezTo>
                    <a:pt x="415" y="440"/>
                    <a:pt x="418" y="438"/>
                    <a:pt x="418" y="434"/>
                  </a:cubicBezTo>
                  <a:cubicBezTo>
                    <a:pt x="419" y="431"/>
                    <a:pt x="419" y="428"/>
                    <a:pt x="418" y="426"/>
                  </a:cubicBezTo>
                  <a:cubicBezTo>
                    <a:pt x="417" y="423"/>
                    <a:pt x="416" y="420"/>
                    <a:pt x="414" y="418"/>
                  </a:cubicBezTo>
                  <a:cubicBezTo>
                    <a:pt x="414" y="418"/>
                    <a:pt x="414" y="418"/>
                    <a:pt x="415" y="418"/>
                  </a:cubicBezTo>
                  <a:cubicBezTo>
                    <a:pt x="415" y="418"/>
                    <a:pt x="415" y="418"/>
                    <a:pt x="415" y="418"/>
                  </a:cubicBezTo>
                  <a:cubicBezTo>
                    <a:pt x="419" y="418"/>
                    <a:pt x="424" y="416"/>
                    <a:pt x="427" y="413"/>
                  </a:cubicBezTo>
                  <a:cubicBezTo>
                    <a:pt x="428" y="411"/>
                    <a:pt x="429" y="408"/>
                    <a:pt x="430" y="405"/>
                  </a:cubicBezTo>
                  <a:cubicBezTo>
                    <a:pt x="431" y="399"/>
                    <a:pt x="432" y="397"/>
                    <a:pt x="434" y="397"/>
                  </a:cubicBezTo>
                  <a:cubicBezTo>
                    <a:pt x="435" y="397"/>
                    <a:pt x="435" y="397"/>
                    <a:pt x="435" y="397"/>
                  </a:cubicBezTo>
                  <a:cubicBezTo>
                    <a:pt x="437" y="397"/>
                    <a:pt x="438" y="398"/>
                    <a:pt x="441" y="399"/>
                  </a:cubicBezTo>
                  <a:cubicBezTo>
                    <a:pt x="443" y="400"/>
                    <a:pt x="446" y="401"/>
                    <a:pt x="449" y="401"/>
                  </a:cubicBezTo>
                  <a:cubicBezTo>
                    <a:pt x="451" y="401"/>
                    <a:pt x="452" y="401"/>
                    <a:pt x="453" y="400"/>
                  </a:cubicBezTo>
                  <a:cubicBezTo>
                    <a:pt x="461" y="398"/>
                    <a:pt x="464" y="391"/>
                    <a:pt x="466" y="385"/>
                  </a:cubicBezTo>
                  <a:cubicBezTo>
                    <a:pt x="468" y="380"/>
                    <a:pt x="471" y="375"/>
                    <a:pt x="474" y="370"/>
                  </a:cubicBezTo>
                  <a:cubicBezTo>
                    <a:pt x="474" y="369"/>
                    <a:pt x="474" y="369"/>
                    <a:pt x="474" y="369"/>
                  </a:cubicBezTo>
                  <a:cubicBezTo>
                    <a:pt x="476" y="367"/>
                    <a:pt x="478" y="364"/>
                    <a:pt x="479" y="360"/>
                  </a:cubicBezTo>
                  <a:cubicBezTo>
                    <a:pt x="479" y="359"/>
                    <a:pt x="480" y="358"/>
                    <a:pt x="480" y="357"/>
                  </a:cubicBezTo>
                  <a:cubicBezTo>
                    <a:pt x="480" y="356"/>
                    <a:pt x="480" y="356"/>
                    <a:pt x="480" y="355"/>
                  </a:cubicBezTo>
                  <a:cubicBezTo>
                    <a:pt x="480" y="355"/>
                    <a:pt x="480" y="355"/>
                    <a:pt x="480" y="355"/>
                  </a:cubicBezTo>
                  <a:cubicBezTo>
                    <a:pt x="480" y="353"/>
                    <a:pt x="481" y="351"/>
                    <a:pt x="479" y="349"/>
                  </a:cubicBezTo>
                  <a:cubicBezTo>
                    <a:pt x="478" y="348"/>
                    <a:pt x="478" y="347"/>
                    <a:pt x="477" y="347"/>
                  </a:cubicBezTo>
                  <a:cubicBezTo>
                    <a:pt x="478" y="346"/>
                    <a:pt x="478" y="345"/>
                    <a:pt x="479" y="343"/>
                  </a:cubicBezTo>
                  <a:cubicBezTo>
                    <a:pt x="479" y="343"/>
                    <a:pt x="479" y="342"/>
                    <a:pt x="479" y="342"/>
                  </a:cubicBezTo>
                  <a:cubicBezTo>
                    <a:pt x="479" y="341"/>
                    <a:pt x="479" y="341"/>
                    <a:pt x="480" y="340"/>
                  </a:cubicBezTo>
                  <a:cubicBezTo>
                    <a:pt x="482" y="339"/>
                    <a:pt x="484" y="337"/>
                    <a:pt x="486" y="335"/>
                  </a:cubicBezTo>
                  <a:cubicBezTo>
                    <a:pt x="487" y="333"/>
                    <a:pt x="488" y="331"/>
                    <a:pt x="488" y="328"/>
                  </a:cubicBezTo>
                  <a:cubicBezTo>
                    <a:pt x="488" y="327"/>
                    <a:pt x="488" y="326"/>
                    <a:pt x="489" y="325"/>
                  </a:cubicBezTo>
                  <a:cubicBezTo>
                    <a:pt x="489" y="324"/>
                    <a:pt x="490" y="324"/>
                    <a:pt x="491" y="323"/>
                  </a:cubicBezTo>
                  <a:cubicBezTo>
                    <a:pt x="493" y="322"/>
                    <a:pt x="495" y="320"/>
                    <a:pt x="496" y="316"/>
                  </a:cubicBezTo>
                  <a:cubicBezTo>
                    <a:pt x="496" y="313"/>
                    <a:pt x="495" y="310"/>
                    <a:pt x="492" y="309"/>
                  </a:cubicBezTo>
                  <a:cubicBezTo>
                    <a:pt x="491" y="308"/>
                    <a:pt x="490" y="308"/>
                    <a:pt x="489" y="308"/>
                  </a:cubicBezTo>
                  <a:cubicBezTo>
                    <a:pt x="488" y="308"/>
                    <a:pt x="488" y="308"/>
                    <a:pt x="487" y="307"/>
                  </a:cubicBezTo>
                  <a:cubicBezTo>
                    <a:pt x="486" y="307"/>
                    <a:pt x="485" y="306"/>
                    <a:pt x="484" y="305"/>
                  </a:cubicBezTo>
                  <a:cubicBezTo>
                    <a:pt x="482" y="303"/>
                    <a:pt x="482" y="302"/>
                    <a:pt x="482" y="302"/>
                  </a:cubicBezTo>
                  <a:cubicBezTo>
                    <a:pt x="483" y="302"/>
                    <a:pt x="485" y="302"/>
                    <a:pt x="486" y="302"/>
                  </a:cubicBezTo>
                  <a:cubicBezTo>
                    <a:pt x="487" y="302"/>
                    <a:pt x="487" y="302"/>
                    <a:pt x="487" y="302"/>
                  </a:cubicBezTo>
                  <a:cubicBezTo>
                    <a:pt x="488" y="302"/>
                    <a:pt x="489" y="302"/>
                    <a:pt x="490" y="302"/>
                  </a:cubicBezTo>
                  <a:cubicBezTo>
                    <a:pt x="491" y="302"/>
                    <a:pt x="492" y="301"/>
                    <a:pt x="493" y="301"/>
                  </a:cubicBezTo>
                  <a:cubicBezTo>
                    <a:pt x="495" y="301"/>
                    <a:pt x="496" y="300"/>
                    <a:pt x="498" y="300"/>
                  </a:cubicBezTo>
                  <a:cubicBezTo>
                    <a:pt x="499" y="305"/>
                    <a:pt x="502" y="312"/>
                    <a:pt x="509" y="313"/>
                  </a:cubicBezTo>
                  <a:cubicBezTo>
                    <a:pt x="510" y="313"/>
                    <a:pt x="510" y="313"/>
                    <a:pt x="510" y="313"/>
                  </a:cubicBezTo>
                  <a:cubicBezTo>
                    <a:pt x="510" y="313"/>
                    <a:pt x="511" y="313"/>
                    <a:pt x="511" y="313"/>
                  </a:cubicBezTo>
                  <a:cubicBezTo>
                    <a:pt x="513" y="313"/>
                    <a:pt x="514" y="313"/>
                    <a:pt x="516" y="311"/>
                  </a:cubicBezTo>
                  <a:cubicBezTo>
                    <a:pt x="517" y="310"/>
                    <a:pt x="517" y="309"/>
                    <a:pt x="517" y="308"/>
                  </a:cubicBezTo>
                  <a:cubicBezTo>
                    <a:pt x="517" y="308"/>
                    <a:pt x="517" y="308"/>
                    <a:pt x="517" y="308"/>
                  </a:cubicBezTo>
                  <a:cubicBezTo>
                    <a:pt x="518" y="308"/>
                    <a:pt x="519" y="309"/>
                    <a:pt x="520" y="309"/>
                  </a:cubicBezTo>
                  <a:cubicBezTo>
                    <a:pt x="521" y="309"/>
                    <a:pt x="521" y="309"/>
                    <a:pt x="522" y="309"/>
                  </a:cubicBezTo>
                  <a:cubicBezTo>
                    <a:pt x="523" y="308"/>
                    <a:pt x="525" y="307"/>
                    <a:pt x="526" y="305"/>
                  </a:cubicBezTo>
                  <a:cubicBezTo>
                    <a:pt x="526" y="304"/>
                    <a:pt x="526" y="304"/>
                    <a:pt x="526" y="303"/>
                  </a:cubicBezTo>
                  <a:cubicBezTo>
                    <a:pt x="527" y="304"/>
                    <a:pt x="528" y="304"/>
                    <a:pt x="528" y="304"/>
                  </a:cubicBezTo>
                  <a:cubicBezTo>
                    <a:pt x="529" y="305"/>
                    <a:pt x="530" y="305"/>
                    <a:pt x="531" y="305"/>
                  </a:cubicBezTo>
                  <a:cubicBezTo>
                    <a:pt x="535" y="305"/>
                    <a:pt x="537" y="301"/>
                    <a:pt x="538" y="299"/>
                  </a:cubicBezTo>
                  <a:cubicBezTo>
                    <a:pt x="539" y="298"/>
                    <a:pt x="539" y="297"/>
                    <a:pt x="540" y="297"/>
                  </a:cubicBezTo>
                  <a:cubicBezTo>
                    <a:pt x="541" y="296"/>
                    <a:pt x="541" y="295"/>
                    <a:pt x="542" y="294"/>
                  </a:cubicBezTo>
                  <a:cubicBezTo>
                    <a:pt x="542" y="293"/>
                    <a:pt x="543" y="293"/>
                    <a:pt x="543" y="292"/>
                  </a:cubicBezTo>
                  <a:cubicBezTo>
                    <a:pt x="544" y="292"/>
                    <a:pt x="545" y="291"/>
                    <a:pt x="545" y="291"/>
                  </a:cubicBezTo>
                  <a:cubicBezTo>
                    <a:pt x="547" y="290"/>
                    <a:pt x="549" y="289"/>
                    <a:pt x="550" y="286"/>
                  </a:cubicBezTo>
                  <a:cubicBezTo>
                    <a:pt x="551" y="285"/>
                    <a:pt x="551" y="284"/>
                    <a:pt x="552" y="283"/>
                  </a:cubicBezTo>
                  <a:cubicBezTo>
                    <a:pt x="552" y="281"/>
                    <a:pt x="552" y="280"/>
                    <a:pt x="553" y="280"/>
                  </a:cubicBezTo>
                  <a:cubicBezTo>
                    <a:pt x="553" y="279"/>
                    <a:pt x="554" y="279"/>
                    <a:pt x="555" y="278"/>
                  </a:cubicBezTo>
                  <a:cubicBezTo>
                    <a:pt x="556" y="278"/>
                    <a:pt x="558" y="277"/>
                    <a:pt x="559" y="276"/>
                  </a:cubicBezTo>
                  <a:cubicBezTo>
                    <a:pt x="562" y="272"/>
                    <a:pt x="562" y="268"/>
                    <a:pt x="561" y="264"/>
                  </a:cubicBezTo>
                  <a:cubicBezTo>
                    <a:pt x="561" y="263"/>
                    <a:pt x="561" y="262"/>
                    <a:pt x="561" y="261"/>
                  </a:cubicBezTo>
                  <a:cubicBezTo>
                    <a:pt x="561" y="261"/>
                    <a:pt x="561" y="260"/>
                    <a:pt x="561" y="260"/>
                  </a:cubicBezTo>
                  <a:cubicBezTo>
                    <a:pt x="562" y="259"/>
                    <a:pt x="562" y="257"/>
                    <a:pt x="561" y="255"/>
                  </a:cubicBezTo>
                  <a:cubicBezTo>
                    <a:pt x="560" y="253"/>
                    <a:pt x="558" y="251"/>
                    <a:pt x="556" y="248"/>
                  </a:cubicBezTo>
                  <a:cubicBezTo>
                    <a:pt x="555" y="247"/>
                    <a:pt x="554" y="246"/>
                    <a:pt x="552" y="244"/>
                  </a:cubicBezTo>
                  <a:cubicBezTo>
                    <a:pt x="551" y="242"/>
                    <a:pt x="550" y="241"/>
                    <a:pt x="549" y="239"/>
                  </a:cubicBezTo>
                  <a:cubicBezTo>
                    <a:pt x="548" y="238"/>
                    <a:pt x="547" y="237"/>
                    <a:pt x="547" y="235"/>
                  </a:cubicBezTo>
                  <a:cubicBezTo>
                    <a:pt x="547" y="234"/>
                    <a:pt x="546" y="232"/>
                    <a:pt x="545" y="231"/>
                  </a:cubicBezTo>
                  <a:cubicBezTo>
                    <a:pt x="545" y="230"/>
                    <a:pt x="544" y="229"/>
                    <a:pt x="543" y="228"/>
                  </a:cubicBezTo>
                  <a:cubicBezTo>
                    <a:pt x="542" y="227"/>
                    <a:pt x="540" y="224"/>
                    <a:pt x="540" y="223"/>
                  </a:cubicBezTo>
                  <a:cubicBezTo>
                    <a:pt x="540" y="223"/>
                    <a:pt x="540" y="223"/>
                    <a:pt x="540" y="223"/>
                  </a:cubicBezTo>
                  <a:cubicBezTo>
                    <a:pt x="540" y="223"/>
                    <a:pt x="541" y="223"/>
                    <a:pt x="541" y="223"/>
                  </a:cubicBezTo>
                  <a:cubicBezTo>
                    <a:pt x="542" y="223"/>
                    <a:pt x="543" y="223"/>
                    <a:pt x="544" y="223"/>
                  </a:cubicBezTo>
                  <a:cubicBezTo>
                    <a:pt x="546" y="223"/>
                    <a:pt x="547" y="222"/>
                    <a:pt x="549" y="221"/>
                  </a:cubicBezTo>
                  <a:cubicBezTo>
                    <a:pt x="550" y="220"/>
                    <a:pt x="551" y="218"/>
                    <a:pt x="553" y="217"/>
                  </a:cubicBezTo>
                  <a:cubicBezTo>
                    <a:pt x="555" y="214"/>
                    <a:pt x="556" y="212"/>
                    <a:pt x="556" y="209"/>
                  </a:cubicBezTo>
                  <a:cubicBezTo>
                    <a:pt x="556" y="203"/>
                    <a:pt x="552" y="203"/>
                    <a:pt x="550" y="203"/>
                  </a:cubicBezTo>
                  <a:cubicBezTo>
                    <a:pt x="549" y="203"/>
                    <a:pt x="549" y="203"/>
                    <a:pt x="548" y="202"/>
                  </a:cubicBezTo>
                  <a:cubicBezTo>
                    <a:pt x="548" y="202"/>
                    <a:pt x="548" y="202"/>
                    <a:pt x="548" y="202"/>
                  </a:cubicBezTo>
                  <a:cubicBezTo>
                    <a:pt x="549" y="200"/>
                    <a:pt x="552" y="197"/>
                    <a:pt x="551" y="193"/>
                  </a:cubicBezTo>
                  <a:cubicBezTo>
                    <a:pt x="551" y="192"/>
                    <a:pt x="550" y="190"/>
                    <a:pt x="548" y="189"/>
                  </a:cubicBezTo>
                  <a:cubicBezTo>
                    <a:pt x="546" y="188"/>
                    <a:pt x="544" y="187"/>
                    <a:pt x="542" y="187"/>
                  </a:cubicBezTo>
                  <a:cubicBezTo>
                    <a:pt x="540" y="187"/>
                    <a:pt x="539" y="186"/>
                    <a:pt x="538" y="185"/>
                  </a:cubicBezTo>
                  <a:cubicBezTo>
                    <a:pt x="537" y="185"/>
                    <a:pt x="536" y="184"/>
                    <a:pt x="536" y="184"/>
                  </a:cubicBezTo>
                  <a:cubicBezTo>
                    <a:pt x="535" y="183"/>
                    <a:pt x="534" y="181"/>
                    <a:pt x="533" y="180"/>
                  </a:cubicBezTo>
                  <a:cubicBezTo>
                    <a:pt x="532" y="180"/>
                    <a:pt x="532" y="180"/>
                    <a:pt x="532" y="180"/>
                  </a:cubicBezTo>
                  <a:cubicBezTo>
                    <a:pt x="532" y="180"/>
                    <a:pt x="532" y="179"/>
                    <a:pt x="532" y="179"/>
                  </a:cubicBezTo>
                  <a:cubicBezTo>
                    <a:pt x="533" y="176"/>
                    <a:pt x="533" y="174"/>
                    <a:pt x="532" y="173"/>
                  </a:cubicBezTo>
                  <a:cubicBezTo>
                    <a:pt x="531" y="172"/>
                    <a:pt x="530" y="170"/>
                    <a:pt x="526" y="170"/>
                  </a:cubicBezTo>
                  <a:cubicBezTo>
                    <a:pt x="523" y="170"/>
                    <a:pt x="520" y="171"/>
                    <a:pt x="519" y="172"/>
                  </a:cubicBezTo>
                  <a:cubicBezTo>
                    <a:pt x="518" y="173"/>
                    <a:pt x="517" y="173"/>
                    <a:pt x="516" y="173"/>
                  </a:cubicBezTo>
                  <a:cubicBezTo>
                    <a:pt x="515" y="173"/>
                    <a:pt x="515" y="173"/>
                    <a:pt x="514" y="173"/>
                  </a:cubicBezTo>
                  <a:cubicBezTo>
                    <a:pt x="513" y="172"/>
                    <a:pt x="513" y="172"/>
                    <a:pt x="512" y="171"/>
                  </a:cubicBezTo>
                  <a:cubicBezTo>
                    <a:pt x="511" y="170"/>
                    <a:pt x="510" y="169"/>
                    <a:pt x="508" y="168"/>
                  </a:cubicBezTo>
                  <a:cubicBezTo>
                    <a:pt x="508" y="168"/>
                    <a:pt x="508" y="168"/>
                    <a:pt x="507" y="168"/>
                  </a:cubicBezTo>
                  <a:cubicBezTo>
                    <a:pt x="509" y="168"/>
                    <a:pt x="510" y="168"/>
                    <a:pt x="511" y="168"/>
                  </a:cubicBezTo>
                  <a:cubicBezTo>
                    <a:pt x="513" y="168"/>
                    <a:pt x="516" y="168"/>
                    <a:pt x="518" y="167"/>
                  </a:cubicBezTo>
                  <a:cubicBezTo>
                    <a:pt x="519" y="167"/>
                    <a:pt x="520" y="167"/>
                    <a:pt x="520" y="167"/>
                  </a:cubicBezTo>
                  <a:cubicBezTo>
                    <a:pt x="521" y="167"/>
                    <a:pt x="522" y="167"/>
                    <a:pt x="524" y="168"/>
                  </a:cubicBezTo>
                  <a:cubicBezTo>
                    <a:pt x="525" y="168"/>
                    <a:pt x="526" y="169"/>
                    <a:pt x="526" y="169"/>
                  </a:cubicBezTo>
                  <a:cubicBezTo>
                    <a:pt x="528" y="170"/>
                    <a:pt x="530" y="170"/>
                    <a:pt x="531" y="170"/>
                  </a:cubicBezTo>
                  <a:cubicBezTo>
                    <a:pt x="535" y="170"/>
                    <a:pt x="538" y="168"/>
                    <a:pt x="540" y="165"/>
                  </a:cubicBezTo>
                  <a:cubicBezTo>
                    <a:pt x="543" y="162"/>
                    <a:pt x="547" y="160"/>
                    <a:pt x="551" y="160"/>
                  </a:cubicBezTo>
                  <a:cubicBezTo>
                    <a:pt x="552" y="160"/>
                    <a:pt x="554" y="161"/>
                    <a:pt x="555" y="161"/>
                  </a:cubicBezTo>
                  <a:cubicBezTo>
                    <a:pt x="557" y="161"/>
                    <a:pt x="558" y="162"/>
                    <a:pt x="560" y="162"/>
                  </a:cubicBezTo>
                  <a:cubicBezTo>
                    <a:pt x="563" y="163"/>
                    <a:pt x="567" y="165"/>
                    <a:pt x="571" y="165"/>
                  </a:cubicBezTo>
                  <a:cubicBezTo>
                    <a:pt x="573" y="165"/>
                    <a:pt x="575" y="164"/>
                    <a:pt x="577" y="164"/>
                  </a:cubicBezTo>
                  <a:cubicBezTo>
                    <a:pt x="581" y="162"/>
                    <a:pt x="582" y="159"/>
                    <a:pt x="582" y="157"/>
                  </a:cubicBezTo>
                  <a:cubicBezTo>
                    <a:pt x="583" y="152"/>
                    <a:pt x="579" y="147"/>
                    <a:pt x="578" y="146"/>
                  </a:cubicBezTo>
                  <a:cubicBezTo>
                    <a:pt x="579" y="146"/>
                    <a:pt x="579" y="147"/>
                    <a:pt x="580" y="147"/>
                  </a:cubicBezTo>
                  <a:cubicBezTo>
                    <a:pt x="582" y="147"/>
                    <a:pt x="583" y="148"/>
                    <a:pt x="585" y="148"/>
                  </a:cubicBezTo>
                  <a:cubicBezTo>
                    <a:pt x="585" y="148"/>
                    <a:pt x="586" y="148"/>
                    <a:pt x="586" y="148"/>
                  </a:cubicBezTo>
                  <a:cubicBezTo>
                    <a:pt x="587" y="147"/>
                    <a:pt x="587" y="147"/>
                    <a:pt x="588" y="147"/>
                  </a:cubicBezTo>
                  <a:cubicBezTo>
                    <a:pt x="588" y="147"/>
                    <a:pt x="589" y="148"/>
                    <a:pt x="589" y="148"/>
                  </a:cubicBezTo>
                  <a:cubicBezTo>
                    <a:pt x="589" y="148"/>
                    <a:pt x="589" y="148"/>
                    <a:pt x="589" y="148"/>
                  </a:cubicBezTo>
                  <a:cubicBezTo>
                    <a:pt x="589" y="148"/>
                    <a:pt x="589" y="148"/>
                    <a:pt x="589" y="150"/>
                  </a:cubicBezTo>
                  <a:cubicBezTo>
                    <a:pt x="589" y="150"/>
                    <a:pt x="589" y="151"/>
                    <a:pt x="589" y="151"/>
                  </a:cubicBezTo>
                  <a:cubicBezTo>
                    <a:pt x="589" y="153"/>
                    <a:pt x="588" y="157"/>
                    <a:pt x="591" y="160"/>
                  </a:cubicBezTo>
                  <a:cubicBezTo>
                    <a:pt x="592" y="160"/>
                    <a:pt x="594" y="161"/>
                    <a:pt x="595" y="161"/>
                  </a:cubicBezTo>
                  <a:cubicBezTo>
                    <a:pt x="596" y="161"/>
                    <a:pt x="597" y="161"/>
                    <a:pt x="598" y="160"/>
                  </a:cubicBezTo>
                  <a:cubicBezTo>
                    <a:pt x="599" y="160"/>
                    <a:pt x="599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1" y="161"/>
                    <a:pt x="601" y="162"/>
                  </a:cubicBezTo>
                  <a:cubicBezTo>
                    <a:pt x="601" y="163"/>
                    <a:pt x="601" y="163"/>
                    <a:pt x="601" y="163"/>
                  </a:cubicBezTo>
                  <a:cubicBezTo>
                    <a:pt x="601" y="167"/>
                    <a:pt x="603" y="168"/>
                    <a:pt x="606" y="168"/>
                  </a:cubicBezTo>
                  <a:cubicBezTo>
                    <a:pt x="606" y="168"/>
                    <a:pt x="607" y="169"/>
                    <a:pt x="607" y="169"/>
                  </a:cubicBezTo>
                  <a:cubicBezTo>
                    <a:pt x="608" y="169"/>
                    <a:pt x="608" y="170"/>
                    <a:pt x="609" y="170"/>
                  </a:cubicBezTo>
                  <a:cubicBezTo>
                    <a:pt x="610" y="171"/>
                    <a:pt x="611" y="173"/>
                    <a:pt x="613" y="174"/>
                  </a:cubicBezTo>
                  <a:cubicBezTo>
                    <a:pt x="615" y="174"/>
                    <a:pt x="617" y="174"/>
                    <a:pt x="618" y="174"/>
                  </a:cubicBezTo>
                  <a:cubicBezTo>
                    <a:pt x="620" y="174"/>
                    <a:pt x="621" y="174"/>
                    <a:pt x="622" y="175"/>
                  </a:cubicBezTo>
                  <a:cubicBezTo>
                    <a:pt x="623" y="177"/>
                    <a:pt x="623" y="178"/>
                    <a:pt x="623" y="179"/>
                  </a:cubicBezTo>
                  <a:cubicBezTo>
                    <a:pt x="623" y="179"/>
                    <a:pt x="622" y="180"/>
                    <a:pt x="622" y="181"/>
                  </a:cubicBezTo>
                  <a:cubicBezTo>
                    <a:pt x="621" y="181"/>
                    <a:pt x="620" y="181"/>
                    <a:pt x="619" y="182"/>
                  </a:cubicBezTo>
                  <a:cubicBezTo>
                    <a:pt x="617" y="182"/>
                    <a:pt x="614" y="183"/>
                    <a:pt x="612" y="187"/>
                  </a:cubicBezTo>
                  <a:cubicBezTo>
                    <a:pt x="611" y="190"/>
                    <a:pt x="611" y="197"/>
                    <a:pt x="613" y="200"/>
                  </a:cubicBezTo>
                  <a:cubicBezTo>
                    <a:pt x="614" y="202"/>
                    <a:pt x="616" y="203"/>
                    <a:pt x="618" y="203"/>
                  </a:cubicBezTo>
                  <a:cubicBezTo>
                    <a:pt x="619" y="203"/>
                    <a:pt x="621" y="203"/>
                    <a:pt x="622" y="202"/>
                  </a:cubicBezTo>
                  <a:cubicBezTo>
                    <a:pt x="626" y="199"/>
                    <a:pt x="628" y="195"/>
                    <a:pt x="630" y="192"/>
                  </a:cubicBezTo>
                  <a:cubicBezTo>
                    <a:pt x="631" y="189"/>
                    <a:pt x="633" y="187"/>
                    <a:pt x="635" y="185"/>
                  </a:cubicBezTo>
                  <a:cubicBezTo>
                    <a:pt x="636" y="185"/>
                    <a:pt x="638" y="184"/>
                    <a:pt x="638" y="184"/>
                  </a:cubicBezTo>
                  <a:cubicBezTo>
                    <a:pt x="638" y="184"/>
                    <a:pt x="638" y="185"/>
                    <a:pt x="638" y="185"/>
                  </a:cubicBezTo>
                  <a:cubicBezTo>
                    <a:pt x="638" y="187"/>
                    <a:pt x="638" y="188"/>
                    <a:pt x="638" y="189"/>
                  </a:cubicBezTo>
                  <a:cubicBezTo>
                    <a:pt x="638" y="192"/>
                    <a:pt x="639" y="194"/>
                    <a:pt x="641" y="197"/>
                  </a:cubicBezTo>
                  <a:cubicBezTo>
                    <a:pt x="643" y="198"/>
                    <a:pt x="646" y="201"/>
                    <a:pt x="649" y="201"/>
                  </a:cubicBezTo>
                  <a:cubicBezTo>
                    <a:pt x="650" y="201"/>
                    <a:pt x="650" y="201"/>
                    <a:pt x="650" y="201"/>
                  </a:cubicBezTo>
                  <a:cubicBezTo>
                    <a:pt x="650" y="201"/>
                    <a:pt x="650" y="201"/>
                    <a:pt x="650" y="201"/>
                  </a:cubicBezTo>
                  <a:cubicBezTo>
                    <a:pt x="652" y="201"/>
                    <a:pt x="652" y="200"/>
                    <a:pt x="653" y="200"/>
                  </a:cubicBezTo>
                  <a:cubicBezTo>
                    <a:pt x="653" y="205"/>
                    <a:pt x="656" y="207"/>
                    <a:pt x="657" y="207"/>
                  </a:cubicBezTo>
                  <a:cubicBezTo>
                    <a:pt x="658" y="208"/>
                    <a:pt x="659" y="208"/>
                    <a:pt x="660" y="208"/>
                  </a:cubicBezTo>
                  <a:cubicBezTo>
                    <a:pt x="661" y="208"/>
                    <a:pt x="662" y="208"/>
                    <a:pt x="663" y="207"/>
                  </a:cubicBezTo>
                  <a:cubicBezTo>
                    <a:pt x="664" y="207"/>
                    <a:pt x="664" y="207"/>
                    <a:pt x="665" y="207"/>
                  </a:cubicBezTo>
                  <a:cubicBezTo>
                    <a:pt x="665" y="207"/>
                    <a:pt x="665" y="207"/>
                    <a:pt x="665" y="207"/>
                  </a:cubicBezTo>
                  <a:cubicBezTo>
                    <a:pt x="667" y="208"/>
                    <a:pt x="669" y="212"/>
                    <a:pt x="671" y="215"/>
                  </a:cubicBezTo>
                  <a:cubicBezTo>
                    <a:pt x="672" y="217"/>
                    <a:pt x="673" y="219"/>
                    <a:pt x="675" y="221"/>
                  </a:cubicBezTo>
                  <a:cubicBezTo>
                    <a:pt x="677" y="223"/>
                    <a:pt x="677" y="223"/>
                    <a:pt x="677" y="223"/>
                  </a:cubicBezTo>
                  <a:cubicBezTo>
                    <a:pt x="679" y="226"/>
                    <a:pt x="682" y="229"/>
                    <a:pt x="684" y="233"/>
                  </a:cubicBezTo>
                  <a:cubicBezTo>
                    <a:pt x="685" y="236"/>
                    <a:pt x="687" y="241"/>
                    <a:pt x="686" y="244"/>
                  </a:cubicBezTo>
                  <a:cubicBezTo>
                    <a:pt x="686" y="245"/>
                    <a:pt x="685" y="246"/>
                    <a:pt x="684" y="248"/>
                  </a:cubicBezTo>
                  <a:cubicBezTo>
                    <a:pt x="682" y="250"/>
                    <a:pt x="680" y="252"/>
                    <a:pt x="680" y="256"/>
                  </a:cubicBezTo>
                  <a:cubicBezTo>
                    <a:pt x="680" y="258"/>
                    <a:pt x="680" y="260"/>
                    <a:pt x="682" y="262"/>
                  </a:cubicBezTo>
                  <a:cubicBezTo>
                    <a:pt x="680" y="262"/>
                    <a:pt x="678" y="263"/>
                    <a:pt x="677" y="265"/>
                  </a:cubicBezTo>
                  <a:cubicBezTo>
                    <a:pt x="676" y="266"/>
                    <a:pt x="675" y="268"/>
                    <a:pt x="675" y="269"/>
                  </a:cubicBezTo>
                  <a:cubicBezTo>
                    <a:pt x="675" y="270"/>
                    <a:pt x="674" y="271"/>
                    <a:pt x="674" y="271"/>
                  </a:cubicBezTo>
                  <a:cubicBezTo>
                    <a:pt x="673" y="273"/>
                    <a:pt x="672" y="275"/>
                    <a:pt x="671" y="277"/>
                  </a:cubicBezTo>
                  <a:cubicBezTo>
                    <a:pt x="669" y="281"/>
                    <a:pt x="666" y="285"/>
                    <a:pt x="667" y="290"/>
                  </a:cubicBezTo>
                  <a:cubicBezTo>
                    <a:pt x="669" y="296"/>
                    <a:pt x="674" y="298"/>
                    <a:pt x="678" y="300"/>
                  </a:cubicBezTo>
                  <a:cubicBezTo>
                    <a:pt x="681" y="302"/>
                    <a:pt x="684" y="303"/>
                    <a:pt x="686" y="305"/>
                  </a:cubicBezTo>
                  <a:cubicBezTo>
                    <a:pt x="686" y="306"/>
                    <a:pt x="686" y="306"/>
                    <a:pt x="686" y="307"/>
                  </a:cubicBezTo>
                  <a:cubicBezTo>
                    <a:pt x="686" y="307"/>
                    <a:pt x="684" y="308"/>
                    <a:pt x="681" y="309"/>
                  </a:cubicBezTo>
                  <a:cubicBezTo>
                    <a:pt x="680" y="309"/>
                    <a:pt x="680" y="309"/>
                    <a:pt x="679" y="309"/>
                  </a:cubicBezTo>
                  <a:cubicBezTo>
                    <a:pt x="678" y="310"/>
                    <a:pt x="676" y="310"/>
                    <a:pt x="675" y="310"/>
                  </a:cubicBezTo>
                  <a:cubicBezTo>
                    <a:pt x="672" y="312"/>
                    <a:pt x="671" y="314"/>
                    <a:pt x="669" y="315"/>
                  </a:cubicBezTo>
                  <a:cubicBezTo>
                    <a:pt x="669" y="316"/>
                    <a:pt x="668" y="317"/>
                    <a:pt x="668" y="317"/>
                  </a:cubicBezTo>
                  <a:cubicBezTo>
                    <a:pt x="667" y="318"/>
                    <a:pt x="666" y="319"/>
                    <a:pt x="665" y="320"/>
                  </a:cubicBezTo>
                  <a:cubicBezTo>
                    <a:pt x="664" y="321"/>
                    <a:pt x="664" y="321"/>
                    <a:pt x="664" y="321"/>
                  </a:cubicBezTo>
                  <a:cubicBezTo>
                    <a:pt x="662" y="322"/>
                    <a:pt x="659" y="323"/>
                    <a:pt x="655" y="323"/>
                  </a:cubicBezTo>
                  <a:cubicBezTo>
                    <a:pt x="655" y="323"/>
                    <a:pt x="655" y="323"/>
                    <a:pt x="655" y="323"/>
                  </a:cubicBezTo>
                  <a:cubicBezTo>
                    <a:pt x="652" y="323"/>
                    <a:pt x="649" y="322"/>
                    <a:pt x="645" y="322"/>
                  </a:cubicBezTo>
                  <a:cubicBezTo>
                    <a:pt x="642" y="321"/>
                    <a:pt x="638" y="321"/>
                    <a:pt x="634" y="321"/>
                  </a:cubicBezTo>
                  <a:cubicBezTo>
                    <a:pt x="632" y="321"/>
                    <a:pt x="630" y="321"/>
                    <a:pt x="628" y="321"/>
                  </a:cubicBezTo>
                  <a:cubicBezTo>
                    <a:pt x="626" y="322"/>
                    <a:pt x="626" y="322"/>
                    <a:pt x="626" y="322"/>
                  </a:cubicBezTo>
                  <a:cubicBezTo>
                    <a:pt x="626" y="324"/>
                    <a:pt x="626" y="324"/>
                    <a:pt x="626" y="324"/>
                  </a:cubicBezTo>
                  <a:cubicBezTo>
                    <a:pt x="625" y="325"/>
                    <a:pt x="625" y="325"/>
                    <a:pt x="625" y="325"/>
                  </a:cubicBezTo>
                  <a:cubicBezTo>
                    <a:pt x="625" y="326"/>
                    <a:pt x="625" y="328"/>
                    <a:pt x="626" y="329"/>
                  </a:cubicBezTo>
                  <a:cubicBezTo>
                    <a:pt x="626" y="331"/>
                    <a:pt x="627" y="332"/>
                    <a:pt x="628" y="332"/>
                  </a:cubicBezTo>
                  <a:cubicBezTo>
                    <a:pt x="628" y="332"/>
                    <a:pt x="628" y="332"/>
                    <a:pt x="628" y="332"/>
                  </a:cubicBezTo>
                  <a:cubicBezTo>
                    <a:pt x="629" y="334"/>
                    <a:pt x="629" y="334"/>
                    <a:pt x="628" y="335"/>
                  </a:cubicBezTo>
                  <a:cubicBezTo>
                    <a:pt x="627" y="335"/>
                    <a:pt x="627" y="336"/>
                    <a:pt x="626" y="336"/>
                  </a:cubicBezTo>
                  <a:cubicBezTo>
                    <a:pt x="625" y="337"/>
                    <a:pt x="623" y="338"/>
                    <a:pt x="621" y="342"/>
                  </a:cubicBezTo>
                  <a:cubicBezTo>
                    <a:pt x="621" y="343"/>
                    <a:pt x="621" y="343"/>
                    <a:pt x="621" y="344"/>
                  </a:cubicBezTo>
                  <a:cubicBezTo>
                    <a:pt x="621" y="345"/>
                    <a:pt x="621" y="345"/>
                    <a:pt x="620" y="346"/>
                  </a:cubicBezTo>
                  <a:cubicBezTo>
                    <a:pt x="620" y="347"/>
                    <a:pt x="620" y="347"/>
                    <a:pt x="620" y="347"/>
                  </a:cubicBezTo>
                  <a:cubicBezTo>
                    <a:pt x="619" y="349"/>
                    <a:pt x="619" y="350"/>
                    <a:pt x="619" y="352"/>
                  </a:cubicBezTo>
                  <a:cubicBezTo>
                    <a:pt x="619" y="353"/>
                    <a:pt x="620" y="354"/>
                    <a:pt x="620" y="355"/>
                  </a:cubicBezTo>
                  <a:cubicBezTo>
                    <a:pt x="620" y="358"/>
                    <a:pt x="620" y="361"/>
                    <a:pt x="624" y="365"/>
                  </a:cubicBezTo>
                  <a:cubicBezTo>
                    <a:pt x="627" y="369"/>
                    <a:pt x="632" y="371"/>
                    <a:pt x="637" y="372"/>
                  </a:cubicBezTo>
                  <a:cubicBezTo>
                    <a:pt x="638" y="373"/>
                    <a:pt x="639" y="373"/>
                    <a:pt x="640" y="373"/>
                  </a:cubicBezTo>
                  <a:cubicBezTo>
                    <a:pt x="644" y="373"/>
                    <a:pt x="647" y="371"/>
                    <a:pt x="649" y="370"/>
                  </a:cubicBezTo>
                  <a:cubicBezTo>
                    <a:pt x="650" y="369"/>
                    <a:pt x="651" y="369"/>
                    <a:pt x="652" y="368"/>
                  </a:cubicBezTo>
                  <a:cubicBezTo>
                    <a:pt x="655" y="367"/>
                    <a:pt x="658" y="365"/>
                    <a:pt x="662" y="362"/>
                  </a:cubicBezTo>
                  <a:cubicBezTo>
                    <a:pt x="664" y="360"/>
                    <a:pt x="665" y="358"/>
                    <a:pt x="665" y="357"/>
                  </a:cubicBezTo>
                  <a:cubicBezTo>
                    <a:pt x="666" y="356"/>
                    <a:pt x="666" y="355"/>
                    <a:pt x="666" y="355"/>
                  </a:cubicBezTo>
                  <a:cubicBezTo>
                    <a:pt x="667" y="355"/>
                    <a:pt x="667" y="355"/>
                    <a:pt x="667" y="355"/>
                  </a:cubicBezTo>
                  <a:cubicBezTo>
                    <a:pt x="668" y="355"/>
                    <a:pt x="669" y="355"/>
                    <a:pt x="670" y="356"/>
                  </a:cubicBezTo>
                  <a:cubicBezTo>
                    <a:pt x="671" y="356"/>
                    <a:pt x="671" y="356"/>
                    <a:pt x="671" y="356"/>
                  </a:cubicBezTo>
                  <a:cubicBezTo>
                    <a:pt x="673" y="356"/>
                    <a:pt x="675" y="357"/>
                    <a:pt x="676" y="357"/>
                  </a:cubicBezTo>
                  <a:cubicBezTo>
                    <a:pt x="680" y="357"/>
                    <a:pt x="684" y="355"/>
                    <a:pt x="685" y="353"/>
                  </a:cubicBezTo>
                  <a:cubicBezTo>
                    <a:pt x="686" y="351"/>
                    <a:pt x="686" y="350"/>
                    <a:pt x="685" y="348"/>
                  </a:cubicBezTo>
                  <a:cubicBezTo>
                    <a:pt x="686" y="347"/>
                    <a:pt x="686" y="347"/>
                    <a:pt x="686" y="347"/>
                  </a:cubicBezTo>
                  <a:cubicBezTo>
                    <a:pt x="687" y="348"/>
                    <a:pt x="688" y="350"/>
                    <a:pt x="691" y="351"/>
                  </a:cubicBezTo>
                  <a:cubicBezTo>
                    <a:pt x="691" y="351"/>
                    <a:pt x="691" y="351"/>
                    <a:pt x="691" y="351"/>
                  </a:cubicBezTo>
                  <a:cubicBezTo>
                    <a:pt x="692" y="351"/>
                    <a:pt x="692" y="351"/>
                    <a:pt x="692" y="351"/>
                  </a:cubicBezTo>
                  <a:cubicBezTo>
                    <a:pt x="695" y="351"/>
                    <a:pt x="696" y="348"/>
                    <a:pt x="697" y="347"/>
                  </a:cubicBezTo>
                  <a:cubicBezTo>
                    <a:pt x="697" y="346"/>
                    <a:pt x="697" y="346"/>
                    <a:pt x="697" y="346"/>
                  </a:cubicBezTo>
                  <a:cubicBezTo>
                    <a:pt x="698" y="346"/>
                    <a:pt x="698" y="347"/>
                    <a:pt x="698" y="348"/>
                  </a:cubicBezTo>
                  <a:cubicBezTo>
                    <a:pt x="699" y="348"/>
                    <a:pt x="699" y="348"/>
                    <a:pt x="699" y="348"/>
                  </a:cubicBezTo>
                  <a:cubicBezTo>
                    <a:pt x="700" y="350"/>
                    <a:pt x="702" y="352"/>
                    <a:pt x="703" y="353"/>
                  </a:cubicBezTo>
                  <a:cubicBezTo>
                    <a:pt x="704" y="354"/>
                    <a:pt x="704" y="354"/>
                    <a:pt x="705" y="355"/>
                  </a:cubicBezTo>
                  <a:cubicBezTo>
                    <a:pt x="707" y="357"/>
                    <a:pt x="709" y="358"/>
                    <a:pt x="711" y="359"/>
                  </a:cubicBezTo>
                  <a:cubicBezTo>
                    <a:pt x="713" y="360"/>
                    <a:pt x="713" y="360"/>
                    <a:pt x="713" y="360"/>
                  </a:cubicBezTo>
                  <a:cubicBezTo>
                    <a:pt x="715" y="361"/>
                    <a:pt x="716" y="362"/>
                    <a:pt x="717" y="364"/>
                  </a:cubicBezTo>
                  <a:cubicBezTo>
                    <a:pt x="717" y="364"/>
                    <a:pt x="717" y="364"/>
                    <a:pt x="717" y="364"/>
                  </a:cubicBezTo>
                  <a:cubicBezTo>
                    <a:pt x="719" y="367"/>
                    <a:pt x="721" y="368"/>
                    <a:pt x="724" y="368"/>
                  </a:cubicBezTo>
                  <a:cubicBezTo>
                    <a:pt x="724" y="368"/>
                    <a:pt x="725" y="368"/>
                    <a:pt x="726" y="368"/>
                  </a:cubicBezTo>
                  <a:cubicBezTo>
                    <a:pt x="727" y="368"/>
                    <a:pt x="727" y="368"/>
                    <a:pt x="728" y="369"/>
                  </a:cubicBezTo>
                  <a:cubicBezTo>
                    <a:pt x="729" y="369"/>
                    <a:pt x="731" y="370"/>
                    <a:pt x="733" y="370"/>
                  </a:cubicBezTo>
                  <a:cubicBezTo>
                    <a:pt x="733" y="370"/>
                    <a:pt x="733" y="370"/>
                    <a:pt x="733" y="370"/>
                  </a:cubicBezTo>
                  <a:cubicBezTo>
                    <a:pt x="734" y="370"/>
                    <a:pt x="735" y="370"/>
                    <a:pt x="737" y="370"/>
                  </a:cubicBezTo>
                  <a:cubicBezTo>
                    <a:pt x="739" y="370"/>
                    <a:pt x="740" y="370"/>
                    <a:pt x="742" y="370"/>
                  </a:cubicBezTo>
                  <a:cubicBezTo>
                    <a:pt x="741" y="371"/>
                    <a:pt x="741" y="371"/>
                    <a:pt x="740" y="372"/>
                  </a:cubicBezTo>
                  <a:cubicBezTo>
                    <a:pt x="738" y="374"/>
                    <a:pt x="736" y="377"/>
                    <a:pt x="736" y="380"/>
                  </a:cubicBezTo>
                  <a:cubicBezTo>
                    <a:pt x="736" y="381"/>
                    <a:pt x="737" y="383"/>
                    <a:pt x="739" y="384"/>
                  </a:cubicBezTo>
                  <a:cubicBezTo>
                    <a:pt x="741" y="386"/>
                    <a:pt x="742" y="388"/>
                    <a:pt x="744" y="390"/>
                  </a:cubicBezTo>
                  <a:cubicBezTo>
                    <a:pt x="746" y="392"/>
                    <a:pt x="748" y="392"/>
                    <a:pt x="751" y="392"/>
                  </a:cubicBezTo>
                  <a:cubicBezTo>
                    <a:pt x="752" y="392"/>
                    <a:pt x="753" y="392"/>
                    <a:pt x="754" y="392"/>
                  </a:cubicBezTo>
                  <a:cubicBezTo>
                    <a:pt x="755" y="392"/>
                    <a:pt x="756" y="392"/>
                    <a:pt x="757" y="392"/>
                  </a:cubicBezTo>
                  <a:cubicBezTo>
                    <a:pt x="757" y="392"/>
                    <a:pt x="758" y="392"/>
                    <a:pt x="758" y="392"/>
                  </a:cubicBezTo>
                  <a:cubicBezTo>
                    <a:pt x="759" y="393"/>
                    <a:pt x="759" y="394"/>
                    <a:pt x="758" y="395"/>
                  </a:cubicBezTo>
                  <a:cubicBezTo>
                    <a:pt x="758" y="396"/>
                    <a:pt x="758" y="397"/>
                    <a:pt x="759" y="398"/>
                  </a:cubicBezTo>
                  <a:cubicBezTo>
                    <a:pt x="759" y="402"/>
                    <a:pt x="763" y="407"/>
                    <a:pt x="769" y="407"/>
                  </a:cubicBezTo>
                  <a:cubicBezTo>
                    <a:pt x="770" y="407"/>
                    <a:pt x="770" y="407"/>
                    <a:pt x="771" y="407"/>
                  </a:cubicBezTo>
                  <a:cubicBezTo>
                    <a:pt x="776" y="405"/>
                    <a:pt x="776" y="401"/>
                    <a:pt x="776" y="399"/>
                  </a:cubicBezTo>
                  <a:cubicBezTo>
                    <a:pt x="775" y="397"/>
                    <a:pt x="776" y="396"/>
                    <a:pt x="776" y="396"/>
                  </a:cubicBezTo>
                  <a:cubicBezTo>
                    <a:pt x="777" y="396"/>
                    <a:pt x="779" y="395"/>
                    <a:pt x="781" y="395"/>
                  </a:cubicBezTo>
                  <a:cubicBezTo>
                    <a:pt x="783" y="395"/>
                    <a:pt x="784" y="395"/>
                    <a:pt x="785" y="395"/>
                  </a:cubicBezTo>
                  <a:cubicBezTo>
                    <a:pt x="786" y="396"/>
                    <a:pt x="788" y="398"/>
                    <a:pt x="789" y="399"/>
                  </a:cubicBezTo>
                  <a:cubicBezTo>
                    <a:pt x="792" y="401"/>
                    <a:pt x="795" y="403"/>
                    <a:pt x="798" y="404"/>
                  </a:cubicBezTo>
                  <a:cubicBezTo>
                    <a:pt x="801" y="405"/>
                    <a:pt x="803" y="405"/>
                    <a:pt x="806" y="405"/>
                  </a:cubicBezTo>
                  <a:cubicBezTo>
                    <a:pt x="808" y="405"/>
                    <a:pt x="809" y="405"/>
                    <a:pt x="811" y="405"/>
                  </a:cubicBezTo>
                  <a:cubicBezTo>
                    <a:pt x="812" y="405"/>
                    <a:pt x="813" y="405"/>
                    <a:pt x="814" y="405"/>
                  </a:cubicBezTo>
                  <a:cubicBezTo>
                    <a:pt x="814" y="405"/>
                    <a:pt x="814" y="405"/>
                    <a:pt x="815" y="405"/>
                  </a:cubicBezTo>
                  <a:cubicBezTo>
                    <a:pt x="817" y="405"/>
                    <a:pt x="819" y="405"/>
                    <a:pt x="822" y="405"/>
                  </a:cubicBezTo>
                  <a:cubicBezTo>
                    <a:pt x="823" y="405"/>
                    <a:pt x="823" y="405"/>
                    <a:pt x="823" y="405"/>
                  </a:cubicBezTo>
                  <a:cubicBezTo>
                    <a:pt x="823" y="405"/>
                    <a:pt x="824" y="405"/>
                    <a:pt x="824" y="405"/>
                  </a:cubicBezTo>
                  <a:cubicBezTo>
                    <a:pt x="826" y="405"/>
                    <a:pt x="827" y="405"/>
                    <a:pt x="828" y="405"/>
                  </a:cubicBezTo>
                  <a:cubicBezTo>
                    <a:pt x="829" y="405"/>
                    <a:pt x="830" y="404"/>
                    <a:pt x="831" y="404"/>
                  </a:cubicBezTo>
                  <a:cubicBezTo>
                    <a:pt x="832" y="404"/>
                    <a:pt x="835" y="405"/>
                    <a:pt x="836" y="405"/>
                  </a:cubicBezTo>
                  <a:cubicBezTo>
                    <a:pt x="839" y="406"/>
                    <a:pt x="842" y="407"/>
                    <a:pt x="845" y="407"/>
                  </a:cubicBezTo>
                  <a:cubicBezTo>
                    <a:pt x="848" y="407"/>
                    <a:pt x="850" y="406"/>
                    <a:pt x="851" y="404"/>
                  </a:cubicBezTo>
                  <a:cubicBezTo>
                    <a:pt x="853" y="403"/>
                    <a:pt x="853" y="400"/>
                    <a:pt x="853" y="398"/>
                  </a:cubicBezTo>
                  <a:cubicBezTo>
                    <a:pt x="853" y="389"/>
                    <a:pt x="844" y="382"/>
                    <a:pt x="837" y="378"/>
                  </a:cubicBezTo>
                  <a:cubicBezTo>
                    <a:pt x="834" y="377"/>
                    <a:pt x="832" y="376"/>
                    <a:pt x="829" y="375"/>
                  </a:cubicBezTo>
                  <a:cubicBezTo>
                    <a:pt x="824" y="373"/>
                    <a:pt x="820" y="371"/>
                    <a:pt x="816" y="368"/>
                  </a:cubicBezTo>
                  <a:cubicBezTo>
                    <a:pt x="814" y="367"/>
                    <a:pt x="812" y="367"/>
                    <a:pt x="810" y="366"/>
                  </a:cubicBezTo>
                  <a:cubicBezTo>
                    <a:pt x="809" y="366"/>
                    <a:pt x="808" y="366"/>
                    <a:pt x="807" y="365"/>
                  </a:cubicBezTo>
                  <a:cubicBezTo>
                    <a:pt x="803" y="364"/>
                    <a:pt x="798" y="361"/>
                    <a:pt x="794" y="359"/>
                  </a:cubicBezTo>
                  <a:cubicBezTo>
                    <a:pt x="793" y="358"/>
                    <a:pt x="791" y="357"/>
                    <a:pt x="790" y="357"/>
                  </a:cubicBezTo>
                  <a:cubicBezTo>
                    <a:pt x="788" y="355"/>
                    <a:pt x="786" y="354"/>
                    <a:pt x="785" y="353"/>
                  </a:cubicBezTo>
                  <a:cubicBezTo>
                    <a:pt x="785" y="352"/>
                    <a:pt x="785" y="352"/>
                    <a:pt x="785" y="352"/>
                  </a:cubicBezTo>
                  <a:cubicBezTo>
                    <a:pt x="786" y="352"/>
                    <a:pt x="788" y="353"/>
                    <a:pt x="789" y="353"/>
                  </a:cubicBezTo>
                  <a:cubicBezTo>
                    <a:pt x="791" y="354"/>
                    <a:pt x="792" y="354"/>
                    <a:pt x="793" y="354"/>
                  </a:cubicBezTo>
                  <a:cubicBezTo>
                    <a:pt x="794" y="354"/>
                    <a:pt x="795" y="354"/>
                    <a:pt x="796" y="354"/>
                  </a:cubicBezTo>
                  <a:cubicBezTo>
                    <a:pt x="797" y="354"/>
                    <a:pt x="797" y="354"/>
                    <a:pt x="798" y="354"/>
                  </a:cubicBezTo>
                  <a:cubicBezTo>
                    <a:pt x="799" y="354"/>
                    <a:pt x="799" y="354"/>
                    <a:pt x="800" y="354"/>
                  </a:cubicBezTo>
                  <a:cubicBezTo>
                    <a:pt x="801" y="354"/>
                    <a:pt x="802" y="354"/>
                    <a:pt x="802" y="355"/>
                  </a:cubicBezTo>
                  <a:cubicBezTo>
                    <a:pt x="806" y="355"/>
                    <a:pt x="809" y="357"/>
                    <a:pt x="812" y="358"/>
                  </a:cubicBezTo>
                  <a:cubicBezTo>
                    <a:pt x="815" y="359"/>
                    <a:pt x="817" y="360"/>
                    <a:pt x="819" y="361"/>
                  </a:cubicBezTo>
                  <a:cubicBezTo>
                    <a:pt x="820" y="361"/>
                    <a:pt x="821" y="362"/>
                    <a:pt x="822" y="362"/>
                  </a:cubicBezTo>
                  <a:cubicBezTo>
                    <a:pt x="823" y="362"/>
                    <a:pt x="824" y="361"/>
                    <a:pt x="825" y="361"/>
                  </a:cubicBezTo>
                  <a:cubicBezTo>
                    <a:pt x="826" y="361"/>
                    <a:pt x="827" y="361"/>
                    <a:pt x="827" y="361"/>
                  </a:cubicBezTo>
                  <a:cubicBezTo>
                    <a:pt x="827" y="361"/>
                    <a:pt x="828" y="361"/>
                    <a:pt x="828" y="361"/>
                  </a:cubicBezTo>
                  <a:cubicBezTo>
                    <a:pt x="828" y="361"/>
                    <a:pt x="829" y="362"/>
                    <a:pt x="830" y="362"/>
                  </a:cubicBezTo>
                  <a:cubicBezTo>
                    <a:pt x="831" y="363"/>
                    <a:pt x="832" y="365"/>
                    <a:pt x="834" y="365"/>
                  </a:cubicBezTo>
                  <a:cubicBezTo>
                    <a:pt x="835" y="366"/>
                    <a:pt x="836" y="366"/>
                    <a:pt x="838" y="366"/>
                  </a:cubicBezTo>
                  <a:cubicBezTo>
                    <a:pt x="838" y="366"/>
                    <a:pt x="839" y="366"/>
                    <a:pt x="840" y="366"/>
                  </a:cubicBezTo>
                  <a:cubicBezTo>
                    <a:pt x="841" y="366"/>
                    <a:pt x="842" y="366"/>
                    <a:pt x="842" y="366"/>
                  </a:cubicBezTo>
                  <a:cubicBezTo>
                    <a:pt x="843" y="366"/>
                    <a:pt x="843" y="366"/>
                    <a:pt x="843" y="366"/>
                  </a:cubicBezTo>
                  <a:cubicBezTo>
                    <a:pt x="844" y="366"/>
                    <a:pt x="845" y="366"/>
                    <a:pt x="846" y="367"/>
                  </a:cubicBezTo>
                  <a:cubicBezTo>
                    <a:pt x="847" y="367"/>
                    <a:pt x="847" y="367"/>
                    <a:pt x="847" y="367"/>
                  </a:cubicBezTo>
                  <a:cubicBezTo>
                    <a:pt x="848" y="368"/>
                    <a:pt x="848" y="368"/>
                    <a:pt x="849" y="368"/>
                  </a:cubicBezTo>
                  <a:cubicBezTo>
                    <a:pt x="850" y="369"/>
                    <a:pt x="851" y="369"/>
                    <a:pt x="852" y="370"/>
                  </a:cubicBezTo>
                  <a:cubicBezTo>
                    <a:pt x="854" y="371"/>
                    <a:pt x="855" y="371"/>
                    <a:pt x="857" y="371"/>
                  </a:cubicBezTo>
                  <a:cubicBezTo>
                    <a:pt x="859" y="371"/>
                    <a:pt x="861" y="370"/>
                    <a:pt x="862" y="367"/>
                  </a:cubicBezTo>
                  <a:cubicBezTo>
                    <a:pt x="863" y="365"/>
                    <a:pt x="862" y="362"/>
                    <a:pt x="861" y="360"/>
                  </a:cubicBezTo>
                  <a:cubicBezTo>
                    <a:pt x="861" y="360"/>
                    <a:pt x="861" y="360"/>
                    <a:pt x="862" y="359"/>
                  </a:cubicBezTo>
                  <a:close/>
                  <a:moveTo>
                    <a:pt x="493" y="120"/>
                  </a:moveTo>
                  <a:cubicBezTo>
                    <a:pt x="493" y="120"/>
                    <a:pt x="493" y="121"/>
                    <a:pt x="493" y="121"/>
                  </a:cubicBezTo>
                  <a:cubicBezTo>
                    <a:pt x="492" y="120"/>
                    <a:pt x="490" y="120"/>
                    <a:pt x="489" y="120"/>
                  </a:cubicBezTo>
                  <a:cubicBezTo>
                    <a:pt x="489" y="120"/>
                    <a:pt x="489" y="120"/>
                    <a:pt x="489" y="120"/>
                  </a:cubicBezTo>
                  <a:cubicBezTo>
                    <a:pt x="490" y="120"/>
                    <a:pt x="490" y="120"/>
                    <a:pt x="490" y="120"/>
                  </a:cubicBezTo>
                  <a:cubicBezTo>
                    <a:pt x="492" y="118"/>
                    <a:pt x="493" y="116"/>
                    <a:pt x="494" y="115"/>
                  </a:cubicBezTo>
                  <a:cubicBezTo>
                    <a:pt x="494" y="116"/>
                    <a:pt x="493" y="120"/>
                    <a:pt x="493" y="120"/>
                  </a:cubicBezTo>
                  <a:close/>
                  <a:moveTo>
                    <a:pt x="457" y="346"/>
                  </a:moveTo>
                  <a:cubicBezTo>
                    <a:pt x="452" y="346"/>
                    <a:pt x="448" y="345"/>
                    <a:pt x="445" y="342"/>
                  </a:cubicBezTo>
                  <a:cubicBezTo>
                    <a:pt x="444" y="341"/>
                    <a:pt x="444" y="341"/>
                    <a:pt x="444" y="341"/>
                  </a:cubicBezTo>
                  <a:cubicBezTo>
                    <a:pt x="443" y="340"/>
                    <a:pt x="442" y="339"/>
                    <a:pt x="441" y="338"/>
                  </a:cubicBezTo>
                  <a:cubicBezTo>
                    <a:pt x="440" y="336"/>
                    <a:pt x="439" y="335"/>
                    <a:pt x="438" y="333"/>
                  </a:cubicBezTo>
                  <a:cubicBezTo>
                    <a:pt x="437" y="331"/>
                    <a:pt x="435" y="330"/>
                    <a:pt x="433" y="329"/>
                  </a:cubicBezTo>
                  <a:cubicBezTo>
                    <a:pt x="431" y="328"/>
                    <a:pt x="430" y="327"/>
                    <a:pt x="428" y="326"/>
                  </a:cubicBezTo>
                  <a:cubicBezTo>
                    <a:pt x="430" y="326"/>
                    <a:pt x="433" y="326"/>
                    <a:pt x="435" y="327"/>
                  </a:cubicBezTo>
                  <a:cubicBezTo>
                    <a:pt x="437" y="328"/>
                    <a:pt x="439" y="329"/>
                    <a:pt x="440" y="330"/>
                  </a:cubicBezTo>
                  <a:cubicBezTo>
                    <a:pt x="443" y="332"/>
                    <a:pt x="445" y="334"/>
                    <a:pt x="447" y="336"/>
                  </a:cubicBezTo>
                  <a:cubicBezTo>
                    <a:pt x="448" y="338"/>
                    <a:pt x="450" y="340"/>
                    <a:pt x="453" y="342"/>
                  </a:cubicBezTo>
                  <a:cubicBezTo>
                    <a:pt x="453" y="342"/>
                    <a:pt x="454" y="342"/>
                    <a:pt x="454" y="343"/>
                  </a:cubicBezTo>
                  <a:cubicBezTo>
                    <a:pt x="455" y="344"/>
                    <a:pt x="456" y="345"/>
                    <a:pt x="457" y="345"/>
                  </a:cubicBezTo>
                  <a:cubicBezTo>
                    <a:pt x="458" y="346"/>
                    <a:pt x="458" y="346"/>
                    <a:pt x="458" y="346"/>
                  </a:cubicBezTo>
                  <a:cubicBezTo>
                    <a:pt x="458" y="346"/>
                    <a:pt x="458" y="346"/>
                    <a:pt x="458" y="346"/>
                  </a:cubicBezTo>
                  <a:cubicBezTo>
                    <a:pt x="458" y="346"/>
                    <a:pt x="458" y="346"/>
                    <a:pt x="457" y="346"/>
                  </a:cubicBezTo>
                  <a:close/>
                  <a:moveTo>
                    <a:pt x="567" y="79"/>
                  </a:moveTo>
                  <a:cubicBezTo>
                    <a:pt x="566" y="78"/>
                    <a:pt x="566" y="78"/>
                    <a:pt x="566" y="78"/>
                  </a:cubicBezTo>
                  <a:cubicBezTo>
                    <a:pt x="565" y="77"/>
                    <a:pt x="564" y="76"/>
                    <a:pt x="563" y="75"/>
                  </a:cubicBezTo>
                  <a:cubicBezTo>
                    <a:pt x="563" y="75"/>
                    <a:pt x="563" y="75"/>
                    <a:pt x="563" y="74"/>
                  </a:cubicBezTo>
                  <a:cubicBezTo>
                    <a:pt x="563" y="74"/>
                    <a:pt x="564" y="74"/>
                    <a:pt x="564" y="74"/>
                  </a:cubicBezTo>
                  <a:cubicBezTo>
                    <a:pt x="567" y="75"/>
                    <a:pt x="572" y="79"/>
                    <a:pt x="573" y="81"/>
                  </a:cubicBezTo>
                  <a:cubicBezTo>
                    <a:pt x="573" y="82"/>
                    <a:pt x="573" y="82"/>
                    <a:pt x="573" y="82"/>
                  </a:cubicBezTo>
                  <a:cubicBezTo>
                    <a:pt x="573" y="82"/>
                    <a:pt x="573" y="82"/>
                    <a:pt x="572" y="82"/>
                  </a:cubicBezTo>
                  <a:cubicBezTo>
                    <a:pt x="571" y="82"/>
                    <a:pt x="569" y="81"/>
                    <a:pt x="567" y="79"/>
                  </a:cubicBezTo>
                  <a:close/>
                  <a:moveTo>
                    <a:pt x="573" y="140"/>
                  </a:moveTo>
                  <a:cubicBezTo>
                    <a:pt x="573" y="140"/>
                    <a:pt x="574" y="140"/>
                    <a:pt x="574" y="140"/>
                  </a:cubicBezTo>
                  <a:cubicBezTo>
                    <a:pt x="574" y="140"/>
                    <a:pt x="574" y="140"/>
                    <a:pt x="574" y="140"/>
                  </a:cubicBezTo>
                  <a:cubicBezTo>
                    <a:pt x="575" y="140"/>
                    <a:pt x="575" y="141"/>
                    <a:pt x="575" y="142"/>
                  </a:cubicBezTo>
                  <a:cubicBezTo>
                    <a:pt x="575" y="142"/>
                    <a:pt x="576" y="143"/>
                    <a:pt x="576" y="144"/>
                  </a:cubicBezTo>
                  <a:cubicBezTo>
                    <a:pt x="575" y="143"/>
                    <a:pt x="574" y="142"/>
                    <a:pt x="573" y="140"/>
                  </a:cubicBezTo>
                  <a:close/>
                  <a:moveTo>
                    <a:pt x="739" y="259"/>
                  </a:moveTo>
                  <a:cubicBezTo>
                    <a:pt x="739" y="260"/>
                    <a:pt x="738" y="261"/>
                    <a:pt x="736" y="261"/>
                  </a:cubicBezTo>
                  <a:cubicBezTo>
                    <a:pt x="736" y="261"/>
                    <a:pt x="735" y="261"/>
                    <a:pt x="735" y="261"/>
                  </a:cubicBezTo>
                  <a:cubicBezTo>
                    <a:pt x="734" y="261"/>
                    <a:pt x="732" y="261"/>
                    <a:pt x="732" y="261"/>
                  </a:cubicBezTo>
                  <a:cubicBezTo>
                    <a:pt x="731" y="261"/>
                    <a:pt x="731" y="261"/>
                    <a:pt x="730" y="261"/>
                  </a:cubicBezTo>
                  <a:cubicBezTo>
                    <a:pt x="726" y="263"/>
                    <a:pt x="723" y="268"/>
                    <a:pt x="720" y="273"/>
                  </a:cubicBezTo>
                  <a:cubicBezTo>
                    <a:pt x="719" y="273"/>
                    <a:pt x="719" y="273"/>
                    <a:pt x="719" y="273"/>
                  </a:cubicBezTo>
                  <a:cubicBezTo>
                    <a:pt x="720" y="271"/>
                    <a:pt x="720" y="270"/>
                    <a:pt x="719" y="267"/>
                  </a:cubicBezTo>
                  <a:cubicBezTo>
                    <a:pt x="717" y="262"/>
                    <a:pt x="714" y="259"/>
                    <a:pt x="710" y="258"/>
                  </a:cubicBezTo>
                  <a:cubicBezTo>
                    <a:pt x="712" y="254"/>
                    <a:pt x="713" y="250"/>
                    <a:pt x="713" y="246"/>
                  </a:cubicBezTo>
                  <a:cubicBezTo>
                    <a:pt x="716" y="247"/>
                    <a:pt x="719" y="249"/>
                    <a:pt x="723" y="250"/>
                  </a:cubicBezTo>
                  <a:cubicBezTo>
                    <a:pt x="725" y="250"/>
                    <a:pt x="727" y="251"/>
                    <a:pt x="729" y="251"/>
                  </a:cubicBezTo>
                  <a:cubicBezTo>
                    <a:pt x="731" y="251"/>
                    <a:pt x="734" y="251"/>
                    <a:pt x="736" y="252"/>
                  </a:cubicBezTo>
                  <a:cubicBezTo>
                    <a:pt x="738" y="253"/>
                    <a:pt x="739" y="255"/>
                    <a:pt x="740" y="257"/>
                  </a:cubicBezTo>
                  <a:cubicBezTo>
                    <a:pt x="740" y="258"/>
                    <a:pt x="740" y="259"/>
                    <a:pt x="739" y="259"/>
                  </a:cubicBez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lIns="243797" tIns="121899" rIns="243797" bIns="121899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218" name="Freeform 66"/>
            <p:cNvSpPr>
              <a:spLocks/>
            </p:cNvSpPr>
            <p:nvPr/>
          </p:nvSpPr>
          <p:spPr bwMode="auto">
            <a:xfrm>
              <a:off x="15718247" y="7338739"/>
              <a:ext cx="3106348" cy="2881984"/>
            </a:xfrm>
            <a:custGeom>
              <a:avLst/>
              <a:gdLst>
                <a:gd name="T0" fmla="*/ 559 w 570"/>
                <a:gd name="T1" fmla="*/ 394 h 581"/>
                <a:gd name="T2" fmla="*/ 526 w 570"/>
                <a:gd name="T3" fmla="*/ 405 h 581"/>
                <a:gd name="T4" fmla="*/ 491 w 570"/>
                <a:gd name="T5" fmla="*/ 395 h 581"/>
                <a:gd name="T6" fmla="*/ 440 w 570"/>
                <a:gd name="T7" fmla="*/ 385 h 581"/>
                <a:gd name="T8" fmla="*/ 410 w 570"/>
                <a:gd name="T9" fmla="*/ 340 h 581"/>
                <a:gd name="T10" fmla="*/ 384 w 570"/>
                <a:gd name="T11" fmla="*/ 194 h 581"/>
                <a:gd name="T12" fmla="*/ 380 w 570"/>
                <a:gd name="T13" fmla="*/ 198 h 581"/>
                <a:gd name="T14" fmla="*/ 354 w 570"/>
                <a:gd name="T15" fmla="*/ 176 h 581"/>
                <a:gd name="T16" fmla="*/ 337 w 570"/>
                <a:gd name="T17" fmla="*/ 165 h 581"/>
                <a:gd name="T18" fmla="*/ 318 w 570"/>
                <a:gd name="T19" fmla="*/ 142 h 581"/>
                <a:gd name="T20" fmla="*/ 316 w 570"/>
                <a:gd name="T21" fmla="*/ 132 h 581"/>
                <a:gd name="T22" fmla="*/ 315 w 570"/>
                <a:gd name="T23" fmla="*/ 115 h 581"/>
                <a:gd name="T24" fmla="*/ 310 w 570"/>
                <a:gd name="T25" fmla="*/ 95 h 581"/>
                <a:gd name="T26" fmla="*/ 309 w 570"/>
                <a:gd name="T27" fmla="*/ 73 h 581"/>
                <a:gd name="T28" fmla="*/ 296 w 570"/>
                <a:gd name="T29" fmla="*/ 54 h 581"/>
                <a:gd name="T30" fmla="*/ 282 w 570"/>
                <a:gd name="T31" fmla="*/ 54 h 581"/>
                <a:gd name="T32" fmla="*/ 269 w 570"/>
                <a:gd name="T33" fmla="*/ 51 h 581"/>
                <a:gd name="T34" fmla="*/ 246 w 570"/>
                <a:gd name="T35" fmla="*/ 56 h 581"/>
                <a:gd name="T36" fmla="*/ 238 w 570"/>
                <a:gd name="T37" fmla="*/ 51 h 581"/>
                <a:gd name="T38" fmla="*/ 226 w 570"/>
                <a:gd name="T39" fmla="*/ 42 h 581"/>
                <a:gd name="T40" fmla="*/ 208 w 570"/>
                <a:gd name="T41" fmla="*/ 36 h 581"/>
                <a:gd name="T42" fmla="*/ 193 w 570"/>
                <a:gd name="T43" fmla="*/ 30 h 581"/>
                <a:gd name="T44" fmla="*/ 177 w 570"/>
                <a:gd name="T45" fmla="*/ 13 h 581"/>
                <a:gd name="T46" fmla="*/ 161 w 570"/>
                <a:gd name="T47" fmla="*/ 1 h 581"/>
                <a:gd name="T48" fmla="*/ 0 w 570"/>
                <a:gd name="T49" fmla="*/ 288 h 581"/>
                <a:gd name="T50" fmla="*/ 6 w 570"/>
                <a:gd name="T51" fmla="*/ 297 h 581"/>
                <a:gd name="T52" fmla="*/ 47 w 570"/>
                <a:gd name="T53" fmla="*/ 322 h 581"/>
                <a:gd name="T54" fmla="*/ 69 w 570"/>
                <a:gd name="T55" fmla="*/ 337 h 581"/>
                <a:gd name="T56" fmla="*/ 87 w 570"/>
                <a:gd name="T57" fmla="*/ 346 h 581"/>
                <a:gd name="T58" fmla="*/ 121 w 570"/>
                <a:gd name="T59" fmla="*/ 345 h 581"/>
                <a:gd name="T60" fmla="*/ 160 w 570"/>
                <a:gd name="T61" fmla="*/ 332 h 581"/>
                <a:gd name="T62" fmla="*/ 182 w 570"/>
                <a:gd name="T63" fmla="*/ 310 h 581"/>
                <a:gd name="T64" fmla="*/ 208 w 570"/>
                <a:gd name="T65" fmla="*/ 316 h 581"/>
                <a:gd name="T66" fmla="*/ 227 w 570"/>
                <a:gd name="T67" fmla="*/ 325 h 581"/>
                <a:gd name="T68" fmla="*/ 243 w 570"/>
                <a:gd name="T69" fmla="*/ 348 h 581"/>
                <a:gd name="T70" fmla="*/ 266 w 570"/>
                <a:gd name="T71" fmla="*/ 346 h 581"/>
                <a:gd name="T72" fmla="*/ 275 w 570"/>
                <a:gd name="T73" fmla="*/ 370 h 581"/>
                <a:gd name="T74" fmla="*/ 282 w 570"/>
                <a:gd name="T75" fmla="*/ 389 h 581"/>
                <a:gd name="T76" fmla="*/ 327 w 570"/>
                <a:gd name="T77" fmla="*/ 413 h 581"/>
                <a:gd name="T78" fmla="*/ 385 w 570"/>
                <a:gd name="T79" fmla="*/ 418 h 581"/>
                <a:gd name="T80" fmla="*/ 393 w 570"/>
                <a:gd name="T81" fmla="*/ 421 h 581"/>
                <a:gd name="T82" fmla="*/ 415 w 570"/>
                <a:gd name="T83" fmla="*/ 448 h 581"/>
                <a:gd name="T84" fmla="*/ 414 w 570"/>
                <a:gd name="T85" fmla="*/ 460 h 581"/>
                <a:gd name="T86" fmla="*/ 398 w 570"/>
                <a:gd name="T87" fmla="*/ 458 h 581"/>
                <a:gd name="T88" fmla="*/ 384 w 570"/>
                <a:gd name="T89" fmla="*/ 447 h 581"/>
                <a:gd name="T90" fmla="*/ 365 w 570"/>
                <a:gd name="T91" fmla="*/ 441 h 581"/>
                <a:gd name="T92" fmla="*/ 374 w 570"/>
                <a:gd name="T93" fmla="*/ 471 h 581"/>
                <a:gd name="T94" fmla="*/ 370 w 570"/>
                <a:gd name="T95" fmla="*/ 495 h 581"/>
                <a:gd name="T96" fmla="*/ 360 w 570"/>
                <a:gd name="T97" fmla="*/ 530 h 581"/>
                <a:gd name="T98" fmla="*/ 363 w 570"/>
                <a:gd name="T99" fmla="*/ 551 h 581"/>
                <a:gd name="T100" fmla="*/ 340 w 570"/>
                <a:gd name="T101" fmla="*/ 577 h 581"/>
                <a:gd name="T102" fmla="*/ 386 w 570"/>
                <a:gd name="T103" fmla="*/ 555 h 581"/>
                <a:gd name="T104" fmla="*/ 409 w 570"/>
                <a:gd name="T105" fmla="*/ 547 h 581"/>
                <a:gd name="T106" fmla="*/ 439 w 570"/>
                <a:gd name="T107" fmla="*/ 535 h 581"/>
                <a:gd name="T108" fmla="*/ 457 w 570"/>
                <a:gd name="T109" fmla="*/ 512 h 581"/>
                <a:gd name="T110" fmla="*/ 441 w 570"/>
                <a:gd name="T111" fmla="*/ 502 h 581"/>
                <a:gd name="T112" fmla="*/ 492 w 570"/>
                <a:gd name="T113" fmla="*/ 477 h 581"/>
                <a:gd name="T114" fmla="*/ 521 w 570"/>
                <a:gd name="T115" fmla="*/ 460 h 581"/>
                <a:gd name="T116" fmla="*/ 570 w 570"/>
                <a:gd name="T117" fmla="*/ 416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0" h="581">
                  <a:moveTo>
                    <a:pt x="569" y="413"/>
                  </a:moveTo>
                  <a:cubicBezTo>
                    <a:pt x="568" y="411"/>
                    <a:pt x="568" y="410"/>
                    <a:pt x="567" y="408"/>
                  </a:cubicBezTo>
                  <a:cubicBezTo>
                    <a:pt x="567" y="408"/>
                    <a:pt x="566" y="405"/>
                    <a:pt x="566" y="404"/>
                  </a:cubicBezTo>
                  <a:cubicBezTo>
                    <a:pt x="565" y="399"/>
                    <a:pt x="563" y="396"/>
                    <a:pt x="561" y="395"/>
                  </a:cubicBezTo>
                  <a:cubicBezTo>
                    <a:pt x="560" y="394"/>
                    <a:pt x="560" y="394"/>
                    <a:pt x="559" y="394"/>
                  </a:cubicBezTo>
                  <a:cubicBezTo>
                    <a:pt x="556" y="394"/>
                    <a:pt x="553" y="395"/>
                    <a:pt x="550" y="397"/>
                  </a:cubicBezTo>
                  <a:cubicBezTo>
                    <a:pt x="547" y="397"/>
                    <a:pt x="544" y="398"/>
                    <a:pt x="542" y="399"/>
                  </a:cubicBezTo>
                  <a:cubicBezTo>
                    <a:pt x="537" y="400"/>
                    <a:pt x="533" y="401"/>
                    <a:pt x="529" y="403"/>
                  </a:cubicBezTo>
                  <a:cubicBezTo>
                    <a:pt x="528" y="404"/>
                    <a:pt x="527" y="405"/>
                    <a:pt x="526" y="405"/>
                  </a:cubicBezTo>
                  <a:cubicBezTo>
                    <a:pt x="526" y="405"/>
                    <a:pt x="526" y="405"/>
                    <a:pt x="526" y="405"/>
                  </a:cubicBezTo>
                  <a:cubicBezTo>
                    <a:pt x="523" y="407"/>
                    <a:pt x="521" y="408"/>
                    <a:pt x="518" y="408"/>
                  </a:cubicBezTo>
                  <a:cubicBezTo>
                    <a:pt x="516" y="408"/>
                    <a:pt x="514" y="407"/>
                    <a:pt x="511" y="406"/>
                  </a:cubicBezTo>
                  <a:cubicBezTo>
                    <a:pt x="508" y="405"/>
                    <a:pt x="506" y="403"/>
                    <a:pt x="504" y="401"/>
                  </a:cubicBezTo>
                  <a:cubicBezTo>
                    <a:pt x="500" y="398"/>
                    <a:pt x="496" y="395"/>
                    <a:pt x="492" y="395"/>
                  </a:cubicBezTo>
                  <a:cubicBezTo>
                    <a:pt x="491" y="395"/>
                    <a:pt x="491" y="395"/>
                    <a:pt x="491" y="395"/>
                  </a:cubicBezTo>
                  <a:cubicBezTo>
                    <a:pt x="487" y="395"/>
                    <a:pt x="481" y="397"/>
                    <a:pt x="476" y="398"/>
                  </a:cubicBezTo>
                  <a:cubicBezTo>
                    <a:pt x="473" y="398"/>
                    <a:pt x="470" y="399"/>
                    <a:pt x="468" y="399"/>
                  </a:cubicBezTo>
                  <a:cubicBezTo>
                    <a:pt x="466" y="400"/>
                    <a:pt x="464" y="400"/>
                    <a:pt x="462" y="400"/>
                  </a:cubicBezTo>
                  <a:cubicBezTo>
                    <a:pt x="451" y="400"/>
                    <a:pt x="447" y="394"/>
                    <a:pt x="441" y="386"/>
                  </a:cubicBezTo>
                  <a:cubicBezTo>
                    <a:pt x="440" y="385"/>
                    <a:pt x="440" y="385"/>
                    <a:pt x="440" y="385"/>
                  </a:cubicBezTo>
                  <a:cubicBezTo>
                    <a:pt x="439" y="383"/>
                    <a:pt x="438" y="382"/>
                    <a:pt x="436" y="380"/>
                  </a:cubicBezTo>
                  <a:cubicBezTo>
                    <a:pt x="434" y="377"/>
                    <a:pt x="432" y="375"/>
                    <a:pt x="430" y="373"/>
                  </a:cubicBezTo>
                  <a:cubicBezTo>
                    <a:pt x="427" y="371"/>
                    <a:pt x="425" y="369"/>
                    <a:pt x="423" y="366"/>
                  </a:cubicBezTo>
                  <a:cubicBezTo>
                    <a:pt x="422" y="365"/>
                    <a:pt x="421" y="364"/>
                    <a:pt x="420" y="363"/>
                  </a:cubicBezTo>
                  <a:cubicBezTo>
                    <a:pt x="415" y="355"/>
                    <a:pt x="411" y="351"/>
                    <a:pt x="410" y="340"/>
                  </a:cubicBezTo>
                  <a:cubicBezTo>
                    <a:pt x="410" y="336"/>
                    <a:pt x="410" y="332"/>
                    <a:pt x="409" y="328"/>
                  </a:cubicBezTo>
                  <a:cubicBezTo>
                    <a:pt x="409" y="327"/>
                    <a:pt x="408" y="325"/>
                    <a:pt x="408" y="324"/>
                  </a:cubicBezTo>
                  <a:cubicBezTo>
                    <a:pt x="401" y="278"/>
                    <a:pt x="395" y="232"/>
                    <a:pt x="390" y="194"/>
                  </a:cubicBezTo>
                  <a:cubicBezTo>
                    <a:pt x="384" y="194"/>
                    <a:pt x="384" y="194"/>
                    <a:pt x="384" y="194"/>
                  </a:cubicBezTo>
                  <a:cubicBezTo>
                    <a:pt x="384" y="194"/>
                    <a:pt x="384" y="194"/>
                    <a:pt x="384" y="194"/>
                  </a:cubicBezTo>
                  <a:cubicBezTo>
                    <a:pt x="384" y="195"/>
                    <a:pt x="384" y="195"/>
                    <a:pt x="384" y="196"/>
                  </a:cubicBezTo>
                  <a:cubicBezTo>
                    <a:pt x="384" y="197"/>
                    <a:pt x="384" y="197"/>
                    <a:pt x="384" y="197"/>
                  </a:cubicBezTo>
                  <a:cubicBezTo>
                    <a:pt x="384" y="198"/>
                    <a:pt x="383" y="200"/>
                    <a:pt x="383" y="201"/>
                  </a:cubicBezTo>
                  <a:cubicBezTo>
                    <a:pt x="382" y="200"/>
                    <a:pt x="382" y="200"/>
                    <a:pt x="381" y="199"/>
                  </a:cubicBezTo>
                  <a:cubicBezTo>
                    <a:pt x="380" y="199"/>
                    <a:pt x="380" y="198"/>
                    <a:pt x="380" y="198"/>
                  </a:cubicBezTo>
                  <a:cubicBezTo>
                    <a:pt x="377" y="196"/>
                    <a:pt x="374" y="195"/>
                    <a:pt x="371" y="195"/>
                  </a:cubicBezTo>
                  <a:cubicBezTo>
                    <a:pt x="369" y="195"/>
                    <a:pt x="368" y="195"/>
                    <a:pt x="366" y="196"/>
                  </a:cubicBezTo>
                  <a:cubicBezTo>
                    <a:pt x="366" y="195"/>
                    <a:pt x="366" y="195"/>
                    <a:pt x="366" y="195"/>
                  </a:cubicBezTo>
                  <a:cubicBezTo>
                    <a:pt x="367" y="192"/>
                    <a:pt x="367" y="189"/>
                    <a:pt x="364" y="185"/>
                  </a:cubicBezTo>
                  <a:cubicBezTo>
                    <a:pt x="362" y="181"/>
                    <a:pt x="358" y="178"/>
                    <a:pt x="354" y="176"/>
                  </a:cubicBezTo>
                  <a:cubicBezTo>
                    <a:pt x="350" y="173"/>
                    <a:pt x="345" y="170"/>
                    <a:pt x="341" y="168"/>
                  </a:cubicBezTo>
                  <a:cubicBezTo>
                    <a:pt x="340" y="167"/>
                    <a:pt x="340" y="167"/>
                    <a:pt x="340" y="167"/>
                  </a:cubicBezTo>
                  <a:cubicBezTo>
                    <a:pt x="339" y="167"/>
                    <a:pt x="338" y="166"/>
                    <a:pt x="337" y="166"/>
                  </a:cubicBezTo>
                  <a:cubicBezTo>
                    <a:pt x="337" y="166"/>
                    <a:pt x="336" y="166"/>
                    <a:pt x="336" y="166"/>
                  </a:cubicBezTo>
                  <a:cubicBezTo>
                    <a:pt x="336" y="166"/>
                    <a:pt x="337" y="165"/>
                    <a:pt x="337" y="165"/>
                  </a:cubicBezTo>
                  <a:cubicBezTo>
                    <a:pt x="339" y="158"/>
                    <a:pt x="332" y="153"/>
                    <a:pt x="327" y="149"/>
                  </a:cubicBezTo>
                  <a:cubicBezTo>
                    <a:pt x="326" y="148"/>
                    <a:pt x="325" y="148"/>
                    <a:pt x="325" y="147"/>
                  </a:cubicBezTo>
                  <a:cubicBezTo>
                    <a:pt x="324" y="146"/>
                    <a:pt x="322" y="145"/>
                    <a:pt x="321" y="144"/>
                  </a:cubicBezTo>
                  <a:cubicBezTo>
                    <a:pt x="320" y="144"/>
                    <a:pt x="320" y="144"/>
                    <a:pt x="320" y="144"/>
                  </a:cubicBezTo>
                  <a:cubicBezTo>
                    <a:pt x="320" y="143"/>
                    <a:pt x="319" y="143"/>
                    <a:pt x="318" y="142"/>
                  </a:cubicBezTo>
                  <a:cubicBezTo>
                    <a:pt x="318" y="142"/>
                    <a:pt x="317" y="142"/>
                    <a:pt x="317" y="141"/>
                  </a:cubicBezTo>
                  <a:cubicBezTo>
                    <a:pt x="317" y="141"/>
                    <a:pt x="317" y="140"/>
                    <a:pt x="316" y="140"/>
                  </a:cubicBezTo>
                  <a:cubicBezTo>
                    <a:pt x="316" y="138"/>
                    <a:pt x="316" y="138"/>
                    <a:pt x="316" y="138"/>
                  </a:cubicBezTo>
                  <a:cubicBezTo>
                    <a:pt x="316" y="136"/>
                    <a:pt x="316" y="135"/>
                    <a:pt x="316" y="133"/>
                  </a:cubicBezTo>
                  <a:cubicBezTo>
                    <a:pt x="316" y="133"/>
                    <a:pt x="316" y="133"/>
                    <a:pt x="316" y="132"/>
                  </a:cubicBezTo>
                  <a:cubicBezTo>
                    <a:pt x="316" y="131"/>
                    <a:pt x="317" y="131"/>
                    <a:pt x="317" y="130"/>
                  </a:cubicBezTo>
                  <a:cubicBezTo>
                    <a:pt x="318" y="127"/>
                    <a:pt x="318" y="123"/>
                    <a:pt x="317" y="120"/>
                  </a:cubicBezTo>
                  <a:cubicBezTo>
                    <a:pt x="317" y="120"/>
                    <a:pt x="316" y="119"/>
                    <a:pt x="316" y="119"/>
                  </a:cubicBezTo>
                  <a:cubicBezTo>
                    <a:pt x="316" y="118"/>
                    <a:pt x="316" y="118"/>
                    <a:pt x="316" y="118"/>
                  </a:cubicBezTo>
                  <a:cubicBezTo>
                    <a:pt x="315" y="117"/>
                    <a:pt x="315" y="116"/>
                    <a:pt x="315" y="115"/>
                  </a:cubicBezTo>
                  <a:cubicBezTo>
                    <a:pt x="315" y="115"/>
                    <a:pt x="315" y="115"/>
                    <a:pt x="315" y="115"/>
                  </a:cubicBezTo>
                  <a:cubicBezTo>
                    <a:pt x="315" y="113"/>
                    <a:pt x="315" y="111"/>
                    <a:pt x="315" y="109"/>
                  </a:cubicBezTo>
                  <a:cubicBezTo>
                    <a:pt x="315" y="108"/>
                    <a:pt x="315" y="106"/>
                    <a:pt x="315" y="104"/>
                  </a:cubicBezTo>
                  <a:cubicBezTo>
                    <a:pt x="315" y="102"/>
                    <a:pt x="315" y="100"/>
                    <a:pt x="314" y="98"/>
                  </a:cubicBezTo>
                  <a:cubicBezTo>
                    <a:pt x="313" y="96"/>
                    <a:pt x="311" y="95"/>
                    <a:pt x="310" y="95"/>
                  </a:cubicBezTo>
                  <a:cubicBezTo>
                    <a:pt x="309" y="95"/>
                    <a:pt x="309" y="95"/>
                    <a:pt x="309" y="95"/>
                  </a:cubicBezTo>
                  <a:cubicBezTo>
                    <a:pt x="307" y="94"/>
                    <a:pt x="307" y="89"/>
                    <a:pt x="307" y="87"/>
                  </a:cubicBezTo>
                  <a:cubicBezTo>
                    <a:pt x="307" y="85"/>
                    <a:pt x="307" y="84"/>
                    <a:pt x="307" y="84"/>
                  </a:cubicBezTo>
                  <a:cubicBezTo>
                    <a:pt x="307" y="82"/>
                    <a:pt x="308" y="79"/>
                    <a:pt x="308" y="77"/>
                  </a:cubicBezTo>
                  <a:cubicBezTo>
                    <a:pt x="309" y="76"/>
                    <a:pt x="309" y="74"/>
                    <a:pt x="309" y="73"/>
                  </a:cubicBezTo>
                  <a:cubicBezTo>
                    <a:pt x="310" y="70"/>
                    <a:pt x="309" y="68"/>
                    <a:pt x="309" y="67"/>
                  </a:cubicBezTo>
                  <a:cubicBezTo>
                    <a:pt x="308" y="66"/>
                    <a:pt x="308" y="65"/>
                    <a:pt x="308" y="64"/>
                  </a:cubicBezTo>
                  <a:cubicBezTo>
                    <a:pt x="308" y="64"/>
                    <a:pt x="308" y="64"/>
                    <a:pt x="308" y="64"/>
                  </a:cubicBezTo>
                  <a:cubicBezTo>
                    <a:pt x="308" y="62"/>
                    <a:pt x="307" y="59"/>
                    <a:pt x="305" y="57"/>
                  </a:cubicBezTo>
                  <a:cubicBezTo>
                    <a:pt x="302" y="55"/>
                    <a:pt x="299" y="54"/>
                    <a:pt x="296" y="54"/>
                  </a:cubicBezTo>
                  <a:cubicBezTo>
                    <a:pt x="295" y="54"/>
                    <a:pt x="294" y="54"/>
                    <a:pt x="292" y="55"/>
                  </a:cubicBezTo>
                  <a:cubicBezTo>
                    <a:pt x="292" y="55"/>
                    <a:pt x="291" y="55"/>
                    <a:pt x="291" y="55"/>
                  </a:cubicBezTo>
                  <a:cubicBezTo>
                    <a:pt x="289" y="55"/>
                    <a:pt x="288" y="55"/>
                    <a:pt x="287" y="54"/>
                  </a:cubicBezTo>
                  <a:cubicBezTo>
                    <a:pt x="286" y="54"/>
                    <a:pt x="286" y="54"/>
                    <a:pt x="285" y="54"/>
                  </a:cubicBezTo>
                  <a:cubicBezTo>
                    <a:pt x="284" y="54"/>
                    <a:pt x="283" y="54"/>
                    <a:pt x="282" y="54"/>
                  </a:cubicBezTo>
                  <a:cubicBezTo>
                    <a:pt x="281" y="54"/>
                    <a:pt x="280" y="54"/>
                    <a:pt x="279" y="54"/>
                  </a:cubicBezTo>
                  <a:cubicBezTo>
                    <a:pt x="278" y="54"/>
                    <a:pt x="276" y="54"/>
                    <a:pt x="276" y="54"/>
                  </a:cubicBezTo>
                  <a:cubicBezTo>
                    <a:pt x="275" y="54"/>
                    <a:pt x="275" y="54"/>
                    <a:pt x="275" y="53"/>
                  </a:cubicBezTo>
                  <a:cubicBezTo>
                    <a:pt x="274" y="53"/>
                    <a:pt x="273" y="52"/>
                    <a:pt x="272" y="52"/>
                  </a:cubicBezTo>
                  <a:cubicBezTo>
                    <a:pt x="271" y="51"/>
                    <a:pt x="270" y="51"/>
                    <a:pt x="269" y="51"/>
                  </a:cubicBezTo>
                  <a:cubicBezTo>
                    <a:pt x="267" y="51"/>
                    <a:pt x="266" y="51"/>
                    <a:pt x="265" y="52"/>
                  </a:cubicBezTo>
                  <a:cubicBezTo>
                    <a:pt x="262" y="52"/>
                    <a:pt x="259" y="53"/>
                    <a:pt x="256" y="54"/>
                  </a:cubicBezTo>
                  <a:cubicBezTo>
                    <a:pt x="254" y="55"/>
                    <a:pt x="252" y="55"/>
                    <a:pt x="250" y="56"/>
                  </a:cubicBezTo>
                  <a:cubicBezTo>
                    <a:pt x="249" y="56"/>
                    <a:pt x="247" y="56"/>
                    <a:pt x="246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245" y="55"/>
                    <a:pt x="244" y="54"/>
                    <a:pt x="243" y="53"/>
                  </a:cubicBezTo>
                  <a:cubicBezTo>
                    <a:pt x="242" y="53"/>
                    <a:pt x="241" y="52"/>
                    <a:pt x="239" y="52"/>
                  </a:cubicBezTo>
                  <a:cubicBezTo>
                    <a:pt x="239" y="51"/>
                    <a:pt x="239" y="51"/>
                    <a:pt x="238" y="51"/>
                  </a:cubicBezTo>
                  <a:cubicBezTo>
                    <a:pt x="238" y="51"/>
                    <a:pt x="238" y="51"/>
                    <a:pt x="237" y="51"/>
                  </a:cubicBezTo>
                  <a:cubicBezTo>
                    <a:pt x="237" y="51"/>
                    <a:pt x="237" y="51"/>
                    <a:pt x="237" y="51"/>
                  </a:cubicBezTo>
                  <a:cubicBezTo>
                    <a:pt x="237" y="50"/>
                    <a:pt x="237" y="48"/>
                    <a:pt x="235" y="46"/>
                  </a:cubicBezTo>
                  <a:cubicBezTo>
                    <a:pt x="233" y="45"/>
                    <a:pt x="230" y="43"/>
                    <a:pt x="227" y="42"/>
                  </a:cubicBezTo>
                  <a:cubicBezTo>
                    <a:pt x="227" y="42"/>
                    <a:pt x="226" y="42"/>
                    <a:pt x="226" y="42"/>
                  </a:cubicBezTo>
                  <a:cubicBezTo>
                    <a:pt x="225" y="41"/>
                    <a:pt x="225" y="41"/>
                    <a:pt x="224" y="41"/>
                  </a:cubicBezTo>
                  <a:cubicBezTo>
                    <a:pt x="224" y="41"/>
                    <a:pt x="224" y="41"/>
                    <a:pt x="224" y="41"/>
                  </a:cubicBezTo>
                  <a:cubicBezTo>
                    <a:pt x="223" y="40"/>
                    <a:pt x="222" y="39"/>
                    <a:pt x="221" y="39"/>
                  </a:cubicBezTo>
                  <a:cubicBezTo>
                    <a:pt x="217" y="38"/>
                    <a:pt x="213" y="37"/>
                    <a:pt x="209" y="36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7" y="35"/>
                    <a:pt x="207" y="35"/>
                    <a:pt x="207" y="35"/>
                  </a:cubicBezTo>
                  <a:cubicBezTo>
                    <a:pt x="205" y="34"/>
                    <a:pt x="204" y="33"/>
                    <a:pt x="201" y="32"/>
                  </a:cubicBezTo>
                  <a:cubicBezTo>
                    <a:pt x="200" y="31"/>
                    <a:pt x="199" y="31"/>
                    <a:pt x="198" y="31"/>
                  </a:cubicBezTo>
                  <a:cubicBezTo>
                    <a:pt x="197" y="31"/>
                    <a:pt x="196" y="31"/>
                    <a:pt x="196" y="31"/>
                  </a:cubicBezTo>
                  <a:cubicBezTo>
                    <a:pt x="195" y="31"/>
                    <a:pt x="194" y="31"/>
                    <a:pt x="193" y="30"/>
                  </a:cubicBezTo>
                  <a:cubicBezTo>
                    <a:pt x="192" y="30"/>
                    <a:pt x="192" y="29"/>
                    <a:pt x="191" y="29"/>
                  </a:cubicBezTo>
                  <a:cubicBezTo>
                    <a:pt x="190" y="29"/>
                    <a:pt x="190" y="29"/>
                    <a:pt x="190" y="29"/>
                  </a:cubicBezTo>
                  <a:cubicBezTo>
                    <a:pt x="190" y="28"/>
                    <a:pt x="187" y="27"/>
                    <a:pt x="187" y="26"/>
                  </a:cubicBezTo>
                  <a:cubicBezTo>
                    <a:pt x="186" y="24"/>
                    <a:pt x="185" y="22"/>
                    <a:pt x="184" y="19"/>
                  </a:cubicBezTo>
                  <a:cubicBezTo>
                    <a:pt x="182" y="17"/>
                    <a:pt x="180" y="15"/>
                    <a:pt x="177" y="13"/>
                  </a:cubicBezTo>
                  <a:cubicBezTo>
                    <a:pt x="177" y="13"/>
                    <a:pt x="176" y="12"/>
                    <a:pt x="175" y="12"/>
                  </a:cubicBezTo>
                  <a:cubicBezTo>
                    <a:pt x="174" y="12"/>
                    <a:pt x="173" y="11"/>
                    <a:pt x="172" y="11"/>
                  </a:cubicBezTo>
                  <a:cubicBezTo>
                    <a:pt x="172" y="10"/>
                    <a:pt x="171" y="9"/>
                    <a:pt x="170" y="8"/>
                  </a:cubicBezTo>
                  <a:cubicBezTo>
                    <a:pt x="169" y="7"/>
                    <a:pt x="167" y="6"/>
                    <a:pt x="166" y="5"/>
                  </a:cubicBezTo>
                  <a:cubicBezTo>
                    <a:pt x="165" y="4"/>
                    <a:pt x="163" y="2"/>
                    <a:pt x="161" y="1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37" y="23"/>
                    <a:pt x="37" y="133"/>
                    <a:pt x="12" y="151"/>
                  </a:cubicBezTo>
                  <a:cubicBezTo>
                    <a:pt x="11" y="152"/>
                    <a:pt x="11" y="152"/>
                    <a:pt x="11" y="15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3" y="289"/>
                    <a:pt x="3" y="289"/>
                    <a:pt x="3" y="289"/>
                  </a:cubicBezTo>
                  <a:cubicBezTo>
                    <a:pt x="4" y="289"/>
                    <a:pt x="4" y="289"/>
                    <a:pt x="5" y="289"/>
                  </a:cubicBezTo>
                  <a:cubicBezTo>
                    <a:pt x="5" y="289"/>
                    <a:pt x="6" y="289"/>
                    <a:pt x="6" y="292"/>
                  </a:cubicBezTo>
                  <a:cubicBezTo>
                    <a:pt x="6" y="292"/>
                    <a:pt x="6" y="293"/>
                    <a:pt x="6" y="293"/>
                  </a:cubicBezTo>
                  <a:cubicBezTo>
                    <a:pt x="6" y="295"/>
                    <a:pt x="6" y="296"/>
                    <a:pt x="6" y="297"/>
                  </a:cubicBezTo>
                  <a:cubicBezTo>
                    <a:pt x="7" y="298"/>
                    <a:pt x="7" y="300"/>
                    <a:pt x="7" y="301"/>
                  </a:cubicBezTo>
                  <a:cubicBezTo>
                    <a:pt x="7" y="307"/>
                    <a:pt x="7" y="315"/>
                    <a:pt x="15" y="319"/>
                  </a:cubicBezTo>
                  <a:cubicBezTo>
                    <a:pt x="22" y="322"/>
                    <a:pt x="30" y="324"/>
                    <a:pt x="38" y="324"/>
                  </a:cubicBezTo>
                  <a:cubicBezTo>
                    <a:pt x="38" y="324"/>
                    <a:pt x="39" y="324"/>
                    <a:pt x="40" y="324"/>
                  </a:cubicBezTo>
                  <a:cubicBezTo>
                    <a:pt x="42" y="324"/>
                    <a:pt x="45" y="323"/>
                    <a:pt x="47" y="322"/>
                  </a:cubicBezTo>
                  <a:cubicBezTo>
                    <a:pt x="49" y="321"/>
                    <a:pt x="50" y="320"/>
                    <a:pt x="52" y="320"/>
                  </a:cubicBezTo>
                  <a:cubicBezTo>
                    <a:pt x="53" y="320"/>
                    <a:pt x="54" y="320"/>
                    <a:pt x="54" y="321"/>
                  </a:cubicBezTo>
                  <a:cubicBezTo>
                    <a:pt x="57" y="322"/>
                    <a:pt x="62" y="327"/>
                    <a:pt x="64" y="331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4" y="333"/>
                    <a:pt x="65" y="335"/>
                    <a:pt x="69" y="337"/>
                  </a:cubicBezTo>
                  <a:cubicBezTo>
                    <a:pt x="69" y="337"/>
                    <a:pt x="70" y="337"/>
                    <a:pt x="70" y="337"/>
                  </a:cubicBezTo>
                  <a:cubicBezTo>
                    <a:pt x="72" y="337"/>
                    <a:pt x="73" y="337"/>
                    <a:pt x="74" y="336"/>
                  </a:cubicBezTo>
                  <a:cubicBezTo>
                    <a:pt x="75" y="336"/>
                    <a:pt x="76" y="335"/>
                    <a:pt x="77" y="335"/>
                  </a:cubicBezTo>
                  <a:cubicBezTo>
                    <a:pt x="78" y="336"/>
                    <a:pt x="80" y="337"/>
                    <a:pt x="82" y="340"/>
                  </a:cubicBezTo>
                  <a:cubicBezTo>
                    <a:pt x="83" y="342"/>
                    <a:pt x="85" y="344"/>
                    <a:pt x="87" y="346"/>
                  </a:cubicBezTo>
                  <a:cubicBezTo>
                    <a:pt x="89" y="347"/>
                    <a:pt x="91" y="348"/>
                    <a:pt x="93" y="348"/>
                  </a:cubicBezTo>
                  <a:cubicBezTo>
                    <a:pt x="98" y="348"/>
                    <a:pt x="101" y="345"/>
                    <a:pt x="104" y="343"/>
                  </a:cubicBezTo>
                  <a:cubicBezTo>
                    <a:pt x="107" y="342"/>
                    <a:pt x="108" y="341"/>
                    <a:pt x="110" y="341"/>
                  </a:cubicBezTo>
                  <a:cubicBezTo>
                    <a:pt x="111" y="341"/>
                    <a:pt x="113" y="342"/>
                    <a:pt x="115" y="342"/>
                  </a:cubicBezTo>
                  <a:cubicBezTo>
                    <a:pt x="116" y="343"/>
                    <a:pt x="118" y="344"/>
                    <a:pt x="121" y="345"/>
                  </a:cubicBezTo>
                  <a:cubicBezTo>
                    <a:pt x="127" y="348"/>
                    <a:pt x="136" y="352"/>
                    <a:pt x="142" y="352"/>
                  </a:cubicBezTo>
                  <a:cubicBezTo>
                    <a:pt x="148" y="352"/>
                    <a:pt x="150" y="349"/>
                    <a:pt x="152" y="347"/>
                  </a:cubicBezTo>
                  <a:cubicBezTo>
                    <a:pt x="153" y="345"/>
                    <a:pt x="154" y="342"/>
                    <a:pt x="154" y="339"/>
                  </a:cubicBezTo>
                  <a:cubicBezTo>
                    <a:pt x="155" y="336"/>
                    <a:pt x="155" y="334"/>
                    <a:pt x="157" y="333"/>
                  </a:cubicBezTo>
                  <a:cubicBezTo>
                    <a:pt x="158" y="333"/>
                    <a:pt x="159" y="332"/>
                    <a:pt x="160" y="332"/>
                  </a:cubicBezTo>
                  <a:cubicBezTo>
                    <a:pt x="161" y="331"/>
                    <a:pt x="163" y="330"/>
                    <a:pt x="165" y="329"/>
                  </a:cubicBezTo>
                  <a:cubicBezTo>
                    <a:pt x="166" y="328"/>
                    <a:pt x="166" y="328"/>
                    <a:pt x="166" y="328"/>
                  </a:cubicBezTo>
                  <a:cubicBezTo>
                    <a:pt x="168" y="326"/>
                    <a:pt x="170" y="324"/>
                    <a:pt x="172" y="322"/>
                  </a:cubicBezTo>
                  <a:cubicBezTo>
                    <a:pt x="173" y="321"/>
                    <a:pt x="173" y="319"/>
                    <a:pt x="174" y="318"/>
                  </a:cubicBezTo>
                  <a:cubicBezTo>
                    <a:pt x="177" y="313"/>
                    <a:pt x="179" y="310"/>
                    <a:pt x="182" y="310"/>
                  </a:cubicBezTo>
                  <a:cubicBezTo>
                    <a:pt x="183" y="310"/>
                    <a:pt x="184" y="311"/>
                    <a:pt x="186" y="311"/>
                  </a:cubicBezTo>
                  <a:cubicBezTo>
                    <a:pt x="187" y="312"/>
                    <a:pt x="188" y="313"/>
                    <a:pt x="189" y="313"/>
                  </a:cubicBezTo>
                  <a:cubicBezTo>
                    <a:pt x="193" y="314"/>
                    <a:pt x="197" y="315"/>
                    <a:pt x="201" y="316"/>
                  </a:cubicBezTo>
                  <a:cubicBezTo>
                    <a:pt x="202" y="316"/>
                    <a:pt x="202" y="316"/>
                    <a:pt x="202" y="316"/>
                  </a:cubicBezTo>
                  <a:cubicBezTo>
                    <a:pt x="204" y="316"/>
                    <a:pt x="206" y="316"/>
                    <a:pt x="208" y="316"/>
                  </a:cubicBezTo>
                  <a:cubicBezTo>
                    <a:pt x="209" y="316"/>
                    <a:pt x="210" y="316"/>
                    <a:pt x="212" y="316"/>
                  </a:cubicBezTo>
                  <a:cubicBezTo>
                    <a:pt x="213" y="316"/>
                    <a:pt x="214" y="316"/>
                    <a:pt x="215" y="316"/>
                  </a:cubicBezTo>
                  <a:cubicBezTo>
                    <a:pt x="216" y="316"/>
                    <a:pt x="218" y="316"/>
                    <a:pt x="219" y="316"/>
                  </a:cubicBezTo>
                  <a:cubicBezTo>
                    <a:pt x="223" y="317"/>
                    <a:pt x="224" y="319"/>
                    <a:pt x="227" y="325"/>
                  </a:cubicBezTo>
                  <a:cubicBezTo>
                    <a:pt x="227" y="325"/>
                    <a:pt x="227" y="325"/>
                    <a:pt x="227" y="325"/>
                  </a:cubicBezTo>
                  <a:cubicBezTo>
                    <a:pt x="227" y="326"/>
                    <a:pt x="227" y="327"/>
                    <a:pt x="227" y="328"/>
                  </a:cubicBezTo>
                  <a:cubicBezTo>
                    <a:pt x="228" y="329"/>
                    <a:pt x="228" y="330"/>
                    <a:pt x="228" y="332"/>
                  </a:cubicBezTo>
                  <a:cubicBezTo>
                    <a:pt x="229" y="333"/>
                    <a:pt x="230" y="334"/>
                    <a:pt x="231" y="336"/>
                  </a:cubicBezTo>
                  <a:cubicBezTo>
                    <a:pt x="231" y="336"/>
                    <a:pt x="232" y="337"/>
                    <a:pt x="232" y="337"/>
                  </a:cubicBezTo>
                  <a:cubicBezTo>
                    <a:pt x="235" y="341"/>
                    <a:pt x="238" y="346"/>
                    <a:pt x="243" y="348"/>
                  </a:cubicBezTo>
                  <a:cubicBezTo>
                    <a:pt x="245" y="349"/>
                    <a:pt x="247" y="349"/>
                    <a:pt x="250" y="349"/>
                  </a:cubicBezTo>
                  <a:cubicBezTo>
                    <a:pt x="252" y="349"/>
                    <a:pt x="254" y="349"/>
                    <a:pt x="257" y="348"/>
                  </a:cubicBezTo>
                  <a:cubicBezTo>
                    <a:pt x="258" y="348"/>
                    <a:pt x="258" y="348"/>
                    <a:pt x="259" y="347"/>
                  </a:cubicBezTo>
                  <a:cubicBezTo>
                    <a:pt x="261" y="346"/>
                    <a:pt x="264" y="345"/>
                    <a:pt x="265" y="345"/>
                  </a:cubicBezTo>
                  <a:cubicBezTo>
                    <a:pt x="265" y="345"/>
                    <a:pt x="266" y="345"/>
                    <a:pt x="266" y="346"/>
                  </a:cubicBezTo>
                  <a:cubicBezTo>
                    <a:pt x="266" y="346"/>
                    <a:pt x="266" y="346"/>
                    <a:pt x="266" y="346"/>
                  </a:cubicBezTo>
                  <a:cubicBezTo>
                    <a:pt x="265" y="347"/>
                    <a:pt x="265" y="347"/>
                    <a:pt x="265" y="348"/>
                  </a:cubicBezTo>
                  <a:cubicBezTo>
                    <a:pt x="263" y="353"/>
                    <a:pt x="264" y="358"/>
                    <a:pt x="266" y="363"/>
                  </a:cubicBezTo>
                  <a:cubicBezTo>
                    <a:pt x="267" y="366"/>
                    <a:pt x="270" y="367"/>
                    <a:pt x="272" y="368"/>
                  </a:cubicBezTo>
                  <a:cubicBezTo>
                    <a:pt x="274" y="369"/>
                    <a:pt x="275" y="369"/>
                    <a:pt x="275" y="370"/>
                  </a:cubicBezTo>
                  <a:cubicBezTo>
                    <a:pt x="275" y="371"/>
                    <a:pt x="275" y="371"/>
                    <a:pt x="274" y="373"/>
                  </a:cubicBezTo>
                  <a:cubicBezTo>
                    <a:pt x="272" y="375"/>
                    <a:pt x="270" y="378"/>
                    <a:pt x="272" y="382"/>
                  </a:cubicBezTo>
                  <a:cubicBezTo>
                    <a:pt x="273" y="386"/>
                    <a:pt x="277" y="386"/>
                    <a:pt x="279" y="387"/>
                  </a:cubicBezTo>
                  <a:cubicBezTo>
                    <a:pt x="280" y="387"/>
                    <a:pt x="282" y="387"/>
                    <a:pt x="282" y="387"/>
                  </a:cubicBezTo>
                  <a:cubicBezTo>
                    <a:pt x="282" y="387"/>
                    <a:pt x="282" y="388"/>
                    <a:pt x="282" y="389"/>
                  </a:cubicBezTo>
                  <a:cubicBezTo>
                    <a:pt x="282" y="390"/>
                    <a:pt x="281" y="391"/>
                    <a:pt x="281" y="392"/>
                  </a:cubicBezTo>
                  <a:cubicBezTo>
                    <a:pt x="282" y="398"/>
                    <a:pt x="285" y="403"/>
                    <a:pt x="292" y="406"/>
                  </a:cubicBezTo>
                  <a:cubicBezTo>
                    <a:pt x="302" y="410"/>
                    <a:pt x="312" y="411"/>
                    <a:pt x="322" y="413"/>
                  </a:cubicBezTo>
                  <a:cubicBezTo>
                    <a:pt x="325" y="413"/>
                    <a:pt x="325" y="413"/>
                    <a:pt x="325" y="413"/>
                  </a:cubicBezTo>
                  <a:cubicBezTo>
                    <a:pt x="325" y="413"/>
                    <a:pt x="326" y="413"/>
                    <a:pt x="327" y="413"/>
                  </a:cubicBezTo>
                  <a:cubicBezTo>
                    <a:pt x="331" y="413"/>
                    <a:pt x="335" y="412"/>
                    <a:pt x="339" y="411"/>
                  </a:cubicBezTo>
                  <a:cubicBezTo>
                    <a:pt x="342" y="409"/>
                    <a:pt x="345" y="408"/>
                    <a:pt x="348" y="408"/>
                  </a:cubicBezTo>
                  <a:cubicBezTo>
                    <a:pt x="349" y="408"/>
                    <a:pt x="349" y="408"/>
                    <a:pt x="350" y="408"/>
                  </a:cubicBezTo>
                  <a:cubicBezTo>
                    <a:pt x="355" y="409"/>
                    <a:pt x="361" y="411"/>
                    <a:pt x="366" y="413"/>
                  </a:cubicBezTo>
                  <a:cubicBezTo>
                    <a:pt x="372" y="416"/>
                    <a:pt x="378" y="418"/>
                    <a:pt x="385" y="418"/>
                  </a:cubicBezTo>
                  <a:cubicBezTo>
                    <a:pt x="385" y="418"/>
                    <a:pt x="386" y="418"/>
                    <a:pt x="387" y="418"/>
                  </a:cubicBezTo>
                  <a:cubicBezTo>
                    <a:pt x="388" y="418"/>
                    <a:pt x="389" y="417"/>
                    <a:pt x="390" y="417"/>
                  </a:cubicBezTo>
                  <a:cubicBezTo>
                    <a:pt x="391" y="417"/>
                    <a:pt x="391" y="417"/>
                    <a:pt x="391" y="417"/>
                  </a:cubicBezTo>
                  <a:cubicBezTo>
                    <a:pt x="391" y="417"/>
                    <a:pt x="391" y="417"/>
                    <a:pt x="392" y="417"/>
                  </a:cubicBezTo>
                  <a:cubicBezTo>
                    <a:pt x="392" y="418"/>
                    <a:pt x="393" y="419"/>
                    <a:pt x="393" y="421"/>
                  </a:cubicBezTo>
                  <a:cubicBezTo>
                    <a:pt x="393" y="422"/>
                    <a:pt x="393" y="425"/>
                    <a:pt x="394" y="426"/>
                  </a:cubicBezTo>
                  <a:cubicBezTo>
                    <a:pt x="396" y="428"/>
                    <a:pt x="399" y="433"/>
                    <a:pt x="403" y="435"/>
                  </a:cubicBezTo>
                  <a:cubicBezTo>
                    <a:pt x="405" y="436"/>
                    <a:pt x="406" y="437"/>
                    <a:pt x="408" y="437"/>
                  </a:cubicBezTo>
                  <a:cubicBezTo>
                    <a:pt x="410" y="437"/>
                    <a:pt x="411" y="438"/>
                    <a:pt x="412" y="439"/>
                  </a:cubicBezTo>
                  <a:cubicBezTo>
                    <a:pt x="414" y="441"/>
                    <a:pt x="416" y="445"/>
                    <a:pt x="415" y="448"/>
                  </a:cubicBezTo>
                  <a:cubicBezTo>
                    <a:pt x="415" y="448"/>
                    <a:pt x="415" y="448"/>
                    <a:pt x="415" y="448"/>
                  </a:cubicBezTo>
                  <a:cubicBezTo>
                    <a:pt x="414" y="448"/>
                    <a:pt x="411" y="449"/>
                    <a:pt x="410" y="452"/>
                  </a:cubicBezTo>
                  <a:cubicBezTo>
                    <a:pt x="409" y="455"/>
                    <a:pt x="411" y="457"/>
                    <a:pt x="413" y="458"/>
                  </a:cubicBezTo>
                  <a:cubicBezTo>
                    <a:pt x="413" y="458"/>
                    <a:pt x="413" y="459"/>
                    <a:pt x="413" y="459"/>
                  </a:cubicBezTo>
                  <a:cubicBezTo>
                    <a:pt x="413" y="459"/>
                    <a:pt x="414" y="460"/>
                    <a:pt x="414" y="460"/>
                  </a:cubicBezTo>
                  <a:cubicBezTo>
                    <a:pt x="414" y="460"/>
                    <a:pt x="414" y="461"/>
                    <a:pt x="414" y="461"/>
                  </a:cubicBezTo>
                  <a:cubicBezTo>
                    <a:pt x="414" y="461"/>
                    <a:pt x="414" y="461"/>
                    <a:pt x="414" y="462"/>
                  </a:cubicBezTo>
                  <a:cubicBezTo>
                    <a:pt x="414" y="464"/>
                    <a:pt x="414" y="464"/>
                    <a:pt x="413" y="464"/>
                  </a:cubicBezTo>
                  <a:cubicBezTo>
                    <a:pt x="412" y="464"/>
                    <a:pt x="409" y="462"/>
                    <a:pt x="407" y="461"/>
                  </a:cubicBezTo>
                  <a:cubicBezTo>
                    <a:pt x="404" y="460"/>
                    <a:pt x="401" y="458"/>
                    <a:pt x="398" y="458"/>
                  </a:cubicBezTo>
                  <a:cubicBezTo>
                    <a:pt x="396" y="458"/>
                    <a:pt x="396" y="458"/>
                    <a:pt x="396" y="458"/>
                  </a:cubicBezTo>
                  <a:cubicBezTo>
                    <a:pt x="394" y="458"/>
                    <a:pt x="393" y="458"/>
                    <a:pt x="393" y="457"/>
                  </a:cubicBezTo>
                  <a:cubicBezTo>
                    <a:pt x="392" y="456"/>
                    <a:pt x="391" y="455"/>
                    <a:pt x="391" y="454"/>
                  </a:cubicBezTo>
                  <a:cubicBezTo>
                    <a:pt x="390" y="452"/>
                    <a:pt x="388" y="450"/>
                    <a:pt x="386" y="448"/>
                  </a:cubicBezTo>
                  <a:cubicBezTo>
                    <a:pt x="385" y="448"/>
                    <a:pt x="385" y="447"/>
                    <a:pt x="384" y="447"/>
                  </a:cubicBezTo>
                  <a:cubicBezTo>
                    <a:pt x="383" y="446"/>
                    <a:pt x="383" y="446"/>
                    <a:pt x="383" y="445"/>
                  </a:cubicBezTo>
                  <a:cubicBezTo>
                    <a:pt x="382" y="445"/>
                    <a:pt x="382" y="445"/>
                    <a:pt x="382" y="444"/>
                  </a:cubicBezTo>
                  <a:cubicBezTo>
                    <a:pt x="382" y="443"/>
                    <a:pt x="382" y="442"/>
                    <a:pt x="381" y="440"/>
                  </a:cubicBezTo>
                  <a:cubicBezTo>
                    <a:pt x="380" y="438"/>
                    <a:pt x="377" y="437"/>
                    <a:pt x="374" y="437"/>
                  </a:cubicBezTo>
                  <a:cubicBezTo>
                    <a:pt x="371" y="437"/>
                    <a:pt x="367" y="438"/>
                    <a:pt x="365" y="441"/>
                  </a:cubicBezTo>
                  <a:cubicBezTo>
                    <a:pt x="364" y="443"/>
                    <a:pt x="364" y="445"/>
                    <a:pt x="364" y="447"/>
                  </a:cubicBezTo>
                  <a:cubicBezTo>
                    <a:pt x="365" y="450"/>
                    <a:pt x="368" y="451"/>
                    <a:pt x="370" y="452"/>
                  </a:cubicBezTo>
                  <a:cubicBezTo>
                    <a:pt x="371" y="453"/>
                    <a:pt x="372" y="454"/>
                    <a:pt x="372" y="454"/>
                  </a:cubicBezTo>
                  <a:cubicBezTo>
                    <a:pt x="375" y="457"/>
                    <a:pt x="380" y="464"/>
                    <a:pt x="376" y="468"/>
                  </a:cubicBezTo>
                  <a:cubicBezTo>
                    <a:pt x="376" y="469"/>
                    <a:pt x="375" y="470"/>
                    <a:pt x="374" y="471"/>
                  </a:cubicBezTo>
                  <a:cubicBezTo>
                    <a:pt x="371" y="473"/>
                    <a:pt x="368" y="475"/>
                    <a:pt x="368" y="479"/>
                  </a:cubicBezTo>
                  <a:cubicBezTo>
                    <a:pt x="367" y="481"/>
                    <a:pt x="368" y="483"/>
                    <a:pt x="368" y="485"/>
                  </a:cubicBezTo>
                  <a:cubicBezTo>
                    <a:pt x="368" y="485"/>
                    <a:pt x="369" y="486"/>
                    <a:pt x="369" y="486"/>
                  </a:cubicBezTo>
                  <a:cubicBezTo>
                    <a:pt x="369" y="488"/>
                    <a:pt x="369" y="490"/>
                    <a:pt x="370" y="491"/>
                  </a:cubicBezTo>
                  <a:cubicBezTo>
                    <a:pt x="370" y="492"/>
                    <a:pt x="370" y="494"/>
                    <a:pt x="370" y="495"/>
                  </a:cubicBezTo>
                  <a:cubicBezTo>
                    <a:pt x="371" y="498"/>
                    <a:pt x="371" y="502"/>
                    <a:pt x="371" y="506"/>
                  </a:cubicBezTo>
                  <a:cubicBezTo>
                    <a:pt x="371" y="508"/>
                    <a:pt x="371" y="508"/>
                    <a:pt x="371" y="508"/>
                  </a:cubicBezTo>
                  <a:cubicBezTo>
                    <a:pt x="372" y="513"/>
                    <a:pt x="370" y="519"/>
                    <a:pt x="367" y="524"/>
                  </a:cubicBezTo>
                  <a:cubicBezTo>
                    <a:pt x="366" y="525"/>
                    <a:pt x="365" y="528"/>
                    <a:pt x="364" y="529"/>
                  </a:cubicBezTo>
                  <a:cubicBezTo>
                    <a:pt x="362" y="529"/>
                    <a:pt x="361" y="530"/>
                    <a:pt x="360" y="530"/>
                  </a:cubicBezTo>
                  <a:cubicBezTo>
                    <a:pt x="357" y="531"/>
                    <a:pt x="354" y="532"/>
                    <a:pt x="351" y="536"/>
                  </a:cubicBezTo>
                  <a:cubicBezTo>
                    <a:pt x="349" y="540"/>
                    <a:pt x="345" y="548"/>
                    <a:pt x="349" y="553"/>
                  </a:cubicBezTo>
                  <a:cubicBezTo>
                    <a:pt x="351" y="554"/>
                    <a:pt x="352" y="555"/>
                    <a:pt x="354" y="555"/>
                  </a:cubicBezTo>
                  <a:cubicBezTo>
                    <a:pt x="356" y="555"/>
                    <a:pt x="358" y="554"/>
                    <a:pt x="360" y="553"/>
                  </a:cubicBezTo>
                  <a:cubicBezTo>
                    <a:pt x="361" y="552"/>
                    <a:pt x="363" y="551"/>
                    <a:pt x="363" y="551"/>
                  </a:cubicBezTo>
                  <a:cubicBezTo>
                    <a:pt x="363" y="551"/>
                    <a:pt x="363" y="551"/>
                    <a:pt x="363" y="551"/>
                  </a:cubicBezTo>
                  <a:cubicBezTo>
                    <a:pt x="363" y="554"/>
                    <a:pt x="356" y="560"/>
                    <a:pt x="354" y="561"/>
                  </a:cubicBezTo>
                  <a:cubicBezTo>
                    <a:pt x="353" y="561"/>
                    <a:pt x="352" y="561"/>
                    <a:pt x="351" y="561"/>
                  </a:cubicBezTo>
                  <a:cubicBezTo>
                    <a:pt x="349" y="562"/>
                    <a:pt x="346" y="562"/>
                    <a:pt x="344" y="564"/>
                  </a:cubicBezTo>
                  <a:cubicBezTo>
                    <a:pt x="340" y="567"/>
                    <a:pt x="338" y="573"/>
                    <a:pt x="340" y="577"/>
                  </a:cubicBezTo>
                  <a:cubicBezTo>
                    <a:pt x="341" y="580"/>
                    <a:pt x="343" y="581"/>
                    <a:pt x="347" y="581"/>
                  </a:cubicBezTo>
                  <a:cubicBezTo>
                    <a:pt x="348" y="581"/>
                    <a:pt x="349" y="581"/>
                    <a:pt x="350" y="581"/>
                  </a:cubicBezTo>
                  <a:cubicBezTo>
                    <a:pt x="357" y="579"/>
                    <a:pt x="366" y="574"/>
                    <a:pt x="373" y="568"/>
                  </a:cubicBezTo>
                  <a:cubicBezTo>
                    <a:pt x="374" y="566"/>
                    <a:pt x="376" y="564"/>
                    <a:pt x="378" y="563"/>
                  </a:cubicBezTo>
                  <a:cubicBezTo>
                    <a:pt x="381" y="560"/>
                    <a:pt x="383" y="557"/>
                    <a:pt x="386" y="555"/>
                  </a:cubicBezTo>
                  <a:cubicBezTo>
                    <a:pt x="387" y="553"/>
                    <a:pt x="389" y="552"/>
                    <a:pt x="390" y="550"/>
                  </a:cubicBezTo>
                  <a:cubicBezTo>
                    <a:pt x="393" y="547"/>
                    <a:pt x="395" y="545"/>
                    <a:pt x="399" y="544"/>
                  </a:cubicBezTo>
                  <a:cubicBezTo>
                    <a:pt x="399" y="543"/>
                    <a:pt x="400" y="543"/>
                    <a:pt x="401" y="543"/>
                  </a:cubicBezTo>
                  <a:cubicBezTo>
                    <a:pt x="402" y="543"/>
                    <a:pt x="403" y="544"/>
                    <a:pt x="405" y="545"/>
                  </a:cubicBezTo>
                  <a:cubicBezTo>
                    <a:pt x="406" y="546"/>
                    <a:pt x="407" y="547"/>
                    <a:pt x="409" y="547"/>
                  </a:cubicBezTo>
                  <a:cubicBezTo>
                    <a:pt x="410" y="548"/>
                    <a:pt x="411" y="548"/>
                    <a:pt x="412" y="548"/>
                  </a:cubicBezTo>
                  <a:cubicBezTo>
                    <a:pt x="416" y="548"/>
                    <a:pt x="419" y="545"/>
                    <a:pt x="421" y="543"/>
                  </a:cubicBezTo>
                  <a:cubicBezTo>
                    <a:pt x="422" y="542"/>
                    <a:pt x="423" y="541"/>
                    <a:pt x="423" y="541"/>
                  </a:cubicBezTo>
                  <a:cubicBezTo>
                    <a:pt x="425" y="539"/>
                    <a:pt x="428" y="538"/>
                    <a:pt x="431" y="538"/>
                  </a:cubicBezTo>
                  <a:cubicBezTo>
                    <a:pt x="433" y="537"/>
                    <a:pt x="436" y="536"/>
                    <a:pt x="439" y="535"/>
                  </a:cubicBezTo>
                  <a:cubicBezTo>
                    <a:pt x="440" y="534"/>
                    <a:pt x="442" y="533"/>
                    <a:pt x="444" y="533"/>
                  </a:cubicBezTo>
                  <a:cubicBezTo>
                    <a:pt x="448" y="531"/>
                    <a:pt x="453" y="530"/>
                    <a:pt x="456" y="526"/>
                  </a:cubicBezTo>
                  <a:cubicBezTo>
                    <a:pt x="457" y="524"/>
                    <a:pt x="458" y="523"/>
                    <a:pt x="458" y="522"/>
                  </a:cubicBezTo>
                  <a:cubicBezTo>
                    <a:pt x="458" y="522"/>
                    <a:pt x="458" y="521"/>
                    <a:pt x="458" y="521"/>
                  </a:cubicBezTo>
                  <a:cubicBezTo>
                    <a:pt x="458" y="518"/>
                    <a:pt x="459" y="515"/>
                    <a:pt x="457" y="512"/>
                  </a:cubicBezTo>
                  <a:cubicBezTo>
                    <a:pt x="456" y="511"/>
                    <a:pt x="454" y="510"/>
                    <a:pt x="452" y="510"/>
                  </a:cubicBezTo>
                  <a:cubicBezTo>
                    <a:pt x="450" y="510"/>
                    <a:pt x="448" y="510"/>
                    <a:pt x="446" y="511"/>
                  </a:cubicBezTo>
                  <a:cubicBezTo>
                    <a:pt x="444" y="511"/>
                    <a:pt x="442" y="511"/>
                    <a:pt x="440" y="511"/>
                  </a:cubicBezTo>
                  <a:cubicBezTo>
                    <a:pt x="438" y="511"/>
                    <a:pt x="437" y="511"/>
                    <a:pt x="437" y="510"/>
                  </a:cubicBezTo>
                  <a:cubicBezTo>
                    <a:pt x="435" y="508"/>
                    <a:pt x="437" y="506"/>
                    <a:pt x="441" y="502"/>
                  </a:cubicBezTo>
                  <a:cubicBezTo>
                    <a:pt x="442" y="501"/>
                    <a:pt x="442" y="500"/>
                    <a:pt x="443" y="500"/>
                  </a:cubicBezTo>
                  <a:cubicBezTo>
                    <a:pt x="450" y="492"/>
                    <a:pt x="455" y="488"/>
                    <a:pt x="464" y="485"/>
                  </a:cubicBezTo>
                  <a:cubicBezTo>
                    <a:pt x="466" y="484"/>
                    <a:pt x="469" y="482"/>
                    <a:pt x="472" y="481"/>
                  </a:cubicBezTo>
                  <a:cubicBezTo>
                    <a:pt x="476" y="478"/>
                    <a:pt x="481" y="475"/>
                    <a:pt x="485" y="475"/>
                  </a:cubicBezTo>
                  <a:cubicBezTo>
                    <a:pt x="487" y="475"/>
                    <a:pt x="490" y="476"/>
                    <a:pt x="492" y="477"/>
                  </a:cubicBezTo>
                  <a:cubicBezTo>
                    <a:pt x="495" y="479"/>
                    <a:pt x="499" y="480"/>
                    <a:pt x="502" y="480"/>
                  </a:cubicBezTo>
                  <a:cubicBezTo>
                    <a:pt x="505" y="480"/>
                    <a:pt x="507" y="479"/>
                    <a:pt x="509" y="477"/>
                  </a:cubicBezTo>
                  <a:cubicBezTo>
                    <a:pt x="513" y="475"/>
                    <a:pt x="513" y="472"/>
                    <a:pt x="513" y="469"/>
                  </a:cubicBezTo>
                  <a:cubicBezTo>
                    <a:pt x="514" y="468"/>
                    <a:pt x="514" y="466"/>
                    <a:pt x="515" y="465"/>
                  </a:cubicBezTo>
                  <a:cubicBezTo>
                    <a:pt x="516" y="463"/>
                    <a:pt x="519" y="461"/>
                    <a:pt x="521" y="460"/>
                  </a:cubicBezTo>
                  <a:cubicBezTo>
                    <a:pt x="524" y="458"/>
                    <a:pt x="527" y="456"/>
                    <a:pt x="529" y="454"/>
                  </a:cubicBezTo>
                  <a:cubicBezTo>
                    <a:pt x="531" y="451"/>
                    <a:pt x="534" y="448"/>
                    <a:pt x="536" y="445"/>
                  </a:cubicBezTo>
                  <a:cubicBezTo>
                    <a:pt x="537" y="443"/>
                    <a:pt x="539" y="441"/>
                    <a:pt x="540" y="439"/>
                  </a:cubicBezTo>
                  <a:cubicBezTo>
                    <a:pt x="548" y="429"/>
                    <a:pt x="556" y="420"/>
                    <a:pt x="567" y="417"/>
                  </a:cubicBezTo>
                  <a:cubicBezTo>
                    <a:pt x="570" y="416"/>
                    <a:pt x="570" y="416"/>
                    <a:pt x="570" y="416"/>
                  </a:cubicBezTo>
                  <a:lnTo>
                    <a:pt x="569" y="413"/>
                  </a:lnTo>
                  <a:close/>
                </a:path>
              </a:pathLst>
            </a:custGeom>
            <a:grpFill/>
            <a:ln w="4763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lIns="243797" tIns="121899" rIns="243797" bIns="121899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</p:grpSp>
      <p:sp>
        <p:nvSpPr>
          <p:cNvPr id="97" name="Shape 2540"/>
          <p:cNvSpPr/>
          <p:nvPr/>
        </p:nvSpPr>
        <p:spPr>
          <a:xfrm>
            <a:off x="1054385" y="5942740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98" name="Shape 2540"/>
          <p:cNvSpPr/>
          <p:nvPr/>
        </p:nvSpPr>
        <p:spPr>
          <a:xfrm>
            <a:off x="1054385" y="7577751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1967619" y="5709503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1967619" y="7360519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102" name="Shape 2540"/>
          <p:cNvSpPr/>
          <p:nvPr/>
        </p:nvSpPr>
        <p:spPr>
          <a:xfrm>
            <a:off x="1054385" y="9228767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967619" y="9011535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C5B2330-C00B-4EAF-8B19-0F12AFCC2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Canada Ma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605200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9" name="Group 418"/>
          <p:cNvGrpSpPr/>
          <p:nvPr/>
        </p:nvGrpSpPr>
        <p:grpSpPr>
          <a:xfrm>
            <a:off x="2138940" y="4450494"/>
            <a:ext cx="8439492" cy="8169003"/>
            <a:chOff x="10672937" y="2878775"/>
            <a:chExt cx="10083703" cy="9760520"/>
          </a:xfrm>
          <a:solidFill>
            <a:schemeClr val="bg1">
              <a:lumMod val="85000"/>
            </a:schemeClr>
          </a:solidFill>
        </p:grpSpPr>
        <p:sp>
          <p:nvSpPr>
            <p:cNvPr id="420" name="Freeform 71"/>
            <p:cNvSpPr>
              <a:spLocks noChangeArrowheads="1"/>
            </p:cNvSpPr>
            <p:nvPr/>
          </p:nvSpPr>
          <p:spPr bwMode="auto">
            <a:xfrm>
              <a:off x="15772533" y="9403150"/>
              <a:ext cx="2314292" cy="2724339"/>
            </a:xfrm>
            <a:custGeom>
              <a:avLst/>
              <a:gdLst>
                <a:gd name="T0" fmla="*/ 2580 w 4505"/>
                <a:gd name="T1" fmla="*/ 340 h 5305"/>
                <a:gd name="T2" fmla="*/ 2972 w 4505"/>
                <a:gd name="T3" fmla="*/ 334 h 5305"/>
                <a:gd name="T4" fmla="*/ 4084 w 4505"/>
                <a:gd name="T5" fmla="*/ 1345 h 5305"/>
                <a:gd name="T6" fmla="*/ 4423 w 4505"/>
                <a:gd name="T7" fmla="*/ 1684 h 5305"/>
                <a:gd name="T8" fmla="*/ 3186 w 4505"/>
                <a:gd name="T9" fmla="*/ 804 h 5305"/>
                <a:gd name="T10" fmla="*/ 2645 w 4505"/>
                <a:gd name="T11" fmla="*/ 400 h 5305"/>
                <a:gd name="T12" fmla="*/ 2330 w 4505"/>
                <a:gd name="T13" fmla="*/ 25 h 5305"/>
                <a:gd name="T14" fmla="*/ 1902 w 4505"/>
                <a:gd name="T15" fmla="*/ 631 h 5305"/>
                <a:gd name="T16" fmla="*/ 2384 w 4505"/>
                <a:gd name="T17" fmla="*/ 1660 h 5305"/>
                <a:gd name="T18" fmla="*/ 2520 w 4505"/>
                <a:gd name="T19" fmla="*/ 1928 h 5305"/>
                <a:gd name="T20" fmla="*/ 1396 w 4505"/>
                <a:gd name="T21" fmla="*/ 2837 h 5305"/>
                <a:gd name="T22" fmla="*/ 809 w 4505"/>
                <a:gd name="T23" fmla="*/ 3182 h 5305"/>
                <a:gd name="T24" fmla="*/ 48 w 4505"/>
                <a:gd name="T25" fmla="*/ 3432 h 5305"/>
                <a:gd name="T26" fmla="*/ 458 w 4505"/>
                <a:gd name="T27" fmla="*/ 4151 h 5305"/>
                <a:gd name="T28" fmla="*/ 803 w 4505"/>
                <a:gd name="T29" fmla="*/ 4615 h 5305"/>
                <a:gd name="T30" fmla="*/ 18 w 4505"/>
                <a:gd name="T31" fmla="*/ 4971 h 5305"/>
                <a:gd name="T32" fmla="*/ 684 w 4505"/>
                <a:gd name="T33" fmla="*/ 5108 h 5305"/>
                <a:gd name="T34" fmla="*/ 1403 w 4505"/>
                <a:gd name="T35" fmla="*/ 5162 h 5305"/>
                <a:gd name="T36" fmla="*/ 1694 w 4505"/>
                <a:gd name="T37" fmla="*/ 5025 h 5305"/>
                <a:gd name="T38" fmla="*/ 2164 w 4505"/>
                <a:gd name="T39" fmla="*/ 5084 h 5305"/>
                <a:gd name="T40" fmla="*/ 1955 w 4505"/>
                <a:gd name="T41" fmla="*/ 4734 h 5305"/>
                <a:gd name="T42" fmla="*/ 1795 w 4505"/>
                <a:gd name="T43" fmla="*/ 4157 h 5305"/>
                <a:gd name="T44" fmla="*/ 1908 w 4505"/>
                <a:gd name="T45" fmla="*/ 3955 h 5305"/>
                <a:gd name="T46" fmla="*/ 2294 w 4505"/>
                <a:gd name="T47" fmla="*/ 3336 h 5305"/>
                <a:gd name="T48" fmla="*/ 2633 w 4505"/>
                <a:gd name="T49" fmla="*/ 3265 h 5305"/>
                <a:gd name="T50" fmla="*/ 2829 w 4505"/>
                <a:gd name="T51" fmla="*/ 3099 h 5305"/>
                <a:gd name="T52" fmla="*/ 3246 w 4505"/>
                <a:gd name="T53" fmla="*/ 2754 h 5305"/>
                <a:gd name="T54" fmla="*/ 3840 w 4505"/>
                <a:gd name="T55" fmla="*/ 2974 h 5305"/>
                <a:gd name="T56" fmla="*/ 4054 w 4505"/>
                <a:gd name="T57" fmla="*/ 2694 h 5305"/>
                <a:gd name="T58" fmla="*/ 4494 w 4505"/>
                <a:gd name="T59" fmla="*/ 1987 h 5305"/>
                <a:gd name="T60" fmla="*/ 4292 w 4505"/>
                <a:gd name="T61" fmla="*/ 2290 h 5305"/>
                <a:gd name="T62" fmla="*/ 3941 w 4505"/>
                <a:gd name="T63" fmla="*/ 2944 h 5305"/>
                <a:gd name="T64" fmla="*/ 3412 w 4505"/>
                <a:gd name="T65" fmla="*/ 2837 h 5305"/>
                <a:gd name="T66" fmla="*/ 2996 w 4505"/>
                <a:gd name="T67" fmla="*/ 2998 h 5305"/>
                <a:gd name="T68" fmla="*/ 2639 w 4505"/>
                <a:gd name="T69" fmla="*/ 3152 h 5305"/>
                <a:gd name="T70" fmla="*/ 2556 w 4505"/>
                <a:gd name="T71" fmla="*/ 3319 h 5305"/>
                <a:gd name="T72" fmla="*/ 2152 w 4505"/>
                <a:gd name="T73" fmla="*/ 3556 h 5305"/>
                <a:gd name="T74" fmla="*/ 1932 w 4505"/>
                <a:gd name="T75" fmla="*/ 4044 h 5305"/>
                <a:gd name="T76" fmla="*/ 1807 w 4505"/>
                <a:gd name="T77" fmla="*/ 4157 h 5305"/>
                <a:gd name="T78" fmla="*/ 1973 w 4505"/>
                <a:gd name="T79" fmla="*/ 4734 h 5305"/>
                <a:gd name="T80" fmla="*/ 2175 w 4505"/>
                <a:gd name="T81" fmla="*/ 5090 h 5305"/>
                <a:gd name="T82" fmla="*/ 1694 w 4505"/>
                <a:gd name="T83" fmla="*/ 5043 h 5305"/>
                <a:gd name="T84" fmla="*/ 1385 w 4505"/>
                <a:gd name="T85" fmla="*/ 5168 h 5305"/>
                <a:gd name="T86" fmla="*/ 684 w 4505"/>
                <a:gd name="T87" fmla="*/ 5120 h 5305"/>
                <a:gd name="T88" fmla="*/ 0 w 4505"/>
                <a:gd name="T89" fmla="*/ 4984 h 5305"/>
                <a:gd name="T90" fmla="*/ 625 w 4505"/>
                <a:gd name="T91" fmla="*/ 4508 h 5305"/>
                <a:gd name="T92" fmla="*/ 458 w 4505"/>
                <a:gd name="T93" fmla="*/ 4020 h 5305"/>
                <a:gd name="T94" fmla="*/ 601 w 4505"/>
                <a:gd name="T95" fmla="*/ 3200 h 5305"/>
                <a:gd name="T96" fmla="*/ 1385 w 4505"/>
                <a:gd name="T97" fmla="*/ 2950 h 5305"/>
                <a:gd name="T98" fmla="*/ 1831 w 4505"/>
                <a:gd name="T99" fmla="*/ 2605 h 5305"/>
                <a:gd name="T100" fmla="*/ 2508 w 4505"/>
                <a:gd name="T101" fmla="*/ 1933 h 5305"/>
                <a:gd name="T102" fmla="*/ 1896 w 4505"/>
                <a:gd name="T103" fmla="*/ 637 h 5305"/>
                <a:gd name="T104" fmla="*/ 2080 w 4505"/>
                <a:gd name="T105" fmla="*/ 203 h 5305"/>
                <a:gd name="T106" fmla="*/ 2325 w 4505"/>
                <a:gd name="T107" fmla="*/ 0 h 5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505" h="5305">
                  <a:moveTo>
                    <a:pt x="2376" y="0"/>
                  </a:moveTo>
                  <a:cubicBezTo>
                    <a:pt x="2406" y="18"/>
                    <a:pt x="2439" y="53"/>
                    <a:pt x="2473" y="91"/>
                  </a:cubicBezTo>
                  <a:cubicBezTo>
                    <a:pt x="2514" y="144"/>
                    <a:pt x="2556" y="209"/>
                    <a:pt x="2556" y="245"/>
                  </a:cubicBezTo>
                  <a:cubicBezTo>
                    <a:pt x="2556" y="275"/>
                    <a:pt x="2562" y="316"/>
                    <a:pt x="2580" y="340"/>
                  </a:cubicBezTo>
                  <a:cubicBezTo>
                    <a:pt x="2598" y="370"/>
                    <a:pt x="2621" y="388"/>
                    <a:pt x="2645" y="388"/>
                  </a:cubicBezTo>
                  <a:cubicBezTo>
                    <a:pt x="2657" y="388"/>
                    <a:pt x="2669" y="382"/>
                    <a:pt x="2681" y="370"/>
                  </a:cubicBezTo>
                  <a:cubicBezTo>
                    <a:pt x="2722" y="328"/>
                    <a:pt x="2782" y="310"/>
                    <a:pt x="2841" y="310"/>
                  </a:cubicBezTo>
                  <a:cubicBezTo>
                    <a:pt x="2889" y="310"/>
                    <a:pt x="2930" y="316"/>
                    <a:pt x="2972" y="334"/>
                  </a:cubicBezTo>
                  <a:cubicBezTo>
                    <a:pt x="3067" y="376"/>
                    <a:pt x="3162" y="715"/>
                    <a:pt x="3198" y="798"/>
                  </a:cubicBezTo>
                  <a:cubicBezTo>
                    <a:pt x="3228" y="875"/>
                    <a:pt x="3382" y="1006"/>
                    <a:pt x="3465" y="1190"/>
                  </a:cubicBezTo>
                  <a:cubicBezTo>
                    <a:pt x="3549" y="1375"/>
                    <a:pt x="3638" y="1369"/>
                    <a:pt x="3727" y="1375"/>
                  </a:cubicBezTo>
                  <a:cubicBezTo>
                    <a:pt x="3810" y="1375"/>
                    <a:pt x="3971" y="1345"/>
                    <a:pt x="4084" y="1345"/>
                  </a:cubicBezTo>
                  <a:cubicBezTo>
                    <a:pt x="4197" y="1351"/>
                    <a:pt x="4363" y="1553"/>
                    <a:pt x="4435" y="1672"/>
                  </a:cubicBezTo>
                  <a:cubicBezTo>
                    <a:pt x="4467" y="1726"/>
                    <a:pt x="4491" y="1772"/>
                    <a:pt x="4504" y="1817"/>
                  </a:cubicBezTo>
                  <a:lnTo>
                    <a:pt x="4504" y="1873"/>
                  </a:lnTo>
                  <a:cubicBezTo>
                    <a:pt x="4497" y="1814"/>
                    <a:pt x="4468" y="1760"/>
                    <a:pt x="4423" y="1684"/>
                  </a:cubicBezTo>
                  <a:cubicBezTo>
                    <a:pt x="4357" y="1559"/>
                    <a:pt x="4179" y="1357"/>
                    <a:pt x="4084" y="1363"/>
                  </a:cubicBezTo>
                  <a:cubicBezTo>
                    <a:pt x="3971" y="1363"/>
                    <a:pt x="3816" y="1386"/>
                    <a:pt x="3727" y="1386"/>
                  </a:cubicBezTo>
                  <a:cubicBezTo>
                    <a:pt x="3638" y="1386"/>
                    <a:pt x="3531" y="1386"/>
                    <a:pt x="3454" y="1196"/>
                  </a:cubicBezTo>
                  <a:cubicBezTo>
                    <a:pt x="3370" y="1012"/>
                    <a:pt x="3216" y="887"/>
                    <a:pt x="3186" y="804"/>
                  </a:cubicBezTo>
                  <a:cubicBezTo>
                    <a:pt x="3150" y="721"/>
                    <a:pt x="3049" y="382"/>
                    <a:pt x="2966" y="346"/>
                  </a:cubicBezTo>
                  <a:cubicBezTo>
                    <a:pt x="2925" y="334"/>
                    <a:pt x="2883" y="322"/>
                    <a:pt x="2841" y="322"/>
                  </a:cubicBezTo>
                  <a:cubicBezTo>
                    <a:pt x="2788" y="322"/>
                    <a:pt x="2728" y="340"/>
                    <a:pt x="2693" y="376"/>
                  </a:cubicBezTo>
                  <a:cubicBezTo>
                    <a:pt x="2675" y="394"/>
                    <a:pt x="2657" y="400"/>
                    <a:pt x="2645" y="400"/>
                  </a:cubicBezTo>
                  <a:cubicBezTo>
                    <a:pt x="2580" y="400"/>
                    <a:pt x="2538" y="316"/>
                    <a:pt x="2538" y="245"/>
                  </a:cubicBezTo>
                  <a:cubicBezTo>
                    <a:pt x="2538" y="215"/>
                    <a:pt x="2502" y="156"/>
                    <a:pt x="2461" y="102"/>
                  </a:cubicBezTo>
                  <a:cubicBezTo>
                    <a:pt x="2413" y="49"/>
                    <a:pt x="2360" y="1"/>
                    <a:pt x="2342" y="1"/>
                  </a:cubicBezTo>
                  <a:cubicBezTo>
                    <a:pt x="2336" y="7"/>
                    <a:pt x="2330" y="7"/>
                    <a:pt x="2330" y="25"/>
                  </a:cubicBezTo>
                  <a:cubicBezTo>
                    <a:pt x="2330" y="138"/>
                    <a:pt x="2181" y="215"/>
                    <a:pt x="2080" y="215"/>
                  </a:cubicBezTo>
                  <a:cubicBezTo>
                    <a:pt x="2056" y="215"/>
                    <a:pt x="2015" y="269"/>
                    <a:pt x="1973" y="340"/>
                  </a:cubicBezTo>
                  <a:cubicBezTo>
                    <a:pt x="1932" y="411"/>
                    <a:pt x="1890" y="501"/>
                    <a:pt x="1860" y="578"/>
                  </a:cubicBezTo>
                  <a:cubicBezTo>
                    <a:pt x="1878" y="602"/>
                    <a:pt x="1890" y="620"/>
                    <a:pt x="1902" y="631"/>
                  </a:cubicBezTo>
                  <a:cubicBezTo>
                    <a:pt x="1973" y="703"/>
                    <a:pt x="2080" y="994"/>
                    <a:pt x="2086" y="1238"/>
                  </a:cubicBezTo>
                  <a:cubicBezTo>
                    <a:pt x="2086" y="1357"/>
                    <a:pt x="2134" y="1464"/>
                    <a:pt x="2199" y="1541"/>
                  </a:cubicBezTo>
                  <a:cubicBezTo>
                    <a:pt x="2265" y="1612"/>
                    <a:pt x="2336" y="1660"/>
                    <a:pt x="2378" y="1660"/>
                  </a:cubicBezTo>
                  <a:cubicBezTo>
                    <a:pt x="2378" y="1660"/>
                    <a:pt x="2378" y="1660"/>
                    <a:pt x="2384" y="1660"/>
                  </a:cubicBezTo>
                  <a:lnTo>
                    <a:pt x="2384" y="1666"/>
                  </a:lnTo>
                  <a:cubicBezTo>
                    <a:pt x="2384" y="1666"/>
                    <a:pt x="2378" y="1690"/>
                    <a:pt x="2378" y="1719"/>
                  </a:cubicBezTo>
                  <a:cubicBezTo>
                    <a:pt x="2378" y="1779"/>
                    <a:pt x="2395" y="1880"/>
                    <a:pt x="2520" y="1922"/>
                  </a:cubicBezTo>
                  <a:lnTo>
                    <a:pt x="2520" y="1928"/>
                  </a:lnTo>
                  <a:cubicBezTo>
                    <a:pt x="2520" y="1928"/>
                    <a:pt x="2360" y="2314"/>
                    <a:pt x="2211" y="2350"/>
                  </a:cubicBezTo>
                  <a:cubicBezTo>
                    <a:pt x="2068" y="2379"/>
                    <a:pt x="1985" y="2397"/>
                    <a:pt x="1985" y="2462"/>
                  </a:cubicBezTo>
                  <a:cubicBezTo>
                    <a:pt x="1985" y="2546"/>
                    <a:pt x="1783" y="2706"/>
                    <a:pt x="1450" y="2712"/>
                  </a:cubicBezTo>
                  <a:cubicBezTo>
                    <a:pt x="1438" y="2724"/>
                    <a:pt x="1396" y="2778"/>
                    <a:pt x="1396" y="2837"/>
                  </a:cubicBezTo>
                  <a:cubicBezTo>
                    <a:pt x="1396" y="2861"/>
                    <a:pt x="1403" y="2903"/>
                    <a:pt x="1403" y="2950"/>
                  </a:cubicBezTo>
                  <a:cubicBezTo>
                    <a:pt x="1403" y="3051"/>
                    <a:pt x="1379" y="3182"/>
                    <a:pt x="1230" y="3182"/>
                  </a:cubicBezTo>
                  <a:cubicBezTo>
                    <a:pt x="1087" y="3182"/>
                    <a:pt x="1022" y="3152"/>
                    <a:pt x="945" y="3152"/>
                  </a:cubicBezTo>
                  <a:cubicBezTo>
                    <a:pt x="904" y="3152"/>
                    <a:pt x="863" y="3158"/>
                    <a:pt x="809" y="3182"/>
                  </a:cubicBezTo>
                  <a:cubicBezTo>
                    <a:pt x="744" y="3206"/>
                    <a:pt x="672" y="3212"/>
                    <a:pt x="601" y="3212"/>
                  </a:cubicBezTo>
                  <a:cubicBezTo>
                    <a:pt x="470" y="3212"/>
                    <a:pt x="333" y="3188"/>
                    <a:pt x="244" y="3188"/>
                  </a:cubicBezTo>
                  <a:cubicBezTo>
                    <a:pt x="197" y="3188"/>
                    <a:pt x="149" y="3218"/>
                    <a:pt x="107" y="3259"/>
                  </a:cubicBezTo>
                  <a:cubicBezTo>
                    <a:pt x="72" y="3307"/>
                    <a:pt x="48" y="3366"/>
                    <a:pt x="48" y="3432"/>
                  </a:cubicBezTo>
                  <a:cubicBezTo>
                    <a:pt x="48" y="3485"/>
                    <a:pt x="66" y="3539"/>
                    <a:pt x="107" y="3580"/>
                  </a:cubicBezTo>
                  <a:cubicBezTo>
                    <a:pt x="244" y="3717"/>
                    <a:pt x="476" y="3741"/>
                    <a:pt x="476" y="4020"/>
                  </a:cubicBezTo>
                  <a:cubicBezTo>
                    <a:pt x="476" y="4056"/>
                    <a:pt x="470" y="4103"/>
                    <a:pt x="464" y="4151"/>
                  </a:cubicBezTo>
                  <a:cubicBezTo>
                    <a:pt x="458" y="4151"/>
                    <a:pt x="458" y="4151"/>
                    <a:pt x="458" y="4151"/>
                  </a:cubicBezTo>
                  <a:cubicBezTo>
                    <a:pt x="458" y="4151"/>
                    <a:pt x="339" y="4264"/>
                    <a:pt x="339" y="4323"/>
                  </a:cubicBezTo>
                  <a:cubicBezTo>
                    <a:pt x="339" y="4353"/>
                    <a:pt x="381" y="4383"/>
                    <a:pt x="440" y="4412"/>
                  </a:cubicBezTo>
                  <a:cubicBezTo>
                    <a:pt x="500" y="4442"/>
                    <a:pt x="577" y="4466"/>
                    <a:pt x="631" y="4496"/>
                  </a:cubicBezTo>
                  <a:cubicBezTo>
                    <a:pt x="738" y="4555"/>
                    <a:pt x="797" y="4615"/>
                    <a:pt x="803" y="4615"/>
                  </a:cubicBezTo>
                  <a:lnTo>
                    <a:pt x="803" y="4621"/>
                  </a:lnTo>
                  <a:cubicBezTo>
                    <a:pt x="803" y="4626"/>
                    <a:pt x="797" y="4626"/>
                    <a:pt x="797" y="4626"/>
                  </a:cubicBezTo>
                  <a:cubicBezTo>
                    <a:pt x="797" y="4626"/>
                    <a:pt x="547" y="4680"/>
                    <a:pt x="458" y="4680"/>
                  </a:cubicBezTo>
                  <a:cubicBezTo>
                    <a:pt x="399" y="4680"/>
                    <a:pt x="185" y="4882"/>
                    <a:pt x="18" y="4971"/>
                  </a:cubicBezTo>
                  <a:cubicBezTo>
                    <a:pt x="60" y="4983"/>
                    <a:pt x="119" y="5013"/>
                    <a:pt x="220" y="5108"/>
                  </a:cubicBezTo>
                  <a:cubicBezTo>
                    <a:pt x="298" y="5191"/>
                    <a:pt x="333" y="5221"/>
                    <a:pt x="363" y="5221"/>
                  </a:cubicBezTo>
                  <a:cubicBezTo>
                    <a:pt x="393" y="5221"/>
                    <a:pt x="440" y="5185"/>
                    <a:pt x="565" y="5132"/>
                  </a:cubicBezTo>
                  <a:cubicBezTo>
                    <a:pt x="601" y="5114"/>
                    <a:pt x="642" y="5108"/>
                    <a:pt x="684" y="5108"/>
                  </a:cubicBezTo>
                  <a:cubicBezTo>
                    <a:pt x="922" y="5108"/>
                    <a:pt x="1224" y="5304"/>
                    <a:pt x="1266" y="5298"/>
                  </a:cubicBezTo>
                  <a:cubicBezTo>
                    <a:pt x="1284" y="5304"/>
                    <a:pt x="1307" y="5269"/>
                    <a:pt x="1325" y="5233"/>
                  </a:cubicBezTo>
                  <a:cubicBezTo>
                    <a:pt x="1343" y="5197"/>
                    <a:pt x="1355" y="5156"/>
                    <a:pt x="1385" y="5156"/>
                  </a:cubicBezTo>
                  <a:cubicBezTo>
                    <a:pt x="1391" y="5156"/>
                    <a:pt x="1396" y="5162"/>
                    <a:pt x="1403" y="5162"/>
                  </a:cubicBezTo>
                  <a:cubicBezTo>
                    <a:pt x="1414" y="5180"/>
                    <a:pt x="1426" y="5180"/>
                    <a:pt x="1444" y="5180"/>
                  </a:cubicBezTo>
                  <a:cubicBezTo>
                    <a:pt x="1456" y="5180"/>
                    <a:pt x="1468" y="5180"/>
                    <a:pt x="1480" y="5173"/>
                  </a:cubicBezTo>
                  <a:cubicBezTo>
                    <a:pt x="1492" y="5168"/>
                    <a:pt x="1498" y="5168"/>
                    <a:pt x="1498" y="5168"/>
                  </a:cubicBezTo>
                  <a:cubicBezTo>
                    <a:pt x="1593" y="5043"/>
                    <a:pt x="1670" y="5025"/>
                    <a:pt x="1694" y="5025"/>
                  </a:cubicBezTo>
                  <a:cubicBezTo>
                    <a:pt x="1700" y="5025"/>
                    <a:pt x="1700" y="5025"/>
                    <a:pt x="1706" y="5031"/>
                  </a:cubicBezTo>
                  <a:cubicBezTo>
                    <a:pt x="1860" y="5090"/>
                    <a:pt x="1973" y="5108"/>
                    <a:pt x="2045" y="5108"/>
                  </a:cubicBezTo>
                  <a:cubicBezTo>
                    <a:pt x="2092" y="5108"/>
                    <a:pt x="2122" y="5102"/>
                    <a:pt x="2140" y="5096"/>
                  </a:cubicBezTo>
                  <a:lnTo>
                    <a:pt x="2164" y="5084"/>
                  </a:lnTo>
                  <a:cubicBezTo>
                    <a:pt x="2169" y="5078"/>
                    <a:pt x="2169" y="5072"/>
                    <a:pt x="2169" y="5061"/>
                  </a:cubicBezTo>
                  <a:cubicBezTo>
                    <a:pt x="2169" y="5001"/>
                    <a:pt x="2110" y="4894"/>
                    <a:pt x="2062" y="4846"/>
                  </a:cubicBezTo>
                  <a:cubicBezTo>
                    <a:pt x="2039" y="4823"/>
                    <a:pt x="2009" y="4811"/>
                    <a:pt x="1991" y="4799"/>
                  </a:cubicBezTo>
                  <a:cubicBezTo>
                    <a:pt x="1973" y="4787"/>
                    <a:pt x="1955" y="4769"/>
                    <a:pt x="1955" y="4734"/>
                  </a:cubicBezTo>
                  <a:cubicBezTo>
                    <a:pt x="1955" y="4668"/>
                    <a:pt x="1908" y="4531"/>
                    <a:pt x="1908" y="4502"/>
                  </a:cubicBezTo>
                  <a:cubicBezTo>
                    <a:pt x="1908" y="4478"/>
                    <a:pt x="1932" y="4407"/>
                    <a:pt x="1932" y="4341"/>
                  </a:cubicBezTo>
                  <a:cubicBezTo>
                    <a:pt x="1932" y="4317"/>
                    <a:pt x="1932" y="4294"/>
                    <a:pt x="1920" y="4282"/>
                  </a:cubicBezTo>
                  <a:cubicBezTo>
                    <a:pt x="1890" y="4222"/>
                    <a:pt x="1795" y="4234"/>
                    <a:pt x="1795" y="4157"/>
                  </a:cubicBezTo>
                  <a:cubicBezTo>
                    <a:pt x="1795" y="4145"/>
                    <a:pt x="1795" y="4133"/>
                    <a:pt x="1801" y="4115"/>
                  </a:cubicBezTo>
                  <a:cubicBezTo>
                    <a:pt x="1825" y="4044"/>
                    <a:pt x="1854" y="4026"/>
                    <a:pt x="1884" y="4026"/>
                  </a:cubicBezTo>
                  <a:cubicBezTo>
                    <a:pt x="1896" y="4026"/>
                    <a:pt x="1908" y="4026"/>
                    <a:pt x="1920" y="4032"/>
                  </a:cubicBezTo>
                  <a:cubicBezTo>
                    <a:pt x="1914" y="4002"/>
                    <a:pt x="1908" y="3979"/>
                    <a:pt x="1908" y="3955"/>
                  </a:cubicBezTo>
                  <a:cubicBezTo>
                    <a:pt x="1908" y="3842"/>
                    <a:pt x="1961" y="3741"/>
                    <a:pt x="2015" y="3663"/>
                  </a:cubicBezTo>
                  <a:cubicBezTo>
                    <a:pt x="2074" y="3592"/>
                    <a:pt x="2128" y="3545"/>
                    <a:pt x="2152" y="3545"/>
                  </a:cubicBezTo>
                  <a:cubicBezTo>
                    <a:pt x="2164" y="3545"/>
                    <a:pt x="2175" y="3515"/>
                    <a:pt x="2193" y="3467"/>
                  </a:cubicBezTo>
                  <a:cubicBezTo>
                    <a:pt x="2217" y="3426"/>
                    <a:pt x="2247" y="3372"/>
                    <a:pt x="2294" y="3336"/>
                  </a:cubicBezTo>
                  <a:cubicBezTo>
                    <a:pt x="2336" y="3307"/>
                    <a:pt x="2395" y="3301"/>
                    <a:pt x="2449" y="3301"/>
                  </a:cubicBezTo>
                  <a:lnTo>
                    <a:pt x="2556" y="3301"/>
                  </a:lnTo>
                  <a:cubicBezTo>
                    <a:pt x="2586" y="3301"/>
                    <a:pt x="2609" y="3301"/>
                    <a:pt x="2621" y="3289"/>
                  </a:cubicBezTo>
                  <a:cubicBezTo>
                    <a:pt x="2627" y="3283"/>
                    <a:pt x="2627" y="3277"/>
                    <a:pt x="2633" y="3265"/>
                  </a:cubicBezTo>
                  <a:cubicBezTo>
                    <a:pt x="2633" y="3247"/>
                    <a:pt x="2609" y="3218"/>
                    <a:pt x="2609" y="3188"/>
                  </a:cubicBezTo>
                  <a:cubicBezTo>
                    <a:pt x="2609" y="3170"/>
                    <a:pt x="2615" y="3158"/>
                    <a:pt x="2633" y="3140"/>
                  </a:cubicBezTo>
                  <a:cubicBezTo>
                    <a:pt x="2669" y="3105"/>
                    <a:pt x="2740" y="3099"/>
                    <a:pt x="2788" y="3099"/>
                  </a:cubicBezTo>
                  <a:lnTo>
                    <a:pt x="2829" y="3099"/>
                  </a:lnTo>
                  <a:cubicBezTo>
                    <a:pt x="2835" y="3099"/>
                    <a:pt x="2859" y="3075"/>
                    <a:pt x="2889" y="3051"/>
                  </a:cubicBezTo>
                  <a:cubicBezTo>
                    <a:pt x="2919" y="3021"/>
                    <a:pt x="2954" y="2992"/>
                    <a:pt x="2990" y="2986"/>
                  </a:cubicBezTo>
                  <a:cubicBezTo>
                    <a:pt x="3014" y="2980"/>
                    <a:pt x="3037" y="2932"/>
                    <a:pt x="3073" y="2879"/>
                  </a:cubicBezTo>
                  <a:cubicBezTo>
                    <a:pt x="3103" y="2825"/>
                    <a:pt x="3156" y="2766"/>
                    <a:pt x="3246" y="2754"/>
                  </a:cubicBezTo>
                  <a:cubicBezTo>
                    <a:pt x="3258" y="2748"/>
                    <a:pt x="3269" y="2748"/>
                    <a:pt x="3281" y="2748"/>
                  </a:cubicBezTo>
                  <a:cubicBezTo>
                    <a:pt x="3353" y="2748"/>
                    <a:pt x="3394" y="2790"/>
                    <a:pt x="3418" y="2831"/>
                  </a:cubicBezTo>
                  <a:cubicBezTo>
                    <a:pt x="3448" y="2867"/>
                    <a:pt x="3472" y="2903"/>
                    <a:pt x="3513" y="2903"/>
                  </a:cubicBezTo>
                  <a:cubicBezTo>
                    <a:pt x="3620" y="2903"/>
                    <a:pt x="3816" y="2974"/>
                    <a:pt x="3840" y="2974"/>
                  </a:cubicBezTo>
                  <a:cubicBezTo>
                    <a:pt x="3864" y="2974"/>
                    <a:pt x="3870" y="2950"/>
                    <a:pt x="3870" y="2950"/>
                  </a:cubicBezTo>
                  <a:cubicBezTo>
                    <a:pt x="3870" y="2944"/>
                    <a:pt x="3870" y="2944"/>
                    <a:pt x="3876" y="2944"/>
                  </a:cubicBezTo>
                  <a:cubicBezTo>
                    <a:pt x="3900" y="2938"/>
                    <a:pt x="3917" y="2932"/>
                    <a:pt x="3935" y="2932"/>
                  </a:cubicBezTo>
                  <a:cubicBezTo>
                    <a:pt x="3983" y="2825"/>
                    <a:pt x="4036" y="2718"/>
                    <a:pt x="4054" y="2694"/>
                  </a:cubicBezTo>
                  <a:cubicBezTo>
                    <a:pt x="4084" y="2665"/>
                    <a:pt x="4280" y="2462"/>
                    <a:pt x="4280" y="2326"/>
                  </a:cubicBezTo>
                  <a:lnTo>
                    <a:pt x="4280" y="2290"/>
                  </a:lnTo>
                  <a:cubicBezTo>
                    <a:pt x="4274" y="2278"/>
                    <a:pt x="4274" y="2266"/>
                    <a:pt x="4274" y="2255"/>
                  </a:cubicBezTo>
                  <a:cubicBezTo>
                    <a:pt x="4274" y="2130"/>
                    <a:pt x="4470" y="2088"/>
                    <a:pt x="4494" y="1987"/>
                  </a:cubicBezTo>
                  <a:cubicBezTo>
                    <a:pt x="4498" y="1968"/>
                    <a:pt x="4502" y="1951"/>
                    <a:pt x="4504" y="1934"/>
                  </a:cubicBezTo>
                  <a:lnTo>
                    <a:pt x="4504" y="2000"/>
                  </a:lnTo>
                  <a:cubicBezTo>
                    <a:pt x="4469" y="2108"/>
                    <a:pt x="4286" y="2145"/>
                    <a:pt x="4286" y="2255"/>
                  </a:cubicBezTo>
                  <a:cubicBezTo>
                    <a:pt x="4286" y="2266"/>
                    <a:pt x="4286" y="2278"/>
                    <a:pt x="4292" y="2290"/>
                  </a:cubicBezTo>
                  <a:cubicBezTo>
                    <a:pt x="4292" y="2302"/>
                    <a:pt x="4298" y="2314"/>
                    <a:pt x="4298" y="2326"/>
                  </a:cubicBezTo>
                  <a:cubicBezTo>
                    <a:pt x="4298" y="2474"/>
                    <a:pt x="4096" y="2671"/>
                    <a:pt x="4066" y="2706"/>
                  </a:cubicBezTo>
                  <a:cubicBezTo>
                    <a:pt x="4048" y="2718"/>
                    <a:pt x="3995" y="2837"/>
                    <a:pt x="3947" y="2938"/>
                  </a:cubicBezTo>
                  <a:cubicBezTo>
                    <a:pt x="3947" y="2944"/>
                    <a:pt x="3947" y="2944"/>
                    <a:pt x="3941" y="2944"/>
                  </a:cubicBezTo>
                  <a:cubicBezTo>
                    <a:pt x="3923" y="2944"/>
                    <a:pt x="3906" y="2950"/>
                    <a:pt x="3882" y="2956"/>
                  </a:cubicBezTo>
                  <a:cubicBezTo>
                    <a:pt x="3882" y="2968"/>
                    <a:pt x="3870" y="2986"/>
                    <a:pt x="3840" y="2992"/>
                  </a:cubicBezTo>
                  <a:cubicBezTo>
                    <a:pt x="3810" y="2986"/>
                    <a:pt x="3620" y="2920"/>
                    <a:pt x="3513" y="2920"/>
                  </a:cubicBezTo>
                  <a:cubicBezTo>
                    <a:pt x="3465" y="2920"/>
                    <a:pt x="3436" y="2879"/>
                    <a:pt x="3412" y="2837"/>
                  </a:cubicBezTo>
                  <a:cubicBezTo>
                    <a:pt x="3382" y="2801"/>
                    <a:pt x="3347" y="2766"/>
                    <a:pt x="3281" y="2766"/>
                  </a:cubicBezTo>
                  <a:lnTo>
                    <a:pt x="3246" y="2766"/>
                  </a:lnTo>
                  <a:cubicBezTo>
                    <a:pt x="3162" y="2784"/>
                    <a:pt x="3115" y="2837"/>
                    <a:pt x="3085" y="2885"/>
                  </a:cubicBezTo>
                  <a:cubicBezTo>
                    <a:pt x="3049" y="2938"/>
                    <a:pt x="3032" y="2992"/>
                    <a:pt x="2996" y="2998"/>
                  </a:cubicBezTo>
                  <a:cubicBezTo>
                    <a:pt x="2966" y="3004"/>
                    <a:pt x="2930" y="3033"/>
                    <a:pt x="2901" y="3057"/>
                  </a:cubicBezTo>
                  <a:cubicBezTo>
                    <a:pt x="2871" y="3087"/>
                    <a:pt x="2847" y="3111"/>
                    <a:pt x="2829" y="3111"/>
                  </a:cubicBezTo>
                  <a:lnTo>
                    <a:pt x="2788" y="3111"/>
                  </a:lnTo>
                  <a:cubicBezTo>
                    <a:pt x="2740" y="3111"/>
                    <a:pt x="2675" y="3117"/>
                    <a:pt x="2639" y="3152"/>
                  </a:cubicBezTo>
                  <a:cubicBezTo>
                    <a:pt x="2627" y="3164"/>
                    <a:pt x="2627" y="3176"/>
                    <a:pt x="2627" y="3188"/>
                  </a:cubicBezTo>
                  <a:cubicBezTo>
                    <a:pt x="2621" y="3212"/>
                    <a:pt x="2645" y="3235"/>
                    <a:pt x="2645" y="3265"/>
                  </a:cubicBezTo>
                  <a:cubicBezTo>
                    <a:pt x="2645" y="3277"/>
                    <a:pt x="2639" y="3289"/>
                    <a:pt x="2633" y="3301"/>
                  </a:cubicBezTo>
                  <a:cubicBezTo>
                    <a:pt x="2615" y="3313"/>
                    <a:pt x="2592" y="3319"/>
                    <a:pt x="2556" y="3319"/>
                  </a:cubicBezTo>
                  <a:cubicBezTo>
                    <a:pt x="2526" y="3319"/>
                    <a:pt x="2485" y="3313"/>
                    <a:pt x="2449" y="3313"/>
                  </a:cubicBezTo>
                  <a:cubicBezTo>
                    <a:pt x="2395" y="3313"/>
                    <a:pt x="2342" y="3319"/>
                    <a:pt x="2306" y="3348"/>
                  </a:cubicBezTo>
                  <a:cubicBezTo>
                    <a:pt x="2259" y="3384"/>
                    <a:pt x="2229" y="3432"/>
                    <a:pt x="2211" y="3473"/>
                  </a:cubicBezTo>
                  <a:cubicBezTo>
                    <a:pt x="2187" y="3515"/>
                    <a:pt x="2181" y="3556"/>
                    <a:pt x="2152" y="3556"/>
                  </a:cubicBezTo>
                  <a:cubicBezTo>
                    <a:pt x="2140" y="3556"/>
                    <a:pt x="2080" y="3598"/>
                    <a:pt x="2027" y="3675"/>
                  </a:cubicBezTo>
                  <a:cubicBezTo>
                    <a:pt x="1973" y="3747"/>
                    <a:pt x="1926" y="3848"/>
                    <a:pt x="1926" y="3955"/>
                  </a:cubicBezTo>
                  <a:cubicBezTo>
                    <a:pt x="1926" y="3979"/>
                    <a:pt x="1926" y="4008"/>
                    <a:pt x="1932" y="4038"/>
                  </a:cubicBezTo>
                  <a:lnTo>
                    <a:pt x="1932" y="4044"/>
                  </a:lnTo>
                  <a:lnTo>
                    <a:pt x="1926" y="4044"/>
                  </a:lnTo>
                  <a:cubicBezTo>
                    <a:pt x="1914" y="4044"/>
                    <a:pt x="1896" y="4038"/>
                    <a:pt x="1884" y="4038"/>
                  </a:cubicBezTo>
                  <a:cubicBezTo>
                    <a:pt x="1860" y="4038"/>
                    <a:pt x="1842" y="4050"/>
                    <a:pt x="1813" y="4121"/>
                  </a:cubicBezTo>
                  <a:cubicBezTo>
                    <a:pt x="1813" y="4133"/>
                    <a:pt x="1807" y="4145"/>
                    <a:pt x="1807" y="4157"/>
                  </a:cubicBezTo>
                  <a:cubicBezTo>
                    <a:pt x="1807" y="4216"/>
                    <a:pt x="1890" y="4210"/>
                    <a:pt x="1932" y="4270"/>
                  </a:cubicBezTo>
                  <a:cubicBezTo>
                    <a:pt x="1943" y="4294"/>
                    <a:pt x="1950" y="4317"/>
                    <a:pt x="1950" y="4341"/>
                  </a:cubicBezTo>
                  <a:cubicBezTo>
                    <a:pt x="1950" y="4407"/>
                    <a:pt x="1920" y="4484"/>
                    <a:pt x="1920" y="4502"/>
                  </a:cubicBezTo>
                  <a:cubicBezTo>
                    <a:pt x="1920" y="4525"/>
                    <a:pt x="1967" y="4668"/>
                    <a:pt x="1973" y="4734"/>
                  </a:cubicBezTo>
                  <a:cubicBezTo>
                    <a:pt x="1973" y="4769"/>
                    <a:pt x="1979" y="4775"/>
                    <a:pt x="1997" y="4787"/>
                  </a:cubicBezTo>
                  <a:cubicBezTo>
                    <a:pt x="2015" y="4799"/>
                    <a:pt x="2045" y="4811"/>
                    <a:pt x="2074" y="4841"/>
                  </a:cubicBezTo>
                  <a:cubicBezTo>
                    <a:pt x="2122" y="4888"/>
                    <a:pt x="2181" y="4989"/>
                    <a:pt x="2181" y="5061"/>
                  </a:cubicBezTo>
                  <a:cubicBezTo>
                    <a:pt x="2181" y="5072"/>
                    <a:pt x="2181" y="5084"/>
                    <a:pt x="2175" y="5090"/>
                  </a:cubicBezTo>
                  <a:lnTo>
                    <a:pt x="2175" y="5096"/>
                  </a:lnTo>
                  <a:cubicBezTo>
                    <a:pt x="2175" y="5096"/>
                    <a:pt x="2140" y="5120"/>
                    <a:pt x="2045" y="5120"/>
                  </a:cubicBezTo>
                  <a:cubicBezTo>
                    <a:pt x="1967" y="5120"/>
                    <a:pt x="1860" y="5102"/>
                    <a:pt x="1700" y="5043"/>
                  </a:cubicBezTo>
                  <a:lnTo>
                    <a:pt x="1694" y="5043"/>
                  </a:lnTo>
                  <a:cubicBezTo>
                    <a:pt x="1676" y="5043"/>
                    <a:pt x="1605" y="5049"/>
                    <a:pt x="1509" y="5173"/>
                  </a:cubicBezTo>
                  <a:cubicBezTo>
                    <a:pt x="1504" y="5173"/>
                    <a:pt x="1480" y="5197"/>
                    <a:pt x="1444" y="5197"/>
                  </a:cubicBezTo>
                  <a:cubicBezTo>
                    <a:pt x="1426" y="5197"/>
                    <a:pt x="1408" y="5191"/>
                    <a:pt x="1391" y="5173"/>
                  </a:cubicBezTo>
                  <a:lnTo>
                    <a:pt x="1385" y="5168"/>
                  </a:lnTo>
                  <a:cubicBezTo>
                    <a:pt x="1373" y="5168"/>
                    <a:pt x="1355" y="5203"/>
                    <a:pt x="1337" y="5239"/>
                  </a:cubicBezTo>
                  <a:cubicBezTo>
                    <a:pt x="1325" y="5265"/>
                    <a:pt x="1312" y="5290"/>
                    <a:pt x="1293" y="5304"/>
                  </a:cubicBezTo>
                  <a:lnTo>
                    <a:pt x="1231" y="5304"/>
                  </a:lnTo>
                  <a:cubicBezTo>
                    <a:pt x="1132" y="5261"/>
                    <a:pt x="884" y="5120"/>
                    <a:pt x="684" y="5120"/>
                  </a:cubicBezTo>
                  <a:cubicBezTo>
                    <a:pt x="642" y="5120"/>
                    <a:pt x="607" y="5126"/>
                    <a:pt x="571" y="5144"/>
                  </a:cubicBezTo>
                  <a:cubicBezTo>
                    <a:pt x="446" y="5197"/>
                    <a:pt x="405" y="5233"/>
                    <a:pt x="363" y="5233"/>
                  </a:cubicBezTo>
                  <a:cubicBezTo>
                    <a:pt x="321" y="5233"/>
                    <a:pt x="292" y="5203"/>
                    <a:pt x="208" y="5120"/>
                  </a:cubicBezTo>
                  <a:cubicBezTo>
                    <a:pt x="101" y="5012"/>
                    <a:pt x="41" y="4991"/>
                    <a:pt x="0" y="4984"/>
                  </a:cubicBezTo>
                  <a:lnTo>
                    <a:pt x="0" y="4962"/>
                  </a:lnTo>
                  <a:cubicBezTo>
                    <a:pt x="166" y="4883"/>
                    <a:pt x="381" y="4668"/>
                    <a:pt x="458" y="4668"/>
                  </a:cubicBezTo>
                  <a:cubicBezTo>
                    <a:pt x="530" y="4668"/>
                    <a:pt x="726" y="4626"/>
                    <a:pt x="779" y="4615"/>
                  </a:cubicBezTo>
                  <a:cubicBezTo>
                    <a:pt x="761" y="4597"/>
                    <a:pt x="708" y="4555"/>
                    <a:pt x="625" y="4508"/>
                  </a:cubicBezTo>
                  <a:cubicBezTo>
                    <a:pt x="571" y="4484"/>
                    <a:pt x="494" y="4454"/>
                    <a:pt x="434" y="4424"/>
                  </a:cubicBezTo>
                  <a:cubicBezTo>
                    <a:pt x="375" y="4395"/>
                    <a:pt x="327" y="4365"/>
                    <a:pt x="327" y="4323"/>
                  </a:cubicBezTo>
                  <a:cubicBezTo>
                    <a:pt x="327" y="4252"/>
                    <a:pt x="434" y="4157"/>
                    <a:pt x="446" y="4145"/>
                  </a:cubicBezTo>
                  <a:cubicBezTo>
                    <a:pt x="458" y="4097"/>
                    <a:pt x="458" y="4056"/>
                    <a:pt x="458" y="4020"/>
                  </a:cubicBezTo>
                  <a:cubicBezTo>
                    <a:pt x="464" y="3753"/>
                    <a:pt x="244" y="3735"/>
                    <a:pt x="101" y="3592"/>
                  </a:cubicBezTo>
                  <a:cubicBezTo>
                    <a:pt x="54" y="3545"/>
                    <a:pt x="30" y="3485"/>
                    <a:pt x="30" y="3432"/>
                  </a:cubicBezTo>
                  <a:cubicBezTo>
                    <a:pt x="30" y="3301"/>
                    <a:pt x="143" y="3176"/>
                    <a:pt x="244" y="3170"/>
                  </a:cubicBezTo>
                  <a:cubicBezTo>
                    <a:pt x="333" y="3170"/>
                    <a:pt x="470" y="3200"/>
                    <a:pt x="601" y="3200"/>
                  </a:cubicBezTo>
                  <a:cubicBezTo>
                    <a:pt x="672" y="3200"/>
                    <a:pt x="744" y="3194"/>
                    <a:pt x="803" y="3164"/>
                  </a:cubicBezTo>
                  <a:cubicBezTo>
                    <a:pt x="863" y="3146"/>
                    <a:pt x="904" y="3134"/>
                    <a:pt x="945" y="3134"/>
                  </a:cubicBezTo>
                  <a:cubicBezTo>
                    <a:pt x="1028" y="3134"/>
                    <a:pt x="1093" y="3164"/>
                    <a:pt x="1230" y="3164"/>
                  </a:cubicBezTo>
                  <a:cubicBezTo>
                    <a:pt x="1367" y="3164"/>
                    <a:pt x="1385" y="3051"/>
                    <a:pt x="1385" y="2950"/>
                  </a:cubicBezTo>
                  <a:lnTo>
                    <a:pt x="1385" y="2837"/>
                  </a:lnTo>
                  <a:cubicBezTo>
                    <a:pt x="1385" y="2760"/>
                    <a:pt x="1438" y="2700"/>
                    <a:pt x="1438" y="2700"/>
                  </a:cubicBezTo>
                  <a:cubicBezTo>
                    <a:pt x="1444" y="2694"/>
                    <a:pt x="1444" y="2694"/>
                    <a:pt x="1444" y="2694"/>
                  </a:cubicBezTo>
                  <a:cubicBezTo>
                    <a:pt x="1611" y="2694"/>
                    <a:pt x="1741" y="2653"/>
                    <a:pt x="1831" y="2605"/>
                  </a:cubicBezTo>
                  <a:cubicBezTo>
                    <a:pt x="1926" y="2558"/>
                    <a:pt x="1973" y="2492"/>
                    <a:pt x="1973" y="2462"/>
                  </a:cubicBezTo>
                  <a:cubicBezTo>
                    <a:pt x="1973" y="2385"/>
                    <a:pt x="2068" y="2367"/>
                    <a:pt x="2211" y="2332"/>
                  </a:cubicBezTo>
                  <a:cubicBezTo>
                    <a:pt x="2276" y="2320"/>
                    <a:pt x="2354" y="2219"/>
                    <a:pt x="2407" y="2118"/>
                  </a:cubicBezTo>
                  <a:cubicBezTo>
                    <a:pt x="2461" y="2034"/>
                    <a:pt x="2497" y="1957"/>
                    <a:pt x="2508" y="1933"/>
                  </a:cubicBezTo>
                  <a:cubicBezTo>
                    <a:pt x="2384" y="1892"/>
                    <a:pt x="2366" y="1785"/>
                    <a:pt x="2366" y="1719"/>
                  </a:cubicBezTo>
                  <a:lnTo>
                    <a:pt x="2366" y="1672"/>
                  </a:lnTo>
                  <a:cubicBezTo>
                    <a:pt x="2271" y="1660"/>
                    <a:pt x="2068" y="1476"/>
                    <a:pt x="2068" y="1238"/>
                  </a:cubicBezTo>
                  <a:cubicBezTo>
                    <a:pt x="2068" y="1000"/>
                    <a:pt x="1955" y="703"/>
                    <a:pt x="1896" y="637"/>
                  </a:cubicBezTo>
                  <a:cubicBezTo>
                    <a:pt x="1878" y="625"/>
                    <a:pt x="1860" y="608"/>
                    <a:pt x="1842" y="578"/>
                  </a:cubicBezTo>
                  <a:lnTo>
                    <a:pt x="1842" y="572"/>
                  </a:lnTo>
                  <a:cubicBezTo>
                    <a:pt x="1872" y="501"/>
                    <a:pt x="1920" y="406"/>
                    <a:pt x="1961" y="334"/>
                  </a:cubicBezTo>
                  <a:cubicBezTo>
                    <a:pt x="2003" y="257"/>
                    <a:pt x="2045" y="203"/>
                    <a:pt x="2080" y="203"/>
                  </a:cubicBezTo>
                  <a:cubicBezTo>
                    <a:pt x="2128" y="203"/>
                    <a:pt x="2187" y="180"/>
                    <a:pt x="2235" y="150"/>
                  </a:cubicBezTo>
                  <a:cubicBezTo>
                    <a:pt x="2282" y="120"/>
                    <a:pt x="2318" y="73"/>
                    <a:pt x="2318" y="25"/>
                  </a:cubicBezTo>
                  <a:cubicBezTo>
                    <a:pt x="2318" y="13"/>
                    <a:pt x="2318" y="7"/>
                    <a:pt x="2324" y="1"/>
                  </a:cubicBezTo>
                  <a:cubicBezTo>
                    <a:pt x="2325" y="1"/>
                    <a:pt x="2325" y="1"/>
                    <a:pt x="2325" y="0"/>
                  </a:cubicBezTo>
                  <a:lnTo>
                    <a:pt x="2376" y="0"/>
                  </a:lnTo>
                </a:path>
              </a:pathLst>
            </a:custGeom>
            <a:grpFill/>
            <a:ln w="28575" cap="flat" cmpd="sng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21" name="Freeform 484"/>
            <p:cNvSpPr>
              <a:spLocks noChangeArrowheads="1"/>
            </p:cNvSpPr>
            <p:nvPr/>
          </p:nvSpPr>
          <p:spPr bwMode="auto">
            <a:xfrm>
              <a:off x="19959544" y="10924977"/>
              <a:ext cx="797096" cy="1714318"/>
            </a:xfrm>
            <a:custGeom>
              <a:avLst/>
              <a:gdLst>
                <a:gd name="T0" fmla="*/ 1113 w 1553"/>
                <a:gd name="T1" fmla="*/ 3303 h 3336"/>
                <a:gd name="T2" fmla="*/ 1113 w 1553"/>
                <a:gd name="T3" fmla="*/ 3303 h 3336"/>
                <a:gd name="T4" fmla="*/ 1203 w 1553"/>
                <a:gd name="T5" fmla="*/ 3010 h 3336"/>
                <a:gd name="T6" fmla="*/ 1253 w 1553"/>
                <a:gd name="T7" fmla="*/ 2959 h 3336"/>
                <a:gd name="T8" fmla="*/ 1304 w 1553"/>
                <a:gd name="T9" fmla="*/ 2876 h 3336"/>
                <a:gd name="T10" fmla="*/ 1285 w 1553"/>
                <a:gd name="T11" fmla="*/ 2813 h 3336"/>
                <a:gd name="T12" fmla="*/ 1234 w 1553"/>
                <a:gd name="T13" fmla="*/ 2768 h 3336"/>
                <a:gd name="T14" fmla="*/ 1317 w 1553"/>
                <a:gd name="T15" fmla="*/ 2692 h 3336"/>
                <a:gd name="T16" fmla="*/ 1349 w 1553"/>
                <a:gd name="T17" fmla="*/ 2590 h 3336"/>
                <a:gd name="T18" fmla="*/ 1387 w 1553"/>
                <a:gd name="T19" fmla="*/ 2494 h 3336"/>
                <a:gd name="T20" fmla="*/ 1502 w 1553"/>
                <a:gd name="T21" fmla="*/ 1801 h 3336"/>
                <a:gd name="T22" fmla="*/ 1502 w 1553"/>
                <a:gd name="T23" fmla="*/ 1744 h 3336"/>
                <a:gd name="T24" fmla="*/ 1533 w 1553"/>
                <a:gd name="T25" fmla="*/ 1616 h 3336"/>
                <a:gd name="T26" fmla="*/ 1489 w 1553"/>
                <a:gd name="T27" fmla="*/ 1387 h 3336"/>
                <a:gd name="T28" fmla="*/ 1489 w 1553"/>
                <a:gd name="T29" fmla="*/ 1247 h 3336"/>
                <a:gd name="T30" fmla="*/ 1451 w 1553"/>
                <a:gd name="T31" fmla="*/ 1088 h 3336"/>
                <a:gd name="T32" fmla="*/ 1406 w 1553"/>
                <a:gd name="T33" fmla="*/ 974 h 3336"/>
                <a:gd name="T34" fmla="*/ 1368 w 1553"/>
                <a:gd name="T35" fmla="*/ 814 h 3336"/>
                <a:gd name="T36" fmla="*/ 1304 w 1553"/>
                <a:gd name="T37" fmla="*/ 865 h 3336"/>
                <a:gd name="T38" fmla="*/ 1285 w 1553"/>
                <a:gd name="T39" fmla="*/ 662 h 3336"/>
                <a:gd name="T40" fmla="*/ 1304 w 1553"/>
                <a:gd name="T41" fmla="*/ 375 h 3336"/>
                <a:gd name="T42" fmla="*/ 1234 w 1553"/>
                <a:gd name="T43" fmla="*/ 121 h 3336"/>
                <a:gd name="T44" fmla="*/ 1177 w 1553"/>
                <a:gd name="T45" fmla="*/ 0 h 3336"/>
                <a:gd name="T46" fmla="*/ 1056 w 1553"/>
                <a:gd name="T47" fmla="*/ 51 h 3336"/>
                <a:gd name="T48" fmla="*/ 1094 w 1553"/>
                <a:gd name="T49" fmla="*/ 191 h 3336"/>
                <a:gd name="T50" fmla="*/ 1043 w 1553"/>
                <a:gd name="T51" fmla="*/ 248 h 3336"/>
                <a:gd name="T52" fmla="*/ 1062 w 1553"/>
                <a:gd name="T53" fmla="*/ 452 h 3336"/>
                <a:gd name="T54" fmla="*/ 1069 w 1553"/>
                <a:gd name="T55" fmla="*/ 655 h 3336"/>
                <a:gd name="T56" fmla="*/ 935 w 1553"/>
                <a:gd name="T57" fmla="*/ 592 h 3336"/>
                <a:gd name="T58" fmla="*/ 865 w 1553"/>
                <a:gd name="T59" fmla="*/ 662 h 3336"/>
                <a:gd name="T60" fmla="*/ 782 w 1553"/>
                <a:gd name="T61" fmla="*/ 611 h 3336"/>
                <a:gd name="T62" fmla="*/ 681 w 1553"/>
                <a:gd name="T63" fmla="*/ 776 h 3336"/>
                <a:gd name="T64" fmla="*/ 413 w 1553"/>
                <a:gd name="T65" fmla="*/ 904 h 3336"/>
                <a:gd name="T66" fmla="*/ 299 w 1553"/>
                <a:gd name="T67" fmla="*/ 929 h 3336"/>
                <a:gd name="T68" fmla="*/ 280 w 1553"/>
                <a:gd name="T69" fmla="*/ 1012 h 3336"/>
                <a:gd name="T70" fmla="*/ 210 w 1553"/>
                <a:gd name="T71" fmla="*/ 980 h 3336"/>
                <a:gd name="T72" fmla="*/ 203 w 1553"/>
                <a:gd name="T73" fmla="*/ 1075 h 3336"/>
                <a:gd name="T74" fmla="*/ 120 w 1553"/>
                <a:gd name="T75" fmla="*/ 1305 h 3336"/>
                <a:gd name="T76" fmla="*/ 0 w 1553"/>
                <a:gd name="T77" fmla="*/ 1457 h 3336"/>
                <a:gd name="T78" fmla="*/ 178 w 1553"/>
                <a:gd name="T79" fmla="*/ 1585 h 3336"/>
                <a:gd name="T80" fmla="*/ 25 w 1553"/>
                <a:gd name="T81" fmla="*/ 1661 h 3336"/>
                <a:gd name="T82" fmla="*/ 57 w 1553"/>
                <a:gd name="T83" fmla="*/ 1731 h 3336"/>
                <a:gd name="T84" fmla="*/ 146 w 1553"/>
                <a:gd name="T85" fmla="*/ 1864 h 3336"/>
                <a:gd name="T86" fmla="*/ 292 w 1553"/>
                <a:gd name="T87" fmla="*/ 1960 h 3336"/>
                <a:gd name="T88" fmla="*/ 140 w 1553"/>
                <a:gd name="T89" fmla="*/ 2310 h 3336"/>
                <a:gd name="T90" fmla="*/ 241 w 1553"/>
                <a:gd name="T91" fmla="*/ 2285 h 3336"/>
                <a:gd name="T92" fmla="*/ 337 w 1553"/>
                <a:gd name="T93" fmla="*/ 2297 h 3336"/>
                <a:gd name="T94" fmla="*/ 394 w 1553"/>
                <a:gd name="T95" fmla="*/ 2444 h 3336"/>
                <a:gd name="T96" fmla="*/ 305 w 1553"/>
                <a:gd name="T97" fmla="*/ 2666 h 3336"/>
                <a:gd name="T98" fmla="*/ 388 w 1553"/>
                <a:gd name="T99" fmla="*/ 2666 h 3336"/>
                <a:gd name="T100" fmla="*/ 604 w 1553"/>
                <a:gd name="T101" fmla="*/ 2692 h 3336"/>
                <a:gd name="T102" fmla="*/ 432 w 1553"/>
                <a:gd name="T103" fmla="*/ 2940 h 3336"/>
                <a:gd name="T104" fmla="*/ 483 w 1553"/>
                <a:gd name="T105" fmla="*/ 2991 h 3336"/>
                <a:gd name="T106" fmla="*/ 566 w 1553"/>
                <a:gd name="T107" fmla="*/ 3074 h 3336"/>
                <a:gd name="T108" fmla="*/ 751 w 1553"/>
                <a:gd name="T109" fmla="*/ 3137 h 3336"/>
                <a:gd name="T110" fmla="*/ 891 w 1553"/>
                <a:gd name="T111" fmla="*/ 3163 h 3336"/>
                <a:gd name="T112" fmla="*/ 1113 w 1553"/>
                <a:gd name="T113" fmla="*/ 3303 h 3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53" h="3336">
                  <a:moveTo>
                    <a:pt x="1113" y="3303"/>
                  </a:moveTo>
                  <a:lnTo>
                    <a:pt x="1113" y="3303"/>
                  </a:lnTo>
                  <a:cubicBezTo>
                    <a:pt x="1113" y="3303"/>
                    <a:pt x="1221" y="3303"/>
                    <a:pt x="1203" y="3010"/>
                  </a:cubicBezTo>
                  <a:cubicBezTo>
                    <a:pt x="1203" y="3010"/>
                    <a:pt x="1203" y="2972"/>
                    <a:pt x="1253" y="2959"/>
                  </a:cubicBezTo>
                  <a:cubicBezTo>
                    <a:pt x="1304" y="2946"/>
                    <a:pt x="1279" y="2902"/>
                    <a:pt x="1304" y="2876"/>
                  </a:cubicBezTo>
                  <a:cubicBezTo>
                    <a:pt x="1323" y="2857"/>
                    <a:pt x="1304" y="2838"/>
                    <a:pt x="1285" y="2813"/>
                  </a:cubicBezTo>
                  <a:cubicBezTo>
                    <a:pt x="1260" y="2794"/>
                    <a:pt x="1215" y="2794"/>
                    <a:pt x="1234" y="2768"/>
                  </a:cubicBezTo>
                  <a:cubicBezTo>
                    <a:pt x="1260" y="2749"/>
                    <a:pt x="1285" y="2724"/>
                    <a:pt x="1317" y="2692"/>
                  </a:cubicBezTo>
                  <a:cubicBezTo>
                    <a:pt x="1349" y="2660"/>
                    <a:pt x="1323" y="2609"/>
                    <a:pt x="1349" y="2590"/>
                  </a:cubicBezTo>
                  <a:cubicBezTo>
                    <a:pt x="1374" y="2565"/>
                    <a:pt x="1406" y="2539"/>
                    <a:pt x="1387" y="2494"/>
                  </a:cubicBezTo>
                  <a:cubicBezTo>
                    <a:pt x="1374" y="2450"/>
                    <a:pt x="1190" y="2202"/>
                    <a:pt x="1502" y="1801"/>
                  </a:cubicBezTo>
                  <a:cubicBezTo>
                    <a:pt x="1502" y="1801"/>
                    <a:pt x="1533" y="1775"/>
                    <a:pt x="1502" y="1744"/>
                  </a:cubicBezTo>
                  <a:cubicBezTo>
                    <a:pt x="1476" y="1718"/>
                    <a:pt x="1521" y="1635"/>
                    <a:pt x="1533" y="1616"/>
                  </a:cubicBezTo>
                  <a:cubicBezTo>
                    <a:pt x="1552" y="1603"/>
                    <a:pt x="1508" y="1438"/>
                    <a:pt x="1489" y="1387"/>
                  </a:cubicBezTo>
                  <a:cubicBezTo>
                    <a:pt x="1470" y="1336"/>
                    <a:pt x="1489" y="1273"/>
                    <a:pt x="1489" y="1247"/>
                  </a:cubicBezTo>
                  <a:cubicBezTo>
                    <a:pt x="1489" y="1228"/>
                    <a:pt x="1413" y="1209"/>
                    <a:pt x="1451" y="1088"/>
                  </a:cubicBezTo>
                  <a:cubicBezTo>
                    <a:pt x="1451" y="1088"/>
                    <a:pt x="1438" y="999"/>
                    <a:pt x="1406" y="974"/>
                  </a:cubicBezTo>
                  <a:cubicBezTo>
                    <a:pt x="1381" y="942"/>
                    <a:pt x="1432" y="827"/>
                    <a:pt x="1368" y="814"/>
                  </a:cubicBezTo>
                  <a:cubicBezTo>
                    <a:pt x="1304" y="795"/>
                    <a:pt x="1362" y="872"/>
                    <a:pt x="1304" y="865"/>
                  </a:cubicBezTo>
                  <a:cubicBezTo>
                    <a:pt x="1247" y="853"/>
                    <a:pt x="1266" y="706"/>
                    <a:pt x="1285" y="662"/>
                  </a:cubicBezTo>
                  <a:cubicBezTo>
                    <a:pt x="1304" y="611"/>
                    <a:pt x="1349" y="471"/>
                    <a:pt x="1304" y="375"/>
                  </a:cubicBezTo>
                  <a:cubicBezTo>
                    <a:pt x="1266" y="286"/>
                    <a:pt x="1266" y="178"/>
                    <a:pt x="1234" y="121"/>
                  </a:cubicBezTo>
                  <a:cubicBezTo>
                    <a:pt x="1203" y="63"/>
                    <a:pt x="1247" y="13"/>
                    <a:pt x="1177" y="0"/>
                  </a:cubicBezTo>
                  <a:cubicBezTo>
                    <a:pt x="1177" y="0"/>
                    <a:pt x="1056" y="13"/>
                    <a:pt x="1056" y="51"/>
                  </a:cubicBezTo>
                  <a:cubicBezTo>
                    <a:pt x="1056" y="89"/>
                    <a:pt x="1094" y="152"/>
                    <a:pt x="1094" y="191"/>
                  </a:cubicBezTo>
                  <a:cubicBezTo>
                    <a:pt x="1094" y="229"/>
                    <a:pt x="1043" y="216"/>
                    <a:pt x="1043" y="248"/>
                  </a:cubicBezTo>
                  <a:cubicBezTo>
                    <a:pt x="1043" y="280"/>
                    <a:pt x="1037" y="426"/>
                    <a:pt x="1062" y="452"/>
                  </a:cubicBezTo>
                  <a:cubicBezTo>
                    <a:pt x="1088" y="477"/>
                    <a:pt x="1139" y="636"/>
                    <a:pt x="1069" y="655"/>
                  </a:cubicBezTo>
                  <a:cubicBezTo>
                    <a:pt x="992" y="681"/>
                    <a:pt x="973" y="592"/>
                    <a:pt x="935" y="592"/>
                  </a:cubicBezTo>
                  <a:cubicBezTo>
                    <a:pt x="891" y="592"/>
                    <a:pt x="891" y="662"/>
                    <a:pt x="865" y="662"/>
                  </a:cubicBezTo>
                  <a:cubicBezTo>
                    <a:pt x="840" y="662"/>
                    <a:pt x="821" y="611"/>
                    <a:pt x="782" y="611"/>
                  </a:cubicBezTo>
                  <a:cubicBezTo>
                    <a:pt x="751" y="611"/>
                    <a:pt x="681" y="712"/>
                    <a:pt x="681" y="776"/>
                  </a:cubicBezTo>
                  <a:cubicBezTo>
                    <a:pt x="681" y="833"/>
                    <a:pt x="521" y="763"/>
                    <a:pt x="413" y="904"/>
                  </a:cubicBezTo>
                  <a:cubicBezTo>
                    <a:pt x="413" y="904"/>
                    <a:pt x="324" y="904"/>
                    <a:pt x="299" y="929"/>
                  </a:cubicBezTo>
                  <a:cubicBezTo>
                    <a:pt x="280" y="948"/>
                    <a:pt x="312" y="1012"/>
                    <a:pt x="280" y="1012"/>
                  </a:cubicBezTo>
                  <a:cubicBezTo>
                    <a:pt x="241" y="1012"/>
                    <a:pt x="241" y="954"/>
                    <a:pt x="210" y="980"/>
                  </a:cubicBezTo>
                  <a:cubicBezTo>
                    <a:pt x="184" y="1012"/>
                    <a:pt x="222" y="1056"/>
                    <a:pt x="203" y="1075"/>
                  </a:cubicBezTo>
                  <a:cubicBezTo>
                    <a:pt x="184" y="1101"/>
                    <a:pt x="101" y="1113"/>
                    <a:pt x="120" y="1305"/>
                  </a:cubicBezTo>
                  <a:cubicBezTo>
                    <a:pt x="120" y="1305"/>
                    <a:pt x="0" y="1387"/>
                    <a:pt x="0" y="1457"/>
                  </a:cubicBezTo>
                  <a:cubicBezTo>
                    <a:pt x="0" y="1521"/>
                    <a:pt x="178" y="1527"/>
                    <a:pt x="178" y="1585"/>
                  </a:cubicBezTo>
                  <a:cubicBezTo>
                    <a:pt x="178" y="1642"/>
                    <a:pt x="25" y="1597"/>
                    <a:pt x="25" y="1661"/>
                  </a:cubicBezTo>
                  <a:cubicBezTo>
                    <a:pt x="25" y="1731"/>
                    <a:pt x="57" y="1674"/>
                    <a:pt x="57" y="1731"/>
                  </a:cubicBezTo>
                  <a:cubicBezTo>
                    <a:pt x="57" y="1782"/>
                    <a:pt x="50" y="1864"/>
                    <a:pt x="146" y="1864"/>
                  </a:cubicBezTo>
                  <a:cubicBezTo>
                    <a:pt x="241" y="1864"/>
                    <a:pt x="292" y="1915"/>
                    <a:pt x="292" y="1960"/>
                  </a:cubicBezTo>
                  <a:cubicBezTo>
                    <a:pt x="292" y="2004"/>
                    <a:pt x="50" y="2189"/>
                    <a:pt x="140" y="2310"/>
                  </a:cubicBezTo>
                  <a:cubicBezTo>
                    <a:pt x="140" y="2310"/>
                    <a:pt x="197" y="2329"/>
                    <a:pt x="241" y="2285"/>
                  </a:cubicBezTo>
                  <a:cubicBezTo>
                    <a:pt x="280" y="2240"/>
                    <a:pt x="280" y="2355"/>
                    <a:pt x="337" y="2297"/>
                  </a:cubicBezTo>
                  <a:cubicBezTo>
                    <a:pt x="394" y="2240"/>
                    <a:pt x="464" y="2367"/>
                    <a:pt x="394" y="2444"/>
                  </a:cubicBezTo>
                  <a:cubicBezTo>
                    <a:pt x="324" y="2514"/>
                    <a:pt x="254" y="2641"/>
                    <a:pt x="305" y="2666"/>
                  </a:cubicBezTo>
                  <a:cubicBezTo>
                    <a:pt x="362" y="2692"/>
                    <a:pt x="343" y="2635"/>
                    <a:pt x="388" y="2666"/>
                  </a:cubicBezTo>
                  <a:cubicBezTo>
                    <a:pt x="432" y="2692"/>
                    <a:pt x="579" y="2635"/>
                    <a:pt x="604" y="2692"/>
                  </a:cubicBezTo>
                  <a:cubicBezTo>
                    <a:pt x="630" y="2743"/>
                    <a:pt x="388" y="2800"/>
                    <a:pt x="432" y="2940"/>
                  </a:cubicBezTo>
                  <a:cubicBezTo>
                    <a:pt x="432" y="2940"/>
                    <a:pt x="458" y="2966"/>
                    <a:pt x="483" y="2991"/>
                  </a:cubicBezTo>
                  <a:cubicBezTo>
                    <a:pt x="509" y="3010"/>
                    <a:pt x="534" y="3074"/>
                    <a:pt x="566" y="3074"/>
                  </a:cubicBezTo>
                  <a:cubicBezTo>
                    <a:pt x="598" y="3074"/>
                    <a:pt x="693" y="3105"/>
                    <a:pt x="751" y="3137"/>
                  </a:cubicBezTo>
                  <a:cubicBezTo>
                    <a:pt x="808" y="3163"/>
                    <a:pt x="852" y="3125"/>
                    <a:pt x="891" y="3163"/>
                  </a:cubicBezTo>
                  <a:cubicBezTo>
                    <a:pt x="929" y="3201"/>
                    <a:pt x="961" y="3335"/>
                    <a:pt x="1113" y="3303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22" name="Freeform 485"/>
            <p:cNvSpPr>
              <a:spLocks noChangeArrowheads="1"/>
            </p:cNvSpPr>
            <p:nvPr/>
          </p:nvSpPr>
          <p:spPr bwMode="auto">
            <a:xfrm>
              <a:off x="15172446" y="2878775"/>
              <a:ext cx="1827432" cy="1157222"/>
            </a:xfrm>
            <a:custGeom>
              <a:avLst/>
              <a:gdLst>
                <a:gd name="T0" fmla="*/ 382 w 3557"/>
                <a:gd name="T1" fmla="*/ 1623 h 2254"/>
                <a:gd name="T2" fmla="*/ 382 w 3557"/>
                <a:gd name="T3" fmla="*/ 1623 h 2254"/>
                <a:gd name="T4" fmla="*/ 1024 w 3557"/>
                <a:gd name="T5" fmla="*/ 1928 h 2254"/>
                <a:gd name="T6" fmla="*/ 2048 w 3557"/>
                <a:gd name="T7" fmla="*/ 2253 h 2254"/>
                <a:gd name="T8" fmla="*/ 3493 w 3557"/>
                <a:gd name="T9" fmla="*/ 2227 h 2254"/>
                <a:gd name="T10" fmla="*/ 3512 w 3557"/>
                <a:gd name="T11" fmla="*/ 2170 h 2254"/>
                <a:gd name="T12" fmla="*/ 3416 w 3557"/>
                <a:gd name="T13" fmla="*/ 1935 h 2254"/>
                <a:gd name="T14" fmla="*/ 3493 w 3557"/>
                <a:gd name="T15" fmla="*/ 1776 h 2254"/>
                <a:gd name="T16" fmla="*/ 3085 w 3557"/>
                <a:gd name="T17" fmla="*/ 1604 h 2254"/>
                <a:gd name="T18" fmla="*/ 2875 w 3557"/>
                <a:gd name="T19" fmla="*/ 1591 h 2254"/>
                <a:gd name="T20" fmla="*/ 2595 w 3557"/>
                <a:gd name="T21" fmla="*/ 1203 h 2254"/>
                <a:gd name="T22" fmla="*/ 2271 w 3557"/>
                <a:gd name="T23" fmla="*/ 1005 h 2254"/>
                <a:gd name="T24" fmla="*/ 2182 w 3557"/>
                <a:gd name="T25" fmla="*/ 719 h 2254"/>
                <a:gd name="T26" fmla="*/ 1743 w 3557"/>
                <a:gd name="T27" fmla="*/ 802 h 2254"/>
                <a:gd name="T28" fmla="*/ 1571 w 3557"/>
                <a:gd name="T29" fmla="*/ 623 h 2254"/>
                <a:gd name="T30" fmla="*/ 1399 w 3557"/>
                <a:gd name="T31" fmla="*/ 534 h 2254"/>
                <a:gd name="T32" fmla="*/ 1316 w 3557"/>
                <a:gd name="T33" fmla="*/ 32 h 2254"/>
                <a:gd name="T34" fmla="*/ 738 w 3557"/>
                <a:gd name="T35" fmla="*/ 159 h 2254"/>
                <a:gd name="T36" fmla="*/ 121 w 3557"/>
                <a:gd name="T37" fmla="*/ 452 h 2254"/>
                <a:gd name="T38" fmla="*/ 76 w 3557"/>
                <a:gd name="T39" fmla="*/ 1553 h 2254"/>
                <a:gd name="T40" fmla="*/ 382 w 3557"/>
                <a:gd name="T41" fmla="*/ 1623 h 2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57" h="2254">
                  <a:moveTo>
                    <a:pt x="382" y="1623"/>
                  </a:moveTo>
                  <a:lnTo>
                    <a:pt x="382" y="1623"/>
                  </a:lnTo>
                  <a:cubicBezTo>
                    <a:pt x="611" y="1756"/>
                    <a:pt x="929" y="1928"/>
                    <a:pt x="1024" y="1928"/>
                  </a:cubicBezTo>
                  <a:cubicBezTo>
                    <a:pt x="1119" y="1928"/>
                    <a:pt x="1692" y="2253"/>
                    <a:pt x="2048" y="2253"/>
                  </a:cubicBezTo>
                  <a:cubicBezTo>
                    <a:pt x="2385" y="2253"/>
                    <a:pt x="2863" y="2056"/>
                    <a:pt x="3493" y="2227"/>
                  </a:cubicBezTo>
                  <a:cubicBezTo>
                    <a:pt x="3499" y="2208"/>
                    <a:pt x="3506" y="2189"/>
                    <a:pt x="3512" y="2170"/>
                  </a:cubicBezTo>
                  <a:cubicBezTo>
                    <a:pt x="3556" y="2017"/>
                    <a:pt x="3416" y="1935"/>
                    <a:pt x="3416" y="1935"/>
                  </a:cubicBezTo>
                  <a:cubicBezTo>
                    <a:pt x="3499" y="1858"/>
                    <a:pt x="3493" y="1776"/>
                    <a:pt x="3493" y="1776"/>
                  </a:cubicBezTo>
                  <a:cubicBezTo>
                    <a:pt x="3397" y="1496"/>
                    <a:pt x="3085" y="1604"/>
                    <a:pt x="3085" y="1604"/>
                  </a:cubicBezTo>
                  <a:cubicBezTo>
                    <a:pt x="3085" y="1604"/>
                    <a:pt x="2990" y="1553"/>
                    <a:pt x="2875" y="1591"/>
                  </a:cubicBezTo>
                  <a:cubicBezTo>
                    <a:pt x="2754" y="1629"/>
                    <a:pt x="2805" y="1114"/>
                    <a:pt x="2595" y="1203"/>
                  </a:cubicBezTo>
                  <a:cubicBezTo>
                    <a:pt x="2385" y="1292"/>
                    <a:pt x="2271" y="1196"/>
                    <a:pt x="2271" y="1005"/>
                  </a:cubicBezTo>
                  <a:cubicBezTo>
                    <a:pt x="2271" y="814"/>
                    <a:pt x="2182" y="719"/>
                    <a:pt x="2182" y="719"/>
                  </a:cubicBezTo>
                  <a:cubicBezTo>
                    <a:pt x="2080" y="617"/>
                    <a:pt x="1794" y="757"/>
                    <a:pt x="1743" y="802"/>
                  </a:cubicBezTo>
                  <a:cubicBezTo>
                    <a:pt x="1717" y="827"/>
                    <a:pt x="1653" y="687"/>
                    <a:pt x="1571" y="623"/>
                  </a:cubicBezTo>
                  <a:cubicBezTo>
                    <a:pt x="1494" y="566"/>
                    <a:pt x="1399" y="592"/>
                    <a:pt x="1399" y="534"/>
                  </a:cubicBezTo>
                  <a:cubicBezTo>
                    <a:pt x="1399" y="197"/>
                    <a:pt x="1316" y="32"/>
                    <a:pt x="1316" y="32"/>
                  </a:cubicBezTo>
                  <a:cubicBezTo>
                    <a:pt x="1284" y="0"/>
                    <a:pt x="1012" y="32"/>
                    <a:pt x="738" y="159"/>
                  </a:cubicBezTo>
                  <a:cubicBezTo>
                    <a:pt x="490" y="267"/>
                    <a:pt x="210" y="229"/>
                    <a:pt x="121" y="452"/>
                  </a:cubicBezTo>
                  <a:cubicBezTo>
                    <a:pt x="0" y="770"/>
                    <a:pt x="44" y="1273"/>
                    <a:pt x="76" y="1553"/>
                  </a:cubicBezTo>
                  <a:cubicBezTo>
                    <a:pt x="133" y="1540"/>
                    <a:pt x="242" y="1540"/>
                    <a:pt x="382" y="1623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23" name="Freeform 486"/>
            <p:cNvSpPr>
              <a:spLocks noChangeArrowheads="1"/>
            </p:cNvSpPr>
            <p:nvPr/>
          </p:nvSpPr>
          <p:spPr bwMode="auto">
            <a:xfrm>
              <a:off x="15050165" y="3669127"/>
              <a:ext cx="1940655" cy="1555794"/>
            </a:xfrm>
            <a:custGeom>
              <a:avLst/>
              <a:gdLst>
                <a:gd name="T0" fmla="*/ 465 w 3781"/>
                <a:gd name="T1" fmla="*/ 1254 h 3030"/>
                <a:gd name="T2" fmla="*/ 465 w 3781"/>
                <a:gd name="T3" fmla="*/ 1254 h 3030"/>
                <a:gd name="T4" fmla="*/ 388 w 3781"/>
                <a:gd name="T5" fmla="*/ 1610 h 3030"/>
                <a:gd name="T6" fmla="*/ 465 w 3781"/>
                <a:gd name="T7" fmla="*/ 2087 h 3030"/>
                <a:gd name="T8" fmla="*/ 758 w 3781"/>
                <a:gd name="T9" fmla="*/ 2380 h 3030"/>
                <a:gd name="T10" fmla="*/ 1457 w 3781"/>
                <a:gd name="T11" fmla="*/ 2514 h 3030"/>
                <a:gd name="T12" fmla="*/ 2246 w 3781"/>
                <a:gd name="T13" fmla="*/ 2533 h 3030"/>
                <a:gd name="T14" fmla="*/ 2742 w 3781"/>
                <a:gd name="T15" fmla="*/ 3029 h 3030"/>
                <a:gd name="T16" fmla="*/ 3048 w 3781"/>
                <a:gd name="T17" fmla="*/ 2291 h 3030"/>
                <a:gd name="T18" fmla="*/ 3041 w 3781"/>
                <a:gd name="T19" fmla="*/ 2036 h 3030"/>
                <a:gd name="T20" fmla="*/ 3487 w 3781"/>
                <a:gd name="T21" fmla="*/ 1871 h 3030"/>
                <a:gd name="T22" fmla="*/ 3481 w 3781"/>
                <a:gd name="T23" fmla="*/ 1476 h 3030"/>
                <a:gd name="T24" fmla="*/ 3780 w 3781"/>
                <a:gd name="T25" fmla="*/ 808 h 3030"/>
                <a:gd name="T26" fmla="*/ 3729 w 3781"/>
                <a:gd name="T27" fmla="*/ 687 h 3030"/>
                <a:gd name="T28" fmla="*/ 2284 w 3781"/>
                <a:gd name="T29" fmla="*/ 713 h 3030"/>
                <a:gd name="T30" fmla="*/ 1260 w 3781"/>
                <a:gd name="T31" fmla="*/ 388 h 3030"/>
                <a:gd name="T32" fmla="*/ 618 w 3781"/>
                <a:gd name="T33" fmla="*/ 83 h 3030"/>
                <a:gd name="T34" fmla="*/ 312 w 3781"/>
                <a:gd name="T35" fmla="*/ 13 h 3030"/>
                <a:gd name="T36" fmla="*/ 318 w 3781"/>
                <a:gd name="T37" fmla="*/ 210 h 3030"/>
                <a:gd name="T38" fmla="*/ 217 w 3781"/>
                <a:gd name="T39" fmla="*/ 185 h 3030"/>
                <a:gd name="T40" fmla="*/ 0 w 3781"/>
                <a:gd name="T41" fmla="*/ 547 h 3030"/>
                <a:gd name="T42" fmla="*/ 465 w 3781"/>
                <a:gd name="T43" fmla="*/ 1254 h 3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81" h="3030">
                  <a:moveTo>
                    <a:pt x="465" y="1254"/>
                  </a:moveTo>
                  <a:lnTo>
                    <a:pt x="465" y="1254"/>
                  </a:lnTo>
                  <a:cubicBezTo>
                    <a:pt x="388" y="1337"/>
                    <a:pt x="306" y="1527"/>
                    <a:pt x="388" y="1610"/>
                  </a:cubicBezTo>
                  <a:cubicBezTo>
                    <a:pt x="465" y="1687"/>
                    <a:pt x="376" y="1998"/>
                    <a:pt x="465" y="2087"/>
                  </a:cubicBezTo>
                  <a:cubicBezTo>
                    <a:pt x="554" y="2177"/>
                    <a:pt x="325" y="2380"/>
                    <a:pt x="758" y="2380"/>
                  </a:cubicBezTo>
                  <a:cubicBezTo>
                    <a:pt x="1190" y="2380"/>
                    <a:pt x="1431" y="2361"/>
                    <a:pt x="1457" y="2514"/>
                  </a:cubicBezTo>
                  <a:cubicBezTo>
                    <a:pt x="1488" y="2673"/>
                    <a:pt x="2080" y="2533"/>
                    <a:pt x="2246" y="2533"/>
                  </a:cubicBezTo>
                  <a:cubicBezTo>
                    <a:pt x="2246" y="2533"/>
                    <a:pt x="2570" y="3029"/>
                    <a:pt x="2742" y="3029"/>
                  </a:cubicBezTo>
                  <a:cubicBezTo>
                    <a:pt x="2914" y="3029"/>
                    <a:pt x="3092" y="2342"/>
                    <a:pt x="3048" y="2291"/>
                  </a:cubicBezTo>
                  <a:cubicBezTo>
                    <a:pt x="2997" y="2246"/>
                    <a:pt x="2971" y="2107"/>
                    <a:pt x="3041" y="2036"/>
                  </a:cubicBezTo>
                  <a:cubicBezTo>
                    <a:pt x="3105" y="1973"/>
                    <a:pt x="3430" y="1871"/>
                    <a:pt x="3487" y="1871"/>
                  </a:cubicBezTo>
                  <a:cubicBezTo>
                    <a:pt x="3544" y="1871"/>
                    <a:pt x="3684" y="1629"/>
                    <a:pt x="3481" y="1476"/>
                  </a:cubicBezTo>
                  <a:cubicBezTo>
                    <a:pt x="3283" y="1330"/>
                    <a:pt x="3780" y="1356"/>
                    <a:pt x="3780" y="808"/>
                  </a:cubicBezTo>
                  <a:cubicBezTo>
                    <a:pt x="3716" y="789"/>
                    <a:pt x="3716" y="745"/>
                    <a:pt x="3729" y="687"/>
                  </a:cubicBezTo>
                  <a:cubicBezTo>
                    <a:pt x="3099" y="516"/>
                    <a:pt x="2621" y="713"/>
                    <a:pt x="2284" y="713"/>
                  </a:cubicBezTo>
                  <a:cubicBezTo>
                    <a:pt x="1928" y="713"/>
                    <a:pt x="1355" y="388"/>
                    <a:pt x="1260" y="388"/>
                  </a:cubicBezTo>
                  <a:cubicBezTo>
                    <a:pt x="1165" y="388"/>
                    <a:pt x="847" y="216"/>
                    <a:pt x="618" y="83"/>
                  </a:cubicBezTo>
                  <a:cubicBezTo>
                    <a:pt x="478" y="0"/>
                    <a:pt x="369" y="0"/>
                    <a:pt x="312" y="13"/>
                  </a:cubicBezTo>
                  <a:cubicBezTo>
                    <a:pt x="318" y="134"/>
                    <a:pt x="331" y="210"/>
                    <a:pt x="318" y="210"/>
                  </a:cubicBezTo>
                  <a:cubicBezTo>
                    <a:pt x="274" y="210"/>
                    <a:pt x="217" y="185"/>
                    <a:pt x="217" y="185"/>
                  </a:cubicBezTo>
                  <a:cubicBezTo>
                    <a:pt x="166" y="331"/>
                    <a:pt x="89" y="452"/>
                    <a:pt x="0" y="547"/>
                  </a:cubicBezTo>
                  <a:cubicBezTo>
                    <a:pt x="172" y="751"/>
                    <a:pt x="529" y="1196"/>
                    <a:pt x="465" y="1254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24" name="Freeform 487"/>
            <p:cNvSpPr>
              <a:spLocks noChangeArrowheads="1"/>
            </p:cNvSpPr>
            <p:nvPr/>
          </p:nvSpPr>
          <p:spPr bwMode="auto">
            <a:xfrm>
              <a:off x="14142111" y="3949942"/>
              <a:ext cx="1179790" cy="1408595"/>
            </a:xfrm>
            <a:custGeom>
              <a:avLst/>
              <a:gdLst>
                <a:gd name="T0" fmla="*/ 293 w 2299"/>
                <a:gd name="T1" fmla="*/ 1420 h 2744"/>
                <a:gd name="T2" fmla="*/ 293 w 2299"/>
                <a:gd name="T3" fmla="*/ 1420 h 2744"/>
                <a:gd name="T4" fmla="*/ 452 w 2299"/>
                <a:gd name="T5" fmla="*/ 2164 h 2744"/>
                <a:gd name="T6" fmla="*/ 579 w 2299"/>
                <a:gd name="T7" fmla="*/ 2298 h 2744"/>
                <a:gd name="T8" fmla="*/ 980 w 2299"/>
                <a:gd name="T9" fmla="*/ 2743 h 2744"/>
                <a:gd name="T10" fmla="*/ 1521 w 2299"/>
                <a:gd name="T11" fmla="*/ 2642 h 2744"/>
                <a:gd name="T12" fmla="*/ 1871 w 2299"/>
                <a:gd name="T13" fmla="*/ 2349 h 2744"/>
                <a:gd name="T14" fmla="*/ 2253 w 2299"/>
                <a:gd name="T15" fmla="*/ 1649 h 2744"/>
                <a:gd name="T16" fmla="*/ 2234 w 2299"/>
                <a:gd name="T17" fmla="*/ 1540 h 2744"/>
                <a:gd name="T18" fmla="*/ 2157 w 2299"/>
                <a:gd name="T19" fmla="*/ 1063 h 2744"/>
                <a:gd name="T20" fmla="*/ 2234 w 2299"/>
                <a:gd name="T21" fmla="*/ 707 h 2744"/>
                <a:gd name="T22" fmla="*/ 1769 w 2299"/>
                <a:gd name="T23" fmla="*/ 0 h 2744"/>
                <a:gd name="T24" fmla="*/ 846 w 2299"/>
                <a:gd name="T25" fmla="*/ 344 h 2744"/>
                <a:gd name="T26" fmla="*/ 242 w 2299"/>
                <a:gd name="T27" fmla="*/ 618 h 2744"/>
                <a:gd name="T28" fmla="*/ 25 w 2299"/>
                <a:gd name="T29" fmla="*/ 942 h 2744"/>
                <a:gd name="T30" fmla="*/ 223 w 2299"/>
                <a:gd name="T31" fmla="*/ 1216 h 2744"/>
                <a:gd name="T32" fmla="*/ 140 w 2299"/>
                <a:gd name="T33" fmla="*/ 1241 h 2744"/>
                <a:gd name="T34" fmla="*/ 293 w 2299"/>
                <a:gd name="T35" fmla="*/ 1420 h 2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99" h="2744">
                  <a:moveTo>
                    <a:pt x="293" y="1420"/>
                  </a:moveTo>
                  <a:lnTo>
                    <a:pt x="293" y="1420"/>
                  </a:lnTo>
                  <a:cubicBezTo>
                    <a:pt x="318" y="1566"/>
                    <a:pt x="509" y="2031"/>
                    <a:pt x="452" y="2164"/>
                  </a:cubicBezTo>
                  <a:cubicBezTo>
                    <a:pt x="395" y="2298"/>
                    <a:pt x="458" y="2253"/>
                    <a:pt x="579" y="2298"/>
                  </a:cubicBezTo>
                  <a:cubicBezTo>
                    <a:pt x="700" y="2342"/>
                    <a:pt x="923" y="2743"/>
                    <a:pt x="980" y="2743"/>
                  </a:cubicBezTo>
                  <a:cubicBezTo>
                    <a:pt x="1037" y="2743"/>
                    <a:pt x="1419" y="2616"/>
                    <a:pt x="1521" y="2642"/>
                  </a:cubicBezTo>
                  <a:cubicBezTo>
                    <a:pt x="1623" y="2667"/>
                    <a:pt x="1839" y="2317"/>
                    <a:pt x="1871" y="2349"/>
                  </a:cubicBezTo>
                  <a:cubicBezTo>
                    <a:pt x="1909" y="2387"/>
                    <a:pt x="1636" y="1980"/>
                    <a:pt x="2253" y="1649"/>
                  </a:cubicBezTo>
                  <a:cubicBezTo>
                    <a:pt x="2259" y="1604"/>
                    <a:pt x="2259" y="1566"/>
                    <a:pt x="2234" y="1540"/>
                  </a:cubicBezTo>
                  <a:cubicBezTo>
                    <a:pt x="2145" y="1451"/>
                    <a:pt x="2234" y="1140"/>
                    <a:pt x="2157" y="1063"/>
                  </a:cubicBezTo>
                  <a:cubicBezTo>
                    <a:pt x="2075" y="980"/>
                    <a:pt x="2157" y="790"/>
                    <a:pt x="2234" y="707"/>
                  </a:cubicBezTo>
                  <a:cubicBezTo>
                    <a:pt x="2298" y="649"/>
                    <a:pt x="1941" y="204"/>
                    <a:pt x="1769" y="0"/>
                  </a:cubicBezTo>
                  <a:cubicBezTo>
                    <a:pt x="1432" y="363"/>
                    <a:pt x="897" y="344"/>
                    <a:pt x="846" y="344"/>
                  </a:cubicBezTo>
                  <a:cubicBezTo>
                    <a:pt x="783" y="344"/>
                    <a:pt x="299" y="490"/>
                    <a:pt x="242" y="618"/>
                  </a:cubicBezTo>
                  <a:cubicBezTo>
                    <a:pt x="178" y="751"/>
                    <a:pt x="51" y="777"/>
                    <a:pt x="25" y="942"/>
                  </a:cubicBezTo>
                  <a:cubicBezTo>
                    <a:pt x="0" y="1101"/>
                    <a:pt x="223" y="1216"/>
                    <a:pt x="223" y="1216"/>
                  </a:cubicBezTo>
                  <a:cubicBezTo>
                    <a:pt x="197" y="1216"/>
                    <a:pt x="172" y="1229"/>
                    <a:pt x="140" y="1241"/>
                  </a:cubicBezTo>
                  <a:cubicBezTo>
                    <a:pt x="197" y="1267"/>
                    <a:pt x="280" y="1330"/>
                    <a:pt x="293" y="1420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25" name="Freeform 488"/>
            <p:cNvSpPr>
              <a:spLocks noChangeArrowheads="1"/>
            </p:cNvSpPr>
            <p:nvPr/>
          </p:nvSpPr>
          <p:spPr bwMode="auto">
            <a:xfrm>
              <a:off x="12756254" y="4205842"/>
              <a:ext cx="2069729" cy="1678085"/>
            </a:xfrm>
            <a:custGeom>
              <a:avLst/>
              <a:gdLst>
                <a:gd name="T0" fmla="*/ 1668 w 4030"/>
                <a:gd name="T1" fmla="*/ 2679 h 3266"/>
                <a:gd name="T2" fmla="*/ 1668 w 4030"/>
                <a:gd name="T3" fmla="*/ 2679 h 3266"/>
                <a:gd name="T4" fmla="*/ 2062 w 4030"/>
                <a:gd name="T5" fmla="*/ 2615 h 3266"/>
                <a:gd name="T6" fmla="*/ 2292 w 4030"/>
                <a:gd name="T7" fmla="*/ 2565 h 3266"/>
                <a:gd name="T8" fmla="*/ 2693 w 4030"/>
                <a:gd name="T9" fmla="*/ 2825 h 3266"/>
                <a:gd name="T10" fmla="*/ 3138 w 4030"/>
                <a:gd name="T11" fmla="*/ 3016 h 3266"/>
                <a:gd name="T12" fmla="*/ 3603 w 4030"/>
                <a:gd name="T13" fmla="*/ 3265 h 3266"/>
                <a:gd name="T14" fmla="*/ 3864 w 4030"/>
                <a:gd name="T15" fmla="*/ 2806 h 3266"/>
                <a:gd name="T16" fmla="*/ 3660 w 4030"/>
                <a:gd name="T17" fmla="*/ 2234 h 3266"/>
                <a:gd name="T18" fmla="*/ 3278 w 4030"/>
                <a:gd name="T19" fmla="*/ 1801 h 3266"/>
                <a:gd name="T20" fmla="*/ 3151 w 4030"/>
                <a:gd name="T21" fmla="*/ 1667 h 3266"/>
                <a:gd name="T22" fmla="*/ 2992 w 4030"/>
                <a:gd name="T23" fmla="*/ 923 h 3266"/>
                <a:gd name="T24" fmla="*/ 2839 w 4030"/>
                <a:gd name="T25" fmla="*/ 744 h 3266"/>
                <a:gd name="T26" fmla="*/ 2616 w 4030"/>
                <a:gd name="T27" fmla="*/ 891 h 3266"/>
                <a:gd name="T28" fmla="*/ 2018 w 4030"/>
                <a:gd name="T29" fmla="*/ 910 h 3266"/>
                <a:gd name="T30" fmla="*/ 1203 w 4030"/>
                <a:gd name="T31" fmla="*/ 757 h 3266"/>
                <a:gd name="T32" fmla="*/ 1044 w 4030"/>
                <a:gd name="T33" fmla="*/ 910 h 3266"/>
                <a:gd name="T34" fmla="*/ 879 w 4030"/>
                <a:gd name="T35" fmla="*/ 490 h 3266"/>
                <a:gd name="T36" fmla="*/ 930 w 4030"/>
                <a:gd name="T37" fmla="*/ 152 h 3266"/>
                <a:gd name="T38" fmla="*/ 478 w 4030"/>
                <a:gd name="T39" fmla="*/ 178 h 3266"/>
                <a:gd name="T40" fmla="*/ 39 w 4030"/>
                <a:gd name="T41" fmla="*/ 25 h 3266"/>
                <a:gd name="T42" fmla="*/ 39 w 4030"/>
                <a:gd name="T43" fmla="*/ 121 h 3266"/>
                <a:gd name="T44" fmla="*/ 185 w 4030"/>
                <a:gd name="T45" fmla="*/ 273 h 3266"/>
                <a:gd name="T46" fmla="*/ 77 w 4030"/>
                <a:gd name="T47" fmla="*/ 413 h 3266"/>
                <a:gd name="T48" fmla="*/ 140 w 4030"/>
                <a:gd name="T49" fmla="*/ 547 h 3266"/>
                <a:gd name="T50" fmla="*/ 312 w 4030"/>
                <a:gd name="T51" fmla="*/ 789 h 3266"/>
                <a:gd name="T52" fmla="*/ 306 w 4030"/>
                <a:gd name="T53" fmla="*/ 948 h 3266"/>
                <a:gd name="T54" fmla="*/ 452 w 4030"/>
                <a:gd name="T55" fmla="*/ 1069 h 3266"/>
                <a:gd name="T56" fmla="*/ 395 w 4030"/>
                <a:gd name="T57" fmla="*/ 1260 h 3266"/>
                <a:gd name="T58" fmla="*/ 465 w 4030"/>
                <a:gd name="T59" fmla="*/ 1387 h 3266"/>
                <a:gd name="T60" fmla="*/ 497 w 4030"/>
                <a:gd name="T61" fmla="*/ 2081 h 3266"/>
                <a:gd name="T62" fmla="*/ 624 w 4030"/>
                <a:gd name="T63" fmla="*/ 2202 h 3266"/>
                <a:gd name="T64" fmla="*/ 1114 w 4030"/>
                <a:gd name="T65" fmla="*/ 2577 h 3266"/>
                <a:gd name="T66" fmla="*/ 1668 w 4030"/>
                <a:gd name="T67" fmla="*/ 2679 h 3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30" h="3266">
                  <a:moveTo>
                    <a:pt x="1668" y="2679"/>
                  </a:moveTo>
                  <a:lnTo>
                    <a:pt x="1668" y="2679"/>
                  </a:lnTo>
                  <a:cubicBezTo>
                    <a:pt x="1833" y="2717"/>
                    <a:pt x="1782" y="2615"/>
                    <a:pt x="2062" y="2615"/>
                  </a:cubicBezTo>
                  <a:cubicBezTo>
                    <a:pt x="2062" y="2615"/>
                    <a:pt x="2190" y="2526"/>
                    <a:pt x="2292" y="2565"/>
                  </a:cubicBezTo>
                  <a:cubicBezTo>
                    <a:pt x="2393" y="2603"/>
                    <a:pt x="2559" y="2825"/>
                    <a:pt x="2693" y="2825"/>
                  </a:cubicBezTo>
                  <a:cubicBezTo>
                    <a:pt x="2826" y="2825"/>
                    <a:pt x="3036" y="2915"/>
                    <a:pt x="3138" y="3016"/>
                  </a:cubicBezTo>
                  <a:cubicBezTo>
                    <a:pt x="3240" y="3118"/>
                    <a:pt x="3526" y="3188"/>
                    <a:pt x="3603" y="3265"/>
                  </a:cubicBezTo>
                  <a:cubicBezTo>
                    <a:pt x="3603" y="3265"/>
                    <a:pt x="3647" y="2953"/>
                    <a:pt x="3864" y="2806"/>
                  </a:cubicBezTo>
                  <a:cubicBezTo>
                    <a:pt x="4029" y="2698"/>
                    <a:pt x="3768" y="2431"/>
                    <a:pt x="3660" y="2234"/>
                  </a:cubicBezTo>
                  <a:cubicBezTo>
                    <a:pt x="3577" y="2170"/>
                    <a:pt x="3386" y="1845"/>
                    <a:pt x="3278" y="1801"/>
                  </a:cubicBezTo>
                  <a:cubicBezTo>
                    <a:pt x="3157" y="1756"/>
                    <a:pt x="3094" y="1801"/>
                    <a:pt x="3151" y="1667"/>
                  </a:cubicBezTo>
                  <a:cubicBezTo>
                    <a:pt x="3208" y="1534"/>
                    <a:pt x="3017" y="1069"/>
                    <a:pt x="2992" y="923"/>
                  </a:cubicBezTo>
                  <a:cubicBezTo>
                    <a:pt x="2979" y="833"/>
                    <a:pt x="2896" y="770"/>
                    <a:pt x="2839" y="744"/>
                  </a:cubicBezTo>
                  <a:cubicBezTo>
                    <a:pt x="2737" y="783"/>
                    <a:pt x="2616" y="891"/>
                    <a:pt x="2616" y="891"/>
                  </a:cubicBezTo>
                  <a:cubicBezTo>
                    <a:pt x="2241" y="1177"/>
                    <a:pt x="2190" y="910"/>
                    <a:pt x="2018" y="910"/>
                  </a:cubicBezTo>
                  <a:cubicBezTo>
                    <a:pt x="1846" y="910"/>
                    <a:pt x="1292" y="757"/>
                    <a:pt x="1203" y="757"/>
                  </a:cubicBezTo>
                  <a:cubicBezTo>
                    <a:pt x="1120" y="757"/>
                    <a:pt x="1044" y="910"/>
                    <a:pt x="1044" y="910"/>
                  </a:cubicBezTo>
                  <a:cubicBezTo>
                    <a:pt x="1070" y="700"/>
                    <a:pt x="923" y="598"/>
                    <a:pt x="879" y="490"/>
                  </a:cubicBezTo>
                  <a:cubicBezTo>
                    <a:pt x="834" y="382"/>
                    <a:pt x="1006" y="229"/>
                    <a:pt x="930" y="152"/>
                  </a:cubicBezTo>
                  <a:cubicBezTo>
                    <a:pt x="777" y="0"/>
                    <a:pt x="573" y="152"/>
                    <a:pt x="478" y="178"/>
                  </a:cubicBezTo>
                  <a:cubicBezTo>
                    <a:pt x="382" y="203"/>
                    <a:pt x="179" y="25"/>
                    <a:pt x="39" y="25"/>
                  </a:cubicBezTo>
                  <a:cubicBezTo>
                    <a:pt x="0" y="25"/>
                    <a:pt x="39" y="121"/>
                    <a:pt x="39" y="121"/>
                  </a:cubicBezTo>
                  <a:cubicBezTo>
                    <a:pt x="58" y="184"/>
                    <a:pt x="166" y="133"/>
                    <a:pt x="185" y="273"/>
                  </a:cubicBezTo>
                  <a:cubicBezTo>
                    <a:pt x="185" y="331"/>
                    <a:pt x="45" y="375"/>
                    <a:pt x="77" y="413"/>
                  </a:cubicBezTo>
                  <a:cubicBezTo>
                    <a:pt x="115" y="445"/>
                    <a:pt x="140" y="547"/>
                    <a:pt x="140" y="547"/>
                  </a:cubicBezTo>
                  <a:cubicBezTo>
                    <a:pt x="140" y="770"/>
                    <a:pt x="236" y="751"/>
                    <a:pt x="312" y="789"/>
                  </a:cubicBezTo>
                  <a:cubicBezTo>
                    <a:pt x="389" y="821"/>
                    <a:pt x="306" y="884"/>
                    <a:pt x="306" y="948"/>
                  </a:cubicBezTo>
                  <a:cubicBezTo>
                    <a:pt x="306" y="1012"/>
                    <a:pt x="433" y="1018"/>
                    <a:pt x="452" y="1069"/>
                  </a:cubicBezTo>
                  <a:cubicBezTo>
                    <a:pt x="471" y="1120"/>
                    <a:pt x="395" y="1164"/>
                    <a:pt x="395" y="1260"/>
                  </a:cubicBezTo>
                  <a:cubicBezTo>
                    <a:pt x="395" y="1355"/>
                    <a:pt x="465" y="1387"/>
                    <a:pt x="465" y="1387"/>
                  </a:cubicBezTo>
                  <a:cubicBezTo>
                    <a:pt x="465" y="1387"/>
                    <a:pt x="331" y="1960"/>
                    <a:pt x="497" y="2081"/>
                  </a:cubicBezTo>
                  <a:cubicBezTo>
                    <a:pt x="662" y="2195"/>
                    <a:pt x="624" y="2202"/>
                    <a:pt x="624" y="2202"/>
                  </a:cubicBezTo>
                  <a:cubicBezTo>
                    <a:pt x="624" y="2202"/>
                    <a:pt x="1070" y="2533"/>
                    <a:pt x="1114" y="2577"/>
                  </a:cubicBezTo>
                  <a:cubicBezTo>
                    <a:pt x="1165" y="2628"/>
                    <a:pt x="1502" y="2641"/>
                    <a:pt x="1668" y="2679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26" name="Freeform 489"/>
            <p:cNvSpPr>
              <a:spLocks noChangeArrowheads="1"/>
            </p:cNvSpPr>
            <p:nvPr/>
          </p:nvSpPr>
          <p:spPr bwMode="auto">
            <a:xfrm>
              <a:off x="10672937" y="5012049"/>
              <a:ext cx="2685666" cy="1537679"/>
            </a:xfrm>
            <a:custGeom>
              <a:avLst/>
              <a:gdLst>
                <a:gd name="T0" fmla="*/ 3799 w 5232"/>
                <a:gd name="T1" fmla="*/ 2724 h 2992"/>
                <a:gd name="T2" fmla="*/ 4900 w 5232"/>
                <a:gd name="T3" fmla="*/ 2495 h 2992"/>
                <a:gd name="T4" fmla="*/ 5155 w 5232"/>
                <a:gd name="T5" fmla="*/ 1190 h 2992"/>
                <a:gd name="T6" fmla="*/ 5174 w 5232"/>
                <a:gd name="T7" fmla="*/ 1005 h 2992"/>
                <a:gd name="T8" fmla="*/ 4111 w 5232"/>
                <a:gd name="T9" fmla="*/ 655 h 2992"/>
                <a:gd name="T10" fmla="*/ 3876 w 5232"/>
                <a:gd name="T11" fmla="*/ 674 h 2992"/>
                <a:gd name="T12" fmla="*/ 3596 w 5232"/>
                <a:gd name="T13" fmla="*/ 706 h 2992"/>
                <a:gd name="T14" fmla="*/ 3462 w 5232"/>
                <a:gd name="T15" fmla="*/ 585 h 2992"/>
                <a:gd name="T16" fmla="*/ 3278 w 5232"/>
                <a:gd name="T17" fmla="*/ 547 h 2992"/>
                <a:gd name="T18" fmla="*/ 2768 w 5232"/>
                <a:gd name="T19" fmla="*/ 522 h 2992"/>
                <a:gd name="T20" fmla="*/ 2527 w 5232"/>
                <a:gd name="T21" fmla="*/ 242 h 2992"/>
                <a:gd name="T22" fmla="*/ 2399 w 5232"/>
                <a:gd name="T23" fmla="*/ 38 h 2992"/>
                <a:gd name="T24" fmla="*/ 2259 w 5232"/>
                <a:gd name="T25" fmla="*/ 31 h 2992"/>
                <a:gd name="T26" fmla="*/ 1839 w 5232"/>
                <a:gd name="T27" fmla="*/ 89 h 2992"/>
                <a:gd name="T28" fmla="*/ 1744 w 5232"/>
                <a:gd name="T29" fmla="*/ 401 h 2992"/>
                <a:gd name="T30" fmla="*/ 1387 w 5232"/>
                <a:gd name="T31" fmla="*/ 394 h 2992"/>
                <a:gd name="T32" fmla="*/ 1266 w 5232"/>
                <a:gd name="T33" fmla="*/ 248 h 2992"/>
                <a:gd name="T34" fmla="*/ 954 w 5232"/>
                <a:gd name="T35" fmla="*/ 305 h 2992"/>
                <a:gd name="T36" fmla="*/ 713 w 5232"/>
                <a:gd name="T37" fmla="*/ 311 h 2992"/>
                <a:gd name="T38" fmla="*/ 153 w 5232"/>
                <a:gd name="T39" fmla="*/ 541 h 2992"/>
                <a:gd name="T40" fmla="*/ 38 w 5232"/>
                <a:gd name="T41" fmla="*/ 929 h 2992"/>
                <a:gd name="T42" fmla="*/ 280 w 5232"/>
                <a:gd name="T43" fmla="*/ 948 h 2992"/>
                <a:gd name="T44" fmla="*/ 274 w 5232"/>
                <a:gd name="T45" fmla="*/ 1063 h 2992"/>
                <a:gd name="T46" fmla="*/ 363 w 5232"/>
                <a:gd name="T47" fmla="*/ 1317 h 2992"/>
                <a:gd name="T48" fmla="*/ 687 w 5232"/>
                <a:gd name="T49" fmla="*/ 1292 h 2992"/>
                <a:gd name="T50" fmla="*/ 267 w 5232"/>
                <a:gd name="T51" fmla="*/ 1508 h 2992"/>
                <a:gd name="T52" fmla="*/ 579 w 5232"/>
                <a:gd name="T53" fmla="*/ 1845 h 2992"/>
                <a:gd name="T54" fmla="*/ 795 w 5232"/>
                <a:gd name="T55" fmla="*/ 2119 h 2992"/>
                <a:gd name="T56" fmla="*/ 961 w 5232"/>
                <a:gd name="T57" fmla="*/ 1884 h 2992"/>
                <a:gd name="T58" fmla="*/ 1190 w 5232"/>
                <a:gd name="T59" fmla="*/ 2087 h 2992"/>
                <a:gd name="T60" fmla="*/ 1852 w 5232"/>
                <a:gd name="T61" fmla="*/ 2431 h 2992"/>
                <a:gd name="T62" fmla="*/ 2164 w 5232"/>
                <a:gd name="T63" fmla="*/ 2565 h 2992"/>
                <a:gd name="T64" fmla="*/ 2259 w 5232"/>
                <a:gd name="T65" fmla="*/ 2673 h 2992"/>
                <a:gd name="T66" fmla="*/ 2724 w 5232"/>
                <a:gd name="T67" fmla="*/ 2590 h 2992"/>
                <a:gd name="T68" fmla="*/ 2514 w 5232"/>
                <a:gd name="T69" fmla="*/ 2755 h 2992"/>
                <a:gd name="T70" fmla="*/ 2819 w 5232"/>
                <a:gd name="T71" fmla="*/ 2864 h 2992"/>
                <a:gd name="T72" fmla="*/ 3169 w 5232"/>
                <a:gd name="T73" fmla="*/ 2991 h 2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32" h="2992">
                  <a:moveTo>
                    <a:pt x="3799" y="2724"/>
                  </a:moveTo>
                  <a:lnTo>
                    <a:pt x="3799" y="2724"/>
                  </a:lnTo>
                  <a:cubicBezTo>
                    <a:pt x="3895" y="2571"/>
                    <a:pt x="4379" y="2412"/>
                    <a:pt x="4493" y="2412"/>
                  </a:cubicBezTo>
                  <a:cubicBezTo>
                    <a:pt x="4608" y="2412"/>
                    <a:pt x="4900" y="2495"/>
                    <a:pt x="4900" y="2495"/>
                  </a:cubicBezTo>
                  <a:cubicBezTo>
                    <a:pt x="4862" y="2221"/>
                    <a:pt x="5079" y="2119"/>
                    <a:pt x="5155" y="2043"/>
                  </a:cubicBezTo>
                  <a:cubicBezTo>
                    <a:pt x="5231" y="1966"/>
                    <a:pt x="5155" y="1298"/>
                    <a:pt x="5155" y="1190"/>
                  </a:cubicBezTo>
                  <a:cubicBezTo>
                    <a:pt x="5155" y="1139"/>
                    <a:pt x="5187" y="1075"/>
                    <a:pt x="5219" y="1031"/>
                  </a:cubicBezTo>
                  <a:cubicBezTo>
                    <a:pt x="5200" y="1024"/>
                    <a:pt x="5180" y="1018"/>
                    <a:pt x="5174" y="1005"/>
                  </a:cubicBezTo>
                  <a:cubicBezTo>
                    <a:pt x="5130" y="961"/>
                    <a:pt x="4684" y="630"/>
                    <a:pt x="4684" y="630"/>
                  </a:cubicBezTo>
                  <a:cubicBezTo>
                    <a:pt x="4417" y="853"/>
                    <a:pt x="4137" y="687"/>
                    <a:pt x="4111" y="655"/>
                  </a:cubicBezTo>
                  <a:cubicBezTo>
                    <a:pt x="4079" y="630"/>
                    <a:pt x="4150" y="534"/>
                    <a:pt x="4079" y="490"/>
                  </a:cubicBezTo>
                  <a:cubicBezTo>
                    <a:pt x="4016" y="452"/>
                    <a:pt x="3908" y="642"/>
                    <a:pt x="3876" y="674"/>
                  </a:cubicBezTo>
                  <a:cubicBezTo>
                    <a:pt x="3844" y="706"/>
                    <a:pt x="3793" y="630"/>
                    <a:pt x="3749" y="630"/>
                  </a:cubicBezTo>
                  <a:cubicBezTo>
                    <a:pt x="3704" y="630"/>
                    <a:pt x="3634" y="693"/>
                    <a:pt x="3596" y="706"/>
                  </a:cubicBezTo>
                  <a:cubicBezTo>
                    <a:pt x="3558" y="719"/>
                    <a:pt x="3558" y="617"/>
                    <a:pt x="3526" y="585"/>
                  </a:cubicBezTo>
                  <a:cubicBezTo>
                    <a:pt x="3494" y="547"/>
                    <a:pt x="3494" y="617"/>
                    <a:pt x="3462" y="585"/>
                  </a:cubicBezTo>
                  <a:cubicBezTo>
                    <a:pt x="3430" y="553"/>
                    <a:pt x="3558" y="515"/>
                    <a:pt x="3532" y="483"/>
                  </a:cubicBezTo>
                  <a:cubicBezTo>
                    <a:pt x="3507" y="458"/>
                    <a:pt x="3354" y="534"/>
                    <a:pt x="3278" y="547"/>
                  </a:cubicBezTo>
                  <a:cubicBezTo>
                    <a:pt x="3195" y="560"/>
                    <a:pt x="3036" y="719"/>
                    <a:pt x="2959" y="738"/>
                  </a:cubicBezTo>
                  <a:cubicBezTo>
                    <a:pt x="2889" y="763"/>
                    <a:pt x="2896" y="617"/>
                    <a:pt x="2768" y="522"/>
                  </a:cubicBezTo>
                  <a:cubicBezTo>
                    <a:pt x="2635" y="420"/>
                    <a:pt x="2635" y="254"/>
                    <a:pt x="2603" y="229"/>
                  </a:cubicBezTo>
                  <a:cubicBezTo>
                    <a:pt x="2577" y="197"/>
                    <a:pt x="2558" y="242"/>
                    <a:pt x="2527" y="242"/>
                  </a:cubicBezTo>
                  <a:cubicBezTo>
                    <a:pt x="2488" y="242"/>
                    <a:pt x="2520" y="184"/>
                    <a:pt x="2488" y="152"/>
                  </a:cubicBezTo>
                  <a:cubicBezTo>
                    <a:pt x="2456" y="121"/>
                    <a:pt x="2418" y="51"/>
                    <a:pt x="2399" y="38"/>
                  </a:cubicBezTo>
                  <a:cubicBezTo>
                    <a:pt x="2387" y="25"/>
                    <a:pt x="2342" y="95"/>
                    <a:pt x="2329" y="108"/>
                  </a:cubicBezTo>
                  <a:cubicBezTo>
                    <a:pt x="2310" y="127"/>
                    <a:pt x="2291" y="57"/>
                    <a:pt x="2259" y="31"/>
                  </a:cubicBezTo>
                  <a:cubicBezTo>
                    <a:pt x="2234" y="0"/>
                    <a:pt x="2068" y="114"/>
                    <a:pt x="2030" y="152"/>
                  </a:cubicBezTo>
                  <a:cubicBezTo>
                    <a:pt x="1992" y="191"/>
                    <a:pt x="1890" y="70"/>
                    <a:pt x="1839" y="89"/>
                  </a:cubicBezTo>
                  <a:cubicBezTo>
                    <a:pt x="1788" y="108"/>
                    <a:pt x="1839" y="273"/>
                    <a:pt x="1814" y="299"/>
                  </a:cubicBezTo>
                  <a:cubicBezTo>
                    <a:pt x="1788" y="324"/>
                    <a:pt x="1801" y="401"/>
                    <a:pt x="1744" y="401"/>
                  </a:cubicBezTo>
                  <a:cubicBezTo>
                    <a:pt x="1693" y="401"/>
                    <a:pt x="1547" y="299"/>
                    <a:pt x="1489" y="299"/>
                  </a:cubicBezTo>
                  <a:cubicBezTo>
                    <a:pt x="1432" y="299"/>
                    <a:pt x="1426" y="394"/>
                    <a:pt x="1387" y="394"/>
                  </a:cubicBezTo>
                  <a:cubicBezTo>
                    <a:pt x="1349" y="394"/>
                    <a:pt x="1317" y="350"/>
                    <a:pt x="1285" y="350"/>
                  </a:cubicBezTo>
                  <a:cubicBezTo>
                    <a:pt x="1260" y="350"/>
                    <a:pt x="1266" y="248"/>
                    <a:pt x="1266" y="248"/>
                  </a:cubicBezTo>
                  <a:cubicBezTo>
                    <a:pt x="1266" y="229"/>
                    <a:pt x="1165" y="286"/>
                    <a:pt x="1088" y="305"/>
                  </a:cubicBezTo>
                  <a:cubicBezTo>
                    <a:pt x="1012" y="324"/>
                    <a:pt x="961" y="305"/>
                    <a:pt x="954" y="305"/>
                  </a:cubicBezTo>
                  <a:cubicBezTo>
                    <a:pt x="929" y="305"/>
                    <a:pt x="936" y="337"/>
                    <a:pt x="891" y="375"/>
                  </a:cubicBezTo>
                  <a:cubicBezTo>
                    <a:pt x="846" y="420"/>
                    <a:pt x="745" y="311"/>
                    <a:pt x="713" y="311"/>
                  </a:cubicBezTo>
                  <a:cubicBezTo>
                    <a:pt x="674" y="311"/>
                    <a:pt x="388" y="420"/>
                    <a:pt x="388" y="464"/>
                  </a:cubicBezTo>
                  <a:cubicBezTo>
                    <a:pt x="388" y="503"/>
                    <a:pt x="210" y="515"/>
                    <a:pt x="153" y="541"/>
                  </a:cubicBezTo>
                  <a:cubicBezTo>
                    <a:pt x="89" y="560"/>
                    <a:pt x="70" y="655"/>
                    <a:pt x="89" y="712"/>
                  </a:cubicBezTo>
                  <a:cubicBezTo>
                    <a:pt x="102" y="770"/>
                    <a:pt x="38" y="840"/>
                    <a:pt x="38" y="929"/>
                  </a:cubicBezTo>
                  <a:cubicBezTo>
                    <a:pt x="38" y="1018"/>
                    <a:pt x="95" y="993"/>
                    <a:pt x="127" y="993"/>
                  </a:cubicBezTo>
                  <a:cubicBezTo>
                    <a:pt x="159" y="993"/>
                    <a:pt x="172" y="967"/>
                    <a:pt x="280" y="948"/>
                  </a:cubicBezTo>
                  <a:cubicBezTo>
                    <a:pt x="388" y="922"/>
                    <a:pt x="394" y="1024"/>
                    <a:pt x="369" y="999"/>
                  </a:cubicBezTo>
                  <a:cubicBezTo>
                    <a:pt x="343" y="967"/>
                    <a:pt x="337" y="1031"/>
                    <a:pt x="274" y="1063"/>
                  </a:cubicBezTo>
                  <a:cubicBezTo>
                    <a:pt x="210" y="1094"/>
                    <a:pt x="254" y="1133"/>
                    <a:pt x="254" y="1133"/>
                  </a:cubicBezTo>
                  <a:cubicBezTo>
                    <a:pt x="331" y="1158"/>
                    <a:pt x="286" y="1317"/>
                    <a:pt x="363" y="1317"/>
                  </a:cubicBezTo>
                  <a:cubicBezTo>
                    <a:pt x="439" y="1317"/>
                    <a:pt x="401" y="1215"/>
                    <a:pt x="477" y="1215"/>
                  </a:cubicBezTo>
                  <a:cubicBezTo>
                    <a:pt x="547" y="1215"/>
                    <a:pt x="687" y="1241"/>
                    <a:pt x="687" y="1292"/>
                  </a:cubicBezTo>
                  <a:cubicBezTo>
                    <a:pt x="687" y="1349"/>
                    <a:pt x="751" y="1406"/>
                    <a:pt x="719" y="1444"/>
                  </a:cubicBezTo>
                  <a:cubicBezTo>
                    <a:pt x="681" y="1483"/>
                    <a:pt x="496" y="1470"/>
                    <a:pt x="267" y="1508"/>
                  </a:cubicBezTo>
                  <a:cubicBezTo>
                    <a:pt x="38" y="1553"/>
                    <a:pt x="0" y="1648"/>
                    <a:pt x="210" y="1648"/>
                  </a:cubicBezTo>
                  <a:cubicBezTo>
                    <a:pt x="420" y="1648"/>
                    <a:pt x="547" y="1813"/>
                    <a:pt x="579" y="1845"/>
                  </a:cubicBezTo>
                  <a:cubicBezTo>
                    <a:pt x="617" y="1884"/>
                    <a:pt x="579" y="2062"/>
                    <a:pt x="579" y="2062"/>
                  </a:cubicBezTo>
                  <a:cubicBezTo>
                    <a:pt x="579" y="2189"/>
                    <a:pt x="738" y="2119"/>
                    <a:pt x="795" y="2119"/>
                  </a:cubicBezTo>
                  <a:cubicBezTo>
                    <a:pt x="821" y="2119"/>
                    <a:pt x="783" y="2081"/>
                    <a:pt x="802" y="2030"/>
                  </a:cubicBezTo>
                  <a:cubicBezTo>
                    <a:pt x="827" y="1966"/>
                    <a:pt x="916" y="1890"/>
                    <a:pt x="961" y="1884"/>
                  </a:cubicBezTo>
                  <a:cubicBezTo>
                    <a:pt x="1031" y="1871"/>
                    <a:pt x="974" y="2024"/>
                    <a:pt x="1031" y="2024"/>
                  </a:cubicBezTo>
                  <a:cubicBezTo>
                    <a:pt x="1088" y="2024"/>
                    <a:pt x="1177" y="1979"/>
                    <a:pt x="1190" y="2087"/>
                  </a:cubicBezTo>
                  <a:cubicBezTo>
                    <a:pt x="1203" y="2195"/>
                    <a:pt x="1279" y="2227"/>
                    <a:pt x="1279" y="2227"/>
                  </a:cubicBezTo>
                  <a:cubicBezTo>
                    <a:pt x="1623" y="2170"/>
                    <a:pt x="1776" y="2406"/>
                    <a:pt x="1852" y="2431"/>
                  </a:cubicBezTo>
                  <a:cubicBezTo>
                    <a:pt x="1928" y="2456"/>
                    <a:pt x="1922" y="2437"/>
                    <a:pt x="1979" y="2450"/>
                  </a:cubicBezTo>
                  <a:cubicBezTo>
                    <a:pt x="2043" y="2469"/>
                    <a:pt x="2132" y="2533"/>
                    <a:pt x="2164" y="2565"/>
                  </a:cubicBezTo>
                  <a:cubicBezTo>
                    <a:pt x="2196" y="2596"/>
                    <a:pt x="2176" y="2857"/>
                    <a:pt x="2221" y="2857"/>
                  </a:cubicBezTo>
                  <a:cubicBezTo>
                    <a:pt x="2272" y="2857"/>
                    <a:pt x="2259" y="2717"/>
                    <a:pt x="2259" y="2673"/>
                  </a:cubicBezTo>
                  <a:cubicBezTo>
                    <a:pt x="2259" y="2628"/>
                    <a:pt x="2444" y="2743"/>
                    <a:pt x="2469" y="2686"/>
                  </a:cubicBezTo>
                  <a:cubicBezTo>
                    <a:pt x="2495" y="2635"/>
                    <a:pt x="2679" y="2501"/>
                    <a:pt x="2724" y="2590"/>
                  </a:cubicBezTo>
                  <a:cubicBezTo>
                    <a:pt x="2768" y="2679"/>
                    <a:pt x="2781" y="2526"/>
                    <a:pt x="2826" y="2635"/>
                  </a:cubicBezTo>
                  <a:cubicBezTo>
                    <a:pt x="2870" y="2736"/>
                    <a:pt x="2546" y="2755"/>
                    <a:pt x="2514" y="2755"/>
                  </a:cubicBezTo>
                  <a:cubicBezTo>
                    <a:pt x="2476" y="2755"/>
                    <a:pt x="2622" y="2845"/>
                    <a:pt x="2622" y="2845"/>
                  </a:cubicBezTo>
                  <a:cubicBezTo>
                    <a:pt x="2622" y="2845"/>
                    <a:pt x="2781" y="2902"/>
                    <a:pt x="2819" y="2864"/>
                  </a:cubicBezTo>
                  <a:cubicBezTo>
                    <a:pt x="2857" y="2825"/>
                    <a:pt x="3112" y="2768"/>
                    <a:pt x="3074" y="2845"/>
                  </a:cubicBezTo>
                  <a:cubicBezTo>
                    <a:pt x="3042" y="2921"/>
                    <a:pt x="3157" y="2940"/>
                    <a:pt x="3169" y="2991"/>
                  </a:cubicBezTo>
                  <a:cubicBezTo>
                    <a:pt x="3443" y="2959"/>
                    <a:pt x="3717" y="2845"/>
                    <a:pt x="3799" y="2724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27" name="Freeform 490"/>
            <p:cNvSpPr>
              <a:spLocks noChangeArrowheads="1"/>
            </p:cNvSpPr>
            <p:nvPr/>
          </p:nvSpPr>
          <p:spPr bwMode="auto">
            <a:xfrm>
              <a:off x="12185606" y="5501207"/>
              <a:ext cx="2522625" cy="2343884"/>
            </a:xfrm>
            <a:custGeom>
              <a:avLst/>
              <a:gdLst>
                <a:gd name="T0" fmla="*/ 2641 w 4914"/>
                <a:gd name="T1" fmla="*/ 4563 h 4564"/>
                <a:gd name="T2" fmla="*/ 2641 w 4914"/>
                <a:gd name="T3" fmla="*/ 4563 h 4564"/>
                <a:gd name="T4" fmla="*/ 2475 w 4914"/>
                <a:gd name="T5" fmla="*/ 3227 h 4564"/>
                <a:gd name="T6" fmla="*/ 2685 w 4914"/>
                <a:gd name="T7" fmla="*/ 3087 h 4564"/>
                <a:gd name="T8" fmla="*/ 3093 w 4914"/>
                <a:gd name="T9" fmla="*/ 2928 h 4564"/>
                <a:gd name="T10" fmla="*/ 3672 w 4914"/>
                <a:gd name="T11" fmla="*/ 2871 h 4564"/>
                <a:gd name="T12" fmla="*/ 4009 w 4914"/>
                <a:gd name="T13" fmla="*/ 1992 h 4564"/>
                <a:gd name="T14" fmla="*/ 4537 w 4914"/>
                <a:gd name="T15" fmla="*/ 1560 h 4564"/>
                <a:gd name="T16" fmla="*/ 4747 w 4914"/>
                <a:gd name="T17" fmla="*/ 1241 h 4564"/>
                <a:gd name="T18" fmla="*/ 4913 w 4914"/>
                <a:gd name="T19" fmla="*/ 917 h 4564"/>
                <a:gd name="T20" fmla="*/ 4716 w 4914"/>
                <a:gd name="T21" fmla="*/ 739 h 4564"/>
                <a:gd name="T22" fmla="*/ 4251 w 4914"/>
                <a:gd name="T23" fmla="*/ 490 h 4564"/>
                <a:gd name="T24" fmla="*/ 3806 w 4914"/>
                <a:gd name="T25" fmla="*/ 299 h 4564"/>
                <a:gd name="T26" fmla="*/ 3405 w 4914"/>
                <a:gd name="T27" fmla="*/ 39 h 4564"/>
                <a:gd name="T28" fmla="*/ 3175 w 4914"/>
                <a:gd name="T29" fmla="*/ 89 h 4564"/>
                <a:gd name="T30" fmla="*/ 2781 w 4914"/>
                <a:gd name="T31" fmla="*/ 153 h 4564"/>
                <a:gd name="T32" fmla="*/ 2272 w 4914"/>
                <a:gd name="T33" fmla="*/ 77 h 4564"/>
                <a:gd name="T34" fmla="*/ 2208 w 4914"/>
                <a:gd name="T35" fmla="*/ 236 h 4564"/>
                <a:gd name="T36" fmla="*/ 2208 w 4914"/>
                <a:gd name="T37" fmla="*/ 1089 h 4564"/>
                <a:gd name="T38" fmla="*/ 1953 w 4914"/>
                <a:gd name="T39" fmla="*/ 1541 h 4564"/>
                <a:gd name="T40" fmla="*/ 1546 w 4914"/>
                <a:gd name="T41" fmla="*/ 1458 h 4564"/>
                <a:gd name="T42" fmla="*/ 852 w 4914"/>
                <a:gd name="T43" fmla="*/ 1770 h 4564"/>
                <a:gd name="T44" fmla="*/ 222 w 4914"/>
                <a:gd name="T45" fmla="*/ 2037 h 4564"/>
                <a:gd name="T46" fmla="*/ 222 w 4914"/>
                <a:gd name="T47" fmla="*/ 2043 h 4564"/>
                <a:gd name="T48" fmla="*/ 76 w 4914"/>
                <a:gd name="T49" fmla="*/ 2107 h 4564"/>
                <a:gd name="T50" fmla="*/ 63 w 4914"/>
                <a:gd name="T51" fmla="*/ 2209 h 4564"/>
                <a:gd name="T52" fmla="*/ 31 w 4914"/>
                <a:gd name="T53" fmla="*/ 2330 h 4564"/>
                <a:gd name="T54" fmla="*/ 210 w 4914"/>
                <a:gd name="T55" fmla="*/ 2393 h 4564"/>
                <a:gd name="T56" fmla="*/ 331 w 4914"/>
                <a:gd name="T57" fmla="*/ 2425 h 4564"/>
                <a:gd name="T58" fmla="*/ 458 w 4914"/>
                <a:gd name="T59" fmla="*/ 2406 h 4564"/>
                <a:gd name="T60" fmla="*/ 553 w 4914"/>
                <a:gd name="T61" fmla="*/ 2400 h 4564"/>
                <a:gd name="T62" fmla="*/ 572 w 4914"/>
                <a:gd name="T63" fmla="*/ 2540 h 4564"/>
                <a:gd name="T64" fmla="*/ 490 w 4914"/>
                <a:gd name="T65" fmla="*/ 2699 h 4564"/>
                <a:gd name="T66" fmla="*/ 776 w 4914"/>
                <a:gd name="T67" fmla="*/ 2864 h 4564"/>
                <a:gd name="T68" fmla="*/ 687 w 4914"/>
                <a:gd name="T69" fmla="*/ 2960 h 4564"/>
                <a:gd name="T70" fmla="*/ 528 w 4914"/>
                <a:gd name="T71" fmla="*/ 3119 h 4564"/>
                <a:gd name="T72" fmla="*/ 649 w 4914"/>
                <a:gd name="T73" fmla="*/ 3475 h 4564"/>
                <a:gd name="T74" fmla="*/ 770 w 4914"/>
                <a:gd name="T75" fmla="*/ 3596 h 4564"/>
                <a:gd name="T76" fmla="*/ 993 w 4914"/>
                <a:gd name="T77" fmla="*/ 3978 h 4564"/>
                <a:gd name="T78" fmla="*/ 1164 w 4914"/>
                <a:gd name="T79" fmla="*/ 4067 h 4564"/>
                <a:gd name="T80" fmla="*/ 1387 w 4914"/>
                <a:gd name="T81" fmla="*/ 4188 h 4564"/>
                <a:gd name="T82" fmla="*/ 1540 w 4914"/>
                <a:gd name="T83" fmla="*/ 4284 h 4564"/>
                <a:gd name="T84" fmla="*/ 1667 w 4914"/>
                <a:gd name="T85" fmla="*/ 4347 h 4564"/>
                <a:gd name="T86" fmla="*/ 1820 w 4914"/>
                <a:gd name="T87" fmla="*/ 4435 h 4564"/>
                <a:gd name="T88" fmla="*/ 1947 w 4914"/>
                <a:gd name="T89" fmla="*/ 4404 h 4564"/>
                <a:gd name="T90" fmla="*/ 1953 w 4914"/>
                <a:gd name="T91" fmla="*/ 4410 h 4564"/>
                <a:gd name="T92" fmla="*/ 2144 w 4914"/>
                <a:gd name="T93" fmla="*/ 4347 h 4564"/>
                <a:gd name="T94" fmla="*/ 2641 w 4914"/>
                <a:gd name="T95" fmla="*/ 4563 h 4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914" h="4564">
                  <a:moveTo>
                    <a:pt x="2641" y="4563"/>
                  </a:moveTo>
                  <a:lnTo>
                    <a:pt x="2641" y="4563"/>
                  </a:lnTo>
                  <a:cubicBezTo>
                    <a:pt x="2775" y="4563"/>
                    <a:pt x="2838" y="3819"/>
                    <a:pt x="2475" y="3227"/>
                  </a:cubicBezTo>
                  <a:cubicBezTo>
                    <a:pt x="2475" y="3227"/>
                    <a:pt x="2437" y="3087"/>
                    <a:pt x="2685" y="3087"/>
                  </a:cubicBezTo>
                  <a:cubicBezTo>
                    <a:pt x="2934" y="3087"/>
                    <a:pt x="2851" y="2928"/>
                    <a:pt x="3093" y="2928"/>
                  </a:cubicBezTo>
                  <a:cubicBezTo>
                    <a:pt x="3335" y="2928"/>
                    <a:pt x="3468" y="3074"/>
                    <a:pt x="3672" y="2871"/>
                  </a:cubicBezTo>
                  <a:cubicBezTo>
                    <a:pt x="3876" y="2667"/>
                    <a:pt x="3856" y="2145"/>
                    <a:pt x="4009" y="1992"/>
                  </a:cubicBezTo>
                  <a:cubicBezTo>
                    <a:pt x="4162" y="1840"/>
                    <a:pt x="4417" y="1967"/>
                    <a:pt x="4537" y="1560"/>
                  </a:cubicBezTo>
                  <a:cubicBezTo>
                    <a:pt x="4537" y="1560"/>
                    <a:pt x="4747" y="1407"/>
                    <a:pt x="4747" y="1241"/>
                  </a:cubicBezTo>
                  <a:cubicBezTo>
                    <a:pt x="4747" y="1076"/>
                    <a:pt x="4913" y="917"/>
                    <a:pt x="4913" y="917"/>
                  </a:cubicBezTo>
                  <a:cubicBezTo>
                    <a:pt x="4716" y="739"/>
                    <a:pt x="4716" y="739"/>
                    <a:pt x="4716" y="739"/>
                  </a:cubicBezTo>
                  <a:cubicBezTo>
                    <a:pt x="4639" y="662"/>
                    <a:pt x="4353" y="592"/>
                    <a:pt x="4251" y="490"/>
                  </a:cubicBezTo>
                  <a:cubicBezTo>
                    <a:pt x="4149" y="389"/>
                    <a:pt x="3939" y="299"/>
                    <a:pt x="3806" y="299"/>
                  </a:cubicBezTo>
                  <a:cubicBezTo>
                    <a:pt x="3672" y="299"/>
                    <a:pt x="3506" y="77"/>
                    <a:pt x="3405" y="39"/>
                  </a:cubicBezTo>
                  <a:cubicBezTo>
                    <a:pt x="3303" y="0"/>
                    <a:pt x="3175" y="89"/>
                    <a:pt x="3175" y="89"/>
                  </a:cubicBezTo>
                  <a:cubicBezTo>
                    <a:pt x="2895" y="89"/>
                    <a:pt x="2946" y="191"/>
                    <a:pt x="2781" y="153"/>
                  </a:cubicBezTo>
                  <a:cubicBezTo>
                    <a:pt x="2641" y="121"/>
                    <a:pt x="2380" y="109"/>
                    <a:pt x="2272" y="77"/>
                  </a:cubicBezTo>
                  <a:cubicBezTo>
                    <a:pt x="2240" y="121"/>
                    <a:pt x="2208" y="185"/>
                    <a:pt x="2208" y="236"/>
                  </a:cubicBezTo>
                  <a:cubicBezTo>
                    <a:pt x="2208" y="344"/>
                    <a:pt x="2284" y="1012"/>
                    <a:pt x="2208" y="1089"/>
                  </a:cubicBezTo>
                  <a:cubicBezTo>
                    <a:pt x="2132" y="1165"/>
                    <a:pt x="1915" y="1267"/>
                    <a:pt x="1953" y="1541"/>
                  </a:cubicBezTo>
                  <a:cubicBezTo>
                    <a:pt x="1953" y="1541"/>
                    <a:pt x="1661" y="1458"/>
                    <a:pt x="1546" y="1458"/>
                  </a:cubicBezTo>
                  <a:cubicBezTo>
                    <a:pt x="1432" y="1458"/>
                    <a:pt x="948" y="1617"/>
                    <a:pt x="852" y="1770"/>
                  </a:cubicBezTo>
                  <a:cubicBezTo>
                    <a:pt x="770" y="1891"/>
                    <a:pt x="496" y="2005"/>
                    <a:pt x="222" y="2037"/>
                  </a:cubicBezTo>
                  <a:cubicBezTo>
                    <a:pt x="222" y="2043"/>
                    <a:pt x="222" y="2043"/>
                    <a:pt x="222" y="2043"/>
                  </a:cubicBezTo>
                  <a:cubicBezTo>
                    <a:pt x="222" y="2101"/>
                    <a:pt x="120" y="2069"/>
                    <a:pt x="76" y="2107"/>
                  </a:cubicBezTo>
                  <a:cubicBezTo>
                    <a:pt x="38" y="2145"/>
                    <a:pt x="19" y="2164"/>
                    <a:pt x="63" y="2209"/>
                  </a:cubicBezTo>
                  <a:cubicBezTo>
                    <a:pt x="108" y="2253"/>
                    <a:pt x="63" y="2304"/>
                    <a:pt x="31" y="2330"/>
                  </a:cubicBezTo>
                  <a:cubicBezTo>
                    <a:pt x="0" y="2361"/>
                    <a:pt x="178" y="2425"/>
                    <a:pt x="210" y="2393"/>
                  </a:cubicBezTo>
                  <a:cubicBezTo>
                    <a:pt x="241" y="2368"/>
                    <a:pt x="286" y="2381"/>
                    <a:pt x="331" y="2425"/>
                  </a:cubicBezTo>
                  <a:cubicBezTo>
                    <a:pt x="369" y="2463"/>
                    <a:pt x="432" y="2457"/>
                    <a:pt x="458" y="2406"/>
                  </a:cubicBezTo>
                  <a:cubicBezTo>
                    <a:pt x="477" y="2355"/>
                    <a:pt x="604" y="2349"/>
                    <a:pt x="553" y="2400"/>
                  </a:cubicBezTo>
                  <a:cubicBezTo>
                    <a:pt x="502" y="2451"/>
                    <a:pt x="611" y="2463"/>
                    <a:pt x="572" y="2540"/>
                  </a:cubicBezTo>
                  <a:cubicBezTo>
                    <a:pt x="534" y="2610"/>
                    <a:pt x="343" y="2699"/>
                    <a:pt x="490" y="2699"/>
                  </a:cubicBezTo>
                  <a:cubicBezTo>
                    <a:pt x="642" y="2699"/>
                    <a:pt x="744" y="2801"/>
                    <a:pt x="776" y="2864"/>
                  </a:cubicBezTo>
                  <a:cubicBezTo>
                    <a:pt x="814" y="2934"/>
                    <a:pt x="687" y="2820"/>
                    <a:pt x="687" y="2960"/>
                  </a:cubicBezTo>
                  <a:cubicBezTo>
                    <a:pt x="687" y="3093"/>
                    <a:pt x="585" y="3055"/>
                    <a:pt x="528" y="3119"/>
                  </a:cubicBezTo>
                  <a:cubicBezTo>
                    <a:pt x="464" y="3176"/>
                    <a:pt x="592" y="3443"/>
                    <a:pt x="649" y="3475"/>
                  </a:cubicBezTo>
                  <a:cubicBezTo>
                    <a:pt x="706" y="3507"/>
                    <a:pt x="655" y="3558"/>
                    <a:pt x="770" y="3596"/>
                  </a:cubicBezTo>
                  <a:cubicBezTo>
                    <a:pt x="878" y="3641"/>
                    <a:pt x="929" y="3978"/>
                    <a:pt x="993" y="3978"/>
                  </a:cubicBezTo>
                  <a:cubicBezTo>
                    <a:pt x="1050" y="3978"/>
                    <a:pt x="1120" y="4023"/>
                    <a:pt x="1164" y="4067"/>
                  </a:cubicBezTo>
                  <a:cubicBezTo>
                    <a:pt x="1203" y="4105"/>
                    <a:pt x="1387" y="4169"/>
                    <a:pt x="1387" y="4188"/>
                  </a:cubicBezTo>
                  <a:cubicBezTo>
                    <a:pt x="1387" y="4207"/>
                    <a:pt x="1432" y="4284"/>
                    <a:pt x="1540" y="4284"/>
                  </a:cubicBezTo>
                  <a:cubicBezTo>
                    <a:pt x="1654" y="4284"/>
                    <a:pt x="1635" y="4347"/>
                    <a:pt x="1667" y="4347"/>
                  </a:cubicBezTo>
                  <a:cubicBezTo>
                    <a:pt x="1705" y="4347"/>
                    <a:pt x="1782" y="4435"/>
                    <a:pt x="1820" y="4435"/>
                  </a:cubicBezTo>
                  <a:cubicBezTo>
                    <a:pt x="1852" y="4435"/>
                    <a:pt x="1896" y="4354"/>
                    <a:pt x="1947" y="4404"/>
                  </a:cubicBezTo>
                  <a:cubicBezTo>
                    <a:pt x="1947" y="4404"/>
                    <a:pt x="1947" y="4410"/>
                    <a:pt x="1953" y="4410"/>
                  </a:cubicBezTo>
                  <a:cubicBezTo>
                    <a:pt x="2004" y="4379"/>
                    <a:pt x="2081" y="4347"/>
                    <a:pt x="2144" y="4347"/>
                  </a:cubicBezTo>
                  <a:cubicBezTo>
                    <a:pt x="2284" y="4347"/>
                    <a:pt x="2507" y="4563"/>
                    <a:pt x="2641" y="4563"/>
                  </a:cubicBezTo>
                </a:path>
              </a:pathLst>
            </a:custGeom>
            <a:solidFill>
              <a:schemeClr val="accent1"/>
            </a:solidFill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28" name="Freeform 491"/>
            <p:cNvSpPr>
              <a:spLocks noChangeArrowheads="1"/>
            </p:cNvSpPr>
            <p:nvPr/>
          </p:nvSpPr>
          <p:spPr bwMode="auto">
            <a:xfrm>
              <a:off x="14982231" y="4796909"/>
              <a:ext cx="1591926" cy="1173074"/>
            </a:xfrm>
            <a:custGeom>
              <a:avLst/>
              <a:gdLst>
                <a:gd name="T0" fmla="*/ 668 w 3099"/>
                <a:gd name="T1" fmla="*/ 1616 h 2285"/>
                <a:gd name="T2" fmla="*/ 668 w 3099"/>
                <a:gd name="T3" fmla="*/ 1616 h 2285"/>
                <a:gd name="T4" fmla="*/ 897 w 3099"/>
                <a:gd name="T5" fmla="*/ 1998 h 2285"/>
                <a:gd name="T6" fmla="*/ 1596 w 3099"/>
                <a:gd name="T7" fmla="*/ 2164 h 2285"/>
                <a:gd name="T8" fmla="*/ 1793 w 3099"/>
                <a:gd name="T9" fmla="*/ 2284 h 2285"/>
                <a:gd name="T10" fmla="*/ 2131 w 3099"/>
                <a:gd name="T11" fmla="*/ 2202 h 2285"/>
                <a:gd name="T12" fmla="*/ 2328 w 3099"/>
                <a:gd name="T13" fmla="*/ 2004 h 2285"/>
                <a:gd name="T14" fmla="*/ 2735 w 3099"/>
                <a:gd name="T15" fmla="*/ 1756 h 2285"/>
                <a:gd name="T16" fmla="*/ 2735 w 3099"/>
                <a:gd name="T17" fmla="*/ 1584 h 2285"/>
                <a:gd name="T18" fmla="*/ 3034 w 3099"/>
                <a:gd name="T19" fmla="*/ 1285 h 2285"/>
                <a:gd name="T20" fmla="*/ 2863 w 3099"/>
                <a:gd name="T21" fmla="*/ 833 h 2285"/>
                <a:gd name="T22" fmla="*/ 2379 w 3099"/>
                <a:gd name="T23" fmla="*/ 337 h 2285"/>
                <a:gd name="T24" fmla="*/ 1590 w 3099"/>
                <a:gd name="T25" fmla="*/ 318 h 2285"/>
                <a:gd name="T26" fmla="*/ 891 w 3099"/>
                <a:gd name="T27" fmla="*/ 184 h 2285"/>
                <a:gd name="T28" fmla="*/ 617 w 3099"/>
                <a:gd name="T29" fmla="*/ 0 h 2285"/>
                <a:gd name="T30" fmla="*/ 235 w 3099"/>
                <a:gd name="T31" fmla="*/ 700 h 2285"/>
                <a:gd name="T32" fmla="*/ 413 w 3099"/>
                <a:gd name="T33" fmla="*/ 1024 h 2285"/>
                <a:gd name="T34" fmla="*/ 668 w 3099"/>
                <a:gd name="T35" fmla="*/ 1616 h 2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99" h="2285">
                  <a:moveTo>
                    <a:pt x="668" y="1616"/>
                  </a:moveTo>
                  <a:lnTo>
                    <a:pt x="668" y="1616"/>
                  </a:lnTo>
                  <a:cubicBezTo>
                    <a:pt x="789" y="1788"/>
                    <a:pt x="833" y="1935"/>
                    <a:pt x="897" y="1998"/>
                  </a:cubicBezTo>
                  <a:cubicBezTo>
                    <a:pt x="967" y="2068"/>
                    <a:pt x="1304" y="1705"/>
                    <a:pt x="1596" y="2164"/>
                  </a:cubicBezTo>
                  <a:cubicBezTo>
                    <a:pt x="1596" y="2164"/>
                    <a:pt x="1545" y="2284"/>
                    <a:pt x="1793" y="2284"/>
                  </a:cubicBezTo>
                  <a:cubicBezTo>
                    <a:pt x="2048" y="2284"/>
                    <a:pt x="2131" y="2202"/>
                    <a:pt x="2131" y="2202"/>
                  </a:cubicBezTo>
                  <a:cubicBezTo>
                    <a:pt x="2131" y="2202"/>
                    <a:pt x="2232" y="2043"/>
                    <a:pt x="2328" y="2004"/>
                  </a:cubicBezTo>
                  <a:cubicBezTo>
                    <a:pt x="2423" y="1966"/>
                    <a:pt x="2735" y="1756"/>
                    <a:pt x="2735" y="1756"/>
                  </a:cubicBezTo>
                  <a:cubicBezTo>
                    <a:pt x="2735" y="1756"/>
                    <a:pt x="2633" y="1686"/>
                    <a:pt x="2735" y="1584"/>
                  </a:cubicBezTo>
                  <a:cubicBezTo>
                    <a:pt x="2837" y="1483"/>
                    <a:pt x="3098" y="1342"/>
                    <a:pt x="3034" y="1285"/>
                  </a:cubicBezTo>
                  <a:cubicBezTo>
                    <a:pt x="2984" y="1234"/>
                    <a:pt x="2843" y="1094"/>
                    <a:pt x="2863" y="833"/>
                  </a:cubicBezTo>
                  <a:cubicBezTo>
                    <a:pt x="2691" y="814"/>
                    <a:pt x="2379" y="337"/>
                    <a:pt x="2379" y="337"/>
                  </a:cubicBezTo>
                  <a:cubicBezTo>
                    <a:pt x="2213" y="337"/>
                    <a:pt x="1621" y="477"/>
                    <a:pt x="1590" y="318"/>
                  </a:cubicBezTo>
                  <a:cubicBezTo>
                    <a:pt x="1564" y="165"/>
                    <a:pt x="1323" y="184"/>
                    <a:pt x="891" y="184"/>
                  </a:cubicBezTo>
                  <a:cubicBezTo>
                    <a:pt x="591" y="184"/>
                    <a:pt x="604" y="89"/>
                    <a:pt x="617" y="0"/>
                  </a:cubicBezTo>
                  <a:cubicBezTo>
                    <a:pt x="0" y="331"/>
                    <a:pt x="273" y="738"/>
                    <a:pt x="235" y="700"/>
                  </a:cubicBezTo>
                  <a:cubicBezTo>
                    <a:pt x="235" y="700"/>
                    <a:pt x="413" y="884"/>
                    <a:pt x="413" y="1024"/>
                  </a:cubicBezTo>
                  <a:cubicBezTo>
                    <a:pt x="413" y="1164"/>
                    <a:pt x="547" y="1444"/>
                    <a:pt x="668" y="1616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29" name="Freeform 492"/>
            <p:cNvSpPr>
              <a:spLocks noChangeArrowheads="1"/>
            </p:cNvSpPr>
            <p:nvPr/>
          </p:nvSpPr>
          <p:spPr bwMode="auto">
            <a:xfrm>
              <a:off x="15104512" y="5156983"/>
              <a:ext cx="2265" cy="226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30" name="Freeform 493"/>
            <p:cNvSpPr>
              <a:spLocks noChangeArrowheads="1"/>
            </p:cNvSpPr>
            <p:nvPr/>
          </p:nvSpPr>
          <p:spPr bwMode="auto">
            <a:xfrm>
              <a:off x="13041577" y="6966417"/>
              <a:ext cx="1877248" cy="2140067"/>
            </a:xfrm>
            <a:custGeom>
              <a:avLst/>
              <a:gdLst>
                <a:gd name="T0" fmla="*/ 904 w 3654"/>
                <a:gd name="T1" fmla="*/ 3589 h 4169"/>
                <a:gd name="T2" fmla="*/ 904 w 3654"/>
                <a:gd name="T3" fmla="*/ 3589 h 4169"/>
                <a:gd name="T4" fmla="*/ 1457 w 3654"/>
                <a:gd name="T5" fmla="*/ 4003 h 4169"/>
                <a:gd name="T6" fmla="*/ 1814 w 3654"/>
                <a:gd name="T7" fmla="*/ 4085 h 4169"/>
                <a:gd name="T8" fmla="*/ 2011 w 3654"/>
                <a:gd name="T9" fmla="*/ 3831 h 4169"/>
                <a:gd name="T10" fmla="*/ 2355 w 3654"/>
                <a:gd name="T11" fmla="*/ 3404 h 4169"/>
                <a:gd name="T12" fmla="*/ 2820 w 3654"/>
                <a:gd name="T13" fmla="*/ 2895 h 4169"/>
                <a:gd name="T14" fmla="*/ 3036 w 3654"/>
                <a:gd name="T15" fmla="*/ 2571 h 4169"/>
                <a:gd name="T16" fmla="*/ 3170 w 3654"/>
                <a:gd name="T17" fmla="*/ 2272 h 4169"/>
                <a:gd name="T18" fmla="*/ 3055 w 3654"/>
                <a:gd name="T19" fmla="*/ 1871 h 4169"/>
                <a:gd name="T20" fmla="*/ 3653 w 3654"/>
                <a:gd name="T21" fmla="*/ 1509 h 4169"/>
                <a:gd name="T22" fmla="*/ 3310 w 3654"/>
                <a:gd name="T23" fmla="*/ 1159 h 4169"/>
                <a:gd name="T24" fmla="*/ 2845 w 3654"/>
                <a:gd name="T25" fmla="*/ 351 h 4169"/>
                <a:gd name="T26" fmla="*/ 2457 w 3654"/>
                <a:gd name="T27" fmla="*/ 414 h 4169"/>
                <a:gd name="T28" fmla="*/ 2018 w 3654"/>
                <a:gd name="T29" fmla="*/ 0 h 4169"/>
                <a:gd name="T30" fmla="*/ 2005 w 3654"/>
                <a:gd name="T31" fmla="*/ 20 h 4169"/>
                <a:gd name="T32" fmla="*/ 1426 w 3654"/>
                <a:gd name="T33" fmla="*/ 77 h 4169"/>
                <a:gd name="T34" fmla="*/ 1018 w 3654"/>
                <a:gd name="T35" fmla="*/ 236 h 4169"/>
                <a:gd name="T36" fmla="*/ 808 w 3654"/>
                <a:gd name="T37" fmla="*/ 376 h 4169"/>
                <a:gd name="T38" fmla="*/ 974 w 3654"/>
                <a:gd name="T39" fmla="*/ 1712 h 4169"/>
                <a:gd name="T40" fmla="*/ 477 w 3654"/>
                <a:gd name="T41" fmla="*/ 1496 h 4169"/>
                <a:gd name="T42" fmla="*/ 286 w 3654"/>
                <a:gd name="T43" fmla="*/ 1559 h 4169"/>
                <a:gd name="T44" fmla="*/ 115 w 3654"/>
                <a:gd name="T45" fmla="*/ 1820 h 4169"/>
                <a:gd name="T46" fmla="*/ 210 w 3654"/>
                <a:gd name="T47" fmla="*/ 1883 h 4169"/>
                <a:gd name="T48" fmla="*/ 337 w 3654"/>
                <a:gd name="T49" fmla="*/ 2093 h 4169"/>
                <a:gd name="T50" fmla="*/ 293 w 3654"/>
                <a:gd name="T51" fmla="*/ 2195 h 4169"/>
                <a:gd name="T52" fmla="*/ 331 w 3654"/>
                <a:gd name="T53" fmla="*/ 2361 h 4169"/>
                <a:gd name="T54" fmla="*/ 210 w 3654"/>
                <a:gd name="T55" fmla="*/ 2539 h 4169"/>
                <a:gd name="T56" fmla="*/ 76 w 3654"/>
                <a:gd name="T57" fmla="*/ 2628 h 4169"/>
                <a:gd name="T58" fmla="*/ 108 w 3654"/>
                <a:gd name="T59" fmla="*/ 2819 h 4169"/>
                <a:gd name="T60" fmla="*/ 223 w 3654"/>
                <a:gd name="T61" fmla="*/ 2927 h 4169"/>
                <a:gd name="T62" fmla="*/ 363 w 3654"/>
                <a:gd name="T63" fmla="*/ 2978 h 4169"/>
                <a:gd name="T64" fmla="*/ 904 w 3654"/>
                <a:gd name="T65" fmla="*/ 3589 h 4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54" h="4169">
                  <a:moveTo>
                    <a:pt x="904" y="3589"/>
                  </a:moveTo>
                  <a:lnTo>
                    <a:pt x="904" y="3589"/>
                  </a:lnTo>
                  <a:cubicBezTo>
                    <a:pt x="904" y="3589"/>
                    <a:pt x="1318" y="3723"/>
                    <a:pt x="1457" y="4003"/>
                  </a:cubicBezTo>
                  <a:cubicBezTo>
                    <a:pt x="1457" y="4003"/>
                    <a:pt x="1731" y="4168"/>
                    <a:pt x="1814" y="4085"/>
                  </a:cubicBezTo>
                  <a:cubicBezTo>
                    <a:pt x="1897" y="4003"/>
                    <a:pt x="1878" y="3831"/>
                    <a:pt x="2011" y="3831"/>
                  </a:cubicBezTo>
                  <a:cubicBezTo>
                    <a:pt x="2145" y="3831"/>
                    <a:pt x="2317" y="3595"/>
                    <a:pt x="2355" y="3404"/>
                  </a:cubicBezTo>
                  <a:cubicBezTo>
                    <a:pt x="2393" y="3214"/>
                    <a:pt x="2820" y="3042"/>
                    <a:pt x="2820" y="2895"/>
                  </a:cubicBezTo>
                  <a:cubicBezTo>
                    <a:pt x="2820" y="2749"/>
                    <a:pt x="2966" y="2641"/>
                    <a:pt x="3036" y="2571"/>
                  </a:cubicBezTo>
                  <a:cubicBezTo>
                    <a:pt x="3106" y="2501"/>
                    <a:pt x="3233" y="2335"/>
                    <a:pt x="3170" y="2272"/>
                  </a:cubicBezTo>
                  <a:cubicBezTo>
                    <a:pt x="3106" y="2208"/>
                    <a:pt x="3004" y="1992"/>
                    <a:pt x="3055" y="1871"/>
                  </a:cubicBezTo>
                  <a:cubicBezTo>
                    <a:pt x="3106" y="1750"/>
                    <a:pt x="3653" y="1509"/>
                    <a:pt x="3653" y="1509"/>
                  </a:cubicBezTo>
                  <a:cubicBezTo>
                    <a:pt x="3653" y="1509"/>
                    <a:pt x="3609" y="1210"/>
                    <a:pt x="3310" y="1159"/>
                  </a:cubicBezTo>
                  <a:cubicBezTo>
                    <a:pt x="3310" y="1159"/>
                    <a:pt x="3017" y="351"/>
                    <a:pt x="2845" y="351"/>
                  </a:cubicBezTo>
                  <a:cubicBezTo>
                    <a:pt x="2673" y="351"/>
                    <a:pt x="2622" y="516"/>
                    <a:pt x="2457" y="414"/>
                  </a:cubicBezTo>
                  <a:cubicBezTo>
                    <a:pt x="2317" y="325"/>
                    <a:pt x="2215" y="71"/>
                    <a:pt x="2018" y="0"/>
                  </a:cubicBezTo>
                  <a:cubicBezTo>
                    <a:pt x="2018" y="7"/>
                    <a:pt x="2011" y="13"/>
                    <a:pt x="2005" y="20"/>
                  </a:cubicBezTo>
                  <a:cubicBezTo>
                    <a:pt x="1801" y="223"/>
                    <a:pt x="1668" y="77"/>
                    <a:pt x="1426" y="77"/>
                  </a:cubicBezTo>
                  <a:cubicBezTo>
                    <a:pt x="1184" y="77"/>
                    <a:pt x="1267" y="236"/>
                    <a:pt x="1018" y="236"/>
                  </a:cubicBezTo>
                  <a:cubicBezTo>
                    <a:pt x="770" y="236"/>
                    <a:pt x="808" y="376"/>
                    <a:pt x="808" y="376"/>
                  </a:cubicBezTo>
                  <a:cubicBezTo>
                    <a:pt x="1171" y="968"/>
                    <a:pt x="1108" y="1712"/>
                    <a:pt x="974" y="1712"/>
                  </a:cubicBezTo>
                  <a:cubicBezTo>
                    <a:pt x="840" y="1712"/>
                    <a:pt x="617" y="1496"/>
                    <a:pt x="477" y="1496"/>
                  </a:cubicBezTo>
                  <a:cubicBezTo>
                    <a:pt x="414" y="1496"/>
                    <a:pt x="337" y="1528"/>
                    <a:pt x="286" y="1559"/>
                  </a:cubicBezTo>
                  <a:cubicBezTo>
                    <a:pt x="299" y="1616"/>
                    <a:pt x="115" y="1763"/>
                    <a:pt x="115" y="1820"/>
                  </a:cubicBezTo>
                  <a:cubicBezTo>
                    <a:pt x="115" y="1877"/>
                    <a:pt x="166" y="1871"/>
                    <a:pt x="210" y="1883"/>
                  </a:cubicBezTo>
                  <a:cubicBezTo>
                    <a:pt x="248" y="1896"/>
                    <a:pt x="337" y="2049"/>
                    <a:pt x="337" y="2093"/>
                  </a:cubicBezTo>
                  <a:cubicBezTo>
                    <a:pt x="337" y="2132"/>
                    <a:pt x="293" y="2125"/>
                    <a:pt x="293" y="2195"/>
                  </a:cubicBezTo>
                  <a:cubicBezTo>
                    <a:pt x="293" y="2265"/>
                    <a:pt x="363" y="2259"/>
                    <a:pt x="331" y="2361"/>
                  </a:cubicBezTo>
                  <a:cubicBezTo>
                    <a:pt x="299" y="2456"/>
                    <a:pt x="210" y="2488"/>
                    <a:pt x="210" y="2539"/>
                  </a:cubicBezTo>
                  <a:cubicBezTo>
                    <a:pt x="210" y="2590"/>
                    <a:pt x="115" y="2628"/>
                    <a:pt x="76" y="2628"/>
                  </a:cubicBezTo>
                  <a:cubicBezTo>
                    <a:pt x="38" y="2628"/>
                    <a:pt x="0" y="2787"/>
                    <a:pt x="108" y="2819"/>
                  </a:cubicBezTo>
                  <a:cubicBezTo>
                    <a:pt x="159" y="2838"/>
                    <a:pt x="197" y="2883"/>
                    <a:pt x="223" y="2927"/>
                  </a:cubicBezTo>
                  <a:cubicBezTo>
                    <a:pt x="280" y="2934"/>
                    <a:pt x="337" y="2946"/>
                    <a:pt x="363" y="2978"/>
                  </a:cubicBezTo>
                  <a:cubicBezTo>
                    <a:pt x="427" y="3042"/>
                    <a:pt x="840" y="3303"/>
                    <a:pt x="904" y="3589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31" name="Freeform 494"/>
            <p:cNvSpPr>
              <a:spLocks noChangeArrowheads="1"/>
            </p:cNvSpPr>
            <p:nvPr/>
          </p:nvSpPr>
          <p:spPr bwMode="auto">
            <a:xfrm>
              <a:off x="14488575" y="7691096"/>
              <a:ext cx="1415297" cy="1555794"/>
            </a:xfrm>
            <a:custGeom>
              <a:avLst/>
              <a:gdLst>
                <a:gd name="T0" fmla="*/ 954 w 2755"/>
                <a:gd name="T1" fmla="*/ 2596 h 3030"/>
                <a:gd name="T2" fmla="*/ 954 w 2755"/>
                <a:gd name="T3" fmla="*/ 2596 h 3030"/>
                <a:gd name="T4" fmla="*/ 1336 w 2755"/>
                <a:gd name="T5" fmla="*/ 2876 h 3030"/>
                <a:gd name="T6" fmla="*/ 1992 w 2755"/>
                <a:gd name="T7" fmla="*/ 2984 h 3030"/>
                <a:gd name="T8" fmla="*/ 2157 w 2755"/>
                <a:gd name="T9" fmla="*/ 2443 h 3030"/>
                <a:gd name="T10" fmla="*/ 2608 w 2755"/>
                <a:gd name="T11" fmla="*/ 2030 h 3030"/>
                <a:gd name="T12" fmla="*/ 2608 w 2755"/>
                <a:gd name="T13" fmla="*/ 1495 h 3030"/>
                <a:gd name="T14" fmla="*/ 2678 w 2755"/>
                <a:gd name="T15" fmla="*/ 967 h 3030"/>
                <a:gd name="T16" fmla="*/ 2608 w 2755"/>
                <a:gd name="T17" fmla="*/ 407 h 3030"/>
                <a:gd name="T18" fmla="*/ 2189 w 2755"/>
                <a:gd name="T19" fmla="*/ 77 h 3030"/>
                <a:gd name="T20" fmla="*/ 1387 w 2755"/>
                <a:gd name="T21" fmla="*/ 115 h 3030"/>
                <a:gd name="T22" fmla="*/ 1126 w 2755"/>
                <a:gd name="T23" fmla="*/ 178 h 3030"/>
                <a:gd name="T24" fmla="*/ 833 w 2755"/>
                <a:gd name="T25" fmla="*/ 96 h 3030"/>
                <a:gd name="T26" fmla="*/ 235 w 2755"/>
                <a:gd name="T27" fmla="*/ 458 h 3030"/>
                <a:gd name="T28" fmla="*/ 350 w 2755"/>
                <a:gd name="T29" fmla="*/ 859 h 3030"/>
                <a:gd name="T30" fmla="*/ 216 w 2755"/>
                <a:gd name="T31" fmla="*/ 1158 h 3030"/>
                <a:gd name="T32" fmla="*/ 0 w 2755"/>
                <a:gd name="T33" fmla="*/ 1482 h 3030"/>
                <a:gd name="T34" fmla="*/ 0 w 2755"/>
                <a:gd name="T35" fmla="*/ 1489 h 3030"/>
                <a:gd name="T36" fmla="*/ 935 w 2755"/>
                <a:gd name="T37" fmla="*/ 2106 h 3030"/>
                <a:gd name="T38" fmla="*/ 954 w 2755"/>
                <a:gd name="T39" fmla="*/ 2596 h 3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55" h="3030">
                  <a:moveTo>
                    <a:pt x="954" y="2596"/>
                  </a:moveTo>
                  <a:lnTo>
                    <a:pt x="954" y="2596"/>
                  </a:lnTo>
                  <a:cubicBezTo>
                    <a:pt x="1005" y="2813"/>
                    <a:pt x="1253" y="2793"/>
                    <a:pt x="1336" y="2876"/>
                  </a:cubicBezTo>
                  <a:cubicBezTo>
                    <a:pt x="1419" y="2959"/>
                    <a:pt x="1813" y="3029"/>
                    <a:pt x="1992" y="2984"/>
                  </a:cubicBezTo>
                  <a:cubicBezTo>
                    <a:pt x="2170" y="2940"/>
                    <a:pt x="2157" y="2520"/>
                    <a:pt x="2157" y="2443"/>
                  </a:cubicBezTo>
                  <a:cubicBezTo>
                    <a:pt x="2157" y="2367"/>
                    <a:pt x="2532" y="2106"/>
                    <a:pt x="2608" y="2030"/>
                  </a:cubicBezTo>
                  <a:cubicBezTo>
                    <a:pt x="2684" y="1947"/>
                    <a:pt x="2608" y="1603"/>
                    <a:pt x="2608" y="1495"/>
                  </a:cubicBezTo>
                  <a:cubicBezTo>
                    <a:pt x="2608" y="1387"/>
                    <a:pt x="2608" y="1126"/>
                    <a:pt x="2678" y="967"/>
                  </a:cubicBezTo>
                  <a:cubicBezTo>
                    <a:pt x="2754" y="808"/>
                    <a:pt x="2608" y="407"/>
                    <a:pt x="2608" y="407"/>
                  </a:cubicBezTo>
                  <a:cubicBezTo>
                    <a:pt x="2423" y="407"/>
                    <a:pt x="2348" y="152"/>
                    <a:pt x="2189" y="77"/>
                  </a:cubicBezTo>
                  <a:cubicBezTo>
                    <a:pt x="2030" y="0"/>
                    <a:pt x="1584" y="77"/>
                    <a:pt x="1387" y="115"/>
                  </a:cubicBezTo>
                  <a:cubicBezTo>
                    <a:pt x="1190" y="152"/>
                    <a:pt x="1222" y="178"/>
                    <a:pt x="1126" y="178"/>
                  </a:cubicBezTo>
                  <a:cubicBezTo>
                    <a:pt x="1030" y="178"/>
                    <a:pt x="833" y="96"/>
                    <a:pt x="833" y="96"/>
                  </a:cubicBezTo>
                  <a:cubicBezTo>
                    <a:pt x="833" y="96"/>
                    <a:pt x="286" y="337"/>
                    <a:pt x="235" y="458"/>
                  </a:cubicBezTo>
                  <a:cubicBezTo>
                    <a:pt x="184" y="579"/>
                    <a:pt x="286" y="795"/>
                    <a:pt x="350" y="859"/>
                  </a:cubicBezTo>
                  <a:cubicBezTo>
                    <a:pt x="413" y="922"/>
                    <a:pt x="286" y="1088"/>
                    <a:pt x="216" y="1158"/>
                  </a:cubicBezTo>
                  <a:cubicBezTo>
                    <a:pt x="146" y="1228"/>
                    <a:pt x="0" y="1336"/>
                    <a:pt x="0" y="1482"/>
                  </a:cubicBezTo>
                  <a:lnTo>
                    <a:pt x="0" y="1489"/>
                  </a:lnTo>
                  <a:cubicBezTo>
                    <a:pt x="375" y="1559"/>
                    <a:pt x="852" y="2017"/>
                    <a:pt x="935" y="2106"/>
                  </a:cubicBezTo>
                  <a:cubicBezTo>
                    <a:pt x="1030" y="2202"/>
                    <a:pt x="903" y="2380"/>
                    <a:pt x="954" y="2596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32" name="Freeform 495"/>
            <p:cNvSpPr>
              <a:spLocks noChangeArrowheads="1"/>
            </p:cNvSpPr>
            <p:nvPr/>
          </p:nvSpPr>
          <p:spPr bwMode="auto">
            <a:xfrm>
              <a:off x="12554713" y="8456538"/>
              <a:ext cx="2572444" cy="3007418"/>
            </a:xfrm>
            <a:custGeom>
              <a:avLst/>
              <a:gdLst>
                <a:gd name="T0" fmla="*/ 2806 w 5010"/>
                <a:gd name="T1" fmla="*/ 4544 h 5856"/>
                <a:gd name="T2" fmla="*/ 2806 w 5010"/>
                <a:gd name="T3" fmla="*/ 4544 h 5856"/>
                <a:gd name="T4" fmla="*/ 2616 w 5010"/>
                <a:gd name="T5" fmla="*/ 4226 h 5856"/>
                <a:gd name="T6" fmla="*/ 2476 w 5010"/>
                <a:gd name="T7" fmla="*/ 3876 h 5856"/>
                <a:gd name="T8" fmla="*/ 2635 w 5010"/>
                <a:gd name="T9" fmla="*/ 3462 h 5856"/>
                <a:gd name="T10" fmla="*/ 2794 w 5010"/>
                <a:gd name="T11" fmla="*/ 3564 h 5856"/>
                <a:gd name="T12" fmla="*/ 3112 w 5010"/>
                <a:gd name="T13" fmla="*/ 3430 h 5856"/>
                <a:gd name="T14" fmla="*/ 3570 w 5010"/>
                <a:gd name="T15" fmla="*/ 3341 h 5856"/>
                <a:gd name="T16" fmla="*/ 3907 w 5010"/>
                <a:gd name="T17" fmla="*/ 3265 h 5856"/>
                <a:gd name="T18" fmla="*/ 4149 w 5010"/>
                <a:gd name="T19" fmla="*/ 2965 h 5856"/>
                <a:gd name="T20" fmla="*/ 4118 w 5010"/>
                <a:gd name="T21" fmla="*/ 2749 h 5856"/>
                <a:gd name="T22" fmla="*/ 4442 w 5010"/>
                <a:gd name="T23" fmla="*/ 2711 h 5856"/>
                <a:gd name="T24" fmla="*/ 4270 w 5010"/>
                <a:gd name="T25" fmla="*/ 2354 h 5856"/>
                <a:gd name="T26" fmla="*/ 4798 w 5010"/>
                <a:gd name="T27" fmla="*/ 1826 h 5856"/>
                <a:gd name="T28" fmla="*/ 4900 w 5010"/>
                <a:gd name="T29" fmla="*/ 1476 h 5856"/>
                <a:gd name="T30" fmla="*/ 5009 w 5010"/>
                <a:gd name="T31" fmla="*/ 1330 h 5856"/>
                <a:gd name="T32" fmla="*/ 4722 w 5010"/>
                <a:gd name="T33" fmla="*/ 1107 h 5856"/>
                <a:gd name="T34" fmla="*/ 4703 w 5010"/>
                <a:gd name="T35" fmla="*/ 617 h 5856"/>
                <a:gd name="T36" fmla="*/ 3768 w 5010"/>
                <a:gd name="T37" fmla="*/ 0 h 5856"/>
                <a:gd name="T38" fmla="*/ 3303 w 5010"/>
                <a:gd name="T39" fmla="*/ 502 h 5856"/>
                <a:gd name="T40" fmla="*/ 2959 w 5010"/>
                <a:gd name="T41" fmla="*/ 929 h 5856"/>
                <a:gd name="T42" fmla="*/ 2762 w 5010"/>
                <a:gd name="T43" fmla="*/ 1183 h 5856"/>
                <a:gd name="T44" fmla="*/ 2405 w 5010"/>
                <a:gd name="T45" fmla="*/ 1101 h 5856"/>
                <a:gd name="T46" fmla="*/ 1852 w 5010"/>
                <a:gd name="T47" fmla="*/ 687 h 5856"/>
                <a:gd name="T48" fmla="*/ 1311 w 5010"/>
                <a:gd name="T49" fmla="*/ 76 h 5856"/>
                <a:gd name="T50" fmla="*/ 1171 w 5010"/>
                <a:gd name="T51" fmla="*/ 25 h 5856"/>
                <a:gd name="T52" fmla="*/ 1184 w 5010"/>
                <a:gd name="T53" fmla="*/ 159 h 5856"/>
                <a:gd name="T54" fmla="*/ 1133 w 5010"/>
                <a:gd name="T55" fmla="*/ 471 h 5856"/>
                <a:gd name="T56" fmla="*/ 1088 w 5010"/>
                <a:gd name="T57" fmla="*/ 744 h 5856"/>
                <a:gd name="T58" fmla="*/ 1044 w 5010"/>
                <a:gd name="T59" fmla="*/ 1126 h 5856"/>
                <a:gd name="T60" fmla="*/ 916 w 5010"/>
                <a:gd name="T61" fmla="*/ 1998 h 5856"/>
                <a:gd name="T62" fmla="*/ 916 w 5010"/>
                <a:gd name="T63" fmla="*/ 2215 h 5856"/>
                <a:gd name="T64" fmla="*/ 611 w 5010"/>
                <a:gd name="T65" fmla="*/ 3799 h 5856"/>
                <a:gd name="T66" fmla="*/ 541 w 5010"/>
                <a:gd name="T67" fmla="*/ 4098 h 5856"/>
                <a:gd name="T68" fmla="*/ 426 w 5010"/>
                <a:gd name="T69" fmla="*/ 4251 h 5856"/>
                <a:gd name="T70" fmla="*/ 140 w 5010"/>
                <a:gd name="T71" fmla="*/ 4512 h 5856"/>
                <a:gd name="T72" fmla="*/ 51 w 5010"/>
                <a:gd name="T73" fmla="*/ 4601 h 5856"/>
                <a:gd name="T74" fmla="*/ 280 w 5010"/>
                <a:gd name="T75" fmla="*/ 4786 h 5856"/>
                <a:gd name="T76" fmla="*/ 522 w 5010"/>
                <a:gd name="T77" fmla="*/ 4779 h 5856"/>
                <a:gd name="T78" fmla="*/ 464 w 5010"/>
                <a:gd name="T79" fmla="*/ 5091 h 5856"/>
                <a:gd name="T80" fmla="*/ 604 w 5010"/>
                <a:gd name="T81" fmla="*/ 5219 h 5856"/>
                <a:gd name="T82" fmla="*/ 821 w 5010"/>
                <a:gd name="T83" fmla="*/ 5257 h 5856"/>
                <a:gd name="T84" fmla="*/ 1470 w 5010"/>
                <a:gd name="T85" fmla="*/ 5505 h 5856"/>
                <a:gd name="T86" fmla="*/ 2005 w 5010"/>
                <a:gd name="T87" fmla="*/ 5791 h 5856"/>
                <a:gd name="T88" fmla="*/ 2259 w 5010"/>
                <a:gd name="T89" fmla="*/ 5798 h 5856"/>
                <a:gd name="T90" fmla="*/ 2647 w 5010"/>
                <a:gd name="T91" fmla="*/ 4970 h 5856"/>
                <a:gd name="T92" fmla="*/ 2806 w 5010"/>
                <a:gd name="T93" fmla="*/ 4544 h 5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10" h="5856">
                  <a:moveTo>
                    <a:pt x="2806" y="4544"/>
                  </a:moveTo>
                  <a:lnTo>
                    <a:pt x="2806" y="4544"/>
                  </a:lnTo>
                  <a:cubicBezTo>
                    <a:pt x="2806" y="4442"/>
                    <a:pt x="2616" y="4226"/>
                    <a:pt x="2616" y="4226"/>
                  </a:cubicBezTo>
                  <a:cubicBezTo>
                    <a:pt x="2291" y="4353"/>
                    <a:pt x="2405" y="3946"/>
                    <a:pt x="2476" y="3876"/>
                  </a:cubicBezTo>
                  <a:cubicBezTo>
                    <a:pt x="2552" y="3799"/>
                    <a:pt x="2577" y="3462"/>
                    <a:pt x="2635" y="3462"/>
                  </a:cubicBezTo>
                  <a:cubicBezTo>
                    <a:pt x="2692" y="3462"/>
                    <a:pt x="2730" y="3564"/>
                    <a:pt x="2794" y="3564"/>
                  </a:cubicBezTo>
                  <a:cubicBezTo>
                    <a:pt x="2857" y="3564"/>
                    <a:pt x="3029" y="3430"/>
                    <a:pt x="3112" y="3430"/>
                  </a:cubicBezTo>
                  <a:cubicBezTo>
                    <a:pt x="3195" y="3430"/>
                    <a:pt x="3507" y="3341"/>
                    <a:pt x="3570" y="3341"/>
                  </a:cubicBezTo>
                  <a:cubicBezTo>
                    <a:pt x="3634" y="3341"/>
                    <a:pt x="3831" y="3341"/>
                    <a:pt x="3907" y="3265"/>
                  </a:cubicBezTo>
                  <a:cubicBezTo>
                    <a:pt x="3990" y="3182"/>
                    <a:pt x="4092" y="3080"/>
                    <a:pt x="4149" y="2965"/>
                  </a:cubicBezTo>
                  <a:cubicBezTo>
                    <a:pt x="4207" y="2851"/>
                    <a:pt x="4060" y="2876"/>
                    <a:pt x="4118" y="2749"/>
                  </a:cubicBezTo>
                  <a:cubicBezTo>
                    <a:pt x="4175" y="2622"/>
                    <a:pt x="4372" y="2781"/>
                    <a:pt x="4442" y="2711"/>
                  </a:cubicBezTo>
                  <a:cubicBezTo>
                    <a:pt x="4518" y="2634"/>
                    <a:pt x="4308" y="2475"/>
                    <a:pt x="4270" y="2354"/>
                  </a:cubicBezTo>
                  <a:cubicBezTo>
                    <a:pt x="4232" y="2233"/>
                    <a:pt x="4697" y="1928"/>
                    <a:pt x="4798" y="1826"/>
                  </a:cubicBezTo>
                  <a:cubicBezTo>
                    <a:pt x="4900" y="1724"/>
                    <a:pt x="4900" y="1578"/>
                    <a:pt x="4900" y="1476"/>
                  </a:cubicBezTo>
                  <a:cubicBezTo>
                    <a:pt x="4900" y="1425"/>
                    <a:pt x="4958" y="1374"/>
                    <a:pt x="5009" y="1330"/>
                  </a:cubicBezTo>
                  <a:cubicBezTo>
                    <a:pt x="4900" y="1298"/>
                    <a:pt x="4760" y="1260"/>
                    <a:pt x="4722" y="1107"/>
                  </a:cubicBezTo>
                  <a:cubicBezTo>
                    <a:pt x="4671" y="891"/>
                    <a:pt x="4798" y="713"/>
                    <a:pt x="4703" y="617"/>
                  </a:cubicBezTo>
                  <a:cubicBezTo>
                    <a:pt x="4620" y="528"/>
                    <a:pt x="4143" y="70"/>
                    <a:pt x="3768" y="0"/>
                  </a:cubicBezTo>
                  <a:cubicBezTo>
                    <a:pt x="3755" y="146"/>
                    <a:pt x="3341" y="312"/>
                    <a:pt x="3303" y="502"/>
                  </a:cubicBezTo>
                  <a:cubicBezTo>
                    <a:pt x="3265" y="693"/>
                    <a:pt x="3093" y="929"/>
                    <a:pt x="2959" y="929"/>
                  </a:cubicBezTo>
                  <a:cubicBezTo>
                    <a:pt x="2826" y="929"/>
                    <a:pt x="2845" y="1101"/>
                    <a:pt x="2762" y="1183"/>
                  </a:cubicBezTo>
                  <a:cubicBezTo>
                    <a:pt x="2679" y="1266"/>
                    <a:pt x="2405" y="1101"/>
                    <a:pt x="2405" y="1101"/>
                  </a:cubicBezTo>
                  <a:cubicBezTo>
                    <a:pt x="2266" y="821"/>
                    <a:pt x="1852" y="687"/>
                    <a:pt x="1852" y="687"/>
                  </a:cubicBezTo>
                  <a:cubicBezTo>
                    <a:pt x="1788" y="401"/>
                    <a:pt x="1375" y="140"/>
                    <a:pt x="1311" y="76"/>
                  </a:cubicBezTo>
                  <a:cubicBezTo>
                    <a:pt x="1285" y="44"/>
                    <a:pt x="1228" y="32"/>
                    <a:pt x="1171" y="25"/>
                  </a:cubicBezTo>
                  <a:cubicBezTo>
                    <a:pt x="1196" y="82"/>
                    <a:pt x="1203" y="140"/>
                    <a:pt x="1184" y="159"/>
                  </a:cubicBezTo>
                  <a:cubicBezTo>
                    <a:pt x="1139" y="203"/>
                    <a:pt x="1158" y="394"/>
                    <a:pt x="1133" y="471"/>
                  </a:cubicBezTo>
                  <a:cubicBezTo>
                    <a:pt x="1114" y="547"/>
                    <a:pt x="1114" y="674"/>
                    <a:pt x="1088" y="744"/>
                  </a:cubicBezTo>
                  <a:cubicBezTo>
                    <a:pt x="1063" y="814"/>
                    <a:pt x="1044" y="1024"/>
                    <a:pt x="1044" y="1126"/>
                  </a:cubicBezTo>
                  <a:cubicBezTo>
                    <a:pt x="1044" y="1228"/>
                    <a:pt x="916" y="1935"/>
                    <a:pt x="916" y="1998"/>
                  </a:cubicBezTo>
                  <a:cubicBezTo>
                    <a:pt x="916" y="2062"/>
                    <a:pt x="916" y="2215"/>
                    <a:pt x="916" y="2215"/>
                  </a:cubicBezTo>
                  <a:cubicBezTo>
                    <a:pt x="916" y="2215"/>
                    <a:pt x="719" y="3666"/>
                    <a:pt x="611" y="3799"/>
                  </a:cubicBezTo>
                  <a:cubicBezTo>
                    <a:pt x="547" y="3876"/>
                    <a:pt x="566" y="4022"/>
                    <a:pt x="541" y="4098"/>
                  </a:cubicBezTo>
                  <a:cubicBezTo>
                    <a:pt x="515" y="4181"/>
                    <a:pt x="458" y="4168"/>
                    <a:pt x="426" y="4251"/>
                  </a:cubicBezTo>
                  <a:cubicBezTo>
                    <a:pt x="401" y="4334"/>
                    <a:pt x="242" y="4512"/>
                    <a:pt x="140" y="4512"/>
                  </a:cubicBezTo>
                  <a:cubicBezTo>
                    <a:pt x="38" y="4512"/>
                    <a:pt x="0" y="4582"/>
                    <a:pt x="51" y="4601"/>
                  </a:cubicBezTo>
                  <a:cubicBezTo>
                    <a:pt x="108" y="4614"/>
                    <a:pt x="229" y="4786"/>
                    <a:pt x="280" y="4786"/>
                  </a:cubicBezTo>
                  <a:cubicBezTo>
                    <a:pt x="331" y="4786"/>
                    <a:pt x="413" y="4703"/>
                    <a:pt x="522" y="4779"/>
                  </a:cubicBezTo>
                  <a:cubicBezTo>
                    <a:pt x="630" y="4856"/>
                    <a:pt x="579" y="4977"/>
                    <a:pt x="464" y="5091"/>
                  </a:cubicBezTo>
                  <a:cubicBezTo>
                    <a:pt x="350" y="5206"/>
                    <a:pt x="484" y="5219"/>
                    <a:pt x="604" y="5219"/>
                  </a:cubicBezTo>
                  <a:cubicBezTo>
                    <a:pt x="725" y="5219"/>
                    <a:pt x="821" y="5257"/>
                    <a:pt x="821" y="5257"/>
                  </a:cubicBezTo>
                  <a:cubicBezTo>
                    <a:pt x="1082" y="5473"/>
                    <a:pt x="1375" y="5409"/>
                    <a:pt x="1470" y="5505"/>
                  </a:cubicBezTo>
                  <a:cubicBezTo>
                    <a:pt x="1559" y="5594"/>
                    <a:pt x="1502" y="5855"/>
                    <a:pt x="2005" y="5791"/>
                  </a:cubicBezTo>
                  <a:cubicBezTo>
                    <a:pt x="2113" y="5779"/>
                    <a:pt x="2195" y="5785"/>
                    <a:pt x="2259" y="5798"/>
                  </a:cubicBezTo>
                  <a:cubicBezTo>
                    <a:pt x="2297" y="5530"/>
                    <a:pt x="2584" y="5091"/>
                    <a:pt x="2647" y="4970"/>
                  </a:cubicBezTo>
                  <a:cubicBezTo>
                    <a:pt x="2724" y="4830"/>
                    <a:pt x="2806" y="4646"/>
                    <a:pt x="2806" y="4544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33" name="Freeform 496"/>
            <p:cNvSpPr>
              <a:spLocks noChangeArrowheads="1"/>
            </p:cNvSpPr>
            <p:nvPr/>
          </p:nvSpPr>
          <p:spPr bwMode="auto">
            <a:xfrm>
              <a:off x="13714125" y="9140455"/>
              <a:ext cx="2823800" cy="2622432"/>
            </a:xfrm>
            <a:custGeom>
              <a:avLst/>
              <a:gdLst>
                <a:gd name="T0" fmla="*/ 3774 w 5499"/>
                <a:gd name="T1" fmla="*/ 4748 h 5105"/>
                <a:gd name="T2" fmla="*/ 3774 w 5499"/>
                <a:gd name="T3" fmla="*/ 4748 h 5105"/>
                <a:gd name="T4" fmla="*/ 3602 w 5499"/>
                <a:gd name="T5" fmla="*/ 4633 h 5105"/>
                <a:gd name="T6" fmla="*/ 3310 w 5499"/>
                <a:gd name="T7" fmla="*/ 4455 h 5105"/>
                <a:gd name="T8" fmla="*/ 3431 w 5499"/>
                <a:gd name="T9" fmla="*/ 4277 h 5105"/>
                <a:gd name="T10" fmla="*/ 3081 w 5499"/>
                <a:gd name="T11" fmla="*/ 3717 h 5105"/>
                <a:gd name="T12" fmla="*/ 3221 w 5499"/>
                <a:gd name="T13" fmla="*/ 3309 h 5105"/>
                <a:gd name="T14" fmla="*/ 3781 w 5499"/>
                <a:gd name="T15" fmla="*/ 3303 h 5105"/>
                <a:gd name="T16" fmla="*/ 4206 w 5499"/>
                <a:gd name="T17" fmla="*/ 3303 h 5105"/>
                <a:gd name="T18" fmla="*/ 4371 w 5499"/>
                <a:gd name="T19" fmla="*/ 2966 h 5105"/>
                <a:gd name="T20" fmla="*/ 4429 w 5499"/>
                <a:gd name="T21" fmla="*/ 2832 h 5105"/>
                <a:gd name="T22" fmla="*/ 4957 w 5499"/>
                <a:gd name="T23" fmla="*/ 2590 h 5105"/>
                <a:gd name="T24" fmla="*/ 5193 w 5499"/>
                <a:gd name="T25" fmla="*/ 2469 h 5105"/>
                <a:gd name="T26" fmla="*/ 5498 w 5499"/>
                <a:gd name="T27" fmla="*/ 2056 h 5105"/>
                <a:gd name="T28" fmla="*/ 5358 w 5499"/>
                <a:gd name="T29" fmla="*/ 1794 h 5105"/>
                <a:gd name="T30" fmla="*/ 5059 w 5499"/>
                <a:gd name="T31" fmla="*/ 1368 h 5105"/>
                <a:gd name="T32" fmla="*/ 4881 w 5499"/>
                <a:gd name="T33" fmla="*/ 764 h 5105"/>
                <a:gd name="T34" fmla="*/ 4543 w 5499"/>
                <a:gd name="T35" fmla="*/ 375 h 5105"/>
                <a:gd name="T36" fmla="*/ 4499 w 5499"/>
                <a:gd name="T37" fmla="*/ 197 h 5105"/>
                <a:gd name="T38" fmla="*/ 4104 w 5499"/>
                <a:gd name="T39" fmla="*/ 643 h 5105"/>
                <a:gd name="T40" fmla="*/ 3863 w 5499"/>
                <a:gd name="T41" fmla="*/ 834 h 5105"/>
                <a:gd name="T42" fmla="*/ 3628 w 5499"/>
                <a:gd name="T43" fmla="*/ 725 h 5105"/>
                <a:gd name="T44" fmla="*/ 3564 w 5499"/>
                <a:gd name="T45" fmla="*/ 324 h 5105"/>
                <a:gd name="T46" fmla="*/ 3526 w 5499"/>
                <a:gd name="T47" fmla="*/ 153 h 5105"/>
                <a:gd name="T48" fmla="*/ 3501 w 5499"/>
                <a:gd name="T49" fmla="*/ 165 h 5105"/>
                <a:gd name="T50" fmla="*/ 2845 w 5499"/>
                <a:gd name="T51" fmla="*/ 57 h 5105"/>
                <a:gd name="T52" fmla="*/ 2750 w 5499"/>
                <a:gd name="T53" fmla="*/ 0 h 5105"/>
                <a:gd name="T54" fmla="*/ 2641 w 5499"/>
                <a:gd name="T55" fmla="*/ 146 h 5105"/>
                <a:gd name="T56" fmla="*/ 2539 w 5499"/>
                <a:gd name="T57" fmla="*/ 496 h 5105"/>
                <a:gd name="T58" fmla="*/ 2011 w 5499"/>
                <a:gd name="T59" fmla="*/ 1024 h 5105"/>
                <a:gd name="T60" fmla="*/ 2183 w 5499"/>
                <a:gd name="T61" fmla="*/ 1381 h 5105"/>
                <a:gd name="T62" fmla="*/ 1859 w 5499"/>
                <a:gd name="T63" fmla="*/ 1419 h 5105"/>
                <a:gd name="T64" fmla="*/ 1890 w 5499"/>
                <a:gd name="T65" fmla="*/ 1635 h 5105"/>
                <a:gd name="T66" fmla="*/ 1648 w 5499"/>
                <a:gd name="T67" fmla="*/ 1935 h 5105"/>
                <a:gd name="T68" fmla="*/ 1311 w 5499"/>
                <a:gd name="T69" fmla="*/ 2011 h 5105"/>
                <a:gd name="T70" fmla="*/ 853 w 5499"/>
                <a:gd name="T71" fmla="*/ 2100 h 5105"/>
                <a:gd name="T72" fmla="*/ 535 w 5499"/>
                <a:gd name="T73" fmla="*/ 2234 h 5105"/>
                <a:gd name="T74" fmla="*/ 376 w 5499"/>
                <a:gd name="T75" fmla="*/ 2132 h 5105"/>
                <a:gd name="T76" fmla="*/ 217 w 5499"/>
                <a:gd name="T77" fmla="*/ 2546 h 5105"/>
                <a:gd name="T78" fmla="*/ 357 w 5499"/>
                <a:gd name="T79" fmla="*/ 2896 h 5105"/>
                <a:gd name="T80" fmla="*/ 547 w 5499"/>
                <a:gd name="T81" fmla="*/ 3214 h 5105"/>
                <a:gd name="T82" fmla="*/ 388 w 5499"/>
                <a:gd name="T83" fmla="*/ 3640 h 5105"/>
                <a:gd name="T84" fmla="*/ 0 w 5499"/>
                <a:gd name="T85" fmla="*/ 4468 h 5105"/>
                <a:gd name="T86" fmla="*/ 331 w 5499"/>
                <a:gd name="T87" fmla="*/ 4678 h 5105"/>
                <a:gd name="T88" fmla="*/ 1088 w 5499"/>
                <a:gd name="T89" fmla="*/ 4754 h 5105"/>
                <a:gd name="T90" fmla="*/ 1343 w 5499"/>
                <a:gd name="T91" fmla="*/ 4449 h 5105"/>
                <a:gd name="T92" fmla="*/ 2037 w 5499"/>
                <a:gd name="T93" fmla="*/ 4671 h 5105"/>
                <a:gd name="T94" fmla="*/ 2450 w 5499"/>
                <a:gd name="T95" fmla="*/ 4786 h 5105"/>
                <a:gd name="T96" fmla="*/ 2807 w 5499"/>
                <a:gd name="T97" fmla="*/ 4881 h 5105"/>
                <a:gd name="T98" fmla="*/ 2928 w 5499"/>
                <a:gd name="T99" fmla="*/ 5091 h 5105"/>
                <a:gd name="T100" fmla="*/ 2979 w 5499"/>
                <a:gd name="T101" fmla="*/ 5104 h 5105"/>
                <a:gd name="T102" fmla="*/ 3437 w 5499"/>
                <a:gd name="T103" fmla="*/ 4805 h 5105"/>
                <a:gd name="T104" fmla="*/ 3774 w 5499"/>
                <a:gd name="T105" fmla="*/ 4748 h 5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9" h="5105">
                  <a:moveTo>
                    <a:pt x="3774" y="4748"/>
                  </a:moveTo>
                  <a:lnTo>
                    <a:pt x="3774" y="4748"/>
                  </a:lnTo>
                  <a:cubicBezTo>
                    <a:pt x="3774" y="4748"/>
                    <a:pt x="3711" y="4690"/>
                    <a:pt x="3602" y="4633"/>
                  </a:cubicBezTo>
                  <a:cubicBezTo>
                    <a:pt x="3494" y="4576"/>
                    <a:pt x="3310" y="4525"/>
                    <a:pt x="3310" y="4455"/>
                  </a:cubicBezTo>
                  <a:cubicBezTo>
                    <a:pt x="3310" y="4385"/>
                    <a:pt x="3431" y="4277"/>
                    <a:pt x="3431" y="4277"/>
                  </a:cubicBezTo>
                  <a:cubicBezTo>
                    <a:pt x="3507" y="3882"/>
                    <a:pt x="3240" y="3876"/>
                    <a:pt x="3081" y="3717"/>
                  </a:cubicBezTo>
                  <a:cubicBezTo>
                    <a:pt x="2921" y="3558"/>
                    <a:pt x="3081" y="3309"/>
                    <a:pt x="3221" y="3309"/>
                  </a:cubicBezTo>
                  <a:cubicBezTo>
                    <a:pt x="3361" y="3309"/>
                    <a:pt x="3609" y="3373"/>
                    <a:pt x="3781" y="3303"/>
                  </a:cubicBezTo>
                  <a:cubicBezTo>
                    <a:pt x="3952" y="3233"/>
                    <a:pt x="3996" y="3303"/>
                    <a:pt x="4206" y="3303"/>
                  </a:cubicBezTo>
                  <a:cubicBezTo>
                    <a:pt x="4422" y="3303"/>
                    <a:pt x="4371" y="3036"/>
                    <a:pt x="4371" y="2966"/>
                  </a:cubicBezTo>
                  <a:cubicBezTo>
                    <a:pt x="4371" y="2896"/>
                    <a:pt x="4429" y="2832"/>
                    <a:pt x="4429" y="2832"/>
                  </a:cubicBezTo>
                  <a:cubicBezTo>
                    <a:pt x="4760" y="2832"/>
                    <a:pt x="4957" y="2667"/>
                    <a:pt x="4957" y="2590"/>
                  </a:cubicBezTo>
                  <a:cubicBezTo>
                    <a:pt x="4957" y="2520"/>
                    <a:pt x="5052" y="2501"/>
                    <a:pt x="5193" y="2469"/>
                  </a:cubicBezTo>
                  <a:cubicBezTo>
                    <a:pt x="5333" y="2437"/>
                    <a:pt x="5498" y="2056"/>
                    <a:pt x="5498" y="2056"/>
                  </a:cubicBezTo>
                  <a:cubicBezTo>
                    <a:pt x="5313" y="1998"/>
                    <a:pt x="5358" y="1794"/>
                    <a:pt x="5358" y="1794"/>
                  </a:cubicBezTo>
                  <a:cubicBezTo>
                    <a:pt x="5275" y="1794"/>
                    <a:pt x="5059" y="1610"/>
                    <a:pt x="5059" y="1368"/>
                  </a:cubicBezTo>
                  <a:cubicBezTo>
                    <a:pt x="5059" y="1126"/>
                    <a:pt x="4944" y="827"/>
                    <a:pt x="4881" y="764"/>
                  </a:cubicBezTo>
                  <a:cubicBezTo>
                    <a:pt x="4811" y="694"/>
                    <a:pt x="4633" y="413"/>
                    <a:pt x="4543" y="375"/>
                  </a:cubicBezTo>
                  <a:cubicBezTo>
                    <a:pt x="4454" y="337"/>
                    <a:pt x="4588" y="197"/>
                    <a:pt x="4499" y="197"/>
                  </a:cubicBezTo>
                  <a:cubicBezTo>
                    <a:pt x="4416" y="197"/>
                    <a:pt x="4142" y="490"/>
                    <a:pt x="4104" y="643"/>
                  </a:cubicBezTo>
                  <a:cubicBezTo>
                    <a:pt x="4066" y="802"/>
                    <a:pt x="4015" y="789"/>
                    <a:pt x="3863" y="834"/>
                  </a:cubicBezTo>
                  <a:cubicBezTo>
                    <a:pt x="3711" y="872"/>
                    <a:pt x="3577" y="834"/>
                    <a:pt x="3628" y="725"/>
                  </a:cubicBezTo>
                  <a:cubicBezTo>
                    <a:pt x="3679" y="623"/>
                    <a:pt x="3622" y="382"/>
                    <a:pt x="3564" y="324"/>
                  </a:cubicBezTo>
                  <a:cubicBezTo>
                    <a:pt x="3532" y="293"/>
                    <a:pt x="3526" y="216"/>
                    <a:pt x="3526" y="153"/>
                  </a:cubicBezTo>
                  <a:cubicBezTo>
                    <a:pt x="3520" y="159"/>
                    <a:pt x="3513" y="159"/>
                    <a:pt x="3501" y="165"/>
                  </a:cubicBezTo>
                  <a:cubicBezTo>
                    <a:pt x="3322" y="210"/>
                    <a:pt x="2928" y="140"/>
                    <a:pt x="2845" y="57"/>
                  </a:cubicBezTo>
                  <a:cubicBezTo>
                    <a:pt x="2826" y="32"/>
                    <a:pt x="2788" y="19"/>
                    <a:pt x="2750" y="0"/>
                  </a:cubicBezTo>
                  <a:cubicBezTo>
                    <a:pt x="2699" y="44"/>
                    <a:pt x="2641" y="95"/>
                    <a:pt x="2641" y="146"/>
                  </a:cubicBezTo>
                  <a:cubicBezTo>
                    <a:pt x="2641" y="248"/>
                    <a:pt x="2641" y="394"/>
                    <a:pt x="2539" y="496"/>
                  </a:cubicBezTo>
                  <a:cubicBezTo>
                    <a:pt x="2438" y="598"/>
                    <a:pt x="1973" y="903"/>
                    <a:pt x="2011" y="1024"/>
                  </a:cubicBezTo>
                  <a:cubicBezTo>
                    <a:pt x="2049" y="1145"/>
                    <a:pt x="2259" y="1304"/>
                    <a:pt x="2183" y="1381"/>
                  </a:cubicBezTo>
                  <a:cubicBezTo>
                    <a:pt x="2113" y="1451"/>
                    <a:pt x="1916" y="1292"/>
                    <a:pt x="1859" y="1419"/>
                  </a:cubicBezTo>
                  <a:cubicBezTo>
                    <a:pt x="1801" y="1546"/>
                    <a:pt x="1948" y="1521"/>
                    <a:pt x="1890" y="1635"/>
                  </a:cubicBezTo>
                  <a:cubicBezTo>
                    <a:pt x="1833" y="1750"/>
                    <a:pt x="1731" y="1852"/>
                    <a:pt x="1648" y="1935"/>
                  </a:cubicBezTo>
                  <a:cubicBezTo>
                    <a:pt x="1572" y="2011"/>
                    <a:pt x="1375" y="2011"/>
                    <a:pt x="1311" y="2011"/>
                  </a:cubicBezTo>
                  <a:cubicBezTo>
                    <a:pt x="1248" y="2011"/>
                    <a:pt x="936" y="2100"/>
                    <a:pt x="853" y="2100"/>
                  </a:cubicBezTo>
                  <a:cubicBezTo>
                    <a:pt x="770" y="2100"/>
                    <a:pt x="598" y="2234"/>
                    <a:pt x="535" y="2234"/>
                  </a:cubicBezTo>
                  <a:cubicBezTo>
                    <a:pt x="471" y="2234"/>
                    <a:pt x="433" y="2132"/>
                    <a:pt x="376" y="2132"/>
                  </a:cubicBezTo>
                  <a:cubicBezTo>
                    <a:pt x="318" y="2132"/>
                    <a:pt x="293" y="2469"/>
                    <a:pt x="217" y="2546"/>
                  </a:cubicBezTo>
                  <a:cubicBezTo>
                    <a:pt x="146" y="2616"/>
                    <a:pt x="32" y="3023"/>
                    <a:pt x="357" y="2896"/>
                  </a:cubicBezTo>
                  <a:cubicBezTo>
                    <a:pt x="357" y="2896"/>
                    <a:pt x="547" y="3112"/>
                    <a:pt x="547" y="3214"/>
                  </a:cubicBezTo>
                  <a:cubicBezTo>
                    <a:pt x="547" y="3316"/>
                    <a:pt x="465" y="3500"/>
                    <a:pt x="388" y="3640"/>
                  </a:cubicBezTo>
                  <a:cubicBezTo>
                    <a:pt x="325" y="3761"/>
                    <a:pt x="38" y="4200"/>
                    <a:pt x="0" y="4468"/>
                  </a:cubicBezTo>
                  <a:cubicBezTo>
                    <a:pt x="242" y="4525"/>
                    <a:pt x="242" y="4709"/>
                    <a:pt x="331" y="4678"/>
                  </a:cubicBezTo>
                  <a:cubicBezTo>
                    <a:pt x="560" y="4601"/>
                    <a:pt x="923" y="4735"/>
                    <a:pt x="1088" y="4754"/>
                  </a:cubicBezTo>
                  <a:cubicBezTo>
                    <a:pt x="1483" y="4792"/>
                    <a:pt x="1222" y="4468"/>
                    <a:pt x="1343" y="4449"/>
                  </a:cubicBezTo>
                  <a:cubicBezTo>
                    <a:pt x="1699" y="4398"/>
                    <a:pt x="1967" y="4646"/>
                    <a:pt x="2037" y="4671"/>
                  </a:cubicBezTo>
                  <a:cubicBezTo>
                    <a:pt x="2107" y="4703"/>
                    <a:pt x="2387" y="4633"/>
                    <a:pt x="2450" y="4786"/>
                  </a:cubicBezTo>
                  <a:cubicBezTo>
                    <a:pt x="2514" y="4945"/>
                    <a:pt x="2629" y="4786"/>
                    <a:pt x="2807" y="4881"/>
                  </a:cubicBezTo>
                  <a:cubicBezTo>
                    <a:pt x="2883" y="4919"/>
                    <a:pt x="2883" y="5072"/>
                    <a:pt x="2928" y="5091"/>
                  </a:cubicBezTo>
                  <a:cubicBezTo>
                    <a:pt x="2947" y="5098"/>
                    <a:pt x="2960" y="5098"/>
                    <a:pt x="2979" y="5104"/>
                  </a:cubicBezTo>
                  <a:cubicBezTo>
                    <a:pt x="3144" y="5021"/>
                    <a:pt x="3367" y="4805"/>
                    <a:pt x="3437" y="4805"/>
                  </a:cubicBezTo>
                  <a:cubicBezTo>
                    <a:pt x="3520" y="4805"/>
                    <a:pt x="3774" y="4748"/>
                    <a:pt x="3774" y="4748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34" name="Freeform 497"/>
            <p:cNvSpPr>
              <a:spLocks noChangeArrowheads="1"/>
            </p:cNvSpPr>
            <p:nvPr/>
          </p:nvSpPr>
          <p:spPr bwMode="auto">
            <a:xfrm>
              <a:off x="15215472" y="9163100"/>
              <a:ext cx="2359582" cy="2769632"/>
            </a:xfrm>
            <a:custGeom>
              <a:avLst/>
              <a:gdLst>
                <a:gd name="T0" fmla="*/ 4346 w 4596"/>
                <a:gd name="T1" fmla="*/ 2374 h 5392"/>
                <a:gd name="T2" fmla="*/ 4346 w 4596"/>
                <a:gd name="T3" fmla="*/ 2374 h 5392"/>
                <a:gd name="T4" fmla="*/ 4563 w 4596"/>
                <a:gd name="T5" fmla="*/ 2075 h 5392"/>
                <a:gd name="T6" fmla="*/ 4493 w 4596"/>
                <a:gd name="T7" fmla="*/ 1763 h 5392"/>
                <a:gd name="T8" fmla="*/ 4143 w 4596"/>
                <a:gd name="T9" fmla="*/ 1439 h 5392"/>
                <a:gd name="T10" fmla="*/ 3786 w 4596"/>
                <a:gd name="T11" fmla="*/ 1464 h 5392"/>
                <a:gd name="T12" fmla="*/ 3519 w 4596"/>
                <a:gd name="T13" fmla="*/ 1280 h 5392"/>
                <a:gd name="T14" fmla="*/ 3252 w 4596"/>
                <a:gd name="T15" fmla="*/ 885 h 5392"/>
                <a:gd name="T16" fmla="*/ 3029 w 4596"/>
                <a:gd name="T17" fmla="*/ 427 h 5392"/>
                <a:gd name="T18" fmla="*/ 2749 w 4596"/>
                <a:gd name="T19" fmla="*/ 459 h 5392"/>
                <a:gd name="T20" fmla="*/ 2609 w 4596"/>
                <a:gd name="T21" fmla="*/ 331 h 5392"/>
                <a:gd name="T22" fmla="*/ 2386 w 4596"/>
                <a:gd name="T23" fmla="*/ 109 h 5392"/>
                <a:gd name="T24" fmla="*/ 2144 w 4596"/>
                <a:gd name="T25" fmla="*/ 293 h 5392"/>
                <a:gd name="T26" fmla="*/ 1909 w 4596"/>
                <a:gd name="T27" fmla="*/ 662 h 5392"/>
                <a:gd name="T28" fmla="*/ 1960 w 4596"/>
                <a:gd name="T29" fmla="*/ 720 h 5392"/>
                <a:gd name="T30" fmla="*/ 2138 w 4596"/>
                <a:gd name="T31" fmla="*/ 1324 h 5392"/>
                <a:gd name="T32" fmla="*/ 2437 w 4596"/>
                <a:gd name="T33" fmla="*/ 1750 h 5392"/>
                <a:gd name="T34" fmla="*/ 2577 w 4596"/>
                <a:gd name="T35" fmla="*/ 2012 h 5392"/>
                <a:gd name="T36" fmla="*/ 2272 w 4596"/>
                <a:gd name="T37" fmla="*/ 2425 h 5392"/>
                <a:gd name="T38" fmla="*/ 2036 w 4596"/>
                <a:gd name="T39" fmla="*/ 2546 h 5392"/>
                <a:gd name="T40" fmla="*/ 1508 w 4596"/>
                <a:gd name="T41" fmla="*/ 2788 h 5392"/>
                <a:gd name="T42" fmla="*/ 1450 w 4596"/>
                <a:gd name="T43" fmla="*/ 2922 h 5392"/>
                <a:gd name="T44" fmla="*/ 1285 w 4596"/>
                <a:gd name="T45" fmla="*/ 3259 h 5392"/>
                <a:gd name="T46" fmla="*/ 860 w 4596"/>
                <a:gd name="T47" fmla="*/ 3259 h 5392"/>
                <a:gd name="T48" fmla="*/ 300 w 4596"/>
                <a:gd name="T49" fmla="*/ 3265 h 5392"/>
                <a:gd name="T50" fmla="*/ 160 w 4596"/>
                <a:gd name="T51" fmla="*/ 3673 h 5392"/>
                <a:gd name="T52" fmla="*/ 510 w 4596"/>
                <a:gd name="T53" fmla="*/ 4233 h 5392"/>
                <a:gd name="T54" fmla="*/ 389 w 4596"/>
                <a:gd name="T55" fmla="*/ 4411 h 5392"/>
                <a:gd name="T56" fmla="*/ 681 w 4596"/>
                <a:gd name="T57" fmla="*/ 4589 h 5392"/>
                <a:gd name="T58" fmla="*/ 853 w 4596"/>
                <a:gd name="T59" fmla="*/ 4704 h 5392"/>
                <a:gd name="T60" fmla="*/ 516 w 4596"/>
                <a:gd name="T61" fmla="*/ 4761 h 5392"/>
                <a:gd name="T62" fmla="*/ 58 w 4596"/>
                <a:gd name="T63" fmla="*/ 5060 h 5392"/>
                <a:gd name="T64" fmla="*/ 274 w 4596"/>
                <a:gd name="T65" fmla="*/ 5200 h 5392"/>
                <a:gd name="T66" fmla="*/ 624 w 4596"/>
                <a:gd name="T67" fmla="*/ 5219 h 5392"/>
                <a:gd name="T68" fmla="*/ 1323 w 4596"/>
                <a:gd name="T69" fmla="*/ 5391 h 5392"/>
                <a:gd name="T70" fmla="*/ 1450 w 4596"/>
                <a:gd name="T71" fmla="*/ 5257 h 5392"/>
                <a:gd name="T72" fmla="*/ 1559 w 4596"/>
                <a:gd name="T73" fmla="*/ 5257 h 5392"/>
                <a:gd name="T74" fmla="*/ 1762 w 4596"/>
                <a:gd name="T75" fmla="*/ 5117 h 5392"/>
                <a:gd name="T76" fmla="*/ 2227 w 4596"/>
                <a:gd name="T77" fmla="*/ 5175 h 5392"/>
                <a:gd name="T78" fmla="*/ 2125 w 4596"/>
                <a:gd name="T79" fmla="*/ 4926 h 5392"/>
                <a:gd name="T80" fmla="*/ 2023 w 4596"/>
                <a:gd name="T81" fmla="*/ 4818 h 5392"/>
                <a:gd name="T82" fmla="*/ 1972 w 4596"/>
                <a:gd name="T83" fmla="*/ 4589 h 5392"/>
                <a:gd name="T84" fmla="*/ 1985 w 4596"/>
                <a:gd name="T85" fmla="*/ 4360 h 5392"/>
                <a:gd name="T86" fmla="*/ 1864 w 4596"/>
                <a:gd name="T87" fmla="*/ 4201 h 5392"/>
                <a:gd name="T88" fmla="*/ 1985 w 4596"/>
                <a:gd name="T89" fmla="*/ 4125 h 5392"/>
                <a:gd name="T90" fmla="*/ 2208 w 4596"/>
                <a:gd name="T91" fmla="*/ 3634 h 5392"/>
                <a:gd name="T92" fmla="*/ 2361 w 4596"/>
                <a:gd name="T93" fmla="*/ 3424 h 5392"/>
                <a:gd name="T94" fmla="*/ 2685 w 4596"/>
                <a:gd name="T95" fmla="*/ 3380 h 5392"/>
                <a:gd name="T96" fmla="*/ 2692 w 4596"/>
                <a:gd name="T97" fmla="*/ 3234 h 5392"/>
                <a:gd name="T98" fmla="*/ 2889 w 4596"/>
                <a:gd name="T99" fmla="*/ 3189 h 5392"/>
                <a:gd name="T100" fmla="*/ 3048 w 4596"/>
                <a:gd name="T101" fmla="*/ 3074 h 5392"/>
                <a:gd name="T102" fmla="*/ 3309 w 4596"/>
                <a:gd name="T103" fmla="*/ 2845 h 5392"/>
                <a:gd name="T104" fmla="*/ 3576 w 4596"/>
                <a:gd name="T105" fmla="*/ 2998 h 5392"/>
                <a:gd name="T106" fmla="*/ 3901 w 4596"/>
                <a:gd name="T107" fmla="*/ 3068 h 5392"/>
                <a:gd name="T108" fmla="*/ 3933 w 4596"/>
                <a:gd name="T109" fmla="*/ 3030 h 5392"/>
                <a:gd name="T110" fmla="*/ 4003 w 4596"/>
                <a:gd name="T111" fmla="*/ 3023 h 5392"/>
                <a:gd name="T112" fmla="*/ 4117 w 4596"/>
                <a:gd name="T113" fmla="*/ 2782 h 5392"/>
                <a:gd name="T114" fmla="*/ 4346 w 4596"/>
                <a:gd name="T115" fmla="*/ 2374 h 5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96" h="5392">
                  <a:moveTo>
                    <a:pt x="4346" y="2374"/>
                  </a:moveTo>
                  <a:lnTo>
                    <a:pt x="4346" y="2374"/>
                  </a:lnTo>
                  <a:cubicBezTo>
                    <a:pt x="4308" y="2228"/>
                    <a:pt x="4531" y="2190"/>
                    <a:pt x="4563" y="2075"/>
                  </a:cubicBezTo>
                  <a:cubicBezTo>
                    <a:pt x="4595" y="1961"/>
                    <a:pt x="4563" y="1884"/>
                    <a:pt x="4493" y="1763"/>
                  </a:cubicBezTo>
                  <a:cubicBezTo>
                    <a:pt x="4423" y="1642"/>
                    <a:pt x="4251" y="1439"/>
                    <a:pt x="4143" y="1439"/>
                  </a:cubicBezTo>
                  <a:cubicBezTo>
                    <a:pt x="4035" y="1439"/>
                    <a:pt x="3875" y="1464"/>
                    <a:pt x="3786" y="1464"/>
                  </a:cubicBezTo>
                  <a:cubicBezTo>
                    <a:pt x="3697" y="1464"/>
                    <a:pt x="3602" y="1464"/>
                    <a:pt x="3519" y="1280"/>
                  </a:cubicBezTo>
                  <a:cubicBezTo>
                    <a:pt x="3436" y="1095"/>
                    <a:pt x="3283" y="968"/>
                    <a:pt x="3252" y="885"/>
                  </a:cubicBezTo>
                  <a:cubicBezTo>
                    <a:pt x="3220" y="802"/>
                    <a:pt x="3118" y="465"/>
                    <a:pt x="3029" y="427"/>
                  </a:cubicBezTo>
                  <a:cubicBezTo>
                    <a:pt x="2940" y="389"/>
                    <a:pt x="2819" y="389"/>
                    <a:pt x="2749" y="459"/>
                  </a:cubicBezTo>
                  <a:cubicBezTo>
                    <a:pt x="2679" y="529"/>
                    <a:pt x="2609" y="414"/>
                    <a:pt x="2609" y="331"/>
                  </a:cubicBezTo>
                  <a:cubicBezTo>
                    <a:pt x="2609" y="249"/>
                    <a:pt x="2386" y="0"/>
                    <a:pt x="2386" y="109"/>
                  </a:cubicBezTo>
                  <a:cubicBezTo>
                    <a:pt x="2386" y="217"/>
                    <a:pt x="2240" y="293"/>
                    <a:pt x="2144" y="293"/>
                  </a:cubicBezTo>
                  <a:cubicBezTo>
                    <a:pt x="2081" y="293"/>
                    <a:pt x="1972" y="516"/>
                    <a:pt x="1909" y="662"/>
                  </a:cubicBezTo>
                  <a:cubicBezTo>
                    <a:pt x="1928" y="688"/>
                    <a:pt x="1947" y="707"/>
                    <a:pt x="1960" y="720"/>
                  </a:cubicBezTo>
                  <a:cubicBezTo>
                    <a:pt x="2023" y="783"/>
                    <a:pt x="2138" y="1082"/>
                    <a:pt x="2138" y="1324"/>
                  </a:cubicBezTo>
                  <a:cubicBezTo>
                    <a:pt x="2138" y="1566"/>
                    <a:pt x="2354" y="1750"/>
                    <a:pt x="2437" y="1750"/>
                  </a:cubicBezTo>
                  <a:cubicBezTo>
                    <a:pt x="2437" y="1750"/>
                    <a:pt x="2392" y="1954"/>
                    <a:pt x="2577" y="2012"/>
                  </a:cubicBezTo>
                  <a:cubicBezTo>
                    <a:pt x="2577" y="2012"/>
                    <a:pt x="2412" y="2393"/>
                    <a:pt x="2272" y="2425"/>
                  </a:cubicBezTo>
                  <a:cubicBezTo>
                    <a:pt x="2131" y="2457"/>
                    <a:pt x="2036" y="2476"/>
                    <a:pt x="2036" y="2546"/>
                  </a:cubicBezTo>
                  <a:cubicBezTo>
                    <a:pt x="2036" y="2623"/>
                    <a:pt x="1839" y="2788"/>
                    <a:pt x="1508" y="2788"/>
                  </a:cubicBezTo>
                  <a:cubicBezTo>
                    <a:pt x="1508" y="2788"/>
                    <a:pt x="1450" y="2852"/>
                    <a:pt x="1450" y="2922"/>
                  </a:cubicBezTo>
                  <a:cubicBezTo>
                    <a:pt x="1450" y="2992"/>
                    <a:pt x="1501" y="3259"/>
                    <a:pt x="1285" y="3259"/>
                  </a:cubicBezTo>
                  <a:cubicBezTo>
                    <a:pt x="1075" y="3259"/>
                    <a:pt x="1031" y="3189"/>
                    <a:pt x="860" y="3259"/>
                  </a:cubicBezTo>
                  <a:cubicBezTo>
                    <a:pt x="688" y="3329"/>
                    <a:pt x="440" y="3265"/>
                    <a:pt x="300" y="3265"/>
                  </a:cubicBezTo>
                  <a:cubicBezTo>
                    <a:pt x="160" y="3265"/>
                    <a:pt x="0" y="3514"/>
                    <a:pt x="160" y="3673"/>
                  </a:cubicBezTo>
                  <a:cubicBezTo>
                    <a:pt x="319" y="3832"/>
                    <a:pt x="586" y="3838"/>
                    <a:pt x="510" y="4233"/>
                  </a:cubicBezTo>
                  <a:cubicBezTo>
                    <a:pt x="510" y="4233"/>
                    <a:pt x="389" y="4341"/>
                    <a:pt x="389" y="4411"/>
                  </a:cubicBezTo>
                  <a:cubicBezTo>
                    <a:pt x="389" y="4481"/>
                    <a:pt x="573" y="4532"/>
                    <a:pt x="681" y="4589"/>
                  </a:cubicBezTo>
                  <a:cubicBezTo>
                    <a:pt x="790" y="4646"/>
                    <a:pt x="853" y="4704"/>
                    <a:pt x="853" y="4704"/>
                  </a:cubicBezTo>
                  <a:cubicBezTo>
                    <a:pt x="853" y="4704"/>
                    <a:pt x="599" y="4761"/>
                    <a:pt x="516" y="4761"/>
                  </a:cubicBezTo>
                  <a:cubicBezTo>
                    <a:pt x="446" y="4761"/>
                    <a:pt x="223" y="4977"/>
                    <a:pt x="58" y="5060"/>
                  </a:cubicBezTo>
                  <a:cubicBezTo>
                    <a:pt x="96" y="5066"/>
                    <a:pt x="153" y="5085"/>
                    <a:pt x="274" y="5200"/>
                  </a:cubicBezTo>
                  <a:cubicBezTo>
                    <a:pt x="440" y="5372"/>
                    <a:pt x="395" y="5321"/>
                    <a:pt x="624" y="5219"/>
                  </a:cubicBezTo>
                  <a:cubicBezTo>
                    <a:pt x="853" y="5117"/>
                    <a:pt x="1266" y="5391"/>
                    <a:pt x="1323" y="5391"/>
                  </a:cubicBezTo>
                  <a:cubicBezTo>
                    <a:pt x="1381" y="5391"/>
                    <a:pt x="1412" y="5213"/>
                    <a:pt x="1450" y="5257"/>
                  </a:cubicBezTo>
                  <a:cubicBezTo>
                    <a:pt x="1495" y="5295"/>
                    <a:pt x="1559" y="5257"/>
                    <a:pt x="1559" y="5257"/>
                  </a:cubicBezTo>
                  <a:cubicBezTo>
                    <a:pt x="1680" y="5105"/>
                    <a:pt x="1762" y="5117"/>
                    <a:pt x="1762" y="5117"/>
                  </a:cubicBezTo>
                  <a:cubicBezTo>
                    <a:pt x="2112" y="5257"/>
                    <a:pt x="2227" y="5175"/>
                    <a:pt x="2227" y="5175"/>
                  </a:cubicBezTo>
                  <a:cubicBezTo>
                    <a:pt x="2252" y="5111"/>
                    <a:pt x="2182" y="4984"/>
                    <a:pt x="2125" y="4926"/>
                  </a:cubicBezTo>
                  <a:cubicBezTo>
                    <a:pt x="2074" y="4875"/>
                    <a:pt x="2023" y="4888"/>
                    <a:pt x="2023" y="4818"/>
                  </a:cubicBezTo>
                  <a:cubicBezTo>
                    <a:pt x="2023" y="4754"/>
                    <a:pt x="1972" y="4615"/>
                    <a:pt x="1972" y="4589"/>
                  </a:cubicBezTo>
                  <a:cubicBezTo>
                    <a:pt x="1972" y="4557"/>
                    <a:pt x="2023" y="4430"/>
                    <a:pt x="1985" y="4360"/>
                  </a:cubicBezTo>
                  <a:cubicBezTo>
                    <a:pt x="1947" y="4296"/>
                    <a:pt x="1832" y="4315"/>
                    <a:pt x="1864" y="4201"/>
                  </a:cubicBezTo>
                  <a:cubicBezTo>
                    <a:pt x="1902" y="4093"/>
                    <a:pt x="1947" y="4125"/>
                    <a:pt x="1985" y="4125"/>
                  </a:cubicBezTo>
                  <a:cubicBezTo>
                    <a:pt x="1922" y="3863"/>
                    <a:pt x="2176" y="3634"/>
                    <a:pt x="2208" y="3634"/>
                  </a:cubicBezTo>
                  <a:cubicBezTo>
                    <a:pt x="2246" y="3634"/>
                    <a:pt x="2259" y="3494"/>
                    <a:pt x="2361" y="3424"/>
                  </a:cubicBezTo>
                  <a:cubicBezTo>
                    <a:pt x="2456" y="3354"/>
                    <a:pt x="2641" y="3418"/>
                    <a:pt x="2685" y="3380"/>
                  </a:cubicBezTo>
                  <a:cubicBezTo>
                    <a:pt x="2723" y="3335"/>
                    <a:pt x="2641" y="3284"/>
                    <a:pt x="2692" y="3234"/>
                  </a:cubicBezTo>
                  <a:cubicBezTo>
                    <a:pt x="2749" y="3176"/>
                    <a:pt x="2870" y="3189"/>
                    <a:pt x="2889" y="3189"/>
                  </a:cubicBezTo>
                  <a:cubicBezTo>
                    <a:pt x="2908" y="3189"/>
                    <a:pt x="2991" y="3087"/>
                    <a:pt x="3048" y="3074"/>
                  </a:cubicBezTo>
                  <a:cubicBezTo>
                    <a:pt x="3112" y="3062"/>
                    <a:pt x="3131" y="2877"/>
                    <a:pt x="3309" y="2845"/>
                  </a:cubicBezTo>
                  <a:cubicBezTo>
                    <a:pt x="3481" y="2813"/>
                    <a:pt x="3468" y="2998"/>
                    <a:pt x="3576" y="2998"/>
                  </a:cubicBezTo>
                  <a:cubicBezTo>
                    <a:pt x="3678" y="2998"/>
                    <a:pt x="3869" y="3068"/>
                    <a:pt x="3901" y="3068"/>
                  </a:cubicBezTo>
                  <a:cubicBezTo>
                    <a:pt x="3933" y="3068"/>
                    <a:pt x="3933" y="3030"/>
                    <a:pt x="3933" y="3030"/>
                  </a:cubicBezTo>
                  <a:cubicBezTo>
                    <a:pt x="3958" y="3030"/>
                    <a:pt x="3984" y="3023"/>
                    <a:pt x="4003" y="3023"/>
                  </a:cubicBezTo>
                  <a:cubicBezTo>
                    <a:pt x="4047" y="2915"/>
                    <a:pt x="4098" y="2801"/>
                    <a:pt x="4117" y="2782"/>
                  </a:cubicBezTo>
                  <a:cubicBezTo>
                    <a:pt x="4155" y="2750"/>
                    <a:pt x="4385" y="2521"/>
                    <a:pt x="4346" y="2374"/>
                  </a:cubicBezTo>
                </a:path>
              </a:pathLst>
            </a:custGeom>
            <a:solidFill>
              <a:schemeClr val="accent2"/>
            </a:solidFill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35" name="Freeform 498"/>
            <p:cNvSpPr>
              <a:spLocks noChangeArrowheads="1"/>
            </p:cNvSpPr>
            <p:nvPr/>
          </p:nvSpPr>
          <p:spPr bwMode="auto">
            <a:xfrm>
              <a:off x="17269349" y="8970608"/>
              <a:ext cx="2432046" cy="2124215"/>
            </a:xfrm>
            <a:custGeom>
              <a:avLst/>
              <a:gdLst>
                <a:gd name="T0" fmla="*/ 2609 w 4736"/>
                <a:gd name="T1" fmla="*/ 70 h 4138"/>
                <a:gd name="T2" fmla="*/ 2444 w 4736"/>
                <a:gd name="T3" fmla="*/ 592 h 4138"/>
                <a:gd name="T4" fmla="*/ 1833 w 4736"/>
                <a:gd name="T5" fmla="*/ 1056 h 4138"/>
                <a:gd name="T6" fmla="*/ 1489 w 4736"/>
                <a:gd name="T7" fmla="*/ 1515 h 4138"/>
                <a:gd name="T8" fmla="*/ 1852 w 4736"/>
                <a:gd name="T9" fmla="*/ 1954 h 4138"/>
                <a:gd name="T10" fmla="*/ 1044 w 4736"/>
                <a:gd name="T11" fmla="*/ 1827 h 4138"/>
                <a:gd name="T12" fmla="*/ 776 w 4736"/>
                <a:gd name="T13" fmla="*/ 1585 h 4138"/>
                <a:gd name="T14" fmla="*/ 464 w 4736"/>
                <a:gd name="T15" fmla="*/ 1782 h 4138"/>
                <a:gd name="T16" fmla="*/ 490 w 4736"/>
                <a:gd name="T17" fmla="*/ 2138 h 4138"/>
                <a:gd name="T18" fmla="*/ 343 w 4736"/>
                <a:gd name="T19" fmla="*/ 2749 h 4138"/>
                <a:gd name="T20" fmla="*/ 0 w 4736"/>
                <a:gd name="T21" fmla="*/ 3398 h 4138"/>
                <a:gd name="T22" fmla="*/ 572 w 4736"/>
                <a:gd name="T23" fmla="*/ 3583 h 4138"/>
                <a:gd name="T24" fmla="*/ 668 w 4736"/>
                <a:gd name="T25" fmla="*/ 3430 h 4138"/>
                <a:gd name="T26" fmla="*/ 795 w 4736"/>
                <a:gd name="T27" fmla="*/ 3316 h 4138"/>
                <a:gd name="T28" fmla="*/ 929 w 4736"/>
                <a:gd name="T29" fmla="*/ 3227 h 4138"/>
                <a:gd name="T30" fmla="*/ 1094 w 4736"/>
                <a:gd name="T31" fmla="*/ 3354 h 4138"/>
                <a:gd name="T32" fmla="*/ 1069 w 4736"/>
                <a:gd name="T33" fmla="*/ 3653 h 4138"/>
                <a:gd name="T34" fmla="*/ 1228 w 4736"/>
                <a:gd name="T35" fmla="*/ 3748 h 4138"/>
                <a:gd name="T36" fmla="*/ 1623 w 4736"/>
                <a:gd name="T37" fmla="*/ 3882 h 4138"/>
                <a:gd name="T38" fmla="*/ 2049 w 4736"/>
                <a:gd name="T39" fmla="*/ 4111 h 4138"/>
                <a:gd name="T40" fmla="*/ 2431 w 4736"/>
                <a:gd name="T41" fmla="*/ 4118 h 4138"/>
                <a:gd name="T42" fmla="*/ 2654 w 4736"/>
                <a:gd name="T43" fmla="*/ 3990 h 4138"/>
                <a:gd name="T44" fmla="*/ 2844 w 4736"/>
                <a:gd name="T45" fmla="*/ 3895 h 4138"/>
                <a:gd name="T46" fmla="*/ 3175 w 4736"/>
                <a:gd name="T47" fmla="*/ 3869 h 4138"/>
                <a:gd name="T48" fmla="*/ 3271 w 4736"/>
                <a:gd name="T49" fmla="*/ 3577 h 4138"/>
                <a:gd name="T50" fmla="*/ 3188 w 4736"/>
                <a:gd name="T51" fmla="*/ 3519 h 4138"/>
                <a:gd name="T52" fmla="*/ 3519 w 4736"/>
                <a:gd name="T53" fmla="*/ 3316 h 4138"/>
                <a:gd name="T54" fmla="*/ 3806 w 4736"/>
                <a:gd name="T55" fmla="*/ 3004 h 4138"/>
                <a:gd name="T56" fmla="*/ 3844 w 4736"/>
                <a:gd name="T57" fmla="*/ 2921 h 4138"/>
                <a:gd name="T58" fmla="*/ 4066 w 4736"/>
                <a:gd name="T59" fmla="*/ 2787 h 4138"/>
                <a:gd name="T60" fmla="*/ 4149 w 4736"/>
                <a:gd name="T61" fmla="*/ 2775 h 4138"/>
                <a:gd name="T62" fmla="*/ 4442 w 4736"/>
                <a:gd name="T63" fmla="*/ 1916 h 4138"/>
                <a:gd name="T64" fmla="*/ 3519 w 4736"/>
                <a:gd name="T65" fmla="*/ 1763 h 4138"/>
                <a:gd name="T66" fmla="*/ 3526 w 4736"/>
                <a:gd name="T67" fmla="*/ 827 h 4138"/>
                <a:gd name="T68" fmla="*/ 2940 w 4736"/>
                <a:gd name="T69" fmla="*/ 121 h 4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36" h="4138">
                  <a:moveTo>
                    <a:pt x="2609" y="70"/>
                  </a:moveTo>
                  <a:lnTo>
                    <a:pt x="2609" y="70"/>
                  </a:lnTo>
                  <a:cubicBezTo>
                    <a:pt x="2514" y="159"/>
                    <a:pt x="2666" y="299"/>
                    <a:pt x="2717" y="420"/>
                  </a:cubicBezTo>
                  <a:cubicBezTo>
                    <a:pt x="2775" y="547"/>
                    <a:pt x="2552" y="592"/>
                    <a:pt x="2444" y="592"/>
                  </a:cubicBezTo>
                  <a:cubicBezTo>
                    <a:pt x="2335" y="592"/>
                    <a:pt x="2202" y="764"/>
                    <a:pt x="2094" y="789"/>
                  </a:cubicBezTo>
                  <a:cubicBezTo>
                    <a:pt x="1992" y="821"/>
                    <a:pt x="1903" y="980"/>
                    <a:pt x="1833" y="1056"/>
                  </a:cubicBezTo>
                  <a:cubicBezTo>
                    <a:pt x="1756" y="1126"/>
                    <a:pt x="1743" y="1234"/>
                    <a:pt x="1743" y="1298"/>
                  </a:cubicBezTo>
                  <a:cubicBezTo>
                    <a:pt x="1743" y="1362"/>
                    <a:pt x="1527" y="1413"/>
                    <a:pt x="1489" y="1515"/>
                  </a:cubicBezTo>
                  <a:cubicBezTo>
                    <a:pt x="1451" y="1616"/>
                    <a:pt x="1584" y="1610"/>
                    <a:pt x="1680" y="1635"/>
                  </a:cubicBezTo>
                  <a:cubicBezTo>
                    <a:pt x="1782" y="1667"/>
                    <a:pt x="1922" y="1877"/>
                    <a:pt x="1852" y="1954"/>
                  </a:cubicBezTo>
                  <a:cubicBezTo>
                    <a:pt x="1775" y="2024"/>
                    <a:pt x="1514" y="1954"/>
                    <a:pt x="1355" y="1954"/>
                  </a:cubicBezTo>
                  <a:cubicBezTo>
                    <a:pt x="1196" y="1954"/>
                    <a:pt x="1113" y="1827"/>
                    <a:pt x="1044" y="1827"/>
                  </a:cubicBezTo>
                  <a:cubicBezTo>
                    <a:pt x="973" y="1827"/>
                    <a:pt x="903" y="1756"/>
                    <a:pt x="903" y="1680"/>
                  </a:cubicBezTo>
                  <a:cubicBezTo>
                    <a:pt x="903" y="1604"/>
                    <a:pt x="852" y="1508"/>
                    <a:pt x="776" y="1585"/>
                  </a:cubicBezTo>
                  <a:cubicBezTo>
                    <a:pt x="700" y="1661"/>
                    <a:pt x="802" y="1782"/>
                    <a:pt x="802" y="1782"/>
                  </a:cubicBezTo>
                  <a:cubicBezTo>
                    <a:pt x="744" y="1839"/>
                    <a:pt x="560" y="1782"/>
                    <a:pt x="464" y="1782"/>
                  </a:cubicBezTo>
                  <a:cubicBezTo>
                    <a:pt x="407" y="1782"/>
                    <a:pt x="337" y="1845"/>
                    <a:pt x="286" y="1896"/>
                  </a:cubicBezTo>
                  <a:cubicBezTo>
                    <a:pt x="369" y="1966"/>
                    <a:pt x="445" y="2062"/>
                    <a:pt x="490" y="2138"/>
                  </a:cubicBezTo>
                  <a:cubicBezTo>
                    <a:pt x="560" y="2259"/>
                    <a:pt x="592" y="2336"/>
                    <a:pt x="560" y="2450"/>
                  </a:cubicBezTo>
                  <a:cubicBezTo>
                    <a:pt x="528" y="2565"/>
                    <a:pt x="305" y="2603"/>
                    <a:pt x="343" y="2749"/>
                  </a:cubicBezTo>
                  <a:cubicBezTo>
                    <a:pt x="382" y="2896"/>
                    <a:pt x="152" y="3125"/>
                    <a:pt x="114" y="3157"/>
                  </a:cubicBezTo>
                  <a:cubicBezTo>
                    <a:pt x="95" y="3176"/>
                    <a:pt x="44" y="3290"/>
                    <a:pt x="0" y="3398"/>
                  </a:cubicBezTo>
                  <a:cubicBezTo>
                    <a:pt x="165" y="3379"/>
                    <a:pt x="159" y="3456"/>
                    <a:pt x="159" y="3456"/>
                  </a:cubicBezTo>
                  <a:cubicBezTo>
                    <a:pt x="216" y="3729"/>
                    <a:pt x="541" y="3615"/>
                    <a:pt x="572" y="3583"/>
                  </a:cubicBezTo>
                  <a:cubicBezTo>
                    <a:pt x="604" y="3551"/>
                    <a:pt x="528" y="3430"/>
                    <a:pt x="547" y="3405"/>
                  </a:cubicBezTo>
                  <a:cubicBezTo>
                    <a:pt x="572" y="3379"/>
                    <a:pt x="642" y="3430"/>
                    <a:pt x="668" y="3430"/>
                  </a:cubicBezTo>
                  <a:cubicBezTo>
                    <a:pt x="693" y="3430"/>
                    <a:pt x="865" y="3475"/>
                    <a:pt x="865" y="3417"/>
                  </a:cubicBezTo>
                  <a:cubicBezTo>
                    <a:pt x="865" y="3360"/>
                    <a:pt x="763" y="3316"/>
                    <a:pt x="795" y="3316"/>
                  </a:cubicBezTo>
                  <a:cubicBezTo>
                    <a:pt x="827" y="3316"/>
                    <a:pt x="840" y="3188"/>
                    <a:pt x="840" y="3188"/>
                  </a:cubicBezTo>
                  <a:cubicBezTo>
                    <a:pt x="840" y="3188"/>
                    <a:pt x="884" y="3227"/>
                    <a:pt x="929" y="3227"/>
                  </a:cubicBezTo>
                  <a:cubicBezTo>
                    <a:pt x="980" y="3227"/>
                    <a:pt x="929" y="3417"/>
                    <a:pt x="993" y="3354"/>
                  </a:cubicBezTo>
                  <a:cubicBezTo>
                    <a:pt x="1056" y="3290"/>
                    <a:pt x="1094" y="3354"/>
                    <a:pt x="1094" y="3354"/>
                  </a:cubicBezTo>
                  <a:cubicBezTo>
                    <a:pt x="1094" y="3551"/>
                    <a:pt x="929" y="3398"/>
                    <a:pt x="814" y="3513"/>
                  </a:cubicBezTo>
                  <a:cubicBezTo>
                    <a:pt x="700" y="3627"/>
                    <a:pt x="986" y="3627"/>
                    <a:pt x="1069" y="3653"/>
                  </a:cubicBezTo>
                  <a:cubicBezTo>
                    <a:pt x="1152" y="3678"/>
                    <a:pt x="1069" y="3545"/>
                    <a:pt x="1215" y="3570"/>
                  </a:cubicBezTo>
                  <a:cubicBezTo>
                    <a:pt x="1362" y="3602"/>
                    <a:pt x="1228" y="3653"/>
                    <a:pt x="1228" y="3748"/>
                  </a:cubicBezTo>
                  <a:cubicBezTo>
                    <a:pt x="1228" y="3850"/>
                    <a:pt x="1311" y="3831"/>
                    <a:pt x="1311" y="3831"/>
                  </a:cubicBezTo>
                  <a:cubicBezTo>
                    <a:pt x="1616" y="3780"/>
                    <a:pt x="1483" y="3908"/>
                    <a:pt x="1623" y="3882"/>
                  </a:cubicBezTo>
                  <a:cubicBezTo>
                    <a:pt x="1763" y="3857"/>
                    <a:pt x="1820" y="3952"/>
                    <a:pt x="1820" y="3952"/>
                  </a:cubicBezTo>
                  <a:cubicBezTo>
                    <a:pt x="1973" y="4022"/>
                    <a:pt x="1985" y="4137"/>
                    <a:pt x="2049" y="4111"/>
                  </a:cubicBezTo>
                  <a:cubicBezTo>
                    <a:pt x="2151" y="4009"/>
                    <a:pt x="2291" y="4022"/>
                    <a:pt x="2291" y="4022"/>
                  </a:cubicBezTo>
                  <a:cubicBezTo>
                    <a:pt x="2374" y="4003"/>
                    <a:pt x="2380" y="4118"/>
                    <a:pt x="2431" y="4118"/>
                  </a:cubicBezTo>
                  <a:cubicBezTo>
                    <a:pt x="2463" y="4118"/>
                    <a:pt x="2495" y="4054"/>
                    <a:pt x="2539" y="4022"/>
                  </a:cubicBezTo>
                  <a:cubicBezTo>
                    <a:pt x="2577" y="3990"/>
                    <a:pt x="2635" y="4003"/>
                    <a:pt x="2654" y="3990"/>
                  </a:cubicBezTo>
                  <a:cubicBezTo>
                    <a:pt x="2679" y="3958"/>
                    <a:pt x="2755" y="4028"/>
                    <a:pt x="2800" y="4028"/>
                  </a:cubicBezTo>
                  <a:cubicBezTo>
                    <a:pt x="2851" y="4028"/>
                    <a:pt x="2794" y="3869"/>
                    <a:pt x="2844" y="3895"/>
                  </a:cubicBezTo>
                  <a:cubicBezTo>
                    <a:pt x="2895" y="3920"/>
                    <a:pt x="3004" y="3850"/>
                    <a:pt x="3067" y="3825"/>
                  </a:cubicBezTo>
                  <a:cubicBezTo>
                    <a:pt x="3125" y="3799"/>
                    <a:pt x="3144" y="3869"/>
                    <a:pt x="3175" y="3869"/>
                  </a:cubicBezTo>
                  <a:cubicBezTo>
                    <a:pt x="3207" y="3869"/>
                    <a:pt x="3277" y="3710"/>
                    <a:pt x="3245" y="3685"/>
                  </a:cubicBezTo>
                  <a:cubicBezTo>
                    <a:pt x="3220" y="3653"/>
                    <a:pt x="3271" y="3609"/>
                    <a:pt x="3271" y="3577"/>
                  </a:cubicBezTo>
                  <a:cubicBezTo>
                    <a:pt x="3271" y="3551"/>
                    <a:pt x="3163" y="3609"/>
                    <a:pt x="3118" y="3609"/>
                  </a:cubicBezTo>
                  <a:cubicBezTo>
                    <a:pt x="3074" y="3609"/>
                    <a:pt x="3118" y="3500"/>
                    <a:pt x="3188" y="3519"/>
                  </a:cubicBezTo>
                  <a:cubicBezTo>
                    <a:pt x="3258" y="3538"/>
                    <a:pt x="3335" y="3373"/>
                    <a:pt x="3354" y="3316"/>
                  </a:cubicBezTo>
                  <a:cubicBezTo>
                    <a:pt x="3373" y="3258"/>
                    <a:pt x="3468" y="3316"/>
                    <a:pt x="3519" y="3316"/>
                  </a:cubicBezTo>
                  <a:cubicBezTo>
                    <a:pt x="3570" y="3316"/>
                    <a:pt x="3634" y="3067"/>
                    <a:pt x="3634" y="3067"/>
                  </a:cubicBezTo>
                  <a:cubicBezTo>
                    <a:pt x="3761" y="3112"/>
                    <a:pt x="3755" y="2953"/>
                    <a:pt x="3806" y="3004"/>
                  </a:cubicBezTo>
                  <a:cubicBezTo>
                    <a:pt x="3856" y="3055"/>
                    <a:pt x="3895" y="3036"/>
                    <a:pt x="3895" y="3036"/>
                  </a:cubicBezTo>
                  <a:cubicBezTo>
                    <a:pt x="3907" y="3016"/>
                    <a:pt x="3831" y="2972"/>
                    <a:pt x="3844" y="2921"/>
                  </a:cubicBezTo>
                  <a:cubicBezTo>
                    <a:pt x="3856" y="2845"/>
                    <a:pt x="3958" y="2749"/>
                    <a:pt x="3990" y="2730"/>
                  </a:cubicBezTo>
                  <a:cubicBezTo>
                    <a:pt x="4048" y="2698"/>
                    <a:pt x="4028" y="2762"/>
                    <a:pt x="4066" y="2787"/>
                  </a:cubicBezTo>
                  <a:cubicBezTo>
                    <a:pt x="4105" y="2807"/>
                    <a:pt x="4111" y="2679"/>
                    <a:pt x="4111" y="2736"/>
                  </a:cubicBezTo>
                  <a:cubicBezTo>
                    <a:pt x="4111" y="2794"/>
                    <a:pt x="4149" y="2775"/>
                    <a:pt x="4149" y="2775"/>
                  </a:cubicBezTo>
                  <a:cubicBezTo>
                    <a:pt x="4168" y="2692"/>
                    <a:pt x="4353" y="2603"/>
                    <a:pt x="4353" y="2603"/>
                  </a:cubicBezTo>
                  <a:cubicBezTo>
                    <a:pt x="4264" y="2514"/>
                    <a:pt x="4735" y="2094"/>
                    <a:pt x="4442" y="1916"/>
                  </a:cubicBezTo>
                  <a:cubicBezTo>
                    <a:pt x="4308" y="1839"/>
                    <a:pt x="4117" y="2011"/>
                    <a:pt x="3977" y="1979"/>
                  </a:cubicBezTo>
                  <a:cubicBezTo>
                    <a:pt x="3837" y="1954"/>
                    <a:pt x="3710" y="1827"/>
                    <a:pt x="3519" y="1763"/>
                  </a:cubicBezTo>
                  <a:cubicBezTo>
                    <a:pt x="3328" y="1699"/>
                    <a:pt x="3290" y="1336"/>
                    <a:pt x="3290" y="1273"/>
                  </a:cubicBezTo>
                  <a:cubicBezTo>
                    <a:pt x="3290" y="1203"/>
                    <a:pt x="3526" y="827"/>
                    <a:pt x="3526" y="827"/>
                  </a:cubicBezTo>
                  <a:cubicBezTo>
                    <a:pt x="3583" y="598"/>
                    <a:pt x="3169" y="617"/>
                    <a:pt x="3067" y="426"/>
                  </a:cubicBezTo>
                  <a:cubicBezTo>
                    <a:pt x="2991" y="394"/>
                    <a:pt x="2953" y="229"/>
                    <a:pt x="2940" y="121"/>
                  </a:cubicBezTo>
                  <a:cubicBezTo>
                    <a:pt x="2768" y="134"/>
                    <a:pt x="2679" y="0"/>
                    <a:pt x="2609" y="70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36" name="Freeform 499"/>
            <p:cNvSpPr>
              <a:spLocks noChangeArrowheads="1"/>
            </p:cNvSpPr>
            <p:nvPr/>
          </p:nvSpPr>
          <p:spPr bwMode="auto">
            <a:xfrm>
              <a:off x="15525704" y="7321962"/>
              <a:ext cx="1811579" cy="2264622"/>
            </a:xfrm>
            <a:custGeom>
              <a:avLst/>
              <a:gdLst>
                <a:gd name="T0" fmla="*/ 3258 w 3526"/>
                <a:gd name="T1" fmla="*/ 3532 h 4411"/>
                <a:gd name="T2" fmla="*/ 3258 w 3526"/>
                <a:gd name="T3" fmla="*/ 3532 h 4411"/>
                <a:gd name="T4" fmla="*/ 3525 w 3526"/>
                <a:gd name="T5" fmla="*/ 3181 h 4411"/>
                <a:gd name="T6" fmla="*/ 3321 w 3526"/>
                <a:gd name="T7" fmla="*/ 3092 h 4411"/>
                <a:gd name="T8" fmla="*/ 3111 w 3526"/>
                <a:gd name="T9" fmla="*/ 2882 h 4411"/>
                <a:gd name="T10" fmla="*/ 2685 w 3526"/>
                <a:gd name="T11" fmla="*/ 2825 h 4411"/>
                <a:gd name="T12" fmla="*/ 2589 w 3526"/>
                <a:gd name="T13" fmla="*/ 2386 h 4411"/>
                <a:gd name="T14" fmla="*/ 2392 w 3526"/>
                <a:gd name="T15" fmla="*/ 1711 h 4411"/>
                <a:gd name="T16" fmla="*/ 2398 w 3526"/>
                <a:gd name="T17" fmla="*/ 1234 h 4411"/>
                <a:gd name="T18" fmla="*/ 2634 w 3526"/>
                <a:gd name="T19" fmla="*/ 1030 h 4411"/>
                <a:gd name="T20" fmla="*/ 2583 w 3526"/>
                <a:gd name="T21" fmla="*/ 630 h 4411"/>
                <a:gd name="T22" fmla="*/ 2048 w 3526"/>
                <a:gd name="T23" fmla="*/ 179 h 4411"/>
                <a:gd name="T24" fmla="*/ 1348 w 3526"/>
                <a:gd name="T25" fmla="*/ 115 h 4411"/>
                <a:gd name="T26" fmla="*/ 706 w 3526"/>
                <a:gd name="T27" fmla="*/ 382 h 4411"/>
                <a:gd name="T28" fmla="*/ 235 w 3526"/>
                <a:gd name="T29" fmla="*/ 834 h 4411"/>
                <a:gd name="T30" fmla="*/ 591 w 3526"/>
                <a:gd name="T31" fmla="*/ 1126 h 4411"/>
                <a:gd name="T32" fmla="*/ 661 w 3526"/>
                <a:gd name="T33" fmla="*/ 1686 h 4411"/>
                <a:gd name="T34" fmla="*/ 591 w 3526"/>
                <a:gd name="T35" fmla="*/ 2214 h 4411"/>
                <a:gd name="T36" fmla="*/ 591 w 3526"/>
                <a:gd name="T37" fmla="*/ 2749 h 4411"/>
                <a:gd name="T38" fmla="*/ 140 w 3526"/>
                <a:gd name="T39" fmla="*/ 3162 h 4411"/>
                <a:gd name="T40" fmla="*/ 0 w 3526"/>
                <a:gd name="T41" fmla="*/ 3691 h 4411"/>
                <a:gd name="T42" fmla="*/ 38 w 3526"/>
                <a:gd name="T43" fmla="*/ 3862 h 4411"/>
                <a:gd name="T44" fmla="*/ 102 w 3526"/>
                <a:gd name="T45" fmla="*/ 4263 h 4411"/>
                <a:gd name="T46" fmla="*/ 337 w 3526"/>
                <a:gd name="T47" fmla="*/ 4372 h 4411"/>
                <a:gd name="T48" fmla="*/ 578 w 3526"/>
                <a:gd name="T49" fmla="*/ 4181 h 4411"/>
                <a:gd name="T50" fmla="*/ 973 w 3526"/>
                <a:gd name="T51" fmla="*/ 3735 h 4411"/>
                <a:gd name="T52" fmla="*/ 1017 w 3526"/>
                <a:gd name="T53" fmla="*/ 3913 h 4411"/>
                <a:gd name="T54" fmla="*/ 1304 w 3526"/>
                <a:gd name="T55" fmla="*/ 4244 h 4411"/>
                <a:gd name="T56" fmla="*/ 1539 w 3526"/>
                <a:gd name="T57" fmla="*/ 3875 h 4411"/>
                <a:gd name="T58" fmla="*/ 1781 w 3526"/>
                <a:gd name="T59" fmla="*/ 3691 h 4411"/>
                <a:gd name="T60" fmla="*/ 2004 w 3526"/>
                <a:gd name="T61" fmla="*/ 3913 h 4411"/>
                <a:gd name="T62" fmla="*/ 2144 w 3526"/>
                <a:gd name="T63" fmla="*/ 4041 h 4411"/>
                <a:gd name="T64" fmla="*/ 2424 w 3526"/>
                <a:gd name="T65" fmla="*/ 4009 h 4411"/>
                <a:gd name="T66" fmla="*/ 2558 w 3526"/>
                <a:gd name="T67" fmla="*/ 4225 h 4411"/>
                <a:gd name="T68" fmla="*/ 2717 w 3526"/>
                <a:gd name="T69" fmla="*/ 4066 h 4411"/>
                <a:gd name="T70" fmla="*/ 3258 w 3526"/>
                <a:gd name="T71" fmla="*/ 3532 h 4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26" h="4411">
                  <a:moveTo>
                    <a:pt x="3258" y="3532"/>
                  </a:moveTo>
                  <a:lnTo>
                    <a:pt x="3258" y="3532"/>
                  </a:lnTo>
                  <a:cubicBezTo>
                    <a:pt x="3258" y="3302"/>
                    <a:pt x="3474" y="3372"/>
                    <a:pt x="3525" y="3181"/>
                  </a:cubicBezTo>
                  <a:cubicBezTo>
                    <a:pt x="3525" y="3181"/>
                    <a:pt x="3461" y="3137"/>
                    <a:pt x="3321" y="3092"/>
                  </a:cubicBezTo>
                  <a:cubicBezTo>
                    <a:pt x="3321" y="3092"/>
                    <a:pt x="3289" y="2882"/>
                    <a:pt x="3111" y="2882"/>
                  </a:cubicBezTo>
                  <a:cubicBezTo>
                    <a:pt x="2939" y="2882"/>
                    <a:pt x="2723" y="2965"/>
                    <a:pt x="2685" y="2825"/>
                  </a:cubicBezTo>
                  <a:cubicBezTo>
                    <a:pt x="2647" y="2685"/>
                    <a:pt x="2869" y="2494"/>
                    <a:pt x="2589" y="2386"/>
                  </a:cubicBezTo>
                  <a:cubicBezTo>
                    <a:pt x="2309" y="2278"/>
                    <a:pt x="2284" y="1813"/>
                    <a:pt x="2392" y="1711"/>
                  </a:cubicBezTo>
                  <a:cubicBezTo>
                    <a:pt x="2494" y="1603"/>
                    <a:pt x="2481" y="1317"/>
                    <a:pt x="2398" y="1234"/>
                  </a:cubicBezTo>
                  <a:cubicBezTo>
                    <a:pt x="2309" y="1145"/>
                    <a:pt x="2570" y="1088"/>
                    <a:pt x="2634" y="1030"/>
                  </a:cubicBezTo>
                  <a:cubicBezTo>
                    <a:pt x="2691" y="967"/>
                    <a:pt x="2812" y="630"/>
                    <a:pt x="2583" y="630"/>
                  </a:cubicBezTo>
                  <a:cubicBezTo>
                    <a:pt x="2354" y="630"/>
                    <a:pt x="2297" y="179"/>
                    <a:pt x="2048" y="179"/>
                  </a:cubicBezTo>
                  <a:cubicBezTo>
                    <a:pt x="1800" y="179"/>
                    <a:pt x="1463" y="229"/>
                    <a:pt x="1348" y="115"/>
                  </a:cubicBezTo>
                  <a:cubicBezTo>
                    <a:pt x="1234" y="0"/>
                    <a:pt x="565" y="115"/>
                    <a:pt x="706" y="382"/>
                  </a:cubicBezTo>
                  <a:cubicBezTo>
                    <a:pt x="839" y="624"/>
                    <a:pt x="363" y="528"/>
                    <a:pt x="235" y="834"/>
                  </a:cubicBezTo>
                  <a:cubicBezTo>
                    <a:pt x="356" y="928"/>
                    <a:pt x="432" y="1126"/>
                    <a:pt x="591" y="1126"/>
                  </a:cubicBezTo>
                  <a:cubicBezTo>
                    <a:pt x="591" y="1126"/>
                    <a:pt x="737" y="1527"/>
                    <a:pt x="661" y="1686"/>
                  </a:cubicBezTo>
                  <a:cubicBezTo>
                    <a:pt x="591" y="1845"/>
                    <a:pt x="591" y="2106"/>
                    <a:pt x="591" y="2214"/>
                  </a:cubicBezTo>
                  <a:cubicBezTo>
                    <a:pt x="591" y="2322"/>
                    <a:pt x="667" y="2666"/>
                    <a:pt x="591" y="2749"/>
                  </a:cubicBezTo>
                  <a:cubicBezTo>
                    <a:pt x="515" y="2825"/>
                    <a:pt x="140" y="3086"/>
                    <a:pt x="140" y="3162"/>
                  </a:cubicBezTo>
                  <a:cubicBezTo>
                    <a:pt x="140" y="3232"/>
                    <a:pt x="153" y="3621"/>
                    <a:pt x="0" y="3691"/>
                  </a:cubicBezTo>
                  <a:cubicBezTo>
                    <a:pt x="0" y="3754"/>
                    <a:pt x="6" y="3831"/>
                    <a:pt x="38" y="3862"/>
                  </a:cubicBezTo>
                  <a:cubicBezTo>
                    <a:pt x="96" y="3920"/>
                    <a:pt x="153" y="4161"/>
                    <a:pt x="102" y="4263"/>
                  </a:cubicBezTo>
                  <a:cubicBezTo>
                    <a:pt x="51" y="4372"/>
                    <a:pt x="185" y="4410"/>
                    <a:pt x="337" y="4372"/>
                  </a:cubicBezTo>
                  <a:cubicBezTo>
                    <a:pt x="489" y="4327"/>
                    <a:pt x="540" y="4340"/>
                    <a:pt x="578" y="4181"/>
                  </a:cubicBezTo>
                  <a:cubicBezTo>
                    <a:pt x="616" y="4028"/>
                    <a:pt x="890" y="3735"/>
                    <a:pt x="973" y="3735"/>
                  </a:cubicBezTo>
                  <a:cubicBezTo>
                    <a:pt x="1062" y="3735"/>
                    <a:pt x="928" y="3875"/>
                    <a:pt x="1017" y="3913"/>
                  </a:cubicBezTo>
                  <a:cubicBezTo>
                    <a:pt x="1087" y="3945"/>
                    <a:pt x="1221" y="4136"/>
                    <a:pt x="1304" y="4244"/>
                  </a:cubicBezTo>
                  <a:cubicBezTo>
                    <a:pt x="1367" y="4098"/>
                    <a:pt x="1476" y="3875"/>
                    <a:pt x="1539" y="3875"/>
                  </a:cubicBezTo>
                  <a:cubicBezTo>
                    <a:pt x="1635" y="3875"/>
                    <a:pt x="1781" y="3799"/>
                    <a:pt x="1781" y="3691"/>
                  </a:cubicBezTo>
                  <a:cubicBezTo>
                    <a:pt x="1781" y="3582"/>
                    <a:pt x="2004" y="3831"/>
                    <a:pt x="2004" y="3913"/>
                  </a:cubicBezTo>
                  <a:cubicBezTo>
                    <a:pt x="2004" y="3996"/>
                    <a:pt x="2074" y="4111"/>
                    <a:pt x="2144" y="4041"/>
                  </a:cubicBezTo>
                  <a:cubicBezTo>
                    <a:pt x="2214" y="3971"/>
                    <a:pt x="2335" y="3971"/>
                    <a:pt x="2424" y="4009"/>
                  </a:cubicBezTo>
                  <a:cubicBezTo>
                    <a:pt x="2468" y="4028"/>
                    <a:pt x="2513" y="4123"/>
                    <a:pt x="2558" y="4225"/>
                  </a:cubicBezTo>
                  <a:cubicBezTo>
                    <a:pt x="2596" y="4187"/>
                    <a:pt x="2647" y="4130"/>
                    <a:pt x="2717" y="4066"/>
                  </a:cubicBezTo>
                  <a:cubicBezTo>
                    <a:pt x="2850" y="3932"/>
                    <a:pt x="3258" y="3761"/>
                    <a:pt x="3258" y="3532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37" name="Freeform 500"/>
            <p:cNvSpPr>
              <a:spLocks noChangeArrowheads="1"/>
            </p:cNvSpPr>
            <p:nvPr/>
          </p:nvSpPr>
          <p:spPr bwMode="auto">
            <a:xfrm>
              <a:off x="16698701" y="7518984"/>
              <a:ext cx="2481864" cy="2491084"/>
            </a:xfrm>
            <a:custGeom>
              <a:avLst/>
              <a:gdLst>
                <a:gd name="T0" fmla="*/ 2928 w 4832"/>
                <a:gd name="T1" fmla="*/ 642 h 4850"/>
                <a:gd name="T2" fmla="*/ 2928 w 4832"/>
                <a:gd name="T3" fmla="*/ 642 h 4850"/>
                <a:gd name="T4" fmla="*/ 2794 w 4832"/>
                <a:gd name="T5" fmla="*/ 477 h 4850"/>
                <a:gd name="T6" fmla="*/ 2527 w 4832"/>
                <a:gd name="T7" fmla="*/ 629 h 4850"/>
                <a:gd name="T8" fmla="*/ 2151 w 4832"/>
                <a:gd name="T9" fmla="*/ 299 h 4850"/>
                <a:gd name="T10" fmla="*/ 1845 w 4832"/>
                <a:gd name="T11" fmla="*/ 299 h 4850"/>
                <a:gd name="T12" fmla="*/ 1355 w 4832"/>
                <a:gd name="T13" fmla="*/ 667 h 4850"/>
                <a:gd name="T14" fmla="*/ 942 w 4832"/>
                <a:gd name="T15" fmla="*/ 820 h 4850"/>
                <a:gd name="T16" fmla="*/ 95 w 4832"/>
                <a:gd name="T17" fmla="*/ 807 h 4850"/>
                <a:gd name="T18" fmla="*/ 114 w 4832"/>
                <a:gd name="T19" fmla="*/ 852 h 4850"/>
                <a:gd name="T20" fmla="*/ 108 w 4832"/>
                <a:gd name="T21" fmla="*/ 1329 h 4850"/>
                <a:gd name="T22" fmla="*/ 305 w 4832"/>
                <a:gd name="T23" fmla="*/ 2004 h 4850"/>
                <a:gd name="T24" fmla="*/ 401 w 4832"/>
                <a:gd name="T25" fmla="*/ 2443 h 4850"/>
                <a:gd name="T26" fmla="*/ 827 w 4832"/>
                <a:gd name="T27" fmla="*/ 2500 h 4850"/>
                <a:gd name="T28" fmla="*/ 1037 w 4832"/>
                <a:gd name="T29" fmla="*/ 2710 h 4850"/>
                <a:gd name="T30" fmla="*/ 1241 w 4832"/>
                <a:gd name="T31" fmla="*/ 2799 h 4850"/>
                <a:gd name="T32" fmla="*/ 974 w 4832"/>
                <a:gd name="T33" fmla="*/ 3150 h 4850"/>
                <a:gd name="T34" fmla="*/ 433 w 4832"/>
                <a:gd name="T35" fmla="*/ 3684 h 4850"/>
                <a:gd name="T36" fmla="*/ 274 w 4832"/>
                <a:gd name="T37" fmla="*/ 3843 h 4850"/>
                <a:gd name="T38" fmla="*/ 363 w 4832"/>
                <a:gd name="T39" fmla="*/ 4085 h 4850"/>
                <a:gd name="T40" fmla="*/ 630 w 4832"/>
                <a:gd name="T41" fmla="*/ 4480 h 4850"/>
                <a:gd name="T42" fmla="*/ 897 w 4832"/>
                <a:gd name="T43" fmla="*/ 4664 h 4850"/>
                <a:gd name="T44" fmla="*/ 1254 w 4832"/>
                <a:gd name="T45" fmla="*/ 4639 h 4850"/>
                <a:gd name="T46" fmla="*/ 1400 w 4832"/>
                <a:gd name="T47" fmla="*/ 4721 h 4850"/>
                <a:gd name="T48" fmla="*/ 1578 w 4832"/>
                <a:gd name="T49" fmla="*/ 4607 h 4850"/>
                <a:gd name="T50" fmla="*/ 1916 w 4832"/>
                <a:gd name="T51" fmla="*/ 4607 h 4850"/>
                <a:gd name="T52" fmla="*/ 1890 w 4832"/>
                <a:gd name="T53" fmla="*/ 4410 h 4850"/>
                <a:gd name="T54" fmla="*/ 2017 w 4832"/>
                <a:gd name="T55" fmla="*/ 4505 h 4850"/>
                <a:gd name="T56" fmla="*/ 2158 w 4832"/>
                <a:gd name="T57" fmla="*/ 4652 h 4850"/>
                <a:gd name="T58" fmla="*/ 2469 w 4832"/>
                <a:gd name="T59" fmla="*/ 4779 h 4850"/>
                <a:gd name="T60" fmla="*/ 2966 w 4832"/>
                <a:gd name="T61" fmla="*/ 4779 h 4850"/>
                <a:gd name="T62" fmla="*/ 2794 w 4832"/>
                <a:gd name="T63" fmla="*/ 4460 h 4850"/>
                <a:gd name="T64" fmla="*/ 2603 w 4832"/>
                <a:gd name="T65" fmla="*/ 4340 h 4850"/>
                <a:gd name="T66" fmla="*/ 2857 w 4832"/>
                <a:gd name="T67" fmla="*/ 4123 h 4850"/>
                <a:gd name="T68" fmla="*/ 2947 w 4832"/>
                <a:gd name="T69" fmla="*/ 3881 h 4850"/>
                <a:gd name="T70" fmla="*/ 3208 w 4832"/>
                <a:gd name="T71" fmla="*/ 3614 h 4850"/>
                <a:gd name="T72" fmla="*/ 3558 w 4832"/>
                <a:gd name="T73" fmla="*/ 3417 h 4850"/>
                <a:gd name="T74" fmla="*/ 3831 w 4832"/>
                <a:gd name="T75" fmla="*/ 3245 h 4850"/>
                <a:gd name="T76" fmla="*/ 3723 w 4832"/>
                <a:gd name="T77" fmla="*/ 2895 h 4850"/>
                <a:gd name="T78" fmla="*/ 4054 w 4832"/>
                <a:gd name="T79" fmla="*/ 2946 h 4850"/>
                <a:gd name="T80" fmla="*/ 4048 w 4832"/>
                <a:gd name="T81" fmla="*/ 2882 h 4850"/>
                <a:gd name="T82" fmla="*/ 4385 w 4832"/>
                <a:gd name="T83" fmla="*/ 2799 h 4850"/>
                <a:gd name="T84" fmla="*/ 4468 w 4832"/>
                <a:gd name="T85" fmla="*/ 2723 h 4850"/>
                <a:gd name="T86" fmla="*/ 4665 w 4832"/>
                <a:gd name="T87" fmla="*/ 2176 h 4850"/>
                <a:gd name="T88" fmla="*/ 4449 w 4832"/>
                <a:gd name="T89" fmla="*/ 1864 h 4850"/>
                <a:gd name="T90" fmla="*/ 4277 w 4832"/>
                <a:gd name="T91" fmla="*/ 1597 h 4850"/>
                <a:gd name="T92" fmla="*/ 4569 w 4832"/>
                <a:gd name="T93" fmla="*/ 1259 h 4850"/>
                <a:gd name="T94" fmla="*/ 4372 w 4832"/>
                <a:gd name="T95" fmla="*/ 896 h 4850"/>
                <a:gd name="T96" fmla="*/ 4181 w 4832"/>
                <a:gd name="T97" fmla="*/ 718 h 4850"/>
                <a:gd name="T98" fmla="*/ 4181 w 4832"/>
                <a:gd name="T99" fmla="*/ 407 h 4850"/>
                <a:gd name="T100" fmla="*/ 4181 w 4832"/>
                <a:gd name="T101" fmla="*/ 236 h 4850"/>
                <a:gd name="T102" fmla="*/ 4347 w 4832"/>
                <a:gd name="T103" fmla="*/ 89 h 4850"/>
                <a:gd name="T104" fmla="*/ 3895 w 4832"/>
                <a:gd name="T105" fmla="*/ 0 h 4850"/>
                <a:gd name="T106" fmla="*/ 3545 w 4832"/>
                <a:gd name="T107" fmla="*/ 153 h 4850"/>
                <a:gd name="T108" fmla="*/ 3430 w 4832"/>
                <a:gd name="T109" fmla="*/ 306 h 4850"/>
                <a:gd name="T110" fmla="*/ 3347 w 4832"/>
                <a:gd name="T111" fmla="*/ 648 h 4850"/>
                <a:gd name="T112" fmla="*/ 3437 w 4832"/>
                <a:gd name="T113" fmla="*/ 483 h 4850"/>
                <a:gd name="T114" fmla="*/ 3379 w 4832"/>
                <a:gd name="T115" fmla="*/ 801 h 4850"/>
                <a:gd name="T116" fmla="*/ 3093 w 4832"/>
                <a:gd name="T117" fmla="*/ 865 h 4850"/>
                <a:gd name="T118" fmla="*/ 3201 w 4832"/>
                <a:gd name="T119" fmla="*/ 464 h 4850"/>
                <a:gd name="T120" fmla="*/ 2928 w 4832"/>
                <a:gd name="T121" fmla="*/ 642 h 4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832" h="4850">
                  <a:moveTo>
                    <a:pt x="2928" y="642"/>
                  </a:moveTo>
                  <a:lnTo>
                    <a:pt x="2928" y="642"/>
                  </a:lnTo>
                  <a:cubicBezTo>
                    <a:pt x="2794" y="591"/>
                    <a:pt x="2908" y="477"/>
                    <a:pt x="2794" y="477"/>
                  </a:cubicBezTo>
                  <a:cubicBezTo>
                    <a:pt x="2679" y="477"/>
                    <a:pt x="2628" y="731"/>
                    <a:pt x="2527" y="629"/>
                  </a:cubicBezTo>
                  <a:cubicBezTo>
                    <a:pt x="2418" y="521"/>
                    <a:pt x="2278" y="299"/>
                    <a:pt x="2151" y="299"/>
                  </a:cubicBezTo>
                  <a:cubicBezTo>
                    <a:pt x="2024" y="299"/>
                    <a:pt x="1960" y="248"/>
                    <a:pt x="1845" y="299"/>
                  </a:cubicBezTo>
                  <a:cubicBezTo>
                    <a:pt x="1731" y="350"/>
                    <a:pt x="1496" y="667"/>
                    <a:pt x="1355" y="667"/>
                  </a:cubicBezTo>
                  <a:cubicBezTo>
                    <a:pt x="1216" y="667"/>
                    <a:pt x="1037" y="718"/>
                    <a:pt x="942" y="820"/>
                  </a:cubicBezTo>
                  <a:cubicBezTo>
                    <a:pt x="853" y="909"/>
                    <a:pt x="318" y="928"/>
                    <a:pt x="95" y="807"/>
                  </a:cubicBezTo>
                  <a:cubicBezTo>
                    <a:pt x="95" y="820"/>
                    <a:pt x="95" y="833"/>
                    <a:pt x="114" y="852"/>
                  </a:cubicBezTo>
                  <a:cubicBezTo>
                    <a:pt x="197" y="935"/>
                    <a:pt x="210" y="1221"/>
                    <a:pt x="108" y="1329"/>
                  </a:cubicBezTo>
                  <a:cubicBezTo>
                    <a:pt x="0" y="1431"/>
                    <a:pt x="25" y="1896"/>
                    <a:pt x="305" y="2004"/>
                  </a:cubicBezTo>
                  <a:cubicBezTo>
                    <a:pt x="585" y="2112"/>
                    <a:pt x="363" y="2303"/>
                    <a:pt x="401" y="2443"/>
                  </a:cubicBezTo>
                  <a:cubicBezTo>
                    <a:pt x="439" y="2583"/>
                    <a:pt x="655" y="2500"/>
                    <a:pt x="827" y="2500"/>
                  </a:cubicBezTo>
                  <a:cubicBezTo>
                    <a:pt x="1005" y="2500"/>
                    <a:pt x="1037" y="2710"/>
                    <a:pt x="1037" y="2710"/>
                  </a:cubicBezTo>
                  <a:cubicBezTo>
                    <a:pt x="1177" y="2755"/>
                    <a:pt x="1241" y="2799"/>
                    <a:pt x="1241" y="2799"/>
                  </a:cubicBezTo>
                  <a:cubicBezTo>
                    <a:pt x="1190" y="2990"/>
                    <a:pt x="974" y="2920"/>
                    <a:pt x="974" y="3150"/>
                  </a:cubicBezTo>
                  <a:cubicBezTo>
                    <a:pt x="974" y="3379"/>
                    <a:pt x="566" y="3550"/>
                    <a:pt x="433" y="3684"/>
                  </a:cubicBezTo>
                  <a:cubicBezTo>
                    <a:pt x="363" y="3748"/>
                    <a:pt x="312" y="3805"/>
                    <a:pt x="274" y="3843"/>
                  </a:cubicBezTo>
                  <a:cubicBezTo>
                    <a:pt x="312" y="3939"/>
                    <a:pt x="343" y="4041"/>
                    <a:pt x="363" y="4085"/>
                  </a:cubicBezTo>
                  <a:cubicBezTo>
                    <a:pt x="394" y="4168"/>
                    <a:pt x="547" y="4295"/>
                    <a:pt x="630" y="4480"/>
                  </a:cubicBezTo>
                  <a:cubicBezTo>
                    <a:pt x="713" y="4664"/>
                    <a:pt x="808" y="4664"/>
                    <a:pt x="897" y="4664"/>
                  </a:cubicBezTo>
                  <a:cubicBezTo>
                    <a:pt x="986" y="4664"/>
                    <a:pt x="1146" y="4639"/>
                    <a:pt x="1254" y="4639"/>
                  </a:cubicBezTo>
                  <a:cubicBezTo>
                    <a:pt x="1292" y="4639"/>
                    <a:pt x="1349" y="4670"/>
                    <a:pt x="1400" y="4721"/>
                  </a:cubicBezTo>
                  <a:cubicBezTo>
                    <a:pt x="1451" y="4670"/>
                    <a:pt x="1521" y="4607"/>
                    <a:pt x="1578" y="4607"/>
                  </a:cubicBezTo>
                  <a:cubicBezTo>
                    <a:pt x="1674" y="4607"/>
                    <a:pt x="1858" y="4664"/>
                    <a:pt x="1916" y="4607"/>
                  </a:cubicBezTo>
                  <a:cubicBezTo>
                    <a:pt x="1916" y="4607"/>
                    <a:pt x="1814" y="4486"/>
                    <a:pt x="1890" y="4410"/>
                  </a:cubicBezTo>
                  <a:cubicBezTo>
                    <a:pt x="1966" y="4333"/>
                    <a:pt x="2017" y="4429"/>
                    <a:pt x="2017" y="4505"/>
                  </a:cubicBezTo>
                  <a:cubicBezTo>
                    <a:pt x="2017" y="4581"/>
                    <a:pt x="2087" y="4652"/>
                    <a:pt x="2158" y="4652"/>
                  </a:cubicBezTo>
                  <a:cubicBezTo>
                    <a:pt x="2227" y="4652"/>
                    <a:pt x="2310" y="4779"/>
                    <a:pt x="2469" y="4779"/>
                  </a:cubicBezTo>
                  <a:cubicBezTo>
                    <a:pt x="2628" y="4779"/>
                    <a:pt x="2889" y="4849"/>
                    <a:pt x="2966" y="4779"/>
                  </a:cubicBezTo>
                  <a:cubicBezTo>
                    <a:pt x="3036" y="4702"/>
                    <a:pt x="2896" y="4492"/>
                    <a:pt x="2794" y="4460"/>
                  </a:cubicBezTo>
                  <a:cubicBezTo>
                    <a:pt x="2698" y="4435"/>
                    <a:pt x="2565" y="4441"/>
                    <a:pt x="2603" y="4340"/>
                  </a:cubicBezTo>
                  <a:cubicBezTo>
                    <a:pt x="2641" y="4238"/>
                    <a:pt x="2857" y="4187"/>
                    <a:pt x="2857" y="4123"/>
                  </a:cubicBezTo>
                  <a:cubicBezTo>
                    <a:pt x="2857" y="4059"/>
                    <a:pt x="2870" y="3951"/>
                    <a:pt x="2947" y="3881"/>
                  </a:cubicBezTo>
                  <a:cubicBezTo>
                    <a:pt x="3017" y="3805"/>
                    <a:pt x="3106" y="3646"/>
                    <a:pt x="3208" y="3614"/>
                  </a:cubicBezTo>
                  <a:cubicBezTo>
                    <a:pt x="3316" y="3589"/>
                    <a:pt x="3449" y="3417"/>
                    <a:pt x="3558" y="3417"/>
                  </a:cubicBezTo>
                  <a:cubicBezTo>
                    <a:pt x="3666" y="3417"/>
                    <a:pt x="3889" y="3372"/>
                    <a:pt x="3831" y="3245"/>
                  </a:cubicBezTo>
                  <a:cubicBezTo>
                    <a:pt x="3780" y="3124"/>
                    <a:pt x="3628" y="2984"/>
                    <a:pt x="3723" y="2895"/>
                  </a:cubicBezTo>
                  <a:cubicBezTo>
                    <a:pt x="3793" y="2825"/>
                    <a:pt x="3882" y="2959"/>
                    <a:pt x="4054" y="2946"/>
                  </a:cubicBezTo>
                  <a:cubicBezTo>
                    <a:pt x="4048" y="2920"/>
                    <a:pt x="4048" y="2895"/>
                    <a:pt x="4048" y="2882"/>
                  </a:cubicBezTo>
                  <a:cubicBezTo>
                    <a:pt x="4048" y="2793"/>
                    <a:pt x="4302" y="2825"/>
                    <a:pt x="4385" y="2799"/>
                  </a:cubicBezTo>
                  <a:cubicBezTo>
                    <a:pt x="4474" y="2780"/>
                    <a:pt x="4468" y="2723"/>
                    <a:pt x="4468" y="2723"/>
                  </a:cubicBezTo>
                  <a:cubicBezTo>
                    <a:pt x="4818" y="2640"/>
                    <a:pt x="4831" y="2259"/>
                    <a:pt x="4665" y="2176"/>
                  </a:cubicBezTo>
                  <a:cubicBezTo>
                    <a:pt x="4506" y="2099"/>
                    <a:pt x="4493" y="2004"/>
                    <a:pt x="4449" y="1864"/>
                  </a:cubicBezTo>
                  <a:cubicBezTo>
                    <a:pt x="4398" y="1730"/>
                    <a:pt x="4302" y="1724"/>
                    <a:pt x="4277" y="1597"/>
                  </a:cubicBezTo>
                  <a:cubicBezTo>
                    <a:pt x="4245" y="1476"/>
                    <a:pt x="4538" y="1406"/>
                    <a:pt x="4569" y="1259"/>
                  </a:cubicBezTo>
                  <a:cubicBezTo>
                    <a:pt x="4595" y="1113"/>
                    <a:pt x="4398" y="1017"/>
                    <a:pt x="4372" y="896"/>
                  </a:cubicBezTo>
                  <a:cubicBezTo>
                    <a:pt x="4347" y="776"/>
                    <a:pt x="4054" y="846"/>
                    <a:pt x="4181" y="718"/>
                  </a:cubicBezTo>
                  <a:cubicBezTo>
                    <a:pt x="4302" y="591"/>
                    <a:pt x="4264" y="495"/>
                    <a:pt x="4181" y="407"/>
                  </a:cubicBezTo>
                  <a:cubicBezTo>
                    <a:pt x="4092" y="325"/>
                    <a:pt x="4181" y="236"/>
                    <a:pt x="4181" y="236"/>
                  </a:cubicBezTo>
                  <a:cubicBezTo>
                    <a:pt x="4347" y="236"/>
                    <a:pt x="4385" y="134"/>
                    <a:pt x="4347" y="89"/>
                  </a:cubicBezTo>
                  <a:cubicBezTo>
                    <a:pt x="4302" y="51"/>
                    <a:pt x="4016" y="0"/>
                    <a:pt x="3895" y="0"/>
                  </a:cubicBezTo>
                  <a:cubicBezTo>
                    <a:pt x="3774" y="0"/>
                    <a:pt x="3634" y="140"/>
                    <a:pt x="3545" y="153"/>
                  </a:cubicBezTo>
                  <a:cubicBezTo>
                    <a:pt x="3449" y="166"/>
                    <a:pt x="3507" y="267"/>
                    <a:pt x="3430" y="306"/>
                  </a:cubicBezTo>
                  <a:cubicBezTo>
                    <a:pt x="3347" y="337"/>
                    <a:pt x="3271" y="648"/>
                    <a:pt x="3347" y="648"/>
                  </a:cubicBezTo>
                  <a:cubicBezTo>
                    <a:pt x="3424" y="648"/>
                    <a:pt x="3347" y="483"/>
                    <a:pt x="3437" y="483"/>
                  </a:cubicBezTo>
                  <a:cubicBezTo>
                    <a:pt x="3526" y="483"/>
                    <a:pt x="3443" y="801"/>
                    <a:pt x="3379" y="801"/>
                  </a:cubicBezTo>
                  <a:cubicBezTo>
                    <a:pt x="3322" y="801"/>
                    <a:pt x="3214" y="865"/>
                    <a:pt x="3093" y="865"/>
                  </a:cubicBezTo>
                  <a:cubicBezTo>
                    <a:pt x="2998" y="865"/>
                    <a:pt x="3163" y="674"/>
                    <a:pt x="3201" y="464"/>
                  </a:cubicBezTo>
                  <a:cubicBezTo>
                    <a:pt x="3131" y="546"/>
                    <a:pt x="3017" y="674"/>
                    <a:pt x="2928" y="642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38" name="Freeform 501"/>
            <p:cNvSpPr>
              <a:spLocks noChangeArrowheads="1"/>
            </p:cNvSpPr>
            <p:nvPr/>
          </p:nvSpPr>
          <p:spPr bwMode="auto">
            <a:xfrm>
              <a:off x="17776592" y="5999422"/>
              <a:ext cx="1304337" cy="1895489"/>
            </a:xfrm>
            <a:custGeom>
              <a:avLst/>
              <a:gdLst>
                <a:gd name="T0" fmla="*/ 2126 w 2541"/>
                <a:gd name="T1" fmla="*/ 439 h 3691"/>
                <a:gd name="T2" fmla="*/ 2126 w 2541"/>
                <a:gd name="T3" fmla="*/ 439 h 3691"/>
                <a:gd name="T4" fmla="*/ 1591 w 2541"/>
                <a:gd name="T5" fmla="*/ 235 h 3691"/>
                <a:gd name="T6" fmla="*/ 1298 w 2541"/>
                <a:gd name="T7" fmla="*/ 235 h 3691"/>
                <a:gd name="T8" fmla="*/ 1114 w 2541"/>
                <a:gd name="T9" fmla="*/ 44 h 3691"/>
                <a:gd name="T10" fmla="*/ 859 w 2541"/>
                <a:gd name="T11" fmla="*/ 299 h 3691"/>
                <a:gd name="T12" fmla="*/ 649 w 2541"/>
                <a:gd name="T13" fmla="*/ 445 h 3691"/>
                <a:gd name="T14" fmla="*/ 598 w 2541"/>
                <a:gd name="T15" fmla="*/ 751 h 3691"/>
                <a:gd name="T16" fmla="*/ 236 w 2541"/>
                <a:gd name="T17" fmla="*/ 764 h 3691"/>
                <a:gd name="T18" fmla="*/ 261 w 2541"/>
                <a:gd name="T19" fmla="*/ 1094 h 3691"/>
                <a:gd name="T20" fmla="*/ 338 w 2541"/>
                <a:gd name="T21" fmla="*/ 1508 h 3691"/>
                <a:gd name="T22" fmla="*/ 229 w 2541"/>
                <a:gd name="T23" fmla="*/ 1801 h 3691"/>
                <a:gd name="T24" fmla="*/ 0 w 2541"/>
                <a:gd name="T25" fmla="*/ 2164 h 3691"/>
                <a:gd name="T26" fmla="*/ 325 w 2541"/>
                <a:gd name="T27" fmla="*/ 2444 h 3691"/>
                <a:gd name="T28" fmla="*/ 325 w 2541"/>
                <a:gd name="T29" fmla="*/ 2889 h 3691"/>
                <a:gd name="T30" fmla="*/ 210 w 2541"/>
                <a:gd name="T31" fmla="*/ 3347 h 3691"/>
                <a:gd name="T32" fmla="*/ 427 w 2541"/>
                <a:gd name="T33" fmla="*/ 3588 h 3691"/>
                <a:gd name="T34" fmla="*/ 694 w 2541"/>
                <a:gd name="T35" fmla="*/ 3436 h 3691"/>
                <a:gd name="T36" fmla="*/ 828 w 2541"/>
                <a:gd name="T37" fmla="*/ 3601 h 3691"/>
                <a:gd name="T38" fmla="*/ 1101 w 2541"/>
                <a:gd name="T39" fmla="*/ 3423 h 3691"/>
                <a:gd name="T40" fmla="*/ 1095 w 2541"/>
                <a:gd name="T41" fmla="*/ 3246 h 3691"/>
                <a:gd name="T42" fmla="*/ 1426 w 2541"/>
                <a:gd name="T43" fmla="*/ 2724 h 3691"/>
                <a:gd name="T44" fmla="*/ 1598 w 2541"/>
                <a:gd name="T45" fmla="*/ 2246 h 3691"/>
                <a:gd name="T46" fmla="*/ 2221 w 2541"/>
                <a:gd name="T47" fmla="*/ 1483 h 3691"/>
                <a:gd name="T48" fmla="*/ 2342 w 2541"/>
                <a:gd name="T49" fmla="*/ 1285 h 3691"/>
                <a:gd name="T50" fmla="*/ 2349 w 2541"/>
                <a:gd name="T51" fmla="*/ 1037 h 3691"/>
                <a:gd name="T52" fmla="*/ 2540 w 2541"/>
                <a:gd name="T53" fmla="*/ 1050 h 3691"/>
                <a:gd name="T54" fmla="*/ 2126 w 2541"/>
                <a:gd name="T55" fmla="*/ 439 h 3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1" h="3691">
                  <a:moveTo>
                    <a:pt x="2126" y="439"/>
                  </a:moveTo>
                  <a:lnTo>
                    <a:pt x="2126" y="439"/>
                  </a:lnTo>
                  <a:cubicBezTo>
                    <a:pt x="2018" y="337"/>
                    <a:pt x="1712" y="235"/>
                    <a:pt x="1591" y="235"/>
                  </a:cubicBezTo>
                  <a:cubicBezTo>
                    <a:pt x="1470" y="235"/>
                    <a:pt x="1419" y="203"/>
                    <a:pt x="1298" y="235"/>
                  </a:cubicBezTo>
                  <a:cubicBezTo>
                    <a:pt x="1184" y="261"/>
                    <a:pt x="1158" y="95"/>
                    <a:pt x="1114" y="44"/>
                  </a:cubicBezTo>
                  <a:cubicBezTo>
                    <a:pt x="1063" y="0"/>
                    <a:pt x="917" y="242"/>
                    <a:pt x="859" y="299"/>
                  </a:cubicBezTo>
                  <a:cubicBezTo>
                    <a:pt x="802" y="356"/>
                    <a:pt x="713" y="331"/>
                    <a:pt x="649" y="445"/>
                  </a:cubicBezTo>
                  <a:cubicBezTo>
                    <a:pt x="586" y="560"/>
                    <a:pt x="649" y="623"/>
                    <a:pt x="598" y="751"/>
                  </a:cubicBezTo>
                  <a:cubicBezTo>
                    <a:pt x="548" y="872"/>
                    <a:pt x="287" y="706"/>
                    <a:pt x="236" y="764"/>
                  </a:cubicBezTo>
                  <a:cubicBezTo>
                    <a:pt x="185" y="814"/>
                    <a:pt x="312" y="974"/>
                    <a:pt x="261" y="1094"/>
                  </a:cubicBezTo>
                  <a:cubicBezTo>
                    <a:pt x="210" y="1215"/>
                    <a:pt x="338" y="1508"/>
                    <a:pt x="338" y="1508"/>
                  </a:cubicBezTo>
                  <a:cubicBezTo>
                    <a:pt x="376" y="1546"/>
                    <a:pt x="325" y="1667"/>
                    <a:pt x="229" y="1801"/>
                  </a:cubicBezTo>
                  <a:cubicBezTo>
                    <a:pt x="134" y="1935"/>
                    <a:pt x="0" y="2074"/>
                    <a:pt x="0" y="2164"/>
                  </a:cubicBezTo>
                  <a:cubicBezTo>
                    <a:pt x="0" y="2342"/>
                    <a:pt x="471" y="2291"/>
                    <a:pt x="325" y="2444"/>
                  </a:cubicBezTo>
                  <a:cubicBezTo>
                    <a:pt x="172" y="2590"/>
                    <a:pt x="325" y="2762"/>
                    <a:pt x="325" y="2889"/>
                  </a:cubicBezTo>
                  <a:cubicBezTo>
                    <a:pt x="325" y="2965"/>
                    <a:pt x="261" y="3195"/>
                    <a:pt x="210" y="3347"/>
                  </a:cubicBezTo>
                  <a:cubicBezTo>
                    <a:pt x="287" y="3423"/>
                    <a:pt x="363" y="3525"/>
                    <a:pt x="427" y="3588"/>
                  </a:cubicBezTo>
                  <a:cubicBezTo>
                    <a:pt x="528" y="3690"/>
                    <a:pt x="579" y="3436"/>
                    <a:pt x="694" y="3436"/>
                  </a:cubicBezTo>
                  <a:cubicBezTo>
                    <a:pt x="808" y="3436"/>
                    <a:pt x="694" y="3550"/>
                    <a:pt x="828" y="3601"/>
                  </a:cubicBezTo>
                  <a:cubicBezTo>
                    <a:pt x="917" y="3633"/>
                    <a:pt x="1031" y="3505"/>
                    <a:pt x="1101" y="3423"/>
                  </a:cubicBezTo>
                  <a:cubicBezTo>
                    <a:pt x="1108" y="3366"/>
                    <a:pt x="1114" y="3303"/>
                    <a:pt x="1095" y="3246"/>
                  </a:cubicBezTo>
                  <a:cubicBezTo>
                    <a:pt x="1018" y="2978"/>
                    <a:pt x="1229" y="2857"/>
                    <a:pt x="1426" y="2724"/>
                  </a:cubicBezTo>
                  <a:cubicBezTo>
                    <a:pt x="1617" y="2590"/>
                    <a:pt x="1598" y="2246"/>
                    <a:pt x="1598" y="2246"/>
                  </a:cubicBezTo>
                  <a:cubicBezTo>
                    <a:pt x="1598" y="2246"/>
                    <a:pt x="2011" y="1769"/>
                    <a:pt x="2221" y="1483"/>
                  </a:cubicBezTo>
                  <a:cubicBezTo>
                    <a:pt x="2349" y="1400"/>
                    <a:pt x="2393" y="1298"/>
                    <a:pt x="2342" y="1285"/>
                  </a:cubicBezTo>
                  <a:cubicBezTo>
                    <a:pt x="2158" y="1241"/>
                    <a:pt x="2285" y="1094"/>
                    <a:pt x="2349" y="1037"/>
                  </a:cubicBezTo>
                  <a:cubicBezTo>
                    <a:pt x="2374" y="1005"/>
                    <a:pt x="2451" y="1024"/>
                    <a:pt x="2540" y="1050"/>
                  </a:cubicBezTo>
                  <a:cubicBezTo>
                    <a:pt x="2501" y="808"/>
                    <a:pt x="2215" y="534"/>
                    <a:pt x="2126" y="439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39" name="Freeform 502"/>
            <p:cNvSpPr>
              <a:spLocks noChangeArrowheads="1"/>
            </p:cNvSpPr>
            <p:nvPr/>
          </p:nvSpPr>
          <p:spPr bwMode="auto">
            <a:xfrm>
              <a:off x="14078706" y="5152455"/>
              <a:ext cx="2210127" cy="2631491"/>
            </a:xfrm>
            <a:custGeom>
              <a:avLst/>
              <a:gdLst>
                <a:gd name="T0" fmla="*/ 4250 w 4302"/>
                <a:gd name="T1" fmla="*/ 3965 h 5124"/>
                <a:gd name="T2" fmla="*/ 4250 w 4302"/>
                <a:gd name="T3" fmla="*/ 3965 h 5124"/>
                <a:gd name="T4" fmla="*/ 4116 w 4302"/>
                <a:gd name="T5" fmla="*/ 3488 h 5124"/>
                <a:gd name="T6" fmla="*/ 3983 w 4302"/>
                <a:gd name="T7" fmla="*/ 3087 h 5124"/>
                <a:gd name="T8" fmla="*/ 4027 w 4302"/>
                <a:gd name="T9" fmla="*/ 2686 h 5124"/>
                <a:gd name="T10" fmla="*/ 3862 w 4302"/>
                <a:gd name="T11" fmla="*/ 2362 h 5124"/>
                <a:gd name="T12" fmla="*/ 4059 w 4302"/>
                <a:gd name="T13" fmla="*/ 2171 h 5124"/>
                <a:gd name="T14" fmla="*/ 4167 w 4302"/>
                <a:gd name="T15" fmla="*/ 1719 h 5124"/>
                <a:gd name="T16" fmla="*/ 3900 w 4302"/>
                <a:gd name="T17" fmla="*/ 1502 h 5124"/>
                <a:gd name="T18" fmla="*/ 3894 w 4302"/>
                <a:gd name="T19" fmla="*/ 1509 h 5124"/>
                <a:gd name="T20" fmla="*/ 3556 w 4302"/>
                <a:gd name="T21" fmla="*/ 1591 h 5124"/>
                <a:gd name="T22" fmla="*/ 3359 w 4302"/>
                <a:gd name="T23" fmla="*/ 1471 h 5124"/>
                <a:gd name="T24" fmla="*/ 2660 w 4302"/>
                <a:gd name="T25" fmla="*/ 1305 h 5124"/>
                <a:gd name="T26" fmla="*/ 2431 w 4302"/>
                <a:gd name="T27" fmla="*/ 923 h 5124"/>
                <a:gd name="T28" fmla="*/ 2176 w 4302"/>
                <a:gd name="T29" fmla="*/ 331 h 5124"/>
                <a:gd name="T30" fmla="*/ 1998 w 4302"/>
                <a:gd name="T31" fmla="*/ 7 h 5124"/>
                <a:gd name="T32" fmla="*/ 1998 w 4302"/>
                <a:gd name="T33" fmla="*/ 7 h 5124"/>
                <a:gd name="T34" fmla="*/ 1648 w 4302"/>
                <a:gd name="T35" fmla="*/ 300 h 5124"/>
                <a:gd name="T36" fmla="*/ 1107 w 4302"/>
                <a:gd name="T37" fmla="*/ 401 h 5124"/>
                <a:gd name="T38" fmla="*/ 1088 w 4302"/>
                <a:gd name="T39" fmla="*/ 389 h 5124"/>
                <a:gd name="T40" fmla="*/ 1292 w 4302"/>
                <a:gd name="T41" fmla="*/ 961 h 5124"/>
                <a:gd name="T42" fmla="*/ 1031 w 4302"/>
                <a:gd name="T43" fmla="*/ 1420 h 5124"/>
                <a:gd name="T44" fmla="*/ 1228 w 4302"/>
                <a:gd name="T45" fmla="*/ 1598 h 5124"/>
                <a:gd name="T46" fmla="*/ 1062 w 4302"/>
                <a:gd name="T47" fmla="*/ 1922 h 5124"/>
                <a:gd name="T48" fmla="*/ 852 w 4302"/>
                <a:gd name="T49" fmla="*/ 2241 h 5124"/>
                <a:gd name="T50" fmla="*/ 324 w 4302"/>
                <a:gd name="T51" fmla="*/ 2673 h 5124"/>
                <a:gd name="T52" fmla="*/ 0 w 4302"/>
                <a:gd name="T53" fmla="*/ 3532 h 5124"/>
                <a:gd name="T54" fmla="*/ 439 w 4302"/>
                <a:gd name="T55" fmla="*/ 3946 h 5124"/>
                <a:gd name="T56" fmla="*/ 827 w 4302"/>
                <a:gd name="T57" fmla="*/ 3883 h 5124"/>
                <a:gd name="T58" fmla="*/ 1292 w 4302"/>
                <a:gd name="T59" fmla="*/ 4691 h 5124"/>
                <a:gd name="T60" fmla="*/ 1635 w 4302"/>
                <a:gd name="T61" fmla="*/ 5041 h 5124"/>
                <a:gd name="T62" fmla="*/ 1928 w 4302"/>
                <a:gd name="T63" fmla="*/ 5123 h 5124"/>
                <a:gd name="T64" fmla="*/ 2189 w 4302"/>
                <a:gd name="T65" fmla="*/ 5060 h 5124"/>
                <a:gd name="T66" fmla="*/ 2991 w 4302"/>
                <a:gd name="T67" fmla="*/ 5022 h 5124"/>
                <a:gd name="T68" fmla="*/ 3054 w 4302"/>
                <a:gd name="T69" fmla="*/ 5060 h 5124"/>
                <a:gd name="T70" fmla="*/ 3525 w 4302"/>
                <a:gd name="T71" fmla="*/ 4608 h 5124"/>
                <a:gd name="T72" fmla="*/ 4167 w 4302"/>
                <a:gd name="T73" fmla="*/ 4341 h 5124"/>
                <a:gd name="T74" fmla="*/ 4167 w 4302"/>
                <a:gd name="T75" fmla="*/ 4341 h 5124"/>
                <a:gd name="T76" fmla="*/ 4250 w 4302"/>
                <a:gd name="T77" fmla="*/ 3965 h 5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302" h="5124">
                  <a:moveTo>
                    <a:pt x="4250" y="3965"/>
                  </a:moveTo>
                  <a:lnTo>
                    <a:pt x="4250" y="3965"/>
                  </a:lnTo>
                  <a:cubicBezTo>
                    <a:pt x="4180" y="3965"/>
                    <a:pt x="4116" y="3615"/>
                    <a:pt x="4116" y="3488"/>
                  </a:cubicBezTo>
                  <a:cubicBezTo>
                    <a:pt x="4116" y="3361"/>
                    <a:pt x="3983" y="3170"/>
                    <a:pt x="3983" y="3087"/>
                  </a:cubicBezTo>
                  <a:cubicBezTo>
                    <a:pt x="3983" y="3004"/>
                    <a:pt x="3983" y="2845"/>
                    <a:pt x="4027" y="2686"/>
                  </a:cubicBezTo>
                  <a:cubicBezTo>
                    <a:pt x="4072" y="2527"/>
                    <a:pt x="3862" y="2508"/>
                    <a:pt x="3862" y="2362"/>
                  </a:cubicBezTo>
                  <a:cubicBezTo>
                    <a:pt x="3862" y="2222"/>
                    <a:pt x="4091" y="2362"/>
                    <a:pt x="4059" y="2171"/>
                  </a:cubicBezTo>
                  <a:cubicBezTo>
                    <a:pt x="4040" y="2101"/>
                    <a:pt x="4193" y="1878"/>
                    <a:pt x="4167" y="1719"/>
                  </a:cubicBezTo>
                  <a:cubicBezTo>
                    <a:pt x="4148" y="1623"/>
                    <a:pt x="4008" y="1547"/>
                    <a:pt x="3900" y="1502"/>
                  </a:cubicBezTo>
                  <a:cubicBezTo>
                    <a:pt x="3894" y="1509"/>
                    <a:pt x="3894" y="1509"/>
                    <a:pt x="3894" y="1509"/>
                  </a:cubicBezTo>
                  <a:cubicBezTo>
                    <a:pt x="3894" y="1509"/>
                    <a:pt x="3811" y="1591"/>
                    <a:pt x="3556" y="1591"/>
                  </a:cubicBezTo>
                  <a:cubicBezTo>
                    <a:pt x="3308" y="1591"/>
                    <a:pt x="3359" y="1471"/>
                    <a:pt x="3359" y="1471"/>
                  </a:cubicBezTo>
                  <a:cubicBezTo>
                    <a:pt x="3067" y="1012"/>
                    <a:pt x="2730" y="1375"/>
                    <a:pt x="2660" y="1305"/>
                  </a:cubicBezTo>
                  <a:cubicBezTo>
                    <a:pt x="2596" y="1242"/>
                    <a:pt x="2552" y="1095"/>
                    <a:pt x="2431" y="923"/>
                  </a:cubicBezTo>
                  <a:cubicBezTo>
                    <a:pt x="2310" y="751"/>
                    <a:pt x="2176" y="471"/>
                    <a:pt x="2176" y="331"/>
                  </a:cubicBezTo>
                  <a:cubicBezTo>
                    <a:pt x="2176" y="191"/>
                    <a:pt x="1998" y="7"/>
                    <a:pt x="1998" y="7"/>
                  </a:cubicBezTo>
                  <a:lnTo>
                    <a:pt x="1998" y="7"/>
                  </a:lnTo>
                  <a:cubicBezTo>
                    <a:pt x="1953" y="0"/>
                    <a:pt x="1750" y="325"/>
                    <a:pt x="1648" y="300"/>
                  </a:cubicBezTo>
                  <a:cubicBezTo>
                    <a:pt x="1546" y="274"/>
                    <a:pt x="1164" y="401"/>
                    <a:pt x="1107" y="401"/>
                  </a:cubicBezTo>
                  <a:cubicBezTo>
                    <a:pt x="1101" y="401"/>
                    <a:pt x="1094" y="401"/>
                    <a:pt x="1088" y="389"/>
                  </a:cubicBezTo>
                  <a:cubicBezTo>
                    <a:pt x="1196" y="586"/>
                    <a:pt x="1457" y="853"/>
                    <a:pt x="1292" y="961"/>
                  </a:cubicBezTo>
                  <a:cubicBezTo>
                    <a:pt x="1075" y="1108"/>
                    <a:pt x="1031" y="1420"/>
                    <a:pt x="1031" y="1420"/>
                  </a:cubicBezTo>
                  <a:cubicBezTo>
                    <a:pt x="1228" y="1598"/>
                    <a:pt x="1228" y="1598"/>
                    <a:pt x="1228" y="1598"/>
                  </a:cubicBezTo>
                  <a:cubicBezTo>
                    <a:pt x="1228" y="1598"/>
                    <a:pt x="1062" y="1757"/>
                    <a:pt x="1062" y="1922"/>
                  </a:cubicBezTo>
                  <a:cubicBezTo>
                    <a:pt x="1062" y="2088"/>
                    <a:pt x="852" y="2241"/>
                    <a:pt x="852" y="2241"/>
                  </a:cubicBezTo>
                  <a:cubicBezTo>
                    <a:pt x="732" y="2648"/>
                    <a:pt x="477" y="2521"/>
                    <a:pt x="324" y="2673"/>
                  </a:cubicBezTo>
                  <a:cubicBezTo>
                    <a:pt x="178" y="2820"/>
                    <a:pt x="191" y="3322"/>
                    <a:pt x="0" y="3532"/>
                  </a:cubicBezTo>
                  <a:cubicBezTo>
                    <a:pt x="197" y="3603"/>
                    <a:pt x="299" y="3857"/>
                    <a:pt x="439" y="3946"/>
                  </a:cubicBezTo>
                  <a:cubicBezTo>
                    <a:pt x="604" y="4048"/>
                    <a:pt x="655" y="3883"/>
                    <a:pt x="827" y="3883"/>
                  </a:cubicBezTo>
                  <a:cubicBezTo>
                    <a:pt x="999" y="3883"/>
                    <a:pt x="1292" y="4691"/>
                    <a:pt x="1292" y="4691"/>
                  </a:cubicBezTo>
                  <a:cubicBezTo>
                    <a:pt x="1591" y="4742"/>
                    <a:pt x="1635" y="5041"/>
                    <a:pt x="1635" y="5041"/>
                  </a:cubicBezTo>
                  <a:cubicBezTo>
                    <a:pt x="1635" y="5041"/>
                    <a:pt x="1832" y="5123"/>
                    <a:pt x="1928" y="5123"/>
                  </a:cubicBezTo>
                  <a:cubicBezTo>
                    <a:pt x="2024" y="5123"/>
                    <a:pt x="1992" y="5097"/>
                    <a:pt x="2189" y="5060"/>
                  </a:cubicBezTo>
                  <a:cubicBezTo>
                    <a:pt x="2386" y="5022"/>
                    <a:pt x="2832" y="4945"/>
                    <a:pt x="2991" y="5022"/>
                  </a:cubicBezTo>
                  <a:cubicBezTo>
                    <a:pt x="3016" y="5028"/>
                    <a:pt x="3036" y="5041"/>
                    <a:pt x="3054" y="5060"/>
                  </a:cubicBezTo>
                  <a:cubicBezTo>
                    <a:pt x="3182" y="4754"/>
                    <a:pt x="3658" y="4850"/>
                    <a:pt x="3525" y="4608"/>
                  </a:cubicBezTo>
                  <a:cubicBezTo>
                    <a:pt x="3384" y="4341"/>
                    <a:pt x="4053" y="4226"/>
                    <a:pt x="4167" y="4341"/>
                  </a:cubicBezTo>
                  <a:lnTo>
                    <a:pt x="4167" y="4341"/>
                  </a:lnTo>
                  <a:cubicBezTo>
                    <a:pt x="4148" y="4169"/>
                    <a:pt x="4301" y="3965"/>
                    <a:pt x="4250" y="3965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40" name="Freeform 503"/>
            <p:cNvSpPr>
              <a:spLocks noChangeArrowheads="1"/>
            </p:cNvSpPr>
            <p:nvPr/>
          </p:nvSpPr>
          <p:spPr bwMode="auto">
            <a:xfrm>
              <a:off x="16060119" y="5677848"/>
              <a:ext cx="1958772" cy="2316709"/>
            </a:xfrm>
            <a:custGeom>
              <a:avLst/>
              <a:gdLst>
                <a:gd name="T0" fmla="*/ 3227 w 3813"/>
                <a:gd name="T1" fmla="*/ 1413 h 4512"/>
                <a:gd name="T2" fmla="*/ 3227 w 3813"/>
                <a:gd name="T3" fmla="*/ 1413 h 4512"/>
                <a:gd name="T4" fmla="*/ 2985 w 3813"/>
                <a:gd name="T5" fmla="*/ 1356 h 4512"/>
                <a:gd name="T6" fmla="*/ 2883 w 3813"/>
                <a:gd name="T7" fmla="*/ 1254 h 4512"/>
                <a:gd name="T8" fmla="*/ 2495 w 3813"/>
                <a:gd name="T9" fmla="*/ 738 h 4512"/>
                <a:gd name="T10" fmla="*/ 2202 w 3813"/>
                <a:gd name="T11" fmla="*/ 878 h 4512"/>
                <a:gd name="T12" fmla="*/ 1915 w 3813"/>
                <a:gd name="T13" fmla="*/ 967 h 4512"/>
                <a:gd name="T14" fmla="*/ 1489 w 3813"/>
                <a:gd name="T15" fmla="*/ 929 h 4512"/>
                <a:gd name="T16" fmla="*/ 1031 w 3813"/>
                <a:gd name="T17" fmla="*/ 382 h 4512"/>
                <a:gd name="T18" fmla="*/ 636 w 3813"/>
                <a:gd name="T19" fmla="*/ 38 h 4512"/>
                <a:gd name="T20" fmla="*/ 229 w 3813"/>
                <a:gd name="T21" fmla="*/ 286 h 4512"/>
                <a:gd name="T22" fmla="*/ 38 w 3813"/>
                <a:gd name="T23" fmla="*/ 477 h 4512"/>
                <a:gd name="T24" fmla="*/ 305 w 3813"/>
                <a:gd name="T25" fmla="*/ 694 h 4512"/>
                <a:gd name="T26" fmla="*/ 197 w 3813"/>
                <a:gd name="T27" fmla="*/ 1146 h 4512"/>
                <a:gd name="T28" fmla="*/ 0 w 3813"/>
                <a:gd name="T29" fmla="*/ 1337 h 4512"/>
                <a:gd name="T30" fmla="*/ 165 w 3813"/>
                <a:gd name="T31" fmla="*/ 1661 h 4512"/>
                <a:gd name="T32" fmla="*/ 121 w 3813"/>
                <a:gd name="T33" fmla="*/ 2062 h 4512"/>
                <a:gd name="T34" fmla="*/ 254 w 3813"/>
                <a:gd name="T35" fmla="*/ 2463 h 4512"/>
                <a:gd name="T36" fmla="*/ 388 w 3813"/>
                <a:gd name="T37" fmla="*/ 2940 h 4512"/>
                <a:gd name="T38" fmla="*/ 305 w 3813"/>
                <a:gd name="T39" fmla="*/ 3316 h 4512"/>
                <a:gd name="T40" fmla="*/ 1005 w 3813"/>
                <a:gd name="T41" fmla="*/ 3380 h 4512"/>
                <a:gd name="T42" fmla="*/ 1540 w 3813"/>
                <a:gd name="T43" fmla="*/ 3831 h 4512"/>
                <a:gd name="T44" fmla="*/ 1591 w 3813"/>
                <a:gd name="T45" fmla="*/ 4231 h 4512"/>
                <a:gd name="T46" fmla="*/ 1336 w 3813"/>
                <a:gd name="T47" fmla="*/ 4390 h 4512"/>
                <a:gd name="T48" fmla="*/ 2183 w 3813"/>
                <a:gd name="T49" fmla="*/ 4403 h 4512"/>
                <a:gd name="T50" fmla="*/ 2596 w 3813"/>
                <a:gd name="T51" fmla="*/ 4250 h 4512"/>
                <a:gd name="T52" fmla="*/ 3086 w 3813"/>
                <a:gd name="T53" fmla="*/ 3882 h 4512"/>
                <a:gd name="T54" fmla="*/ 3392 w 3813"/>
                <a:gd name="T55" fmla="*/ 3882 h 4512"/>
                <a:gd name="T56" fmla="*/ 3551 w 3813"/>
                <a:gd name="T57" fmla="*/ 3971 h 4512"/>
                <a:gd name="T58" fmla="*/ 3666 w 3813"/>
                <a:gd name="T59" fmla="*/ 3513 h 4512"/>
                <a:gd name="T60" fmla="*/ 3666 w 3813"/>
                <a:gd name="T61" fmla="*/ 3068 h 4512"/>
                <a:gd name="T62" fmla="*/ 3341 w 3813"/>
                <a:gd name="T63" fmla="*/ 2788 h 4512"/>
                <a:gd name="T64" fmla="*/ 3570 w 3813"/>
                <a:gd name="T65" fmla="*/ 2425 h 4512"/>
                <a:gd name="T66" fmla="*/ 3679 w 3813"/>
                <a:gd name="T67" fmla="*/ 2132 h 4512"/>
                <a:gd name="T68" fmla="*/ 3602 w 3813"/>
                <a:gd name="T69" fmla="*/ 1718 h 4512"/>
                <a:gd name="T70" fmla="*/ 3570 w 3813"/>
                <a:gd name="T71" fmla="*/ 1477 h 4512"/>
                <a:gd name="T72" fmla="*/ 3227 w 3813"/>
                <a:gd name="T73" fmla="*/ 1413 h 4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813" h="4512">
                  <a:moveTo>
                    <a:pt x="3227" y="1413"/>
                  </a:moveTo>
                  <a:lnTo>
                    <a:pt x="3227" y="1413"/>
                  </a:lnTo>
                  <a:cubicBezTo>
                    <a:pt x="3099" y="1375"/>
                    <a:pt x="3099" y="1311"/>
                    <a:pt x="2985" y="1356"/>
                  </a:cubicBezTo>
                  <a:cubicBezTo>
                    <a:pt x="2870" y="1400"/>
                    <a:pt x="2883" y="1254"/>
                    <a:pt x="2883" y="1254"/>
                  </a:cubicBezTo>
                  <a:cubicBezTo>
                    <a:pt x="3004" y="1101"/>
                    <a:pt x="2762" y="738"/>
                    <a:pt x="2495" y="738"/>
                  </a:cubicBezTo>
                  <a:cubicBezTo>
                    <a:pt x="2227" y="738"/>
                    <a:pt x="2297" y="878"/>
                    <a:pt x="2202" y="878"/>
                  </a:cubicBezTo>
                  <a:cubicBezTo>
                    <a:pt x="2106" y="878"/>
                    <a:pt x="1954" y="929"/>
                    <a:pt x="1915" y="967"/>
                  </a:cubicBezTo>
                  <a:cubicBezTo>
                    <a:pt x="1877" y="1006"/>
                    <a:pt x="1489" y="929"/>
                    <a:pt x="1489" y="929"/>
                  </a:cubicBezTo>
                  <a:cubicBezTo>
                    <a:pt x="1165" y="127"/>
                    <a:pt x="1031" y="764"/>
                    <a:pt x="1031" y="382"/>
                  </a:cubicBezTo>
                  <a:cubicBezTo>
                    <a:pt x="1031" y="0"/>
                    <a:pt x="636" y="38"/>
                    <a:pt x="636" y="38"/>
                  </a:cubicBezTo>
                  <a:cubicBezTo>
                    <a:pt x="636" y="38"/>
                    <a:pt x="324" y="248"/>
                    <a:pt x="229" y="286"/>
                  </a:cubicBezTo>
                  <a:cubicBezTo>
                    <a:pt x="140" y="325"/>
                    <a:pt x="51" y="452"/>
                    <a:pt x="38" y="477"/>
                  </a:cubicBezTo>
                  <a:cubicBezTo>
                    <a:pt x="146" y="522"/>
                    <a:pt x="286" y="598"/>
                    <a:pt x="305" y="694"/>
                  </a:cubicBezTo>
                  <a:cubicBezTo>
                    <a:pt x="331" y="853"/>
                    <a:pt x="178" y="1076"/>
                    <a:pt x="197" y="1146"/>
                  </a:cubicBezTo>
                  <a:cubicBezTo>
                    <a:pt x="229" y="1337"/>
                    <a:pt x="0" y="1197"/>
                    <a:pt x="0" y="1337"/>
                  </a:cubicBezTo>
                  <a:cubicBezTo>
                    <a:pt x="0" y="1483"/>
                    <a:pt x="210" y="1502"/>
                    <a:pt x="165" y="1661"/>
                  </a:cubicBezTo>
                  <a:cubicBezTo>
                    <a:pt x="121" y="1820"/>
                    <a:pt x="121" y="1979"/>
                    <a:pt x="121" y="2062"/>
                  </a:cubicBezTo>
                  <a:cubicBezTo>
                    <a:pt x="121" y="2145"/>
                    <a:pt x="254" y="2336"/>
                    <a:pt x="254" y="2463"/>
                  </a:cubicBezTo>
                  <a:cubicBezTo>
                    <a:pt x="254" y="2590"/>
                    <a:pt x="318" y="2940"/>
                    <a:pt x="388" y="2940"/>
                  </a:cubicBezTo>
                  <a:cubicBezTo>
                    <a:pt x="439" y="2940"/>
                    <a:pt x="286" y="3144"/>
                    <a:pt x="305" y="3316"/>
                  </a:cubicBezTo>
                  <a:cubicBezTo>
                    <a:pt x="426" y="3424"/>
                    <a:pt x="757" y="3380"/>
                    <a:pt x="1005" y="3380"/>
                  </a:cubicBezTo>
                  <a:cubicBezTo>
                    <a:pt x="1254" y="3380"/>
                    <a:pt x="1311" y="3831"/>
                    <a:pt x="1540" y="3831"/>
                  </a:cubicBezTo>
                  <a:cubicBezTo>
                    <a:pt x="1769" y="3831"/>
                    <a:pt x="1648" y="4168"/>
                    <a:pt x="1591" y="4231"/>
                  </a:cubicBezTo>
                  <a:cubicBezTo>
                    <a:pt x="1540" y="4282"/>
                    <a:pt x="1349" y="4327"/>
                    <a:pt x="1336" y="4390"/>
                  </a:cubicBezTo>
                  <a:cubicBezTo>
                    <a:pt x="1559" y="4511"/>
                    <a:pt x="2094" y="4492"/>
                    <a:pt x="2183" y="4403"/>
                  </a:cubicBezTo>
                  <a:cubicBezTo>
                    <a:pt x="2278" y="4301"/>
                    <a:pt x="2457" y="4250"/>
                    <a:pt x="2596" y="4250"/>
                  </a:cubicBezTo>
                  <a:cubicBezTo>
                    <a:pt x="2737" y="4250"/>
                    <a:pt x="2972" y="3933"/>
                    <a:pt x="3086" y="3882"/>
                  </a:cubicBezTo>
                  <a:cubicBezTo>
                    <a:pt x="3201" y="3831"/>
                    <a:pt x="3265" y="3882"/>
                    <a:pt x="3392" y="3882"/>
                  </a:cubicBezTo>
                  <a:cubicBezTo>
                    <a:pt x="3443" y="3882"/>
                    <a:pt x="3500" y="3920"/>
                    <a:pt x="3551" y="3971"/>
                  </a:cubicBezTo>
                  <a:cubicBezTo>
                    <a:pt x="3602" y="3819"/>
                    <a:pt x="3666" y="3589"/>
                    <a:pt x="3666" y="3513"/>
                  </a:cubicBezTo>
                  <a:cubicBezTo>
                    <a:pt x="3666" y="3386"/>
                    <a:pt x="3513" y="3214"/>
                    <a:pt x="3666" y="3068"/>
                  </a:cubicBezTo>
                  <a:cubicBezTo>
                    <a:pt x="3812" y="2915"/>
                    <a:pt x="3341" y="2966"/>
                    <a:pt x="3341" y="2788"/>
                  </a:cubicBezTo>
                  <a:cubicBezTo>
                    <a:pt x="3341" y="2698"/>
                    <a:pt x="3475" y="2559"/>
                    <a:pt x="3570" y="2425"/>
                  </a:cubicBezTo>
                  <a:cubicBezTo>
                    <a:pt x="3666" y="2291"/>
                    <a:pt x="3717" y="2170"/>
                    <a:pt x="3679" y="2132"/>
                  </a:cubicBezTo>
                  <a:cubicBezTo>
                    <a:pt x="3679" y="2132"/>
                    <a:pt x="3551" y="1839"/>
                    <a:pt x="3602" y="1718"/>
                  </a:cubicBezTo>
                  <a:cubicBezTo>
                    <a:pt x="3634" y="1636"/>
                    <a:pt x="3596" y="1547"/>
                    <a:pt x="3570" y="1477"/>
                  </a:cubicBezTo>
                  <a:cubicBezTo>
                    <a:pt x="3386" y="1540"/>
                    <a:pt x="3341" y="1451"/>
                    <a:pt x="3227" y="1413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41" name="Freeform 504"/>
            <p:cNvSpPr>
              <a:spLocks noChangeArrowheads="1"/>
            </p:cNvSpPr>
            <p:nvPr/>
          </p:nvSpPr>
          <p:spPr bwMode="auto">
            <a:xfrm>
              <a:off x="17455035" y="4407395"/>
              <a:ext cx="1841018" cy="1813961"/>
            </a:xfrm>
            <a:custGeom>
              <a:avLst/>
              <a:gdLst>
                <a:gd name="T0" fmla="*/ 3577 w 3585"/>
                <a:gd name="T1" fmla="*/ 955 h 3534"/>
                <a:gd name="T2" fmla="*/ 3577 w 3585"/>
                <a:gd name="T3" fmla="*/ 955 h 3534"/>
                <a:gd name="T4" fmla="*/ 3265 w 3585"/>
                <a:gd name="T5" fmla="*/ 783 h 3534"/>
                <a:gd name="T6" fmla="*/ 2979 w 3585"/>
                <a:gd name="T7" fmla="*/ 885 h 3534"/>
                <a:gd name="T8" fmla="*/ 2712 w 3585"/>
                <a:gd name="T9" fmla="*/ 764 h 3534"/>
                <a:gd name="T10" fmla="*/ 2317 w 3585"/>
                <a:gd name="T11" fmla="*/ 586 h 3534"/>
                <a:gd name="T12" fmla="*/ 1706 w 3585"/>
                <a:gd name="T13" fmla="*/ 255 h 3534"/>
                <a:gd name="T14" fmla="*/ 1490 w 3585"/>
                <a:gd name="T15" fmla="*/ 300 h 3534"/>
                <a:gd name="T16" fmla="*/ 936 w 3585"/>
                <a:gd name="T17" fmla="*/ 166 h 3534"/>
                <a:gd name="T18" fmla="*/ 809 w 3585"/>
                <a:gd name="T19" fmla="*/ 166 h 3534"/>
                <a:gd name="T20" fmla="*/ 618 w 3585"/>
                <a:gd name="T21" fmla="*/ 7 h 3534"/>
                <a:gd name="T22" fmla="*/ 618 w 3585"/>
                <a:gd name="T23" fmla="*/ 7 h 3534"/>
                <a:gd name="T24" fmla="*/ 446 w 3585"/>
                <a:gd name="T25" fmla="*/ 96 h 3534"/>
                <a:gd name="T26" fmla="*/ 217 w 3585"/>
                <a:gd name="T27" fmla="*/ 140 h 3534"/>
                <a:gd name="T28" fmla="*/ 51 w 3585"/>
                <a:gd name="T29" fmla="*/ 681 h 3534"/>
                <a:gd name="T30" fmla="*/ 89 w 3585"/>
                <a:gd name="T31" fmla="*/ 802 h 3534"/>
                <a:gd name="T32" fmla="*/ 191 w 3585"/>
                <a:gd name="T33" fmla="*/ 1235 h 3534"/>
                <a:gd name="T34" fmla="*/ 153 w 3585"/>
                <a:gd name="T35" fmla="*/ 1636 h 3534"/>
                <a:gd name="T36" fmla="*/ 153 w 3585"/>
                <a:gd name="T37" fmla="*/ 1763 h 3534"/>
                <a:gd name="T38" fmla="*/ 351 w 3585"/>
                <a:gd name="T39" fmla="*/ 2031 h 3534"/>
                <a:gd name="T40" fmla="*/ 815 w 3585"/>
                <a:gd name="T41" fmla="*/ 2323 h 3534"/>
                <a:gd name="T42" fmla="*/ 815 w 3585"/>
                <a:gd name="T43" fmla="*/ 2482 h 3534"/>
                <a:gd name="T44" fmla="*/ 1051 w 3585"/>
                <a:gd name="T45" fmla="*/ 2622 h 3534"/>
                <a:gd name="T46" fmla="*/ 1197 w 3585"/>
                <a:gd name="T47" fmla="*/ 2928 h 3534"/>
                <a:gd name="T48" fmla="*/ 1502 w 3585"/>
                <a:gd name="T49" fmla="*/ 3380 h 3534"/>
                <a:gd name="T50" fmla="*/ 1738 w 3585"/>
                <a:gd name="T51" fmla="*/ 3144 h 3534"/>
                <a:gd name="T52" fmla="*/ 1922 w 3585"/>
                <a:gd name="T53" fmla="*/ 3335 h 3534"/>
                <a:gd name="T54" fmla="*/ 2215 w 3585"/>
                <a:gd name="T55" fmla="*/ 3335 h 3534"/>
                <a:gd name="T56" fmla="*/ 2737 w 3585"/>
                <a:gd name="T57" fmla="*/ 3533 h 3534"/>
                <a:gd name="T58" fmla="*/ 3144 w 3585"/>
                <a:gd name="T59" fmla="*/ 2444 h 3534"/>
                <a:gd name="T60" fmla="*/ 3043 w 3585"/>
                <a:gd name="T61" fmla="*/ 1980 h 3534"/>
                <a:gd name="T62" fmla="*/ 3227 w 3585"/>
                <a:gd name="T63" fmla="*/ 1693 h 3534"/>
                <a:gd name="T64" fmla="*/ 2979 w 3585"/>
                <a:gd name="T65" fmla="*/ 1451 h 3534"/>
                <a:gd name="T66" fmla="*/ 2864 w 3585"/>
                <a:gd name="T67" fmla="*/ 1140 h 3534"/>
                <a:gd name="T68" fmla="*/ 3444 w 3585"/>
                <a:gd name="T69" fmla="*/ 1089 h 3534"/>
                <a:gd name="T70" fmla="*/ 3584 w 3585"/>
                <a:gd name="T71" fmla="*/ 961 h 3534"/>
                <a:gd name="T72" fmla="*/ 3577 w 3585"/>
                <a:gd name="T73" fmla="*/ 955 h 3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85" h="3534">
                  <a:moveTo>
                    <a:pt x="3577" y="955"/>
                  </a:moveTo>
                  <a:lnTo>
                    <a:pt x="3577" y="955"/>
                  </a:lnTo>
                  <a:cubicBezTo>
                    <a:pt x="3380" y="764"/>
                    <a:pt x="3265" y="783"/>
                    <a:pt x="3265" y="783"/>
                  </a:cubicBezTo>
                  <a:cubicBezTo>
                    <a:pt x="3176" y="802"/>
                    <a:pt x="3062" y="917"/>
                    <a:pt x="2979" y="885"/>
                  </a:cubicBezTo>
                  <a:cubicBezTo>
                    <a:pt x="2903" y="860"/>
                    <a:pt x="2864" y="688"/>
                    <a:pt x="2712" y="764"/>
                  </a:cubicBezTo>
                  <a:cubicBezTo>
                    <a:pt x="2413" y="923"/>
                    <a:pt x="2317" y="586"/>
                    <a:pt x="2317" y="586"/>
                  </a:cubicBezTo>
                  <a:cubicBezTo>
                    <a:pt x="2184" y="185"/>
                    <a:pt x="1795" y="159"/>
                    <a:pt x="1706" y="255"/>
                  </a:cubicBezTo>
                  <a:cubicBezTo>
                    <a:pt x="1611" y="344"/>
                    <a:pt x="1490" y="300"/>
                    <a:pt x="1490" y="300"/>
                  </a:cubicBezTo>
                  <a:cubicBezTo>
                    <a:pt x="1318" y="134"/>
                    <a:pt x="1076" y="108"/>
                    <a:pt x="936" y="166"/>
                  </a:cubicBezTo>
                  <a:cubicBezTo>
                    <a:pt x="802" y="223"/>
                    <a:pt x="809" y="166"/>
                    <a:pt x="809" y="166"/>
                  </a:cubicBezTo>
                  <a:cubicBezTo>
                    <a:pt x="751" y="0"/>
                    <a:pt x="618" y="51"/>
                    <a:pt x="618" y="7"/>
                  </a:cubicBezTo>
                  <a:lnTo>
                    <a:pt x="618" y="7"/>
                  </a:lnTo>
                  <a:cubicBezTo>
                    <a:pt x="561" y="51"/>
                    <a:pt x="490" y="96"/>
                    <a:pt x="446" y="96"/>
                  </a:cubicBezTo>
                  <a:cubicBezTo>
                    <a:pt x="357" y="96"/>
                    <a:pt x="261" y="0"/>
                    <a:pt x="217" y="140"/>
                  </a:cubicBezTo>
                  <a:cubicBezTo>
                    <a:pt x="166" y="287"/>
                    <a:pt x="198" y="535"/>
                    <a:pt x="51" y="681"/>
                  </a:cubicBezTo>
                  <a:cubicBezTo>
                    <a:pt x="51" y="681"/>
                    <a:pt x="89" y="719"/>
                    <a:pt x="89" y="802"/>
                  </a:cubicBezTo>
                  <a:cubicBezTo>
                    <a:pt x="89" y="885"/>
                    <a:pt x="77" y="1120"/>
                    <a:pt x="191" y="1235"/>
                  </a:cubicBezTo>
                  <a:cubicBezTo>
                    <a:pt x="306" y="1350"/>
                    <a:pt x="0" y="1375"/>
                    <a:pt x="153" y="1636"/>
                  </a:cubicBezTo>
                  <a:cubicBezTo>
                    <a:pt x="153" y="1636"/>
                    <a:pt x="223" y="1693"/>
                    <a:pt x="153" y="1763"/>
                  </a:cubicBezTo>
                  <a:cubicBezTo>
                    <a:pt x="77" y="1840"/>
                    <a:pt x="230" y="1986"/>
                    <a:pt x="351" y="2031"/>
                  </a:cubicBezTo>
                  <a:cubicBezTo>
                    <a:pt x="471" y="2075"/>
                    <a:pt x="815" y="2323"/>
                    <a:pt x="815" y="2323"/>
                  </a:cubicBezTo>
                  <a:cubicBezTo>
                    <a:pt x="815" y="2323"/>
                    <a:pt x="713" y="2482"/>
                    <a:pt x="815" y="2482"/>
                  </a:cubicBezTo>
                  <a:cubicBezTo>
                    <a:pt x="917" y="2482"/>
                    <a:pt x="1006" y="2514"/>
                    <a:pt x="1051" y="2622"/>
                  </a:cubicBezTo>
                  <a:cubicBezTo>
                    <a:pt x="1101" y="2724"/>
                    <a:pt x="1254" y="2813"/>
                    <a:pt x="1197" y="2928"/>
                  </a:cubicBezTo>
                  <a:cubicBezTo>
                    <a:pt x="1146" y="3023"/>
                    <a:pt x="1337" y="3265"/>
                    <a:pt x="1502" y="3380"/>
                  </a:cubicBezTo>
                  <a:cubicBezTo>
                    <a:pt x="1566" y="3297"/>
                    <a:pt x="1693" y="3106"/>
                    <a:pt x="1738" y="3144"/>
                  </a:cubicBezTo>
                  <a:cubicBezTo>
                    <a:pt x="1782" y="3195"/>
                    <a:pt x="1808" y="3361"/>
                    <a:pt x="1922" y="3335"/>
                  </a:cubicBezTo>
                  <a:cubicBezTo>
                    <a:pt x="2043" y="3303"/>
                    <a:pt x="2094" y="3335"/>
                    <a:pt x="2215" y="3335"/>
                  </a:cubicBezTo>
                  <a:cubicBezTo>
                    <a:pt x="2330" y="3335"/>
                    <a:pt x="2623" y="3431"/>
                    <a:pt x="2737" y="3533"/>
                  </a:cubicBezTo>
                  <a:cubicBezTo>
                    <a:pt x="2922" y="3227"/>
                    <a:pt x="3144" y="2444"/>
                    <a:pt x="3144" y="2444"/>
                  </a:cubicBezTo>
                  <a:cubicBezTo>
                    <a:pt x="2883" y="2362"/>
                    <a:pt x="2985" y="2107"/>
                    <a:pt x="3043" y="1980"/>
                  </a:cubicBezTo>
                  <a:cubicBezTo>
                    <a:pt x="3100" y="1852"/>
                    <a:pt x="3227" y="1865"/>
                    <a:pt x="3227" y="1693"/>
                  </a:cubicBezTo>
                  <a:cubicBezTo>
                    <a:pt x="3227" y="1521"/>
                    <a:pt x="2979" y="1534"/>
                    <a:pt x="2979" y="1451"/>
                  </a:cubicBezTo>
                  <a:cubicBezTo>
                    <a:pt x="2979" y="1369"/>
                    <a:pt x="2763" y="1241"/>
                    <a:pt x="2864" y="1140"/>
                  </a:cubicBezTo>
                  <a:cubicBezTo>
                    <a:pt x="2960" y="1044"/>
                    <a:pt x="3297" y="1089"/>
                    <a:pt x="3444" y="1089"/>
                  </a:cubicBezTo>
                  <a:cubicBezTo>
                    <a:pt x="3520" y="1089"/>
                    <a:pt x="3558" y="1025"/>
                    <a:pt x="3584" y="961"/>
                  </a:cubicBezTo>
                  <a:cubicBezTo>
                    <a:pt x="3577" y="961"/>
                    <a:pt x="3577" y="961"/>
                    <a:pt x="3577" y="955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42" name="Freeform 505"/>
            <p:cNvSpPr>
              <a:spLocks noChangeArrowheads="1"/>
            </p:cNvSpPr>
            <p:nvPr/>
          </p:nvSpPr>
          <p:spPr bwMode="auto">
            <a:xfrm>
              <a:off x="16334121" y="3882002"/>
              <a:ext cx="1893101" cy="2588462"/>
            </a:xfrm>
            <a:custGeom>
              <a:avLst/>
              <a:gdLst>
                <a:gd name="T0" fmla="*/ 3380 w 3686"/>
                <a:gd name="T1" fmla="*/ 3952 h 5041"/>
                <a:gd name="T2" fmla="*/ 3380 w 3686"/>
                <a:gd name="T3" fmla="*/ 3952 h 5041"/>
                <a:gd name="T4" fmla="*/ 3234 w 3686"/>
                <a:gd name="T5" fmla="*/ 3646 h 5041"/>
                <a:gd name="T6" fmla="*/ 2998 w 3686"/>
                <a:gd name="T7" fmla="*/ 3506 h 5041"/>
                <a:gd name="T8" fmla="*/ 2998 w 3686"/>
                <a:gd name="T9" fmla="*/ 3347 h 5041"/>
                <a:gd name="T10" fmla="*/ 2534 w 3686"/>
                <a:gd name="T11" fmla="*/ 3055 h 5041"/>
                <a:gd name="T12" fmla="*/ 2336 w 3686"/>
                <a:gd name="T13" fmla="*/ 2787 h 5041"/>
                <a:gd name="T14" fmla="*/ 2336 w 3686"/>
                <a:gd name="T15" fmla="*/ 2660 h 5041"/>
                <a:gd name="T16" fmla="*/ 2374 w 3686"/>
                <a:gd name="T17" fmla="*/ 2259 h 5041"/>
                <a:gd name="T18" fmla="*/ 2272 w 3686"/>
                <a:gd name="T19" fmla="*/ 1826 h 5041"/>
                <a:gd name="T20" fmla="*/ 2234 w 3686"/>
                <a:gd name="T21" fmla="*/ 1705 h 5041"/>
                <a:gd name="T22" fmla="*/ 2400 w 3686"/>
                <a:gd name="T23" fmla="*/ 1164 h 5041"/>
                <a:gd name="T24" fmla="*/ 2629 w 3686"/>
                <a:gd name="T25" fmla="*/ 1120 h 5041"/>
                <a:gd name="T26" fmla="*/ 2801 w 3686"/>
                <a:gd name="T27" fmla="*/ 1031 h 5041"/>
                <a:gd name="T28" fmla="*/ 2203 w 3686"/>
                <a:gd name="T29" fmla="*/ 655 h 5041"/>
                <a:gd name="T30" fmla="*/ 2069 w 3686"/>
                <a:gd name="T31" fmla="*/ 63 h 5041"/>
                <a:gd name="T32" fmla="*/ 1878 w 3686"/>
                <a:gd name="T33" fmla="*/ 184 h 5041"/>
                <a:gd name="T34" fmla="*/ 1872 w 3686"/>
                <a:gd name="T35" fmla="*/ 337 h 5041"/>
                <a:gd name="T36" fmla="*/ 1280 w 3686"/>
                <a:gd name="T37" fmla="*/ 394 h 5041"/>
                <a:gd name="T38" fmla="*/ 981 w 3686"/>
                <a:gd name="T39" fmla="*/ 1062 h 5041"/>
                <a:gd name="T40" fmla="*/ 987 w 3686"/>
                <a:gd name="T41" fmla="*/ 1457 h 5041"/>
                <a:gd name="T42" fmla="*/ 541 w 3686"/>
                <a:gd name="T43" fmla="*/ 1622 h 5041"/>
                <a:gd name="T44" fmla="*/ 548 w 3686"/>
                <a:gd name="T45" fmla="*/ 1877 h 5041"/>
                <a:gd name="T46" fmla="*/ 242 w 3686"/>
                <a:gd name="T47" fmla="*/ 2615 h 5041"/>
                <a:gd name="T48" fmla="*/ 230 w 3686"/>
                <a:gd name="T49" fmla="*/ 2615 h 5041"/>
                <a:gd name="T50" fmla="*/ 401 w 3686"/>
                <a:gd name="T51" fmla="*/ 3067 h 5041"/>
                <a:gd name="T52" fmla="*/ 102 w 3686"/>
                <a:gd name="T53" fmla="*/ 3366 h 5041"/>
                <a:gd name="T54" fmla="*/ 102 w 3686"/>
                <a:gd name="T55" fmla="*/ 3538 h 5041"/>
                <a:gd name="T56" fmla="*/ 497 w 3686"/>
                <a:gd name="T57" fmla="*/ 3882 h 5041"/>
                <a:gd name="T58" fmla="*/ 955 w 3686"/>
                <a:gd name="T59" fmla="*/ 4429 h 5041"/>
                <a:gd name="T60" fmla="*/ 1381 w 3686"/>
                <a:gd name="T61" fmla="*/ 4467 h 5041"/>
                <a:gd name="T62" fmla="*/ 1668 w 3686"/>
                <a:gd name="T63" fmla="*/ 4378 h 5041"/>
                <a:gd name="T64" fmla="*/ 1961 w 3686"/>
                <a:gd name="T65" fmla="*/ 4238 h 5041"/>
                <a:gd name="T66" fmla="*/ 2349 w 3686"/>
                <a:gd name="T67" fmla="*/ 4754 h 5041"/>
                <a:gd name="T68" fmla="*/ 2451 w 3686"/>
                <a:gd name="T69" fmla="*/ 4856 h 5041"/>
                <a:gd name="T70" fmla="*/ 2693 w 3686"/>
                <a:gd name="T71" fmla="*/ 4913 h 5041"/>
                <a:gd name="T72" fmla="*/ 3036 w 3686"/>
                <a:gd name="T73" fmla="*/ 4977 h 5041"/>
                <a:gd name="T74" fmla="*/ 3043 w 3686"/>
                <a:gd name="T75" fmla="*/ 4888 h 5041"/>
                <a:gd name="T76" fmla="*/ 3405 w 3686"/>
                <a:gd name="T77" fmla="*/ 4875 h 5041"/>
                <a:gd name="T78" fmla="*/ 3456 w 3686"/>
                <a:gd name="T79" fmla="*/ 4569 h 5041"/>
                <a:gd name="T80" fmla="*/ 3666 w 3686"/>
                <a:gd name="T81" fmla="*/ 4423 h 5041"/>
                <a:gd name="T82" fmla="*/ 3685 w 3686"/>
                <a:gd name="T83" fmla="*/ 4404 h 5041"/>
                <a:gd name="T84" fmla="*/ 3380 w 3686"/>
                <a:gd name="T85" fmla="*/ 3952 h 50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86" h="5041">
                  <a:moveTo>
                    <a:pt x="3380" y="3952"/>
                  </a:moveTo>
                  <a:lnTo>
                    <a:pt x="3380" y="3952"/>
                  </a:lnTo>
                  <a:cubicBezTo>
                    <a:pt x="3437" y="3837"/>
                    <a:pt x="3284" y="3748"/>
                    <a:pt x="3234" y="3646"/>
                  </a:cubicBezTo>
                  <a:cubicBezTo>
                    <a:pt x="3189" y="3538"/>
                    <a:pt x="3100" y="3506"/>
                    <a:pt x="2998" y="3506"/>
                  </a:cubicBezTo>
                  <a:cubicBezTo>
                    <a:pt x="2896" y="3506"/>
                    <a:pt x="2998" y="3347"/>
                    <a:pt x="2998" y="3347"/>
                  </a:cubicBezTo>
                  <a:cubicBezTo>
                    <a:pt x="2998" y="3347"/>
                    <a:pt x="2654" y="3099"/>
                    <a:pt x="2534" y="3055"/>
                  </a:cubicBezTo>
                  <a:cubicBezTo>
                    <a:pt x="2413" y="3010"/>
                    <a:pt x="2260" y="2864"/>
                    <a:pt x="2336" y="2787"/>
                  </a:cubicBezTo>
                  <a:cubicBezTo>
                    <a:pt x="2406" y="2717"/>
                    <a:pt x="2336" y="2660"/>
                    <a:pt x="2336" y="2660"/>
                  </a:cubicBezTo>
                  <a:cubicBezTo>
                    <a:pt x="2183" y="2399"/>
                    <a:pt x="2489" y="2374"/>
                    <a:pt x="2374" y="2259"/>
                  </a:cubicBezTo>
                  <a:cubicBezTo>
                    <a:pt x="2260" y="2144"/>
                    <a:pt x="2272" y="1909"/>
                    <a:pt x="2272" y="1826"/>
                  </a:cubicBezTo>
                  <a:cubicBezTo>
                    <a:pt x="2272" y="1743"/>
                    <a:pt x="2234" y="1705"/>
                    <a:pt x="2234" y="1705"/>
                  </a:cubicBezTo>
                  <a:cubicBezTo>
                    <a:pt x="2381" y="1559"/>
                    <a:pt x="2349" y="1311"/>
                    <a:pt x="2400" y="1164"/>
                  </a:cubicBezTo>
                  <a:cubicBezTo>
                    <a:pt x="2444" y="1024"/>
                    <a:pt x="2540" y="1120"/>
                    <a:pt x="2629" y="1120"/>
                  </a:cubicBezTo>
                  <a:cubicBezTo>
                    <a:pt x="2673" y="1120"/>
                    <a:pt x="2744" y="1075"/>
                    <a:pt x="2801" y="1031"/>
                  </a:cubicBezTo>
                  <a:cubicBezTo>
                    <a:pt x="2782" y="980"/>
                    <a:pt x="2323" y="706"/>
                    <a:pt x="2203" y="655"/>
                  </a:cubicBezTo>
                  <a:cubicBezTo>
                    <a:pt x="2082" y="604"/>
                    <a:pt x="2133" y="127"/>
                    <a:pt x="2069" y="63"/>
                  </a:cubicBezTo>
                  <a:cubicBezTo>
                    <a:pt x="2012" y="0"/>
                    <a:pt x="1827" y="63"/>
                    <a:pt x="1878" y="184"/>
                  </a:cubicBezTo>
                  <a:cubicBezTo>
                    <a:pt x="1929" y="305"/>
                    <a:pt x="1872" y="337"/>
                    <a:pt x="1872" y="337"/>
                  </a:cubicBezTo>
                  <a:cubicBezTo>
                    <a:pt x="1522" y="407"/>
                    <a:pt x="1356" y="420"/>
                    <a:pt x="1280" y="394"/>
                  </a:cubicBezTo>
                  <a:cubicBezTo>
                    <a:pt x="1280" y="942"/>
                    <a:pt x="783" y="916"/>
                    <a:pt x="981" y="1062"/>
                  </a:cubicBezTo>
                  <a:cubicBezTo>
                    <a:pt x="1184" y="1215"/>
                    <a:pt x="1044" y="1457"/>
                    <a:pt x="987" y="1457"/>
                  </a:cubicBezTo>
                  <a:cubicBezTo>
                    <a:pt x="930" y="1457"/>
                    <a:pt x="605" y="1559"/>
                    <a:pt x="541" y="1622"/>
                  </a:cubicBezTo>
                  <a:cubicBezTo>
                    <a:pt x="471" y="1693"/>
                    <a:pt x="497" y="1832"/>
                    <a:pt x="548" y="1877"/>
                  </a:cubicBezTo>
                  <a:cubicBezTo>
                    <a:pt x="592" y="1928"/>
                    <a:pt x="414" y="2615"/>
                    <a:pt x="242" y="2615"/>
                  </a:cubicBezTo>
                  <a:cubicBezTo>
                    <a:pt x="236" y="2615"/>
                    <a:pt x="230" y="2615"/>
                    <a:pt x="230" y="2615"/>
                  </a:cubicBezTo>
                  <a:cubicBezTo>
                    <a:pt x="210" y="2876"/>
                    <a:pt x="351" y="3016"/>
                    <a:pt x="401" y="3067"/>
                  </a:cubicBezTo>
                  <a:cubicBezTo>
                    <a:pt x="465" y="3124"/>
                    <a:pt x="204" y="3265"/>
                    <a:pt x="102" y="3366"/>
                  </a:cubicBezTo>
                  <a:cubicBezTo>
                    <a:pt x="0" y="3468"/>
                    <a:pt x="102" y="3538"/>
                    <a:pt x="102" y="3538"/>
                  </a:cubicBezTo>
                  <a:cubicBezTo>
                    <a:pt x="102" y="3538"/>
                    <a:pt x="497" y="3500"/>
                    <a:pt x="497" y="3882"/>
                  </a:cubicBezTo>
                  <a:cubicBezTo>
                    <a:pt x="497" y="4264"/>
                    <a:pt x="631" y="3627"/>
                    <a:pt x="955" y="4429"/>
                  </a:cubicBezTo>
                  <a:cubicBezTo>
                    <a:pt x="955" y="4429"/>
                    <a:pt x="1343" y="4506"/>
                    <a:pt x="1381" y="4467"/>
                  </a:cubicBezTo>
                  <a:cubicBezTo>
                    <a:pt x="1420" y="4429"/>
                    <a:pt x="1572" y="4378"/>
                    <a:pt x="1668" y="4378"/>
                  </a:cubicBezTo>
                  <a:cubicBezTo>
                    <a:pt x="1763" y="4378"/>
                    <a:pt x="1693" y="4238"/>
                    <a:pt x="1961" y="4238"/>
                  </a:cubicBezTo>
                  <a:cubicBezTo>
                    <a:pt x="2228" y="4238"/>
                    <a:pt x="2470" y="4601"/>
                    <a:pt x="2349" y="4754"/>
                  </a:cubicBezTo>
                  <a:cubicBezTo>
                    <a:pt x="2349" y="4754"/>
                    <a:pt x="2336" y="4900"/>
                    <a:pt x="2451" y="4856"/>
                  </a:cubicBezTo>
                  <a:cubicBezTo>
                    <a:pt x="2565" y="4811"/>
                    <a:pt x="2565" y="4875"/>
                    <a:pt x="2693" y="4913"/>
                  </a:cubicBezTo>
                  <a:cubicBezTo>
                    <a:pt x="2807" y="4951"/>
                    <a:pt x="2852" y="5040"/>
                    <a:pt x="3036" y="4977"/>
                  </a:cubicBezTo>
                  <a:cubicBezTo>
                    <a:pt x="3030" y="4938"/>
                    <a:pt x="3024" y="4900"/>
                    <a:pt x="3043" y="4888"/>
                  </a:cubicBezTo>
                  <a:cubicBezTo>
                    <a:pt x="3094" y="4830"/>
                    <a:pt x="3355" y="4996"/>
                    <a:pt x="3405" y="4875"/>
                  </a:cubicBezTo>
                  <a:cubicBezTo>
                    <a:pt x="3456" y="4747"/>
                    <a:pt x="3393" y="4684"/>
                    <a:pt x="3456" y="4569"/>
                  </a:cubicBezTo>
                  <a:cubicBezTo>
                    <a:pt x="3520" y="4455"/>
                    <a:pt x="3609" y="4480"/>
                    <a:pt x="3666" y="4423"/>
                  </a:cubicBezTo>
                  <a:cubicBezTo>
                    <a:pt x="3673" y="4423"/>
                    <a:pt x="3679" y="4410"/>
                    <a:pt x="3685" y="4404"/>
                  </a:cubicBezTo>
                  <a:cubicBezTo>
                    <a:pt x="3520" y="4289"/>
                    <a:pt x="3329" y="4047"/>
                    <a:pt x="3380" y="3952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443" name="Freeform 506"/>
            <p:cNvSpPr>
              <a:spLocks noChangeArrowheads="1"/>
            </p:cNvSpPr>
            <p:nvPr/>
          </p:nvSpPr>
          <p:spPr bwMode="auto">
            <a:xfrm>
              <a:off x="18861276" y="4815026"/>
              <a:ext cx="855971" cy="1755081"/>
            </a:xfrm>
            <a:custGeom>
              <a:avLst/>
              <a:gdLst>
                <a:gd name="T0" fmla="*/ 1648 w 1669"/>
                <a:gd name="T1" fmla="*/ 356 h 3418"/>
                <a:gd name="T2" fmla="*/ 1648 w 1669"/>
                <a:gd name="T3" fmla="*/ 356 h 3418"/>
                <a:gd name="T4" fmla="*/ 847 w 1669"/>
                <a:gd name="T5" fmla="*/ 165 h 3418"/>
                <a:gd name="T6" fmla="*/ 707 w 1669"/>
                <a:gd name="T7" fmla="*/ 293 h 3418"/>
                <a:gd name="T8" fmla="*/ 127 w 1669"/>
                <a:gd name="T9" fmla="*/ 344 h 3418"/>
                <a:gd name="T10" fmla="*/ 242 w 1669"/>
                <a:gd name="T11" fmla="*/ 655 h 3418"/>
                <a:gd name="T12" fmla="*/ 490 w 1669"/>
                <a:gd name="T13" fmla="*/ 897 h 3418"/>
                <a:gd name="T14" fmla="*/ 306 w 1669"/>
                <a:gd name="T15" fmla="*/ 1184 h 3418"/>
                <a:gd name="T16" fmla="*/ 407 w 1669"/>
                <a:gd name="T17" fmla="*/ 1648 h 3418"/>
                <a:gd name="T18" fmla="*/ 0 w 1669"/>
                <a:gd name="T19" fmla="*/ 2737 h 3418"/>
                <a:gd name="T20" fmla="*/ 13 w 1669"/>
                <a:gd name="T21" fmla="*/ 2743 h 3418"/>
                <a:gd name="T22" fmla="*/ 427 w 1669"/>
                <a:gd name="T23" fmla="*/ 3354 h 3418"/>
                <a:gd name="T24" fmla="*/ 732 w 1669"/>
                <a:gd name="T25" fmla="*/ 3392 h 3418"/>
                <a:gd name="T26" fmla="*/ 936 w 1669"/>
                <a:gd name="T27" fmla="*/ 3112 h 3418"/>
                <a:gd name="T28" fmla="*/ 853 w 1669"/>
                <a:gd name="T29" fmla="*/ 2908 h 3418"/>
                <a:gd name="T30" fmla="*/ 891 w 1669"/>
                <a:gd name="T31" fmla="*/ 2469 h 3418"/>
                <a:gd name="T32" fmla="*/ 872 w 1669"/>
                <a:gd name="T33" fmla="*/ 2106 h 3418"/>
                <a:gd name="T34" fmla="*/ 1031 w 1669"/>
                <a:gd name="T35" fmla="*/ 1788 h 3418"/>
                <a:gd name="T36" fmla="*/ 1165 w 1669"/>
                <a:gd name="T37" fmla="*/ 1177 h 3418"/>
                <a:gd name="T38" fmla="*/ 1292 w 1669"/>
                <a:gd name="T39" fmla="*/ 910 h 3418"/>
                <a:gd name="T40" fmla="*/ 1362 w 1669"/>
                <a:gd name="T41" fmla="*/ 789 h 3418"/>
                <a:gd name="T42" fmla="*/ 1547 w 1669"/>
                <a:gd name="T43" fmla="*/ 554 h 3418"/>
                <a:gd name="T44" fmla="*/ 1648 w 1669"/>
                <a:gd name="T45" fmla="*/ 356 h 3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69" h="3418">
                  <a:moveTo>
                    <a:pt x="1648" y="356"/>
                  </a:moveTo>
                  <a:lnTo>
                    <a:pt x="1648" y="356"/>
                  </a:lnTo>
                  <a:cubicBezTo>
                    <a:pt x="1057" y="0"/>
                    <a:pt x="1038" y="242"/>
                    <a:pt x="847" y="165"/>
                  </a:cubicBezTo>
                  <a:cubicBezTo>
                    <a:pt x="821" y="229"/>
                    <a:pt x="783" y="293"/>
                    <a:pt x="707" y="293"/>
                  </a:cubicBezTo>
                  <a:cubicBezTo>
                    <a:pt x="560" y="293"/>
                    <a:pt x="223" y="248"/>
                    <a:pt x="127" y="344"/>
                  </a:cubicBezTo>
                  <a:cubicBezTo>
                    <a:pt x="26" y="445"/>
                    <a:pt x="242" y="573"/>
                    <a:pt x="242" y="655"/>
                  </a:cubicBezTo>
                  <a:cubicBezTo>
                    <a:pt x="242" y="738"/>
                    <a:pt x="490" y="725"/>
                    <a:pt x="490" y="897"/>
                  </a:cubicBezTo>
                  <a:cubicBezTo>
                    <a:pt x="490" y="1069"/>
                    <a:pt x="363" y="1056"/>
                    <a:pt x="306" y="1184"/>
                  </a:cubicBezTo>
                  <a:cubicBezTo>
                    <a:pt x="248" y="1311"/>
                    <a:pt x="146" y="1566"/>
                    <a:pt x="407" y="1648"/>
                  </a:cubicBezTo>
                  <a:cubicBezTo>
                    <a:pt x="407" y="1648"/>
                    <a:pt x="185" y="2431"/>
                    <a:pt x="0" y="2737"/>
                  </a:cubicBezTo>
                  <a:cubicBezTo>
                    <a:pt x="7" y="2737"/>
                    <a:pt x="7" y="2743"/>
                    <a:pt x="13" y="2743"/>
                  </a:cubicBezTo>
                  <a:cubicBezTo>
                    <a:pt x="102" y="2838"/>
                    <a:pt x="388" y="3112"/>
                    <a:pt x="427" y="3354"/>
                  </a:cubicBezTo>
                  <a:cubicBezTo>
                    <a:pt x="541" y="3379"/>
                    <a:pt x="662" y="3417"/>
                    <a:pt x="732" y="3392"/>
                  </a:cubicBezTo>
                  <a:cubicBezTo>
                    <a:pt x="853" y="3354"/>
                    <a:pt x="878" y="3163"/>
                    <a:pt x="936" y="3112"/>
                  </a:cubicBezTo>
                  <a:cubicBezTo>
                    <a:pt x="987" y="3061"/>
                    <a:pt x="853" y="2908"/>
                    <a:pt x="853" y="2908"/>
                  </a:cubicBezTo>
                  <a:cubicBezTo>
                    <a:pt x="796" y="2749"/>
                    <a:pt x="885" y="2603"/>
                    <a:pt x="891" y="2469"/>
                  </a:cubicBezTo>
                  <a:cubicBezTo>
                    <a:pt x="904" y="2259"/>
                    <a:pt x="872" y="2106"/>
                    <a:pt x="872" y="2106"/>
                  </a:cubicBezTo>
                  <a:cubicBezTo>
                    <a:pt x="1018" y="1960"/>
                    <a:pt x="1031" y="1788"/>
                    <a:pt x="1031" y="1788"/>
                  </a:cubicBezTo>
                  <a:cubicBezTo>
                    <a:pt x="1031" y="1445"/>
                    <a:pt x="1222" y="1330"/>
                    <a:pt x="1165" y="1177"/>
                  </a:cubicBezTo>
                  <a:cubicBezTo>
                    <a:pt x="1108" y="1018"/>
                    <a:pt x="1292" y="974"/>
                    <a:pt x="1292" y="910"/>
                  </a:cubicBezTo>
                  <a:cubicBezTo>
                    <a:pt x="1292" y="840"/>
                    <a:pt x="1362" y="789"/>
                    <a:pt x="1362" y="789"/>
                  </a:cubicBezTo>
                  <a:cubicBezTo>
                    <a:pt x="1642" y="681"/>
                    <a:pt x="1547" y="554"/>
                    <a:pt x="1547" y="554"/>
                  </a:cubicBezTo>
                  <a:cubicBezTo>
                    <a:pt x="1668" y="433"/>
                    <a:pt x="1648" y="356"/>
                    <a:pt x="1648" y="356"/>
                  </a:cubicBezTo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</p:grpSp>
      <p:sp>
        <p:nvSpPr>
          <p:cNvPr id="48" name="Rectangle 47"/>
          <p:cNvSpPr/>
          <p:nvPr/>
        </p:nvSpPr>
        <p:spPr>
          <a:xfrm>
            <a:off x="11850310" y="4938324"/>
            <a:ext cx="10744200" cy="71933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9" name="Shape 2540"/>
          <p:cNvSpPr/>
          <p:nvPr/>
        </p:nvSpPr>
        <p:spPr>
          <a:xfrm>
            <a:off x="12641550" y="5638239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0" name="Shape 2540"/>
          <p:cNvSpPr/>
          <p:nvPr/>
        </p:nvSpPr>
        <p:spPr>
          <a:xfrm>
            <a:off x="12641550" y="7273250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1" name="Shape 2540"/>
          <p:cNvSpPr/>
          <p:nvPr/>
        </p:nvSpPr>
        <p:spPr>
          <a:xfrm>
            <a:off x="12641550" y="8908261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2" name="Shape 2540"/>
          <p:cNvSpPr/>
          <p:nvPr/>
        </p:nvSpPr>
        <p:spPr>
          <a:xfrm>
            <a:off x="12641550" y="10543272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3554784" y="5421007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3554784" y="7072023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13554784" y="8723039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3554784" y="10377766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2E87848-CD77-4C99-B78F-EFA150D484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France Ma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386230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3585303" y="3296607"/>
            <a:ext cx="9183257" cy="9209545"/>
            <a:chOff x="11939383" y="5979196"/>
            <a:chExt cx="1198197" cy="1201627"/>
          </a:xfrm>
        </p:grpSpPr>
        <p:sp>
          <p:nvSpPr>
            <p:cNvPr id="98" name="Freeform 719"/>
            <p:cNvSpPr>
              <a:spLocks/>
            </p:cNvSpPr>
            <p:nvPr/>
          </p:nvSpPr>
          <p:spPr bwMode="auto">
            <a:xfrm>
              <a:off x="11939383" y="5979196"/>
              <a:ext cx="1170114" cy="980031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00" name="Freeform 717"/>
            <p:cNvSpPr>
              <a:spLocks/>
            </p:cNvSpPr>
            <p:nvPr/>
          </p:nvSpPr>
          <p:spPr bwMode="auto">
            <a:xfrm>
              <a:off x="12223330" y="6144616"/>
              <a:ext cx="574135" cy="989396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01" name="Freeform 718"/>
            <p:cNvSpPr>
              <a:spLocks/>
            </p:cNvSpPr>
            <p:nvPr/>
          </p:nvSpPr>
          <p:spPr bwMode="auto">
            <a:xfrm>
              <a:off x="12644572" y="6069710"/>
              <a:ext cx="493008" cy="770916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102" name="Freeform 654"/>
            <p:cNvSpPr>
              <a:spLocks/>
            </p:cNvSpPr>
            <p:nvPr/>
          </p:nvSpPr>
          <p:spPr bwMode="auto">
            <a:xfrm>
              <a:off x="12086035" y="6977951"/>
              <a:ext cx="137293" cy="202872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476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dirty="0"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  <p:sp>
        <p:nvSpPr>
          <p:cNvPr id="15" name="Shape 2540"/>
          <p:cNvSpPr/>
          <p:nvPr/>
        </p:nvSpPr>
        <p:spPr>
          <a:xfrm>
            <a:off x="1054385" y="5942740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6" name="Shape 2540"/>
          <p:cNvSpPr/>
          <p:nvPr/>
        </p:nvSpPr>
        <p:spPr>
          <a:xfrm>
            <a:off x="1054385" y="7577751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967619" y="5709503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967619" y="7360519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19" name="Shape 2540"/>
          <p:cNvSpPr/>
          <p:nvPr/>
        </p:nvSpPr>
        <p:spPr>
          <a:xfrm>
            <a:off x="1054385" y="9228767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967619" y="9011535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779A57E-3F6C-4ADF-A821-BB476C07B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Scandinavia Ma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809796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2540"/>
          <p:cNvSpPr/>
          <p:nvPr/>
        </p:nvSpPr>
        <p:spPr>
          <a:xfrm>
            <a:off x="1054385" y="5942740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  <a:effectLst/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6" name="Shape 2540"/>
          <p:cNvSpPr/>
          <p:nvPr/>
        </p:nvSpPr>
        <p:spPr>
          <a:xfrm>
            <a:off x="1054385" y="7577751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  <a:effectLst/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967619" y="5709503"/>
            <a:ext cx="8347075" cy="131818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967619" y="7360519"/>
            <a:ext cx="8347075" cy="131818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19" name="Shape 2540"/>
          <p:cNvSpPr/>
          <p:nvPr/>
        </p:nvSpPr>
        <p:spPr>
          <a:xfrm>
            <a:off x="1054385" y="9228767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  <a:effectLst/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967619" y="9011535"/>
            <a:ext cx="8347075" cy="131818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3398317" y="2824892"/>
            <a:ext cx="8962919" cy="9688931"/>
            <a:chOff x="13398317" y="2824892"/>
            <a:chExt cx="8962919" cy="9688931"/>
          </a:xfrm>
        </p:grpSpPr>
        <p:sp>
          <p:nvSpPr>
            <p:cNvPr id="21" name="Freeform 3"/>
            <p:cNvSpPr>
              <a:spLocks/>
            </p:cNvSpPr>
            <p:nvPr/>
          </p:nvSpPr>
          <p:spPr bwMode="auto">
            <a:xfrm>
              <a:off x="19817891" y="2824892"/>
              <a:ext cx="2543345" cy="1907507"/>
            </a:xfrm>
            <a:custGeom>
              <a:avLst/>
              <a:gdLst>
                <a:gd name="T0" fmla="*/ 510 w 3781"/>
                <a:gd name="T1" fmla="*/ 2175 h 2835"/>
                <a:gd name="T2" fmla="*/ 640 w 3781"/>
                <a:gd name="T3" fmla="*/ 1845 h 2835"/>
                <a:gd name="T4" fmla="*/ 370 w 3781"/>
                <a:gd name="T5" fmla="*/ 1470 h 2835"/>
                <a:gd name="T6" fmla="*/ 0 w 3781"/>
                <a:gd name="T7" fmla="*/ 1220 h 2835"/>
                <a:gd name="T8" fmla="*/ 130 w 3781"/>
                <a:gd name="T9" fmla="*/ 1235 h 2835"/>
                <a:gd name="T10" fmla="*/ 345 w 3781"/>
                <a:gd name="T11" fmla="*/ 1190 h 2835"/>
                <a:gd name="T12" fmla="*/ 645 w 3781"/>
                <a:gd name="T13" fmla="*/ 1325 h 2835"/>
                <a:gd name="T14" fmla="*/ 915 w 3781"/>
                <a:gd name="T15" fmla="*/ 915 h 2835"/>
                <a:gd name="T16" fmla="*/ 1000 w 3781"/>
                <a:gd name="T17" fmla="*/ 600 h 2835"/>
                <a:gd name="T18" fmla="*/ 970 w 3781"/>
                <a:gd name="T19" fmla="*/ 260 h 2835"/>
                <a:gd name="T20" fmla="*/ 1060 w 3781"/>
                <a:gd name="T21" fmla="*/ 320 h 2835"/>
                <a:gd name="T22" fmla="*/ 1525 w 3781"/>
                <a:gd name="T23" fmla="*/ 365 h 2835"/>
                <a:gd name="T24" fmla="*/ 1350 w 3781"/>
                <a:gd name="T25" fmla="*/ 675 h 2835"/>
                <a:gd name="T26" fmla="*/ 1365 w 3781"/>
                <a:gd name="T27" fmla="*/ 1215 h 2835"/>
                <a:gd name="T28" fmla="*/ 1500 w 3781"/>
                <a:gd name="T29" fmla="*/ 860 h 2835"/>
                <a:gd name="T30" fmla="*/ 1710 w 3781"/>
                <a:gd name="T31" fmla="*/ 365 h 2835"/>
                <a:gd name="T32" fmla="*/ 1855 w 3781"/>
                <a:gd name="T33" fmla="*/ 425 h 2835"/>
                <a:gd name="T34" fmla="*/ 1960 w 3781"/>
                <a:gd name="T35" fmla="*/ 710 h 2835"/>
                <a:gd name="T36" fmla="*/ 1960 w 3781"/>
                <a:gd name="T37" fmla="*/ 245 h 2835"/>
                <a:gd name="T38" fmla="*/ 2080 w 3781"/>
                <a:gd name="T39" fmla="*/ 0 h 2835"/>
                <a:gd name="T40" fmla="*/ 2335 w 3781"/>
                <a:gd name="T41" fmla="*/ 345 h 2835"/>
                <a:gd name="T42" fmla="*/ 2205 w 3781"/>
                <a:gd name="T43" fmla="*/ 510 h 2835"/>
                <a:gd name="T44" fmla="*/ 2310 w 3781"/>
                <a:gd name="T45" fmla="*/ 645 h 2835"/>
                <a:gd name="T46" fmla="*/ 2535 w 3781"/>
                <a:gd name="T47" fmla="*/ 495 h 2835"/>
                <a:gd name="T48" fmla="*/ 2815 w 3781"/>
                <a:gd name="T49" fmla="*/ 350 h 2835"/>
                <a:gd name="T50" fmla="*/ 3025 w 3781"/>
                <a:gd name="T51" fmla="*/ 420 h 2835"/>
                <a:gd name="T52" fmla="*/ 3415 w 3781"/>
                <a:gd name="T53" fmla="*/ 425 h 2835"/>
                <a:gd name="T54" fmla="*/ 3375 w 3781"/>
                <a:gd name="T55" fmla="*/ 720 h 2835"/>
                <a:gd name="T56" fmla="*/ 2775 w 3781"/>
                <a:gd name="T57" fmla="*/ 1025 h 2835"/>
                <a:gd name="T58" fmla="*/ 3160 w 3781"/>
                <a:gd name="T59" fmla="*/ 1245 h 2835"/>
                <a:gd name="T60" fmla="*/ 3420 w 3781"/>
                <a:gd name="T61" fmla="*/ 1115 h 2835"/>
                <a:gd name="T62" fmla="*/ 3781 w 3781"/>
                <a:gd name="T63" fmla="*/ 1116 h 2835"/>
                <a:gd name="T64" fmla="*/ 3399 w 3781"/>
                <a:gd name="T65" fmla="*/ 1666 h 2835"/>
                <a:gd name="T66" fmla="*/ 3204 w 3781"/>
                <a:gd name="T67" fmla="*/ 2121 h 2835"/>
                <a:gd name="T68" fmla="*/ 2995 w 3781"/>
                <a:gd name="T69" fmla="*/ 1896 h 2835"/>
                <a:gd name="T70" fmla="*/ 2694 w 3781"/>
                <a:gd name="T71" fmla="*/ 1315 h 2835"/>
                <a:gd name="T72" fmla="*/ 1960 w 3781"/>
                <a:gd name="T73" fmla="*/ 1415 h 2835"/>
                <a:gd name="T74" fmla="*/ 1855 w 3781"/>
                <a:gd name="T75" fmla="*/ 2295 h 2835"/>
                <a:gd name="T76" fmla="*/ 1735 w 3781"/>
                <a:gd name="T77" fmla="*/ 2705 h 2835"/>
                <a:gd name="T78" fmla="*/ 1555 w 3781"/>
                <a:gd name="T79" fmla="*/ 2750 h 2835"/>
                <a:gd name="T80" fmla="*/ 1135 w 3781"/>
                <a:gd name="T81" fmla="*/ 2750 h 2835"/>
                <a:gd name="T82" fmla="*/ 745 w 3781"/>
                <a:gd name="T83" fmla="*/ 2720 h 2835"/>
                <a:gd name="T84" fmla="*/ 570 w 3781"/>
                <a:gd name="T85" fmla="*/ 2445 h 283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781"/>
                <a:gd name="T130" fmla="*/ 0 h 2835"/>
                <a:gd name="T131" fmla="*/ 3781 w 3781"/>
                <a:gd name="T132" fmla="*/ 2835 h 283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781" h="2835">
                  <a:moveTo>
                    <a:pt x="570" y="2445"/>
                  </a:moveTo>
                  <a:lnTo>
                    <a:pt x="615" y="2360"/>
                  </a:lnTo>
                  <a:lnTo>
                    <a:pt x="510" y="2175"/>
                  </a:lnTo>
                  <a:lnTo>
                    <a:pt x="490" y="2045"/>
                  </a:lnTo>
                  <a:lnTo>
                    <a:pt x="655" y="1940"/>
                  </a:lnTo>
                  <a:lnTo>
                    <a:pt x="640" y="1845"/>
                  </a:lnTo>
                  <a:lnTo>
                    <a:pt x="535" y="1745"/>
                  </a:lnTo>
                  <a:lnTo>
                    <a:pt x="465" y="1575"/>
                  </a:lnTo>
                  <a:lnTo>
                    <a:pt x="370" y="1470"/>
                  </a:lnTo>
                  <a:lnTo>
                    <a:pt x="330" y="1365"/>
                  </a:lnTo>
                  <a:lnTo>
                    <a:pt x="190" y="1325"/>
                  </a:lnTo>
                  <a:lnTo>
                    <a:pt x="0" y="1220"/>
                  </a:lnTo>
                  <a:lnTo>
                    <a:pt x="105" y="1115"/>
                  </a:lnTo>
                  <a:lnTo>
                    <a:pt x="150" y="1130"/>
                  </a:lnTo>
                  <a:lnTo>
                    <a:pt x="130" y="1235"/>
                  </a:lnTo>
                  <a:lnTo>
                    <a:pt x="210" y="1230"/>
                  </a:lnTo>
                  <a:lnTo>
                    <a:pt x="280" y="1185"/>
                  </a:lnTo>
                  <a:lnTo>
                    <a:pt x="345" y="1190"/>
                  </a:lnTo>
                  <a:lnTo>
                    <a:pt x="355" y="1310"/>
                  </a:lnTo>
                  <a:lnTo>
                    <a:pt x="495" y="1310"/>
                  </a:lnTo>
                  <a:lnTo>
                    <a:pt x="645" y="1325"/>
                  </a:lnTo>
                  <a:lnTo>
                    <a:pt x="730" y="1175"/>
                  </a:lnTo>
                  <a:lnTo>
                    <a:pt x="850" y="1085"/>
                  </a:lnTo>
                  <a:lnTo>
                    <a:pt x="915" y="915"/>
                  </a:lnTo>
                  <a:lnTo>
                    <a:pt x="1030" y="855"/>
                  </a:lnTo>
                  <a:lnTo>
                    <a:pt x="1015" y="720"/>
                  </a:lnTo>
                  <a:lnTo>
                    <a:pt x="1000" y="600"/>
                  </a:lnTo>
                  <a:lnTo>
                    <a:pt x="970" y="540"/>
                  </a:lnTo>
                  <a:lnTo>
                    <a:pt x="1035" y="375"/>
                  </a:lnTo>
                  <a:lnTo>
                    <a:pt x="970" y="260"/>
                  </a:lnTo>
                  <a:lnTo>
                    <a:pt x="1030" y="195"/>
                  </a:lnTo>
                  <a:lnTo>
                    <a:pt x="1125" y="285"/>
                  </a:lnTo>
                  <a:lnTo>
                    <a:pt x="1060" y="320"/>
                  </a:lnTo>
                  <a:lnTo>
                    <a:pt x="1210" y="425"/>
                  </a:lnTo>
                  <a:lnTo>
                    <a:pt x="1360" y="350"/>
                  </a:lnTo>
                  <a:lnTo>
                    <a:pt x="1525" y="365"/>
                  </a:lnTo>
                  <a:lnTo>
                    <a:pt x="1540" y="525"/>
                  </a:lnTo>
                  <a:lnTo>
                    <a:pt x="1425" y="575"/>
                  </a:lnTo>
                  <a:lnTo>
                    <a:pt x="1350" y="675"/>
                  </a:lnTo>
                  <a:lnTo>
                    <a:pt x="1350" y="930"/>
                  </a:lnTo>
                  <a:lnTo>
                    <a:pt x="1330" y="1110"/>
                  </a:lnTo>
                  <a:lnTo>
                    <a:pt x="1365" y="1215"/>
                  </a:lnTo>
                  <a:lnTo>
                    <a:pt x="1455" y="1170"/>
                  </a:lnTo>
                  <a:lnTo>
                    <a:pt x="1485" y="995"/>
                  </a:lnTo>
                  <a:lnTo>
                    <a:pt x="1500" y="860"/>
                  </a:lnTo>
                  <a:lnTo>
                    <a:pt x="1605" y="665"/>
                  </a:lnTo>
                  <a:lnTo>
                    <a:pt x="1630" y="500"/>
                  </a:lnTo>
                  <a:lnTo>
                    <a:pt x="1710" y="365"/>
                  </a:lnTo>
                  <a:lnTo>
                    <a:pt x="1680" y="305"/>
                  </a:lnTo>
                  <a:lnTo>
                    <a:pt x="1760" y="200"/>
                  </a:lnTo>
                  <a:lnTo>
                    <a:pt x="1855" y="425"/>
                  </a:lnTo>
                  <a:lnTo>
                    <a:pt x="1800" y="575"/>
                  </a:lnTo>
                  <a:lnTo>
                    <a:pt x="1875" y="855"/>
                  </a:lnTo>
                  <a:lnTo>
                    <a:pt x="1960" y="710"/>
                  </a:lnTo>
                  <a:lnTo>
                    <a:pt x="1935" y="590"/>
                  </a:lnTo>
                  <a:lnTo>
                    <a:pt x="2040" y="410"/>
                  </a:lnTo>
                  <a:lnTo>
                    <a:pt x="1960" y="245"/>
                  </a:lnTo>
                  <a:lnTo>
                    <a:pt x="1960" y="135"/>
                  </a:lnTo>
                  <a:lnTo>
                    <a:pt x="2035" y="90"/>
                  </a:lnTo>
                  <a:lnTo>
                    <a:pt x="2080" y="0"/>
                  </a:lnTo>
                  <a:lnTo>
                    <a:pt x="2340" y="0"/>
                  </a:lnTo>
                  <a:lnTo>
                    <a:pt x="2470" y="180"/>
                  </a:lnTo>
                  <a:lnTo>
                    <a:pt x="2335" y="345"/>
                  </a:lnTo>
                  <a:lnTo>
                    <a:pt x="2245" y="350"/>
                  </a:lnTo>
                  <a:lnTo>
                    <a:pt x="2260" y="420"/>
                  </a:lnTo>
                  <a:lnTo>
                    <a:pt x="2205" y="510"/>
                  </a:lnTo>
                  <a:lnTo>
                    <a:pt x="2275" y="540"/>
                  </a:lnTo>
                  <a:lnTo>
                    <a:pt x="2425" y="450"/>
                  </a:lnTo>
                  <a:lnTo>
                    <a:pt x="2310" y="645"/>
                  </a:lnTo>
                  <a:lnTo>
                    <a:pt x="2430" y="675"/>
                  </a:lnTo>
                  <a:lnTo>
                    <a:pt x="2565" y="620"/>
                  </a:lnTo>
                  <a:lnTo>
                    <a:pt x="2535" y="495"/>
                  </a:lnTo>
                  <a:lnTo>
                    <a:pt x="2505" y="285"/>
                  </a:lnTo>
                  <a:lnTo>
                    <a:pt x="2680" y="180"/>
                  </a:lnTo>
                  <a:lnTo>
                    <a:pt x="2815" y="350"/>
                  </a:lnTo>
                  <a:lnTo>
                    <a:pt x="2965" y="290"/>
                  </a:lnTo>
                  <a:lnTo>
                    <a:pt x="3045" y="305"/>
                  </a:lnTo>
                  <a:lnTo>
                    <a:pt x="3025" y="420"/>
                  </a:lnTo>
                  <a:lnTo>
                    <a:pt x="3265" y="330"/>
                  </a:lnTo>
                  <a:lnTo>
                    <a:pt x="3325" y="390"/>
                  </a:lnTo>
                  <a:lnTo>
                    <a:pt x="3415" y="425"/>
                  </a:lnTo>
                  <a:lnTo>
                    <a:pt x="3480" y="525"/>
                  </a:lnTo>
                  <a:lnTo>
                    <a:pt x="3525" y="650"/>
                  </a:lnTo>
                  <a:lnTo>
                    <a:pt x="3375" y="720"/>
                  </a:lnTo>
                  <a:lnTo>
                    <a:pt x="3150" y="945"/>
                  </a:lnTo>
                  <a:lnTo>
                    <a:pt x="2770" y="960"/>
                  </a:lnTo>
                  <a:lnTo>
                    <a:pt x="2775" y="1025"/>
                  </a:lnTo>
                  <a:lnTo>
                    <a:pt x="3070" y="1050"/>
                  </a:lnTo>
                  <a:lnTo>
                    <a:pt x="3145" y="1115"/>
                  </a:lnTo>
                  <a:lnTo>
                    <a:pt x="3160" y="1245"/>
                  </a:lnTo>
                  <a:lnTo>
                    <a:pt x="3295" y="1250"/>
                  </a:lnTo>
                  <a:lnTo>
                    <a:pt x="3375" y="1220"/>
                  </a:lnTo>
                  <a:lnTo>
                    <a:pt x="3420" y="1115"/>
                  </a:lnTo>
                  <a:lnTo>
                    <a:pt x="3550" y="1035"/>
                  </a:lnTo>
                  <a:lnTo>
                    <a:pt x="3690" y="1005"/>
                  </a:lnTo>
                  <a:lnTo>
                    <a:pt x="3781" y="1116"/>
                  </a:lnTo>
                  <a:lnTo>
                    <a:pt x="3628" y="1426"/>
                  </a:lnTo>
                  <a:lnTo>
                    <a:pt x="3460" y="1441"/>
                  </a:lnTo>
                  <a:lnTo>
                    <a:pt x="3399" y="1666"/>
                  </a:lnTo>
                  <a:lnTo>
                    <a:pt x="3208" y="1816"/>
                  </a:lnTo>
                  <a:lnTo>
                    <a:pt x="3195" y="1971"/>
                  </a:lnTo>
                  <a:lnTo>
                    <a:pt x="3204" y="2121"/>
                  </a:lnTo>
                  <a:lnTo>
                    <a:pt x="3045" y="2130"/>
                  </a:lnTo>
                  <a:lnTo>
                    <a:pt x="3016" y="2068"/>
                  </a:lnTo>
                  <a:lnTo>
                    <a:pt x="2995" y="1896"/>
                  </a:lnTo>
                  <a:lnTo>
                    <a:pt x="3055" y="1685"/>
                  </a:lnTo>
                  <a:lnTo>
                    <a:pt x="3013" y="1425"/>
                  </a:lnTo>
                  <a:lnTo>
                    <a:pt x="2694" y="1315"/>
                  </a:lnTo>
                  <a:lnTo>
                    <a:pt x="2370" y="1155"/>
                  </a:lnTo>
                  <a:lnTo>
                    <a:pt x="2215" y="1335"/>
                  </a:lnTo>
                  <a:lnTo>
                    <a:pt x="1960" y="1415"/>
                  </a:lnTo>
                  <a:lnTo>
                    <a:pt x="1905" y="1595"/>
                  </a:lnTo>
                  <a:lnTo>
                    <a:pt x="1836" y="2074"/>
                  </a:lnTo>
                  <a:lnTo>
                    <a:pt x="1855" y="2295"/>
                  </a:lnTo>
                  <a:lnTo>
                    <a:pt x="1990" y="2430"/>
                  </a:lnTo>
                  <a:lnTo>
                    <a:pt x="1825" y="2535"/>
                  </a:lnTo>
                  <a:lnTo>
                    <a:pt x="1735" y="2705"/>
                  </a:lnTo>
                  <a:lnTo>
                    <a:pt x="1720" y="2820"/>
                  </a:lnTo>
                  <a:lnTo>
                    <a:pt x="1630" y="2835"/>
                  </a:lnTo>
                  <a:lnTo>
                    <a:pt x="1555" y="2750"/>
                  </a:lnTo>
                  <a:lnTo>
                    <a:pt x="1455" y="2760"/>
                  </a:lnTo>
                  <a:lnTo>
                    <a:pt x="1270" y="2610"/>
                  </a:lnTo>
                  <a:lnTo>
                    <a:pt x="1135" y="2750"/>
                  </a:lnTo>
                  <a:lnTo>
                    <a:pt x="1015" y="2760"/>
                  </a:lnTo>
                  <a:lnTo>
                    <a:pt x="870" y="2835"/>
                  </a:lnTo>
                  <a:lnTo>
                    <a:pt x="745" y="2720"/>
                  </a:lnTo>
                  <a:lnTo>
                    <a:pt x="640" y="2750"/>
                  </a:lnTo>
                  <a:lnTo>
                    <a:pt x="570" y="2645"/>
                  </a:lnTo>
                  <a:lnTo>
                    <a:pt x="570" y="244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22" name="Freeform 4"/>
            <p:cNvSpPr>
              <a:spLocks/>
            </p:cNvSpPr>
            <p:nvPr/>
          </p:nvSpPr>
          <p:spPr bwMode="auto">
            <a:xfrm>
              <a:off x="18623595" y="3645760"/>
              <a:ext cx="1635007" cy="1423061"/>
            </a:xfrm>
            <a:custGeom>
              <a:avLst/>
              <a:gdLst>
                <a:gd name="T0" fmla="*/ 240 w 2431"/>
                <a:gd name="T1" fmla="*/ 1901 h 2115"/>
                <a:gd name="T2" fmla="*/ 615 w 2431"/>
                <a:gd name="T3" fmla="*/ 1876 h 2115"/>
                <a:gd name="T4" fmla="*/ 1390 w 2431"/>
                <a:gd name="T5" fmla="*/ 2115 h 2115"/>
                <a:gd name="T6" fmla="*/ 1521 w 2431"/>
                <a:gd name="T7" fmla="*/ 1808 h 2115"/>
                <a:gd name="T8" fmla="*/ 1572 w 2431"/>
                <a:gd name="T9" fmla="*/ 1487 h 2115"/>
                <a:gd name="T10" fmla="*/ 1660 w 2431"/>
                <a:gd name="T11" fmla="*/ 1238 h 2115"/>
                <a:gd name="T12" fmla="*/ 1920 w 2431"/>
                <a:gd name="T13" fmla="*/ 1166 h 2115"/>
                <a:gd name="T14" fmla="*/ 1909 w 2431"/>
                <a:gd name="T15" fmla="*/ 1076 h 2115"/>
                <a:gd name="T16" fmla="*/ 1942 w 2431"/>
                <a:gd name="T17" fmla="*/ 915 h 2115"/>
                <a:gd name="T18" fmla="*/ 2346 w 2431"/>
                <a:gd name="T19" fmla="*/ 1226 h 2115"/>
                <a:gd name="T20" fmla="*/ 2284 w 2431"/>
                <a:gd name="T21" fmla="*/ 954 h 2115"/>
                <a:gd name="T22" fmla="*/ 2431 w 2431"/>
                <a:gd name="T23" fmla="*/ 721 h 2115"/>
                <a:gd name="T24" fmla="*/ 2313 w 2431"/>
                <a:gd name="T25" fmla="*/ 528 h 2115"/>
                <a:gd name="T26" fmla="*/ 2142 w 2431"/>
                <a:gd name="T27" fmla="*/ 246 h 2115"/>
                <a:gd name="T28" fmla="*/ 1965 w 2431"/>
                <a:gd name="T29" fmla="*/ 105 h 2115"/>
                <a:gd name="T30" fmla="*/ 1786 w 2431"/>
                <a:gd name="T31" fmla="*/ 76 h 2115"/>
                <a:gd name="T32" fmla="*/ 2086 w 2431"/>
                <a:gd name="T33" fmla="*/ 226 h 2115"/>
                <a:gd name="T34" fmla="*/ 2061 w 2431"/>
                <a:gd name="T35" fmla="*/ 421 h 2115"/>
                <a:gd name="T36" fmla="*/ 1846 w 2431"/>
                <a:gd name="T37" fmla="*/ 286 h 2115"/>
                <a:gd name="T38" fmla="*/ 1641 w 2431"/>
                <a:gd name="T39" fmla="*/ 431 h 2115"/>
                <a:gd name="T40" fmla="*/ 1506 w 2431"/>
                <a:gd name="T41" fmla="*/ 586 h 2115"/>
                <a:gd name="T42" fmla="*/ 1681 w 2431"/>
                <a:gd name="T43" fmla="*/ 751 h 2115"/>
                <a:gd name="T44" fmla="*/ 1461 w 2431"/>
                <a:gd name="T45" fmla="*/ 496 h 2115"/>
                <a:gd name="T46" fmla="*/ 1276 w 2431"/>
                <a:gd name="T47" fmla="*/ 446 h 2115"/>
                <a:gd name="T48" fmla="*/ 1231 w 2431"/>
                <a:gd name="T49" fmla="*/ 721 h 2115"/>
                <a:gd name="T50" fmla="*/ 1100 w 2431"/>
                <a:gd name="T51" fmla="*/ 596 h 2115"/>
                <a:gd name="T52" fmla="*/ 900 w 2431"/>
                <a:gd name="T53" fmla="*/ 776 h 2115"/>
                <a:gd name="T54" fmla="*/ 750 w 2431"/>
                <a:gd name="T55" fmla="*/ 856 h 2115"/>
                <a:gd name="T56" fmla="*/ 770 w 2431"/>
                <a:gd name="T57" fmla="*/ 1006 h 2115"/>
                <a:gd name="T58" fmla="*/ 620 w 2431"/>
                <a:gd name="T59" fmla="*/ 946 h 2115"/>
                <a:gd name="T60" fmla="*/ 545 w 2431"/>
                <a:gd name="T61" fmla="*/ 1286 h 2115"/>
                <a:gd name="T62" fmla="*/ 380 w 2431"/>
                <a:gd name="T63" fmla="*/ 1411 h 2115"/>
                <a:gd name="T64" fmla="*/ 390 w 2431"/>
                <a:gd name="T65" fmla="*/ 1636 h 2115"/>
                <a:gd name="T66" fmla="*/ 240 w 2431"/>
                <a:gd name="T67" fmla="*/ 1726 h 2115"/>
                <a:gd name="T68" fmla="*/ 0 w 2431"/>
                <a:gd name="T69" fmla="*/ 1891 h 211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431"/>
                <a:gd name="T106" fmla="*/ 0 h 2115"/>
                <a:gd name="T107" fmla="*/ 2431 w 2431"/>
                <a:gd name="T108" fmla="*/ 2115 h 211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431" h="2115">
                  <a:moveTo>
                    <a:pt x="0" y="1976"/>
                  </a:moveTo>
                  <a:lnTo>
                    <a:pt x="240" y="1901"/>
                  </a:lnTo>
                  <a:lnTo>
                    <a:pt x="390" y="1831"/>
                  </a:lnTo>
                  <a:lnTo>
                    <a:pt x="615" y="1876"/>
                  </a:lnTo>
                  <a:lnTo>
                    <a:pt x="840" y="1866"/>
                  </a:lnTo>
                  <a:lnTo>
                    <a:pt x="1390" y="2115"/>
                  </a:lnTo>
                  <a:lnTo>
                    <a:pt x="1539" y="1979"/>
                  </a:lnTo>
                  <a:lnTo>
                    <a:pt x="1521" y="1808"/>
                  </a:lnTo>
                  <a:lnTo>
                    <a:pt x="1602" y="1704"/>
                  </a:lnTo>
                  <a:lnTo>
                    <a:pt x="1572" y="1487"/>
                  </a:lnTo>
                  <a:lnTo>
                    <a:pt x="1500" y="1298"/>
                  </a:lnTo>
                  <a:lnTo>
                    <a:pt x="1660" y="1238"/>
                  </a:lnTo>
                  <a:lnTo>
                    <a:pt x="1720" y="1176"/>
                  </a:lnTo>
                  <a:lnTo>
                    <a:pt x="1920" y="1166"/>
                  </a:lnTo>
                  <a:lnTo>
                    <a:pt x="2001" y="1104"/>
                  </a:lnTo>
                  <a:lnTo>
                    <a:pt x="1909" y="1076"/>
                  </a:lnTo>
                  <a:lnTo>
                    <a:pt x="1861" y="986"/>
                  </a:lnTo>
                  <a:lnTo>
                    <a:pt x="1942" y="915"/>
                  </a:lnTo>
                  <a:lnTo>
                    <a:pt x="2092" y="956"/>
                  </a:lnTo>
                  <a:lnTo>
                    <a:pt x="2346" y="1226"/>
                  </a:lnTo>
                  <a:lnTo>
                    <a:pt x="2391" y="1142"/>
                  </a:lnTo>
                  <a:lnTo>
                    <a:pt x="2284" y="954"/>
                  </a:lnTo>
                  <a:lnTo>
                    <a:pt x="2266" y="825"/>
                  </a:lnTo>
                  <a:lnTo>
                    <a:pt x="2431" y="721"/>
                  </a:lnTo>
                  <a:lnTo>
                    <a:pt x="2415" y="627"/>
                  </a:lnTo>
                  <a:lnTo>
                    <a:pt x="2313" y="528"/>
                  </a:lnTo>
                  <a:lnTo>
                    <a:pt x="2241" y="356"/>
                  </a:lnTo>
                  <a:lnTo>
                    <a:pt x="2142" y="246"/>
                  </a:lnTo>
                  <a:lnTo>
                    <a:pt x="2106" y="146"/>
                  </a:lnTo>
                  <a:lnTo>
                    <a:pt x="1965" y="105"/>
                  </a:lnTo>
                  <a:lnTo>
                    <a:pt x="1777" y="0"/>
                  </a:lnTo>
                  <a:lnTo>
                    <a:pt x="1786" y="76"/>
                  </a:lnTo>
                  <a:lnTo>
                    <a:pt x="1911" y="221"/>
                  </a:lnTo>
                  <a:lnTo>
                    <a:pt x="2086" y="226"/>
                  </a:lnTo>
                  <a:lnTo>
                    <a:pt x="2061" y="331"/>
                  </a:lnTo>
                  <a:lnTo>
                    <a:pt x="2061" y="421"/>
                  </a:lnTo>
                  <a:lnTo>
                    <a:pt x="1926" y="416"/>
                  </a:lnTo>
                  <a:lnTo>
                    <a:pt x="1846" y="286"/>
                  </a:lnTo>
                  <a:lnTo>
                    <a:pt x="1771" y="371"/>
                  </a:lnTo>
                  <a:lnTo>
                    <a:pt x="1641" y="431"/>
                  </a:lnTo>
                  <a:lnTo>
                    <a:pt x="1566" y="481"/>
                  </a:lnTo>
                  <a:lnTo>
                    <a:pt x="1506" y="586"/>
                  </a:lnTo>
                  <a:lnTo>
                    <a:pt x="1591" y="671"/>
                  </a:lnTo>
                  <a:lnTo>
                    <a:pt x="1681" y="751"/>
                  </a:lnTo>
                  <a:lnTo>
                    <a:pt x="1491" y="761"/>
                  </a:lnTo>
                  <a:lnTo>
                    <a:pt x="1461" y="496"/>
                  </a:lnTo>
                  <a:lnTo>
                    <a:pt x="1356" y="416"/>
                  </a:lnTo>
                  <a:lnTo>
                    <a:pt x="1276" y="446"/>
                  </a:lnTo>
                  <a:lnTo>
                    <a:pt x="1216" y="526"/>
                  </a:lnTo>
                  <a:lnTo>
                    <a:pt x="1231" y="721"/>
                  </a:lnTo>
                  <a:lnTo>
                    <a:pt x="1185" y="806"/>
                  </a:lnTo>
                  <a:lnTo>
                    <a:pt x="1100" y="596"/>
                  </a:lnTo>
                  <a:lnTo>
                    <a:pt x="860" y="626"/>
                  </a:lnTo>
                  <a:lnTo>
                    <a:pt x="900" y="776"/>
                  </a:lnTo>
                  <a:lnTo>
                    <a:pt x="915" y="931"/>
                  </a:lnTo>
                  <a:lnTo>
                    <a:pt x="750" y="856"/>
                  </a:lnTo>
                  <a:lnTo>
                    <a:pt x="705" y="931"/>
                  </a:lnTo>
                  <a:lnTo>
                    <a:pt x="770" y="1006"/>
                  </a:lnTo>
                  <a:lnTo>
                    <a:pt x="725" y="1081"/>
                  </a:lnTo>
                  <a:lnTo>
                    <a:pt x="620" y="946"/>
                  </a:lnTo>
                  <a:lnTo>
                    <a:pt x="570" y="971"/>
                  </a:lnTo>
                  <a:lnTo>
                    <a:pt x="545" y="1286"/>
                  </a:lnTo>
                  <a:lnTo>
                    <a:pt x="425" y="1316"/>
                  </a:lnTo>
                  <a:lnTo>
                    <a:pt x="380" y="1411"/>
                  </a:lnTo>
                  <a:lnTo>
                    <a:pt x="405" y="1511"/>
                  </a:lnTo>
                  <a:lnTo>
                    <a:pt x="390" y="1636"/>
                  </a:lnTo>
                  <a:lnTo>
                    <a:pt x="335" y="1721"/>
                  </a:lnTo>
                  <a:lnTo>
                    <a:pt x="240" y="1726"/>
                  </a:lnTo>
                  <a:lnTo>
                    <a:pt x="95" y="1771"/>
                  </a:lnTo>
                  <a:lnTo>
                    <a:pt x="0" y="1891"/>
                  </a:lnTo>
                  <a:lnTo>
                    <a:pt x="0" y="197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7335103" y="4877061"/>
              <a:ext cx="1705655" cy="2691370"/>
            </a:xfrm>
            <a:custGeom>
              <a:avLst/>
              <a:gdLst>
                <a:gd name="T0" fmla="*/ 10 w 2536"/>
                <a:gd name="T1" fmla="*/ 3645 h 3999"/>
                <a:gd name="T2" fmla="*/ 15 w 2536"/>
                <a:gd name="T3" fmla="*/ 3540 h 3999"/>
                <a:gd name="T4" fmla="*/ 195 w 2536"/>
                <a:gd name="T5" fmla="*/ 3475 h 3999"/>
                <a:gd name="T6" fmla="*/ 255 w 2536"/>
                <a:gd name="T7" fmla="*/ 3090 h 3999"/>
                <a:gd name="T8" fmla="*/ 645 w 2536"/>
                <a:gd name="T9" fmla="*/ 2710 h 3999"/>
                <a:gd name="T10" fmla="*/ 720 w 2536"/>
                <a:gd name="T11" fmla="*/ 2635 h 3999"/>
                <a:gd name="T12" fmla="*/ 445 w 2536"/>
                <a:gd name="T13" fmla="*/ 2575 h 3999"/>
                <a:gd name="T14" fmla="*/ 525 w 2536"/>
                <a:gd name="T15" fmla="*/ 2325 h 3999"/>
                <a:gd name="T16" fmla="*/ 630 w 2536"/>
                <a:gd name="T17" fmla="*/ 2130 h 3999"/>
                <a:gd name="T18" fmla="*/ 945 w 2536"/>
                <a:gd name="T19" fmla="*/ 1749 h 3999"/>
                <a:gd name="T20" fmla="*/ 1525 w 2536"/>
                <a:gd name="T21" fmla="*/ 1629 h 3999"/>
                <a:gd name="T22" fmla="*/ 1105 w 2536"/>
                <a:gd name="T23" fmla="*/ 1574 h 3999"/>
                <a:gd name="T24" fmla="*/ 1320 w 2536"/>
                <a:gd name="T25" fmla="*/ 1194 h 3999"/>
                <a:gd name="T26" fmla="*/ 1510 w 2536"/>
                <a:gd name="T27" fmla="*/ 1109 h 3999"/>
                <a:gd name="T28" fmla="*/ 1495 w 2536"/>
                <a:gd name="T29" fmla="*/ 899 h 3999"/>
                <a:gd name="T30" fmla="*/ 1660 w 2536"/>
                <a:gd name="T31" fmla="*/ 809 h 3999"/>
                <a:gd name="T32" fmla="*/ 1840 w 2536"/>
                <a:gd name="T33" fmla="*/ 734 h 3999"/>
                <a:gd name="T34" fmla="*/ 1885 w 2536"/>
                <a:gd name="T35" fmla="*/ 509 h 3999"/>
                <a:gd name="T36" fmla="*/ 1820 w 2536"/>
                <a:gd name="T37" fmla="*/ 324 h 3999"/>
                <a:gd name="T38" fmla="*/ 2170 w 2536"/>
                <a:gd name="T39" fmla="*/ 309 h 3999"/>
                <a:gd name="T40" fmla="*/ 2306 w 2536"/>
                <a:gd name="T41" fmla="*/ 0 h 3999"/>
                <a:gd name="T42" fmla="*/ 2495 w 2536"/>
                <a:gd name="T43" fmla="*/ 202 h 3999"/>
                <a:gd name="T44" fmla="*/ 2506 w 2536"/>
                <a:gd name="T45" fmla="*/ 606 h 3999"/>
                <a:gd name="T46" fmla="*/ 2170 w 2536"/>
                <a:gd name="T47" fmla="*/ 645 h 3999"/>
                <a:gd name="T48" fmla="*/ 1915 w 2536"/>
                <a:gd name="T49" fmla="*/ 954 h 3999"/>
                <a:gd name="T50" fmla="*/ 1736 w 2536"/>
                <a:gd name="T51" fmla="*/ 1293 h 3999"/>
                <a:gd name="T52" fmla="*/ 1897 w 2536"/>
                <a:gd name="T53" fmla="*/ 1654 h 3999"/>
                <a:gd name="T54" fmla="*/ 1514 w 2536"/>
                <a:gd name="T55" fmla="*/ 2344 h 3999"/>
                <a:gd name="T56" fmla="*/ 1455 w 2536"/>
                <a:gd name="T57" fmla="*/ 2715 h 3999"/>
                <a:gd name="T58" fmla="*/ 1066 w 2536"/>
                <a:gd name="T59" fmla="*/ 2755 h 3999"/>
                <a:gd name="T60" fmla="*/ 1135 w 2536"/>
                <a:gd name="T61" fmla="*/ 2983 h 3999"/>
                <a:gd name="T62" fmla="*/ 961 w 2536"/>
                <a:gd name="T63" fmla="*/ 3834 h 3999"/>
                <a:gd name="T64" fmla="*/ 610 w 2536"/>
                <a:gd name="T65" fmla="*/ 3855 h 3999"/>
                <a:gd name="T66" fmla="*/ 283 w 2536"/>
                <a:gd name="T67" fmla="*/ 3945 h 3999"/>
                <a:gd name="T68" fmla="*/ 105 w 2536"/>
                <a:gd name="T69" fmla="*/ 3900 h 3999"/>
                <a:gd name="T70" fmla="*/ 300 w 2536"/>
                <a:gd name="T71" fmla="*/ 3705 h 3999"/>
                <a:gd name="T72" fmla="*/ 90 w 2536"/>
                <a:gd name="T73" fmla="*/ 3750 h 399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536"/>
                <a:gd name="T112" fmla="*/ 0 h 3999"/>
                <a:gd name="T113" fmla="*/ 2536 w 2536"/>
                <a:gd name="T114" fmla="*/ 3999 h 399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536" h="3999">
                  <a:moveTo>
                    <a:pt x="145" y="3645"/>
                  </a:moveTo>
                  <a:lnTo>
                    <a:pt x="10" y="3645"/>
                  </a:lnTo>
                  <a:lnTo>
                    <a:pt x="0" y="3645"/>
                  </a:lnTo>
                  <a:lnTo>
                    <a:pt x="15" y="3540"/>
                  </a:lnTo>
                  <a:lnTo>
                    <a:pt x="100" y="3435"/>
                  </a:lnTo>
                  <a:lnTo>
                    <a:pt x="195" y="3475"/>
                  </a:lnTo>
                  <a:lnTo>
                    <a:pt x="240" y="3385"/>
                  </a:lnTo>
                  <a:lnTo>
                    <a:pt x="255" y="3090"/>
                  </a:lnTo>
                  <a:lnTo>
                    <a:pt x="460" y="2820"/>
                  </a:lnTo>
                  <a:lnTo>
                    <a:pt x="645" y="2710"/>
                  </a:lnTo>
                  <a:lnTo>
                    <a:pt x="750" y="2710"/>
                  </a:lnTo>
                  <a:lnTo>
                    <a:pt x="720" y="2635"/>
                  </a:lnTo>
                  <a:lnTo>
                    <a:pt x="510" y="2665"/>
                  </a:lnTo>
                  <a:lnTo>
                    <a:pt x="445" y="2575"/>
                  </a:lnTo>
                  <a:lnTo>
                    <a:pt x="460" y="2370"/>
                  </a:lnTo>
                  <a:lnTo>
                    <a:pt x="525" y="2325"/>
                  </a:lnTo>
                  <a:lnTo>
                    <a:pt x="660" y="2310"/>
                  </a:lnTo>
                  <a:lnTo>
                    <a:pt x="630" y="2130"/>
                  </a:lnTo>
                  <a:lnTo>
                    <a:pt x="775" y="2025"/>
                  </a:lnTo>
                  <a:lnTo>
                    <a:pt x="945" y="1749"/>
                  </a:lnTo>
                  <a:lnTo>
                    <a:pt x="1120" y="1614"/>
                  </a:lnTo>
                  <a:lnTo>
                    <a:pt x="1525" y="1629"/>
                  </a:lnTo>
                  <a:lnTo>
                    <a:pt x="1455" y="1499"/>
                  </a:lnTo>
                  <a:lnTo>
                    <a:pt x="1105" y="1574"/>
                  </a:lnTo>
                  <a:lnTo>
                    <a:pt x="1150" y="1284"/>
                  </a:lnTo>
                  <a:lnTo>
                    <a:pt x="1320" y="1194"/>
                  </a:lnTo>
                  <a:lnTo>
                    <a:pt x="1405" y="1079"/>
                  </a:lnTo>
                  <a:lnTo>
                    <a:pt x="1510" y="1109"/>
                  </a:lnTo>
                  <a:lnTo>
                    <a:pt x="1615" y="1014"/>
                  </a:lnTo>
                  <a:lnTo>
                    <a:pt x="1495" y="899"/>
                  </a:lnTo>
                  <a:lnTo>
                    <a:pt x="1570" y="824"/>
                  </a:lnTo>
                  <a:lnTo>
                    <a:pt x="1660" y="809"/>
                  </a:lnTo>
                  <a:lnTo>
                    <a:pt x="1740" y="864"/>
                  </a:lnTo>
                  <a:lnTo>
                    <a:pt x="1840" y="734"/>
                  </a:lnTo>
                  <a:lnTo>
                    <a:pt x="1845" y="629"/>
                  </a:lnTo>
                  <a:lnTo>
                    <a:pt x="1885" y="509"/>
                  </a:lnTo>
                  <a:lnTo>
                    <a:pt x="1840" y="444"/>
                  </a:lnTo>
                  <a:lnTo>
                    <a:pt x="1820" y="324"/>
                  </a:lnTo>
                  <a:lnTo>
                    <a:pt x="2070" y="239"/>
                  </a:lnTo>
                  <a:lnTo>
                    <a:pt x="2170" y="309"/>
                  </a:lnTo>
                  <a:lnTo>
                    <a:pt x="2335" y="134"/>
                  </a:lnTo>
                  <a:lnTo>
                    <a:pt x="2306" y="0"/>
                  </a:lnTo>
                  <a:lnTo>
                    <a:pt x="2536" y="46"/>
                  </a:lnTo>
                  <a:lnTo>
                    <a:pt x="2495" y="202"/>
                  </a:lnTo>
                  <a:lnTo>
                    <a:pt x="2500" y="359"/>
                  </a:lnTo>
                  <a:lnTo>
                    <a:pt x="2506" y="606"/>
                  </a:lnTo>
                  <a:lnTo>
                    <a:pt x="2344" y="673"/>
                  </a:lnTo>
                  <a:lnTo>
                    <a:pt x="2170" y="645"/>
                  </a:lnTo>
                  <a:lnTo>
                    <a:pt x="1990" y="793"/>
                  </a:lnTo>
                  <a:lnTo>
                    <a:pt x="1915" y="954"/>
                  </a:lnTo>
                  <a:lnTo>
                    <a:pt x="1934" y="1194"/>
                  </a:lnTo>
                  <a:lnTo>
                    <a:pt x="1736" y="1293"/>
                  </a:lnTo>
                  <a:lnTo>
                    <a:pt x="1754" y="1453"/>
                  </a:lnTo>
                  <a:lnTo>
                    <a:pt x="1897" y="1654"/>
                  </a:lnTo>
                  <a:lnTo>
                    <a:pt x="1874" y="1816"/>
                  </a:lnTo>
                  <a:lnTo>
                    <a:pt x="1514" y="2344"/>
                  </a:lnTo>
                  <a:lnTo>
                    <a:pt x="1526" y="2715"/>
                  </a:lnTo>
                  <a:lnTo>
                    <a:pt x="1455" y="2715"/>
                  </a:lnTo>
                  <a:lnTo>
                    <a:pt x="1345" y="2856"/>
                  </a:lnTo>
                  <a:lnTo>
                    <a:pt x="1066" y="2755"/>
                  </a:lnTo>
                  <a:lnTo>
                    <a:pt x="1027" y="2824"/>
                  </a:lnTo>
                  <a:lnTo>
                    <a:pt x="1135" y="2983"/>
                  </a:lnTo>
                  <a:lnTo>
                    <a:pt x="1126" y="3627"/>
                  </a:lnTo>
                  <a:lnTo>
                    <a:pt x="961" y="3834"/>
                  </a:lnTo>
                  <a:lnTo>
                    <a:pt x="794" y="3880"/>
                  </a:lnTo>
                  <a:lnTo>
                    <a:pt x="610" y="3855"/>
                  </a:lnTo>
                  <a:lnTo>
                    <a:pt x="434" y="3870"/>
                  </a:lnTo>
                  <a:lnTo>
                    <a:pt x="283" y="3945"/>
                  </a:lnTo>
                  <a:lnTo>
                    <a:pt x="118" y="3999"/>
                  </a:lnTo>
                  <a:lnTo>
                    <a:pt x="105" y="3900"/>
                  </a:lnTo>
                  <a:lnTo>
                    <a:pt x="385" y="3765"/>
                  </a:lnTo>
                  <a:lnTo>
                    <a:pt x="300" y="3705"/>
                  </a:lnTo>
                  <a:lnTo>
                    <a:pt x="165" y="3790"/>
                  </a:lnTo>
                  <a:lnTo>
                    <a:pt x="90" y="3750"/>
                  </a:lnTo>
                  <a:lnTo>
                    <a:pt x="145" y="364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6689174" y="7457411"/>
              <a:ext cx="1291858" cy="1412969"/>
            </a:xfrm>
            <a:custGeom>
              <a:avLst/>
              <a:gdLst>
                <a:gd name="T0" fmla="*/ 843 w 1919"/>
                <a:gd name="T1" fmla="*/ 2100 h 2100"/>
                <a:gd name="T2" fmla="*/ 625 w 1919"/>
                <a:gd name="T3" fmla="*/ 2040 h 2100"/>
                <a:gd name="T4" fmla="*/ 554 w 1919"/>
                <a:gd name="T5" fmla="*/ 1955 h 2100"/>
                <a:gd name="T6" fmla="*/ 345 w 1919"/>
                <a:gd name="T7" fmla="*/ 1883 h 2100"/>
                <a:gd name="T8" fmla="*/ 205 w 1919"/>
                <a:gd name="T9" fmla="*/ 1760 h 2100"/>
                <a:gd name="T10" fmla="*/ 209 w 1919"/>
                <a:gd name="T11" fmla="*/ 1575 h 2100"/>
                <a:gd name="T12" fmla="*/ 404 w 1919"/>
                <a:gd name="T13" fmla="*/ 1515 h 2100"/>
                <a:gd name="T14" fmla="*/ 539 w 1919"/>
                <a:gd name="T15" fmla="*/ 1395 h 2100"/>
                <a:gd name="T16" fmla="*/ 404 w 1919"/>
                <a:gd name="T17" fmla="*/ 1235 h 2100"/>
                <a:gd name="T18" fmla="*/ 207 w 1919"/>
                <a:gd name="T19" fmla="*/ 1254 h 2100"/>
                <a:gd name="T20" fmla="*/ 127 w 1919"/>
                <a:gd name="T21" fmla="*/ 1383 h 2100"/>
                <a:gd name="T22" fmla="*/ 285 w 1919"/>
                <a:gd name="T23" fmla="*/ 1353 h 2100"/>
                <a:gd name="T24" fmla="*/ 104 w 1919"/>
                <a:gd name="T25" fmla="*/ 1550 h 2100"/>
                <a:gd name="T26" fmla="*/ 0 w 1919"/>
                <a:gd name="T27" fmla="*/ 1566 h 2100"/>
                <a:gd name="T28" fmla="*/ 30 w 1919"/>
                <a:gd name="T29" fmla="*/ 1443 h 2100"/>
                <a:gd name="T30" fmla="*/ 127 w 1919"/>
                <a:gd name="T31" fmla="*/ 1383 h 2100"/>
                <a:gd name="T32" fmla="*/ 284 w 1919"/>
                <a:gd name="T33" fmla="*/ 1355 h 2100"/>
                <a:gd name="T34" fmla="*/ 127 w 1919"/>
                <a:gd name="T35" fmla="*/ 1383 h 2100"/>
                <a:gd name="T36" fmla="*/ 208 w 1919"/>
                <a:gd name="T37" fmla="*/ 1253 h 2100"/>
                <a:gd name="T38" fmla="*/ 405 w 1919"/>
                <a:gd name="T39" fmla="*/ 1236 h 2100"/>
                <a:gd name="T40" fmla="*/ 207 w 1919"/>
                <a:gd name="T41" fmla="*/ 1254 h 2100"/>
                <a:gd name="T42" fmla="*/ 269 w 1919"/>
                <a:gd name="T43" fmla="*/ 1040 h 2100"/>
                <a:gd name="T44" fmla="*/ 328 w 1919"/>
                <a:gd name="T45" fmla="*/ 828 h 2100"/>
                <a:gd name="T46" fmla="*/ 204 w 1919"/>
                <a:gd name="T47" fmla="*/ 720 h 2100"/>
                <a:gd name="T48" fmla="*/ 354 w 1919"/>
                <a:gd name="T49" fmla="*/ 630 h 2100"/>
                <a:gd name="T50" fmla="*/ 539 w 1919"/>
                <a:gd name="T51" fmla="*/ 800 h 2100"/>
                <a:gd name="T52" fmla="*/ 539 w 1919"/>
                <a:gd name="T53" fmla="*/ 650 h 2100"/>
                <a:gd name="T54" fmla="*/ 644 w 1919"/>
                <a:gd name="T55" fmla="*/ 690 h 2100"/>
                <a:gd name="T56" fmla="*/ 614 w 1919"/>
                <a:gd name="T57" fmla="*/ 500 h 2100"/>
                <a:gd name="T58" fmla="*/ 809 w 1919"/>
                <a:gd name="T59" fmla="*/ 420 h 2100"/>
                <a:gd name="T60" fmla="*/ 854 w 1919"/>
                <a:gd name="T61" fmla="*/ 335 h 2100"/>
                <a:gd name="T62" fmla="*/ 804 w 1919"/>
                <a:gd name="T63" fmla="*/ 290 h 2100"/>
                <a:gd name="T64" fmla="*/ 609 w 1919"/>
                <a:gd name="T65" fmla="*/ 345 h 2100"/>
                <a:gd name="T66" fmla="*/ 549 w 1919"/>
                <a:gd name="T67" fmla="*/ 290 h 2100"/>
                <a:gd name="T68" fmla="*/ 729 w 1919"/>
                <a:gd name="T69" fmla="*/ 195 h 2100"/>
                <a:gd name="T70" fmla="*/ 839 w 1919"/>
                <a:gd name="T71" fmla="*/ 35 h 2100"/>
                <a:gd name="T72" fmla="*/ 1079 w 1919"/>
                <a:gd name="T73" fmla="*/ 165 h 2100"/>
                <a:gd name="T74" fmla="*/ 1244 w 1919"/>
                <a:gd name="T75" fmla="*/ 110 h 2100"/>
                <a:gd name="T76" fmla="*/ 1394 w 1919"/>
                <a:gd name="T77" fmla="*/ 35 h 2100"/>
                <a:gd name="T78" fmla="*/ 1569 w 1919"/>
                <a:gd name="T79" fmla="*/ 20 h 2100"/>
                <a:gd name="T80" fmla="*/ 1754 w 1919"/>
                <a:gd name="T81" fmla="*/ 45 h 2100"/>
                <a:gd name="T82" fmla="*/ 1919 w 1919"/>
                <a:gd name="T83" fmla="*/ 0 h 2100"/>
                <a:gd name="T84" fmla="*/ 1784 w 1919"/>
                <a:gd name="T85" fmla="*/ 330 h 2100"/>
                <a:gd name="T86" fmla="*/ 1724 w 1919"/>
                <a:gd name="T87" fmla="*/ 545 h 2100"/>
                <a:gd name="T88" fmla="*/ 1735 w 1919"/>
                <a:gd name="T89" fmla="*/ 701 h 2100"/>
                <a:gd name="T90" fmla="*/ 1873 w 1919"/>
                <a:gd name="T91" fmla="*/ 821 h 2100"/>
                <a:gd name="T92" fmla="*/ 1753 w 1919"/>
                <a:gd name="T93" fmla="*/ 1112 h 2100"/>
                <a:gd name="T94" fmla="*/ 1645 w 1919"/>
                <a:gd name="T95" fmla="*/ 1259 h 2100"/>
                <a:gd name="T96" fmla="*/ 1575 w 1919"/>
                <a:gd name="T97" fmla="*/ 1130 h 2100"/>
                <a:gd name="T98" fmla="*/ 1404 w 1919"/>
                <a:gd name="T99" fmla="*/ 1098 h 2100"/>
                <a:gd name="T100" fmla="*/ 1210 w 1919"/>
                <a:gd name="T101" fmla="*/ 1182 h 2100"/>
                <a:gd name="T102" fmla="*/ 1042 w 1919"/>
                <a:gd name="T103" fmla="*/ 1322 h 2100"/>
                <a:gd name="T104" fmla="*/ 916 w 1919"/>
                <a:gd name="T105" fmla="*/ 1545 h 2100"/>
                <a:gd name="T106" fmla="*/ 855 w 1919"/>
                <a:gd name="T107" fmla="*/ 1838 h 2100"/>
                <a:gd name="T108" fmla="*/ 843 w 1919"/>
                <a:gd name="T109" fmla="*/ 2100 h 21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919"/>
                <a:gd name="T166" fmla="*/ 0 h 2100"/>
                <a:gd name="T167" fmla="*/ 1919 w 1919"/>
                <a:gd name="T168" fmla="*/ 2100 h 21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919" h="2100">
                  <a:moveTo>
                    <a:pt x="843" y="2100"/>
                  </a:moveTo>
                  <a:lnTo>
                    <a:pt x="625" y="2040"/>
                  </a:lnTo>
                  <a:lnTo>
                    <a:pt x="554" y="1955"/>
                  </a:lnTo>
                  <a:lnTo>
                    <a:pt x="345" y="1883"/>
                  </a:lnTo>
                  <a:lnTo>
                    <a:pt x="205" y="1760"/>
                  </a:lnTo>
                  <a:lnTo>
                    <a:pt x="209" y="1575"/>
                  </a:lnTo>
                  <a:lnTo>
                    <a:pt x="404" y="1515"/>
                  </a:lnTo>
                  <a:lnTo>
                    <a:pt x="539" y="1395"/>
                  </a:lnTo>
                  <a:lnTo>
                    <a:pt x="404" y="1235"/>
                  </a:lnTo>
                  <a:lnTo>
                    <a:pt x="207" y="1254"/>
                  </a:lnTo>
                  <a:lnTo>
                    <a:pt x="127" y="1383"/>
                  </a:lnTo>
                  <a:lnTo>
                    <a:pt x="285" y="1353"/>
                  </a:lnTo>
                  <a:lnTo>
                    <a:pt x="104" y="1550"/>
                  </a:lnTo>
                  <a:lnTo>
                    <a:pt x="0" y="1566"/>
                  </a:lnTo>
                  <a:lnTo>
                    <a:pt x="30" y="1443"/>
                  </a:lnTo>
                  <a:lnTo>
                    <a:pt x="127" y="1383"/>
                  </a:lnTo>
                  <a:lnTo>
                    <a:pt x="284" y="1355"/>
                  </a:lnTo>
                  <a:lnTo>
                    <a:pt x="127" y="1383"/>
                  </a:lnTo>
                  <a:lnTo>
                    <a:pt x="208" y="1253"/>
                  </a:lnTo>
                  <a:lnTo>
                    <a:pt x="405" y="1236"/>
                  </a:lnTo>
                  <a:lnTo>
                    <a:pt x="207" y="1254"/>
                  </a:lnTo>
                  <a:lnTo>
                    <a:pt x="269" y="1040"/>
                  </a:lnTo>
                  <a:lnTo>
                    <a:pt x="328" y="828"/>
                  </a:lnTo>
                  <a:lnTo>
                    <a:pt x="204" y="720"/>
                  </a:lnTo>
                  <a:lnTo>
                    <a:pt x="354" y="630"/>
                  </a:lnTo>
                  <a:lnTo>
                    <a:pt x="539" y="800"/>
                  </a:lnTo>
                  <a:lnTo>
                    <a:pt x="539" y="650"/>
                  </a:lnTo>
                  <a:lnTo>
                    <a:pt x="644" y="690"/>
                  </a:lnTo>
                  <a:lnTo>
                    <a:pt x="614" y="500"/>
                  </a:lnTo>
                  <a:lnTo>
                    <a:pt x="809" y="420"/>
                  </a:lnTo>
                  <a:lnTo>
                    <a:pt x="854" y="335"/>
                  </a:lnTo>
                  <a:lnTo>
                    <a:pt x="804" y="290"/>
                  </a:lnTo>
                  <a:lnTo>
                    <a:pt x="609" y="345"/>
                  </a:lnTo>
                  <a:lnTo>
                    <a:pt x="549" y="290"/>
                  </a:lnTo>
                  <a:lnTo>
                    <a:pt x="729" y="195"/>
                  </a:lnTo>
                  <a:lnTo>
                    <a:pt x="839" y="35"/>
                  </a:lnTo>
                  <a:lnTo>
                    <a:pt x="1079" y="165"/>
                  </a:lnTo>
                  <a:lnTo>
                    <a:pt x="1244" y="110"/>
                  </a:lnTo>
                  <a:lnTo>
                    <a:pt x="1394" y="35"/>
                  </a:lnTo>
                  <a:lnTo>
                    <a:pt x="1569" y="20"/>
                  </a:lnTo>
                  <a:lnTo>
                    <a:pt x="1754" y="45"/>
                  </a:lnTo>
                  <a:lnTo>
                    <a:pt x="1919" y="0"/>
                  </a:lnTo>
                  <a:lnTo>
                    <a:pt x="1784" y="330"/>
                  </a:lnTo>
                  <a:lnTo>
                    <a:pt x="1724" y="545"/>
                  </a:lnTo>
                  <a:lnTo>
                    <a:pt x="1735" y="701"/>
                  </a:lnTo>
                  <a:lnTo>
                    <a:pt x="1873" y="821"/>
                  </a:lnTo>
                  <a:lnTo>
                    <a:pt x="1753" y="1112"/>
                  </a:lnTo>
                  <a:lnTo>
                    <a:pt x="1645" y="1259"/>
                  </a:lnTo>
                  <a:lnTo>
                    <a:pt x="1575" y="1130"/>
                  </a:lnTo>
                  <a:lnTo>
                    <a:pt x="1404" y="1098"/>
                  </a:lnTo>
                  <a:lnTo>
                    <a:pt x="1210" y="1182"/>
                  </a:lnTo>
                  <a:lnTo>
                    <a:pt x="1042" y="1322"/>
                  </a:lnTo>
                  <a:lnTo>
                    <a:pt x="916" y="1545"/>
                  </a:lnTo>
                  <a:lnTo>
                    <a:pt x="855" y="1838"/>
                  </a:lnTo>
                  <a:lnTo>
                    <a:pt x="843" y="210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16174448" y="7941858"/>
              <a:ext cx="1120284" cy="1557631"/>
            </a:xfrm>
            <a:custGeom>
              <a:avLst/>
              <a:gdLst>
                <a:gd name="T0" fmla="*/ 1666 w 1666"/>
                <a:gd name="T1" fmla="*/ 2316 h 2316"/>
                <a:gd name="T2" fmla="*/ 1515 w 1666"/>
                <a:gd name="T3" fmla="*/ 2265 h 2316"/>
                <a:gd name="T4" fmla="*/ 1346 w 1666"/>
                <a:gd name="T5" fmla="*/ 2255 h 2316"/>
                <a:gd name="T6" fmla="*/ 1150 w 1666"/>
                <a:gd name="T7" fmla="*/ 1953 h 2316"/>
                <a:gd name="T8" fmla="*/ 1006 w 1666"/>
                <a:gd name="T9" fmla="*/ 1850 h 2316"/>
                <a:gd name="T10" fmla="*/ 866 w 1666"/>
                <a:gd name="T11" fmla="*/ 1832 h 2316"/>
                <a:gd name="T12" fmla="*/ 705 w 1666"/>
                <a:gd name="T13" fmla="*/ 1820 h 2316"/>
                <a:gd name="T14" fmla="*/ 571 w 1666"/>
                <a:gd name="T15" fmla="*/ 1953 h 2316"/>
                <a:gd name="T16" fmla="*/ 555 w 1666"/>
                <a:gd name="T17" fmla="*/ 2115 h 2316"/>
                <a:gd name="T18" fmla="*/ 371 w 1666"/>
                <a:gd name="T19" fmla="*/ 2297 h 2316"/>
                <a:gd name="T20" fmla="*/ 145 w 1666"/>
                <a:gd name="T21" fmla="*/ 2115 h 2316"/>
                <a:gd name="T22" fmla="*/ 115 w 1666"/>
                <a:gd name="T23" fmla="*/ 1710 h 2316"/>
                <a:gd name="T24" fmla="*/ 295 w 1666"/>
                <a:gd name="T25" fmla="*/ 1605 h 2316"/>
                <a:gd name="T26" fmla="*/ 355 w 1666"/>
                <a:gd name="T27" fmla="*/ 1475 h 2316"/>
                <a:gd name="T28" fmla="*/ 310 w 1666"/>
                <a:gd name="T29" fmla="*/ 1235 h 2316"/>
                <a:gd name="T30" fmla="*/ 190 w 1666"/>
                <a:gd name="T31" fmla="*/ 1275 h 2316"/>
                <a:gd name="T32" fmla="*/ 0 w 1666"/>
                <a:gd name="T33" fmla="*/ 1335 h 2316"/>
                <a:gd name="T34" fmla="*/ 10 w 1666"/>
                <a:gd name="T35" fmla="*/ 1025 h 2316"/>
                <a:gd name="T36" fmla="*/ 130 w 1666"/>
                <a:gd name="T37" fmla="*/ 1005 h 2316"/>
                <a:gd name="T38" fmla="*/ 165 w 1666"/>
                <a:gd name="T39" fmla="*/ 1125 h 2316"/>
                <a:gd name="T40" fmla="*/ 270 w 1666"/>
                <a:gd name="T41" fmla="*/ 1055 h 2316"/>
                <a:gd name="T42" fmla="*/ 235 w 1666"/>
                <a:gd name="T43" fmla="*/ 960 h 2316"/>
                <a:gd name="T44" fmla="*/ 450 w 1666"/>
                <a:gd name="T45" fmla="*/ 815 h 2316"/>
                <a:gd name="T46" fmla="*/ 510 w 1666"/>
                <a:gd name="T47" fmla="*/ 930 h 2316"/>
                <a:gd name="T48" fmla="*/ 525 w 1666"/>
                <a:gd name="T49" fmla="*/ 1080 h 2316"/>
                <a:gd name="T50" fmla="*/ 640 w 1666"/>
                <a:gd name="T51" fmla="*/ 1130 h 2316"/>
                <a:gd name="T52" fmla="*/ 745 w 1666"/>
                <a:gd name="T53" fmla="*/ 990 h 2316"/>
                <a:gd name="T54" fmla="*/ 640 w 1666"/>
                <a:gd name="T55" fmla="*/ 950 h 2316"/>
                <a:gd name="T56" fmla="*/ 610 w 1666"/>
                <a:gd name="T57" fmla="*/ 890 h 2316"/>
                <a:gd name="T58" fmla="*/ 600 w 1666"/>
                <a:gd name="T59" fmla="*/ 785 h 2316"/>
                <a:gd name="T60" fmla="*/ 660 w 1666"/>
                <a:gd name="T61" fmla="*/ 705 h 2316"/>
                <a:gd name="T62" fmla="*/ 490 w 1666"/>
                <a:gd name="T63" fmla="*/ 710 h 2316"/>
                <a:gd name="T64" fmla="*/ 465 w 1666"/>
                <a:gd name="T65" fmla="*/ 665 h 2316"/>
                <a:gd name="T66" fmla="*/ 565 w 1666"/>
                <a:gd name="T67" fmla="*/ 590 h 2316"/>
                <a:gd name="T68" fmla="*/ 700 w 1666"/>
                <a:gd name="T69" fmla="*/ 545 h 2316"/>
                <a:gd name="T70" fmla="*/ 780 w 1666"/>
                <a:gd name="T71" fmla="*/ 315 h 2316"/>
                <a:gd name="T72" fmla="*/ 970 w 1666"/>
                <a:gd name="T73" fmla="*/ 0 h 2316"/>
                <a:gd name="T74" fmla="*/ 1095 w 1666"/>
                <a:gd name="T75" fmla="*/ 110 h 2316"/>
                <a:gd name="T76" fmla="*/ 975 w 1666"/>
                <a:gd name="T77" fmla="*/ 530 h 2316"/>
                <a:gd name="T78" fmla="*/ 895 w 1666"/>
                <a:gd name="T79" fmla="*/ 660 h 2316"/>
                <a:gd name="T80" fmla="*/ 795 w 1666"/>
                <a:gd name="T81" fmla="*/ 725 h 2316"/>
                <a:gd name="T82" fmla="*/ 735 w 1666"/>
                <a:gd name="T83" fmla="*/ 975 h 2316"/>
                <a:gd name="T84" fmla="*/ 870 w 1666"/>
                <a:gd name="T85" fmla="*/ 1050 h 2316"/>
                <a:gd name="T86" fmla="*/ 970 w 1666"/>
                <a:gd name="T87" fmla="*/ 1040 h 2316"/>
                <a:gd name="T88" fmla="*/ 1105 w 1666"/>
                <a:gd name="T89" fmla="*/ 1160 h 2316"/>
                <a:gd name="T90" fmla="*/ 1320 w 1666"/>
                <a:gd name="T91" fmla="*/ 1235 h 2316"/>
                <a:gd name="T92" fmla="*/ 1390 w 1666"/>
                <a:gd name="T93" fmla="*/ 1320 h 2316"/>
                <a:gd name="T94" fmla="*/ 1612 w 1666"/>
                <a:gd name="T95" fmla="*/ 1382 h 2316"/>
                <a:gd name="T96" fmla="*/ 1640 w 1666"/>
                <a:gd name="T97" fmla="*/ 1580 h 2316"/>
                <a:gd name="T98" fmla="*/ 1618 w 1666"/>
                <a:gd name="T99" fmla="*/ 1827 h 2316"/>
                <a:gd name="T100" fmla="*/ 1620 w 1666"/>
                <a:gd name="T101" fmla="*/ 2075 h 2316"/>
                <a:gd name="T102" fmla="*/ 1666 w 1666"/>
                <a:gd name="T103" fmla="*/ 2316 h 231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666"/>
                <a:gd name="T157" fmla="*/ 0 h 2316"/>
                <a:gd name="T158" fmla="*/ 1666 w 1666"/>
                <a:gd name="T159" fmla="*/ 2316 h 231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666" h="2316">
                  <a:moveTo>
                    <a:pt x="1666" y="2316"/>
                  </a:moveTo>
                  <a:lnTo>
                    <a:pt x="1515" y="2265"/>
                  </a:lnTo>
                  <a:lnTo>
                    <a:pt x="1346" y="2255"/>
                  </a:lnTo>
                  <a:lnTo>
                    <a:pt x="1150" y="1953"/>
                  </a:lnTo>
                  <a:lnTo>
                    <a:pt x="1006" y="1850"/>
                  </a:lnTo>
                  <a:lnTo>
                    <a:pt x="866" y="1832"/>
                  </a:lnTo>
                  <a:lnTo>
                    <a:pt x="705" y="1820"/>
                  </a:lnTo>
                  <a:lnTo>
                    <a:pt x="571" y="1953"/>
                  </a:lnTo>
                  <a:lnTo>
                    <a:pt x="555" y="2115"/>
                  </a:lnTo>
                  <a:lnTo>
                    <a:pt x="371" y="2297"/>
                  </a:lnTo>
                  <a:lnTo>
                    <a:pt x="145" y="2115"/>
                  </a:lnTo>
                  <a:lnTo>
                    <a:pt x="115" y="1710"/>
                  </a:lnTo>
                  <a:lnTo>
                    <a:pt x="295" y="1605"/>
                  </a:lnTo>
                  <a:lnTo>
                    <a:pt x="355" y="1475"/>
                  </a:lnTo>
                  <a:lnTo>
                    <a:pt x="310" y="1235"/>
                  </a:lnTo>
                  <a:lnTo>
                    <a:pt x="190" y="1275"/>
                  </a:lnTo>
                  <a:lnTo>
                    <a:pt x="0" y="1335"/>
                  </a:lnTo>
                  <a:lnTo>
                    <a:pt x="10" y="1025"/>
                  </a:lnTo>
                  <a:lnTo>
                    <a:pt x="130" y="1005"/>
                  </a:lnTo>
                  <a:lnTo>
                    <a:pt x="165" y="1125"/>
                  </a:lnTo>
                  <a:lnTo>
                    <a:pt x="270" y="1055"/>
                  </a:lnTo>
                  <a:lnTo>
                    <a:pt x="235" y="960"/>
                  </a:lnTo>
                  <a:lnTo>
                    <a:pt x="450" y="815"/>
                  </a:lnTo>
                  <a:lnTo>
                    <a:pt x="510" y="930"/>
                  </a:lnTo>
                  <a:lnTo>
                    <a:pt x="525" y="1080"/>
                  </a:lnTo>
                  <a:lnTo>
                    <a:pt x="640" y="1130"/>
                  </a:lnTo>
                  <a:lnTo>
                    <a:pt x="745" y="990"/>
                  </a:lnTo>
                  <a:lnTo>
                    <a:pt x="640" y="950"/>
                  </a:lnTo>
                  <a:lnTo>
                    <a:pt x="610" y="890"/>
                  </a:lnTo>
                  <a:lnTo>
                    <a:pt x="600" y="785"/>
                  </a:lnTo>
                  <a:lnTo>
                    <a:pt x="660" y="705"/>
                  </a:lnTo>
                  <a:lnTo>
                    <a:pt x="490" y="710"/>
                  </a:lnTo>
                  <a:lnTo>
                    <a:pt x="465" y="665"/>
                  </a:lnTo>
                  <a:lnTo>
                    <a:pt x="565" y="590"/>
                  </a:lnTo>
                  <a:lnTo>
                    <a:pt x="700" y="545"/>
                  </a:lnTo>
                  <a:lnTo>
                    <a:pt x="780" y="315"/>
                  </a:lnTo>
                  <a:lnTo>
                    <a:pt x="970" y="0"/>
                  </a:lnTo>
                  <a:lnTo>
                    <a:pt x="1095" y="110"/>
                  </a:lnTo>
                  <a:lnTo>
                    <a:pt x="975" y="530"/>
                  </a:lnTo>
                  <a:lnTo>
                    <a:pt x="895" y="660"/>
                  </a:lnTo>
                  <a:lnTo>
                    <a:pt x="795" y="725"/>
                  </a:lnTo>
                  <a:lnTo>
                    <a:pt x="735" y="975"/>
                  </a:lnTo>
                  <a:lnTo>
                    <a:pt x="870" y="1050"/>
                  </a:lnTo>
                  <a:lnTo>
                    <a:pt x="970" y="1040"/>
                  </a:lnTo>
                  <a:lnTo>
                    <a:pt x="1105" y="1160"/>
                  </a:lnTo>
                  <a:lnTo>
                    <a:pt x="1320" y="1235"/>
                  </a:lnTo>
                  <a:lnTo>
                    <a:pt x="1390" y="1320"/>
                  </a:lnTo>
                  <a:lnTo>
                    <a:pt x="1612" y="1382"/>
                  </a:lnTo>
                  <a:lnTo>
                    <a:pt x="1640" y="1580"/>
                  </a:lnTo>
                  <a:lnTo>
                    <a:pt x="1618" y="1827"/>
                  </a:lnTo>
                  <a:lnTo>
                    <a:pt x="1620" y="2075"/>
                  </a:lnTo>
                  <a:lnTo>
                    <a:pt x="1666" y="2316"/>
                  </a:lnTo>
                  <a:close/>
                </a:path>
              </a:pathLst>
            </a:custGeom>
            <a:solidFill>
              <a:schemeClr val="accent1"/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16413308" y="9166431"/>
              <a:ext cx="1133739" cy="2119454"/>
            </a:xfrm>
            <a:custGeom>
              <a:avLst/>
              <a:gdLst>
                <a:gd name="T0" fmla="*/ 16 w 1685"/>
                <a:gd name="T1" fmla="*/ 475 h 3150"/>
                <a:gd name="T2" fmla="*/ 0 w 1685"/>
                <a:gd name="T3" fmla="*/ 570 h 3150"/>
                <a:gd name="T4" fmla="*/ 75 w 1685"/>
                <a:gd name="T5" fmla="*/ 675 h 3150"/>
                <a:gd name="T6" fmla="*/ 60 w 1685"/>
                <a:gd name="T7" fmla="*/ 820 h 3150"/>
                <a:gd name="T8" fmla="*/ 185 w 1685"/>
                <a:gd name="T9" fmla="*/ 870 h 3150"/>
                <a:gd name="T10" fmla="*/ 180 w 1685"/>
                <a:gd name="T11" fmla="*/ 1000 h 3150"/>
                <a:gd name="T12" fmla="*/ 255 w 1685"/>
                <a:gd name="T13" fmla="*/ 1065 h 3150"/>
                <a:gd name="T14" fmla="*/ 380 w 1685"/>
                <a:gd name="T15" fmla="*/ 1120 h 3150"/>
                <a:gd name="T16" fmla="*/ 450 w 1685"/>
                <a:gd name="T17" fmla="*/ 1255 h 3150"/>
                <a:gd name="T18" fmla="*/ 570 w 1685"/>
                <a:gd name="T19" fmla="*/ 1585 h 3150"/>
                <a:gd name="T20" fmla="*/ 450 w 1685"/>
                <a:gd name="T21" fmla="*/ 1675 h 3150"/>
                <a:gd name="T22" fmla="*/ 360 w 1685"/>
                <a:gd name="T23" fmla="*/ 1810 h 3150"/>
                <a:gd name="T24" fmla="*/ 410 w 1685"/>
                <a:gd name="T25" fmla="*/ 2055 h 3150"/>
                <a:gd name="T26" fmla="*/ 450 w 1685"/>
                <a:gd name="T27" fmla="*/ 2185 h 3150"/>
                <a:gd name="T28" fmla="*/ 585 w 1685"/>
                <a:gd name="T29" fmla="*/ 2230 h 3150"/>
                <a:gd name="T30" fmla="*/ 660 w 1685"/>
                <a:gd name="T31" fmla="*/ 2260 h 3150"/>
                <a:gd name="T32" fmla="*/ 571 w 1685"/>
                <a:gd name="T33" fmla="*/ 2370 h 3150"/>
                <a:gd name="T34" fmla="*/ 810 w 1685"/>
                <a:gd name="T35" fmla="*/ 2544 h 3150"/>
                <a:gd name="T36" fmla="*/ 861 w 1685"/>
                <a:gd name="T37" fmla="*/ 2791 h 3150"/>
                <a:gd name="T38" fmla="*/ 1045 w 1685"/>
                <a:gd name="T39" fmla="*/ 3150 h 3150"/>
                <a:gd name="T40" fmla="*/ 1260 w 1685"/>
                <a:gd name="T41" fmla="*/ 3055 h 3150"/>
                <a:gd name="T42" fmla="*/ 1430 w 1685"/>
                <a:gd name="T43" fmla="*/ 2890 h 3150"/>
                <a:gd name="T44" fmla="*/ 1440 w 1685"/>
                <a:gd name="T45" fmla="*/ 2725 h 3150"/>
                <a:gd name="T46" fmla="*/ 1415 w 1685"/>
                <a:gd name="T47" fmla="*/ 2430 h 3150"/>
                <a:gd name="T48" fmla="*/ 1365 w 1685"/>
                <a:gd name="T49" fmla="*/ 2100 h 3150"/>
                <a:gd name="T50" fmla="*/ 1280 w 1685"/>
                <a:gd name="T51" fmla="*/ 1890 h 3150"/>
                <a:gd name="T52" fmla="*/ 1440 w 1685"/>
                <a:gd name="T53" fmla="*/ 1860 h 3150"/>
                <a:gd name="T54" fmla="*/ 1605 w 1685"/>
                <a:gd name="T55" fmla="*/ 1665 h 3150"/>
                <a:gd name="T56" fmla="*/ 1685 w 1685"/>
                <a:gd name="T57" fmla="*/ 1525 h 3150"/>
                <a:gd name="T58" fmla="*/ 1545 w 1685"/>
                <a:gd name="T59" fmla="*/ 1275 h 3150"/>
                <a:gd name="T60" fmla="*/ 1410 w 1685"/>
                <a:gd name="T61" fmla="*/ 1195 h 3150"/>
                <a:gd name="T62" fmla="*/ 1280 w 1685"/>
                <a:gd name="T63" fmla="*/ 1140 h 3150"/>
                <a:gd name="T64" fmla="*/ 1305 w 1685"/>
                <a:gd name="T65" fmla="*/ 960 h 3150"/>
                <a:gd name="T66" fmla="*/ 1280 w 1685"/>
                <a:gd name="T67" fmla="*/ 745 h 3150"/>
                <a:gd name="T68" fmla="*/ 1310 w 1685"/>
                <a:gd name="T69" fmla="*/ 495 h 3150"/>
                <a:gd name="T70" fmla="*/ 1155 w 1685"/>
                <a:gd name="T71" fmla="*/ 445 h 3150"/>
                <a:gd name="T72" fmla="*/ 990 w 1685"/>
                <a:gd name="T73" fmla="*/ 435 h 3150"/>
                <a:gd name="T74" fmla="*/ 795 w 1685"/>
                <a:gd name="T75" fmla="*/ 135 h 3150"/>
                <a:gd name="T76" fmla="*/ 650 w 1685"/>
                <a:gd name="T77" fmla="*/ 30 h 3150"/>
                <a:gd name="T78" fmla="*/ 510 w 1685"/>
                <a:gd name="T79" fmla="*/ 10 h 3150"/>
                <a:gd name="T80" fmla="*/ 350 w 1685"/>
                <a:gd name="T81" fmla="*/ 0 h 3150"/>
                <a:gd name="T82" fmla="*/ 215 w 1685"/>
                <a:gd name="T83" fmla="*/ 135 h 3150"/>
                <a:gd name="T84" fmla="*/ 200 w 1685"/>
                <a:gd name="T85" fmla="*/ 295 h 3150"/>
                <a:gd name="T86" fmla="*/ 16 w 1685"/>
                <a:gd name="T87" fmla="*/ 475 h 315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685"/>
                <a:gd name="T133" fmla="*/ 0 h 3150"/>
                <a:gd name="T134" fmla="*/ 1685 w 1685"/>
                <a:gd name="T135" fmla="*/ 3150 h 315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685" h="3150">
                  <a:moveTo>
                    <a:pt x="16" y="475"/>
                  </a:moveTo>
                  <a:lnTo>
                    <a:pt x="0" y="570"/>
                  </a:lnTo>
                  <a:lnTo>
                    <a:pt x="75" y="675"/>
                  </a:lnTo>
                  <a:lnTo>
                    <a:pt x="60" y="820"/>
                  </a:lnTo>
                  <a:lnTo>
                    <a:pt x="185" y="870"/>
                  </a:lnTo>
                  <a:lnTo>
                    <a:pt x="180" y="1000"/>
                  </a:lnTo>
                  <a:lnTo>
                    <a:pt x="255" y="1065"/>
                  </a:lnTo>
                  <a:lnTo>
                    <a:pt x="380" y="1120"/>
                  </a:lnTo>
                  <a:lnTo>
                    <a:pt x="450" y="1255"/>
                  </a:lnTo>
                  <a:lnTo>
                    <a:pt x="570" y="1585"/>
                  </a:lnTo>
                  <a:lnTo>
                    <a:pt x="450" y="1675"/>
                  </a:lnTo>
                  <a:lnTo>
                    <a:pt x="360" y="1810"/>
                  </a:lnTo>
                  <a:lnTo>
                    <a:pt x="410" y="2055"/>
                  </a:lnTo>
                  <a:lnTo>
                    <a:pt x="450" y="2185"/>
                  </a:lnTo>
                  <a:lnTo>
                    <a:pt x="585" y="2230"/>
                  </a:lnTo>
                  <a:lnTo>
                    <a:pt x="660" y="2260"/>
                  </a:lnTo>
                  <a:lnTo>
                    <a:pt x="571" y="2370"/>
                  </a:lnTo>
                  <a:lnTo>
                    <a:pt x="810" y="2544"/>
                  </a:lnTo>
                  <a:lnTo>
                    <a:pt x="861" y="2791"/>
                  </a:lnTo>
                  <a:lnTo>
                    <a:pt x="1045" y="3150"/>
                  </a:lnTo>
                  <a:lnTo>
                    <a:pt x="1260" y="3055"/>
                  </a:lnTo>
                  <a:lnTo>
                    <a:pt x="1430" y="2890"/>
                  </a:lnTo>
                  <a:lnTo>
                    <a:pt x="1440" y="2725"/>
                  </a:lnTo>
                  <a:lnTo>
                    <a:pt x="1415" y="2430"/>
                  </a:lnTo>
                  <a:lnTo>
                    <a:pt x="1365" y="2100"/>
                  </a:lnTo>
                  <a:lnTo>
                    <a:pt x="1280" y="1890"/>
                  </a:lnTo>
                  <a:lnTo>
                    <a:pt x="1440" y="1860"/>
                  </a:lnTo>
                  <a:lnTo>
                    <a:pt x="1605" y="1665"/>
                  </a:lnTo>
                  <a:lnTo>
                    <a:pt x="1685" y="1525"/>
                  </a:lnTo>
                  <a:lnTo>
                    <a:pt x="1545" y="1275"/>
                  </a:lnTo>
                  <a:lnTo>
                    <a:pt x="1410" y="1195"/>
                  </a:lnTo>
                  <a:lnTo>
                    <a:pt x="1280" y="1140"/>
                  </a:lnTo>
                  <a:lnTo>
                    <a:pt x="1305" y="960"/>
                  </a:lnTo>
                  <a:lnTo>
                    <a:pt x="1280" y="745"/>
                  </a:lnTo>
                  <a:lnTo>
                    <a:pt x="1310" y="495"/>
                  </a:lnTo>
                  <a:lnTo>
                    <a:pt x="1155" y="445"/>
                  </a:lnTo>
                  <a:lnTo>
                    <a:pt x="990" y="435"/>
                  </a:lnTo>
                  <a:lnTo>
                    <a:pt x="795" y="135"/>
                  </a:lnTo>
                  <a:lnTo>
                    <a:pt x="650" y="30"/>
                  </a:lnTo>
                  <a:lnTo>
                    <a:pt x="510" y="10"/>
                  </a:lnTo>
                  <a:lnTo>
                    <a:pt x="350" y="0"/>
                  </a:lnTo>
                  <a:lnTo>
                    <a:pt x="215" y="135"/>
                  </a:lnTo>
                  <a:lnTo>
                    <a:pt x="200" y="295"/>
                  </a:lnTo>
                  <a:lnTo>
                    <a:pt x="16" y="47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15615989" y="9334641"/>
              <a:ext cx="1241395" cy="1692200"/>
            </a:xfrm>
            <a:custGeom>
              <a:avLst/>
              <a:gdLst>
                <a:gd name="T0" fmla="*/ 978 w 1845"/>
                <a:gd name="T1" fmla="*/ 45 h 2517"/>
                <a:gd name="T2" fmla="*/ 555 w 1845"/>
                <a:gd name="T3" fmla="*/ 0 h 2517"/>
                <a:gd name="T4" fmla="*/ 333 w 1845"/>
                <a:gd name="T5" fmla="*/ 179 h 2517"/>
                <a:gd name="T6" fmla="*/ 124 w 1845"/>
                <a:gd name="T7" fmla="*/ 257 h 2517"/>
                <a:gd name="T8" fmla="*/ 6 w 1845"/>
                <a:gd name="T9" fmla="*/ 333 h 2517"/>
                <a:gd name="T10" fmla="*/ 0 w 1845"/>
                <a:gd name="T11" fmla="*/ 617 h 2517"/>
                <a:gd name="T12" fmla="*/ 213 w 1845"/>
                <a:gd name="T13" fmla="*/ 758 h 2517"/>
                <a:gd name="T14" fmla="*/ 300 w 1845"/>
                <a:gd name="T15" fmla="*/ 945 h 2517"/>
                <a:gd name="T16" fmla="*/ 394 w 1845"/>
                <a:gd name="T17" fmla="*/ 1004 h 2517"/>
                <a:gd name="T18" fmla="*/ 186 w 1845"/>
                <a:gd name="T19" fmla="*/ 1281 h 2517"/>
                <a:gd name="T20" fmla="*/ 333 w 1845"/>
                <a:gd name="T21" fmla="*/ 1365 h 2517"/>
                <a:gd name="T22" fmla="*/ 330 w 1845"/>
                <a:gd name="T23" fmla="*/ 1460 h 2517"/>
                <a:gd name="T24" fmla="*/ 457 w 1845"/>
                <a:gd name="T25" fmla="*/ 1506 h 2517"/>
                <a:gd name="T26" fmla="*/ 841 w 1845"/>
                <a:gd name="T27" fmla="*/ 1817 h 2517"/>
                <a:gd name="T28" fmla="*/ 898 w 1845"/>
                <a:gd name="T29" fmla="*/ 2001 h 2517"/>
                <a:gd name="T30" fmla="*/ 1102 w 1845"/>
                <a:gd name="T31" fmla="*/ 2099 h 2517"/>
                <a:gd name="T32" fmla="*/ 1130 w 1845"/>
                <a:gd name="T33" fmla="*/ 1995 h 2517"/>
                <a:gd name="T34" fmla="*/ 1245 w 1845"/>
                <a:gd name="T35" fmla="*/ 2012 h 2517"/>
                <a:gd name="T36" fmla="*/ 1336 w 1845"/>
                <a:gd name="T37" fmla="*/ 2288 h 2517"/>
                <a:gd name="T38" fmla="*/ 1521 w 1845"/>
                <a:gd name="T39" fmla="*/ 2517 h 2517"/>
                <a:gd name="T40" fmla="*/ 1639 w 1845"/>
                <a:gd name="T41" fmla="*/ 2415 h 2517"/>
                <a:gd name="T42" fmla="*/ 1671 w 1845"/>
                <a:gd name="T43" fmla="*/ 2325 h 2517"/>
                <a:gd name="T44" fmla="*/ 1564 w 1845"/>
                <a:gd name="T45" fmla="*/ 2165 h 2517"/>
                <a:gd name="T46" fmla="*/ 1753 w 1845"/>
                <a:gd name="T47" fmla="*/ 2120 h 2517"/>
                <a:gd name="T48" fmla="*/ 1845 w 1845"/>
                <a:gd name="T49" fmla="*/ 2012 h 2517"/>
                <a:gd name="T50" fmla="*/ 1773 w 1845"/>
                <a:gd name="T51" fmla="*/ 1980 h 2517"/>
                <a:gd name="T52" fmla="*/ 1635 w 1845"/>
                <a:gd name="T53" fmla="*/ 1937 h 2517"/>
                <a:gd name="T54" fmla="*/ 1590 w 1845"/>
                <a:gd name="T55" fmla="*/ 1785 h 2517"/>
                <a:gd name="T56" fmla="*/ 1545 w 1845"/>
                <a:gd name="T57" fmla="*/ 1560 h 2517"/>
                <a:gd name="T58" fmla="*/ 1632 w 1845"/>
                <a:gd name="T59" fmla="*/ 1427 h 2517"/>
                <a:gd name="T60" fmla="*/ 1756 w 1845"/>
                <a:gd name="T61" fmla="*/ 1337 h 2517"/>
                <a:gd name="T62" fmla="*/ 1638 w 1845"/>
                <a:gd name="T63" fmla="*/ 1011 h 2517"/>
                <a:gd name="T64" fmla="*/ 1567 w 1845"/>
                <a:gd name="T65" fmla="*/ 870 h 2517"/>
                <a:gd name="T66" fmla="*/ 1446 w 1845"/>
                <a:gd name="T67" fmla="*/ 819 h 2517"/>
                <a:gd name="T68" fmla="*/ 1366 w 1845"/>
                <a:gd name="T69" fmla="*/ 752 h 2517"/>
                <a:gd name="T70" fmla="*/ 1369 w 1845"/>
                <a:gd name="T71" fmla="*/ 620 h 2517"/>
                <a:gd name="T72" fmla="*/ 1246 w 1845"/>
                <a:gd name="T73" fmla="*/ 569 h 2517"/>
                <a:gd name="T74" fmla="*/ 1261 w 1845"/>
                <a:gd name="T75" fmla="*/ 425 h 2517"/>
                <a:gd name="T76" fmla="*/ 1185 w 1845"/>
                <a:gd name="T77" fmla="*/ 317 h 2517"/>
                <a:gd name="T78" fmla="*/ 1200 w 1845"/>
                <a:gd name="T79" fmla="*/ 225 h 2517"/>
                <a:gd name="T80" fmla="*/ 978 w 1845"/>
                <a:gd name="T81" fmla="*/ 45 h 251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45"/>
                <a:gd name="T124" fmla="*/ 0 h 2517"/>
                <a:gd name="T125" fmla="*/ 1845 w 1845"/>
                <a:gd name="T126" fmla="*/ 2517 h 251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45" h="2517">
                  <a:moveTo>
                    <a:pt x="978" y="45"/>
                  </a:moveTo>
                  <a:lnTo>
                    <a:pt x="555" y="0"/>
                  </a:lnTo>
                  <a:lnTo>
                    <a:pt x="333" y="179"/>
                  </a:lnTo>
                  <a:lnTo>
                    <a:pt x="124" y="257"/>
                  </a:lnTo>
                  <a:lnTo>
                    <a:pt x="6" y="333"/>
                  </a:lnTo>
                  <a:lnTo>
                    <a:pt x="0" y="617"/>
                  </a:lnTo>
                  <a:lnTo>
                    <a:pt x="213" y="758"/>
                  </a:lnTo>
                  <a:lnTo>
                    <a:pt x="300" y="945"/>
                  </a:lnTo>
                  <a:lnTo>
                    <a:pt x="394" y="1004"/>
                  </a:lnTo>
                  <a:lnTo>
                    <a:pt x="186" y="1281"/>
                  </a:lnTo>
                  <a:lnTo>
                    <a:pt x="333" y="1365"/>
                  </a:lnTo>
                  <a:lnTo>
                    <a:pt x="330" y="1460"/>
                  </a:lnTo>
                  <a:lnTo>
                    <a:pt x="457" y="1506"/>
                  </a:lnTo>
                  <a:lnTo>
                    <a:pt x="841" y="1817"/>
                  </a:lnTo>
                  <a:lnTo>
                    <a:pt x="898" y="2001"/>
                  </a:lnTo>
                  <a:lnTo>
                    <a:pt x="1102" y="2099"/>
                  </a:lnTo>
                  <a:lnTo>
                    <a:pt x="1130" y="1995"/>
                  </a:lnTo>
                  <a:lnTo>
                    <a:pt x="1245" y="2012"/>
                  </a:lnTo>
                  <a:lnTo>
                    <a:pt x="1336" y="2288"/>
                  </a:lnTo>
                  <a:lnTo>
                    <a:pt x="1521" y="2517"/>
                  </a:lnTo>
                  <a:lnTo>
                    <a:pt x="1639" y="2415"/>
                  </a:lnTo>
                  <a:lnTo>
                    <a:pt x="1671" y="2325"/>
                  </a:lnTo>
                  <a:lnTo>
                    <a:pt x="1564" y="2165"/>
                  </a:lnTo>
                  <a:lnTo>
                    <a:pt x="1753" y="2120"/>
                  </a:lnTo>
                  <a:lnTo>
                    <a:pt x="1845" y="2012"/>
                  </a:lnTo>
                  <a:lnTo>
                    <a:pt x="1773" y="1980"/>
                  </a:lnTo>
                  <a:lnTo>
                    <a:pt x="1635" y="1937"/>
                  </a:lnTo>
                  <a:lnTo>
                    <a:pt x="1590" y="1785"/>
                  </a:lnTo>
                  <a:lnTo>
                    <a:pt x="1545" y="1560"/>
                  </a:lnTo>
                  <a:lnTo>
                    <a:pt x="1632" y="1427"/>
                  </a:lnTo>
                  <a:lnTo>
                    <a:pt x="1756" y="1337"/>
                  </a:lnTo>
                  <a:lnTo>
                    <a:pt x="1638" y="1011"/>
                  </a:lnTo>
                  <a:lnTo>
                    <a:pt x="1567" y="870"/>
                  </a:lnTo>
                  <a:lnTo>
                    <a:pt x="1446" y="819"/>
                  </a:lnTo>
                  <a:lnTo>
                    <a:pt x="1366" y="752"/>
                  </a:lnTo>
                  <a:lnTo>
                    <a:pt x="1369" y="620"/>
                  </a:lnTo>
                  <a:lnTo>
                    <a:pt x="1246" y="569"/>
                  </a:lnTo>
                  <a:lnTo>
                    <a:pt x="1261" y="425"/>
                  </a:lnTo>
                  <a:lnTo>
                    <a:pt x="1185" y="317"/>
                  </a:lnTo>
                  <a:lnTo>
                    <a:pt x="1200" y="225"/>
                  </a:lnTo>
                  <a:lnTo>
                    <a:pt x="978" y="4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14970060" y="8692078"/>
              <a:ext cx="1443248" cy="898244"/>
            </a:xfrm>
            <a:custGeom>
              <a:avLst/>
              <a:gdLst>
                <a:gd name="T0" fmla="*/ 171 w 2145"/>
                <a:gd name="T1" fmla="*/ 1245 h 1335"/>
                <a:gd name="T2" fmla="*/ 498 w 2145"/>
                <a:gd name="T3" fmla="*/ 1285 h 1335"/>
                <a:gd name="T4" fmla="*/ 680 w 2145"/>
                <a:gd name="T5" fmla="*/ 1335 h 1335"/>
                <a:gd name="T6" fmla="*/ 1080 w 2145"/>
                <a:gd name="T7" fmla="*/ 1215 h 1335"/>
                <a:gd name="T8" fmla="*/ 1515 w 2145"/>
                <a:gd name="T9" fmla="*/ 955 h 1335"/>
                <a:gd name="T10" fmla="*/ 1903 w 2145"/>
                <a:gd name="T11" fmla="*/ 594 h 1335"/>
                <a:gd name="T12" fmla="*/ 2145 w 2145"/>
                <a:gd name="T13" fmla="*/ 360 h 1335"/>
                <a:gd name="T14" fmla="*/ 1792 w 2145"/>
                <a:gd name="T15" fmla="*/ 219 h 1335"/>
                <a:gd name="T16" fmla="*/ 1710 w 2145"/>
                <a:gd name="T17" fmla="*/ 45 h 1335"/>
                <a:gd name="T18" fmla="*/ 1550 w 2145"/>
                <a:gd name="T19" fmla="*/ 265 h 1335"/>
                <a:gd name="T20" fmla="*/ 1475 w 2145"/>
                <a:gd name="T21" fmla="*/ 420 h 1335"/>
                <a:gd name="T22" fmla="*/ 1455 w 2145"/>
                <a:gd name="T23" fmla="*/ 570 h 1335"/>
                <a:gd name="T24" fmla="*/ 1130 w 2145"/>
                <a:gd name="T25" fmla="*/ 390 h 1335"/>
                <a:gd name="T26" fmla="*/ 1445 w 2145"/>
                <a:gd name="T27" fmla="*/ 375 h 1335"/>
                <a:gd name="T28" fmla="*/ 1470 w 2145"/>
                <a:gd name="T29" fmla="*/ 280 h 1335"/>
                <a:gd name="T30" fmla="*/ 1505 w 2145"/>
                <a:gd name="T31" fmla="*/ 210 h 1335"/>
                <a:gd name="T32" fmla="*/ 1590 w 2145"/>
                <a:gd name="T33" fmla="*/ 0 h 1335"/>
                <a:gd name="T34" fmla="*/ 1430 w 2145"/>
                <a:gd name="T35" fmla="*/ 85 h 1335"/>
                <a:gd name="T36" fmla="*/ 1115 w 2145"/>
                <a:gd name="T37" fmla="*/ 340 h 1335"/>
                <a:gd name="T38" fmla="*/ 810 w 2145"/>
                <a:gd name="T39" fmla="*/ 400 h 1335"/>
                <a:gd name="T40" fmla="*/ 930 w 2145"/>
                <a:gd name="T41" fmla="*/ 610 h 1335"/>
                <a:gd name="T42" fmla="*/ 1365 w 2145"/>
                <a:gd name="T43" fmla="*/ 660 h 1335"/>
                <a:gd name="T44" fmla="*/ 960 w 2145"/>
                <a:gd name="T45" fmla="*/ 705 h 1335"/>
                <a:gd name="T46" fmla="*/ 770 w 2145"/>
                <a:gd name="T47" fmla="*/ 660 h 1335"/>
                <a:gd name="T48" fmla="*/ 545 w 2145"/>
                <a:gd name="T49" fmla="*/ 820 h 1335"/>
                <a:gd name="T50" fmla="*/ 825 w 2145"/>
                <a:gd name="T51" fmla="*/ 1020 h 1335"/>
                <a:gd name="T52" fmla="*/ 945 w 2145"/>
                <a:gd name="T53" fmla="*/ 1075 h 1335"/>
                <a:gd name="T54" fmla="*/ 800 w 2145"/>
                <a:gd name="T55" fmla="*/ 1180 h 1335"/>
                <a:gd name="T56" fmla="*/ 735 w 2145"/>
                <a:gd name="T57" fmla="*/ 1030 h 1335"/>
                <a:gd name="T58" fmla="*/ 530 w 2145"/>
                <a:gd name="T59" fmla="*/ 1005 h 1335"/>
                <a:gd name="T60" fmla="*/ 435 w 2145"/>
                <a:gd name="T61" fmla="*/ 970 h 1335"/>
                <a:gd name="T62" fmla="*/ 305 w 2145"/>
                <a:gd name="T63" fmla="*/ 1260 h 1335"/>
                <a:gd name="T64" fmla="*/ 255 w 2145"/>
                <a:gd name="T65" fmla="*/ 1110 h 1335"/>
                <a:gd name="T66" fmla="*/ 45 w 2145"/>
                <a:gd name="T67" fmla="*/ 1110 h 133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45"/>
                <a:gd name="T103" fmla="*/ 0 h 1335"/>
                <a:gd name="T104" fmla="*/ 2145 w 2145"/>
                <a:gd name="T105" fmla="*/ 1335 h 133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45" h="1335">
                  <a:moveTo>
                    <a:pt x="0" y="1186"/>
                  </a:moveTo>
                  <a:lnTo>
                    <a:pt x="171" y="1245"/>
                  </a:lnTo>
                  <a:lnTo>
                    <a:pt x="306" y="1260"/>
                  </a:lnTo>
                  <a:lnTo>
                    <a:pt x="498" y="1285"/>
                  </a:lnTo>
                  <a:lnTo>
                    <a:pt x="618" y="1200"/>
                  </a:lnTo>
                  <a:lnTo>
                    <a:pt x="680" y="1335"/>
                  </a:lnTo>
                  <a:lnTo>
                    <a:pt x="963" y="1290"/>
                  </a:lnTo>
                  <a:lnTo>
                    <a:pt x="1080" y="1215"/>
                  </a:lnTo>
                  <a:lnTo>
                    <a:pt x="1290" y="1135"/>
                  </a:lnTo>
                  <a:lnTo>
                    <a:pt x="1515" y="955"/>
                  </a:lnTo>
                  <a:lnTo>
                    <a:pt x="1935" y="1000"/>
                  </a:lnTo>
                  <a:lnTo>
                    <a:pt x="1903" y="594"/>
                  </a:lnTo>
                  <a:lnTo>
                    <a:pt x="2086" y="490"/>
                  </a:lnTo>
                  <a:lnTo>
                    <a:pt x="2145" y="360"/>
                  </a:lnTo>
                  <a:lnTo>
                    <a:pt x="2100" y="120"/>
                  </a:lnTo>
                  <a:lnTo>
                    <a:pt x="1792" y="219"/>
                  </a:lnTo>
                  <a:lnTo>
                    <a:pt x="1794" y="27"/>
                  </a:lnTo>
                  <a:lnTo>
                    <a:pt x="1710" y="45"/>
                  </a:lnTo>
                  <a:lnTo>
                    <a:pt x="1700" y="195"/>
                  </a:lnTo>
                  <a:lnTo>
                    <a:pt x="1550" y="265"/>
                  </a:lnTo>
                  <a:lnTo>
                    <a:pt x="1605" y="355"/>
                  </a:lnTo>
                  <a:lnTo>
                    <a:pt x="1475" y="420"/>
                  </a:lnTo>
                  <a:lnTo>
                    <a:pt x="1515" y="550"/>
                  </a:lnTo>
                  <a:lnTo>
                    <a:pt x="1455" y="570"/>
                  </a:lnTo>
                  <a:lnTo>
                    <a:pt x="1380" y="430"/>
                  </a:lnTo>
                  <a:lnTo>
                    <a:pt x="1130" y="390"/>
                  </a:lnTo>
                  <a:lnTo>
                    <a:pt x="1275" y="345"/>
                  </a:lnTo>
                  <a:lnTo>
                    <a:pt x="1445" y="375"/>
                  </a:lnTo>
                  <a:lnTo>
                    <a:pt x="1500" y="325"/>
                  </a:lnTo>
                  <a:lnTo>
                    <a:pt x="1470" y="280"/>
                  </a:lnTo>
                  <a:lnTo>
                    <a:pt x="1275" y="210"/>
                  </a:lnTo>
                  <a:lnTo>
                    <a:pt x="1505" y="210"/>
                  </a:lnTo>
                  <a:lnTo>
                    <a:pt x="1650" y="60"/>
                  </a:lnTo>
                  <a:lnTo>
                    <a:pt x="1590" y="0"/>
                  </a:lnTo>
                  <a:lnTo>
                    <a:pt x="1530" y="100"/>
                  </a:lnTo>
                  <a:lnTo>
                    <a:pt x="1430" y="85"/>
                  </a:lnTo>
                  <a:lnTo>
                    <a:pt x="1250" y="205"/>
                  </a:lnTo>
                  <a:lnTo>
                    <a:pt x="1115" y="340"/>
                  </a:lnTo>
                  <a:lnTo>
                    <a:pt x="990" y="340"/>
                  </a:lnTo>
                  <a:lnTo>
                    <a:pt x="810" y="400"/>
                  </a:lnTo>
                  <a:lnTo>
                    <a:pt x="905" y="480"/>
                  </a:lnTo>
                  <a:lnTo>
                    <a:pt x="930" y="610"/>
                  </a:lnTo>
                  <a:lnTo>
                    <a:pt x="1325" y="600"/>
                  </a:lnTo>
                  <a:lnTo>
                    <a:pt x="1365" y="660"/>
                  </a:lnTo>
                  <a:lnTo>
                    <a:pt x="1170" y="745"/>
                  </a:lnTo>
                  <a:lnTo>
                    <a:pt x="960" y="705"/>
                  </a:lnTo>
                  <a:lnTo>
                    <a:pt x="860" y="745"/>
                  </a:lnTo>
                  <a:lnTo>
                    <a:pt x="770" y="660"/>
                  </a:lnTo>
                  <a:lnTo>
                    <a:pt x="585" y="730"/>
                  </a:lnTo>
                  <a:lnTo>
                    <a:pt x="545" y="820"/>
                  </a:lnTo>
                  <a:lnTo>
                    <a:pt x="750" y="900"/>
                  </a:lnTo>
                  <a:lnTo>
                    <a:pt x="825" y="1020"/>
                  </a:lnTo>
                  <a:lnTo>
                    <a:pt x="935" y="990"/>
                  </a:lnTo>
                  <a:lnTo>
                    <a:pt x="945" y="1075"/>
                  </a:lnTo>
                  <a:lnTo>
                    <a:pt x="840" y="1080"/>
                  </a:lnTo>
                  <a:lnTo>
                    <a:pt x="800" y="1180"/>
                  </a:lnTo>
                  <a:lnTo>
                    <a:pt x="740" y="1170"/>
                  </a:lnTo>
                  <a:lnTo>
                    <a:pt x="735" y="1030"/>
                  </a:lnTo>
                  <a:lnTo>
                    <a:pt x="645" y="945"/>
                  </a:lnTo>
                  <a:lnTo>
                    <a:pt x="530" y="1005"/>
                  </a:lnTo>
                  <a:lnTo>
                    <a:pt x="485" y="1110"/>
                  </a:lnTo>
                  <a:lnTo>
                    <a:pt x="435" y="970"/>
                  </a:lnTo>
                  <a:lnTo>
                    <a:pt x="305" y="1095"/>
                  </a:lnTo>
                  <a:lnTo>
                    <a:pt x="305" y="1260"/>
                  </a:lnTo>
                  <a:lnTo>
                    <a:pt x="170" y="1245"/>
                  </a:lnTo>
                  <a:lnTo>
                    <a:pt x="255" y="1110"/>
                  </a:lnTo>
                  <a:lnTo>
                    <a:pt x="155" y="1075"/>
                  </a:lnTo>
                  <a:lnTo>
                    <a:pt x="45" y="1110"/>
                  </a:lnTo>
                  <a:lnTo>
                    <a:pt x="0" y="118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14579811" y="9489395"/>
              <a:ext cx="1301951" cy="1069819"/>
            </a:xfrm>
            <a:custGeom>
              <a:avLst/>
              <a:gdLst>
                <a:gd name="T0" fmla="*/ 0 w 1935"/>
                <a:gd name="T1" fmla="*/ 1005 h 1590"/>
                <a:gd name="T2" fmla="*/ 130 w 1935"/>
                <a:gd name="T3" fmla="*/ 1065 h 1590"/>
                <a:gd name="T4" fmla="*/ 685 w 1935"/>
                <a:gd name="T5" fmla="*/ 1030 h 1590"/>
                <a:gd name="T6" fmla="*/ 1075 w 1935"/>
                <a:gd name="T7" fmla="*/ 895 h 1590"/>
                <a:gd name="T8" fmla="*/ 1290 w 1935"/>
                <a:gd name="T9" fmla="*/ 1105 h 1590"/>
                <a:gd name="T10" fmla="*/ 1390 w 1935"/>
                <a:gd name="T11" fmla="*/ 865 h 1590"/>
                <a:gd name="T12" fmla="*/ 1540 w 1935"/>
                <a:gd name="T13" fmla="*/ 760 h 1590"/>
                <a:gd name="T14" fmla="*/ 1495 w 1935"/>
                <a:gd name="T15" fmla="*/ 990 h 1590"/>
                <a:gd name="T16" fmla="*/ 1450 w 1935"/>
                <a:gd name="T17" fmla="*/ 1140 h 1590"/>
                <a:gd name="T18" fmla="*/ 1120 w 1935"/>
                <a:gd name="T19" fmla="*/ 1105 h 1590"/>
                <a:gd name="T20" fmla="*/ 805 w 1935"/>
                <a:gd name="T21" fmla="*/ 1125 h 1590"/>
                <a:gd name="T22" fmla="*/ 271 w 1935"/>
                <a:gd name="T23" fmla="*/ 1156 h 1590"/>
                <a:gd name="T24" fmla="*/ 524 w 1935"/>
                <a:gd name="T25" fmla="*/ 1165 h 1590"/>
                <a:gd name="T26" fmla="*/ 854 w 1935"/>
                <a:gd name="T27" fmla="*/ 1275 h 1590"/>
                <a:gd name="T28" fmla="*/ 1258 w 1935"/>
                <a:gd name="T29" fmla="*/ 1468 h 1590"/>
                <a:gd name="T30" fmla="*/ 1616 w 1935"/>
                <a:gd name="T31" fmla="*/ 1380 h 1590"/>
                <a:gd name="T32" fmla="*/ 1868 w 1935"/>
                <a:gd name="T33" fmla="*/ 1230 h 1590"/>
                <a:gd name="T34" fmla="*/ 1725 w 1935"/>
                <a:gd name="T35" fmla="*/ 1050 h 1590"/>
                <a:gd name="T36" fmla="*/ 1935 w 1935"/>
                <a:gd name="T37" fmla="*/ 775 h 1590"/>
                <a:gd name="T38" fmla="*/ 1750 w 1935"/>
                <a:gd name="T39" fmla="*/ 525 h 1590"/>
                <a:gd name="T40" fmla="*/ 1545 w 1935"/>
                <a:gd name="T41" fmla="*/ 105 h 1590"/>
                <a:gd name="T42" fmla="*/ 1200 w 1935"/>
                <a:gd name="T43" fmla="*/ 15 h 1590"/>
                <a:gd name="T44" fmla="*/ 884 w 1935"/>
                <a:gd name="T45" fmla="*/ 76 h 1590"/>
                <a:gd name="T46" fmla="*/ 580 w 1935"/>
                <a:gd name="T47" fmla="*/ 0 h 1590"/>
                <a:gd name="T48" fmla="*/ 490 w 1935"/>
                <a:gd name="T49" fmla="*/ 160 h 1590"/>
                <a:gd name="T50" fmla="*/ 670 w 1935"/>
                <a:gd name="T51" fmla="*/ 180 h 1590"/>
                <a:gd name="T52" fmla="*/ 1035 w 1935"/>
                <a:gd name="T53" fmla="*/ 280 h 1590"/>
                <a:gd name="T54" fmla="*/ 910 w 1935"/>
                <a:gd name="T55" fmla="*/ 345 h 1590"/>
                <a:gd name="T56" fmla="*/ 435 w 1935"/>
                <a:gd name="T57" fmla="*/ 370 h 1590"/>
                <a:gd name="T58" fmla="*/ 270 w 1935"/>
                <a:gd name="T59" fmla="*/ 475 h 1590"/>
                <a:gd name="T60" fmla="*/ 370 w 1935"/>
                <a:gd name="T61" fmla="*/ 565 h 1590"/>
                <a:gd name="T62" fmla="*/ 360 w 1935"/>
                <a:gd name="T63" fmla="*/ 730 h 1590"/>
                <a:gd name="T64" fmla="*/ 370 w 1935"/>
                <a:gd name="T65" fmla="*/ 880 h 1590"/>
                <a:gd name="T66" fmla="*/ 195 w 1935"/>
                <a:gd name="T67" fmla="*/ 790 h 1590"/>
                <a:gd name="T68" fmla="*/ 25 w 1935"/>
                <a:gd name="T69" fmla="*/ 780 h 159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35"/>
                <a:gd name="T106" fmla="*/ 0 h 1590"/>
                <a:gd name="T107" fmla="*/ 1935 w 1935"/>
                <a:gd name="T108" fmla="*/ 1590 h 159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35" h="1590">
                  <a:moveTo>
                    <a:pt x="25" y="780"/>
                  </a:moveTo>
                  <a:lnTo>
                    <a:pt x="0" y="1005"/>
                  </a:lnTo>
                  <a:lnTo>
                    <a:pt x="55" y="1135"/>
                  </a:lnTo>
                  <a:lnTo>
                    <a:pt x="130" y="1065"/>
                  </a:lnTo>
                  <a:lnTo>
                    <a:pt x="375" y="1060"/>
                  </a:lnTo>
                  <a:lnTo>
                    <a:pt x="685" y="1030"/>
                  </a:lnTo>
                  <a:lnTo>
                    <a:pt x="1000" y="1005"/>
                  </a:lnTo>
                  <a:lnTo>
                    <a:pt x="1075" y="895"/>
                  </a:lnTo>
                  <a:lnTo>
                    <a:pt x="1125" y="940"/>
                  </a:lnTo>
                  <a:lnTo>
                    <a:pt x="1290" y="1105"/>
                  </a:lnTo>
                  <a:lnTo>
                    <a:pt x="1365" y="1015"/>
                  </a:lnTo>
                  <a:lnTo>
                    <a:pt x="1390" y="865"/>
                  </a:lnTo>
                  <a:lnTo>
                    <a:pt x="1380" y="730"/>
                  </a:lnTo>
                  <a:lnTo>
                    <a:pt x="1540" y="760"/>
                  </a:lnTo>
                  <a:lnTo>
                    <a:pt x="1470" y="925"/>
                  </a:lnTo>
                  <a:lnTo>
                    <a:pt x="1495" y="990"/>
                  </a:lnTo>
                  <a:lnTo>
                    <a:pt x="1555" y="1090"/>
                  </a:lnTo>
                  <a:lnTo>
                    <a:pt x="1450" y="1140"/>
                  </a:lnTo>
                  <a:lnTo>
                    <a:pt x="1245" y="1180"/>
                  </a:lnTo>
                  <a:lnTo>
                    <a:pt x="1120" y="1105"/>
                  </a:lnTo>
                  <a:lnTo>
                    <a:pt x="1015" y="1105"/>
                  </a:lnTo>
                  <a:lnTo>
                    <a:pt x="805" y="1125"/>
                  </a:lnTo>
                  <a:lnTo>
                    <a:pt x="490" y="1105"/>
                  </a:lnTo>
                  <a:lnTo>
                    <a:pt x="271" y="1156"/>
                  </a:lnTo>
                  <a:lnTo>
                    <a:pt x="416" y="1215"/>
                  </a:lnTo>
                  <a:lnTo>
                    <a:pt x="524" y="1165"/>
                  </a:lnTo>
                  <a:lnTo>
                    <a:pt x="698" y="1210"/>
                  </a:lnTo>
                  <a:lnTo>
                    <a:pt x="854" y="1275"/>
                  </a:lnTo>
                  <a:lnTo>
                    <a:pt x="1006" y="1362"/>
                  </a:lnTo>
                  <a:lnTo>
                    <a:pt x="1258" y="1468"/>
                  </a:lnTo>
                  <a:lnTo>
                    <a:pt x="1513" y="1590"/>
                  </a:lnTo>
                  <a:lnTo>
                    <a:pt x="1616" y="1380"/>
                  </a:lnTo>
                  <a:lnTo>
                    <a:pt x="1802" y="1345"/>
                  </a:lnTo>
                  <a:lnTo>
                    <a:pt x="1868" y="1230"/>
                  </a:lnTo>
                  <a:lnTo>
                    <a:pt x="1875" y="1135"/>
                  </a:lnTo>
                  <a:lnTo>
                    <a:pt x="1725" y="1050"/>
                  </a:lnTo>
                  <a:lnTo>
                    <a:pt x="1830" y="910"/>
                  </a:lnTo>
                  <a:lnTo>
                    <a:pt x="1935" y="775"/>
                  </a:lnTo>
                  <a:lnTo>
                    <a:pt x="1840" y="715"/>
                  </a:lnTo>
                  <a:lnTo>
                    <a:pt x="1750" y="525"/>
                  </a:lnTo>
                  <a:lnTo>
                    <a:pt x="1540" y="385"/>
                  </a:lnTo>
                  <a:lnTo>
                    <a:pt x="1545" y="105"/>
                  </a:lnTo>
                  <a:lnTo>
                    <a:pt x="1260" y="150"/>
                  </a:lnTo>
                  <a:lnTo>
                    <a:pt x="1200" y="15"/>
                  </a:lnTo>
                  <a:lnTo>
                    <a:pt x="1075" y="100"/>
                  </a:lnTo>
                  <a:lnTo>
                    <a:pt x="884" y="76"/>
                  </a:lnTo>
                  <a:lnTo>
                    <a:pt x="749" y="58"/>
                  </a:lnTo>
                  <a:lnTo>
                    <a:pt x="580" y="0"/>
                  </a:lnTo>
                  <a:lnTo>
                    <a:pt x="520" y="75"/>
                  </a:lnTo>
                  <a:lnTo>
                    <a:pt x="490" y="160"/>
                  </a:lnTo>
                  <a:lnTo>
                    <a:pt x="570" y="205"/>
                  </a:lnTo>
                  <a:lnTo>
                    <a:pt x="670" y="180"/>
                  </a:lnTo>
                  <a:lnTo>
                    <a:pt x="825" y="255"/>
                  </a:lnTo>
                  <a:lnTo>
                    <a:pt x="1035" y="280"/>
                  </a:lnTo>
                  <a:lnTo>
                    <a:pt x="1215" y="355"/>
                  </a:lnTo>
                  <a:lnTo>
                    <a:pt x="910" y="345"/>
                  </a:lnTo>
                  <a:lnTo>
                    <a:pt x="600" y="310"/>
                  </a:lnTo>
                  <a:lnTo>
                    <a:pt x="435" y="370"/>
                  </a:lnTo>
                  <a:lnTo>
                    <a:pt x="240" y="390"/>
                  </a:lnTo>
                  <a:lnTo>
                    <a:pt x="270" y="475"/>
                  </a:lnTo>
                  <a:lnTo>
                    <a:pt x="475" y="505"/>
                  </a:lnTo>
                  <a:lnTo>
                    <a:pt x="370" y="565"/>
                  </a:lnTo>
                  <a:lnTo>
                    <a:pt x="355" y="655"/>
                  </a:lnTo>
                  <a:lnTo>
                    <a:pt x="360" y="730"/>
                  </a:lnTo>
                  <a:lnTo>
                    <a:pt x="465" y="805"/>
                  </a:lnTo>
                  <a:lnTo>
                    <a:pt x="370" y="880"/>
                  </a:lnTo>
                  <a:lnTo>
                    <a:pt x="255" y="870"/>
                  </a:lnTo>
                  <a:lnTo>
                    <a:pt x="195" y="790"/>
                  </a:lnTo>
                  <a:lnTo>
                    <a:pt x="90" y="825"/>
                  </a:lnTo>
                  <a:lnTo>
                    <a:pt x="25" y="78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30" name="Freeform 13"/>
            <p:cNvSpPr>
              <a:spLocks/>
            </p:cNvSpPr>
            <p:nvPr/>
          </p:nvSpPr>
          <p:spPr bwMode="auto">
            <a:xfrm>
              <a:off x="15545342" y="10316991"/>
              <a:ext cx="1093368" cy="1190931"/>
            </a:xfrm>
            <a:custGeom>
              <a:avLst/>
              <a:gdLst>
                <a:gd name="T0" fmla="*/ 1080 w 1624"/>
                <a:gd name="T1" fmla="*/ 1771 h 1771"/>
                <a:gd name="T2" fmla="*/ 1020 w 1624"/>
                <a:gd name="T3" fmla="*/ 1740 h 1771"/>
                <a:gd name="T4" fmla="*/ 935 w 1624"/>
                <a:gd name="T5" fmla="*/ 1531 h 1771"/>
                <a:gd name="T6" fmla="*/ 690 w 1624"/>
                <a:gd name="T7" fmla="*/ 1051 h 1771"/>
                <a:gd name="T8" fmla="*/ 510 w 1624"/>
                <a:gd name="T9" fmla="*/ 916 h 1771"/>
                <a:gd name="T10" fmla="*/ 335 w 1624"/>
                <a:gd name="T11" fmla="*/ 865 h 1771"/>
                <a:gd name="T12" fmla="*/ 170 w 1624"/>
                <a:gd name="T13" fmla="*/ 956 h 1771"/>
                <a:gd name="T14" fmla="*/ 0 w 1624"/>
                <a:gd name="T15" fmla="*/ 931 h 1771"/>
                <a:gd name="T16" fmla="*/ 80 w 1624"/>
                <a:gd name="T17" fmla="*/ 715 h 1771"/>
                <a:gd name="T18" fmla="*/ 35 w 1624"/>
                <a:gd name="T19" fmla="*/ 555 h 1771"/>
                <a:gd name="T20" fmla="*/ 80 w 1624"/>
                <a:gd name="T21" fmla="*/ 355 h 1771"/>
                <a:gd name="T22" fmla="*/ 180 w 1624"/>
                <a:gd name="T23" fmla="*/ 150 h 1771"/>
                <a:gd name="T24" fmla="*/ 365 w 1624"/>
                <a:gd name="T25" fmla="*/ 115 h 1771"/>
                <a:gd name="T26" fmla="*/ 435 w 1624"/>
                <a:gd name="T27" fmla="*/ 0 h 1771"/>
                <a:gd name="T28" fmla="*/ 560 w 1624"/>
                <a:gd name="T29" fmla="*/ 45 h 1771"/>
                <a:gd name="T30" fmla="*/ 945 w 1624"/>
                <a:gd name="T31" fmla="*/ 355 h 1771"/>
                <a:gd name="T32" fmla="*/ 1005 w 1624"/>
                <a:gd name="T33" fmla="*/ 540 h 1771"/>
                <a:gd name="T34" fmla="*/ 1205 w 1624"/>
                <a:gd name="T35" fmla="*/ 640 h 1771"/>
                <a:gd name="T36" fmla="*/ 1235 w 1624"/>
                <a:gd name="T37" fmla="*/ 535 h 1771"/>
                <a:gd name="T38" fmla="*/ 1350 w 1624"/>
                <a:gd name="T39" fmla="*/ 550 h 1771"/>
                <a:gd name="T40" fmla="*/ 1440 w 1624"/>
                <a:gd name="T41" fmla="*/ 825 h 1771"/>
                <a:gd name="T42" fmla="*/ 1624 w 1624"/>
                <a:gd name="T43" fmla="*/ 1056 h 1771"/>
                <a:gd name="T44" fmla="*/ 1594 w 1624"/>
                <a:gd name="T45" fmla="*/ 1338 h 1771"/>
                <a:gd name="T46" fmla="*/ 1570 w 1624"/>
                <a:gd name="T47" fmla="*/ 1470 h 1771"/>
                <a:gd name="T48" fmla="*/ 1572 w 1624"/>
                <a:gd name="T49" fmla="*/ 1586 h 1771"/>
                <a:gd name="T50" fmla="*/ 1552 w 1624"/>
                <a:gd name="T51" fmla="*/ 1618 h 1771"/>
                <a:gd name="T52" fmla="*/ 1460 w 1624"/>
                <a:gd name="T53" fmla="*/ 1528 h 1771"/>
                <a:gd name="T54" fmla="*/ 1350 w 1624"/>
                <a:gd name="T55" fmla="*/ 1531 h 1771"/>
                <a:gd name="T56" fmla="*/ 1230 w 1624"/>
                <a:gd name="T57" fmla="*/ 1526 h 1771"/>
                <a:gd name="T58" fmla="*/ 1200 w 1624"/>
                <a:gd name="T59" fmla="*/ 1606 h 1771"/>
                <a:gd name="T60" fmla="*/ 1235 w 1624"/>
                <a:gd name="T61" fmla="*/ 1726 h 1771"/>
                <a:gd name="T62" fmla="*/ 1080 w 1624"/>
                <a:gd name="T63" fmla="*/ 1771 h 17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624"/>
                <a:gd name="T97" fmla="*/ 0 h 1771"/>
                <a:gd name="T98" fmla="*/ 1624 w 1624"/>
                <a:gd name="T99" fmla="*/ 1771 h 177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624" h="1771">
                  <a:moveTo>
                    <a:pt x="1080" y="1771"/>
                  </a:moveTo>
                  <a:lnTo>
                    <a:pt x="1020" y="1740"/>
                  </a:lnTo>
                  <a:lnTo>
                    <a:pt x="935" y="1531"/>
                  </a:lnTo>
                  <a:lnTo>
                    <a:pt x="690" y="1051"/>
                  </a:lnTo>
                  <a:lnTo>
                    <a:pt x="510" y="916"/>
                  </a:lnTo>
                  <a:lnTo>
                    <a:pt x="335" y="865"/>
                  </a:lnTo>
                  <a:lnTo>
                    <a:pt x="170" y="956"/>
                  </a:lnTo>
                  <a:lnTo>
                    <a:pt x="0" y="931"/>
                  </a:lnTo>
                  <a:lnTo>
                    <a:pt x="80" y="715"/>
                  </a:lnTo>
                  <a:lnTo>
                    <a:pt x="35" y="555"/>
                  </a:lnTo>
                  <a:lnTo>
                    <a:pt x="80" y="355"/>
                  </a:lnTo>
                  <a:lnTo>
                    <a:pt x="180" y="150"/>
                  </a:lnTo>
                  <a:lnTo>
                    <a:pt x="365" y="115"/>
                  </a:lnTo>
                  <a:lnTo>
                    <a:pt x="435" y="0"/>
                  </a:lnTo>
                  <a:lnTo>
                    <a:pt x="560" y="45"/>
                  </a:lnTo>
                  <a:lnTo>
                    <a:pt x="945" y="355"/>
                  </a:lnTo>
                  <a:lnTo>
                    <a:pt x="1005" y="540"/>
                  </a:lnTo>
                  <a:lnTo>
                    <a:pt x="1205" y="640"/>
                  </a:lnTo>
                  <a:lnTo>
                    <a:pt x="1235" y="535"/>
                  </a:lnTo>
                  <a:lnTo>
                    <a:pt x="1350" y="550"/>
                  </a:lnTo>
                  <a:lnTo>
                    <a:pt x="1440" y="825"/>
                  </a:lnTo>
                  <a:lnTo>
                    <a:pt x="1624" y="1056"/>
                  </a:lnTo>
                  <a:lnTo>
                    <a:pt x="1594" y="1338"/>
                  </a:lnTo>
                  <a:lnTo>
                    <a:pt x="1570" y="1470"/>
                  </a:lnTo>
                  <a:lnTo>
                    <a:pt x="1572" y="1586"/>
                  </a:lnTo>
                  <a:lnTo>
                    <a:pt x="1552" y="1618"/>
                  </a:lnTo>
                  <a:lnTo>
                    <a:pt x="1460" y="1528"/>
                  </a:lnTo>
                  <a:lnTo>
                    <a:pt x="1350" y="1531"/>
                  </a:lnTo>
                  <a:lnTo>
                    <a:pt x="1230" y="1526"/>
                  </a:lnTo>
                  <a:lnTo>
                    <a:pt x="1200" y="1606"/>
                  </a:lnTo>
                  <a:lnTo>
                    <a:pt x="1235" y="1726"/>
                  </a:lnTo>
                  <a:lnTo>
                    <a:pt x="1080" y="1771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31" name="Freeform 14"/>
            <p:cNvSpPr>
              <a:spLocks/>
            </p:cNvSpPr>
            <p:nvPr/>
          </p:nvSpPr>
          <p:spPr bwMode="auto">
            <a:xfrm>
              <a:off x="16618524" y="10761067"/>
              <a:ext cx="497903" cy="666114"/>
            </a:xfrm>
            <a:custGeom>
              <a:avLst/>
              <a:gdLst>
                <a:gd name="T0" fmla="*/ 211 w 742"/>
                <a:gd name="T1" fmla="*/ 609 h 991"/>
                <a:gd name="T2" fmla="*/ 209 w 742"/>
                <a:gd name="T3" fmla="*/ 567 h 991"/>
                <a:gd name="T4" fmla="*/ 187 w 742"/>
                <a:gd name="T5" fmla="*/ 517 h 991"/>
                <a:gd name="T6" fmla="*/ 122 w 742"/>
                <a:gd name="T7" fmla="*/ 444 h 991"/>
                <a:gd name="T8" fmla="*/ 34 w 742"/>
                <a:gd name="T9" fmla="*/ 397 h 991"/>
                <a:gd name="T10" fmla="*/ 150 w 742"/>
                <a:gd name="T11" fmla="*/ 295 h 991"/>
                <a:gd name="T12" fmla="*/ 180 w 742"/>
                <a:gd name="T13" fmla="*/ 205 h 991"/>
                <a:gd name="T14" fmla="*/ 75 w 742"/>
                <a:gd name="T15" fmla="*/ 45 h 991"/>
                <a:gd name="T16" fmla="*/ 265 w 742"/>
                <a:gd name="T17" fmla="*/ 0 h 991"/>
                <a:gd name="T18" fmla="*/ 505 w 742"/>
                <a:gd name="T19" fmla="*/ 175 h 991"/>
                <a:gd name="T20" fmla="*/ 555 w 742"/>
                <a:gd name="T21" fmla="*/ 420 h 991"/>
                <a:gd name="T22" fmla="*/ 742 w 742"/>
                <a:gd name="T23" fmla="*/ 784 h 991"/>
                <a:gd name="T24" fmla="*/ 610 w 742"/>
                <a:gd name="T25" fmla="*/ 826 h 991"/>
                <a:gd name="T26" fmla="*/ 495 w 742"/>
                <a:gd name="T27" fmla="*/ 896 h 991"/>
                <a:gd name="T28" fmla="*/ 345 w 742"/>
                <a:gd name="T29" fmla="*/ 836 h 991"/>
                <a:gd name="T30" fmla="*/ 235 w 742"/>
                <a:gd name="T31" fmla="*/ 886 h 991"/>
                <a:gd name="T32" fmla="*/ 85 w 742"/>
                <a:gd name="T33" fmla="*/ 991 h 991"/>
                <a:gd name="T34" fmla="*/ 100 w 742"/>
                <a:gd name="T35" fmla="*/ 856 h 991"/>
                <a:gd name="T36" fmla="*/ 60 w 742"/>
                <a:gd name="T37" fmla="*/ 760 h 991"/>
                <a:gd name="T38" fmla="*/ 0 w 742"/>
                <a:gd name="T39" fmla="*/ 675 h 991"/>
                <a:gd name="T40" fmla="*/ 14 w 742"/>
                <a:gd name="T41" fmla="*/ 553 h 991"/>
                <a:gd name="T42" fmla="*/ 49 w 742"/>
                <a:gd name="T43" fmla="*/ 594 h 991"/>
                <a:gd name="T44" fmla="*/ 142 w 742"/>
                <a:gd name="T45" fmla="*/ 636 h 991"/>
                <a:gd name="T46" fmla="*/ 211 w 742"/>
                <a:gd name="T47" fmla="*/ 609 h 99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42"/>
                <a:gd name="T73" fmla="*/ 0 h 991"/>
                <a:gd name="T74" fmla="*/ 742 w 742"/>
                <a:gd name="T75" fmla="*/ 991 h 99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42" h="991">
                  <a:moveTo>
                    <a:pt x="211" y="609"/>
                  </a:moveTo>
                  <a:lnTo>
                    <a:pt x="209" y="567"/>
                  </a:lnTo>
                  <a:lnTo>
                    <a:pt x="187" y="517"/>
                  </a:lnTo>
                  <a:lnTo>
                    <a:pt x="122" y="444"/>
                  </a:lnTo>
                  <a:lnTo>
                    <a:pt x="34" y="397"/>
                  </a:lnTo>
                  <a:lnTo>
                    <a:pt x="150" y="295"/>
                  </a:lnTo>
                  <a:lnTo>
                    <a:pt x="180" y="205"/>
                  </a:lnTo>
                  <a:lnTo>
                    <a:pt x="75" y="45"/>
                  </a:lnTo>
                  <a:lnTo>
                    <a:pt x="265" y="0"/>
                  </a:lnTo>
                  <a:lnTo>
                    <a:pt x="505" y="175"/>
                  </a:lnTo>
                  <a:lnTo>
                    <a:pt x="555" y="420"/>
                  </a:lnTo>
                  <a:lnTo>
                    <a:pt x="742" y="784"/>
                  </a:lnTo>
                  <a:lnTo>
                    <a:pt x="610" y="826"/>
                  </a:lnTo>
                  <a:lnTo>
                    <a:pt x="495" y="896"/>
                  </a:lnTo>
                  <a:lnTo>
                    <a:pt x="345" y="836"/>
                  </a:lnTo>
                  <a:lnTo>
                    <a:pt x="235" y="886"/>
                  </a:lnTo>
                  <a:lnTo>
                    <a:pt x="85" y="991"/>
                  </a:lnTo>
                  <a:lnTo>
                    <a:pt x="100" y="856"/>
                  </a:lnTo>
                  <a:lnTo>
                    <a:pt x="60" y="760"/>
                  </a:lnTo>
                  <a:lnTo>
                    <a:pt x="0" y="675"/>
                  </a:lnTo>
                  <a:lnTo>
                    <a:pt x="14" y="553"/>
                  </a:lnTo>
                  <a:lnTo>
                    <a:pt x="49" y="594"/>
                  </a:lnTo>
                  <a:lnTo>
                    <a:pt x="142" y="636"/>
                  </a:lnTo>
                  <a:lnTo>
                    <a:pt x="211" y="60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32" name="Freeform 15"/>
            <p:cNvSpPr>
              <a:spLocks/>
            </p:cNvSpPr>
            <p:nvPr/>
          </p:nvSpPr>
          <p:spPr bwMode="auto">
            <a:xfrm>
              <a:off x="16658895" y="11289250"/>
              <a:ext cx="484447" cy="703119"/>
            </a:xfrm>
            <a:custGeom>
              <a:avLst/>
              <a:gdLst>
                <a:gd name="T0" fmla="*/ 550 w 719"/>
                <a:gd name="T1" fmla="*/ 1003 h 1048"/>
                <a:gd name="T2" fmla="*/ 465 w 719"/>
                <a:gd name="T3" fmla="*/ 1048 h 1048"/>
                <a:gd name="T4" fmla="*/ 329 w 719"/>
                <a:gd name="T5" fmla="*/ 1006 h 1048"/>
                <a:gd name="T6" fmla="*/ 331 w 719"/>
                <a:gd name="T7" fmla="*/ 760 h 1048"/>
                <a:gd name="T8" fmla="*/ 120 w 719"/>
                <a:gd name="T9" fmla="*/ 638 h 1048"/>
                <a:gd name="T10" fmla="*/ 10 w 719"/>
                <a:gd name="T11" fmla="*/ 517 h 1048"/>
                <a:gd name="T12" fmla="*/ 0 w 719"/>
                <a:gd name="T13" fmla="*/ 357 h 1048"/>
                <a:gd name="T14" fmla="*/ 26 w 719"/>
                <a:gd name="T15" fmla="*/ 208 h 1048"/>
                <a:gd name="T16" fmla="*/ 170 w 719"/>
                <a:gd name="T17" fmla="*/ 105 h 1048"/>
                <a:gd name="T18" fmla="*/ 286 w 719"/>
                <a:gd name="T19" fmla="*/ 54 h 1048"/>
                <a:gd name="T20" fmla="*/ 436 w 719"/>
                <a:gd name="T21" fmla="*/ 111 h 1048"/>
                <a:gd name="T22" fmla="*/ 551 w 719"/>
                <a:gd name="T23" fmla="*/ 43 h 1048"/>
                <a:gd name="T24" fmla="*/ 682 w 719"/>
                <a:gd name="T25" fmla="*/ 0 h 1048"/>
                <a:gd name="T26" fmla="*/ 719 w 719"/>
                <a:gd name="T27" fmla="*/ 171 h 1048"/>
                <a:gd name="T28" fmla="*/ 569 w 719"/>
                <a:gd name="T29" fmla="*/ 339 h 1048"/>
                <a:gd name="T30" fmla="*/ 645 w 719"/>
                <a:gd name="T31" fmla="*/ 492 h 1048"/>
                <a:gd name="T32" fmla="*/ 625 w 719"/>
                <a:gd name="T33" fmla="*/ 713 h 1048"/>
                <a:gd name="T34" fmla="*/ 595 w 719"/>
                <a:gd name="T35" fmla="*/ 893 h 1048"/>
                <a:gd name="T36" fmla="*/ 550 w 719"/>
                <a:gd name="T37" fmla="*/ 1003 h 104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19"/>
                <a:gd name="T58" fmla="*/ 0 h 1048"/>
                <a:gd name="T59" fmla="*/ 719 w 719"/>
                <a:gd name="T60" fmla="*/ 1048 h 104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19" h="1048">
                  <a:moveTo>
                    <a:pt x="550" y="1003"/>
                  </a:moveTo>
                  <a:lnTo>
                    <a:pt x="465" y="1048"/>
                  </a:lnTo>
                  <a:lnTo>
                    <a:pt x="329" y="1006"/>
                  </a:lnTo>
                  <a:lnTo>
                    <a:pt x="331" y="760"/>
                  </a:lnTo>
                  <a:lnTo>
                    <a:pt x="120" y="638"/>
                  </a:lnTo>
                  <a:lnTo>
                    <a:pt x="10" y="517"/>
                  </a:lnTo>
                  <a:lnTo>
                    <a:pt x="0" y="357"/>
                  </a:lnTo>
                  <a:lnTo>
                    <a:pt x="26" y="208"/>
                  </a:lnTo>
                  <a:lnTo>
                    <a:pt x="170" y="105"/>
                  </a:lnTo>
                  <a:lnTo>
                    <a:pt x="286" y="54"/>
                  </a:lnTo>
                  <a:lnTo>
                    <a:pt x="436" y="111"/>
                  </a:lnTo>
                  <a:lnTo>
                    <a:pt x="551" y="43"/>
                  </a:lnTo>
                  <a:lnTo>
                    <a:pt x="682" y="0"/>
                  </a:lnTo>
                  <a:lnTo>
                    <a:pt x="719" y="171"/>
                  </a:lnTo>
                  <a:lnTo>
                    <a:pt x="569" y="339"/>
                  </a:lnTo>
                  <a:lnTo>
                    <a:pt x="645" y="492"/>
                  </a:lnTo>
                  <a:lnTo>
                    <a:pt x="625" y="713"/>
                  </a:lnTo>
                  <a:lnTo>
                    <a:pt x="595" y="893"/>
                  </a:lnTo>
                  <a:lnTo>
                    <a:pt x="550" y="100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33" name="Freeform 16"/>
            <p:cNvSpPr>
              <a:spLocks/>
            </p:cNvSpPr>
            <p:nvPr/>
          </p:nvSpPr>
          <p:spPr bwMode="auto">
            <a:xfrm>
              <a:off x="15306481" y="10899001"/>
              <a:ext cx="985715" cy="1123647"/>
            </a:xfrm>
            <a:custGeom>
              <a:avLst/>
              <a:gdLst>
                <a:gd name="T0" fmla="*/ 0 w 1465"/>
                <a:gd name="T1" fmla="*/ 380 h 1671"/>
                <a:gd name="T2" fmla="*/ 0 w 1465"/>
                <a:gd name="T3" fmla="*/ 545 h 1671"/>
                <a:gd name="T4" fmla="*/ 160 w 1465"/>
                <a:gd name="T5" fmla="*/ 530 h 1671"/>
                <a:gd name="T6" fmla="*/ 251 w 1465"/>
                <a:gd name="T7" fmla="*/ 653 h 1671"/>
                <a:gd name="T8" fmla="*/ 269 w 1465"/>
                <a:gd name="T9" fmla="*/ 828 h 1671"/>
                <a:gd name="T10" fmla="*/ 235 w 1465"/>
                <a:gd name="T11" fmla="*/ 961 h 1671"/>
                <a:gd name="T12" fmla="*/ 458 w 1465"/>
                <a:gd name="T13" fmla="*/ 1340 h 1671"/>
                <a:gd name="T14" fmla="*/ 667 w 1465"/>
                <a:gd name="T15" fmla="*/ 1386 h 1671"/>
                <a:gd name="T16" fmla="*/ 827 w 1465"/>
                <a:gd name="T17" fmla="*/ 1505 h 1671"/>
                <a:gd name="T18" fmla="*/ 881 w 1465"/>
                <a:gd name="T19" fmla="*/ 1416 h 1671"/>
                <a:gd name="T20" fmla="*/ 985 w 1465"/>
                <a:gd name="T21" fmla="*/ 1365 h 1671"/>
                <a:gd name="T22" fmla="*/ 1105 w 1465"/>
                <a:gd name="T23" fmla="*/ 1551 h 1671"/>
                <a:gd name="T24" fmla="*/ 1244 w 1465"/>
                <a:gd name="T25" fmla="*/ 1671 h 1671"/>
                <a:gd name="T26" fmla="*/ 1290 w 1465"/>
                <a:gd name="T27" fmla="*/ 1546 h 1671"/>
                <a:gd name="T28" fmla="*/ 1390 w 1465"/>
                <a:gd name="T29" fmla="*/ 1491 h 1671"/>
                <a:gd name="T30" fmla="*/ 1435 w 1465"/>
                <a:gd name="T31" fmla="*/ 1356 h 1671"/>
                <a:gd name="T32" fmla="*/ 1465 w 1465"/>
                <a:gd name="T33" fmla="*/ 1140 h 1671"/>
                <a:gd name="T34" fmla="*/ 1435 w 1465"/>
                <a:gd name="T35" fmla="*/ 906 h 1671"/>
                <a:gd name="T36" fmla="*/ 1375 w 1465"/>
                <a:gd name="T37" fmla="*/ 876 h 1671"/>
                <a:gd name="T38" fmla="*/ 1288 w 1465"/>
                <a:gd name="T39" fmla="*/ 662 h 1671"/>
                <a:gd name="T40" fmla="*/ 1045 w 1465"/>
                <a:gd name="T41" fmla="*/ 186 h 1671"/>
                <a:gd name="T42" fmla="*/ 863 w 1465"/>
                <a:gd name="T43" fmla="*/ 51 h 1671"/>
                <a:gd name="T44" fmla="*/ 689 w 1465"/>
                <a:gd name="T45" fmla="*/ 0 h 1671"/>
                <a:gd name="T46" fmla="*/ 523 w 1465"/>
                <a:gd name="T47" fmla="*/ 90 h 1671"/>
                <a:gd name="T48" fmla="*/ 355 w 1465"/>
                <a:gd name="T49" fmla="*/ 66 h 1671"/>
                <a:gd name="T50" fmla="*/ 164 w 1465"/>
                <a:gd name="T51" fmla="*/ 209 h 1671"/>
                <a:gd name="T52" fmla="*/ 0 w 1465"/>
                <a:gd name="T53" fmla="*/ 380 h 167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465"/>
                <a:gd name="T82" fmla="*/ 0 h 1671"/>
                <a:gd name="T83" fmla="*/ 1465 w 1465"/>
                <a:gd name="T84" fmla="*/ 1671 h 167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465" h="1671">
                  <a:moveTo>
                    <a:pt x="0" y="380"/>
                  </a:moveTo>
                  <a:lnTo>
                    <a:pt x="0" y="545"/>
                  </a:lnTo>
                  <a:lnTo>
                    <a:pt x="160" y="530"/>
                  </a:lnTo>
                  <a:lnTo>
                    <a:pt x="251" y="653"/>
                  </a:lnTo>
                  <a:lnTo>
                    <a:pt x="269" y="828"/>
                  </a:lnTo>
                  <a:lnTo>
                    <a:pt x="235" y="961"/>
                  </a:lnTo>
                  <a:lnTo>
                    <a:pt x="458" y="1340"/>
                  </a:lnTo>
                  <a:lnTo>
                    <a:pt x="667" y="1386"/>
                  </a:lnTo>
                  <a:lnTo>
                    <a:pt x="827" y="1505"/>
                  </a:lnTo>
                  <a:lnTo>
                    <a:pt x="881" y="1416"/>
                  </a:lnTo>
                  <a:lnTo>
                    <a:pt x="985" y="1365"/>
                  </a:lnTo>
                  <a:lnTo>
                    <a:pt x="1105" y="1551"/>
                  </a:lnTo>
                  <a:lnTo>
                    <a:pt x="1244" y="1671"/>
                  </a:lnTo>
                  <a:lnTo>
                    <a:pt x="1290" y="1546"/>
                  </a:lnTo>
                  <a:lnTo>
                    <a:pt x="1390" y="1491"/>
                  </a:lnTo>
                  <a:lnTo>
                    <a:pt x="1435" y="1356"/>
                  </a:lnTo>
                  <a:lnTo>
                    <a:pt x="1465" y="1140"/>
                  </a:lnTo>
                  <a:lnTo>
                    <a:pt x="1435" y="906"/>
                  </a:lnTo>
                  <a:lnTo>
                    <a:pt x="1375" y="876"/>
                  </a:lnTo>
                  <a:lnTo>
                    <a:pt x="1288" y="662"/>
                  </a:lnTo>
                  <a:lnTo>
                    <a:pt x="1045" y="186"/>
                  </a:lnTo>
                  <a:lnTo>
                    <a:pt x="863" y="51"/>
                  </a:lnTo>
                  <a:lnTo>
                    <a:pt x="689" y="0"/>
                  </a:lnTo>
                  <a:lnTo>
                    <a:pt x="523" y="90"/>
                  </a:lnTo>
                  <a:lnTo>
                    <a:pt x="355" y="66"/>
                  </a:lnTo>
                  <a:lnTo>
                    <a:pt x="164" y="209"/>
                  </a:lnTo>
                  <a:lnTo>
                    <a:pt x="0" y="38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34" name="Freeform 17"/>
            <p:cNvSpPr>
              <a:spLocks/>
            </p:cNvSpPr>
            <p:nvPr/>
          </p:nvSpPr>
          <p:spPr bwMode="auto">
            <a:xfrm>
              <a:off x="14637004" y="11104217"/>
              <a:ext cx="669477" cy="1167383"/>
            </a:xfrm>
            <a:custGeom>
              <a:avLst/>
              <a:gdLst>
                <a:gd name="T0" fmla="*/ 110 w 995"/>
                <a:gd name="T1" fmla="*/ 609 h 1735"/>
                <a:gd name="T2" fmla="*/ 50 w 995"/>
                <a:gd name="T3" fmla="*/ 569 h 1735"/>
                <a:gd name="T4" fmla="*/ 5 w 995"/>
                <a:gd name="T5" fmla="*/ 479 h 1735"/>
                <a:gd name="T6" fmla="*/ 30 w 995"/>
                <a:gd name="T7" fmla="*/ 429 h 1735"/>
                <a:gd name="T8" fmla="*/ 0 w 995"/>
                <a:gd name="T9" fmla="*/ 329 h 1735"/>
                <a:gd name="T10" fmla="*/ 150 w 995"/>
                <a:gd name="T11" fmla="*/ 279 h 1735"/>
                <a:gd name="T12" fmla="*/ 315 w 995"/>
                <a:gd name="T13" fmla="*/ 269 h 1735"/>
                <a:gd name="T14" fmla="*/ 410 w 995"/>
                <a:gd name="T15" fmla="*/ 219 h 1735"/>
                <a:gd name="T16" fmla="*/ 525 w 995"/>
                <a:gd name="T17" fmla="*/ 194 h 1735"/>
                <a:gd name="T18" fmla="*/ 570 w 995"/>
                <a:gd name="T19" fmla="*/ 69 h 1735"/>
                <a:gd name="T20" fmla="*/ 718 w 995"/>
                <a:gd name="T21" fmla="*/ 0 h 1735"/>
                <a:gd name="T22" fmla="*/ 816 w 995"/>
                <a:gd name="T23" fmla="*/ 134 h 1735"/>
                <a:gd name="T24" fmla="*/ 995 w 995"/>
                <a:gd name="T25" fmla="*/ 74 h 1735"/>
                <a:gd name="T26" fmla="*/ 995 w 995"/>
                <a:gd name="T27" fmla="*/ 234 h 1735"/>
                <a:gd name="T28" fmla="*/ 920 w 995"/>
                <a:gd name="T29" fmla="*/ 444 h 1735"/>
                <a:gd name="T30" fmla="*/ 889 w 995"/>
                <a:gd name="T31" fmla="*/ 614 h 1735"/>
                <a:gd name="T32" fmla="*/ 841 w 995"/>
                <a:gd name="T33" fmla="*/ 839 h 1735"/>
                <a:gd name="T34" fmla="*/ 725 w 995"/>
                <a:gd name="T35" fmla="*/ 940 h 1735"/>
                <a:gd name="T36" fmla="*/ 645 w 995"/>
                <a:gd name="T37" fmla="*/ 1060 h 1735"/>
                <a:gd name="T38" fmla="*/ 600 w 995"/>
                <a:gd name="T39" fmla="*/ 1255 h 1735"/>
                <a:gd name="T40" fmla="*/ 635 w 995"/>
                <a:gd name="T41" fmla="*/ 1470 h 1735"/>
                <a:gd name="T42" fmla="*/ 590 w 995"/>
                <a:gd name="T43" fmla="*/ 1615 h 1735"/>
                <a:gd name="T44" fmla="*/ 420 w 995"/>
                <a:gd name="T45" fmla="*/ 1675 h 1735"/>
                <a:gd name="T46" fmla="*/ 275 w 995"/>
                <a:gd name="T47" fmla="*/ 1735 h 1735"/>
                <a:gd name="T48" fmla="*/ 315 w 995"/>
                <a:gd name="T49" fmla="*/ 1615 h 1735"/>
                <a:gd name="T50" fmla="*/ 260 w 995"/>
                <a:gd name="T51" fmla="*/ 1525 h 1735"/>
                <a:gd name="T52" fmla="*/ 140 w 995"/>
                <a:gd name="T53" fmla="*/ 1510 h 1735"/>
                <a:gd name="T54" fmla="*/ 90 w 995"/>
                <a:gd name="T55" fmla="*/ 1015 h 1735"/>
                <a:gd name="T56" fmla="*/ 225 w 995"/>
                <a:gd name="T57" fmla="*/ 1020 h 1735"/>
                <a:gd name="T58" fmla="*/ 360 w 995"/>
                <a:gd name="T59" fmla="*/ 1120 h 1735"/>
                <a:gd name="T60" fmla="*/ 545 w 995"/>
                <a:gd name="T61" fmla="*/ 1080 h 1735"/>
                <a:gd name="T62" fmla="*/ 575 w 995"/>
                <a:gd name="T63" fmla="*/ 1030 h 1735"/>
                <a:gd name="T64" fmla="*/ 450 w 995"/>
                <a:gd name="T65" fmla="*/ 1030 h 1735"/>
                <a:gd name="T66" fmla="*/ 380 w 995"/>
                <a:gd name="T67" fmla="*/ 955 h 1735"/>
                <a:gd name="T68" fmla="*/ 335 w 995"/>
                <a:gd name="T69" fmla="*/ 910 h 1735"/>
                <a:gd name="T70" fmla="*/ 390 w 995"/>
                <a:gd name="T71" fmla="*/ 824 h 1735"/>
                <a:gd name="T72" fmla="*/ 485 w 995"/>
                <a:gd name="T73" fmla="*/ 849 h 1735"/>
                <a:gd name="T74" fmla="*/ 510 w 995"/>
                <a:gd name="T75" fmla="*/ 729 h 1735"/>
                <a:gd name="T76" fmla="*/ 615 w 995"/>
                <a:gd name="T77" fmla="*/ 714 h 1735"/>
                <a:gd name="T78" fmla="*/ 660 w 995"/>
                <a:gd name="T79" fmla="*/ 659 h 1735"/>
                <a:gd name="T80" fmla="*/ 485 w 995"/>
                <a:gd name="T81" fmla="*/ 639 h 1735"/>
                <a:gd name="T82" fmla="*/ 455 w 995"/>
                <a:gd name="T83" fmla="*/ 554 h 1735"/>
                <a:gd name="T84" fmla="*/ 560 w 995"/>
                <a:gd name="T85" fmla="*/ 464 h 1735"/>
                <a:gd name="T86" fmla="*/ 615 w 995"/>
                <a:gd name="T87" fmla="*/ 369 h 1735"/>
                <a:gd name="T88" fmla="*/ 510 w 995"/>
                <a:gd name="T89" fmla="*/ 384 h 1735"/>
                <a:gd name="T90" fmla="*/ 425 w 995"/>
                <a:gd name="T91" fmla="*/ 479 h 1735"/>
                <a:gd name="T92" fmla="*/ 360 w 995"/>
                <a:gd name="T93" fmla="*/ 459 h 1735"/>
                <a:gd name="T94" fmla="*/ 330 w 995"/>
                <a:gd name="T95" fmla="*/ 494 h 1735"/>
                <a:gd name="T96" fmla="*/ 350 w 995"/>
                <a:gd name="T97" fmla="*/ 584 h 1735"/>
                <a:gd name="T98" fmla="*/ 320 w 995"/>
                <a:gd name="T99" fmla="*/ 659 h 1735"/>
                <a:gd name="T100" fmla="*/ 230 w 995"/>
                <a:gd name="T101" fmla="*/ 699 h 1735"/>
                <a:gd name="T102" fmla="*/ 230 w 995"/>
                <a:gd name="T103" fmla="*/ 599 h 1735"/>
                <a:gd name="T104" fmla="*/ 225 w 995"/>
                <a:gd name="T105" fmla="*/ 494 h 1735"/>
                <a:gd name="T106" fmla="*/ 150 w 995"/>
                <a:gd name="T107" fmla="*/ 419 h 1735"/>
                <a:gd name="T108" fmla="*/ 155 w 995"/>
                <a:gd name="T109" fmla="*/ 534 h 1735"/>
                <a:gd name="T110" fmla="*/ 110 w 995"/>
                <a:gd name="T111" fmla="*/ 609 h 173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95"/>
                <a:gd name="T169" fmla="*/ 0 h 1735"/>
                <a:gd name="T170" fmla="*/ 995 w 995"/>
                <a:gd name="T171" fmla="*/ 1735 h 173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95" h="1735">
                  <a:moveTo>
                    <a:pt x="110" y="609"/>
                  </a:moveTo>
                  <a:lnTo>
                    <a:pt x="50" y="569"/>
                  </a:lnTo>
                  <a:lnTo>
                    <a:pt x="5" y="479"/>
                  </a:lnTo>
                  <a:lnTo>
                    <a:pt x="30" y="429"/>
                  </a:lnTo>
                  <a:lnTo>
                    <a:pt x="0" y="329"/>
                  </a:lnTo>
                  <a:lnTo>
                    <a:pt x="150" y="279"/>
                  </a:lnTo>
                  <a:lnTo>
                    <a:pt x="315" y="269"/>
                  </a:lnTo>
                  <a:lnTo>
                    <a:pt x="410" y="219"/>
                  </a:lnTo>
                  <a:lnTo>
                    <a:pt x="525" y="194"/>
                  </a:lnTo>
                  <a:lnTo>
                    <a:pt x="570" y="69"/>
                  </a:lnTo>
                  <a:lnTo>
                    <a:pt x="718" y="0"/>
                  </a:lnTo>
                  <a:lnTo>
                    <a:pt x="816" y="134"/>
                  </a:lnTo>
                  <a:lnTo>
                    <a:pt x="995" y="74"/>
                  </a:lnTo>
                  <a:lnTo>
                    <a:pt x="995" y="234"/>
                  </a:lnTo>
                  <a:lnTo>
                    <a:pt x="920" y="444"/>
                  </a:lnTo>
                  <a:lnTo>
                    <a:pt x="889" y="614"/>
                  </a:lnTo>
                  <a:lnTo>
                    <a:pt x="841" y="839"/>
                  </a:lnTo>
                  <a:lnTo>
                    <a:pt x="725" y="940"/>
                  </a:lnTo>
                  <a:lnTo>
                    <a:pt x="645" y="1060"/>
                  </a:lnTo>
                  <a:lnTo>
                    <a:pt x="600" y="1255"/>
                  </a:lnTo>
                  <a:lnTo>
                    <a:pt x="635" y="1470"/>
                  </a:lnTo>
                  <a:lnTo>
                    <a:pt x="590" y="1615"/>
                  </a:lnTo>
                  <a:lnTo>
                    <a:pt x="420" y="1675"/>
                  </a:lnTo>
                  <a:lnTo>
                    <a:pt x="275" y="1735"/>
                  </a:lnTo>
                  <a:lnTo>
                    <a:pt x="315" y="1615"/>
                  </a:lnTo>
                  <a:lnTo>
                    <a:pt x="260" y="1525"/>
                  </a:lnTo>
                  <a:lnTo>
                    <a:pt x="140" y="1510"/>
                  </a:lnTo>
                  <a:lnTo>
                    <a:pt x="90" y="1015"/>
                  </a:lnTo>
                  <a:lnTo>
                    <a:pt x="225" y="1020"/>
                  </a:lnTo>
                  <a:lnTo>
                    <a:pt x="360" y="1120"/>
                  </a:lnTo>
                  <a:lnTo>
                    <a:pt x="545" y="1080"/>
                  </a:lnTo>
                  <a:lnTo>
                    <a:pt x="575" y="1030"/>
                  </a:lnTo>
                  <a:lnTo>
                    <a:pt x="450" y="1030"/>
                  </a:lnTo>
                  <a:lnTo>
                    <a:pt x="380" y="955"/>
                  </a:lnTo>
                  <a:lnTo>
                    <a:pt x="335" y="910"/>
                  </a:lnTo>
                  <a:lnTo>
                    <a:pt x="390" y="824"/>
                  </a:lnTo>
                  <a:lnTo>
                    <a:pt x="485" y="849"/>
                  </a:lnTo>
                  <a:lnTo>
                    <a:pt x="510" y="729"/>
                  </a:lnTo>
                  <a:lnTo>
                    <a:pt x="615" y="714"/>
                  </a:lnTo>
                  <a:lnTo>
                    <a:pt x="660" y="659"/>
                  </a:lnTo>
                  <a:lnTo>
                    <a:pt x="485" y="639"/>
                  </a:lnTo>
                  <a:lnTo>
                    <a:pt x="455" y="554"/>
                  </a:lnTo>
                  <a:lnTo>
                    <a:pt x="560" y="464"/>
                  </a:lnTo>
                  <a:lnTo>
                    <a:pt x="615" y="369"/>
                  </a:lnTo>
                  <a:lnTo>
                    <a:pt x="510" y="384"/>
                  </a:lnTo>
                  <a:lnTo>
                    <a:pt x="425" y="479"/>
                  </a:lnTo>
                  <a:lnTo>
                    <a:pt x="360" y="459"/>
                  </a:lnTo>
                  <a:lnTo>
                    <a:pt x="330" y="494"/>
                  </a:lnTo>
                  <a:lnTo>
                    <a:pt x="350" y="584"/>
                  </a:lnTo>
                  <a:lnTo>
                    <a:pt x="320" y="659"/>
                  </a:lnTo>
                  <a:lnTo>
                    <a:pt x="230" y="699"/>
                  </a:lnTo>
                  <a:lnTo>
                    <a:pt x="230" y="599"/>
                  </a:lnTo>
                  <a:lnTo>
                    <a:pt x="225" y="494"/>
                  </a:lnTo>
                  <a:lnTo>
                    <a:pt x="150" y="419"/>
                  </a:lnTo>
                  <a:lnTo>
                    <a:pt x="155" y="534"/>
                  </a:lnTo>
                  <a:lnTo>
                    <a:pt x="110" y="60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200" b="1" kern="0">
                <a:solidFill>
                  <a:srgbClr val="000000"/>
                </a:solidFill>
                <a:latin typeface="Avenir Medium"/>
              </a:endParaRPr>
            </a:p>
          </p:txBody>
        </p:sp>
        <p:sp>
          <p:nvSpPr>
            <p:cNvPr id="35" name="Freeform 18"/>
            <p:cNvSpPr>
              <a:spLocks/>
            </p:cNvSpPr>
            <p:nvPr/>
          </p:nvSpPr>
          <p:spPr bwMode="auto">
            <a:xfrm>
              <a:off x="15235834" y="11255608"/>
              <a:ext cx="908337" cy="1167381"/>
            </a:xfrm>
            <a:custGeom>
              <a:avLst/>
              <a:gdLst>
                <a:gd name="T0" fmla="*/ 636 w 1351"/>
                <a:gd name="T1" fmla="*/ 1736 h 1736"/>
                <a:gd name="T2" fmla="*/ 836 w 1351"/>
                <a:gd name="T3" fmla="*/ 1571 h 1736"/>
                <a:gd name="T4" fmla="*/ 931 w 1351"/>
                <a:gd name="T5" fmla="*/ 1486 h 1736"/>
                <a:gd name="T6" fmla="*/ 1061 w 1351"/>
                <a:gd name="T7" fmla="*/ 1441 h 1736"/>
                <a:gd name="T8" fmla="*/ 1111 w 1351"/>
                <a:gd name="T9" fmla="*/ 1331 h 1736"/>
                <a:gd name="T10" fmla="*/ 1181 w 1351"/>
                <a:gd name="T11" fmla="*/ 1181 h 1736"/>
                <a:gd name="T12" fmla="*/ 1301 w 1351"/>
                <a:gd name="T13" fmla="*/ 1181 h 1736"/>
                <a:gd name="T14" fmla="*/ 1351 w 1351"/>
                <a:gd name="T15" fmla="*/ 1141 h 1736"/>
                <a:gd name="T16" fmla="*/ 1211 w 1351"/>
                <a:gd name="T17" fmla="*/ 1021 h 1736"/>
                <a:gd name="T18" fmla="*/ 1091 w 1351"/>
                <a:gd name="T19" fmla="*/ 835 h 1736"/>
                <a:gd name="T20" fmla="*/ 986 w 1351"/>
                <a:gd name="T21" fmla="*/ 886 h 1736"/>
                <a:gd name="T22" fmla="*/ 931 w 1351"/>
                <a:gd name="T23" fmla="*/ 976 h 1736"/>
                <a:gd name="T24" fmla="*/ 776 w 1351"/>
                <a:gd name="T25" fmla="*/ 855 h 1736"/>
                <a:gd name="T26" fmla="*/ 566 w 1351"/>
                <a:gd name="T27" fmla="*/ 810 h 1736"/>
                <a:gd name="T28" fmla="*/ 341 w 1351"/>
                <a:gd name="T29" fmla="*/ 435 h 1736"/>
                <a:gd name="T30" fmla="*/ 376 w 1351"/>
                <a:gd name="T31" fmla="*/ 300 h 1736"/>
                <a:gd name="T32" fmla="*/ 356 w 1351"/>
                <a:gd name="T33" fmla="*/ 120 h 1736"/>
                <a:gd name="T34" fmla="*/ 267 w 1351"/>
                <a:gd name="T35" fmla="*/ 0 h 1736"/>
                <a:gd name="T36" fmla="*/ 105 w 1351"/>
                <a:gd name="T37" fmla="*/ 15 h 1736"/>
                <a:gd name="T38" fmla="*/ 32 w 1351"/>
                <a:gd name="T39" fmla="*/ 217 h 1736"/>
                <a:gd name="T40" fmla="*/ 0 w 1351"/>
                <a:gd name="T41" fmla="*/ 390 h 1736"/>
                <a:gd name="T42" fmla="*/ 71 w 1351"/>
                <a:gd name="T43" fmla="*/ 652 h 1736"/>
                <a:gd name="T44" fmla="*/ 27 w 1351"/>
                <a:gd name="T45" fmla="*/ 870 h 1736"/>
                <a:gd name="T46" fmla="*/ 284 w 1351"/>
                <a:gd name="T47" fmla="*/ 940 h 1736"/>
                <a:gd name="T48" fmla="*/ 282 w 1351"/>
                <a:gd name="T49" fmla="*/ 1093 h 1736"/>
                <a:gd name="T50" fmla="*/ 222 w 1351"/>
                <a:gd name="T51" fmla="*/ 1303 h 1736"/>
                <a:gd name="T52" fmla="*/ 301 w 1351"/>
                <a:gd name="T53" fmla="*/ 1486 h 1736"/>
                <a:gd name="T54" fmla="*/ 497 w 1351"/>
                <a:gd name="T55" fmla="*/ 1578 h 1736"/>
                <a:gd name="T56" fmla="*/ 524 w 1351"/>
                <a:gd name="T57" fmla="*/ 1720 h 1736"/>
                <a:gd name="T58" fmla="*/ 636 w 1351"/>
                <a:gd name="T59" fmla="*/ 1736 h 17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351"/>
                <a:gd name="T91" fmla="*/ 0 h 1736"/>
                <a:gd name="T92" fmla="*/ 1351 w 1351"/>
                <a:gd name="T93" fmla="*/ 1736 h 17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351" h="1736">
                  <a:moveTo>
                    <a:pt x="636" y="1736"/>
                  </a:moveTo>
                  <a:lnTo>
                    <a:pt x="836" y="1571"/>
                  </a:lnTo>
                  <a:lnTo>
                    <a:pt x="931" y="1486"/>
                  </a:lnTo>
                  <a:lnTo>
                    <a:pt x="1061" y="1441"/>
                  </a:lnTo>
                  <a:lnTo>
                    <a:pt x="1111" y="1331"/>
                  </a:lnTo>
                  <a:lnTo>
                    <a:pt x="1181" y="1181"/>
                  </a:lnTo>
                  <a:lnTo>
                    <a:pt x="1301" y="1181"/>
                  </a:lnTo>
                  <a:lnTo>
                    <a:pt x="1351" y="1141"/>
                  </a:lnTo>
                  <a:lnTo>
                    <a:pt x="1211" y="1021"/>
                  </a:lnTo>
                  <a:lnTo>
                    <a:pt x="1091" y="835"/>
                  </a:lnTo>
                  <a:lnTo>
                    <a:pt x="986" y="886"/>
                  </a:lnTo>
                  <a:lnTo>
                    <a:pt x="931" y="976"/>
                  </a:lnTo>
                  <a:lnTo>
                    <a:pt x="776" y="855"/>
                  </a:lnTo>
                  <a:lnTo>
                    <a:pt x="566" y="810"/>
                  </a:lnTo>
                  <a:lnTo>
                    <a:pt x="341" y="435"/>
                  </a:lnTo>
                  <a:lnTo>
                    <a:pt x="376" y="300"/>
                  </a:lnTo>
                  <a:lnTo>
                    <a:pt x="356" y="120"/>
                  </a:lnTo>
                  <a:lnTo>
                    <a:pt x="267" y="0"/>
                  </a:lnTo>
                  <a:lnTo>
                    <a:pt x="105" y="15"/>
                  </a:lnTo>
                  <a:lnTo>
                    <a:pt x="32" y="217"/>
                  </a:lnTo>
                  <a:lnTo>
                    <a:pt x="0" y="390"/>
                  </a:lnTo>
                  <a:lnTo>
                    <a:pt x="71" y="652"/>
                  </a:lnTo>
                  <a:lnTo>
                    <a:pt x="27" y="870"/>
                  </a:lnTo>
                  <a:lnTo>
                    <a:pt x="284" y="940"/>
                  </a:lnTo>
                  <a:lnTo>
                    <a:pt x="282" y="1093"/>
                  </a:lnTo>
                  <a:lnTo>
                    <a:pt x="222" y="1303"/>
                  </a:lnTo>
                  <a:lnTo>
                    <a:pt x="301" y="1486"/>
                  </a:lnTo>
                  <a:lnTo>
                    <a:pt x="497" y="1578"/>
                  </a:lnTo>
                  <a:lnTo>
                    <a:pt x="524" y="1720"/>
                  </a:lnTo>
                  <a:lnTo>
                    <a:pt x="636" y="1736"/>
                  </a:lnTo>
                  <a:close/>
                </a:path>
              </a:pathLst>
            </a:custGeom>
            <a:solidFill>
              <a:schemeClr val="accent2"/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36" name="Freeform 19"/>
            <p:cNvSpPr>
              <a:spLocks/>
            </p:cNvSpPr>
            <p:nvPr/>
          </p:nvSpPr>
          <p:spPr bwMode="auto">
            <a:xfrm>
              <a:off x="14825400" y="11514651"/>
              <a:ext cx="837688" cy="999172"/>
            </a:xfrm>
            <a:custGeom>
              <a:avLst/>
              <a:gdLst>
                <a:gd name="T0" fmla="*/ 36 w 1246"/>
                <a:gd name="T1" fmla="*/ 1170 h 1485"/>
                <a:gd name="T2" fmla="*/ 206 w 1246"/>
                <a:gd name="T3" fmla="*/ 1230 h 1485"/>
                <a:gd name="T4" fmla="*/ 401 w 1246"/>
                <a:gd name="T5" fmla="*/ 1215 h 1485"/>
                <a:gd name="T6" fmla="*/ 321 w 1246"/>
                <a:gd name="T7" fmla="*/ 1310 h 1485"/>
                <a:gd name="T8" fmla="*/ 341 w 1246"/>
                <a:gd name="T9" fmla="*/ 1400 h 1485"/>
                <a:gd name="T10" fmla="*/ 576 w 1246"/>
                <a:gd name="T11" fmla="*/ 1380 h 1485"/>
                <a:gd name="T12" fmla="*/ 791 w 1246"/>
                <a:gd name="T13" fmla="*/ 1485 h 1485"/>
                <a:gd name="T14" fmla="*/ 1246 w 1246"/>
                <a:gd name="T15" fmla="*/ 1350 h 1485"/>
                <a:gd name="T16" fmla="*/ 1136 w 1246"/>
                <a:gd name="T17" fmla="*/ 1335 h 1485"/>
                <a:gd name="T18" fmla="*/ 1106 w 1246"/>
                <a:gd name="T19" fmla="*/ 1190 h 1485"/>
                <a:gd name="T20" fmla="*/ 911 w 1246"/>
                <a:gd name="T21" fmla="*/ 1100 h 1485"/>
                <a:gd name="T22" fmla="*/ 831 w 1246"/>
                <a:gd name="T23" fmla="*/ 915 h 1485"/>
                <a:gd name="T24" fmla="*/ 891 w 1246"/>
                <a:gd name="T25" fmla="*/ 705 h 1485"/>
                <a:gd name="T26" fmla="*/ 896 w 1246"/>
                <a:gd name="T27" fmla="*/ 555 h 1485"/>
                <a:gd name="T28" fmla="*/ 636 w 1246"/>
                <a:gd name="T29" fmla="*/ 485 h 1485"/>
                <a:gd name="T30" fmla="*/ 681 w 1246"/>
                <a:gd name="T31" fmla="*/ 270 h 1485"/>
                <a:gd name="T32" fmla="*/ 611 w 1246"/>
                <a:gd name="T33" fmla="*/ 0 h 1485"/>
                <a:gd name="T34" fmla="*/ 561 w 1246"/>
                <a:gd name="T35" fmla="*/ 230 h 1485"/>
                <a:gd name="T36" fmla="*/ 448 w 1246"/>
                <a:gd name="T37" fmla="*/ 326 h 1485"/>
                <a:gd name="T38" fmla="*/ 364 w 1246"/>
                <a:gd name="T39" fmla="*/ 452 h 1485"/>
                <a:gd name="T40" fmla="*/ 321 w 1246"/>
                <a:gd name="T41" fmla="*/ 645 h 1485"/>
                <a:gd name="T42" fmla="*/ 356 w 1246"/>
                <a:gd name="T43" fmla="*/ 860 h 1485"/>
                <a:gd name="T44" fmla="*/ 310 w 1246"/>
                <a:gd name="T45" fmla="*/ 1004 h 1485"/>
                <a:gd name="T46" fmla="*/ 139 w 1246"/>
                <a:gd name="T47" fmla="*/ 1067 h 1485"/>
                <a:gd name="T48" fmla="*/ 0 w 1246"/>
                <a:gd name="T49" fmla="*/ 1124 h 1485"/>
                <a:gd name="T50" fmla="*/ 36 w 1246"/>
                <a:gd name="T51" fmla="*/ 1170 h 148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46"/>
                <a:gd name="T79" fmla="*/ 0 h 1485"/>
                <a:gd name="T80" fmla="*/ 1246 w 1246"/>
                <a:gd name="T81" fmla="*/ 1485 h 148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46" h="1485">
                  <a:moveTo>
                    <a:pt x="36" y="1170"/>
                  </a:moveTo>
                  <a:lnTo>
                    <a:pt x="206" y="1230"/>
                  </a:lnTo>
                  <a:lnTo>
                    <a:pt x="401" y="1215"/>
                  </a:lnTo>
                  <a:lnTo>
                    <a:pt x="321" y="1310"/>
                  </a:lnTo>
                  <a:lnTo>
                    <a:pt x="341" y="1400"/>
                  </a:lnTo>
                  <a:lnTo>
                    <a:pt x="576" y="1380"/>
                  </a:lnTo>
                  <a:lnTo>
                    <a:pt x="791" y="1485"/>
                  </a:lnTo>
                  <a:lnTo>
                    <a:pt x="1246" y="1350"/>
                  </a:lnTo>
                  <a:lnTo>
                    <a:pt x="1136" y="1335"/>
                  </a:lnTo>
                  <a:lnTo>
                    <a:pt x="1106" y="1190"/>
                  </a:lnTo>
                  <a:lnTo>
                    <a:pt x="911" y="1100"/>
                  </a:lnTo>
                  <a:lnTo>
                    <a:pt x="831" y="915"/>
                  </a:lnTo>
                  <a:lnTo>
                    <a:pt x="891" y="705"/>
                  </a:lnTo>
                  <a:lnTo>
                    <a:pt x="896" y="555"/>
                  </a:lnTo>
                  <a:lnTo>
                    <a:pt x="636" y="485"/>
                  </a:lnTo>
                  <a:lnTo>
                    <a:pt x="681" y="270"/>
                  </a:lnTo>
                  <a:lnTo>
                    <a:pt x="611" y="0"/>
                  </a:lnTo>
                  <a:lnTo>
                    <a:pt x="561" y="230"/>
                  </a:lnTo>
                  <a:lnTo>
                    <a:pt x="448" y="326"/>
                  </a:lnTo>
                  <a:lnTo>
                    <a:pt x="364" y="452"/>
                  </a:lnTo>
                  <a:lnTo>
                    <a:pt x="321" y="645"/>
                  </a:lnTo>
                  <a:lnTo>
                    <a:pt x="356" y="860"/>
                  </a:lnTo>
                  <a:lnTo>
                    <a:pt x="310" y="1004"/>
                  </a:lnTo>
                  <a:lnTo>
                    <a:pt x="139" y="1067"/>
                  </a:lnTo>
                  <a:lnTo>
                    <a:pt x="0" y="1124"/>
                  </a:lnTo>
                  <a:lnTo>
                    <a:pt x="36" y="117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37" name="Freeform 20"/>
            <p:cNvSpPr>
              <a:spLocks/>
            </p:cNvSpPr>
            <p:nvPr/>
          </p:nvSpPr>
          <p:spPr bwMode="auto">
            <a:xfrm>
              <a:off x="17991123" y="4651658"/>
              <a:ext cx="612287" cy="555096"/>
            </a:xfrm>
            <a:custGeom>
              <a:avLst/>
              <a:gdLst>
                <a:gd name="T0" fmla="*/ 182 w 182"/>
                <a:gd name="T1" fmla="*/ 45 h 165"/>
                <a:gd name="T2" fmla="*/ 167 w 182"/>
                <a:gd name="T3" fmla="*/ 31 h 165"/>
                <a:gd name="T4" fmla="*/ 152 w 182"/>
                <a:gd name="T5" fmla="*/ 45 h 165"/>
                <a:gd name="T6" fmla="*/ 149 w 182"/>
                <a:gd name="T7" fmla="*/ 64 h 165"/>
                <a:gd name="T8" fmla="*/ 141 w 182"/>
                <a:gd name="T9" fmla="*/ 76 h 165"/>
                <a:gd name="T10" fmla="*/ 126 w 182"/>
                <a:gd name="T11" fmla="*/ 75 h 165"/>
                <a:gd name="T12" fmla="*/ 135 w 182"/>
                <a:gd name="T13" fmla="*/ 45 h 165"/>
                <a:gd name="T14" fmla="*/ 120 w 182"/>
                <a:gd name="T15" fmla="*/ 21 h 165"/>
                <a:gd name="T16" fmla="*/ 96 w 182"/>
                <a:gd name="T17" fmla="*/ 43 h 165"/>
                <a:gd name="T18" fmla="*/ 79 w 182"/>
                <a:gd name="T19" fmla="*/ 42 h 165"/>
                <a:gd name="T20" fmla="*/ 71 w 182"/>
                <a:gd name="T21" fmla="*/ 0 h 165"/>
                <a:gd name="T22" fmla="*/ 53 w 182"/>
                <a:gd name="T23" fmla="*/ 28 h 165"/>
                <a:gd name="T24" fmla="*/ 56 w 182"/>
                <a:gd name="T25" fmla="*/ 49 h 165"/>
                <a:gd name="T26" fmla="*/ 26 w 182"/>
                <a:gd name="T27" fmla="*/ 48 h 165"/>
                <a:gd name="T28" fmla="*/ 15 w 182"/>
                <a:gd name="T29" fmla="*/ 48 h 165"/>
                <a:gd name="T30" fmla="*/ 17 w 182"/>
                <a:gd name="T31" fmla="*/ 63 h 165"/>
                <a:gd name="T32" fmla="*/ 0 w 182"/>
                <a:gd name="T33" fmla="*/ 84 h 165"/>
                <a:gd name="T34" fmla="*/ 23 w 182"/>
                <a:gd name="T35" fmla="*/ 96 h 165"/>
                <a:gd name="T36" fmla="*/ 33 w 182"/>
                <a:gd name="T37" fmla="*/ 88 h 165"/>
                <a:gd name="T38" fmla="*/ 56 w 182"/>
                <a:gd name="T39" fmla="*/ 67 h 165"/>
                <a:gd name="T40" fmla="*/ 79 w 182"/>
                <a:gd name="T41" fmla="*/ 87 h 165"/>
                <a:gd name="T42" fmla="*/ 79 w 182"/>
                <a:gd name="T43" fmla="*/ 42 h 165"/>
                <a:gd name="T44" fmla="*/ 95 w 182"/>
                <a:gd name="T45" fmla="*/ 55 h 165"/>
                <a:gd name="T46" fmla="*/ 93 w 182"/>
                <a:gd name="T47" fmla="*/ 75 h 165"/>
                <a:gd name="T48" fmla="*/ 86 w 182"/>
                <a:gd name="T49" fmla="*/ 102 h 165"/>
                <a:gd name="T50" fmla="*/ 75 w 182"/>
                <a:gd name="T51" fmla="*/ 127 h 165"/>
                <a:gd name="T52" fmla="*/ 54 w 182"/>
                <a:gd name="T53" fmla="*/ 156 h 165"/>
                <a:gd name="T54" fmla="*/ 68 w 182"/>
                <a:gd name="T55" fmla="*/ 165 h 165"/>
                <a:gd name="T56" fmla="*/ 92 w 182"/>
                <a:gd name="T57" fmla="*/ 147 h 165"/>
                <a:gd name="T58" fmla="*/ 117 w 182"/>
                <a:gd name="T59" fmla="*/ 156 h 165"/>
                <a:gd name="T60" fmla="*/ 122 w 182"/>
                <a:gd name="T61" fmla="*/ 118 h 165"/>
                <a:gd name="T62" fmla="*/ 140 w 182"/>
                <a:gd name="T63" fmla="*/ 132 h 165"/>
                <a:gd name="T64" fmla="*/ 149 w 182"/>
                <a:gd name="T65" fmla="*/ 115 h 165"/>
                <a:gd name="T66" fmla="*/ 167 w 182"/>
                <a:gd name="T67" fmla="*/ 111 h 165"/>
                <a:gd name="T68" fmla="*/ 176 w 182"/>
                <a:gd name="T69" fmla="*/ 76 h 165"/>
                <a:gd name="T70" fmla="*/ 182 w 182"/>
                <a:gd name="T71" fmla="*/ 45 h 1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82"/>
                <a:gd name="T109" fmla="*/ 0 h 165"/>
                <a:gd name="T110" fmla="*/ 182 w 182"/>
                <a:gd name="T111" fmla="*/ 165 h 16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82" h="165">
                  <a:moveTo>
                    <a:pt x="182" y="45"/>
                  </a:moveTo>
                  <a:lnTo>
                    <a:pt x="167" y="31"/>
                  </a:lnTo>
                  <a:lnTo>
                    <a:pt x="152" y="45"/>
                  </a:lnTo>
                  <a:lnTo>
                    <a:pt x="149" y="64"/>
                  </a:lnTo>
                  <a:lnTo>
                    <a:pt x="141" y="76"/>
                  </a:lnTo>
                  <a:lnTo>
                    <a:pt x="126" y="75"/>
                  </a:lnTo>
                  <a:lnTo>
                    <a:pt x="135" y="45"/>
                  </a:lnTo>
                  <a:lnTo>
                    <a:pt x="120" y="21"/>
                  </a:lnTo>
                  <a:lnTo>
                    <a:pt x="96" y="43"/>
                  </a:lnTo>
                  <a:lnTo>
                    <a:pt x="79" y="42"/>
                  </a:lnTo>
                  <a:lnTo>
                    <a:pt x="71" y="0"/>
                  </a:lnTo>
                  <a:lnTo>
                    <a:pt x="53" y="28"/>
                  </a:lnTo>
                  <a:lnTo>
                    <a:pt x="56" y="49"/>
                  </a:lnTo>
                  <a:lnTo>
                    <a:pt x="26" y="48"/>
                  </a:lnTo>
                  <a:lnTo>
                    <a:pt x="15" y="48"/>
                  </a:lnTo>
                  <a:lnTo>
                    <a:pt x="17" y="63"/>
                  </a:lnTo>
                  <a:lnTo>
                    <a:pt x="0" y="84"/>
                  </a:lnTo>
                  <a:lnTo>
                    <a:pt x="23" y="96"/>
                  </a:lnTo>
                  <a:lnTo>
                    <a:pt x="33" y="88"/>
                  </a:lnTo>
                  <a:lnTo>
                    <a:pt x="56" y="67"/>
                  </a:lnTo>
                  <a:lnTo>
                    <a:pt x="79" y="87"/>
                  </a:lnTo>
                  <a:lnTo>
                    <a:pt x="79" y="42"/>
                  </a:lnTo>
                  <a:lnTo>
                    <a:pt x="95" y="55"/>
                  </a:lnTo>
                  <a:lnTo>
                    <a:pt x="93" y="75"/>
                  </a:lnTo>
                  <a:lnTo>
                    <a:pt x="86" y="102"/>
                  </a:lnTo>
                  <a:lnTo>
                    <a:pt x="75" y="127"/>
                  </a:lnTo>
                  <a:lnTo>
                    <a:pt x="54" y="156"/>
                  </a:lnTo>
                  <a:lnTo>
                    <a:pt x="68" y="165"/>
                  </a:lnTo>
                  <a:lnTo>
                    <a:pt x="92" y="147"/>
                  </a:lnTo>
                  <a:lnTo>
                    <a:pt x="117" y="156"/>
                  </a:lnTo>
                  <a:lnTo>
                    <a:pt x="122" y="118"/>
                  </a:lnTo>
                  <a:lnTo>
                    <a:pt x="140" y="132"/>
                  </a:lnTo>
                  <a:lnTo>
                    <a:pt x="149" y="115"/>
                  </a:lnTo>
                  <a:lnTo>
                    <a:pt x="167" y="111"/>
                  </a:lnTo>
                  <a:lnTo>
                    <a:pt x="176" y="76"/>
                  </a:lnTo>
                  <a:lnTo>
                    <a:pt x="182" y="4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38" name="Freeform 21"/>
            <p:cNvSpPr>
              <a:spLocks/>
            </p:cNvSpPr>
            <p:nvPr/>
          </p:nvSpPr>
          <p:spPr bwMode="auto">
            <a:xfrm>
              <a:off x="18714430" y="4180668"/>
              <a:ext cx="242223" cy="423891"/>
            </a:xfrm>
            <a:custGeom>
              <a:avLst/>
              <a:gdLst>
                <a:gd name="T0" fmla="*/ 1 w 72"/>
                <a:gd name="T1" fmla="*/ 54 h 126"/>
                <a:gd name="T2" fmla="*/ 0 w 72"/>
                <a:gd name="T3" fmla="*/ 126 h 126"/>
                <a:gd name="T4" fmla="*/ 36 w 72"/>
                <a:gd name="T5" fmla="*/ 104 h 126"/>
                <a:gd name="T6" fmla="*/ 60 w 72"/>
                <a:gd name="T7" fmla="*/ 87 h 126"/>
                <a:gd name="T8" fmla="*/ 60 w 72"/>
                <a:gd name="T9" fmla="*/ 57 h 126"/>
                <a:gd name="T10" fmla="*/ 72 w 72"/>
                <a:gd name="T11" fmla="*/ 15 h 126"/>
                <a:gd name="T12" fmla="*/ 57 w 72"/>
                <a:gd name="T13" fmla="*/ 0 h 126"/>
                <a:gd name="T14" fmla="*/ 21 w 72"/>
                <a:gd name="T15" fmla="*/ 17 h 126"/>
                <a:gd name="T16" fmla="*/ 16 w 72"/>
                <a:gd name="T17" fmla="*/ 33 h 126"/>
                <a:gd name="T18" fmla="*/ 1 w 72"/>
                <a:gd name="T19" fmla="*/ 54 h 12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2"/>
                <a:gd name="T31" fmla="*/ 0 h 126"/>
                <a:gd name="T32" fmla="*/ 72 w 72"/>
                <a:gd name="T33" fmla="*/ 126 h 12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2" h="126">
                  <a:moveTo>
                    <a:pt x="1" y="54"/>
                  </a:moveTo>
                  <a:lnTo>
                    <a:pt x="0" y="126"/>
                  </a:lnTo>
                  <a:lnTo>
                    <a:pt x="36" y="104"/>
                  </a:lnTo>
                  <a:lnTo>
                    <a:pt x="60" y="87"/>
                  </a:lnTo>
                  <a:lnTo>
                    <a:pt x="60" y="57"/>
                  </a:lnTo>
                  <a:lnTo>
                    <a:pt x="72" y="15"/>
                  </a:lnTo>
                  <a:lnTo>
                    <a:pt x="57" y="0"/>
                  </a:lnTo>
                  <a:lnTo>
                    <a:pt x="21" y="17"/>
                  </a:lnTo>
                  <a:lnTo>
                    <a:pt x="16" y="33"/>
                  </a:lnTo>
                  <a:lnTo>
                    <a:pt x="1" y="5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39" name="Freeform 22"/>
            <p:cNvSpPr>
              <a:spLocks/>
            </p:cNvSpPr>
            <p:nvPr/>
          </p:nvSpPr>
          <p:spPr bwMode="auto">
            <a:xfrm>
              <a:off x="17785907" y="5200026"/>
              <a:ext cx="161482" cy="148025"/>
            </a:xfrm>
            <a:custGeom>
              <a:avLst/>
              <a:gdLst>
                <a:gd name="T0" fmla="*/ 0 w 48"/>
                <a:gd name="T1" fmla="*/ 3 h 44"/>
                <a:gd name="T2" fmla="*/ 7 w 48"/>
                <a:gd name="T3" fmla="*/ 23 h 44"/>
                <a:gd name="T4" fmla="*/ 6 w 48"/>
                <a:gd name="T5" fmla="*/ 44 h 44"/>
                <a:gd name="T6" fmla="*/ 27 w 48"/>
                <a:gd name="T7" fmla="*/ 42 h 44"/>
                <a:gd name="T8" fmla="*/ 48 w 48"/>
                <a:gd name="T9" fmla="*/ 18 h 44"/>
                <a:gd name="T10" fmla="*/ 34 w 48"/>
                <a:gd name="T11" fmla="*/ 0 h 44"/>
                <a:gd name="T12" fmla="*/ 0 w 48"/>
                <a:gd name="T13" fmla="*/ 3 h 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8"/>
                <a:gd name="T22" fmla="*/ 0 h 44"/>
                <a:gd name="T23" fmla="*/ 48 w 48"/>
                <a:gd name="T24" fmla="*/ 44 h 4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8" h="44">
                  <a:moveTo>
                    <a:pt x="0" y="3"/>
                  </a:moveTo>
                  <a:lnTo>
                    <a:pt x="7" y="23"/>
                  </a:lnTo>
                  <a:lnTo>
                    <a:pt x="6" y="44"/>
                  </a:lnTo>
                  <a:lnTo>
                    <a:pt x="27" y="42"/>
                  </a:lnTo>
                  <a:lnTo>
                    <a:pt x="48" y="18"/>
                  </a:lnTo>
                  <a:lnTo>
                    <a:pt x="34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40" name="Freeform 23"/>
            <p:cNvSpPr>
              <a:spLocks/>
            </p:cNvSpPr>
            <p:nvPr/>
          </p:nvSpPr>
          <p:spPr bwMode="auto">
            <a:xfrm>
              <a:off x="18310724" y="4449805"/>
              <a:ext cx="164845" cy="252317"/>
            </a:xfrm>
            <a:custGeom>
              <a:avLst/>
              <a:gdLst>
                <a:gd name="T0" fmla="*/ 22 w 49"/>
                <a:gd name="T1" fmla="*/ 21 h 75"/>
                <a:gd name="T2" fmla="*/ 3 w 49"/>
                <a:gd name="T3" fmla="*/ 45 h 75"/>
                <a:gd name="T4" fmla="*/ 0 w 49"/>
                <a:gd name="T5" fmla="*/ 75 h 75"/>
                <a:gd name="T6" fmla="*/ 22 w 49"/>
                <a:gd name="T7" fmla="*/ 57 h 75"/>
                <a:gd name="T8" fmla="*/ 40 w 49"/>
                <a:gd name="T9" fmla="*/ 48 h 75"/>
                <a:gd name="T10" fmla="*/ 39 w 49"/>
                <a:gd name="T11" fmla="*/ 33 h 75"/>
                <a:gd name="T12" fmla="*/ 49 w 49"/>
                <a:gd name="T13" fmla="*/ 0 h 75"/>
                <a:gd name="T14" fmla="*/ 34 w 49"/>
                <a:gd name="T15" fmla="*/ 0 h 75"/>
                <a:gd name="T16" fmla="*/ 22 w 49"/>
                <a:gd name="T17" fmla="*/ 21 h 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9"/>
                <a:gd name="T28" fmla="*/ 0 h 75"/>
                <a:gd name="T29" fmla="*/ 49 w 49"/>
                <a:gd name="T30" fmla="*/ 75 h 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9" h="75">
                  <a:moveTo>
                    <a:pt x="22" y="21"/>
                  </a:moveTo>
                  <a:lnTo>
                    <a:pt x="3" y="45"/>
                  </a:lnTo>
                  <a:lnTo>
                    <a:pt x="0" y="75"/>
                  </a:lnTo>
                  <a:lnTo>
                    <a:pt x="22" y="57"/>
                  </a:lnTo>
                  <a:lnTo>
                    <a:pt x="40" y="48"/>
                  </a:lnTo>
                  <a:lnTo>
                    <a:pt x="39" y="33"/>
                  </a:lnTo>
                  <a:lnTo>
                    <a:pt x="49" y="0"/>
                  </a:lnTo>
                  <a:lnTo>
                    <a:pt x="34" y="0"/>
                  </a:lnTo>
                  <a:lnTo>
                    <a:pt x="22" y="21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41" name="Freeform 24"/>
            <p:cNvSpPr>
              <a:spLocks/>
            </p:cNvSpPr>
            <p:nvPr/>
          </p:nvSpPr>
          <p:spPr bwMode="auto">
            <a:xfrm>
              <a:off x="17981031" y="5035178"/>
              <a:ext cx="178302" cy="245589"/>
            </a:xfrm>
            <a:custGeom>
              <a:avLst/>
              <a:gdLst>
                <a:gd name="T0" fmla="*/ 26 w 53"/>
                <a:gd name="T1" fmla="*/ 21 h 73"/>
                <a:gd name="T2" fmla="*/ 0 w 53"/>
                <a:gd name="T3" fmla="*/ 55 h 73"/>
                <a:gd name="T4" fmla="*/ 15 w 53"/>
                <a:gd name="T5" fmla="*/ 73 h 73"/>
                <a:gd name="T6" fmla="*/ 26 w 53"/>
                <a:gd name="T7" fmla="*/ 57 h 73"/>
                <a:gd name="T8" fmla="*/ 44 w 53"/>
                <a:gd name="T9" fmla="*/ 48 h 73"/>
                <a:gd name="T10" fmla="*/ 51 w 53"/>
                <a:gd name="T11" fmla="*/ 28 h 73"/>
                <a:gd name="T12" fmla="*/ 53 w 53"/>
                <a:gd name="T13" fmla="*/ 0 h 73"/>
                <a:gd name="T14" fmla="*/ 38 w 53"/>
                <a:gd name="T15" fmla="*/ 0 h 73"/>
                <a:gd name="T16" fmla="*/ 26 w 53"/>
                <a:gd name="T17" fmla="*/ 21 h 7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3"/>
                <a:gd name="T28" fmla="*/ 0 h 73"/>
                <a:gd name="T29" fmla="*/ 53 w 53"/>
                <a:gd name="T30" fmla="*/ 73 h 7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3" h="73">
                  <a:moveTo>
                    <a:pt x="26" y="21"/>
                  </a:moveTo>
                  <a:lnTo>
                    <a:pt x="0" y="55"/>
                  </a:lnTo>
                  <a:lnTo>
                    <a:pt x="15" y="73"/>
                  </a:lnTo>
                  <a:lnTo>
                    <a:pt x="26" y="57"/>
                  </a:lnTo>
                  <a:lnTo>
                    <a:pt x="44" y="48"/>
                  </a:lnTo>
                  <a:lnTo>
                    <a:pt x="51" y="28"/>
                  </a:lnTo>
                  <a:lnTo>
                    <a:pt x="53" y="0"/>
                  </a:lnTo>
                  <a:lnTo>
                    <a:pt x="38" y="0"/>
                  </a:lnTo>
                  <a:lnTo>
                    <a:pt x="26" y="21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42" name="Freeform 25"/>
            <p:cNvSpPr>
              <a:spLocks/>
            </p:cNvSpPr>
            <p:nvPr/>
          </p:nvSpPr>
          <p:spPr bwMode="auto">
            <a:xfrm>
              <a:off x="18280445" y="5200026"/>
              <a:ext cx="242223" cy="171574"/>
            </a:xfrm>
            <a:custGeom>
              <a:avLst/>
              <a:gdLst>
                <a:gd name="T0" fmla="*/ 35 w 72"/>
                <a:gd name="T1" fmla="*/ 24 h 51"/>
                <a:gd name="T2" fmla="*/ 7 w 72"/>
                <a:gd name="T3" fmla="*/ 35 h 51"/>
                <a:gd name="T4" fmla="*/ 0 w 72"/>
                <a:gd name="T5" fmla="*/ 50 h 51"/>
                <a:gd name="T6" fmla="*/ 24 w 72"/>
                <a:gd name="T7" fmla="*/ 51 h 51"/>
                <a:gd name="T8" fmla="*/ 48 w 72"/>
                <a:gd name="T9" fmla="*/ 42 h 51"/>
                <a:gd name="T10" fmla="*/ 72 w 72"/>
                <a:gd name="T11" fmla="*/ 36 h 51"/>
                <a:gd name="T12" fmla="*/ 70 w 72"/>
                <a:gd name="T13" fmla="*/ 0 h 51"/>
                <a:gd name="T14" fmla="*/ 57 w 72"/>
                <a:gd name="T15" fmla="*/ 2 h 51"/>
                <a:gd name="T16" fmla="*/ 49 w 72"/>
                <a:gd name="T17" fmla="*/ 14 h 51"/>
                <a:gd name="T18" fmla="*/ 35 w 72"/>
                <a:gd name="T19" fmla="*/ 24 h 5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2"/>
                <a:gd name="T31" fmla="*/ 0 h 51"/>
                <a:gd name="T32" fmla="*/ 72 w 72"/>
                <a:gd name="T33" fmla="*/ 51 h 5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2" h="51">
                  <a:moveTo>
                    <a:pt x="35" y="24"/>
                  </a:moveTo>
                  <a:lnTo>
                    <a:pt x="7" y="35"/>
                  </a:lnTo>
                  <a:lnTo>
                    <a:pt x="0" y="50"/>
                  </a:lnTo>
                  <a:lnTo>
                    <a:pt x="24" y="51"/>
                  </a:lnTo>
                  <a:lnTo>
                    <a:pt x="48" y="42"/>
                  </a:lnTo>
                  <a:lnTo>
                    <a:pt x="72" y="36"/>
                  </a:lnTo>
                  <a:lnTo>
                    <a:pt x="70" y="0"/>
                  </a:lnTo>
                  <a:lnTo>
                    <a:pt x="57" y="2"/>
                  </a:lnTo>
                  <a:lnTo>
                    <a:pt x="49" y="14"/>
                  </a:lnTo>
                  <a:lnTo>
                    <a:pt x="35" y="2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43" name="Freeform 26"/>
            <p:cNvSpPr>
              <a:spLocks/>
            </p:cNvSpPr>
            <p:nvPr/>
          </p:nvSpPr>
          <p:spPr bwMode="auto">
            <a:xfrm>
              <a:off x="17604240" y="5280767"/>
              <a:ext cx="161482" cy="248952"/>
            </a:xfrm>
            <a:custGeom>
              <a:avLst/>
              <a:gdLst>
                <a:gd name="T0" fmla="*/ 22 w 48"/>
                <a:gd name="T1" fmla="*/ 20 h 74"/>
                <a:gd name="T2" fmla="*/ 3 w 48"/>
                <a:gd name="T3" fmla="*/ 24 h 74"/>
                <a:gd name="T4" fmla="*/ 0 w 48"/>
                <a:gd name="T5" fmla="*/ 50 h 74"/>
                <a:gd name="T6" fmla="*/ 0 w 48"/>
                <a:gd name="T7" fmla="*/ 74 h 74"/>
                <a:gd name="T8" fmla="*/ 22 w 48"/>
                <a:gd name="T9" fmla="*/ 56 h 74"/>
                <a:gd name="T10" fmla="*/ 33 w 48"/>
                <a:gd name="T11" fmla="*/ 42 h 74"/>
                <a:gd name="T12" fmla="*/ 48 w 48"/>
                <a:gd name="T13" fmla="*/ 24 h 74"/>
                <a:gd name="T14" fmla="*/ 46 w 48"/>
                <a:gd name="T15" fmla="*/ 9 h 74"/>
                <a:gd name="T16" fmla="*/ 33 w 48"/>
                <a:gd name="T17" fmla="*/ 0 h 74"/>
                <a:gd name="T18" fmla="*/ 22 w 48"/>
                <a:gd name="T19" fmla="*/ 20 h 7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8"/>
                <a:gd name="T31" fmla="*/ 0 h 74"/>
                <a:gd name="T32" fmla="*/ 48 w 48"/>
                <a:gd name="T33" fmla="*/ 74 h 7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8" h="74">
                  <a:moveTo>
                    <a:pt x="22" y="20"/>
                  </a:moveTo>
                  <a:lnTo>
                    <a:pt x="3" y="24"/>
                  </a:lnTo>
                  <a:lnTo>
                    <a:pt x="0" y="50"/>
                  </a:lnTo>
                  <a:lnTo>
                    <a:pt x="0" y="74"/>
                  </a:lnTo>
                  <a:lnTo>
                    <a:pt x="22" y="56"/>
                  </a:lnTo>
                  <a:lnTo>
                    <a:pt x="33" y="42"/>
                  </a:lnTo>
                  <a:lnTo>
                    <a:pt x="48" y="24"/>
                  </a:lnTo>
                  <a:lnTo>
                    <a:pt x="46" y="9"/>
                  </a:lnTo>
                  <a:lnTo>
                    <a:pt x="33" y="0"/>
                  </a:lnTo>
                  <a:lnTo>
                    <a:pt x="22" y="2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44" name="Freeform 27"/>
            <p:cNvSpPr>
              <a:spLocks/>
            </p:cNvSpPr>
            <p:nvPr/>
          </p:nvSpPr>
          <p:spPr bwMode="auto">
            <a:xfrm>
              <a:off x="18149242" y="5422064"/>
              <a:ext cx="131203" cy="232130"/>
            </a:xfrm>
            <a:custGeom>
              <a:avLst/>
              <a:gdLst>
                <a:gd name="T0" fmla="*/ 22 w 39"/>
                <a:gd name="T1" fmla="*/ 15 h 69"/>
                <a:gd name="T2" fmla="*/ 16 w 39"/>
                <a:gd name="T3" fmla="*/ 41 h 69"/>
                <a:gd name="T4" fmla="*/ 1 w 39"/>
                <a:gd name="T5" fmla="*/ 56 h 69"/>
                <a:gd name="T6" fmla="*/ 0 w 39"/>
                <a:gd name="T7" fmla="*/ 69 h 69"/>
                <a:gd name="T8" fmla="*/ 16 w 39"/>
                <a:gd name="T9" fmla="*/ 62 h 69"/>
                <a:gd name="T10" fmla="*/ 34 w 39"/>
                <a:gd name="T11" fmla="*/ 47 h 69"/>
                <a:gd name="T12" fmla="*/ 39 w 39"/>
                <a:gd name="T13" fmla="*/ 27 h 69"/>
                <a:gd name="T14" fmla="*/ 34 w 39"/>
                <a:gd name="T15" fmla="*/ 0 h 69"/>
                <a:gd name="T16" fmla="*/ 19 w 39"/>
                <a:gd name="T17" fmla="*/ 5 h 69"/>
                <a:gd name="T18" fmla="*/ 22 w 39"/>
                <a:gd name="T19" fmla="*/ 15 h 6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9"/>
                <a:gd name="T31" fmla="*/ 0 h 69"/>
                <a:gd name="T32" fmla="*/ 39 w 39"/>
                <a:gd name="T33" fmla="*/ 69 h 6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9" h="69">
                  <a:moveTo>
                    <a:pt x="22" y="15"/>
                  </a:moveTo>
                  <a:lnTo>
                    <a:pt x="16" y="41"/>
                  </a:lnTo>
                  <a:lnTo>
                    <a:pt x="1" y="56"/>
                  </a:lnTo>
                  <a:lnTo>
                    <a:pt x="0" y="69"/>
                  </a:lnTo>
                  <a:lnTo>
                    <a:pt x="16" y="62"/>
                  </a:lnTo>
                  <a:lnTo>
                    <a:pt x="34" y="47"/>
                  </a:lnTo>
                  <a:lnTo>
                    <a:pt x="39" y="27"/>
                  </a:lnTo>
                  <a:lnTo>
                    <a:pt x="34" y="0"/>
                  </a:lnTo>
                  <a:lnTo>
                    <a:pt x="19" y="5"/>
                  </a:lnTo>
                  <a:lnTo>
                    <a:pt x="22" y="1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45" name="Freeform 28"/>
            <p:cNvSpPr>
              <a:spLocks/>
            </p:cNvSpPr>
            <p:nvPr/>
          </p:nvSpPr>
          <p:spPr bwMode="auto">
            <a:xfrm>
              <a:off x="16023060" y="8453218"/>
              <a:ext cx="242223" cy="174939"/>
            </a:xfrm>
            <a:custGeom>
              <a:avLst/>
              <a:gdLst>
                <a:gd name="T0" fmla="*/ 29 w 72"/>
                <a:gd name="T1" fmla="*/ 16 h 52"/>
                <a:gd name="T2" fmla="*/ 0 w 72"/>
                <a:gd name="T3" fmla="*/ 41 h 52"/>
                <a:gd name="T4" fmla="*/ 15 w 72"/>
                <a:gd name="T5" fmla="*/ 52 h 52"/>
                <a:gd name="T6" fmla="*/ 42 w 72"/>
                <a:gd name="T7" fmla="*/ 40 h 52"/>
                <a:gd name="T8" fmla="*/ 72 w 72"/>
                <a:gd name="T9" fmla="*/ 31 h 52"/>
                <a:gd name="T10" fmla="*/ 63 w 72"/>
                <a:gd name="T11" fmla="*/ 14 h 52"/>
                <a:gd name="T12" fmla="*/ 46 w 72"/>
                <a:gd name="T13" fmla="*/ 0 h 52"/>
                <a:gd name="T14" fmla="*/ 29 w 72"/>
                <a:gd name="T15" fmla="*/ 16 h 5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2"/>
                <a:gd name="T25" fmla="*/ 0 h 52"/>
                <a:gd name="T26" fmla="*/ 72 w 72"/>
                <a:gd name="T27" fmla="*/ 52 h 5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2" h="52">
                  <a:moveTo>
                    <a:pt x="29" y="16"/>
                  </a:moveTo>
                  <a:lnTo>
                    <a:pt x="0" y="41"/>
                  </a:lnTo>
                  <a:lnTo>
                    <a:pt x="15" y="52"/>
                  </a:lnTo>
                  <a:lnTo>
                    <a:pt x="42" y="40"/>
                  </a:lnTo>
                  <a:lnTo>
                    <a:pt x="72" y="31"/>
                  </a:lnTo>
                  <a:lnTo>
                    <a:pt x="63" y="14"/>
                  </a:lnTo>
                  <a:lnTo>
                    <a:pt x="46" y="0"/>
                  </a:lnTo>
                  <a:lnTo>
                    <a:pt x="29" y="1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46" name="Freeform 29"/>
            <p:cNvSpPr>
              <a:spLocks/>
            </p:cNvSpPr>
            <p:nvPr/>
          </p:nvSpPr>
          <p:spPr bwMode="auto">
            <a:xfrm>
              <a:off x="16070159" y="8355657"/>
              <a:ext cx="134568" cy="94198"/>
            </a:xfrm>
            <a:custGeom>
              <a:avLst/>
              <a:gdLst>
                <a:gd name="T0" fmla="*/ 13 w 40"/>
                <a:gd name="T1" fmla="*/ 3 h 28"/>
                <a:gd name="T2" fmla="*/ 0 w 40"/>
                <a:gd name="T3" fmla="*/ 15 h 28"/>
                <a:gd name="T4" fmla="*/ 6 w 40"/>
                <a:gd name="T5" fmla="*/ 28 h 28"/>
                <a:gd name="T6" fmla="*/ 34 w 40"/>
                <a:gd name="T7" fmla="*/ 16 h 28"/>
                <a:gd name="T8" fmla="*/ 40 w 40"/>
                <a:gd name="T9" fmla="*/ 6 h 28"/>
                <a:gd name="T10" fmla="*/ 27 w 40"/>
                <a:gd name="T11" fmla="*/ 0 h 28"/>
                <a:gd name="T12" fmla="*/ 13 w 40"/>
                <a:gd name="T13" fmla="*/ 3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0"/>
                <a:gd name="T22" fmla="*/ 0 h 28"/>
                <a:gd name="T23" fmla="*/ 40 w 40"/>
                <a:gd name="T24" fmla="*/ 28 h 2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0" h="28">
                  <a:moveTo>
                    <a:pt x="13" y="3"/>
                  </a:moveTo>
                  <a:lnTo>
                    <a:pt x="0" y="15"/>
                  </a:lnTo>
                  <a:lnTo>
                    <a:pt x="6" y="28"/>
                  </a:lnTo>
                  <a:lnTo>
                    <a:pt x="34" y="16"/>
                  </a:lnTo>
                  <a:lnTo>
                    <a:pt x="40" y="6"/>
                  </a:lnTo>
                  <a:lnTo>
                    <a:pt x="27" y="0"/>
                  </a:lnTo>
                  <a:lnTo>
                    <a:pt x="13" y="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47" name="Freeform 30"/>
            <p:cNvSpPr>
              <a:spLocks/>
            </p:cNvSpPr>
            <p:nvPr/>
          </p:nvSpPr>
          <p:spPr bwMode="auto">
            <a:xfrm>
              <a:off x="15851484" y="8601243"/>
              <a:ext cx="117748" cy="87470"/>
            </a:xfrm>
            <a:custGeom>
              <a:avLst/>
              <a:gdLst>
                <a:gd name="T0" fmla="*/ 8 w 35"/>
                <a:gd name="T1" fmla="*/ 3 h 26"/>
                <a:gd name="T2" fmla="*/ 0 w 35"/>
                <a:gd name="T3" fmla="*/ 15 h 26"/>
                <a:gd name="T4" fmla="*/ 9 w 35"/>
                <a:gd name="T5" fmla="*/ 26 h 26"/>
                <a:gd name="T6" fmla="*/ 29 w 35"/>
                <a:gd name="T7" fmla="*/ 16 h 26"/>
                <a:gd name="T8" fmla="*/ 35 w 35"/>
                <a:gd name="T9" fmla="*/ 6 h 26"/>
                <a:gd name="T10" fmla="*/ 22 w 35"/>
                <a:gd name="T11" fmla="*/ 0 h 26"/>
                <a:gd name="T12" fmla="*/ 8 w 35"/>
                <a:gd name="T13" fmla="*/ 3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26"/>
                <a:gd name="T23" fmla="*/ 35 w 35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26">
                  <a:moveTo>
                    <a:pt x="8" y="3"/>
                  </a:moveTo>
                  <a:lnTo>
                    <a:pt x="0" y="15"/>
                  </a:lnTo>
                  <a:lnTo>
                    <a:pt x="9" y="26"/>
                  </a:lnTo>
                  <a:lnTo>
                    <a:pt x="29" y="16"/>
                  </a:lnTo>
                  <a:lnTo>
                    <a:pt x="35" y="6"/>
                  </a:lnTo>
                  <a:lnTo>
                    <a:pt x="22" y="0"/>
                  </a:lnTo>
                  <a:lnTo>
                    <a:pt x="8" y="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48" name="Freeform 31"/>
            <p:cNvSpPr>
              <a:spLocks/>
            </p:cNvSpPr>
            <p:nvPr/>
          </p:nvSpPr>
          <p:spPr bwMode="auto">
            <a:xfrm>
              <a:off x="17503313" y="6377500"/>
              <a:ext cx="104290" cy="161482"/>
            </a:xfrm>
            <a:custGeom>
              <a:avLst/>
              <a:gdLst>
                <a:gd name="T0" fmla="*/ 0 w 31"/>
                <a:gd name="T1" fmla="*/ 0 h 48"/>
                <a:gd name="T2" fmla="*/ 10 w 31"/>
                <a:gd name="T3" fmla="*/ 27 h 48"/>
                <a:gd name="T4" fmla="*/ 13 w 31"/>
                <a:gd name="T5" fmla="*/ 48 h 48"/>
                <a:gd name="T6" fmla="*/ 30 w 31"/>
                <a:gd name="T7" fmla="*/ 46 h 48"/>
                <a:gd name="T8" fmla="*/ 31 w 31"/>
                <a:gd name="T9" fmla="*/ 18 h 48"/>
                <a:gd name="T10" fmla="*/ 17 w 31"/>
                <a:gd name="T11" fmla="*/ 0 h 48"/>
                <a:gd name="T12" fmla="*/ 0 w 31"/>
                <a:gd name="T13" fmla="*/ 0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1"/>
                <a:gd name="T22" fmla="*/ 0 h 48"/>
                <a:gd name="T23" fmla="*/ 31 w 31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1" h="48">
                  <a:moveTo>
                    <a:pt x="0" y="0"/>
                  </a:moveTo>
                  <a:lnTo>
                    <a:pt x="10" y="27"/>
                  </a:lnTo>
                  <a:lnTo>
                    <a:pt x="13" y="48"/>
                  </a:lnTo>
                  <a:lnTo>
                    <a:pt x="30" y="46"/>
                  </a:lnTo>
                  <a:lnTo>
                    <a:pt x="31" y="18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49" name="Freeform 32"/>
            <p:cNvSpPr>
              <a:spLocks/>
            </p:cNvSpPr>
            <p:nvPr/>
          </p:nvSpPr>
          <p:spPr bwMode="auto">
            <a:xfrm>
              <a:off x="17382202" y="6673551"/>
              <a:ext cx="161482" cy="289322"/>
            </a:xfrm>
            <a:custGeom>
              <a:avLst/>
              <a:gdLst>
                <a:gd name="T0" fmla="*/ 15 w 48"/>
                <a:gd name="T1" fmla="*/ 18 h 86"/>
                <a:gd name="T2" fmla="*/ 25 w 48"/>
                <a:gd name="T3" fmla="*/ 48 h 86"/>
                <a:gd name="T4" fmla="*/ 15 w 48"/>
                <a:gd name="T5" fmla="*/ 65 h 86"/>
                <a:gd name="T6" fmla="*/ 0 w 48"/>
                <a:gd name="T7" fmla="*/ 57 h 86"/>
                <a:gd name="T8" fmla="*/ 0 w 48"/>
                <a:gd name="T9" fmla="*/ 74 h 86"/>
                <a:gd name="T10" fmla="*/ 12 w 48"/>
                <a:gd name="T11" fmla="*/ 86 h 86"/>
                <a:gd name="T12" fmla="*/ 27 w 48"/>
                <a:gd name="T13" fmla="*/ 66 h 86"/>
                <a:gd name="T14" fmla="*/ 43 w 48"/>
                <a:gd name="T15" fmla="*/ 57 h 86"/>
                <a:gd name="T16" fmla="*/ 48 w 48"/>
                <a:gd name="T17" fmla="*/ 27 h 86"/>
                <a:gd name="T18" fmla="*/ 36 w 48"/>
                <a:gd name="T19" fmla="*/ 0 h 86"/>
                <a:gd name="T20" fmla="*/ 15 w 48"/>
                <a:gd name="T21" fmla="*/ 18 h 8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8"/>
                <a:gd name="T34" fmla="*/ 0 h 86"/>
                <a:gd name="T35" fmla="*/ 48 w 48"/>
                <a:gd name="T36" fmla="*/ 86 h 8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8" h="86">
                  <a:moveTo>
                    <a:pt x="15" y="18"/>
                  </a:moveTo>
                  <a:lnTo>
                    <a:pt x="25" y="48"/>
                  </a:lnTo>
                  <a:lnTo>
                    <a:pt x="15" y="65"/>
                  </a:lnTo>
                  <a:lnTo>
                    <a:pt x="0" y="57"/>
                  </a:lnTo>
                  <a:lnTo>
                    <a:pt x="0" y="74"/>
                  </a:lnTo>
                  <a:lnTo>
                    <a:pt x="12" y="86"/>
                  </a:lnTo>
                  <a:lnTo>
                    <a:pt x="27" y="66"/>
                  </a:lnTo>
                  <a:lnTo>
                    <a:pt x="43" y="57"/>
                  </a:lnTo>
                  <a:lnTo>
                    <a:pt x="48" y="27"/>
                  </a:lnTo>
                  <a:lnTo>
                    <a:pt x="36" y="0"/>
                  </a:lnTo>
                  <a:lnTo>
                    <a:pt x="15" y="1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50" name="Freeform 33"/>
            <p:cNvSpPr>
              <a:spLocks/>
            </p:cNvSpPr>
            <p:nvPr/>
          </p:nvSpPr>
          <p:spPr bwMode="auto">
            <a:xfrm>
              <a:off x="16023060" y="8453218"/>
              <a:ext cx="242223" cy="174939"/>
            </a:xfrm>
            <a:custGeom>
              <a:avLst/>
              <a:gdLst>
                <a:gd name="T0" fmla="*/ 29 w 72"/>
                <a:gd name="T1" fmla="*/ 16 h 52"/>
                <a:gd name="T2" fmla="*/ 0 w 72"/>
                <a:gd name="T3" fmla="*/ 41 h 52"/>
                <a:gd name="T4" fmla="*/ 15 w 72"/>
                <a:gd name="T5" fmla="*/ 52 h 52"/>
                <a:gd name="T6" fmla="*/ 42 w 72"/>
                <a:gd name="T7" fmla="*/ 40 h 52"/>
                <a:gd name="T8" fmla="*/ 72 w 72"/>
                <a:gd name="T9" fmla="*/ 31 h 52"/>
                <a:gd name="T10" fmla="*/ 63 w 72"/>
                <a:gd name="T11" fmla="*/ 14 h 52"/>
                <a:gd name="T12" fmla="*/ 46 w 72"/>
                <a:gd name="T13" fmla="*/ 0 h 52"/>
                <a:gd name="T14" fmla="*/ 29 w 72"/>
                <a:gd name="T15" fmla="*/ 16 h 5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2"/>
                <a:gd name="T25" fmla="*/ 0 h 52"/>
                <a:gd name="T26" fmla="*/ 72 w 72"/>
                <a:gd name="T27" fmla="*/ 52 h 5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2" h="52">
                  <a:moveTo>
                    <a:pt x="29" y="16"/>
                  </a:moveTo>
                  <a:lnTo>
                    <a:pt x="0" y="41"/>
                  </a:lnTo>
                  <a:lnTo>
                    <a:pt x="15" y="52"/>
                  </a:lnTo>
                  <a:lnTo>
                    <a:pt x="42" y="40"/>
                  </a:lnTo>
                  <a:lnTo>
                    <a:pt x="72" y="31"/>
                  </a:lnTo>
                  <a:lnTo>
                    <a:pt x="63" y="14"/>
                  </a:lnTo>
                  <a:lnTo>
                    <a:pt x="46" y="0"/>
                  </a:lnTo>
                  <a:lnTo>
                    <a:pt x="29" y="1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51" name="Freeform 34"/>
            <p:cNvSpPr>
              <a:spLocks/>
            </p:cNvSpPr>
            <p:nvPr/>
          </p:nvSpPr>
          <p:spPr bwMode="auto">
            <a:xfrm>
              <a:off x="16070159" y="8355657"/>
              <a:ext cx="134568" cy="94198"/>
            </a:xfrm>
            <a:custGeom>
              <a:avLst/>
              <a:gdLst>
                <a:gd name="T0" fmla="*/ 13 w 40"/>
                <a:gd name="T1" fmla="*/ 3 h 28"/>
                <a:gd name="T2" fmla="*/ 0 w 40"/>
                <a:gd name="T3" fmla="*/ 15 h 28"/>
                <a:gd name="T4" fmla="*/ 6 w 40"/>
                <a:gd name="T5" fmla="*/ 28 h 28"/>
                <a:gd name="T6" fmla="*/ 34 w 40"/>
                <a:gd name="T7" fmla="*/ 16 h 28"/>
                <a:gd name="T8" fmla="*/ 40 w 40"/>
                <a:gd name="T9" fmla="*/ 6 h 28"/>
                <a:gd name="T10" fmla="*/ 27 w 40"/>
                <a:gd name="T11" fmla="*/ 0 h 28"/>
                <a:gd name="T12" fmla="*/ 13 w 40"/>
                <a:gd name="T13" fmla="*/ 3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0"/>
                <a:gd name="T22" fmla="*/ 0 h 28"/>
                <a:gd name="T23" fmla="*/ 40 w 40"/>
                <a:gd name="T24" fmla="*/ 28 h 2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0" h="28">
                  <a:moveTo>
                    <a:pt x="13" y="3"/>
                  </a:moveTo>
                  <a:lnTo>
                    <a:pt x="0" y="15"/>
                  </a:lnTo>
                  <a:lnTo>
                    <a:pt x="6" y="28"/>
                  </a:lnTo>
                  <a:lnTo>
                    <a:pt x="34" y="16"/>
                  </a:lnTo>
                  <a:lnTo>
                    <a:pt x="40" y="6"/>
                  </a:lnTo>
                  <a:lnTo>
                    <a:pt x="27" y="0"/>
                  </a:lnTo>
                  <a:lnTo>
                    <a:pt x="13" y="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52" name="Freeform 35"/>
            <p:cNvSpPr>
              <a:spLocks/>
            </p:cNvSpPr>
            <p:nvPr/>
          </p:nvSpPr>
          <p:spPr bwMode="auto">
            <a:xfrm>
              <a:off x="15205555" y="9146246"/>
              <a:ext cx="117748" cy="158119"/>
            </a:xfrm>
            <a:custGeom>
              <a:avLst/>
              <a:gdLst>
                <a:gd name="T0" fmla="*/ 9 w 35"/>
                <a:gd name="T1" fmla="*/ 21 h 47"/>
                <a:gd name="T2" fmla="*/ 0 w 35"/>
                <a:gd name="T3" fmla="*/ 36 h 47"/>
                <a:gd name="T4" fmla="*/ 14 w 35"/>
                <a:gd name="T5" fmla="*/ 47 h 47"/>
                <a:gd name="T6" fmla="*/ 27 w 35"/>
                <a:gd name="T7" fmla="*/ 39 h 47"/>
                <a:gd name="T8" fmla="*/ 35 w 35"/>
                <a:gd name="T9" fmla="*/ 14 h 47"/>
                <a:gd name="T10" fmla="*/ 30 w 35"/>
                <a:gd name="T11" fmla="*/ 0 h 47"/>
                <a:gd name="T12" fmla="*/ 9 w 35"/>
                <a:gd name="T13" fmla="*/ 21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47"/>
                <a:gd name="T23" fmla="*/ 35 w 35"/>
                <a:gd name="T24" fmla="*/ 47 h 4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47">
                  <a:moveTo>
                    <a:pt x="9" y="21"/>
                  </a:moveTo>
                  <a:lnTo>
                    <a:pt x="0" y="36"/>
                  </a:lnTo>
                  <a:lnTo>
                    <a:pt x="14" y="47"/>
                  </a:lnTo>
                  <a:lnTo>
                    <a:pt x="27" y="39"/>
                  </a:lnTo>
                  <a:lnTo>
                    <a:pt x="35" y="14"/>
                  </a:lnTo>
                  <a:lnTo>
                    <a:pt x="30" y="0"/>
                  </a:lnTo>
                  <a:lnTo>
                    <a:pt x="9" y="21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53" name="Freeform 36"/>
            <p:cNvSpPr>
              <a:spLocks/>
            </p:cNvSpPr>
            <p:nvPr/>
          </p:nvSpPr>
          <p:spPr bwMode="auto">
            <a:xfrm>
              <a:off x="15851484" y="8601243"/>
              <a:ext cx="117748" cy="87470"/>
            </a:xfrm>
            <a:custGeom>
              <a:avLst/>
              <a:gdLst>
                <a:gd name="T0" fmla="*/ 8 w 35"/>
                <a:gd name="T1" fmla="*/ 3 h 26"/>
                <a:gd name="T2" fmla="*/ 0 w 35"/>
                <a:gd name="T3" fmla="*/ 15 h 26"/>
                <a:gd name="T4" fmla="*/ 9 w 35"/>
                <a:gd name="T5" fmla="*/ 26 h 26"/>
                <a:gd name="T6" fmla="*/ 29 w 35"/>
                <a:gd name="T7" fmla="*/ 16 h 26"/>
                <a:gd name="T8" fmla="*/ 35 w 35"/>
                <a:gd name="T9" fmla="*/ 6 h 26"/>
                <a:gd name="T10" fmla="*/ 22 w 35"/>
                <a:gd name="T11" fmla="*/ 0 h 26"/>
                <a:gd name="T12" fmla="*/ 8 w 35"/>
                <a:gd name="T13" fmla="*/ 3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26"/>
                <a:gd name="T23" fmla="*/ 35 w 35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26">
                  <a:moveTo>
                    <a:pt x="8" y="3"/>
                  </a:moveTo>
                  <a:lnTo>
                    <a:pt x="0" y="15"/>
                  </a:lnTo>
                  <a:lnTo>
                    <a:pt x="9" y="26"/>
                  </a:lnTo>
                  <a:lnTo>
                    <a:pt x="29" y="16"/>
                  </a:lnTo>
                  <a:lnTo>
                    <a:pt x="35" y="6"/>
                  </a:lnTo>
                  <a:lnTo>
                    <a:pt x="22" y="0"/>
                  </a:lnTo>
                  <a:lnTo>
                    <a:pt x="8" y="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54" name="Freeform 37"/>
            <p:cNvSpPr>
              <a:spLocks/>
            </p:cNvSpPr>
            <p:nvPr/>
          </p:nvSpPr>
          <p:spPr bwMode="auto">
            <a:xfrm>
              <a:off x="15346852" y="8998220"/>
              <a:ext cx="158119" cy="134568"/>
            </a:xfrm>
            <a:custGeom>
              <a:avLst/>
              <a:gdLst>
                <a:gd name="T0" fmla="*/ 13 w 47"/>
                <a:gd name="T1" fmla="*/ 21 h 40"/>
                <a:gd name="T2" fmla="*/ 0 w 47"/>
                <a:gd name="T3" fmla="*/ 35 h 40"/>
                <a:gd name="T4" fmla="*/ 11 w 47"/>
                <a:gd name="T5" fmla="*/ 40 h 40"/>
                <a:gd name="T6" fmla="*/ 24 w 47"/>
                <a:gd name="T7" fmla="*/ 29 h 40"/>
                <a:gd name="T8" fmla="*/ 47 w 47"/>
                <a:gd name="T9" fmla="*/ 10 h 40"/>
                <a:gd name="T10" fmla="*/ 34 w 47"/>
                <a:gd name="T11" fmla="*/ 0 h 40"/>
                <a:gd name="T12" fmla="*/ 13 w 47"/>
                <a:gd name="T13" fmla="*/ 21 h 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7"/>
                <a:gd name="T22" fmla="*/ 0 h 40"/>
                <a:gd name="T23" fmla="*/ 47 w 47"/>
                <a:gd name="T24" fmla="*/ 40 h 4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7" h="40">
                  <a:moveTo>
                    <a:pt x="13" y="21"/>
                  </a:moveTo>
                  <a:lnTo>
                    <a:pt x="0" y="35"/>
                  </a:lnTo>
                  <a:lnTo>
                    <a:pt x="11" y="40"/>
                  </a:lnTo>
                  <a:lnTo>
                    <a:pt x="24" y="29"/>
                  </a:lnTo>
                  <a:lnTo>
                    <a:pt x="47" y="10"/>
                  </a:lnTo>
                  <a:lnTo>
                    <a:pt x="34" y="0"/>
                  </a:lnTo>
                  <a:lnTo>
                    <a:pt x="13" y="21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55" name="Freeform 38"/>
            <p:cNvSpPr>
              <a:spLocks/>
            </p:cNvSpPr>
            <p:nvPr/>
          </p:nvSpPr>
          <p:spPr bwMode="auto">
            <a:xfrm>
              <a:off x="19918818" y="3141128"/>
              <a:ext cx="349878" cy="359970"/>
            </a:xfrm>
            <a:custGeom>
              <a:avLst/>
              <a:gdLst>
                <a:gd name="T0" fmla="*/ 5 w 104"/>
                <a:gd name="T1" fmla="*/ 82 h 107"/>
                <a:gd name="T2" fmla="*/ 33 w 104"/>
                <a:gd name="T3" fmla="*/ 84 h 107"/>
                <a:gd name="T4" fmla="*/ 35 w 104"/>
                <a:gd name="T5" fmla="*/ 107 h 107"/>
                <a:gd name="T6" fmla="*/ 57 w 104"/>
                <a:gd name="T7" fmla="*/ 87 h 107"/>
                <a:gd name="T8" fmla="*/ 72 w 104"/>
                <a:gd name="T9" fmla="*/ 93 h 107"/>
                <a:gd name="T10" fmla="*/ 84 w 104"/>
                <a:gd name="T11" fmla="*/ 69 h 107"/>
                <a:gd name="T12" fmla="*/ 96 w 104"/>
                <a:gd name="T13" fmla="*/ 48 h 107"/>
                <a:gd name="T14" fmla="*/ 104 w 104"/>
                <a:gd name="T15" fmla="*/ 29 h 107"/>
                <a:gd name="T16" fmla="*/ 89 w 104"/>
                <a:gd name="T17" fmla="*/ 0 h 107"/>
                <a:gd name="T18" fmla="*/ 71 w 104"/>
                <a:gd name="T19" fmla="*/ 45 h 107"/>
                <a:gd name="T20" fmla="*/ 32 w 104"/>
                <a:gd name="T21" fmla="*/ 65 h 107"/>
                <a:gd name="T22" fmla="*/ 0 w 104"/>
                <a:gd name="T23" fmla="*/ 69 h 107"/>
                <a:gd name="T24" fmla="*/ 5 w 104"/>
                <a:gd name="T25" fmla="*/ 82 h 10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07"/>
                <a:gd name="T41" fmla="*/ 104 w 104"/>
                <a:gd name="T42" fmla="*/ 107 h 10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07">
                  <a:moveTo>
                    <a:pt x="5" y="82"/>
                  </a:moveTo>
                  <a:lnTo>
                    <a:pt x="33" y="84"/>
                  </a:lnTo>
                  <a:lnTo>
                    <a:pt x="35" y="107"/>
                  </a:lnTo>
                  <a:lnTo>
                    <a:pt x="57" y="87"/>
                  </a:lnTo>
                  <a:lnTo>
                    <a:pt x="72" y="93"/>
                  </a:lnTo>
                  <a:lnTo>
                    <a:pt x="84" y="69"/>
                  </a:lnTo>
                  <a:lnTo>
                    <a:pt x="96" y="48"/>
                  </a:lnTo>
                  <a:lnTo>
                    <a:pt x="104" y="29"/>
                  </a:lnTo>
                  <a:lnTo>
                    <a:pt x="89" y="0"/>
                  </a:lnTo>
                  <a:lnTo>
                    <a:pt x="71" y="45"/>
                  </a:lnTo>
                  <a:lnTo>
                    <a:pt x="32" y="65"/>
                  </a:lnTo>
                  <a:lnTo>
                    <a:pt x="0" y="69"/>
                  </a:lnTo>
                  <a:lnTo>
                    <a:pt x="5" y="8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56" name="Freeform 39"/>
            <p:cNvSpPr>
              <a:spLocks/>
            </p:cNvSpPr>
            <p:nvPr/>
          </p:nvSpPr>
          <p:spPr bwMode="auto">
            <a:xfrm>
              <a:off x="20652216" y="2868626"/>
              <a:ext cx="235495" cy="158119"/>
            </a:xfrm>
            <a:custGeom>
              <a:avLst/>
              <a:gdLst>
                <a:gd name="T0" fmla="*/ 58 w 70"/>
                <a:gd name="T1" fmla="*/ 47 h 47"/>
                <a:gd name="T2" fmla="*/ 13 w 70"/>
                <a:gd name="T3" fmla="*/ 41 h 47"/>
                <a:gd name="T4" fmla="*/ 0 w 70"/>
                <a:gd name="T5" fmla="*/ 24 h 47"/>
                <a:gd name="T6" fmla="*/ 33 w 70"/>
                <a:gd name="T7" fmla="*/ 0 h 47"/>
                <a:gd name="T8" fmla="*/ 46 w 70"/>
                <a:gd name="T9" fmla="*/ 17 h 47"/>
                <a:gd name="T10" fmla="*/ 70 w 70"/>
                <a:gd name="T11" fmla="*/ 30 h 47"/>
                <a:gd name="T12" fmla="*/ 58 w 70"/>
                <a:gd name="T13" fmla="*/ 47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0"/>
                <a:gd name="T22" fmla="*/ 0 h 47"/>
                <a:gd name="T23" fmla="*/ 70 w 70"/>
                <a:gd name="T24" fmla="*/ 47 h 4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0" h="47">
                  <a:moveTo>
                    <a:pt x="58" y="47"/>
                  </a:moveTo>
                  <a:lnTo>
                    <a:pt x="13" y="41"/>
                  </a:lnTo>
                  <a:lnTo>
                    <a:pt x="0" y="24"/>
                  </a:lnTo>
                  <a:lnTo>
                    <a:pt x="33" y="0"/>
                  </a:lnTo>
                  <a:lnTo>
                    <a:pt x="46" y="17"/>
                  </a:lnTo>
                  <a:lnTo>
                    <a:pt x="70" y="30"/>
                  </a:lnTo>
                  <a:lnTo>
                    <a:pt x="58" y="47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57" name="Freeform 40"/>
            <p:cNvSpPr>
              <a:spLocks/>
            </p:cNvSpPr>
            <p:nvPr/>
          </p:nvSpPr>
          <p:spPr bwMode="auto">
            <a:xfrm>
              <a:off x="20171133" y="3379986"/>
              <a:ext cx="188396" cy="245589"/>
            </a:xfrm>
            <a:custGeom>
              <a:avLst/>
              <a:gdLst>
                <a:gd name="T0" fmla="*/ 27 w 56"/>
                <a:gd name="T1" fmla="*/ 73 h 73"/>
                <a:gd name="T2" fmla="*/ 51 w 56"/>
                <a:gd name="T3" fmla="*/ 45 h 73"/>
                <a:gd name="T4" fmla="*/ 56 w 56"/>
                <a:gd name="T5" fmla="*/ 24 h 73"/>
                <a:gd name="T6" fmla="*/ 35 w 56"/>
                <a:gd name="T7" fmla="*/ 0 h 73"/>
                <a:gd name="T8" fmla="*/ 23 w 56"/>
                <a:gd name="T9" fmla="*/ 10 h 73"/>
                <a:gd name="T10" fmla="*/ 0 w 56"/>
                <a:gd name="T11" fmla="*/ 46 h 73"/>
                <a:gd name="T12" fmla="*/ 15 w 56"/>
                <a:gd name="T13" fmla="*/ 55 h 73"/>
                <a:gd name="T14" fmla="*/ 27 w 56"/>
                <a:gd name="T15" fmla="*/ 73 h 7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6"/>
                <a:gd name="T25" fmla="*/ 0 h 73"/>
                <a:gd name="T26" fmla="*/ 56 w 56"/>
                <a:gd name="T27" fmla="*/ 73 h 7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6" h="73">
                  <a:moveTo>
                    <a:pt x="27" y="73"/>
                  </a:moveTo>
                  <a:lnTo>
                    <a:pt x="51" y="45"/>
                  </a:lnTo>
                  <a:lnTo>
                    <a:pt x="56" y="24"/>
                  </a:lnTo>
                  <a:lnTo>
                    <a:pt x="35" y="0"/>
                  </a:lnTo>
                  <a:lnTo>
                    <a:pt x="23" y="10"/>
                  </a:lnTo>
                  <a:lnTo>
                    <a:pt x="0" y="46"/>
                  </a:lnTo>
                  <a:lnTo>
                    <a:pt x="15" y="55"/>
                  </a:lnTo>
                  <a:lnTo>
                    <a:pt x="27" y="7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58" name="Freeform 41"/>
            <p:cNvSpPr>
              <a:spLocks/>
            </p:cNvSpPr>
            <p:nvPr/>
          </p:nvSpPr>
          <p:spPr bwMode="auto">
            <a:xfrm>
              <a:off x="20322523" y="3231961"/>
              <a:ext cx="131203" cy="171576"/>
            </a:xfrm>
            <a:custGeom>
              <a:avLst/>
              <a:gdLst>
                <a:gd name="T0" fmla="*/ 32 w 39"/>
                <a:gd name="T1" fmla="*/ 51 h 51"/>
                <a:gd name="T2" fmla="*/ 14 w 39"/>
                <a:gd name="T3" fmla="*/ 39 h 51"/>
                <a:gd name="T4" fmla="*/ 0 w 39"/>
                <a:gd name="T5" fmla="*/ 18 h 51"/>
                <a:gd name="T6" fmla="*/ 30 w 39"/>
                <a:gd name="T7" fmla="*/ 0 h 51"/>
                <a:gd name="T8" fmla="*/ 38 w 39"/>
                <a:gd name="T9" fmla="*/ 29 h 51"/>
                <a:gd name="T10" fmla="*/ 39 w 39"/>
                <a:gd name="T11" fmla="*/ 35 h 51"/>
                <a:gd name="T12" fmla="*/ 32 w 39"/>
                <a:gd name="T13" fmla="*/ 51 h 5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51"/>
                <a:gd name="T23" fmla="*/ 39 w 39"/>
                <a:gd name="T24" fmla="*/ 51 h 5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51">
                  <a:moveTo>
                    <a:pt x="32" y="51"/>
                  </a:moveTo>
                  <a:lnTo>
                    <a:pt x="14" y="39"/>
                  </a:lnTo>
                  <a:lnTo>
                    <a:pt x="0" y="18"/>
                  </a:lnTo>
                  <a:lnTo>
                    <a:pt x="30" y="0"/>
                  </a:lnTo>
                  <a:lnTo>
                    <a:pt x="38" y="29"/>
                  </a:lnTo>
                  <a:lnTo>
                    <a:pt x="39" y="35"/>
                  </a:lnTo>
                  <a:lnTo>
                    <a:pt x="32" y="51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59" name="Freeform 42"/>
            <p:cNvSpPr>
              <a:spLocks/>
            </p:cNvSpPr>
            <p:nvPr/>
          </p:nvSpPr>
          <p:spPr bwMode="auto">
            <a:xfrm>
              <a:off x="20339343" y="2976280"/>
              <a:ext cx="94198" cy="154754"/>
            </a:xfrm>
            <a:custGeom>
              <a:avLst/>
              <a:gdLst>
                <a:gd name="T0" fmla="*/ 21 w 28"/>
                <a:gd name="T1" fmla="*/ 46 h 46"/>
                <a:gd name="T2" fmla="*/ 3 w 28"/>
                <a:gd name="T3" fmla="*/ 34 h 46"/>
                <a:gd name="T4" fmla="*/ 0 w 28"/>
                <a:gd name="T5" fmla="*/ 12 h 46"/>
                <a:gd name="T6" fmla="*/ 13 w 28"/>
                <a:gd name="T7" fmla="*/ 0 h 46"/>
                <a:gd name="T8" fmla="*/ 27 w 28"/>
                <a:gd name="T9" fmla="*/ 24 h 46"/>
                <a:gd name="T10" fmla="*/ 28 w 28"/>
                <a:gd name="T11" fmla="*/ 30 h 46"/>
                <a:gd name="T12" fmla="*/ 21 w 28"/>
                <a:gd name="T13" fmla="*/ 46 h 4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46"/>
                <a:gd name="T23" fmla="*/ 28 w 28"/>
                <a:gd name="T24" fmla="*/ 46 h 4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46">
                  <a:moveTo>
                    <a:pt x="21" y="46"/>
                  </a:moveTo>
                  <a:lnTo>
                    <a:pt x="3" y="34"/>
                  </a:lnTo>
                  <a:lnTo>
                    <a:pt x="0" y="12"/>
                  </a:lnTo>
                  <a:lnTo>
                    <a:pt x="13" y="0"/>
                  </a:lnTo>
                  <a:lnTo>
                    <a:pt x="27" y="24"/>
                  </a:lnTo>
                  <a:lnTo>
                    <a:pt x="28" y="30"/>
                  </a:lnTo>
                  <a:lnTo>
                    <a:pt x="21" y="4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60" name="Freeform 43"/>
            <p:cNvSpPr>
              <a:spLocks/>
            </p:cNvSpPr>
            <p:nvPr/>
          </p:nvSpPr>
          <p:spPr bwMode="auto">
            <a:xfrm>
              <a:off x="18976838" y="4049465"/>
              <a:ext cx="185031" cy="161482"/>
            </a:xfrm>
            <a:custGeom>
              <a:avLst/>
              <a:gdLst>
                <a:gd name="T0" fmla="*/ 5 w 55"/>
                <a:gd name="T1" fmla="*/ 7 h 48"/>
                <a:gd name="T2" fmla="*/ 12 w 55"/>
                <a:gd name="T3" fmla="*/ 27 h 48"/>
                <a:gd name="T4" fmla="*/ 0 w 55"/>
                <a:gd name="T5" fmla="*/ 42 h 48"/>
                <a:gd name="T6" fmla="*/ 11 w 55"/>
                <a:gd name="T7" fmla="*/ 48 h 48"/>
                <a:gd name="T8" fmla="*/ 32 w 55"/>
                <a:gd name="T9" fmla="*/ 46 h 48"/>
                <a:gd name="T10" fmla="*/ 54 w 55"/>
                <a:gd name="T11" fmla="*/ 36 h 48"/>
                <a:gd name="T12" fmla="*/ 53 w 55"/>
                <a:gd name="T13" fmla="*/ 22 h 48"/>
                <a:gd name="T14" fmla="*/ 55 w 55"/>
                <a:gd name="T15" fmla="*/ 5 h 48"/>
                <a:gd name="T16" fmla="*/ 39 w 55"/>
                <a:gd name="T17" fmla="*/ 4 h 48"/>
                <a:gd name="T18" fmla="*/ 25 w 55"/>
                <a:gd name="T19" fmla="*/ 0 h 48"/>
                <a:gd name="T20" fmla="*/ 5 w 55"/>
                <a:gd name="T21" fmla="*/ 7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5"/>
                <a:gd name="T34" fmla="*/ 0 h 48"/>
                <a:gd name="T35" fmla="*/ 55 w 55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5" h="48">
                  <a:moveTo>
                    <a:pt x="5" y="7"/>
                  </a:moveTo>
                  <a:lnTo>
                    <a:pt x="12" y="27"/>
                  </a:lnTo>
                  <a:lnTo>
                    <a:pt x="0" y="42"/>
                  </a:lnTo>
                  <a:lnTo>
                    <a:pt x="11" y="48"/>
                  </a:lnTo>
                  <a:lnTo>
                    <a:pt x="32" y="46"/>
                  </a:lnTo>
                  <a:lnTo>
                    <a:pt x="54" y="36"/>
                  </a:lnTo>
                  <a:lnTo>
                    <a:pt x="53" y="22"/>
                  </a:lnTo>
                  <a:lnTo>
                    <a:pt x="55" y="5"/>
                  </a:lnTo>
                  <a:lnTo>
                    <a:pt x="39" y="4"/>
                  </a:lnTo>
                  <a:lnTo>
                    <a:pt x="25" y="0"/>
                  </a:lnTo>
                  <a:lnTo>
                    <a:pt x="5" y="7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61" name="Freeform 44"/>
            <p:cNvSpPr>
              <a:spLocks/>
            </p:cNvSpPr>
            <p:nvPr/>
          </p:nvSpPr>
          <p:spPr bwMode="auto">
            <a:xfrm>
              <a:off x="19323351" y="3716407"/>
              <a:ext cx="171576" cy="117748"/>
            </a:xfrm>
            <a:custGeom>
              <a:avLst/>
              <a:gdLst>
                <a:gd name="T0" fmla="*/ 0 w 51"/>
                <a:gd name="T1" fmla="*/ 5 h 35"/>
                <a:gd name="T2" fmla="*/ 7 w 51"/>
                <a:gd name="T3" fmla="*/ 25 h 35"/>
                <a:gd name="T4" fmla="*/ 30 w 51"/>
                <a:gd name="T5" fmla="*/ 35 h 35"/>
                <a:gd name="T6" fmla="*/ 51 w 51"/>
                <a:gd name="T7" fmla="*/ 26 h 35"/>
                <a:gd name="T8" fmla="*/ 29 w 51"/>
                <a:gd name="T9" fmla="*/ 9 h 35"/>
                <a:gd name="T10" fmla="*/ 18 w 51"/>
                <a:gd name="T11" fmla="*/ 0 h 35"/>
                <a:gd name="T12" fmla="*/ 0 w 51"/>
                <a:gd name="T13" fmla="*/ 5 h 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"/>
                <a:gd name="T22" fmla="*/ 0 h 35"/>
                <a:gd name="T23" fmla="*/ 51 w 51"/>
                <a:gd name="T24" fmla="*/ 35 h 3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" h="35">
                  <a:moveTo>
                    <a:pt x="0" y="5"/>
                  </a:moveTo>
                  <a:lnTo>
                    <a:pt x="7" y="25"/>
                  </a:lnTo>
                  <a:lnTo>
                    <a:pt x="30" y="35"/>
                  </a:lnTo>
                  <a:lnTo>
                    <a:pt x="51" y="26"/>
                  </a:lnTo>
                  <a:lnTo>
                    <a:pt x="29" y="9"/>
                  </a:lnTo>
                  <a:lnTo>
                    <a:pt x="18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62" name="Freeform 45"/>
            <p:cNvSpPr>
              <a:spLocks/>
            </p:cNvSpPr>
            <p:nvPr/>
          </p:nvSpPr>
          <p:spPr bwMode="auto">
            <a:xfrm>
              <a:off x="19050851" y="3813970"/>
              <a:ext cx="302779" cy="195124"/>
            </a:xfrm>
            <a:custGeom>
              <a:avLst/>
              <a:gdLst>
                <a:gd name="T0" fmla="*/ 23 w 90"/>
                <a:gd name="T1" fmla="*/ 0 h 58"/>
                <a:gd name="T2" fmla="*/ 0 w 90"/>
                <a:gd name="T3" fmla="*/ 16 h 58"/>
                <a:gd name="T4" fmla="*/ 26 w 90"/>
                <a:gd name="T5" fmla="*/ 39 h 58"/>
                <a:gd name="T6" fmla="*/ 44 w 90"/>
                <a:gd name="T7" fmla="*/ 58 h 58"/>
                <a:gd name="T8" fmla="*/ 68 w 90"/>
                <a:gd name="T9" fmla="*/ 49 h 58"/>
                <a:gd name="T10" fmla="*/ 87 w 90"/>
                <a:gd name="T11" fmla="*/ 55 h 58"/>
                <a:gd name="T12" fmla="*/ 90 w 90"/>
                <a:gd name="T13" fmla="*/ 30 h 58"/>
                <a:gd name="T14" fmla="*/ 69 w 90"/>
                <a:gd name="T15" fmla="*/ 21 h 58"/>
                <a:gd name="T16" fmla="*/ 38 w 90"/>
                <a:gd name="T17" fmla="*/ 21 h 58"/>
                <a:gd name="T18" fmla="*/ 23 w 90"/>
                <a:gd name="T19" fmla="*/ 0 h 5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0"/>
                <a:gd name="T31" fmla="*/ 0 h 58"/>
                <a:gd name="T32" fmla="*/ 90 w 90"/>
                <a:gd name="T33" fmla="*/ 58 h 5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0" h="58">
                  <a:moveTo>
                    <a:pt x="23" y="0"/>
                  </a:moveTo>
                  <a:lnTo>
                    <a:pt x="0" y="16"/>
                  </a:lnTo>
                  <a:lnTo>
                    <a:pt x="26" y="39"/>
                  </a:lnTo>
                  <a:lnTo>
                    <a:pt x="44" y="58"/>
                  </a:lnTo>
                  <a:lnTo>
                    <a:pt x="68" y="49"/>
                  </a:lnTo>
                  <a:lnTo>
                    <a:pt x="87" y="55"/>
                  </a:lnTo>
                  <a:lnTo>
                    <a:pt x="90" y="30"/>
                  </a:lnTo>
                  <a:lnTo>
                    <a:pt x="69" y="21"/>
                  </a:lnTo>
                  <a:lnTo>
                    <a:pt x="38" y="21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63" name="Freeform 46"/>
            <p:cNvSpPr>
              <a:spLocks/>
            </p:cNvSpPr>
            <p:nvPr/>
          </p:nvSpPr>
          <p:spPr bwMode="auto">
            <a:xfrm>
              <a:off x="19572303" y="3689493"/>
              <a:ext cx="124477" cy="117748"/>
            </a:xfrm>
            <a:custGeom>
              <a:avLst/>
              <a:gdLst>
                <a:gd name="T0" fmla="*/ 4 w 37"/>
                <a:gd name="T1" fmla="*/ 2 h 35"/>
                <a:gd name="T2" fmla="*/ 6 w 37"/>
                <a:gd name="T3" fmla="*/ 13 h 35"/>
                <a:gd name="T4" fmla="*/ 0 w 37"/>
                <a:gd name="T5" fmla="*/ 31 h 35"/>
                <a:gd name="T6" fmla="*/ 28 w 37"/>
                <a:gd name="T7" fmla="*/ 35 h 35"/>
                <a:gd name="T8" fmla="*/ 37 w 37"/>
                <a:gd name="T9" fmla="*/ 17 h 35"/>
                <a:gd name="T10" fmla="*/ 27 w 37"/>
                <a:gd name="T11" fmla="*/ 9 h 35"/>
                <a:gd name="T12" fmla="*/ 16 w 37"/>
                <a:gd name="T13" fmla="*/ 0 h 35"/>
                <a:gd name="T14" fmla="*/ 4 w 37"/>
                <a:gd name="T15" fmla="*/ 2 h 3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7"/>
                <a:gd name="T25" fmla="*/ 0 h 35"/>
                <a:gd name="T26" fmla="*/ 37 w 37"/>
                <a:gd name="T27" fmla="*/ 35 h 3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7" h="35">
                  <a:moveTo>
                    <a:pt x="4" y="2"/>
                  </a:moveTo>
                  <a:lnTo>
                    <a:pt x="6" y="13"/>
                  </a:lnTo>
                  <a:lnTo>
                    <a:pt x="0" y="31"/>
                  </a:lnTo>
                  <a:lnTo>
                    <a:pt x="28" y="35"/>
                  </a:lnTo>
                  <a:lnTo>
                    <a:pt x="37" y="17"/>
                  </a:lnTo>
                  <a:lnTo>
                    <a:pt x="27" y="9"/>
                  </a:lnTo>
                  <a:lnTo>
                    <a:pt x="16" y="0"/>
                  </a:lnTo>
                  <a:lnTo>
                    <a:pt x="4" y="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grpSp>
          <p:nvGrpSpPr>
            <p:cNvPr id="64" name="组合 156"/>
            <p:cNvGrpSpPr/>
            <p:nvPr/>
          </p:nvGrpSpPr>
          <p:grpSpPr>
            <a:xfrm>
              <a:off x="14593268" y="10266529"/>
              <a:ext cx="1005901" cy="938614"/>
              <a:chOff x="3021167" y="4932363"/>
              <a:chExt cx="474663" cy="442912"/>
            </a:xfrm>
            <a:solidFill>
              <a:schemeClr val="tx1">
                <a:lumMod val="20000"/>
                <a:lumOff val="80000"/>
              </a:schemeClr>
            </a:solidFill>
            <a:effectLst/>
          </p:grpSpPr>
          <p:sp>
            <p:nvSpPr>
              <p:cNvPr id="87" name="Freeform 12"/>
              <p:cNvSpPr>
                <a:spLocks/>
              </p:cNvSpPr>
              <p:nvPr/>
            </p:nvSpPr>
            <p:spPr bwMode="auto">
              <a:xfrm>
                <a:off x="3037042" y="4932363"/>
                <a:ext cx="458788" cy="442912"/>
              </a:xfrm>
              <a:custGeom>
                <a:avLst/>
                <a:gdLst>
                  <a:gd name="T0" fmla="*/ 350 w 1444"/>
                  <a:gd name="T1" fmla="*/ 900 h 1395"/>
                  <a:gd name="T2" fmla="*/ 405 w 1444"/>
                  <a:gd name="T3" fmla="*/ 710 h 1395"/>
                  <a:gd name="T4" fmla="*/ 255 w 1444"/>
                  <a:gd name="T5" fmla="*/ 855 h 1395"/>
                  <a:gd name="T6" fmla="*/ 110 w 1444"/>
                  <a:gd name="T7" fmla="*/ 795 h 1395"/>
                  <a:gd name="T8" fmla="*/ 175 w 1444"/>
                  <a:gd name="T9" fmla="*/ 710 h 1395"/>
                  <a:gd name="T10" fmla="*/ 65 w 1444"/>
                  <a:gd name="T11" fmla="*/ 655 h 1395"/>
                  <a:gd name="T12" fmla="*/ 0 w 1444"/>
                  <a:gd name="T13" fmla="*/ 540 h 1395"/>
                  <a:gd name="T14" fmla="*/ 45 w 1444"/>
                  <a:gd name="T15" fmla="*/ 390 h 1395"/>
                  <a:gd name="T16" fmla="*/ 95 w 1444"/>
                  <a:gd name="T17" fmla="*/ 375 h 1395"/>
                  <a:gd name="T18" fmla="*/ 120 w 1444"/>
                  <a:gd name="T19" fmla="*/ 475 h 1395"/>
                  <a:gd name="T20" fmla="*/ 185 w 1444"/>
                  <a:gd name="T21" fmla="*/ 430 h 1395"/>
                  <a:gd name="T22" fmla="*/ 195 w 1444"/>
                  <a:gd name="T23" fmla="*/ 310 h 1395"/>
                  <a:gd name="T24" fmla="*/ 260 w 1444"/>
                  <a:gd name="T25" fmla="*/ 195 h 1395"/>
                  <a:gd name="T26" fmla="*/ 155 w 1444"/>
                  <a:gd name="T27" fmla="*/ 160 h 1395"/>
                  <a:gd name="T28" fmla="*/ 200 w 1444"/>
                  <a:gd name="T29" fmla="*/ 0 h 1395"/>
                  <a:gd name="T30" fmla="*/ 350 w 1444"/>
                  <a:gd name="T31" fmla="*/ 60 h 1395"/>
                  <a:gd name="T32" fmla="*/ 455 w 1444"/>
                  <a:gd name="T33" fmla="*/ 10 h 1395"/>
                  <a:gd name="T34" fmla="*/ 630 w 1444"/>
                  <a:gd name="T35" fmla="*/ 55 h 1395"/>
                  <a:gd name="T36" fmla="*/ 785 w 1444"/>
                  <a:gd name="T37" fmla="*/ 120 h 1395"/>
                  <a:gd name="T38" fmla="*/ 930 w 1444"/>
                  <a:gd name="T39" fmla="*/ 205 h 1395"/>
                  <a:gd name="T40" fmla="*/ 1190 w 1444"/>
                  <a:gd name="T41" fmla="*/ 315 h 1395"/>
                  <a:gd name="T42" fmla="*/ 1443 w 1444"/>
                  <a:gd name="T43" fmla="*/ 436 h 1395"/>
                  <a:gd name="T44" fmla="*/ 1401 w 1444"/>
                  <a:gd name="T45" fmla="*/ 630 h 1395"/>
                  <a:gd name="T46" fmla="*/ 1444 w 1444"/>
                  <a:gd name="T47" fmla="*/ 789 h 1395"/>
                  <a:gd name="T48" fmla="*/ 1365 w 1444"/>
                  <a:gd name="T49" fmla="*/ 1006 h 1395"/>
                  <a:gd name="T50" fmla="*/ 1174 w 1444"/>
                  <a:gd name="T51" fmla="*/ 1149 h 1395"/>
                  <a:gd name="T52" fmla="*/ 1011 w 1444"/>
                  <a:gd name="T53" fmla="*/ 1318 h 1395"/>
                  <a:gd name="T54" fmla="*/ 830 w 1444"/>
                  <a:gd name="T55" fmla="*/ 1380 h 1395"/>
                  <a:gd name="T56" fmla="*/ 735 w 1444"/>
                  <a:gd name="T57" fmla="*/ 1245 h 1395"/>
                  <a:gd name="T58" fmla="*/ 555 w 1444"/>
                  <a:gd name="T59" fmla="*/ 1330 h 1395"/>
                  <a:gd name="T60" fmla="*/ 420 w 1444"/>
                  <a:gd name="T61" fmla="*/ 1395 h 1395"/>
                  <a:gd name="T62" fmla="*/ 350 w 1444"/>
                  <a:gd name="T63" fmla="*/ 1345 h 1395"/>
                  <a:gd name="T64" fmla="*/ 350 w 1444"/>
                  <a:gd name="T65" fmla="*/ 1270 h 1395"/>
                  <a:gd name="T66" fmla="*/ 495 w 1444"/>
                  <a:gd name="T67" fmla="*/ 1150 h 1395"/>
                  <a:gd name="T68" fmla="*/ 545 w 1444"/>
                  <a:gd name="T69" fmla="*/ 1045 h 1395"/>
                  <a:gd name="T70" fmla="*/ 635 w 1444"/>
                  <a:gd name="T71" fmla="*/ 900 h 1395"/>
                  <a:gd name="T72" fmla="*/ 765 w 1444"/>
                  <a:gd name="T73" fmla="*/ 790 h 1395"/>
                  <a:gd name="T74" fmla="*/ 965 w 1444"/>
                  <a:gd name="T75" fmla="*/ 705 h 1395"/>
                  <a:gd name="T76" fmla="*/ 1085 w 1444"/>
                  <a:gd name="T77" fmla="*/ 710 h 1395"/>
                  <a:gd name="T78" fmla="*/ 1080 w 1444"/>
                  <a:gd name="T79" fmla="*/ 600 h 1395"/>
                  <a:gd name="T80" fmla="*/ 1005 w 1444"/>
                  <a:gd name="T81" fmla="*/ 585 h 1395"/>
                  <a:gd name="T82" fmla="*/ 795 w 1444"/>
                  <a:gd name="T83" fmla="*/ 670 h 1395"/>
                  <a:gd name="T84" fmla="*/ 630 w 1444"/>
                  <a:gd name="T85" fmla="*/ 710 h 1395"/>
                  <a:gd name="T86" fmla="*/ 515 w 1444"/>
                  <a:gd name="T87" fmla="*/ 865 h 1395"/>
                  <a:gd name="T88" fmla="*/ 500 w 1444"/>
                  <a:gd name="T89" fmla="*/ 960 h 1395"/>
                  <a:gd name="T90" fmla="*/ 405 w 1444"/>
                  <a:gd name="T91" fmla="*/ 1035 h 1395"/>
                  <a:gd name="T92" fmla="*/ 350 w 1444"/>
                  <a:gd name="T93" fmla="*/ 900 h 1395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444"/>
                  <a:gd name="T142" fmla="*/ 0 h 1395"/>
                  <a:gd name="T143" fmla="*/ 1444 w 1444"/>
                  <a:gd name="T144" fmla="*/ 1395 h 1395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444" h="1395">
                    <a:moveTo>
                      <a:pt x="350" y="900"/>
                    </a:moveTo>
                    <a:lnTo>
                      <a:pt x="405" y="710"/>
                    </a:lnTo>
                    <a:lnTo>
                      <a:pt x="255" y="855"/>
                    </a:lnTo>
                    <a:lnTo>
                      <a:pt x="110" y="795"/>
                    </a:lnTo>
                    <a:lnTo>
                      <a:pt x="175" y="710"/>
                    </a:lnTo>
                    <a:lnTo>
                      <a:pt x="65" y="655"/>
                    </a:lnTo>
                    <a:lnTo>
                      <a:pt x="0" y="540"/>
                    </a:lnTo>
                    <a:lnTo>
                      <a:pt x="45" y="390"/>
                    </a:lnTo>
                    <a:lnTo>
                      <a:pt x="95" y="375"/>
                    </a:lnTo>
                    <a:lnTo>
                      <a:pt x="120" y="475"/>
                    </a:lnTo>
                    <a:lnTo>
                      <a:pt x="185" y="430"/>
                    </a:lnTo>
                    <a:lnTo>
                      <a:pt x="195" y="310"/>
                    </a:lnTo>
                    <a:lnTo>
                      <a:pt x="260" y="195"/>
                    </a:lnTo>
                    <a:lnTo>
                      <a:pt x="155" y="160"/>
                    </a:lnTo>
                    <a:lnTo>
                      <a:pt x="200" y="0"/>
                    </a:lnTo>
                    <a:lnTo>
                      <a:pt x="350" y="60"/>
                    </a:lnTo>
                    <a:lnTo>
                      <a:pt x="455" y="10"/>
                    </a:lnTo>
                    <a:lnTo>
                      <a:pt x="630" y="55"/>
                    </a:lnTo>
                    <a:lnTo>
                      <a:pt x="785" y="120"/>
                    </a:lnTo>
                    <a:lnTo>
                      <a:pt x="930" y="205"/>
                    </a:lnTo>
                    <a:lnTo>
                      <a:pt x="1190" y="315"/>
                    </a:lnTo>
                    <a:lnTo>
                      <a:pt x="1443" y="436"/>
                    </a:lnTo>
                    <a:lnTo>
                      <a:pt x="1401" y="630"/>
                    </a:lnTo>
                    <a:lnTo>
                      <a:pt x="1444" y="789"/>
                    </a:lnTo>
                    <a:lnTo>
                      <a:pt x="1365" y="1006"/>
                    </a:lnTo>
                    <a:lnTo>
                      <a:pt x="1174" y="1149"/>
                    </a:lnTo>
                    <a:lnTo>
                      <a:pt x="1011" y="1318"/>
                    </a:lnTo>
                    <a:lnTo>
                      <a:pt x="830" y="1380"/>
                    </a:lnTo>
                    <a:lnTo>
                      <a:pt x="735" y="1245"/>
                    </a:lnTo>
                    <a:lnTo>
                      <a:pt x="555" y="1330"/>
                    </a:lnTo>
                    <a:lnTo>
                      <a:pt x="420" y="1395"/>
                    </a:lnTo>
                    <a:lnTo>
                      <a:pt x="350" y="1345"/>
                    </a:lnTo>
                    <a:lnTo>
                      <a:pt x="350" y="1270"/>
                    </a:lnTo>
                    <a:lnTo>
                      <a:pt x="495" y="1150"/>
                    </a:lnTo>
                    <a:lnTo>
                      <a:pt x="545" y="1045"/>
                    </a:lnTo>
                    <a:lnTo>
                      <a:pt x="635" y="900"/>
                    </a:lnTo>
                    <a:lnTo>
                      <a:pt x="765" y="790"/>
                    </a:lnTo>
                    <a:lnTo>
                      <a:pt x="965" y="705"/>
                    </a:lnTo>
                    <a:lnTo>
                      <a:pt x="1085" y="710"/>
                    </a:lnTo>
                    <a:lnTo>
                      <a:pt x="1080" y="600"/>
                    </a:lnTo>
                    <a:lnTo>
                      <a:pt x="1005" y="585"/>
                    </a:lnTo>
                    <a:lnTo>
                      <a:pt x="795" y="670"/>
                    </a:lnTo>
                    <a:lnTo>
                      <a:pt x="630" y="710"/>
                    </a:lnTo>
                    <a:lnTo>
                      <a:pt x="515" y="865"/>
                    </a:lnTo>
                    <a:lnTo>
                      <a:pt x="500" y="960"/>
                    </a:lnTo>
                    <a:lnTo>
                      <a:pt x="405" y="1035"/>
                    </a:lnTo>
                    <a:lnTo>
                      <a:pt x="350" y="900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 b="1" kern="0">
                  <a:solidFill>
                    <a:srgbClr val="000000"/>
                  </a:solidFill>
                  <a:latin typeface="Avenir Medium"/>
                </a:endParaRPr>
              </a:p>
            </p:txBody>
          </p:sp>
          <p:sp>
            <p:nvSpPr>
              <p:cNvPr id="88" name="Freeform 47"/>
              <p:cNvSpPr>
                <a:spLocks/>
              </p:cNvSpPr>
              <p:nvPr/>
            </p:nvSpPr>
            <p:spPr bwMode="auto">
              <a:xfrm>
                <a:off x="3021167" y="5229225"/>
                <a:ext cx="60325" cy="49213"/>
              </a:xfrm>
              <a:custGeom>
                <a:avLst/>
                <a:gdLst>
                  <a:gd name="T0" fmla="*/ 8 w 38"/>
                  <a:gd name="T1" fmla="*/ 3 h 31"/>
                  <a:gd name="T2" fmla="*/ 0 w 38"/>
                  <a:gd name="T3" fmla="*/ 15 h 31"/>
                  <a:gd name="T4" fmla="*/ 9 w 38"/>
                  <a:gd name="T5" fmla="*/ 26 h 31"/>
                  <a:gd name="T6" fmla="*/ 29 w 38"/>
                  <a:gd name="T7" fmla="*/ 31 h 31"/>
                  <a:gd name="T8" fmla="*/ 38 w 38"/>
                  <a:gd name="T9" fmla="*/ 22 h 31"/>
                  <a:gd name="T10" fmla="*/ 35 w 38"/>
                  <a:gd name="T11" fmla="*/ 6 h 31"/>
                  <a:gd name="T12" fmla="*/ 22 w 38"/>
                  <a:gd name="T13" fmla="*/ 0 h 31"/>
                  <a:gd name="T14" fmla="*/ 8 w 38"/>
                  <a:gd name="T15" fmla="*/ 3 h 3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8"/>
                  <a:gd name="T25" fmla="*/ 0 h 31"/>
                  <a:gd name="T26" fmla="*/ 38 w 38"/>
                  <a:gd name="T27" fmla="*/ 31 h 3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8" h="31">
                    <a:moveTo>
                      <a:pt x="8" y="3"/>
                    </a:moveTo>
                    <a:lnTo>
                      <a:pt x="0" y="15"/>
                    </a:lnTo>
                    <a:lnTo>
                      <a:pt x="9" y="26"/>
                    </a:lnTo>
                    <a:lnTo>
                      <a:pt x="29" y="31"/>
                    </a:lnTo>
                    <a:lnTo>
                      <a:pt x="38" y="22"/>
                    </a:lnTo>
                    <a:lnTo>
                      <a:pt x="35" y="6"/>
                    </a:lnTo>
                    <a:lnTo>
                      <a:pt x="22" y="0"/>
                    </a:lnTo>
                    <a:lnTo>
                      <a:pt x="8" y="3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 b="1" kern="0">
                  <a:solidFill>
                    <a:srgbClr val="000000"/>
                  </a:solidFill>
                  <a:latin typeface="Avenir Medium"/>
                </a:endParaRPr>
              </a:p>
            </p:txBody>
          </p:sp>
          <p:sp>
            <p:nvSpPr>
              <p:cNvPr id="89" name="Freeform 48"/>
              <p:cNvSpPr>
                <a:spLocks/>
              </p:cNvSpPr>
              <p:nvPr/>
            </p:nvSpPr>
            <p:spPr bwMode="auto">
              <a:xfrm>
                <a:off x="3095780" y="5254625"/>
                <a:ext cx="60325" cy="42863"/>
              </a:xfrm>
              <a:custGeom>
                <a:avLst/>
                <a:gdLst>
                  <a:gd name="T0" fmla="*/ 8 w 38"/>
                  <a:gd name="T1" fmla="*/ 3 h 27"/>
                  <a:gd name="T2" fmla="*/ 0 w 38"/>
                  <a:gd name="T3" fmla="*/ 15 h 27"/>
                  <a:gd name="T4" fmla="*/ 12 w 38"/>
                  <a:gd name="T5" fmla="*/ 27 h 27"/>
                  <a:gd name="T6" fmla="*/ 29 w 38"/>
                  <a:gd name="T7" fmla="*/ 24 h 27"/>
                  <a:gd name="T8" fmla="*/ 38 w 38"/>
                  <a:gd name="T9" fmla="*/ 22 h 27"/>
                  <a:gd name="T10" fmla="*/ 35 w 38"/>
                  <a:gd name="T11" fmla="*/ 6 h 27"/>
                  <a:gd name="T12" fmla="*/ 22 w 38"/>
                  <a:gd name="T13" fmla="*/ 0 h 27"/>
                  <a:gd name="T14" fmla="*/ 8 w 38"/>
                  <a:gd name="T15" fmla="*/ 3 h 2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8"/>
                  <a:gd name="T25" fmla="*/ 0 h 27"/>
                  <a:gd name="T26" fmla="*/ 38 w 38"/>
                  <a:gd name="T27" fmla="*/ 27 h 2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8" h="27">
                    <a:moveTo>
                      <a:pt x="8" y="3"/>
                    </a:moveTo>
                    <a:lnTo>
                      <a:pt x="0" y="15"/>
                    </a:lnTo>
                    <a:lnTo>
                      <a:pt x="12" y="27"/>
                    </a:lnTo>
                    <a:lnTo>
                      <a:pt x="29" y="24"/>
                    </a:lnTo>
                    <a:lnTo>
                      <a:pt x="38" y="22"/>
                    </a:lnTo>
                    <a:lnTo>
                      <a:pt x="35" y="6"/>
                    </a:lnTo>
                    <a:lnTo>
                      <a:pt x="22" y="0"/>
                    </a:lnTo>
                    <a:lnTo>
                      <a:pt x="8" y="3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 b="1" kern="0">
                  <a:solidFill>
                    <a:srgbClr val="000000"/>
                  </a:solidFill>
                  <a:latin typeface="Avenir Medium"/>
                </a:endParaRPr>
              </a:p>
            </p:txBody>
          </p:sp>
        </p:grpSp>
        <p:sp>
          <p:nvSpPr>
            <p:cNvPr id="65" name="Freeform 49"/>
            <p:cNvSpPr>
              <a:spLocks/>
            </p:cNvSpPr>
            <p:nvPr/>
          </p:nvSpPr>
          <p:spPr bwMode="auto">
            <a:xfrm>
              <a:off x="16272011" y="11343077"/>
              <a:ext cx="292685" cy="528180"/>
            </a:xfrm>
            <a:custGeom>
              <a:avLst/>
              <a:gdLst>
                <a:gd name="T0" fmla="*/ 0 w 438"/>
                <a:gd name="T1" fmla="*/ 246 h 786"/>
                <a:gd name="T2" fmla="*/ 30 w 438"/>
                <a:gd name="T3" fmla="*/ 480 h 786"/>
                <a:gd name="T4" fmla="*/ 3 w 438"/>
                <a:gd name="T5" fmla="*/ 695 h 786"/>
                <a:gd name="T6" fmla="*/ 158 w 438"/>
                <a:gd name="T7" fmla="*/ 786 h 786"/>
                <a:gd name="T8" fmla="*/ 394 w 438"/>
                <a:gd name="T9" fmla="*/ 690 h 786"/>
                <a:gd name="T10" fmla="*/ 376 w 438"/>
                <a:gd name="T11" fmla="*/ 568 h 786"/>
                <a:gd name="T12" fmla="*/ 438 w 438"/>
                <a:gd name="T13" fmla="*/ 418 h 786"/>
                <a:gd name="T14" fmla="*/ 366 w 438"/>
                <a:gd name="T15" fmla="*/ 230 h 786"/>
                <a:gd name="T16" fmla="*/ 382 w 438"/>
                <a:gd name="T17" fmla="*/ 0 h 786"/>
                <a:gd name="T18" fmla="*/ 274 w 438"/>
                <a:gd name="T19" fmla="*/ 8 h 786"/>
                <a:gd name="T20" fmla="*/ 148 w 438"/>
                <a:gd name="T21" fmla="*/ 0 h 786"/>
                <a:gd name="T22" fmla="*/ 124 w 438"/>
                <a:gd name="T23" fmla="*/ 80 h 786"/>
                <a:gd name="T24" fmla="*/ 158 w 438"/>
                <a:gd name="T25" fmla="*/ 200 h 786"/>
                <a:gd name="T26" fmla="*/ 0 w 438"/>
                <a:gd name="T27" fmla="*/ 246 h 7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8"/>
                <a:gd name="T43" fmla="*/ 0 h 786"/>
                <a:gd name="T44" fmla="*/ 438 w 438"/>
                <a:gd name="T45" fmla="*/ 786 h 78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8" h="786">
                  <a:moveTo>
                    <a:pt x="0" y="246"/>
                  </a:moveTo>
                  <a:lnTo>
                    <a:pt x="30" y="480"/>
                  </a:lnTo>
                  <a:lnTo>
                    <a:pt x="3" y="695"/>
                  </a:lnTo>
                  <a:lnTo>
                    <a:pt x="158" y="786"/>
                  </a:lnTo>
                  <a:lnTo>
                    <a:pt x="394" y="690"/>
                  </a:lnTo>
                  <a:lnTo>
                    <a:pt x="376" y="568"/>
                  </a:lnTo>
                  <a:lnTo>
                    <a:pt x="438" y="418"/>
                  </a:lnTo>
                  <a:lnTo>
                    <a:pt x="366" y="230"/>
                  </a:lnTo>
                  <a:lnTo>
                    <a:pt x="382" y="0"/>
                  </a:lnTo>
                  <a:lnTo>
                    <a:pt x="274" y="8"/>
                  </a:lnTo>
                  <a:lnTo>
                    <a:pt x="148" y="0"/>
                  </a:lnTo>
                  <a:lnTo>
                    <a:pt x="124" y="80"/>
                  </a:lnTo>
                  <a:lnTo>
                    <a:pt x="158" y="200"/>
                  </a:lnTo>
                  <a:lnTo>
                    <a:pt x="0" y="24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sp>
          <p:nvSpPr>
            <p:cNvPr id="66" name="Freeform 50"/>
            <p:cNvSpPr>
              <a:spLocks/>
            </p:cNvSpPr>
            <p:nvPr/>
          </p:nvSpPr>
          <p:spPr bwMode="auto">
            <a:xfrm>
              <a:off x="16628618" y="11026841"/>
              <a:ext cx="131203" cy="161482"/>
            </a:xfrm>
            <a:custGeom>
              <a:avLst/>
              <a:gdLst>
                <a:gd name="T0" fmla="*/ 18 w 199"/>
                <a:gd name="T1" fmla="*/ 0 h 242"/>
                <a:gd name="T2" fmla="*/ 102 w 199"/>
                <a:gd name="T3" fmla="*/ 46 h 242"/>
                <a:gd name="T4" fmla="*/ 174 w 199"/>
                <a:gd name="T5" fmla="*/ 122 h 242"/>
                <a:gd name="T6" fmla="*/ 196 w 199"/>
                <a:gd name="T7" fmla="*/ 170 h 242"/>
                <a:gd name="T8" fmla="*/ 199 w 199"/>
                <a:gd name="T9" fmla="*/ 214 h 242"/>
                <a:gd name="T10" fmla="*/ 130 w 199"/>
                <a:gd name="T11" fmla="*/ 242 h 242"/>
                <a:gd name="T12" fmla="*/ 36 w 199"/>
                <a:gd name="T13" fmla="*/ 198 h 242"/>
                <a:gd name="T14" fmla="*/ 0 w 199"/>
                <a:gd name="T15" fmla="*/ 156 h 242"/>
                <a:gd name="T16" fmla="*/ 18 w 199"/>
                <a:gd name="T17" fmla="*/ 0 h 2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9"/>
                <a:gd name="T28" fmla="*/ 0 h 242"/>
                <a:gd name="T29" fmla="*/ 199 w 199"/>
                <a:gd name="T30" fmla="*/ 242 h 24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9" h="242">
                  <a:moveTo>
                    <a:pt x="18" y="0"/>
                  </a:moveTo>
                  <a:lnTo>
                    <a:pt x="102" y="46"/>
                  </a:lnTo>
                  <a:lnTo>
                    <a:pt x="174" y="122"/>
                  </a:lnTo>
                  <a:lnTo>
                    <a:pt x="196" y="170"/>
                  </a:lnTo>
                  <a:lnTo>
                    <a:pt x="199" y="214"/>
                  </a:lnTo>
                  <a:lnTo>
                    <a:pt x="130" y="242"/>
                  </a:lnTo>
                  <a:lnTo>
                    <a:pt x="36" y="198"/>
                  </a:lnTo>
                  <a:lnTo>
                    <a:pt x="0" y="156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 sz="1200" kern="0">
                <a:solidFill>
                  <a:sysClr val="windowText" lastClr="000000"/>
                </a:solidFill>
                <a:latin typeface="Avenir Medium"/>
              </a:endParaRPr>
            </a:p>
          </p:txBody>
        </p:sp>
        <p:grpSp>
          <p:nvGrpSpPr>
            <p:cNvPr id="67" name="Group 23"/>
            <p:cNvGrpSpPr>
              <a:grpSpLocks/>
            </p:cNvGrpSpPr>
            <p:nvPr/>
          </p:nvGrpSpPr>
          <p:grpSpPr bwMode="auto">
            <a:xfrm>
              <a:off x="13772314" y="3290694"/>
              <a:ext cx="1501575" cy="2144727"/>
              <a:chOff x="930" y="5168"/>
              <a:chExt cx="2232" cy="3188"/>
            </a:xfrm>
            <a:solidFill>
              <a:schemeClr val="tx1">
                <a:lumMod val="20000"/>
                <a:lumOff val="80000"/>
              </a:schemeClr>
            </a:solidFill>
            <a:effectLst/>
          </p:grpSpPr>
          <p:sp>
            <p:nvSpPr>
              <p:cNvPr id="73" name="Freeform 7"/>
              <p:cNvSpPr>
                <a:spLocks/>
              </p:cNvSpPr>
              <p:nvPr/>
            </p:nvSpPr>
            <p:spPr bwMode="auto">
              <a:xfrm>
                <a:off x="1608" y="5238"/>
                <a:ext cx="972" cy="642"/>
              </a:xfrm>
              <a:custGeom>
                <a:avLst/>
                <a:gdLst/>
                <a:ahLst/>
                <a:cxnLst>
                  <a:cxn ang="0">
                    <a:pos x="540" y="114"/>
                  </a:cxn>
                  <a:cxn ang="0">
                    <a:pos x="546" y="48"/>
                  </a:cxn>
                  <a:cxn ang="0">
                    <a:pos x="498" y="0"/>
                  </a:cxn>
                  <a:cxn ang="0">
                    <a:pos x="438" y="72"/>
                  </a:cxn>
                  <a:cxn ang="0">
                    <a:pos x="450" y="144"/>
                  </a:cxn>
                  <a:cxn ang="0">
                    <a:pos x="474" y="252"/>
                  </a:cxn>
                  <a:cxn ang="0">
                    <a:pos x="414" y="210"/>
                  </a:cxn>
                  <a:cxn ang="0">
                    <a:pos x="408" y="150"/>
                  </a:cxn>
                  <a:cxn ang="0">
                    <a:pos x="330" y="168"/>
                  </a:cxn>
                  <a:cxn ang="0">
                    <a:pos x="276" y="150"/>
                  </a:cxn>
                  <a:cxn ang="0">
                    <a:pos x="246" y="72"/>
                  </a:cxn>
                  <a:cxn ang="0">
                    <a:pos x="204" y="18"/>
                  </a:cxn>
                  <a:cxn ang="0">
                    <a:pos x="168" y="84"/>
                  </a:cxn>
                  <a:cxn ang="0">
                    <a:pos x="186" y="168"/>
                  </a:cxn>
                  <a:cxn ang="0">
                    <a:pos x="132" y="144"/>
                  </a:cxn>
                  <a:cxn ang="0">
                    <a:pos x="150" y="228"/>
                  </a:cxn>
                  <a:cxn ang="0">
                    <a:pos x="54" y="222"/>
                  </a:cxn>
                  <a:cxn ang="0">
                    <a:pos x="0" y="264"/>
                  </a:cxn>
                  <a:cxn ang="0">
                    <a:pos x="96" y="300"/>
                  </a:cxn>
                  <a:cxn ang="0">
                    <a:pos x="66" y="360"/>
                  </a:cxn>
                  <a:cxn ang="0">
                    <a:pos x="108" y="438"/>
                  </a:cxn>
                  <a:cxn ang="0">
                    <a:pos x="180" y="444"/>
                  </a:cxn>
                  <a:cxn ang="0">
                    <a:pos x="270" y="420"/>
                  </a:cxn>
                  <a:cxn ang="0">
                    <a:pos x="337" y="393"/>
                  </a:cxn>
                  <a:cxn ang="0">
                    <a:pos x="396" y="396"/>
                  </a:cxn>
                  <a:cxn ang="0">
                    <a:pos x="312" y="438"/>
                  </a:cxn>
                  <a:cxn ang="0">
                    <a:pos x="318" y="504"/>
                  </a:cxn>
                  <a:cxn ang="0">
                    <a:pos x="246" y="486"/>
                  </a:cxn>
                  <a:cxn ang="0">
                    <a:pos x="204" y="528"/>
                  </a:cxn>
                  <a:cxn ang="0">
                    <a:pos x="300" y="570"/>
                  </a:cxn>
                  <a:cxn ang="0">
                    <a:pos x="384" y="618"/>
                  </a:cxn>
                  <a:cxn ang="0">
                    <a:pos x="450" y="588"/>
                  </a:cxn>
                  <a:cxn ang="0">
                    <a:pos x="516" y="582"/>
                  </a:cxn>
                  <a:cxn ang="0">
                    <a:pos x="564" y="624"/>
                  </a:cxn>
                  <a:cxn ang="0">
                    <a:pos x="618" y="642"/>
                  </a:cxn>
                  <a:cxn ang="0">
                    <a:pos x="696" y="636"/>
                  </a:cxn>
                  <a:cxn ang="0">
                    <a:pos x="720" y="564"/>
                  </a:cxn>
                  <a:cxn ang="0">
                    <a:pos x="804" y="552"/>
                  </a:cxn>
                  <a:cxn ang="0">
                    <a:pos x="840" y="480"/>
                  </a:cxn>
                  <a:cxn ang="0">
                    <a:pos x="846" y="414"/>
                  </a:cxn>
                  <a:cxn ang="0">
                    <a:pos x="900" y="348"/>
                  </a:cxn>
                  <a:cxn ang="0">
                    <a:pos x="948" y="270"/>
                  </a:cxn>
                  <a:cxn ang="0">
                    <a:pos x="972" y="204"/>
                  </a:cxn>
                  <a:cxn ang="0">
                    <a:pos x="912" y="162"/>
                  </a:cxn>
                  <a:cxn ang="0">
                    <a:pos x="834" y="132"/>
                  </a:cxn>
                  <a:cxn ang="0">
                    <a:pos x="750" y="132"/>
                  </a:cxn>
                  <a:cxn ang="0">
                    <a:pos x="684" y="84"/>
                  </a:cxn>
                  <a:cxn ang="0">
                    <a:pos x="618" y="42"/>
                  </a:cxn>
                  <a:cxn ang="0">
                    <a:pos x="606" y="114"/>
                  </a:cxn>
                  <a:cxn ang="0">
                    <a:pos x="588" y="174"/>
                  </a:cxn>
                  <a:cxn ang="0">
                    <a:pos x="528" y="186"/>
                  </a:cxn>
                  <a:cxn ang="0">
                    <a:pos x="540" y="114"/>
                  </a:cxn>
                </a:cxnLst>
                <a:rect l="0" t="0" r="r" b="b"/>
                <a:pathLst>
                  <a:path w="972" h="642">
                    <a:moveTo>
                      <a:pt x="540" y="114"/>
                    </a:moveTo>
                    <a:lnTo>
                      <a:pt x="546" y="48"/>
                    </a:lnTo>
                    <a:lnTo>
                      <a:pt x="498" y="0"/>
                    </a:lnTo>
                    <a:lnTo>
                      <a:pt x="438" y="72"/>
                    </a:lnTo>
                    <a:lnTo>
                      <a:pt x="450" y="144"/>
                    </a:lnTo>
                    <a:lnTo>
                      <a:pt x="474" y="252"/>
                    </a:lnTo>
                    <a:lnTo>
                      <a:pt x="414" y="210"/>
                    </a:lnTo>
                    <a:lnTo>
                      <a:pt x="408" y="150"/>
                    </a:lnTo>
                    <a:lnTo>
                      <a:pt x="330" y="168"/>
                    </a:lnTo>
                    <a:lnTo>
                      <a:pt x="276" y="150"/>
                    </a:lnTo>
                    <a:lnTo>
                      <a:pt x="246" y="72"/>
                    </a:lnTo>
                    <a:lnTo>
                      <a:pt x="204" y="18"/>
                    </a:lnTo>
                    <a:lnTo>
                      <a:pt x="168" y="84"/>
                    </a:lnTo>
                    <a:lnTo>
                      <a:pt x="186" y="168"/>
                    </a:lnTo>
                    <a:lnTo>
                      <a:pt x="132" y="144"/>
                    </a:lnTo>
                    <a:lnTo>
                      <a:pt x="150" y="228"/>
                    </a:lnTo>
                    <a:lnTo>
                      <a:pt x="54" y="222"/>
                    </a:lnTo>
                    <a:lnTo>
                      <a:pt x="0" y="264"/>
                    </a:lnTo>
                    <a:lnTo>
                      <a:pt x="96" y="300"/>
                    </a:lnTo>
                    <a:lnTo>
                      <a:pt x="66" y="360"/>
                    </a:lnTo>
                    <a:lnTo>
                      <a:pt x="108" y="438"/>
                    </a:lnTo>
                    <a:lnTo>
                      <a:pt x="180" y="444"/>
                    </a:lnTo>
                    <a:lnTo>
                      <a:pt x="270" y="420"/>
                    </a:lnTo>
                    <a:lnTo>
                      <a:pt x="337" y="393"/>
                    </a:lnTo>
                    <a:lnTo>
                      <a:pt x="396" y="396"/>
                    </a:lnTo>
                    <a:lnTo>
                      <a:pt x="312" y="438"/>
                    </a:lnTo>
                    <a:lnTo>
                      <a:pt x="318" y="504"/>
                    </a:lnTo>
                    <a:lnTo>
                      <a:pt x="246" y="486"/>
                    </a:lnTo>
                    <a:lnTo>
                      <a:pt x="204" y="528"/>
                    </a:lnTo>
                    <a:lnTo>
                      <a:pt x="300" y="570"/>
                    </a:lnTo>
                    <a:lnTo>
                      <a:pt x="384" y="618"/>
                    </a:lnTo>
                    <a:lnTo>
                      <a:pt x="450" y="588"/>
                    </a:lnTo>
                    <a:lnTo>
                      <a:pt x="516" y="582"/>
                    </a:lnTo>
                    <a:lnTo>
                      <a:pt x="564" y="624"/>
                    </a:lnTo>
                    <a:lnTo>
                      <a:pt x="618" y="642"/>
                    </a:lnTo>
                    <a:lnTo>
                      <a:pt x="696" y="636"/>
                    </a:lnTo>
                    <a:lnTo>
                      <a:pt x="720" y="564"/>
                    </a:lnTo>
                    <a:lnTo>
                      <a:pt x="804" y="552"/>
                    </a:lnTo>
                    <a:lnTo>
                      <a:pt x="840" y="480"/>
                    </a:lnTo>
                    <a:lnTo>
                      <a:pt x="846" y="414"/>
                    </a:lnTo>
                    <a:lnTo>
                      <a:pt x="900" y="348"/>
                    </a:lnTo>
                    <a:lnTo>
                      <a:pt x="948" y="270"/>
                    </a:lnTo>
                    <a:lnTo>
                      <a:pt x="972" y="204"/>
                    </a:lnTo>
                    <a:lnTo>
                      <a:pt x="912" y="162"/>
                    </a:lnTo>
                    <a:lnTo>
                      <a:pt x="834" y="132"/>
                    </a:lnTo>
                    <a:lnTo>
                      <a:pt x="750" y="132"/>
                    </a:lnTo>
                    <a:lnTo>
                      <a:pt x="684" y="84"/>
                    </a:lnTo>
                    <a:lnTo>
                      <a:pt x="618" y="42"/>
                    </a:lnTo>
                    <a:lnTo>
                      <a:pt x="606" y="114"/>
                    </a:lnTo>
                    <a:lnTo>
                      <a:pt x="588" y="174"/>
                    </a:lnTo>
                    <a:lnTo>
                      <a:pt x="528" y="186"/>
                    </a:lnTo>
                    <a:lnTo>
                      <a:pt x="540" y="114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200" kern="0">
                  <a:solidFill>
                    <a:sysClr val="windowText" lastClr="000000"/>
                  </a:solidFill>
                  <a:latin typeface="Avenir Medium"/>
                </a:endParaRPr>
              </a:p>
            </p:txBody>
          </p:sp>
          <p:sp>
            <p:nvSpPr>
              <p:cNvPr id="74" name="Freeform 8"/>
              <p:cNvSpPr>
                <a:spLocks/>
              </p:cNvSpPr>
              <p:nvPr/>
            </p:nvSpPr>
            <p:spPr bwMode="auto">
              <a:xfrm>
                <a:off x="930" y="5538"/>
                <a:ext cx="1134" cy="1746"/>
              </a:xfrm>
              <a:custGeom>
                <a:avLst/>
                <a:gdLst/>
                <a:ahLst/>
                <a:cxnLst>
                  <a:cxn ang="0">
                    <a:pos x="450" y="222"/>
                  </a:cxn>
                  <a:cxn ang="0">
                    <a:pos x="348" y="228"/>
                  </a:cxn>
                  <a:cxn ang="0">
                    <a:pos x="312" y="336"/>
                  </a:cxn>
                  <a:cxn ang="0">
                    <a:pos x="210" y="258"/>
                  </a:cxn>
                  <a:cxn ang="0">
                    <a:pos x="312" y="186"/>
                  </a:cxn>
                  <a:cxn ang="0">
                    <a:pos x="258" y="150"/>
                  </a:cxn>
                  <a:cxn ang="0">
                    <a:pos x="156" y="150"/>
                  </a:cxn>
                  <a:cxn ang="0">
                    <a:pos x="72" y="174"/>
                  </a:cxn>
                  <a:cxn ang="0">
                    <a:pos x="0" y="216"/>
                  </a:cxn>
                  <a:cxn ang="0">
                    <a:pos x="36" y="384"/>
                  </a:cxn>
                  <a:cxn ang="0">
                    <a:pos x="96" y="522"/>
                  </a:cxn>
                  <a:cxn ang="0">
                    <a:pos x="168" y="444"/>
                  </a:cxn>
                  <a:cxn ang="0">
                    <a:pos x="192" y="588"/>
                  </a:cxn>
                  <a:cxn ang="0">
                    <a:pos x="150" y="672"/>
                  </a:cxn>
                  <a:cxn ang="0">
                    <a:pos x="234" y="816"/>
                  </a:cxn>
                  <a:cxn ang="0">
                    <a:pos x="288" y="954"/>
                  </a:cxn>
                  <a:cxn ang="0">
                    <a:pos x="438" y="888"/>
                  </a:cxn>
                  <a:cxn ang="0">
                    <a:pos x="450" y="744"/>
                  </a:cxn>
                  <a:cxn ang="0">
                    <a:pos x="510" y="744"/>
                  </a:cxn>
                  <a:cxn ang="0">
                    <a:pos x="570" y="804"/>
                  </a:cxn>
                  <a:cxn ang="0">
                    <a:pos x="672" y="822"/>
                  </a:cxn>
                  <a:cxn ang="0">
                    <a:pos x="534" y="936"/>
                  </a:cxn>
                  <a:cxn ang="0">
                    <a:pos x="408" y="1014"/>
                  </a:cxn>
                  <a:cxn ang="0">
                    <a:pos x="402" y="1188"/>
                  </a:cxn>
                  <a:cxn ang="0">
                    <a:pos x="552" y="1116"/>
                  </a:cxn>
                  <a:cxn ang="0">
                    <a:pos x="678" y="1092"/>
                  </a:cxn>
                  <a:cxn ang="0">
                    <a:pos x="552" y="1176"/>
                  </a:cxn>
                  <a:cxn ang="0">
                    <a:pos x="606" y="1254"/>
                  </a:cxn>
                  <a:cxn ang="0">
                    <a:pos x="468" y="1254"/>
                  </a:cxn>
                  <a:cxn ang="0">
                    <a:pos x="468" y="1392"/>
                  </a:cxn>
                  <a:cxn ang="0">
                    <a:pos x="594" y="1530"/>
                  </a:cxn>
                  <a:cxn ang="0">
                    <a:pos x="696" y="1512"/>
                  </a:cxn>
                  <a:cxn ang="0">
                    <a:pos x="642" y="1590"/>
                  </a:cxn>
                  <a:cxn ang="0">
                    <a:pos x="744" y="1746"/>
                  </a:cxn>
                  <a:cxn ang="0">
                    <a:pos x="786" y="1596"/>
                  </a:cxn>
                  <a:cxn ang="0">
                    <a:pos x="792" y="1386"/>
                  </a:cxn>
                  <a:cxn ang="0">
                    <a:pos x="858" y="1218"/>
                  </a:cxn>
                  <a:cxn ang="0">
                    <a:pos x="858" y="990"/>
                  </a:cxn>
                  <a:cxn ang="0">
                    <a:pos x="900" y="828"/>
                  </a:cxn>
                  <a:cxn ang="0">
                    <a:pos x="972" y="672"/>
                  </a:cxn>
                  <a:cxn ang="0">
                    <a:pos x="1085" y="654"/>
                  </a:cxn>
                  <a:cxn ang="0">
                    <a:pos x="1074" y="552"/>
                  </a:cxn>
                  <a:cxn ang="0">
                    <a:pos x="1032" y="462"/>
                  </a:cxn>
                  <a:cxn ang="0">
                    <a:pos x="960" y="438"/>
                  </a:cxn>
                  <a:cxn ang="0">
                    <a:pos x="852" y="432"/>
                  </a:cxn>
                  <a:cxn ang="0">
                    <a:pos x="798" y="240"/>
                  </a:cxn>
                  <a:cxn ang="0">
                    <a:pos x="720" y="258"/>
                  </a:cxn>
                  <a:cxn ang="0">
                    <a:pos x="714" y="162"/>
                  </a:cxn>
                  <a:cxn ang="0">
                    <a:pos x="624" y="66"/>
                  </a:cxn>
                  <a:cxn ang="0">
                    <a:pos x="546" y="0"/>
                  </a:cxn>
                  <a:cxn ang="0">
                    <a:pos x="498" y="84"/>
                  </a:cxn>
                  <a:cxn ang="0">
                    <a:pos x="516" y="234"/>
                  </a:cxn>
                  <a:cxn ang="0">
                    <a:pos x="558" y="426"/>
                  </a:cxn>
                  <a:cxn ang="0">
                    <a:pos x="504" y="390"/>
                  </a:cxn>
                </a:cxnLst>
                <a:rect l="0" t="0" r="r" b="b"/>
                <a:pathLst>
                  <a:path w="1134" h="1746">
                    <a:moveTo>
                      <a:pt x="474" y="306"/>
                    </a:moveTo>
                    <a:lnTo>
                      <a:pt x="450" y="222"/>
                    </a:lnTo>
                    <a:lnTo>
                      <a:pt x="378" y="156"/>
                    </a:lnTo>
                    <a:lnTo>
                      <a:pt x="348" y="228"/>
                    </a:lnTo>
                    <a:lnTo>
                      <a:pt x="318" y="276"/>
                    </a:lnTo>
                    <a:lnTo>
                      <a:pt x="312" y="336"/>
                    </a:lnTo>
                    <a:lnTo>
                      <a:pt x="270" y="282"/>
                    </a:lnTo>
                    <a:lnTo>
                      <a:pt x="210" y="258"/>
                    </a:lnTo>
                    <a:lnTo>
                      <a:pt x="258" y="216"/>
                    </a:lnTo>
                    <a:lnTo>
                      <a:pt x="312" y="186"/>
                    </a:lnTo>
                    <a:lnTo>
                      <a:pt x="300" y="114"/>
                    </a:lnTo>
                    <a:lnTo>
                      <a:pt x="258" y="150"/>
                    </a:lnTo>
                    <a:lnTo>
                      <a:pt x="192" y="174"/>
                    </a:lnTo>
                    <a:lnTo>
                      <a:pt x="156" y="150"/>
                    </a:lnTo>
                    <a:lnTo>
                      <a:pt x="120" y="180"/>
                    </a:lnTo>
                    <a:lnTo>
                      <a:pt x="72" y="174"/>
                    </a:lnTo>
                    <a:lnTo>
                      <a:pt x="60" y="252"/>
                    </a:lnTo>
                    <a:lnTo>
                      <a:pt x="0" y="216"/>
                    </a:lnTo>
                    <a:lnTo>
                      <a:pt x="12" y="318"/>
                    </a:lnTo>
                    <a:lnTo>
                      <a:pt x="36" y="384"/>
                    </a:lnTo>
                    <a:lnTo>
                      <a:pt x="66" y="474"/>
                    </a:lnTo>
                    <a:lnTo>
                      <a:pt x="96" y="522"/>
                    </a:lnTo>
                    <a:lnTo>
                      <a:pt x="132" y="432"/>
                    </a:lnTo>
                    <a:lnTo>
                      <a:pt x="168" y="444"/>
                    </a:lnTo>
                    <a:lnTo>
                      <a:pt x="138" y="516"/>
                    </a:lnTo>
                    <a:lnTo>
                      <a:pt x="192" y="588"/>
                    </a:lnTo>
                    <a:lnTo>
                      <a:pt x="108" y="588"/>
                    </a:lnTo>
                    <a:lnTo>
                      <a:pt x="150" y="672"/>
                    </a:lnTo>
                    <a:lnTo>
                      <a:pt x="186" y="750"/>
                    </a:lnTo>
                    <a:lnTo>
                      <a:pt x="234" y="816"/>
                    </a:lnTo>
                    <a:lnTo>
                      <a:pt x="264" y="888"/>
                    </a:lnTo>
                    <a:lnTo>
                      <a:pt x="288" y="954"/>
                    </a:lnTo>
                    <a:lnTo>
                      <a:pt x="360" y="954"/>
                    </a:lnTo>
                    <a:lnTo>
                      <a:pt x="438" y="888"/>
                    </a:lnTo>
                    <a:lnTo>
                      <a:pt x="456" y="822"/>
                    </a:lnTo>
                    <a:lnTo>
                      <a:pt x="450" y="744"/>
                    </a:lnTo>
                    <a:lnTo>
                      <a:pt x="480" y="690"/>
                    </a:lnTo>
                    <a:lnTo>
                      <a:pt x="510" y="744"/>
                    </a:lnTo>
                    <a:lnTo>
                      <a:pt x="516" y="810"/>
                    </a:lnTo>
                    <a:lnTo>
                      <a:pt x="570" y="804"/>
                    </a:lnTo>
                    <a:lnTo>
                      <a:pt x="600" y="774"/>
                    </a:lnTo>
                    <a:lnTo>
                      <a:pt x="672" y="822"/>
                    </a:lnTo>
                    <a:lnTo>
                      <a:pt x="594" y="852"/>
                    </a:lnTo>
                    <a:lnTo>
                      <a:pt x="534" y="936"/>
                    </a:lnTo>
                    <a:lnTo>
                      <a:pt x="492" y="996"/>
                    </a:lnTo>
                    <a:lnTo>
                      <a:pt x="408" y="1014"/>
                    </a:lnTo>
                    <a:lnTo>
                      <a:pt x="384" y="1092"/>
                    </a:lnTo>
                    <a:lnTo>
                      <a:pt x="402" y="1188"/>
                    </a:lnTo>
                    <a:lnTo>
                      <a:pt x="474" y="1152"/>
                    </a:lnTo>
                    <a:lnTo>
                      <a:pt x="552" y="1116"/>
                    </a:lnTo>
                    <a:lnTo>
                      <a:pt x="600" y="1098"/>
                    </a:lnTo>
                    <a:lnTo>
                      <a:pt x="678" y="1092"/>
                    </a:lnTo>
                    <a:lnTo>
                      <a:pt x="642" y="1152"/>
                    </a:lnTo>
                    <a:lnTo>
                      <a:pt x="552" y="1176"/>
                    </a:lnTo>
                    <a:lnTo>
                      <a:pt x="522" y="1206"/>
                    </a:lnTo>
                    <a:lnTo>
                      <a:pt x="606" y="1254"/>
                    </a:lnTo>
                    <a:lnTo>
                      <a:pt x="540" y="1266"/>
                    </a:lnTo>
                    <a:lnTo>
                      <a:pt x="468" y="1254"/>
                    </a:lnTo>
                    <a:lnTo>
                      <a:pt x="432" y="1326"/>
                    </a:lnTo>
                    <a:lnTo>
                      <a:pt x="468" y="1392"/>
                    </a:lnTo>
                    <a:lnTo>
                      <a:pt x="540" y="1452"/>
                    </a:lnTo>
                    <a:lnTo>
                      <a:pt x="594" y="1530"/>
                    </a:lnTo>
                    <a:lnTo>
                      <a:pt x="648" y="1512"/>
                    </a:lnTo>
                    <a:lnTo>
                      <a:pt x="696" y="1512"/>
                    </a:lnTo>
                    <a:lnTo>
                      <a:pt x="654" y="1560"/>
                    </a:lnTo>
                    <a:lnTo>
                      <a:pt x="642" y="1590"/>
                    </a:lnTo>
                    <a:lnTo>
                      <a:pt x="678" y="1680"/>
                    </a:lnTo>
                    <a:lnTo>
                      <a:pt x="744" y="1746"/>
                    </a:lnTo>
                    <a:lnTo>
                      <a:pt x="786" y="1674"/>
                    </a:lnTo>
                    <a:lnTo>
                      <a:pt x="786" y="1596"/>
                    </a:lnTo>
                    <a:lnTo>
                      <a:pt x="792" y="1488"/>
                    </a:lnTo>
                    <a:lnTo>
                      <a:pt x="792" y="1386"/>
                    </a:lnTo>
                    <a:lnTo>
                      <a:pt x="798" y="1266"/>
                    </a:lnTo>
                    <a:lnTo>
                      <a:pt x="858" y="1218"/>
                    </a:lnTo>
                    <a:lnTo>
                      <a:pt x="864" y="1122"/>
                    </a:lnTo>
                    <a:lnTo>
                      <a:pt x="858" y="990"/>
                    </a:lnTo>
                    <a:lnTo>
                      <a:pt x="906" y="960"/>
                    </a:lnTo>
                    <a:lnTo>
                      <a:pt x="900" y="828"/>
                    </a:lnTo>
                    <a:lnTo>
                      <a:pt x="918" y="750"/>
                    </a:lnTo>
                    <a:lnTo>
                      <a:pt x="972" y="672"/>
                    </a:lnTo>
                    <a:lnTo>
                      <a:pt x="1032" y="630"/>
                    </a:lnTo>
                    <a:lnTo>
                      <a:pt x="1085" y="654"/>
                    </a:lnTo>
                    <a:lnTo>
                      <a:pt x="1134" y="582"/>
                    </a:lnTo>
                    <a:lnTo>
                      <a:pt x="1074" y="552"/>
                    </a:lnTo>
                    <a:lnTo>
                      <a:pt x="1008" y="522"/>
                    </a:lnTo>
                    <a:lnTo>
                      <a:pt x="1032" y="462"/>
                    </a:lnTo>
                    <a:lnTo>
                      <a:pt x="984" y="420"/>
                    </a:lnTo>
                    <a:lnTo>
                      <a:pt x="960" y="438"/>
                    </a:lnTo>
                    <a:lnTo>
                      <a:pt x="900" y="408"/>
                    </a:lnTo>
                    <a:lnTo>
                      <a:pt x="852" y="432"/>
                    </a:lnTo>
                    <a:lnTo>
                      <a:pt x="834" y="270"/>
                    </a:lnTo>
                    <a:lnTo>
                      <a:pt x="798" y="240"/>
                    </a:lnTo>
                    <a:lnTo>
                      <a:pt x="744" y="210"/>
                    </a:lnTo>
                    <a:lnTo>
                      <a:pt x="720" y="258"/>
                    </a:lnTo>
                    <a:lnTo>
                      <a:pt x="684" y="228"/>
                    </a:lnTo>
                    <a:lnTo>
                      <a:pt x="714" y="162"/>
                    </a:lnTo>
                    <a:lnTo>
                      <a:pt x="702" y="108"/>
                    </a:lnTo>
                    <a:lnTo>
                      <a:pt x="624" y="66"/>
                    </a:lnTo>
                    <a:lnTo>
                      <a:pt x="558" y="66"/>
                    </a:lnTo>
                    <a:lnTo>
                      <a:pt x="546" y="0"/>
                    </a:lnTo>
                    <a:lnTo>
                      <a:pt x="516" y="12"/>
                    </a:lnTo>
                    <a:lnTo>
                      <a:pt x="498" y="84"/>
                    </a:lnTo>
                    <a:lnTo>
                      <a:pt x="480" y="132"/>
                    </a:lnTo>
                    <a:lnTo>
                      <a:pt x="516" y="234"/>
                    </a:lnTo>
                    <a:lnTo>
                      <a:pt x="528" y="318"/>
                    </a:lnTo>
                    <a:lnTo>
                      <a:pt x="558" y="426"/>
                    </a:lnTo>
                    <a:lnTo>
                      <a:pt x="528" y="474"/>
                    </a:lnTo>
                    <a:lnTo>
                      <a:pt x="504" y="390"/>
                    </a:lnTo>
                    <a:lnTo>
                      <a:pt x="474" y="306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200" kern="0">
                  <a:solidFill>
                    <a:sysClr val="windowText" lastClr="000000"/>
                  </a:solidFill>
                  <a:latin typeface="Avenir Medium"/>
                </a:endParaRPr>
              </a:p>
            </p:txBody>
          </p:sp>
          <p:sp>
            <p:nvSpPr>
              <p:cNvPr id="75" name="Freeform 10"/>
              <p:cNvSpPr>
                <a:spLocks/>
              </p:cNvSpPr>
              <p:nvPr/>
            </p:nvSpPr>
            <p:spPr bwMode="auto">
              <a:xfrm>
                <a:off x="2010" y="6372"/>
                <a:ext cx="384" cy="498"/>
              </a:xfrm>
              <a:custGeom>
                <a:avLst/>
                <a:gdLst/>
                <a:ahLst/>
                <a:cxnLst>
                  <a:cxn ang="0">
                    <a:pos x="0" y="90"/>
                  </a:cxn>
                  <a:cxn ang="0">
                    <a:pos x="36" y="150"/>
                  </a:cxn>
                  <a:cxn ang="0">
                    <a:pos x="84" y="192"/>
                  </a:cxn>
                  <a:cxn ang="0">
                    <a:pos x="54" y="264"/>
                  </a:cxn>
                  <a:cxn ang="0">
                    <a:pos x="42" y="324"/>
                  </a:cxn>
                  <a:cxn ang="0">
                    <a:pos x="42" y="384"/>
                  </a:cxn>
                  <a:cxn ang="0">
                    <a:pos x="54" y="414"/>
                  </a:cxn>
                  <a:cxn ang="0">
                    <a:pos x="120" y="402"/>
                  </a:cxn>
                  <a:cxn ang="0">
                    <a:pos x="168" y="342"/>
                  </a:cxn>
                  <a:cxn ang="0">
                    <a:pos x="210" y="366"/>
                  </a:cxn>
                  <a:cxn ang="0">
                    <a:pos x="234" y="420"/>
                  </a:cxn>
                  <a:cxn ang="0">
                    <a:pos x="204" y="498"/>
                  </a:cxn>
                  <a:cxn ang="0">
                    <a:pos x="288" y="468"/>
                  </a:cxn>
                  <a:cxn ang="0">
                    <a:pos x="300" y="408"/>
                  </a:cxn>
                  <a:cxn ang="0">
                    <a:pos x="324" y="348"/>
                  </a:cxn>
                  <a:cxn ang="0">
                    <a:pos x="366" y="306"/>
                  </a:cxn>
                  <a:cxn ang="0">
                    <a:pos x="384" y="240"/>
                  </a:cxn>
                  <a:cxn ang="0">
                    <a:pos x="360" y="168"/>
                  </a:cxn>
                  <a:cxn ang="0">
                    <a:pos x="306" y="174"/>
                  </a:cxn>
                  <a:cxn ang="0">
                    <a:pos x="276" y="150"/>
                  </a:cxn>
                  <a:cxn ang="0">
                    <a:pos x="240" y="102"/>
                  </a:cxn>
                  <a:cxn ang="0">
                    <a:pos x="228" y="18"/>
                  </a:cxn>
                  <a:cxn ang="0">
                    <a:pos x="198" y="0"/>
                  </a:cxn>
                  <a:cxn ang="0">
                    <a:pos x="156" y="54"/>
                  </a:cxn>
                  <a:cxn ang="0">
                    <a:pos x="72" y="60"/>
                  </a:cxn>
                  <a:cxn ang="0">
                    <a:pos x="0" y="90"/>
                  </a:cxn>
                </a:cxnLst>
                <a:rect l="0" t="0" r="r" b="b"/>
                <a:pathLst>
                  <a:path w="384" h="498">
                    <a:moveTo>
                      <a:pt x="0" y="90"/>
                    </a:moveTo>
                    <a:lnTo>
                      <a:pt x="36" y="150"/>
                    </a:lnTo>
                    <a:lnTo>
                      <a:pt x="84" y="192"/>
                    </a:lnTo>
                    <a:lnTo>
                      <a:pt x="54" y="264"/>
                    </a:lnTo>
                    <a:lnTo>
                      <a:pt x="42" y="324"/>
                    </a:lnTo>
                    <a:lnTo>
                      <a:pt x="42" y="384"/>
                    </a:lnTo>
                    <a:lnTo>
                      <a:pt x="54" y="414"/>
                    </a:lnTo>
                    <a:lnTo>
                      <a:pt x="120" y="402"/>
                    </a:lnTo>
                    <a:lnTo>
                      <a:pt x="168" y="342"/>
                    </a:lnTo>
                    <a:lnTo>
                      <a:pt x="210" y="366"/>
                    </a:lnTo>
                    <a:lnTo>
                      <a:pt x="234" y="420"/>
                    </a:lnTo>
                    <a:lnTo>
                      <a:pt x="204" y="498"/>
                    </a:lnTo>
                    <a:lnTo>
                      <a:pt x="288" y="468"/>
                    </a:lnTo>
                    <a:lnTo>
                      <a:pt x="300" y="408"/>
                    </a:lnTo>
                    <a:lnTo>
                      <a:pt x="324" y="348"/>
                    </a:lnTo>
                    <a:lnTo>
                      <a:pt x="366" y="306"/>
                    </a:lnTo>
                    <a:lnTo>
                      <a:pt x="384" y="240"/>
                    </a:lnTo>
                    <a:lnTo>
                      <a:pt x="360" y="168"/>
                    </a:lnTo>
                    <a:lnTo>
                      <a:pt x="306" y="174"/>
                    </a:lnTo>
                    <a:lnTo>
                      <a:pt x="276" y="150"/>
                    </a:lnTo>
                    <a:lnTo>
                      <a:pt x="240" y="102"/>
                    </a:lnTo>
                    <a:lnTo>
                      <a:pt x="228" y="18"/>
                    </a:lnTo>
                    <a:lnTo>
                      <a:pt x="198" y="0"/>
                    </a:lnTo>
                    <a:lnTo>
                      <a:pt x="156" y="54"/>
                    </a:lnTo>
                    <a:lnTo>
                      <a:pt x="72" y="60"/>
                    </a:lnTo>
                    <a:lnTo>
                      <a:pt x="0" y="90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200" kern="0">
                  <a:solidFill>
                    <a:sysClr val="windowText" lastClr="000000"/>
                  </a:solidFill>
                  <a:latin typeface="Avenir Medium"/>
                </a:endParaRPr>
              </a:p>
            </p:txBody>
          </p:sp>
          <p:sp>
            <p:nvSpPr>
              <p:cNvPr id="76" name="Freeform 12"/>
              <p:cNvSpPr>
                <a:spLocks/>
              </p:cNvSpPr>
              <p:nvPr/>
            </p:nvSpPr>
            <p:spPr bwMode="auto">
              <a:xfrm>
                <a:off x="2952" y="5244"/>
                <a:ext cx="210" cy="150"/>
              </a:xfrm>
              <a:custGeom>
                <a:avLst/>
                <a:gdLst/>
                <a:ahLst/>
                <a:cxnLst>
                  <a:cxn ang="0">
                    <a:pos x="78" y="24"/>
                  </a:cxn>
                  <a:cxn ang="0">
                    <a:pos x="24" y="72"/>
                  </a:cxn>
                  <a:cxn ang="0">
                    <a:pos x="0" y="108"/>
                  </a:cxn>
                  <a:cxn ang="0">
                    <a:pos x="24" y="150"/>
                  </a:cxn>
                  <a:cxn ang="0">
                    <a:pos x="72" y="132"/>
                  </a:cxn>
                  <a:cxn ang="0">
                    <a:pos x="120" y="114"/>
                  </a:cxn>
                  <a:cxn ang="0">
                    <a:pos x="192" y="90"/>
                  </a:cxn>
                  <a:cxn ang="0">
                    <a:pos x="210" y="54"/>
                  </a:cxn>
                  <a:cxn ang="0">
                    <a:pos x="144" y="0"/>
                  </a:cxn>
                  <a:cxn ang="0">
                    <a:pos x="78" y="24"/>
                  </a:cxn>
                </a:cxnLst>
                <a:rect l="0" t="0" r="r" b="b"/>
                <a:pathLst>
                  <a:path w="210" h="150">
                    <a:moveTo>
                      <a:pt x="78" y="24"/>
                    </a:moveTo>
                    <a:lnTo>
                      <a:pt x="24" y="72"/>
                    </a:lnTo>
                    <a:lnTo>
                      <a:pt x="0" y="108"/>
                    </a:lnTo>
                    <a:lnTo>
                      <a:pt x="24" y="150"/>
                    </a:lnTo>
                    <a:lnTo>
                      <a:pt x="72" y="132"/>
                    </a:lnTo>
                    <a:lnTo>
                      <a:pt x="120" y="114"/>
                    </a:lnTo>
                    <a:lnTo>
                      <a:pt x="192" y="90"/>
                    </a:lnTo>
                    <a:lnTo>
                      <a:pt x="210" y="54"/>
                    </a:lnTo>
                    <a:lnTo>
                      <a:pt x="144" y="0"/>
                    </a:lnTo>
                    <a:lnTo>
                      <a:pt x="78" y="24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200" kern="0">
                  <a:solidFill>
                    <a:sysClr val="windowText" lastClr="000000"/>
                  </a:solidFill>
                  <a:latin typeface="Avenir Medium"/>
                </a:endParaRPr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1938" y="6204"/>
                <a:ext cx="198" cy="198"/>
              </a:xfrm>
              <a:custGeom>
                <a:avLst/>
                <a:gdLst/>
                <a:ahLst/>
                <a:cxnLst>
                  <a:cxn ang="0">
                    <a:pos x="174" y="30"/>
                  </a:cxn>
                  <a:cxn ang="0">
                    <a:pos x="132" y="0"/>
                  </a:cxn>
                  <a:cxn ang="0">
                    <a:pos x="54" y="36"/>
                  </a:cxn>
                  <a:cxn ang="0">
                    <a:pos x="0" y="78"/>
                  </a:cxn>
                  <a:cxn ang="0">
                    <a:pos x="42" y="138"/>
                  </a:cxn>
                  <a:cxn ang="0">
                    <a:pos x="60" y="198"/>
                  </a:cxn>
                  <a:cxn ang="0">
                    <a:pos x="126" y="192"/>
                  </a:cxn>
                  <a:cxn ang="0">
                    <a:pos x="198" y="174"/>
                  </a:cxn>
                  <a:cxn ang="0">
                    <a:pos x="192" y="84"/>
                  </a:cxn>
                  <a:cxn ang="0">
                    <a:pos x="174" y="30"/>
                  </a:cxn>
                </a:cxnLst>
                <a:rect l="0" t="0" r="r" b="b"/>
                <a:pathLst>
                  <a:path w="198" h="198">
                    <a:moveTo>
                      <a:pt x="174" y="30"/>
                    </a:moveTo>
                    <a:lnTo>
                      <a:pt x="132" y="0"/>
                    </a:lnTo>
                    <a:lnTo>
                      <a:pt x="54" y="36"/>
                    </a:lnTo>
                    <a:lnTo>
                      <a:pt x="0" y="78"/>
                    </a:lnTo>
                    <a:lnTo>
                      <a:pt x="42" y="138"/>
                    </a:lnTo>
                    <a:lnTo>
                      <a:pt x="60" y="198"/>
                    </a:lnTo>
                    <a:lnTo>
                      <a:pt x="126" y="192"/>
                    </a:lnTo>
                    <a:lnTo>
                      <a:pt x="198" y="174"/>
                    </a:lnTo>
                    <a:lnTo>
                      <a:pt x="192" y="84"/>
                    </a:lnTo>
                    <a:lnTo>
                      <a:pt x="174" y="30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200" kern="0">
                  <a:solidFill>
                    <a:sysClr val="windowText" lastClr="000000"/>
                  </a:solidFill>
                  <a:latin typeface="Avenir Medium"/>
                </a:endParaRPr>
              </a:p>
            </p:txBody>
          </p:sp>
          <p:sp>
            <p:nvSpPr>
              <p:cNvPr id="78" name="Freeform 14"/>
              <p:cNvSpPr>
                <a:spLocks/>
              </p:cNvSpPr>
              <p:nvPr/>
            </p:nvSpPr>
            <p:spPr bwMode="auto">
              <a:xfrm>
                <a:off x="944" y="6180"/>
                <a:ext cx="216" cy="328"/>
              </a:xfrm>
              <a:custGeom>
                <a:avLst/>
                <a:gdLst/>
                <a:ahLst/>
                <a:cxnLst>
                  <a:cxn ang="0">
                    <a:pos x="56" y="12"/>
                  </a:cxn>
                  <a:cxn ang="0">
                    <a:pos x="16" y="0"/>
                  </a:cxn>
                  <a:cxn ang="0">
                    <a:pos x="0" y="44"/>
                  </a:cxn>
                  <a:cxn ang="0">
                    <a:pos x="24" y="88"/>
                  </a:cxn>
                  <a:cxn ang="0">
                    <a:pos x="60" y="152"/>
                  </a:cxn>
                  <a:cxn ang="0">
                    <a:pos x="80" y="216"/>
                  </a:cxn>
                  <a:cxn ang="0">
                    <a:pos x="128" y="228"/>
                  </a:cxn>
                  <a:cxn ang="0">
                    <a:pos x="156" y="272"/>
                  </a:cxn>
                  <a:cxn ang="0">
                    <a:pos x="188" y="328"/>
                  </a:cxn>
                  <a:cxn ang="0">
                    <a:pos x="216" y="312"/>
                  </a:cxn>
                  <a:cxn ang="0">
                    <a:pos x="204" y="260"/>
                  </a:cxn>
                  <a:cxn ang="0">
                    <a:pos x="152" y="192"/>
                  </a:cxn>
                  <a:cxn ang="0">
                    <a:pos x="112" y="160"/>
                  </a:cxn>
                  <a:cxn ang="0">
                    <a:pos x="92" y="112"/>
                  </a:cxn>
                  <a:cxn ang="0">
                    <a:pos x="80" y="52"/>
                  </a:cxn>
                  <a:cxn ang="0">
                    <a:pos x="56" y="12"/>
                  </a:cxn>
                </a:cxnLst>
                <a:rect l="0" t="0" r="r" b="b"/>
                <a:pathLst>
                  <a:path w="216" h="328">
                    <a:moveTo>
                      <a:pt x="56" y="12"/>
                    </a:moveTo>
                    <a:lnTo>
                      <a:pt x="16" y="0"/>
                    </a:lnTo>
                    <a:lnTo>
                      <a:pt x="0" y="44"/>
                    </a:lnTo>
                    <a:lnTo>
                      <a:pt x="24" y="88"/>
                    </a:lnTo>
                    <a:lnTo>
                      <a:pt x="60" y="152"/>
                    </a:lnTo>
                    <a:lnTo>
                      <a:pt x="80" y="216"/>
                    </a:lnTo>
                    <a:lnTo>
                      <a:pt x="128" y="228"/>
                    </a:lnTo>
                    <a:lnTo>
                      <a:pt x="156" y="272"/>
                    </a:lnTo>
                    <a:lnTo>
                      <a:pt x="188" y="328"/>
                    </a:lnTo>
                    <a:lnTo>
                      <a:pt x="216" y="312"/>
                    </a:lnTo>
                    <a:lnTo>
                      <a:pt x="204" y="260"/>
                    </a:lnTo>
                    <a:lnTo>
                      <a:pt x="152" y="192"/>
                    </a:lnTo>
                    <a:lnTo>
                      <a:pt x="112" y="160"/>
                    </a:lnTo>
                    <a:lnTo>
                      <a:pt x="92" y="112"/>
                    </a:lnTo>
                    <a:lnTo>
                      <a:pt x="80" y="52"/>
                    </a:lnTo>
                    <a:lnTo>
                      <a:pt x="56" y="12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200" kern="0">
                  <a:solidFill>
                    <a:sysClr val="windowText" lastClr="000000"/>
                  </a:solidFill>
                  <a:latin typeface="Avenir Medium"/>
                </a:endParaRPr>
              </a:p>
            </p:txBody>
          </p:sp>
          <p:sp>
            <p:nvSpPr>
              <p:cNvPr id="79" name="Freeform 15"/>
              <p:cNvSpPr>
                <a:spLocks/>
              </p:cNvSpPr>
              <p:nvPr/>
            </p:nvSpPr>
            <p:spPr bwMode="auto">
              <a:xfrm>
                <a:off x="2670" y="5964"/>
                <a:ext cx="162" cy="76"/>
              </a:xfrm>
              <a:custGeom>
                <a:avLst/>
                <a:gdLst/>
                <a:ahLst/>
                <a:cxnLst>
                  <a:cxn ang="0">
                    <a:pos x="90" y="0"/>
                  </a:cxn>
                  <a:cxn ang="0">
                    <a:pos x="38" y="16"/>
                  </a:cxn>
                  <a:cxn ang="0">
                    <a:pos x="0" y="66"/>
                  </a:cxn>
                  <a:cxn ang="0">
                    <a:pos x="46" y="76"/>
                  </a:cxn>
                  <a:cxn ang="0">
                    <a:pos x="90" y="48"/>
                  </a:cxn>
                  <a:cxn ang="0">
                    <a:pos x="162" y="42"/>
                  </a:cxn>
                  <a:cxn ang="0">
                    <a:pos x="126" y="0"/>
                  </a:cxn>
                  <a:cxn ang="0">
                    <a:pos x="90" y="0"/>
                  </a:cxn>
                </a:cxnLst>
                <a:rect l="0" t="0" r="r" b="b"/>
                <a:pathLst>
                  <a:path w="162" h="76">
                    <a:moveTo>
                      <a:pt x="90" y="0"/>
                    </a:moveTo>
                    <a:lnTo>
                      <a:pt x="38" y="16"/>
                    </a:lnTo>
                    <a:lnTo>
                      <a:pt x="0" y="66"/>
                    </a:lnTo>
                    <a:lnTo>
                      <a:pt x="46" y="76"/>
                    </a:lnTo>
                    <a:lnTo>
                      <a:pt x="90" y="48"/>
                    </a:lnTo>
                    <a:lnTo>
                      <a:pt x="162" y="42"/>
                    </a:lnTo>
                    <a:lnTo>
                      <a:pt x="126" y="0"/>
                    </a:lnTo>
                    <a:lnTo>
                      <a:pt x="90" y="0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200" kern="0">
                  <a:solidFill>
                    <a:sysClr val="windowText" lastClr="000000"/>
                  </a:solidFill>
                  <a:latin typeface="Avenir Medium"/>
                </a:endParaRPr>
              </a:p>
            </p:txBody>
          </p:sp>
          <p:sp>
            <p:nvSpPr>
              <p:cNvPr id="80" name="Freeform 16"/>
              <p:cNvSpPr>
                <a:spLocks/>
              </p:cNvSpPr>
              <p:nvPr/>
            </p:nvSpPr>
            <p:spPr bwMode="auto">
              <a:xfrm>
                <a:off x="2532" y="6060"/>
                <a:ext cx="72" cy="88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6" y="52"/>
                  </a:cxn>
                  <a:cxn ang="0">
                    <a:pos x="32" y="88"/>
                  </a:cxn>
                  <a:cxn ang="0">
                    <a:pos x="72" y="88"/>
                  </a:cxn>
                  <a:cxn ang="0">
                    <a:pos x="56" y="40"/>
                  </a:cxn>
                  <a:cxn ang="0">
                    <a:pos x="28" y="0"/>
                  </a:cxn>
                  <a:cxn ang="0">
                    <a:pos x="0" y="4"/>
                  </a:cxn>
                </a:cxnLst>
                <a:rect l="0" t="0" r="r" b="b"/>
                <a:pathLst>
                  <a:path w="72" h="88">
                    <a:moveTo>
                      <a:pt x="0" y="4"/>
                    </a:moveTo>
                    <a:lnTo>
                      <a:pt x="16" y="52"/>
                    </a:lnTo>
                    <a:lnTo>
                      <a:pt x="32" y="88"/>
                    </a:lnTo>
                    <a:lnTo>
                      <a:pt x="72" y="88"/>
                    </a:lnTo>
                    <a:lnTo>
                      <a:pt x="56" y="40"/>
                    </a:lnTo>
                    <a:lnTo>
                      <a:pt x="28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200" kern="0">
                  <a:solidFill>
                    <a:sysClr val="windowText" lastClr="000000"/>
                  </a:solidFill>
                  <a:latin typeface="Avenir Medium"/>
                </a:endParaRPr>
              </a:p>
            </p:txBody>
          </p:sp>
          <p:sp>
            <p:nvSpPr>
              <p:cNvPr id="81" name="Freeform 17"/>
              <p:cNvSpPr>
                <a:spLocks/>
              </p:cNvSpPr>
              <p:nvPr/>
            </p:nvSpPr>
            <p:spPr bwMode="auto">
              <a:xfrm>
                <a:off x="1624" y="5364"/>
                <a:ext cx="88" cy="60"/>
              </a:xfrm>
              <a:custGeom>
                <a:avLst/>
                <a:gdLst/>
                <a:ahLst/>
                <a:cxnLst>
                  <a:cxn ang="0">
                    <a:pos x="8" y="16"/>
                  </a:cxn>
                  <a:cxn ang="0">
                    <a:pos x="0" y="36"/>
                  </a:cxn>
                  <a:cxn ang="0">
                    <a:pos x="20" y="56"/>
                  </a:cxn>
                  <a:cxn ang="0">
                    <a:pos x="56" y="60"/>
                  </a:cxn>
                  <a:cxn ang="0">
                    <a:pos x="88" y="60"/>
                  </a:cxn>
                  <a:cxn ang="0">
                    <a:pos x="68" y="12"/>
                  </a:cxn>
                  <a:cxn ang="0">
                    <a:pos x="28" y="0"/>
                  </a:cxn>
                  <a:cxn ang="0">
                    <a:pos x="8" y="16"/>
                  </a:cxn>
                </a:cxnLst>
                <a:rect l="0" t="0" r="r" b="b"/>
                <a:pathLst>
                  <a:path w="88" h="60">
                    <a:moveTo>
                      <a:pt x="8" y="16"/>
                    </a:moveTo>
                    <a:lnTo>
                      <a:pt x="0" y="36"/>
                    </a:lnTo>
                    <a:lnTo>
                      <a:pt x="20" y="56"/>
                    </a:lnTo>
                    <a:lnTo>
                      <a:pt x="56" y="60"/>
                    </a:lnTo>
                    <a:lnTo>
                      <a:pt x="88" y="60"/>
                    </a:lnTo>
                    <a:lnTo>
                      <a:pt x="68" y="12"/>
                    </a:lnTo>
                    <a:lnTo>
                      <a:pt x="28" y="0"/>
                    </a:lnTo>
                    <a:lnTo>
                      <a:pt x="8" y="16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200" kern="0">
                  <a:solidFill>
                    <a:sysClr val="windowText" lastClr="000000"/>
                  </a:solidFill>
                  <a:latin typeface="Avenir Medium"/>
                </a:endParaRPr>
              </a:p>
            </p:txBody>
          </p:sp>
          <p:sp>
            <p:nvSpPr>
              <p:cNvPr id="82" name="Freeform 18"/>
              <p:cNvSpPr>
                <a:spLocks/>
              </p:cNvSpPr>
              <p:nvPr/>
            </p:nvSpPr>
            <p:spPr bwMode="auto">
              <a:xfrm>
                <a:off x="2598" y="5352"/>
                <a:ext cx="60" cy="7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0" y="12"/>
                  </a:cxn>
                  <a:cxn ang="0">
                    <a:pos x="6" y="72"/>
                  </a:cxn>
                  <a:cxn ang="0">
                    <a:pos x="60" y="78"/>
                  </a:cxn>
                  <a:cxn ang="0">
                    <a:pos x="60" y="30"/>
                  </a:cxn>
                  <a:cxn ang="0">
                    <a:pos x="36" y="0"/>
                  </a:cxn>
                </a:cxnLst>
                <a:rect l="0" t="0" r="r" b="b"/>
                <a:pathLst>
                  <a:path w="60" h="78">
                    <a:moveTo>
                      <a:pt x="36" y="0"/>
                    </a:moveTo>
                    <a:lnTo>
                      <a:pt x="0" y="12"/>
                    </a:lnTo>
                    <a:lnTo>
                      <a:pt x="6" y="72"/>
                    </a:lnTo>
                    <a:lnTo>
                      <a:pt x="60" y="78"/>
                    </a:lnTo>
                    <a:lnTo>
                      <a:pt x="60" y="3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200" kern="0">
                  <a:solidFill>
                    <a:sysClr val="windowText" lastClr="000000"/>
                  </a:solidFill>
                  <a:latin typeface="Avenir Medium"/>
                </a:endParaRPr>
              </a:p>
            </p:txBody>
          </p:sp>
          <p:sp>
            <p:nvSpPr>
              <p:cNvPr id="83" name="Freeform 19"/>
              <p:cNvSpPr>
                <a:spLocks/>
              </p:cNvSpPr>
              <p:nvPr/>
            </p:nvSpPr>
            <p:spPr bwMode="auto">
              <a:xfrm>
                <a:off x="1988" y="8256"/>
                <a:ext cx="72" cy="100"/>
              </a:xfrm>
              <a:custGeom>
                <a:avLst/>
                <a:gdLst/>
                <a:ahLst/>
                <a:cxnLst>
                  <a:cxn ang="0">
                    <a:pos x="56" y="12"/>
                  </a:cxn>
                  <a:cxn ang="0">
                    <a:pos x="16" y="0"/>
                  </a:cxn>
                  <a:cxn ang="0">
                    <a:pos x="0" y="36"/>
                  </a:cxn>
                  <a:cxn ang="0">
                    <a:pos x="12" y="72"/>
                  </a:cxn>
                  <a:cxn ang="0">
                    <a:pos x="28" y="100"/>
                  </a:cxn>
                  <a:cxn ang="0">
                    <a:pos x="60" y="92"/>
                  </a:cxn>
                  <a:cxn ang="0">
                    <a:pos x="72" y="48"/>
                  </a:cxn>
                  <a:cxn ang="0">
                    <a:pos x="56" y="12"/>
                  </a:cxn>
                </a:cxnLst>
                <a:rect l="0" t="0" r="r" b="b"/>
                <a:pathLst>
                  <a:path w="72" h="100">
                    <a:moveTo>
                      <a:pt x="56" y="12"/>
                    </a:moveTo>
                    <a:lnTo>
                      <a:pt x="16" y="0"/>
                    </a:lnTo>
                    <a:lnTo>
                      <a:pt x="0" y="36"/>
                    </a:lnTo>
                    <a:lnTo>
                      <a:pt x="12" y="72"/>
                    </a:lnTo>
                    <a:lnTo>
                      <a:pt x="28" y="100"/>
                    </a:lnTo>
                    <a:lnTo>
                      <a:pt x="60" y="92"/>
                    </a:lnTo>
                    <a:lnTo>
                      <a:pt x="72" y="48"/>
                    </a:lnTo>
                    <a:lnTo>
                      <a:pt x="56" y="12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200" kern="0">
                  <a:solidFill>
                    <a:sysClr val="windowText" lastClr="000000"/>
                  </a:solidFill>
                  <a:latin typeface="Avenir Medium"/>
                </a:endParaRPr>
              </a:p>
            </p:txBody>
          </p:sp>
          <p:sp>
            <p:nvSpPr>
              <p:cNvPr id="84" name="Freeform 20"/>
              <p:cNvSpPr>
                <a:spLocks/>
              </p:cNvSpPr>
              <p:nvPr/>
            </p:nvSpPr>
            <p:spPr bwMode="auto">
              <a:xfrm>
                <a:off x="1320" y="8136"/>
                <a:ext cx="120" cy="104"/>
              </a:xfrm>
              <a:custGeom>
                <a:avLst/>
                <a:gdLst/>
                <a:ahLst/>
                <a:cxnLst>
                  <a:cxn ang="0">
                    <a:pos x="68" y="0"/>
                  </a:cxn>
                  <a:cxn ang="0">
                    <a:pos x="44" y="40"/>
                  </a:cxn>
                  <a:cxn ang="0">
                    <a:pos x="16" y="60"/>
                  </a:cxn>
                  <a:cxn ang="0">
                    <a:pos x="0" y="104"/>
                  </a:cxn>
                  <a:cxn ang="0">
                    <a:pos x="56" y="80"/>
                  </a:cxn>
                  <a:cxn ang="0">
                    <a:pos x="88" y="64"/>
                  </a:cxn>
                  <a:cxn ang="0">
                    <a:pos x="120" y="40"/>
                  </a:cxn>
                  <a:cxn ang="0">
                    <a:pos x="108" y="4"/>
                  </a:cxn>
                  <a:cxn ang="0">
                    <a:pos x="68" y="0"/>
                  </a:cxn>
                </a:cxnLst>
                <a:rect l="0" t="0" r="r" b="b"/>
                <a:pathLst>
                  <a:path w="120" h="104">
                    <a:moveTo>
                      <a:pt x="68" y="0"/>
                    </a:moveTo>
                    <a:lnTo>
                      <a:pt x="44" y="40"/>
                    </a:lnTo>
                    <a:lnTo>
                      <a:pt x="16" y="60"/>
                    </a:lnTo>
                    <a:lnTo>
                      <a:pt x="0" y="104"/>
                    </a:lnTo>
                    <a:lnTo>
                      <a:pt x="56" y="80"/>
                    </a:lnTo>
                    <a:lnTo>
                      <a:pt x="88" y="64"/>
                    </a:lnTo>
                    <a:lnTo>
                      <a:pt x="120" y="40"/>
                    </a:lnTo>
                    <a:lnTo>
                      <a:pt x="108" y="4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200" kern="0">
                  <a:solidFill>
                    <a:sysClr val="windowText" lastClr="000000"/>
                  </a:solidFill>
                  <a:latin typeface="Avenir Medium"/>
                </a:endParaRPr>
              </a:p>
            </p:txBody>
          </p:sp>
          <p:sp>
            <p:nvSpPr>
              <p:cNvPr id="85" name="Freeform 21"/>
              <p:cNvSpPr>
                <a:spLocks/>
              </p:cNvSpPr>
              <p:nvPr/>
            </p:nvSpPr>
            <p:spPr bwMode="auto">
              <a:xfrm>
                <a:off x="1840" y="5168"/>
                <a:ext cx="124" cy="68"/>
              </a:xfrm>
              <a:custGeom>
                <a:avLst/>
                <a:gdLst/>
                <a:ahLst/>
                <a:cxnLst>
                  <a:cxn ang="0">
                    <a:pos x="76" y="0"/>
                  </a:cxn>
                  <a:cxn ang="0">
                    <a:pos x="36" y="0"/>
                  </a:cxn>
                  <a:cxn ang="0">
                    <a:pos x="0" y="36"/>
                  </a:cxn>
                  <a:cxn ang="0">
                    <a:pos x="28" y="68"/>
                  </a:cxn>
                  <a:cxn ang="0">
                    <a:pos x="80" y="36"/>
                  </a:cxn>
                  <a:cxn ang="0">
                    <a:pos x="124" y="32"/>
                  </a:cxn>
                  <a:cxn ang="0">
                    <a:pos x="76" y="0"/>
                  </a:cxn>
                </a:cxnLst>
                <a:rect l="0" t="0" r="r" b="b"/>
                <a:pathLst>
                  <a:path w="124" h="68">
                    <a:moveTo>
                      <a:pt x="76" y="0"/>
                    </a:moveTo>
                    <a:lnTo>
                      <a:pt x="36" y="0"/>
                    </a:lnTo>
                    <a:lnTo>
                      <a:pt x="0" y="36"/>
                    </a:lnTo>
                    <a:lnTo>
                      <a:pt x="28" y="68"/>
                    </a:lnTo>
                    <a:lnTo>
                      <a:pt x="80" y="36"/>
                    </a:lnTo>
                    <a:lnTo>
                      <a:pt x="124" y="32"/>
                    </a:lnTo>
                    <a:lnTo>
                      <a:pt x="76" y="0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200" kern="0">
                  <a:solidFill>
                    <a:sysClr val="windowText" lastClr="000000"/>
                  </a:solidFill>
                  <a:latin typeface="Avenir Medium"/>
                </a:endParaRPr>
              </a:p>
            </p:txBody>
          </p:sp>
          <p:sp>
            <p:nvSpPr>
              <p:cNvPr id="86" name="Freeform 22"/>
              <p:cNvSpPr>
                <a:spLocks/>
              </p:cNvSpPr>
              <p:nvPr/>
            </p:nvSpPr>
            <p:spPr bwMode="auto">
              <a:xfrm>
                <a:off x="2488" y="7116"/>
                <a:ext cx="84" cy="144"/>
              </a:xfrm>
              <a:custGeom>
                <a:avLst/>
                <a:gdLst/>
                <a:ahLst/>
                <a:cxnLst>
                  <a:cxn ang="0">
                    <a:pos x="56" y="20"/>
                  </a:cxn>
                  <a:cxn ang="0">
                    <a:pos x="28" y="72"/>
                  </a:cxn>
                  <a:cxn ang="0">
                    <a:pos x="0" y="96"/>
                  </a:cxn>
                  <a:cxn ang="0">
                    <a:pos x="0" y="144"/>
                  </a:cxn>
                  <a:cxn ang="0">
                    <a:pos x="44" y="132"/>
                  </a:cxn>
                  <a:cxn ang="0">
                    <a:pos x="60" y="100"/>
                  </a:cxn>
                  <a:cxn ang="0">
                    <a:pos x="72" y="76"/>
                  </a:cxn>
                  <a:cxn ang="0">
                    <a:pos x="84" y="36"/>
                  </a:cxn>
                  <a:cxn ang="0">
                    <a:pos x="76" y="0"/>
                  </a:cxn>
                  <a:cxn ang="0">
                    <a:pos x="56" y="20"/>
                  </a:cxn>
                </a:cxnLst>
                <a:rect l="0" t="0" r="r" b="b"/>
                <a:pathLst>
                  <a:path w="84" h="144">
                    <a:moveTo>
                      <a:pt x="56" y="20"/>
                    </a:moveTo>
                    <a:lnTo>
                      <a:pt x="28" y="72"/>
                    </a:lnTo>
                    <a:lnTo>
                      <a:pt x="0" y="96"/>
                    </a:lnTo>
                    <a:lnTo>
                      <a:pt x="0" y="144"/>
                    </a:lnTo>
                    <a:lnTo>
                      <a:pt x="44" y="132"/>
                    </a:lnTo>
                    <a:lnTo>
                      <a:pt x="60" y="100"/>
                    </a:lnTo>
                    <a:lnTo>
                      <a:pt x="72" y="76"/>
                    </a:lnTo>
                    <a:lnTo>
                      <a:pt x="84" y="36"/>
                    </a:lnTo>
                    <a:lnTo>
                      <a:pt x="76" y="0"/>
                    </a:lnTo>
                    <a:lnTo>
                      <a:pt x="56" y="20"/>
                    </a:lnTo>
                    <a:close/>
                  </a:path>
                </a:pathLst>
              </a:custGeom>
              <a:grpFill/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 sz="1200" kern="0">
                  <a:solidFill>
                    <a:sysClr val="windowText" lastClr="000000"/>
                  </a:solidFill>
                  <a:latin typeface="Avenir Medium"/>
                </a:endParaRPr>
              </a:p>
            </p:txBody>
          </p:sp>
        </p:grpSp>
        <p:sp>
          <p:nvSpPr>
            <p:cNvPr id="68" name="矩形 160"/>
            <p:cNvSpPr/>
            <p:nvPr/>
          </p:nvSpPr>
          <p:spPr>
            <a:xfrm>
              <a:off x="13398317" y="2841682"/>
              <a:ext cx="2321911" cy="2876422"/>
            </a:xfrm>
            <a:prstGeom prst="rect">
              <a:avLst/>
            </a:prstGeom>
            <a:noFill/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latin typeface="Avenir Medium"/>
              </a:endParaRP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8A73ABF9-0A85-4D7A-949F-135B92C42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Norway Ma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30988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67276" y="4965174"/>
            <a:ext cx="16443097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i="1" dirty="0">
                <a:latin typeface="+mj-lt"/>
                <a:ea typeface="Times New Roman" charset="0"/>
                <a:cs typeface="Times New Roman" charset="0"/>
              </a:rPr>
              <a:t>In the business world, everyone is paid in two coins: cash and experience. Take the experience first; the cash will come later.</a:t>
            </a:r>
          </a:p>
          <a:p>
            <a:pPr algn="ctr"/>
            <a:endParaRPr lang="en-US" sz="6000" i="1" dirty="0">
              <a:latin typeface="+mj-lt"/>
              <a:ea typeface="Times New Roman" charset="0"/>
              <a:cs typeface="Times New Roman" charset="0"/>
            </a:endParaRPr>
          </a:p>
          <a:p>
            <a:pPr algn="ctr"/>
            <a:r>
              <a:rPr lang="en-US" sz="6000" b="1" i="1" dirty="0">
                <a:latin typeface="+mj-lt"/>
                <a:ea typeface="Times New Roman" charset="0"/>
                <a:cs typeface="Times New Roman" charset="0"/>
              </a:rPr>
              <a:t>—Harold S. </a:t>
            </a:r>
            <a:r>
              <a:rPr lang="en-US" sz="6000" b="1" i="1" dirty="0" err="1">
                <a:latin typeface="+mj-lt"/>
                <a:ea typeface="Times New Roman" charset="0"/>
                <a:cs typeface="Times New Roman" charset="0"/>
              </a:rPr>
              <a:t>Geneen</a:t>
            </a:r>
            <a:endParaRPr lang="en-US" sz="6000" b="1" i="1" dirty="0">
              <a:latin typeface="+mj-lt"/>
              <a:ea typeface="Times New Roman" charset="0"/>
              <a:cs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198663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/>
          <p:cNvGrpSpPr/>
          <p:nvPr/>
        </p:nvGrpSpPr>
        <p:grpSpPr>
          <a:xfrm>
            <a:off x="2863497" y="2999368"/>
            <a:ext cx="5871412" cy="9750426"/>
            <a:chOff x="3338296" y="1084264"/>
            <a:chExt cx="5625733" cy="9342436"/>
          </a:xfrm>
          <a:solidFill>
            <a:schemeClr val="bg1">
              <a:lumMod val="75000"/>
            </a:schemeClr>
          </a:solidFill>
        </p:grpSpPr>
        <p:sp>
          <p:nvSpPr>
            <p:cNvPr id="42" name="Freeform 1"/>
            <p:cNvSpPr>
              <a:spLocks noChangeArrowheads="1"/>
            </p:cNvSpPr>
            <p:nvPr/>
          </p:nvSpPr>
          <p:spPr bwMode="auto">
            <a:xfrm>
              <a:off x="6651192" y="3397250"/>
              <a:ext cx="160328" cy="173038"/>
            </a:xfrm>
            <a:custGeom>
              <a:avLst/>
              <a:gdLst>
                <a:gd name="T0" fmla="*/ 404 w 444"/>
                <a:gd name="T1" fmla="*/ 420 h 482"/>
                <a:gd name="T2" fmla="*/ 404 w 444"/>
                <a:gd name="T3" fmla="*/ 420 h 482"/>
                <a:gd name="T4" fmla="*/ 404 w 444"/>
                <a:gd name="T5" fmla="*/ 413 h 482"/>
                <a:gd name="T6" fmla="*/ 389 w 444"/>
                <a:gd name="T7" fmla="*/ 260 h 482"/>
                <a:gd name="T8" fmla="*/ 427 w 444"/>
                <a:gd name="T9" fmla="*/ 46 h 482"/>
                <a:gd name="T10" fmla="*/ 427 w 444"/>
                <a:gd name="T11" fmla="*/ 46 h 482"/>
                <a:gd name="T12" fmla="*/ 366 w 444"/>
                <a:gd name="T13" fmla="*/ 39 h 482"/>
                <a:gd name="T14" fmla="*/ 298 w 444"/>
                <a:gd name="T15" fmla="*/ 84 h 482"/>
                <a:gd name="T16" fmla="*/ 237 w 444"/>
                <a:gd name="T17" fmla="*/ 23 h 482"/>
                <a:gd name="T18" fmla="*/ 152 w 444"/>
                <a:gd name="T19" fmla="*/ 16 h 482"/>
                <a:gd name="T20" fmla="*/ 114 w 444"/>
                <a:gd name="T21" fmla="*/ 107 h 482"/>
                <a:gd name="T22" fmla="*/ 183 w 444"/>
                <a:gd name="T23" fmla="*/ 229 h 482"/>
                <a:gd name="T24" fmla="*/ 152 w 444"/>
                <a:gd name="T25" fmla="*/ 306 h 482"/>
                <a:gd name="T26" fmla="*/ 38 w 444"/>
                <a:gd name="T27" fmla="*/ 298 h 482"/>
                <a:gd name="T28" fmla="*/ 23 w 444"/>
                <a:gd name="T29" fmla="*/ 420 h 482"/>
                <a:gd name="T30" fmla="*/ 137 w 444"/>
                <a:gd name="T31" fmla="*/ 413 h 482"/>
                <a:gd name="T32" fmla="*/ 122 w 444"/>
                <a:gd name="T33" fmla="*/ 466 h 482"/>
                <a:gd name="T34" fmla="*/ 168 w 444"/>
                <a:gd name="T35" fmla="*/ 466 h 482"/>
                <a:gd name="T36" fmla="*/ 229 w 444"/>
                <a:gd name="T37" fmla="*/ 420 h 482"/>
                <a:gd name="T38" fmla="*/ 366 w 444"/>
                <a:gd name="T39" fmla="*/ 359 h 482"/>
                <a:gd name="T40" fmla="*/ 404 w 444"/>
                <a:gd name="T41" fmla="*/ 42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4" h="482">
                  <a:moveTo>
                    <a:pt x="404" y="420"/>
                  </a:moveTo>
                  <a:lnTo>
                    <a:pt x="404" y="420"/>
                  </a:lnTo>
                  <a:lnTo>
                    <a:pt x="404" y="413"/>
                  </a:lnTo>
                  <a:cubicBezTo>
                    <a:pt x="443" y="306"/>
                    <a:pt x="389" y="336"/>
                    <a:pt x="389" y="260"/>
                  </a:cubicBezTo>
                  <a:cubicBezTo>
                    <a:pt x="389" y="191"/>
                    <a:pt x="404" y="115"/>
                    <a:pt x="427" y="46"/>
                  </a:cubicBezTo>
                  <a:lnTo>
                    <a:pt x="427" y="46"/>
                  </a:lnTo>
                  <a:cubicBezTo>
                    <a:pt x="404" y="39"/>
                    <a:pt x="389" y="31"/>
                    <a:pt x="366" y="39"/>
                  </a:cubicBezTo>
                  <a:cubicBezTo>
                    <a:pt x="343" y="39"/>
                    <a:pt x="328" y="84"/>
                    <a:pt x="298" y="84"/>
                  </a:cubicBezTo>
                  <a:cubicBezTo>
                    <a:pt x="267" y="77"/>
                    <a:pt x="259" y="39"/>
                    <a:pt x="237" y="23"/>
                  </a:cubicBezTo>
                  <a:cubicBezTo>
                    <a:pt x="206" y="16"/>
                    <a:pt x="175" y="0"/>
                    <a:pt x="152" y="16"/>
                  </a:cubicBezTo>
                  <a:cubicBezTo>
                    <a:pt x="130" y="31"/>
                    <a:pt x="107" y="69"/>
                    <a:pt x="114" y="107"/>
                  </a:cubicBezTo>
                  <a:cubicBezTo>
                    <a:pt x="122" y="153"/>
                    <a:pt x="175" y="184"/>
                    <a:pt x="183" y="229"/>
                  </a:cubicBezTo>
                  <a:cubicBezTo>
                    <a:pt x="183" y="260"/>
                    <a:pt x="175" y="291"/>
                    <a:pt x="152" y="306"/>
                  </a:cubicBezTo>
                  <a:cubicBezTo>
                    <a:pt x="114" y="321"/>
                    <a:pt x="68" y="275"/>
                    <a:pt x="38" y="298"/>
                  </a:cubicBezTo>
                  <a:cubicBezTo>
                    <a:pt x="7" y="329"/>
                    <a:pt x="0" y="390"/>
                    <a:pt x="23" y="420"/>
                  </a:cubicBezTo>
                  <a:cubicBezTo>
                    <a:pt x="45" y="451"/>
                    <a:pt x="99" y="390"/>
                    <a:pt x="137" y="413"/>
                  </a:cubicBezTo>
                  <a:cubicBezTo>
                    <a:pt x="152" y="420"/>
                    <a:pt x="107" y="451"/>
                    <a:pt x="122" y="466"/>
                  </a:cubicBezTo>
                  <a:cubicBezTo>
                    <a:pt x="130" y="481"/>
                    <a:pt x="152" y="474"/>
                    <a:pt x="168" y="466"/>
                  </a:cubicBezTo>
                  <a:cubicBezTo>
                    <a:pt x="191" y="458"/>
                    <a:pt x="206" y="436"/>
                    <a:pt x="229" y="420"/>
                  </a:cubicBezTo>
                  <a:cubicBezTo>
                    <a:pt x="275" y="397"/>
                    <a:pt x="313" y="352"/>
                    <a:pt x="366" y="359"/>
                  </a:cubicBezTo>
                  <a:cubicBezTo>
                    <a:pt x="397" y="359"/>
                    <a:pt x="389" y="397"/>
                    <a:pt x="404" y="42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43" name="Freeform 2"/>
            <p:cNvSpPr>
              <a:spLocks noChangeArrowheads="1"/>
            </p:cNvSpPr>
            <p:nvPr/>
          </p:nvSpPr>
          <p:spPr bwMode="auto">
            <a:xfrm>
              <a:off x="6257518" y="7145339"/>
              <a:ext cx="119055" cy="153987"/>
            </a:xfrm>
            <a:custGeom>
              <a:avLst/>
              <a:gdLst>
                <a:gd name="T0" fmla="*/ 306 w 330"/>
                <a:gd name="T1" fmla="*/ 428 h 429"/>
                <a:gd name="T2" fmla="*/ 306 w 330"/>
                <a:gd name="T3" fmla="*/ 428 h 429"/>
                <a:gd name="T4" fmla="*/ 314 w 330"/>
                <a:gd name="T5" fmla="*/ 367 h 429"/>
                <a:gd name="T6" fmla="*/ 314 w 330"/>
                <a:gd name="T7" fmla="*/ 367 h 429"/>
                <a:gd name="T8" fmla="*/ 260 w 330"/>
                <a:gd name="T9" fmla="*/ 275 h 429"/>
                <a:gd name="T10" fmla="*/ 321 w 330"/>
                <a:gd name="T11" fmla="*/ 245 h 429"/>
                <a:gd name="T12" fmla="*/ 230 w 330"/>
                <a:gd name="T13" fmla="*/ 176 h 429"/>
                <a:gd name="T14" fmla="*/ 260 w 330"/>
                <a:gd name="T15" fmla="*/ 138 h 429"/>
                <a:gd name="T16" fmla="*/ 230 w 330"/>
                <a:gd name="T17" fmla="*/ 54 h 429"/>
                <a:gd name="T18" fmla="*/ 169 w 330"/>
                <a:gd name="T19" fmla="*/ 16 h 429"/>
                <a:gd name="T20" fmla="*/ 169 w 330"/>
                <a:gd name="T21" fmla="*/ 16 h 429"/>
                <a:gd name="T22" fmla="*/ 100 w 330"/>
                <a:gd name="T23" fmla="*/ 16 h 429"/>
                <a:gd name="T24" fmla="*/ 92 w 330"/>
                <a:gd name="T25" fmla="*/ 107 h 429"/>
                <a:gd name="T26" fmla="*/ 0 w 330"/>
                <a:gd name="T27" fmla="*/ 130 h 429"/>
                <a:gd name="T28" fmla="*/ 0 w 330"/>
                <a:gd name="T29" fmla="*/ 130 h 429"/>
                <a:gd name="T30" fmla="*/ 69 w 330"/>
                <a:gd name="T31" fmla="*/ 291 h 429"/>
                <a:gd name="T32" fmla="*/ 306 w 330"/>
                <a:gd name="T33" fmla="*/ 42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0" h="429">
                  <a:moveTo>
                    <a:pt x="306" y="428"/>
                  </a:moveTo>
                  <a:lnTo>
                    <a:pt x="306" y="428"/>
                  </a:lnTo>
                  <a:cubicBezTo>
                    <a:pt x="314" y="367"/>
                    <a:pt x="314" y="367"/>
                    <a:pt x="314" y="367"/>
                  </a:cubicBezTo>
                  <a:lnTo>
                    <a:pt x="314" y="367"/>
                  </a:lnTo>
                  <a:cubicBezTo>
                    <a:pt x="298" y="336"/>
                    <a:pt x="260" y="313"/>
                    <a:pt x="260" y="275"/>
                  </a:cubicBezTo>
                  <a:cubicBezTo>
                    <a:pt x="268" y="252"/>
                    <a:pt x="329" y="268"/>
                    <a:pt x="321" y="245"/>
                  </a:cubicBezTo>
                  <a:cubicBezTo>
                    <a:pt x="314" y="207"/>
                    <a:pt x="252" y="207"/>
                    <a:pt x="230" y="176"/>
                  </a:cubicBezTo>
                  <a:cubicBezTo>
                    <a:pt x="222" y="161"/>
                    <a:pt x="260" y="153"/>
                    <a:pt x="260" y="138"/>
                  </a:cubicBezTo>
                  <a:cubicBezTo>
                    <a:pt x="260" y="107"/>
                    <a:pt x="245" y="77"/>
                    <a:pt x="230" y="54"/>
                  </a:cubicBezTo>
                  <a:cubicBezTo>
                    <a:pt x="214" y="38"/>
                    <a:pt x="191" y="31"/>
                    <a:pt x="169" y="16"/>
                  </a:cubicBezTo>
                  <a:lnTo>
                    <a:pt x="169" y="16"/>
                  </a:lnTo>
                  <a:cubicBezTo>
                    <a:pt x="146" y="16"/>
                    <a:pt x="115" y="0"/>
                    <a:pt x="100" y="16"/>
                  </a:cubicBezTo>
                  <a:cubicBezTo>
                    <a:pt x="77" y="38"/>
                    <a:pt x="107" y="84"/>
                    <a:pt x="92" y="107"/>
                  </a:cubicBezTo>
                  <a:cubicBezTo>
                    <a:pt x="77" y="130"/>
                    <a:pt x="23" y="123"/>
                    <a:pt x="0" y="130"/>
                  </a:cubicBezTo>
                  <a:lnTo>
                    <a:pt x="0" y="130"/>
                  </a:lnTo>
                  <a:cubicBezTo>
                    <a:pt x="16" y="184"/>
                    <a:pt x="39" y="245"/>
                    <a:pt x="69" y="291"/>
                  </a:cubicBezTo>
                  <a:cubicBezTo>
                    <a:pt x="130" y="375"/>
                    <a:pt x="214" y="428"/>
                    <a:pt x="306" y="42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44" name="Freeform 3"/>
            <p:cNvSpPr>
              <a:spLocks noChangeArrowheads="1"/>
            </p:cNvSpPr>
            <p:nvPr/>
          </p:nvSpPr>
          <p:spPr bwMode="auto">
            <a:xfrm>
              <a:off x="6367048" y="7219950"/>
              <a:ext cx="131753" cy="90488"/>
            </a:xfrm>
            <a:custGeom>
              <a:avLst/>
              <a:gdLst>
                <a:gd name="T0" fmla="*/ 0 w 368"/>
                <a:gd name="T1" fmla="*/ 221 h 253"/>
                <a:gd name="T2" fmla="*/ 0 w 368"/>
                <a:gd name="T3" fmla="*/ 221 h 253"/>
                <a:gd name="T4" fmla="*/ 8 w 368"/>
                <a:gd name="T5" fmla="*/ 160 h 253"/>
                <a:gd name="T6" fmla="*/ 8 w 368"/>
                <a:gd name="T7" fmla="*/ 160 h 253"/>
                <a:gd name="T8" fmla="*/ 76 w 368"/>
                <a:gd name="T9" fmla="*/ 114 h 253"/>
                <a:gd name="T10" fmla="*/ 84 w 368"/>
                <a:gd name="T11" fmla="*/ 68 h 253"/>
                <a:gd name="T12" fmla="*/ 122 w 368"/>
                <a:gd name="T13" fmla="*/ 68 h 253"/>
                <a:gd name="T14" fmla="*/ 130 w 368"/>
                <a:gd name="T15" fmla="*/ 15 h 253"/>
                <a:gd name="T16" fmla="*/ 130 w 368"/>
                <a:gd name="T17" fmla="*/ 15 h 253"/>
                <a:gd name="T18" fmla="*/ 183 w 368"/>
                <a:gd name="T19" fmla="*/ 7 h 253"/>
                <a:gd name="T20" fmla="*/ 214 w 368"/>
                <a:gd name="T21" fmla="*/ 53 h 253"/>
                <a:gd name="T22" fmla="*/ 214 w 368"/>
                <a:gd name="T23" fmla="*/ 53 h 253"/>
                <a:gd name="T24" fmla="*/ 221 w 368"/>
                <a:gd name="T25" fmla="*/ 129 h 253"/>
                <a:gd name="T26" fmla="*/ 313 w 368"/>
                <a:gd name="T27" fmla="*/ 106 h 253"/>
                <a:gd name="T28" fmla="*/ 298 w 368"/>
                <a:gd name="T29" fmla="*/ 145 h 253"/>
                <a:gd name="T30" fmla="*/ 336 w 368"/>
                <a:gd name="T31" fmla="*/ 160 h 253"/>
                <a:gd name="T32" fmla="*/ 336 w 368"/>
                <a:gd name="T33" fmla="*/ 183 h 253"/>
                <a:gd name="T34" fmla="*/ 367 w 368"/>
                <a:gd name="T35" fmla="*/ 221 h 253"/>
                <a:gd name="T36" fmla="*/ 367 w 368"/>
                <a:gd name="T37" fmla="*/ 221 h 253"/>
                <a:gd name="T38" fmla="*/ 298 w 368"/>
                <a:gd name="T39" fmla="*/ 244 h 253"/>
                <a:gd name="T40" fmla="*/ 229 w 368"/>
                <a:gd name="T41" fmla="*/ 252 h 253"/>
                <a:gd name="T42" fmla="*/ 160 w 368"/>
                <a:gd name="T43" fmla="*/ 244 h 253"/>
                <a:gd name="T44" fmla="*/ 122 w 368"/>
                <a:gd name="T45" fmla="*/ 229 h 253"/>
                <a:gd name="T46" fmla="*/ 122 w 368"/>
                <a:gd name="T47" fmla="*/ 229 h 253"/>
                <a:gd name="T48" fmla="*/ 130 w 368"/>
                <a:gd name="T49" fmla="*/ 168 h 253"/>
                <a:gd name="T50" fmla="*/ 0 w 368"/>
                <a:gd name="T51" fmla="*/ 22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8" h="253">
                  <a:moveTo>
                    <a:pt x="0" y="221"/>
                  </a:moveTo>
                  <a:lnTo>
                    <a:pt x="0" y="221"/>
                  </a:lnTo>
                  <a:cubicBezTo>
                    <a:pt x="8" y="160"/>
                    <a:pt x="8" y="160"/>
                    <a:pt x="8" y="160"/>
                  </a:cubicBezTo>
                  <a:lnTo>
                    <a:pt x="8" y="160"/>
                  </a:lnTo>
                  <a:cubicBezTo>
                    <a:pt x="30" y="145"/>
                    <a:pt x="53" y="137"/>
                    <a:pt x="76" y="114"/>
                  </a:cubicBezTo>
                  <a:cubicBezTo>
                    <a:pt x="84" y="106"/>
                    <a:pt x="76" y="84"/>
                    <a:pt x="84" y="68"/>
                  </a:cubicBezTo>
                  <a:cubicBezTo>
                    <a:pt x="92" y="61"/>
                    <a:pt x="115" y="76"/>
                    <a:pt x="122" y="68"/>
                  </a:cubicBezTo>
                  <a:cubicBezTo>
                    <a:pt x="138" y="53"/>
                    <a:pt x="130" y="30"/>
                    <a:pt x="130" y="15"/>
                  </a:cubicBezTo>
                  <a:lnTo>
                    <a:pt x="130" y="15"/>
                  </a:lnTo>
                  <a:cubicBezTo>
                    <a:pt x="153" y="15"/>
                    <a:pt x="168" y="0"/>
                    <a:pt x="183" y="7"/>
                  </a:cubicBezTo>
                  <a:cubicBezTo>
                    <a:pt x="199" y="15"/>
                    <a:pt x="206" y="38"/>
                    <a:pt x="214" y="53"/>
                  </a:cubicBezTo>
                  <a:lnTo>
                    <a:pt x="214" y="53"/>
                  </a:lnTo>
                  <a:cubicBezTo>
                    <a:pt x="221" y="76"/>
                    <a:pt x="199" y="114"/>
                    <a:pt x="221" y="129"/>
                  </a:cubicBezTo>
                  <a:cubicBezTo>
                    <a:pt x="252" y="145"/>
                    <a:pt x="282" y="99"/>
                    <a:pt x="313" y="106"/>
                  </a:cubicBezTo>
                  <a:cubicBezTo>
                    <a:pt x="328" y="114"/>
                    <a:pt x="298" y="137"/>
                    <a:pt x="298" y="145"/>
                  </a:cubicBezTo>
                  <a:cubicBezTo>
                    <a:pt x="305" y="160"/>
                    <a:pt x="328" y="145"/>
                    <a:pt x="336" y="160"/>
                  </a:cubicBezTo>
                  <a:cubicBezTo>
                    <a:pt x="344" y="160"/>
                    <a:pt x="328" y="175"/>
                    <a:pt x="336" y="183"/>
                  </a:cubicBezTo>
                  <a:cubicBezTo>
                    <a:pt x="344" y="198"/>
                    <a:pt x="351" y="206"/>
                    <a:pt x="367" y="221"/>
                  </a:cubicBezTo>
                  <a:lnTo>
                    <a:pt x="367" y="221"/>
                  </a:lnTo>
                  <a:cubicBezTo>
                    <a:pt x="344" y="229"/>
                    <a:pt x="321" y="244"/>
                    <a:pt x="298" y="244"/>
                  </a:cubicBezTo>
                  <a:cubicBezTo>
                    <a:pt x="275" y="252"/>
                    <a:pt x="252" y="252"/>
                    <a:pt x="229" y="252"/>
                  </a:cubicBezTo>
                  <a:cubicBezTo>
                    <a:pt x="206" y="252"/>
                    <a:pt x="183" y="252"/>
                    <a:pt x="160" y="244"/>
                  </a:cubicBezTo>
                  <a:cubicBezTo>
                    <a:pt x="138" y="244"/>
                    <a:pt x="138" y="236"/>
                    <a:pt x="122" y="229"/>
                  </a:cubicBezTo>
                  <a:lnTo>
                    <a:pt x="122" y="229"/>
                  </a:lnTo>
                  <a:cubicBezTo>
                    <a:pt x="138" y="206"/>
                    <a:pt x="138" y="183"/>
                    <a:pt x="130" y="168"/>
                  </a:cubicBezTo>
                  <a:cubicBezTo>
                    <a:pt x="84" y="206"/>
                    <a:pt x="38" y="221"/>
                    <a:pt x="0" y="22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45" name="Freeform 4"/>
            <p:cNvSpPr>
              <a:spLocks noChangeArrowheads="1"/>
            </p:cNvSpPr>
            <p:nvPr/>
          </p:nvSpPr>
          <p:spPr bwMode="auto">
            <a:xfrm>
              <a:off x="6317839" y="7123114"/>
              <a:ext cx="100006" cy="153987"/>
            </a:xfrm>
            <a:custGeom>
              <a:avLst/>
              <a:gdLst>
                <a:gd name="T0" fmla="*/ 0 w 276"/>
                <a:gd name="T1" fmla="*/ 77 h 429"/>
                <a:gd name="T2" fmla="*/ 0 w 276"/>
                <a:gd name="T3" fmla="*/ 77 h 429"/>
                <a:gd name="T4" fmla="*/ 61 w 276"/>
                <a:gd name="T5" fmla="*/ 115 h 429"/>
                <a:gd name="T6" fmla="*/ 91 w 276"/>
                <a:gd name="T7" fmla="*/ 199 h 429"/>
                <a:gd name="T8" fmla="*/ 61 w 276"/>
                <a:gd name="T9" fmla="*/ 237 h 429"/>
                <a:gd name="T10" fmla="*/ 152 w 276"/>
                <a:gd name="T11" fmla="*/ 306 h 429"/>
                <a:gd name="T12" fmla="*/ 91 w 276"/>
                <a:gd name="T13" fmla="*/ 336 h 429"/>
                <a:gd name="T14" fmla="*/ 145 w 276"/>
                <a:gd name="T15" fmla="*/ 428 h 429"/>
                <a:gd name="T16" fmla="*/ 145 w 276"/>
                <a:gd name="T17" fmla="*/ 428 h 429"/>
                <a:gd name="T18" fmla="*/ 213 w 276"/>
                <a:gd name="T19" fmla="*/ 382 h 429"/>
                <a:gd name="T20" fmla="*/ 221 w 276"/>
                <a:gd name="T21" fmla="*/ 336 h 429"/>
                <a:gd name="T22" fmla="*/ 259 w 276"/>
                <a:gd name="T23" fmla="*/ 336 h 429"/>
                <a:gd name="T24" fmla="*/ 267 w 276"/>
                <a:gd name="T25" fmla="*/ 283 h 429"/>
                <a:gd name="T26" fmla="*/ 267 w 276"/>
                <a:gd name="T27" fmla="*/ 283 h 429"/>
                <a:gd name="T28" fmla="*/ 236 w 276"/>
                <a:gd name="T29" fmla="*/ 260 h 429"/>
                <a:gd name="T30" fmla="*/ 213 w 276"/>
                <a:gd name="T31" fmla="*/ 222 h 429"/>
                <a:gd name="T32" fmla="*/ 190 w 276"/>
                <a:gd name="T33" fmla="*/ 168 h 429"/>
                <a:gd name="T34" fmla="*/ 167 w 276"/>
                <a:gd name="T35" fmla="*/ 46 h 429"/>
                <a:gd name="T36" fmla="*/ 167 w 276"/>
                <a:gd name="T37" fmla="*/ 46 h 429"/>
                <a:gd name="T38" fmla="*/ 53 w 276"/>
                <a:gd name="T39" fmla="*/ 0 h 429"/>
                <a:gd name="T40" fmla="*/ 53 w 276"/>
                <a:gd name="T41" fmla="*/ 0 h 429"/>
                <a:gd name="T42" fmla="*/ 0 w 276"/>
                <a:gd name="T43" fmla="*/ 7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76" h="429">
                  <a:moveTo>
                    <a:pt x="0" y="77"/>
                  </a:moveTo>
                  <a:lnTo>
                    <a:pt x="0" y="77"/>
                  </a:lnTo>
                  <a:cubicBezTo>
                    <a:pt x="22" y="92"/>
                    <a:pt x="45" y="99"/>
                    <a:pt x="61" y="115"/>
                  </a:cubicBezTo>
                  <a:cubicBezTo>
                    <a:pt x="76" y="138"/>
                    <a:pt x="91" y="168"/>
                    <a:pt x="91" y="199"/>
                  </a:cubicBezTo>
                  <a:cubicBezTo>
                    <a:pt x="91" y="214"/>
                    <a:pt x="53" y="222"/>
                    <a:pt x="61" y="237"/>
                  </a:cubicBezTo>
                  <a:cubicBezTo>
                    <a:pt x="83" y="268"/>
                    <a:pt x="145" y="268"/>
                    <a:pt x="152" y="306"/>
                  </a:cubicBezTo>
                  <a:cubicBezTo>
                    <a:pt x="160" y="329"/>
                    <a:pt x="99" y="313"/>
                    <a:pt x="91" y="336"/>
                  </a:cubicBezTo>
                  <a:cubicBezTo>
                    <a:pt x="91" y="374"/>
                    <a:pt x="129" y="397"/>
                    <a:pt x="145" y="428"/>
                  </a:cubicBezTo>
                  <a:lnTo>
                    <a:pt x="145" y="428"/>
                  </a:lnTo>
                  <a:cubicBezTo>
                    <a:pt x="167" y="413"/>
                    <a:pt x="190" y="405"/>
                    <a:pt x="213" y="382"/>
                  </a:cubicBezTo>
                  <a:cubicBezTo>
                    <a:pt x="221" y="374"/>
                    <a:pt x="213" y="352"/>
                    <a:pt x="221" y="336"/>
                  </a:cubicBezTo>
                  <a:cubicBezTo>
                    <a:pt x="229" y="329"/>
                    <a:pt x="252" y="344"/>
                    <a:pt x="259" y="336"/>
                  </a:cubicBezTo>
                  <a:cubicBezTo>
                    <a:pt x="275" y="321"/>
                    <a:pt x="267" y="298"/>
                    <a:pt x="267" y="283"/>
                  </a:cubicBezTo>
                  <a:lnTo>
                    <a:pt x="267" y="283"/>
                  </a:lnTo>
                  <a:cubicBezTo>
                    <a:pt x="259" y="275"/>
                    <a:pt x="244" y="268"/>
                    <a:pt x="236" y="260"/>
                  </a:cubicBezTo>
                  <a:cubicBezTo>
                    <a:pt x="221" y="252"/>
                    <a:pt x="221" y="237"/>
                    <a:pt x="213" y="222"/>
                  </a:cubicBezTo>
                  <a:cubicBezTo>
                    <a:pt x="206" y="206"/>
                    <a:pt x="190" y="184"/>
                    <a:pt x="190" y="168"/>
                  </a:cubicBezTo>
                  <a:cubicBezTo>
                    <a:pt x="175" y="130"/>
                    <a:pt x="175" y="84"/>
                    <a:pt x="167" y="46"/>
                  </a:cubicBezTo>
                  <a:lnTo>
                    <a:pt x="167" y="46"/>
                  </a:lnTo>
                  <a:cubicBezTo>
                    <a:pt x="53" y="0"/>
                    <a:pt x="53" y="0"/>
                    <a:pt x="53" y="0"/>
                  </a:cubicBezTo>
                  <a:lnTo>
                    <a:pt x="53" y="0"/>
                  </a:lnTo>
                  <a:cubicBezTo>
                    <a:pt x="0" y="77"/>
                    <a:pt x="0" y="77"/>
                    <a:pt x="0" y="7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46" name="Freeform 5"/>
            <p:cNvSpPr>
              <a:spLocks noChangeArrowheads="1"/>
            </p:cNvSpPr>
            <p:nvPr/>
          </p:nvSpPr>
          <p:spPr bwMode="auto">
            <a:xfrm>
              <a:off x="6181322" y="6946901"/>
              <a:ext cx="165089" cy="244475"/>
            </a:xfrm>
            <a:custGeom>
              <a:avLst/>
              <a:gdLst>
                <a:gd name="T0" fmla="*/ 359 w 459"/>
                <a:gd name="T1" fmla="*/ 0 h 681"/>
                <a:gd name="T2" fmla="*/ 359 w 459"/>
                <a:gd name="T3" fmla="*/ 0 h 681"/>
                <a:gd name="T4" fmla="*/ 374 w 459"/>
                <a:gd name="T5" fmla="*/ 61 h 681"/>
                <a:gd name="T6" fmla="*/ 320 w 459"/>
                <a:gd name="T7" fmla="*/ 176 h 681"/>
                <a:gd name="T8" fmla="*/ 275 w 459"/>
                <a:gd name="T9" fmla="*/ 176 h 681"/>
                <a:gd name="T10" fmla="*/ 213 w 459"/>
                <a:gd name="T11" fmla="*/ 260 h 681"/>
                <a:gd name="T12" fmla="*/ 244 w 459"/>
                <a:gd name="T13" fmla="*/ 298 h 681"/>
                <a:gd name="T14" fmla="*/ 213 w 459"/>
                <a:gd name="T15" fmla="*/ 336 h 681"/>
                <a:gd name="T16" fmla="*/ 206 w 459"/>
                <a:gd name="T17" fmla="*/ 390 h 681"/>
                <a:gd name="T18" fmla="*/ 290 w 459"/>
                <a:gd name="T19" fmla="*/ 451 h 681"/>
                <a:gd name="T20" fmla="*/ 336 w 459"/>
                <a:gd name="T21" fmla="*/ 451 h 681"/>
                <a:gd name="T22" fmla="*/ 305 w 459"/>
                <a:gd name="T23" fmla="*/ 352 h 681"/>
                <a:gd name="T24" fmla="*/ 382 w 459"/>
                <a:gd name="T25" fmla="*/ 421 h 681"/>
                <a:gd name="T26" fmla="*/ 443 w 459"/>
                <a:gd name="T27" fmla="*/ 436 h 681"/>
                <a:gd name="T28" fmla="*/ 435 w 459"/>
                <a:gd name="T29" fmla="*/ 489 h 681"/>
                <a:gd name="T30" fmla="*/ 435 w 459"/>
                <a:gd name="T31" fmla="*/ 489 h 681"/>
                <a:gd name="T32" fmla="*/ 382 w 459"/>
                <a:gd name="T33" fmla="*/ 566 h 681"/>
                <a:gd name="T34" fmla="*/ 382 w 459"/>
                <a:gd name="T35" fmla="*/ 566 h 681"/>
                <a:gd name="T36" fmla="*/ 313 w 459"/>
                <a:gd name="T37" fmla="*/ 566 h 681"/>
                <a:gd name="T38" fmla="*/ 305 w 459"/>
                <a:gd name="T39" fmla="*/ 657 h 681"/>
                <a:gd name="T40" fmla="*/ 213 w 459"/>
                <a:gd name="T41" fmla="*/ 680 h 681"/>
                <a:gd name="T42" fmla="*/ 213 w 459"/>
                <a:gd name="T43" fmla="*/ 680 h 681"/>
                <a:gd name="T44" fmla="*/ 137 w 459"/>
                <a:gd name="T45" fmla="*/ 466 h 681"/>
                <a:gd name="T46" fmla="*/ 221 w 459"/>
                <a:gd name="T47" fmla="*/ 115 h 681"/>
                <a:gd name="T48" fmla="*/ 351 w 459"/>
                <a:gd name="T49" fmla="*/ 16 h 681"/>
                <a:gd name="T50" fmla="*/ 359 w 459"/>
                <a:gd name="T51" fmla="*/ 0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59" h="681">
                  <a:moveTo>
                    <a:pt x="359" y="0"/>
                  </a:moveTo>
                  <a:lnTo>
                    <a:pt x="359" y="0"/>
                  </a:lnTo>
                  <a:cubicBezTo>
                    <a:pt x="366" y="16"/>
                    <a:pt x="374" y="38"/>
                    <a:pt x="374" y="61"/>
                  </a:cubicBezTo>
                  <a:cubicBezTo>
                    <a:pt x="366" y="100"/>
                    <a:pt x="351" y="146"/>
                    <a:pt x="320" y="176"/>
                  </a:cubicBezTo>
                  <a:cubicBezTo>
                    <a:pt x="313" y="184"/>
                    <a:pt x="290" y="168"/>
                    <a:pt x="275" y="176"/>
                  </a:cubicBezTo>
                  <a:cubicBezTo>
                    <a:pt x="252" y="199"/>
                    <a:pt x="221" y="222"/>
                    <a:pt x="213" y="260"/>
                  </a:cubicBezTo>
                  <a:cubicBezTo>
                    <a:pt x="213" y="275"/>
                    <a:pt x="252" y="283"/>
                    <a:pt x="244" y="298"/>
                  </a:cubicBezTo>
                  <a:cubicBezTo>
                    <a:pt x="244" y="313"/>
                    <a:pt x="221" y="321"/>
                    <a:pt x="213" y="336"/>
                  </a:cubicBezTo>
                  <a:cubicBezTo>
                    <a:pt x="206" y="352"/>
                    <a:pt x="198" y="375"/>
                    <a:pt x="206" y="390"/>
                  </a:cubicBezTo>
                  <a:cubicBezTo>
                    <a:pt x="229" y="421"/>
                    <a:pt x="259" y="436"/>
                    <a:pt x="290" y="451"/>
                  </a:cubicBezTo>
                  <a:cubicBezTo>
                    <a:pt x="305" y="459"/>
                    <a:pt x="336" y="466"/>
                    <a:pt x="336" y="451"/>
                  </a:cubicBezTo>
                  <a:cubicBezTo>
                    <a:pt x="336" y="421"/>
                    <a:pt x="275" y="375"/>
                    <a:pt x="305" y="352"/>
                  </a:cubicBezTo>
                  <a:cubicBezTo>
                    <a:pt x="336" y="336"/>
                    <a:pt x="351" y="405"/>
                    <a:pt x="382" y="421"/>
                  </a:cubicBezTo>
                  <a:cubicBezTo>
                    <a:pt x="397" y="428"/>
                    <a:pt x="427" y="421"/>
                    <a:pt x="443" y="436"/>
                  </a:cubicBezTo>
                  <a:cubicBezTo>
                    <a:pt x="458" y="451"/>
                    <a:pt x="443" y="474"/>
                    <a:pt x="435" y="489"/>
                  </a:cubicBezTo>
                  <a:lnTo>
                    <a:pt x="435" y="489"/>
                  </a:lnTo>
                  <a:cubicBezTo>
                    <a:pt x="382" y="566"/>
                    <a:pt x="382" y="566"/>
                    <a:pt x="382" y="566"/>
                  </a:cubicBezTo>
                  <a:lnTo>
                    <a:pt x="382" y="566"/>
                  </a:lnTo>
                  <a:cubicBezTo>
                    <a:pt x="359" y="566"/>
                    <a:pt x="328" y="550"/>
                    <a:pt x="313" y="566"/>
                  </a:cubicBezTo>
                  <a:cubicBezTo>
                    <a:pt x="290" y="588"/>
                    <a:pt x="320" y="634"/>
                    <a:pt x="305" y="657"/>
                  </a:cubicBezTo>
                  <a:cubicBezTo>
                    <a:pt x="290" y="680"/>
                    <a:pt x="236" y="673"/>
                    <a:pt x="213" y="680"/>
                  </a:cubicBezTo>
                  <a:lnTo>
                    <a:pt x="213" y="680"/>
                  </a:lnTo>
                  <a:cubicBezTo>
                    <a:pt x="190" y="604"/>
                    <a:pt x="183" y="527"/>
                    <a:pt x="137" y="466"/>
                  </a:cubicBezTo>
                  <a:cubicBezTo>
                    <a:pt x="0" y="329"/>
                    <a:pt x="168" y="237"/>
                    <a:pt x="221" y="115"/>
                  </a:cubicBezTo>
                  <a:cubicBezTo>
                    <a:pt x="244" y="54"/>
                    <a:pt x="313" y="54"/>
                    <a:pt x="351" y="16"/>
                  </a:cubicBezTo>
                  <a:cubicBezTo>
                    <a:pt x="351" y="8"/>
                    <a:pt x="359" y="8"/>
                    <a:pt x="359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47" name="Freeform 6"/>
            <p:cNvSpPr>
              <a:spLocks noChangeArrowheads="1"/>
            </p:cNvSpPr>
            <p:nvPr/>
          </p:nvSpPr>
          <p:spPr bwMode="auto">
            <a:xfrm>
              <a:off x="6376573" y="7100888"/>
              <a:ext cx="138103" cy="138112"/>
            </a:xfrm>
            <a:custGeom>
              <a:avLst/>
              <a:gdLst>
                <a:gd name="T0" fmla="*/ 7 w 383"/>
                <a:gd name="T1" fmla="*/ 107 h 383"/>
                <a:gd name="T2" fmla="*/ 7 w 383"/>
                <a:gd name="T3" fmla="*/ 107 h 383"/>
                <a:gd name="T4" fmla="*/ 30 w 383"/>
                <a:gd name="T5" fmla="*/ 229 h 383"/>
                <a:gd name="T6" fmla="*/ 53 w 383"/>
                <a:gd name="T7" fmla="*/ 283 h 383"/>
                <a:gd name="T8" fmla="*/ 76 w 383"/>
                <a:gd name="T9" fmla="*/ 321 h 383"/>
                <a:gd name="T10" fmla="*/ 107 w 383"/>
                <a:gd name="T11" fmla="*/ 344 h 383"/>
                <a:gd name="T12" fmla="*/ 107 w 383"/>
                <a:gd name="T13" fmla="*/ 344 h 383"/>
                <a:gd name="T14" fmla="*/ 160 w 383"/>
                <a:gd name="T15" fmla="*/ 336 h 383"/>
                <a:gd name="T16" fmla="*/ 191 w 383"/>
                <a:gd name="T17" fmla="*/ 382 h 383"/>
                <a:gd name="T18" fmla="*/ 191 w 383"/>
                <a:gd name="T19" fmla="*/ 382 h 383"/>
                <a:gd name="T20" fmla="*/ 229 w 383"/>
                <a:gd name="T21" fmla="*/ 359 h 383"/>
                <a:gd name="T22" fmla="*/ 237 w 383"/>
                <a:gd name="T23" fmla="*/ 290 h 383"/>
                <a:gd name="T24" fmla="*/ 229 w 383"/>
                <a:gd name="T25" fmla="*/ 214 h 383"/>
                <a:gd name="T26" fmla="*/ 305 w 383"/>
                <a:gd name="T27" fmla="*/ 245 h 383"/>
                <a:gd name="T28" fmla="*/ 382 w 383"/>
                <a:gd name="T29" fmla="*/ 222 h 383"/>
                <a:gd name="T30" fmla="*/ 382 w 383"/>
                <a:gd name="T31" fmla="*/ 222 h 383"/>
                <a:gd name="T32" fmla="*/ 321 w 383"/>
                <a:gd name="T33" fmla="*/ 168 h 383"/>
                <a:gd name="T34" fmla="*/ 313 w 383"/>
                <a:gd name="T35" fmla="*/ 130 h 383"/>
                <a:gd name="T36" fmla="*/ 237 w 383"/>
                <a:gd name="T37" fmla="*/ 84 h 383"/>
                <a:gd name="T38" fmla="*/ 153 w 383"/>
                <a:gd name="T39" fmla="*/ 23 h 383"/>
                <a:gd name="T40" fmla="*/ 153 w 383"/>
                <a:gd name="T41" fmla="*/ 23 h 383"/>
                <a:gd name="T42" fmla="*/ 92 w 383"/>
                <a:gd name="T43" fmla="*/ 46 h 383"/>
                <a:gd name="T44" fmla="*/ 61 w 383"/>
                <a:gd name="T45" fmla="*/ 0 h 383"/>
                <a:gd name="T46" fmla="*/ 7 w 383"/>
                <a:gd name="T47" fmla="*/ 46 h 383"/>
                <a:gd name="T48" fmla="*/ 7 w 383"/>
                <a:gd name="T49" fmla="*/ 107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3" h="383">
                  <a:moveTo>
                    <a:pt x="7" y="107"/>
                  </a:moveTo>
                  <a:lnTo>
                    <a:pt x="7" y="107"/>
                  </a:lnTo>
                  <a:cubicBezTo>
                    <a:pt x="15" y="145"/>
                    <a:pt x="15" y="191"/>
                    <a:pt x="30" y="229"/>
                  </a:cubicBezTo>
                  <a:cubicBezTo>
                    <a:pt x="30" y="245"/>
                    <a:pt x="46" y="267"/>
                    <a:pt x="53" y="283"/>
                  </a:cubicBezTo>
                  <a:cubicBezTo>
                    <a:pt x="61" y="298"/>
                    <a:pt x="61" y="313"/>
                    <a:pt x="76" y="321"/>
                  </a:cubicBezTo>
                  <a:cubicBezTo>
                    <a:pt x="84" y="329"/>
                    <a:pt x="99" y="336"/>
                    <a:pt x="107" y="344"/>
                  </a:cubicBezTo>
                  <a:lnTo>
                    <a:pt x="107" y="344"/>
                  </a:lnTo>
                  <a:cubicBezTo>
                    <a:pt x="130" y="344"/>
                    <a:pt x="145" y="329"/>
                    <a:pt x="160" y="336"/>
                  </a:cubicBezTo>
                  <a:cubicBezTo>
                    <a:pt x="176" y="344"/>
                    <a:pt x="183" y="367"/>
                    <a:pt x="191" y="382"/>
                  </a:cubicBezTo>
                  <a:lnTo>
                    <a:pt x="191" y="382"/>
                  </a:lnTo>
                  <a:cubicBezTo>
                    <a:pt x="206" y="374"/>
                    <a:pt x="221" y="367"/>
                    <a:pt x="229" y="359"/>
                  </a:cubicBezTo>
                  <a:cubicBezTo>
                    <a:pt x="237" y="336"/>
                    <a:pt x="237" y="313"/>
                    <a:pt x="237" y="290"/>
                  </a:cubicBezTo>
                  <a:cubicBezTo>
                    <a:pt x="237" y="267"/>
                    <a:pt x="214" y="229"/>
                    <a:pt x="229" y="214"/>
                  </a:cubicBezTo>
                  <a:cubicBezTo>
                    <a:pt x="252" y="199"/>
                    <a:pt x="275" y="245"/>
                    <a:pt x="305" y="245"/>
                  </a:cubicBezTo>
                  <a:cubicBezTo>
                    <a:pt x="328" y="252"/>
                    <a:pt x="359" y="229"/>
                    <a:pt x="382" y="222"/>
                  </a:cubicBezTo>
                  <a:lnTo>
                    <a:pt x="382" y="222"/>
                  </a:lnTo>
                  <a:lnTo>
                    <a:pt x="321" y="168"/>
                  </a:lnTo>
                  <a:cubicBezTo>
                    <a:pt x="321" y="160"/>
                    <a:pt x="313" y="130"/>
                    <a:pt x="313" y="130"/>
                  </a:cubicBezTo>
                  <a:cubicBezTo>
                    <a:pt x="290" y="115"/>
                    <a:pt x="259" y="99"/>
                    <a:pt x="237" y="84"/>
                  </a:cubicBezTo>
                  <a:cubicBezTo>
                    <a:pt x="206" y="69"/>
                    <a:pt x="176" y="46"/>
                    <a:pt x="153" y="23"/>
                  </a:cubicBezTo>
                  <a:lnTo>
                    <a:pt x="153" y="23"/>
                  </a:lnTo>
                  <a:cubicBezTo>
                    <a:pt x="130" y="31"/>
                    <a:pt x="115" y="46"/>
                    <a:pt x="92" y="46"/>
                  </a:cubicBezTo>
                  <a:cubicBezTo>
                    <a:pt x="76" y="38"/>
                    <a:pt x="76" y="0"/>
                    <a:pt x="61" y="0"/>
                  </a:cubicBezTo>
                  <a:cubicBezTo>
                    <a:pt x="38" y="8"/>
                    <a:pt x="23" y="31"/>
                    <a:pt x="7" y="46"/>
                  </a:cubicBezTo>
                  <a:cubicBezTo>
                    <a:pt x="0" y="69"/>
                    <a:pt x="7" y="92"/>
                    <a:pt x="7" y="10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48" name="Freeform 7"/>
            <p:cNvSpPr>
              <a:spLocks noChangeArrowheads="1"/>
            </p:cNvSpPr>
            <p:nvPr/>
          </p:nvSpPr>
          <p:spPr bwMode="auto">
            <a:xfrm>
              <a:off x="6430544" y="7026275"/>
              <a:ext cx="176201" cy="153988"/>
            </a:xfrm>
            <a:custGeom>
              <a:avLst/>
              <a:gdLst>
                <a:gd name="T0" fmla="*/ 229 w 490"/>
                <a:gd name="T1" fmla="*/ 428 h 429"/>
                <a:gd name="T2" fmla="*/ 229 w 490"/>
                <a:gd name="T3" fmla="*/ 428 h 429"/>
                <a:gd name="T4" fmla="*/ 290 w 490"/>
                <a:gd name="T5" fmla="*/ 359 h 429"/>
                <a:gd name="T6" fmla="*/ 336 w 490"/>
                <a:gd name="T7" fmla="*/ 344 h 429"/>
                <a:gd name="T8" fmla="*/ 359 w 490"/>
                <a:gd name="T9" fmla="*/ 389 h 429"/>
                <a:gd name="T10" fmla="*/ 359 w 490"/>
                <a:gd name="T11" fmla="*/ 389 h 429"/>
                <a:gd name="T12" fmla="*/ 443 w 490"/>
                <a:gd name="T13" fmla="*/ 382 h 429"/>
                <a:gd name="T14" fmla="*/ 481 w 490"/>
                <a:gd name="T15" fmla="*/ 252 h 429"/>
                <a:gd name="T16" fmla="*/ 420 w 490"/>
                <a:gd name="T17" fmla="*/ 214 h 429"/>
                <a:gd name="T18" fmla="*/ 420 w 490"/>
                <a:gd name="T19" fmla="*/ 214 h 429"/>
                <a:gd name="T20" fmla="*/ 359 w 490"/>
                <a:gd name="T21" fmla="*/ 199 h 429"/>
                <a:gd name="T22" fmla="*/ 290 w 490"/>
                <a:gd name="T23" fmla="*/ 229 h 429"/>
                <a:gd name="T24" fmla="*/ 252 w 490"/>
                <a:gd name="T25" fmla="*/ 176 h 429"/>
                <a:gd name="T26" fmla="*/ 237 w 490"/>
                <a:gd name="T27" fmla="*/ 91 h 429"/>
                <a:gd name="T28" fmla="*/ 160 w 490"/>
                <a:gd name="T29" fmla="*/ 53 h 429"/>
                <a:gd name="T30" fmla="*/ 160 w 490"/>
                <a:gd name="T31" fmla="*/ 53 h 429"/>
                <a:gd name="T32" fmla="*/ 129 w 490"/>
                <a:gd name="T33" fmla="*/ 0 h 429"/>
                <a:gd name="T34" fmla="*/ 45 w 490"/>
                <a:gd name="T35" fmla="*/ 30 h 429"/>
                <a:gd name="T36" fmla="*/ 23 w 490"/>
                <a:gd name="T37" fmla="*/ 76 h 429"/>
                <a:gd name="T38" fmla="*/ 30 w 490"/>
                <a:gd name="T39" fmla="*/ 130 h 429"/>
                <a:gd name="T40" fmla="*/ 0 w 490"/>
                <a:gd name="T41" fmla="*/ 229 h 429"/>
                <a:gd name="T42" fmla="*/ 0 w 490"/>
                <a:gd name="T43" fmla="*/ 229 h 429"/>
                <a:gd name="T44" fmla="*/ 84 w 490"/>
                <a:gd name="T45" fmla="*/ 290 h 429"/>
                <a:gd name="T46" fmla="*/ 160 w 490"/>
                <a:gd name="T47" fmla="*/ 336 h 429"/>
                <a:gd name="T48" fmla="*/ 168 w 490"/>
                <a:gd name="T49" fmla="*/ 374 h 429"/>
                <a:gd name="T50" fmla="*/ 229 w 490"/>
                <a:gd name="T51" fmla="*/ 42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90" h="429">
                  <a:moveTo>
                    <a:pt x="229" y="428"/>
                  </a:moveTo>
                  <a:lnTo>
                    <a:pt x="229" y="428"/>
                  </a:lnTo>
                  <a:cubicBezTo>
                    <a:pt x="252" y="405"/>
                    <a:pt x="267" y="382"/>
                    <a:pt x="290" y="359"/>
                  </a:cubicBezTo>
                  <a:cubicBezTo>
                    <a:pt x="298" y="351"/>
                    <a:pt x="320" y="336"/>
                    <a:pt x="336" y="344"/>
                  </a:cubicBezTo>
                  <a:cubicBezTo>
                    <a:pt x="351" y="351"/>
                    <a:pt x="351" y="374"/>
                    <a:pt x="359" y="389"/>
                  </a:cubicBezTo>
                  <a:lnTo>
                    <a:pt x="359" y="389"/>
                  </a:lnTo>
                  <a:cubicBezTo>
                    <a:pt x="389" y="389"/>
                    <a:pt x="420" y="405"/>
                    <a:pt x="443" y="382"/>
                  </a:cubicBezTo>
                  <a:cubicBezTo>
                    <a:pt x="473" y="351"/>
                    <a:pt x="489" y="298"/>
                    <a:pt x="481" y="252"/>
                  </a:cubicBezTo>
                  <a:cubicBezTo>
                    <a:pt x="481" y="229"/>
                    <a:pt x="443" y="229"/>
                    <a:pt x="420" y="214"/>
                  </a:cubicBezTo>
                  <a:lnTo>
                    <a:pt x="420" y="214"/>
                  </a:lnTo>
                  <a:cubicBezTo>
                    <a:pt x="404" y="214"/>
                    <a:pt x="381" y="191"/>
                    <a:pt x="359" y="199"/>
                  </a:cubicBezTo>
                  <a:cubicBezTo>
                    <a:pt x="336" y="199"/>
                    <a:pt x="313" y="237"/>
                    <a:pt x="290" y="229"/>
                  </a:cubicBezTo>
                  <a:cubicBezTo>
                    <a:pt x="267" y="229"/>
                    <a:pt x="259" y="199"/>
                    <a:pt x="252" y="176"/>
                  </a:cubicBezTo>
                  <a:cubicBezTo>
                    <a:pt x="237" y="145"/>
                    <a:pt x="252" y="114"/>
                    <a:pt x="237" y="91"/>
                  </a:cubicBezTo>
                  <a:cubicBezTo>
                    <a:pt x="221" y="69"/>
                    <a:pt x="183" y="61"/>
                    <a:pt x="160" y="53"/>
                  </a:cubicBezTo>
                  <a:lnTo>
                    <a:pt x="160" y="53"/>
                  </a:lnTo>
                  <a:cubicBezTo>
                    <a:pt x="145" y="30"/>
                    <a:pt x="137" y="15"/>
                    <a:pt x="129" y="0"/>
                  </a:cubicBezTo>
                  <a:lnTo>
                    <a:pt x="45" y="30"/>
                  </a:lnTo>
                  <a:lnTo>
                    <a:pt x="23" y="76"/>
                  </a:lnTo>
                  <a:cubicBezTo>
                    <a:pt x="23" y="91"/>
                    <a:pt x="38" y="114"/>
                    <a:pt x="30" y="130"/>
                  </a:cubicBezTo>
                  <a:cubicBezTo>
                    <a:pt x="30" y="168"/>
                    <a:pt x="7" y="199"/>
                    <a:pt x="0" y="229"/>
                  </a:cubicBezTo>
                  <a:lnTo>
                    <a:pt x="0" y="229"/>
                  </a:lnTo>
                  <a:cubicBezTo>
                    <a:pt x="23" y="252"/>
                    <a:pt x="53" y="275"/>
                    <a:pt x="84" y="290"/>
                  </a:cubicBezTo>
                  <a:cubicBezTo>
                    <a:pt x="106" y="305"/>
                    <a:pt x="137" y="321"/>
                    <a:pt x="160" y="336"/>
                  </a:cubicBezTo>
                  <a:cubicBezTo>
                    <a:pt x="160" y="336"/>
                    <a:pt x="168" y="366"/>
                    <a:pt x="168" y="374"/>
                  </a:cubicBezTo>
                  <a:lnTo>
                    <a:pt x="229" y="428"/>
                  </a:ln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49" name="Freeform 8"/>
            <p:cNvSpPr>
              <a:spLocks noChangeArrowheads="1"/>
            </p:cNvSpPr>
            <p:nvPr/>
          </p:nvSpPr>
          <p:spPr bwMode="auto">
            <a:xfrm>
              <a:off x="6438480" y="7148513"/>
              <a:ext cx="160328" cy="150812"/>
            </a:xfrm>
            <a:custGeom>
              <a:avLst/>
              <a:gdLst>
                <a:gd name="T0" fmla="*/ 129 w 444"/>
                <a:gd name="T1" fmla="*/ 115 h 421"/>
                <a:gd name="T2" fmla="*/ 129 w 444"/>
                <a:gd name="T3" fmla="*/ 115 h 421"/>
                <a:gd name="T4" fmla="*/ 53 w 444"/>
                <a:gd name="T5" fmla="*/ 84 h 421"/>
                <a:gd name="T6" fmla="*/ 61 w 444"/>
                <a:gd name="T7" fmla="*/ 160 h 421"/>
                <a:gd name="T8" fmla="*/ 53 w 444"/>
                <a:gd name="T9" fmla="*/ 229 h 421"/>
                <a:gd name="T10" fmla="*/ 15 w 444"/>
                <a:gd name="T11" fmla="*/ 252 h 421"/>
                <a:gd name="T12" fmla="*/ 15 w 444"/>
                <a:gd name="T13" fmla="*/ 252 h 421"/>
                <a:gd name="T14" fmla="*/ 22 w 444"/>
                <a:gd name="T15" fmla="*/ 328 h 421"/>
                <a:gd name="T16" fmla="*/ 114 w 444"/>
                <a:gd name="T17" fmla="*/ 305 h 421"/>
                <a:gd name="T18" fmla="*/ 99 w 444"/>
                <a:gd name="T19" fmla="*/ 344 h 421"/>
                <a:gd name="T20" fmla="*/ 137 w 444"/>
                <a:gd name="T21" fmla="*/ 359 h 421"/>
                <a:gd name="T22" fmla="*/ 137 w 444"/>
                <a:gd name="T23" fmla="*/ 382 h 421"/>
                <a:gd name="T24" fmla="*/ 168 w 444"/>
                <a:gd name="T25" fmla="*/ 420 h 421"/>
                <a:gd name="T26" fmla="*/ 168 w 444"/>
                <a:gd name="T27" fmla="*/ 420 h 421"/>
                <a:gd name="T28" fmla="*/ 191 w 444"/>
                <a:gd name="T29" fmla="*/ 405 h 421"/>
                <a:gd name="T30" fmla="*/ 229 w 444"/>
                <a:gd name="T31" fmla="*/ 412 h 421"/>
                <a:gd name="T32" fmla="*/ 290 w 444"/>
                <a:gd name="T33" fmla="*/ 367 h 421"/>
                <a:gd name="T34" fmla="*/ 336 w 444"/>
                <a:gd name="T35" fmla="*/ 305 h 421"/>
                <a:gd name="T36" fmla="*/ 404 w 444"/>
                <a:gd name="T37" fmla="*/ 298 h 421"/>
                <a:gd name="T38" fmla="*/ 443 w 444"/>
                <a:gd name="T39" fmla="*/ 252 h 421"/>
                <a:gd name="T40" fmla="*/ 443 w 444"/>
                <a:gd name="T41" fmla="*/ 252 h 421"/>
                <a:gd name="T42" fmla="*/ 381 w 444"/>
                <a:gd name="T43" fmla="*/ 222 h 421"/>
                <a:gd name="T44" fmla="*/ 397 w 444"/>
                <a:gd name="T45" fmla="*/ 168 h 421"/>
                <a:gd name="T46" fmla="*/ 397 w 444"/>
                <a:gd name="T47" fmla="*/ 168 h 421"/>
                <a:gd name="T48" fmla="*/ 336 w 444"/>
                <a:gd name="T49" fmla="*/ 53 h 421"/>
                <a:gd name="T50" fmla="*/ 336 w 444"/>
                <a:gd name="T51" fmla="*/ 53 h 421"/>
                <a:gd name="T52" fmla="*/ 313 w 444"/>
                <a:gd name="T53" fmla="*/ 8 h 421"/>
                <a:gd name="T54" fmla="*/ 267 w 444"/>
                <a:gd name="T55" fmla="*/ 23 h 421"/>
                <a:gd name="T56" fmla="*/ 206 w 444"/>
                <a:gd name="T57" fmla="*/ 92 h 421"/>
                <a:gd name="T58" fmla="*/ 191 w 444"/>
                <a:gd name="T59" fmla="*/ 99 h 421"/>
                <a:gd name="T60" fmla="*/ 152 w 444"/>
                <a:gd name="T61" fmla="*/ 115 h 421"/>
                <a:gd name="T62" fmla="*/ 129 w 444"/>
                <a:gd name="T63" fmla="*/ 115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44" h="421">
                  <a:moveTo>
                    <a:pt x="129" y="115"/>
                  </a:moveTo>
                  <a:lnTo>
                    <a:pt x="129" y="115"/>
                  </a:lnTo>
                  <a:cubicBezTo>
                    <a:pt x="99" y="115"/>
                    <a:pt x="76" y="69"/>
                    <a:pt x="53" y="84"/>
                  </a:cubicBezTo>
                  <a:cubicBezTo>
                    <a:pt x="38" y="99"/>
                    <a:pt x="61" y="137"/>
                    <a:pt x="61" y="160"/>
                  </a:cubicBezTo>
                  <a:cubicBezTo>
                    <a:pt x="61" y="183"/>
                    <a:pt x="61" y="206"/>
                    <a:pt x="53" y="229"/>
                  </a:cubicBezTo>
                  <a:cubicBezTo>
                    <a:pt x="45" y="237"/>
                    <a:pt x="30" y="244"/>
                    <a:pt x="15" y="252"/>
                  </a:cubicBezTo>
                  <a:lnTo>
                    <a:pt x="15" y="252"/>
                  </a:lnTo>
                  <a:cubicBezTo>
                    <a:pt x="22" y="275"/>
                    <a:pt x="0" y="313"/>
                    <a:pt x="22" y="328"/>
                  </a:cubicBezTo>
                  <a:cubicBezTo>
                    <a:pt x="53" y="344"/>
                    <a:pt x="83" y="298"/>
                    <a:pt x="114" y="305"/>
                  </a:cubicBezTo>
                  <a:cubicBezTo>
                    <a:pt x="129" y="313"/>
                    <a:pt x="99" y="336"/>
                    <a:pt x="99" y="344"/>
                  </a:cubicBezTo>
                  <a:cubicBezTo>
                    <a:pt x="106" y="359"/>
                    <a:pt x="129" y="344"/>
                    <a:pt x="137" y="359"/>
                  </a:cubicBezTo>
                  <a:cubicBezTo>
                    <a:pt x="145" y="359"/>
                    <a:pt x="129" y="374"/>
                    <a:pt x="137" y="382"/>
                  </a:cubicBezTo>
                  <a:cubicBezTo>
                    <a:pt x="145" y="397"/>
                    <a:pt x="152" y="405"/>
                    <a:pt x="168" y="420"/>
                  </a:cubicBezTo>
                  <a:lnTo>
                    <a:pt x="168" y="420"/>
                  </a:lnTo>
                  <a:cubicBezTo>
                    <a:pt x="175" y="412"/>
                    <a:pt x="183" y="405"/>
                    <a:pt x="191" y="405"/>
                  </a:cubicBezTo>
                  <a:cubicBezTo>
                    <a:pt x="206" y="405"/>
                    <a:pt x="221" y="412"/>
                    <a:pt x="229" y="412"/>
                  </a:cubicBezTo>
                  <a:cubicBezTo>
                    <a:pt x="252" y="397"/>
                    <a:pt x="267" y="382"/>
                    <a:pt x="290" y="367"/>
                  </a:cubicBezTo>
                  <a:cubicBezTo>
                    <a:pt x="305" y="344"/>
                    <a:pt x="313" y="313"/>
                    <a:pt x="336" y="305"/>
                  </a:cubicBezTo>
                  <a:cubicBezTo>
                    <a:pt x="358" y="290"/>
                    <a:pt x="381" y="313"/>
                    <a:pt x="404" y="298"/>
                  </a:cubicBezTo>
                  <a:cubicBezTo>
                    <a:pt x="420" y="290"/>
                    <a:pt x="427" y="267"/>
                    <a:pt x="443" y="252"/>
                  </a:cubicBezTo>
                  <a:lnTo>
                    <a:pt x="443" y="252"/>
                  </a:lnTo>
                  <a:cubicBezTo>
                    <a:pt x="420" y="244"/>
                    <a:pt x="397" y="244"/>
                    <a:pt x="381" y="222"/>
                  </a:cubicBezTo>
                  <a:cubicBezTo>
                    <a:pt x="374" y="206"/>
                    <a:pt x="397" y="183"/>
                    <a:pt x="397" y="168"/>
                  </a:cubicBezTo>
                  <a:lnTo>
                    <a:pt x="397" y="168"/>
                  </a:lnTo>
                  <a:cubicBezTo>
                    <a:pt x="336" y="53"/>
                    <a:pt x="336" y="53"/>
                    <a:pt x="336" y="53"/>
                  </a:cubicBezTo>
                  <a:lnTo>
                    <a:pt x="336" y="53"/>
                  </a:lnTo>
                  <a:cubicBezTo>
                    <a:pt x="328" y="38"/>
                    <a:pt x="328" y="15"/>
                    <a:pt x="313" y="8"/>
                  </a:cubicBezTo>
                  <a:cubicBezTo>
                    <a:pt x="297" y="0"/>
                    <a:pt x="275" y="15"/>
                    <a:pt x="267" y="23"/>
                  </a:cubicBezTo>
                  <a:cubicBezTo>
                    <a:pt x="244" y="46"/>
                    <a:pt x="229" y="69"/>
                    <a:pt x="206" y="92"/>
                  </a:cubicBezTo>
                  <a:cubicBezTo>
                    <a:pt x="206" y="92"/>
                    <a:pt x="198" y="99"/>
                    <a:pt x="191" y="99"/>
                  </a:cubicBezTo>
                  <a:cubicBezTo>
                    <a:pt x="183" y="107"/>
                    <a:pt x="168" y="115"/>
                    <a:pt x="152" y="115"/>
                  </a:cubicBezTo>
                  <a:cubicBezTo>
                    <a:pt x="137" y="115"/>
                    <a:pt x="129" y="115"/>
                    <a:pt x="129" y="115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50" name="Freeform 9"/>
            <p:cNvSpPr>
              <a:spLocks noChangeArrowheads="1"/>
            </p:cNvSpPr>
            <p:nvPr/>
          </p:nvSpPr>
          <p:spPr bwMode="auto">
            <a:xfrm>
              <a:off x="6560711" y="7092950"/>
              <a:ext cx="149215" cy="115888"/>
            </a:xfrm>
            <a:custGeom>
              <a:avLst/>
              <a:gdLst>
                <a:gd name="T0" fmla="*/ 61 w 413"/>
                <a:gd name="T1" fmla="*/ 321 h 322"/>
                <a:gd name="T2" fmla="*/ 61 w 413"/>
                <a:gd name="T3" fmla="*/ 321 h 322"/>
                <a:gd name="T4" fmla="*/ 0 w 413"/>
                <a:gd name="T5" fmla="*/ 206 h 322"/>
                <a:gd name="T6" fmla="*/ 0 w 413"/>
                <a:gd name="T7" fmla="*/ 206 h 322"/>
                <a:gd name="T8" fmla="*/ 84 w 413"/>
                <a:gd name="T9" fmla="*/ 199 h 322"/>
                <a:gd name="T10" fmla="*/ 122 w 413"/>
                <a:gd name="T11" fmla="*/ 69 h 322"/>
                <a:gd name="T12" fmla="*/ 61 w 413"/>
                <a:gd name="T13" fmla="*/ 31 h 322"/>
                <a:gd name="T14" fmla="*/ 61 w 413"/>
                <a:gd name="T15" fmla="*/ 31 h 322"/>
                <a:gd name="T16" fmla="*/ 91 w 413"/>
                <a:gd name="T17" fmla="*/ 0 h 322"/>
                <a:gd name="T18" fmla="*/ 152 w 413"/>
                <a:gd name="T19" fmla="*/ 16 h 322"/>
                <a:gd name="T20" fmla="*/ 206 w 413"/>
                <a:gd name="T21" fmla="*/ 46 h 322"/>
                <a:gd name="T22" fmla="*/ 236 w 413"/>
                <a:gd name="T23" fmla="*/ 23 h 322"/>
                <a:gd name="T24" fmla="*/ 236 w 413"/>
                <a:gd name="T25" fmla="*/ 23 h 322"/>
                <a:gd name="T26" fmla="*/ 290 w 413"/>
                <a:gd name="T27" fmla="*/ 54 h 322"/>
                <a:gd name="T28" fmla="*/ 305 w 413"/>
                <a:gd name="T29" fmla="*/ 69 h 322"/>
                <a:gd name="T30" fmla="*/ 374 w 413"/>
                <a:gd name="T31" fmla="*/ 69 h 322"/>
                <a:gd name="T32" fmla="*/ 374 w 413"/>
                <a:gd name="T33" fmla="*/ 69 h 322"/>
                <a:gd name="T34" fmla="*/ 404 w 413"/>
                <a:gd name="T35" fmla="*/ 145 h 322"/>
                <a:gd name="T36" fmla="*/ 343 w 413"/>
                <a:gd name="T37" fmla="*/ 183 h 322"/>
                <a:gd name="T38" fmla="*/ 343 w 413"/>
                <a:gd name="T39" fmla="*/ 183 h 322"/>
                <a:gd name="T40" fmla="*/ 297 w 413"/>
                <a:gd name="T41" fmla="*/ 168 h 322"/>
                <a:gd name="T42" fmla="*/ 259 w 413"/>
                <a:gd name="T43" fmla="*/ 168 h 322"/>
                <a:gd name="T44" fmla="*/ 168 w 413"/>
                <a:gd name="T45" fmla="*/ 206 h 322"/>
                <a:gd name="T46" fmla="*/ 130 w 413"/>
                <a:gd name="T47" fmla="*/ 268 h 322"/>
                <a:gd name="T48" fmla="*/ 61 w 413"/>
                <a:gd name="T49" fmla="*/ 32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3" h="322">
                  <a:moveTo>
                    <a:pt x="61" y="321"/>
                  </a:moveTo>
                  <a:lnTo>
                    <a:pt x="61" y="321"/>
                  </a:lnTo>
                  <a:cubicBezTo>
                    <a:pt x="0" y="206"/>
                    <a:pt x="0" y="206"/>
                    <a:pt x="0" y="206"/>
                  </a:cubicBezTo>
                  <a:lnTo>
                    <a:pt x="0" y="206"/>
                  </a:lnTo>
                  <a:cubicBezTo>
                    <a:pt x="30" y="206"/>
                    <a:pt x="61" y="222"/>
                    <a:pt x="84" y="199"/>
                  </a:cubicBezTo>
                  <a:cubicBezTo>
                    <a:pt x="114" y="168"/>
                    <a:pt x="130" y="115"/>
                    <a:pt x="122" y="69"/>
                  </a:cubicBezTo>
                  <a:cubicBezTo>
                    <a:pt x="122" y="46"/>
                    <a:pt x="84" y="46"/>
                    <a:pt x="61" y="31"/>
                  </a:cubicBezTo>
                  <a:lnTo>
                    <a:pt x="61" y="31"/>
                  </a:lnTo>
                  <a:cubicBezTo>
                    <a:pt x="76" y="23"/>
                    <a:pt x="76" y="8"/>
                    <a:pt x="91" y="0"/>
                  </a:cubicBezTo>
                  <a:cubicBezTo>
                    <a:pt x="114" y="0"/>
                    <a:pt x="137" y="8"/>
                    <a:pt x="152" y="16"/>
                  </a:cubicBezTo>
                  <a:cubicBezTo>
                    <a:pt x="175" y="23"/>
                    <a:pt x="183" y="46"/>
                    <a:pt x="206" y="46"/>
                  </a:cubicBezTo>
                  <a:cubicBezTo>
                    <a:pt x="214" y="46"/>
                    <a:pt x="221" y="31"/>
                    <a:pt x="236" y="23"/>
                  </a:cubicBezTo>
                  <a:lnTo>
                    <a:pt x="236" y="23"/>
                  </a:lnTo>
                  <a:cubicBezTo>
                    <a:pt x="252" y="31"/>
                    <a:pt x="267" y="46"/>
                    <a:pt x="290" y="54"/>
                  </a:cubicBezTo>
                  <a:cubicBezTo>
                    <a:pt x="290" y="61"/>
                    <a:pt x="297" y="69"/>
                    <a:pt x="305" y="69"/>
                  </a:cubicBezTo>
                  <a:cubicBezTo>
                    <a:pt x="328" y="77"/>
                    <a:pt x="351" y="69"/>
                    <a:pt x="374" y="69"/>
                  </a:cubicBezTo>
                  <a:lnTo>
                    <a:pt x="374" y="69"/>
                  </a:lnTo>
                  <a:cubicBezTo>
                    <a:pt x="382" y="92"/>
                    <a:pt x="412" y="115"/>
                    <a:pt x="404" y="145"/>
                  </a:cubicBezTo>
                  <a:cubicBezTo>
                    <a:pt x="397" y="168"/>
                    <a:pt x="366" y="168"/>
                    <a:pt x="343" y="183"/>
                  </a:cubicBezTo>
                  <a:lnTo>
                    <a:pt x="343" y="183"/>
                  </a:lnTo>
                  <a:cubicBezTo>
                    <a:pt x="328" y="176"/>
                    <a:pt x="313" y="168"/>
                    <a:pt x="297" y="168"/>
                  </a:cubicBezTo>
                  <a:cubicBezTo>
                    <a:pt x="282" y="161"/>
                    <a:pt x="275" y="161"/>
                    <a:pt x="259" y="168"/>
                  </a:cubicBezTo>
                  <a:cubicBezTo>
                    <a:pt x="229" y="176"/>
                    <a:pt x="191" y="183"/>
                    <a:pt x="168" y="206"/>
                  </a:cubicBezTo>
                  <a:cubicBezTo>
                    <a:pt x="145" y="214"/>
                    <a:pt x="145" y="245"/>
                    <a:pt x="130" y="268"/>
                  </a:cubicBezTo>
                  <a:cubicBezTo>
                    <a:pt x="107" y="290"/>
                    <a:pt x="84" y="306"/>
                    <a:pt x="61" y="32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53" name="Freeform 10"/>
            <p:cNvSpPr>
              <a:spLocks noChangeArrowheads="1"/>
            </p:cNvSpPr>
            <p:nvPr/>
          </p:nvSpPr>
          <p:spPr bwMode="auto">
            <a:xfrm>
              <a:off x="6573410" y="7150101"/>
              <a:ext cx="123817" cy="119063"/>
            </a:xfrm>
            <a:custGeom>
              <a:avLst/>
              <a:gdLst>
                <a:gd name="T0" fmla="*/ 23 w 345"/>
                <a:gd name="T1" fmla="*/ 160 h 329"/>
                <a:gd name="T2" fmla="*/ 23 w 345"/>
                <a:gd name="T3" fmla="*/ 160 h 329"/>
                <a:gd name="T4" fmla="*/ 92 w 345"/>
                <a:gd name="T5" fmla="*/ 107 h 329"/>
                <a:gd name="T6" fmla="*/ 130 w 345"/>
                <a:gd name="T7" fmla="*/ 45 h 329"/>
                <a:gd name="T8" fmla="*/ 221 w 345"/>
                <a:gd name="T9" fmla="*/ 7 h 329"/>
                <a:gd name="T10" fmla="*/ 259 w 345"/>
                <a:gd name="T11" fmla="*/ 7 h 329"/>
                <a:gd name="T12" fmla="*/ 305 w 345"/>
                <a:gd name="T13" fmla="*/ 22 h 329"/>
                <a:gd name="T14" fmla="*/ 305 w 345"/>
                <a:gd name="T15" fmla="*/ 22 h 329"/>
                <a:gd name="T16" fmla="*/ 344 w 345"/>
                <a:gd name="T17" fmla="*/ 61 h 329"/>
                <a:gd name="T18" fmla="*/ 305 w 345"/>
                <a:gd name="T19" fmla="*/ 76 h 329"/>
                <a:gd name="T20" fmla="*/ 267 w 345"/>
                <a:gd name="T21" fmla="*/ 114 h 329"/>
                <a:gd name="T22" fmla="*/ 290 w 345"/>
                <a:gd name="T23" fmla="*/ 168 h 329"/>
                <a:gd name="T24" fmla="*/ 221 w 345"/>
                <a:gd name="T25" fmla="*/ 198 h 329"/>
                <a:gd name="T26" fmla="*/ 275 w 345"/>
                <a:gd name="T27" fmla="*/ 267 h 329"/>
                <a:gd name="T28" fmla="*/ 244 w 345"/>
                <a:gd name="T29" fmla="*/ 320 h 329"/>
                <a:gd name="T30" fmla="*/ 244 w 345"/>
                <a:gd name="T31" fmla="*/ 320 h 329"/>
                <a:gd name="T32" fmla="*/ 183 w 345"/>
                <a:gd name="T33" fmla="*/ 297 h 329"/>
                <a:gd name="T34" fmla="*/ 145 w 345"/>
                <a:gd name="T35" fmla="*/ 305 h 329"/>
                <a:gd name="T36" fmla="*/ 69 w 345"/>
                <a:gd name="T37" fmla="*/ 244 h 329"/>
                <a:gd name="T38" fmla="*/ 69 w 345"/>
                <a:gd name="T39" fmla="*/ 244 h 329"/>
                <a:gd name="T40" fmla="*/ 7 w 345"/>
                <a:gd name="T41" fmla="*/ 214 h 329"/>
                <a:gd name="T42" fmla="*/ 23 w 345"/>
                <a:gd name="T43" fmla="*/ 16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5" h="329">
                  <a:moveTo>
                    <a:pt x="23" y="160"/>
                  </a:moveTo>
                  <a:lnTo>
                    <a:pt x="23" y="160"/>
                  </a:lnTo>
                  <a:cubicBezTo>
                    <a:pt x="46" y="145"/>
                    <a:pt x="69" y="129"/>
                    <a:pt x="92" y="107"/>
                  </a:cubicBezTo>
                  <a:cubicBezTo>
                    <a:pt x="107" y="84"/>
                    <a:pt x="107" y="53"/>
                    <a:pt x="130" y="45"/>
                  </a:cubicBezTo>
                  <a:cubicBezTo>
                    <a:pt x="153" y="22"/>
                    <a:pt x="191" y="15"/>
                    <a:pt x="221" y="7"/>
                  </a:cubicBezTo>
                  <a:cubicBezTo>
                    <a:pt x="237" y="0"/>
                    <a:pt x="244" y="0"/>
                    <a:pt x="259" y="7"/>
                  </a:cubicBezTo>
                  <a:cubicBezTo>
                    <a:pt x="275" y="7"/>
                    <a:pt x="290" y="15"/>
                    <a:pt x="305" y="22"/>
                  </a:cubicBezTo>
                  <a:lnTo>
                    <a:pt x="305" y="22"/>
                  </a:lnTo>
                  <a:cubicBezTo>
                    <a:pt x="313" y="38"/>
                    <a:pt x="344" y="45"/>
                    <a:pt x="344" y="61"/>
                  </a:cubicBezTo>
                  <a:cubicBezTo>
                    <a:pt x="344" y="76"/>
                    <a:pt x="313" y="68"/>
                    <a:pt x="305" y="76"/>
                  </a:cubicBezTo>
                  <a:cubicBezTo>
                    <a:pt x="290" y="91"/>
                    <a:pt x="267" y="99"/>
                    <a:pt x="267" y="114"/>
                  </a:cubicBezTo>
                  <a:cubicBezTo>
                    <a:pt x="259" y="137"/>
                    <a:pt x="298" y="152"/>
                    <a:pt x="290" y="168"/>
                  </a:cubicBezTo>
                  <a:cubicBezTo>
                    <a:pt x="282" y="191"/>
                    <a:pt x="229" y="175"/>
                    <a:pt x="221" y="198"/>
                  </a:cubicBezTo>
                  <a:cubicBezTo>
                    <a:pt x="214" y="229"/>
                    <a:pt x="267" y="236"/>
                    <a:pt x="275" y="267"/>
                  </a:cubicBezTo>
                  <a:cubicBezTo>
                    <a:pt x="275" y="290"/>
                    <a:pt x="267" y="320"/>
                    <a:pt x="244" y="320"/>
                  </a:cubicBezTo>
                  <a:lnTo>
                    <a:pt x="244" y="320"/>
                  </a:lnTo>
                  <a:cubicBezTo>
                    <a:pt x="221" y="328"/>
                    <a:pt x="206" y="305"/>
                    <a:pt x="183" y="297"/>
                  </a:cubicBezTo>
                  <a:cubicBezTo>
                    <a:pt x="176" y="297"/>
                    <a:pt x="160" y="313"/>
                    <a:pt x="145" y="305"/>
                  </a:cubicBezTo>
                  <a:cubicBezTo>
                    <a:pt x="114" y="290"/>
                    <a:pt x="92" y="267"/>
                    <a:pt x="69" y="244"/>
                  </a:cubicBezTo>
                  <a:lnTo>
                    <a:pt x="69" y="244"/>
                  </a:lnTo>
                  <a:cubicBezTo>
                    <a:pt x="46" y="236"/>
                    <a:pt x="23" y="236"/>
                    <a:pt x="7" y="214"/>
                  </a:cubicBezTo>
                  <a:cubicBezTo>
                    <a:pt x="0" y="198"/>
                    <a:pt x="23" y="175"/>
                    <a:pt x="23" y="16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58" name="Freeform 11"/>
            <p:cNvSpPr>
              <a:spLocks noChangeArrowheads="1"/>
            </p:cNvSpPr>
            <p:nvPr/>
          </p:nvSpPr>
          <p:spPr bwMode="auto">
            <a:xfrm>
              <a:off x="6651192" y="7096125"/>
              <a:ext cx="101593" cy="173038"/>
            </a:xfrm>
            <a:custGeom>
              <a:avLst/>
              <a:gdLst>
                <a:gd name="T0" fmla="*/ 91 w 283"/>
                <a:gd name="T1" fmla="*/ 175 h 482"/>
                <a:gd name="T2" fmla="*/ 91 w 283"/>
                <a:gd name="T3" fmla="*/ 175 h 482"/>
                <a:gd name="T4" fmla="*/ 152 w 283"/>
                <a:gd name="T5" fmla="*/ 137 h 482"/>
                <a:gd name="T6" fmla="*/ 122 w 283"/>
                <a:gd name="T7" fmla="*/ 61 h 482"/>
                <a:gd name="T8" fmla="*/ 122 w 283"/>
                <a:gd name="T9" fmla="*/ 61 h 482"/>
                <a:gd name="T10" fmla="*/ 99 w 283"/>
                <a:gd name="T11" fmla="*/ 15 h 482"/>
                <a:gd name="T12" fmla="*/ 145 w 283"/>
                <a:gd name="T13" fmla="*/ 0 h 482"/>
                <a:gd name="T14" fmla="*/ 145 w 283"/>
                <a:gd name="T15" fmla="*/ 0 h 482"/>
                <a:gd name="T16" fmla="*/ 229 w 283"/>
                <a:gd name="T17" fmla="*/ 30 h 482"/>
                <a:gd name="T18" fmla="*/ 229 w 283"/>
                <a:gd name="T19" fmla="*/ 30 h 482"/>
                <a:gd name="T20" fmla="*/ 259 w 283"/>
                <a:gd name="T21" fmla="*/ 69 h 482"/>
                <a:gd name="T22" fmla="*/ 244 w 283"/>
                <a:gd name="T23" fmla="*/ 99 h 482"/>
                <a:gd name="T24" fmla="*/ 237 w 283"/>
                <a:gd name="T25" fmla="*/ 114 h 482"/>
                <a:gd name="T26" fmla="*/ 237 w 283"/>
                <a:gd name="T27" fmla="*/ 114 h 482"/>
                <a:gd name="T28" fmla="*/ 244 w 283"/>
                <a:gd name="T29" fmla="*/ 160 h 482"/>
                <a:gd name="T30" fmla="*/ 275 w 283"/>
                <a:gd name="T31" fmla="*/ 175 h 482"/>
                <a:gd name="T32" fmla="*/ 267 w 283"/>
                <a:gd name="T33" fmla="*/ 229 h 482"/>
                <a:gd name="T34" fmla="*/ 267 w 283"/>
                <a:gd name="T35" fmla="*/ 229 h 482"/>
                <a:gd name="T36" fmla="*/ 229 w 283"/>
                <a:gd name="T37" fmla="*/ 275 h 482"/>
                <a:gd name="T38" fmla="*/ 206 w 283"/>
                <a:gd name="T39" fmla="*/ 282 h 482"/>
                <a:gd name="T40" fmla="*/ 168 w 283"/>
                <a:gd name="T41" fmla="*/ 359 h 482"/>
                <a:gd name="T42" fmla="*/ 130 w 283"/>
                <a:gd name="T43" fmla="*/ 367 h 482"/>
                <a:gd name="T44" fmla="*/ 137 w 283"/>
                <a:gd name="T45" fmla="*/ 466 h 482"/>
                <a:gd name="T46" fmla="*/ 137 w 283"/>
                <a:gd name="T47" fmla="*/ 466 h 482"/>
                <a:gd name="T48" fmla="*/ 99 w 283"/>
                <a:gd name="T49" fmla="*/ 481 h 482"/>
                <a:gd name="T50" fmla="*/ 99 w 283"/>
                <a:gd name="T51" fmla="*/ 481 h 482"/>
                <a:gd name="T52" fmla="*/ 30 w 283"/>
                <a:gd name="T53" fmla="*/ 473 h 482"/>
                <a:gd name="T54" fmla="*/ 30 w 283"/>
                <a:gd name="T55" fmla="*/ 473 h 482"/>
                <a:gd name="T56" fmla="*/ 61 w 283"/>
                <a:gd name="T57" fmla="*/ 420 h 482"/>
                <a:gd name="T58" fmla="*/ 7 w 283"/>
                <a:gd name="T59" fmla="*/ 351 h 482"/>
                <a:gd name="T60" fmla="*/ 76 w 283"/>
                <a:gd name="T61" fmla="*/ 321 h 482"/>
                <a:gd name="T62" fmla="*/ 53 w 283"/>
                <a:gd name="T63" fmla="*/ 267 h 482"/>
                <a:gd name="T64" fmla="*/ 91 w 283"/>
                <a:gd name="T65" fmla="*/ 229 h 482"/>
                <a:gd name="T66" fmla="*/ 130 w 283"/>
                <a:gd name="T67" fmla="*/ 214 h 482"/>
                <a:gd name="T68" fmla="*/ 91 w 283"/>
                <a:gd name="T69" fmla="*/ 175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3" h="482">
                  <a:moveTo>
                    <a:pt x="91" y="175"/>
                  </a:moveTo>
                  <a:lnTo>
                    <a:pt x="91" y="175"/>
                  </a:lnTo>
                  <a:cubicBezTo>
                    <a:pt x="114" y="160"/>
                    <a:pt x="145" y="160"/>
                    <a:pt x="152" y="137"/>
                  </a:cubicBezTo>
                  <a:cubicBezTo>
                    <a:pt x="160" y="107"/>
                    <a:pt x="130" y="84"/>
                    <a:pt x="122" y="61"/>
                  </a:cubicBezTo>
                  <a:lnTo>
                    <a:pt x="122" y="61"/>
                  </a:lnTo>
                  <a:cubicBezTo>
                    <a:pt x="114" y="46"/>
                    <a:pt x="91" y="30"/>
                    <a:pt x="99" y="15"/>
                  </a:cubicBezTo>
                  <a:cubicBezTo>
                    <a:pt x="99" y="0"/>
                    <a:pt x="130" y="0"/>
                    <a:pt x="145" y="0"/>
                  </a:cubicBezTo>
                  <a:lnTo>
                    <a:pt x="145" y="0"/>
                  </a:lnTo>
                  <a:cubicBezTo>
                    <a:pt x="229" y="30"/>
                    <a:pt x="229" y="30"/>
                    <a:pt x="229" y="30"/>
                  </a:cubicBezTo>
                  <a:lnTo>
                    <a:pt x="229" y="30"/>
                  </a:lnTo>
                  <a:cubicBezTo>
                    <a:pt x="244" y="46"/>
                    <a:pt x="259" y="53"/>
                    <a:pt x="259" y="69"/>
                  </a:cubicBezTo>
                  <a:cubicBezTo>
                    <a:pt x="259" y="84"/>
                    <a:pt x="244" y="84"/>
                    <a:pt x="244" y="99"/>
                  </a:cubicBezTo>
                  <a:cubicBezTo>
                    <a:pt x="244" y="107"/>
                    <a:pt x="237" y="107"/>
                    <a:pt x="237" y="114"/>
                  </a:cubicBezTo>
                  <a:lnTo>
                    <a:pt x="237" y="114"/>
                  </a:lnTo>
                  <a:cubicBezTo>
                    <a:pt x="237" y="130"/>
                    <a:pt x="244" y="145"/>
                    <a:pt x="244" y="160"/>
                  </a:cubicBezTo>
                  <a:cubicBezTo>
                    <a:pt x="252" y="168"/>
                    <a:pt x="275" y="168"/>
                    <a:pt x="275" y="175"/>
                  </a:cubicBezTo>
                  <a:cubicBezTo>
                    <a:pt x="282" y="191"/>
                    <a:pt x="267" y="214"/>
                    <a:pt x="267" y="229"/>
                  </a:cubicBezTo>
                  <a:lnTo>
                    <a:pt x="267" y="229"/>
                  </a:lnTo>
                  <a:cubicBezTo>
                    <a:pt x="252" y="244"/>
                    <a:pt x="244" y="260"/>
                    <a:pt x="229" y="275"/>
                  </a:cubicBezTo>
                  <a:cubicBezTo>
                    <a:pt x="221" y="282"/>
                    <a:pt x="206" y="275"/>
                    <a:pt x="206" y="282"/>
                  </a:cubicBezTo>
                  <a:cubicBezTo>
                    <a:pt x="191" y="305"/>
                    <a:pt x="191" y="336"/>
                    <a:pt x="168" y="359"/>
                  </a:cubicBezTo>
                  <a:cubicBezTo>
                    <a:pt x="160" y="367"/>
                    <a:pt x="130" y="351"/>
                    <a:pt x="130" y="367"/>
                  </a:cubicBezTo>
                  <a:cubicBezTo>
                    <a:pt x="122" y="397"/>
                    <a:pt x="137" y="435"/>
                    <a:pt x="137" y="466"/>
                  </a:cubicBezTo>
                  <a:lnTo>
                    <a:pt x="137" y="466"/>
                  </a:lnTo>
                  <a:cubicBezTo>
                    <a:pt x="99" y="481"/>
                    <a:pt x="99" y="481"/>
                    <a:pt x="99" y="481"/>
                  </a:cubicBezTo>
                  <a:lnTo>
                    <a:pt x="99" y="481"/>
                  </a:lnTo>
                  <a:cubicBezTo>
                    <a:pt x="30" y="473"/>
                    <a:pt x="30" y="473"/>
                    <a:pt x="30" y="473"/>
                  </a:cubicBezTo>
                  <a:lnTo>
                    <a:pt x="30" y="473"/>
                  </a:lnTo>
                  <a:cubicBezTo>
                    <a:pt x="53" y="473"/>
                    <a:pt x="61" y="443"/>
                    <a:pt x="61" y="420"/>
                  </a:cubicBezTo>
                  <a:cubicBezTo>
                    <a:pt x="53" y="389"/>
                    <a:pt x="0" y="382"/>
                    <a:pt x="7" y="351"/>
                  </a:cubicBezTo>
                  <a:cubicBezTo>
                    <a:pt x="15" y="328"/>
                    <a:pt x="68" y="344"/>
                    <a:pt x="76" y="321"/>
                  </a:cubicBezTo>
                  <a:cubicBezTo>
                    <a:pt x="84" y="305"/>
                    <a:pt x="45" y="290"/>
                    <a:pt x="53" y="267"/>
                  </a:cubicBezTo>
                  <a:cubicBezTo>
                    <a:pt x="53" y="252"/>
                    <a:pt x="76" y="244"/>
                    <a:pt x="91" y="229"/>
                  </a:cubicBezTo>
                  <a:cubicBezTo>
                    <a:pt x="99" y="221"/>
                    <a:pt x="130" y="229"/>
                    <a:pt x="130" y="214"/>
                  </a:cubicBezTo>
                  <a:cubicBezTo>
                    <a:pt x="130" y="198"/>
                    <a:pt x="99" y="191"/>
                    <a:pt x="91" y="175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63" name="Freeform 12"/>
            <p:cNvSpPr>
              <a:spLocks noChangeArrowheads="1"/>
            </p:cNvSpPr>
            <p:nvPr/>
          </p:nvSpPr>
          <p:spPr bwMode="auto">
            <a:xfrm>
              <a:off x="6736912" y="7104063"/>
              <a:ext cx="119055" cy="100012"/>
            </a:xfrm>
            <a:custGeom>
              <a:avLst/>
              <a:gdLst>
                <a:gd name="T0" fmla="*/ 0 w 329"/>
                <a:gd name="T1" fmla="*/ 91 h 276"/>
                <a:gd name="T2" fmla="*/ 0 w 329"/>
                <a:gd name="T3" fmla="*/ 91 h 276"/>
                <a:gd name="T4" fmla="*/ 7 w 329"/>
                <a:gd name="T5" fmla="*/ 137 h 276"/>
                <a:gd name="T6" fmla="*/ 38 w 329"/>
                <a:gd name="T7" fmla="*/ 152 h 276"/>
                <a:gd name="T8" fmla="*/ 30 w 329"/>
                <a:gd name="T9" fmla="*/ 206 h 276"/>
                <a:gd name="T10" fmla="*/ 30 w 329"/>
                <a:gd name="T11" fmla="*/ 206 h 276"/>
                <a:gd name="T12" fmla="*/ 91 w 329"/>
                <a:gd name="T13" fmla="*/ 252 h 276"/>
                <a:gd name="T14" fmla="*/ 122 w 329"/>
                <a:gd name="T15" fmla="*/ 252 h 276"/>
                <a:gd name="T16" fmla="*/ 160 w 329"/>
                <a:gd name="T17" fmla="*/ 275 h 276"/>
                <a:gd name="T18" fmla="*/ 236 w 329"/>
                <a:gd name="T19" fmla="*/ 275 h 276"/>
                <a:gd name="T20" fmla="*/ 236 w 329"/>
                <a:gd name="T21" fmla="*/ 275 h 276"/>
                <a:gd name="T22" fmla="*/ 290 w 329"/>
                <a:gd name="T23" fmla="*/ 206 h 276"/>
                <a:gd name="T24" fmla="*/ 305 w 329"/>
                <a:gd name="T25" fmla="*/ 114 h 276"/>
                <a:gd name="T26" fmla="*/ 328 w 329"/>
                <a:gd name="T27" fmla="*/ 61 h 276"/>
                <a:gd name="T28" fmla="*/ 328 w 329"/>
                <a:gd name="T29" fmla="*/ 61 h 276"/>
                <a:gd name="T30" fmla="*/ 290 w 329"/>
                <a:gd name="T31" fmla="*/ 23 h 276"/>
                <a:gd name="T32" fmla="*/ 190 w 329"/>
                <a:gd name="T33" fmla="*/ 0 h 276"/>
                <a:gd name="T34" fmla="*/ 167 w 329"/>
                <a:gd name="T35" fmla="*/ 30 h 276"/>
                <a:gd name="T36" fmla="*/ 114 w 329"/>
                <a:gd name="T37" fmla="*/ 38 h 276"/>
                <a:gd name="T38" fmla="*/ 83 w 329"/>
                <a:gd name="T39" fmla="*/ 91 h 276"/>
                <a:gd name="T40" fmla="*/ 0 w 329"/>
                <a:gd name="T41" fmla="*/ 91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9" h="276">
                  <a:moveTo>
                    <a:pt x="0" y="91"/>
                  </a:moveTo>
                  <a:lnTo>
                    <a:pt x="0" y="91"/>
                  </a:lnTo>
                  <a:cubicBezTo>
                    <a:pt x="0" y="107"/>
                    <a:pt x="7" y="122"/>
                    <a:pt x="7" y="137"/>
                  </a:cubicBezTo>
                  <a:cubicBezTo>
                    <a:pt x="15" y="145"/>
                    <a:pt x="38" y="145"/>
                    <a:pt x="38" y="152"/>
                  </a:cubicBezTo>
                  <a:cubicBezTo>
                    <a:pt x="45" y="168"/>
                    <a:pt x="30" y="191"/>
                    <a:pt x="30" y="206"/>
                  </a:cubicBezTo>
                  <a:lnTo>
                    <a:pt x="30" y="206"/>
                  </a:lnTo>
                  <a:cubicBezTo>
                    <a:pt x="53" y="221"/>
                    <a:pt x="68" y="244"/>
                    <a:pt x="91" y="252"/>
                  </a:cubicBezTo>
                  <a:cubicBezTo>
                    <a:pt x="106" y="259"/>
                    <a:pt x="114" y="252"/>
                    <a:pt x="122" y="252"/>
                  </a:cubicBezTo>
                  <a:cubicBezTo>
                    <a:pt x="137" y="259"/>
                    <a:pt x="152" y="267"/>
                    <a:pt x="160" y="275"/>
                  </a:cubicBezTo>
                  <a:cubicBezTo>
                    <a:pt x="183" y="275"/>
                    <a:pt x="213" y="275"/>
                    <a:pt x="236" y="275"/>
                  </a:cubicBezTo>
                  <a:lnTo>
                    <a:pt x="236" y="275"/>
                  </a:lnTo>
                  <a:cubicBezTo>
                    <a:pt x="252" y="252"/>
                    <a:pt x="282" y="229"/>
                    <a:pt x="290" y="206"/>
                  </a:cubicBezTo>
                  <a:cubicBezTo>
                    <a:pt x="305" y="175"/>
                    <a:pt x="297" y="145"/>
                    <a:pt x="305" y="114"/>
                  </a:cubicBezTo>
                  <a:cubicBezTo>
                    <a:pt x="305" y="99"/>
                    <a:pt x="320" y="84"/>
                    <a:pt x="328" y="61"/>
                  </a:cubicBezTo>
                  <a:lnTo>
                    <a:pt x="328" y="61"/>
                  </a:lnTo>
                  <a:cubicBezTo>
                    <a:pt x="313" y="53"/>
                    <a:pt x="305" y="30"/>
                    <a:pt x="290" y="23"/>
                  </a:cubicBezTo>
                  <a:cubicBezTo>
                    <a:pt x="259" y="7"/>
                    <a:pt x="221" y="0"/>
                    <a:pt x="190" y="0"/>
                  </a:cubicBezTo>
                  <a:cubicBezTo>
                    <a:pt x="175" y="7"/>
                    <a:pt x="183" y="30"/>
                    <a:pt x="167" y="30"/>
                  </a:cubicBezTo>
                  <a:cubicBezTo>
                    <a:pt x="152" y="38"/>
                    <a:pt x="129" y="30"/>
                    <a:pt x="114" y="38"/>
                  </a:cubicBezTo>
                  <a:cubicBezTo>
                    <a:pt x="99" y="53"/>
                    <a:pt x="99" y="84"/>
                    <a:pt x="83" y="91"/>
                  </a:cubicBezTo>
                  <a:cubicBezTo>
                    <a:pt x="61" y="99"/>
                    <a:pt x="30" y="91"/>
                    <a:pt x="0" y="9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64" name="Freeform 13"/>
            <p:cNvSpPr>
              <a:spLocks noChangeArrowheads="1"/>
            </p:cNvSpPr>
            <p:nvPr/>
          </p:nvSpPr>
          <p:spPr bwMode="auto">
            <a:xfrm>
              <a:off x="6694052" y="7178676"/>
              <a:ext cx="146040" cy="119063"/>
            </a:xfrm>
            <a:custGeom>
              <a:avLst/>
              <a:gdLst>
                <a:gd name="T0" fmla="*/ 145 w 406"/>
                <a:gd name="T1" fmla="*/ 0 h 329"/>
                <a:gd name="T2" fmla="*/ 145 w 406"/>
                <a:gd name="T3" fmla="*/ 0 h 329"/>
                <a:gd name="T4" fmla="*/ 206 w 406"/>
                <a:gd name="T5" fmla="*/ 46 h 329"/>
                <a:gd name="T6" fmla="*/ 237 w 406"/>
                <a:gd name="T7" fmla="*/ 46 h 329"/>
                <a:gd name="T8" fmla="*/ 275 w 406"/>
                <a:gd name="T9" fmla="*/ 69 h 329"/>
                <a:gd name="T10" fmla="*/ 351 w 406"/>
                <a:gd name="T11" fmla="*/ 69 h 329"/>
                <a:gd name="T12" fmla="*/ 351 w 406"/>
                <a:gd name="T13" fmla="*/ 69 h 329"/>
                <a:gd name="T14" fmla="*/ 405 w 406"/>
                <a:gd name="T15" fmla="*/ 115 h 329"/>
                <a:gd name="T16" fmla="*/ 367 w 406"/>
                <a:gd name="T17" fmla="*/ 191 h 329"/>
                <a:gd name="T18" fmla="*/ 344 w 406"/>
                <a:gd name="T19" fmla="*/ 214 h 329"/>
                <a:gd name="T20" fmla="*/ 344 w 406"/>
                <a:gd name="T21" fmla="*/ 214 h 329"/>
                <a:gd name="T22" fmla="*/ 290 w 406"/>
                <a:gd name="T23" fmla="*/ 252 h 329"/>
                <a:gd name="T24" fmla="*/ 244 w 406"/>
                <a:gd name="T25" fmla="*/ 237 h 329"/>
                <a:gd name="T26" fmla="*/ 176 w 406"/>
                <a:gd name="T27" fmla="*/ 237 h 329"/>
                <a:gd name="T28" fmla="*/ 153 w 406"/>
                <a:gd name="T29" fmla="*/ 328 h 329"/>
                <a:gd name="T30" fmla="*/ 99 w 406"/>
                <a:gd name="T31" fmla="*/ 305 h 329"/>
                <a:gd name="T32" fmla="*/ 99 w 406"/>
                <a:gd name="T33" fmla="*/ 267 h 329"/>
                <a:gd name="T34" fmla="*/ 15 w 406"/>
                <a:gd name="T35" fmla="*/ 237 h 329"/>
                <a:gd name="T36" fmla="*/ 15 w 406"/>
                <a:gd name="T37" fmla="*/ 237 h 329"/>
                <a:gd name="T38" fmla="*/ 8 w 406"/>
                <a:gd name="T39" fmla="*/ 138 h 329"/>
                <a:gd name="T40" fmla="*/ 46 w 406"/>
                <a:gd name="T41" fmla="*/ 130 h 329"/>
                <a:gd name="T42" fmla="*/ 84 w 406"/>
                <a:gd name="T43" fmla="*/ 53 h 329"/>
                <a:gd name="T44" fmla="*/ 107 w 406"/>
                <a:gd name="T45" fmla="*/ 46 h 329"/>
                <a:gd name="T46" fmla="*/ 145 w 406"/>
                <a:gd name="T47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6" h="329">
                  <a:moveTo>
                    <a:pt x="145" y="0"/>
                  </a:moveTo>
                  <a:lnTo>
                    <a:pt x="145" y="0"/>
                  </a:lnTo>
                  <a:cubicBezTo>
                    <a:pt x="168" y="15"/>
                    <a:pt x="183" y="38"/>
                    <a:pt x="206" y="46"/>
                  </a:cubicBezTo>
                  <a:cubicBezTo>
                    <a:pt x="221" y="53"/>
                    <a:pt x="229" y="46"/>
                    <a:pt x="237" y="46"/>
                  </a:cubicBezTo>
                  <a:cubicBezTo>
                    <a:pt x="252" y="53"/>
                    <a:pt x="267" y="61"/>
                    <a:pt x="275" y="69"/>
                  </a:cubicBezTo>
                  <a:cubicBezTo>
                    <a:pt x="298" y="69"/>
                    <a:pt x="328" y="69"/>
                    <a:pt x="351" y="69"/>
                  </a:cubicBezTo>
                  <a:lnTo>
                    <a:pt x="351" y="69"/>
                  </a:lnTo>
                  <a:cubicBezTo>
                    <a:pt x="367" y="84"/>
                    <a:pt x="397" y="92"/>
                    <a:pt x="405" y="115"/>
                  </a:cubicBezTo>
                  <a:cubicBezTo>
                    <a:pt x="405" y="145"/>
                    <a:pt x="382" y="168"/>
                    <a:pt x="367" y="191"/>
                  </a:cubicBezTo>
                  <a:cubicBezTo>
                    <a:pt x="367" y="199"/>
                    <a:pt x="351" y="206"/>
                    <a:pt x="344" y="214"/>
                  </a:cubicBezTo>
                  <a:lnTo>
                    <a:pt x="344" y="214"/>
                  </a:lnTo>
                  <a:cubicBezTo>
                    <a:pt x="321" y="229"/>
                    <a:pt x="313" y="252"/>
                    <a:pt x="290" y="252"/>
                  </a:cubicBezTo>
                  <a:cubicBezTo>
                    <a:pt x="275" y="260"/>
                    <a:pt x="260" y="237"/>
                    <a:pt x="244" y="237"/>
                  </a:cubicBezTo>
                  <a:cubicBezTo>
                    <a:pt x="221" y="229"/>
                    <a:pt x="198" y="237"/>
                    <a:pt x="176" y="237"/>
                  </a:cubicBezTo>
                  <a:cubicBezTo>
                    <a:pt x="176" y="237"/>
                    <a:pt x="153" y="321"/>
                    <a:pt x="153" y="328"/>
                  </a:cubicBezTo>
                  <a:cubicBezTo>
                    <a:pt x="145" y="328"/>
                    <a:pt x="99" y="305"/>
                    <a:pt x="99" y="305"/>
                  </a:cubicBezTo>
                  <a:cubicBezTo>
                    <a:pt x="92" y="305"/>
                    <a:pt x="99" y="267"/>
                    <a:pt x="99" y="267"/>
                  </a:cubicBezTo>
                  <a:cubicBezTo>
                    <a:pt x="69" y="260"/>
                    <a:pt x="46" y="252"/>
                    <a:pt x="15" y="237"/>
                  </a:cubicBezTo>
                  <a:lnTo>
                    <a:pt x="15" y="237"/>
                  </a:lnTo>
                  <a:cubicBezTo>
                    <a:pt x="15" y="206"/>
                    <a:pt x="0" y="168"/>
                    <a:pt x="8" y="138"/>
                  </a:cubicBezTo>
                  <a:cubicBezTo>
                    <a:pt x="8" y="122"/>
                    <a:pt x="38" y="138"/>
                    <a:pt x="46" y="130"/>
                  </a:cubicBezTo>
                  <a:cubicBezTo>
                    <a:pt x="69" y="107"/>
                    <a:pt x="69" y="76"/>
                    <a:pt x="84" y="53"/>
                  </a:cubicBezTo>
                  <a:cubicBezTo>
                    <a:pt x="84" y="46"/>
                    <a:pt x="99" y="53"/>
                    <a:pt x="107" y="46"/>
                  </a:cubicBezTo>
                  <a:cubicBezTo>
                    <a:pt x="122" y="31"/>
                    <a:pt x="130" y="15"/>
                    <a:pt x="145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65" name="Freeform 14"/>
            <p:cNvSpPr>
              <a:spLocks noChangeArrowheads="1"/>
            </p:cNvSpPr>
            <p:nvPr/>
          </p:nvSpPr>
          <p:spPr bwMode="auto">
            <a:xfrm>
              <a:off x="6203547" y="7239000"/>
              <a:ext cx="638133" cy="409575"/>
            </a:xfrm>
            <a:custGeom>
              <a:avLst/>
              <a:gdLst>
                <a:gd name="T0" fmla="*/ 580 w 1773"/>
                <a:gd name="T1" fmla="*/ 176 h 1139"/>
                <a:gd name="T2" fmla="*/ 687 w 1773"/>
                <a:gd name="T3" fmla="*/ 199 h 1139"/>
                <a:gd name="T4" fmla="*/ 825 w 1773"/>
                <a:gd name="T5" fmla="*/ 168 h 1139"/>
                <a:gd name="T6" fmla="*/ 848 w 1773"/>
                <a:gd name="T7" fmla="*/ 153 h 1139"/>
                <a:gd name="T8" fmla="*/ 947 w 1773"/>
                <a:gd name="T9" fmla="*/ 115 h 1139"/>
                <a:gd name="T10" fmla="*/ 1061 w 1773"/>
                <a:gd name="T11" fmla="*/ 46 h 1139"/>
                <a:gd name="T12" fmla="*/ 1100 w 1773"/>
                <a:gd name="T13" fmla="*/ 0 h 1139"/>
                <a:gd name="T14" fmla="*/ 1214 w 1773"/>
                <a:gd name="T15" fmla="*/ 53 h 1139"/>
                <a:gd name="T16" fmla="*/ 1275 w 1773"/>
                <a:gd name="T17" fmla="*/ 76 h 1139"/>
                <a:gd name="T18" fmla="*/ 1344 w 1773"/>
                <a:gd name="T19" fmla="*/ 84 h 1139"/>
                <a:gd name="T20" fmla="*/ 1382 w 1773"/>
                <a:gd name="T21" fmla="*/ 69 h 1139"/>
                <a:gd name="T22" fmla="*/ 1466 w 1773"/>
                <a:gd name="T23" fmla="*/ 137 h 1139"/>
                <a:gd name="T24" fmla="*/ 1543 w 1773"/>
                <a:gd name="T25" fmla="*/ 69 h 1139"/>
                <a:gd name="T26" fmla="*/ 1657 w 1773"/>
                <a:gd name="T27" fmla="*/ 84 h 1139"/>
                <a:gd name="T28" fmla="*/ 1711 w 1773"/>
                <a:gd name="T29" fmla="*/ 46 h 1139"/>
                <a:gd name="T30" fmla="*/ 1734 w 1773"/>
                <a:gd name="T31" fmla="*/ 176 h 1139"/>
                <a:gd name="T32" fmla="*/ 1772 w 1773"/>
                <a:gd name="T33" fmla="*/ 389 h 1139"/>
                <a:gd name="T34" fmla="*/ 1764 w 1773"/>
                <a:gd name="T35" fmla="*/ 466 h 1139"/>
                <a:gd name="T36" fmla="*/ 1718 w 1773"/>
                <a:gd name="T37" fmla="*/ 520 h 1139"/>
                <a:gd name="T38" fmla="*/ 1634 w 1773"/>
                <a:gd name="T39" fmla="*/ 588 h 1139"/>
                <a:gd name="T40" fmla="*/ 1482 w 1773"/>
                <a:gd name="T41" fmla="*/ 626 h 1139"/>
                <a:gd name="T42" fmla="*/ 1214 w 1773"/>
                <a:gd name="T43" fmla="*/ 779 h 1139"/>
                <a:gd name="T44" fmla="*/ 1107 w 1773"/>
                <a:gd name="T45" fmla="*/ 909 h 1139"/>
                <a:gd name="T46" fmla="*/ 1100 w 1773"/>
                <a:gd name="T47" fmla="*/ 1001 h 1139"/>
                <a:gd name="T48" fmla="*/ 993 w 1773"/>
                <a:gd name="T49" fmla="*/ 1085 h 1139"/>
                <a:gd name="T50" fmla="*/ 848 w 1773"/>
                <a:gd name="T51" fmla="*/ 1131 h 1139"/>
                <a:gd name="T52" fmla="*/ 756 w 1773"/>
                <a:gd name="T53" fmla="*/ 1031 h 1139"/>
                <a:gd name="T54" fmla="*/ 596 w 1773"/>
                <a:gd name="T55" fmla="*/ 1069 h 1139"/>
                <a:gd name="T56" fmla="*/ 573 w 1773"/>
                <a:gd name="T57" fmla="*/ 1054 h 1139"/>
                <a:gd name="T58" fmla="*/ 504 w 1773"/>
                <a:gd name="T59" fmla="*/ 1031 h 1139"/>
                <a:gd name="T60" fmla="*/ 404 w 1773"/>
                <a:gd name="T61" fmla="*/ 886 h 1139"/>
                <a:gd name="T62" fmla="*/ 290 w 1773"/>
                <a:gd name="T63" fmla="*/ 703 h 1139"/>
                <a:gd name="T64" fmla="*/ 236 w 1773"/>
                <a:gd name="T65" fmla="*/ 634 h 1139"/>
                <a:gd name="T66" fmla="*/ 206 w 1773"/>
                <a:gd name="T67" fmla="*/ 603 h 1139"/>
                <a:gd name="T68" fmla="*/ 114 w 1773"/>
                <a:gd name="T69" fmla="*/ 351 h 1139"/>
                <a:gd name="T70" fmla="*/ 46 w 1773"/>
                <a:gd name="T71" fmla="*/ 321 h 1139"/>
                <a:gd name="T72" fmla="*/ 0 w 1773"/>
                <a:gd name="T73" fmla="*/ 237 h 1139"/>
                <a:gd name="T74" fmla="*/ 137 w 1773"/>
                <a:gd name="T75" fmla="*/ 206 h 1139"/>
                <a:gd name="T76" fmla="*/ 275 w 1773"/>
                <a:gd name="T77" fmla="*/ 206 h 1139"/>
                <a:gd name="T78" fmla="*/ 580 w 1773"/>
                <a:gd name="T79" fmla="*/ 176 h 1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73" h="1139">
                  <a:moveTo>
                    <a:pt x="580" y="176"/>
                  </a:moveTo>
                  <a:lnTo>
                    <a:pt x="580" y="176"/>
                  </a:lnTo>
                  <a:cubicBezTo>
                    <a:pt x="596" y="183"/>
                    <a:pt x="596" y="191"/>
                    <a:pt x="618" y="191"/>
                  </a:cubicBezTo>
                  <a:cubicBezTo>
                    <a:pt x="641" y="199"/>
                    <a:pt x="664" y="199"/>
                    <a:pt x="687" y="199"/>
                  </a:cubicBezTo>
                  <a:cubicBezTo>
                    <a:pt x="710" y="199"/>
                    <a:pt x="733" y="199"/>
                    <a:pt x="756" y="191"/>
                  </a:cubicBezTo>
                  <a:cubicBezTo>
                    <a:pt x="779" y="191"/>
                    <a:pt x="802" y="176"/>
                    <a:pt x="825" y="168"/>
                  </a:cubicBezTo>
                  <a:lnTo>
                    <a:pt x="825" y="168"/>
                  </a:lnTo>
                  <a:cubicBezTo>
                    <a:pt x="832" y="160"/>
                    <a:pt x="840" y="153"/>
                    <a:pt x="848" y="153"/>
                  </a:cubicBezTo>
                  <a:cubicBezTo>
                    <a:pt x="863" y="153"/>
                    <a:pt x="878" y="160"/>
                    <a:pt x="886" y="160"/>
                  </a:cubicBezTo>
                  <a:cubicBezTo>
                    <a:pt x="909" y="145"/>
                    <a:pt x="924" y="130"/>
                    <a:pt x="947" y="115"/>
                  </a:cubicBezTo>
                  <a:cubicBezTo>
                    <a:pt x="962" y="92"/>
                    <a:pt x="970" y="61"/>
                    <a:pt x="993" y="53"/>
                  </a:cubicBezTo>
                  <a:cubicBezTo>
                    <a:pt x="1015" y="38"/>
                    <a:pt x="1038" y="61"/>
                    <a:pt x="1061" y="46"/>
                  </a:cubicBezTo>
                  <a:cubicBezTo>
                    <a:pt x="1077" y="38"/>
                    <a:pt x="1084" y="15"/>
                    <a:pt x="1100" y="0"/>
                  </a:cubicBezTo>
                  <a:lnTo>
                    <a:pt x="1100" y="0"/>
                  </a:lnTo>
                  <a:cubicBezTo>
                    <a:pt x="1123" y="23"/>
                    <a:pt x="1145" y="46"/>
                    <a:pt x="1176" y="61"/>
                  </a:cubicBezTo>
                  <a:cubicBezTo>
                    <a:pt x="1191" y="69"/>
                    <a:pt x="1207" y="53"/>
                    <a:pt x="1214" y="53"/>
                  </a:cubicBezTo>
                  <a:cubicBezTo>
                    <a:pt x="1237" y="61"/>
                    <a:pt x="1252" y="84"/>
                    <a:pt x="1275" y="76"/>
                  </a:cubicBezTo>
                  <a:lnTo>
                    <a:pt x="1275" y="76"/>
                  </a:lnTo>
                  <a:cubicBezTo>
                    <a:pt x="1344" y="84"/>
                    <a:pt x="1344" y="84"/>
                    <a:pt x="1344" y="84"/>
                  </a:cubicBezTo>
                  <a:lnTo>
                    <a:pt x="1344" y="84"/>
                  </a:lnTo>
                  <a:cubicBezTo>
                    <a:pt x="1382" y="69"/>
                    <a:pt x="1382" y="69"/>
                    <a:pt x="1382" y="69"/>
                  </a:cubicBezTo>
                  <a:lnTo>
                    <a:pt x="1382" y="69"/>
                  </a:lnTo>
                  <a:cubicBezTo>
                    <a:pt x="1413" y="84"/>
                    <a:pt x="1436" y="92"/>
                    <a:pt x="1466" y="99"/>
                  </a:cubicBezTo>
                  <a:cubicBezTo>
                    <a:pt x="1466" y="99"/>
                    <a:pt x="1459" y="137"/>
                    <a:pt x="1466" y="137"/>
                  </a:cubicBezTo>
                  <a:cubicBezTo>
                    <a:pt x="1466" y="137"/>
                    <a:pt x="1512" y="160"/>
                    <a:pt x="1520" y="160"/>
                  </a:cubicBezTo>
                  <a:cubicBezTo>
                    <a:pt x="1520" y="153"/>
                    <a:pt x="1543" y="69"/>
                    <a:pt x="1543" y="69"/>
                  </a:cubicBezTo>
                  <a:cubicBezTo>
                    <a:pt x="1565" y="69"/>
                    <a:pt x="1588" y="61"/>
                    <a:pt x="1611" y="69"/>
                  </a:cubicBezTo>
                  <a:cubicBezTo>
                    <a:pt x="1627" y="69"/>
                    <a:pt x="1642" y="92"/>
                    <a:pt x="1657" y="84"/>
                  </a:cubicBezTo>
                  <a:cubicBezTo>
                    <a:pt x="1680" y="84"/>
                    <a:pt x="1688" y="61"/>
                    <a:pt x="1711" y="46"/>
                  </a:cubicBezTo>
                  <a:lnTo>
                    <a:pt x="1711" y="46"/>
                  </a:lnTo>
                  <a:cubicBezTo>
                    <a:pt x="1718" y="61"/>
                    <a:pt x="1734" y="76"/>
                    <a:pt x="1734" y="99"/>
                  </a:cubicBezTo>
                  <a:cubicBezTo>
                    <a:pt x="1741" y="122"/>
                    <a:pt x="1734" y="153"/>
                    <a:pt x="1734" y="176"/>
                  </a:cubicBezTo>
                  <a:cubicBezTo>
                    <a:pt x="1734" y="222"/>
                    <a:pt x="1726" y="260"/>
                    <a:pt x="1734" y="298"/>
                  </a:cubicBezTo>
                  <a:cubicBezTo>
                    <a:pt x="1741" y="336"/>
                    <a:pt x="1764" y="359"/>
                    <a:pt x="1772" y="389"/>
                  </a:cubicBezTo>
                  <a:cubicBezTo>
                    <a:pt x="1772" y="405"/>
                    <a:pt x="1764" y="412"/>
                    <a:pt x="1764" y="420"/>
                  </a:cubicBezTo>
                  <a:cubicBezTo>
                    <a:pt x="1764" y="435"/>
                    <a:pt x="1764" y="451"/>
                    <a:pt x="1764" y="466"/>
                  </a:cubicBezTo>
                  <a:lnTo>
                    <a:pt x="1764" y="466"/>
                  </a:lnTo>
                  <a:cubicBezTo>
                    <a:pt x="1749" y="481"/>
                    <a:pt x="1741" y="504"/>
                    <a:pt x="1718" y="520"/>
                  </a:cubicBezTo>
                  <a:cubicBezTo>
                    <a:pt x="1711" y="520"/>
                    <a:pt x="1695" y="512"/>
                    <a:pt x="1688" y="520"/>
                  </a:cubicBezTo>
                  <a:cubicBezTo>
                    <a:pt x="1657" y="535"/>
                    <a:pt x="1657" y="581"/>
                    <a:pt x="1634" y="588"/>
                  </a:cubicBezTo>
                  <a:cubicBezTo>
                    <a:pt x="1588" y="596"/>
                    <a:pt x="1558" y="535"/>
                    <a:pt x="1520" y="542"/>
                  </a:cubicBezTo>
                  <a:cubicBezTo>
                    <a:pt x="1489" y="550"/>
                    <a:pt x="1504" y="603"/>
                    <a:pt x="1482" y="626"/>
                  </a:cubicBezTo>
                  <a:cubicBezTo>
                    <a:pt x="1443" y="680"/>
                    <a:pt x="1405" y="741"/>
                    <a:pt x="1352" y="772"/>
                  </a:cubicBezTo>
                  <a:cubicBezTo>
                    <a:pt x="1313" y="795"/>
                    <a:pt x="1252" y="756"/>
                    <a:pt x="1214" y="779"/>
                  </a:cubicBezTo>
                  <a:cubicBezTo>
                    <a:pt x="1184" y="795"/>
                    <a:pt x="1176" y="833"/>
                    <a:pt x="1161" y="863"/>
                  </a:cubicBezTo>
                  <a:cubicBezTo>
                    <a:pt x="1145" y="878"/>
                    <a:pt x="1123" y="894"/>
                    <a:pt x="1107" y="909"/>
                  </a:cubicBezTo>
                  <a:cubicBezTo>
                    <a:pt x="1100" y="939"/>
                    <a:pt x="1100" y="970"/>
                    <a:pt x="1100" y="1001"/>
                  </a:cubicBezTo>
                  <a:lnTo>
                    <a:pt x="1100" y="1001"/>
                  </a:lnTo>
                  <a:cubicBezTo>
                    <a:pt x="1100" y="1001"/>
                    <a:pt x="1015" y="1039"/>
                    <a:pt x="1008" y="1039"/>
                  </a:cubicBezTo>
                  <a:cubicBezTo>
                    <a:pt x="993" y="1047"/>
                    <a:pt x="993" y="1085"/>
                    <a:pt x="993" y="1085"/>
                  </a:cubicBezTo>
                  <a:cubicBezTo>
                    <a:pt x="954" y="1077"/>
                    <a:pt x="916" y="1054"/>
                    <a:pt x="878" y="1069"/>
                  </a:cubicBezTo>
                  <a:cubicBezTo>
                    <a:pt x="855" y="1077"/>
                    <a:pt x="871" y="1131"/>
                    <a:pt x="848" y="1131"/>
                  </a:cubicBezTo>
                  <a:cubicBezTo>
                    <a:pt x="817" y="1138"/>
                    <a:pt x="786" y="1115"/>
                    <a:pt x="763" y="1092"/>
                  </a:cubicBezTo>
                  <a:cubicBezTo>
                    <a:pt x="756" y="1077"/>
                    <a:pt x="771" y="1047"/>
                    <a:pt x="756" y="1031"/>
                  </a:cubicBezTo>
                  <a:cubicBezTo>
                    <a:pt x="733" y="1008"/>
                    <a:pt x="702" y="1008"/>
                    <a:pt x="679" y="1016"/>
                  </a:cubicBezTo>
                  <a:cubicBezTo>
                    <a:pt x="649" y="1024"/>
                    <a:pt x="626" y="1054"/>
                    <a:pt x="596" y="1069"/>
                  </a:cubicBezTo>
                  <a:lnTo>
                    <a:pt x="596" y="1069"/>
                  </a:lnTo>
                  <a:cubicBezTo>
                    <a:pt x="596" y="1062"/>
                    <a:pt x="580" y="1054"/>
                    <a:pt x="573" y="1054"/>
                  </a:cubicBezTo>
                  <a:cubicBezTo>
                    <a:pt x="565" y="1047"/>
                    <a:pt x="557" y="1039"/>
                    <a:pt x="550" y="1031"/>
                  </a:cubicBezTo>
                  <a:cubicBezTo>
                    <a:pt x="527" y="1008"/>
                    <a:pt x="534" y="1016"/>
                    <a:pt x="504" y="1031"/>
                  </a:cubicBezTo>
                  <a:cubicBezTo>
                    <a:pt x="427" y="1077"/>
                    <a:pt x="466" y="985"/>
                    <a:pt x="435" y="962"/>
                  </a:cubicBezTo>
                  <a:cubicBezTo>
                    <a:pt x="404" y="932"/>
                    <a:pt x="404" y="932"/>
                    <a:pt x="404" y="886"/>
                  </a:cubicBezTo>
                  <a:cubicBezTo>
                    <a:pt x="412" y="825"/>
                    <a:pt x="359" y="795"/>
                    <a:pt x="343" y="749"/>
                  </a:cubicBezTo>
                  <a:cubicBezTo>
                    <a:pt x="336" y="741"/>
                    <a:pt x="305" y="710"/>
                    <a:pt x="290" y="703"/>
                  </a:cubicBezTo>
                  <a:cubicBezTo>
                    <a:pt x="267" y="687"/>
                    <a:pt x="252" y="657"/>
                    <a:pt x="236" y="634"/>
                  </a:cubicBezTo>
                  <a:lnTo>
                    <a:pt x="236" y="634"/>
                  </a:lnTo>
                  <a:cubicBezTo>
                    <a:pt x="229" y="626"/>
                    <a:pt x="198" y="611"/>
                    <a:pt x="206" y="603"/>
                  </a:cubicBezTo>
                  <a:lnTo>
                    <a:pt x="206" y="603"/>
                  </a:lnTo>
                  <a:cubicBezTo>
                    <a:pt x="282" y="581"/>
                    <a:pt x="336" y="573"/>
                    <a:pt x="282" y="481"/>
                  </a:cubicBezTo>
                  <a:cubicBezTo>
                    <a:pt x="244" y="428"/>
                    <a:pt x="175" y="382"/>
                    <a:pt x="114" y="351"/>
                  </a:cubicBezTo>
                  <a:cubicBezTo>
                    <a:pt x="46" y="321"/>
                    <a:pt x="46" y="321"/>
                    <a:pt x="46" y="321"/>
                  </a:cubicBezTo>
                  <a:lnTo>
                    <a:pt x="46" y="321"/>
                  </a:lnTo>
                  <a:cubicBezTo>
                    <a:pt x="30" y="290"/>
                    <a:pt x="15" y="267"/>
                    <a:pt x="0" y="237"/>
                  </a:cubicBezTo>
                  <a:lnTo>
                    <a:pt x="0" y="237"/>
                  </a:lnTo>
                  <a:cubicBezTo>
                    <a:pt x="15" y="229"/>
                    <a:pt x="61" y="183"/>
                    <a:pt x="84" y="183"/>
                  </a:cubicBezTo>
                  <a:cubicBezTo>
                    <a:pt x="107" y="176"/>
                    <a:pt x="114" y="199"/>
                    <a:pt x="137" y="206"/>
                  </a:cubicBezTo>
                  <a:cubicBezTo>
                    <a:pt x="175" y="214"/>
                    <a:pt x="236" y="214"/>
                    <a:pt x="275" y="206"/>
                  </a:cubicBezTo>
                  <a:lnTo>
                    <a:pt x="275" y="206"/>
                  </a:lnTo>
                  <a:cubicBezTo>
                    <a:pt x="343" y="290"/>
                    <a:pt x="427" y="336"/>
                    <a:pt x="511" y="275"/>
                  </a:cubicBezTo>
                  <a:cubicBezTo>
                    <a:pt x="527" y="260"/>
                    <a:pt x="565" y="214"/>
                    <a:pt x="580" y="17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66" name="Freeform 15"/>
            <p:cNvSpPr>
              <a:spLocks noChangeArrowheads="1"/>
            </p:cNvSpPr>
            <p:nvPr/>
          </p:nvSpPr>
          <p:spPr bwMode="auto">
            <a:xfrm>
              <a:off x="6043220" y="7272338"/>
              <a:ext cx="280969" cy="258762"/>
            </a:xfrm>
            <a:custGeom>
              <a:avLst/>
              <a:gdLst>
                <a:gd name="T0" fmla="*/ 488 w 779"/>
                <a:gd name="T1" fmla="*/ 229 h 719"/>
                <a:gd name="T2" fmla="*/ 488 w 779"/>
                <a:gd name="T3" fmla="*/ 229 h 719"/>
                <a:gd name="T4" fmla="*/ 518 w 779"/>
                <a:gd name="T5" fmla="*/ 343 h 719"/>
                <a:gd name="T6" fmla="*/ 114 w 779"/>
                <a:gd name="T7" fmla="*/ 0 h 719"/>
                <a:gd name="T8" fmla="*/ 30 w 779"/>
                <a:gd name="T9" fmla="*/ 7 h 719"/>
                <a:gd name="T10" fmla="*/ 30 w 779"/>
                <a:gd name="T11" fmla="*/ 7 h 719"/>
                <a:gd name="T12" fmla="*/ 0 w 779"/>
                <a:gd name="T13" fmla="*/ 99 h 719"/>
                <a:gd name="T14" fmla="*/ 30 w 779"/>
                <a:gd name="T15" fmla="*/ 160 h 719"/>
                <a:gd name="T16" fmla="*/ 61 w 779"/>
                <a:gd name="T17" fmla="*/ 145 h 719"/>
                <a:gd name="T18" fmla="*/ 91 w 779"/>
                <a:gd name="T19" fmla="*/ 198 h 719"/>
                <a:gd name="T20" fmla="*/ 61 w 779"/>
                <a:gd name="T21" fmla="*/ 236 h 719"/>
                <a:gd name="T22" fmla="*/ 84 w 779"/>
                <a:gd name="T23" fmla="*/ 282 h 719"/>
                <a:gd name="T24" fmla="*/ 122 w 779"/>
                <a:gd name="T25" fmla="*/ 297 h 719"/>
                <a:gd name="T26" fmla="*/ 130 w 779"/>
                <a:gd name="T27" fmla="*/ 374 h 719"/>
                <a:gd name="T28" fmla="*/ 168 w 779"/>
                <a:gd name="T29" fmla="*/ 435 h 719"/>
                <a:gd name="T30" fmla="*/ 221 w 779"/>
                <a:gd name="T31" fmla="*/ 519 h 719"/>
                <a:gd name="T32" fmla="*/ 296 w 779"/>
                <a:gd name="T33" fmla="*/ 504 h 719"/>
                <a:gd name="T34" fmla="*/ 327 w 779"/>
                <a:gd name="T35" fmla="*/ 511 h 719"/>
                <a:gd name="T36" fmla="*/ 335 w 779"/>
                <a:gd name="T37" fmla="*/ 618 h 719"/>
                <a:gd name="T38" fmla="*/ 381 w 779"/>
                <a:gd name="T39" fmla="*/ 626 h 719"/>
                <a:gd name="T40" fmla="*/ 404 w 779"/>
                <a:gd name="T41" fmla="*/ 718 h 719"/>
                <a:gd name="T42" fmla="*/ 404 w 779"/>
                <a:gd name="T43" fmla="*/ 718 h 719"/>
                <a:gd name="T44" fmla="*/ 472 w 779"/>
                <a:gd name="T45" fmla="*/ 687 h 719"/>
                <a:gd name="T46" fmla="*/ 549 w 779"/>
                <a:gd name="T47" fmla="*/ 664 h 719"/>
                <a:gd name="T48" fmla="*/ 602 w 779"/>
                <a:gd name="T49" fmla="*/ 588 h 719"/>
                <a:gd name="T50" fmla="*/ 678 w 779"/>
                <a:gd name="T51" fmla="*/ 542 h 719"/>
                <a:gd name="T52" fmla="*/ 678 w 779"/>
                <a:gd name="T53" fmla="*/ 542 h 719"/>
                <a:gd name="T54" fmla="*/ 648 w 779"/>
                <a:gd name="T55" fmla="*/ 511 h 719"/>
                <a:gd name="T56" fmla="*/ 648 w 779"/>
                <a:gd name="T57" fmla="*/ 511 h 719"/>
                <a:gd name="T58" fmla="*/ 724 w 779"/>
                <a:gd name="T59" fmla="*/ 389 h 719"/>
                <a:gd name="T60" fmla="*/ 556 w 779"/>
                <a:gd name="T61" fmla="*/ 259 h 719"/>
                <a:gd name="T62" fmla="*/ 488 w 779"/>
                <a:gd name="T63" fmla="*/ 229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79" h="719">
                  <a:moveTo>
                    <a:pt x="488" y="229"/>
                  </a:moveTo>
                  <a:lnTo>
                    <a:pt x="488" y="229"/>
                  </a:lnTo>
                  <a:cubicBezTo>
                    <a:pt x="503" y="259"/>
                    <a:pt x="518" y="297"/>
                    <a:pt x="518" y="343"/>
                  </a:cubicBezTo>
                  <a:cubicBezTo>
                    <a:pt x="426" y="366"/>
                    <a:pt x="206" y="0"/>
                    <a:pt x="114" y="0"/>
                  </a:cubicBezTo>
                  <a:cubicBezTo>
                    <a:pt x="84" y="0"/>
                    <a:pt x="61" y="0"/>
                    <a:pt x="30" y="7"/>
                  </a:cubicBezTo>
                  <a:lnTo>
                    <a:pt x="30" y="7"/>
                  </a:lnTo>
                  <a:cubicBezTo>
                    <a:pt x="22" y="45"/>
                    <a:pt x="7" y="53"/>
                    <a:pt x="0" y="99"/>
                  </a:cubicBezTo>
                  <a:cubicBezTo>
                    <a:pt x="0" y="114"/>
                    <a:pt x="15" y="145"/>
                    <a:pt x="30" y="160"/>
                  </a:cubicBezTo>
                  <a:cubicBezTo>
                    <a:pt x="38" y="160"/>
                    <a:pt x="53" y="145"/>
                    <a:pt x="61" y="145"/>
                  </a:cubicBezTo>
                  <a:cubicBezTo>
                    <a:pt x="76" y="160"/>
                    <a:pt x="91" y="175"/>
                    <a:pt x="91" y="198"/>
                  </a:cubicBezTo>
                  <a:cubicBezTo>
                    <a:pt x="91" y="214"/>
                    <a:pt x="61" y="221"/>
                    <a:pt x="61" y="236"/>
                  </a:cubicBezTo>
                  <a:cubicBezTo>
                    <a:pt x="61" y="252"/>
                    <a:pt x="76" y="267"/>
                    <a:pt x="84" y="282"/>
                  </a:cubicBezTo>
                  <a:cubicBezTo>
                    <a:pt x="99" y="290"/>
                    <a:pt x="122" y="282"/>
                    <a:pt x="122" y="297"/>
                  </a:cubicBezTo>
                  <a:cubicBezTo>
                    <a:pt x="137" y="320"/>
                    <a:pt x="122" y="351"/>
                    <a:pt x="130" y="374"/>
                  </a:cubicBezTo>
                  <a:cubicBezTo>
                    <a:pt x="137" y="397"/>
                    <a:pt x="160" y="412"/>
                    <a:pt x="168" y="435"/>
                  </a:cubicBezTo>
                  <a:cubicBezTo>
                    <a:pt x="191" y="458"/>
                    <a:pt x="191" y="504"/>
                    <a:pt x="221" y="519"/>
                  </a:cubicBezTo>
                  <a:cubicBezTo>
                    <a:pt x="244" y="527"/>
                    <a:pt x="275" y="504"/>
                    <a:pt x="296" y="504"/>
                  </a:cubicBezTo>
                  <a:cubicBezTo>
                    <a:pt x="304" y="504"/>
                    <a:pt x="327" y="504"/>
                    <a:pt x="327" y="511"/>
                  </a:cubicBezTo>
                  <a:cubicBezTo>
                    <a:pt x="342" y="550"/>
                    <a:pt x="319" y="588"/>
                    <a:pt x="335" y="618"/>
                  </a:cubicBezTo>
                  <a:cubicBezTo>
                    <a:pt x="342" y="634"/>
                    <a:pt x="373" y="618"/>
                    <a:pt x="381" y="626"/>
                  </a:cubicBezTo>
                  <a:cubicBezTo>
                    <a:pt x="396" y="657"/>
                    <a:pt x="396" y="687"/>
                    <a:pt x="404" y="718"/>
                  </a:cubicBezTo>
                  <a:lnTo>
                    <a:pt x="404" y="718"/>
                  </a:lnTo>
                  <a:cubicBezTo>
                    <a:pt x="426" y="710"/>
                    <a:pt x="449" y="695"/>
                    <a:pt x="472" y="687"/>
                  </a:cubicBezTo>
                  <a:cubicBezTo>
                    <a:pt x="495" y="680"/>
                    <a:pt x="533" y="680"/>
                    <a:pt x="549" y="664"/>
                  </a:cubicBezTo>
                  <a:cubicBezTo>
                    <a:pt x="571" y="641"/>
                    <a:pt x="579" y="611"/>
                    <a:pt x="602" y="588"/>
                  </a:cubicBezTo>
                  <a:cubicBezTo>
                    <a:pt x="625" y="572"/>
                    <a:pt x="648" y="557"/>
                    <a:pt x="678" y="542"/>
                  </a:cubicBezTo>
                  <a:lnTo>
                    <a:pt x="678" y="542"/>
                  </a:lnTo>
                  <a:cubicBezTo>
                    <a:pt x="671" y="534"/>
                    <a:pt x="640" y="519"/>
                    <a:pt x="648" y="511"/>
                  </a:cubicBezTo>
                  <a:lnTo>
                    <a:pt x="648" y="511"/>
                  </a:lnTo>
                  <a:cubicBezTo>
                    <a:pt x="724" y="489"/>
                    <a:pt x="778" y="481"/>
                    <a:pt x="724" y="389"/>
                  </a:cubicBezTo>
                  <a:cubicBezTo>
                    <a:pt x="686" y="336"/>
                    <a:pt x="617" y="290"/>
                    <a:pt x="556" y="259"/>
                  </a:cubicBezTo>
                  <a:cubicBezTo>
                    <a:pt x="488" y="229"/>
                    <a:pt x="488" y="229"/>
                    <a:pt x="488" y="229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67" name="Freeform 16"/>
            <p:cNvSpPr>
              <a:spLocks noChangeArrowheads="1"/>
            </p:cNvSpPr>
            <p:nvPr/>
          </p:nvSpPr>
          <p:spPr bwMode="auto">
            <a:xfrm>
              <a:off x="6054330" y="7466013"/>
              <a:ext cx="374626" cy="258762"/>
            </a:xfrm>
            <a:custGeom>
              <a:avLst/>
              <a:gdLst>
                <a:gd name="T0" fmla="*/ 1008 w 1039"/>
                <a:gd name="T1" fmla="*/ 435 h 719"/>
                <a:gd name="T2" fmla="*/ 1008 w 1039"/>
                <a:gd name="T3" fmla="*/ 435 h 719"/>
                <a:gd name="T4" fmla="*/ 985 w 1039"/>
                <a:gd name="T5" fmla="*/ 420 h 719"/>
                <a:gd name="T6" fmla="*/ 962 w 1039"/>
                <a:gd name="T7" fmla="*/ 397 h 719"/>
                <a:gd name="T8" fmla="*/ 916 w 1039"/>
                <a:gd name="T9" fmla="*/ 397 h 719"/>
                <a:gd name="T10" fmla="*/ 847 w 1039"/>
                <a:gd name="T11" fmla="*/ 328 h 719"/>
                <a:gd name="T12" fmla="*/ 816 w 1039"/>
                <a:gd name="T13" fmla="*/ 252 h 719"/>
                <a:gd name="T14" fmla="*/ 755 w 1039"/>
                <a:gd name="T15" fmla="*/ 115 h 719"/>
                <a:gd name="T16" fmla="*/ 702 w 1039"/>
                <a:gd name="T17" fmla="*/ 69 h 719"/>
                <a:gd name="T18" fmla="*/ 648 w 1039"/>
                <a:gd name="T19" fmla="*/ 0 h 719"/>
                <a:gd name="T20" fmla="*/ 648 w 1039"/>
                <a:gd name="T21" fmla="*/ 0 h 719"/>
                <a:gd name="T22" fmla="*/ 572 w 1039"/>
                <a:gd name="T23" fmla="*/ 46 h 719"/>
                <a:gd name="T24" fmla="*/ 519 w 1039"/>
                <a:gd name="T25" fmla="*/ 122 h 719"/>
                <a:gd name="T26" fmla="*/ 442 w 1039"/>
                <a:gd name="T27" fmla="*/ 145 h 719"/>
                <a:gd name="T28" fmla="*/ 374 w 1039"/>
                <a:gd name="T29" fmla="*/ 176 h 719"/>
                <a:gd name="T30" fmla="*/ 374 w 1039"/>
                <a:gd name="T31" fmla="*/ 176 h 719"/>
                <a:gd name="T32" fmla="*/ 358 w 1039"/>
                <a:gd name="T33" fmla="*/ 260 h 719"/>
                <a:gd name="T34" fmla="*/ 381 w 1039"/>
                <a:gd name="T35" fmla="*/ 290 h 719"/>
                <a:gd name="T36" fmla="*/ 358 w 1039"/>
                <a:gd name="T37" fmla="*/ 382 h 719"/>
                <a:gd name="T38" fmla="*/ 458 w 1039"/>
                <a:gd name="T39" fmla="*/ 420 h 719"/>
                <a:gd name="T40" fmla="*/ 442 w 1039"/>
                <a:gd name="T41" fmla="*/ 481 h 719"/>
                <a:gd name="T42" fmla="*/ 274 w 1039"/>
                <a:gd name="T43" fmla="*/ 497 h 719"/>
                <a:gd name="T44" fmla="*/ 100 w 1039"/>
                <a:gd name="T45" fmla="*/ 512 h 719"/>
                <a:gd name="T46" fmla="*/ 0 w 1039"/>
                <a:gd name="T47" fmla="*/ 665 h 719"/>
                <a:gd name="T48" fmla="*/ 0 w 1039"/>
                <a:gd name="T49" fmla="*/ 665 h 719"/>
                <a:gd name="T50" fmla="*/ 92 w 1039"/>
                <a:gd name="T51" fmla="*/ 687 h 719"/>
                <a:gd name="T52" fmla="*/ 206 w 1039"/>
                <a:gd name="T53" fmla="*/ 710 h 719"/>
                <a:gd name="T54" fmla="*/ 305 w 1039"/>
                <a:gd name="T55" fmla="*/ 634 h 719"/>
                <a:gd name="T56" fmla="*/ 366 w 1039"/>
                <a:gd name="T57" fmla="*/ 680 h 719"/>
                <a:gd name="T58" fmla="*/ 366 w 1039"/>
                <a:gd name="T59" fmla="*/ 680 h 719"/>
                <a:gd name="T60" fmla="*/ 419 w 1039"/>
                <a:gd name="T61" fmla="*/ 649 h 719"/>
                <a:gd name="T62" fmla="*/ 519 w 1039"/>
                <a:gd name="T63" fmla="*/ 573 h 719"/>
                <a:gd name="T64" fmla="*/ 587 w 1039"/>
                <a:gd name="T65" fmla="*/ 504 h 719"/>
                <a:gd name="T66" fmla="*/ 633 w 1039"/>
                <a:gd name="T67" fmla="*/ 474 h 719"/>
                <a:gd name="T68" fmla="*/ 763 w 1039"/>
                <a:gd name="T69" fmla="*/ 519 h 719"/>
                <a:gd name="T70" fmla="*/ 885 w 1039"/>
                <a:gd name="T71" fmla="*/ 588 h 719"/>
                <a:gd name="T72" fmla="*/ 939 w 1039"/>
                <a:gd name="T73" fmla="*/ 619 h 719"/>
                <a:gd name="T74" fmla="*/ 1023 w 1039"/>
                <a:gd name="T75" fmla="*/ 512 h 719"/>
                <a:gd name="T76" fmla="*/ 1008 w 1039"/>
                <a:gd name="T77" fmla="*/ 435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39" h="719">
                  <a:moveTo>
                    <a:pt x="1008" y="435"/>
                  </a:moveTo>
                  <a:lnTo>
                    <a:pt x="1008" y="435"/>
                  </a:lnTo>
                  <a:cubicBezTo>
                    <a:pt x="1008" y="428"/>
                    <a:pt x="992" y="420"/>
                    <a:pt x="985" y="420"/>
                  </a:cubicBezTo>
                  <a:cubicBezTo>
                    <a:pt x="977" y="413"/>
                    <a:pt x="969" y="405"/>
                    <a:pt x="962" y="397"/>
                  </a:cubicBezTo>
                  <a:cubicBezTo>
                    <a:pt x="939" y="374"/>
                    <a:pt x="946" y="382"/>
                    <a:pt x="916" y="397"/>
                  </a:cubicBezTo>
                  <a:cubicBezTo>
                    <a:pt x="839" y="443"/>
                    <a:pt x="878" y="351"/>
                    <a:pt x="847" y="328"/>
                  </a:cubicBezTo>
                  <a:cubicBezTo>
                    <a:pt x="816" y="298"/>
                    <a:pt x="816" y="298"/>
                    <a:pt x="816" y="252"/>
                  </a:cubicBezTo>
                  <a:cubicBezTo>
                    <a:pt x="824" y="191"/>
                    <a:pt x="771" y="161"/>
                    <a:pt x="755" y="115"/>
                  </a:cubicBezTo>
                  <a:cubicBezTo>
                    <a:pt x="748" y="107"/>
                    <a:pt x="717" y="76"/>
                    <a:pt x="702" y="69"/>
                  </a:cubicBezTo>
                  <a:cubicBezTo>
                    <a:pt x="679" y="53"/>
                    <a:pt x="664" y="23"/>
                    <a:pt x="648" y="0"/>
                  </a:cubicBezTo>
                  <a:lnTo>
                    <a:pt x="648" y="0"/>
                  </a:lnTo>
                  <a:cubicBezTo>
                    <a:pt x="618" y="15"/>
                    <a:pt x="595" y="30"/>
                    <a:pt x="572" y="46"/>
                  </a:cubicBezTo>
                  <a:cubicBezTo>
                    <a:pt x="549" y="69"/>
                    <a:pt x="541" y="99"/>
                    <a:pt x="519" y="122"/>
                  </a:cubicBezTo>
                  <a:cubicBezTo>
                    <a:pt x="503" y="138"/>
                    <a:pt x="465" y="138"/>
                    <a:pt x="442" y="145"/>
                  </a:cubicBezTo>
                  <a:cubicBezTo>
                    <a:pt x="419" y="153"/>
                    <a:pt x="396" y="168"/>
                    <a:pt x="374" y="176"/>
                  </a:cubicBezTo>
                  <a:lnTo>
                    <a:pt x="374" y="176"/>
                  </a:lnTo>
                  <a:cubicBezTo>
                    <a:pt x="374" y="206"/>
                    <a:pt x="358" y="229"/>
                    <a:pt x="358" y="260"/>
                  </a:cubicBezTo>
                  <a:cubicBezTo>
                    <a:pt x="358" y="275"/>
                    <a:pt x="381" y="283"/>
                    <a:pt x="381" y="290"/>
                  </a:cubicBezTo>
                  <a:cubicBezTo>
                    <a:pt x="381" y="321"/>
                    <a:pt x="343" y="351"/>
                    <a:pt x="358" y="382"/>
                  </a:cubicBezTo>
                  <a:cubicBezTo>
                    <a:pt x="374" y="413"/>
                    <a:pt x="435" y="390"/>
                    <a:pt x="458" y="420"/>
                  </a:cubicBezTo>
                  <a:cubicBezTo>
                    <a:pt x="473" y="435"/>
                    <a:pt x="465" y="474"/>
                    <a:pt x="442" y="481"/>
                  </a:cubicBezTo>
                  <a:cubicBezTo>
                    <a:pt x="389" y="504"/>
                    <a:pt x="328" y="497"/>
                    <a:pt x="274" y="497"/>
                  </a:cubicBezTo>
                  <a:cubicBezTo>
                    <a:pt x="214" y="504"/>
                    <a:pt x="145" y="481"/>
                    <a:pt x="100" y="512"/>
                  </a:cubicBezTo>
                  <a:cubicBezTo>
                    <a:pt x="46" y="542"/>
                    <a:pt x="31" y="611"/>
                    <a:pt x="0" y="665"/>
                  </a:cubicBezTo>
                  <a:lnTo>
                    <a:pt x="0" y="665"/>
                  </a:lnTo>
                  <a:cubicBezTo>
                    <a:pt x="31" y="672"/>
                    <a:pt x="61" y="680"/>
                    <a:pt x="92" y="687"/>
                  </a:cubicBezTo>
                  <a:cubicBezTo>
                    <a:pt x="130" y="695"/>
                    <a:pt x="168" y="718"/>
                    <a:pt x="206" y="710"/>
                  </a:cubicBezTo>
                  <a:cubicBezTo>
                    <a:pt x="245" y="695"/>
                    <a:pt x="260" y="642"/>
                    <a:pt x="305" y="634"/>
                  </a:cubicBezTo>
                  <a:cubicBezTo>
                    <a:pt x="328" y="626"/>
                    <a:pt x="351" y="665"/>
                    <a:pt x="366" y="680"/>
                  </a:cubicBezTo>
                  <a:lnTo>
                    <a:pt x="366" y="680"/>
                  </a:lnTo>
                  <a:cubicBezTo>
                    <a:pt x="381" y="672"/>
                    <a:pt x="412" y="657"/>
                    <a:pt x="419" y="649"/>
                  </a:cubicBezTo>
                  <a:cubicBezTo>
                    <a:pt x="473" y="611"/>
                    <a:pt x="442" y="558"/>
                    <a:pt x="519" y="573"/>
                  </a:cubicBezTo>
                  <a:cubicBezTo>
                    <a:pt x="580" y="580"/>
                    <a:pt x="557" y="519"/>
                    <a:pt x="587" y="504"/>
                  </a:cubicBezTo>
                  <a:cubicBezTo>
                    <a:pt x="603" y="497"/>
                    <a:pt x="626" y="489"/>
                    <a:pt x="633" y="474"/>
                  </a:cubicBezTo>
                  <a:cubicBezTo>
                    <a:pt x="679" y="466"/>
                    <a:pt x="710" y="558"/>
                    <a:pt x="763" y="519"/>
                  </a:cubicBezTo>
                  <a:cubicBezTo>
                    <a:pt x="816" y="481"/>
                    <a:pt x="855" y="542"/>
                    <a:pt x="885" y="588"/>
                  </a:cubicBezTo>
                  <a:cubicBezTo>
                    <a:pt x="900" y="626"/>
                    <a:pt x="908" y="657"/>
                    <a:pt x="939" y="619"/>
                  </a:cubicBezTo>
                  <a:cubicBezTo>
                    <a:pt x="977" y="573"/>
                    <a:pt x="1038" y="580"/>
                    <a:pt x="1023" y="512"/>
                  </a:cubicBezTo>
                  <a:cubicBezTo>
                    <a:pt x="1023" y="497"/>
                    <a:pt x="1015" y="435"/>
                    <a:pt x="1008" y="435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68" name="Freeform 17"/>
            <p:cNvSpPr>
              <a:spLocks noChangeArrowheads="1"/>
            </p:cNvSpPr>
            <p:nvPr/>
          </p:nvSpPr>
          <p:spPr bwMode="auto">
            <a:xfrm>
              <a:off x="6132114" y="7189789"/>
              <a:ext cx="169851" cy="134937"/>
            </a:xfrm>
            <a:custGeom>
              <a:avLst/>
              <a:gdLst>
                <a:gd name="T0" fmla="*/ 198 w 474"/>
                <a:gd name="T1" fmla="*/ 374 h 375"/>
                <a:gd name="T2" fmla="*/ 198 w 474"/>
                <a:gd name="T3" fmla="*/ 374 h 375"/>
                <a:gd name="T4" fmla="*/ 282 w 474"/>
                <a:gd name="T5" fmla="*/ 320 h 375"/>
                <a:gd name="T6" fmla="*/ 335 w 474"/>
                <a:gd name="T7" fmla="*/ 343 h 375"/>
                <a:gd name="T8" fmla="*/ 473 w 474"/>
                <a:gd name="T9" fmla="*/ 343 h 375"/>
                <a:gd name="T10" fmla="*/ 473 w 474"/>
                <a:gd name="T11" fmla="*/ 343 h 375"/>
                <a:gd name="T12" fmla="*/ 297 w 474"/>
                <a:gd name="T13" fmla="*/ 0 h 375"/>
                <a:gd name="T14" fmla="*/ 114 w 474"/>
                <a:gd name="T15" fmla="*/ 99 h 375"/>
                <a:gd name="T16" fmla="*/ 175 w 474"/>
                <a:gd name="T17" fmla="*/ 328 h 375"/>
                <a:gd name="T18" fmla="*/ 198 w 474"/>
                <a:gd name="T19" fmla="*/ 37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4" h="375">
                  <a:moveTo>
                    <a:pt x="198" y="374"/>
                  </a:moveTo>
                  <a:lnTo>
                    <a:pt x="198" y="374"/>
                  </a:lnTo>
                  <a:cubicBezTo>
                    <a:pt x="213" y="366"/>
                    <a:pt x="259" y="320"/>
                    <a:pt x="282" y="320"/>
                  </a:cubicBezTo>
                  <a:cubicBezTo>
                    <a:pt x="305" y="313"/>
                    <a:pt x="312" y="336"/>
                    <a:pt x="335" y="343"/>
                  </a:cubicBezTo>
                  <a:cubicBezTo>
                    <a:pt x="373" y="351"/>
                    <a:pt x="434" y="351"/>
                    <a:pt x="473" y="343"/>
                  </a:cubicBezTo>
                  <a:lnTo>
                    <a:pt x="473" y="343"/>
                  </a:lnTo>
                  <a:cubicBezTo>
                    <a:pt x="381" y="236"/>
                    <a:pt x="312" y="68"/>
                    <a:pt x="297" y="0"/>
                  </a:cubicBezTo>
                  <a:cubicBezTo>
                    <a:pt x="266" y="0"/>
                    <a:pt x="167" y="84"/>
                    <a:pt x="114" y="99"/>
                  </a:cubicBezTo>
                  <a:cubicBezTo>
                    <a:pt x="0" y="137"/>
                    <a:pt x="137" y="259"/>
                    <a:pt x="175" y="328"/>
                  </a:cubicBezTo>
                  <a:cubicBezTo>
                    <a:pt x="182" y="343"/>
                    <a:pt x="190" y="359"/>
                    <a:pt x="198" y="374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69" name="Freeform 18"/>
            <p:cNvSpPr>
              <a:spLocks noChangeArrowheads="1"/>
            </p:cNvSpPr>
            <p:nvPr/>
          </p:nvSpPr>
          <p:spPr bwMode="auto">
            <a:xfrm>
              <a:off x="5922578" y="7273926"/>
              <a:ext cx="301605" cy="454025"/>
            </a:xfrm>
            <a:custGeom>
              <a:avLst/>
              <a:gdLst>
                <a:gd name="T0" fmla="*/ 366 w 840"/>
                <a:gd name="T1" fmla="*/ 1200 h 1262"/>
                <a:gd name="T2" fmla="*/ 366 w 840"/>
                <a:gd name="T3" fmla="*/ 1200 h 1262"/>
                <a:gd name="T4" fmla="*/ 358 w 840"/>
                <a:gd name="T5" fmla="*/ 1192 h 1262"/>
                <a:gd name="T6" fmla="*/ 358 w 840"/>
                <a:gd name="T7" fmla="*/ 1192 h 1262"/>
                <a:gd name="T8" fmla="*/ 275 w 840"/>
                <a:gd name="T9" fmla="*/ 1245 h 1262"/>
                <a:gd name="T10" fmla="*/ 183 w 840"/>
                <a:gd name="T11" fmla="*/ 1261 h 1262"/>
                <a:gd name="T12" fmla="*/ 183 w 840"/>
                <a:gd name="T13" fmla="*/ 1261 h 1262"/>
                <a:gd name="T14" fmla="*/ 198 w 840"/>
                <a:gd name="T15" fmla="*/ 1177 h 1262"/>
                <a:gd name="T16" fmla="*/ 229 w 840"/>
                <a:gd name="T17" fmla="*/ 1123 h 1262"/>
                <a:gd name="T18" fmla="*/ 191 w 840"/>
                <a:gd name="T19" fmla="*/ 1077 h 1262"/>
                <a:gd name="T20" fmla="*/ 259 w 840"/>
                <a:gd name="T21" fmla="*/ 1009 h 1262"/>
                <a:gd name="T22" fmla="*/ 236 w 840"/>
                <a:gd name="T23" fmla="*/ 948 h 1262"/>
                <a:gd name="T24" fmla="*/ 236 w 840"/>
                <a:gd name="T25" fmla="*/ 948 h 1262"/>
                <a:gd name="T26" fmla="*/ 236 w 840"/>
                <a:gd name="T27" fmla="*/ 886 h 1262"/>
                <a:gd name="T28" fmla="*/ 198 w 840"/>
                <a:gd name="T29" fmla="*/ 802 h 1262"/>
                <a:gd name="T30" fmla="*/ 236 w 840"/>
                <a:gd name="T31" fmla="*/ 779 h 1262"/>
                <a:gd name="T32" fmla="*/ 206 w 840"/>
                <a:gd name="T33" fmla="*/ 734 h 1262"/>
                <a:gd name="T34" fmla="*/ 206 w 840"/>
                <a:gd name="T35" fmla="*/ 688 h 1262"/>
                <a:gd name="T36" fmla="*/ 129 w 840"/>
                <a:gd name="T37" fmla="*/ 680 h 1262"/>
                <a:gd name="T38" fmla="*/ 15 w 840"/>
                <a:gd name="T39" fmla="*/ 680 h 1262"/>
                <a:gd name="T40" fmla="*/ 84 w 840"/>
                <a:gd name="T41" fmla="*/ 611 h 1262"/>
                <a:gd name="T42" fmla="*/ 214 w 840"/>
                <a:gd name="T43" fmla="*/ 466 h 1262"/>
                <a:gd name="T44" fmla="*/ 221 w 840"/>
                <a:gd name="T45" fmla="*/ 336 h 1262"/>
                <a:gd name="T46" fmla="*/ 129 w 840"/>
                <a:gd name="T47" fmla="*/ 275 h 1262"/>
                <a:gd name="T48" fmla="*/ 145 w 840"/>
                <a:gd name="T49" fmla="*/ 107 h 1262"/>
                <a:gd name="T50" fmla="*/ 145 w 840"/>
                <a:gd name="T51" fmla="*/ 107 h 1262"/>
                <a:gd name="T52" fmla="*/ 366 w 840"/>
                <a:gd name="T53" fmla="*/ 0 h 1262"/>
                <a:gd name="T54" fmla="*/ 366 w 840"/>
                <a:gd name="T55" fmla="*/ 0 h 1262"/>
                <a:gd name="T56" fmla="*/ 336 w 840"/>
                <a:gd name="T57" fmla="*/ 92 h 1262"/>
                <a:gd name="T58" fmla="*/ 366 w 840"/>
                <a:gd name="T59" fmla="*/ 153 h 1262"/>
                <a:gd name="T60" fmla="*/ 397 w 840"/>
                <a:gd name="T61" fmla="*/ 138 h 1262"/>
                <a:gd name="T62" fmla="*/ 427 w 840"/>
                <a:gd name="T63" fmla="*/ 191 h 1262"/>
                <a:gd name="T64" fmla="*/ 397 w 840"/>
                <a:gd name="T65" fmla="*/ 229 h 1262"/>
                <a:gd name="T66" fmla="*/ 420 w 840"/>
                <a:gd name="T67" fmla="*/ 275 h 1262"/>
                <a:gd name="T68" fmla="*/ 458 w 840"/>
                <a:gd name="T69" fmla="*/ 290 h 1262"/>
                <a:gd name="T70" fmla="*/ 466 w 840"/>
                <a:gd name="T71" fmla="*/ 367 h 1262"/>
                <a:gd name="T72" fmla="*/ 504 w 840"/>
                <a:gd name="T73" fmla="*/ 428 h 1262"/>
                <a:gd name="T74" fmla="*/ 557 w 840"/>
                <a:gd name="T75" fmla="*/ 512 h 1262"/>
                <a:gd name="T76" fmla="*/ 632 w 840"/>
                <a:gd name="T77" fmla="*/ 497 h 1262"/>
                <a:gd name="T78" fmla="*/ 663 w 840"/>
                <a:gd name="T79" fmla="*/ 504 h 1262"/>
                <a:gd name="T80" fmla="*/ 671 w 840"/>
                <a:gd name="T81" fmla="*/ 611 h 1262"/>
                <a:gd name="T82" fmla="*/ 717 w 840"/>
                <a:gd name="T83" fmla="*/ 619 h 1262"/>
                <a:gd name="T84" fmla="*/ 740 w 840"/>
                <a:gd name="T85" fmla="*/ 711 h 1262"/>
                <a:gd name="T86" fmla="*/ 740 w 840"/>
                <a:gd name="T87" fmla="*/ 711 h 1262"/>
                <a:gd name="T88" fmla="*/ 724 w 840"/>
                <a:gd name="T89" fmla="*/ 795 h 1262"/>
                <a:gd name="T90" fmla="*/ 747 w 840"/>
                <a:gd name="T91" fmla="*/ 825 h 1262"/>
                <a:gd name="T92" fmla="*/ 724 w 840"/>
                <a:gd name="T93" fmla="*/ 917 h 1262"/>
                <a:gd name="T94" fmla="*/ 824 w 840"/>
                <a:gd name="T95" fmla="*/ 955 h 1262"/>
                <a:gd name="T96" fmla="*/ 808 w 840"/>
                <a:gd name="T97" fmla="*/ 1016 h 1262"/>
                <a:gd name="T98" fmla="*/ 640 w 840"/>
                <a:gd name="T99" fmla="*/ 1032 h 1262"/>
                <a:gd name="T100" fmla="*/ 466 w 840"/>
                <a:gd name="T101" fmla="*/ 1047 h 1262"/>
                <a:gd name="T102" fmla="*/ 366 w 840"/>
                <a:gd name="T103" fmla="*/ 1200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40" h="1262">
                  <a:moveTo>
                    <a:pt x="366" y="1200"/>
                  </a:moveTo>
                  <a:lnTo>
                    <a:pt x="366" y="1200"/>
                  </a:lnTo>
                  <a:cubicBezTo>
                    <a:pt x="366" y="1200"/>
                    <a:pt x="366" y="1192"/>
                    <a:pt x="358" y="1192"/>
                  </a:cubicBezTo>
                  <a:lnTo>
                    <a:pt x="358" y="1192"/>
                  </a:lnTo>
                  <a:cubicBezTo>
                    <a:pt x="336" y="1215"/>
                    <a:pt x="305" y="1238"/>
                    <a:pt x="275" y="1245"/>
                  </a:cubicBezTo>
                  <a:cubicBezTo>
                    <a:pt x="244" y="1261"/>
                    <a:pt x="214" y="1261"/>
                    <a:pt x="183" y="1261"/>
                  </a:cubicBezTo>
                  <a:lnTo>
                    <a:pt x="183" y="1261"/>
                  </a:lnTo>
                  <a:cubicBezTo>
                    <a:pt x="191" y="1238"/>
                    <a:pt x="191" y="1207"/>
                    <a:pt x="198" y="1177"/>
                  </a:cubicBezTo>
                  <a:cubicBezTo>
                    <a:pt x="206" y="1161"/>
                    <a:pt x="229" y="1146"/>
                    <a:pt x="229" y="1123"/>
                  </a:cubicBezTo>
                  <a:cubicBezTo>
                    <a:pt x="229" y="1100"/>
                    <a:pt x="183" y="1093"/>
                    <a:pt x="191" y="1077"/>
                  </a:cubicBezTo>
                  <a:cubicBezTo>
                    <a:pt x="198" y="1047"/>
                    <a:pt x="244" y="1039"/>
                    <a:pt x="259" y="1009"/>
                  </a:cubicBezTo>
                  <a:cubicBezTo>
                    <a:pt x="267" y="993"/>
                    <a:pt x="244" y="970"/>
                    <a:pt x="236" y="948"/>
                  </a:cubicBezTo>
                  <a:lnTo>
                    <a:pt x="236" y="948"/>
                  </a:lnTo>
                  <a:cubicBezTo>
                    <a:pt x="236" y="925"/>
                    <a:pt x="244" y="909"/>
                    <a:pt x="236" y="886"/>
                  </a:cubicBezTo>
                  <a:cubicBezTo>
                    <a:pt x="229" y="856"/>
                    <a:pt x="198" y="833"/>
                    <a:pt x="198" y="802"/>
                  </a:cubicBezTo>
                  <a:cubicBezTo>
                    <a:pt x="198" y="787"/>
                    <a:pt x="229" y="795"/>
                    <a:pt x="236" y="779"/>
                  </a:cubicBezTo>
                  <a:cubicBezTo>
                    <a:pt x="236" y="764"/>
                    <a:pt x="214" y="749"/>
                    <a:pt x="206" y="734"/>
                  </a:cubicBezTo>
                  <a:cubicBezTo>
                    <a:pt x="206" y="718"/>
                    <a:pt x="214" y="696"/>
                    <a:pt x="206" y="688"/>
                  </a:cubicBezTo>
                  <a:cubicBezTo>
                    <a:pt x="183" y="680"/>
                    <a:pt x="152" y="680"/>
                    <a:pt x="129" y="680"/>
                  </a:cubicBezTo>
                  <a:cubicBezTo>
                    <a:pt x="91" y="680"/>
                    <a:pt x="38" y="711"/>
                    <a:pt x="15" y="680"/>
                  </a:cubicBezTo>
                  <a:cubicBezTo>
                    <a:pt x="0" y="657"/>
                    <a:pt x="61" y="634"/>
                    <a:pt x="84" y="611"/>
                  </a:cubicBezTo>
                  <a:cubicBezTo>
                    <a:pt x="129" y="558"/>
                    <a:pt x="191" y="527"/>
                    <a:pt x="214" y="466"/>
                  </a:cubicBezTo>
                  <a:cubicBezTo>
                    <a:pt x="236" y="428"/>
                    <a:pt x="236" y="375"/>
                    <a:pt x="221" y="336"/>
                  </a:cubicBezTo>
                  <a:cubicBezTo>
                    <a:pt x="206" y="298"/>
                    <a:pt x="137" y="313"/>
                    <a:pt x="129" y="275"/>
                  </a:cubicBezTo>
                  <a:cubicBezTo>
                    <a:pt x="106" y="207"/>
                    <a:pt x="137" y="176"/>
                    <a:pt x="145" y="107"/>
                  </a:cubicBezTo>
                  <a:lnTo>
                    <a:pt x="145" y="107"/>
                  </a:lnTo>
                  <a:cubicBezTo>
                    <a:pt x="221" y="69"/>
                    <a:pt x="297" y="23"/>
                    <a:pt x="366" y="0"/>
                  </a:cubicBezTo>
                  <a:lnTo>
                    <a:pt x="366" y="0"/>
                  </a:lnTo>
                  <a:cubicBezTo>
                    <a:pt x="358" y="38"/>
                    <a:pt x="343" y="46"/>
                    <a:pt x="336" y="92"/>
                  </a:cubicBezTo>
                  <a:cubicBezTo>
                    <a:pt x="336" y="107"/>
                    <a:pt x="351" y="138"/>
                    <a:pt x="366" y="153"/>
                  </a:cubicBezTo>
                  <a:cubicBezTo>
                    <a:pt x="374" y="153"/>
                    <a:pt x="389" y="138"/>
                    <a:pt x="397" y="138"/>
                  </a:cubicBezTo>
                  <a:cubicBezTo>
                    <a:pt x="412" y="153"/>
                    <a:pt x="427" y="168"/>
                    <a:pt x="427" y="191"/>
                  </a:cubicBezTo>
                  <a:cubicBezTo>
                    <a:pt x="427" y="207"/>
                    <a:pt x="397" y="214"/>
                    <a:pt x="397" y="229"/>
                  </a:cubicBezTo>
                  <a:cubicBezTo>
                    <a:pt x="397" y="245"/>
                    <a:pt x="412" y="260"/>
                    <a:pt x="420" y="275"/>
                  </a:cubicBezTo>
                  <a:cubicBezTo>
                    <a:pt x="435" y="283"/>
                    <a:pt x="458" y="275"/>
                    <a:pt x="458" y="290"/>
                  </a:cubicBezTo>
                  <a:cubicBezTo>
                    <a:pt x="473" y="313"/>
                    <a:pt x="458" y="344"/>
                    <a:pt x="466" y="367"/>
                  </a:cubicBezTo>
                  <a:cubicBezTo>
                    <a:pt x="473" y="390"/>
                    <a:pt x="496" y="405"/>
                    <a:pt x="504" y="428"/>
                  </a:cubicBezTo>
                  <a:cubicBezTo>
                    <a:pt x="527" y="451"/>
                    <a:pt x="527" y="497"/>
                    <a:pt x="557" y="512"/>
                  </a:cubicBezTo>
                  <a:cubicBezTo>
                    <a:pt x="580" y="520"/>
                    <a:pt x="611" y="497"/>
                    <a:pt x="632" y="497"/>
                  </a:cubicBezTo>
                  <a:cubicBezTo>
                    <a:pt x="640" y="497"/>
                    <a:pt x="663" y="497"/>
                    <a:pt x="663" y="504"/>
                  </a:cubicBezTo>
                  <a:cubicBezTo>
                    <a:pt x="678" y="543"/>
                    <a:pt x="655" y="581"/>
                    <a:pt x="671" y="611"/>
                  </a:cubicBezTo>
                  <a:cubicBezTo>
                    <a:pt x="678" y="627"/>
                    <a:pt x="709" y="611"/>
                    <a:pt x="717" y="619"/>
                  </a:cubicBezTo>
                  <a:cubicBezTo>
                    <a:pt x="732" y="650"/>
                    <a:pt x="732" y="680"/>
                    <a:pt x="740" y="711"/>
                  </a:cubicBezTo>
                  <a:lnTo>
                    <a:pt x="740" y="711"/>
                  </a:lnTo>
                  <a:cubicBezTo>
                    <a:pt x="740" y="741"/>
                    <a:pt x="724" y="764"/>
                    <a:pt x="724" y="795"/>
                  </a:cubicBezTo>
                  <a:cubicBezTo>
                    <a:pt x="724" y="810"/>
                    <a:pt x="747" y="818"/>
                    <a:pt x="747" y="825"/>
                  </a:cubicBezTo>
                  <a:cubicBezTo>
                    <a:pt x="747" y="856"/>
                    <a:pt x="709" y="886"/>
                    <a:pt x="724" y="917"/>
                  </a:cubicBezTo>
                  <a:cubicBezTo>
                    <a:pt x="740" y="948"/>
                    <a:pt x="801" y="925"/>
                    <a:pt x="824" y="955"/>
                  </a:cubicBezTo>
                  <a:cubicBezTo>
                    <a:pt x="839" y="970"/>
                    <a:pt x="831" y="1009"/>
                    <a:pt x="808" y="1016"/>
                  </a:cubicBezTo>
                  <a:cubicBezTo>
                    <a:pt x="755" y="1039"/>
                    <a:pt x="694" y="1032"/>
                    <a:pt x="640" y="1032"/>
                  </a:cubicBezTo>
                  <a:cubicBezTo>
                    <a:pt x="580" y="1039"/>
                    <a:pt x="511" y="1016"/>
                    <a:pt x="466" y="1047"/>
                  </a:cubicBezTo>
                  <a:cubicBezTo>
                    <a:pt x="412" y="1077"/>
                    <a:pt x="397" y="1146"/>
                    <a:pt x="366" y="120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70" name="Freeform 19"/>
            <p:cNvSpPr>
              <a:spLocks noChangeArrowheads="1"/>
            </p:cNvSpPr>
            <p:nvPr/>
          </p:nvSpPr>
          <p:spPr bwMode="auto">
            <a:xfrm>
              <a:off x="5686055" y="7291388"/>
              <a:ext cx="325417" cy="360362"/>
            </a:xfrm>
            <a:custGeom>
              <a:avLst/>
              <a:gdLst>
                <a:gd name="T0" fmla="*/ 802 w 902"/>
                <a:gd name="T1" fmla="*/ 61 h 1002"/>
                <a:gd name="T2" fmla="*/ 802 w 902"/>
                <a:gd name="T3" fmla="*/ 61 h 1002"/>
                <a:gd name="T4" fmla="*/ 786 w 902"/>
                <a:gd name="T5" fmla="*/ 229 h 1002"/>
                <a:gd name="T6" fmla="*/ 878 w 902"/>
                <a:gd name="T7" fmla="*/ 290 h 1002"/>
                <a:gd name="T8" fmla="*/ 871 w 902"/>
                <a:gd name="T9" fmla="*/ 420 h 1002"/>
                <a:gd name="T10" fmla="*/ 741 w 902"/>
                <a:gd name="T11" fmla="*/ 565 h 1002"/>
                <a:gd name="T12" fmla="*/ 672 w 902"/>
                <a:gd name="T13" fmla="*/ 634 h 1002"/>
                <a:gd name="T14" fmla="*/ 786 w 902"/>
                <a:gd name="T15" fmla="*/ 634 h 1002"/>
                <a:gd name="T16" fmla="*/ 863 w 902"/>
                <a:gd name="T17" fmla="*/ 642 h 1002"/>
                <a:gd name="T18" fmla="*/ 863 w 902"/>
                <a:gd name="T19" fmla="*/ 688 h 1002"/>
                <a:gd name="T20" fmla="*/ 893 w 902"/>
                <a:gd name="T21" fmla="*/ 733 h 1002"/>
                <a:gd name="T22" fmla="*/ 855 w 902"/>
                <a:gd name="T23" fmla="*/ 756 h 1002"/>
                <a:gd name="T24" fmla="*/ 893 w 902"/>
                <a:gd name="T25" fmla="*/ 840 h 1002"/>
                <a:gd name="T26" fmla="*/ 893 w 902"/>
                <a:gd name="T27" fmla="*/ 902 h 1002"/>
                <a:gd name="T28" fmla="*/ 893 w 902"/>
                <a:gd name="T29" fmla="*/ 902 h 1002"/>
                <a:gd name="T30" fmla="*/ 878 w 902"/>
                <a:gd name="T31" fmla="*/ 917 h 1002"/>
                <a:gd name="T32" fmla="*/ 832 w 902"/>
                <a:gd name="T33" fmla="*/ 932 h 1002"/>
                <a:gd name="T34" fmla="*/ 763 w 902"/>
                <a:gd name="T35" fmla="*/ 924 h 1002"/>
                <a:gd name="T36" fmla="*/ 741 w 902"/>
                <a:gd name="T37" fmla="*/ 947 h 1002"/>
                <a:gd name="T38" fmla="*/ 687 w 902"/>
                <a:gd name="T39" fmla="*/ 932 h 1002"/>
                <a:gd name="T40" fmla="*/ 664 w 902"/>
                <a:gd name="T41" fmla="*/ 863 h 1002"/>
                <a:gd name="T42" fmla="*/ 679 w 902"/>
                <a:gd name="T43" fmla="*/ 833 h 1002"/>
                <a:gd name="T44" fmla="*/ 634 w 902"/>
                <a:gd name="T45" fmla="*/ 840 h 1002"/>
                <a:gd name="T46" fmla="*/ 588 w 902"/>
                <a:gd name="T47" fmla="*/ 863 h 1002"/>
                <a:gd name="T48" fmla="*/ 542 w 902"/>
                <a:gd name="T49" fmla="*/ 894 h 1002"/>
                <a:gd name="T50" fmla="*/ 466 w 902"/>
                <a:gd name="T51" fmla="*/ 909 h 1002"/>
                <a:gd name="T52" fmla="*/ 389 w 902"/>
                <a:gd name="T53" fmla="*/ 978 h 1002"/>
                <a:gd name="T54" fmla="*/ 328 w 902"/>
                <a:gd name="T55" fmla="*/ 993 h 1002"/>
                <a:gd name="T56" fmla="*/ 275 w 902"/>
                <a:gd name="T57" fmla="*/ 932 h 1002"/>
                <a:gd name="T58" fmla="*/ 214 w 902"/>
                <a:gd name="T59" fmla="*/ 863 h 1002"/>
                <a:gd name="T60" fmla="*/ 198 w 902"/>
                <a:gd name="T61" fmla="*/ 810 h 1002"/>
                <a:gd name="T62" fmla="*/ 152 w 902"/>
                <a:gd name="T63" fmla="*/ 817 h 1002"/>
                <a:gd name="T64" fmla="*/ 68 w 902"/>
                <a:gd name="T65" fmla="*/ 833 h 1002"/>
                <a:gd name="T66" fmla="*/ 53 w 902"/>
                <a:gd name="T67" fmla="*/ 726 h 1002"/>
                <a:gd name="T68" fmla="*/ 84 w 902"/>
                <a:gd name="T69" fmla="*/ 680 h 1002"/>
                <a:gd name="T70" fmla="*/ 61 w 902"/>
                <a:gd name="T71" fmla="*/ 642 h 1002"/>
                <a:gd name="T72" fmla="*/ 38 w 902"/>
                <a:gd name="T73" fmla="*/ 619 h 1002"/>
                <a:gd name="T74" fmla="*/ 30 w 902"/>
                <a:gd name="T75" fmla="*/ 596 h 1002"/>
                <a:gd name="T76" fmla="*/ 0 w 902"/>
                <a:gd name="T77" fmla="*/ 581 h 1002"/>
                <a:gd name="T78" fmla="*/ 38 w 902"/>
                <a:gd name="T79" fmla="*/ 489 h 1002"/>
                <a:gd name="T80" fmla="*/ 99 w 902"/>
                <a:gd name="T81" fmla="*/ 443 h 1002"/>
                <a:gd name="T82" fmla="*/ 114 w 902"/>
                <a:gd name="T83" fmla="*/ 375 h 1002"/>
                <a:gd name="T84" fmla="*/ 137 w 902"/>
                <a:gd name="T85" fmla="*/ 336 h 1002"/>
                <a:gd name="T86" fmla="*/ 152 w 902"/>
                <a:gd name="T87" fmla="*/ 298 h 1002"/>
                <a:gd name="T88" fmla="*/ 114 w 902"/>
                <a:gd name="T89" fmla="*/ 283 h 1002"/>
                <a:gd name="T90" fmla="*/ 53 w 902"/>
                <a:gd name="T91" fmla="*/ 222 h 1002"/>
                <a:gd name="T92" fmla="*/ 30 w 902"/>
                <a:gd name="T93" fmla="*/ 191 h 1002"/>
                <a:gd name="T94" fmla="*/ 30 w 902"/>
                <a:gd name="T95" fmla="*/ 191 h 1002"/>
                <a:gd name="T96" fmla="*/ 76 w 902"/>
                <a:gd name="T97" fmla="*/ 168 h 1002"/>
                <a:gd name="T98" fmla="*/ 237 w 902"/>
                <a:gd name="T99" fmla="*/ 100 h 1002"/>
                <a:gd name="T100" fmla="*/ 221 w 902"/>
                <a:gd name="T101" fmla="*/ 0 h 1002"/>
                <a:gd name="T102" fmla="*/ 404 w 902"/>
                <a:gd name="T103" fmla="*/ 54 h 1002"/>
                <a:gd name="T104" fmla="*/ 580 w 902"/>
                <a:gd name="T105" fmla="*/ 122 h 1002"/>
                <a:gd name="T106" fmla="*/ 802 w 902"/>
                <a:gd name="T107" fmla="*/ 61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2" h="1002">
                  <a:moveTo>
                    <a:pt x="802" y="61"/>
                  </a:moveTo>
                  <a:lnTo>
                    <a:pt x="802" y="61"/>
                  </a:lnTo>
                  <a:cubicBezTo>
                    <a:pt x="794" y="130"/>
                    <a:pt x="763" y="161"/>
                    <a:pt x="786" y="229"/>
                  </a:cubicBezTo>
                  <a:cubicBezTo>
                    <a:pt x="794" y="267"/>
                    <a:pt x="863" y="252"/>
                    <a:pt x="878" y="290"/>
                  </a:cubicBezTo>
                  <a:cubicBezTo>
                    <a:pt x="893" y="329"/>
                    <a:pt x="893" y="382"/>
                    <a:pt x="871" y="420"/>
                  </a:cubicBezTo>
                  <a:cubicBezTo>
                    <a:pt x="848" y="481"/>
                    <a:pt x="786" y="512"/>
                    <a:pt x="741" y="565"/>
                  </a:cubicBezTo>
                  <a:cubicBezTo>
                    <a:pt x="718" y="588"/>
                    <a:pt x="657" y="611"/>
                    <a:pt x="672" y="634"/>
                  </a:cubicBezTo>
                  <a:cubicBezTo>
                    <a:pt x="695" y="665"/>
                    <a:pt x="748" y="634"/>
                    <a:pt x="786" y="634"/>
                  </a:cubicBezTo>
                  <a:cubicBezTo>
                    <a:pt x="809" y="634"/>
                    <a:pt x="840" y="634"/>
                    <a:pt x="863" y="642"/>
                  </a:cubicBezTo>
                  <a:cubicBezTo>
                    <a:pt x="871" y="650"/>
                    <a:pt x="863" y="672"/>
                    <a:pt x="863" y="688"/>
                  </a:cubicBezTo>
                  <a:cubicBezTo>
                    <a:pt x="871" y="703"/>
                    <a:pt x="893" y="718"/>
                    <a:pt x="893" y="733"/>
                  </a:cubicBezTo>
                  <a:cubicBezTo>
                    <a:pt x="886" y="749"/>
                    <a:pt x="855" y="741"/>
                    <a:pt x="855" y="756"/>
                  </a:cubicBezTo>
                  <a:cubicBezTo>
                    <a:pt x="855" y="787"/>
                    <a:pt x="886" y="810"/>
                    <a:pt x="893" y="840"/>
                  </a:cubicBezTo>
                  <a:cubicBezTo>
                    <a:pt x="901" y="863"/>
                    <a:pt x="893" y="879"/>
                    <a:pt x="893" y="902"/>
                  </a:cubicBezTo>
                  <a:lnTo>
                    <a:pt x="893" y="902"/>
                  </a:lnTo>
                  <a:cubicBezTo>
                    <a:pt x="893" y="909"/>
                    <a:pt x="886" y="909"/>
                    <a:pt x="878" y="917"/>
                  </a:cubicBezTo>
                  <a:cubicBezTo>
                    <a:pt x="863" y="924"/>
                    <a:pt x="848" y="932"/>
                    <a:pt x="832" y="932"/>
                  </a:cubicBezTo>
                  <a:cubicBezTo>
                    <a:pt x="809" y="932"/>
                    <a:pt x="786" y="924"/>
                    <a:pt x="763" y="924"/>
                  </a:cubicBezTo>
                  <a:cubicBezTo>
                    <a:pt x="756" y="924"/>
                    <a:pt x="756" y="947"/>
                    <a:pt x="741" y="947"/>
                  </a:cubicBezTo>
                  <a:cubicBezTo>
                    <a:pt x="725" y="947"/>
                    <a:pt x="695" y="947"/>
                    <a:pt x="687" y="932"/>
                  </a:cubicBezTo>
                  <a:cubicBezTo>
                    <a:pt x="664" y="917"/>
                    <a:pt x="664" y="886"/>
                    <a:pt x="664" y="863"/>
                  </a:cubicBezTo>
                  <a:cubicBezTo>
                    <a:pt x="664" y="856"/>
                    <a:pt x="687" y="840"/>
                    <a:pt x="679" y="833"/>
                  </a:cubicBezTo>
                  <a:cubicBezTo>
                    <a:pt x="664" y="817"/>
                    <a:pt x="649" y="833"/>
                    <a:pt x="634" y="840"/>
                  </a:cubicBezTo>
                  <a:cubicBezTo>
                    <a:pt x="618" y="840"/>
                    <a:pt x="603" y="856"/>
                    <a:pt x="588" y="863"/>
                  </a:cubicBezTo>
                  <a:cubicBezTo>
                    <a:pt x="573" y="871"/>
                    <a:pt x="565" y="886"/>
                    <a:pt x="542" y="894"/>
                  </a:cubicBezTo>
                  <a:cubicBezTo>
                    <a:pt x="519" y="902"/>
                    <a:pt x="489" y="894"/>
                    <a:pt x="466" y="909"/>
                  </a:cubicBezTo>
                  <a:cubicBezTo>
                    <a:pt x="435" y="924"/>
                    <a:pt x="420" y="955"/>
                    <a:pt x="389" y="978"/>
                  </a:cubicBezTo>
                  <a:cubicBezTo>
                    <a:pt x="374" y="986"/>
                    <a:pt x="351" y="1001"/>
                    <a:pt x="328" y="993"/>
                  </a:cubicBezTo>
                  <a:cubicBezTo>
                    <a:pt x="305" y="986"/>
                    <a:pt x="290" y="947"/>
                    <a:pt x="275" y="932"/>
                  </a:cubicBezTo>
                  <a:cubicBezTo>
                    <a:pt x="252" y="909"/>
                    <a:pt x="229" y="886"/>
                    <a:pt x="214" y="863"/>
                  </a:cubicBezTo>
                  <a:cubicBezTo>
                    <a:pt x="198" y="848"/>
                    <a:pt x="214" y="825"/>
                    <a:pt x="198" y="810"/>
                  </a:cubicBezTo>
                  <a:cubicBezTo>
                    <a:pt x="183" y="802"/>
                    <a:pt x="168" y="817"/>
                    <a:pt x="152" y="817"/>
                  </a:cubicBezTo>
                  <a:cubicBezTo>
                    <a:pt x="122" y="825"/>
                    <a:pt x="91" y="848"/>
                    <a:pt x="68" y="833"/>
                  </a:cubicBezTo>
                  <a:cubicBezTo>
                    <a:pt x="46" y="810"/>
                    <a:pt x="53" y="756"/>
                    <a:pt x="53" y="726"/>
                  </a:cubicBezTo>
                  <a:cubicBezTo>
                    <a:pt x="53" y="703"/>
                    <a:pt x="84" y="695"/>
                    <a:pt x="84" y="680"/>
                  </a:cubicBezTo>
                  <a:cubicBezTo>
                    <a:pt x="84" y="665"/>
                    <a:pt x="76" y="657"/>
                    <a:pt x="61" y="642"/>
                  </a:cubicBezTo>
                  <a:cubicBezTo>
                    <a:pt x="53" y="634"/>
                    <a:pt x="38" y="634"/>
                    <a:pt x="38" y="619"/>
                  </a:cubicBezTo>
                  <a:cubicBezTo>
                    <a:pt x="30" y="611"/>
                    <a:pt x="38" y="604"/>
                    <a:pt x="30" y="596"/>
                  </a:cubicBezTo>
                  <a:cubicBezTo>
                    <a:pt x="23" y="588"/>
                    <a:pt x="0" y="596"/>
                    <a:pt x="0" y="581"/>
                  </a:cubicBezTo>
                  <a:cubicBezTo>
                    <a:pt x="0" y="550"/>
                    <a:pt x="15" y="519"/>
                    <a:pt x="38" y="489"/>
                  </a:cubicBezTo>
                  <a:cubicBezTo>
                    <a:pt x="53" y="466"/>
                    <a:pt x="84" y="458"/>
                    <a:pt x="99" y="443"/>
                  </a:cubicBezTo>
                  <a:cubicBezTo>
                    <a:pt x="114" y="420"/>
                    <a:pt x="107" y="397"/>
                    <a:pt x="114" y="375"/>
                  </a:cubicBezTo>
                  <a:cubicBezTo>
                    <a:pt x="114" y="359"/>
                    <a:pt x="129" y="352"/>
                    <a:pt x="137" y="336"/>
                  </a:cubicBezTo>
                  <a:cubicBezTo>
                    <a:pt x="145" y="321"/>
                    <a:pt x="160" y="306"/>
                    <a:pt x="152" y="298"/>
                  </a:cubicBezTo>
                  <a:cubicBezTo>
                    <a:pt x="152" y="283"/>
                    <a:pt x="129" y="290"/>
                    <a:pt x="114" y="283"/>
                  </a:cubicBezTo>
                  <a:cubicBezTo>
                    <a:pt x="91" y="267"/>
                    <a:pt x="68" y="244"/>
                    <a:pt x="53" y="222"/>
                  </a:cubicBezTo>
                  <a:cubicBezTo>
                    <a:pt x="30" y="199"/>
                    <a:pt x="46" y="214"/>
                    <a:pt x="30" y="191"/>
                  </a:cubicBezTo>
                  <a:lnTo>
                    <a:pt x="30" y="191"/>
                  </a:lnTo>
                  <a:cubicBezTo>
                    <a:pt x="46" y="183"/>
                    <a:pt x="61" y="176"/>
                    <a:pt x="76" y="168"/>
                  </a:cubicBezTo>
                  <a:cubicBezTo>
                    <a:pt x="129" y="161"/>
                    <a:pt x="221" y="168"/>
                    <a:pt x="237" y="100"/>
                  </a:cubicBezTo>
                  <a:cubicBezTo>
                    <a:pt x="252" y="46"/>
                    <a:pt x="221" y="38"/>
                    <a:pt x="221" y="0"/>
                  </a:cubicBezTo>
                  <a:cubicBezTo>
                    <a:pt x="305" y="0"/>
                    <a:pt x="321" y="61"/>
                    <a:pt x="404" y="54"/>
                  </a:cubicBezTo>
                  <a:cubicBezTo>
                    <a:pt x="473" y="38"/>
                    <a:pt x="481" y="130"/>
                    <a:pt x="580" y="122"/>
                  </a:cubicBezTo>
                  <a:cubicBezTo>
                    <a:pt x="664" y="122"/>
                    <a:pt x="733" y="92"/>
                    <a:pt x="802" y="6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71" name="Freeform 20"/>
            <p:cNvSpPr>
              <a:spLocks noChangeArrowheads="1"/>
            </p:cNvSpPr>
            <p:nvPr/>
          </p:nvSpPr>
          <p:spPr bwMode="auto">
            <a:xfrm>
              <a:off x="5235234" y="7359651"/>
              <a:ext cx="784174" cy="676275"/>
            </a:xfrm>
            <a:custGeom>
              <a:avLst/>
              <a:gdLst>
                <a:gd name="T0" fmla="*/ 1283 w 2178"/>
                <a:gd name="T1" fmla="*/ 0 h 1880"/>
                <a:gd name="T2" fmla="*/ 1169 w 2178"/>
                <a:gd name="T3" fmla="*/ 31 h 1880"/>
                <a:gd name="T4" fmla="*/ 955 w 2178"/>
                <a:gd name="T5" fmla="*/ 153 h 1880"/>
                <a:gd name="T6" fmla="*/ 840 w 2178"/>
                <a:gd name="T7" fmla="*/ 260 h 1880"/>
                <a:gd name="T8" fmla="*/ 764 w 2178"/>
                <a:gd name="T9" fmla="*/ 374 h 1880"/>
                <a:gd name="T10" fmla="*/ 741 w 2178"/>
                <a:gd name="T11" fmla="*/ 581 h 1880"/>
                <a:gd name="T12" fmla="*/ 588 w 2178"/>
                <a:gd name="T13" fmla="*/ 718 h 1880"/>
                <a:gd name="T14" fmla="*/ 138 w 2178"/>
                <a:gd name="T15" fmla="*/ 1276 h 1880"/>
                <a:gd name="T16" fmla="*/ 443 w 2178"/>
                <a:gd name="T17" fmla="*/ 1283 h 1880"/>
                <a:gd name="T18" fmla="*/ 489 w 2178"/>
                <a:gd name="T19" fmla="*/ 1253 h 1880"/>
                <a:gd name="T20" fmla="*/ 519 w 2178"/>
                <a:gd name="T21" fmla="*/ 1176 h 1880"/>
                <a:gd name="T22" fmla="*/ 1085 w 2178"/>
                <a:gd name="T23" fmla="*/ 1138 h 1880"/>
                <a:gd name="T24" fmla="*/ 1199 w 2178"/>
                <a:gd name="T25" fmla="*/ 1451 h 1880"/>
                <a:gd name="T26" fmla="*/ 1153 w 2178"/>
                <a:gd name="T27" fmla="*/ 1535 h 1880"/>
                <a:gd name="T28" fmla="*/ 1169 w 2178"/>
                <a:gd name="T29" fmla="*/ 1879 h 1880"/>
                <a:gd name="T30" fmla="*/ 1421 w 2178"/>
                <a:gd name="T31" fmla="*/ 1803 h 1880"/>
                <a:gd name="T32" fmla="*/ 1482 w 2178"/>
                <a:gd name="T33" fmla="*/ 1749 h 1880"/>
                <a:gd name="T34" fmla="*/ 1596 w 2178"/>
                <a:gd name="T35" fmla="*/ 1512 h 1880"/>
                <a:gd name="T36" fmla="*/ 1803 w 2178"/>
                <a:gd name="T37" fmla="*/ 1474 h 1880"/>
                <a:gd name="T38" fmla="*/ 1948 w 2178"/>
                <a:gd name="T39" fmla="*/ 1345 h 1880"/>
                <a:gd name="T40" fmla="*/ 1932 w 2178"/>
                <a:gd name="T41" fmla="*/ 1123 h 1880"/>
                <a:gd name="T42" fmla="*/ 2093 w 2178"/>
                <a:gd name="T43" fmla="*/ 1024 h 1880"/>
                <a:gd name="T44" fmla="*/ 2108 w 2178"/>
                <a:gd name="T45" fmla="*/ 940 h 1880"/>
                <a:gd name="T46" fmla="*/ 2101 w 2178"/>
                <a:gd name="T47" fmla="*/ 840 h 1880"/>
                <a:gd name="T48" fmla="*/ 2146 w 2178"/>
                <a:gd name="T49" fmla="*/ 711 h 1880"/>
                <a:gd name="T50" fmla="*/ 2131 w 2178"/>
                <a:gd name="T51" fmla="*/ 726 h 1880"/>
                <a:gd name="T52" fmla="*/ 2016 w 2178"/>
                <a:gd name="T53" fmla="*/ 733 h 1880"/>
                <a:gd name="T54" fmla="*/ 1940 w 2178"/>
                <a:gd name="T55" fmla="*/ 741 h 1880"/>
                <a:gd name="T56" fmla="*/ 1932 w 2178"/>
                <a:gd name="T57" fmla="*/ 642 h 1880"/>
                <a:gd name="T58" fmla="*/ 1841 w 2178"/>
                <a:gd name="T59" fmla="*/ 672 h 1880"/>
                <a:gd name="T60" fmla="*/ 1719 w 2178"/>
                <a:gd name="T61" fmla="*/ 718 h 1880"/>
                <a:gd name="T62" fmla="*/ 1581 w 2178"/>
                <a:gd name="T63" fmla="*/ 802 h 1880"/>
                <a:gd name="T64" fmla="*/ 1467 w 2178"/>
                <a:gd name="T65" fmla="*/ 672 h 1880"/>
                <a:gd name="T66" fmla="*/ 1405 w 2178"/>
                <a:gd name="T67" fmla="*/ 626 h 1880"/>
                <a:gd name="T68" fmla="*/ 1306 w 2178"/>
                <a:gd name="T69" fmla="*/ 535 h 1880"/>
                <a:gd name="T70" fmla="*/ 1314 w 2178"/>
                <a:gd name="T71" fmla="*/ 451 h 1880"/>
                <a:gd name="T72" fmla="*/ 1283 w 2178"/>
                <a:gd name="T73" fmla="*/ 405 h 1880"/>
                <a:gd name="T74" fmla="*/ 1291 w 2178"/>
                <a:gd name="T75" fmla="*/ 298 h 1880"/>
                <a:gd name="T76" fmla="*/ 1367 w 2178"/>
                <a:gd name="T77" fmla="*/ 184 h 1880"/>
                <a:gd name="T78" fmla="*/ 1405 w 2178"/>
                <a:gd name="T79" fmla="*/ 107 h 1880"/>
                <a:gd name="T80" fmla="*/ 1306 w 2178"/>
                <a:gd name="T81" fmla="*/ 31 h 1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178" h="1880">
                  <a:moveTo>
                    <a:pt x="1283" y="0"/>
                  </a:moveTo>
                  <a:lnTo>
                    <a:pt x="1283" y="0"/>
                  </a:lnTo>
                  <a:cubicBezTo>
                    <a:pt x="1238" y="8"/>
                    <a:pt x="1199" y="31"/>
                    <a:pt x="1169" y="31"/>
                  </a:cubicBezTo>
                  <a:lnTo>
                    <a:pt x="1169" y="31"/>
                  </a:lnTo>
                  <a:cubicBezTo>
                    <a:pt x="1138" y="46"/>
                    <a:pt x="1062" y="53"/>
                    <a:pt x="1031" y="76"/>
                  </a:cubicBezTo>
                  <a:cubicBezTo>
                    <a:pt x="1001" y="92"/>
                    <a:pt x="978" y="122"/>
                    <a:pt x="955" y="153"/>
                  </a:cubicBezTo>
                  <a:cubicBezTo>
                    <a:pt x="940" y="168"/>
                    <a:pt x="955" y="199"/>
                    <a:pt x="932" y="214"/>
                  </a:cubicBezTo>
                  <a:cubicBezTo>
                    <a:pt x="909" y="245"/>
                    <a:pt x="871" y="245"/>
                    <a:pt x="840" y="260"/>
                  </a:cubicBezTo>
                  <a:cubicBezTo>
                    <a:pt x="810" y="283"/>
                    <a:pt x="794" y="344"/>
                    <a:pt x="764" y="374"/>
                  </a:cubicBezTo>
                  <a:lnTo>
                    <a:pt x="764" y="374"/>
                  </a:lnTo>
                  <a:lnTo>
                    <a:pt x="764" y="374"/>
                  </a:lnTo>
                  <a:cubicBezTo>
                    <a:pt x="672" y="405"/>
                    <a:pt x="794" y="520"/>
                    <a:pt x="741" y="581"/>
                  </a:cubicBezTo>
                  <a:cubicBezTo>
                    <a:pt x="718" y="611"/>
                    <a:pt x="688" y="680"/>
                    <a:pt x="657" y="695"/>
                  </a:cubicBezTo>
                  <a:cubicBezTo>
                    <a:pt x="642" y="703"/>
                    <a:pt x="588" y="695"/>
                    <a:pt x="588" y="718"/>
                  </a:cubicBezTo>
                  <a:cubicBezTo>
                    <a:pt x="588" y="772"/>
                    <a:pt x="435" y="901"/>
                    <a:pt x="420" y="840"/>
                  </a:cubicBezTo>
                  <a:cubicBezTo>
                    <a:pt x="321" y="871"/>
                    <a:pt x="0" y="1276"/>
                    <a:pt x="138" y="1276"/>
                  </a:cubicBezTo>
                  <a:cubicBezTo>
                    <a:pt x="145" y="1245"/>
                    <a:pt x="183" y="1230"/>
                    <a:pt x="206" y="1237"/>
                  </a:cubicBezTo>
                  <a:cubicBezTo>
                    <a:pt x="283" y="1245"/>
                    <a:pt x="443" y="1085"/>
                    <a:pt x="443" y="1283"/>
                  </a:cubicBezTo>
                  <a:cubicBezTo>
                    <a:pt x="451" y="1283"/>
                    <a:pt x="451" y="1283"/>
                    <a:pt x="451" y="1283"/>
                  </a:cubicBezTo>
                  <a:cubicBezTo>
                    <a:pt x="458" y="1268"/>
                    <a:pt x="474" y="1260"/>
                    <a:pt x="489" y="1253"/>
                  </a:cubicBezTo>
                  <a:cubicBezTo>
                    <a:pt x="496" y="1253"/>
                    <a:pt x="527" y="1245"/>
                    <a:pt x="527" y="1237"/>
                  </a:cubicBezTo>
                  <a:cubicBezTo>
                    <a:pt x="535" y="1237"/>
                    <a:pt x="519" y="1192"/>
                    <a:pt x="519" y="1176"/>
                  </a:cubicBezTo>
                  <a:cubicBezTo>
                    <a:pt x="519" y="1016"/>
                    <a:pt x="802" y="932"/>
                    <a:pt x="940" y="932"/>
                  </a:cubicBezTo>
                  <a:cubicBezTo>
                    <a:pt x="1024" y="932"/>
                    <a:pt x="1138" y="1062"/>
                    <a:pt x="1085" y="1138"/>
                  </a:cubicBezTo>
                  <a:cubicBezTo>
                    <a:pt x="1024" y="1230"/>
                    <a:pt x="1092" y="1299"/>
                    <a:pt x="1161" y="1383"/>
                  </a:cubicBezTo>
                  <a:cubicBezTo>
                    <a:pt x="1161" y="1406"/>
                    <a:pt x="1161" y="1459"/>
                    <a:pt x="1199" y="1451"/>
                  </a:cubicBezTo>
                  <a:cubicBezTo>
                    <a:pt x="1222" y="1444"/>
                    <a:pt x="1245" y="1421"/>
                    <a:pt x="1260" y="1421"/>
                  </a:cubicBezTo>
                  <a:cubicBezTo>
                    <a:pt x="1260" y="1459"/>
                    <a:pt x="1184" y="1512"/>
                    <a:pt x="1153" y="1535"/>
                  </a:cubicBezTo>
                  <a:cubicBezTo>
                    <a:pt x="1092" y="1589"/>
                    <a:pt x="1085" y="1703"/>
                    <a:pt x="1123" y="1772"/>
                  </a:cubicBezTo>
                  <a:cubicBezTo>
                    <a:pt x="1146" y="1810"/>
                    <a:pt x="1153" y="1841"/>
                    <a:pt x="1169" y="1879"/>
                  </a:cubicBezTo>
                  <a:lnTo>
                    <a:pt x="1169" y="1879"/>
                  </a:lnTo>
                  <a:cubicBezTo>
                    <a:pt x="1421" y="1803"/>
                    <a:pt x="1421" y="1803"/>
                    <a:pt x="1421" y="1803"/>
                  </a:cubicBezTo>
                  <a:lnTo>
                    <a:pt x="1421" y="1803"/>
                  </a:lnTo>
                  <a:cubicBezTo>
                    <a:pt x="1436" y="1787"/>
                    <a:pt x="1459" y="1772"/>
                    <a:pt x="1482" y="1749"/>
                  </a:cubicBezTo>
                  <a:cubicBezTo>
                    <a:pt x="1505" y="1719"/>
                    <a:pt x="1528" y="1688"/>
                    <a:pt x="1543" y="1650"/>
                  </a:cubicBezTo>
                  <a:cubicBezTo>
                    <a:pt x="1558" y="1604"/>
                    <a:pt x="1551" y="1535"/>
                    <a:pt x="1596" y="1512"/>
                  </a:cubicBezTo>
                  <a:cubicBezTo>
                    <a:pt x="1642" y="1482"/>
                    <a:pt x="1703" y="1520"/>
                    <a:pt x="1757" y="1512"/>
                  </a:cubicBezTo>
                  <a:cubicBezTo>
                    <a:pt x="1780" y="1505"/>
                    <a:pt x="1787" y="1482"/>
                    <a:pt x="1803" y="1474"/>
                  </a:cubicBezTo>
                  <a:cubicBezTo>
                    <a:pt x="1833" y="1459"/>
                    <a:pt x="1879" y="1467"/>
                    <a:pt x="1910" y="1444"/>
                  </a:cubicBezTo>
                  <a:cubicBezTo>
                    <a:pt x="1932" y="1421"/>
                    <a:pt x="1948" y="1383"/>
                    <a:pt x="1948" y="1345"/>
                  </a:cubicBezTo>
                  <a:cubicBezTo>
                    <a:pt x="1948" y="1299"/>
                    <a:pt x="1917" y="1253"/>
                    <a:pt x="1917" y="1207"/>
                  </a:cubicBezTo>
                  <a:cubicBezTo>
                    <a:pt x="1917" y="1176"/>
                    <a:pt x="1910" y="1146"/>
                    <a:pt x="1932" y="1123"/>
                  </a:cubicBezTo>
                  <a:cubicBezTo>
                    <a:pt x="1955" y="1100"/>
                    <a:pt x="2001" y="1115"/>
                    <a:pt x="2032" y="1100"/>
                  </a:cubicBezTo>
                  <a:cubicBezTo>
                    <a:pt x="2062" y="1085"/>
                    <a:pt x="2078" y="1047"/>
                    <a:pt x="2093" y="1024"/>
                  </a:cubicBezTo>
                  <a:lnTo>
                    <a:pt x="2093" y="1024"/>
                  </a:lnTo>
                  <a:cubicBezTo>
                    <a:pt x="2101" y="1001"/>
                    <a:pt x="2101" y="970"/>
                    <a:pt x="2108" y="940"/>
                  </a:cubicBezTo>
                  <a:cubicBezTo>
                    <a:pt x="2116" y="924"/>
                    <a:pt x="2139" y="909"/>
                    <a:pt x="2139" y="886"/>
                  </a:cubicBezTo>
                  <a:cubicBezTo>
                    <a:pt x="2139" y="863"/>
                    <a:pt x="2093" y="856"/>
                    <a:pt x="2101" y="840"/>
                  </a:cubicBezTo>
                  <a:cubicBezTo>
                    <a:pt x="2108" y="810"/>
                    <a:pt x="2154" y="802"/>
                    <a:pt x="2169" y="772"/>
                  </a:cubicBezTo>
                  <a:cubicBezTo>
                    <a:pt x="2177" y="756"/>
                    <a:pt x="2154" y="733"/>
                    <a:pt x="2146" y="711"/>
                  </a:cubicBezTo>
                  <a:lnTo>
                    <a:pt x="2146" y="711"/>
                  </a:lnTo>
                  <a:cubicBezTo>
                    <a:pt x="2146" y="718"/>
                    <a:pt x="2139" y="718"/>
                    <a:pt x="2131" y="726"/>
                  </a:cubicBezTo>
                  <a:cubicBezTo>
                    <a:pt x="2116" y="733"/>
                    <a:pt x="2101" y="741"/>
                    <a:pt x="2085" y="741"/>
                  </a:cubicBezTo>
                  <a:cubicBezTo>
                    <a:pt x="2062" y="741"/>
                    <a:pt x="2039" y="733"/>
                    <a:pt x="2016" y="733"/>
                  </a:cubicBezTo>
                  <a:cubicBezTo>
                    <a:pt x="2009" y="733"/>
                    <a:pt x="2009" y="756"/>
                    <a:pt x="1994" y="756"/>
                  </a:cubicBezTo>
                  <a:cubicBezTo>
                    <a:pt x="1978" y="756"/>
                    <a:pt x="1948" y="756"/>
                    <a:pt x="1940" y="741"/>
                  </a:cubicBezTo>
                  <a:cubicBezTo>
                    <a:pt x="1917" y="726"/>
                    <a:pt x="1917" y="695"/>
                    <a:pt x="1917" y="672"/>
                  </a:cubicBezTo>
                  <a:cubicBezTo>
                    <a:pt x="1917" y="665"/>
                    <a:pt x="1940" y="649"/>
                    <a:pt x="1932" y="642"/>
                  </a:cubicBezTo>
                  <a:cubicBezTo>
                    <a:pt x="1917" y="626"/>
                    <a:pt x="1902" y="642"/>
                    <a:pt x="1887" y="649"/>
                  </a:cubicBezTo>
                  <a:cubicBezTo>
                    <a:pt x="1871" y="649"/>
                    <a:pt x="1856" y="665"/>
                    <a:pt x="1841" y="672"/>
                  </a:cubicBezTo>
                  <a:cubicBezTo>
                    <a:pt x="1826" y="680"/>
                    <a:pt x="1818" y="695"/>
                    <a:pt x="1795" y="703"/>
                  </a:cubicBezTo>
                  <a:cubicBezTo>
                    <a:pt x="1772" y="711"/>
                    <a:pt x="1742" y="703"/>
                    <a:pt x="1719" y="718"/>
                  </a:cubicBezTo>
                  <a:cubicBezTo>
                    <a:pt x="1688" y="733"/>
                    <a:pt x="1673" y="764"/>
                    <a:pt x="1642" y="787"/>
                  </a:cubicBezTo>
                  <a:cubicBezTo>
                    <a:pt x="1627" y="795"/>
                    <a:pt x="1604" y="810"/>
                    <a:pt x="1581" y="802"/>
                  </a:cubicBezTo>
                  <a:cubicBezTo>
                    <a:pt x="1558" y="795"/>
                    <a:pt x="1543" y="756"/>
                    <a:pt x="1528" y="741"/>
                  </a:cubicBezTo>
                  <a:cubicBezTo>
                    <a:pt x="1505" y="718"/>
                    <a:pt x="1482" y="695"/>
                    <a:pt x="1467" y="672"/>
                  </a:cubicBezTo>
                  <a:cubicBezTo>
                    <a:pt x="1451" y="657"/>
                    <a:pt x="1467" y="634"/>
                    <a:pt x="1451" y="619"/>
                  </a:cubicBezTo>
                  <a:cubicBezTo>
                    <a:pt x="1436" y="611"/>
                    <a:pt x="1421" y="626"/>
                    <a:pt x="1405" y="626"/>
                  </a:cubicBezTo>
                  <a:cubicBezTo>
                    <a:pt x="1375" y="634"/>
                    <a:pt x="1344" y="657"/>
                    <a:pt x="1321" y="642"/>
                  </a:cubicBezTo>
                  <a:cubicBezTo>
                    <a:pt x="1299" y="619"/>
                    <a:pt x="1306" y="565"/>
                    <a:pt x="1306" y="535"/>
                  </a:cubicBezTo>
                  <a:cubicBezTo>
                    <a:pt x="1306" y="512"/>
                    <a:pt x="1337" y="504"/>
                    <a:pt x="1337" y="489"/>
                  </a:cubicBezTo>
                  <a:cubicBezTo>
                    <a:pt x="1337" y="474"/>
                    <a:pt x="1329" y="466"/>
                    <a:pt x="1314" y="451"/>
                  </a:cubicBezTo>
                  <a:cubicBezTo>
                    <a:pt x="1306" y="443"/>
                    <a:pt x="1291" y="443"/>
                    <a:pt x="1291" y="428"/>
                  </a:cubicBezTo>
                  <a:cubicBezTo>
                    <a:pt x="1283" y="420"/>
                    <a:pt x="1291" y="413"/>
                    <a:pt x="1283" y="405"/>
                  </a:cubicBezTo>
                  <a:cubicBezTo>
                    <a:pt x="1276" y="397"/>
                    <a:pt x="1253" y="405"/>
                    <a:pt x="1253" y="390"/>
                  </a:cubicBezTo>
                  <a:cubicBezTo>
                    <a:pt x="1253" y="359"/>
                    <a:pt x="1268" y="328"/>
                    <a:pt x="1291" y="298"/>
                  </a:cubicBezTo>
                  <a:cubicBezTo>
                    <a:pt x="1306" y="275"/>
                    <a:pt x="1337" y="267"/>
                    <a:pt x="1352" y="252"/>
                  </a:cubicBezTo>
                  <a:cubicBezTo>
                    <a:pt x="1367" y="229"/>
                    <a:pt x="1360" y="206"/>
                    <a:pt x="1367" y="184"/>
                  </a:cubicBezTo>
                  <a:cubicBezTo>
                    <a:pt x="1367" y="168"/>
                    <a:pt x="1382" y="161"/>
                    <a:pt x="1390" y="145"/>
                  </a:cubicBezTo>
                  <a:cubicBezTo>
                    <a:pt x="1398" y="130"/>
                    <a:pt x="1413" y="115"/>
                    <a:pt x="1405" y="107"/>
                  </a:cubicBezTo>
                  <a:cubicBezTo>
                    <a:pt x="1405" y="92"/>
                    <a:pt x="1382" y="99"/>
                    <a:pt x="1367" y="92"/>
                  </a:cubicBezTo>
                  <a:cubicBezTo>
                    <a:pt x="1344" y="76"/>
                    <a:pt x="1321" y="53"/>
                    <a:pt x="1306" y="31"/>
                  </a:cubicBezTo>
                  <a:cubicBezTo>
                    <a:pt x="1283" y="8"/>
                    <a:pt x="1299" y="23"/>
                    <a:pt x="1283" y="0"/>
                  </a:cubicBezTo>
                </a:path>
              </a:pathLst>
            </a:custGeom>
            <a:solidFill>
              <a:schemeClr val="accent1"/>
            </a:solidFill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72" name="Freeform 21"/>
            <p:cNvSpPr>
              <a:spLocks noChangeArrowheads="1"/>
            </p:cNvSpPr>
            <p:nvPr/>
          </p:nvSpPr>
          <p:spPr bwMode="auto">
            <a:xfrm>
              <a:off x="5311429" y="7202488"/>
              <a:ext cx="371451" cy="292100"/>
            </a:xfrm>
            <a:custGeom>
              <a:avLst/>
              <a:gdLst>
                <a:gd name="T0" fmla="*/ 550 w 1032"/>
                <a:gd name="T1" fmla="*/ 809 h 810"/>
                <a:gd name="T2" fmla="*/ 550 w 1032"/>
                <a:gd name="T3" fmla="*/ 809 h 810"/>
                <a:gd name="T4" fmla="*/ 626 w 1032"/>
                <a:gd name="T5" fmla="*/ 695 h 810"/>
                <a:gd name="T6" fmla="*/ 718 w 1032"/>
                <a:gd name="T7" fmla="*/ 649 h 810"/>
                <a:gd name="T8" fmla="*/ 741 w 1032"/>
                <a:gd name="T9" fmla="*/ 588 h 810"/>
                <a:gd name="T10" fmla="*/ 817 w 1032"/>
                <a:gd name="T11" fmla="*/ 511 h 810"/>
                <a:gd name="T12" fmla="*/ 955 w 1032"/>
                <a:gd name="T13" fmla="*/ 466 h 810"/>
                <a:gd name="T14" fmla="*/ 955 w 1032"/>
                <a:gd name="T15" fmla="*/ 466 h 810"/>
                <a:gd name="T16" fmla="*/ 955 w 1032"/>
                <a:gd name="T17" fmla="*/ 466 h 810"/>
                <a:gd name="T18" fmla="*/ 1001 w 1032"/>
                <a:gd name="T19" fmla="*/ 305 h 810"/>
                <a:gd name="T20" fmla="*/ 886 w 1032"/>
                <a:gd name="T21" fmla="*/ 313 h 810"/>
                <a:gd name="T22" fmla="*/ 626 w 1032"/>
                <a:gd name="T23" fmla="*/ 61 h 810"/>
                <a:gd name="T24" fmla="*/ 519 w 1032"/>
                <a:gd name="T25" fmla="*/ 38 h 810"/>
                <a:gd name="T26" fmla="*/ 367 w 1032"/>
                <a:gd name="T27" fmla="*/ 30 h 810"/>
                <a:gd name="T28" fmla="*/ 260 w 1032"/>
                <a:gd name="T29" fmla="*/ 61 h 810"/>
                <a:gd name="T30" fmla="*/ 221 w 1032"/>
                <a:gd name="T31" fmla="*/ 69 h 810"/>
                <a:gd name="T32" fmla="*/ 183 w 1032"/>
                <a:gd name="T33" fmla="*/ 76 h 810"/>
                <a:gd name="T34" fmla="*/ 130 w 1032"/>
                <a:gd name="T35" fmla="*/ 336 h 810"/>
                <a:gd name="T36" fmla="*/ 38 w 1032"/>
                <a:gd name="T37" fmla="*/ 298 h 810"/>
                <a:gd name="T38" fmla="*/ 0 w 1032"/>
                <a:gd name="T39" fmla="*/ 389 h 810"/>
                <a:gd name="T40" fmla="*/ 92 w 1032"/>
                <a:gd name="T41" fmla="*/ 405 h 810"/>
                <a:gd name="T42" fmla="*/ 206 w 1032"/>
                <a:gd name="T43" fmla="*/ 504 h 810"/>
                <a:gd name="T44" fmla="*/ 267 w 1032"/>
                <a:gd name="T45" fmla="*/ 596 h 810"/>
                <a:gd name="T46" fmla="*/ 389 w 1032"/>
                <a:gd name="T47" fmla="*/ 725 h 810"/>
                <a:gd name="T48" fmla="*/ 550 w 1032"/>
                <a:gd name="T49" fmla="*/ 809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32" h="810">
                  <a:moveTo>
                    <a:pt x="550" y="809"/>
                  </a:moveTo>
                  <a:lnTo>
                    <a:pt x="550" y="809"/>
                  </a:lnTo>
                  <a:cubicBezTo>
                    <a:pt x="580" y="779"/>
                    <a:pt x="596" y="718"/>
                    <a:pt x="626" y="695"/>
                  </a:cubicBezTo>
                  <a:cubicBezTo>
                    <a:pt x="657" y="680"/>
                    <a:pt x="695" y="680"/>
                    <a:pt x="718" y="649"/>
                  </a:cubicBezTo>
                  <a:cubicBezTo>
                    <a:pt x="741" y="634"/>
                    <a:pt x="726" y="603"/>
                    <a:pt x="741" y="588"/>
                  </a:cubicBezTo>
                  <a:cubicBezTo>
                    <a:pt x="764" y="557"/>
                    <a:pt x="787" y="527"/>
                    <a:pt x="817" y="511"/>
                  </a:cubicBezTo>
                  <a:cubicBezTo>
                    <a:pt x="848" y="488"/>
                    <a:pt x="924" y="481"/>
                    <a:pt x="955" y="466"/>
                  </a:cubicBezTo>
                  <a:lnTo>
                    <a:pt x="955" y="466"/>
                  </a:lnTo>
                  <a:lnTo>
                    <a:pt x="955" y="466"/>
                  </a:lnTo>
                  <a:cubicBezTo>
                    <a:pt x="955" y="458"/>
                    <a:pt x="1031" y="290"/>
                    <a:pt x="1001" y="305"/>
                  </a:cubicBezTo>
                  <a:cubicBezTo>
                    <a:pt x="962" y="328"/>
                    <a:pt x="932" y="298"/>
                    <a:pt x="886" y="313"/>
                  </a:cubicBezTo>
                  <a:cubicBezTo>
                    <a:pt x="756" y="374"/>
                    <a:pt x="657" y="152"/>
                    <a:pt x="626" y="61"/>
                  </a:cubicBezTo>
                  <a:cubicBezTo>
                    <a:pt x="588" y="61"/>
                    <a:pt x="550" y="53"/>
                    <a:pt x="519" y="38"/>
                  </a:cubicBezTo>
                  <a:cubicBezTo>
                    <a:pt x="443" y="0"/>
                    <a:pt x="443" y="23"/>
                    <a:pt x="367" y="30"/>
                  </a:cubicBezTo>
                  <a:cubicBezTo>
                    <a:pt x="321" y="30"/>
                    <a:pt x="298" y="38"/>
                    <a:pt x="260" y="61"/>
                  </a:cubicBezTo>
                  <a:cubicBezTo>
                    <a:pt x="252" y="69"/>
                    <a:pt x="237" y="69"/>
                    <a:pt x="221" y="69"/>
                  </a:cubicBezTo>
                  <a:cubicBezTo>
                    <a:pt x="214" y="76"/>
                    <a:pt x="183" y="69"/>
                    <a:pt x="183" y="76"/>
                  </a:cubicBezTo>
                  <a:cubicBezTo>
                    <a:pt x="229" y="107"/>
                    <a:pt x="160" y="336"/>
                    <a:pt x="130" y="336"/>
                  </a:cubicBezTo>
                  <a:cubicBezTo>
                    <a:pt x="84" y="336"/>
                    <a:pt x="107" y="259"/>
                    <a:pt x="38" y="298"/>
                  </a:cubicBezTo>
                  <a:cubicBezTo>
                    <a:pt x="0" y="313"/>
                    <a:pt x="0" y="344"/>
                    <a:pt x="0" y="389"/>
                  </a:cubicBezTo>
                  <a:cubicBezTo>
                    <a:pt x="23" y="389"/>
                    <a:pt x="76" y="374"/>
                    <a:pt x="92" y="405"/>
                  </a:cubicBezTo>
                  <a:cubicBezTo>
                    <a:pt x="137" y="504"/>
                    <a:pt x="84" y="466"/>
                    <a:pt x="206" y="504"/>
                  </a:cubicBezTo>
                  <a:cubicBezTo>
                    <a:pt x="252" y="519"/>
                    <a:pt x="260" y="557"/>
                    <a:pt x="267" y="596"/>
                  </a:cubicBezTo>
                  <a:cubicBezTo>
                    <a:pt x="275" y="619"/>
                    <a:pt x="367" y="702"/>
                    <a:pt x="389" y="725"/>
                  </a:cubicBezTo>
                  <a:cubicBezTo>
                    <a:pt x="443" y="771"/>
                    <a:pt x="489" y="794"/>
                    <a:pt x="550" y="809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73" name="Freeform 22"/>
            <p:cNvSpPr>
              <a:spLocks noChangeArrowheads="1"/>
            </p:cNvSpPr>
            <p:nvPr/>
          </p:nvSpPr>
          <p:spPr bwMode="auto">
            <a:xfrm>
              <a:off x="6132114" y="7599364"/>
              <a:ext cx="552414" cy="642937"/>
            </a:xfrm>
            <a:custGeom>
              <a:avLst/>
              <a:gdLst>
                <a:gd name="T0" fmla="*/ 1298 w 1535"/>
                <a:gd name="T1" fmla="*/ 0 h 1788"/>
                <a:gd name="T2" fmla="*/ 1206 w 1535"/>
                <a:gd name="T3" fmla="*/ 160 h 1788"/>
                <a:gd name="T4" fmla="*/ 1198 w 1535"/>
                <a:gd name="T5" fmla="*/ 305 h 1788"/>
                <a:gd name="T6" fmla="*/ 1290 w 1535"/>
                <a:gd name="T7" fmla="*/ 389 h 1788"/>
                <a:gd name="T8" fmla="*/ 1244 w 1535"/>
                <a:gd name="T9" fmla="*/ 435 h 1788"/>
                <a:gd name="T10" fmla="*/ 1183 w 1535"/>
                <a:gd name="T11" fmla="*/ 542 h 1788"/>
                <a:gd name="T12" fmla="*/ 1130 w 1535"/>
                <a:gd name="T13" fmla="*/ 496 h 1788"/>
                <a:gd name="T14" fmla="*/ 984 w 1535"/>
                <a:gd name="T15" fmla="*/ 504 h 1788"/>
                <a:gd name="T16" fmla="*/ 870 w 1535"/>
                <a:gd name="T17" fmla="*/ 618 h 1788"/>
                <a:gd name="T18" fmla="*/ 961 w 1535"/>
                <a:gd name="T19" fmla="*/ 725 h 1788"/>
                <a:gd name="T20" fmla="*/ 1046 w 1535"/>
                <a:gd name="T21" fmla="*/ 847 h 1788"/>
                <a:gd name="T22" fmla="*/ 1229 w 1535"/>
                <a:gd name="T23" fmla="*/ 993 h 1788"/>
                <a:gd name="T24" fmla="*/ 1267 w 1535"/>
                <a:gd name="T25" fmla="*/ 840 h 1788"/>
                <a:gd name="T26" fmla="*/ 1298 w 1535"/>
                <a:gd name="T27" fmla="*/ 664 h 1788"/>
                <a:gd name="T28" fmla="*/ 1412 w 1535"/>
                <a:gd name="T29" fmla="*/ 680 h 1788"/>
                <a:gd name="T30" fmla="*/ 1511 w 1535"/>
                <a:gd name="T31" fmla="*/ 794 h 1788"/>
                <a:gd name="T32" fmla="*/ 1519 w 1535"/>
                <a:gd name="T33" fmla="*/ 955 h 1788"/>
                <a:gd name="T34" fmla="*/ 1420 w 1535"/>
                <a:gd name="T35" fmla="*/ 985 h 1788"/>
                <a:gd name="T36" fmla="*/ 1488 w 1535"/>
                <a:gd name="T37" fmla="*/ 1084 h 1788"/>
                <a:gd name="T38" fmla="*/ 1435 w 1535"/>
                <a:gd name="T39" fmla="*/ 1291 h 1788"/>
                <a:gd name="T40" fmla="*/ 1466 w 1535"/>
                <a:gd name="T41" fmla="*/ 1405 h 1788"/>
                <a:gd name="T42" fmla="*/ 1389 w 1535"/>
                <a:gd name="T43" fmla="*/ 1566 h 1788"/>
                <a:gd name="T44" fmla="*/ 1275 w 1535"/>
                <a:gd name="T45" fmla="*/ 1619 h 1788"/>
                <a:gd name="T46" fmla="*/ 1152 w 1535"/>
                <a:gd name="T47" fmla="*/ 1711 h 1788"/>
                <a:gd name="T48" fmla="*/ 1046 w 1535"/>
                <a:gd name="T49" fmla="*/ 1764 h 1788"/>
                <a:gd name="T50" fmla="*/ 946 w 1535"/>
                <a:gd name="T51" fmla="*/ 1779 h 1788"/>
                <a:gd name="T52" fmla="*/ 824 w 1535"/>
                <a:gd name="T53" fmla="*/ 1787 h 1788"/>
                <a:gd name="T54" fmla="*/ 755 w 1535"/>
                <a:gd name="T55" fmla="*/ 1649 h 1788"/>
                <a:gd name="T56" fmla="*/ 679 w 1535"/>
                <a:gd name="T57" fmla="*/ 1588 h 1788"/>
                <a:gd name="T58" fmla="*/ 457 w 1535"/>
                <a:gd name="T59" fmla="*/ 1680 h 1788"/>
                <a:gd name="T60" fmla="*/ 343 w 1535"/>
                <a:gd name="T61" fmla="*/ 1711 h 1788"/>
                <a:gd name="T62" fmla="*/ 121 w 1535"/>
                <a:gd name="T63" fmla="*/ 1550 h 1788"/>
                <a:gd name="T64" fmla="*/ 31 w 1535"/>
                <a:gd name="T65" fmla="*/ 1428 h 1788"/>
                <a:gd name="T66" fmla="*/ 144 w 1535"/>
                <a:gd name="T67" fmla="*/ 1336 h 1788"/>
                <a:gd name="T68" fmla="*/ 282 w 1535"/>
                <a:gd name="T69" fmla="*/ 1313 h 1788"/>
                <a:gd name="T70" fmla="*/ 381 w 1535"/>
                <a:gd name="T71" fmla="*/ 1161 h 1788"/>
                <a:gd name="T72" fmla="*/ 251 w 1535"/>
                <a:gd name="T73" fmla="*/ 1199 h 1788"/>
                <a:gd name="T74" fmla="*/ 182 w 1535"/>
                <a:gd name="T75" fmla="*/ 1115 h 1788"/>
                <a:gd name="T76" fmla="*/ 282 w 1535"/>
                <a:gd name="T77" fmla="*/ 977 h 1788"/>
                <a:gd name="T78" fmla="*/ 305 w 1535"/>
                <a:gd name="T79" fmla="*/ 870 h 1788"/>
                <a:gd name="T80" fmla="*/ 343 w 1535"/>
                <a:gd name="T81" fmla="*/ 779 h 1788"/>
                <a:gd name="T82" fmla="*/ 389 w 1535"/>
                <a:gd name="T83" fmla="*/ 672 h 1788"/>
                <a:gd name="T84" fmla="*/ 266 w 1535"/>
                <a:gd name="T85" fmla="*/ 588 h 1788"/>
                <a:gd name="T86" fmla="*/ 167 w 1535"/>
                <a:gd name="T87" fmla="*/ 534 h 1788"/>
                <a:gd name="T88" fmla="*/ 175 w 1535"/>
                <a:gd name="T89" fmla="*/ 374 h 1788"/>
                <a:gd name="T90" fmla="*/ 152 w 1535"/>
                <a:gd name="T91" fmla="*/ 313 h 1788"/>
                <a:gd name="T92" fmla="*/ 205 w 1535"/>
                <a:gd name="T93" fmla="*/ 282 h 1788"/>
                <a:gd name="T94" fmla="*/ 373 w 1535"/>
                <a:gd name="T95" fmla="*/ 137 h 1788"/>
                <a:gd name="T96" fmla="*/ 549 w 1535"/>
                <a:gd name="T97" fmla="*/ 152 h 1788"/>
                <a:gd name="T98" fmla="*/ 725 w 1535"/>
                <a:gd name="T99" fmla="*/ 252 h 1788"/>
                <a:gd name="T100" fmla="*/ 794 w 1535"/>
                <a:gd name="T101" fmla="*/ 68 h 1788"/>
                <a:gd name="T102" fmla="*/ 877 w 1535"/>
                <a:gd name="T103" fmla="*/ 15 h 1788"/>
                <a:gd name="T104" fmla="*/ 961 w 1535"/>
                <a:gd name="T105" fmla="*/ 91 h 1788"/>
                <a:gd name="T106" fmla="*/ 1076 w 1535"/>
                <a:gd name="T107" fmla="*/ 68 h 1788"/>
                <a:gd name="T108" fmla="*/ 1206 w 1535"/>
                <a:gd name="T109" fmla="*/ 38 h 1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35" h="1788">
                  <a:moveTo>
                    <a:pt x="1298" y="0"/>
                  </a:moveTo>
                  <a:lnTo>
                    <a:pt x="1298" y="0"/>
                  </a:lnTo>
                  <a:cubicBezTo>
                    <a:pt x="1298" y="30"/>
                    <a:pt x="1313" y="61"/>
                    <a:pt x="1298" y="84"/>
                  </a:cubicBezTo>
                  <a:cubicBezTo>
                    <a:pt x="1275" y="122"/>
                    <a:pt x="1229" y="130"/>
                    <a:pt x="1206" y="160"/>
                  </a:cubicBezTo>
                  <a:cubicBezTo>
                    <a:pt x="1183" y="183"/>
                    <a:pt x="1168" y="213"/>
                    <a:pt x="1168" y="244"/>
                  </a:cubicBezTo>
                  <a:cubicBezTo>
                    <a:pt x="1168" y="267"/>
                    <a:pt x="1175" y="298"/>
                    <a:pt x="1198" y="305"/>
                  </a:cubicBezTo>
                  <a:cubicBezTo>
                    <a:pt x="1236" y="313"/>
                    <a:pt x="1282" y="244"/>
                    <a:pt x="1305" y="267"/>
                  </a:cubicBezTo>
                  <a:cubicBezTo>
                    <a:pt x="1336" y="298"/>
                    <a:pt x="1305" y="351"/>
                    <a:pt x="1290" y="389"/>
                  </a:cubicBezTo>
                  <a:cubicBezTo>
                    <a:pt x="1282" y="412"/>
                    <a:pt x="1259" y="420"/>
                    <a:pt x="1244" y="435"/>
                  </a:cubicBezTo>
                  <a:lnTo>
                    <a:pt x="1244" y="435"/>
                  </a:lnTo>
                  <a:cubicBezTo>
                    <a:pt x="1221" y="443"/>
                    <a:pt x="1175" y="427"/>
                    <a:pt x="1168" y="450"/>
                  </a:cubicBezTo>
                  <a:cubicBezTo>
                    <a:pt x="1145" y="473"/>
                    <a:pt x="1183" y="511"/>
                    <a:pt x="1183" y="542"/>
                  </a:cubicBezTo>
                  <a:cubicBezTo>
                    <a:pt x="1175" y="550"/>
                    <a:pt x="1160" y="557"/>
                    <a:pt x="1152" y="550"/>
                  </a:cubicBezTo>
                  <a:cubicBezTo>
                    <a:pt x="1137" y="534"/>
                    <a:pt x="1152" y="496"/>
                    <a:pt x="1130" y="496"/>
                  </a:cubicBezTo>
                  <a:cubicBezTo>
                    <a:pt x="1114" y="488"/>
                    <a:pt x="1099" y="534"/>
                    <a:pt x="1084" y="534"/>
                  </a:cubicBezTo>
                  <a:cubicBezTo>
                    <a:pt x="1046" y="534"/>
                    <a:pt x="1015" y="496"/>
                    <a:pt x="984" y="504"/>
                  </a:cubicBezTo>
                  <a:cubicBezTo>
                    <a:pt x="969" y="511"/>
                    <a:pt x="1000" y="550"/>
                    <a:pt x="984" y="565"/>
                  </a:cubicBezTo>
                  <a:cubicBezTo>
                    <a:pt x="954" y="595"/>
                    <a:pt x="900" y="588"/>
                    <a:pt x="870" y="618"/>
                  </a:cubicBezTo>
                  <a:cubicBezTo>
                    <a:pt x="855" y="634"/>
                    <a:pt x="862" y="657"/>
                    <a:pt x="870" y="672"/>
                  </a:cubicBezTo>
                  <a:cubicBezTo>
                    <a:pt x="893" y="702"/>
                    <a:pt x="938" y="702"/>
                    <a:pt x="961" y="725"/>
                  </a:cubicBezTo>
                  <a:cubicBezTo>
                    <a:pt x="969" y="741"/>
                    <a:pt x="938" y="756"/>
                    <a:pt x="946" y="771"/>
                  </a:cubicBezTo>
                  <a:cubicBezTo>
                    <a:pt x="969" y="802"/>
                    <a:pt x="1015" y="817"/>
                    <a:pt x="1046" y="847"/>
                  </a:cubicBezTo>
                  <a:cubicBezTo>
                    <a:pt x="1076" y="878"/>
                    <a:pt x="1099" y="916"/>
                    <a:pt x="1130" y="939"/>
                  </a:cubicBezTo>
                  <a:cubicBezTo>
                    <a:pt x="1160" y="962"/>
                    <a:pt x="1191" y="993"/>
                    <a:pt x="1229" y="993"/>
                  </a:cubicBezTo>
                  <a:cubicBezTo>
                    <a:pt x="1252" y="993"/>
                    <a:pt x="1252" y="955"/>
                    <a:pt x="1259" y="939"/>
                  </a:cubicBezTo>
                  <a:cubicBezTo>
                    <a:pt x="1267" y="909"/>
                    <a:pt x="1259" y="870"/>
                    <a:pt x="1267" y="840"/>
                  </a:cubicBezTo>
                  <a:cubicBezTo>
                    <a:pt x="1275" y="794"/>
                    <a:pt x="1298" y="756"/>
                    <a:pt x="1305" y="710"/>
                  </a:cubicBezTo>
                  <a:cubicBezTo>
                    <a:pt x="1305" y="695"/>
                    <a:pt x="1282" y="664"/>
                    <a:pt x="1298" y="664"/>
                  </a:cubicBezTo>
                  <a:cubicBezTo>
                    <a:pt x="1336" y="657"/>
                    <a:pt x="1374" y="672"/>
                    <a:pt x="1412" y="680"/>
                  </a:cubicBezTo>
                  <a:lnTo>
                    <a:pt x="1412" y="680"/>
                  </a:lnTo>
                  <a:cubicBezTo>
                    <a:pt x="1412" y="718"/>
                    <a:pt x="1382" y="756"/>
                    <a:pt x="1397" y="786"/>
                  </a:cubicBezTo>
                  <a:cubicBezTo>
                    <a:pt x="1427" y="809"/>
                    <a:pt x="1481" y="779"/>
                    <a:pt x="1511" y="794"/>
                  </a:cubicBezTo>
                  <a:cubicBezTo>
                    <a:pt x="1534" y="809"/>
                    <a:pt x="1534" y="840"/>
                    <a:pt x="1534" y="863"/>
                  </a:cubicBezTo>
                  <a:cubicBezTo>
                    <a:pt x="1534" y="893"/>
                    <a:pt x="1527" y="924"/>
                    <a:pt x="1519" y="955"/>
                  </a:cubicBezTo>
                  <a:lnTo>
                    <a:pt x="1519" y="955"/>
                  </a:lnTo>
                  <a:cubicBezTo>
                    <a:pt x="1488" y="962"/>
                    <a:pt x="1443" y="962"/>
                    <a:pt x="1420" y="985"/>
                  </a:cubicBezTo>
                  <a:cubicBezTo>
                    <a:pt x="1405" y="1000"/>
                    <a:pt x="1420" y="1023"/>
                    <a:pt x="1427" y="1038"/>
                  </a:cubicBezTo>
                  <a:cubicBezTo>
                    <a:pt x="1443" y="1061"/>
                    <a:pt x="1473" y="1061"/>
                    <a:pt x="1488" y="1084"/>
                  </a:cubicBezTo>
                  <a:cubicBezTo>
                    <a:pt x="1504" y="1107"/>
                    <a:pt x="1519" y="1138"/>
                    <a:pt x="1511" y="1168"/>
                  </a:cubicBezTo>
                  <a:cubicBezTo>
                    <a:pt x="1496" y="1214"/>
                    <a:pt x="1443" y="1245"/>
                    <a:pt x="1435" y="1291"/>
                  </a:cubicBezTo>
                  <a:cubicBezTo>
                    <a:pt x="1427" y="1329"/>
                    <a:pt x="1458" y="1367"/>
                    <a:pt x="1466" y="1405"/>
                  </a:cubicBezTo>
                  <a:lnTo>
                    <a:pt x="1466" y="1405"/>
                  </a:lnTo>
                  <a:cubicBezTo>
                    <a:pt x="1435" y="1420"/>
                    <a:pt x="1382" y="1405"/>
                    <a:pt x="1374" y="1436"/>
                  </a:cubicBezTo>
                  <a:cubicBezTo>
                    <a:pt x="1351" y="1474"/>
                    <a:pt x="1382" y="1520"/>
                    <a:pt x="1389" y="1566"/>
                  </a:cubicBezTo>
                  <a:cubicBezTo>
                    <a:pt x="1389" y="1566"/>
                    <a:pt x="1298" y="1588"/>
                    <a:pt x="1290" y="1588"/>
                  </a:cubicBezTo>
                  <a:cubicBezTo>
                    <a:pt x="1282" y="1588"/>
                    <a:pt x="1275" y="1619"/>
                    <a:pt x="1275" y="1619"/>
                  </a:cubicBezTo>
                  <a:cubicBezTo>
                    <a:pt x="1275" y="1619"/>
                    <a:pt x="1206" y="1627"/>
                    <a:pt x="1191" y="1627"/>
                  </a:cubicBezTo>
                  <a:cubicBezTo>
                    <a:pt x="1183" y="1627"/>
                    <a:pt x="1152" y="1711"/>
                    <a:pt x="1152" y="1711"/>
                  </a:cubicBezTo>
                  <a:cubicBezTo>
                    <a:pt x="1130" y="1711"/>
                    <a:pt x="1107" y="1688"/>
                    <a:pt x="1084" y="1695"/>
                  </a:cubicBezTo>
                  <a:cubicBezTo>
                    <a:pt x="1061" y="1703"/>
                    <a:pt x="1069" y="1749"/>
                    <a:pt x="1046" y="1764"/>
                  </a:cubicBezTo>
                  <a:cubicBezTo>
                    <a:pt x="1015" y="1779"/>
                    <a:pt x="977" y="1779"/>
                    <a:pt x="946" y="1779"/>
                  </a:cubicBezTo>
                  <a:lnTo>
                    <a:pt x="946" y="1779"/>
                  </a:lnTo>
                  <a:cubicBezTo>
                    <a:pt x="931" y="1756"/>
                    <a:pt x="931" y="1703"/>
                    <a:pt x="900" y="1711"/>
                  </a:cubicBezTo>
                  <a:cubicBezTo>
                    <a:pt x="862" y="1711"/>
                    <a:pt x="855" y="1764"/>
                    <a:pt x="824" y="1787"/>
                  </a:cubicBezTo>
                  <a:cubicBezTo>
                    <a:pt x="824" y="1787"/>
                    <a:pt x="732" y="1711"/>
                    <a:pt x="732" y="1703"/>
                  </a:cubicBezTo>
                  <a:cubicBezTo>
                    <a:pt x="725" y="1695"/>
                    <a:pt x="755" y="1649"/>
                    <a:pt x="755" y="1649"/>
                  </a:cubicBezTo>
                  <a:lnTo>
                    <a:pt x="679" y="1642"/>
                  </a:lnTo>
                  <a:cubicBezTo>
                    <a:pt x="671" y="1642"/>
                    <a:pt x="679" y="1588"/>
                    <a:pt x="679" y="1588"/>
                  </a:cubicBezTo>
                  <a:cubicBezTo>
                    <a:pt x="641" y="1581"/>
                    <a:pt x="602" y="1558"/>
                    <a:pt x="564" y="1573"/>
                  </a:cubicBezTo>
                  <a:cubicBezTo>
                    <a:pt x="519" y="1588"/>
                    <a:pt x="496" y="1642"/>
                    <a:pt x="457" y="1680"/>
                  </a:cubicBezTo>
                  <a:lnTo>
                    <a:pt x="457" y="1680"/>
                  </a:lnTo>
                  <a:cubicBezTo>
                    <a:pt x="412" y="1680"/>
                    <a:pt x="381" y="1703"/>
                    <a:pt x="343" y="1711"/>
                  </a:cubicBezTo>
                  <a:cubicBezTo>
                    <a:pt x="320" y="1711"/>
                    <a:pt x="305" y="1703"/>
                    <a:pt x="282" y="1703"/>
                  </a:cubicBezTo>
                  <a:cubicBezTo>
                    <a:pt x="251" y="1642"/>
                    <a:pt x="167" y="1604"/>
                    <a:pt x="121" y="1550"/>
                  </a:cubicBezTo>
                  <a:cubicBezTo>
                    <a:pt x="98" y="1535"/>
                    <a:pt x="75" y="1520"/>
                    <a:pt x="52" y="1504"/>
                  </a:cubicBezTo>
                  <a:cubicBezTo>
                    <a:pt x="31" y="1474"/>
                    <a:pt x="0" y="1459"/>
                    <a:pt x="31" y="1428"/>
                  </a:cubicBezTo>
                  <a:cubicBezTo>
                    <a:pt x="46" y="1405"/>
                    <a:pt x="60" y="1374"/>
                    <a:pt x="83" y="1374"/>
                  </a:cubicBezTo>
                  <a:cubicBezTo>
                    <a:pt x="129" y="1374"/>
                    <a:pt x="121" y="1359"/>
                    <a:pt x="144" y="1336"/>
                  </a:cubicBezTo>
                  <a:cubicBezTo>
                    <a:pt x="160" y="1329"/>
                    <a:pt x="182" y="1336"/>
                    <a:pt x="198" y="1329"/>
                  </a:cubicBezTo>
                  <a:cubicBezTo>
                    <a:pt x="228" y="1313"/>
                    <a:pt x="251" y="1321"/>
                    <a:pt x="282" y="1313"/>
                  </a:cubicBezTo>
                  <a:cubicBezTo>
                    <a:pt x="320" y="1313"/>
                    <a:pt x="343" y="1275"/>
                    <a:pt x="350" y="1245"/>
                  </a:cubicBezTo>
                  <a:cubicBezTo>
                    <a:pt x="389" y="1222"/>
                    <a:pt x="381" y="1199"/>
                    <a:pt x="381" y="1161"/>
                  </a:cubicBezTo>
                  <a:cubicBezTo>
                    <a:pt x="381" y="1122"/>
                    <a:pt x="358" y="1069"/>
                    <a:pt x="320" y="1115"/>
                  </a:cubicBezTo>
                  <a:cubicBezTo>
                    <a:pt x="305" y="1138"/>
                    <a:pt x="282" y="1176"/>
                    <a:pt x="251" y="1199"/>
                  </a:cubicBezTo>
                  <a:cubicBezTo>
                    <a:pt x="244" y="1207"/>
                    <a:pt x="175" y="1291"/>
                    <a:pt x="190" y="1214"/>
                  </a:cubicBezTo>
                  <a:cubicBezTo>
                    <a:pt x="198" y="1184"/>
                    <a:pt x="221" y="1138"/>
                    <a:pt x="182" y="1115"/>
                  </a:cubicBezTo>
                  <a:cubicBezTo>
                    <a:pt x="182" y="1077"/>
                    <a:pt x="228" y="1077"/>
                    <a:pt x="228" y="1046"/>
                  </a:cubicBezTo>
                  <a:cubicBezTo>
                    <a:pt x="236" y="1016"/>
                    <a:pt x="259" y="993"/>
                    <a:pt x="282" y="977"/>
                  </a:cubicBezTo>
                  <a:cubicBezTo>
                    <a:pt x="297" y="962"/>
                    <a:pt x="274" y="955"/>
                    <a:pt x="274" y="939"/>
                  </a:cubicBezTo>
                  <a:cubicBezTo>
                    <a:pt x="266" y="924"/>
                    <a:pt x="297" y="878"/>
                    <a:pt x="305" y="870"/>
                  </a:cubicBezTo>
                  <a:cubicBezTo>
                    <a:pt x="320" y="855"/>
                    <a:pt x="305" y="824"/>
                    <a:pt x="320" y="817"/>
                  </a:cubicBezTo>
                  <a:cubicBezTo>
                    <a:pt x="327" y="809"/>
                    <a:pt x="350" y="802"/>
                    <a:pt x="343" y="779"/>
                  </a:cubicBezTo>
                  <a:cubicBezTo>
                    <a:pt x="335" y="741"/>
                    <a:pt x="404" y="725"/>
                    <a:pt x="434" y="725"/>
                  </a:cubicBezTo>
                  <a:cubicBezTo>
                    <a:pt x="434" y="710"/>
                    <a:pt x="412" y="680"/>
                    <a:pt x="389" y="672"/>
                  </a:cubicBezTo>
                  <a:cubicBezTo>
                    <a:pt x="343" y="657"/>
                    <a:pt x="358" y="657"/>
                    <a:pt x="350" y="618"/>
                  </a:cubicBezTo>
                  <a:cubicBezTo>
                    <a:pt x="327" y="618"/>
                    <a:pt x="289" y="611"/>
                    <a:pt x="266" y="588"/>
                  </a:cubicBezTo>
                  <a:cubicBezTo>
                    <a:pt x="236" y="565"/>
                    <a:pt x="244" y="519"/>
                    <a:pt x="205" y="557"/>
                  </a:cubicBezTo>
                  <a:cubicBezTo>
                    <a:pt x="190" y="580"/>
                    <a:pt x="175" y="557"/>
                    <a:pt x="167" y="534"/>
                  </a:cubicBezTo>
                  <a:cubicBezTo>
                    <a:pt x="144" y="504"/>
                    <a:pt x="129" y="527"/>
                    <a:pt x="137" y="473"/>
                  </a:cubicBezTo>
                  <a:cubicBezTo>
                    <a:pt x="152" y="420"/>
                    <a:pt x="98" y="412"/>
                    <a:pt x="175" y="374"/>
                  </a:cubicBezTo>
                  <a:cubicBezTo>
                    <a:pt x="198" y="336"/>
                    <a:pt x="182" y="351"/>
                    <a:pt x="152" y="320"/>
                  </a:cubicBezTo>
                  <a:cubicBezTo>
                    <a:pt x="152" y="320"/>
                    <a:pt x="152" y="320"/>
                    <a:pt x="152" y="313"/>
                  </a:cubicBezTo>
                  <a:lnTo>
                    <a:pt x="152" y="313"/>
                  </a:lnTo>
                  <a:cubicBezTo>
                    <a:pt x="167" y="305"/>
                    <a:pt x="198" y="290"/>
                    <a:pt x="205" y="282"/>
                  </a:cubicBezTo>
                  <a:cubicBezTo>
                    <a:pt x="259" y="244"/>
                    <a:pt x="228" y="191"/>
                    <a:pt x="305" y="206"/>
                  </a:cubicBezTo>
                  <a:cubicBezTo>
                    <a:pt x="366" y="213"/>
                    <a:pt x="343" y="152"/>
                    <a:pt x="373" y="137"/>
                  </a:cubicBezTo>
                  <a:cubicBezTo>
                    <a:pt x="389" y="130"/>
                    <a:pt x="412" y="122"/>
                    <a:pt x="419" y="107"/>
                  </a:cubicBezTo>
                  <a:cubicBezTo>
                    <a:pt x="465" y="99"/>
                    <a:pt x="496" y="191"/>
                    <a:pt x="549" y="152"/>
                  </a:cubicBezTo>
                  <a:cubicBezTo>
                    <a:pt x="602" y="114"/>
                    <a:pt x="641" y="175"/>
                    <a:pt x="671" y="221"/>
                  </a:cubicBezTo>
                  <a:cubicBezTo>
                    <a:pt x="686" y="259"/>
                    <a:pt x="694" y="290"/>
                    <a:pt x="725" y="252"/>
                  </a:cubicBezTo>
                  <a:cubicBezTo>
                    <a:pt x="763" y="206"/>
                    <a:pt x="824" y="213"/>
                    <a:pt x="809" y="145"/>
                  </a:cubicBezTo>
                  <a:cubicBezTo>
                    <a:pt x="809" y="130"/>
                    <a:pt x="801" y="68"/>
                    <a:pt x="794" y="68"/>
                  </a:cubicBezTo>
                  <a:lnTo>
                    <a:pt x="794" y="68"/>
                  </a:lnTo>
                  <a:cubicBezTo>
                    <a:pt x="824" y="53"/>
                    <a:pt x="847" y="23"/>
                    <a:pt x="877" y="15"/>
                  </a:cubicBezTo>
                  <a:cubicBezTo>
                    <a:pt x="900" y="7"/>
                    <a:pt x="931" y="7"/>
                    <a:pt x="954" y="30"/>
                  </a:cubicBezTo>
                  <a:cubicBezTo>
                    <a:pt x="969" y="46"/>
                    <a:pt x="954" y="76"/>
                    <a:pt x="961" y="91"/>
                  </a:cubicBezTo>
                  <a:cubicBezTo>
                    <a:pt x="984" y="114"/>
                    <a:pt x="1015" y="137"/>
                    <a:pt x="1046" y="130"/>
                  </a:cubicBezTo>
                  <a:cubicBezTo>
                    <a:pt x="1069" y="130"/>
                    <a:pt x="1053" y="76"/>
                    <a:pt x="1076" y="68"/>
                  </a:cubicBezTo>
                  <a:cubicBezTo>
                    <a:pt x="1114" y="53"/>
                    <a:pt x="1152" y="76"/>
                    <a:pt x="1191" y="84"/>
                  </a:cubicBezTo>
                  <a:cubicBezTo>
                    <a:pt x="1191" y="84"/>
                    <a:pt x="1191" y="46"/>
                    <a:pt x="1206" y="38"/>
                  </a:cubicBezTo>
                  <a:cubicBezTo>
                    <a:pt x="1213" y="38"/>
                    <a:pt x="1298" y="0"/>
                    <a:pt x="1298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74" name="Freeform 23"/>
            <p:cNvSpPr>
              <a:spLocks noChangeArrowheads="1"/>
            </p:cNvSpPr>
            <p:nvPr/>
          </p:nvSpPr>
          <p:spPr bwMode="auto">
            <a:xfrm>
              <a:off x="6438481" y="7753350"/>
              <a:ext cx="201600" cy="204788"/>
            </a:xfrm>
            <a:custGeom>
              <a:avLst/>
              <a:gdLst>
                <a:gd name="T0" fmla="*/ 389 w 558"/>
                <a:gd name="T1" fmla="*/ 8 h 567"/>
                <a:gd name="T2" fmla="*/ 389 w 558"/>
                <a:gd name="T3" fmla="*/ 8 h 567"/>
                <a:gd name="T4" fmla="*/ 450 w 558"/>
                <a:gd name="T5" fmla="*/ 61 h 567"/>
                <a:gd name="T6" fmla="*/ 458 w 558"/>
                <a:gd name="T7" fmla="*/ 115 h 567"/>
                <a:gd name="T8" fmla="*/ 527 w 558"/>
                <a:gd name="T9" fmla="*/ 191 h 567"/>
                <a:gd name="T10" fmla="*/ 557 w 558"/>
                <a:gd name="T11" fmla="*/ 253 h 567"/>
                <a:gd name="T12" fmla="*/ 557 w 558"/>
                <a:gd name="T13" fmla="*/ 253 h 567"/>
                <a:gd name="T14" fmla="*/ 443 w 558"/>
                <a:gd name="T15" fmla="*/ 237 h 567"/>
                <a:gd name="T16" fmla="*/ 450 w 558"/>
                <a:gd name="T17" fmla="*/ 283 h 567"/>
                <a:gd name="T18" fmla="*/ 412 w 558"/>
                <a:gd name="T19" fmla="*/ 413 h 567"/>
                <a:gd name="T20" fmla="*/ 404 w 558"/>
                <a:gd name="T21" fmla="*/ 512 h 567"/>
                <a:gd name="T22" fmla="*/ 374 w 558"/>
                <a:gd name="T23" fmla="*/ 566 h 567"/>
                <a:gd name="T24" fmla="*/ 275 w 558"/>
                <a:gd name="T25" fmla="*/ 512 h 567"/>
                <a:gd name="T26" fmla="*/ 191 w 558"/>
                <a:gd name="T27" fmla="*/ 420 h 567"/>
                <a:gd name="T28" fmla="*/ 91 w 558"/>
                <a:gd name="T29" fmla="*/ 344 h 567"/>
                <a:gd name="T30" fmla="*/ 106 w 558"/>
                <a:gd name="T31" fmla="*/ 298 h 567"/>
                <a:gd name="T32" fmla="*/ 15 w 558"/>
                <a:gd name="T33" fmla="*/ 245 h 567"/>
                <a:gd name="T34" fmla="*/ 15 w 558"/>
                <a:gd name="T35" fmla="*/ 191 h 567"/>
                <a:gd name="T36" fmla="*/ 129 w 558"/>
                <a:gd name="T37" fmla="*/ 138 h 567"/>
                <a:gd name="T38" fmla="*/ 129 w 558"/>
                <a:gd name="T39" fmla="*/ 77 h 567"/>
                <a:gd name="T40" fmla="*/ 229 w 558"/>
                <a:gd name="T41" fmla="*/ 107 h 567"/>
                <a:gd name="T42" fmla="*/ 275 w 558"/>
                <a:gd name="T43" fmla="*/ 69 h 567"/>
                <a:gd name="T44" fmla="*/ 297 w 558"/>
                <a:gd name="T45" fmla="*/ 123 h 567"/>
                <a:gd name="T46" fmla="*/ 328 w 558"/>
                <a:gd name="T47" fmla="*/ 115 h 567"/>
                <a:gd name="T48" fmla="*/ 313 w 558"/>
                <a:gd name="T49" fmla="*/ 23 h 567"/>
                <a:gd name="T50" fmla="*/ 389 w 558"/>
                <a:gd name="T51" fmla="*/ 8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8" h="567">
                  <a:moveTo>
                    <a:pt x="389" y="8"/>
                  </a:moveTo>
                  <a:lnTo>
                    <a:pt x="389" y="8"/>
                  </a:lnTo>
                  <a:cubicBezTo>
                    <a:pt x="412" y="23"/>
                    <a:pt x="435" y="39"/>
                    <a:pt x="450" y="61"/>
                  </a:cubicBezTo>
                  <a:cubicBezTo>
                    <a:pt x="466" y="77"/>
                    <a:pt x="450" y="100"/>
                    <a:pt x="458" y="115"/>
                  </a:cubicBezTo>
                  <a:cubicBezTo>
                    <a:pt x="473" y="145"/>
                    <a:pt x="511" y="161"/>
                    <a:pt x="527" y="191"/>
                  </a:cubicBezTo>
                  <a:cubicBezTo>
                    <a:pt x="542" y="207"/>
                    <a:pt x="550" y="230"/>
                    <a:pt x="557" y="253"/>
                  </a:cubicBezTo>
                  <a:lnTo>
                    <a:pt x="557" y="253"/>
                  </a:lnTo>
                  <a:cubicBezTo>
                    <a:pt x="519" y="245"/>
                    <a:pt x="481" y="230"/>
                    <a:pt x="443" y="237"/>
                  </a:cubicBezTo>
                  <a:cubicBezTo>
                    <a:pt x="427" y="237"/>
                    <a:pt x="450" y="268"/>
                    <a:pt x="450" y="283"/>
                  </a:cubicBezTo>
                  <a:cubicBezTo>
                    <a:pt x="443" y="329"/>
                    <a:pt x="420" y="367"/>
                    <a:pt x="412" y="413"/>
                  </a:cubicBezTo>
                  <a:cubicBezTo>
                    <a:pt x="404" y="443"/>
                    <a:pt x="412" y="482"/>
                    <a:pt x="404" y="512"/>
                  </a:cubicBezTo>
                  <a:cubicBezTo>
                    <a:pt x="397" y="528"/>
                    <a:pt x="397" y="566"/>
                    <a:pt x="374" y="566"/>
                  </a:cubicBezTo>
                  <a:cubicBezTo>
                    <a:pt x="336" y="566"/>
                    <a:pt x="305" y="535"/>
                    <a:pt x="275" y="512"/>
                  </a:cubicBezTo>
                  <a:cubicBezTo>
                    <a:pt x="244" y="489"/>
                    <a:pt x="221" y="451"/>
                    <a:pt x="191" y="420"/>
                  </a:cubicBezTo>
                  <a:cubicBezTo>
                    <a:pt x="160" y="390"/>
                    <a:pt x="114" y="375"/>
                    <a:pt x="91" y="344"/>
                  </a:cubicBezTo>
                  <a:cubicBezTo>
                    <a:pt x="83" y="329"/>
                    <a:pt x="114" y="314"/>
                    <a:pt x="106" y="298"/>
                  </a:cubicBezTo>
                  <a:cubicBezTo>
                    <a:pt x="83" y="275"/>
                    <a:pt x="38" y="275"/>
                    <a:pt x="15" y="245"/>
                  </a:cubicBezTo>
                  <a:cubicBezTo>
                    <a:pt x="7" y="230"/>
                    <a:pt x="0" y="207"/>
                    <a:pt x="15" y="191"/>
                  </a:cubicBezTo>
                  <a:cubicBezTo>
                    <a:pt x="45" y="161"/>
                    <a:pt x="99" y="168"/>
                    <a:pt x="129" y="138"/>
                  </a:cubicBezTo>
                  <a:cubicBezTo>
                    <a:pt x="145" y="123"/>
                    <a:pt x="114" y="84"/>
                    <a:pt x="129" y="77"/>
                  </a:cubicBezTo>
                  <a:cubicBezTo>
                    <a:pt x="160" y="69"/>
                    <a:pt x="191" y="107"/>
                    <a:pt x="229" y="107"/>
                  </a:cubicBezTo>
                  <a:cubicBezTo>
                    <a:pt x="244" y="107"/>
                    <a:pt x="259" y="61"/>
                    <a:pt x="275" y="69"/>
                  </a:cubicBezTo>
                  <a:cubicBezTo>
                    <a:pt x="297" y="69"/>
                    <a:pt x="282" y="107"/>
                    <a:pt x="297" y="123"/>
                  </a:cubicBezTo>
                  <a:cubicBezTo>
                    <a:pt x="305" y="130"/>
                    <a:pt x="320" y="123"/>
                    <a:pt x="328" y="115"/>
                  </a:cubicBezTo>
                  <a:cubicBezTo>
                    <a:pt x="328" y="84"/>
                    <a:pt x="290" y="46"/>
                    <a:pt x="313" y="23"/>
                  </a:cubicBezTo>
                  <a:cubicBezTo>
                    <a:pt x="320" y="0"/>
                    <a:pt x="366" y="16"/>
                    <a:pt x="389" y="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75" name="Freeform 24"/>
            <p:cNvSpPr>
              <a:spLocks noChangeArrowheads="1"/>
            </p:cNvSpPr>
            <p:nvPr/>
          </p:nvSpPr>
          <p:spPr bwMode="auto">
            <a:xfrm>
              <a:off x="6636906" y="7942263"/>
              <a:ext cx="107943" cy="187325"/>
            </a:xfrm>
            <a:custGeom>
              <a:avLst/>
              <a:gdLst>
                <a:gd name="T0" fmla="*/ 114 w 298"/>
                <a:gd name="T1" fmla="*/ 0 h 520"/>
                <a:gd name="T2" fmla="*/ 114 w 298"/>
                <a:gd name="T3" fmla="*/ 0 h 520"/>
                <a:gd name="T4" fmla="*/ 190 w 298"/>
                <a:gd name="T5" fmla="*/ 38 h 520"/>
                <a:gd name="T6" fmla="*/ 190 w 298"/>
                <a:gd name="T7" fmla="*/ 38 h 520"/>
                <a:gd name="T8" fmla="*/ 198 w 298"/>
                <a:gd name="T9" fmla="*/ 106 h 520"/>
                <a:gd name="T10" fmla="*/ 229 w 298"/>
                <a:gd name="T11" fmla="*/ 152 h 520"/>
                <a:gd name="T12" fmla="*/ 297 w 298"/>
                <a:gd name="T13" fmla="*/ 183 h 520"/>
                <a:gd name="T14" fmla="*/ 297 w 298"/>
                <a:gd name="T15" fmla="*/ 183 h 520"/>
                <a:gd name="T16" fmla="*/ 206 w 298"/>
                <a:gd name="T17" fmla="*/ 297 h 520"/>
                <a:gd name="T18" fmla="*/ 259 w 298"/>
                <a:gd name="T19" fmla="*/ 504 h 520"/>
                <a:gd name="T20" fmla="*/ 259 w 298"/>
                <a:gd name="T21" fmla="*/ 504 h 520"/>
                <a:gd name="T22" fmla="*/ 221 w 298"/>
                <a:gd name="T23" fmla="*/ 511 h 520"/>
                <a:gd name="T24" fmla="*/ 61 w 298"/>
                <a:gd name="T25" fmla="*/ 450 h 520"/>
                <a:gd name="T26" fmla="*/ 61 w 298"/>
                <a:gd name="T27" fmla="*/ 450 h 520"/>
                <a:gd name="T28" fmla="*/ 30 w 298"/>
                <a:gd name="T29" fmla="*/ 336 h 520"/>
                <a:gd name="T30" fmla="*/ 106 w 298"/>
                <a:gd name="T31" fmla="*/ 213 h 520"/>
                <a:gd name="T32" fmla="*/ 83 w 298"/>
                <a:gd name="T33" fmla="*/ 129 h 520"/>
                <a:gd name="T34" fmla="*/ 22 w 298"/>
                <a:gd name="T35" fmla="*/ 83 h 520"/>
                <a:gd name="T36" fmla="*/ 15 w 298"/>
                <a:gd name="T37" fmla="*/ 30 h 520"/>
                <a:gd name="T38" fmla="*/ 114 w 298"/>
                <a:gd name="T39" fmla="*/ 0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8" h="520">
                  <a:moveTo>
                    <a:pt x="114" y="0"/>
                  </a:moveTo>
                  <a:lnTo>
                    <a:pt x="114" y="0"/>
                  </a:lnTo>
                  <a:cubicBezTo>
                    <a:pt x="190" y="38"/>
                    <a:pt x="190" y="38"/>
                    <a:pt x="190" y="38"/>
                  </a:cubicBezTo>
                  <a:lnTo>
                    <a:pt x="190" y="38"/>
                  </a:lnTo>
                  <a:cubicBezTo>
                    <a:pt x="198" y="61"/>
                    <a:pt x="190" y="83"/>
                    <a:pt x="198" y="106"/>
                  </a:cubicBezTo>
                  <a:cubicBezTo>
                    <a:pt x="206" y="122"/>
                    <a:pt x="213" y="137"/>
                    <a:pt x="229" y="152"/>
                  </a:cubicBezTo>
                  <a:cubicBezTo>
                    <a:pt x="244" y="167"/>
                    <a:pt x="275" y="167"/>
                    <a:pt x="297" y="183"/>
                  </a:cubicBezTo>
                  <a:lnTo>
                    <a:pt x="297" y="183"/>
                  </a:lnTo>
                  <a:cubicBezTo>
                    <a:pt x="267" y="221"/>
                    <a:pt x="206" y="252"/>
                    <a:pt x="206" y="297"/>
                  </a:cubicBezTo>
                  <a:cubicBezTo>
                    <a:pt x="198" y="366"/>
                    <a:pt x="236" y="435"/>
                    <a:pt x="259" y="504"/>
                  </a:cubicBezTo>
                  <a:lnTo>
                    <a:pt x="259" y="504"/>
                  </a:lnTo>
                  <a:cubicBezTo>
                    <a:pt x="244" y="504"/>
                    <a:pt x="236" y="519"/>
                    <a:pt x="221" y="511"/>
                  </a:cubicBezTo>
                  <a:cubicBezTo>
                    <a:pt x="168" y="496"/>
                    <a:pt x="114" y="473"/>
                    <a:pt x="61" y="450"/>
                  </a:cubicBezTo>
                  <a:lnTo>
                    <a:pt x="61" y="450"/>
                  </a:lnTo>
                  <a:cubicBezTo>
                    <a:pt x="53" y="412"/>
                    <a:pt x="22" y="374"/>
                    <a:pt x="30" y="336"/>
                  </a:cubicBezTo>
                  <a:cubicBezTo>
                    <a:pt x="38" y="290"/>
                    <a:pt x="91" y="259"/>
                    <a:pt x="106" y="213"/>
                  </a:cubicBezTo>
                  <a:cubicBezTo>
                    <a:pt x="114" y="183"/>
                    <a:pt x="99" y="152"/>
                    <a:pt x="83" y="129"/>
                  </a:cubicBezTo>
                  <a:cubicBezTo>
                    <a:pt x="68" y="106"/>
                    <a:pt x="38" y="106"/>
                    <a:pt x="22" y="83"/>
                  </a:cubicBezTo>
                  <a:cubicBezTo>
                    <a:pt x="15" y="68"/>
                    <a:pt x="0" y="45"/>
                    <a:pt x="15" y="30"/>
                  </a:cubicBezTo>
                  <a:cubicBezTo>
                    <a:pt x="38" y="7"/>
                    <a:pt x="83" y="7"/>
                    <a:pt x="114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76" name="Freeform 25"/>
            <p:cNvSpPr>
              <a:spLocks noChangeArrowheads="1"/>
            </p:cNvSpPr>
            <p:nvPr/>
          </p:nvSpPr>
          <p:spPr bwMode="auto">
            <a:xfrm>
              <a:off x="6705163" y="7923213"/>
              <a:ext cx="90482" cy="88900"/>
            </a:xfrm>
            <a:custGeom>
              <a:avLst/>
              <a:gdLst>
                <a:gd name="T0" fmla="*/ 0 w 253"/>
                <a:gd name="T1" fmla="*/ 92 h 245"/>
                <a:gd name="T2" fmla="*/ 0 w 253"/>
                <a:gd name="T3" fmla="*/ 92 h 245"/>
                <a:gd name="T4" fmla="*/ 8 w 253"/>
                <a:gd name="T5" fmla="*/ 160 h 245"/>
                <a:gd name="T6" fmla="*/ 39 w 253"/>
                <a:gd name="T7" fmla="*/ 206 h 245"/>
                <a:gd name="T8" fmla="*/ 107 w 253"/>
                <a:gd name="T9" fmla="*/ 237 h 245"/>
                <a:gd name="T10" fmla="*/ 107 w 253"/>
                <a:gd name="T11" fmla="*/ 237 h 245"/>
                <a:gd name="T12" fmla="*/ 191 w 253"/>
                <a:gd name="T13" fmla="*/ 244 h 245"/>
                <a:gd name="T14" fmla="*/ 191 w 253"/>
                <a:gd name="T15" fmla="*/ 244 h 245"/>
                <a:gd name="T16" fmla="*/ 237 w 253"/>
                <a:gd name="T17" fmla="*/ 221 h 245"/>
                <a:gd name="T18" fmla="*/ 237 w 253"/>
                <a:gd name="T19" fmla="*/ 221 h 245"/>
                <a:gd name="T20" fmla="*/ 191 w 253"/>
                <a:gd name="T21" fmla="*/ 137 h 245"/>
                <a:gd name="T22" fmla="*/ 252 w 253"/>
                <a:gd name="T23" fmla="*/ 76 h 245"/>
                <a:gd name="T24" fmla="*/ 252 w 253"/>
                <a:gd name="T25" fmla="*/ 76 h 245"/>
                <a:gd name="T26" fmla="*/ 107 w 253"/>
                <a:gd name="T27" fmla="*/ 0 h 245"/>
                <a:gd name="T28" fmla="*/ 0 w 253"/>
                <a:gd name="T29" fmla="*/ 92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3" h="245">
                  <a:moveTo>
                    <a:pt x="0" y="92"/>
                  </a:moveTo>
                  <a:lnTo>
                    <a:pt x="0" y="92"/>
                  </a:lnTo>
                  <a:cubicBezTo>
                    <a:pt x="8" y="115"/>
                    <a:pt x="0" y="137"/>
                    <a:pt x="8" y="160"/>
                  </a:cubicBezTo>
                  <a:cubicBezTo>
                    <a:pt x="16" y="176"/>
                    <a:pt x="23" y="191"/>
                    <a:pt x="39" y="206"/>
                  </a:cubicBezTo>
                  <a:cubicBezTo>
                    <a:pt x="54" y="221"/>
                    <a:pt x="85" y="221"/>
                    <a:pt x="107" y="237"/>
                  </a:cubicBezTo>
                  <a:lnTo>
                    <a:pt x="107" y="237"/>
                  </a:lnTo>
                  <a:cubicBezTo>
                    <a:pt x="191" y="244"/>
                    <a:pt x="191" y="244"/>
                    <a:pt x="191" y="244"/>
                  </a:cubicBezTo>
                  <a:lnTo>
                    <a:pt x="191" y="244"/>
                  </a:lnTo>
                  <a:cubicBezTo>
                    <a:pt x="237" y="221"/>
                    <a:pt x="237" y="221"/>
                    <a:pt x="237" y="221"/>
                  </a:cubicBezTo>
                  <a:lnTo>
                    <a:pt x="237" y="221"/>
                  </a:lnTo>
                  <a:cubicBezTo>
                    <a:pt x="222" y="191"/>
                    <a:pt x="191" y="168"/>
                    <a:pt x="191" y="137"/>
                  </a:cubicBezTo>
                  <a:cubicBezTo>
                    <a:pt x="199" y="107"/>
                    <a:pt x="230" y="92"/>
                    <a:pt x="252" y="76"/>
                  </a:cubicBezTo>
                  <a:lnTo>
                    <a:pt x="252" y="76"/>
                  </a:lnTo>
                  <a:cubicBezTo>
                    <a:pt x="199" y="54"/>
                    <a:pt x="161" y="0"/>
                    <a:pt x="107" y="0"/>
                  </a:cubicBezTo>
                  <a:cubicBezTo>
                    <a:pt x="62" y="8"/>
                    <a:pt x="39" y="61"/>
                    <a:pt x="0" y="9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77" name="Freeform 26"/>
            <p:cNvSpPr>
              <a:spLocks noChangeArrowheads="1"/>
            </p:cNvSpPr>
            <p:nvPr/>
          </p:nvSpPr>
          <p:spPr bwMode="auto">
            <a:xfrm>
              <a:off x="6708338" y="8008939"/>
              <a:ext cx="107943" cy="115887"/>
            </a:xfrm>
            <a:custGeom>
              <a:avLst/>
              <a:gdLst>
                <a:gd name="T0" fmla="*/ 99 w 299"/>
                <a:gd name="T1" fmla="*/ 0 h 322"/>
                <a:gd name="T2" fmla="*/ 99 w 299"/>
                <a:gd name="T3" fmla="*/ 0 h 322"/>
                <a:gd name="T4" fmla="*/ 183 w 299"/>
                <a:gd name="T5" fmla="*/ 7 h 322"/>
                <a:gd name="T6" fmla="*/ 183 w 299"/>
                <a:gd name="T7" fmla="*/ 7 h 322"/>
                <a:gd name="T8" fmla="*/ 199 w 299"/>
                <a:gd name="T9" fmla="*/ 114 h 322"/>
                <a:gd name="T10" fmla="*/ 176 w 299"/>
                <a:gd name="T11" fmla="*/ 214 h 322"/>
                <a:gd name="T12" fmla="*/ 214 w 299"/>
                <a:gd name="T13" fmla="*/ 229 h 322"/>
                <a:gd name="T14" fmla="*/ 252 w 299"/>
                <a:gd name="T15" fmla="*/ 175 h 322"/>
                <a:gd name="T16" fmla="*/ 298 w 299"/>
                <a:gd name="T17" fmla="*/ 221 h 322"/>
                <a:gd name="T18" fmla="*/ 298 w 299"/>
                <a:gd name="T19" fmla="*/ 221 h 322"/>
                <a:gd name="T20" fmla="*/ 283 w 299"/>
                <a:gd name="T21" fmla="*/ 298 h 322"/>
                <a:gd name="T22" fmla="*/ 283 w 299"/>
                <a:gd name="T23" fmla="*/ 298 h 322"/>
                <a:gd name="T24" fmla="*/ 229 w 299"/>
                <a:gd name="T25" fmla="*/ 282 h 322"/>
                <a:gd name="T26" fmla="*/ 191 w 299"/>
                <a:gd name="T27" fmla="*/ 305 h 322"/>
                <a:gd name="T28" fmla="*/ 145 w 299"/>
                <a:gd name="T29" fmla="*/ 282 h 322"/>
                <a:gd name="T30" fmla="*/ 107 w 299"/>
                <a:gd name="T31" fmla="*/ 321 h 322"/>
                <a:gd name="T32" fmla="*/ 61 w 299"/>
                <a:gd name="T33" fmla="*/ 321 h 322"/>
                <a:gd name="T34" fmla="*/ 61 w 299"/>
                <a:gd name="T35" fmla="*/ 321 h 322"/>
                <a:gd name="T36" fmla="*/ 8 w 299"/>
                <a:gd name="T37" fmla="*/ 114 h 322"/>
                <a:gd name="T38" fmla="*/ 99 w 299"/>
                <a:gd name="T3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9" h="322">
                  <a:moveTo>
                    <a:pt x="99" y="0"/>
                  </a:moveTo>
                  <a:lnTo>
                    <a:pt x="99" y="0"/>
                  </a:lnTo>
                  <a:cubicBezTo>
                    <a:pt x="183" y="7"/>
                    <a:pt x="183" y="7"/>
                    <a:pt x="183" y="7"/>
                  </a:cubicBezTo>
                  <a:lnTo>
                    <a:pt x="183" y="7"/>
                  </a:lnTo>
                  <a:cubicBezTo>
                    <a:pt x="191" y="46"/>
                    <a:pt x="206" y="76"/>
                    <a:pt x="199" y="114"/>
                  </a:cubicBezTo>
                  <a:cubicBezTo>
                    <a:pt x="199" y="153"/>
                    <a:pt x="168" y="183"/>
                    <a:pt x="176" y="214"/>
                  </a:cubicBezTo>
                  <a:cubicBezTo>
                    <a:pt x="176" y="229"/>
                    <a:pt x="199" y="236"/>
                    <a:pt x="214" y="229"/>
                  </a:cubicBezTo>
                  <a:cubicBezTo>
                    <a:pt x="237" y="221"/>
                    <a:pt x="237" y="183"/>
                    <a:pt x="252" y="175"/>
                  </a:cubicBezTo>
                  <a:cubicBezTo>
                    <a:pt x="275" y="175"/>
                    <a:pt x="283" y="206"/>
                    <a:pt x="298" y="221"/>
                  </a:cubicBezTo>
                  <a:lnTo>
                    <a:pt x="298" y="221"/>
                  </a:lnTo>
                  <a:cubicBezTo>
                    <a:pt x="283" y="298"/>
                    <a:pt x="283" y="298"/>
                    <a:pt x="283" y="298"/>
                  </a:cubicBezTo>
                  <a:lnTo>
                    <a:pt x="283" y="298"/>
                  </a:lnTo>
                  <a:cubicBezTo>
                    <a:pt x="267" y="298"/>
                    <a:pt x="252" y="282"/>
                    <a:pt x="229" y="282"/>
                  </a:cubicBezTo>
                  <a:cubicBezTo>
                    <a:pt x="214" y="282"/>
                    <a:pt x="206" y="305"/>
                    <a:pt x="191" y="305"/>
                  </a:cubicBezTo>
                  <a:cubicBezTo>
                    <a:pt x="176" y="305"/>
                    <a:pt x="160" y="275"/>
                    <a:pt x="145" y="282"/>
                  </a:cubicBezTo>
                  <a:cubicBezTo>
                    <a:pt x="130" y="282"/>
                    <a:pt x="122" y="313"/>
                    <a:pt x="107" y="321"/>
                  </a:cubicBezTo>
                  <a:cubicBezTo>
                    <a:pt x="92" y="321"/>
                    <a:pt x="77" y="321"/>
                    <a:pt x="61" y="321"/>
                  </a:cubicBezTo>
                  <a:lnTo>
                    <a:pt x="61" y="321"/>
                  </a:lnTo>
                  <a:cubicBezTo>
                    <a:pt x="38" y="252"/>
                    <a:pt x="0" y="183"/>
                    <a:pt x="8" y="114"/>
                  </a:cubicBezTo>
                  <a:cubicBezTo>
                    <a:pt x="8" y="69"/>
                    <a:pt x="69" y="38"/>
                    <a:pt x="99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78" name="Freeform 27"/>
            <p:cNvSpPr>
              <a:spLocks noChangeArrowheads="1"/>
            </p:cNvSpPr>
            <p:nvPr/>
          </p:nvSpPr>
          <p:spPr bwMode="auto">
            <a:xfrm>
              <a:off x="6768659" y="7991475"/>
              <a:ext cx="96832" cy="101600"/>
            </a:xfrm>
            <a:custGeom>
              <a:avLst/>
              <a:gdLst>
                <a:gd name="T0" fmla="*/ 61 w 268"/>
                <a:gd name="T1" fmla="*/ 30 h 283"/>
                <a:gd name="T2" fmla="*/ 61 w 268"/>
                <a:gd name="T3" fmla="*/ 30 h 283"/>
                <a:gd name="T4" fmla="*/ 15 w 268"/>
                <a:gd name="T5" fmla="*/ 53 h 283"/>
                <a:gd name="T6" fmla="*/ 15 w 268"/>
                <a:gd name="T7" fmla="*/ 53 h 283"/>
                <a:gd name="T8" fmla="*/ 31 w 268"/>
                <a:gd name="T9" fmla="*/ 160 h 283"/>
                <a:gd name="T10" fmla="*/ 8 w 268"/>
                <a:gd name="T11" fmla="*/ 260 h 283"/>
                <a:gd name="T12" fmla="*/ 46 w 268"/>
                <a:gd name="T13" fmla="*/ 275 h 283"/>
                <a:gd name="T14" fmla="*/ 84 w 268"/>
                <a:gd name="T15" fmla="*/ 221 h 283"/>
                <a:gd name="T16" fmla="*/ 130 w 268"/>
                <a:gd name="T17" fmla="*/ 267 h 283"/>
                <a:gd name="T18" fmla="*/ 130 w 268"/>
                <a:gd name="T19" fmla="*/ 267 h 283"/>
                <a:gd name="T20" fmla="*/ 206 w 268"/>
                <a:gd name="T21" fmla="*/ 221 h 283"/>
                <a:gd name="T22" fmla="*/ 222 w 268"/>
                <a:gd name="T23" fmla="*/ 183 h 283"/>
                <a:gd name="T24" fmla="*/ 191 w 268"/>
                <a:gd name="T25" fmla="*/ 145 h 283"/>
                <a:gd name="T26" fmla="*/ 267 w 268"/>
                <a:gd name="T27" fmla="*/ 38 h 283"/>
                <a:gd name="T28" fmla="*/ 267 w 268"/>
                <a:gd name="T29" fmla="*/ 38 h 283"/>
                <a:gd name="T30" fmla="*/ 138 w 268"/>
                <a:gd name="T31" fmla="*/ 0 h 283"/>
                <a:gd name="T32" fmla="*/ 61 w 268"/>
                <a:gd name="T33" fmla="*/ 3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83">
                  <a:moveTo>
                    <a:pt x="61" y="30"/>
                  </a:moveTo>
                  <a:lnTo>
                    <a:pt x="61" y="30"/>
                  </a:lnTo>
                  <a:cubicBezTo>
                    <a:pt x="15" y="53"/>
                    <a:pt x="15" y="53"/>
                    <a:pt x="15" y="53"/>
                  </a:cubicBezTo>
                  <a:lnTo>
                    <a:pt x="15" y="53"/>
                  </a:lnTo>
                  <a:cubicBezTo>
                    <a:pt x="23" y="92"/>
                    <a:pt x="38" y="122"/>
                    <a:pt x="31" y="160"/>
                  </a:cubicBezTo>
                  <a:cubicBezTo>
                    <a:pt x="31" y="199"/>
                    <a:pt x="0" y="229"/>
                    <a:pt x="8" y="260"/>
                  </a:cubicBezTo>
                  <a:cubicBezTo>
                    <a:pt x="8" y="275"/>
                    <a:pt x="31" y="282"/>
                    <a:pt x="46" y="275"/>
                  </a:cubicBezTo>
                  <a:cubicBezTo>
                    <a:pt x="69" y="267"/>
                    <a:pt x="69" y="229"/>
                    <a:pt x="84" y="221"/>
                  </a:cubicBezTo>
                  <a:cubicBezTo>
                    <a:pt x="107" y="221"/>
                    <a:pt x="115" y="252"/>
                    <a:pt x="130" y="267"/>
                  </a:cubicBezTo>
                  <a:lnTo>
                    <a:pt x="130" y="267"/>
                  </a:lnTo>
                  <a:cubicBezTo>
                    <a:pt x="153" y="252"/>
                    <a:pt x="184" y="237"/>
                    <a:pt x="206" y="221"/>
                  </a:cubicBezTo>
                  <a:cubicBezTo>
                    <a:pt x="214" y="214"/>
                    <a:pt x="229" y="199"/>
                    <a:pt x="222" y="183"/>
                  </a:cubicBezTo>
                  <a:cubicBezTo>
                    <a:pt x="222" y="168"/>
                    <a:pt x="191" y="160"/>
                    <a:pt x="191" y="145"/>
                  </a:cubicBezTo>
                  <a:cubicBezTo>
                    <a:pt x="206" y="107"/>
                    <a:pt x="237" y="76"/>
                    <a:pt x="267" y="38"/>
                  </a:cubicBezTo>
                  <a:lnTo>
                    <a:pt x="267" y="38"/>
                  </a:lnTo>
                  <a:cubicBezTo>
                    <a:pt x="222" y="30"/>
                    <a:pt x="176" y="7"/>
                    <a:pt x="138" y="0"/>
                  </a:cubicBezTo>
                  <a:cubicBezTo>
                    <a:pt x="107" y="0"/>
                    <a:pt x="84" y="23"/>
                    <a:pt x="61" y="3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79" name="Freeform 28"/>
            <p:cNvSpPr>
              <a:spLocks noChangeArrowheads="1"/>
            </p:cNvSpPr>
            <p:nvPr/>
          </p:nvSpPr>
          <p:spPr bwMode="auto">
            <a:xfrm>
              <a:off x="6775009" y="7900989"/>
              <a:ext cx="111118" cy="104775"/>
            </a:xfrm>
            <a:custGeom>
              <a:avLst/>
              <a:gdLst>
                <a:gd name="T0" fmla="*/ 61 w 307"/>
                <a:gd name="T1" fmla="*/ 137 h 291"/>
                <a:gd name="T2" fmla="*/ 61 w 307"/>
                <a:gd name="T3" fmla="*/ 137 h 291"/>
                <a:gd name="T4" fmla="*/ 0 w 307"/>
                <a:gd name="T5" fmla="*/ 198 h 291"/>
                <a:gd name="T6" fmla="*/ 46 w 307"/>
                <a:gd name="T7" fmla="*/ 282 h 291"/>
                <a:gd name="T8" fmla="*/ 46 w 307"/>
                <a:gd name="T9" fmla="*/ 282 h 291"/>
                <a:gd name="T10" fmla="*/ 123 w 307"/>
                <a:gd name="T11" fmla="*/ 252 h 291"/>
                <a:gd name="T12" fmla="*/ 252 w 307"/>
                <a:gd name="T13" fmla="*/ 290 h 291"/>
                <a:gd name="T14" fmla="*/ 252 w 307"/>
                <a:gd name="T15" fmla="*/ 290 h 291"/>
                <a:gd name="T16" fmla="*/ 291 w 307"/>
                <a:gd name="T17" fmla="*/ 244 h 291"/>
                <a:gd name="T18" fmla="*/ 306 w 307"/>
                <a:gd name="T19" fmla="*/ 176 h 291"/>
                <a:gd name="T20" fmla="*/ 306 w 307"/>
                <a:gd name="T21" fmla="*/ 176 h 291"/>
                <a:gd name="T22" fmla="*/ 283 w 307"/>
                <a:gd name="T23" fmla="*/ 122 h 291"/>
                <a:gd name="T24" fmla="*/ 260 w 307"/>
                <a:gd name="T25" fmla="*/ 92 h 291"/>
                <a:gd name="T26" fmla="*/ 237 w 307"/>
                <a:gd name="T27" fmla="*/ 15 h 291"/>
                <a:gd name="T28" fmla="*/ 176 w 307"/>
                <a:gd name="T29" fmla="*/ 23 h 291"/>
                <a:gd name="T30" fmla="*/ 161 w 307"/>
                <a:gd name="T31" fmla="*/ 61 h 291"/>
                <a:gd name="T32" fmla="*/ 107 w 307"/>
                <a:gd name="T33" fmla="*/ 76 h 291"/>
                <a:gd name="T34" fmla="*/ 61 w 307"/>
                <a:gd name="T35" fmla="*/ 137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7" h="291">
                  <a:moveTo>
                    <a:pt x="61" y="137"/>
                  </a:moveTo>
                  <a:lnTo>
                    <a:pt x="61" y="137"/>
                  </a:lnTo>
                  <a:cubicBezTo>
                    <a:pt x="39" y="153"/>
                    <a:pt x="8" y="168"/>
                    <a:pt x="0" y="198"/>
                  </a:cubicBezTo>
                  <a:cubicBezTo>
                    <a:pt x="0" y="229"/>
                    <a:pt x="31" y="252"/>
                    <a:pt x="46" y="282"/>
                  </a:cubicBezTo>
                  <a:lnTo>
                    <a:pt x="46" y="282"/>
                  </a:lnTo>
                  <a:cubicBezTo>
                    <a:pt x="69" y="275"/>
                    <a:pt x="92" y="252"/>
                    <a:pt x="123" y="252"/>
                  </a:cubicBezTo>
                  <a:cubicBezTo>
                    <a:pt x="161" y="259"/>
                    <a:pt x="207" y="282"/>
                    <a:pt x="252" y="290"/>
                  </a:cubicBezTo>
                  <a:lnTo>
                    <a:pt x="252" y="290"/>
                  </a:lnTo>
                  <a:cubicBezTo>
                    <a:pt x="260" y="275"/>
                    <a:pt x="283" y="259"/>
                    <a:pt x="291" y="244"/>
                  </a:cubicBezTo>
                  <a:cubicBezTo>
                    <a:pt x="298" y="221"/>
                    <a:pt x="298" y="198"/>
                    <a:pt x="306" y="176"/>
                  </a:cubicBezTo>
                  <a:lnTo>
                    <a:pt x="306" y="176"/>
                  </a:lnTo>
                  <a:cubicBezTo>
                    <a:pt x="298" y="160"/>
                    <a:pt x="291" y="137"/>
                    <a:pt x="283" y="122"/>
                  </a:cubicBezTo>
                  <a:cubicBezTo>
                    <a:pt x="275" y="107"/>
                    <a:pt x="268" y="99"/>
                    <a:pt x="260" y="92"/>
                  </a:cubicBezTo>
                  <a:cubicBezTo>
                    <a:pt x="245" y="61"/>
                    <a:pt x="260" y="30"/>
                    <a:pt x="237" y="15"/>
                  </a:cubicBezTo>
                  <a:cubicBezTo>
                    <a:pt x="222" y="0"/>
                    <a:pt x="191" y="7"/>
                    <a:pt x="176" y="23"/>
                  </a:cubicBezTo>
                  <a:cubicBezTo>
                    <a:pt x="161" y="30"/>
                    <a:pt x="176" y="53"/>
                    <a:pt x="161" y="61"/>
                  </a:cubicBezTo>
                  <a:cubicBezTo>
                    <a:pt x="146" y="76"/>
                    <a:pt x="123" y="61"/>
                    <a:pt x="107" y="76"/>
                  </a:cubicBezTo>
                  <a:cubicBezTo>
                    <a:pt x="92" y="92"/>
                    <a:pt x="77" y="115"/>
                    <a:pt x="61" y="13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80" name="Freeform 29"/>
            <p:cNvSpPr>
              <a:spLocks noChangeArrowheads="1"/>
            </p:cNvSpPr>
            <p:nvPr/>
          </p:nvSpPr>
          <p:spPr bwMode="auto">
            <a:xfrm>
              <a:off x="6455943" y="8104188"/>
              <a:ext cx="503204" cy="449262"/>
            </a:xfrm>
            <a:custGeom>
              <a:avLst/>
              <a:gdLst>
                <a:gd name="T0" fmla="*/ 764 w 1399"/>
                <a:gd name="T1" fmla="*/ 54 h 1246"/>
                <a:gd name="T2" fmla="*/ 848 w 1399"/>
                <a:gd name="T3" fmla="*/ 15 h 1246"/>
                <a:gd name="T4" fmla="*/ 932 w 1399"/>
                <a:gd name="T5" fmla="*/ 15 h 1246"/>
                <a:gd name="T6" fmla="*/ 986 w 1399"/>
                <a:gd name="T7" fmla="*/ 31 h 1246"/>
                <a:gd name="T8" fmla="*/ 978 w 1399"/>
                <a:gd name="T9" fmla="*/ 107 h 1246"/>
                <a:gd name="T10" fmla="*/ 1093 w 1399"/>
                <a:gd name="T11" fmla="*/ 145 h 1246"/>
                <a:gd name="T12" fmla="*/ 1222 w 1399"/>
                <a:gd name="T13" fmla="*/ 92 h 1246"/>
                <a:gd name="T14" fmla="*/ 1253 w 1399"/>
                <a:gd name="T15" fmla="*/ 115 h 1246"/>
                <a:gd name="T16" fmla="*/ 1222 w 1399"/>
                <a:gd name="T17" fmla="*/ 199 h 1246"/>
                <a:gd name="T18" fmla="*/ 1230 w 1399"/>
                <a:gd name="T19" fmla="*/ 321 h 1246"/>
                <a:gd name="T20" fmla="*/ 1116 w 1399"/>
                <a:gd name="T21" fmla="*/ 436 h 1246"/>
                <a:gd name="T22" fmla="*/ 1123 w 1399"/>
                <a:gd name="T23" fmla="*/ 642 h 1246"/>
                <a:gd name="T24" fmla="*/ 1154 w 1399"/>
                <a:gd name="T25" fmla="*/ 756 h 1246"/>
                <a:gd name="T26" fmla="*/ 1207 w 1399"/>
                <a:gd name="T27" fmla="*/ 749 h 1246"/>
                <a:gd name="T28" fmla="*/ 1291 w 1399"/>
                <a:gd name="T29" fmla="*/ 756 h 1246"/>
                <a:gd name="T30" fmla="*/ 1345 w 1399"/>
                <a:gd name="T31" fmla="*/ 817 h 1246"/>
                <a:gd name="T32" fmla="*/ 1398 w 1399"/>
                <a:gd name="T33" fmla="*/ 848 h 1246"/>
                <a:gd name="T34" fmla="*/ 1314 w 1399"/>
                <a:gd name="T35" fmla="*/ 1054 h 1246"/>
                <a:gd name="T36" fmla="*/ 1161 w 1399"/>
                <a:gd name="T37" fmla="*/ 1039 h 1246"/>
                <a:gd name="T38" fmla="*/ 955 w 1399"/>
                <a:gd name="T39" fmla="*/ 1123 h 1246"/>
                <a:gd name="T40" fmla="*/ 841 w 1399"/>
                <a:gd name="T41" fmla="*/ 1039 h 1246"/>
                <a:gd name="T42" fmla="*/ 726 w 1399"/>
                <a:gd name="T43" fmla="*/ 1092 h 1246"/>
                <a:gd name="T44" fmla="*/ 688 w 1399"/>
                <a:gd name="T45" fmla="*/ 1169 h 1246"/>
                <a:gd name="T46" fmla="*/ 543 w 1399"/>
                <a:gd name="T47" fmla="*/ 1230 h 1246"/>
                <a:gd name="T48" fmla="*/ 505 w 1399"/>
                <a:gd name="T49" fmla="*/ 1108 h 1246"/>
                <a:gd name="T50" fmla="*/ 367 w 1399"/>
                <a:gd name="T51" fmla="*/ 772 h 1246"/>
                <a:gd name="T52" fmla="*/ 306 w 1399"/>
                <a:gd name="T53" fmla="*/ 542 h 1246"/>
                <a:gd name="T54" fmla="*/ 260 w 1399"/>
                <a:gd name="T55" fmla="*/ 428 h 1246"/>
                <a:gd name="T56" fmla="*/ 46 w 1399"/>
                <a:gd name="T57" fmla="*/ 542 h 1246"/>
                <a:gd name="T58" fmla="*/ 8 w 1399"/>
                <a:gd name="T59" fmla="*/ 390 h 1246"/>
                <a:gd name="T60" fmla="*/ 46 w 1399"/>
                <a:gd name="T61" fmla="*/ 374 h 1246"/>
                <a:gd name="T62" fmla="*/ 184 w 1399"/>
                <a:gd name="T63" fmla="*/ 290 h 1246"/>
                <a:gd name="T64" fmla="*/ 291 w 1399"/>
                <a:gd name="T65" fmla="*/ 222 h 1246"/>
                <a:gd name="T66" fmla="*/ 390 w 1399"/>
                <a:gd name="T67" fmla="*/ 183 h 1246"/>
                <a:gd name="T68" fmla="*/ 474 w 1399"/>
                <a:gd name="T69" fmla="*/ 31 h 1246"/>
                <a:gd name="T70" fmla="*/ 566 w 1399"/>
                <a:gd name="T71" fmla="*/ 0 h 1246"/>
                <a:gd name="T72" fmla="*/ 764 w 1399"/>
                <a:gd name="T73" fmla="*/ 54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99" h="1246">
                  <a:moveTo>
                    <a:pt x="764" y="54"/>
                  </a:moveTo>
                  <a:lnTo>
                    <a:pt x="764" y="54"/>
                  </a:lnTo>
                  <a:cubicBezTo>
                    <a:pt x="780" y="54"/>
                    <a:pt x="795" y="54"/>
                    <a:pt x="810" y="54"/>
                  </a:cubicBezTo>
                  <a:cubicBezTo>
                    <a:pt x="825" y="46"/>
                    <a:pt x="833" y="15"/>
                    <a:pt x="848" y="15"/>
                  </a:cubicBezTo>
                  <a:cubicBezTo>
                    <a:pt x="863" y="8"/>
                    <a:pt x="879" y="38"/>
                    <a:pt x="894" y="38"/>
                  </a:cubicBezTo>
                  <a:cubicBezTo>
                    <a:pt x="909" y="38"/>
                    <a:pt x="917" y="15"/>
                    <a:pt x="932" y="15"/>
                  </a:cubicBezTo>
                  <a:cubicBezTo>
                    <a:pt x="955" y="15"/>
                    <a:pt x="970" y="31"/>
                    <a:pt x="986" y="31"/>
                  </a:cubicBezTo>
                  <a:lnTo>
                    <a:pt x="986" y="31"/>
                  </a:lnTo>
                  <a:cubicBezTo>
                    <a:pt x="1001" y="46"/>
                    <a:pt x="1016" y="61"/>
                    <a:pt x="1024" y="77"/>
                  </a:cubicBezTo>
                  <a:lnTo>
                    <a:pt x="978" y="107"/>
                  </a:lnTo>
                  <a:cubicBezTo>
                    <a:pt x="978" y="115"/>
                    <a:pt x="1024" y="161"/>
                    <a:pt x="1024" y="161"/>
                  </a:cubicBezTo>
                  <a:cubicBezTo>
                    <a:pt x="1047" y="153"/>
                    <a:pt x="1070" y="161"/>
                    <a:pt x="1093" y="145"/>
                  </a:cubicBezTo>
                  <a:cubicBezTo>
                    <a:pt x="1116" y="138"/>
                    <a:pt x="1131" y="107"/>
                    <a:pt x="1161" y="99"/>
                  </a:cubicBezTo>
                  <a:cubicBezTo>
                    <a:pt x="1177" y="92"/>
                    <a:pt x="1199" y="99"/>
                    <a:pt x="1222" y="92"/>
                  </a:cubicBezTo>
                  <a:lnTo>
                    <a:pt x="1222" y="92"/>
                  </a:lnTo>
                  <a:cubicBezTo>
                    <a:pt x="1230" y="99"/>
                    <a:pt x="1253" y="107"/>
                    <a:pt x="1253" y="115"/>
                  </a:cubicBezTo>
                  <a:cubicBezTo>
                    <a:pt x="1253" y="145"/>
                    <a:pt x="1230" y="168"/>
                    <a:pt x="1222" y="199"/>
                  </a:cubicBezTo>
                  <a:lnTo>
                    <a:pt x="1222" y="199"/>
                  </a:lnTo>
                  <a:cubicBezTo>
                    <a:pt x="1207" y="206"/>
                    <a:pt x="1192" y="214"/>
                    <a:pt x="1192" y="229"/>
                  </a:cubicBezTo>
                  <a:cubicBezTo>
                    <a:pt x="1199" y="260"/>
                    <a:pt x="1238" y="283"/>
                    <a:pt x="1230" y="321"/>
                  </a:cubicBezTo>
                  <a:cubicBezTo>
                    <a:pt x="1222" y="359"/>
                    <a:pt x="1192" y="397"/>
                    <a:pt x="1169" y="428"/>
                  </a:cubicBezTo>
                  <a:cubicBezTo>
                    <a:pt x="1154" y="443"/>
                    <a:pt x="1123" y="420"/>
                    <a:pt x="1116" y="436"/>
                  </a:cubicBezTo>
                  <a:cubicBezTo>
                    <a:pt x="1116" y="489"/>
                    <a:pt x="1146" y="527"/>
                    <a:pt x="1154" y="581"/>
                  </a:cubicBezTo>
                  <a:cubicBezTo>
                    <a:pt x="1154" y="603"/>
                    <a:pt x="1131" y="619"/>
                    <a:pt x="1123" y="642"/>
                  </a:cubicBezTo>
                  <a:cubicBezTo>
                    <a:pt x="1116" y="665"/>
                    <a:pt x="1108" y="688"/>
                    <a:pt x="1116" y="703"/>
                  </a:cubicBezTo>
                  <a:cubicBezTo>
                    <a:pt x="1123" y="726"/>
                    <a:pt x="1138" y="741"/>
                    <a:pt x="1154" y="756"/>
                  </a:cubicBezTo>
                  <a:cubicBezTo>
                    <a:pt x="1169" y="772"/>
                    <a:pt x="1177" y="794"/>
                    <a:pt x="1192" y="787"/>
                  </a:cubicBezTo>
                  <a:cubicBezTo>
                    <a:pt x="1207" y="787"/>
                    <a:pt x="1192" y="749"/>
                    <a:pt x="1207" y="749"/>
                  </a:cubicBezTo>
                  <a:cubicBezTo>
                    <a:pt x="1222" y="741"/>
                    <a:pt x="1230" y="772"/>
                    <a:pt x="1253" y="779"/>
                  </a:cubicBezTo>
                  <a:cubicBezTo>
                    <a:pt x="1261" y="779"/>
                    <a:pt x="1276" y="756"/>
                    <a:pt x="1291" y="756"/>
                  </a:cubicBezTo>
                  <a:cubicBezTo>
                    <a:pt x="1314" y="764"/>
                    <a:pt x="1330" y="787"/>
                    <a:pt x="1345" y="802"/>
                  </a:cubicBezTo>
                  <a:cubicBezTo>
                    <a:pt x="1352" y="810"/>
                    <a:pt x="1345" y="817"/>
                    <a:pt x="1345" y="817"/>
                  </a:cubicBezTo>
                  <a:cubicBezTo>
                    <a:pt x="1360" y="833"/>
                    <a:pt x="1383" y="833"/>
                    <a:pt x="1398" y="848"/>
                  </a:cubicBezTo>
                  <a:lnTo>
                    <a:pt x="1398" y="848"/>
                  </a:lnTo>
                  <a:cubicBezTo>
                    <a:pt x="1360" y="886"/>
                    <a:pt x="1299" y="909"/>
                    <a:pt x="1276" y="963"/>
                  </a:cubicBezTo>
                  <a:cubicBezTo>
                    <a:pt x="1261" y="993"/>
                    <a:pt x="1299" y="1024"/>
                    <a:pt x="1314" y="1054"/>
                  </a:cubicBezTo>
                  <a:cubicBezTo>
                    <a:pt x="1314" y="1054"/>
                    <a:pt x="1284" y="1115"/>
                    <a:pt x="1284" y="1123"/>
                  </a:cubicBezTo>
                  <a:cubicBezTo>
                    <a:pt x="1284" y="1130"/>
                    <a:pt x="1161" y="1039"/>
                    <a:pt x="1161" y="1039"/>
                  </a:cubicBezTo>
                  <a:cubicBezTo>
                    <a:pt x="1138" y="1047"/>
                    <a:pt x="1108" y="1047"/>
                    <a:pt x="1085" y="1054"/>
                  </a:cubicBezTo>
                  <a:cubicBezTo>
                    <a:pt x="1039" y="1077"/>
                    <a:pt x="1001" y="1108"/>
                    <a:pt x="955" y="1123"/>
                  </a:cubicBezTo>
                  <a:cubicBezTo>
                    <a:pt x="917" y="1138"/>
                    <a:pt x="863" y="1169"/>
                    <a:pt x="825" y="1138"/>
                  </a:cubicBezTo>
                  <a:cubicBezTo>
                    <a:pt x="802" y="1115"/>
                    <a:pt x="856" y="1069"/>
                    <a:pt x="841" y="1039"/>
                  </a:cubicBezTo>
                  <a:cubicBezTo>
                    <a:pt x="833" y="1016"/>
                    <a:pt x="787" y="1024"/>
                    <a:pt x="772" y="1031"/>
                  </a:cubicBezTo>
                  <a:cubicBezTo>
                    <a:pt x="749" y="1039"/>
                    <a:pt x="726" y="1069"/>
                    <a:pt x="726" y="1092"/>
                  </a:cubicBezTo>
                  <a:cubicBezTo>
                    <a:pt x="734" y="1115"/>
                    <a:pt x="787" y="1138"/>
                    <a:pt x="772" y="1161"/>
                  </a:cubicBezTo>
                  <a:cubicBezTo>
                    <a:pt x="764" y="1192"/>
                    <a:pt x="718" y="1161"/>
                    <a:pt x="688" y="1169"/>
                  </a:cubicBezTo>
                  <a:cubicBezTo>
                    <a:pt x="688" y="1169"/>
                    <a:pt x="634" y="1230"/>
                    <a:pt x="634" y="1238"/>
                  </a:cubicBezTo>
                  <a:cubicBezTo>
                    <a:pt x="627" y="1245"/>
                    <a:pt x="543" y="1230"/>
                    <a:pt x="543" y="1230"/>
                  </a:cubicBezTo>
                  <a:cubicBezTo>
                    <a:pt x="527" y="1184"/>
                    <a:pt x="512" y="1146"/>
                    <a:pt x="505" y="1108"/>
                  </a:cubicBezTo>
                  <a:lnTo>
                    <a:pt x="505" y="1108"/>
                  </a:lnTo>
                  <a:cubicBezTo>
                    <a:pt x="497" y="993"/>
                    <a:pt x="520" y="878"/>
                    <a:pt x="482" y="779"/>
                  </a:cubicBezTo>
                  <a:cubicBezTo>
                    <a:pt x="466" y="741"/>
                    <a:pt x="382" y="802"/>
                    <a:pt x="367" y="772"/>
                  </a:cubicBezTo>
                  <a:cubicBezTo>
                    <a:pt x="336" y="711"/>
                    <a:pt x="382" y="649"/>
                    <a:pt x="398" y="588"/>
                  </a:cubicBezTo>
                  <a:cubicBezTo>
                    <a:pt x="398" y="588"/>
                    <a:pt x="298" y="558"/>
                    <a:pt x="306" y="542"/>
                  </a:cubicBezTo>
                  <a:cubicBezTo>
                    <a:pt x="306" y="535"/>
                    <a:pt x="336" y="458"/>
                    <a:pt x="336" y="458"/>
                  </a:cubicBezTo>
                  <a:cubicBezTo>
                    <a:pt x="313" y="443"/>
                    <a:pt x="283" y="413"/>
                    <a:pt x="260" y="428"/>
                  </a:cubicBezTo>
                  <a:cubicBezTo>
                    <a:pt x="237" y="436"/>
                    <a:pt x="275" y="489"/>
                    <a:pt x="252" y="497"/>
                  </a:cubicBezTo>
                  <a:cubicBezTo>
                    <a:pt x="191" y="535"/>
                    <a:pt x="115" y="565"/>
                    <a:pt x="46" y="542"/>
                  </a:cubicBezTo>
                  <a:cubicBezTo>
                    <a:pt x="8" y="527"/>
                    <a:pt x="100" y="481"/>
                    <a:pt x="92" y="443"/>
                  </a:cubicBezTo>
                  <a:cubicBezTo>
                    <a:pt x="84" y="413"/>
                    <a:pt x="23" y="413"/>
                    <a:pt x="8" y="390"/>
                  </a:cubicBezTo>
                  <a:cubicBezTo>
                    <a:pt x="0" y="374"/>
                    <a:pt x="31" y="382"/>
                    <a:pt x="46" y="374"/>
                  </a:cubicBezTo>
                  <a:lnTo>
                    <a:pt x="46" y="374"/>
                  </a:lnTo>
                  <a:cubicBezTo>
                    <a:pt x="77" y="374"/>
                    <a:pt x="115" y="374"/>
                    <a:pt x="146" y="359"/>
                  </a:cubicBezTo>
                  <a:cubicBezTo>
                    <a:pt x="169" y="344"/>
                    <a:pt x="161" y="298"/>
                    <a:pt x="184" y="290"/>
                  </a:cubicBezTo>
                  <a:cubicBezTo>
                    <a:pt x="207" y="283"/>
                    <a:pt x="230" y="306"/>
                    <a:pt x="252" y="306"/>
                  </a:cubicBezTo>
                  <a:cubicBezTo>
                    <a:pt x="252" y="306"/>
                    <a:pt x="283" y="222"/>
                    <a:pt x="291" y="222"/>
                  </a:cubicBezTo>
                  <a:cubicBezTo>
                    <a:pt x="306" y="222"/>
                    <a:pt x="375" y="214"/>
                    <a:pt x="375" y="214"/>
                  </a:cubicBezTo>
                  <a:cubicBezTo>
                    <a:pt x="375" y="214"/>
                    <a:pt x="382" y="183"/>
                    <a:pt x="390" y="183"/>
                  </a:cubicBezTo>
                  <a:cubicBezTo>
                    <a:pt x="398" y="183"/>
                    <a:pt x="489" y="161"/>
                    <a:pt x="489" y="161"/>
                  </a:cubicBezTo>
                  <a:cubicBezTo>
                    <a:pt x="482" y="115"/>
                    <a:pt x="451" y="69"/>
                    <a:pt x="474" y="31"/>
                  </a:cubicBezTo>
                  <a:cubicBezTo>
                    <a:pt x="482" y="0"/>
                    <a:pt x="535" y="15"/>
                    <a:pt x="566" y="0"/>
                  </a:cubicBezTo>
                  <a:lnTo>
                    <a:pt x="566" y="0"/>
                  </a:lnTo>
                  <a:cubicBezTo>
                    <a:pt x="619" y="23"/>
                    <a:pt x="673" y="46"/>
                    <a:pt x="726" y="61"/>
                  </a:cubicBezTo>
                  <a:cubicBezTo>
                    <a:pt x="741" y="69"/>
                    <a:pt x="749" y="54"/>
                    <a:pt x="764" y="54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81" name="Freeform 30"/>
            <p:cNvSpPr>
              <a:spLocks noChangeArrowheads="1"/>
            </p:cNvSpPr>
            <p:nvPr/>
          </p:nvSpPr>
          <p:spPr bwMode="auto">
            <a:xfrm>
              <a:off x="6806756" y="7950201"/>
              <a:ext cx="160328" cy="212725"/>
            </a:xfrm>
            <a:custGeom>
              <a:avLst/>
              <a:gdLst>
                <a:gd name="T0" fmla="*/ 214 w 444"/>
                <a:gd name="T1" fmla="*/ 39 h 590"/>
                <a:gd name="T2" fmla="*/ 214 w 444"/>
                <a:gd name="T3" fmla="*/ 39 h 590"/>
                <a:gd name="T4" fmla="*/ 298 w 444"/>
                <a:gd name="T5" fmla="*/ 0 h 590"/>
                <a:gd name="T6" fmla="*/ 359 w 444"/>
                <a:gd name="T7" fmla="*/ 54 h 590"/>
                <a:gd name="T8" fmla="*/ 359 w 444"/>
                <a:gd name="T9" fmla="*/ 54 h 590"/>
                <a:gd name="T10" fmla="*/ 413 w 444"/>
                <a:gd name="T11" fmla="*/ 138 h 590"/>
                <a:gd name="T12" fmla="*/ 435 w 444"/>
                <a:gd name="T13" fmla="*/ 207 h 590"/>
                <a:gd name="T14" fmla="*/ 405 w 444"/>
                <a:gd name="T15" fmla="*/ 237 h 590"/>
                <a:gd name="T16" fmla="*/ 405 w 444"/>
                <a:gd name="T17" fmla="*/ 237 h 590"/>
                <a:gd name="T18" fmla="*/ 352 w 444"/>
                <a:gd name="T19" fmla="*/ 275 h 590"/>
                <a:gd name="T20" fmla="*/ 405 w 444"/>
                <a:gd name="T21" fmla="*/ 298 h 590"/>
                <a:gd name="T22" fmla="*/ 397 w 444"/>
                <a:gd name="T23" fmla="*/ 397 h 590"/>
                <a:gd name="T24" fmla="*/ 329 w 444"/>
                <a:gd name="T25" fmla="*/ 397 h 590"/>
                <a:gd name="T26" fmla="*/ 298 w 444"/>
                <a:gd name="T27" fmla="*/ 482 h 590"/>
                <a:gd name="T28" fmla="*/ 244 w 444"/>
                <a:gd name="T29" fmla="*/ 520 h 590"/>
                <a:gd name="T30" fmla="*/ 244 w 444"/>
                <a:gd name="T31" fmla="*/ 520 h 590"/>
                <a:gd name="T32" fmla="*/ 183 w 444"/>
                <a:gd name="T33" fmla="*/ 527 h 590"/>
                <a:gd name="T34" fmla="*/ 115 w 444"/>
                <a:gd name="T35" fmla="*/ 573 h 590"/>
                <a:gd name="T36" fmla="*/ 46 w 444"/>
                <a:gd name="T37" fmla="*/ 589 h 590"/>
                <a:gd name="T38" fmla="*/ 0 w 444"/>
                <a:gd name="T39" fmla="*/ 535 h 590"/>
                <a:gd name="T40" fmla="*/ 46 w 444"/>
                <a:gd name="T41" fmla="*/ 505 h 590"/>
                <a:gd name="T42" fmla="*/ 8 w 444"/>
                <a:gd name="T43" fmla="*/ 459 h 590"/>
                <a:gd name="T44" fmla="*/ 8 w 444"/>
                <a:gd name="T45" fmla="*/ 459 h 590"/>
                <a:gd name="T46" fmla="*/ 23 w 444"/>
                <a:gd name="T47" fmla="*/ 382 h 590"/>
                <a:gd name="T48" fmla="*/ 23 w 444"/>
                <a:gd name="T49" fmla="*/ 382 h 590"/>
                <a:gd name="T50" fmla="*/ 99 w 444"/>
                <a:gd name="T51" fmla="*/ 336 h 590"/>
                <a:gd name="T52" fmla="*/ 115 w 444"/>
                <a:gd name="T53" fmla="*/ 298 h 590"/>
                <a:gd name="T54" fmla="*/ 84 w 444"/>
                <a:gd name="T55" fmla="*/ 260 h 590"/>
                <a:gd name="T56" fmla="*/ 160 w 444"/>
                <a:gd name="T57" fmla="*/ 153 h 590"/>
                <a:gd name="T58" fmla="*/ 160 w 444"/>
                <a:gd name="T59" fmla="*/ 153 h 590"/>
                <a:gd name="T60" fmla="*/ 199 w 444"/>
                <a:gd name="T61" fmla="*/ 107 h 590"/>
                <a:gd name="T62" fmla="*/ 214 w 444"/>
                <a:gd name="T63" fmla="*/ 39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44" h="590">
                  <a:moveTo>
                    <a:pt x="214" y="39"/>
                  </a:moveTo>
                  <a:lnTo>
                    <a:pt x="214" y="39"/>
                  </a:lnTo>
                  <a:cubicBezTo>
                    <a:pt x="237" y="23"/>
                    <a:pt x="267" y="0"/>
                    <a:pt x="298" y="0"/>
                  </a:cubicBezTo>
                  <a:cubicBezTo>
                    <a:pt x="321" y="0"/>
                    <a:pt x="336" y="39"/>
                    <a:pt x="359" y="54"/>
                  </a:cubicBezTo>
                  <a:lnTo>
                    <a:pt x="359" y="54"/>
                  </a:lnTo>
                  <a:cubicBezTo>
                    <a:pt x="374" y="84"/>
                    <a:pt x="397" y="107"/>
                    <a:pt x="413" y="138"/>
                  </a:cubicBezTo>
                  <a:cubicBezTo>
                    <a:pt x="420" y="161"/>
                    <a:pt x="443" y="184"/>
                    <a:pt x="435" y="207"/>
                  </a:cubicBezTo>
                  <a:cubicBezTo>
                    <a:pt x="435" y="222"/>
                    <a:pt x="413" y="222"/>
                    <a:pt x="405" y="237"/>
                  </a:cubicBezTo>
                  <a:lnTo>
                    <a:pt x="405" y="237"/>
                  </a:lnTo>
                  <a:cubicBezTo>
                    <a:pt x="382" y="245"/>
                    <a:pt x="352" y="253"/>
                    <a:pt x="352" y="275"/>
                  </a:cubicBezTo>
                  <a:cubicBezTo>
                    <a:pt x="352" y="298"/>
                    <a:pt x="397" y="283"/>
                    <a:pt x="405" y="298"/>
                  </a:cubicBezTo>
                  <a:cubicBezTo>
                    <a:pt x="413" y="329"/>
                    <a:pt x="420" y="367"/>
                    <a:pt x="397" y="397"/>
                  </a:cubicBezTo>
                  <a:cubicBezTo>
                    <a:pt x="382" y="413"/>
                    <a:pt x="352" y="382"/>
                    <a:pt x="329" y="397"/>
                  </a:cubicBezTo>
                  <a:cubicBezTo>
                    <a:pt x="306" y="413"/>
                    <a:pt x="321" y="451"/>
                    <a:pt x="298" y="482"/>
                  </a:cubicBezTo>
                  <a:cubicBezTo>
                    <a:pt x="290" y="497"/>
                    <a:pt x="260" y="505"/>
                    <a:pt x="244" y="520"/>
                  </a:cubicBezTo>
                  <a:lnTo>
                    <a:pt x="244" y="520"/>
                  </a:lnTo>
                  <a:cubicBezTo>
                    <a:pt x="221" y="527"/>
                    <a:pt x="199" y="520"/>
                    <a:pt x="183" y="527"/>
                  </a:cubicBezTo>
                  <a:cubicBezTo>
                    <a:pt x="153" y="535"/>
                    <a:pt x="138" y="566"/>
                    <a:pt x="115" y="573"/>
                  </a:cubicBezTo>
                  <a:cubicBezTo>
                    <a:pt x="92" y="589"/>
                    <a:pt x="69" y="581"/>
                    <a:pt x="46" y="589"/>
                  </a:cubicBezTo>
                  <a:cubicBezTo>
                    <a:pt x="46" y="589"/>
                    <a:pt x="0" y="543"/>
                    <a:pt x="0" y="535"/>
                  </a:cubicBezTo>
                  <a:lnTo>
                    <a:pt x="46" y="505"/>
                  </a:lnTo>
                  <a:cubicBezTo>
                    <a:pt x="38" y="489"/>
                    <a:pt x="23" y="474"/>
                    <a:pt x="8" y="459"/>
                  </a:cubicBezTo>
                  <a:lnTo>
                    <a:pt x="8" y="459"/>
                  </a:lnTo>
                  <a:cubicBezTo>
                    <a:pt x="23" y="382"/>
                    <a:pt x="23" y="382"/>
                    <a:pt x="23" y="382"/>
                  </a:cubicBezTo>
                  <a:lnTo>
                    <a:pt x="23" y="382"/>
                  </a:lnTo>
                  <a:cubicBezTo>
                    <a:pt x="46" y="367"/>
                    <a:pt x="77" y="352"/>
                    <a:pt x="99" y="336"/>
                  </a:cubicBezTo>
                  <a:cubicBezTo>
                    <a:pt x="107" y="329"/>
                    <a:pt x="122" y="314"/>
                    <a:pt x="115" y="298"/>
                  </a:cubicBezTo>
                  <a:cubicBezTo>
                    <a:pt x="115" y="283"/>
                    <a:pt x="84" y="275"/>
                    <a:pt x="84" y="260"/>
                  </a:cubicBezTo>
                  <a:cubicBezTo>
                    <a:pt x="99" y="222"/>
                    <a:pt x="130" y="191"/>
                    <a:pt x="160" y="153"/>
                  </a:cubicBezTo>
                  <a:lnTo>
                    <a:pt x="160" y="153"/>
                  </a:lnTo>
                  <a:cubicBezTo>
                    <a:pt x="168" y="138"/>
                    <a:pt x="191" y="122"/>
                    <a:pt x="199" y="107"/>
                  </a:cubicBezTo>
                  <a:cubicBezTo>
                    <a:pt x="206" y="84"/>
                    <a:pt x="206" y="61"/>
                    <a:pt x="214" y="39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82" name="Freeform 31"/>
            <p:cNvSpPr>
              <a:spLocks noChangeArrowheads="1"/>
            </p:cNvSpPr>
            <p:nvPr/>
          </p:nvSpPr>
          <p:spPr bwMode="auto">
            <a:xfrm>
              <a:off x="6895651" y="8035925"/>
              <a:ext cx="149215" cy="153988"/>
            </a:xfrm>
            <a:custGeom>
              <a:avLst/>
              <a:gdLst>
                <a:gd name="T0" fmla="*/ 161 w 414"/>
                <a:gd name="T1" fmla="*/ 0 h 429"/>
                <a:gd name="T2" fmla="*/ 161 w 414"/>
                <a:gd name="T3" fmla="*/ 0 h 429"/>
                <a:gd name="T4" fmla="*/ 237 w 414"/>
                <a:gd name="T5" fmla="*/ 69 h 429"/>
                <a:gd name="T6" fmla="*/ 245 w 414"/>
                <a:gd name="T7" fmla="*/ 138 h 429"/>
                <a:gd name="T8" fmla="*/ 291 w 414"/>
                <a:gd name="T9" fmla="*/ 199 h 429"/>
                <a:gd name="T10" fmla="*/ 367 w 414"/>
                <a:gd name="T11" fmla="*/ 122 h 429"/>
                <a:gd name="T12" fmla="*/ 413 w 414"/>
                <a:gd name="T13" fmla="*/ 145 h 429"/>
                <a:gd name="T14" fmla="*/ 413 w 414"/>
                <a:gd name="T15" fmla="*/ 145 h 429"/>
                <a:gd name="T16" fmla="*/ 413 w 414"/>
                <a:gd name="T17" fmla="*/ 321 h 429"/>
                <a:gd name="T18" fmla="*/ 413 w 414"/>
                <a:gd name="T19" fmla="*/ 321 h 429"/>
                <a:gd name="T20" fmla="*/ 375 w 414"/>
                <a:gd name="T21" fmla="*/ 382 h 429"/>
                <a:gd name="T22" fmla="*/ 306 w 414"/>
                <a:gd name="T23" fmla="*/ 390 h 429"/>
                <a:gd name="T24" fmla="*/ 283 w 414"/>
                <a:gd name="T25" fmla="*/ 420 h 429"/>
                <a:gd name="T26" fmla="*/ 230 w 414"/>
                <a:gd name="T27" fmla="*/ 374 h 429"/>
                <a:gd name="T28" fmla="*/ 176 w 414"/>
                <a:gd name="T29" fmla="*/ 397 h 429"/>
                <a:gd name="T30" fmla="*/ 146 w 414"/>
                <a:gd name="T31" fmla="*/ 428 h 429"/>
                <a:gd name="T32" fmla="*/ 92 w 414"/>
                <a:gd name="T33" fmla="*/ 390 h 429"/>
                <a:gd name="T34" fmla="*/ 0 w 414"/>
                <a:gd name="T35" fmla="*/ 390 h 429"/>
                <a:gd name="T36" fmla="*/ 0 w 414"/>
                <a:gd name="T37" fmla="*/ 390 h 429"/>
                <a:gd name="T38" fmla="*/ 31 w 414"/>
                <a:gd name="T39" fmla="*/ 306 h 429"/>
                <a:gd name="T40" fmla="*/ 0 w 414"/>
                <a:gd name="T41" fmla="*/ 283 h 429"/>
                <a:gd name="T42" fmla="*/ 0 w 414"/>
                <a:gd name="T43" fmla="*/ 283 h 429"/>
                <a:gd name="T44" fmla="*/ 54 w 414"/>
                <a:gd name="T45" fmla="*/ 245 h 429"/>
                <a:gd name="T46" fmla="*/ 85 w 414"/>
                <a:gd name="T47" fmla="*/ 160 h 429"/>
                <a:gd name="T48" fmla="*/ 153 w 414"/>
                <a:gd name="T49" fmla="*/ 160 h 429"/>
                <a:gd name="T50" fmla="*/ 161 w 414"/>
                <a:gd name="T51" fmla="*/ 61 h 429"/>
                <a:gd name="T52" fmla="*/ 108 w 414"/>
                <a:gd name="T53" fmla="*/ 38 h 429"/>
                <a:gd name="T54" fmla="*/ 161 w 414"/>
                <a:gd name="T55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14" h="429">
                  <a:moveTo>
                    <a:pt x="161" y="0"/>
                  </a:moveTo>
                  <a:lnTo>
                    <a:pt x="161" y="0"/>
                  </a:lnTo>
                  <a:cubicBezTo>
                    <a:pt x="184" y="23"/>
                    <a:pt x="222" y="38"/>
                    <a:pt x="237" y="69"/>
                  </a:cubicBezTo>
                  <a:cubicBezTo>
                    <a:pt x="252" y="84"/>
                    <a:pt x="237" y="115"/>
                    <a:pt x="245" y="138"/>
                  </a:cubicBezTo>
                  <a:cubicBezTo>
                    <a:pt x="260" y="160"/>
                    <a:pt x="268" y="206"/>
                    <a:pt x="291" y="199"/>
                  </a:cubicBezTo>
                  <a:cubicBezTo>
                    <a:pt x="329" y="199"/>
                    <a:pt x="337" y="138"/>
                    <a:pt x="367" y="122"/>
                  </a:cubicBezTo>
                  <a:cubicBezTo>
                    <a:pt x="382" y="115"/>
                    <a:pt x="398" y="138"/>
                    <a:pt x="413" y="145"/>
                  </a:cubicBezTo>
                  <a:lnTo>
                    <a:pt x="413" y="145"/>
                  </a:lnTo>
                  <a:cubicBezTo>
                    <a:pt x="413" y="321"/>
                    <a:pt x="413" y="321"/>
                    <a:pt x="413" y="321"/>
                  </a:cubicBezTo>
                  <a:lnTo>
                    <a:pt x="413" y="321"/>
                  </a:lnTo>
                  <a:cubicBezTo>
                    <a:pt x="398" y="344"/>
                    <a:pt x="390" y="367"/>
                    <a:pt x="375" y="382"/>
                  </a:cubicBezTo>
                  <a:cubicBezTo>
                    <a:pt x="352" y="397"/>
                    <a:pt x="329" y="382"/>
                    <a:pt x="306" y="390"/>
                  </a:cubicBezTo>
                  <a:cubicBezTo>
                    <a:pt x="298" y="397"/>
                    <a:pt x="291" y="420"/>
                    <a:pt x="283" y="420"/>
                  </a:cubicBezTo>
                  <a:cubicBezTo>
                    <a:pt x="260" y="413"/>
                    <a:pt x="252" y="374"/>
                    <a:pt x="230" y="374"/>
                  </a:cubicBezTo>
                  <a:cubicBezTo>
                    <a:pt x="207" y="367"/>
                    <a:pt x="191" y="390"/>
                    <a:pt x="176" y="397"/>
                  </a:cubicBezTo>
                  <a:cubicBezTo>
                    <a:pt x="161" y="405"/>
                    <a:pt x="161" y="428"/>
                    <a:pt x="146" y="428"/>
                  </a:cubicBezTo>
                  <a:cubicBezTo>
                    <a:pt x="123" y="428"/>
                    <a:pt x="115" y="397"/>
                    <a:pt x="92" y="390"/>
                  </a:cubicBezTo>
                  <a:cubicBezTo>
                    <a:pt x="62" y="382"/>
                    <a:pt x="31" y="390"/>
                    <a:pt x="0" y="390"/>
                  </a:cubicBezTo>
                  <a:lnTo>
                    <a:pt x="0" y="390"/>
                  </a:lnTo>
                  <a:cubicBezTo>
                    <a:pt x="8" y="359"/>
                    <a:pt x="31" y="336"/>
                    <a:pt x="31" y="306"/>
                  </a:cubicBezTo>
                  <a:cubicBezTo>
                    <a:pt x="31" y="298"/>
                    <a:pt x="8" y="290"/>
                    <a:pt x="0" y="283"/>
                  </a:cubicBezTo>
                  <a:lnTo>
                    <a:pt x="0" y="283"/>
                  </a:lnTo>
                  <a:cubicBezTo>
                    <a:pt x="16" y="268"/>
                    <a:pt x="46" y="260"/>
                    <a:pt x="54" y="245"/>
                  </a:cubicBezTo>
                  <a:cubicBezTo>
                    <a:pt x="77" y="214"/>
                    <a:pt x="62" y="176"/>
                    <a:pt x="85" y="160"/>
                  </a:cubicBezTo>
                  <a:cubicBezTo>
                    <a:pt x="108" y="145"/>
                    <a:pt x="138" y="176"/>
                    <a:pt x="153" y="160"/>
                  </a:cubicBezTo>
                  <a:cubicBezTo>
                    <a:pt x="176" y="130"/>
                    <a:pt x="169" y="92"/>
                    <a:pt x="161" y="61"/>
                  </a:cubicBezTo>
                  <a:cubicBezTo>
                    <a:pt x="153" y="46"/>
                    <a:pt x="108" y="61"/>
                    <a:pt x="108" y="38"/>
                  </a:cubicBezTo>
                  <a:cubicBezTo>
                    <a:pt x="108" y="16"/>
                    <a:pt x="138" y="8"/>
                    <a:pt x="161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83" name="Freeform 32"/>
            <p:cNvSpPr>
              <a:spLocks noChangeArrowheads="1"/>
            </p:cNvSpPr>
            <p:nvPr/>
          </p:nvSpPr>
          <p:spPr bwMode="auto">
            <a:xfrm>
              <a:off x="7043279" y="8081963"/>
              <a:ext cx="100005" cy="88900"/>
            </a:xfrm>
            <a:custGeom>
              <a:avLst/>
              <a:gdLst>
                <a:gd name="T0" fmla="*/ 0 w 276"/>
                <a:gd name="T1" fmla="*/ 191 h 245"/>
                <a:gd name="T2" fmla="*/ 0 w 276"/>
                <a:gd name="T3" fmla="*/ 191 h 245"/>
                <a:gd name="T4" fmla="*/ 0 w 276"/>
                <a:gd name="T5" fmla="*/ 15 h 245"/>
                <a:gd name="T6" fmla="*/ 0 w 276"/>
                <a:gd name="T7" fmla="*/ 15 h 245"/>
                <a:gd name="T8" fmla="*/ 69 w 276"/>
                <a:gd name="T9" fmla="*/ 0 h 245"/>
                <a:gd name="T10" fmla="*/ 130 w 276"/>
                <a:gd name="T11" fmla="*/ 23 h 245"/>
                <a:gd name="T12" fmla="*/ 206 w 276"/>
                <a:gd name="T13" fmla="*/ 8 h 245"/>
                <a:gd name="T14" fmla="*/ 267 w 276"/>
                <a:gd name="T15" fmla="*/ 53 h 245"/>
                <a:gd name="T16" fmla="*/ 252 w 276"/>
                <a:gd name="T17" fmla="*/ 183 h 245"/>
                <a:gd name="T18" fmla="*/ 137 w 276"/>
                <a:gd name="T19" fmla="*/ 229 h 245"/>
                <a:gd name="T20" fmla="*/ 107 w 276"/>
                <a:gd name="T21" fmla="*/ 222 h 245"/>
                <a:gd name="T22" fmla="*/ 84 w 276"/>
                <a:gd name="T23" fmla="*/ 244 h 245"/>
                <a:gd name="T24" fmla="*/ 0 w 276"/>
                <a:gd name="T25" fmla="*/ 19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" h="245">
                  <a:moveTo>
                    <a:pt x="0" y="191"/>
                  </a:moveTo>
                  <a:lnTo>
                    <a:pt x="0" y="191"/>
                  </a:lnTo>
                  <a:cubicBezTo>
                    <a:pt x="0" y="15"/>
                    <a:pt x="0" y="15"/>
                    <a:pt x="0" y="15"/>
                  </a:cubicBezTo>
                  <a:lnTo>
                    <a:pt x="0" y="15"/>
                  </a:lnTo>
                  <a:cubicBezTo>
                    <a:pt x="23" y="15"/>
                    <a:pt x="46" y="8"/>
                    <a:pt x="69" y="0"/>
                  </a:cubicBezTo>
                  <a:cubicBezTo>
                    <a:pt x="69" y="0"/>
                    <a:pt x="122" y="15"/>
                    <a:pt x="130" y="23"/>
                  </a:cubicBezTo>
                  <a:cubicBezTo>
                    <a:pt x="137" y="23"/>
                    <a:pt x="206" y="8"/>
                    <a:pt x="206" y="8"/>
                  </a:cubicBezTo>
                  <a:cubicBezTo>
                    <a:pt x="229" y="23"/>
                    <a:pt x="260" y="30"/>
                    <a:pt x="267" y="53"/>
                  </a:cubicBezTo>
                  <a:cubicBezTo>
                    <a:pt x="275" y="99"/>
                    <a:pt x="275" y="145"/>
                    <a:pt x="252" y="183"/>
                  </a:cubicBezTo>
                  <a:cubicBezTo>
                    <a:pt x="221" y="214"/>
                    <a:pt x="176" y="222"/>
                    <a:pt x="137" y="229"/>
                  </a:cubicBezTo>
                  <a:cubicBezTo>
                    <a:pt x="122" y="237"/>
                    <a:pt x="114" y="214"/>
                    <a:pt x="107" y="222"/>
                  </a:cubicBezTo>
                  <a:cubicBezTo>
                    <a:pt x="92" y="222"/>
                    <a:pt x="92" y="244"/>
                    <a:pt x="84" y="244"/>
                  </a:cubicBezTo>
                  <a:cubicBezTo>
                    <a:pt x="53" y="229"/>
                    <a:pt x="31" y="206"/>
                    <a:pt x="0" y="19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84" name="Freeform 33"/>
            <p:cNvSpPr>
              <a:spLocks noChangeArrowheads="1"/>
            </p:cNvSpPr>
            <p:nvPr/>
          </p:nvSpPr>
          <p:spPr bwMode="auto">
            <a:xfrm>
              <a:off x="6854379" y="7877176"/>
              <a:ext cx="428597" cy="671513"/>
            </a:xfrm>
            <a:custGeom>
              <a:avLst/>
              <a:gdLst>
                <a:gd name="T0" fmla="*/ 275 w 1192"/>
                <a:gd name="T1" fmla="*/ 443 h 1865"/>
                <a:gd name="T2" fmla="*/ 283 w 1192"/>
                <a:gd name="T3" fmla="*/ 344 h 1865"/>
                <a:gd name="T4" fmla="*/ 229 w 1192"/>
                <a:gd name="T5" fmla="*/ 260 h 1865"/>
                <a:gd name="T6" fmla="*/ 382 w 1192"/>
                <a:gd name="T7" fmla="*/ 252 h 1865"/>
                <a:gd name="T8" fmla="*/ 451 w 1192"/>
                <a:gd name="T9" fmla="*/ 115 h 1865"/>
                <a:gd name="T10" fmla="*/ 519 w 1192"/>
                <a:gd name="T11" fmla="*/ 0 h 1865"/>
                <a:gd name="T12" fmla="*/ 588 w 1192"/>
                <a:gd name="T13" fmla="*/ 69 h 1865"/>
                <a:gd name="T14" fmla="*/ 558 w 1192"/>
                <a:gd name="T15" fmla="*/ 122 h 1865"/>
                <a:gd name="T16" fmla="*/ 580 w 1192"/>
                <a:gd name="T17" fmla="*/ 222 h 1865"/>
                <a:gd name="T18" fmla="*/ 955 w 1192"/>
                <a:gd name="T19" fmla="*/ 474 h 1865"/>
                <a:gd name="T20" fmla="*/ 1138 w 1192"/>
                <a:gd name="T21" fmla="*/ 733 h 1865"/>
                <a:gd name="T22" fmla="*/ 1062 w 1192"/>
                <a:gd name="T23" fmla="*/ 886 h 1865"/>
                <a:gd name="T24" fmla="*/ 1108 w 1192"/>
                <a:gd name="T25" fmla="*/ 985 h 1865"/>
                <a:gd name="T26" fmla="*/ 1039 w 1192"/>
                <a:gd name="T27" fmla="*/ 1138 h 1865"/>
                <a:gd name="T28" fmla="*/ 1016 w 1192"/>
                <a:gd name="T29" fmla="*/ 1253 h 1865"/>
                <a:gd name="T30" fmla="*/ 962 w 1192"/>
                <a:gd name="T31" fmla="*/ 1322 h 1865"/>
                <a:gd name="T32" fmla="*/ 886 w 1192"/>
                <a:gd name="T33" fmla="*/ 1444 h 1865"/>
                <a:gd name="T34" fmla="*/ 733 w 1192"/>
                <a:gd name="T35" fmla="*/ 1490 h 1865"/>
                <a:gd name="T36" fmla="*/ 558 w 1192"/>
                <a:gd name="T37" fmla="*/ 1856 h 1865"/>
                <a:gd name="T38" fmla="*/ 458 w 1192"/>
                <a:gd name="T39" fmla="*/ 1803 h 1865"/>
                <a:gd name="T40" fmla="*/ 412 w 1192"/>
                <a:gd name="T41" fmla="*/ 1658 h 1865"/>
                <a:gd name="T42" fmla="*/ 290 w 1192"/>
                <a:gd name="T43" fmla="*/ 1482 h 1865"/>
                <a:gd name="T44" fmla="*/ 237 w 1192"/>
                <a:gd name="T45" fmla="*/ 1451 h 1865"/>
                <a:gd name="T46" fmla="*/ 183 w 1192"/>
                <a:gd name="T47" fmla="*/ 1390 h 1865"/>
                <a:gd name="T48" fmla="*/ 99 w 1192"/>
                <a:gd name="T49" fmla="*/ 1383 h 1865"/>
                <a:gd name="T50" fmla="*/ 46 w 1192"/>
                <a:gd name="T51" fmla="*/ 1390 h 1865"/>
                <a:gd name="T52" fmla="*/ 15 w 1192"/>
                <a:gd name="T53" fmla="*/ 1276 h 1865"/>
                <a:gd name="T54" fmla="*/ 8 w 1192"/>
                <a:gd name="T55" fmla="*/ 1070 h 1865"/>
                <a:gd name="T56" fmla="*/ 122 w 1192"/>
                <a:gd name="T57" fmla="*/ 955 h 1865"/>
                <a:gd name="T58" fmla="*/ 114 w 1192"/>
                <a:gd name="T59" fmla="*/ 833 h 1865"/>
                <a:gd name="T60" fmla="*/ 206 w 1192"/>
                <a:gd name="T61" fmla="*/ 833 h 1865"/>
                <a:gd name="T62" fmla="*/ 290 w 1192"/>
                <a:gd name="T63" fmla="*/ 840 h 1865"/>
                <a:gd name="T64" fmla="*/ 397 w 1192"/>
                <a:gd name="T65" fmla="*/ 863 h 1865"/>
                <a:gd name="T66" fmla="*/ 489 w 1192"/>
                <a:gd name="T67" fmla="*/ 825 h 1865"/>
                <a:gd name="T68" fmla="*/ 527 w 1192"/>
                <a:gd name="T69" fmla="*/ 764 h 1865"/>
                <a:gd name="T70" fmla="*/ 634 w 1192"/>
                <a:gd name="T71" fmla="*/ 795 h 1865"/>
                <a:gd name="T72" fmla="*/ 779 w 1192"/>
                <a:gd name="T73" fmla="*/ 756 h 1865"/>
                <a:gd name="T74" fmla="*/ 733 w 1192"/>
                <a:gd name="T75" fmla="*/ 581 h 1865"/>
                <a:gd name="T76" fmla="*/ 596 w 1192"/>
                <a:gd name="T77" fmla="*/ 573 h 1865"/>
                <a:gd name="T78" fmla="*/ 527 w 1192"/>
                <a:gd name="T79" fmla="*/ 588 h 1865"/>
                <a:gd name="T80" fmla="*/ 405 w 1192"/>
                <a:gd name="T81" fmla="*/ 642 h 1865"/>
                <a:gd name="T82" fmla="*/ 351 w 1192"/>
                <a:gd name="T83" fmla="*/ 512 h 1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92" h="1865">
                  <a:moveTo>
                    <a:pt x="275" y="443"/>
                  </a:moveTo>
                  <a:lnTo>
                    <a:pt x="275" y="443"/>
                  </a:lnTo>
                  <a:cubicBezTo>
                    <a:pt x="283" y="428"/>
                    <a:pt x="305" y="428"/>
                    <a:pt x="305" y="413"/>
                  </a:cubicBezTo>
                  <a:cubicBezTo>
                    <a:pt x="313" y="390"/>
                    <a:pt x="290" y="367"/>
                    <a:pt x="283" y="344"/>
                  </a:cubicBezTo>
                  <a:cubicBezTo>
                    <a:pt x="267" y="313"/>
                    <a:pt x="244" y="290"/>
                    <a:pt x="229" y="260"/>
                  </a:cubicBezTo>
                  <a:lnTo>
                    <a:pt x="229" y="260"/>
                  </a:lnTo>
                  <a:cubicBezTo>
                    <a:pt x="252" y="252"/>
                    <a:pt x="267" y="245"/>
                    <a:pt x="290" y="245"/>
                  </a:cubicBezTo>
                  <a:cubicBezTo>
                    <a:pt x="321" y="237"/>
                    <a:pt x="351" y="260"/>
                    <a:pt x="382" y="252"/>
                  </a:cubicBezTo>
                  <a:cubicBezTo>
                    <a:pt x="405" y="245"/>
                    <a:pt x="428" y="229"/>
                    <a:pt x="443" y="206"/>
                  </a:cubicBezTo>
                  <a:cubicBezTo>
                    <a:pt x="458" y="176"/>
                    <a:pt x="451" y="145"/>
                    <a:pt x="451" y="115"/>
                  </a:cubicBezTo>
                  <a:cubicBezTo>
                    <a:pt x="451" y="99"/>
                    <a:pt x="443" y="84"/>
                    <a:pt x="451" y="69"/>
                  </a:cubicBezTo>
                  <a:cubicBezTo>
                    <a:pt x="466" y="38"/>
                    <a:pt x="496" y="23"/>
                    <a:pt x="519" y="0"/>
                  </a:cubicBezTo>
                  <a:lnTo>
                    <a:pt x="519" y="0"/>
                  </a:lnTo>
                  <a:cubicBezTo>
                    <a:pt x="542" y="23"/>
                    <a:pt x="573" y="38"/>
                    <a:pt x="588" y="69"/>
                  </a:cubicBezTo>
                  <a:cubicBezTo>
                    <a:pt x="596" y="76"/>
                    <a:pt x="596" y="92"/>
                    <a:pt x="588" y="107"/>
                  </a:cubicBezTo>
                  <a:cubicBezTo>
                    <a:pt x="588" y="115"/>
                    <a:pt x="565" y="115"/>
                    <a:pt x="558" y="122"/>
                  </a:cubicBezTo>
                  <a:cubicBezTo>
                    <a:pt x="558" y="138"/>
                    <a:pt x="565" y="153"/>
                    <a:pt x="573" y="168"/>
                  </a:cubicBezTo>
                  <a:cubicBezTo>
                    <a:pt x="573" y="184"/>
                    <a:pt x="565" y="206"/>
                    <a:pt x="580" y="222"/>
                  </a:cubicBezTo>
                  <a:cubicBezTo>
                    <a:pt x="619" y="267"/>
                    <a:pt x="664" y="298"/>
                    <a:pt x="718" y="336"/>
                  </a:cubicBezTo>
                  <a:cubicBezTo>
                    <a:pt x="794" y="390"/>
                    <a:pt x="886" y="413"/>
                    <a:pt x="955" y="474"/>
                  </a:cubicBezTo>
                  <a:cubicBezTo>
                    <a:pt x="1031" y="550"/>
                    <a:pt x="1077" y="649"/>
                    <a:pt x="1138" y="733"/>
                  </a:cubicBezTo>
                  <a:lnTo>
                    <a:pt x="1138" y="733"/>
                  </a:lnTo>
                  <a:cubicBezTo>
                    <a:pt x="1153" y="764"/>
                    <a:pt x="1191" y="802"/>
                    <a:pt x="1176" y="833"/>
                  </a:cubicBezTo>
                  <a:cubicBezTo>
                    <a:pt x="1153" y="871"/>
                    <a:pt x="1077" y="848"/>
                    <a:pt x="1062" y="886"/>
                  </a:cubicBezTo>
                  <a:cubicBezTo>
                    <a:pt x="1046" y="917"/>
                    <a:pt x="1123" y="909"/>
                    <a:pt x="1130" y="932"/>
                  </a:cubicBezTo>
                  <a:cubicBezTo>
                    <a:pt x="1146" y="947"/>
                    <a:pt x="1108" y="963"/>
                    <a:pt x="1108" y="985"/>
                  </a:cubicBezTo>
                  <a:cubicBezTo>
                    <a:pt x="1108" y="1016"/>
                    <a:pt x="1146" y="1039"/>
                    <a:pt x="1130" y="1062"/>
                  </a:cubicBezTo>
                  <a:cubicBezTo>
                    <a:pt x="1115" y="1100"/>
                    <a:pt x="1054" y="1100"/>
                    <a:pt x="1039" y="1138"/>
                  </a:cubicBezTo>
                  <a:cubicBezTo>
                    <a:pt x="1031" y="1169"/>
                    <a:pt x="1092" y="1199"/>
                    <a:pt x="1085" y="1230"/>
                  </a:cubicBezTo>
                  <a:cubicBezTo>
                    <a:pt x="1077" y="1253"/>
                    <a:pt x="1031" y="1237"/>
                    <a:pt x="1016" y="1253"/>
                  </a:cubicBezTo>
                  <a:cubicBezTo>
                    <a:pt x="993" y="1276"/>
                    <a:pt x="985" y="1299"/>
                    <a:pt x="970" y="1322"/>
                  </a:cubicBezTo>
                  <a:cubicBezTo>
                    <a:pt x="962" y="1322"/>
                    <a:pt x="962" y="1322"/>
                    <a:pt x="962" y="1322"/>
                  </a:cubicBezTo>
                  <a:cubicBezTo>
                    <a:pt x="962" y="1322"/>
                    <a:pt x="924" y="1390"/>
                    <a:pt x="924" y="1398"/>
                  </a:cubicBezTo>
                  <a:cubicBezTo>
                    <a:pt x="924" y="1406"/>
                    <a:pt x="886" y="1444"/>
                    <a:pt x="886" y="1444"/>
                  </a:cubicBezTo>
                  <a:cubicBezTo>
                    <a:pt x="878" y="1467"/>
                    <a:pt x="886" y="1497"/>
                    <a:pt x="871" y="1505"/>
                  </a:cubicBezTo>
                  <a:cubicBezTo>
                    <a:pt x="825" y="1520"/>
                    <a:pt x="764" y="1451"/>
                    <a:pt x="733" y="1490"/>
                  </a:cubicBezTo>
                  <a:cubicBezTo>
                    <a:pt x="672" y="1574"/>
                    <a:pt x="703" y="1696"/>
                    <a:pt x="657" y="1787"/>
                  </a:cubicBezTo>
                  <a:cubicBezTo>
                    <a:pt x="641" y="1826"/>
                    <a:pt x="596" y="1856"/>
                    <a:pt x="558" y="1856"/>
                  </a:cubicBezTo>
                  <a:cubicBezTo>
                    <a:pt x="519" y="1864"/>
                    <a:pt x="489" y="1826"/>
                    <a:pt x="458" y="1810"/>
                  </a:cubicBezTo>
                  <a:cubicBezTo>
                    <a:pt x="458" y="1803"/>
                    <a:pt x="458" y="1803"/>
                    <a:pt x="458" y="1803"/>
                  </a:cubicBezTo>
                  <a:cubicBezTo>
                    <a:pt x="481" y="1757"/>
                    <a:pt x="542" y="1719"/>
                    <a:pt x="527" y="1673"/>
                  </a:cubicBezTo>
                  <a:cubicBezTo>
                    <a:pt x="519" y="1635"/>
                    <a:pt x="443" y="1681"/>
                    <a:pt x="412" y="1658"/>
                  </a:cubicBezTo>
                  <a:cubicBezTo>
                    <a:pt x="382" y="1635"/>
                    <a:pt x="382" y="1581"/>
                    <a:pt x="359" y="1551"/>
                  </a:cubicBezTo>
                  <a:cubicBezTo>
                    <a:pt x="336" y="1520"/>
                    <a:pt x="313" y="1505"/>
                    <a:pt x="290" y="1482"/>
                  </a:cubicBezTo>
                  <a:lnTo>
                    <a:pt x="290" y="1482"/>
                  </a:lnTo>
                  <a:cubicBezTo>
                    <a:pt x="275" y="1467"/>
                    <a:pt x="252" y="1467"/>
                    <a:pt x="237" y="1451"/>
                  </a:cubicBezTo>
                  <a:cubicBezTo>
                    <a:pt x="237" y="1451"/>
                    <a:pt x="244" y="1444"/>
                    <a:pt x="237" y="1436"/>
                  </a:cubicBezTo>
                  <a:cubicBezTo>
                    <a:pt x="222" y="1421"/>
                    <a:pt x="206" y="1398"/>
                    <a:pt x="183" y="1390"/>
                  </a:cubicBezTo>
                  <a:cubicBezTo>
                    <a:pt x="168" y="1390"/>
                    <a:pt x="153" y="1413"/>
                    <a:pt x="145" y="1413"/>
                  </a:cubicBezTo>
                  <a:cubicBezTo>
                    <a:pt x="122" y="1406"/>
                    <a:pt x="114" y="1375"/>
                    <a:pt x="99" y="1383"/>
                  </a:cubicBezTo>
                  <a:cubicBezTo>
                    <a:pt x="84" y="1383"/>
                    <a:pt x="99" y="1421"/>
                    <a:pt x="84" y="1421"/>
                  </a:cubicBezTo>
                  <a:cubicBezTo>
                    <a:pt x="69" y="1428"/>
                    <a:pt x="61" y="1406"/>
                    <a:pt x="46" y="1390"/>
                  </a:cubicBezTo>
                  <a:cubicBezTo>
                    <a:pt x="30" y="1375"/>
                    <a:pt x="15" y="1360"/>
                    <a:pt x="8" y="1337"/>
                  </a:cubicBezTo>
                  <a:cubicBezTo>
                    <a:pt x="0" y="1322"/>
                    <a:pt x="8" y="1299"/>
                    <a:pt x="15" y="1276"/>
                  </a:cubicBezTo>
                  <a:cubicBezTo>
                    <a:pt x="23" y="1253"/>
                    <a:pt x="46" y="1237"/>
                    <a:pt x="46" y="1215"/>
                  </a:cubicBezTo>
                  <a:cubicBezTo>
                    <a:pt x="38" y="1161"/>
                    <a:pt x="8" y="1123"/>
                    <a:pt x="8" y="1070"/>
                  </a:cubicBezTo>
                  <a:cubicBezTo>
                    <a:pt x="15" y="1054"/>
                    <a:pt x="46" y="1077"/>
                    <a:pt x="61" y="1062"/>
                  </a:cubicBezTo>
                  <a:cubicBezTo>
                    <a:pt x="84" y="1031"/>
                    <a:pt x="114" y="993"/>
                    <a:pt x="122" y="955"/>
                  </a:cubicBezTo>
                  <a:cubicBezTo>
                    <a:pt x="130" y="917"/>
                    <a:pt x="91" y="894"/>
                    <a:pt x="84" y="863"/>
                  </a:cubicBezTo>
                  <a:cubicBezTo>
                    <a:pt x="84" y="848"/>
                    <a:pt x="99" y="840"/>
                    <a:pt x="114" y="833"/>
                  </a:cubicBezTo>
                  <a:lnTo>
                    <a:pt x="114" y="833"/>
                  </a:lnTo>
                  <a:cubicBezTo>
                    <a:pt x="145" y="833"/>
                    <a:pt x="176" y="825"/>
                    <a:pt x="206" y="833"/>
                  </a:cubicBezTo>
                  <a:cubicBezTo>
                    <a:pt x="229" y="840"/>
                    <a:pt x="237" y="871"/>
                    <a:pt x="260" y="871"/>
                  </a:cubicBezTo>
                  <a:cubicBezTo>
                    <a:pt x="275" y="871"/>
                    <a:pt x="275" y="848"/>
                    <a:pt x="290" y="840"/>
                  </a:cubicBezTo>
                  <a:cubicBezTo>
                    <a:pt x="305" y="833"/>
                    <a:pt x="321" y="810"/>
                    <a:pt x="344" y="817"/>
                  </a:cubicBezTo>
                  <a:cubicBezTo>
                    <a:pt x="366" y="817"/>
                    <a:pt x="374" y="856"/>
                    <a:pt x="397" y="863"/>
                  </a:cubicBezTo>
                  <a:cubicBezTo>
                    <a:pt x="405" y="863"/>
                    <a:pt x="412" y="840"/>
                    <a:pt x="420" y="833"/>
                  </a:cubicBezTo>
                  <a:cubicBezTo>
                    <a:pt x="443" y="825"/>
                    <a:pt x="466" y="840"/>
                    <a:pt x="489" y="825"/>
                  </a:cubicBezTo>
                  <a:cubicBezTo>
                    <a:pt x="504" y="810"/>
                    <a:pt x="512" y="787"/>
                    <a:pt x="527" y="764"/>
                  </a:cubicBezTo>
                  <a:lnTo>
                    <a:pt x="527" y="764"/>
                  </a:lnTo>
                  <a:cubicBezTo>
                    <a:pt x="558" y="779"/>
                    <a:pt x="580" y="802"/>
                    <a:pt x="611" y="817"/>
                  </a:cubicBezTo>
                  <a:cubicBezTo>
                    <a:pt x="619" y="817"/>
                    <a:pt x="619" y="795"/>
                    <a:pt x="634" y="795"/>
                  </a:cubicBezTo>
                  <a:cubicBezTo>
                    <a:pt x="641" y="787"/>
                    <a:pt x="649" y="810"/>
                    <a:pt x="664" y="802"/>
                  </a:cubicBezTo>
                  <a:cubicBezTo>
                    <a:pt x="703" y="795"/>
                    <a:pt x="748" y="787"/>
                    <a:pt x="779" y="756"/>
                  </a:cubicBezTo>
                  <a:cubicBezTo>
                    <a:pt x="802" y="718"/>
                    <a:pt x="802" y="672"/>
                    <a:pt x="794" y="626"/>
                  </a:cubicBezTo>
                  <a:cubicBezTo>
                    <a:pt x="787" y="603"/>
                    <a:pt x="756" y="596"/>
                    <a:pt x="733" y="581"/>
                  </a:cubicBezTo>
                  <a:cubicBezTo>
                    <a:pt x="733" y="581"/>
                    <a:pt x="664" y="596"/>
                    <a:pt x="657" y="596"/>
                  </a:cubicBezTo>
                  <a:cubicBezTo>
                    <a:pt x="649" y="588"/>
                    <a:pt x="596" y="573"/>
                    <a:pt x="596" y="573"/>
                  </a:cubicBezTo>
                  <a:cubicBezTo>
                    <a:pt x="573" y="581"/>
                    <a:pt x="550" y="588"/>
                    <a:pt x="527" y="588"/>
                  </a:cubicBezTo>
                  <a:lnTo>
                    <a:pt x="527" y="588"/>
                  </a:lnTo>
                  <a:cubicBezTo>
                    <a:pt x="512" y="581"/>
                    <a:pt x="496" y="558"/>
                    <a:pt x="481" y="565"/>
                  </a:cubicBezTo>
                  <a:cubicBezTo>
                    <a:pt x="451" y="581"/>
                    <a:pt x="443" y="642"/>
                    <a:pt x="405" y="642"/>
                  </a:cubicBezTo>
                  <a:cubicBezTo>
                    <a:pt x="382" y="649"/>
                    <a:pt x="374" y="603"/>
                    <a:pt x="359" y="581"/>
                  </a:cubicBezTo>
                  <a:cubicBezTo>
                    <a:pt x="351" y="558"/>
                    <a:pt x="366" y="527"/>
                    <a:pt x="351" y="512"/>
                  </a:cubicBezTo>
                  <a:cubicBezTo>
                    <a:pt x="336" y="481"/>
                    <a:pt x="298" y="466"/>
                    <a:pt x="275" y="44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85" name="Freeform 34"/>
            <p:cNvSpPr>
              <a:spLocks noChangeArrowheads="1"/>
            </p:cNvSpPr>
            <p:nvPr/>
          </p:nvSpPr>
          <p:spPr bwMode="auto">
            <a:xfrm>
              <a:off x="6186085" y="8159751"/>
              <a:ext cx="457170" cy="525463"/>
            </a:xfrm>
            <a:custGeom>
              <a:avLst/>
              <a:gdLst>
                <a:gd name="T0" fmla="*/ 305 w 1269"/>
                <a:gd name="T1" fmla="*/ 122 h 1460"/>
                <a:gd name="T2" fmla="*/ 305 w 1269"/>
                <a:gd name="T3" fmla="*/ 122 h 1460"/>
                <a:gd name="T4" fmla="*/ 412 w 1269"/>
                <a:gd name="T5" fmla="*/ 15 h 1460"/>
                <a:gd name="T6" fmla="*/ 527 w 1269"/>
                <a:gd name="T7" fmla="*/ 30 h 1460"/>
                <a:gd name="T8" fmla="*/ 527 w 1269"/>
                <a:gd name="T9" fmla="*/ 84 h 1460"/>
                <a:gd name="T10" fmla="*/ 603 w 1269"/>
                <a:gd name="T11" fmla="*/ 91 h 1460"/>
                <a:gd name="T12" fmla="*/ 580 w 1269"/>
                <a:gd name="T13" fmla="*/ 145 h 1460"/>
                <a:gd name="T14" fmla="*/ 672 w 1269"/>
                <a:gd name="T15" fmla="*/ 229 h 1460"/>
                <a:gd name="T16" fmla="*/ 748 w 1269"/>
                <a:gd name="T17" fmla="*/ 153 h 1460"/>
                <a:gd name="T18" fmla="*/ 794 w 1269"/>
                <a:gd name="T19" fmla="*/ 221 h 1460"/>
                <a:gd name="T20" fmla="*/ 794 w 1269"/>
                <a:gd name="T21" fmla="*/ 221 h 1460"/>
                <a:gd name="T22" fmla="*/ 756 w 1269"/>
                <a:gd name="T23" fmla="*/ 237 h 1460"/>
                <a:gd name="T24" fmla="*/ 840 w 1269"/>
                <a:gd name="T25" fmla="*/ 290 h 1460"/>
                <a:gd name="T26" fmla="*/ 794 w 1269"/>
                <a:gd name="T27" fmla="*/ 389 h 1460"/>
                <a:gd name="T28" fmla="*/ 1000 w 1269"/>
                <a:gd name="T29" fmla="*/ 344 h 1460"/>
                <a:gd name="T30" fmla="*/ 1008 w 1269"/>
                <a:gd name="T31" fmla="*/ 275 h 1460"/>
                <a:gd name="T32" fmla="*/ 1084 w 1269"/>
                <a:gd name="T33" fmla="*/ 305 h 1460"/>
                <a:gd name="T34" fmla="*/ 1054 w 1269"/>
                <a:gd name="T35" fmla="*/ 389 h 1460"/>
                <a:gd name="T36" fmla="*/ 1146 w 1269"/>
                <a:gd name="T37" fmla="*/ 435 h 1460"/>
                <a:gd name="T38" fmla="*/ 1115 w 1269"/>
                <a:gd name="T39" fmla="*/ 619 h 1460"/>
                <a:gd name="T40" fmla="*/ 1230 w 1269"/>
                <a:gd name="T41" fmla="*/ 626 h 1460"/>
                <a:gd name="T42" fmla="*/ 1253 w 1269"/>
                <a:gd name="T43" fmla="*/ 955 h 1460"/>
                <a:gd name="T44" fmla="*/ 1253 w 1269"/>
                <a:gd name="T45" fmla="*/ 955 h 1460"/>
                <a:gd name="T46" fmla="*/ 1130 w 1269"/>
                <a:gd name="T47" fmla="*/ 1016 h 1460"/>
                <a:gd name="T48" fmla="*/ 1031 w 1269"/>
                <a:gd name="T49" fmla="*/ 955 h 1460"/>
                <a:gd name="T50" fmla="*/ 1023 w 1269"/>
                <a:gd name="T51" fmla="*/ 1100 h 1460"/>
                <a:gd name="T52" fmla="*/ 1092 w 1269"/>
                <a:gd name="T53" fmla="*/ 1268 h 1460"/>
                <a:gd name="T54" fmla="*/ 932 w 1269"/>
                <a:gd name="T55" fmla="*/ 1367 h 1460"/>
                <a:gd name="T56" fmla="*/ 779 w 1269"/>
                <a:gd name="T57" fmla="*/ 1459 h 1460"/>
                <a:gd name="T58" fmla="*/ 779 w 1269"/>
                <a:gd name="T59" fmla="*/ 1459 h 1460"/>
                <a:gd name="T60" fmla="*/ 703 w 1269"/>
                <a:gd name="T61" fmla="*/ 1436 h 1460"/>
                <a:gd name="T62" fmla="*/ 649 w 1269"/>
                <a:gd name="T63" fmla="*/ 1436 h 1460"/>
                <a:gd name="T64" fmla="*/ 611 w 1269"/>
                <a:gd name="T65" fmla="*/ 1413 h 1460"/>
                <a:gd name="T66" fmla="*/ 580 w 1269"/>
                <a:gd name="T67" fmla="*/ 1337 h 1460"/>
                <a:gd name="T68" fmla="*/ 519 w 1269"/>
                <a:gd name="T69" fmla="*/ 1283 h 1460"/>
                <a:gd name="T70" fmla="*/ 466 w 1269"/>
                <a:gd name="T71" fmla="*/ 1245 h 1460"/>
                <a:gd name="T72" fmla="*/ 420 w 1269"/>
                <a:gd name="T73" fmla="*/ 1191 h 1460"/>
                <a:gd name="T74" fmla="*/ 351 w 1269"/>
                <a:gd name="T75" fmla="*/ 1245 h 1460"/>
                <a:gd name="T76" fmla="*/ 282 w 1269"/>
                <a:gd name="T77" fmla="*/ 1275 h 1460"/>
                <a:gd name="T78" fmla="*/ 275 w 1269"/>
                <a:gd name="T79" fmla="*/ 1222 h 1460"/>
                <a:gd name="T80" fmla="*/ 221 w 1269"/>
                <a:gd name="T81" fmla="*/ 1222 h 1460"/>
                <a:gd name="T82" fmla="*/ 198 w 1269"/>
                <a:gd name="T83" fmla="*/ 1138 h 1460"/>
                <a:gd name="T84" fmla="*/ 122 w 1269"/>
                <a:gd name="T85" fmla="*/ 1069 h 1460"/>
                <a:gd name="T86" fmla="*/ 122 w 1269"/>
                <a:gd name="T87" fmla="*/ 1069 h 1460"/>
                <a:gd name="T88" fmla="*/ 114 w 1269"/>
                <a:gd name="T89" fmla="*/ 1046 h 1460"/>
                <a:gd name="T90" fmla="*/ 84 w 1269"/>
                <a:gd name="T91" fmla="*/ 977 h 1460"/>
                <a:gd name="T92" fmla="*/ 92 w 1269"/>
                <a:gd name="T93" fmla="*/ 909 h 1460"/>
                <a:gd name="T94" fmla="*/ 23 w 1269"/>
                <a:gd name="T95" fmla="*/ 802 h 1460"/>
                <a:gd name="T96" fmla="*/ 61 w 1269"/>
                <a:gd name="T97" fmla="*/ 741 h 1460"/>
                <a:gd name="T98" fmla="*/ 0 w 1269"/>
                <a:gd name="T99" fmla="*/ 703 h 1460"/>
                <a:gd name="T100" fmla="*/ 122 w 1269"/>
                <a:gd name="T101" fmla="*/ 611 h 1460"/>
                <a:gd name="T102" fmla="*/ 53 w 1269"/>
                <a:gd name="T103" fmla="*/ 619 h 1460"/>
                <a:gd name="T104" fmla="*/ 76 w 1269"/>
                <a:gd name="T105" fmla="*/ 573 h 1460"/>
                <a:gd name="T106" fmla="*/ 84 w 1269"/>
                <a:gd name="T107" fmla="*/ 519 h 1460"/>
                <a:gd name="T108" fmla="*/ 107 w 1269"/>
                <a:gd name="T109" fmla="*/ 481 h 1460"/>
                <a:gd name="T110" fmla="*/ 122 w 1269"/>
                <a:gd name="T111" fmla="*/ 450 h 1460"/>
                <a:gd name="T112" fmla="*/ 229 w 1269"/>
                <a:gd name="T113" fmla="*/ 359 h 1460"/>
                <a:gd name="T114" fmla="*/ 305 w 1269"/>
                <a:gd name="T115" fmla="*/ 328 h 1460"/>
                <a:gd name="T116" fmla="*/ 221 w 1269"/>
                <a:gd name="T117" fmla="*/ 298 h 1460"/>
                <a:gd name="T118" fmla="*/ 229 w 1269"/>
                <a:gd name="T119" fmla="*/ 214 h 1460"/>
                <a:gd name="T120" fmla="*/ 267 w 1269"/>
                <a:gd name="T121" fmla="*/ 183 h 1460"/>
                <a:gd name="T122" fmla="*/ 305 w 1269"/>
                <a:gd name="T123" fmla="*/ 122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69" h="1460">
                  <a:moveTo>
                    <a:pt x="305" y="122"/>
                  </a:moveTo>
                  <a:lnTo>
                    <a:pt x="305" y="122"/>
                  </a:lnTo>
                  <a:cubicBezTo>
                    <a:pt x="344" y="84"/>
                    <a:pt x="367" y="30"/>
                    <a:pt x="412" y="15"/>
                  </a:cubicBezTo>
                  <a:cubicBezTo>
                    <a:pt x="450" y="0"/>
                    <a:pt x="489" y="23"/>
                    <a:pt x="527" y="30"/>
                  </a:cubicBezTo>
                  <a:cubicBezTo>
                    <a:pt x="527" y="30"/>
                    <a:pt x="519" y="84"/>
                    <a:pt x="527" y="84"/>
                  </a:cubicBezTo>
                  <a:lnTo>
                    <a:pt x="603" y="91"/>
                  </a:lnTo>
                  <a:cubicBezTo>
                    <a:pt x="603" y="91"/>
                    <a:pt x="573" y="137"/>
                    <a:pt x="580" y="145"/>
                  </a:cubicBezTo>
                  <a:cubicBezTo>
                    <a:pt x="580" y="153"/>
                    <a:pt x="672" y="229"/>
                    <a:pt x="672" y="229"/>
                  </a:cubicBezTo>
                  <a:cubicBezTo>
                    <a:pt x="703" y="206"/>
                    <a:pt x="710" y="153"/>
                    <a:pt x="748" y="153"/>
                  </a:cubicBezTo>
                  <a:cubicBezTo>
                    <a:pt x="779" y="145"/>
                    <a:pt x="779" y="198"/>
                    <a:pt x="794" y="221"/>
                  </a:cubicBezTo>
                  <a:lnTo>
                    <a:pt x="794" y="221"/>
                  </a:lnTo>
                  <a:cubicBezTo>
                    <a:pt x="779" y="229"/>
                    <a:pt x="748" y="221"/>
                    <a:pt x="756" y="237"/>
                  </a:cubicBezTo>
                  <a:cubicBezTo>
                    <a:pt x="771" y="260"/>
                    <a:pt x="832" y="260"/>
                    <a:pt x="840" y="290"/>
                  </a:cubicBezTo>
                  <a:cubicBezTo>
                    <a:pt x="848" y="328"/>
                    <a:pt x="756" y="374"/>
                    <a:pt x="794" y="389"/>
                  </a:cubicBezTo>
                  <a:cubicBezTo>
                    <a:pt x="863" y="412"/>
                    <a:pt x="939" y="382"/>
                    <a:pt x="1000" y="344"/>
                  </a:cubicBezTo>
                  <a:cubicBezTo>
                    <a:pt x="1023" y="336"/>
                    <a:pt x="985" y="283"/>
                    <a:pt x="1008" y="275"/>
                  </a:cubicBezTo>
                  <a:cubicBezTo>
                    <a:pt x="1031" y="260"/>
                    <a:pt x="1061" y="290"/>
                    <a:pt x="1084" y="305"/>
                  </a:cubicBezTo>
                  <a:cubicBezTo>
                    <a:pt x="1084" y="305"/>
                    <a:pt x="1054" y="382"/>
                    <a:pt x="1054" y="389"/>
                  </a:cubicBezTo>
                  <a:cubicBezTo>
                    <a:pt x="1046" y="405"/>
                    <a:pt x="1146" y="435"/>
                    <a:pt x="1146" y="435"/>
                  </a:cubicBezTo>
                  <a:cubicBezTo>
                    <a:pt x="1130" y="496"/>
                    <a:pt x="1084" y="558"/>
                    <a:pt x="1115" y="619"/>
                  </a:cubicBezTo>
                  <a:cubicBezTo>
                    <a:pt x="1130" y="649"/>
                    <a:pt x="1214" y="588"/>
                    <a:pt x="1230" y="626"/>
                  </a:cubicBezTo>
                  <a:cubicBezTo>
                    <a:pt x="1268" y="725"/>
                    <a:pt x="1245" y="840"/>
                    <a:pt x="1253" y="955"/>
                  </a:cubicBezTo>
                  <a:lnTo>
                    <a:pt x="1253" y="955"/>
                  </a:lnTo>
                  <a:cubicBezTo>
                    <a:pt x="1207" y="977"/>
                    <a:pt x="1176" y="1016"/>
                    <a:pt x="1130" y="1016"/>
                  </a:cubicBezTo>
                  <a:cubicBezTo>
                    <a:pt x="1092" y="1016"/>
                    <a:pt x="1061" y="932"/>
                    <a:pt x="1031" y="955"/>
                  </a:cubicBezTo>
                  <a:cubicBezTo>
                    <a:pt x="993" y="985"/>
                    <a:pt x="1016" y="1054"/>
                    <a:pt x="1023" y="1100"/>
                  </a:cubicBezTo>
                  <a:cubicBezTo>
                    <a:pt x="1031" y="1161"/>
                    <a:pt x="1107" y="1214"/>
                    <a:pt x="1092" y="1268"/>
                  </a:cubicBezTo>
                  <a:cubicBezTo>
                    <a:pt x="1069" y="1329"/>
                    <a:pt x="985" y="1337"/>
                    <a:pt x="932" y="1367"/>
                  </a:cubicBezTo>
                  <a:cubicBezTo>
                    <a:pt x="878" y="1398"/>
                    <a:pt x="832" y="1428"/>
                    <a:pt x="779" y="1459"/>
                  </a:cubicBezTo>
                  <a:lnTo>
                    <a:pt x="779" y="1459"/>
                  </a:lnTo>
                  <a:cubicBezTo>
                    <a:pt x="764" y="1444"/>
                    <a:pt x="725" y="1444"/>
                    <a:pt x="703" y="1436"/>
                  </a:cubicBezTo>
                  <a:cubicBezTo>
                    <a:pt x="672" y="1428"/>
                    <a:pt x="687" y="1413"/>
                    <a:pt x="649" y="1436"/>
                  </a:cubicBezTo>
                  <a:cubicBezTo>
                    <a:pt x="626" y="1444"/>
                    <a:pt x="626" y="1421"/>
                    <a:pt x="611" y="1413"/>
                  </a:cubicBezTo>
                  <a:cubicBezTo>
                    <a:pt x="611" y="1390"/>
                    <a:pt x="588" y="1360"/>
                    <a:pt x="580" y="1337"/>
                  </a:cubicBezTo>
                  <a:cubicBezTo>
                    <a:pt x="565" y="1314"/>
                    <a:pt x="542" y="1298"/>
                    <a:pt x="519" y="1283"/>
                  </a:cubicBezTo>
                  <a:cubicBezTo>
                    <a:pt x="504" y="1275"/>
                    <a:pt x="481" y="1260"/>
                    <a:pt x="466" y="1245"/>
                  </a:cubicBezTo>
                  <a:cubicBezTo>
                    <a:pt x="458" y="1230"/>
                    <a:pt x="420" y="1199"/>
                    <a:pt x="420" y="1191"/>
                  </a:cubicBezTo>
                  <a:cubicBezTo>
                    <a:pt x="405" y="1191"/>
                    <a:pt x="367" y="1237"/>
                    <a:pt x="351" y="1245"/>
                  </a:cubicBezTo>
                  <a:cubicBezTo>
                    <a:pt x="336" y="1252"/>
                    <a:pt x="290" y="1291"/>
                    <a:pt x="282" y="1275"/>
                  </a:cubicBezTo>
                  <a:cubicBezTo>
                    <a:pt x="275" y="1260"/>
                    <a:pt x="275" y="1245"/>
                    <a:pt x="275" y="1222"/>
                  </a:cubicBezTo>
                  <a:cubicBezTo>
                    <a:pt x="275" y="1214"/>
                    <a:pt x="229" y="1222"/>
                    <a:pt x="221" y="1222"/>
                  </a:cubicBezTo>
                  <a:cubicBezTo>
                    <a:pt x="214" y="1222"/>
                    <a:pt x="206" y="1146"/>
                    <a:pt x="198" y="1138"/>
                  </a:cubicBezTo>
                  <a:cubicBezTo>
                    <a:pt x="175" y="1108"/>
                    <a:pt x="145" y="1092"/>
                    <a:pt x="122" y="1069"/>
                  </a:cubicBezTo>
                  <a:lnTo>
                    <a:pt x="122" y="1069"/>
                  </a:lnTo>
                  <a:cubicBezTo>
                    <a:pt x="122" y="1062"/>
                    <a:pt x="114" y="1054"/>
                    <a:pt x="114" y="1046"/>
                  </a:cubicBezTo>
                  <a:cubicBezTo>
                    <a:pt x="114" y="1023"/>
                    <a:pt x="84" y="1000"/>
                    <a:pt x="84" y="977"/>
                  </a:cubicBezTo>
                  <a:cubicBezTo>
                    <a:pt x="76" y="955"/>
                    <a:pt x="92" y="932"/>
                    <a:pt x="92" y="909"/>
                  </a:cubicBezTo>
                  <a:cubicBezTo>
                    <a:pt x="92" y="894"/>
                    <a:pt x="38" y="810"/>
                    <a:pt x="23" y="802"/>
                  </a:cubicBezTo>
                  <a:cubicBezTo>
                    <a:pt x="23" y="787"/>
                    <a:pt x="76" y="764"/>
                    <a:pt x="61" y="741"/>
                  </a:cubicBezTo>
                  <a:cubicBezTo>
                    <a:pt x="53" y="718"/>
                    <a:pt x="8" y="718"/>
                    <a:pt x="0" y="703"/>
                  </a:cubicBezTo>
                  <a:cubicBezTo>
                    <a:pt x="0" y="687"/>
                    <a:pt x="137" y="664"/>
                    <a:pt x="122" y="611"/>
                  </a:cubicBezTo>
                  <a:cubicBezTo>
                    <a:pt x="114" y="611"/>
                    <a:pt x="53" y="634"/>
                    <a:pt x="53" y="619"/>
                  </a:cubicBezTo>
                  <a:cubicBezTo>
                    <a:pt x="38" y="611"/>
                    <a:pt x="69" y="580"/>
                    <a:pt x="76" y="573"/>
                  </a:cubicBezTo>
                  <a:cubicBezTo>
                    <a:pt x="92" y="558"/>
                    <a:pt x="92" y="535"/>
                    <a:pt x="84" y="519"/>
                  </a:cubicBezTo>
                  <a:cubicBezTo>
                    <a:pt x="76" y="504"/>
                    <a:pt x="99" y="496"/>
                    <a:pt x="107" y="481"/>
                  </a:cubicBezTo>
                  <a:cubicBezTo>
                    <a:pt x="114" y="473"/>
                    <a:pt x="114" y="458"/>
                    <a:pt x="122" y="450"/>
                  </a:cubicBezTo>
                  <a:cubicBezTo>
                    <a:pt x="145" y="420"/>
                    <a:pt x="191" y="359"/>
                    <a:pt x="229" y="359"/>
                  </a:cubicBezTo>
                  <a:cubicBezTo>
                    <a:pt x="260" y="359"/>
                    <a:pt x="305" y="374"/>
                    <a:pt x="305" y="328"/>
                  </a:cubicBezTo>
                  <a:cubicBezTo>
                    <a:pt x="290" y="328"/>
                    <a:pt x="198" y="351"/>
                    <a:pt x="221" y="298"/>
                  </a:cubicBezTo>
                  <a:cubicBezTo>
                    <a:pt x="237" y="283"/>
                    <a:pt x="237" y="237"/>
                    <a:pt x="229" y="214"/>
                  </a:cubicBezTo>
                  <a:cubicBezTo>
                    <a:pt x="221" y="198"/>
                    <a:pt x="260" y="191"/>
                    <a:pt x="267" y="183"/>
                  </a:cubicBezTo>
                  <a:cubicBezTo>
                    <a:pt x="290" y="176"/>
                    <a:pt x="313" y="145"/>
                    <a:pt x="305" y="12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86" name="Freeform 35"/>
            <p:cNvSpPr>
              <a:spLocks noChangeArrowheads="1"/>
            </p:cNvSpPr>
            <p:nvPr/>
          </p:nvSpPr>
          <p:spPr bwMode="auto">
            <a:xfrm>
              <a:off x="5746376" y="7691438"/>
              <a:ext cx="552414" cy="1066800"/>
            </a:xfrm>
            <a:custGeom>
              <a:avLst/>
              <a:gdLst>
                <a:gd name="T0" fmla="*/ 1160 w 1535"/>
                <a:gd name="T1" fmla="*/ 8 h 2965"/>
                <a:gd name="T2" fmla="*/ 847 w 1535"/>
                <a:gd name="T3" fmla="*/ 31 h 2965"/>
                <a:gd name="T4" fmla="*/ 672 w 1535"/>
                <a:gd name="T5" fmla="*/ 100 h 2965"/>
                <a:gd name="T6" fmla="*/ 511 w 1535"/>
                <a:gd name="T7" fmla="*/ 199 h 2965"/>
                <a:gd name="T8" fmla="*/ 489 w 1535"/>
                <a:gd name="T9" fmla="*/ 520 h 2965"/>
                <a:gd name="T10" fmla="*/ 175 w 1535"/>
                <a:gd name="T11" fmla="*/ 588 h 2965"/>
                <a:gd name="T12" fmla="*/ 0 w 1535"/>
                <a:gd name="T13" fmla="*/ 879 h 2965"/>
                <a:gd name="T14" fmla="*/ 122 w 1535"/>
                <a:gd name="T15" fmla="*/ 993 h 2965"/>
                <a:gd name="T16" fmla="*/ 290 w 1535"/>
                <a:gd name="T17" fmla="*/ 1077 h 2965"/>
                <a:gd name="T18" fmla="*/ 305 w 1535"/>
                <a:gd name="T19" fmla="*/ 1245 h 2965"/>
                <a:gd name="T20" fmla="*/ 313 w 1535"/>
                <a:gd name="T21" fmla="*/ 1482 h 2965"/>
                <a:gd name="T22" fmla="*/ 275 w 1535"/>
                <a:gd name="T23" fmla="*/ 1650 h 2965"/>
                <a:gd name="T24" fmla="*/ 252 w 1535"/>
                <a:gd name="T25" fmla="*/ 2002 h 2965"/>
                <a:gd name="T26" fmla="*/ 305 w 1535"/>
                <a:gd name="T27" fmla="*/ 2101 h 2965"/>
                <a:gd name="T28" fmla="*/ 336 w 1535"/>
                <a:gd name="T29" fmla="*/ 2468 h 2965"/>
                <a:gd name="T30" fmla="*/ 175 w 1535"/>
                <a:gd name="T31" fmla="*/ 2865 h 2965"/>
                <a:gd name="T32" fmla="*/ 259 w 1535"/>
                <a:gd name="T33" fmla="*/ 2964 h 2965"/>
                <a:gd name="T34" fmla="*/ 511 w 1535"/>
                <a:gd name="T35" fmla="*/ 2911 h 2965"/>
                <a:gd name="T36" fmla="*/ 595 w 1535"/>
                <a:gd name="T37" fmla="*/ 2888 h 2965"/>
                <a:gd name="T38" fmla="*/ 748 w 1535"/>
                <a:gd name="T39" fmla="*/ 2804 h 2965"/>
                <a:gd name="T40" fmla="*/ 870 w 1535"/>
                <a:gd name="T41" fmla="*/ 2811 h 2965"/>
                <a:gd name="T42" fmla="*/ 924 w 1535"/>
                <a:gd name="T43" fmla="*/ 2872 h 2965"/>
                <a:gd name="T44" fmla="*/ 1000 w 1535"/>
                <a:gd name="T45" fmla="*/ 2781 h 2965"/>
                <a:gd name="T46" fmla="*/ 1206 w 1535"/>
                <a:gd name="T47" fmla="*/ 2796 h 2965"/>
                <a:gd name="T48" fmla="*/ 1389 w 1535"/>
                <a:gd name="T49" fmla="*/ 2605 h 2965"/>
                <a:gd name="T50" fmla="*/ 1343 w 1535"/>
                <a:gd name="T51" fmla="*/ 2368 h 2965"/>
                <a:gd name="T52" fmla="*/ 1305 w 1535"/>
                <a:gd name="T53" fmla="*/ 2276 h 2965"/>
                <a:gd name="T54" fmla="*/ 1282 w 1535"/>
                <a:gd name="T55" fmla="*/ 2040 h 2965"/>
                <a:gd name="T56" fmla="*/ 1274 w 1535"/>
                <a:gd name="T57" fmla="*/ 1918 h 2965"/>
                <a:gd name="T58" fmla="*/ 1328 w 1535"/>
                <a:gd name="T59" fmla="*/ 1780 h 2965"/>
                <a:gd name="T60" fmla="*/ 1526 w 1535"/>
                <a:gd name="T61" fmla="*/ 1627 h 2965"/>
                <a:gd name="T62" fmla="*/ 1488 w 1535"/>
                <a:gd name="T63" fmla="*/ 1482 h 2965"/>
                <a:gd name="T64" fmla="*/ 1412 w 1535"/>
                <a:gd name="T65" fmla="*/ 1452 h 2965"/>
                <a:gd name="T66" fmla="*/ 1121 w 1535"/>
                <a:gd name="T67" fmla="*/ 1245 h 2965"/>
                <a:gd name="T68" fmla="*/ 1213 w 1535"/>
                <a:gd name="T69" fmla="*/ 1077 h 2965"/>
                <a:gd name="T70" fmla="*/ 1419 w 1535"/>
                <a:gd name="T71" fmla="*/ 986 h 2965"/>
                <a:gd name="T72" fmla="*/ 1320 w 1535"/>
                <a:gd name="T73" fmla="*/ 940 h 2965"/>
                <a:gd name="T74" fmla="*/ 1297 w 1535"/>
                <a:gd name="T75" fmla="*/ 787 h 2965"/>
                <a:gd name="T76" fmla="*/ 1374 w 1535"/>
                <a:gd name="T77" fmla="*/ 611 h 2965"/>
                <a:gd name="T78" fmla="*/ 1503 w 1535"/>
                <a:gd name="T79" fmla="*/ 466 h 2965"/>
                <a:gd name="T80" fmla="*/ 1335 w 1535"/>
                <a:gd name="T81" fmla="*/ 329 h 2965"/>
                <a:gd name="T82" fmla="*/ 1206 w 1535"/>
                <a:gd name="T83" fmla="*/ 214 h 2965"/>
                <a:gd name="T84" fmla="*/ 1221 w 1535"/>
                <a:gd name="T85" fmla="*/ 54 h 2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35" h="2965">
                  <a:moveTo>
                    <a:pt x="1221" y="54"/>
                  </a:moveTo>
                  <a:lnTo>
                    <a:pt x="1221" y="54"/>
                  </a:lnTo>
                  <a:cubicBezTo>
                    <a:pt x="1206" y="39"/>
                    <a:pt x="1183" y="0"/>
                    <a:pt x="1160" y="8"/>
                  </a:cubicBezTo>
                  <a:cubicBezTo>
                    <a:pt x="1115" y="16"/>
                    <a:pt x="1100" y="69"/>
                    <a:pt x="1061" y="84"/>
                  </a:cubicBezTo>
                  <a:cubicBezTo>
                    <a:pt x="1023" y="92"/>
                    <a:pt x="985" y="69"/>
                    <a:pt x="947" y="61"/>
                  </a:cubicBezTo>
                  <a:cubicBezTo>
                    <a:pt x="916" y="54"/>
                    <a:pt x="878" y="46"/>
                    <a:pt x="847" y="31"/>
                  </a:cubicBezTo>
                  <a:lnTo>
                    <a:pt x="847" y="31"/>
                  </a:lnTo>
                  <a:cubicBezTo>
                    <a:pt x="825" y="54"/>
                    <a:pt x="794" y="77"/>
                    <a:pt x="764" y="84"/>
                  </a:cubicBezTo>
                  <a:cubicBezTo>
                    <a:pt x="733" y="100"/>
                    <a:pt x="703" y="100"/>
                    <a:pt x="672" y="100"/>
                  </a:cubicBezTo>
                  <a:lnTo>
                    <a:pt x="672" y="100"/>
                  </a:lnTo>
                  <a:cubicBezTo>
                    <a:pt x="657" y="123"/>
                    <a:pt x="641" y="161"/>
                    <a:pt x="611" y="176"/>
                  </a:cubicBezTo>
                  <a:cubicBezTo>
                    <a:pt x="580" y="191"/>
                    <a:pt x="534" y="176"/>
                    <a:pt x="511" y="199"/>
                  </a:cubicBezTo>
                  <a:cubicBezTo>
                    <a:pt x="489" y="222"/>
                    <a:pt x="496" y="252"/>
                    <a:pt x="496" y="283"/>
                  </a:cubicBezTo>
                  <a:cubicBezTo>
                    <a:pt x="496" y="329"/>
                    <a:pt x="527" y="375"/>
                    <a:pt x="527" y="421"/>
                  </a:cubicBezTo>
                  <a:cubicBezTo>
                    <a:pt x="527" y="459"/>
                    <a:pt x="511" y="497"/>
                    <a:pt x="489" y="520"/>
                  </a:cubicBezTo>
                  <a:cubicBezTo>
                    <a:pt x="458" y="543"/>
                    <a:pt x="412" y="535"/>
                    <a:pt x="382" y="550"/>
                  </a:cubicBezTo>
                  <a:cubicBezTo>
                    <a:pt x="366" y="558"/>
                    <a:pt x="359" y="581"/>
                    <a:pt x="336" y="588"/>
                  </a:cubicBezTo>
                  <a:cubicBezTo>
                    <a:pt x="282" y="596"/>
                    <a:pt x="221" y="558"/>
                    <a:pt x="175" y="588"/>
                  </a:cubicBezTo>
                  <a:cubicBezTo>
                    <a:pt x="130" y="611"/>
                    <a:pt x="137" y="680"/>
                    <a:pt x="122" y="726"/>
                  </a:cubicBezTo>
                  <a:cubicBezTo>
                    <a:pt x="107" y="764"/>
                    <a:pt x="84" y="795"/>
                    <a:pt x="61" y="825"/>
                  </a:cubicBezTo>
                  <a:cubicBezTo>
                    <a:pt x="38" y="848"/>
                    <a:pt x="15" y="863"/>
                    <a:pt x="0" y="879"/>
                  </a:cubicBezTo>
                  <a:lnTo>
                    <a:pt x="0" y="879"/>
                  </a:lnTo>
                  <a:cubicBezTo>
                    <a:pt x="46" y="886"/>
                    <a:pt x="99" y="871"/>
                    <a:pt x="130" y="902"/>
                  </a:cubicBezTo>
                  <a:cubicBezTo>
                    <a:pt x="153" y="925"/>
                    <a:pt x="122" y="963"/>
                    <a:pt x="122" y="993"/>
                  </a:cubicBezTo>
                  <a:cubicBezTo>
                    <a:pt x="130" y="1024"/>
                    <a:pt x="122" y="1085"/>
                    <a:pt x="160" y="1093"/>
                  </a:cubicBezTo>
                  <a:cubicBezTo>
                    <a:pt x="206" y="1100"/>
                    <a:pt x="244" y="1047"/>
                    <a:pt x="282" y="1016"/>
                  </a:cubicBezTo>
                  <a:lnTo>
                    <a:pt x="290" y="1077"/>
                  </a:lnTo>
                  <a:cubicBezTo>
                    <a:pt x="282" y="1085"/>
                    <a:pt x="259" y="1123"/>
                    <a:pt x="259" y="1123"/>
                  </a:cubicBezTo>
                  <a:cubicBezTo>
                    <a:pt x="259" y="1123"/>
                    <a:pt x="252" y="1177"/>
                    <a:pt x="252" y="1184"/>
                  </a:cubicBezTo>
                  <a:lnTo>
                    <a:pt x="305" y="1245"/>
                  </a:lnTo>
                  <a:cubicBezTo>
                    <a:pt x="328" y="1284"/>
                    <a:pt x="343" y="1329"/>
                    <a:pt x="359" y="1368"/>
                  </a:cubicBezTo>
                  <a:cubicBezTo>
                    <a:pt x="359" y="1368"/>
                    <a:pt x="412" y="1421"/>
                    <a:pt x="405" y="1421"/>
                  </a:cubicBezTo>
                  <a:cubicBezTo>
                    <a:pt x="397" y="1429"/>
                    <a:pt x="313" y="1482"/>
                    <a:pt x="313" y="1482"/>
                  </a:cubicBezTo>
                  <a:cubicBezTo>
                    <a:pt x="298" y="1497"/>
                    <a:pt x="267" y="1505"/>
                    <a:pt x="267" y="1520"/>
                  </a:cubicBezTo>
                  <a:cubicBezTo>
                    <a:pt x="275" y="1559"/>
                    <a:pt x="336" y="1574"/>
                    <a:pt x="336" y="1612"/>
                  </a:cubicBezTo>
                  <a:cubicBezTo>
                    <a:pt x="336" y="1635"/>
                    <a:pt x="282" y="1627"/>
                    <a:pt x="275" y="1650"/>
                  </a:cubicBezTo>
                  <a:cubicBezTo>
                    <a:pt x="259" y="1688"/>
                    <a:pt x="275" y="1727"/>
                    <a:pt x="275" y="1765"/>
                  </a:cubicBezTo>
                  <a:cubicBezTo>
                    <a:pt x="282" y="1818"/>
                    <a:pt x="298" y="1879"/>
                    <a:pt x="298" y="1933"/>
                  </a:cubicBezTo>
                  <a:cubicBezTo>
                    <a:pt x="290" y="1963"/>
                    <a:pt x="267" y="1979"/>
                    <a:pt x="252" y="2002"/>
                  </a:cubicBezTo>
                  <a:lnTo>
                    <a:pt x="252" y="2002"/>
                  </a:lnTo>
                  <a:cubicBezTo>
                    <a:pt x="275" y="2009"/>
                    <a:pt x="298" y="2009"/>
                    <a:pt x="313" y="2024"/>
                  </a:cubicBezTo>
                  <a:cubicBezTo>
                    <a:pt x="321" y="2047"/>
                    <a:pt x="298" y="2078"/>
                    <a:pt x="305" y="2101"/>
                  </a:cubicBezTo>
                  <a:cubicBezTo>
                    <a:pt x="321" y="2124"/>
                    <a:pt x="366" y="2109"/>
                    <a:pt x="382" y="2132"/>
                  </a:cubicBezTo>
                  <a:cubicBezTo>
                    <a:pt x="405" y="2162"/>
                    <a:pt x="420" y="2208"/>
                    <a:pt x="420" y="2246"/>
                  </a:cubicBezTo>
                  <a:cubicBezTo>
                    <a:pt x="405" y="2322"/>
                    <a:pt x="359" y="2391"/>
                    <a:pt x="336" y="2468"/>
                  </a:cubicBezTo>
                  <a:cubicBezTo>
                    <a:pt x="321" y="2521"/>
                    <a:pt x="336" y="2582"/>
                    <a:pt x="321" y="2628"/>
                  </a:cubicBezTo>
                  <a:cubicBezTo>
                    <a:pt x="305" y="2666"/>
                    <a:pt x="259" y="2674"/>
                    <a:pt x="244" y="2712"/>
                  </a:cubicBezTo>
                  <a:cubicBezTo>
                    <a:pt x="214" y="2758"/>
                    <a:pt x="198" y="2811"/>
                    <a:pt x="175" y="2865"/>
                  </a:cubicBezTo>
                  <a:lnTo>
                    <a:pt x="175" y="2865"/>
                  </a:lnTo>
                  <a:cubicBezTo>
                    <a:pt x="191" y="2880"/>
                    <a:pt x="198" y="2903"/>
                    <a:pt x="214" y="2918"/>
                  </a:cubicBezTo>
                  <a:cubicBezTo>
                    <a:pt x="229" y="2933"/>
                    <a:pt x="236" y="2964"/>
                    <a:pt x="259" y="2964"/>
                  </a:cubicBezTo>
                  <a:cubicBezTo>
                    <a:pt x="282" y="2964"/>
                    <a:pt x="275" y="2918"/>
                    <a:pt x="298" y="2911"/>
                  </a:cubicBezTo>
                  <a:cubicBezTo>
                    <a:pt x="328" y="2888"/>
                    <a:pt x="366" y="2880"/>
                    <a:pt x="405" y="2880"/>
                  </a:cubicBezTo>
                  <a:cubicBezTo>
                    <a:pt x="443" y="2880"/>
                    <a:pt x="481" y="2895"/>
                    <a:pt x="511" y="2911"/>
                  </a:cubicBezTo>
                  <a:cubicBezTo>
                    <a:pt x="519" y="2918"/>
                    <a:pt x="511" y="2933"/>
                    <a:pt x="511" y="2949"/>
                  </a:cubicBezTo>
                  <a:lnTo>
                    <a:pt x="511" y="2949"/>
                  </a:lnTo>
                  <a:cubicBezTo>
                    <a:pt x="542" y="2926"/>
                    <a:pt x="573" y="2911"/>
                    <a:pt x="595" y="2888"/>
                  </a:cubicBezTo>
                  <a:cubicBezTo>
                    <a:pt x="634" y="2849"/>
                    <a:pt x="672" y="2796"/>
                    <a:pt x="718" y="2773"/>
                  </a:cubicBezTo>
                  <a:cubicBezTo>
                    <a:pt x="733" y="2765"/>
                    <a:pt x="741" y="2788"/>
                    <a:pt x="748" y="2804"/>
                  </a:cubicBezTo>
                  <a:lnTo>
                    <a:pt x="748" y="2804"/>
                  </a:lnTo>
                  <a:cubicBezTo>
                    <a:pt x="764" y="2788"/>
                    <a:pt x="779" y="2758"/>
                    <a:pt x="802" y="2758"/>
                  </a:cubicBezTo>
                  <a:cubicBezTo>
                    <a:pt x="817" y="2758"/>
                    <a:pt x="809" y="2788"/>
                    <a:pt x="817" y="2804"/>
                  </a:cubicBezTo>
                  <a:cubicBezTo>
                    <a:pt x="832" y="2811"/>
                    <a:pt x="855" y="2804"/>
                    <a:pt x="870" y="2811"/>
                  </a:cubicBezTo>
                  <a:cubicBezTo>
                    <a:pt x="878" y="2826"/>
                    <a:pt x="870" y="2849"/>
                    <a:pt x="878" y="2865"/>
                  </a:cubicBezTo>
                  <a:cubicBezTo>
                    <a:pt x="893" y="2872"/>
                    <a:pt x="909" y="2872"/>
                    <a:pt x="924" y="2872"/>
                  </a:cubicBezTo>
                  <a:lnTo>
                    <a:pt x="924" y="2872"/>
                  </a:lnTo>
                  <a:cubicBezTo>
                    <a:pt x="970" y="2849"/>
                    <a:pt x="970" y="2849"/>
                    <a:pt x="970" y="2849"/>
                  </a:cubicBezTo>
                  <a:lnTo>
                    <a:pt x="970" y="2849"/>
                  </a:lnTo>
                  <a:cubicBezTo>
                    <a:pt x="978" y="2826"/>
                    <a:pt x="978" y="2788"/>
                    <a:pt x="1000" y="2781"/>
                  </a:cubicBezTo>
                  <a:cubicBezTo>
                    <a:pt x="1031" y="2773"/>
                    <a:pt x="1061" y="2811"/>
                    <a:pt x="1092" y="2811"/>
                  </a:cubicBezTo>
                  <a:cubicBezTo>
                    <a:pt x="1129" y="2819"/>
                    <a:pt x="1167" y="2804"/>
                    <a:pt x="1206" y="2796"/>
                  </a:cubicBezTo>
                  <a:lnTo>
                    <a:pt x="1206" y="2796"/>
                  </a:lnTo>
                  <a:cubicBezTo>
                    <a:pt x="1236" y="2773"/>
                    <a:pt x="1274" y="2758"/>
                    <a:pt x="1297" y="2727"/>
                  </a:cubicBezTo>
                  <a:cubicBezTo>
                    <a:pt x="1320" y="2704"/>
                    <a:pt x="1313" y="2666"/>
                    <a:pt x="1335" y="2643"/>
                  </a:cubicBezTo>
                  <a:cubicBezTo>
                    <a:pt x="1343" y="2628"/>
                    <a:pt x="1389" y="2628"/>
                    <a:pt x="1389" y="2605"/>
                  </a:cubicBezTo>
                  <a:cubicBezTo>
                    <a:pt x="1381" y="2567"/>
                    <a:pt x="1335" y="2544"/>
                    <a:pt x="1320" y="2513"/>
                  </a:cubicBezTo>
                  <a:cubicBezTo>
                    <a:pt x="1305" y="2483"/>
                    <a:pt x="1297" y="2452"/>
                    <a:pt x="1297" y="2422"/>
                  </a:cubicBezTo>
                  <a:cubicBezTo>
                    <a:pt x="1305" y="2399"/>
                    <a:pt x="1328" y="2384"/>
                    <a:pt x="1343" y="2368"/>
                  </a:cubicBezTo>
                  <a:lnTo>
                    <a:pt x="1343" y="2368"/>
                  </a:lnTo>
                  <a:cubicBezTo>
                    <a:pt x="1343" y="2361"/>
                    <a:pt x="1335" y="2353"/>
                    <a:pt x="1335" y="2345"/>
                  </a:cubicBezTo>
                  <a:cubicBezTo>
                    <a:pt x="1335" y="2322"/>
                    <a:pt x="1305" y="2299"/>
                    <a:pt x="1305" y="2276"/>
                  </a:cubicBezTo>
                  <a:cubicBezTo>
                    <a:pt x="1297" y="2254"/>
                    <a:pt x="1313" y="2231"/>
                    <a:pt x="1313" y="2208"/>
                  </a:cubicBezTo>
                  <a:cubicBezTo>
                    <a:pt x="1313" y="2193"/>
                    <a:pt x="1259" y="2109"/>
                    <a:pt x="1244" y="2101"/>
                  </a:cubicBezTo>
                  <a:cubicBezTo>
                    <a:pt x="1244" y="2086"/>
                    <a:pt x="1297" y="2063"/>
                    <a:pt x="1282" y="2040"/>
                  </a:cubicBezTo>
                  <a:cubicBezTo>
                    <a:pt x="1274" y="2017"/>
                    <a:pt x="1229" y="2017"/>
                    <a:pt x="1221" y="2002"/>
                  </a:cubicBezTo>
                  <a:cubicBezTo>
                    <a:pt x="1221" y="1986"/>
                    <a:pt x="1358" y="1963"/>
                    <a:pt x="1343" y="1910"/>
                  </a:cubicBezTo>
                  <a:cubicBezTo>
                    <a:pt x="1335" y="1910"/>
                    <a:pt x="1274" y="1933"/>
                    <a:pt x="1274" y="1918"/>
                  </a:cubicBezTo>
                  <a:cubicBezTo>
                    <a:pt x="1259" y="1910"/>
                    <a:pt x="1290" y="1879"/>
                    <a:pt x="1297" y="1872"/>
                  </a:cubicBezTo>
                  <a:cubicBezTo>
                    <a:pt x="1313" y="1857"/>
                    <a:pt x="1313" y="1834"/>
                    <a:pt x="1305" y="1818"/>
                  </a:cubicBezTo>
                  <a:cubicBezTo>
                    <a:pt x="1297" y="1803"/>
                    <a:pt x="1320" y="1795"/>
                    <a:pt x="1328" y="1780"/>
                  </a:cubicBezTo>
                  <a:cubicBezTo>
                    <a:pt x="1335" y="1772"/>
                    <a:pt x="1335" y="1757"/>
                    <a:pt x="1343" y="1749"/>
                  </a:cubicBezTo>
                  <a:cubicBezTo>
                    <a:pt x="1366" y="1719"/>
                    <a:pt x="1412" y="1658"/>
                    <a:pt x="1450" y="1658"/>
                  </a:cubicBezTo>
                  <a:cubicBezTo>
                    <a:pt x="1481" y="1658"/>
                    <a:pt x="1526" y="1673"/>
                    <a:pt x="1526" y="1627"/>
                  </a:cubicBezTo>
                  <a:cubicBezTo>
                    <a:pt x="1511" y="1627"/>
                    <a:pt x="1419" y="1650"/>
                    <a:pt x="1442" y="1597"/>
                  </a:cubicBezTo>
                  <a:cubicBezTo>
                    <a:pt x="1458" y="1582"/>
                    <a:pt x="1458" y="1536"/>
                    <a:pt x="1450" y="1513"/>
                  </a:cubicBezTo>
                  <a:cubicBezTo>
                    <a:pt x="1442" y="1497"/>
                    <a:pt x="1481" y="1490"/>
                    <a:pt x="1488" y="1482"/>
                  </a:cubicBezTo>
                  <a:cubicBezTo>
                    <a:pt x="1511" y="1475"/>
                    <a:pt x="1534" y="1444"/>
                    <a:pt x="1526" y="1421"/>
                  </a:cubicBezTo>
                  <a:lnTo>
                    <a:pt x="1526" y="1421"/>
                  </a:lnTo>
                  <a:cubicBezTo>
                    <a:pt x="1481" y="1421"/>
                    <a:pt x="1450" y="1444"/>
                    <a:pt x="1412" y="1452"/>
                  </a:cubicBezTo>
                  <a:cubicBezTo>
                    <a:pt x="1389" y="1452"/>
                    <a:pt x="1374" y="1444"/>
                    <a:pt x="1351" y="1444"/>
                  </a:cubicBezTo>
                  <a:cubicBezTo>
                    <a:pt x="1320" y="1383"/>
                    <a:pt x="1236" y="1345"/>
                    <a:pt x="1190" y="1291"/>
                  </a:cubicBezTo>
                  <a:cubicBezTo>
                    <a:pt x="1167" y="1276"/>
                    <a:pt x="1144" y="1261"/>
                    <a:pt x="1121" y="1245"/>
                  </a:cubicBezTo>
                  <a:cubicBezTo>
                    <a:pt x="1100" y="1215"/>
                    <a:pt x="1069" y="1200"/>
                    <a:pt x="1100" y="1169"/>
                  </a:cubicBezTo>
                  <a:cubicBezTo>
                    <a:pt x="1115" y="1146"/>
                    <a:pt x="1129" y="1115"/>
                    <a:pt x="1152" y="1115"/>
                  </a:cubicBezTo>
                  <a:cubicBezTo>
                    <a:pt x="1198" y="1115"/>
                    <a:pt x="1190" y="1100"/>
                    <a:pt x="1213" y="1077"/>
                  </a:cubicBezTo>
                  <a:cubicBezTo>
                    <a:pt x="1229" y="1070"/>
                    <a:pt x="1251" y="1077"/>
                    <a:pt x="1267" y="1070"/>
                  </a:cubicBezTo>
                  <a:cubicBezTo>
                    <a:pt x="1297" y="1054"/>
                    <a:pt x="1320" y="1062"/>
                    <a:pt x="1351" y="1054"/>
                  </a:cubicBezTo>
                  <a:cubicBezTo>
                    <a:pt x="1389" y="1054"/>
                    <a:pt x="1412" y="1016"/>
                    <a:pt x="1419" y="986"/>
                  </a:cubicBezTo>
                  <a:cubicBezTo>
                    <a:pt x="1458" y="963"/>
                    <a:pt x="1450" y="940"/>
                    <a:pt x="1450" y="902"/>
                  </a:cubicBezTo>
                  <a:cubicBezTo>
                    <a:pt x="1450" y="863"/>
                    <a:pt x="1427" y="810"/>
                    <a:pt x="1389" y="856"/>
                  </a:cubicBezTo>
                  <a:cubicBezTo>
                    <a:pt x="1374" y="879"/>
                    <a:pt x="1351" y="917"/>
                    <a:pt x="1320" y="940"/>
                  </a:cubicBezTo>
                  <a:cubicBezTo>
                    <a:pt x="1313" y="948"/>
                    <a:pt x="1244" y="1032"/>
                    <a:pt x="1259" y="955"/>
                  </a:cubicBezTo>
                  <a:cubicBezTo>
                    <a:pt x="1267" y="925"/>
                    <a:pt x="1290" y="879"/>
                    <a:pt x="1251" y="856"/>
                  </a:cubicBezTo>
                  <a:cubicBezTo>
                    <a:pt x="1251" y="818"/>
                    <a:pt x="1297" y="818"/>
                    <a:pt x="1297" y="787"/>
                  </a:cubicBezTo>
                  <a:cubicBezTo>
                    <a:pt x="1305" y="757"/>
                    <a:pt x="1328" y="734"/>
                    <a:pt x="1351" y="718"/>
                  </a:cubicBezTo>
                  <a:cubicBezTo>
                    <a:pt x="1366" y="703"/>
                    <a:pt x="1343" y="696"/>
                    <a:pt x="1343" y="680"/>
                  </a:cubicBezTo>
                  <a:cubicBezTo>
                    <a:pt x="1335" y="665"/>
                    <a:pt x="1366" y="619"/>
                    <a:pt x="1374" y="611"/>
                  </a:cubicBezTo>
                  <a:cubicBezTo>
                    <a:pt x="1389" y="596"/>
                    <a:pt x="1374" y="565"/>
                    <a:pt x="1389" y="558"/>
                  </a:cubicBezTo>
                  <a:cubicBezTo>
                    <a:pt x="1396" y="550"/>
                    <a:pt x="1419" y="543"/>
                    <a:pt x="1412" y="520"/>
                  </a:cubicBezTo>
                  <a:cubicBezTo>
                    <a:pt x="1404" y="482"/>
                    <a:pt x="1473" y="466"/>
                    <a:pt x="1503" y="466"/>
                  </a:cubicBezTo>
                  <a:cubicBezTo>
                    <a:pt x="1503" y="451"/>
                    <a:pt x="1481" y="421"/>
                    <a:pt x="1458" y="413"/>
                  </a:cubicBezTo>
                  <a:cubicBezTo>
                    <a:pt x="1412" y="398"/>
                    <a:pt x="1427" y="398"/>
                    <a:pt x="1419" y="359"/>
                  </a:cubicBezTo>
                  <a:cubicBezTo>
                    <a:pt x="1396" y="359"/>
                    <a:pt x="1358" y="352"/>
                    <a:pt x="1335" y="329"/>
                  </a:cubicBezTo>
                  <a:cubicBezTo>
                    <a:pt x="1305" y="306"/>
                    <a:pt x="1313" y="260"/>
                    <a:pt x="1274" y="298"/>
                  </a:cubicBezTo>
                  <a:cubicBezTo>
                    <a:pt x="1259" y="321"/>
                    <a:pt x="1244" y="298"/>
                    <a:pt x="1236" y="275"/>
                  </a:cubicBezTo>
                  <a:cubicBezTo>
                    <a:pt x="1213" y="245"/>
                    <a:pt x="1198" y="268"/>
                    <a:pt x="1206" y="214"/>
                  </a:cubicBezTo>
                  <a:cubicBezTo>
                    <a:pt x="1221" y="161"/>
                    <a:pt x="1167" y="153"/>
                    <a:pt x="1244" y="115"/>
                  </a:cubicBezTo>
                  <a:cubicBezTo>
                    <a:pt x="1267" y="77"/>
                    <a:pt x="1251" y="92"/>
                    <a:pt x="1221" y="61"/>
                  </a:cubicBezTo>
                  <a:cubicBezTo>
                    <a:pt x="1221" y="61"/>
                    <a:pt x="1221" y="61"/>
                    <a:pt x="1221" y="54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87" name="Freeform 36"/>
            <p:cNvSpPr>
              <a:spLocks noChangeArrowheads="1"/>
            </p:cNvSpPr>
            <p:nvPr/>
          </p:nvSpPr>
          <p:spPr bwMode="auto">
            <a:xfrm>
              <a:off x="6692464" y="7521576"/>
              <a:ext cx="96832" cy="131763"/>
            </a:xfrm>
            <a:custGeom>
              <a:avLst/>
              <a:gdLst>
                <a:gd name="T0" fmla="*/ 184 w 269"/>
                <a:gd name="T1" fmla="*/ 69 h 367"/>
                <a:gd name="T2" fmla="*/ 184 w 269"/>
                <a:gd name="T3" fmla="*/ 69 h 367"/>
                <a:gd name="T4" fmla="*/ 115 w 269"/>
                <a:gd name="T5" fmla="*/ 0 h 367"/>
                <a:gd name="T6" fmla="*/ 16 w 269"/>
                <a:gd name="T7" fmla="*/ 53 h 367"/>
                <a:gd name="T8" fmla="*/ 54 w 269"/>
                <a:gd name="T9" fmla="*/ 152 h 367"/>
                <a:gd name="T10" fmla="*/ 54 w 269"/>
                <a:gd name="T11" fmla="*/ 252 h 367"/>
                <a:gd name="T12" fmla="*/ 92 w 269"/>
                <a:gd name="T13" fmla="*/ 359 h 367"/>
                <a:gd name="T14" fmla="*/ 145 w 269"/>
                <a:gd name="T15" fmla="*/ 298 h 367"/>
                <a:gd name="T16" fmla="*/ 184 w 269"/>
                <a:gd name="T17" fmla="*/ 344 h 367"/>
                <a:gd name="T18" fmla="*/ 268 w 269"/>
                <a:gd name="T19" fmla="*/ 321 h 367"/>
                <a:gd name="T20" fmla="*/ 191 w 269"/>
                <a:gd name="T21" fmla="*/ 152 h 367"/>
                <a:gd name="T22" fmla="*/ 184 w 269"/>
                <a:gd name="T23" fmla="*/ 69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367">
                  <a:moveTo>
                    <a:pt x="184" y="69"/>
                  </a:moveTo>
                  <a:lnTo>
                    <a:pt x="184" y="69"/>
                  </a:lnTo>
                  <a:cubicBezTo>
                    <a:pt x="168" y="38"/>
                    <a:pt x="145" y="8"/>
                    <a:pt x="115" y="0"/>
                  </a:cubicBezTo>
                  <a:cubicBezTo>
                    <a:pt x="77" y="0"/>
                    <a:pt x="31" y="15"/>
                    <a:pt x="16" y="53"/>
                  </a:cubicBezTo>
                  <a:cubicBezTo>
                    <a:pt x="0" y="84"/>
                    <a:pt x="54" y="122"/>
                    <a:pt x="54" y="152"/>
                  </a:cubicBezTo>
                  <a:cubicBezTo>
                    <a:pt x="61" y="191"/>
                    <a:pt x="46" y="221"/>
                    <a:pt x="54" y="252"/>
                  </a:cubicBezTo>
                  <a:cubicBezTo>
                    <a:pt x="61" y="290"/>
                    <a:pt x="61" y="344"/>
                    <a:pt x="92" y="359"/>
                  </a:cubicBezTo>
                  <a:cubicBezTo>
                    <a:pt x="115" y="366"/>
                    <a:pt x="123" y="305"/>
                    <a:pt x="145" y="298"/>
                  </a:cubicBezTo>
                  <a:cubicBezTo>
                    <a:pt x="168" y="298"/>
                    <a:pt x="168" y="344"/>
                    <a:pt x="184" y="344"/>
                  </a:cubicBezTo>
                  <a:cubicBezTo>
                    <a:pt x="214" y="351"/>
                    <a:pt x="268" y="351"/>
                    <a:pt x="268" y="321"/>
                  </a:cubicBezTo>
                  <a:cubicBezTo>
                    <a:pt x="268" y="260"/>
                    <a:pt x="214" y="214"/>
                    <a:pt x="191" y="152"/>
                  </a:cubicBezTo>
                  <a:cubicBezTo>
                    <a:pt x="184" y="122"/>
                    <a:pt x="199" y="91"/>
                    <a:pt x="184" y="69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88" name="Freeform 37"/>
            <p:cNvSpPr>
              <a:spLocks noChangeArrowheads="1"/>
            </p:cNvSpPr>
            <p:nvPr/>
          </p:nvSpPr>
          <p:spPr bwMode="auto">
            <a:xfrm>
              <a:off x="6551186" y="7394576"/>
              <a:ext cx="488918" cy="574675"/>
            </a:xfrm>
            <a:custGeom>
              <a:avLst/>
              <a:gdLst>
                <a:gd name="T0" fmla="*/ 573 w 1360"/>
                <a:gd name="T1" fmla="*/ 421 h 1598"/>
                <a:gd name="T2" fmla="*/ 405 w 1360"/>
                <a:gd name="T3" fmla="*/ 405 h 1598"/>
                <a:gd name="T4" fmla="*/ 443 w 1360"/>
                <a:gd name="T5" fmla="*/ 604 h 1598"/>
                <a:gd name="T6" fmla="*/ 534 w 1360"/>
                <a:gd name="T7" fmla="*/ 650 h 1598"/>
                <a:gd name="T8" fmla="*/ 657 w 1360"/>
                <a:gd name="T9" fmla="*/ 673 h 1598"/>
                <a:gd name="T10" fmla="*/ 573 w 1360"/>
                <a:gd name="T11" fmla="*/ 421 h 1598"/>
                <a:gd name="T12" fmla="*/ 130 w 1360"/>
                <a:gd name="T13" fmla="*/ 566 h 1598"/>
                <a:gd name="T14" fmla="*/ 191 w 1360"/>
                <a:gd name="T15" fmla="*/ 428 h 1598"/>
                <a:gd name="T16" fmla="*/ 382 w 1360"/>
                <a:gd name="T17" fmla="*/ 337 h 1598"/>
                <a:gd name="T18" fmla="*/ 550 w 1360"/>
                <a:gd name="T19" fmla="*/ 107 h 1598"/>
                <a:gd name="T20" fmla="*/ 718 w 1360"/>
                <a:gd name="T21" fmla="*/ 85 h 1598"/>
                <a:gd name="T22" fmla="*/ 794 w 1360"/>
                <a:gd name="T23" fmla="*/ 31 h 1598"/>
                <a:gd name="T24" fmla="*/ 840 w 1360"/>
                <a:gd name="T25" fmla="*/ 8 h 1598"/>
                <a:gd name="T26" fmla="*/ 1062 w 1360"/>
                <a:gd name="T27" fmla="*/ 168 h 1598"/>
                <a:gd name="T28" fmla="*/ 1115 w 1360"/>
                <a:gd name="T29" fmla="*/ 329 h 1598"/>
                <a:gd name="T30" fmla="*/ 1145 w 1360"/>
                <a:gd name="T31" fmla="*/ 489 h 1598"/>
                <a:gd name="T32" fmla="*/ 1046 w 1360"/>
                <a:gd name="T33" fmla="*/ 657 h 1598"/>
                <a:gd name="T34" fmla="*/ 1039 w 1360"/>
                <a:gd name="T35" fmla="*/ 902 h 1598"/>
                <a:gd name="T36" fmla="*/ 1268 w 1360"/>
                <a:gd name="T37" fmla="*/ 986 h 1598"/>
                <a:gd name="T38" fmla="*/ 1206 w 1360"/>
                <a:gd name="T39" fmla="*/ 1123 h 1598"/>
                <a:gd name="T40" fmla="*/ 1245 w 1360"/>
                <a:gd name="T41" fmla="*/ 1253 h 1598"/>
                <a:gd name="T42" fmla="*/ 1352 w 1360"/>
                <a:gd name="T43" fmla="*/ 1291 h 1598"/>
                <a:gd name="T44" fmla="*/ 1359 w 1360"/>
                <a:gd name="T45" fmla="*/ 1337 h 1598"/>
                <a:gd name="T46" fmla="*/ 1291 w 1360"/>
                <a:gd name="T47" fmla="*/ 1452 h 1598"/>
                <a:gd name="T48" fmla="*/ 1222 w 1360"/>
                <a:gd name="T49" fmla="*/ 1589 h 1598"/>
                <a:gd name="T50" fmla="*/ 1069 w 1360"/>
                <a:gd name="T51" fmla="*/ 1597 h 1598"/>
                <a:gd name="T52" fmla="*/ 1008 w 1360"/>
                <a:gd name="T53" fmla="*/ 1543 h 1598"/>
                <a:gd name="T54" fmla="*/ 924 w 1360"/>
                <a:gd name="T55" fmla="*/ 1582 h 1598"/>
                <a:gd name="T56" fmla="*/ 878 w 1360"/>
                <a:gd name="T57" fmla="*/ 1498 h 1598"/>
                <a:gd name="T58" fmla="*/ 794 w 1360"/>
                <a:gd name="T59" fmla="*/ 1429 h 1598"/>
                <a:gd name="T60" fmla="*/ 725 w 1360"/>
                <a:gd name="T61" fmla="*/ 1482 h 1598"/>
                <a:gd name="T62" fmla="*/ 679 w 1360"/>
                <a:gd name="T63" fmla="*/ 1543 h 1598"/>
                <a:gd name="T64" fmla="*/ 427 w 1360"/>
                <a:gd name="T65" fmla="*/ 1559 h 1598"/>
                <a:gd name="T66" fmla="*/ 351 w 1360"/>
                <a:gd name="T67" fmla="*/ 1521 h 1598"/>
                <a:gd name="T68" fmla="*/ 366 w 1360"/>
                <a:gd name="T69" fmla="*/ 1429 h 1598"/>
                <a:gd name="T70" fmla="*/ 229 w 1360"/>
                <a:gd name="T71" fmla="*/ 1352 h 1598"/>
                <a:gd name="T72" fmla="*/ 244 w 1360"/>
                <a:gd name="T73" fmla="*/ 1246 h 1598"/>
                <a:gd name="T74" fmla="*/ 145 w 1360"/>
                <a:gd name="T75" fmla="*/ 1108 h 1598"/>
                <a:gd name="T76" fmla="*/ 76 w 1360"/>
                <a:gd name="T77" fmla="*/ 1001 h 1598"/>
                <a:gd name="T78" fmla="*/ 122 w 1360"/>
                <a:gd name="T79" fmla="*/ 955 h 1598"/>
                <a:gd name="T80" fmla="*/ 30 w 1360"/>
                <a:gd name="T81" fmla="*/ 871 h 1598"/>
                <a:gd name="T82" fmla="*/ 38 w 1360"/>
                <a:gd name="T83" fmla="*/ 726 h 1598"/>
                <a:gd name="T84" fmla="*/ 130 w 1360"/>
                <a:gd name="T85" fmla="*/ 566 h 1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0" h="1598">
                  <a:moveTo>
                    <a:pt x="573" y="421"/>
                  </a:moveTo>
                  <a:lnTo>
                    <a:pt x="573" y="421"/>
                  </a:lnTo>
                  <a:cubicBezTo>
                    <a:pt x="557" y="390"/>
                    <a:pt x="534" y="360"/>
                    <a:pt x="504" y="352"/>
                  </a:cubicBezTo>
                  <a:cubicBezTo>
                    <a:pt x="466" y="352"/>
                    <a:pt x="420" y="367"/>
                    <a:pt x="405" y="405"/>
                  </a:cubicBezTo>
                  <a:cubicBezTo>
                    <a:pt x="389" y="436"/>
                    <a:pt x="443" y="474"/>
                    <a:pt x="443" y="504"/>
                  </a:cubicBezTo>
                  <a:cubicBezTo>
                    <a:pt x="450" y="543"/>
                    <a:pt x="435" y="573"/>
                    <a:pt x="443" y="604"/>
                  </a:cubicBezTo>
                  <a:cubicBezTo>
                    <a:pt x="450" y="642"/>
                    <a:pt x="450" y="696"/>
                    <a:pt x="481" y="711"/>
                  </a:cubicBezTo>
                  <a:cubicBezTo>
                    <a:pt x="504" y="718"/>
                    <a:pt x="512" y="657"/>
                    <a:pt x="534" y="650"/>
                  </a:cubicBezTo>
                  <a:cubicBezTo>
                    <a:pt x="557" y="650"/>
                    <a:pt x="557" y="696"/>
                    <a:pt x="573" y="696"/>
                  </a:cubicBezTo>
                  <a:cubicBezTo>
                    <a:pt x="603" y="703"/>
                    <a:pt x="657" y="703"/>
                    <a:pt x="657" y="673"/>
                  </a:cubicBezTo>
                  <a:cubicBezTo>
                    <a:pt x="657" y="612"/>
                    <a:pt x="603" y="566"/>
                    <a:pt x="580" y="504"/>
                  </a:cubicBezTo>
                  <a:cubicBezTo>
                    <a:pt x="573" y="474"/>
                    <a:pt x="588" y="443"/>
                    <a:pt x="573" y="421"/>
                  </a:cubicBezTo>
                  <a:close/>
                  <a:moveTo>
                    <a:pt x="130" y="566"/>
                  </a:moveTo>
                  <a:lnTo>
                    <a:pt x="130" y="566"/>
                  </a:lnTo>
                  <a:cubicBezTo>
                    <a:pt x="130" y="535"/>
                    <a:pt x="130" y="504"/>
                    <a:pt x="137" y="474"/>
                  </a:cubicBezTo>
                  <a:cubicBezTo>
                    <a:pt x="153" y="459"/>
                    <a:pt x="175" y="443"/>
                    <a:pt x="191" y="428"/>
                  </a:cubicBezTo>
                  <a:cubicBezTo>
                    <a:pt x="206" y="398"/>
                    <a:pt x="214" y="360"/>
                    <a:pt x="244" y="344"/>
                  </a:cubicBezTo>
                  <a:cubicBezTo>
                    <a:pt x="282" y="321"/>
                    <a:pt x="343" y="360"/>
                    <a:pt x="382" y="337"/>
                  </a:cubicBezTo>
                  <a:cubicBezTo>
                    <a:pt x="435" y="306"/>
                    <a:pt x="473" y="245"/>
                    <a:pt x="512" y="191"/>
                  </a:cubicBezTo>
                  <a:cubicBezTo>
                    <a:pt x="534" y="168"/>
                    <a:pt x="519" y="115"/>
                    <a:pt x="550" y="107"/>
                  </a:cubicBezTo>
                  <a:cubicBezTo>
                    <a:pt x="588" y="100"/>
                    <a:pt x="618" y="161"/>
                    <a:pt x="664" y="153"/>
                  </a:cubicBezTo>
                  <a:cubicBezTo>
                    <a:pt x="687" y="146"/>
                    <a:pt x="687" y="100"/>
                    <a:pt x="718" y="85"/>
                  </a:cubicBezTo>
                  <a:cubicBezTo>
                    <a:pt x="725" y="77"/>
                    <a:pt x="741" y="85"/>
                    <a:pt x="748" y="85"/>
                  </a:cubicBezTo>
                  <a:cubicBezTo>
                    <a:pt x="771" y="69"/>
                    <a:pt x="779" y="46"/>
                    <a:pt x="794" y="31"/>
                  </a:cubicBezTo>
                  <a:lnTo>
                    <a:pt x="794" y="31"/>
                  </a:lnTo>
                  <a:cubicBezTo>
                    <a:pt x="809" y="23"/>
                    <a:pt x="825" y="0"/>
                    <a:pt x="840" y="8"/>
                  </a:cubicBezTo>
                  <a:cubicBezTo>
                    <a:pt x="870" y="16"/>
                    <a:pt x="886" y="46"/>
                    <a:pt x="909" y="62"/>
                  </a:cubicBezTo>
                  <a:cubicBezTo>
                    <a:pt x="962" y="100"/>
                    <a:pt x="1016" y="123"/>
                    <a:pt x="1062" y="168"/>
                  </a:cubicBezTo>
                  <a:cubicBezTo>
                    <a:pt x="1077" y="184"/>
                    <a:pt x="1062" y="207"/>
                    <a:pt x="1069" y="229"/>
                  </a:cubicBezTo>
                  <a:cubicBezTo>
                    <a:pt x="1084" y="260"/>
                    <a:pt x="1107" y="291"/>
                    <a:pt x="1115" y="329"/>
                  </a:cubicBezTo>
                  <a:cubicBezTo>
                    <a:pt x="1115" y="367"/>
                    <a:pt x="1100" y="405"/>
                    <a:pt x="1107" y="436"/>
                  </a:cubicBezTo>
                  <a:cubicBezTo>
                    <a:pt x="1115" y="459"/>
                    <a:pt x="1138" y="474"/>
                    <a:pt x="1145" y="489"/>
                  </a:cubicBezTo>
                  <a:cubicBezTo>
                    <a:pt x="1153" y="520"/>
                    <a:pt x="1168" y="550"/>
                    <a:pt x="1153" y="573"/>
                  </a:cubicBezTo>
                  <a:cubicBezTo>
                    <a:pt x="1130" y="612"/>
                    <a:pt x="1069" y="619"/>
                    <a:pt x="1046" y="657"/>
                  </a:cubicBezTo>
                  <a:cubicBezTo>
                    <a:pt x="1023" y="696"/>
                    <a:pt x="1008" y="741"/>
                    <a:pt x="1008" y="787"/>
                  </a:cubicBezTo>
                  <a:cubicBezTo>
                    <a:pt x="1008" y="825"/>
                    <a:pt x="1008" y="871"/>
                    <a:pt x="1039" y="902"/>
                  </a:cubicBezTo>
                  <a:cubicBezTo>
                    <a:pt x="1077" y="932"/>
                    <a:pt x="1138" y="925"/>
                    <a:pt x="1191" y="940"/>
                  </a:cubicBezTo>
                  <a:cubicBezTo>
                    <a:pt x="1222" y="955"/>
                    <a:pt x="1252" y="963"/>
                    <a:pt x="1268" y="986"/>
                  </a:cubicBezTo>
                  <a:cubicBezTo>
                    <a:pt x="1283" y="1009"/>
                    <a:pt x="1298" y="1039"/>
                    <a:pt x="1291" y="1062"/>
                  </a:cubicBezTo>
                  <a:cubicBezTo>
                    <a:pt x="1275" y="1093"/>
                    <a:pt x="1229" y="1093"/>
                    <a:pt x="1206" y="1123"/>
                  </a:cubicBezTo>
                  <a:cubicBezTo>
                    <a:pt x="1191" y="1146"/>
                    <a:pt x="1184" y="1177"/>
                    <a:pt x="1191" y="1207"/>
                  </a:cubicBezTo>
                  <a:cubicBezTo>
                    <a:pt x="1191" y="1230"/>
                    <a:pt x="1222" y="1238"/>
                    <a:pt x="1245" y="1253"/>
                  </a:cubicBezTo>
                  <a:cubicBezTo>
                    <a:pt x="1275" y="1268"/>
                    <a:pt x="1314" y="1276"/>
                    <a:pt x="1352" y="1291"/>
                  </a:cubicBezTo>
                  <a:lnTo>
                    <a:pt x="1352" y="1291"/>
                  </a:lnTo>
                  <a:cubicBezTo>
                    <a:pt x="1359" y="1337"/>
                    <a:pt x="1359" y="1337"/>
                    <a:pt x="1359" y="1337"/>
                  </a:cubicBezTo>
                  <a:lnTo>
                    <a:pt x="1359" y="1337"/>
                  </a:lnTo>
                  <a:cubicBezTo>
                    <a:pt x="1336" y="1360"/>
                    <a:pt x="1306" y="1375"/>
                    <a:pt x="1291" y="1406"/>
                  </a:cubicBezTo>
                  <a:cubicBezTo>
                    <a:pt x="1283" y="1421"/>
                    <a:pt x="1291" y="1436"/>
                    <a:pt x="1291" y="1452"/>
                  </a:cubicBezTo>
                  <a:cubicBezTo>
                    <a:pt x="1291" y="1482"/>
                    <a:pt x="1298" y="1513"/>
                    <a:pt x="1283" y="1543"/>
                  </a:cubicBezTo>
                  <a:cubicBezTo>
                    <a:pt x="1268" y="1566"/>
                    <a:pt x="1245" y="1582"/>
                    <a:pt x="1222" y="1589"/>
                  </a:cubicBezTo>
                  <a:cubicBezTo>
                    <a:pt x="1191" y="1597"/>
                    <a:pt x="1161" y="1574"/>
                    <a:pt x="1130" y="1582"/>
                  </a:cubicBezTo>
                  <a:cubicBezTo>
                    <a:pt x="1107" y="1582"/>
                    <a:pt x="1092" y="1589"/>
                    <a:pt x="1069" y="1597"/>
                  </a:cubicBezTo>
                  <a:lnTo>
                    <a:pt x="1069" y="1597"/>
                  </a:lnTo>
                  <a:cubicBezTo>
                    <a:pt x="1046" y="1582"/>
                    <a:pt x="1031" y="1543"/>
                    <a:pt x="1008" y="1543"/>
                  </a:cubicBezTo>
                  <a:cubicBezTo>
                    <a:pt x="977" y="1543"/>
                    <a:pt x="947" y="1566"/>
                    <a:pt x="924" y="1582"/>
                  </a:cubicBezTo>
                  <a:lnTo>
                    <a:pt x="924" y="1582"/>
                  </a:lnTo>
                  <a:cubicBezTo>
                    <a:pt x="916" y="1566"/>
                    <a:pt x="909" y="1543"/>
                    <a:pt x="901" y="1528"/>
                  </a:cubicBezTo>
                  <a:cubicBezTo>
                    <a:pt x="893" y="1513"/>
                    <a:pt x="886" y="1505"/>
                    <a:pt x="878" y="1498"/>
                  </a:cubicBezTo>
                  <a:cubicBezTo>
                    <a:pt x="863" y="1467"/>
                    <a:pt x="878" y="1436"/>
                    <a:pt x="855" y="1421"/>
                  </a:cubicBezTo>
                  <a:cubicBezTo>
                    <a:pt x="840" y="1406"/>
                    <a:pt x="809" y="1413"/>
                    <a:pt x="794" y="1429"/>
                  </a:cubicBezTo>
                  <a:cubicBezTo>
                    <a:pt x="779" y="1436"/>
                    <a:pt x="794" y="1459"/>
                    <a:pt x="779" y="1467"/>
                  </a:cubicBezTo>
                  <a:cubicBezTo>
                    <a:pt x="764" y="1482"/>
                    <a:pt x="741" y="1467"/>
                    <a:pt x="725" y="1482"/>
                  </a:cubicBezTo>
                  <a:cubicBezTo>
                    <a:pt x="710" y="1498"/>
                    <a:pt x="695" y="1521"/>
                    <a:pt x="679" y="1543"/>
                  </a:cubicBezTo>
                  <a:lnTo>
                    <a:pt x="679" y="1543"/>
                  </a:lnTo>
                  <a:cubicBezTo>
                    <a:pt x="626" y="1521"/>
                    <a:pt x="588" y="1467"/>
                    <a:pt x="534" y="1467"/>
                  </a:cubicBezTo>
                  <a:cubicBezTo>
                    <a:pt x="489" y="1475"/>
                    <a:pt x="466" y="1528"/>
                    <a:pt x="427" y="1559"/>
                  </a:cubicBezTo>
                  <a:lnTo>
                    <a:pt x="427" y="1559"/>
                  </a:lnTo>
                  <a:cubicBezTo>
                    <a:pt x="351" y="1521"/>
                    <a:pt x="351" y="1521"/>
                    <a:pt x="351" y="1521"/>
                  </a:cubicBezTo>
                  <a:lnTo>
                    <a:pt x="351" y="1521"/>
                  </a:lnTo>
                  <a:cubicBezTo>
                    <a:pt x="359" y="1490"/>
                    <a:pt x="366" y="1459"/>
                    <a:pt x="366" y="1429"/>
                  </a:cubicBezTo>
                  <a:cubicBezTo>
                    <a:pt x="366" y="1406"/>
                    <a:pt x="366" y="1375"/>
                    <a:pt x="343" y="1360"/>
                  </a:cubicBezTo>
                  <a:cubicBezTo>
                    <a:pt x="313" y="1345"/>
                    <a:pt x="259" y="1375"/>
                    <a:pt x="229" y="1352"/>
                  </a:cubicBezTo>
                  <a:cubicBezTo>
                    <a:pt x="214" y="1322"/>
                    <a:pt x="244" y="1284"/>
                    <a:pt x="244" y="1246"/>
                  </a:cubicBezTo>
                  <a:lnTo>
                    <a:pt x="244" y="1246"/>
                  </a:lnTo>
                  <a:cubicBezTo>
                    <a:pt x="237" y="1223"/>
                    <a:pt x="229" y="1200"/>
                    <a:pt x="214" y="1184"/>
                  </a:cubicBezTo>
                  <a:cubicBezTo>
                    <a:pt x="198" y="1154"/>
                    <a:pt x="160" y="1138"/>
                    <a:pt x="145" y="1108"/>
                  </a:cubicBezTo>
                  <a:cubicBezTo>
                    <a:pt x="137" y="1093"/>
                    <a:pt x="153" y="1070"/>
                    <a:pt x="137" y="1054"/>
                  </a:cubicBezTo>
                  <a:cubicBezTo>
                    <a:pt x="122" y="1032"/>
                    <a:pt x="99" y="1016"/>
                    <a:pt x="76" y="1001"/>
                  </a:cubicBezTo>
                  <a:lnTo>
                    <a:pt x="76" y="1001"/>
                  </a:lnTo>
                  <a:cubicBezTo>
                    <a:pt x="91" y="986"/>
                    <a:pt x="114" y="978"/>
                    <a:pt x="122" y="955"/>
                  </a:cubicBezTo>
                  <a:cubicBezTo>
                    <a:pt x="137" y="917"/>
                    <a:pt x="168" y="864"/>
                    <a:pt x="137" y="833"/>
                  </a:cubicBezTo>
                  <a:cubicBezTo>
                    <a:pt x="114" y="810"/>
                    <a:pt x="68" y="879"/>
                    <a:pt x="30" y="871"/>
                  </a:cubicBezTo>
                  <a:cubicBezTo>
                    <a:pt x="7" y="864"/>
                    <a:pt x="0" y="833"/>
                    <a:pt x="0" y="810"/>
                  </a:cubicBezTo>
                  <a:cubicBezTo>
                    <a:pt x="0" y="779"/>
                    <a:pt x="15" y="749"/>
                    <a:pt x="38" y="726"/>
                  </a:cubicBezTo>
                  <a:cubicBezTo>
                    <a:pt x="61" y="696"/>
                    <a:pt x="107" y="688"/>
                    <a:pt x="130" y="650"/>
                  </a:cubicBezTo>
                  <a:cubicBezTo>
                    <a:pt x="145" y="627"/>
                    <a:pt x="130" y="596"/>
                    <a:pt x="130" y="566"/>
                  </a:cubicBezTo>
                  <a:close/>
                </a:path>
              </a:pathLst>
            </a:custGeom>
            <a:solidFill>
              <a:schemeClr val="tx1">
                <a:lumMod val="40000"/>
                <a:lumOff val="60000"/>
              </a:schemeClr>
            </a:solidFill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89" name="Freeform 38"/>
            <p:cNvSpPr>
              <a:spLocks noChangeArrowheads="1"/>
            </p:cNvSpPr>
            <p:nvPr/>
          </p:nvSpPr>
          <p:spPr bwMode="auto">
            <a:xfrm>
              <a:off x="6948035" y="7137400"/>
              <a:ext cx="266683" cy="184150"/>
            </a:xfrm>
            <a:custGeom>
              <a:avLst/>
              <a:gdLst>
                <a:gd name="T0" fmla="*/ 0 w 741"/>
                <a:gd name="T1" fmla="*/ 46 h 513"/>
                <a:gd name="T2" fmla="*/ 0 w 741"/>
                <a:gd name="T3" fmla="*/ 46 h 513"/>
                <a:gd name="T4" fmla="*/ 53 w 741"/>
                <a:gd name="T5" fmla="*/ 100 h 513"/>
                <a:gd name="T6" fmla="*/ 84 w 741"/>
                <a:gd name="T7" fmla="*/ 191 h 513"/>
                <a:gd name="T8" fmla="*/ 145 w 741"/>
                <a:gd name="T9" fmla="*/ 214 h 513"/>
                <a:gd name="T10" fmla="*/ 152 w 741"/>
                <a:gd name="T11" fmla="*/ 253 h 513"/>
                <a:gd name="T12" fmla="*/ 214 w 741"/>
                <a:gd name="T13" fmla="*/ 283 h 513"/>
                <a:gd name="T14" fmla="*/ 198 w 741"/>
                <a:gd name="T15" fmla="*/ 352 h 513"/>
                <a:gd name="T16" fmla="*/ 320 w 741"/>
                <a:gd name="T17" fmla="*/ 398 h 513"/>
                <a:gd name="T18" fmla="*/ 259 w 741"/>
                <a:gd name="T19" fmla="*/ 474 h 513"/>
                <a:gd name="T20" fmla="*/ 381 w 741"/>
                <a:gd name="T21" fmla="*/ 505 h 513"/>
                <a:gd name="T22" fmla="*/ 519 w 741"/>
                <a:gd name="T23" fmla="*/ 482 h 513"/>
                <a:gd name="T24" fmla="*/ 542 w 741"/>
                <a:gd name="T25" fmla="*/ 443 h 513"/>
                <a:gd name="T26" fmla="*/ 603 w 741"/>
                <a:gd name="T27" fmla="*/ 420 h 513"/>
                <a:gd name="T28" fmla="*/ 626 w 741"/>
                <a:gd name="T29" fmla="*/ 428 h 513"/>
                <a:gd name="T30" fmla="*/ 641 w 741"/>
                <a:gd name="T31" fmla="*/ 474 h 513"/>
                <a:gd name="T32" fmla="*/ 687 w 741"/>
                <a:gd name="T33" fmla="*/ 474 h 513"/>
                <a:gd name="T34" fmla="*/ 740 w 741"/>
                <a:gd name="T35" fmla="*/ 443 h 513"/>
                <a:gd name="T36" fmla="*/ 740 w 741"/>
                <a:gd name="T37" fmla="*/ 443 h 513"/>
                <a:gd name="T38" fmla="*/ 718 w 741"/>
                <a:gd name="T39" fmla="*/ 375 h 513"/>
                <a:gd name="T40" fmla="*/ 672 w 741"/>
                <a:gd name="T41" fmla="*/ 329 h 513"/>
                <a:gd name="T42" fmla="*/ 641 w 741"/>
                <a:gd name="T43" fmla="*/ 260 h 513"/>
                <a:gd name="T44" fmla="*/ 641 w 741"/>
                <a:gd name="T45" fmla="*/ 199 h 513"/>
                <a:gd name="T46" fmla="*/ 580 w 741"/>
                <a:gd name="T47" fmla="*/ 184 h 513"/>
                <a:gd name="T48" fmla="*/ 534 w 741"/>
                <a:gd name="T49" fmla="*/ 61 h 513"/>
                <a:gd name="T50" fmla="*/ 534 w 741"/>
                <a:gd name="T51" fmla="*/ 61 h 513"/>
                <a:gd name="T52" fmla="*/ 473 w 741"/>
                <a:gd name="T53" fmla="*/ 39 h 513"/>
                <a:gd name="T54" fmla="*/ 450 w 741"/>
                <a:gd name="T55" fmla="*/ 69 h 513"/>
                <a:gd name="T56" fmla="*/ 412 w 741"/>
                <a:gd name="T57" fmla="*/ 153 h 513"/>
                <a:gd name="T58" fmla="*/ 389 w 741"/>
                <a:gd name="T59" fmla="*/ 123 h 513"/>
                <a:gd name="T60" fmla="*/ 381 w 741"/>
                <a:gd name="T61" fmla="*/ 77 h 513"/>
                <a:gd name="T62" fmla="*/ 351 w 741"/>
                <a:gd name="T63" fmla="*/ 31 h 513"/>
                <a:gd name="T64" fmla="*/ 145 w 741"/>
                <a:gd name="T65" fmla="*/ 8 h 513"/>
                <a:gd name="T66" fmla="*/ 91 w 741"/>
                <a:gd name="T67" fmla="*/ 46 h 513"/>
                <a:gd name="T68" fmla="*/ 0 w 741"/>
                <a:gd name="T69" fmla="*/ 46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41" h="513">
                  <a:moveTo>
                    <a:pt x="0" y="46"/>
                  </a:moveTo>
                  <a:lnTo>
                    <a:pt x="0" y="46"/>
                  </a:lnTo>
                  <a:cubicBezTo>
                    <a:pt x="15" y="69"/>
                    <a:pt x="38" y="77"/>
                    <a:pt x="53" y="100"/>
                  </a:cubicBezTo>
                  <a:cubicBezTo>
                    <a:pt x="68" y="130"/>
                    <a:pt x="61" y="168"/>
                    <a:pt x="84" y="191"/>
                  </a:cubicBezTo>
                  <a:cubicBezTo>
                    <a:pt x="99" y="214"/>
                    <a:pt x="129" y="199"/>
                    <a:pt x="145" y="214"/>
                  </a:cubicBezTo>
                  <a:cubicBezTo>
                    <a:pt x="152" y="222"/>
                    <a:pt x="145" y="245"/>
                    <a:pt x="152" y="253"/>
                  </a:cubicBezTo>
                  <a:cubicBezTo>
                    <a:pt x="175" y="268"/>
                    <a:pt x="206" y="260"/>
                    <a:pt x="214" y="283"/>
                  </a:cubicBezTo>
                  <a:cubicBezTo>
                    <a:pt x="221" y="306"/>
                    <a:pt x="183" y="336"/>
                    <a:pt x="198" y="352"/>
                  </a:cubicBezTo>
                  <a:cubicBezTo>
                    <a:pt x="229" y="382"/>
                    <a:pt x="298" y="359"/>
                    <a:pt x="320" y="398"/>
                  </a:cubicBezTo>
                  <a:cubicBezTo>
                    <a:pt x="328" y="428"/>
                    <a:pt x="244" y="451"/>
                    <a:pt x="259" y="474"/>
                  </a:cubicBezTo>
                  <a:cubicBezTo>
                    <a:pt x="282" y="512"/>
                    <a:pt x="343" y="505"/>
                    <a:pt x="381" y="505"/>
                  </a:cubicBezTo>
                  <a:cubicBezTo>
                    <a:pt x="427" y="505"/>
                    <a:pt x="473" y="497"/>
                    <a:pt x="519" y="482"/>
                  </a:cubicBezTo>
                  <a:cubicBezTo>
                    <a:pt x="534" y="474"/>
                    <a:pt x="534" y="451"/>
                    <a:pt x="542" y="443"/>
                  </a:cubicBezTo>
                  <a:cubicBezTo>
                    <a:pt x="557" y="428"/>
                    <a:pt x="580" y="420"/>
                    <a:pt x="603" y="420"/>
                  </a:cubicBezTo>
                  <a:cubicBezTo>
                    <a:pt x="611" y="420"/>
                    <a:pt x="618" y="420"/>
                    <a:pt x="626" y="428"/>
                  </a:cubicBezTo>
                  <a:cubicBezTo>
                    <a:pt x="634" y="436"/>
                    <a:pt x="626" y="466"/>
                    <a:pt x="641" y="474"/>
                  </a:cubicBezTo>
                  <a:cubicBezTo>
                    <a:pt x="649" y="482"/>
                    <a:pt x="672" y="474"/>
                    <a:pt x="687" y="474"/>
                  </a:cubicBezTo>
                  <a:cubicBezTo>
                    <a:pt x="702" y="466"/>
                    <a:pt x="725" y="459"/>
                    <a:pt x="740" y="443"/>
                  </a:cubicBezTo>
                  <a:lnTo>
                    <a:pt x="740" y="443"/>
                  </a:lnTo>
                  <a:cubicBezTo>
                    <a:pt x="733" y="420"/>
                    <a:pt x="733" y="398"/>
                    <a:pt x="718" y="375"/>
                  </a:cubicBezTo>
                  <a:cubicBezTo>
                    <a:pt x="702" y="359"/>
                    <a:pt x="679" y="352"/>
                    <a:pt x="672" y="329"/>
                  </a:cubicBezTo>
                  <a:cubicBezTo>
                    <a:pt x="656" y="314"/>
                    <a:pt x="649" y="283"/>
                    <a:pt x="641" y="260"/>
                  </a:cubicBezTo>
                  <a:cubicBezTo>
                    <a:pt x="634" y="245"/>
                    <a:pt x="649" y="214"/>
                    <a:pt x="641" y="199"/>
                  </a:cubicBezTo>
                  <a:cubicBezTo>
                    <a:pt x="626" y="184"/>
                    <a:pt x="595" y="199"/>
                    <a:pt x="580" y="184"/>
                  </a:cubicBezTo>
                  <a:cubicBezTo>
                    <a:pt x="557" y="153"/>
                    <a:pt x="550" y="100"/>
                    <a:pt x="534" y="61"/>
                  </a:cubicBezTo>
                  <a:lnTo>
                    <a:pt x="534" y="61"/>
                  </a:lnTo>
                  <a:cubicBezTo>
                    <a:pt x="511" y="54"/>
                    <a:pt x="496" y="39"/>
                    <a:pt x="473" y="39"/>
                  </a:cubicBezTo>
                  <a:cubicBezTo>
                    <a:pt x="458" y="39"/>
                    <a:pt x="458" y="61"/>
                    <a:pt x="450" y="69"/>
                  </a:cubicBezTo>
                  <a:cubicBezTo>
                    <a:pt x="435" y="100"/>
                    <a:pt x="443" y="138"/>
                    <a:pt x="412" y="153"/>
                  </a:cubicBezTo>
                  <a:cubicBezTo>
                    <a:pt x="404" y="168"/>
                    <a:pt x="397" y="138"/>
                    <a:pt x="389" y="123"/>
                  </a:cubicBezTo>
                  <a:cubicBezTo>
                    <a:pt x="381" y="107"/>
                    <a:pt x="389" y="92"/>
                    <a:pt x="381" y="77"/>
                  </a:cubicBezTo>
                  <a:cubicBezTo>
                    <a:pt x="374" y="61"/>
                    <a:pt x="366" y="39"/>
                    <a:pt x="351" y="31"/>
                  </a:cubicBezTo>
                  <a:cubicBezTo>
                    <a:pt x="282" y="16"/>
                    <a:pt x="214" y="0"/>
                    <a:pt x="145" y="8"/>
                  </a:cubicBezTo>
                  <a:cubicBezTo>
                    <a:pt x="122" y="8"/>
                    <a:pt x="114" y="39"/>
                    <a:pt x="91" y="46"/>
                  </a:cubicBezTo>
                  <a:cubicBezTo>
                    <a:pt x="61" y="54"/>
                    <a:pt x="30" y="46"/>
                    <a:pt x="0" y="4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04" name="Freeform 39"/>
            <p:cNvSpPr>
              <a:spLocks noChangeArrowheads="1"/>
            </p:cNvSpPr>
            <p:nvPr/>
          </p:nvSpPr>
          <p:spPr bwMode="auto">
            <a:xfrm>
              <a:off x="6819456" y="7097713"/>
              <a:ext cx="484156" cy="762000"/>
            </a:xfrm>
            <a:custGeom>
              <a:avLst/>
              <a:gdLst>
                <a:gd name="T0" fmla="*/ 924 w 1345"/>
                <a:gd name="T1" fmla="*/ 1428 h 2116"/>
                <a:gd name="T2" fmla="*/ 847 w 1345"/>
                <a:gd name="T3" fmla="*/ 1397 h 2116"/>
                <a:gd name="T4" fmla="*/ 763 w 1345"/>
                <a:gd name="T5" fmla="*/ 1497 h 2116"/>
                <a:gd name="T6" fmla="*/ 748 w 1345"/>
                <a:gd name="T7" fmla="*/ 1596 h 2116"/>
                <a:gd name="T8" fmla="*/ 886 w 1345"/>
                <a:gd name="T9" fmla="*/ 1665 h 2116"/>
                <a:gd name="T10" fmla="*/ 970 w 1345"/>
                <a:gd name="T11" fmla="*/ 1550 h 2116"/>
                <a:gd name="T12" fmla="*/ 924 w 1345"/>
                <a:gd name="T13" fmla="*/ 1428 h 2116"/>
                <a:gd name="T14" fmla="*/ 679 w 1345"/>
                <a:gd name="T15" fmla="*/ 2054 h 2116"/>
                <a:gd name="T16" fmla="*/ 611 w 1345"/>
                <a:gd name="T17" fmla="*/ 2115 h 2116"/>
                <a:gd name="T18" fmla="*/ 504 w 1345"/>
                <a:gd name="T19" fmla="*/ 2077 h 2116"/>
                <a:gd name="T20" fmla="*/ 465 w 1345"/>
                <a:gd name="T21" fmla="*/ 1947 h 2116"/>
                <a:gd name="T22" fmla="*/ 527 w 1345"/>
                <a:gd name="T23" fmla="*/ 1810 h 2116"/>
                <a:gd name="T24" fmla="*/ 298 w 1345"/>
                <a:gd name="T25" fmla="*/ 1726 h 2116"/>
                <a:gd name="T26" fmla="*/ 305 w 1345"/>
                <a:gd name="T27" fmla="*/ 1481 h 2116"/>
                <a:gd name="T28" fmla="*/ 404 w 1345"/>
                <a:gd name="T29" fmla="*/ 1313 h 2116"/>
                <a:gd name="T30" fmla="*/ 374 w 1345"/>
                <a:gd name="T31" fmla="*/ 1153 h 2116"/>
                <a:gd name="T32" fmla="*/ 321 w 1345"/>
                <a:gd name="T33" fmla="*/ 992 h 2116"/>
                <a:gd name="T34" fmla="*/ 99 w 1345"/>
                <a:gd name="T35" fmla="*/ 832 h 2116"/>
                <a:gd name="T36" fmla="*/ 53 w 1345"/>
                <a:gd name="T37" fmla="*/ 855 h 2116"/>
                <a:gd name="T38" fmla="*/ 61 w 1345"/>
                <a:gd name="T39" fmla="*/ 778 h 2116"/>
                <a:gd name="T40" fmla="*/ 23 w 1345"/>
                <a:gd name="T41" fmla="*/ 565 h 2116"/>
                <a:gd name="T42" fmla="*/ 0 w 1345"/>
                <a:gd name="T43" fmla="*/ 435 h 2116"/>
                <a:gd name="T44" fmla="*/ 23 w 1345"/>
                <a:gd name="T45" fmla="*/ 412 h 2116"/>
                <a:gd name="T46" fmla="*/ 7 w 1345"/>
                <a:gd name="T47" fmla="*/ 290 h 2116"/>
                <a:gd name="T48" fmla="*/ 61 w 1345"/>
                <a:gd name="T49" fmla="*/ 221 h 2116"/>
                <a:gd name="T50" fmla="*/ 99 w 1345"/>
                <a:gd name="T51" fmla="*/ 76 h 2116"/>
                <a:gd name="T52" fmla="*/ 160 w 1345"/>
                <a:gd name="T53" fmla="*/ 76 h 2116"/>
                <a:gd name="T54" fmla="*/ 183 w 1345"/>
                <a:gd name="T55" fmla="*/ 0 h 2116"/>
                <a:gd name="T56" fmla="*/ 221 w 1345"/>
                <a:gd name="T57" fmla="*/ 15 h 2116"/>
                <a:gd name="T58" fmla="*/ 290 w 1345"/>
                <a:gd name="T59" fmla="*/ 45 h 2116"/>
                <a:gd name="T60" fmla="*/ 328 w 1345"/>
                <a:gd name="T61" fmla="*/ 45 h 2116"/>
                <a:gd name="T62" fmla="*/ 359 w 1345"/>
                <a:gd name="T63" fmla="*/ 152 h 2116"/>
                <a:gd name="T64" fmla="*/ 412 w 1345"/>
                <a:gd name="T65" fmla="*/ 206 h 2116"/>
                <a:gd name="T66" fmla="*/ 504 w 1345"/>
                <a:gd name="T67" fmla="*/ 320 h 2116"/>
                <a:gd name="T68" fmla="*/ 573 w 1345"/>
                <a:gd name="T69" fmla="*/ 389 h 2116"/>
                <a:gd name="T70" fmla="*/ 679 w 1345"/>
                <a:gd name="T71" fmla="*/ 504 h 2116"/>
                <a:gd name="T72" fmla="*/ 740 w 1345"/>
                <a:gd name="T73" fmla="*/ 611 h 2116"/>
                <a:gd name="T74" fmla="*/ 901 w 1345"/>
                <a:gd name="T75" fmla="*/ 549 h 2116"/>
                <a:gd name="T76" fmla="*/ 985 w 1345"/>
                <a:gd name="T77" fmla="*/ 534 h 2116"/>
                <a:gd name="T78" fmla="*/ 1046 w 1345"/>
                <a:gd name="T79" fmla="*/ 580 h 2116"/>
                <a:gd name="T80" fmla="*/ 1099 w 1345"/>
                <a:gd name="T81" fmla="*/ 549 h 2116"/>
                <a:gd name="T82" fmla="*/ 1161 w 1345"/>
                <a:gd name="T83" fmla="*/ 603 h 2116"/>
                <a:gd name="T84" fmla="*/ 1298 w 1345"/>
                <a:gd name="T85" fmla="*/ 611 h 2116"/>
                <a:gd name="T86" fmla="*/ 1336 w 1345"/>
                <a:gd name="T87" fmla="*/ 641 h 2116"/>
                <a:gd name="T88" fmla="*/ 1283 w 1345"/>
                <a:gd name="T89" fmla="*/ 733 h 2116"/>
                <a:gd name="T90" fmla="*/ 1245 w 1345"/>
                <a:gd name="T91" fmla="*/ 954 h 2116"/>
                <a:gd name="T92" fmla="*/ 1122 w 1345"/>
                <a:gd name="T93" fmla="*/ 1168 h 2116"/>
                <a:gd name="T94" fmla="*/ 1084 w 1345"/>
                <a:gd name="T95" fmla="*/ 1344 h 2116"/>
                <a:gd name="T96" fmla="*/ 1084 w 1345"/>
                <a:gd name="T97" fmla="*/ 1688 h 2116"/>
                <a:gd name="T98" fmla="*/ 970 w 1345"/>
                <a:gd name="T99" fmla="*/ 1703 h 2116"/>
                <a:gd name="T100" fmla="*/ 878 w 1345"/>
                <a:gd name="T101" fmla="*/ 1833 h 2116"/>
                <a:gd name="T102" fmla="*/ 786 w 1345"/>
                <a:gd name="T103" fmla="*/ 1962 h 2116"/>
                <a:gd name="T104" fmla="*/ 664 w 1345"/>
                <a:gd name="T105" fmla="*/ 1970 h 2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45" h="2116">
                  <a:moveTo>
                    <a:pt x="924" y="1428"/>
                  </a:moveTo>
                  <a:lnTo>
                    <a:pt x="924" y="1428"/>
                  </a:lnTo>
                  <a:cubicBezTo>
                    <a:pt x="909" y="1420"/>
                    <a:pt x="886" y="1451"/>
                    <a:pt x="863" y="1443"/>
                  </a:cubicBezTo>
                  <a:cubicBezTo>
                    <a:pt x="855" y="1436"/>
                    <a:pt x="863" y="1397"/>
                    <a:pt x="847" y="1397"/>
                  </a:cubicBezTo>
                  <a:cubicBezTo>
                    <a:pt x="832" y="1390"/>
                    <a:pt x="817" y="1413"/>
                    <a:pt x="809" y="1420"/>
                  </a:cubicBezTo>
                  <a:cubicBezTo>
                    <a:pt x="786" y="1443"/>
                    <a:pt x="779" y="1474"/>
                    <a:pt x="763" y="1497"/>
                  </a:cubicBezTo>
                  <a:cubicBezTo>
                    <a:pt x="748" y="1512"/>
                    <a:pt x="725" y="1512"/>
                    <a:pt x="718" y="1535"/>
                  </a:cubicBezTo>
                  <a:cubicBezTo>
                    <a:pt x="718" y="1558"/>
                    <a:pt x="733" y="1573"/>
                    <a:pt x="748" y="1596"/>
                  </a:cubicBezTo>
                  <a:cubicBezTo>
                    <a:pt x="763" y="1611"/>
                    <a:pt x="786" y="1619"/>
                    <a:pt x="802" y="1626"/>
                  </a:cubicBezTo>
                  <a:cubicBezTo>
                    <a:pt x="825" y="1642"/>
                    <a:pt x="855" y="1665"/>
                    <a:pt x="886" y="1665"/>
                  </a:cubicBezTo>
                  <a:cubicBezTo>
                    <a:pt x="909" y="1672"/>
                    <a:pt x="939" y="1657"/>
                    <a:pt x="954" y="1634"/>
                  </a:cubicBezTo>
                  <a:cubicBezTo>
                    <a:pt x="970" y="1611"/>
                    <a:pt x="970" y="1581"/>
                    <a:pt x="970" y="1550"/>
                  </a:cubicBezTo>
                  <a:cubicBezTo>
                    <a:pt x="970" y="1527"/>
                    <a:pt x="962" y="1504"/>
                    <a:pt x="954" y="1481"/>
                  </a:cubicBezTo>
                  <a:cubicBezTo>
                    <a:pt x="954" y="1458"/>
                    <a:pt x="947" y="1436"/>
                    <a:pt x="924" y="1428"/>
                  </a:cubicBezTo>
                  <a:close/>
                  <a:moveTo>
                    <a:pt x="679" y="2054"/>
                  </a:moveTo>
                  <a:lnTo>
                    <a:pt x="679" y="2054"/>
                  </a:lnTo>
                  <a:lnTo>
                    <a:pt x="679" y="2054"/>
                  </a:lnTo>
                  <a:cubicBezTo>
                    <a:pt x="611" y="2115"/>
                    <a:pt x="611" y="2115"/>
                    <a:pt x="611" y="2115"/>
                  </a:cubicBezTo>
                  <a:lnTo>
                    <a:pt x="611" y="2115"/>
                  </a:lnTo>
                  <a:cubicBezTo>
                    <a:pt x="573" y="2100"/>
                    <a:pt x="534" y="2092"/>
                    <a:pt x="504" y="2077"/>
                  </a:cubicBezTo>
                  <a:cubicBezTo>
                    <a:pt x="481" y="2062"/>
                    <a:pt x="450" y="2054"/>
                    <a:pt x="450" y="2031"/>
                  </a:cubicBezTo>
                  <a:cubicBezTo>
                    <a:pt x="443" y="2001"/>
                    <a:pt x="450" y="1970"/>
                    <a:pt x="465" y="1947"/>
                  </a:cubicBezTo>
                  <a:cubicBezTo>
                    <a:pt x="488" y="1917"/>
                    <a:pt x="534" y="1917"/>
                    <a:pt x="550" y="1886"/>
                  </a:cubicBezTo>
                  <a:cubicBezTo>
                    <a:pt x="557" y="1863"/>
                    <a:pt x="542" y="1833"/>
                    <a:pt x="527" y="1810"/>
                  </a:cubicBezTo>
                  <a:cubicBezTo>
                    <a:pt x="511" y="1787"/>
                    <a:pt x="481" y="1779"/>
                    <a:pt x="450" y="1764"/>
                  </a:cubicBezTo>
                  <a:cubicBezTo>
                    <a:pt x="397" y="1749"/>
                    <a:pt x="336" y="1756"/>
                    <a:pt x="298" y="1726"/>
                  </a:cubicBezTo>
                  <a:cubicBezTo>
                    <a:pt x="267" y="1695"/>
                    <a:pt x="267" y="1649"/>
                    <a:pt x="267" y="1611"/>
                  </a:cubicBezTo>
                  <a:cubicBezTo>
                    <a:pt x="267" y="1565"/>
                    <a:pt x="282" y="1520"/>
                    <a:pt x="305" y="1481"/>
                  </a:cubicBezTo>
                  <a:cubicBezTo>
                    <a:pt x="328" y="1443"/>
                    <a:pt x="389" y="1436"/>
                    <a:pt x="412" y="1397"/>
                  </a:cubicBezTo>
                  <a:cubicBezTo>
                    <a:pt x="427" y="1374"/>
                    <a:pt x="412" y="1344"/>
                    <a:pt x="404" y="1313"/>
                  </a:cubicBezTo>
                  <a:cubicBezTo>
                    <a:pt x="397" y="1298"/>
                    <a:pt x="374" y="1283"/>
                    <a:pt x="366" y="1260"/>
                  </a:cubicBezTo>
                  <a:cubicBezTo>
                    <a:pt x="359" y="1229"/>
                    <a:pt x="374" y="1191"/>
                    <a:pt x="374" y="1153"/>
                  </a:cubicBezTo>
                  <a:cubicBezTo>
                    <a:pt x="366" y="1115"/>
                    <a:pt x="343" y="1084"/>
                    <a:pt x="328" y="1053"/>
                  </a:cubicBezTo>
                  <a:cubicBezTo>
                    <a:pt x="321" y="1031"/>
                    <a:pt x="336" y="1008"/>
                    <a:pt x="321" y="992"/>
                  </a:cubicBezTo>
                  <a:cubicBezTo>
                    <a:pt x="275" y="947"/>
                    <a:pt x="221" y="924"/>
                    <a:pt x="168" y="886"/>
                  </a:cubicBezTo>
                  <a:cubicBezTo>
                    <a:pt x="145" y="870"/>
                    <a:pt x="129" y="840"/>
                    <a:pt x="99" y="832"/>
                  </a:cubicBezTo>
                  <a:cubicBezTo>
                    <a:pt x="84" y="824"/>
                    <a:pt x="68" y="847"/>
                    <a:pt x="53" y="855"/>
                  </a:cubicBezTo>
                  <a:lnTo>
                    <a:pt x="53" y="855"/>
                  </a:lnTo>
                  <a:cubicBezTo>
                    <a:pt x="53" y="840"/>
                    <a:pt x="53" y="824"/>
                    <a:pt x="53" y="809"/>
                  </a:cubicBezTo>
                  <a:cubicBezTo>
                    <a:pt x="53" y="801"/>
                    <a:pt x="61" y="794"/>
                    <a:pt x="61" y="778"/>
                  </a:cubicBezTo>
                  <a:cubicBezTo>
                    <a:pt x="53" y="748"/>
                    <a:pt x="30" y="725"/>
                    <a:pt x="23" y="687"/>
                  </a:cubicBezTo>
                  <a:cubicBezTo>
                    <a:pt x="15" y="649"/>
                    <a:pt x="23" y="611"/>
                    <a:pt x="23" y="565"/>
                  </a:cubicBezTo>
                  <a:cubicBezTo>
                    <a:pt x="23" y="542"/>
                    <a:pt x="30" y="511"/>
                    <a:pt x="23" y="488"/>
                  </a:cubicBezTo>
                  <a:cubicBezTo>
                    <a:pt x="23" y="465"/>
                    <a:pt x="7" y="450"/>
                    <a:pt x="0" y="435"/>
                  </a:cubicBezTo>
                  <a:lnTo>
                    <a:pt x="0" y="435"/>
                  </a:lnTo>
                  <a:cubicBezTo>
                    <a:pt x="7" y="427"/>
                    <a:pt x="23" y="420"/>
                    <a:pt x="23" y="412"/>
                  </a:cubicBezTo>
                  <a:cubicBezTo>
                    <a:pt x="38" y="389"/>
                    <a:pt x="61" y="366"/>
                    <a:pt x="61" y="336"/>
                  </a:cubicBezTo>
                  <a:cubicBezTo>
                    <a:pt x="53" y="313"/>
                    <a:pt x="23" y="305"/>
                    <a:pt x="7" y="290"/>
                  </a:cubicBezTo>
                  <a:lnTo>
                    <a:pt x="7" y="290"/>
                  </a:lnTo>
                  <a:cubicBezTo>
                    <a:pt x="23" y="267"/>
                    <a:pt x="53" y="244"/>
                    <a:pt x="61" y="221"/>
                  </a:cubicBezTo>
                  <a:cubicBezTo>
                    <a:pt x="76" y="190"/>
                    <a:pt x="68" y="160"/>
                    <a:pt x="76" y="129"/>
                  </a:cubicBezTo>
                  <a:cubicBezTo>
                    <a:pt x="76" y="114"/>
                    <a:pt x="91" y="99"/>
                    <a:pt x="99" y="76"/>
                  </a:cubicBezTo>
                  <a:lnTo>
                    <a:pt x="99" y="76"/>
                  </a:lnTo>
                  <a:cubicBezTo>
                    <a:pt x="122" y="76"/>
                    <a:pt x="145" y="91"/>
                    <a:pt x="160" y="76"/>
                  </a:cubicBezTo>
                  <a:cubicBezTo>
                    <a:pt x="175" y="68"/>
                    <a:pt x="160" y="45"/>
                    <a:pt x="160" y="38"/>
                  </a:cubicBezTo>
                  <a:cubicBezTo>
                    <a:pt x="168" y="22"/>
                    <a:pt x="175" y="7"/>
                    <a:pt x="183" y="0"/>
                  </a:cubicBezTo>
                  <a:lnTo>
                    <a:pt x="183" y="0"/>
                  </a:lnTo>
                  <a:cubicBezTo>
                    <a:pt x="198" y="0"/>
                    <a:pt x="206" y="7"/>
                    <a:pt x="221" y="15"/>
                  </a:cubicBezTo>
                  <a:lnTo>
                    <a:pt x="244" y="0"/>
                  </a:lnTo>
                  <a:cubicBezTo>
                    <a:pt x="244" y="7"/>
                    <a:pt x="290" y="45"/>
                    <a:pt x="290" y="45"/>
                  </a:cubicBezTo>
                  <a:cubicBezTo>
                    <a:pt x="305" y="45"/>
                    <a:pt x="313" y="45"/>
                    <a:pt x="328" y="45"/>
                  </a:cubicBezTo>
                  <a:lnTo>
                    <a:pt x="328" y="45"/>
                  </a:lnTo>
                  <a:cubicBezTo>
                    <a:pt x="336" y="61"/>
                    <a:pt x="351" y="76"/>
                    <a:pt x="359" y="91"/>
                  </a:cubicBezTo>
                  <a:cubicBezTo>
                    <a:pt x="366" y="114"/>
                    <a:pt x="359" y="129"/>
                    <a:pt x="359" y="152"/>
                  </a:cubicBezTo>
                  <a:lnTo>
                    <a:pt x="359" y="152"/>
                  </a:lnTo>
                  <a:cubicBezTo>
                    <a:pt x="374" y="175"/>
                    <a:pt x="397" y="183"/>
                    <a:pt x="412" y="206"/>
                  </a:cubicBezTo>
                  <a:cubicBezTo>
                    <a:pt x="427" y="236"/>
                    <a:pt x="420" y="274"/>
                    <a:pt x="443" y="297"/>
                  </a:cubicBezTo>
                  <a:cubicBezTo>
                    <a:pt x="458" y="320"/>
                    <a:pt x="488" y="305"/>
                    <a:pt x="504" y="320"/>
                  </a:cubicBezTo>
                  <a:cubicBezTo>
                    <a:pt x="511" y="328"/>
                    <a:pt x="504" y="351"/>
                    <a:pt x="511" y="359"/>
                  </a:cubicBezTo>
                  <a:cubicBezTo>
                    <a:pt x="534" y="374"/>
                    <a:pt x="565" y="366"/>
                    <a:pt x="573" y="389"/>
                  </a:cubicBezTo>
                  <a:cubicBezTo>
                    <a:pt x="580" y="412"/>
                    <a:pt x="542" y="442"/>
                    <a:pt x="557" y="458"/>
                  </a:cubicBezTo>
                  <a:cubicBezTo>
                    <a:pt x="588" y="488"/>
                    <a:pt x="657" y="465"/>
                    <a:pt x="679" y="504"/>
                  </a:cubicBezTo>
                  <a:cubicBezTo>
                    <a:pt x="687" y="534"/>
                    <a:pt x="603" y="557"/>
                    <a:pt x="618" y="580"/>
                  </a:cubicBezTo>
                  <a:cubicBezTo>
                    <a:pt x="641" y="618"/>
                    <a:pt x="702" y="611"/>
                    <a:pt x="740" y="611"/>
                  </a:cubicBezTo>
                  <a:cubicBezTo>
                    <a:pt x="786" y="611"/>
                    <a:pt x="832" y="603"/>
                    <a:pt x="878" y="588"/>
                  </a:cubicBezTo>
                  <a:cubicBezTo>
                    <a:pt x="893" y="580"/>
                    <a:pt x="893" y="557"/>
                    <a:pt x="901" y="549"/>
                  </a:cubicBezTo>
                  <a:cubicBezTo>
                    <a:pt x="916" y="534"/>
                    <a:pt x="939" y="526"/>
                    <a:pt x="962" y="526"/>
                  </a:cubicBezTo>
                  <a:cubicBezTo>
                    <a:pt x="970" y="526"/>
                    <a:pt x="977" y="526"/>
                    <a:pt x="985" y="534"/>
                  </a:cubicBezTo>
                  <a:cubicBezTo>
                    <a:pt x="993" y="542"/>
                    <a:pt x="985" y="572"/>
                    <a:pt x="1000" y="580"/>
                  </a:cubicBezTo>
                  <a:cubicBezTo>
                    <a:pt x="1008" y="588"/>
                    <a:pt x="1031" y="580"/>
                    <a:pt x="1046" y="580"/>
                  </a:cubicBezTo>
                  <a:cubicBezTo>
                    <a:pt x="1061" y="572"/>
                    <a:pt x="1084" y="565"/>
                    <a:pt x="1099" y="549"/>
                  </a:cubicBezTo>
                  <a:lnTo>
                    <a:pt x="1099" y="549"/>
                  </a:lnTo>
                  <a:cubicBezTo>
                    <a:pt x="1122" y="549"/>
                    <a:pt x="1145" y="542"/>
                    <a:pt x="1161" y="549"/>
                  </a:cubicBezTo>
                  <a:cubicBezTo>
                    <a:pt x="1168" y="565"/>
                    <a:pt x="1153" y="588"/>
                    <a:pt x="1161" y="603"/>
                  </a:cubicBezTo>
                  <a:cubicBezTo>
                    <a:pt x="1176" y="618"/>
                    <a:pt x="1199" y="626"/>
                    <a:pt x="1222" y="626"/>
                  </a:cubicBezTo>
                  <a:cubicBezTo>
                    <a:pt x="1245" y="626"/>
                    <a:pt x="1268" y="618"/>
                    <a:pt x="1298" y="611"/>
                  </a:cubicBezTo>
                  <a:lnTo>
                    <a:pt x="1298" y="611"/>
                  </a:lnTo>
                  <a:cubicBezTo>
                    <a:pt x="1306" y="626"/>
                    <a:pt x="1329" y="626"/>
                    <a:pt x="1336" y="641"/>
                  </a:cubicBezTo>
                  <a:cubicBezTo>
                    <a:pt x="1344" y="672"/>
                    <a:pt x="1344" y="702"/>
                    <a:pt x="1329" y="725"/>
                  </a:cubicBezTo>
                  <a:cubicBezTo>
                    <a:pt x="1321" y="740"/>
                    <a:pt x="1290" y="717"/>
                    <a:pt x="1283" y="733"/>
                  </a:cubicBezTo>
                  <a:cubicBezTo>
                    <a:pt x="1268" y="786"/>
                    <a:pt x="1290" y="847"/>
                    <a:pt x="1283" y="901"/>
                  </a:cubicBezTo>
                  <a:cubicBezTo>
                    <a:pt x="1275" y="924"/>
                    <a:pt x="1260" y="939"/>
                    <a:pt x="1245" y="954"/>
                  </a:cubicBezTo>
                  <a:cubicBezTo>
                    <a:pt x="1207" y="977"/>
                    <a:pt x="1138" y="970"/>
                    <a:pt x="1115" y="1015"/>
                  </a:cubicBezTo>
                  <a:cubicBezTo>
                    <a:pt x="1092" y="1061"/>
                    <a:pt x="1138" y="1115"/>
                    <a:pt x="1122" y="1168"/>
                  </a:cubicBezTo>
                  <a:cubicBezTo>
                    <a:pt x="1122" y="1199"/>
                    <a:pt x="1084" y="1206"/>
                    <a:pt x="1077" y="1229"/>
                  </a:cubicBezTo>
                  <a:cubicBezTo>
                    <a:pt x="1069" y="1267"/>
                    <a:pt x="1077" y="1306"/>
                    <a:pt x="1084" y="1344"/>
                  </a:cubicBezTo>
                  <a:cubicBezTo>
                    <a:pt x="1099" y="1428"/>
                    <a:pt x="1153" y="1504"/>
                    <a:pt x="1153" y="1588"/>
                  </a:cubicBezTo>
                  <a:cubicBezTo>
                    <a:pt x="1153" y="1626"/>
                    <a:pt x="1107" y="1649"/>
                    <a:pt x="1084" y="1688"/>
                  </a:cubicBezTo>
                  <a:lnTo>
                    <a:pt x="1084" y="1688"/>
                  </a:lnTo>
                  <a:cubicBezTo>
                    <a:pt x="1046" y="1695"/>
                    <a:pt x="1008" y="1688"/>
                    <a:pt x="970" y="1703"/>
                  </a:cubicBezTo>
                  <a:cubicBezTo>
                    <a:pt x="947" y="1718"/>
                    <a:pt x="932" y="1741"/>
                    <a:pt x="916" y="1764"/>
                  </a:cubicBezTo>
                  <a:cubicBezTo>
                    <a:pt x="901" y="1787"/>
                    <a:pt x="893" y="1817"/>
                    <a:pt x="878" y="1833"/>
                  </a:cubicBezTo>
                  <a:cubicBezTo>
                    <a:pt x="863" y="1848"/>
                    <a:pt x="840" y="1856"/>
                    <a:pt x="832" y="1871"/>
                  </a:cubicBezTo>
                  <a:cubicBezTo>
                    <a:pt x="809" y="1894"/>
                    <a:pt x="817" y="1940"/>
                    <a:pt x="786" y="1962"/>
                  </a:cubicBezTo>
                  <a:cubicBezTo>
                    <a:pt x="771" y="1970"/>
                    <a:pt x="740" y="1947"/>
                    <a:pt x="710" y="1947"/>
                  </a:cubicBezTo>
                  <a:cubicBezTo>
                    <a:pt x="695" y="1955"/>
                    <a:pt x="672" y="1955"/>
                    <a:pt x="664" y="1970"/>
                  </a:cubicBezTo>
                  <a:cubicBezTo>
                    <a:pt x="657" y="1993"/>
                    <a:pt x="672" y="2024"/>
                    <a:pt x="679" y="2054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05" name="Freeform 40"/>
            <p:cNvSpPr>
              <a:spLocks noChangeArrowheads="1"/>
            </p:cNvSpPr>
            <p:nvPr/>
          </p:nvSpPr>
          <p:spPr bwMode="auto">
            <a:xfrm>
              <a:off x="7076614" y="7599363"/>
              <a:ext cx="90482" cy="101600"/>
            </a:xfrm>
            <a:custGeom>
              <a:avLst/>
              <a:gdLst>
                <a:gd name="T0" fmla="*/ 206 w 253"/>
                <a:gd name="T1" fmla="*/ 38 h 283"/>
                <a:gd name="T2" fmla="*/ 206 w 253"/>
                <a:gd name="T3" fmla="*/ 38 h 283"/>
                <a:gd name="T4" fmla="*/ 145 w 253"/>
                <a:gd name="T5" fmla="*/ 53 h 283"/>
                <a:gd name="T6" fmla="*/ 129 w 253"/>
                <a:gd name="T7" fmla="*/ 7 h 283"/>
                <a:gd name="T8" fmla="*/ 91 w 253"/>
                <a:gd name="T9" fmla="*/ 30 h 283"/>
                <a:gd name="T10" fmla="*/ 45 w 253"/>
                <a:gd name="T11" fmla="*/ 107 h 283"/>
                <a:gd name="T12" fmla="*/ 0 w 253"/>
                <a:gd name="T13" fmla="*/ 145 h 283"/>
                <a:gd name="T14" fmla="*/ 30 w 253"/>
                <a:gd name="T15" fmla="*/ 206 h 283"/>
                <a:gd name="T16" fmla="*/ 84 w 253"/>
                <a:gd name="T17" fmla="*/ 236 h 283"/>
                <a:gd name="T18" fmla="*/ 168 w 253"/>
                <a:gd name="T19" fmla="*/ 275 h 283"/>
                <a:gd name="T20" fmla="*/ 236 w 253"/>
                <a:gd name="T21" fmla="*/ 244 h 283"/>
                <a:gd name="T22" fmla="*/ 252 w 253"/>
                <a:gd name="T23" fmla="*/ 160 h 283"/>
                <a:gd name="T24" fmla="*/ 236 w 253"/>
                <a:gd name="T25" fmla="*/ 91 h 283"/>
                <a:gd name="T26" fmla="*/ 206 w 253"/>
                <a:gd name="T27" fmla="*/ 38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3" h="283">
                  <a:moveTo>
                    <a:pt x="206" y="38"/>
                  </a:moveTo>
                  <a:lnTo>
                    <a:pt x="206" y="38"/>
                  </a:lnTo>
                  <a:cubicBezTo>
                    <a:pt x="191" y="30"/>
                    <a:pt x="168" y="61"/>
                    <a:pt x="145" y="53"/>
                  </a:cubicBezTo>
                  <a:cubicBezTo>
                    <a:pt x="137" y="46"/>
                    <a:pt x="145" y="7"/>
                    <a:pt x="129" y="7"/>
                  </a:cubicBezTo>
                  <a:cubicBezTo>
                    <a:pt x="114" y="0"/>
                    <a:pt x="99" y="23"/>
                    <a:pt x="91" y="30"/>
                  </a:cubicBezTo>
                  <a:cubicBezTo>
                    <a:pt x="68" y="53"/>
                    <a:pt x="61" y="84"/>
                    <a:pt x="45" y="107"/>
                  </a:cubicBezTo>
                  <a:cubicBezTo>
                    <a:pt x="30" y="122"/>
                    <a:pt x="7" y="122"/>
                    <a:pt x="0" y="145"/>
                  </a:cubicBezTo>
                  <a:cubicBezTo>
                    <a:pt x="0" y="168"/>
                    <a:pt x="15" y="183"/>
                    <a:pt x="30" y="206"/>
                  </a:cubicBezTo>
                  <a:cubicBezTo>
                    <a:pt x="45" y="221"/>
                    <a:pt x="68" y="229"/>
                    <a:pt x="84" y="236"/>
                  </a:cubicBezTo>
                  <a:cubicBezTo>
                    <a:pt x="107" y="252"/>
                    <a:pt x="137" y="275"/>
                    <a:pt x="168" y="275"/>
                  </a:cubicBezTo>
                  <a:cubicBezTo>
                    <a:pt x="191" y="282"/>
                    <a:pt x="221" y="267"/>
                    <a:pt x="236" y="244"/>
                  </a:cubicBezTo>
                  <a:cubicBezTo>
                    <a:pt x="252" y="221"/>
                    <a:pt x="252" y="191"/>
                    <a:pt x="252" y="160"/>
                  </a:cubicBezTo>
                  <a:cubicBezTo>
                    <a:pt x="252" y="137"/>
                    <a:pt x="244" y="114"/>
                    <a:pt x="236" y="91"/>
                  </a:cubicBezTo>
                  <a:cubicBezTo>
                    <a:pt x="236" y="68"/>
                    <a:pt x="229" y="46"/>
                    <a:pt x="206" y="3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06" name="Freeform 41"/>
            <p:cNvSpPr>
              <a:spLocks noChangeArrowheads="1"/>
            </p:cNvSpPr>
            <p:nvPr/>
          </p:nvSpPr>
          <p:spPr bwMode="auto">
            <a:xfrm>
              <a:off x="7038517" y="7589838"/>
              <a:ext cx="503205" cy="550862"/>
            </a:xfrm>
            <a:custGeom>
              <a:avLst/>
              <a:gdLst>
                <a:gd name="T0" fmla="*/ 809 w 1398"/>
                <a:gd name="T1" fmla="*/ 817 h 1528"/>
                <a:gd name="T2" fmla="*/ 679 w 1398"/>
                <a:gd name="T3" fmla="*/ 764 h 1528"/>
                <a:gd name="T4" fmla="*/ 596 w 1398"/>
                <a:gd name="T5" fmla="*/ 901 h 1528"/>
                <a:gd name="T6" fmla="*/ 672 w 1398"/>
                <a:gd name="T7" fmla="*/ 1023 h 1528"/>
                <a:gd name="T8" fmla="*/ 771 w 1398"/>
                <a:gd name="T9" fmla="*/ 970 h 1528"/>
                <a:gd name="T10" fmla="*/ 832 w 1398"/>
                <a:gd name="T11" fmla="*/ 855 h 1528"/>
                <a:gd name="T12" fmla="*/ 0 w 1398"/>
                <a:gd name="T13" fmla="*/ 748 h 1528"/>
                <a:gd name="T14" fmla="*/ 68 w 1398"/>
                <a:gd name="T15" fmla="*/ 687 h 1528"/>
                <a:gd name="T16" fmla="*/ 53 w 1398"/>
                <a:gd name="T17" fmla="*/ 603 h 1528"/>
                <a:gd name="T18" fmla="*/ 175 w 1398"/>
                <a:gd name="T19" fmla="*/ 595 h 1528"/>
                <a:gd name="T20" fmla="*/ 267 w 1398"/>
                <a:gd name="T21" fmla="*/ 466 h 1528"/>
                <a:gd name="T22" fmla="*/ 359 w 1398"/>
                <a:gd name="T23" fmla="*/ 336 h 1528"/>
                <a:gd name="T24" fmla="*/ 473 w 1398"/>
                <a:gd name="T25" fmla="*/ 321 h 1528"/>
                <a:gd name="T26" fmla="*/ 596 w 1398"/>
                <a:gd name="T27" fmla="*/ 504 h 1528"/>
                <a:gd name="T28" fmla="*/ 763 w 1398"/>
                <a:gd name="T29" fmla="*/ 420 h 1528"/>
                <a:gd name="T30" fmla="*/ 932 w 1398"/>
                <a:gd name="T31" fmla="*/ 420 h 1528"/>
                <a:gd name="T32" fmla="*/ 1023 w 1398"/>
                <a:gd name="T33" fmla="*/ 244 h 1528"/>
                <a:gd name="T34" fmla="*/ 1138 w 1398"/>
                <a:gd name="T35" fmla="*/ 76 h 1528"/>
                <a:gd name="T36" fmla="*/ 1207 w 1398"/>
                <a:gd name="T37" fmla="*/ 0 h 1528"/>
                <a:gd name="T38" fmla="*/ 1222 w 1398"/>
                <a:gd name="T39" fmla="*/ 191 h 1528"/>
                <a:gd name="T40" fmla="*/ 1367 w 1398"/>
                <a:gd name="T41" fmla="*/ 435 h 1528"/>
                <a:gd name="T42" fmla="*/ 1397 w 1398"/>
                <a:gd name="T43" fmla="*/ 565 h 1528"/>
                <a:gd name="T44" fmla="*/ 1214 w 1398"/>
                <a:gd name="T45" fmla="*/ 618 h 1528"/>
                <a:gd name="T46" fmla="*/ 1229 w 1398"/>
                <a:gd name="T47" fmla="*/ 756 h 1528"/>
                <a:gd name="T48" fmla="*/ 1191 w 1398"/>
                <a:gd name="T49" fmla="*/ 978 h 1528"/>
                <a:gd name="T50" fmla="*/ 1298 w 1398"/>
                <a:gd name="T51" fmla="*/ 1092 h 1528"/>
                <a:gd name="T52" fmla="*/ 1359 w 1398"/>
                <a:gd name="T53" fmla="*/ 1161 h 1528"/>
                <a:gd name="T54" fmla="*/ 1123 w 1398"/>
                <a:gd name="T55" fmla="*/ 1161 h 1528"/>
                <a:gd name="T56" fmla="*/ 962 w 1398"/>
                <a:gd name="T57" fmla="*/ 1306 h 1528"/>
                <a:gd name="T58" fmla="*/ 863 w 1398"/>
                <a:gd name="T59" fmla="*/ 1443 h 1528"/>
                <a:gd name="T60" fmla="*/ 733 w 1398"/>
                <a:gd name="T61" fmla="*/ 1505 h 1528"/>
                <a:gd name="T62" fmla="*/ 626 w 1398"/>
                <a:gd name="T63" fmla="*/ 1527 h 1528"/>
                <a:gd name="T64" fmla="*/ 206 w 1398"/>
                <a:gd name="T65" fmla="*/ 1130 h 1528"/>
                <a:gd name="T66" fmla="*/ 61 w 1398"/>
                <a:gd name="T67" fmla="*/ 962 h 1528"/>
                <a:gd name="T68" fmla="*/ 76 w 1398"/>
                <a:gd name="T69" fmla="*/ 901 h 1528"/>
                <a:gd name="T70" fmla="*/ 7 w 1398"/>
                <a:gd name="T71" fmla="*/ 794 h 1528"/>
                <a:gd name="T72" fmla="*/ 0 w 1398"/>
                <a:gd name="T73" fmla="*/ 748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98" h="1528">
                  <a:moveTo>
                    <a:pt x="809" y="817"/>
                  </a:moveTo>
                  <a:lnTo>
                    <a:pt x="809" y="817"/>
                  </a:lnTo>
                  <a:cubicBezTo>
                    <a:pt x="786" y="809"/>
                    <a:pt x="748" y="825"/>
                    <a:pt x="725" y="817"/>
                  </a:cubicBezTo>
                  <a:cubicBezTo>
                    <a:pt x="702" y="809"/>
                    <a:pt x="702" y="748"/>
                    <a:pt x="679" y="764"/>
                  </a:cubicBezTo>
                  <a:cubicBezTo>
                    <a:pt x="649" y="786"/>
                    <a:pt x="657" y="840"/>
                    <a:pt x="634" y="878"/>
                  </a:cubicBezTo>
                  <a:cubicBezTo>
                    <a:pt x="626" y="893"/>
                    <a:pt x="588" y="886"/>
                    <a:pt x="596" y="901"/>
                  </a:cubicBezTo>
                  <a:cubicBezTo>
                    <a:pt x="603" y="924"/>
                    <a:pt x="634" y="932"/>
                    <a:pt x="657" y="947"/>
                  </a:cubicBezTo>
                  <a:cubicBezTo>
                    <a:pt x="657" y="947"/>
                    <a:pt x="672" y="1016"/>
                    <a:pt x="672" y="1023"/>
                  </a:cubicBezTo>
                  <a:cubicBezTo>
                    <a:pt x="672" y="1031"/>
                    <a:pt x="740" y="1023"/>
                    <a:pt x="740" y="1023"/>
                  </a:cubicBezTo>
                  <a:cubicBezTo>
                    <a:pt x="740" y="1023"/>
                    <a:pt x="756" y="970"/>
                    <a:pt x="771" y="970"/>
                  </a:cubicBezTo>
                  <a:cubicBezTo>
                    <a:pt x="779" y="970"/>
                    <a:pt x="840" y="924"/>
                    <a:pt x="840" y="924"/>
                  </a:cubicBezTo>
                  <a:cubicBezTo>
                    <a:pt x="832" y="901"/>
                    <a:pt x="840" y="878"/>
                    <a:pt x="832" y="855"/>
                  </a:cubicBezTo>
                  <a:cubicBezTo>
                    <a:pt x="825" y="840"/>
                    <a:pt x="825" y="825"/>
                    <a:pt x="809" y="817"/>
                  </a:cubicBezTo>
                  <a:close/>
                  <a:moveTo>
                    <a:pt x="0" y="748"/>
                  </a:moveTo>
                  <a:lnTo>
                    <a:pt x="0" y="748"/>
                  </a:lnTo>
                  <a:cubicBezTo>
                    <a:pt x="68" y="687"/>
                    <a:pt x="68" y="687"/>
                    <a:pt x="68" y="687"/>
                  </a:cubicBezTo>
                  <a:lnTo>
                    <a:pt x="68" y="687"/>
                  </a:lnTo>
                  <a:cubicBezTo>
                    <a:pt x="61" y="657"/>
                    <a:pt x="46" y="626"/>
                    <a:pt x="53" y="603"/>
                  </a:cubicBezTo>
                  <a:cubicBezTo>
                    <a:pt x="61" y="588"/>
                    <a:pt x="84" y="588"/>
                    <a:pt x="99" y="580"/>
                  </a:cubicBezTo>
                  <a:cubicBezTo>
                    <a:pt x="129" y="580"/>
                    <a:pt x="160" y="603"/>
                    <a:pt x="175" y="595"/>
                  </a:cubicBezTo>
                  <a:cubicBezTo>
                    <a:pt x="206" y="573"/>
                    <a:pt x="198" y="527"/>
                    <a:pt x="221" y="504"/>
                  </a:cubicBezTo>
                  <a:cubicBezTo>
                    <a:pt x="229" y="489"/>
                    <a:pt x="252" y="481"/>
                    <a:pt x="267" y="466"/>
                  </a:cubicBezTo>
                  <a:cubicBezTo>
                    <a:pt x="282" y="450"/>
                    <a:pt x="290" y="420"/>
                    <a:pt x="305" y="397"/>
                  </a:cubicBezTo>
                  <a:cubicBezTo>
                    <a:pt x="321" y="374"/>
                    <a:pt x="336" y="351"/>
                    <a:pt x="359" y="336"/>
                  </a:cubicBezTo>
                  <a:cubicBezTo>
                    <a:pt x="397" y="321"/>
                    <a:pt x="435" y="328"/>
                    <a:pt x="473" y="321"/>
                  </a:cubicBezTo>
                  <a:lnTo>
                    <a:pt x="473" y="321"/>
                  </a:lnTo>
                  <a:cubicBezTo>
                    <a:pt x="481" y="374"/>
                    <a:pt x="466" y="435"/>
                    <a:pt x="496" y="481"/>
                  </a:cubicBezTo>
                  <a:cubicBezTo>
                    <a:pt x="519" y="511"/>
                    <a:pt x="565" y="511"/>
                    <a:pt x="596" y="504"/>
                  </a:cubicBezTo>
                  <a:cubicBezTo>
                    <a:pt x="626" y="496"/>
                    <a:pt x="649" y="466"/>
                    <a:pt x="679" y="458"/>
                  </a:cubicBezTo>
                  <a:cubicBezTo>
                    <a:pt x="710" y="443"/>
                    <a:pt x="733" y="428"/>
                    <a:pt x="763" y="420"/>
                  </a:cubicBezTo>
                  <a:cubicBezTo>
                    <a:pt x="794" y="420"/>
                    <a:pt x="817" y="428"/>
                    <a:pt x="840" y="428"/>
                  </a:cubicBezTo>
                  <a:cubicBezTo>
                    <a:pt x="871" y="428"/>
                    <a:pt x="909" y="435"/>
                    <a:pt x="932" y="420"/>
                  </a:cubicBezTo>
                  <a:cubicBezTo>
                    <a:pt x="962" y="389"/>
                    <a:pt x="970" y="343"/>
                    <a:pt x="985" y="313"/>
                  </a:cubicBezTo>
                  <a:cubicBezTo>
                    <a:pt x="1000" y="290"/>
                    <a:pt x="1008" y="267"/>
                    <a:pt x="1023" y="244"/>
                  </a:cubicBezTo>
                  <a:cubicBezTo>
                    <a:pt x="1038" y="229"/>
                    <a:pt x="1061" y="221"/>
                    <a:pt x="1077" y="206"/>
                  </a:cubicBezTo>
                  <a:cubicBezTo>
                    <a:pt x="1107" y="168"/>
                    <a:pt x="1107" y="114"/>
                    <a:pt x="1138" y="76"/>
                  </a:cubicBezTo>
                  <a:cubicBezTo>
                    <a:pt x="1153" y="46"/>
                    <a:pt x="1184" y="23"/>
                    <a:pt x="1207" y="0"/>
                  </a:cubicBezTo>
                  <a:lnTo>
                    <a:pt x="1207" y="0"/>
                  </a:lnTo>
                  <a:cubicBezTo>
                    <a:pt x="1222" y="23"/>
                    <a:pt x="1229" y="53"/>
                    <a:pt x="1237" y="76"/>
                  </a:cubicBezTo>
                  <a:cubicBezTo>
                    <a:pt x="1237" y="76"/>
                    <a:pt x="1222" y="183"/>
                    <a:pt x="1222" y="191"/>
                  </a:cubicBezTo>
                  <a:cubicBezTo>
                    <a:pt x="1229" y="198"/>
                    <a:pt x="1283" y="290"/>
                    <a:pt x="1283" y="290"/>
                  </a:cubicBezTo>
                  <a:cubicBezTo>
                    <a:pt x="1313" y="336"/>
                    <a:pt x="1352" y="382"/>
                    <a:pt x="1367" y="435"/>
                  </a:cubicBezTo>
                  <a:cubicBezTo>
                    <a:pt x="1390" y="473"/>
                    <a:pt x="1390" y="519"/>
                    <a:pt x="1397" y="565"/>
                  </a:cubicBezTo>
                  <a:lnTo>
                    <a:pt x="1397" y="565"/>
                  </a:lnTo>
                  <a:cubicBezTo>
                    <a:pt x="1359" y="588"/>
                    <a:pt x="1321" y="611"/>
                    <a:pt x="1275" y="634"/>
                  </a:cubicBezTo>
                  <a:cubicBezTo>
                    <a:pt x="1275" y="634"/>
                    <a:pt x="1222" y="611"/>
                    <a:pt x="1214" y="618"/>
                  </a:cubicBezTo>
                  <a:cubicBezTo>
                    <a:pt x="1214" y="626"/>
                    <a:pt x="1176" y="672"/>
                    <a:pt x="1176" y="672"/>
                  </a:cubicBezTo>
                  <a:cubicBezTo>
                    <a:pt x="1199" y="703"/>
                    <a:pt x="1229" y="725"/>
                    <a:pt x="1229" y="756"/>
                  </a:cubicBezTo>
                  <a:cubicBezTo>
                    <a:pt x="1237" y="794"/>
                    <a:pt x="1222" y="832"/>
                    <a:pt x="1214" y="870"/>
                  </a:cubicBezTo>
                  <a:cubicBezTo>
                    <a:pt x="1207" y="901"/>
                    <a:pt x="1184" y="939"/>
                    <a:pt x="1191" y="978"/>
                  </a:cubicBezTo>
                  <a:cubicBezTo>
                    <a:pt x="1191" y="993"/>
                    <a:pt x="1222" y="978"/>
                    <a:pt x="1237" y="993"/>
                  </a:cubicBezTo>
                  <a:cubicBezTo>
                    <a:pt x="1260" y="1023"/>
                    <a:pt x="1275" y="1061"/>
                    <a:pt x="1298" y="1092"/>
                  </a:cubicBezTo>
                  <a:cubicBezTo>
                    <a:pt x="1321" y="1115"/>
                    <a:pt x="1336" y="1138"/>
                    <a:pt x="1359" y="1161"/>
                  </a:cubicBezTo>
                  <a:lnTo>
                    <a:pt x="1359" y="1161"/>
                  </a:lnTo>
                  <a:cubicBezTo>
                    <a:pt x="1329" y="1176"/>
                    <a:pt x="1306" y="1207"/>
                    <a:pt x="1283" y="1199"/>
                  </a:cubicBezTo>
                  <a:cubicBezTo>
                    <a:pt x="1222" y="1199"/>
                    <a:pt x="1168" y="1130"/>
                    <a:pt x="1123" y="1161"/>
                  </a:cubicBezTo>
                  <a:cubicBezTo>
                    <a:pt x="1077" y="1184"/>
                    <a:pt x="1130" y="1283"/>
                    <a:pt x="1092" y="1321"/>
                  </a:cubicBezTo>
                  <a:cubicBezTo>
                    <a:pt x="1061" y="1352"/>
                    <a:pt x="1008" y="1298"/>
                    <a:pt x="962" y="1306"/>
                  </a:cubicBezTo>
                  <a:cubicBezTo>
                    <a:pt x="932" y="1314"/>
                    <a:pt x="893" y="1336"/>
                    <a:pt x="871" y="1367"/>
                  </a:cubicBezTo>
                  <a:cubicBezTo>
                    <a:pt x="863" y="1390"/>
                    <a:pt x="886" y="1428"/>
                    <a:pt x="863" y="1443"/>
                  </a:cubicBezTo>
                  <a:cubicBezTo>
                    <a:pt x="848" y="1459"/>
                    <a:pt x="817" y="1413"/>
                    <a:pt x="802" y="1420"/>
                  </a:cubicBezTo>
                  <a:cubicBezTo>
                    <a:pt x="763" y="1436"/>
                    <a:pt x="763" y="1489"/>
                    <a:pt x="733" y="1505"/>
                  </a:cubicBezTo>
                  <a:cubicBezTo>
                    <a:pt x="702" y="1527"/>
                    <a:pt x="664" y="1520"/>
                    <a:pt x="626" y="1527"/>
                  </a:cubicBezTo>
                  <a:lnTo>
                    <a:pt x="626" y="1527"/>
                  </a:lnTo>
                  <a:cubicBezTo>
                    <a:pt x="565" y="1443"/>
                    <a:pt x="519" y="1344"/>
                    <a:pt x="443" y="1268"/>
                  </a:cubicBezTo>
                  <a:cubicBezTo>
                    <a:pt x="374" y="1207"/>
                    <a:pt x="282" y="1184"/>
                    <a:pt x="206" y="1130"/>
                  </a:cubicBezTo>
                  <a:cubicBezTo>
                    <a:pt x="152" y="1092"/>
                    <a:pt x="107" y="1061"/>
                    <a:pt x="68" y="1016"/>
                  </a:cubicBezTo>
                  <a:cubicBezTo>
                    <a:pt x="53" y="1000"/>
                    <a:pt x="61" y="978"/>
                    <a:pt x="61" y="962"/>
                  </a:cubicBezTo>
                  <a:cubicBezTo>
                    <a:pt x="53" y="947"/>
                    <a:pt x="46" y="932"/>
                    <a:pt x="46" y="916"/>
                  </a:cubicBezTo>
                  <a:cubicBezTo>
                    <a:pt x="53" y="909"/>
                    <a:pt x="76" y="909"/>
                    <a:pt x="76" y="901"/>
                  </a:cubicBezTo>
                  <a:cubicBezTo>
                    <a:pt x="84" y="886"/>
                    <a:pt x="84" y="870"/>
                    <a:pt x="76" y="863"/>
                  </a:cubicBezTo>
                  <a:cubicBezTo>
                    <a:pt x="61" y="832"/>
                    <a:pt x="30" y="817"/>
                    <a:pt x="7" y="794"/>
                  </a:cubicBezTo>
                  <a:lnTo>
                    <a:pt x="7" y="794"/>
                  </a:lnTo>
                  <a:cubicBezTo>
                    <a:pt x="0" y="748"/>
                    <a:pt x="0" y="748"/>
                    <a:pt x="0" y="748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07" name="Freeform 42"/>
            <p:cNvSpPr>
              <a:spLocks noChangeArrowheads="1"/>
            </p:cNvSpPr>
            <p:nvPr/>
          </p:nvSpPr>
          <p:spPr bwMode="auto">
            <a:xfrm>
              <a:off x="7249641" y="7859713"/>
              <a:ext cx="90481" cy="101600"/>
            </a:xfrm>
            <a:custGeom>
              <a:avLst/>
              <a:gdLst>
                <a:gd name="T0" fmla="*/ 221 w 253"/>
                <a:gd name="T1" fmla="*/ 69 h 284"/>
                <a:gd name="T2" fmla="*/ 221 w 253"/>
                <a:gd name="T3" fmla="*/ 69 h 284"/>
                <a:gd name="T4" fmla="*/ 137 w 253"/>
                <a:gd name="T5" fmla="*/ 69 h 284"/>
                <a:gd name="T6" fmla="*/ 91 w 253"/>
                <a:gd name="T7" fmla="*/ 16 h 284"/>
                <a:gd name="T8" fmla="*/ 46 w 253"/>
                <a:gd name="T9" fmla="*/ 130 h 284"/>
                <a:gd name="T10" fmla="*/ 8 w 253"/>
                <a:gd name="T11" fmla="*/ 153 h 284"/>
                <a:gd name="T12" fmla="*/ 69 w 253"/>
                <a:gd name="T13" fmla="*/ 199 h 284"/>
                <a:gd name="T14" fmla="*/ 84 w 253"/>
                <a:gd name="T15" fmla="*/ 275 h 284"/>
                <a:gd name="T16" fmla="*/ 152 w 253"/>
                <a:gd name="T17" fmla="*/ 275 h 284"/>
                <a:gd name="T18" fmla="*/ 183 w 253"/>
                <a:gd name="T19" fmla="*/ 222 h 284"/>
                <a:gd name="T20" fmla="*/ 252 w 253"/>
                <a:gd name="T21" fmla="*/ 176 h 284"/>
                <a:gd name="T22" fmla="*/ 244 w 253"/>
                <a:gd name="T23" fmla="*/ 107 h 284"/>
                <a:gd name="T24" fmla="*/ 221 w 253"/>
                <a:gd name="T25" fmla="*/ 6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3" h="284">
                  <a:moveTo>
                    <a:pt x="221" y="69"/>
                  </a:moveTo>
                  <a:lnTo>
                    <a:pt x="221" y="69"/>
                  </a:lnTo>
                  <a:cubicBezTo>
                    <a:pt x="198" y="61"/>
                    <a:pt x="160" y="77"/>
                    <a:pt x="137" y="69"/>
                  </a:cubicBezTo>
                  <a:cubicBezTo>
                    <a:pt x="114" y="61"/>
                    <a:pt x="114" y="0"/>
                    <a:pt x="91" y="16"/>
                  </a:cubicBezTo>
                  <a:cubicBezTo>
                    <a:pt x="61" y="38"/>
                    <a:pt x="69" y="92"/>
                    <a:pt x="46" y="130"/>
                  </a:cubicBezTo>
                  <a:cubicBezTo>
                    <a:pt x="38" y="145"/>
                    <a:pt x="0" y="138"/>
                    <a:pt x="8" y="153"/>
                  </a:cubicBezTo>
                  <a:cubicBezTo>
                    <a:pt x="15" y="176"/>
                    <a:pt x="46" y="184"/>
                    <a:pt x="69" y="199"/>
                  </a:cubicBezTo>
                  <a:cubicBezTo>
                    <a:pt x="69" y="199"/>
                    <a:pt x="84" y="268"/>
                    <a:pt x="84" y="275"/>
                  </a:cubicBezTo>
                  <a:cubicBezTo>
                    <a:pt x="84" y="283"/>
                    <a:pt x="152" y="275"/>
                    <a:pt x="152" y="275"/>
                  </a:cubicBezTo>
                  <a:cubicBezTo>
                    <a:pt x="152" y="275"/>
                    <a:pt x="168" y="222"/>
                    <a:pt x="183" y="222"/>
                  </a:cubicBezTo>
                  <a:cubicBezTo>
                    <a:pt x="191" y="222"/>
                    <a:pt x="252" y="176"/>
                    <a:pt x="252" y="176"/>
                  </a:cubicBezTo>
                  <a:cubicBezTo>
                    <a:pt x="244" y="153"/>
                    <a:pt x="252" y="130"/>
                    <a:pt x="244" y="107"/>
                  </a:cubicBezTo>
                  <a:cubicBezTo>
                    <a:pt x="237" y="92"/>
                    <a:pt x="237" y="77"/>
                    <a:pt x="221" y="69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08" name="Freeform 43"/>
            <p:cNvSpPr>
              <a:spLocks noChangeArrowheads="1"/>
            </p:cNvSpPr>
            <p:nvPr/>
          </p:nvSpPr>
          <p:spPr bwMode="auto">
            <a:xfrm>
              <a:off x="7203606" y="7134225"/>
              <a:ext cx="376213" cy="641350"/>
            </a:xfrm>
            <a:custGeom>
              <a:avLst/>
              <a:gdLst>
                <a:gd name="T0" fmla="*/ 267 w 1047"/>
                <a:gd name="T1" fmla="*/ 1229 h 1780"/>
                <a:gd name="T2" fmla="*/ 176 w 1047"/>
                <a:gd name="T3" fmla="*/ 1283 h 1780"/>
                <a:gd name="T4" fmla="*/ 130 w 1047"/>
                <a:gd name="T5" fmla="*/ 1359 h 1780"/>
                <a:gd name="T6" fmla="*/ 214 w 1047"/>
                <a:gd name="T7" fmla="*/ 1451 h 1780"/>
                <a:gd name="T8" fmla="*/ 244 w 1047"/>
                <a:gd name="T9" fmla="*/ 1520 h 1780"/>
                <a:gd name="T10" fmla="*/ 359 w 1047"/>
                <a:gd name="T11" fmla="*/ 1359 h 1780"/>
                <a:gd name="T12" fmla="*/ 267 w 1047"/>
                <a:gd name="T13" fmla="*/ 1229 h 1780"/>
                <a:gd name="T14" fmla="*/ 15 w 1047"/>
                <a:gd name="T15" fmla="*/ 1589 h 1780"/>
                <a:gd name="T16" fmla="*/ 15 w 1047"/>
                <a:gd name="T17" fmla="*/ 1245 h 1780"/>
                <a:gd name="T18" fmla="*/ 53 w 1047"/>
                <a:gd name="T19" fmla="*/ 1069 h 1780"/>
                <a:gd name="T20" fmla="*/ 176 w 1047"/>
                <a:gd name="T21" fmla="*/ 855 h 1780"/>
                <a:gd name="T22" fmla="*/ 214 w 1047"/>
                <a:gd name="T23" fmla="*/ 634 h 1780"/>
                <a:gd name="T24" fmla="*/ 267 w 1047"/>
                <a:gd name="T25" fmla="*/ 542 h 1780"/>
                <a:gd name="T26" fmla="*/ 229 w 1047"/>
                <a:gd name="T27" fmla="*/ 512 h 1780"/>
                <a:gd name="T28" fmla="*/ 290 w 1047"/>
                <a:gd name="T29" fmla="*/ 389 h 1780"/>
                <a:gd name="T30" fmla="*/ 351 w 1047"/>
                <a:gd name="T31" fmla="*/ 252 h 1780"/>
                <a:gd name="T32" fmla="*/ 435 w 1047"/>
                <a:gd name="T33" fmla="*/ 206 h 1780"/>
                <a:gd name="T34" fmla="*/ 557 w 1047"/>
                <a:gd name="T35" fmla="*/ 68 h 1780"/>
                <a:gd name="T36" fmla="*/ 642 w 1047"/>
                <a:gd name="T37" fmla="*/ 0 h 1780"/>
                <a:gd name="T38" fmla="*/ 665 w 1047"/>
                <a:gd name="T39" fmla="*/ 99 h 1780"/>
                <a:gd name="T40" fmla="*/ 840 w 1047"/>
                <a:gd name="T41" fmla="*/ 122 h 1780"/>
                <a:gd name="T42" fmla="*/ 810 w 1047"/>
                <a:gd name="T43" fmla="*/ 198 h 1780"/>
                <a:gd name="T44" fmla="*/ 848 w 1047"/>
                <a:gd name="T45" fmla="*/ 359 h 1780"/>
                <a:gd name="T46" fmla="*/ 932 w 1047"/>
                <a:gd name="T47" fmla="*/ 527 h 1780"/>
                <a:gd name="T48" fmla="*/ 878 w 1047"/>
                <a:gd name="T49" fmla="*/ 664 h 1780"/>
                <a:gd name="T50" fmla="*/ 1039 w 1047"/>
                <a:gd name="T51" fmla="*/ 664 h 1780"/>
                <a:gd name="T52" fmla="*/ 955 w 1047"/>
                <a:gd name="T53" fmla="*/ 764 h 1780"/>
                <a:gd name="T54" fmla="*/ 970 w 1047"/>
                <a:gd name="T55" fmla="*/ 871 h 1780"/>
                <a:gd name="T56" fmla="*/ 909 w 1047"/>
                <a:gd name="T57" fmla="*/ 1000 h 1780"/>
                <a:gd name="T58" fmla="*/ 894 w 1047"/>
                <a:gd name="T59" fmla="*/ 1130 h 1780"/>
                <a:gd name="T60" fmla="*/ 749 w 1047"/>
                <a:gd name="T61" fmla="*/ 1268 h 1780"/>
                <a:gd name="T62" fmla="*/ 680 w 1047"/>
                <a:gd name="T63" fmla="*/ 1344 h 1780"/>
                <a:gd name="T64" fmla="*/ 565 w 1047"/>
                <a:gd name="T65" fmla="*/ 1512 h 1780"/>
                <a:gd name="T66" fmla="*/ 474 w 1047"/>
                <a:gd name="T67" fmla="*/ 1688 h 1780"/>
                <a:gd name="T68" fmla="*/ 305 w 1047"/>
                <a:gd name="T69" fmla="*/ 1688 h 1780"/>
                <a:gd name="T70" fmla="*/ 138 w 1047"/>
                <a:gd name="T71" fmla="*/ 1772 h 1780"/>
                <a:gd name="T72" fmla="*/ 15 w 1047"/>
                <a:gd name="T73" fmla="*/ 1589 h 1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7" h="1780">
                  <a:moveTo>
                    <a:pt x="267" y="1229"/>
                  </a:moveTo>
                  <a:lnTo>
                    <a:pt x="267" y="1229"/>
                  </a:lnTo>
                  <a:cubicBezTo>
                    <a:pt x="244" y="1207"/>
                    <a:pt x="206" y="1191"/>
                    <a:pt x="183" y="1207"/>
                  </a:cubicBezTo>
                  <a:cubicBezTo>
                    <a:pt x="160" y="1214"/>
                    <a:pt x="183" y="1260"/>
                    <a:pt x="176" y="1283"/>
                  </a:cubicBezTo>
                  <a:cubicBezTo>
                    <a:pt x="168" y="1291"/>
                    <a:pt x="138" y="1283"/>
                    <a:pt x="130" y="1298"/>
                  </a:cubicBezTo>
                  <a:cubicBezTo>
                    <a:pt x="122" y="1321"/>
                    <a:pt x="122" y="1344"/>
                    <a:pt x="130" y="1359"/>
                  </a:cubicBezTo>
                  <a:cubicBezTo>
                    <a:pt x="145" y="1382"/>
                    <a:pt x="183" y="1390"/>
                    <a:pt x="199" y="1413"/>
                  </a:cubicBezTo>
                  <a:cubicBezTo>
                    <a:pt x="206" y="1421"/>
                    <a:pt x="221" y="1436"/>
                    <a:pt x="214" y="1451"/>
                  </a:cubicBezTo>
                  <a:cubicBezTo>
                    <a:pt x="214" y="1466"/>
                    <a:pt x="176" y="1466"/>
                    <a:pt x="183" y="1482"/>
                  </a:cubicBezTo>
                  <a:cubicBezTo>
                    <a:pt x="191" y="1504"/>
                    <a:pt x="221" y="1535"/>
                    <a:pt x="244" y="1520"/>
                  </a:cubicBezTo>
                  <a:cubicBezTo>
                    <a:pt x="275" y="1489"/>
                    <a:pt x="237" y="1436"/>
                    <a:pt x="267" y="1405"/>
                  </a:cubicBezTo>
                  <a:cubicBezTo>
                    <a:pt x="282" y="1375"/>
                    <a:pt x="351" y="1398"/>
                    <a:pt x="359" y="1359"/>
                  </a:cubicBezTo>
                  <a:cubicBezTo>
                    <a:pt x="367" y="1329"/>
                    <a:pt x="305" y="1314"/>
                    <a:pt x="290" y="1283"/>
                  </a:cubicBezTo>
                  <a:cubicBezTo>
                    <a:pt x="275" y="1268"/>
                    <a:pt x="282" y="1237"/>
                    <a:pt x="267" y="1229"/>
                  </a:cubicBezTo>
                  <a:close/>
                  <a:moveTo>
                    <a:pt x="15" y="1589"/>
                  </a:moveTo>
                  <a:lnTo>
                    <a:pt x="15" y="1589"/>
                  </a:lnTo>
                  <a:cubicBezTo>
                    <a:pt x="38" y="1550"/>
                    <a:pt x="84" y="1527"/>
                    <a:pt x="84" y="1489"/>
                  </a:cubicBezTo>
                  <a:cubicBezTo>
                    <a:pt x="84" y="1405"/>
                    <a:pt x="30" y="1329"/>
                    <a:pt x="15" y="1245"/>
                  </a:cubicBezTo>
                  <a:cubicBezTo>
                    <a:pt x="8" y="1207"/>
                    <a:pt x="0" y="1168"/>
                    <a:pt x="8" y="1130"/>
                  </a:cubicBezTo>
                  <a:cubicBezTo>
                    <a:pt x="15" y="1107"/>
                    <a:pt x="53" y="1100"/>
                    <a:pt x="53" y="1069"/>
                  </a:cubicBezTo>
                  <a:cubicBezTo>
                    <a:pt x="69" y="1016"/>
                    <a:pt x="23" y="962"/>
                    <a:pt x="46" y="916"/>
                  </a:cubicBezTo>
                  <a:cubicBezTo>
                    <a:pt x="69" y="871"/>
                    <a:pt x="138" y="878"/>
                    <a:pt x="176" y="855"/>
                  </a:cubicBezTo>
                  <a:cubicBezTo>
                    <a:pt x="191" y="840"/>
                    <a:pt x="206" y="825"/>
                    <a:pt x="214" y="802"/>
                  </a:cubicBezTo>
                  <a:cubicBezTo>
                    <a:pt x="221" y="748"/>
                    <a:pt x="199" y="687"/>
                    <a:pt x="214" y="634"/>
                  </a:cubicBezTo>
                  <a:cubicBezTo>
                    <a:pt x="221" y="618"/>
                    <a:pt x="252" y="641"/>
                    <a:pt x="260" y="626"/>
                  </a:cubicBezTo>
                  <a:cubicBezTo>
                    <a:pt x="275" y="603"/>
                    <a:pt x="275" y="573"/>
                    <a:pt x="267" y="542"/>
                  </a:cubicBezTo>
                  <a:cubicBezTo>
                    <a:pt x="260" y="527"/>
                    <a:pt x="237" y="527"/>
                    <a:pt x="229" y="512"/>
                  </a:cubicBezTo>
                  <a:lnTo>
                    <a:pt x="229" y="512"/>
                  </a:lnTo>
                  <a:cubicBezTo>
                    <a:pt x="252" y="489"/>
                    <a:pt x="298" y="466"/>
                    <a:pt x="313" y="435"/>
                  </a:cubicBezTo>
                  <a:cubicBezTo>
                    <a:pt x="321" y="420"/>
                    <a:pt x="282" y="405"/>
                    <a:pt x="290" y="389"/>
                  </a:cubicBezTo>
                  <a:cubicBezTo>
                    <a:pt x="290" y="366"/>
                    <a:pt x="321" y="359"/>
                    <a:pt x="336" y="336"/>
                  </a:cubicBezTo>
                  <a:cubicBezTo>
                    <a:pt x="344" y="313"/>
                    <a:pt x="344" y="282"/>
                    <a:pt x="351" y="252"/>
                  </a:cubicBezTo>
                  <a:lnTo>
                    <a:pt x="351" y="252"/>
                  </a:lnTo>
                  <a:cubicBezTo>
                    <a:pt x="382" y="237"/>
                    <a:pt x="405" y="221"/>
                    <a:pt x="435" y="206"/>
                  </a:cubicBezTo>
                  <a:cubicBezTo>
                    <a:pt x="466" y="198"/>
                    <a:pt x="504" y="214"/>
                    <a:pt x="527" y="191"/>
                  </a:cubicBezTo>
                  <a:cubicBezTo>
                    <a:pt x="557" y="160"/>
                    <a:pt x="535" y="107"/>
                    <a:pt x="557" y="68"/>
                  </a:cubicBezTo>
                  <a:cubicBezTo>
                    <a:pt x="573" y="38"/>
                    <a:pt x="611" y="23"/>
                    <a:pt x="642" y="0"/>
                  </a:cubicBezTo>
                  <a:lnTo>
                    <a:pt x="642" y="0"/>
                  </a:lnTo>
                  <a:cubicBezTo>
                    <a:pt x="649" y="23"/>
                    <a:pt x="672" y="46"/>
                    <a:pt x="680" y="68"/>
                  </a:cubicBezTo>
                  <a:cubicBezTo>
                    <a:pt x="680" y="76"/>
                    <a:pt x="657" y="91"/>
                    <a:pt x="665" y="99"/>
                  </a:cubicBezTo>
                  <a:cubicBezTo>
                    <a:pt x="695" y="107"/>
                    <a:pt x="726" y="91"/>
                    <a:pt x="756" y="99"/>
                  </a:cubicBezTo>
                  <a:cubicBezTo>
                    <a:pt x="787" y="99"/>
                    <a:pt x="817" y="114"/>
                    <a:pt x="840" y="122"/>
                  </a:cubicBezTo>
                  <a:lnTo>
                    <a:pt x="840" y="122"/>
                  </a:lnTo>
                  <a:cubicBezTo>
                    <a:pt x="832" y="145"/>
                    <a:pt x="802" y="168"/>
                    <a:pt x="810" y="198"/>
                  </a:cubicBezTo>
                  <a:cubicBezTo>
                    <a:pt x="825" y="221"/>
                    <a:pt x="878" y="221"/>
                    <a:pt x="886" y="252"/>
                  </a:cubicBezTo>
                  <a:cubicBezTo>
                    <a:pt x="894" y="290"/>
                    <a:pt x="840" y="321"/>
                    <a:pt x="848" y="359"/>
                  </a:cubicBezTo>
                  <a:cubicBezTo>
                    <a:pt x="855" y="382"/>
                    <a:pt x="901" y="374"/>
                    <a:pt x="909" y="397"/>
                  </a:cubicBezTo>
                  <a:cubicBezTo>
                    <a:pt x="932" y="435"/>
                    <a:pt x="932" y="489"/>
                    <a:pt x="932" y="527"/>
                  </a:cubicBezTo>
                  <a:cubicBezTo>
                    <a:pt x="932" y="542"/>
                    <a:pt x="909" y="550"/>
                    <a:pt x="909" y="557"/>
                  </a:cubicBezTo>
                  <a:cubicBezTo>
                    <a:pt x="894" y="596"/>
                    <a:pt x="848" y="649"/>
                    <a:pt x="878" y="664"/>
                  </a:cubicBezTo>
                  <a:cubicBezTo>
                    <a:pt x="917" y="695"/>
                    <a:pt x="978" y="634"/>
                    <a:pt x="1024" y="634"/>
                  </a:cubicBezTo>
                  <a:cubicBezTo>
                    <a:pt x="1031" y="634"/>
                    <a:pt x="1039" y="649"/>
                    <a:pt x="1039" y="664"/>
                  </a:cubicBezTo>
                  <a:cubicBezTo>
                    <a:pt x="1046" y="687"/>
                    <a:pt x="1046" y="718"/>
                    <a:pt x="1031" y="741"/>
                  </a:cubicBezTo>
                  <a:cubicBezTo>
                    <a:pt x="1016" y="764"/>
                    <a:pt x="970" y="741"/>
                    <a:pt x="955" y="764"/>
                  </a:cubicBezTo>
                  <a:cubicBezTo>
                    <a:pt x="932" y="787"/>
                    <a:pt x="924" y="817"/>
                    <a:pt x="924" y="848"/>
                  </a:cubicBezTo>
                  <a:cubicBezTo>
                    <a:pt x="932" y="863"/>
                    <a:pt x="970" y="855"/>
                    <a:pt x="970" y="871"/>
                  </a:cubicBezTo>
                  <a:cubicBezTo>
                    <a:pt x="978" y="893"/>
                    <a:pt x="962" y="916"/>
                    <a:pt x="955" y="939"/>
                  </a:cubicBezTo>
                  <a:cubicBezTo>
                    <a:pt x="947" y="962"/>
                    <a:pt x="924" y="977"/>
                    <a:pt x="909" y="1000"/>
                  </a:cubicBezTo>
                  <a:cubicBezTo>
                    <a:pt x="894" y="1016"/>
                    <a:pt x="871" y="1031"/>
                    <a:pt x="871" y="1054"/>
                  </a:cubicBezTo>
                  <a:cubicBezTo>
                    <a:pt x="871" y="1085"/>
                    <a:pt x="909" y="1107"/>
                    <a:pt x="894" y="1130"/>
                  </a:cubicBezTo>
                  <a:cubicBezTo>
                    <a:pt x="886" y="1153"/>
                    <a:pt x="840" y="1138"/>
                    <a:pt x="817" y="1153"/>
                  </a:cubicBezTo>
                  <a:cubicBezTo>
                    <a:pt x="787" y="1184"/>
                    <a:pt x="771" y="1229"/>
                    <a:pt x="749" y="1268"/>
                  </a:cubicBezTo>
                  <a:lnTo>
                    <a:pt x="749" y="1268"/>
                  </a:lnTo>
                  <a:cubicBezTo>
                    <a:pt x="726" y="1291"/>
                    <a:pt x="695" y="1314"/>
                    <a:pt x="680" y="1344"/>
                  </a:cubicBezTo>
                  <a:cubicBezTo>
                    <a:pt x="649" y="1382"/>
                    <a:pt x="649" y="1436"/>
                    <a:pt x="619" y="1474"/>
                  </a:cubicBezTo>
                  <a:cubicBezTo>
                    <a:pt x="603" y="1489"/>
                    <a:pt x="580" y="1497"/>
                    <a:pt x="565" y="1512"/>
                  </a:cubicBezTo>
                  <a:cubicBezTo>
                    <a:pt x="550" y="1535"/>
                    <a:pt x="542" y="1558"/>
                    <a:pt x="527" y="1581"/>
                  </a:cubicBezTo>
                  <a:cubicBezTo>
                    <a:pt x="512" y="1611"/>
                    <a:pt x="504" y="1657"/>
                    <a:pt x="474" y="1688"/>
                  </a:cubicBezTo>
                  <a:cubicBezTo>
                    <a:pt x="451" y="1703"/>
                    <a:pt x="413" y="1696"/>
                    <a:pt x="382" y="1696"/>
                  </a:cubicBezTo>
                  <a:cubicBezTo>
                    <a:pt x="359" y="1696"/>
                    <a:pt x="336" y="1688"/>
                    <a:pt x="305" y="1688"/>
                  </a:cubicBezTo>
                  <a:cubicBezTo>
                    <a:pt x="275" y="1696"/>
                    <a:pt x="252" y="1711"/>
                    <a:pt x="221" y="1726"/>
                  </a:cubicBezTo>
                  <a:cubicBezTo>
                    <a:pt x="191" y="1734"/>
                    <a:pt x="168" y="1764"/>
                    <a:pt x="138" y="1772"/>
                  </a:cubicBezTo>
                  <a:cubicBezTo>
                    <a:pt x="107" y="1779"/>
                    <a:pt x="61" y="1779"/>
                    <a:pt x="38" y="1749"/>
                  </a:cubicBezTo>
                  <a:cubicBezTo>
                    <a:pt x="8" y="1703"/>
                    <a:pt x="23" y="1642"/>
                    <a:pt x="15" y="1589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09" name="Freeform 44"/>
            <p:cNvSpPr>
              <a:spLocks noChangeArrowheads="1"/>
            </p:cNvSpPr>
            <p:nvPr/>
          </p:nvSpPr>
          <p:spPr bwMode="auto">
            <a:xfrm>
              <a:off x="7248053" y="7562851"/>
              <a:ext cx="88894" cy="123825"/>
            </a:xfrm>
            <a:custGeom>
              <a:avLst/>
              <a:gdLst>
                <a:gd name="T0" fmla="*/ 145 w 246"/>
                <a:gd name="T1" fmla="*/ 38 h 345"/>
                <a:gd name="T2" fmla="*/ 145 w 246"/>
                <a:gd name="T3" fmla="*/ 38 h 345"/>
                <a:gd name="T4" fmla="*/ 61 w 246"/>
                <a:gd name="T5" fmla="*/ 16 h 345"/>
                <a:gd name="T6" fmla="*/ 54 w 246"/>
                <a:gd name="T7" fmla="*/ 92 h 345"/>
                <a:gd name="T8" fmla="*/ 8 w 246"/>
                <a:gd name="T9" fmla="*/ 107 h 345"/>
                <a:gd name="T10" fmla="*/ 8 w 246"/>
                <a:gd name="T11" fmla="*/ 168 h 345"/>
                <a:gd name="T12" fmla="*/ 77 w 246"/>
                <a:gd name="T13" fmla="*/ 222 h 345"/>
                <a:gd name="T14" fmla="*/ 92 w 246"/>
                <a:gd name="T15" fmla="*/ 260 h 345"/>
                <a:gd name="T16" fmla="*/ 61 w 246"/>
                <a:gd name="T17" fmla="*/ 291 h 345"/>
                <a:gd name="T18" fmla="*/ 122 w 246"/>
                <a:gd name="T19" fmla="*/ 329 h 345"/>
                <a:gd name="T20" fmla="*/ 145 w 246"/>
                <a:gd name="T21" fmla="*/ 214 h 345"/>
                <a:gd name="T22" fmla="*/ 237 w 246"/>
                <a:gd name="T23" fmla="*/ 168 h 345"/>
                <a:gd name="T24" fmla="*/ 168 w 246"/>
                <a:gd name="T25" fmla="*/ 92 h 345"/>
                <a:gd name="T26" fmla="*/ 145 w 246"/>
                <a:gd name="T27" fmla="*/ 38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6" h="345">
                  <a:moveTo>
                    <a:pt x="145" y="38"/>
                  </a:moveTo>
                  <a:lnTo>
                    <a:pt x="145" y="38"/>
                  </a:lnTo>
                  <a:cubicBezTo>
                    <a:pt x="122" y="16"/>
                    <a:pt x="84" y="0"/>
                    <a:pt x="61" y="16"/>
                  </a:cubicBezTo>
                  <a:cubicBezTo>
                    <a:pt x="38" y="23"/>
                    <a:pt x="61" y="69"/>
                    <a:pt x="54" y="92"/>
                  </a:cubicBezTo>
                  <a:cubicBezTo>
                    <a:pt x="46" y="100"/>
                    <a:pt x="16" y="92"/>
                    <a:pt x="8" y="107"/>
                  </a:cubicBezTo>
                  <a:cubicBezTo>
                    <a:pt x="0" y="130"/>
                    <a:pt x="0" y="153"/>
                    <a:pt x="8" y="168"/>
                  </a:cubicBezTo>
                  <a:cubicBezTo>
                    <a:pt x="23" y="191"/>
                    <a:pt x="61" y="199"/>
                    <a:pt x="77" y="222"/>
                  </a:cubicBezTo>
                  <a:cubicBezTo>
                    <a:pt x="84" y="230"/>
                    <a:pt x="99" y="245"/>
                    <a:pt x="92" y="260"/>
                  </a:cubicBezTo>
                  <a:cubicBezTo>
                    <a:pt x="92" y="275"/>
                    <a:pt x="54" y="275"/>
                    <a:pt x="61" y="291"/>
                  </a:cubicBezTo>
                  <a:cubicBezTo>
                    <a:pt x="69" y="313"/>
                    <a:pt x="99" y="344"/>
                    <a:pt x="122" y="329"/>
                  </a:cubicBezTo>
                  <a:cubicBezTo>
                    <a:pt x="153" y="298"/>
                    <a:pt x="115" y="245"/>
                    <a:pt x="145" y="214"/>
                  </a:cubicBezTo>
                  <a:cubicBezTo>
                    <a:pt x="160" y="184"/>
                    <a:pt x="229" y="207"/>
                    <a:pt x="237" y="168"/>
                  </a:cubicBezTo>
                  <a:cubicBezTo>
                    <a:pt x="245" y="138"/>
                    <a:pt x="183" y="123"/>
                    <a:pt x="168" y="92"/>
                  </a:cubicBezTo>
                  <a:cubicBezTo>
                    <a:pt x="153" y="77"/>
                    <a:pt x="160" y="46"/>
                    <a:pt x="145" y="3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10" name="Freeform 45"/>
            <p:cNvSpPr>
              <a:spLocks noChangeArrowheads="1"/>
            </p:cNvSpPr>
            <p:nvPr/>
          </p:nvSpPr>
          <p:spPr bwMode="auto">
            <a:xfrm>
              <a:off x="7473463" y="7024689"/>
              <a:ext cx="725441" cy="896937"/>
            </a:xfrm>
            <a:custGeom>
              <a:avLst/>
              <a:gdLst>
                <a:gd name="T0" fmla="*/ 0 w 2017"/>
                <a:gd name="T1" fmla="*/ 1574 h 2491"/>
                <a:gd name="T2" fmla="*/ 145 w 2017"/>
                <a:gd name="T3" fmla="*/ 1436 h 2491"/>
                <a:gd name="T4" fmla="*/ 160 w 2017"/>
                <a:gd name="T5" fmla="*/ 1306 h 2491"/>
                <a:gd name="T6" fmla="*/ 221 w 2017"/>
                <a:gd name="T7" fmla="*/ 1177 h 2491"/>
                <a:gd name="T8" fmla="*/ 206 w 2017"/>
                <a:gd name="T9" fmla="*/ 1070 h 2491"/>
                <a:gd name="T10" fmla="*/ 290 w 2017"/>
                <a:gd name="T11" fmla="*/ 970 h 2491"/>
                <a:gd name="T12" fmla="*/ 129 w 2017"/>
                <a:gd name="T13" fmla="*/ 970 h 2491"/>
                <a:gd name="T14" fmla="*/ 183 w 2017"/>
                <a:gd name="T15" fmla="*/ 833 h 2491"/>
                <a:gd name="T16" fmla="*/ 99 w 2017"/>
                <a:gd name="T17" fmla="*/ 665 h 2491"/>
                <a:gd name="T18" fmla="*/ 61 w 2017"/>
                <a:gd name="T19" fmla="*/ 504 h 2491"/>
                <a:gd name="T20" fmla="*/ 91 w 2017"/>
                <a:gd name="T21" fmla="*/ 428 h 2491"/>
                <a:gd name="T22" fmla="*/ 374 w 2017"/>
                <a:gd name="T23" fmla="*/ 283 h 2491"/>
                <a:gd name="T24" fmla="*/ 588 w 2017"/>
                <a:gd name="T25" fmla="*/ 367 h 2491"/>
                <a:gd name="T26" fmla="*/ 725 w 2017"/>
                <a:gd name="T27" fmla="*/ 252 h 2491"/>
                <a:gd name="T28" fmla="*/ 580 w 2017"/>
                <a:gd name="T29" fmla="*/ 191 h 2491"/>
                <a:gd name="T30" fmla="*/ 825 w 2017"/>
                <a:gd name="T31" fmla="*/ 145 h 2491"/>
                <a:gd name="T32" fmla="*/ 901 w 2017"/>
                <a:gd name="T33" fmla="*/ 8 h 2491"/>
                <a:gd name="T34" fmla="*/ 1031 w 2017"/>
                <a:gd name="T35" fmla="*/ 138 h 2491"/>
                <a:gd name="T36" fmla="*/ 1084 w 2017"/>
                <a:gd name="T37" fmla="*/ 374 h 2491"/>
                <a:gd name="T38" fmla="*/ 1206 w 2017"/>
                <a:gd name="T39" fmla="*/ 420 h 2491"/>
                <a:gd name="T40" fmla="*/ 1229 w 2017"/>
                <a:gd name="T41" fmla="*/ 313 h 2491"/>
                <a:gd name="T42" fmla="*/ 1374 w 2017"/>
                <a:gd name="T43" fmla="*/ 184 h 2491"/>
                <a:gd name="T44" fmla="*/ 1504 w 2017"/>
                <a:gd name="T45" fmla="*/ 283 h 2491"/>
                <a:gd name="T46" fmla="*/ 1840 w 2017"/>
                <a:gd name="T47" fmla="*/ 833 h 2491"/>
                <a:gd name="T48" fmla="*/ 1665 w 2017"/>
                <a:gd name="T49" fmla="*/ 1574 h 2491"/>
                <a:gd name="T50" fmla="*/ 1443 w 2017"/>
                <a:gd name="T51" fmla="*/ 1895 h 2491"/>
                <a:gd name="T52" fmla="*/ 1772 w 2017"/>
                <a:gd name="T53" fmla="*/ 2101 h 2491"/>
                <a:gd name="T54" fmla="*/ 1741 w 2017"/>
                <a:gd name="T55" fmla="*/ 2169 h 2491"/>
                <a:gd name="T56" fmla="*/ 1680 w 2017"/>
                <a:gd name="T57" fmla="*/ 2269 h 2491"/>
                <a:gd name="T58" fmla="*/ 1588 w 2017"/>
                <a:gd name="T59" fmla="*/ 2299 h 2491"/>
                <a:gd name="T60" fmla="*/ 1390 w 2017"/>
                <a:gd name="T61" fmla="*/ 2315 h 2491"/>
                <a:gd name="T62" fmla="*/ 1275 w 2017"/>
                <a:gd name="T63" fmla="*/ 2437 h 2491"/>
                <a:gd name="T64" fmla="*/ 1161 w 2017"/>
                <a:gd name="T65" fmla="*/ 2414 h 2491"/>
                <a:gd name="T66" fmla="*/ 969 w 2017"/>
                <a:gd name="T67" fmla="*/ 2444 h 2491"/>
                <a:gd name="T68" fmla="*/ 802 w 2017"/>
                <a:gd name="T69" fmla="*/ 2421 h 2491"/>
                <a:gd name="T70" fmla="*/ 603 w 2017"/>
                <a:gd name="T71" fmla="*/ 2437 h 2491"/>
                <a:gd name="T72" fmla="*/ 473 w 2017"/>
                <a:gd name="T73" fmla="*/ 2421 h 2491"/>
                <a:gd name="T74" fmla="*/ 565 w 2017"/>
                <a:gd name="T75" fmla="*/ 2299 h 2491"/>
                <a:gd name="T76" fmla="*/ 435 w 2017"/>
                <a:gd name="T77" fmla="*/ 2254 h 2491"/>
                <a:gd name="T78" fmla="*/ 190 w 2017"/>
                <a:gd name="T79" fmla="*/ 2139 h 2491"/>
                <a:gd name="T80" fmla="*/ 160 w 2017"/>
                <a:gd name="T81" fmla="*/ 2009 h 2491"/>
                <a:gd name="T82" fmla="*/ 15 w 2017"/>
                <a:gd name="T83" fmla="*/ 1765 h 2491"/>
                <a:gd name="T84" fmla="*/ 0 w 2017"/>
                <a:gd name="T85" fmla="*/ 1574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7" h="2491">
                  <a:moveTo>
                    <a:pt x="0" y="1574"/>
                  </a:moveTo>
                  <a:lnTo>
                    <a:pt x="0" y="1574"/>
                  </a:lnTo>
                  <a:cubicBezTo>
                    <a:pt x="22" y="1535"/>
                    <a:pt x="38" y="1490"/>
                    <a:pt x="68" y="1459"/>
                  </a:cubicBezTo>
                  <a:cubicBezTo>
                    <a:pt x="91" y="1444"/>
                    <a:pt x="137" y="1459"/>
                    <a:pt x="145" y="1436"/>
                  </a:cubicBezTo>
                  <a:cubicBezTo>
                    <a:pt x="160" y="1413"/>
                    <a:pt x="122" y="1391"/>
                    <a:pt x="122" y="1360"/>
                  </a:cubicBezTo>
                  <a:cubicBezTo>
                    <a:pt x="122" y="1337"/>
                    <a:pt x="145" y="1322"/>
                    <a:pt x="160" y="1306"/>
                  </a:cubicBezTo>
                  <a:cubicBezTo>
                    <a:pt x="175" y="1283"/>
                    <a:pt x="198" y="1268"/>
                    <a:pt x="206" y="1245"/>
                  </a:cubicBezTo>
                  <a:cubicBezTo>
                    <a:pt x="213" y="1222"/>
                    <a:pt x="229" y="1199"/>
                    <a:pt x="221" y="1177"/>
                  </a:cubicBezTo>
                  <a:cubicBezTo>
                    <a:pt x="221" y="1161"/>
                    <a:pt x="183" y="1169"/>
                    <a:pt x="175" y="1154"/>
                  </a:cubicBezTo>
                  <a:cubicBezTo>
                    <a:pt x="175" y="1123"/>
                    <a:pt x="183" y="1093"/>
                    <a:pt x="206" y="1070"/>
                  </a:cubicBezTo>
                  <a:cubicBezTo>
                    <a:pt x="221" y="1047"/>
                    <a:pt x="267" y="1070"/>
                    <a:pt x="282" y="1047"/>
                  </a:cubicBezTo>
                  <a:cubicBezTo>
                    <a:pt x="297" y="1024"/>
                    <a:pt x="297" y="993"/>
                    <a:pt x="290" y="970"/>
                  </a:cubicBezTo>
                  <a:cubicBezTo>
                    <a:pt x="290" y="955"/>
                    <a:pt x="282" y="940"/>
                    <a:pt x="275" y="940"/>
                  </a:cubicBezTo>
                  <a:cubicBezTo>
                    <a:pt x="229" y="940"/>
                    <a:pt x="168" y="1001"/>
                    <a:pt x="129" y="970"/>
                  </a:cubicBezTo>
                  <a:cubicBezTo>
                    <a:pt x="99" y="955"/>
                    <a:pt x="145" y="902"/>
                    <a:pt x="160" y="863"/>
                  </a:cubicBezTo>
                  <a:cubicBezTo>
                    <a:pt x="160" y="856"/>
                    <a:pt x="183" y="848"/>
                    <a:pt x="183" y="833"/>
                  </a:cubicBezTo>
                  <a:cubicBezTo>
                    <a:pt x="183" y="795"/>
                    <a:pt x="183" y="741"/>
                    <a:pt x="160" y="703"/>
                  </a:cubicBezTo>
                  <a:cubicBezTo>
                    <a:pt x="152" y="680"/>
                    <a:pt x="106" y="688"/>
                    <a:pt x="99" y="665"/>
                  </a:cubicBezTo>
                  <a:cubicBezTo>
                    <a:pt x="91" y="627"/>
                    <a:pt x="145" y="596"/>
                    <a:pt x="137" y="558"/>
                  </a:cubicBezTo>
                  <a:cubicBezTo>
                    <a:pt x="129" y="527"/>
                    <a:pt x="76" y="527"/>
                    <a:pt x="61" y="504"/>
                  </a:cubicBezTo>
                  <a:cubicBezTo>
                    <a:pt x="53" y="474"/>
                    <a:pt x="83" y="451"/>
                    <a:pt x="91" y="428"/>
                  </a:cubicBezTo>
                  <a:lnTo>
                    <a:pt x="91" y="428"/>
                  </a:lnTo>
                  <a:cubicBezTo>
                    <a:pt x="137" y="367"/>
                    <a:pt x="160" y="283"/>
                    <a:pt x="229" y="245"/>
                  </a:cubicBezTo>
                  <a:cubicBezTo>
                    <a:pt x="275" y="222"/>
                    <a:pt x="343" y="245"/>
                    <a:pt x="374" y="283"/>
                  </a:cubicBezTo>
                  <a:cubicBezTo>
                    <a:pt x="404" y="313"/>
                    <a:pt x="336" y="405"/>
                    <a:pt x="381" y="428"/>
                  </a:cubicBezTo>
                  <a:cubicBezTo>
                    <a:pt x="450" y="451"/>
                    <a:pt x="534" y="405"/>
                    <a:pt x="588" y="367"/>
                  </a:cubicBezTo>
                  <a:cubicBezTo>
                    <a:pt x="618" y="352"/>
                    <a:pt x="565" y="298"/>
                    <a:pt x="588" y="283"/>
                  </a:cubicBezTo>
                  <a:cubicBezTo>
                    <a:pt x="626" y="252"/>
                    <a:pt x="687" y="283"/>
                    <a:pt x="725" y="252"/>
                  </a:cubicBezTo>
                  <a:cubicBezTo>
                    <a:pt x="740" y="229"/>
                    <a:pt x="694" y="207"/>
                    <a:pt x="672" y="191"/>
                  </a:cubicBezTo>
                  <a:cubicBezTo>
                    <a:pt x="641" y="184"/>
                    <a:pt x="588" y="222"/>
                    <a:pt x="580" y="191"/>
                  </a:cubicBezTo>
                  <a:cubicBezTo>
                    <a:pt x="572" y="153"/>
                    <a:pt x="626" y="130"/>
                    <a:pt x="656" y="122"/>
                  </a:cubicBezTo>
                  <a:cubicBezTo>
                    <a:pt x="710" y="115"/>
                    <a:pt x="771" y="168"/>
                    <a:pt x="825" y="145"/>
                  </a:cubicBezTo>
                  <a:cubicBezTo>
                    <a:pt x="863" y="122"/>
                    <a:pt x="840" y="54"/>
                    <a:pt x="863" y="16"/>
                  </a:cubicBezTo>
                  <a:cubicBezTo>
                    <a:pt x="863" y="0"/>
                    <a:pt x="886" y="8"/>
                    <a:pt x="901" y="8"/>
                  </a:cubicBezTo>
                  <a:lnTo>
                    <a:pt x="901" y="8"/>
                  </a:lnTo>
                  <a:cubicBezTo>
                    <a:pt x="947" y="54"/>
                    <a:pt x="1008" y="84"/>
                    <a:pt x="1031" y="138"/>
                  </a:cubicBezTo>
                  <a:cubicBezTo>
                    <a:pt x="1046" y="168"/>
                    <a:pt x="992" y="207"/>
                    <a:pt x="1008" y="237"/>
                  </a:cubicBezTo>
                  <a:cubicBezTo>
                    <a:pt x="1015" y="291"/>
                    <a:pt x="1061" y="329"/>
                    <a:pt x="1084" y="374"/>
                  </a:cubicBezTo>
                  <a:cubicBezTo>
                    <a:pt x="1107" y="405"/>
                    <a:pt x="1115" y="451"/>
                    <a:pt x="1145" y="466"/>
                  </a:cubicBezTo>
                  <a:cubicBezTo>
                    <a:pt x="1168" y="474"/>
                    <a:pt x="1199" y="443"/>
                    <a:pt x="1206" y="420"/>
                  </a:cubicBezTo>
                  <a:cubicBezTo>
                    <a:pt x="1206" y="397"/>
                    <a:pt x="1168" y="390"/>
                    <a:pt x="1168" y="374"/>
                  </a:cubicBezTo>
                  <a:cubicBezTo>
                    <a:pt x="1176" y="352"/>
                    <a:pt x="1214" y="336"/>
                    <a:pt x="1229" y="313"/>
                  </a:cubicBezTo>
                  <a:cubicBezTo>
                    <a:pt x="1237" y="298"/>
                    <a:pt x="1229" y="268"/>
                    <a:pt x="1252" y="252"/>
                  </a:cubicBezTo>
                  <a:cubicBezTo>
                    <a:pt x="1290" y="214"/>
                    <a:pt x="1328" y="214"/>
                    <a:pt x="1374" y="184"/>
                  </a:cubicBezTo>
                  <a:lnTo>
                    <a:pt x="1374" y="184"/>
                  </a:lnTo>
                  <a:cubicBezTo>
                    <a:pt x="1413" y="222"/>
                    <a:pt x="1443" y="252"/>
                    <a:pt x="1504" y="283"/>
                  </a:cubicBezTo>
                  <a:cubicBezTo>
                    <a:pt x="1588" y="329"/>
                    <a:pt x="1680" y="436"/>
                    <a:pt x="1703" y="527"/>
                  </a:cubicBezTo>
                  <a:cubicBezTo>
                    <a:pt x="1733" y="627"/>
                    <a:pt x="1794" y="741"/>
                    <a:pt x="1840" y="833"/>
                  </a:cubicBezTo>
                  <a:cubicBezTo>
                    <a:pt x="1848" y="924"/>
                    <a:pt x="2016" y="1306"/>
                    <a:pt x="1901" y="1375"/>
                  </a:cubicBezTo>
                  <a:cubicBezTo>
                    <a:pt x="1817" y="1429"/>
                    <a:pt x="1741" y="1497"/>
                    <a:pt x="1665" y="1574"/>
                  </a:cubicBezTo>
                  <a:cubicBezTo>
                    <a:pt x="1596" y="1643"/>
                    <a:pt x="1550" y="1734"/>
                    <a:pt x="1481" y="1803"/>
                  </a:cubicBezTo>
                  <a:cubicBezTo>
                    <a:pt x="1458" y="1818"/>
                    <a:pt x="1443" y="1864"/>
                    <a:pt x="1443" y="1895"/>
                  </a:cubicBezTo>
                  <a:cubicBezTo>
                    <a:pt x="1596" y="1933"/>
                    <a:pt x="1603" y="1956"/>
                    <a:pt x="1711" y="2063"/>
                  </a:cubicBezTo>
                  <a:cubicBezTo>
                    <a:pt x="1718" y="2070"/>
                    <a:pt x="1741" y="2085"/>
                    <a:pt x="1772" y="2101"/>
                  </a:cubicBezTo>
                  <a:lnTo>
                    <a:pt x="1772" y="2101"/>
                  </a:lnTo>
                  <a:cubicBezTo>
                    <a:pt x="1764" y="2124"/>
                    <a:pt x="1741" y="2147"/>
                    <a:pt x="1741" y="2169"/>
                  </a:cubicBezTo>
                  <a:cubicBezTo>
                    <a:pt x="1741" y="2185"/>
                    <a:pt x="1772" y="2200"/>
                    <a:pt x="1764" y="2215"/>
                  </a:cubicBezTo>
                  <a:cubicBezTo>
                    <a:pt x="1749" y="2246"/>
                    <a:pt x="1711" y="2254"/>
                    <a:pt x="1680" y="2269"/>
                  </a:cubicBezTo>
                  <a:cubicBezTo>
                    <a:pt x="1649" y="2284"/>
                    <a:pt x="1619" y="2284"/>
                    <a:pt x="1588" y="2299"/>
                  </a:cubicBezTo>
                  <a:lnTo>
                    <a:pt x="1588" y="2299"/>
                  </a:lnTo>
                  <a:cubicBezTo>
                    <a:pt x="1550" y="2292"/>
                    <a:pt x="1512" y="2269"/>
                    <a:pt x="1466" y="2269"/>
                  </a:cubicBezTo>
                  <a:cubicBezTo>
                    <a:pt x="1436" y="2269"/>
                    <a:pt x="1405" y="2292"/>
                    <a:pt x="1390" y="2315"/>
                  </a:cubicBezTo>
                  <a:cubicBezTo>
                    <a:pt x="1374" y="2345"/>
                    <a:pt x="1397" y="2391"/>
                    <a:pt x="1374" y="2414"/>
                  </a:cubicBezTo>
                  <a:cubicBezTo>
                    <a:pt x="1351" y="2437"/>
                    <a:pt x="1306" y="2429"/>
                    <a:pt x="1275" y="2437"/>
                  </a:cubicBezTo>
                  <a:lnTo>
                    <a:pt x="1275" y="2437"/>
                  </a:lnTo>
                  <a:cubicBezTo>
                    <a:pt x="1237" y="2429"/>
                    <a:pt x="1199" y="2406"/>
                    <a:pt x="1161" y="2414"/>
                  </a:cubicBezTo>
                  <a:cubicBezTo>
                    <a:pt x="1122" y="2421"/>
                    <a:pt x="1099" y="2475"/>
                    <a:pt x="1061" y="2483"/>
                  </a:cubicBezTo>
                  <a:cubicBezTo>
                    <a:pt x="1031" y="2483"/>
                    <a:pt x="1008" y="2444"/>
                    <a:pt x="969" y="2444"/>
                  </a:cubicBezTo>
                  <a:cubicBezTo>
                    <a:pt x="947" y="2437"/>
                    <a:pt x="931" y="2475"/>
                    <a:pt x="908" y="2475"/>
                  </a:cubicBezTo>
                  <a:cubicBezTo>
                    <a:pt x="870" y="2467"/>
                    <a:pt x="840" y="2421"/>
                    <a:pt x="802" y="2421"/>
                  </a:cubicBezTo>
                  <a:cubicBezTo>
                    <a:pt x="763" y="2429"/>
                    <a:pt x="748" y="2490"/>
                    <a:pt x="702" y="2490"/>
                  </a:cubicBezTo>
                  <a:cubicBezTo>
                    <a:pt x="664" y="2490"/>
                    <a:pt x="641" y="2444"/>
                    <a:pt x="603" y="2437"/>
                  </a:cubicBezTo>
                  <a:cubicBezTo>
                    <a:pt x="565" y="2421"/>
                    <a:pt x="519" y="2429"/>
                    <a:pt x="473" y="2421"/>
                  </a:cubicBezTo>
                  <a:lnTo>
                    <a:pt x="473" y="2421"/>
                  </a:lnTo>
                  <a:cubicBezTo>
                    <a:pt x="458" y="2406"/>
                    <a:pt x="404" y="2391"/>
                    <a:pt x="419" y="2368"/>
                  </a:cubicBezTo>
                  <a:cubicBezTo>
                    <a:pt x="450" y="2330"/>
                    <a:pt x="527" y="2338"/>
                    <a:pt x="565" y="2299"/>
                  </a:cubicBezTo>
                  <a:cubicBezTo>
                    <a:pt x="572" y="2292"/>
                    <a:pt x="572" y="2261"/>
                    <a:pt x="557" y="2254"/>
                  </a:cubicBezTo>
                  <a:cubicBezTo>
                    <a:pt x="519" y="2238"/>
                    <a:pt x="473" y="2269"/>
                    <a:pt x="435" y="2254"/>
                  </a:cubicBezTo>
                  <a:cubicBezTo>
                    <a:pt x="404" y="2231"/>
                    <a:pt x="404" y="2177"/>
                    <a:pt x="366" y="2162"/>
                  </a:cubicBezTo>
                  <a:cubicBezTo>
                    <a:pt x="313" y="2131"/>
                    <a:pt x="252" y="2147"/>
                    <a:pt x="190" y="2139"/>
                  </a:cubicBezTo>
                  <a:lnTo>
                    <a:pt x="190" y="2139"/>
                  </a:lnTo>
                  <a:cubicBezTo>
                    <a:pt x="183" y="2093"/>
                    <a:pt x="183" y="2047"/>
                    <a:pt x="160" y="2009"/>
                  </a:cubicBezTo>
                  <a:cubicBezTo>
                    <a:pt x="145" y="1956"/>
                    <a:pt x="106" y="1910"/>
                    <a:pt x="76" y="1864"/>
                  </a:cubicBezTo>
                  <a:cubicBezTo>
                    <a:pt x="76" y="1864"/>
                    <a:pt x="22" y="1772"/>
                    <a:pt x="15" y="1765"/>
                  </a:cubicBezTo>
                  <a:cubicBezTo>
                    <a:pt x="15" y="1757"/>
                    <a:pt x="30" y="1650"/>
                    <a:pt x="30" y="1650"/>
                  </a:cubicBezTo>
                  <a:cubicBezTo>
                    <a:pt x="22" y="1627"/>
                    <a:pt x="15" y="1597"/>
                    <a:pt x="0" y="1574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11" name="Freeform 46"/>
            <p:cNvSpPr>
              <a:spLocks noChangeArrowheads="1"/>
            </p:cNvSpPr>
            <p:nvPr/>
          </p:nvSpPr>
          <p:spPr bwMode="auto">
            <a:xfrm>
              <a:off x="7140110" y="7119938"/>
              <a:ext cx="190488" cy="203200"/>
            </a:xfrm>
            <a:custGeom>
              <a:avLst/>
              <a:gdLst>
                <a:gd name="T0" fmla="*/ 0 w 528"/>
                <a:gd name="T1" fmla="*/ 106 h 566"/>
                <a:gd name="T2" fmla="*/ 0 w 528"/>
                <a:gd name="T3" fmla="*/ 106 h 566"/>
                <a:gd name="T4" fmla="*/ 46 w 528"/>
                <a:gd name="T5" fmla="*/ 229 h 566"/>
                <a:gd name="T6" fmla="*/ 107 w 528"/>
                <a:gd name="T7" fmla="*/ 244 h 566"/>
                <a:gd name="T8" fmla="*/ 107 w 528"/>
                <a:gd name="T9" fmla="*/ 305 h 566"/>
                <a:gd name="T10" fmla="*/ 138 w 528"/>
                <a:gd name="T11" fmla="*/ 374 h 566"/>
                <a:gd name="T12" fmla="*/ 184 w 528"/>
                <a:gd name="T13" fmla="*/ 420 h 566"/>
                <a:gd name="T14" fmla="*/ 206 w 528"/>
                <a:gd name="T15" fmla="*/ 488 h 566"/>
                <a:gd name="T16" fmla="*/ 206 w 528"/>
                <a:gd name="T17" fmla="*/ 488 h 566"/>
                <a:gd name="T18" fmla="*/ 268 w 528"/>
                <a:gd name="T19" fmla="*/ 488 h 566"/>
                <a:gd name="T20" fmla="*/ 268 w 528"/>
                <a:gd name="T21" fmla="*/ 542 h 566"/>
                <a:gd name="T22" fmla="*/ 329 w 528"/>
                <a:gd name="T23" fmla="*/ 565 h 566"/>
                <a:gd name="T24" fmla="*/ 405 w 528"/>
                <a:gd name="T25" fmla="*/ 550 h 566"/>
                <a:gd name="T26" fmla="*/ 405 w 528"/>
                <a:gd name="T27" fmla="*/ 550 h 566"/>
                <a:gd name="T28" fmla="*/ 489 w 528"/>
                <a:gd name="T29" fmla="*/ 473 h 566"/>
                <a:gd name="T30" fmla="*/ 466 w 528"/>
                <a:gd name="T31" fmla="*/ 427 h 566"/>
                <a:gd name="T32" fmla="*/ 512 w 528"/>
                <a:gd name="T33" fmla="*/ 374 h 566"/>
                <a:gd name="T34" fmla="*/ 527 w 528"/>
                <a:gd name="T35" fmla="*/ 290 h 566"/>
                <a:gd name="T36" fmla="*/ 527 w 528"/>
                <a:gd name="T37" fmla="*/ 290 h 566"/>
                <a:gd name="T38" fmla="*/ 489 w 528"/>
                <a:gd name="T39" fmla="*/ 236 h 566"/>
                <a:gd name="T40" fmla="*/ 436 w 528"/>
                <a:gd name="T41" fmla="*/ 221 h 566"/>
                <a:gd name="T42" fmla="*/ 306 w 528"/>
                <a:gd name="T43" fmla="*/ 175 h 566"/>
                <a:gd name="T44" fmla="*/ 314 w 528"/>
                <a:gd name="T45" fmla="*/ 84 h 566"/>
                <a:gd name="T46" fmla="*/ 245 w 528"/>
                <a:gd name="T47" fmla="*/ 106 h 566"/>
                <a:gd name="T48" fmla="*/ 222 w 528"/>
                <a:gd name="T49" fmla="*/ 53 h 566"/>
                <a:gd name="T50" fmla="*/ 222 w 528"/>
                <a:gd name="T51" fmla="*/ 7 h 566"/>
                <a:gd name="T52" fmla="*/ 222 w 528"/>
                <a:gd name="T53" fmla="*/ 7 h 566"/>
                <a:gd name="T54" fmla="*/ 115 w 528"/>
                <a:gd name="T55" fmla="*/ 15 h 566"/>
                <a:gd name="T56" fmla="*/ 61 w 528"/>
                <a:gd name="T57" fmla="*/ 68 h 566"/>
                <a:gd name="T58" fmla="*/ 23 w 528"/>
                <a:gd name="T59" fmla="*/ 68 h 566"/>
                <a:gd name="T60" fmla="*/ 0 w 528"/>
                <a:gd name="T61" fmla="*/ 106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28" h="566">
                  <a:moveTo>
                    <a:pt x="0" y="106"/>
                  </a:moveTo>
                  <a:lnTo>
                    <a:pt x="0" y="106"/>
                  </a:lnTo>
                  <a:cubicBezTo>
                    <a:pt x="16" y="145"/>
                    <a:pt x="23" y="198"/>
                    <a:pt x="46" y="229"/>
                  </a:cubicBezTo>
                  <a:cubicBezTo>
                    <a:pt x="61" y="244"/>
                    <a:pt x="92" y="229"/>
                    <a:pt x="107" y="244"/>
                  </a:cubicBezTo>
                  <a:cubicBezTo>
                    <a:pt x="115" y="259"/>
                    <a:pt x="100" y="290"/>
                    <a:pt x="107" y="305"/>
                  </a:cubicBezTo>
                  <a:cubicBezTo>
                    <a:pt x="115" y="328"/>
                    <a:pt x="122" y="359"/>
                    <a:pt x="138" y="374"/>
                  </a:cubicBezTo>
                  <a:cubicBezTo>
                    <a:pt x="145" y="397"/>
                    <a:pt x="168" y="404"/>
                    <a:pt x="184" y="420"/>
                  </a:cubicBezTo>
                  <a:cubicBezTo>
                    <a:pt x="199" y="443"/>
                    <a:pt x="199" y="465"/>
                    <a:pt x="206" y="488"/>
                  </a:cubicBezTo>
                  <a:lnTo>
                    <a:pt x="206" y="488"/>
                  </a:lnTo>
                  <a:cubicBezTo>
                    <a:pt x="229" y="488"/>
                    <a:pt x="252" y="481"/>
                    <a:pt x="268" y="488"/>
                  </a:cubicBezTo>
                  <a:cubicBezTo>
                    <a:pt x="275" y="504"/>
                    <a:pt x="260" y="527"/>
                    <a:pt x="268" y="542"/>
                  </a:cubicBezTo>
                  <a:cubicBezTo>
                    <a:pt x="283" y="557"/>
                    <a:pt x="306" y="565"/>
                    <a:pt x="329" y="565"/>
                  </a:cubicBezTo>
                  <a:cubicBezTo>
                    <a:pt x="352" y="565"/>
                    <a:pt x="375" y="557"/>
                    <a:pt x="405" y="550"/>
                  </a:cubicBezTo>
                  <a:lnTo>
                    <a:pt x="405" y="550"/>
                  </a:lnTo>
                  <a:cubicBezTo>
                    <a:pt x="428" y="527"/>
                    <a:pt x="474" y="504"/>
                    <a:pt x="489" y="473"/>
                  </a:cubicBezTo>
                  <a:cubicBezTo>
                    <a:pt x="497" y="458"/>
                    <a:pt x="458" y="443"/>
                    <a:pt x="466" y="427"/>
                  </a:cubicBezTo>
                  <a:cubicBezTo>
                    <a:pt x="466" y="404"/>
                    <a:pt x="497" y="397"/>
                    <a:pt x="512" y="374"/>
                  </a:cubicBezTo>
                  <a:cubicBezTo>
                    <a:pt x="520" y="351"/>
                    <a:pt x="520" y="320"/>
                    <a:pt x="527" y="290"/>
                  </a:cubicBezTo>
                  <a:lnTo>
                    <a:pt x="527" y="290"/>
                  </a:lnTo>
                  <a:cubicBezTo>
                    <a:pt x="512" y="275"/>
                    <a:pt x="504" y="252"/>
                    <a:pt x="489" y="236"/>
                  </a:cubicBezTo>
                  <a:cubicBezTo>
                    <a:pt x="474" y="229"/>
                    <a:pt x="451" y="229"/>
                    <a:pt x="436" y="221"/>
                  </a:cubicBezTo>
                  <a:cubicBezTo>
                    <a:pt x="390" y="206"/>
                    <a:pt x="336" y="206"/>
                    <a:pt x="306" y="175"/>
                  </a:cubicBezTo>
                  <a:cubicBezTo>
                    <a:pt x="283" y="152"/>
                    <a:pt x="329" y="106"/>
                    <a:pt x="314" y="84"/>
                  </a:cubicBezTo>
                  <a:cubicBezTo>
                    <a:pt x="298" y="61"/>
                    <a:pt x="268" y="114"/>
                    <a:pt x="245" y="106"/>
                  </a:cubicBezTo>
                  <a:cubicBezTo>
                    <a:pt x="222" y="99"/>
                    <a:pt x="222" y="68"/>
                    <a:pt x="222" y="53"/>
                  </a:cubicBezTo>
                  <a:cubicBezTo>
                    <a:pt x="214" y="38"/>
                    <a:pt x="222" y="23"/>
                    <a:pt x="222" y="7"/>
                  </a:cubicBezTo>
                  <a:lnTo>
                    <a:pt x="222" y="7"/>
                  </a:lnTo>
                  <a:cubicBezTo>
                    <a:pt x="191" y="7"/>
                    <a:pt x="153" y="0"/>
                    <a:pt x="115" y="15"/>
                  </a:cubicBezTo>
                  <a:cubicBezTo>
                    <a:pt x="92" y="23"/>
                    <a:pt x="84" y="53"/>
                    <a:pt x="61" y="68"/>
                  </a:cubicBezTo>
                  <a:cubicBezTo>
                    <a:pt x="46" y="68"/>
                    <a:pt x="31" y="61"/>
                    <a:pt x="23" y="68"/>
                  </a:cubicBezTo>
                  <a:cubicBezTo>
                    <a:pt x="8" y="76"/>
                    <a:pt x="8" y="91"/>
                    <a:pt x="0" y="10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12" name="Freeform 47"/>
            <p:cNvSpPr>
              <a:spLocks noChangeArrowheads="1"/>
            </p:cNvSpPr>
            <p:nvPr/>
          </p:nvSpPr>
          <p:spPr bwMode="auto">
            <a:xfrm>
              <a:off x="6936924" y="7029451"/>
              <a:ext cx="303193" cy="168275"/>
            </a:xfrm>
            <a:custGeom>
              <a:avLst/>
              <a:gdLst>
                <a:gd name="T0" fmla="*/ 0 w 841"/>
                <a:gd name="T1" fmla="*/ 236 h 466"/>
                <a:gd name="T2" fmla="*/ 0 w 841"/>
                <a:gd name="T3" fmla="*/ 236 h 466"/>
                <a:gd name="T4" fmla="*/ 31 w 841"/>
                <a:gd name="T5" fmla="*/ 282 h 466"/>
                <a:gd name="T6" fmla="*/ 31 w 841"/>
                <a:gd name="T7" fmla="*/ 343 h 466"/>
                <a:gd name="T8" fmla="*/ 31 w 841"/>
                <a:gd name="T9" fmla="*/ 343 h 466"/>
                <a:gd name="T10" fmla="*/ 122 w 841"/>
                <a:gd name="T11" fmla="*/ 343 h 466"/>
                <a:gd name="T12" fmla="*/ 176 w 841"/>
                <a:gd name="T13" fmla="*/ 305 h 466"/>
                <a:gd name="T14" fmla="*/ 382 w 841"/>
                <a:gd name="T15" fmla="*/ 328 h 466"/>
                <a:gd name="T16" fmla="*/ 412 w 841"/>
                <a:gd name="T17" fmla="*/ 374 h 466"/>
                <a:gd name="T18" fmla="*/ 420 w 841"/>
                <a:gd name="T19" fmla="*/ 420 h 466"/>
                <a:gd name="T20" fmla="*/ 443 w 841"/>
                <a:gd name="T21" fmla="*/ 450 h 466"/>
                <a:gd name="T22" fmla="*/ 481 w 841"/>
                <a:gd name="T23" fmla="*/ 366 h 466"/>
                <a:gd name="T24" fmla="*/ 504 w 841"/>
                <a:gd name="T25" fmla="*/ 336 h 466"/>
                <a:gd name="T26" fmla="*/ 565 w 841"/>
                <a:gd name="T27" fmla="*/ 358 h 466"/>
                <a:gd name="T28" fmla="*/ 565 w 841"/>
                <a:gd name="T29" fmla="*/ 358 h 466"/>
                <a:gd name="T30" fmla="*/ 588 w 841"/>
                <a:gd name="T31" fmla="*/ 320 h 466"/>
                <a:gd name="T32" fmla="*/ 626 w 841"/>
                <a:gd name="T33" fmla="*/ 320 h 466"/>
                <a:gd name="T34" fmla="*/ 680 w 841"/>
                <a:gd name="T35" fmla="*/ 267 h 466"/>
                <a:gd name="T36" fmla="*/ 787 w 841"/>
                <a:gd name="T37" fmla="*/ 259 h 466"/>
                <a:gd name="T38" fmla="*/ 787 w 841"/>
                <a:gd name="T39" fmla="*/ 259 h 466"/>
                <a:gd name="T40" fmla="*/ 833 w 841"/>
                <a:gd name="T41" fmla="*/ 213 h 466"/>
                <a:gd name="T42" fmla="*/ 810 w 841"/>
                <a:gd name="T43" fmla="*/ 160 h 466"/>
                <a:gd name="T44" fmla="*/ 756 w 841"/>
                <a:gd name="T45" fmla="*/ 129 h 466"/>
                <a:gd name="T46" fmla="*/ 726 w 841"/>
                <a:gd name="T47" fmla="*/ 76 h 466"/>
                <a:gd name="T48" fmla="*/ 726 w 841"/>
                <a:gd name="T49" fmla="*/ 76 h 466"/>
                <a:gd name="T50" fmla="*/ 703 w 841"/>
                <a:gd name="T51" fmla="*/ 22 h 466"/>
                <a:gd name="T52" fmla="*/ 657 w 841"/>
                <a:gd name="T53" fmla="*/ 30 h 466"/>
                <a:gd name="T54" fmla="*/ 573 w 841"/>
                <a:gd name="T55" fmla="*/ 7 h 466"/>
                <a:gd name="T56" fmla="*/ 512 w 841"/>
                <a:gd name="T57" fmla="*/ 45 h 466"/>
                <a:gd name="T58" fmla="*/ 451 w 841"/>
                <a:gd name="T59" fmla="*/ 45 h 466"/>
                <a:gd name="T60" fmla="*/ 405 w 841"/>
                <a:gd name="T61" fmla="*/ 22 h 466"/>
                <a:gd name="T62" fmla="*/ 367 w 841"/>
                <a:gd name="T63" fmla="*/ 22 h 466"/>
                <a:gd name="T64" fmla="*/ 367 w 841"/>
                <a:gd name="T65" fmla="*/ 22 h 466"/>
                <a:gd name="T66" fmla="*/ 321 w 841"/>
                <a:gd name="T67" fmla="*/ 114 h 466"/>
                <a:gd name="T68" fmla="*/ 237 w 841"/>
                <a:gd name="T69" fmla="*/ 152 h 466"/>
                <a:gd name="T70" fmla="*/ 176 w 841"/>
                <a:gd name="T71" fmla="*/ 137 h 466"/>
                <a:gd name="T72" fmla="*/ 160 w 841"/>
                <a:gd name="T73" fmla="*/ 137 h 466"/>
                <a:gd name="T74" fmla="*/ 107 w 841"/>
                <a:gd name="T75" fmla="*/ 191 h 466"/>
                <a:gd name="T76" fmla="*/ 15 w 841"/>
                <a:gd name="T77" fmla="*/ 206 h 466"/>
                <a:gd name="T78" fmla="*/ 0 w 841"/>
                <a:gd name="T79" fmla="*/ 23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41" h="466">
                  <a:moveTo>
                    <a:pt x="0" y="236"/>
                  </a:moveTo>
                  <a:lnTo>
                    <a:pt x="0" y="236"/>
                  </a:lnTo>
                  <a:cubicBezTo>
                    <a:pt x="8" y="252"/>
                    <a:pt x="23" y="267"/>
                    <a:pt x="31" y="282"/>
                  </a:cubicBezTo>
                  <a:cubicBezTo>
                    <a:pt x="38" y="305"/>
                    <a:pt x="31" y="320"/>
                    <a:pt x="31" y="343"/>
                  </a:cubicBezTo>
                  <a:lnTo>
                    <a:pt x="31" y="343"/>
                  </a:lnTo>
                  <a:cubicBezTo>
                    <a:pt x="61" y="343"/>
                    <a:pt x="92" y="351"/>
                    <a:pt x="122" y="343"/>
                  </a:cubicBezTo>
                  <a:cubicBezTo>
                    <a:pt x="145" y="336"/>
                    <a:pt x="153" y="305"/>
                    <a:pt x="176" y="305"/>
                  </a:cubicBezTo>
                  <a:cubicBezTo>
                    <a:pt x="245" y="297"/>
                    <a:pt x="313" y="313"/>
                    <a:pt x="382" y="328"/>
                  </a:cubicBezTo>
                  <a:cubicBezTo>
                    <a:pt x="397" y="336"/>
                    <a:pt x="405" y="358"/>
                    <a:pt x="412" y="374"/>
                  </a:cubicBezTo>
                  <a:cubicBezTo>
                    <a:pt x="420" y="389"/>
                    <a:pt x="412" y="404"/>
                    <a:pt x="420" y="420"/>
                  </a:cubicBezTo>
                  <a:cubicBezTo>
                    <a:pt x="428" y="435"/>
                    <a:pt x="435" y="465"/>
                    <a:pt x="443" y="450"/>
                  </a:cubicBezTo>
                  <a:cubicBezTo>
                    <a:pt x="474" y="435"/>
                    <a:pt x="466" y="397"/>
                    <a:pt x="481" y="366"/>
                  </a:cubicBezTo>
                  <a:cubicBezTo>
                    <a:pt x="489" y="358"/>
                    <a:pt x="489" y="336"/>
                    <a:pt x="504" y="336"/>
                  </a:cubicBezTo>
                  <a:cubicBezTo>
                    <a:pt x="527" y="336"/>
                    <a:pt x="542" y="351"/>
                    <a:pt x="565" y="358"/>
                  </a:cubicBezTo>
                  <a:lnTo>
                    <a:pt x="565" y="358"/>
                  </a:lnTo>
                  <a:cubicBezTo>
                    <a:pt x="573" y="343"/>
                    <a:pt x="573" y="328"/>
                    <a:pt x="588" y="320"/>
                  </a:cubicBezTo>
                  <a:cubicBezTo>
                    <a:pt x="596" y="313"/>
                    <a:pt x="611" y="320"/>
                    <a:pt x="626" y="320"/>
                  </a:cubicBezTo>
                  <a:cubicBezTo>
                    <a:pt x="649" y="305"/>
                    <a:pt x="657" y="275"/>
                    <a:pt x="680" y="267"/>
                  </a:cubicBezTo>
                  <a:cubicBezTo>
                    <a:pt x="718" y="252"/>
                    <a:pt x="756" y="259"/>
                    <a:pt x="787" y="259"/>
                  </a:cubicBezTo>
                  <a:lnTo>
                    <a:pt x="787" y="259"/>
                  </a:lnTo>
                  <a:cubicBezTo>
                    <a:pt x="802" y="244"/>
                    <a:pt x="833" y="236"/>
                    <a:pt x="833" y="213"/>
                  </a:cubicBezTo>
                  <a:cubicBezTo>
                    <a:pt x="840" y="198"/>
                    <a:pt x="825" y="175"/>
                    <a:pt x="810" y="160"/>
                  </a:cubicBezTo>
                  <a:cubicBezTo>
                    <a:pt x="794" y="145"/>
                    <a:pt x="764" y="145"/>
                    <a:pt x="756" y="129"/>
                  </a:cubicBezTo>
                  <a:cubicBezTo>
                    <a:pt x="741" y="114"/>
                    <a:pt x="741" y="91"/>
                    <a:pt x="726" y="76"/>
                  </a:cubicBezTo>
                  <a:lnTo>
                    <a:pt x="726" y="76"/>
                  </a:lnTo>
                  <a:cubicBezTo>
                    <a:pt x="718" y="61"/>
                    <a:pt x="718" y="38"/>
                    <a:pt x="703" y="22"/>
                  </a:cubicBezTo>
                  <a:cubicBezTo>
                    <a:pt x="687" y="15"/>
                    <a:pt x="672" y="30"/>
                    <a:pt x="657" y="30"/>
                  </a:cubicBezTo>
                  <a:cubicBezTo>
                    <a:pt x="626" y="22"/>
                    <a:pt x="604" y="0"/>
                    <a:pt x="573" y="7"/>
                  </a:cubicBezTo>
                  <a:cubicBezTo>
                    <a:pt x="550" y="7"/>
                    <a:pt x="535" y="38"/>
                    <a:pt x="512" y="45"/>
                  </a:cubicBezTo>
                  <a:cubicBezTo>
                    <a:pt x="497" y="53"/>
                    <a:pt x="474" y="53"/>
                    <a:pt x="451" y="45"/>
                  </a:cubicBezTo>
                  <a:cubicBezTo>
                    <a:pt x="435" y="45"/>
                    <a:pt x="420" y="22"/>
                    <a:pt x="405" y="22"/>
                  </a:cubicBezTo>
                  <a:cubicBezTo>
                    <a:pt x="390" y="15"/>
                    <a:pt x="374" y="22"/>
                    <a:pt x="367" y="22"/>
                  </a:cubicBezTo>
                  <a:lnTo>
                    <a:pt x="367" y="22"/>
                  </a:lnTo>
                  <a:cubicBezTo>
                    <a:pt x="351" y="53"/>
                    <a:pt x="344" y="91"/>
                    <a:pt x="321" y="114"/>
                  </a:cubicBezTo>
                  <a:cubicBezTo>
                    <a:pt x="298" y="137"/>
                    <a:pt x="267" y="152"/>
                    <a:pt x="237" y="152"/>
                  </a:cubicBezTo>
                  <a:cubicBezTo>
                    <a:pt x="214" y="160"/>
                    <a:pt x="199" y="137"/>
                    <a:pt x="176" y="137"/>
                  </a:cubicBezTo>
                  <a:cubicBezTo>
                    <a:pt x="176" y="129"/>
                    <a:pt x="160" y="129"/>
                    <a:pt x="160" y="137"/>
                  </a:cubicBezTo>
                  <a:cubicBezTo>
                    <a:pt x="137" y="152"/>
                    <a:pt x="130" y="183"/>
                    <a:pt x="107" y="191"/>
                  </a:cubicBezTo>
                  <a:cubicBezTo>
                    <a:pt x="84" y="206"/>
                    <a:pt x="46" y="191"/>
                    <a:pt x="15" y="206"/>
                  </a:cubicBezTo>
                  <a:cubicBezTo>
                    <a:pt x="8" y="206"/>
                    <a:pt x="8" y="229"/>
                    <a:pt x="0" y="23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13" name="Freeform 48"/>
            <p:cNvSpPr>
              <a:spLocks noChangeArrowheads="1"/>
            </p:cNvSpPr>
            <p:nvPr/>
          </p:nvSpPr>
          <p:spPr bwMode="auto">
            <a:xfrm>
              <a:off x="7198845" y="6983414"/>
              <a:ext cx="269857" cy="242887"/>
            </a:xfrm>
            <a:custGeom>
              <a:avLst/>
              <a:gdLst>
                <a:gd name="T0" fmla="*/ 61 w 749"/>
                <a:gd name="T1" fmla="*/ 389 h 673"/>
                <a:gd name="T2" fmla="*/ 61 w 749"/>
                <a:gd name="T3" fmla="*/ 389 h 673"/>
                <a:gd name="T4" fmla="*/ 107 w 749"/>
                <a:gd name="T5" fmla="*/ 343 h 673"/>
                <a:gd name="T6" fmla="*/ 84 w 749"/>
                <a:gd name="T7" fmla="*/ 290 h 673"/>
                <a:gd name="T8" fmla="*/ 30 w 749"/>
                <a:gd name="T9" fmla="*/ 259 h 673"/>
                <a:gd name="T10" fmla="*/ 0 w 749"/>
                <a:gd name="T11" fmla="*/ 206 h 673"/>
                <a:gd name="T12" fmla="*/ 0 w 749"/>
                <a:gd name="T13" fmla="*/ 206 h 673"/>
                <a:gd name="T14" fmla="*/ 84 w 749"/>
                <a:gd name="T15" fmla="*/ 229 h 673"/>
                <a:gd name="T16" fmla="*/ 137 w 749"/>
                <a:gd name="T17" fmla="*/ 175 h 673"/>
                <a:gd name="T18" fmla="*/ 145 w 749"/>
                <a:gd name="T19" fmla="*/ 137 h 673"/>
                <a:gd name="T20" fmla="*/ 191 w 749"/>
                <a:gd name="T21" fmla="*/ 107 h 673"/>
                <a:gd name="T22" fmla="*/ 191 w 749"/>
                <a:gd name="T23" fmla="*/ 107 h 673"/>
                <a:gd name="T24" fmla="*/ 229 w 749"/>
                <a:gd name="T25" fmla="*/ 53 h 673"/>
                <a:gd name="T26" fmla="*/ 267 w 749"/>
                <a:gd name="T27" fmla="*/ 68 h 673"/>
                <a:gd name="T28" fmla="*/ 313 w 749"/>
                <a:gd name="T29" fmla="*/ 53 h 673"/>
                <a:gd name="T30" fmla="*/ 351 w 749"/>
                <a:gd name="T31" fmla="*/ 68 h 673"/>
                <a:gd name="T32" fmla="*/ 397 w 749"/>
                <a:gd name="T33" fmla="*/ 46 h 673"/>
                <a:gd name="T34" fmla="*/ 473 w 749"/>
                <a:gd name="T35" fmla="*/ 15 h 673"/>
                <a:gd name="T36" fmla="*/ 473 w 749"/>
                <a:gd name="T37" fmla="*/ 15 h 673"/>
                <a:gd name="T38" fmla="*/ 634 w 749"/>
                <a:gd name="T39" fmla="*/ 7 h 673"/>
                <a:gd name="T40" fmla="*/ 748 w 749"/>
                <a:gd name="T41" fmla="*/ 61 h 673"/>
                <a:gd name="T42" fmla="*/ 748 w 749"/>
                <a:gd name="T43" fmla="*/ 61 h 673"/>
                <a:gd name="T44" fmla="*/ 710 w 749"/>
                <a:gd name="T45" fmla="*/ 168 h 673"/>
                <a:gd name="T46" fmla="*/ 695 w 749"/>
                <a:gd name="T47" fmla="*/ 328 h 673"/>
                <a:gd name="T48" fmla="*/ 634 w 749"/>
                <a:gd name="T49" fmla="*/ 351 h 673"/>
                <a:gd name="T50" fmla="*/ 657 w 749"/>
                <a:gd name="T51" fmla="*/ 420 h 673"/>
                <a:gd name="T52" fmla="*/ 657 w 749"/>
                <a:gd name="T53" fmla="*/ 420 h 673"/>
                <a:gd name="T54" fmla="*/ 572 w 749"/>
                <a:gd name="T55" fmla="*/ 488 h 673"/>
                <a:gd name="T56" fmla="*/ 542 w 749"/>
                <a:gd name="T57" fmla="*/ 611 h 673"/>
                <a:gd name="T58" fmla="*/ 450 w 749"/>
                <a:gd name="T59" fmla="*/ 626 h 673"/>
                <a:gd name="T60" fmla="*/ 366 w 749"/>
                <a:gd name="T61" fmla="*/ 672 h 673"/>
                <a:gd name="T62" fmla="*/ 366 w 749"/>
                <a:gd name="T63" fmla="*/ 672 h 673"/>
                <a:gd name="T64" fmla="*/ 328 w 749"/>
                <a:gd name="T65" fmla="*/ 618 h 673"/>
                <a:gd name="T66" fmla="*/ 275 w 749"/>
                <a:gd name="T67" fmla="*/ 603 h 673"/>
                <a:gd name="T68" fmla="*/ 145 w 749"/>
                <a:gd name="T69" fmla="*/ 557 h 673"/>
                <a:gd name="T70" fmla="*/ 153 w 749"/>
                <a:gd name="T71" fmla="*/ 466 h 673"/>
                <a:gd name="T72" fmla="*/ 84 w 749"/>
                <a:gd name="T73" fmla="*/ 488 h 673"/>
                <a:gd name="T74" fmla="*/ 61 w 749"/>
                <a:gd name="T75" fmla="*/ 435 h 673"/>
                <a:gd name="T76" fmla="*/ 61 w 749"/>
                <a:gd name="T77" fmla="*/ 389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49" h="673">
                  <a:moveTo>
                    <a:pt x="61" y="389"/>
                  </a:moveTo>
                  <a:lnTo>
                    <a:pt x="61" y="389"/>
                  </a:lnTo>
                  <a:cubicBezTo>
                    <a:pt x="76" y="374"/>
                    <a:pt x="107" y="366"/>
                    <a:pt x="107" y="343"/>
                  </a:cubicBezTo>
                  <a:cubicBezTo>
                    <a:pt x="114" y="328"/>
                    <a:pt x="99" y="305"/>
                    <a:pt x="84" y="290"/>
                  </a:cubicBezTo>
                  <a:cubicBezTo>
                    <a:pt x="68" y="275"/>
                    <a:pt x="38" y="275"/>
                    <a:pt x="30" y="259"/>
                  </a:cubicBezTo>
                  <a:cubicBezTo>
                    <a:pt x="15" y="244"/>
                    <a:pt x="15" y="221"/>
                    <a:pt x="0" y="206"/>
                  </a:cubicBezTo>
                  <a:lnTo>
                    <a:pt x="0" y="206"/>
                  </a:lnTo>
                  <a:cubicBezTo>
                    <a:pt x="30" y="213"/>
                    <a:pt x="53" y="229"/>
                    <a:pt x="84" y="229"/>
                  </a:cubicBezTo>
                  <a:cubicBezTo>
                    <a:pt x="107" y="221"/>
                    <a:pt x="122" y="198"/>
                    <a:pt x="137" y="175"/>
                  </a:cubicBezTo>
                  <a:cubicBezTo>
                    <a:pt x="145" y="168"/>
                    <a:pt x="137" y="152"/>
                    <a:pt x="145" y="137"/>
                  </a:cubicBezTo>
                  <a:cubicBezTo>
                    <a:pt x="160" y="122"/>
                    <a:pt x="175" y="114"/>
                    <a:pt x="191" y="107"/>
                  </a:cubicBezTo>
                  <a:lnTo>
                    <a:pt x="191" y="107"/>
                  </a:lnTo>
                  <a:cubicBezTo>
                    <a:pt x="198" y="91"/>
                    <a:pt x="214" y="68"/>
                    <a:pt x="229" y="53"/>
                  </a:cubicBezTo>
                  <a:cubicBezTo>
                    <a:pt x="244" y="53"/>
                    <a:pt x="252" y="68"/>
                    <a:pt x="267" y="68"/>
                  </a:cubicBezTo>
                  <a:cubicBezTo>
                    <a:pt x="282" y="68"/>
                    <a:pt x="297" y="53"/>
                    <a:pt x="313" y="53"/>
                  </a:cubicBezTo>
                  <a:cubicBezTo>
                    <a:pt x="328" y="53"/>
                    <a:pt x="336" y="68"/>
                    <a:pt x="351" y="68"/>
                  </a:cubicBezTo>
                  <a:cubicBezTo>
                    <a:pt x="366" y="68"/>
                    <a:pt x="382" y="53"/>
                    <a:pt x="397" y="46"/>
                  </a:cubicBezTo>
                  <a:cubicBezTo>
                    <a:pt x="420" y="30"/>
                    <a:pt x="443" y="23"/>
                    <a:pt x="473" y="15"/>
                  </a:cubicBezTo>
                  <a:lnTo>
                    <a:pt x="473" y="15"/>
                  </a:lnTo>
                  <a:cubicBezTo>
                    <a:pt x="527" y="15"/>
                    <a:pt x="580" y="0"/>
                    <a:pt x="634" y="7"/>
                  </a:cubicBezTo>
                  <a:cubicBezTo>
                    <a:pt x="680" y="15"/>
                    <a:pt x="710" y="46"/>
                    <a:pt x="748" y="61"/>
                  </a:cubicBezTo>
                  <a:lnTo>
                    <a:pt x="748" y="61"/>
                  </a:lnTo>
                  <a:cubicBezTo>
                    <a:pt x="741" y="99"/>
                    <a:pt x="718" y="152"/>
                    <a:pt x="710" y="168"/>
                  </a:cubicBezTo>
                  <a:cubicBezTo>
                    <a:pt x="702" y="191"/>
                    <a:pt x="695" y="321"/>
                    <a:pt x="695" y="328"/>
                  </a:cubicBezTo>
                  <a:cubicBezTo>
                    <a:pt x="695" y="336"/>
                    <a:pt x="634" y="343"/>
                    <a:pt x="634" y="351"/>
                  </a:cubicBezTo>
                  <a:cubicBezTo>
                    <a:pt x="641" y="366"/>
                    <a:pt x="649" y="397"/>
                    <a:pt x="657" y="420"/>
                  </a:cubicBezTo>
                  <a:lnTo>
                    <a:pt x="657" y="420"/>
                  </a:lnTo>
                  <a:cubicBezTo>
                    <a:pt x="626" y="443"/>
                    <a:pt x="588" y="458"/>
                    <a:pt x="572" y="488"/>
                  </a:cubicBezTo>
                  <a:cubicBezTo>
                    <a:pt x="550" y="527"/>
                    <a:pt x="572" y="580"/>
                    <a:pt x="542" y="611"/>
                  </a:cubicBezTo>
                  <a:cubicBezTo>
                    <a:pt x="519" y="634"/>
                    <a:pt x="481" y="618"/>
                    <a:pt x="450" y="626"/>
                  </a:cubicBezTo>
                  <a:cubicBezTo>
                    <a:pt x="420" y="641"/>
                    <a:pt x="397" y="657"/>
                    <a:pt x="366" y="672"/>
                  </a:cubicBezTo>
                  <a:lnTo>
                    <a:pt x="366" y="672"/>
                  </a:lnTo>
                  <a:cubicBezTo>
                    <a:pt x="351" y="657"/>
                    <a:pt x="343" y="634"/>
                    <a:pt x="328" y="618"/>
                  </a:cubicBezTo>
                  <a:cubicBezTo>
                    <a:pt x="313" y="611"/>
                    <a:pt x="290" y="611"/>
                    <a:pt x="275" y="603"/>
                  </a:cubicBezTo>
                  <a:cubicBezTo>
                    <a:pt x="229" y="588"/>
                    <a:pt x="175" y="588"/>
                    <a:pt x="145" y="557"/>
                  </a:cubicBezTo>
                  <a:cubicBezTo>
                    <a:pt x="122" y="534"/>
                    <a:pt x="168" y="488"/>
                    <a:pt x="153" y="466"/>
                  </a:cubicBezTo>
                  <a:cubicBezTo>
                    <a:pt x="137" y="443"/>
                    <a:pt x="107" y="496"/>
                    <a:pt x="84" y="488"/>
                  </a:cubicBezTo>
                  <a:cubicBezTo>
                    <a:pt x="61" y="481"/>
                    <a:pt x="61" y="450"/>
                    <a:pt x="61" y="435"/>
                  </a:cubicBezTo>
                  <a:cubicBezTo>
                    <a:pt x="53" y="420"/>
                    <a:pt x="61" y="405"/>
                    <a:pt x="61" y="389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14" name="Freeform 49"/>
            <p:cNvSpPr>
              <a:spLocks noChangeArrowheads="1"/>
            </p:cNvSpPr>
            <p:nvPr/>
          </p:nvSpPr>
          <p:spPr bwMode="auto">
            <a:xfrm>
              <a:off x="6733737" y="7021513"/>
              <a:ext cx="150803" cy="119062"/>
            </a:xfrm>
            <a:custGeom>
              <a:avLst/>
              <a:gdLst>
                <a:gd name="T0" fmla="*/ 0 w 421"/>
                <a:gd name="T1" fmla="*/ 236 h 329"/>
                <a:gd name="T2" fmla="*/ 0 w 421"/>
                <a:gd name="T3" fmla="*/ 236 h 329"/>
                <a:gd name="T4" fmla="*/ 30 w 421"/>
                <a:gd name="T5" fmla="*/ 275 h 329"/>
                <a:gd name="T6" fmla="*/ 15 w 421"/>
                <a:gd name="T7" fmla="*/ 305 h 329"/>
                <a:gd name="T8" fmla="*/ 8 w 421"/>
                <a:gd name="T9" fmla="*/ 320 h 329"/>
                <a:gd name="T10" fmla="*/ 8 w 421"/>
                <a:gd name="T11" fmla="*/ 320 h 329"/>
                <a:gd name="T12" fmla="*/ 91 w 421"/>
                <a:gd name="T13" fmla="*/ 320 h 329"/>
                <a:gd name="T14" fmla="*/ 122 w 421"/>
                <a:gd name="T15" fmla="*/ 267 h 329"/>
                <a:gd name="T16" fmla="*/ 175 w 421"/>
                <a:gd name="T17" fmla="*/ 259 h 329"/>
                <a:gd name="T18" fmla="*/ 198 w 421"/>
                <a:gd name="T19" fmla="*/ 229 h 329"/>
                <a:gd name="T20" fmla="*/ 298 w 421"/>
                <a:gd name="T21" fmla="*/ 252 h 329"/>
                <a:gd name="T22" fmla="*/ 336 w 421"/>
                <a:gd name="T23" fmla="*/ 290 h 329"/>
                <a:gd name="T24" fmla="*/ 336 w 421"/>
                <a:gd name="T25" fmla="*/ 290 h 329"/>
                <a:gd name="T26" fmla="*/ 397 w 421"/>
                <a:gd name="T27" fmla="*/ 290 h 329"/>
                <a:gd name="T28" fmla="*/ 397 w 421"/>
                <a:gd name="T29" fmla="*/ 252 h 329"/>
                <a:gd name="T30" fmla="*/ 420 w 421"/>
                <a:gd name="T31" fmla="*/ 214 h 329"/>
                <a:gd name="T32" fmla="*/ 420 w 421"/>
                <a:gd name="T33" fmla="*/ 214 h 329"/>
                <a:gd name="T34" fmla="*/ 382 w 421"/>
                <a:gd name="T35" fmla="*/ 145 h 329"/>
                <a:gd name="T36" fmla="*/ 313 w 421"/>
                <a:gd name="T37" fmla="*/ 84 h 329"/>
                <a:gd name="T38" fmla="*/ 267 w 421"/>
                <a:gd name="T39" fmla="*/ 0 h 329"/>
                <a:gd name="T40" fmla="*/ 267 w 421"/>
                <a:gd name="T41" fmla="*/ 0 h 329"/>
                <a:gd name="T42" fmla="*/ 229 w 421"/>
                <a:gd name="T43" fmla="*/ 38 h 329"/>
                <a:gd name="T44" fmla="*/ 206 w 421"/>
                <a:gd name="T45" fmla="*/ 68 h 329"/>
                <a:gd name="T46" fmla="*/ 114 w 421"/>
                <a:gd name="T47" fmla="*/ 53 h 329"/>
                <a:gd name="T48" fmla="*/ 46 w 421"/>
                <a:gd name="T49" fmla="*/ 106 h 329"/>
                <a:gd name="T50" fmla="*/ 38 w 421"/>
                <a:gd name="T51" fmla="*/ 145 h 329"/>
                <a:gd name="T52" fmla="*/ 0 w 421"/>
                <a:gd name="T53" fmla="*/ 236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1" h="329">
                  <a:moveTo>
                    <a:pt x="0" y="236"/>
                  </a:moveTo>
                  <a:lnTo>
                    <a:pt x="0" y="236"/>
                  </a:lnTo>
                  <a:cubicBezTo>
                    <a:pt x="15" y="252"/>
                    <a:pt x="30" y="259"/>
                    <a:pt x="30" y="275"/>
                  </a:cubicBezTo>
                  <a:cubicBezTo>
                    <a:pt x="30" y="290"/>
                    <a:pt x="15" y="290"/>
                    <a:pt x="15" y="305"/>
                  </a:cubicBezTo>
                  <a:cubicBezTo>
                    <a:pt x="15" y="313"/>
                    <a:pt x="8" y="313"/>
                    <a:pt x="8" y="320"/>
                  </a:cubicBezTo>
                  <a:lnTo>
                    <a:pt x="8" y="320"/>
                  </a:lnTo>
                  <a:cubicBezTo>
                    <a:pt x="38" y="320"/>
                    <a:pt x="69" y="328"/>
                    <a:pt x="91" y="320"/>
                  </a:cubicBezTo>
                  <a:cubicBezTo>
                    <a:pt x="107" y="313"/>
                    <a:pt x="107" y="282"/>
                    <a:pt x="122" y="267"/>
                  </a:cubicBezTo>
                  <a:cubicBezTo>
                    <a:pt x="137" y="259"/>
                    <a:pt x="160" y="267"/>
                    <a:pt x="175" y="259"/>
                  </a:cubicBezTo>
                  <a:cubicBezTo>
                    <a:pt x="191" y="259"/>
                    <a:pt x="183" y="236"/>
                    <a:pt x="198" y="229"/>
                  </a:cubicBezTo>
                  <a:cubicBezTo>
                    <a:pt x="229" y="229"/>
                    <a:pt x="267" y="236"/>
                    <a:pt x="298" y="252"/>
                  </a:cubicBezTo>
                  <a:cubicBezTo>
                    <a:pt x="313" y="259"/>
                    <a:pt x="321" y="282"/>
                    <a:pt x="336" y="290"/>
                  </a:cubicBezTo>
                  <a:lnTo>
                    <a:pt x="336" y="290"/>
                  </a:lnTo>
                  <a:cubicBezTo>
                    <a:pt x="359" y="290"/>
                    <a:pt x="382" y="305"/>
                    <a:pt x="397" y="290"/>
                  </a:cubicBezTo>
                  <a:cubicBezTo>
                    <a:pt x="412" y="282"/>
                    <a:pt x="397" y="259"/>
                    <a:pt x="397" y="252"/>
                  </a:cubicBezTo>
                  <a:cubicBezTo>
                    <a:pt x="405" y="236"/>
                    <a:pt x="412" y="221"/>
                    <a:pt x="420" y="214"/>
                  </a:cubicBezTo>
                  <a:lnTo>
                    <a:pt x="420" y="214"/>
                  </a:lnTo>
                  <a:cubicBezTo>
                    <a:pt x="405" y="191"/>
                    <a:pt x="397" y="168"/>
                    <a:pt x="382" y="145"/>
                  </a:cubicBezTo>
                  <a:cubicBezTo>
                    <a:pt x="359" y="122"/>
                    <a:pt x="328" y="106"/>
                    <a:pt x="313" y="84"/>
                  </a:cubicBezTo>
                  <a:cubicBezTo>
                    <a:pt x="290" y="53"/>
                    <a:pt x="283" y="23"/>
                    <a:pt x="267" y="0"/>
                  </a:cubicBezTo>
                  <a:lnTo>
                    <a:pt x="267" y="0"/>
                  </a:lnTo>
                  <a:cubicBezTo>
                    <a:pt x="252" y="7"/>
                    <a:pt x="237" y="23"/>
                    <a:pt x="229" y="38"/>
                  </a:cubicBezTo>
                  <a:cubicBezTo>
                    <a:pt x="221" y="45"/>
                    <a:pt x="221" y="68"/>
                    <a:pt x="206" y="68"/>
                  </a:cubicBezTo>
                  <a:cubicBezTo>
                    <a:pt x="175" y="68"/>
                    <a:pt x="145" y="45"/>
                    <a:pt x="114" y="53"/>
                  </a:cubicBezTo>
                  <a:cubicBezTo>
                    <a:pt x="84" y="61"/>
                    <a:pt x="61" y="84"/>
                    <a:pt x="46" y="106"/>
                  </a:cubicBezTo>
                  <a:cubicBezTo>
                    <a:pt x="38" y="114"/>
                    <a:pt x="46" y="129"/>
                    <a:pt x="38" y="145"/>
                  </a:cubicBezTo>
                  <a:cubicBezTo>
                    <a:pt x="30" y="175"/>
                    <a:pt x="15" y="206"/>
                    <a:pt x="0" y="23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15" name="Freeform 50"/>
            <p:cNvSpPr>
              <a:spLocks noChangeArrowheads="1"/>
            </p:cNvSpPr>
            <p:nvPr/>
          </p:nvSpPr>
          <p:spPr bwMode="auto">
            <a:xfrm>
              <a:off x="6622619" y="6973888"/>
              <a:ext cx="80958" cy="146050"/>
            </a:xfrm>
            <a:custGeom>
              <a:avLst/>
              <a:gdLst>
                <a:gd name="T0" fmla="*/ 199 w 223"/>
                <a:gd name="T1" fmla="*/ 397 h 406"/>
                <a:gd name="T2" fmla="*/ 199 w 223"/>
                <a:gd name="T3" fmla="*/ 397 h 406"/>
                <a:gd name="T4" fmla="*/ 176 w 223"/>
                <a:gd name="T5" fmla="*/ 351 h 406"/>
                <a:gd name="T6" fmla="*/ 222 w 223"/>
                <a:gd name="T7" fmla="*/ 336 h 406"/>
                <a:gd name="T8" fmla="*/ 222 w 223"/>
                <a:gd name="T9" fmla="*/ 336 h 406"/>
                <a:gd name="T10" fmla="*/ 199 w 223"/>
                <a:gd name="T11" fmla="*/ 229 h 406"/>
                <a:gd name="T12" fmla="*/ 207 w 223"/>
                <a:gd name="T13" fmla="*/ 183 h 406"/>
                <a:gd name="T14" fmla="*/ 176 w 223"/>
                <a:gd name="T15" fmla="*/ 137 h 406"/>
                <a:gd name="T16" fmla="*/ 176 w 223"/>
                <a:gd name="T17" fmla="*/ 137 h 406"/>
                <a:gd name="T18" fmla="*/ 145 w 223"/>
                <a:gd name="T19" fmla="*/ 114 h 406"/>
                <a:gd name="T20" fmla="*/ 122 w 223"/>
                <a:gd name="T21" fmla="*/ 15 h 406"/>
                <a:gd name="T22" fmla="*/ 92 w 223"/>
                <a:gd name="T23" fmla="*/ 30 h 406"/>
                <a:gd name="T24" fmla="*/ 23 w 223"/>
                <a:gd name="T25" fmla="*/ 0 h 406"/>
                <a:gd name="T26" fmla="*/ 23 w 223"/>
                <a:gd name="T27" fmla="*/ 0 h 406"/>
                <a:gd name="T28" fmla="*/ 0 w 223"/>
                <a:gd name="T29" fmla="*/ 91 h 406"/>
                <a:gd name="T30" fmla="*/ 0 w 223"/>
                <a:gd name="T31" fmla="*/ 91 h 406"/>
                <a:gd name="T32" fmla="*/ 16 w 223"/>
                <a:gd name="T33" fmla="*/ 153 h 406"/>
                <a:gd name="T34" fmla="*/ 0 w 223"/>
                <a:gd name="T35" fmla="*/ 206 h 406"/>
                <a:gd name="T36" fmla="*/ 23 w 223"/>
                <a:gd name="T37" fmla="*/ 252 h 406"/>
                <a:gd name="T38" fmla="*/ 23 w 223"/>
                <a:gd name="T39" fmla="*/ 298 h 406"/>
                <a:gd name="T40" fmla="*/ 61 w 223"/>
                <a:gd name="T41" fmla="*/ 351 h 406"/>
                <a:gd name="T42" fmla="*/ 61 w 223"/>
                <a:gd name="T43" fmla="*/ 351 h 406"/>
                <a:gd name="T44" fmla="*/ 115 w 223"/>
                <a:gd name="T45" fmla="*/ 382 h 406"/>
                <a:gd name="T46" fmla="*/ 130 w 223"/>
                <a:gd name="T47" fmla="*/ 397 h 406"/>
                <a:gd name="T48" fmla="*/ 199 w 223"/>
                <a:gd name="T49" fmla="*/ 397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3" h="406">
                  <a:moveTo>
                    <a:pt x="199" y="397"/>
                  </a:moveTo>
                  <a:lnTo>
                    <a:pt x="199" y="397"/>
                  </a:lnTo>
                  <a:cubicBezTo>
                    <a:pt x="191" y="382"/>
                    <a:pt x="168" y="366"/>
                    <a:pt x="176" y="351"/>
                  </a:cubicBezTo>
                  <a:cubicBezTo>
                    <a:pt x="176" y="336"/>
                    <a:pt x="207" y="336"/>
                    <a:pt x="222" y="336"/>
                  </a:cubicBezTo>
                  <a:lnTo>
                    <a:pt x="222" y="336"/>
                  </a:lnTo>
                  <a:cubicBezTo>
                    <a:pt x="214" y="298"/>
                    <a:pt x="199" y="259"/>
                    <a:pt x="199" y="229"/>
                  </a:cubicBezTo>
                  <a:cubicBezTo>
                    <a:pt x="191" y="214"/>
                    <a:pt x="207" y="198"/>
                    <a:pt x="207" y="183"/>
                  </a:cubicBezTo>
                  <a:cubicBezTo>
                    <a:pt x="199" y="168"/>
                    <a:pt x="191" y="153"/>
                    <a:pt x="176" y="137"/>
                  </a:cubicBezTo>
                  <a:lnTo>
                    <a:pt x="176" y="137"/>
                  </a:lnTo>
                  <a:cubicBezTo>
                    <a:pt x="168" y="130"/>
                    <a:pt x="153" y="130"/>
                    <a:pt x="145" y="114"/>
                  </a:cubicBezTo>
                  <a:cubicBezTo>
                    <a:pt x="130" y="84"/>
                    <a:pt x="138" y="38"/>
                    <a:pt x="122" y="15"/>
                  </a:cubicBezTo>
                  <a:cubicBezTo>
                    <a:pt x="115" y="0"/>
                    <a:pt x="107" y="38"/>
                    <a:pt x="92" y="30"/>
                  </a:cubicBezTo>
                  <a:cubicBezTo>
                    <a:pt x="69" y="30"/>
                    <a:pt x="46" y="15"/>
                    <a:pt x="23" y="0"/>
                  </a:cubicBezTo>
                  <a:lnTo>
                    <a:pt x="23" y="0"/>
                  </a:lnTo>
                  <a:cubicBezTo>
                    <a:pt x="0" y="91"/>
                    <a:pt x="0" y="91"/>
                    <a:pt x="0" y="91"/>
                  </a:cubicBezTo>
                  <a:lnTo>
                    <a:pt x="0" y="91"/>
                  </a:lnTo>
                  <a:cubicBezTo>
                    <a:pt x="8" y="114"/>
                    <a:pt x="16" y="130"/>
                    <a:pt x="16" y="153"/>
                  </a:cubicBezTo>
                  <a:cubicBezTo>
                    <a:pt x="16" y="168"/>
                    <a:pt x="0" y="183"/>
                    <a:pt x="0" y="206"/>
                  </a:cubicBezTo>
                  <a:cubicBezTo>
                    <a:pt x="0" y="221"/>
                    <a:pt x="16" y="236"/>
                    <a:pt x="23" y="252"/>
                  </a:cubicBezTo>
                  <a:cubicBezTo>
                    <a:pt x="23" y="267"/>
                    <a:pt x="16" y="282"/>
                    <a:pt x="23" y="298"/>
                  </a:cubicBezTo>
                  <a:cubicBezTo>
                    <a:pt x="31" y="321"/>
                    <a:pt x="46" y="328"/>
                    <a:pt x="61" y="351"/>
                  </a:cubicBezTo>
                  <a:lnTo>
                    <a:pt x="61" y="351"/>
                  </a:lnTo>
                  <a:cubicBezTo>
                    <a:pt x="77" y="359"/>
                    <a:pt x="92" y="374"/>
                    <a:pt x="115" y="382"/>
                  </a:cubicBezTo>
                  <a:cubicBezTo>
                    <a:pt x="115" y="389"/>
                    <a:pt x="122" y="397"/>
                    <a:pt x="130" y="397"/>
                  </a:cubicBezTo>
                  <a:cubicBezTo>
                    <a:pt x="153" y="405"/>
                    <a:pt x="176" y="397"/>
                    <a:pt x="199" y="39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16" name="Freeform 51"/>
            <p:cNvSpPr>
              <a:spLocks noChangeArrowheads="1"/>
            </p:cNvSpPr>
            <p:nvPr/>
          </p:nvSpPr>
          <p:spPr bwMode="auto">
            <a:xfrm>
              <a:off x="6489278" y="6996114"/>
              <a:ext cx="157153" cy="115887"/>
            </a:xfrm>
            <a:custGeom>
              <a:avLst/>
              <a:gdLst>
                <a:gd name="T0" fmla="*/ 260 w 436"/>
                <a:gd name="T1" fmla="*/ 298 h 322"/>
                <a:gd name="T2" fmla="*/ 260 w 436"/>
                <a:gd name="T3" fmla="*/ 298 h 322"/>
                <a:gd name="T4" fmla="*/ 290 w 436"/>
                <a:gd name="T5" fmla="*/ 267 h 322"/>
                <a:gd name="T6" fmla="*/ 351 w 436"/>
                <a:gd name="T7" fmla="*/ 283 h 322"/>
                <a:gd name="T8" fmla="*/ 405 w 436"/>
                <a:gd name="T9" fmla="*/ 313 h 322"/>
                <a:gd name="T10" fmla="*/ 435 w 436"/>
                <a:gd name="T11" fmla="*/ 290 h 322"/>
                <a:gd name="T12" fmla="*/ 435 w 436"/>
                <a:gd name="T13" fmla="*/ 290 h 322"/>
                <a:gd name="T14" fmla="*/ 397 w 436"/>
                <a:gd name="T15" fmla="*/ 237 h 322"/>
                <a:gd name="T16" fmla="*/ 397 w 436"/>
                <a:gd name="T17" fmla="*/ 191 h 322"/>
                <a:gd name="T18" fmla="*/ 374 w 436"/>
                <a:gd name="T19" fmla="*/ 145 h 322"/>
                <a:gd name="T20" fmla="*/ 390 w 436"/>
                <a:gd name="T21" fmla="*/ 92 h 322"/>
                <a:gd name="T22" fmla="*/ 374 w 436"/>
                <a:gd name="T23" fmla="*/ 30 h 322"/>
                <a:gd name="T24" fmla="*/ 374 w 436"/>
                <a:gd name="T25" fmla="*/ 30 h 322"/>
                <a:gd name="T26" fmla="*/ 321 w 436"/>
                <a:gd name="T27" fmla="*/ 53 h 322"/>
                <a:gd name="T28" fmla="*/ 283 w 436"/>
                <a:gd name="T29" fmla="*/ 0 h 322"/>
                <a:gd name="T30" fmla="*/ 260 w 436"/>
                <a:gd name="T31" fmla="*/ 46 h 322"/>
                <a:gd name="T32" fmla="*/ 229 w 436"/>
                <a:gd name="T33" fmla="*/ 69 h 322"/>
                <a:gd name="T34" fmla="*/ 168 w 436"/>
                <a:gd name="T35" fmla="*/ 46 h 322"/>
                <a:gd name="T36" fmla="*/ 168 w 436"/>
                <a:gd name="T37" fmla="*/ 46 h 322"/>
                <a:gd name="T38" fmla="*/ 92 w 436"/>
                <a:gd name="T39" fmla="*/ 122 h 322"/>
                <a:gd name="T40" fmla="*/ 46 w 436"/>
                <a:gd name="T41" fmla="*/ 84 h 322"/>
                <a:gd name="T42" fmla="*/ 0 w 436"/>
                <a:gd name="T43" fmla="*/ 137 h 322"/>
                <a:gd name="T44" fmla="*/ 0 w 436"/>
                <a:gd name="T45" fmla="*/ 137 h 322"/>
                <a:gd name="T46" fmla="*/ 77 w 436"/>
                <a:gd name="T47" fmla="*/ 175 h 322"/>
                <a:gd name="T48" fmla="*/ 92 w 436"/>
                <a:gd name="T49" fmla="*/ 260 h 322"/>
                <a:gd name="T50" fmla="*/ 130 w 436"/>
                <a:gd name="T51" fmla="*/ 313 h 322"/>
                <a:gd name="T52" fmla="*/ 199 w 436"/>
                <a:gd name="T53" fmla="*/ 283 h 322"/>
                <a:gd name="T54" fmla="*/ 260 w 436"/>
                <a:gd name="T55" fmla="*/ 298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36" h="322">
                  <a:moveTo>
                    <a:pt x="260" y="298"/>
                  </a:moveTo>
                  <a:lnTo>
                    <a:pt x="260" y="298"/>
                  </a:lnTo>
                  <a:cubicBezTo>
                    <a:pt x="275" y="290"/>
                    <a:pt x="275" y="275"/>
                    <a:pt x="290" y="267"/>
                  </a:cubicBezTo>
                  <a:cubicBezTo>
                    <a:pt x="313" y="267"/>
                    <a:pt x="336" y="275"/>
                    <a:pt x="351" y="283"/>
                  </a:cubicBezTo>
                  <a:cubicBezTo>
                    <a:pt x="374" y="290"/>
                    <a:pt x="382" y="313"/>
                    <a:pt x="405" y="313"/>
                  </a:cubicBezTo>
                  <a:cubicBezTo>
                    <a:pt x="413" y="313"/>
                    <a:pt x="420" y="298"/>
                    <a:pt x="435" y="290"/>
                  </a:cubicBezTo>
                  <a:lnTo>
                    <a:pt x="435" y="290"/>
                  </a:lnTo>
                  <a:cubicBezTo>
                    <a:pt x="420" y="267"/>
                    <a:pt x="405" y="260"/>
                    <a:pt x="397" y="237"/>
                  </a:cubicBezTo>
                  <a:cubicBezTo>
                    <a:pt x="390" y="221"/>
                    <a:pt x="397" y="206"/>
                    <a:pt x="397" y="191"/>
                  </a:cubicBezTo>
                  <a:cubicBezTo>
                    <a:pt x="390" y="175"/>
                    <a:pt x="374" y="160"/>
                    <a:pt x="374" y="145"/>
                  </a:cubicBezTo>
                  <a:cubicBezTo>
                    <a:pt x="374" y="122"/>
                    <a:pt x="390" y="107"/>
                    <a:pt x="390" y="92"/>
                  </a:cubicBezTo>
                  <a:cubicBezTo>
                    <a:pt x="390" y="69"/>
                    <a:pt x="382" y="53"/>
                    <a:pt x="374" y="30"/>
                  </a:cubicBezTo>
                  <a:lnTo>
                    <a:pt x="374" y="30"/>
                  </a:lnTo>
                  <a:cubicBezTo>
                    <a:pt x="359" y="38"/>
                    <a:pt x="336" y="61"/>
                    <a:pt x="321" y="53"/>
                  </a:cubicBezTo>
                  <a:cubicBezTo>
                    <a:pt x="298" y="46"/>
                    <a:pt x="306" y="0"/>
                    <a:pt x="283" y="0"/>
                  </a:cubicBezTo>
                  <a:cubicBezTo>
                    <a:pt x="260" y="0"/>
                    <a:pt x="275" y="38"/>
                    <a:pt x="260" y="46"/>
                  </a:cubicBezTo>
                  <a:cubicBezTo>
                    <a:pt x="252" y="61"/>
                    <a:pt x="244" y="69"/>
                    <a:pt x="229" y="69"/>
                  </a:cubicBezTo>
                  <a:cubicBezTo>
                    <a:pt x="214" y="69"/>
                    <a:pt x="191" y="53"/>
                    <a:pt x="168" y="46"/>
                  </a:cubicBezTo>
                  <a:lnTo>
                    <a:pt x="168" y="46"/>
                  </a:lnTo>
                  <a:cubicBezTo>
                    <a:pt x="145" y="69"/>
                    <a:pt x="130" y="107"/>
                    <a:pt x="92" y="122"/>
                  </a:cubicBezTo>
                  <a:cubicBezTo>
                    <a:pt x="77" y="122"/>
                    <a:pt x="69" y="76"/>
                    <a:pt x="46" y="84"/>
                  </a:cubicBezTo>
                  <a:cubicBezTo>
                    <a:pt x="23" y="84"/>
                    <a:pt x="15" y="114"/>
                    <a:pt x="0" y="137"/>
                  </a:cubicBezTo>
                  <a:lnTo>
                    <a:pt x="0" y="137"/>
                  </a:lnTo>
                  <a:cubicBezTo>
                    <a:pt x="23" y="145"/>
                    <a:pt x="61" y="153"/>
                    <a:pt x="77" y="175"/>
                  </a:cubicBezTo>
                  <a:cubicBezTo>
                    <a:pt x="92" y="198"/>
                    <a:pt x="77" y="229"/>
                    <a:pt x="92" y="260"/>
                  </a:cubicBezTo>
                  <a:cubicBezTo>
                    <a:pt x="99" y="283"/>
                    <a:pt x="107" y="313"/>
                    <a:pt x="130" y="313"/>
                  </a:cubicBezTo>
                  <a:cubicBezTo>
                    <a:pt x="153" y="321"/>
                    <a:pt x="176" y="283"/>
                    <a:pt x="199" y="283"/>
                  </a:cubicBezTo>
                  <a:cubicBezTo>
                    <a:pt x="221" y="275"/>
                    <a:pt x="244" y="298"/>
                    <a:pt x="260" y="29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17" name="Freeform 52"/>
            <p:cNvSpPr>
              <a:spLocks noChangeArrowheads="1"/>
            </p:cNvSpPr>
            <p:nvPr/>
          </p:nvSpPr>
          <p:spPr bwMode="auto">
            <a:xfrm>
              <a:off x="6524200" y="6869113"/>
              <a:ext cx="107943" cy="152400"/>
            </a:xfrm>
            <a:custGeom>
              <a:avLst/>
              <a:gdLst>
                <a:gd name="T0" fmla="*/ 69 w 299"/>
                <a:gd name="T1" fmla="*/ 398 h 422"/>
                <a:gd name="T2" fmla="*/ 69 w 299"/>
                <a:gd name="T3" fmla="*/ 398 h 422"/>
                <a:gd name="T4" fmla="*/ 130 w 299"/>
                <a:gd name="T5" fmla="*/ 421 h 422"/>
                <a:gd name="T6" fmla="*/ 161 w 299"/>
                <a:gd name="T7" fmla="*/ 398 h 422"/>
                <a:gd name="T8" fmla="*/ 184 w 299"/>
                <a:gd name="T9" fmla="*/ 352 h 422"/>
                <a:gd name="T10" fmla="*/ 222 w 299"/>
                <a:gd name="T11" fmla="*/ 405 h 422"/>
                <a:gd name="T12" fmla="*/ 275 w 299"/>
                <a:gd name="T13" fmla="*/ 382 h 422"/>
                <a:gd name="T14" fmla="*/ 275 w 299"/>
                <a:gd name="T15" fmla="*/ 382 h 422"/>
                <a:gd name="T16" fmla="*/ 298 w 299"/>
                <a:gd name="T17" fmla="*/ 291 h 422"/>
                <a:gd name="T18" fmla="*/ 298 w 299"/>
                <a:gd name="T19" fmla="*/ 291 h 422"/>
                <a:gd name="T20" fmla="*/ 283 w 299"/>
                <a:gd name="T21" fmla="*/ 245 h 422"/>
                <a:gd name="T22" fmla="*/ 245 w 299"/>
                <a:gd name="T23" fmla="*/ 230 h 422"/>
                <a:gd name="T24" fmla="*/ 191 w 299"/>
                <a:gd name="T25" fmla="*/ 123 h 422"/>
                <a:gd name="T26" fmla="*/ 176 w 299"/>
                <a:gd name="T27" fmla="*/ 31 h 422"/>
                <a:gd name="T28" fmla="*/ 130 w 299"/>
                <a:gd name="T29" fmla="*/ 0 h 422"/>
                <a:gd name="T30" fmla="*/ 84 w 299"/>
                <a:gd name="T31" fmla="*/ 31 h 422"/>
                <a:gd name="T32" fmla="*/ 23 w 299"/>
                <a:gd name="T33" fmla="*/ 39 h 422"/>
                <a:gd name="T34" fmla="*/ 8 w 299"/>
                <a:gd name="T35" fmla="*/ 77 h 422"/>
                <a:gd name="T36" fmla="*/ 8 w 299"/>
                <a:gd name="T37" fmla="*/ 146 h 422"/>
                <a:gd name="T38" fmla="*/ 77 w 299"/>
                <a:gd name="T39" fmla="*/ 214 h 422"/>
                <a:gd name="T40" fmla="*/ 46 w 299"/>
                <a:gd name="T41" fmla="*/ 291 h 422"/>
                <a:gd name="T42" fmla="*/ 69 w 299"/>
                <a:gd name="T43" fmla="*/ 398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9" h="422">
                  <a:moveTo>
                    <a:pt x="69" y="398"/>
                  </a:moveTo>
                  <a:lnTo>
                    <a:pt x="69" y="398"/>
                  </a:lnTo>
                  <a:cubicBezTo>
                    <a:pt x="92" y="405"/>
                    <a:pt x="115" y="421"/>
                    <a:pt x="130" y="421"/>
                  </a:cubicBezTo>
                  <a:cubicBezTo>
                    <a:pt x="145" y="421"/>
                    <a:pt x="153" y="413"/>
                    <a:pt x="161" y="398"/>
                  </a:cubicBezTo>
                  <a:cubicBezTo>
                    <a:pt x="176" y="390"/>
                    <a:pt x="161" y="352"/>
                    <a:pt x="184" y="352"/>
                  </a:cubicBezTo>
                  <a:cubicBezTo>
                    <a:pt x="207" y="352"/>
                    <a:pt x="199" y="398"/>
                    <a:pt x="222" y="405"/>
                  </a:cubicBezTo>
                  <a:cubicBezTo>
                    <a:pt x="237" y="413"/>
                    <a:pt x="260" y="390"/>
                    <a:pt x="275" y="382"/>
                  </a:cubicBezTo>
                  <a:lnTo>
                    <a:pt x="275" y="382"/>
                  </a:lnTo>
                  <a:cubicBezTo>
                    <a:pt x="298" y="291"/>
                    <a:pt x="298" y="291"/>
                    <a:pt x="298" y="291"/>
                  </a:cubicBezTo>
                  <a:lnTo>
                    <a:pt x="298" y="291"/>
                  </a:lnTo>
                  <a:cubicBezTo>
                    <a:pt x="291" y="275"/>
                    <a:pt x="291" y="252"/>
                    <a:pt x="283" y="245"/>
                  </a:cubicBezTo>
                  <a:cubicBezTo>
                    <a:pt x="275" y="230"/>
                    <a:pt x="260" y="230"/>
                    <a:pt x="245" y="230"/>
                  </a:cubicBezTo>
                  <a:cubicBezTo>
                    <a:pt x="245" y="230"/>
                    <a:pt x="191" y="130"/>
                    <a:pt x="191" y="123"/>
                  </a:cubicBezTo>
                  <a:lnTo>
                    <a:pt x="176" y="31"/>
                  </a:lnTo>
                  <a:cubicBezTo>
                    <a:pt x="161" y="16"/>
                    <a:pt x="145" y="0"/>
                    <a:pt x="130" y="0"/>
                  </a:cubicBezTo>
                  <a:cubicBezTo>
                    <a:pt x="107" y="0"/>
                    <a:pt x="100" y="23"/>
                    <a:pt x="84" y="31"/>
                  </a:cubicBezTo>
                  <a:cubicBezTo>
                    <a:pt x="69" y="39"/>
                    <a:pt x="39" y="23"/>
                    <a:pt x="23" y="39"/>
                  </a:cubicBezTo>
                  <a:cubicBezTo>
                    <a:pt x="8" y="46"/>
                    <a:pt x="16" y="69"/>
                    <a:pt x="8" y="77"/>
                  </a:cubicBezTo>
                  <a:cubicBezTo>
                    <a:pt x="8" y="100"/>
                    <a:pt x="0" y="130"/>
                    <a:pt x="8" y="146"/>
                  </a:cubicBezTo>
                  <a:cubicBezTo>
                    <a:pt x="23" y="176"/>
                    <a:pt x="69" y="184"/>
                    <a:pt x="77" y="214"/>
                  </a:cubicBezTo>
                  <a:cubicBezTo>
                    <a:pt x="77" y="237"/>
                    <a:pt x="46" y="260"/>
                    <a:pt x="46" y="291"/>
                  </a:cubicBezTo>
                  <a:cubicBezTo>
                    <a:pt x="46" y="329"/>
                    <a:pt x="61" y="360"/>
                    <a:pt x="69" y="39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18" name="Freeform 53"/>
            <p:cNvSpPr>
              <a:spLocks noChangeArrowheads="1"/>
            </p:cNvSpPr>
            <p:nvPr/>
          </p:nvSpPr>
          <p:spPr bwMode="auto">
            <a:xfrm>
              <a:off x="6681353" y="6958014"/>
              <a:ext cx="149215" cy="149225"/>
            </a:xfrm>
            <a:custGeom>
              <a:avLst/>
              <a:gdLst>
                <a:gd name="T0" fmla="*/ 61 w 413"/>
                <a:gd name="T1" fmla="*/ 382 h 413"/>
                <a:gd name="T2" fmla="*/ 61 w 413"/>
                <a:gd name="T3" fmla="*/ 382 h 413"/>
                <a:gd name="T4" fmla="*/ 145 w 413"/>
                <a:gd name="T5" fmla="*/ 412 h 413"/>
                <a:gd name="T6" fmla="*/ 145 w 413"/>
                <a:gd name="T7" fmla="*/ 412 h 413"/>
                <a:gd name="T8" fmla="*/ 183 w 413"/>
                <a:gd name="T9" fmla="*/ 321 h 413"/>
                <a:gd name="T10" fmla="*/ 191 w 413"/>
                <a:gd name="T11" fmla="*/ 282 h 413"/>
                <a:gd name="T12" fmla="*/ 259 w 413"/>
                <a:gd name="T13" fmla="*/ 229 h 413"/>
                <a:gd name="T14" fmla="*/ 351 w 413"/>
                <a:gd name="T15" fmla="*/ 244 h 413"/>
                <a:gd name="T16" fmla="*/ 374 w 413"/>
                <a:gd name="T17" fmla="*/ 214 h 413"/>
                <a:gd name="T18" fmla="*/ 412 w 413"/>
                <a:gd name="T19" fmla="*/ 176 h 413"/>
                <a:gd name="T20" fmla="*/ 412 w 413"/>
                <a:gd name="T21" fmla="*/ 176 h 413"/>
                <a:gd name="T22" fmla="*/ 366 w 413"/>
                <a:gd name="T23" fmla="*/ 115 h 413"/>
                <a:gd name="T24" fmla="*/ 366 w 413"/>
                <a:gd name="T25" fmla="*/ 69 h 413"/>
                <a:gd name="T26" fmla="*/ 336 w 413"/>
                <a:gd name="T27" fmla="*/ 7 h 413"/>
                <a:gd name="T28" fmla="*/ 298 w 413"/>
                <a:gd name="T29" fmla="*/ 46 h 413"/>
                <a:gd name="T30" fmla="*/ 252 w 413"/>
                <a:gd name="T31" fmla="*/ 38 h 413"/>
                <a:gd name="T32" fmla="*/ 236 w 413"/>
                <a:gd name="T33" fmla="*/ 7 h 413"/>
                <a:gd name="T34" fmla="*/ 206 w 413"/>
                <a:gd name="T35" fmla="*/ 23 h 413"/>
                <a:gd name="T36" fmla="*/ 206 w 413"/>
                <a:gd name="T37" fmla="*/ 23 h 413"/>
                <a:gd name="T38" fmla="*/ 175 w 413"/>
                <a:gd name="T39" fmla="*/ 69 h 413"/>
                <a:gd name="T40" fmla="*/ 183 w 413"/>
                <a:gd name="T41" fmla="*/ 130 h 413"/>
                <a:gd name="T42" fmla="*/ 145 w 413"/>
                <a:gd name="T43" fmla="*/ 107 h 413"/>
                <a:gd name="T44" fmla="*/ 91 w 413"/>
                <a:gd name="T45" fmla="*/ 46 h 413"/>
                <a:gd name="T46" fmla="*/ 15 w 413"/>
                <a:gd name="T47" fmla="*/ 92 h 413"/>
                <a:gd name="T48" fmla="*/ 15 w 413"/>
                <a:gd name="T49" fmla="*/ 183 h 413"/>
                <a:gd name="T50" fmla="*/ 15 w 413"/>
                <a:gd name="T51" fmla="*/ 183 h 413"/>
                <a:gd name="T52" fmla="*/ 46 w 413"/>
                <a:gd name="T53" fmla="*/ 229 h 413"/>
                <a:gd name="T54" fmla="*/ 38 w 413"/>
                <a:gd name="T55" fmla="*/ 275 h 413"/>
                <a:gd name="T56" fmla="*/ 61 w 413"/>
                <a:gd name="T57" fmla="*/ 382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13" h="413">
                  <a:moveTo>
                    <a:pt x="61" y="382"/>
                  </a:moveTo>
                  <a:lnTo>
                    <a:pt x="61" y="382"/>
                  </a:lnTo>
                  <a:cubicBezTo>
                    <a:pt x="145" y="412"/>
                    <a:pt x="145" y="412"/>
                    <a:pt x="145" y="412"/>
                  </a:cubicBezTo>
                  <a:lnTo>
                    <a:pt x="145" y="412"/>
                  </a:lnTo>
                  <a:cubicBezTo>
                    <a:pt x="160" y="382"/>
                    <a:pt x="175" y="351"/>
                    <a:pt x="183" y="321"/>
                  </a:cubicBezTo>
                  <a:cubicBezTo>
                    <a:pt x="191" y="305"/>
                    <a:pt x="183" y="290"/>
                    <a:pt x="191" y="282"/>
                  </a:cubicBezTo>
                  <a:cubicBezTo>
                    <a:pt x="206" y="260"/>
                    <a:pt x="229" y="237"/>
                    <a:pt x="259" y="229"/>
                  </a:cubicBezTo>
                  <a:cubicBezTo>
                    <a:pt x="290" y="221"/>
                    <a:pt x="320" y="244"/>
                    <a:pt x="351" y="244"/>
                  </a:cubicBezTo>
                  <a:cubicBezTo>
                    <a:pt x="366" y="244"/>
                    <a:pt x="366" y="221"/>
                    <a:pt x="374" y="214"/>
                  </a:cubicBezTo>
                  <a:cubicBezTo>
                    <a:pt x="382" y="199"/>
                    <a:pt x="397" y="183"/>
                    <a:pt x="412" y="176"/>
                  </a:cubicBezTo>
                  <a:lnTo>
                    <a:pt x="412" y="176"/>
                  </a:lnTo>
                  <a:cubicBezTo>
                    <a:pt x="397" y="153"/>
                    <a:pt x="374" y="137"/>
                    <a:pt x="366" y="115"/>
                  </a:cubicBezTo>
                  <a:cubicBezTo>
                    <a:pt x="359" y="99"/>
                    <a:pt x="374" y="84"/>
                    <a:pt x="366" y="69"/>
                  </a:cubicBezTo>
                  <a:cubicBezTo>
                    <a:pt x="366" y="46"/>
                    <a:pt x="359" y="15"/>
                    <a:pt x="336" y="7"/>
                  </a:cubicBezTo>
                  <a:cubicBezTo>
                    <a:pt x="320" y="0"/>
                    <a:pt x="313" y="38"/>
                    <a:pt x="298" y="46"/>
                  </a:cubicBezTo>
                  <a:cubicBezTo>
                    <a:pt x="282" y="46"/>
                    <a:pt x="267" y="46"/>
                    <a:pt x="252" y="38"/>
                  </a:cubicBezTo>
                  <a:cubicBezTo>
                    <a:pt x="244" y="30"/>
                    <a:pt x="244" y="7"/>
                    <a:pt x="236" y="7"/>
                  </a:cubicBezTo>
                  <a:cubicBezTo>
                    <a:pt x="221" y="7"/>
                    <a:pt x="214" y="15"/>
                    <a:pt x="206" y="23"/>
                  </a:cubicBezTo>
                  <a:lnTo>
                    <a:pt x="206" y="23"/>
                  </a:lnTo>
                  <a:cubicBezTo>
                    <a:pt x="198" y="38"/>
                    <a:pt x="175" y="53"/>
                    <a:pt x="175" y="69"/>
                  </a:cubicBezTo>
                  <a:cubicBezTo>
                    <a:pt x="168" y="84"/>
                    <a:pt x="198" y="115"/>
                    <a:pt x="183" y="130"/>
                  </a:cubicBezTo>
                  <a:cubicBezTo>
                    <a:pt x="175" y="137"/>
                    <a:pt x="160" y="122"/>
                    <a:pt x="145" y="107"/>
                  </a:cubicBezTo>
                  <a:cubicBezTo>
                    <a:pt x="122" y="92"/>
                    <a:pt x="122" y="46"/>
                    <a:pt x="91" y="46"/>
                  </a:cubicBezTo>
                  <a:cubicBezTo>
                    <a:pt x="61" y="38"/>
                    <a:pt x="30" y="61"/>
                    <a:pt x="15" y="92"/>
                  </a:cubicBezTo>
                  <a:cubicBezTo>
                    <a:pt x="0" y="115"/>
                    <a:pt x="15" y="153"/>
                    <a:pt x="15" y="183"/>
                  </a:cubicBezTo>
                  <a:lnTo>
                    <a:pt x="15" y="183"/>
                  </a:lnTo>
                  <a:cubicBezTo>
                    <a:pt x="30" y="199"/>
                    <a:pt x="38" y="214"/>
                    <a:pt x="46" y="229"/>
                  </a:cubicBezTo>
                  <a:cubicBezTo>
                    <a:pt x="46" y="244"/>
                    <a:pt x="30" y="260"/>
                    <a:pt x="38" y="275"/>
                  </a:cubicBezTo>
                  <a:cubicBezTo>
                    <a:pt x="38" y="305"/>
                    <a:pt x="53" y="344"/>
                    <a:pt x="61" y="38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19" name="Freeform 54"/>
            <p:cNvSpPr>
              <a:spLocks noChangeArrowheads="1"/>
            </p:cNvSpPr>
            <p:nvPr/>
          </p:nvSpPr>
          <p:spPr bwMode="auto">
            <a:xfrm>
              <a:off x="6828980" y="6889751"/>
              <a:ext cx="247634" cy="225425"/>
            </a:xfrm>
            <a:custGeom>
              <a:avLst/>
              <a:gdLst>
                <a:gd name="T0" fmla="*/ 0 w 689"/>
                <a:gd name="T1" fmla="*/ 367 h 627"/>
                <a:gd name="T2" fmla="*/ 0 w 689"/>
                <a:gd name="T3" fmla="*/ 367 h 627"/>
                <a:gd name="T4" fmla="*/ 46 w 689"/>
                <a:gd name="T5" fmla="*/ 451 h 627"/>
                <a:gd name="T6" fmla="*/ 115 w 689"/>
                <a:gd name="T7" fmla="*/ 512 h 627"/>
                <a:gd name="T8" fmla="*/ 153 w 689"/>
                <a:gd name="T9" fmla="*/ 581 h 627"/>
                <a:gd name="T10" fmla="*/ 153 w 689"/>
                <a:gd name="T11" fmla="*/ 581 h 627"/>
                <a:gd name="T12" fmla="*/ 191 w 689"/>
                <a:gd name="T13" fmla="*/ 596 h 627"/>
                <a:gd name="T14" fmla="*/ 214 w 689"/>
                <a:gd name="T15" fmla="*/ 581 h 627"/>
                <a:gd name="T16" fmla="*/ 260 w 689"/>
                <a:gd name="T17" fmla="*/ 626 h 627"/>
                <a:gd name="T18" fmla="*/ 298 w 689"/>
                <a:gd name="T19" fmla="*/ 626 h 627"/>
                <a:gd name="T20" fmla="*/ 298 w 689"/>
                <a:gd name="T21" fmla="*/ 626 h 627"/>
                <a:gd name="T22" fmla="*/ 313 w 689"/>
                <a:gd name="T23" fmla="*/ 596 h 627"/>
                <a:gd name="T24" fmla="*/ 405 w 689"/>
                <a:gd name="T25" fmla="*/ 581 h 627"/>
                <a:gd name="T26" fmla="*/ 458 w 689"/>
                <a:gd name="T27" fmla="*/ 527 h 627"/>
                <a:gd name="T28" fmla="*/ 474 w 689"/>
                <a:gd name="T29" fmla="*/ 527 h 627"/>
                <a:gd name="T30" fmla="*/ 535 w 689"/>
                <a:gd name="T31" fmla="*/ 542 h 627"/>
                <a:gd name="T32" fmla="*/ 619 w 689"/>
                <a:gd name="T33" fmla="*/ 504 h 627"/>
                <a:gd name="T34" fmla="*/ 665 w 689"/>
                <a:gd name="T35" fmla="*/ 412 h 627"/>
                <a:gd name="T36" fmla="*/ 665 w 689"/>
                <a:gd name="T37" fmla="*/ 412 h 627"/>
                <a:gd name="T38" fmla="*/ 611 w 689"/>
                <a:gd name="T39" fmla="*/ 336 h 627"/>
                <a:gd name="T40" fmla="*/ 604 w 689"/>
                <a:gd name="T41" fmla="*/ 306 h 627"/>
                <a:gd name="T42" fmla="*/ 649 w 689"/>
                <a:gd name="T43" fmla="*/ 252 h 627"/>
                <a:gd name="T44" fmla="*/ 627 w 689"/>
                <a:gd name="T45" fmla="*/ 221 h 627"/>
                <a:gd name="T46" fmla="*/ 642 w 689"/>
                <a:gd name="T47" fmla="*/ 198 h 627"/>
                <a:gd name="T48" fmla="*/ 627 w 689"/>
                <a:gd name="T49" fmla="*/ 168 h 627"/>
                <a:gd name="T50" fmla="*/ 688 w 689"/>
                <a:gd name="T51" fmla="*/ 145 h 627"/>
                <a:gd name="T52" fmla="*/ 688 w 689"/>
                <a:gd name="T53" fmla="*/ 145 h 627"/>
                <a:gd name="T54" fmla="*/ 588 w 689"/>
                <a:gd name="T55" fmla="*/ 99 h 627"/>
                <a:gd name="T56" fmla="*/ 581 w 689"/>
                <a:gd name="T57" fmla="*/ 38 h 627"/>
                <a:gd name="T58" fmla="*/ 543 w 689"/>
                <a:gd name="T59" fmla="*/ 38 h 627"/>
                <a:gd name="T60" fmla="*/ 512 w 689"/>
                <a:gd name="T61" fmla="*/ 15 h 627"/>
                <a:gd name="T62" fmla="*/ 512 w 689"/>
                <a:gd name="T63" fmla="*/ 15 h 627"/>
                <a:gd name="T64" fmla="*/ 451 w 689"/>
                <a:gd name="T65" fmla="*/ 8 h 627"/>
                <a:gd name="T66" fmla="*/ 435 w 689"/>
                <a:gd name="T67" fmla="*/ 54 h 627"/>
                <a:gd name="T68" fmla="*/ 382 w 689"/>
                <a:gd name="T69" fmla="*/ 84 h 627"/>
                <a:gd name="T70" fmla="*/ 382 w 689"/>
                <a:gd name="T71" fmla="*/ 84 h 627"/>
                <a:gd name="T72" fmla="*/ 428 w 689"/>
                <a:gd name="T73" fmla="*/ 130 h 627"/>
                <a:gd name="T74" fmla="*/ 435 w 689"/>
                <a:gd name="T75" fmla="*/ 206 h 627"/>
                <a:gd name="T76" fmla="*/ 390 w 689"/>
                <a:gd name="T77" fmla="*/ 183 h 627"/>
                <a:gd name="T78" fmla="*/ 275 w 689"/>
                <a:gd name="T79" fmla="*/ 244 h 627"/>
                <a:gd name="T80" fmla="*/ 168 w 689"/>
                <a:gd name="T81" fmla="*/ 306 h 627"/>
                <a:gd name="T82" fmla="*/ 115 w 689"/>
                <a:gd name="T83" fmla="*/ 306 h 627"/>
                <a:gd name="T84" fmla="*/ 92 w 689"/>
                <a:gd name="T85" fmla="*/ 336 h 627"/>
                <a:gd name="T86" fmla="*/ 0 w 689"/>
                <a:gd name="T87" fmla="*/ 367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9" h="627">
                  <a:moveTo>
                    <a:pt x="0" y="367"/>
                  </a:moveTo>
                  <a:lnTo>
                    <a:pt x="0" y="367"/>
                  </a:lnTo>
                  <a:cubicBezTo>
                    <a:pt x="16" y="390"/>
                    <a:pt x="23" y="420"/>
                    <a:pt x="46" y="451"/>
                  </a:cubicBezTo>
                  <a:cubicBezTo>
                    <a:pt x="61" y="473"/>
                    <a:pt x="92" y="489"/>
                    <a:pt x="115" y="512"/>
                  </a:cubicBezTo>
                  <a:cubicBezTo>
                    <a:pt x="130" y="535"/>
                    <a:pt x="138" y="558"/>
                    <a:pt x="153" y="581"/>
                  </a:cubicBezTo>
                  <a:lnTo>
                    <a:pt x="153" y="581"/>
                  </a:lnTo>
                  <a:cubicBezTo>
                    <a:pt x="168" y="581"/>
                    <a:pt x="176" y="588"/>
                    <a:pt x="191" y="596"/>
                  </a:cubicBezTo>
                  <a:lnTo>
                    <a:pt x="214" y="581"/>
                  </a:lnTo>
                  <a:cubicBezTo>
                    <a:pt x="214" y="588"/>
                    <a:pt x="260" y="626"/>
                    <a:pt x="260" y="626"/>
                  </a:cubicBezTo>
                  <a:cubicBezTo>
                    <a:pt x="275" y="626"/>
                    <a:pt x="283" y="626"/>
                    <a:pt x="298" y="626"/>
                  </a:cubicBezTo>
                  <a:lnTo>
                    <a:pt x="298" y="626"/>
                  </a:lnTo>
                  <a:cubicBezTo>
                    <a:pt x="306" y="619"/>
                    <a:pt x="306" y="596"/>
                    <a:pt x="313" y="596"/>
                  </a:cubicBezTo>
                  <a:cubicBezTo>
                    <a:pt x="344" y="581"/>
                    <a:pt x="382" y="596"/>
                    <a:pt x="405" y="581"/>
                  </a:cubicBezTo>
                  <a:cubicBezTo>
                    <a:pt x="428" y="573"/>
                    <a:pt x="435" y="542"/>
                    <a:pt x="458" y="527"/>
                  </a:cubicBezTo>
                  <a:cubicBezTo>
                    <a:pt x="458" y="519"/>
                    <a:pt x="474" y="519"/>
                    <a:pt x="474" y="527"/>
                  </a:cubicBezTo>
                  <a:cubicBezTo>
                    <a:pt x="497" y="527"/>
                    <a:pt x="512" y="550"/>
                    <a:pt x="535" y="542"/>
                  </a:cubicBezTo>
                  <a:cubicBezTo>
                    <a:pt x="565" y="542"/>
                    <a:pt x="596" y="527"/>
                    <a:pt x="619" y="504"/>
                  </a:cubicBezTo>
                  <a:cubicBezTo>
                    <a:pt x="642" y="481"/>
                    <a:pt x="649" y="443"/>
                    <a:pt x="665" y="412"/>
                  </a:cubicBezTo>
                  <a:lnTo>
                    <a:pt x="665" y="412"/>
                  </a:lnTo>
                  <a:cubicBezTo>
                    <a:pt x="642" y="390"/>
                    <a:pt x="627" y="367"/>
                    <a:pt x="611" y="336"/>
                  </a:cubicBezTo>
                  <a:cubicBezTo>
                    <a:pt x="604" y="328"/>
                    <a:pt x="604" y="313"/>
                    <a:pt x="604" y="306"/>
                  </a:cubicBezTo>
                  <a:cubicBezTo>
                    <a:pt x="611" y="283"/>
                    <a:pt x="642" y="275"/>
                    <a:pt x="649" y="252"/>
                  </a:cubicBezTo>
                  <a:cubicBezTo>
                    <a:pt x="649" y="237"/>
                    <a:pt x="627" y="237"/>
                    <a:pt x="627" y="221"/>
                  </a:cubicBezTo>
                  <a:cubicBezTo>
                    <a:pt x="619" y="214"/>
                    <a:pt x="642" y="214"/>
                    <a:pt x="642" y="198"/>
                  </a:cubicBezTo>
                  <a:cubicBezTo>
                    <a:pt x="642" y="191"/>
                    <a:pt x="619" y="176"/>
                    <a:pt x="627" y="168"/>
                  </a:cubicBezTo>
                  <a:cubicBezTo>
                    <a:pt x="642" y="153"/>
                    <a:pt x="665" y="153"/>
                    <a:pt x="688" y="145"/>
                  </a:cubicBezTo>
                  <a:lnTo>
                    <a:pt x="688" y="145"/>
                  </a:lnTo>
                  <a:cubicBezTo>
                    <a:pt x="657" y="130"/>
                    <a:pt x="619" y="130"/>
                    <a:pt x="588" y="99"/>
                  </a:cubicBezTo>
                  <a:cubicBezTo>
                    <a:pt x="573" y="84"/>
                    <a:pt x="588" y="54"/>
                    <a:pt x="581" y="38"/>
                  </a:cubicBezTo>
                  <a:cubicBezTo>
                    <a:pt x="573" y="31"/>
                    <a:pt x="558" y="38"/>
                    <a:pt x="543" y="38"/>
                  </a:cubicBezTo>
                  <a:cubicBezTo>
                    <a:pt x="535" y="31"/>
                    <a:pt x="520" y="23"/>
                    <a:pt x="512" y="15"/>
                  </a:cubicBezTo>
                  <a:lnTo>
                    <a:pt x="512" y="15"/>
                  </a:lnTo>
                  <a:cubicBezTo>
                    <a:pt x="489" y="8"/>
                    <a:pt x="466" y="0"/>
                    <a:pt x="451" y="8"/>
                  </a:cubicBezTo>
                  <a:cubicBezTo>
                    <a:pt x="435" y="15"/>
                    <a:pt x="443" y="38"/>
                    <a:pt x="435" y="54"/>
                  </a:cubicBezTo>
                  <a:cubicBezTo>
                    <a:pt x="420" y="69"/>
                    <a:pt x="397" y="76"/>
                    <a:pt x="382" y="84"/>
                  </a:cubicBezTo>
                  <a:lnTo>
                    <a:pt x="382" y="84"/>
                  </a:lnTo>
                  <a:cubicBezTo>
                    <a:pt x="397" y="99"/>
                    <a:pt x="420" y="107"/>
                    <a:pt x="428" y="130"/>
                  </a:cubicBezTo>
                  <a:cubicBezTo>
                    <a:pt x="435" y="153"/>
                    <a:pt x="443" y="183"/>
                    <a:pt x="435" y="206"/>
                  </a:cubicBezTo>
                  <a:cubicBezTo>
                    <a:pt x="428" y="221"/>
                    <a:pt x="405" y="183"/>
                    <a:pt x="390" y="183"/>
                  </a:cubicBezTo>
                  <a:cubicBezTo>
                    <a:pt x="352" y="191"/>
                    <a:pt x="313" y="221"/>
                    <a:pt x="275" y="244"/>
                  </a:cubicBezTo>
                  <a:cubicBezTo>
                    <a:pt x="275" y="244"/>
                    <a:pt x="176" y="298"/>
                    <a:pt x="168" y="306"/>
                  </a:cubicBezTo>
                  <a:cubicBezTo>
                    <a:pt x="160" y="306"/>
                    <a:pt x="115" y="306"/>
                    <a:pt x="115" y="306"/>
                  </a:cubicBezTo>
                  <a:cubicBezTo>
                    <a:pt x="107" y="313"/>
                    <a:pt x="99" y="336"/>
                    <a:pt x="92" y="336"/>
                  </a:cubicBezTo>
                  <a:cubicBezTo>
                    <a:pt x="61" y="351"/>
                    <a:pt x="31" y="359"/>
                    <a:pt x="0" y="36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20" name="Freeform 55"/>
            <p:cNvSpPr>
              <a:spLocks noChangeArrowheads="1"/>
            </p:cNvSpPr>
            <p:nvPr/>
          </p:nvSpPr>
          <p:spPr bwMode="auto">
            <a:xfrm>
              <a:off x="6738499" y="6829426"/>
              <a:ext cx="250809" cy="193675"/>
            </a:xfrm>
            <a:custGeom>
              <a:avLst/>
              <a:gdLst>
                <a:gd name="T0" fmla="*/ 252 w 696"/>
                <a:gd name="T1" fmla="*/ 535 h 536"/>
                <a:gd name="T2" fmla="*/ 252 w 696"/>
                <a:gd name="T3" fmla="*/ 535 h 536"/>
                <a:gd name="T4" fmla="*/ 206 w 696"/>
                <a:gd name="T5" fmla="*/ 474 h 536"/>
                <a:gd name="T6" fmla="*/ 206 w 696"/>
                <a:gd name="T7" fmla="*/ 428 h 536"/>
                <a:gd name="T8" fmla="*/ 176 w 696"/>
                <a:gd name="T9" fmla="*/ 366 h 536"/>
                <a:gd name="T10" fmla="*/ 138 w 696"/>
                <a:gd name="T11" fmla="*/ 405 h 536"/>
                <a:gd name="T12" fmla="*/ 92 w 696"/>
                <a:gd name="T13" fmla="*/ 397 h 536"/>
                <a:gd name="T14" fmla="*/ 76 w 696"/>
                <a:gd name="T15" fmla="*/ 366 h 536"/>
                <a:gd name="T16" fmla="*/ 46 w 696"/>
                <a:gd name="T17" fmla="*/ 382 h 536"/>
                <a:gd name="T18" fmla="*/ 46 w 696"/>
                <a:gd name="T19" fmla="*/ 382 h 536"/>
                <a:gd name="T20" fmla="*/ 8 w 696"/>
                <a:gd name="T21" fmla="*/ 260 h 536"/>
                <a:gd name="T22" fmla="*/ 76 w 696"/>
                <a:gd name="T23" fmla="*/ 191 h 536"/>
                <a:gd name="T24" fmla="*/ 76 w 696"/>
                <a:gd name="T25" fmla="*/ 107 h 536"/>
                <a:gd name="T26" fmla="*/ 84 w 696"/>
                <a:gd name="T27" fmla="*/ 61 h 536"/>
                <a:gd name="T28" fmla="*/ 183 w 696"/>
                <a:gd name="T29" fmla="*/ 0 h 536"/>
                <a:gd name="T30" fmla="*/ 183 w 696"/>
                <a:gd name="T31" fmla="*/ 0 h 536"/>
                <a:gd name="T32" fmla="*/ 268 w 696"/>
                <a:gd name="T33" fmla="*/ 53 h 536"/>
                <a:gd name="T34" fmla="*/ 313 w 696"/>
                <a:gd name="T35" fmla="*/ 107 h 536"/>
                <a:gd name="T36" fmla="*/ 397 w 696"/>
                <a:gd name="T37" fmla="*/ 114 h 536"/>
                <a:gd name="T38" fmla="*/ 474 w 696"/>
                <a:gd name="T39" fmla="*/ 122 h 536"/>
                <a:gd name="T40" fmla="*/ 489 w 696"/>
                <a:gd name="T41" fmla="*/ 191 h 536"/>
                <a:gd name="T42" fmla="*/ 565 w 696"/>
                <a:gd name="T43" fmla="*/ 160 h 536"/>
                <a:gd name="T44" fmla="*/ 588 w 696"/>
                <a:gd name="T45" fmla="*/ 191 h 536"/>
                <a:gd name="T46" fmla="*/ 588 w 696"/>
                <a:gd name="T47" fmla="*/ 229 h 536"/>
                <a:gd name="T48" fmla="*/ 634 w 696"/>
                <a:gd name="T49" fmla="*/ 252 h 536"/>
                <a:gd name="T50" fmla="*/ 634 w 696"/>
                <a:gd name="T51" fmla="*/ 252 h 536"/>
                <a:gd name="T52" fmla="*/ 680 w 696"/>
                <a:gd name="T53" fmla="*/ 298 h 536"/>
                <a:gd name="T54" fmla="*/ 687 w 696"/>
                <a:gd name="T55" fmla="*/ 374 h 536"/>
                <a:gd name="T56" fmla="*/ 642 w 696"/>
                <a:gd name="T57" fmla="*/ 351 h 536"/>
                <a:gd name="T58" fmla="*/ 527 w 696"/>
                <a:gd name="T59" fmla="*/ 412 h 536"/>
                <a:gd name="T60" fmla="*/ 420 w 696"/>
                <a:gd name="T61" fmla="*/ 474 h 536"/>
                <a:gd name="T62" fmla="*/ 367 w 696"/>
                <a:gd name="T63" fmla="*/ 474 h 536"/>
                <a:gd name="T64" fmla="*/ 344 w 696"/>
                <a:gd name="T65" fmla="*/ 504 h 536"/>
                <a:gd name="T66" fmla="*/ 252 w 696"/>
                <a:gd name="T67" fmla="*/ 53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96" h="536">
                  <a:moveTo>
                    <a:pt x="252" y="535"/>
                  </a:moveTo>
                  <a:lnTo>
                    <a:pt x="252" y="535"/>
                  </a:lnTo>
                  <a:cubicBezTo>
                    <a:pt x="237" y="512"/>
                    <a:pt x="214" y="496"/>
                    <a:pt x="206" y="474"/>
                  </a:cubicBezTo>
                  <a:cubicBezTo>
                    <a:pt x="199" y="458"/>
                    <a:pt x="214" y="443"/>
                    <a:pt x="206" y="428"/>
                  </a:cubicBezTo>
                  <a:cubicBezTo>
                    <a:pt x="206" y="405"/>
                    <a:pt x="199" y="374"/>
                    <a:pt x="176" y="366"/>
                  </a:cubicBezTo>
                  <a:cubicBezTo>
                    <a:pt x="160" y="359"/>
                    <a:pt x="153" y="397"/>
                    <a:pt x="138" y="405"/>
                  </a:cubicBezTo>
                  <a:cubicBezTo>
                    <a:pt x="122" y="405"/>
                    <a:pt x="107" y="405"/>
                    <a:pt x="92" y="397"/>
                  </a:cubicBezTo>
                  <a:cubicBezTo>
                    <a:pt x="84" y="389"/>
                    <a:pt x="84" y="366"/>
                    <a:pt x="76" y="366"/>
                  </a:cubicBezTo>
                  <a:cubicBezTo>
                    <a:pt x="61" y="366"/>
                    <a:pt x="54" y="374"/>
                    <a:pt x="46" y="382"/>
                  </a:cubicBezTo>
                  <a:lnTo>
                    <a:pt x="46" y="382"/>
                  </a:lnTo>
                  <a:cubicBezTo>
                    <a:pt x="31" y="344"/>
                    <a:pt x="0" y="305"/>
                    <a:pt x="8" y="260"/>
                  </a:cubicBezTo>
                  <a:cubicBezTo>
                    <a:pt x="8" y="229"/>
                    <a:pt x="61" y="222"/>
                    <a:pt x="76" y="191"/>
                  </a:cubicBezTo>
                  <a:cubicBezTo>
                    <a:pt x="84" y="168"/>
                    <a:pt x="69" y="130"/>
                    <a:pt x="76" y="107"/>
                  </a:cubicBezTo>
                  <a:cubicBezTo>
                    <a:pt x="76" y="91"/>
                    <a:pt x="76" y="69"/>
                    <a:pt x="84" y="61"/>
                  </a:cubicBezTo>
                  <a:cubicBezTo>
                    <a:pt x="115" y="38"/>
                    <a:pt x="153" y="23"/>
                    <a:pt x="183" y="0"/>
                  </a:cubicBezTo>
                  <a:lnTo>
                    <a:pt x="183" y="0"/>
                  </a:lnTo>
                  <a:cubicBezTo>
                    <a:pt x="206" y="23"/>
                    <a:pt x="245" y="38"/>
                    <a:pt x="268" y="53"/>
                  </a:cubicBezTo>
                  <a:cubicBezTo>
                    <a:pt x="283" y="69"/>
                    <a:pt x="290" y="99"/>
                    <a:pt x="313" y="107"/>
                  </a:cubicBezTo>
                  <a:cubicBezTo>
                    <a:pt x="336" y="114"/>
                    <a:pt x="367" y="107"/>
                    <a:pt x="397" y="114"/>
                  </a:cubicBezTo>
                  <a:cubicBezTo>
                    <a:pt x="420" y="114"/>
                    <a:pt x="451" y="107"/>
                    <a:pt x="474" y="122"/>
                  </a:cubicBezTo>
                  <a:cubicBezTo>
                    <a:pt x="489" y="137"/>
                    <a:pt x="474" y="183"/>
                    <a:pt x="489" y="191"/>
                  </a:cubicBezTo>
                  <a:cubicBezTo>
                    <a:pt x="520" y="199"/>
                    <a:pt x="535" y="160"/>
                    <a:pt x="565" y="160"/>
                  </a:cubicBezTo>
                  <a:cubicBezTo>
                    <a:pt x="573" y="160"/>
                    <a:pt x="581" y="183"/>
                    <a:pt x="588" y="191"/>
                  </a:cubicBezTo>
                  <a:cubicBezTo>
                    <a:pt x="596" y="206"/>
                    <a:pt x="581" y="222"/>
                    <a:pt x="588" y="229"/>
                  </a:cubicBezTo>
                  <a:cubicBezTo>
                    <a:pt x="596" y="244"/>
                    <a:pt x="619" y="244"/>
                    <a:pt x="634" y="252"/>
                  </a:cubicBezTo>
                  <a:lnTo>
                    <a:pt x="634" y="252"/>
                  </a:lnTo>
                  <a:cubicBezTo>
                    <a:pt x="649" y="267"/>
                    <a:pt x="672" y="275"/>
                    <a:pt x="680" y="298"/>
                  </a:cubicBezTo>
                  <a:cubicBezTo>
                    <a:pt x="687" y="321"/>
                    <a:pt x="695" y="351"/>
                    <a:pt x="687" y="374"/>
                  </a:cubicBezTo>
                  <a:cubicBezTo>
                    <a:pt x="680" y="389"/>
                    <a:pt x="657" y="351"/>
                    <a:pt x="642" y="351"/>
                  </a:cubicBezTo>
                  <a:cubicBezTo>
                    <a:pt x="604" y="359"/>
                    <a:pt x="565" y="389"/>
                    <a:pt x="527" y="412"/>
                  </a:cubicBezTo>
                  <a:cubicBezTo>
                    <a:pt x="527" y="412"/>
                    <a:pt x="428" y="466"/>
                    <a:pt x="420" y="474"/>
                  </a:cubicBezTo>
                  <a:cubicBezTo>
                    <a:pt x="412" y="474"/>
                    <a:pt x="367" y="474"/>
                    <a:pt x="367" y="474"/>
                  </a:cubicBezTo>
                  <a:cubicBezTo>
                    <a:pt x="359" y="481"/>
                    <a:pt x="351" y="504"/>
                    <a:pt x="344" y="504"/>
                  </a:cubicBezTo>
                  <a:cubicBezTo>
                    <a:pt x="313" y="519"/>
                    <a:pt x="283" y="527"/>
                    <a:pt x="252" y="535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21" name="Freeform 56"/>
            <p:cNvSpPr>
              <a:spLocks noChangeArrowheads="1"/>
            </p:cNvSpPr>
            <p:nvPr/>
          </p:nvSpPr>
          <p:spPr bwMode="auto">
            <a:xfrm>
              <a:off x="7046454" y="6908801"/>
              <a:ext cx="239696" cy="157163"/>
            </a:xfrm>
            <a:custGeom>
              <a:avLst/>
              <a:gdLst>
                <a:gd name="T0" fmla="*/ 61 w 665"/>
                <a:gd name="T1" fmla="*/ 358 h 436"/>
                <a:gd name="T2" fmla="*/ 61 w 665"/>
                <a:gd name="T3" fmla="*/ 358 h 436"/>
                <a:gd name="T4" fmla="*/ 7 w 665"/>
                <a:gd name="T5" fmla="*/ 282 h 436"/>
                <a:gd name="T6" fmla="*/ 0 w 665"/>
                <a:gd name="T7" fmla="*/ 252 h 436"/>
                <a:gd name="T8" fmla="*/ 45 w 665"/>
                <a:gd name="T9" fmla="*/ 198 h 436"/>
                <a:gd name="T10" fmla="*/ 23 w 665"/>
                <a:gd name="T11" fmla="*/ 167 h 436"/>
                <a:gd name="T12" fmla="*/ 38 w 665"/>
                <a:gd name="T13" fmla="*/ 144 h 436"/>
                <a:gd name="T14" fmla="*/ 23 w 665"/>
                <a:gd name="T15" fmla="*/ 114 h 436"/>
                <a:gd name="T16" fmla="*/ 84 w 665"/>
                <a:gd name="T17" fmla="*/ 91 h 436"/>
                <a:gd name="T18" fmla="*/ 84 w 665"/>
                <a:gd name="T19" fmla="*/ 91 h 436"/>
                <a:gd name="T20" fmla="*/ 99 w 665"/>
                <a:gd name="T21" fmla="*/ 114 h 436"/>
                <a:gd name="T22" fmla="*/ 137 w 665"/>
                <a:gd name="T23" fmla="*/ 68 h 436"/>
                <a:gd name="T24" fmla="*/ 168 w 665"/>
                <a:gd name="T25" fmla="*/ 30 h 436"/>
                <a:gd name="T26" fmla="*/ 206 w 665"/>
                <a:gd name="T27" fmla="*/ 53 h 436"/>
                <a:gd name="T28" fmla="*/ 282 w 665"/>
                <a:gd name="T29" fmla="*/ 38 h 436"/>
                <a:gd name="T30" fmla="*/ 351 w 665"/>
                <a:gd name="T31" fmla="*/ 53 h 436"/>
                <a:gd name="T32" fmla="*/ 435 w 665"/>
                <a:gd name="T33" fmla="*/ 22 h 436"/>
                <a:gd name="T34" fmla="*/ 481 w 665"/>
                <a:gd name="T35" fmla="*/ 0 h 436"/>
                <a:gd name="T36" fmla="*/ 481 w 665"/>
                <a:gd name="T37" fmla="*/ 0 h 436"/>
                <a:gd name="T38" fmla="*/ 565 w 665"/>
                <a:gd name="T39" fmla="*/ 76 h 436"/>
                <a:gd name="T40" fmla="*/ 626 w 665"/>
                <a:gd name="T41" fmla="*/ 76 h 436"/>
                <a:gd name="T42" fmla="*/ 656 w 665"/>
                <a:gd name="T43" fmla="*/ 114 h 436"/>
                <a:gd name="T44" fmla="*/ 580 w 665"/>
                <a:gd name="T45" fmla="*/ 129 h 436"/>
                <a:gd name="T46" fmla="*/ 573 w 665"/>
                <a:gd name="T47" fmla="*/ 229 h 436"/>
                <a:gd name="T48" fmla="*/ 611 w 665"/>
                <a:gd name="T49" fmla="*/ 313 h 436"/>
                <a:gd name="T50" fmla="*/ 611 w 665"/>
                <a:gd name="T51" fmla="*/ 313 h 436"/>
                <a:gd name="T52" fmla="*/ 565 w 665"/>
                <a:gd name="T53" fmla="*/ 343 h 436"/>
                <a:gd name="T54" fmla="*/ 557 w 665"/>
                <a:gd name="T55" fmla="*/ 381 h 436"/>
                <a:gd name="T56" fmla="*/ 504 w 665"/>
                <a:gd name="T57" fmla="*/ 435 h 436"/>
                <a:gd name="T58" fmla="*/ 420 w 665"/>
                <a:gd name="T59" fmla="*/ 412 h 436"/>
                <a:gd name="T60" fmla="*/ 420 w 665"/>
                <a:gd name="T61" fmla="*/ 412 h 436"/>
                <a:gd name="T62" fmla="*/ 397 w 665"/>
                <a:gd name="T63" fmla="*/ 358 h 436"/>
                <a:gd name="T64" fmla="*/ 351 w 665"/>
                <a:gd name="T65" fmla="*/ 366 h 436"/>
                <a:gd name="T66" fmla="*/ 267 w 665"/>
                <a:gd name="T67" fmla="*/ 343 h 436"/>
                <a:gd name="T68" fmla="*/ 206 w 665"/>
                <a:gd name="T69" fmla="*/ 381 h 436"/>
                <a:gd name="T70" fmla="*/ 145 w 665"/>
                <a:gd name="T71" fmla="*/ 381 h 436"/>
                <a:gd name="T72" fmla="*/ 99 w 665"/>
                <a:gd name="T73" fmla="*/ 358 h 436"/>
                <a:gd name="T74" fmla="*/ 61 w 665"/>
                <a:gd name="T75" fmla="*/ 358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65" h="436">
                  <a:moveTo>
                    <a:pt x="61" y="358"/>
                  </a:moveTo>
                  <a:lnTo>
                    <a:pt x="61" y="358"/>
                  </a:lnTo>
                  <a:cubicBezTo>
                    <a:pt x="38" y="336"/>
                    <a:pt x="23" y="313"/>
                    <a:pt x="7" y="282"/>
                  </a:cubicBezTo>
                  <a:cubicBezTo>
                    <a:pt x="0" y="274"/>
                    <a:pt x="0" y="259"/>
                    <a:pt x="0" y="252"/>
                  </a:cubicBezTo>
                  <a:cubicBezTo>
                    <a:pt x="7" y="229"/>
                    <a:pt x="38" y="221"/>
                    <a:pt x="45" y="198"/>
                  </a:cubicBezTo>
                  <a:cubicBezTo>
                    <a:pt x="45" y="183"/>
                    <a:pt x="23" y="183"/>
                    <a:pt x="23" y="167"/>
                  </a:cubicBezTo>
                  <a:cubicBezTo>
                    <a:pt x="15" y="160"/>
                    <a:pt x="38" y="160"/>
                    <a:pt x="38" y="144"/>
                  </a:cubicBezTo>
                  <a:cubicBezTo>
                    <a:pt x="38" y="137"/>
                    <a:pt x="15" y="122"/>
                    <a:pt x="23" y="114"/>
                  </a:cubicBezTo>
                  <a:cubicBezTo>
                    <a:pt x="38" y="99"/>
                    <a:pt x="61" y="99"/>
                    <a:pt x="84" y="91"/>
                  </a:cubicBezTo>
                  <a:lnTo>
                    <a:pt x="84" y="91"/>
                  </a:lnTo>
                  <a:cubicBezTo>
                    <a:pt x="91" y="99"/>
                    <a:pt x="91" y="114"/>
                    <a:pt x="99" y="114"/>
                  </a:cubicBezTo>
                  <a:cubicBezTo>
                    <a:pt x="122" y="99"/>
                    <a:pt x="122" y="83"/>
                    <a:pt x="137" y="68"/>
                  </a:cubicBezTo>
                  <a:cubicBezTo>
                    <a:pt x="145" y="53"/>
                    <a:pt x="152" y="38"/>
                    <a:pt x="168" y="30"/>
                  </a:cubicBezTo>
                  <a:cubicBezTo>
                    <a:pt x="183" y="30"/>
                    <a:pt x="191" y="53"/>
                    <a:pt x="206" y="53"/>
                  </a:cubicBezTo>
                  <a:cubicBezTo>
                    <a:pt x="229" y="53"/>
                    <a:pt x="259" y="38"/>
                    <a:pt x="282" y="38"/>
                  </a:cubicBezTo>
                  <a:cubicBezTo>
                    <a:pt x="305" y="38"/>
                    <a:pt x="328" y="53"/>
                    <a:pt x="351" y="53"/>
                  </a:cubicBezTo>
                  <a:cubicBezTo>
                    <a:pt x="381" y="45"/>
                    <a:pt x="404" y="30"/>
                    <a:pt x="435" y="22"/>
                  </a:cubicBezTo>
                  <a:cubicBezTo>
                    <a:pt x="450" y="15"/>
                    <a:pt x="465" y="7"/>
                    <a:pt x="481" y="0"/>
                  </a:cubicBezTo>
                  <a:lnTo>
                    <a:pt x="481" y="0"/>
                  </a:lnTo>
                  <a:cubicBezTo>
                    <a:pt x="511" y="22"/>
                    <a:pt x="534" y="61"/>
                    <a:pt x="565" y="76"/>
                  </a:cubicBezTo>
                  <a:cubicBezTo>
                    <a:pt x="580" y="83"/>
                    <a:pt x="603" y="68"/>
                    <a:pt x="626" y="76"/>
                  </a:cubicBezTo>
                  <a:cubicBezTo>
                    <a:pt x="641" y="83"/>
                    <a:pt x="664" y="99"/>
                    <a:pt x="656" y="114"/>
                  </a:cubicBezTo>
                  <a:cubicBezTo>
                    <a:pt x="641" y="137"/>
                    <a:pt x="595" y="106"/>
                    <a:pt x="580" y="129"/>
                  </a:cubicBezTo>
                  <a:cubicBezTo>
                    <a:pt x="557" y="152"/>
                    <a:pt x="573" y="198"/>
                    <a:pt x="573" y="229"/>
                  </a:cubicBezTo>
                  <a:cubicBezTo>
                    <a:pt x="580" y="259"/>
                    <a:pt x="595" y="282"/>
                    <a:pt x="611" y="313"/>
                  </a:cubicBezTo>
                  <a:lnTo>
                    <a:pt x="611" y="313"/>
                  </a:lnTo>
                  <a:cubicBezTo>
                    <a:pt x="595" y="320"/>
                    <a:pt x="580" y="328"/>
                    <a:pt x="565" y="343"/>
                  </a:cubicBezTo>
                  <a:cubicBezTo>
                    <a:pt x="557" y="358"/>
                    <a:pt x="565" y="374"/>
                    <a:pt x="557" y="381"/>
                  </a:cubicBezTo>
                  <a:cubicBezTo>
                    <a:pt x="542" y="404"/>
                    <a:pt x="527" y="427"/>
                    <a:pt x="504" y="435"/>
                  </a:cubicBezTo>
                  <a:cubicBezTo>
                    <a:pt x="473" y="435"/>
                    <a:pt x="450" y="419"/>
                    <a:pt x="420" y="412"/>
                  </a:cubicBezTo>
                  <a:lnTo>
                    <a:pt x="420" y="412"/>
                  </a:lnTo>
                  <a:cubicBezTo>
                    <a:pt x="412" y="397"/>
                    <a:pt x="412" y="374"/>
                    <a:pt x="397" y="358"/>
                  </a:cubicBezTo>
                  <a:cubicBezTo>
                    <a:pt x="381" y="351"/>
                    <a:pt x="366" y="366"/>
                    <a:pt x="351" y="366"/>
                  </a:cubicBezTo>
                  <a:cubicBezTo>
                    <a:pt x="320" y="358"/>
                    <a:pt x="298" y="336"/>
                    <a:pt x="267" y="343"/>
                  </a:cubicBezTo>
                  <a:cubicBezTo>
                    <a:pt x="244" y="343"/>
                    <a:pt x="229" y="374"/>
                    <a:pt x="206" y="381"/>
                  </a:cubicBezTo>
                  <a:cubicBezTo>
                    <a:pt x="191" y="389"/>
                    <a:pt x="168" y="389"/>
                    <a:pt x="145" y="381"/>
                  </a:cubicBezTo>
                  <a:cubicBezTo>
                    <a:pt x="129" y="381"/>
                    <a:pt x="114" y="358"/>
                    <a:pt x="99" y="358"/>
                  </a:cubicBezTo>
                  <a:cubicBezTo>
                    <a:pt x="84" y="351"/>
                    <a:pt x="68" y="358"/>
                    <a:pt x="61" y="35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22" name="Freeform 57"/>
            <p:cNvSpPr>
              <a:spLocks noChangeArrowheads="1"/>
            </p:cNvSpPr>
            <p:nvPr/>
          </p:nvSpPr>
          <p:spPr bwMode="auto">
            <a:xfrm>
              <a:off x="6805170" y="6696075"/>
              <a:ext cx="231760" cy="223838"/>
            </a:xfrm>
            <a:custGeom>
              <a:avLst/>
              <a:gdLst>
                <a:gd name="T0" fmla="*/ 0 w 643"/>
                <a:gd name="T1" fmla="*/ 367 h 620"/>
                <a:gd name="T2" fmla="*/ 0 w 643"/>
                <a:gd name="T3" fmla="*/ 367 h 620"/>
                <a:gd name="T4" fmla="*/ 85 w 643"/>
                <a:gd name="T5" fmla="*/ 420 h 620"/>
                <a:gd name="T6" fmla="*/ 130 w 643"/>
                <a:gd name="T7" fmla="*/ 474 h 620"/>
                <a:gd name="T8" fmla="*/ 214 w 643"/>
                <a:gd name="T9" fmla="*/ 481 h 620"/>
                <a:gd name="T10" fmla="*/ 291 w 643"/>
                <a:gd name="T11" fmla="*/ 489 h 620"/>
                <a:gd name="T12" fmla="*/ 306 w 643"/>
                <a:gd name="T13" fmla="*/ 558 h 620"/>
                <a:gd name="T14" fmla="*/ 382 w 643"/>
                <a:gd name="T15" fmla="*/ 527 h 620"/>
                <a:gd name="T16" fmla="*/ 405 w 643"/>
                <a:gd name="T17" fmla="*/ 558 h 620"/>
                <a:gd name="T18" fmla="*/ 405 w 643"/>
                <a:gd name="T19" fmla="*/ 596 h 620"/>
                <a:gd name="T20" fmla="*/ 451 w 643"/>
                <a:gd name="T21" fmla="*/ 619 h 620"/>
                <a:gd name="T22" fmla="*/ 451 w 643"/>
                <a:gd name="T23" fmla="*/ 619 h 620"/>
                <a:gd name="T24" fmla="*/ 504 w 643"/>
                <a:gd name="T25" fmla="*/ 589 h 620"/>
                <a:gd name="T26" fmla="*/ 520 w 643"/>
                <a:gd name="T27" fmla="*/ 543 h 620"/>
                <a:gd name="T28" fmla="*/ 581 w 643"/>
                <a:gd name="T29" fmla="*/ 550 h 620"/>
                <a:gd name="T30" fmla="*/ 581 w 643"/>
                <a:gd name="T31" fmla="*/ 550 h 620"/>
                <a:gd name="T32" fmla="*/ 642 w 643"/>
                <a:gd name="T33" fmla="*/ 489 h 620"/>
                <a:gd name="T34" fmla="*/ 589 w 643"/>
                <a:gd name="T35" fmla="*/ 481 h 620"/>
                <a:gd name="T36" fmla="*/ 543 w 643"/>
                <a:gd name="T37" fmla="*/ 474 h 620"/>
                <a:gd name="T38" fmla="*/ 543 w 643"/>
                <a:gd name="T39" fmla="*/ 420 h 620"/>
                <a:gd name="T40" fmla="*/ 550 w 643"/>
                <a:gd name="T41" fmla="*/ 352 h 620"/>
                <a:gd name="T42" fmla="*/ 558 w 643"/>
                <a:gd name="T43" fmla="*/ 291 h 620"/>
                <a:gd name="T44" fmla="*/ 527 w 643"/>
                <a:gd name="T45" fmla="*/ 268 h 620"/>
                <a:gd name="T46" fmla="*/ 443 w 643"/>
                <a:gd name="T47" fmla="*/ 245 h 620"/>
                <a:gd name="T48" fmla="*/ 421 w 643"/>
                <a:gd name="T49" fmla="*/ 199 h 620"/>
                <a:gd name="T50" fmla="*/ 421 w 643"/>
                <a:gd name="T51" fmla="*/ 184 h 620"/>
                <a:gd name="T52" fmla="*/ 512 w 643"/>
                <a:gd name="T53" fmla="*/ 214 h 620"/>
                <a:gd name="T54" fmla="*/ 512 w 643"/>
                <a:gd name="T55" fmla="*/ 153 h 620"/>
                <a:gd name="T56" fmla="*/ 512 w 643"/>
                <a:gd name="T57" fmla="*/ 153 h 620"/>
                <a:gd name="T58" fmla="*/ 482 w 643"/>
                <a:gd name="T59" fmla="*/ 115 h 620"/>
                <a:gd name="T60" fmla="*/ 421 w 643"/>
                <a:gd name="T61" fmla="*/ 107 h 620"/>
                <a:gd name="T62" fmla="*/ 382 w 643"/>
                <a:gd name="T63" fmla="*/ 77 h 620"/>
                <a:gd name="T64" fmla="*/ 337 w 643"/>
                <a:gd name="T65" fmla="*/ 69 h 620"/>
                <a:gd name="T66" fmla="*/ 337 w 643"/>
                <a:gd name="T67" fmla="*/ 92 h 620"/>
                <a:gd name="T68" fmla="*/ 306 w 643"/>
                <a:gd name="T69" fmla="*/ 84 h 620"/>
                <a:gd name="T70" fmla="*/ 268 w 643"/>
                <a:gd name="T71" fmla="*/ 16 h 620"/>
                <a:gd name="T72" fmla="*/ 153 w 643"/>
                <a:gd name="T73" fmla="*/ 31 h 620"/>
                <a:gd name="T74" fmla="*/ 138 w 643"/>
                <a:gd name="T75" fmla="*/ 107 h 620"/>
                <a:gd name="T76" fmla="*/ 168 w 643"/>
                <a:gd name="T77" fmla="*/ 153 h 620"/>
                <a:gd name="T78" fmla="*/ 138 w 643"/>
                <a:gd name="T79" fmla="*/ 168 h 620"/>
                <a:gd name="T80" fmla="*/ 123 w 643"/>
                <a:gd name="T81" fmla="*/ 252 h 620"/>
                <a:gd name="T82" fmla="*/ 85 w 643"/>
                <a:gd name="T83" fmla="*/ 245 h 620"/>
                <a:gd name="T84" fmla="*/ 23 w 643"/>
                <a:gd name="T85" fmla="*/ 298 h 620"/>
                <a:gd name="T86" fmla="*/ 23 w 643"/>
                <a:gd name="T87" fmla="*/ 298 h 620"/>
                <a:gd name="T88" fmla="*/ 23 w 643"/>
                <a:gd name="T89" fmla="*/ 344 h 620"/>
                <a:gd name="T90" fmla="*/ 0 w 643"/>
                <a:gd name="T91" fmla="*/ 367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43" h="620">
                  <a:moveTo>
                    <a:pt x="0" y="367"/>
                  </a:moveTo>
                  <a:lnTo>
                    <a:pt x="0" y="367"/>
                  </a:lnTo>
                  <a:cubicBezTo>
                    <a:pt x="23" y="390"/>
                    <a:pt x="62" y="405"/>
                    <a:pt x="85" y="420"/>
                  </a:cubicBezTo>
                  <a:cubicBezTo>
                    <a:pt x="100" y="436"/>
                    <a:pt x="107" y="466"/>
                    <a:pt x="130" y="474"/>
                  </a:cubicBezTo>
                  <a:cubicBezTo>
                    <a:pt x="153" y="481"/>
                    <a:pt x="184" y="474"/>
                    <a:pt x="214" y="481"/>
                  </a:cubicBezTo>
                  <a:cubicBezTo>
                    <a:pt x="237" y="481"/>
                    <a:pt x="268" y="474"/>
                    <a:pt x="291" y="489"/>
                  </a:cubicBezTo>
                  <a:cubicBezTo>
                    <a:pt x="306" y="504"/>
                    <a:pt x="291" y="550"/>
                    <a:pt x="306" y="558"/>
                  </a:cubicBezTo>
                  <a:cubicBezTo>
                    <a:pt x="337" y="566"/>
                    <a:pt x="352" y="527"/>
                    <a:pt x="382" y="527"/>
                  </a:cubicBezTo>
                  <a:cubicBezTo>
                    <a:pt x="390" y="527"/>
                    <a:pt x="398" y="550"/>
                    <a:pt x="405" y="558"/>
                  </a:cubicBezTo>
                  <a:cubicBezTo>
                    <a:pt x="413" y="573"/>
                    <a:pt x="398" y="589"/>
                    <a:pt x="405" y="596"/>
                  </a:cubicBezTo>
                  <a:cubicBezTo>
                    <a:pt x="413" y="611"/>
                    <a:pt x="436" y="611"/>
                    <a:pt x="451" y="619"/>
                  </a:cubicBezTo>
                  <a:lnTo>
                    <a:pt x="451" y="619"/>
                  </a:lnTo>
                  <a:cubicBezTo>
                    <a:pt x="466" y="611"/>
                    <a:pt x="489" y="604"/>
                    <a:pt x="504" y="589"/>
                  </a:cubicBezTo>
                  <a:cubicBezTo>
                    <a:pt x="512" y="573"/>
                    <a:pt x="504" y="550"/>
                    <a:pt x="520" y="543"/>
                  </a:cubicBezTo>
                  <a:cubicBezTo>
                    <a:pt x="535" y="535"/>
                    <a:pt x="558" y="543"/>
                    <a:pt x="581" y="550"/>
                  </a:cubicBezTo>
                  <a:lnTo>
                    <a:pt x="581" y="550"/>
                  </a:lnTo>
                  <a:cubicBezTo>
                    <a:pt x="604" y="527"/>
                    <a:pt x="642" y="520"/>
                    <a:pt x="642" y="489"/>
                  </a:cubicBezTo>
                  <a:cubicBezTo>
                    <a:pt x="642" y="474"/>
                    <a:pt x="604" y="481"/>
                    <a:pt x="589" y="481"/>
                  </a:cubicBezTo>
                  <a:cubicBezTo>
                    <a:pt x="573" y="481"/>
                    <a:pt x="550" y="481"/>
                    <a:pt x="543" y="474"/>
                  </a:cubicBezTo>
                  <a:cubicBezTo>
                    <a:pt x="527" y="458"/>
                    <a:pt x="535" y="443"/>
                    <a:pt x="543" y="420"/>
                  </a:cubicBezTo>
                  <a:cubicBezTo>
                    <a:pt x="543" y="397"/>
                    <a:pt x="550" y="375"/>
                    <a:pt x="550" y="352"/>
                  </a:cubicBezTo>
                  <a:cubicBezTo>
                    <a:pt x="550" y="336"/>
                    <a:pt x="566" y="314"/>
                    <a:pt x="558" y="291"/>
                  </a:cubicBezTo>
                  <a:cubicBezTo>
                    <a:pt x="558" y="283"/>
                    <a:pt x="543" y="275"/>
                    <a:pt x="527" y="268"/>
                  </a:cubicBezTo>
                  <a:cubicBezTo>
                    <a:pt x="504" y="260"/>
                    <a:pt x="466" y="268"/>
                    <a:pt x="443" y="245"/>
                  </a:cubicBezTo>
                  <a:cubicBezTo>
                    <a:pt x="428" y="237"/>
                    <a:pt x="428" y="222"/>
                    <a:pt x="421" y="199"/>
                  </a:cubicBezTo>
                  <a:lnTo>
                    <a:pt x="421" y="184"/>
                  </a:lnTo>
                  <a:cubicBezTo>
                    <a:pt x="451" y="184"/>
                    <a:pt x="482" y="222"/>
                    <a:pt x="512" y="214"/>
                  </a:cubicBezTo>
                  <a:cubicBezTo>
                    <a:pt x="527" y="206"/>
                    <a:pt x="512" y="176"/>
                    <a:pt x="512" y="153"/>
                  </a:cubicBezTo>
                  <a:lnTo>
                    <a:pt x="512" y="153"/>
                  </a:lnTo>
                  <a:cubicBezTo>
                    <a:pt x="504" y="138"/>
                    <a:pt x="497" y="130"/>
                    <a:pt x="482" y="115"/>
                  </a:cubicBezTo>
                  <a:cubicBezTo>
                    <a:pt x="482" y="115"/>
                    <a:pt x="428" y="107"/>
                    <a:pt x="421" y="107"/>
                  </a:cubicBezTo>
                  <a:lnTo>
                    <a:pt x="382" y="77"/>
                  </a:lnTo>
                  <a:cubicBezTo>
                    <a:pt x="367" y="69"/>
                    <a:pt x="352" y="69"/>
                    <a:pt x="337" y="69"/>
                  </a:cubicBezTo>
                  <a:cubicBezTo>
                    <a:pt x="329" y="69"/>
                    <a:pt x="337" y="84"/>
                    <a:pt x="337" y="92"/>
                  </a:cubicBezTo>
                  <a:cubicBezTo>
                    <a:pt x="321" y="92"/>
                    <a:pt x="314" y="92"/>
                    <a:pt x="306" y="84"/>
                  </a:cubicBezTo>
                  <a:cubicBezTo>
                    <a:pt x="291" y="61"/>
                    <a:pt x="291" y="23"/>
                    <a:pt x="268" y="16"/>
                  </a:cubicBezTo>
                  <a:cubicBezTo>
                    <a:pt x="229" y="0"/>
                    <a:pt x="191" y="23"/>
                    <a:pt x="153" y="31"/>
                  </a:cubicBezTo>
                  <a:cubicBezTo>
                    <a:pt x="153" y="31"/>
                    <a:pt x="138" y="100"/>
                    <a:pt x="138" y="107"/>
                  </a:cubicBezTo>
                  <a:lnTo>
                    <a:pt x="168" y="153"/>
                  </a:lnTo>
                  <a:cubicBezTo>
                    <a:pt x="153" y="161"/>
                    <a:pt x="138" y="153"/>
                    <a:pt x="138" y="168"/>
                  </a:cubicBezTo>
                  <a:cubicBezTo>
                    <a:pt x="123" y="191"/>
                    <a:pt x="138" y="229"/>
                    <a:pt x="123" y="252"/>
                  </a:cubicBezTo>
                  <a:cubicBezTo>
                    <a:pt x="115" y="268"/>
                    <a:pt x="100" y="237"/>
                    <a:pt x="85" y="245"/>
                  </a:cubicBezTo>
                  <a:cubicBezTo>
                    <a:pt x="62" y="252"/>
                    <a:pt x="46" y="283"/>
                    <a:pt x="23" y="298"/>
                  </a:cubicBezTo>
                  <a:lnTo>
                    <a:pt x="23" y="298"/>
                  </a:lnTo>
                  <a:cubicBezTo>
                    <a:pt x="23" y="314"/>
                    <a:pt x="31" y="329"/>
                    <a:pt x="23" y="344"/>
                  </a:cubicBezTo>
                  <a:cubicBezTo>
                    <a:pt x="23" y="352"/>
                    <a:pt x="8" y="359"/>
                    <a:pt x="0" y="36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23" name="Freeform 58"/>
            <p:cNvSpPr>
              <a:spLocks noChangeArrowheads="1"/>
            </p:cNvSpPr>
            <p:nvPr/>
          </p:nvSpPr>
          <p:spPr bwMode="auto">
            <a:xfrm>
              <a:off x="6955972" y="6716713"/>
              <a:ext cx="277795" cy="233362"/>
            </a:xfrm>
            <a:custGeom>
              <a:avLst/>
              <a:gdLst>
                <a:gd name="T0" fmla="*/ 91 w 772"/>
                <a:gd name="T1" fmla="*/ 99 h 650"/>
                <a:gd name="T2" fmla="*/ 91 w 772"/>
                <a:gd name="T3" fmla="*/ 99 h 650"/>
                <a:gd name="T4" fmla="*/ 91 w 772"/>
                <a:gd name="T5" fmla="*/ 160 h 650"/>
                <a:gd name="T6" fmla="*/ 0 w 772"/>
                <a:gd name="T7" fmla="*/ 130 h 650"/>
                <a:gd name="T8" fmla="*/ 0 w 772"/>
                <a:gd name="T9" fmla="*/ 145 h 650"/>
                <a:gd name="T10" fmla="*/ 22 w 772"/>
                <a:gd name="T11" fmla="*/ 191 h 650"/>
                <a:gd name="T12" fmla="*/ 106 w 772"/>
                <a:gd name="T13" fmla="*/ 214 h 650"/>
                <a:gd name="T14" fmla="*/ 137 w 772"/>
                <a:gd name="T15" fmla="*/ 237 h 650"/>
                <a:gd name="T16" fmla="*/ 129 w 772"/>
                <a:gd name="T17" fmla="*/ 298 h 650"/>
                <a:gd name="T18" fmla="*/ 122 w 772"/>
                <a:gd name="T19" fmla="*/ 366 h 650"/>
                <a:gd name="T20" fmla="*/ 122 w 772"/>
                <a:gd name="T21" fmla="*/ 420 h 650"/>
                <a:gd name="T22" fmla="*/ 168 w 772"/>
                <a:gd name="T23" fmla="*/ 427 h 650"/>
                <a:gd name="T24" fmla="*/ 221 w 772"/>
                <a:gd name="T25" fmla="*/ 435 h 650"/>
                <a:gd name="T26" fmla="*/ 160 w 772"/>
                <a:gd name="T27" fmla="*/ 496 h 650"/>
                <a:gd name="T28" fmla="*/ 160 w 772"/>
                <a:gd name="T29" fmla="*/ 496 h 650"/>
                <a:gd name="T30" fmla="*/ 191 w 772"/>
                <a:gd name="T31" fmla="*/ 519 h 650"/>
                <a:gd name="T32" fmla="*/ 229 w 772"/>
                <a:gd name="T33" fmla="*/ 519 h 650"/>
                <a:gd name="T34" fmla="*/ 236 w 772"/>
                <a:gd name="T35" fmla="*/ 580 h 650"/>
                <a:gd name="T36" fmla="*/ 336 w 772"/>
                <a:gd name="T37" fmla="*/ 626 h 650"/>
                <a:gd name="T38" fmla="*/ 336 w 772"/>
                <a:gd name="T39" fmla="*/ 626 h 650"/>
                <a:gd name="T40" fmla="*/ 351 w 772"/>
                <a:gd name="T41" fmla="*/ 649 h 650"/>
                <a:gd name="T42" fmla="*/ 389 w 772"/>
                <a:gd name="T43" fmla="*/ 603 h 650"/>
                <a:gd name="T44" fmla="*/ 420 w 772"/>
                <a:gd name="T45" fmla="*/ 565 h 650"/>
                <a:gd name="T46" fmla="*/ 458 w 772"/>
                <a:gd name="T47" fmla="*/ 588 h 650"/>
                <a:gd name="T48" fmla="*/ 534 w 772"/>
                <a:gd name="T49" fmla="*/ 573 h 650"/>
                <a:gd name="T50" fmla="*/ 603 w 772"/>
                <a:gd name="T51" fmla="*/ 588 h 650"/>
                <a:gd name="T52" fmla="*/ 687 w 772"/>
                <a:gd name="T53" fmla="*/ 557 h 650"/>
                <a:gd name="T54" fmla="*/ 733 w 772"/>
                <a:gd name="T55" fmla="*/ 535 h 650"/>
                <a:gd name="T56" fmla="*/ 733 w 772"/>
                <a:gd name="T57" fmla="*/ 535 h 650"/>
                <a:gd name="T58" fmla="*/ 771 w 772"/>
                <a:gd name="T59" fmla="*/ 466 h 650"/>
                <a:gd name="T60" fmla="*/ 733 w 772"/>
                <a:gd name="T61" fmla="*/ 450 h 650"/>
                <a:gd name="T62" fmla="*/ 740 w 772"/>
                <a:gd name="T63" fmla="*/ 336 h 650"/>
                <a:gd name="T64" fmla="*/ 679 w 772"/>
                <a:gd name="T65" fmla="*/ 237 h 650"/>
                <a:gd name="T66" fmla="*/ 733 w 772"/>
                <a:gd name="T67" fmla="*/ 206 h 650"/>
                <a:gd name="T68" fmla="*/ 725 w 772"/>
                <a:gd name="T69" fmla="*/ 107 h 650"/>
                <a:gd name="T70" fmla="*/ 748 w 772"/>
                <a:gd name="T71" fmla="*/ 68 h 650"/>
                <a:gd name="T72" fmla="*/ 702 w 772"/>
                <a:gd name="T73" fmla="*/ 15 h 650"/>
                <a:gd name="T74" fmla="*/ 603 w 772"/>
                <a:gd name="T75" fmla="*/ 7 h 650"/>
                <a:gd name="T76" fmla="*/ 557 w 772"/>
                <a:gd name="T77" fmla="*/ 53 h 650"/>
                <a:gd name="T78" fmla="*/ 527 w 772"/>
                <a:gd name="T79" fmla="*/ 99 h 650"/>
                <a:gd name="T80" fmla="*/ 443 w 772"/>
                <a:gd name="T81" fmla="*/ 91 h 650"/>
                <a:gd name="T82" fmla="*/ 366 w 772"/>
                <a:gd name="T83" fmla="*/ 114 h 650"/>
                <a:gd name="T84" fmla="*/ 328 w 772"/>
                <a:gd name="T85" fmla="*/ 99 h 650"/>
                <a:gd name="T86" fmla="*/ 305 w 772"/>
                <a:gd name="T87" fmla="*/ 114 h 650"/>
                <a:gd name="T88" fmla="*/ 221 w 772"/>
                <a:gd name="T89" fmla="*/ 107 h 650"/>
                <a:gd name="T90" fmla="*/ 129 w 772"/>
                <a:gd name="T91" fmla="*/ 76 h 650"/>
                <a:gd name="T92" fmla="*/ 91 w 772"/>
                <a:gd name="T93" fmla="*/ 99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2" h="650">
                  <a:moveTo>
                    <a:pt x="91" y="99"/>
                  </a:moveTo>
                  <a:lnTo>
                    <a:pt x="91" y="99"/>
                  </a:lnTo>
                  <a:cubicBezTo>
                    <a:pt x="91" y="122"/>
                    <a:pt x="106" y="152"/>
                    <a:pt x="91" y="160"/>
                  </a:cubicBezTo>
                  <a:cubicBezTo>
                    <a:pt x="61" y="168"/>
                    <a:pt x="30" y="130"/>
                    <a:pt x="0" y="130"/>
                  </a:cubicBezTo>
                  <a:lnTo>
                    <a:pt x="0" y="145"/>
                  </a:lnTo>
                  <a:cubicBezTo>
                    <a:pt x="7" y="168"/>
                    <a:pt x="7" y="183"/>
                    <a:pt x="22" y="191"/>
                  </a:cubicBezTo>
                  <a:cubicBezTo>
                    <a:pt x="45" y="214"/>
                    <a:pt x="83" y="206"/>
                    <a:pt x="106" y="214"/>
                  </a:cubicBezTo>
                  <a:cubicBezTo>
                    <a:pt x="122" y="221"/>
                    <a:pt x="137" y="229"/>
                    <a:pt x="137" y="237"/>
                  </a:cubicBezTo>
                  <a:cubicBezTo>
                    <a:pt x="145" y="260"/>
                    <a:pt x="129" y="282"/>
                    <a:pt x="129" y="298"/>
                  </a:cubicBezTo>
                  <a:cubicBezTo>
                    <a:pt x="129" y="321"/>
                    <a:pt x="122" y="343"/>
                    <a:pt x="122" y="366"/>
                  </a:cubicBezTo>
                  <a:cubicBezTo>
                    <a:pt x="114" y="389"/>
                    <a:pt x="106" y="404"/>
                    <a:pt x="122" y="420"/>
                  </a:cubicBezTo>
                  <a:cubicBezTo>
                    <a:pt x="129" y="427"/>
                    <a:pt x="152" y="427"/>
                    <a:pt x="168" y="427"/>
                  </a:cubicBezTo>
                  <a:cubicBezTo>
                    <a:pt x="183" y="427"/>
                    <a:pt x="221" y="420"/>
                    <a:pt x="221" y="435"/>
                  </a:cubicBezTo>
                  <a:cubicBezTo>
                    <a:pt x="221" y="466"/>
                    <a:pt x="183" y="473"/>
                    <a:pt x="160" y="496"/>
                  </a:cubicBezTo>
                  <a:lnTo>
                    <a:pt x="160" y="496"/>
                  </a:lnTo>
                  <a:cubicBezTo>
                    <a:pt x="168" y="504"/>
                    <a:pt x="183" y="512"/>
                    <a:pt x="191" y="519"/>
                  </a:cubicBezTo>
                  <a:cubicBezTo>
                    <a:pt x="206" y="519"/>
                    <a:pt x="221" y="512"/>
                    <a:pt x="229" y="519"/>
                  </a:cubicBezTo>
                  <a:cubicBezTo>
                    <a:pt x="236" y="535"/>
                    <a:pt x="221" y="565"/>
                    <a:pt x="236" y="580"/>
                  </a:cubicBezTo>
                  <a:cubicBezTo>
                    <a:pt x="267" y="611"/>
                    <a:pt x="305" y="611"/>
                    <a:pt x="336" y="626"/>
                  </a:cubicBezTo>
                  <a:lnTo>
                    <a:pt x="336" y="626"/>
                  </a:lnTo>
                  <a:cubicBezTo>
                    <a:pt x="343" y="634"/>
                    <a:pt x="343" y="649"/>
                    <a:pt x="351" y="649"/>
                  </a:cubicBezTo>
                  <a:cubicBezTo>
                    <a:pt x="374" y="634"/>
                    <a:pt x="374" y="618"/>
                    <a:pt x="389" y="603"/>
                  </a:cubicBezTo>
                  <a:cubicBezTo>
                    <a:pt x="397" y="588"/>
                    <a:pt x="404" y="573"/>
                    <a:pt x="420" y="565"/>
                  </a:cubicBezTo>
                  <a:cubicBezTo>
                    <a:pt x="435" y="565"/>
                    <a:pt x="443" y="588"/>
                    <a:pt x="458" y="588"/>
                  </a:cubicBezTo>
                  <a:cubicBezTo>
                    <a:pt x="481" y="588"/>
                    <a:pt x="511" y="573"/>
                    <a:pt x="534" y="573"/>
                  </a:cubicBezTo>
                  <a:cubicBezTo>
                    <a:pt x="557" y="573"/>
                    <a:pt x="580" y="588"/>
                    <a:pt x="603" y="588"/>
                  </a:cubicBezTo>
                  <a:cubicBezTo>
                    <a:pt x="633" y="580"/>
                    <a:pt x="656" y="565"/>
                    <a:pt x="687" y="557"/>
                  </a:cubicBezTo>
                  <a:cubicBezTo>
                    <a:pt x="702" y="550"/>
                    <a:pt x="717" y="542"/>
                    <a:pt x="733" y="535"/>
                  </a:cubicBezTo>
                  <a:lnTo>
                    <a:pt x="733" y="535"/>
                  </a:lnTo>
                  <a:cubicBezTo>
                    <a:pt x="748" y="512"/>
                    <a:pt x="771" y="489"/>
                    <a:pt x="771" y="466"/>
                  </a:cubicBezTo>
                  <a:cubicBezTo>
                    <a:pt x="771" y="458"/>
                    <a:pt x="740" y="458"/>
                    <a:pt x="733" y="450"/>
                  </a:cubicBezTo>
                  <a:cubicBezTo>
                    <a:pt x="725" y="412"/>
                    <a:pt x="756" y="374"/>
                    <a:pt x="740" y="336"/>
                  </a:cubicBezTo>
                  <a:cubicBezTo>
                    <a:pt x="733" y="298"/>
                    <a:pt x="679" y="275"/>
                    <a:pt x="679" y="237"/>
                  </a:cubicBezTo>
                  <a:cubicBezTo>
                    <a:pt x="679" y="214"/>
                    <a:pt x="725" y="229"/>
                    <a:pt x="733" y="206"/>
                  </a:cubicBezTo>
                  <a:cubicBezTo>
                    <a:pt x="748" y="175"/>
                    <a:pt x="725" y="137"/>
                    <a:pt x="725" y="107"/>
                  </a:cubicBezTo>
                  <a:cubicBezTo>
                    <a:pt x="733" y="91"/>
                    <a:pt x="756" y="84"/>
                    <a:pt x="748" y="68"/>
                  </a:cubicBezTo>
                  <a:cubicBezTo>
                    <a:pt x="740" y="46"/>
                    <a:pt x="725" y="23"/>
                    <a:pt x="702" y="15"/>
                  </a:cubicBezTo>
                  <a:cubicBezTo>
                    <a:pt x="672" y="7"/>
                    <a:pt x="633" y="0"/>
                    <a:pt x="603" y="7"/>
                  </a:cubicBezTo>
                  <a:cubicBezTo>
                    <a:pt x="580" y="15"/>
                    <a:pt x="572" y="38"/>
                    <a:pt x="557" y="53"/>
                  </a:cubicBezTo>
                  <a:cubicBezTo>
                    <a:pt x="550" y="68"/>
                    <a:pt x="542" y="91"/>
                    <a:pt x="527" y="99"/>
                  </a:cubicBezTo>
                  <a:cubicBezTo>
                    <a:pt x="504" y="107"/>
                    <a:pt x="465" y="91"/>
                    <a:pt x="443" y="91"/>
                  </a:cubicBezTo>
                  <a:cubicBezTo>
                    <a:pt x="412" y="99"/>
                    <a:pt x="389" y="114"/>
                    <a:pt x="366" y="114"/>
                  </a:cubicBezTo>
                  <a:cubicBezTo>
                    <a:pt x="351" y="114"/>
                    <a:pt x="343" y="99"/>
                    <a:pt x="328" y="99"/>
                  </a:cubicBezTo>
                  <a:cubicBezTo>
                    <a:pt x="320" y="99"/>
                    <a:pt x="313" y="114"/>
                    <a:pt x="305" y="114"/>
                  </a:cubicBezTo>
                  <a:cubicBezTo>
                    <a:pt x="275" y="122"/>
                    <a:pt x="252" y="114"/>
                    <a:pt x="221" y="107"/>
                  </a:cubicBezTo>
                  <a:cubicBezTo>
                    <a:pt x="191" y="99"/>
                    <a:pt x="160" y="76"/>
                    <a:pt x="129" y="76"/>
                  </a:cubicBezTo>
                  <a:cubicBezTo>
                    <a:pt x="114" y="76"/>
                    <a:pt x="106" y="91"/>
                    <a:pt x="91" y="99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28" name="Freeform 59"/>
            <p:cNvSpPr>
              <a:spLocks noChangeArrowheads="1"/>
            </p:cNvSpPr>
            <p:nvPr/>
          </p:nvSpPr>
          <p:spPr bwMode="auto">
            <a:xfrm>
              <a:off x="6224183" y="6443663"/>
              <a:ext cx="592098" cy="696912"/>
            </a:xfrm>
            <a:custGeom>
              <a:avLst/>
              <a:gdLst>
                <a:gd name="T0" fmla="*/ 343 w 1643"/>
                <a:gd name="T1" fmla="*/ 146 h 1934"/>
                <a:gd name="T2" fmla="*/ 252 w 1643"/>
                <a:gd name="T3" fmla="*/ 581 h 1934"/>
                <a:gd name="T4" fmla="*/ 38 w 1643"/>
                <a:gd name="T5" fmla="*/ 909 h 1934"/>
                <a:gd name="T6" fmla="*/ 122 w 1643"/>
                <a:gd name="T7" fmla="*/ 917 h 1934"/>
                <a:gd name="T8" fmla="*/ 160 w 1643"/>
                <a:gd name="T9" fmla="*/ 1032 h 1934"/>
                <a:gd name="T10" fmla="*/ 137 w 1643"/>
                <a:gd name="T11" fmla="*/ 1123 h 1934"/>
                <a:gd name="T12" fmla="*/ 30 w 1643"/>
                <a:gd name="T13" fmla="*/ 1169 h 1934"/>
                <a:gd name="T14" fmla="*/ 30 w 1643"/>
                <a:gd name="T15" fmla="*/ 1177 h 1934"/>
                <a:gd name="T16" fmla="*/ 382 w 1643"/>
                <a:gd name="T17" fmla="*/ 1284 h 1934"/>
                <a:gd name="T18" fmla="*/ 237 w 1643"/>
                <a:gd name="T19" fmla="*/ 1398 h 1934"/>
                <a:gd name="T20" fmla="*/ 198 w 1643"/>
                <a:gd name="T21" fmla="*/ 1574 h 1934"/>
                <a:gd name="T22" fmla="*/ 91 w 1643"/>
                <a:gd name="T23" fmla="*/ 1658 h 1934"/>
                <a:gd name="T24" fmla="*/ 91 w 1643"/>
                <a:gd name="T25" fmla="*/ 1734 h 1934"/>
                <a:gd name="T26" fmla="*/ 168 w 1643"/>
                <a:gd name="T27" fmla="*/ 1849 h 1934"/>
                <a:gd name="T28" fmla="*/ 183 w 1643"/>
                <a:gd name="T29" fmla="*/ 1750 h 1934"/>
                <a:gd name="T30" fmla="*/ 321 w 1643"/>
                <a:gd name="T31" fmla="*/ 1834 h 1934"/>
                <a:gd name="T32" fmla="*/ 313 w 1643"/>
                <a:gd name="T33" fmla="*/ 1887 h 1934"/>
                <a:gd name="T34" fmla="*/ 427 w 1643"/>
                <a:gd name="T35" fmla="*/ 1933 h 1934"/>
                <a:gd name="T36" fmla="*/ 481 w 1643"/>
                <a:gd name="T37" fmla="*/ 1826 h 1934"/>
                <a:gd name="T38" fmla="*/ 573 w 1643"/>
                <a:gd name="T39" fmla="*/ 1849 h 1934"/>
                <a:gd name="T40" fmla="*/ 603 w 1643"/>
                <a:gd name="T41" fmla="*/ 1750 h 1934"/>
                <a:gd name="T42" fmla="*/ 618 w 1643"/>
                <a:gd name="T43" fmla="*/ 1650 h 1934"/>
                <a:gd name="T44" fmla="*/ 733 w 1643"/>
                <a:gd name="T45" fmla="*/ 1673 h 1934"/>
                <a:gd name="T46" fmla="*/ 779 w 1643"/>
                <a:gd name="T47" fmla="*/ 1620 h 1934"/>
                <a:gd name="T48" fmla="*/ 901 w 1643"/>
                <a:gd name="T49" fmla="*/ 1582 h 1934"/>
                <a:gd name="T50" fmla="*/ 878 w 1643"/>
                <a:gd name="T51" fmla="*/ 1475 h 1934"/>
                <a:gd name="T52" fmla="*/ 840 w 1643"/>
                <a:gd name="T53" fmla="*/ 1330 h 1934"/>
                <a:gd name="T54" fmla="*/ 855 w 1643"/>
                <a:gd name="T55" fmla="*/ 1223 h 1934"/>
                <a:gd name="T56" fmla="*/ 962 w 1643"/>
                <a:gd name="T57" fmla="*/ 1184 h 1934"/>
                <a:gd name="T58" fmla="*/ 1023 w 1643"/>
                <a:gd name="T59" fmla="*/ 1307 h 1934"/>
                <a:gd name="T60" fmla="*/ 1115 w 1643"/>
                <a:gd name="T61" fmla="*/ 1429 h 1934"/>
                <a:gd name="T62" fmla="*/ 1130 w 1643"/>
                <a:gd name="T63" fmla="*/ 1475 h 1934"/>
                <a:gd name="T64" fmla="*/ 1229 w 1643"/>
                <a:gd name="T65" fmla="*/ 1490 h 1934"/>
                <a:gd name="T66" fmla="*/ 1283 w 1643"/>
                <a:gd name="T67" fmla="*/ 1612 h 1934"/>
                <a:gd name="T68" fmla="*/ 1283 w 1643"/>
                <a:gd name="T69" fmla="*/ 1521 h 1934"/>
                <a:gd name="T70" fmla="*/ 1413 w 1643"/>
                <a:gd name="T71" fmla="*/ 1536 h 1934"/>
                <a:gd name="T72" fmla="*/ 1443 w 1643"/>
                <a:gd name="T73" fmla="*/ 1498 h 1934"/>
                <a:gd name="T74" fmla="*/ 1474 w 1643"/>
                <a:gd name="T75" fmla="*/ 1452 h 1934"/>
                <a:gd name="T76" fmla="*/ 1504 w 1643"/>
                <a:gd name="T77" fmla="*/ 1261 h 1934"/>
                <a:gd name="T78" fmla="*/ 1512 w 1643"/>
                <a:gd name="T79" fmla="*/ 1131 h 1934"/>
                <a:gd name="T80" fmla="*/ 1611 w 1643"/>
                <a:gd name="T81" fmla="*/ 1070 h 1934"/>
                <a:gd name="T82" fmla="*/ 1634 w 1643"/>
                <a:gd name="T83" fmla="*/ 1001 h 1934"/>
                <a:gd name="T84" fmla="*/ 1489 w 1643"/>
                <a:gd name="T85" fmla="*/ 795 h 1934"/>
                <a:gd name="T86" fmla="*/ 1398 w 1643"/>
                <a:gd name="T87" fmla="*/ 680 h 1934"/>
                <a:gd name="T88" fmla="*/ 1275 w 1643"/>
                <a:gd name="T89" fmla="*/ 665 h 1934"/>
                <a:gd name="T90" fmla="*/ 1153 w 1643"/>
                <a:gd name="T91" fmla="*/ 482 h 1934"/>
                <a:gd name="T92" fmla="*/ 977 w 1643"/>
                <a:gd name="T93" fmla="*/ 436 h 1934"/>
                <a:gd name="T94" fmla="*/ 871 w 1643"/>
                <a:gd name="T95" fmla="*/ 275 h 1934"/>
                <a:gd name="T96" fmla="*/ 954 w 1643"/>
                <a:gd name="T97" fmla="*/ 123 h 1934"/>
                <a:gd name="T98" fmla="*/ 1008 w 1643"/>
                <a:gd name="T99" fmla="*/ 23 h 1934"/>
                <a:gd name="T100" fmla="*/ 909 w 1643"/>
                <a:gd name="T101" fmla="*/ 16 h 1934"/>
                <a:gd name="T102" fmla="*/ 718 w 1643"/>
                <a:gd name="T103" fmla="*/ 69 h 1934"/>
                <a:gd name="T104" fmla="*/ 580 w 1643"/>
                <a:gd name="T105" fmla="*/ 146 h 1934"/>
                <a:gd name="T106" fmla="*/ 458 w 1643"/>
                <a:gd name="T107" fmla="*/ 77 h 1934"/>
                <a:gd name="T108" fmla="*/ 343 w 1643"/>
                <a:gd name="T109" fmla="*/ 146 h 1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3" h="1934">
                  <a:moveTo>
                    <a:pt x="343" y="146"/>
                  </a:moveTo>
                  <a:lnTo>
                    <a:pt x="343" y="146"/>
                  </a:lnTo>
                  <a:cubicBezTo>
                    <a:pt x="374" y="245"/>
                    <a:pt x="420" y="360"/>
                    <a:pt x="305" y="405"/>
                  </a:cubicBezTo>
                  <a:cubicBezTo>
                    <a:pt x="267" y="421"/>
                    <a:pt x="221" y="566"/>
                    <a:pt x="252" y="581"/>
                  </a:cubicBezTo>
                  <a:cubicBezTo>
                    <a:pt x="382" y="650"/>
                    <a:pt x="168" y="795"/>
                    <a:pt x="84" y="803"/>
                  </a:cubicBezTo>
                  <a:cubicBezTo>
                    <a:pt x="0" y="803"/>
                    <a:pt x="38" y="856"/>
                    <a:pt x="38" y="909"/>
                  </a:cubicBezTo>
                  <a:lnTo>
                    <a:pt x="38" y="909"/>
                  </a:lnTo>
                  <a:cubicBezTo>
                    <a:pt x="68" y="909"/>
                    <a:pt x="91" y="902"/>
                    <a:pt x="122" y="917"/>
                  </a:cubicBezTo>
                  <a:cubicBezTo>
                    <a:pt x="137" y="925"/>
                    <a:pt x="137" y="955"/>
                    <a:pt x="145" y="971"/>
                  </a:cubicBezTo>
                  <a:cubicBezTo>
                    <a:pt x="153" y="994"/>
                    <a:pt x="153" y="1017"/>
                    <a:pt x="160" y="1032"/>
                  </a:cubicBezTo>
                  <a:cubicBezTo>
                    <a:pt x="160" y="1047"/>
                    <a:pt x="175" y="1062"/>
                    <a:pt x="168" y="1078"/>
                  </a:cubicBezTo>
                  <a:cubicBezTo>
                    <a:pt x="168" y="1100"/>
                    <a:pt x="145" y="1108"/>
                    <a:pt x="137" y="1123"/>
                  </a:cubicBezTo>
                  <a:cubicBezTo>
                    <a:pt x="122" y="1131"/>
                    <a:pt x="122" y="1146"/>
                    <a:pt x="107" y="1154"/>
                  </a:cubicBezTo>
                  <a:cubicBezTo>
                    <a:pt x="84" y="1161"/>
                    <a:pt x="53" y="1161"/>
                    <a:pt x="30" y="1169"/>
                  </a:cubicBezTo>
                  <a:lnTo>
                    <a:pt x="30" y="1169"/>
                  </a:lnTo>
                  <a:lnTo>
                    <a:pt x="30" y="1177"/>
                  </a:lnTo>
                  <a:cubicBezTo>
                    <a:pt x="38" y="1375"/>
                    <a:pt x="267" y="1284"/>
                    <a:pt x="382" y="1284"/>
                  </a:cubicBezTo>
                  <a:lnTo>
                    <a:pt x="382" y="1284"/>
                  </a:lnTo>
                  <a:cubicBezTo>
                    <a:pt x="343" y="1284"/>
                    <a:pt x="275" y="1360"/>
                    <a:pt x="237" y="1398"/>
                  </a:cubicBezTo>
                  <a:lnTo>
                    <a:pt x="237" y="1398"/>
                  </a:lnTo>
                  <a:cubicBezTo>
                    <a:pt x="244" y="1414"/>
                    <a:pt x="252" y="1436"/>
                    <a:pt x="252" y="1459"/>
                  </a:cubicBezTo>
                  <a:cubicBezTo>
                    <a:pt x="244" y="1498"/>
                    <a:pt x="229" y="1544"/>
                    <a:pt x="198" y="1574"/>
                  </a:cubicBezTo>
                  <a:cubicBezTo>
                    <a:pt x="191" y="1582"/>
                    <a:pt x="168" y="1566"/>
                    <a:pt x="153" y="1574"/>
                  </a:cubicBezTo>
                  <a:cubicBezTo>
                    <a:pt x="130" y="1597"/>
                    <a:pt x="99" y="1620"/>
                    <a:pt x="91" y="1658"/>
                  </a:cubicBezTo>
                  <a:cubicBezTo>
                    <a:pt x="91" y="1673"/>
                    <a:pt x="130" y="1681"/>
                    <a:pt x="122" y="1696"/>
                  </a:cubicBezTo>
                  <a:cubicBezTo>
                    <a:pt x="122" y="1711"/>
                    <a:pt x="99" y="1719"/>
                    <a:pt x="91" y="1734"/>
                  </a:cubicBezTo>
                  <a:cubicBezTo>
                    <a:pt x="84" y="1750"/>
                    <a:pt x="76" y="1773"/>
                    <a:pt x="84" y="1788"/>
                  </a:cubicBezTo>
                  <a:cubicBezTo>
                    <a:pt x="107" y="1819"/>
                    <a:pt x="137" y="1834"/>
                    <a:pt x="168" y="1849"/>
                  </a:cubicBezTo>
                  <a:cubicBezTo>
                    <a:pt x="183" y="1857"/>
                    <a:pt x="214" y="1864"/>
                    <a:pt x="214" y="1849"/>
                  </a:cubicBezTo>
                  <a:cubicBezTo>
                    <a:pt x="214" y="1819"/>
                    <a:pt x="153" y="1773"/>
                    <a:pt x="183" y="1750"/>
                  </a:cubicBezTo>
                  <a:cubicBezTo>
                    <a:pt x="214" y="1734"/>
                    <a:pt x="229" y="1803"/>
                    <a:pt x="260" y="1819"/>
                  </a:cubicBezTo>
                  <a:cubicBezTo>
                    <a:pt x="275" y="1826"/>
                    <a:pt x="305" y="1819"/>
                    <a:pt x="321" y="1834"/>
                  </a:cubicBezTo>
                  <a:cubicBezTo>
                    <a:pt x="336" y="1849"/>
                    <a:pt x="321" y="1872"/>
                    <a:pt x="313" y="1887"/>
                  </a:cubicBezTo>
                  <a:lnTo>
                    <a:pt x="313" y="1887"/>
                  </a:lnTo>
                  <a:cubicBezTo>
                    <a:pt x="427" y="1933"/>
                    <a:pt x="427" y="1933"/>
                    <a:pt x="427" y="1933"/>
                  </a:cubicBezTo>
                  <a:lnTo>
                    <a:pt x="427" y="1933"/>
                  </a:lnTo>
                  <a:cubicBezTo>
                    <a:pt x="427" y="1918"/>
                    <a:pt x="420" y="1895"/>
                    <a:pt x="427" y="1872"/>
                  </a:cubicBezTo>
                  <a:cubicBezTo>
                    <a:pt x="443" y="1857"/>
                    <a:pt x="458" y="1834"/>
                    <a:pt x="481" y="1826"/>
                  </a:cubicBezTo>
                  <a:cubicBezTo>
                    <a:pt x="496" y="1826"/>
                    <a:pt x="496" y="1864"/>
                    <a:pt x="512" y="1872"/>
                  </a:cubicBezTo>
                  <a:cubicBezTo>
                    <a:pt x="535" y="1872"/>
                    <a:pt x="550" y="1857"/>
                    <a:pt x="573" y="1849"/>
                  </a:cubicBezTo>
                  <a:lnTo>
                    <a:pt x="573" y="1849"/>
                  </a:lnTo>
                  <a:cubicBezTo>
                    <a:pt x="580" y="1819"/>
                    <a:pt x="603" y="1788"/>
                    <a:pt x="603" y="1750"/>
                  </a:cubicBezTo>
                  <a:cubicBezTo>
                    <a:pt x="611" y="1734"/>
                    <a:pt x="596" y="1711"/>
                    <a:pt x="596" y="1696"/>
                  </a:cubicBezTo>
                  <a:lnTo>
                    <a:pt x="618" y="1650"/>
                  </a:lnTo>
                  <a:lnTo>
                    <a:pt x="702" y="1620"/>
                  </a:lnTo>
                  <a:cubicBezTo>
                    <a:pt x="710" y="1635"/>
                    <a:pt x="718" y="1650"/>
                    <a:pt x="733" y="1673"/>
                  </a:cubicBezTo>
                  <a:lnTo>
                    <a:pt x="733" y="1673"/>
                  </a:lnTo>
                  <a:cubicBezTo>
                    <a:pt x="748" y="1650"/>
                    <a:pt x="756" y="1620"/>
                    <a:pt x="779" y="1620"/>
                  </a:cubicBezTo>
                  <a:cubicBezTo>
                    <a:pt x="802" y="1612"/>
                    <a:pt x="810" y="1658"/>
                    <a:pt x="825" y="1658"/>
                  </a:cubicBezTo>
                  <a:cubicBezTo>
                    <a:pt x="863" y="1643"/>
                    <a:pt x="878" y="1605"/>
                    <a:pt x="901" y="1582"/>
                  </a:cubicBezTo>
                  <a:lnTo>
                    <a:pt x="901" y="1582"/>
                  </a:lnTo>
                  <a:cubicBezTo>
                    <a:pt x="893" y="1544"/>
                    <a:pt x="878" y="1513"/>
                    <a:pt x="878" y="1475"/>
                  </a:cubicBezTo>
                  <a:cubicBezTo>
                    <a:pt x="878" y="1444"/>
                    <a:pt x="909" y="1421"/>
                    <a:pt x="909" y="1398"/>
                  </a:cubicBezTo>
                  <a:cubicBezTo>
                    <a:pt x="901" y="1368"/>
                    <a:pt x="855" y="1360"/>
                    <a:pt x="840" y="1330"/>
                  </a:cubicBezTo>
                  <a:cubicBezTo>
                    <a:pt x="832" y="1314"/>
                    <a:pt x="840" y="1284"/>
                    <a:pt x="840" y="1261"/>
                  </a:cubicBezTo>
                  <a:cubicBezTo>
                    <a:pt x="848" y="1253"/>
                    <a:pt x="840" y="1230"/>
                    <a:pt x="855" y="1223"/>
                  </a:cubicBezTo>
                  <a:cubicBezTo>
                    <a:pt x="871" y="1207"/>
                    <a:pt x="901" y="1223"/>
                    <a:pt x="916" y="1215"/>
                  </a:cubicBezTo>
                  <a:cubicBezTo>
                    <a:pt x="932" y="1207"/>
                    <a:pt x="939" y="1184"/>
                    <a:pt x="962" y="1184"/>
                  </a:cubicBezTo>
                  <a:cubicBezTo>
                    <a:pt x="977" y="1184"/>
                    <a:pt x="993" y="1200"/>
                    <a:pt x="1008" y="1215"/>
                  </a:cubicBezTo>
                  <a:lnTo>
                    <a:pt x="1023" y="1307"/>
                  </a:lnTo>
                  <a:cubicBezTo>
                    <a:pt x="1023" y="1314"/>
                    <a:pt x="1077" y="1414"/>
                    <a:pt x="1077" y="1414"/>
                  </a:cubicBezTo>
                  <a:cubicBezTo>
                    <a:pt x="1092" y="1414"/>
                    <a:pt x="1107" y="1414"/>
                    <a:pt x="1115" y="1429"/>
                  </a:cubicBezTo>
                  <a:cubicBezTo>
                    <a:pt x="1123" y="1436"/>
                    <a:pt x="1123" y="1459"/>
                    <a:pt x="1130" y="1475"/>
                  </a:cubicBezTo>
                  <a:lnTo>
                    <a:pt x="1130" y="1475"/>
                  </a:lnTo>
                  <a:cubicBezTo>
                    <a:pt x="1153" y="1490"/>
                    <a:pt x="1176" y="1505"/>
                    <a:pt x="1199" y="1505"/>
                  </a:cubicBezTo>
                  <a:cubicBezTo>
                    <a:pt x="1214" y="1513"/>
                    <a:pt x="1222" y="1475"/>
                    <a:pt x="1229" y="1490"/>
                  </a:cubicBezTo>
                  <a:cubicBezTo>
                    <a:pt x="1245" y="1513"/>
                    <a:pt x="1237" y="1559"/>
                    <a:pt x="1252" y="1589"/>
                  </a:cubicBezTo>
                  <a:cubicBezTo>
                    <a:pt x="1260" y="1605"/>
                    <a:pt x="1275" y="1605"/>
                    <a:pt x="1283" y="1612"/>
                  </a:cubicBezTo>
                  <a:lnTo>
                    <a:pt x="1283" y="1612"/>
                  </a:lnTo>
                  <a:cubicBezTo>
                    <a:pt x="1283" y="1582"/>
                    <a:pt x="1268" y="1544"/>
                    <a:pt x="1283" y="1521"/>
                  </a:cubicBezTo>
                  <a:cubicBezTo>
                    <a:pt x="1298" y="1490"/>
                    <a:pt x="1329" y="1467"/>
                    <a:pt x="1359" y="1475"/>
                  </a:cubicBezTo>
                  <a:cubicBezTo>
                    <a:pt x="1390" y="1475"/>
                    <a:pt x="1390" y="1521"/>
                    <a:pt x="1413" y="1536"/>
                  </a:cubicBezTo>
                  <a:cubicBezTo>
                    <a:pt x="1428" y="1551"/>
                    <a:pt x="1443" y="1566"/>
                    <a:pt x="1451" y="1559"/>
                  </a:cubicBezTo>
                  <a:cubicBezTo>
                    <a:pt x="1466" y="1544"/>
                    <a:pt x="1436" y="1513"/>
                    <a:pt x="1443" y="1498"/>
                  </a:cubicBezTo>
                  <a:cubicBezTo>
                    <a:pt x="1443" y="1482"/>
                    <a:pt x="1466" y="1467"/>
                    <a:pt x="1474" y="1452"/>
                  </a:cubicBezTo>
                  <a:lnTo>
                    <a:pt x="1474" y="1452"/>
                  </a:lnTo>
                  <a:cubicBezTo>
                    <a:pt x="1459" y="1414"/>
                    <a:pt x="1428" y="1375"/>
                    <a:pt x="1436" y="1330"/>
                  </a:cubicBezTo>
                  <a:cubicBezTo>
                    <a:pt x="1436" y="1299"/>
                    <a:pt x="1489" y="1292"/>
                    <a:pt x="1504" y="1261"/>
                  </a:cubicBezTo>
                  <a:cubicBezTo>
                    <a:pt x="1512" y="1238"/>
                    <a:pt x="1497" y="1200"/>
                    <a:pt x="1504" y="1177"/>
                  </a:cubicBezTo>
                  <a:cubicBezTo>
                    <a:pt x="1504" y="1161"/>
                    <a:pt x="1504" y="1139"/>
                    <a:pt x="1512" y="1131"/>
                  </a:cubicBezTo>
                  <a:cubicBezTo>
                    <a:pt x="1543" y="1108"/>
                    <a:pt x="1581" y="1093"/>
                    <a:pt x="1611" y="1070"/>
                  </a:cubicBezTo>
                  <a:lnTo>
                    <a:pt x="1611" y="1070"/>
                  </a:lnTo>
                  <a:cubicBezTo>
                    <a:pt x="1619" y="1062"/>
                    <a:pt x="1634" y="1055"/>
                    <a:pt x="1634" y="1047"/>
                  </a:cubicBezTo>
                  <a:cubicBezTo>
                    <a:pt x="1642" y="1032"/>
                    <a:pt x="1634" y="1017"/>
                    <a:pt x="1634" y="1001"/>
                  </a:cubicBezTo>
                  <a:lnTo>
                    <a:pt x="1634" y="1001"/>
                  </a:lnTo>
                  <a:cubicBezTo>
                    <a:pt x="1581" y="932"/>
                    <a:pt x="1543" y="856"/>
                    <a:pt x="1489" y="795"/>
                  </a:cubicBezTo>
                  <a:cubicBezTo>
                    <a:pt x="1474" y="772"/>
                    <a:pt x="1436" y="787"/>
                    <a:pt x="1421" y="772"/>
                  </a:cubicBezTo>
                  <a:cubicBezTo>
                    <a:pt x="1405" y="749"/>
                    <a:pt x="1413" y="711"/>
                    <a:pt x="1398" y="680"/>
                  </a:cubicBezTo>
                  <a:cubicBezTo>
                    <a:pt x="1390" y="673"/>
                    <a:pt x="1367" y="665"/>
                    <a:pt x="1352" y="665"/>
                  </a:cubicBezTo>
                  <a:cubicBezTo>
                    <a:pt x="1329" y="657"/>
                    <a:pt x="1298" y="673"/>
                    <a:pt x="1275" y="665"/>
                  </a:cubicBezTo>
                  <a:cubicBezTo>
                    <a:pt x="1237" y="657"/>
                    <a:pt x="1191" y="642"/>
                    <a:pt x="1168" y="612"/>
                  </a:cubicBezTo>
                  <a:cubicBezTo>
                    <a:pt x="1146" y="573"/>
                    <a:pt x="1184" y="512"/>
                    <a:pt x="1153" y="482"/>
                  </a:cubicBezTo>
                  <a:cubicBezTo>
                    <a:pt x="1107" y="451"/>
                    <a:pt x="1039" y="505"/>
                    <a:pt x="985" y="489"/>
                  </a:cubicBezTo>
                  <a:cubicBezTo>
                    <a:pt x="970" y="482"/>
                    <a:pt x="985" y="451"/>
                    <a:pt x="977" y="436"/>
                  </a:cubicBezTo>
                  <a:cubicBezTo>
                    <a:pt x="977" y="413"/>
                    <a:pt x="970" y="390"/>
                    <a:pt x="954" y="367"/>
                  </a:cubicBezTo>
                  <a:cubicBezTo>
                    <a:pt x="932" y="337"/>
                    <a:pt x="886" y="314"/>
                    <a:pt x="871" y="275"/>
                  </a:cubicBezTo>
                  <a:cubicBezTo>
                    <a:pt x="863" y="253"/>
                    <a:pt x="871" y="222"/>
                    <a:pt x="878" y="199"/>
                  </a:cubicBezTo>
                  <a:cubicBezTo>
                    <a:pt x="893" y="169"/>
                    <a:pt x="932" y="153"/>
                    <a:pt x="954" y="123"/>
                  </a:cubicBezTo>
                  <a:cubicBezTo>
                    <a:pt x="977" y="92"/>
                    <a:pt x="993" y="54"/>
                    <a:pt x="1008" y="23"/>
                  </a:cubicBezTo>
                  <a:lnTo>
                    <a:pt x="1008" y="23"/>
                  </a:lnTo>
                  <a:cubicBezTo>
                    <a:pt x="1008" y="16"/>
                    <a:pt x="1008" y="8"/>
                    <a:pt x="1000" y="8"/>
                  </a:cubicBezTo>
                  <a:cubicBezTo>
                    <a:pt x="970" y="0"/>
                    <a:pt x="939" y="8"/>
                    <a:pt x="909" y="16"/>
                  </a:cubicBezTo>
                  <a:cubicBezTo>
                    <a:pt x="878" y="31"/>
                    <a:pt x="855" y="69"/>
                    <a:pt x="817" y="77"/>
                  </a:cubicBezTo>
                  <a:cubicBezTo>
                    <a:pt x="787" y="92"/>
                    <a:pt x="748" y="62"/>
                    <a:pt x="718" y="69"/>
                  </a:cubicBezTo>
                  <a:cubicBezTo>
                    <a:pt x="687" y="85"/>
                    <a:pt x="687" y="138"/>
                    <a:pt x="657" y="161"/>
                  </a:cubicBezTo>
                  <a:cubicBezTo>
                    <a:pt x="634" y="169"/>
                    <a:pt x="603" y="161"/>
                    <a:pt x="580" y="146"/>
                  </a:cubicBezTo>
                  <a:cubicBezTo>
                    <a:pt x="557" y="130"/>
                    <a:pt x="565" y="100"/>
                    <a:pt x="542" y="92"/>
                  </a:cubicBezTo>
                  <a:cubicBezTo>
                    <a:pt x="519" y="77"/>
                    <a:pt x="489" y="69"/>
                    <a:pt x="458" y="77"/>
                  </a:cubicBezTo>
                  <a:cubicBezTo>
                    <a:pt x="450" y="85"/>
                    <a:pt x="450" y="108"/>
                    <a:pt x="443" y="115"/>
                  </a:cubicBezTo>
                  <a:cubicBezTo>
                    <a:pt x="412" y="130"/>
                    <a:pt x="382" y="130"/>
                    <a:pt x="343" y="14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29" name="Freeform 60"/>
            <p:cNvSpPr>
              <a:spLocks noChangeArrowheads="1"/>
            </p:cNvSpPr>
            <p:nvPr/>
          </p:nvSpPr>
          <p:spPr bwMode="auto">
            <a:xfrm>
              <a:off x="6235294" y="6769100"/>
              <a:ext cx="52385" cy="96838"/>
            </a:xfrm>
            <a:custGeom>
              <a:avLst/>
              <a:gdLst>
                <a:gd name="T0" fmla="*/ 8 w 146"/>
                <a:gd name="T1" fmla="*/ 7 h 268"/>
                <a:gd name="T2" fmla="*/ 8 w 146"/>
                <a:gd name="T3" fmla="*/ 7 h 268"/>
                <a:gd name="T4" fmla="*/ 8 w 146"/>
                <a:gd name="T5" fmla="*/ 30 h 268"/>
                <a:gd name="T6" fmla="*/ 0 w 146"/>
                <a:gd name="T7" fmla="*/ 267 h 268"/>
                <a:gd name="T8" fmla="*/ 0 w 146"/>
                <a:gd name="T9" fmla="*/ 267 h 268"/>
                <a:gd name="T10" fmla="*/ 77 w 146"/>
                <a:gd name="T11" fmla="*/ 252 h 268"/>
                <a:gd name="T12" fmla="*/ 107 w 146"/>
                <a:gd name="T13" fmla="*/ 221 h 268"/>
                <a:gd name="T14" fmla="*/ 138 w 146"/>
                <a:gd name="T15" fmla="*/ 176 h 268"/>
                <a:gd name="T16" fmla="*/ 130 w 146"/>
                <a:gd name="T17" fmla="*/ 130 h 268"/>
                <a:gd name="T18" fmla="*/ 115 w 146"/>
                <a:gd name="T19" fmla="*/ 69 h 268"/>
                <a:gd name="T20" fmla="*/ 92 w 146"/>
                <a:gd name="T21" fmla="*/ 15 h 268"/>
                <a:gd name="T22" fmla="*/ 8 w 146"/>
                <a:gd name="T23" fmla="*/ 7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6" h="268">
                  <a:moveTo>
                    <a:pt x="8" y="7"/>
                  </a:moveTo>
                  <a:lnTo>
                    <a:pt x="8" y="7"/>
                  </a:lnTo>
                  <a:cubicBezTo>
                    <a:pt x="8" y="15"/>
                    <a:pt x="8" y="23"/>
                    <a:pt x="8" y="30"/>
                  </a:cubicBezTo>
                  <a:cubicBezTo>
                    <a:pt x="0" y="107"/>
                    <a:pt x="0" y="191"/>
                    <a:pt x="0" y="267"/>
                  </a:cubicBezTo>
                  <a:lnTo>
                    <a:pt x="0" y="267"/>
                  </a:lnTo>
                  <a:cubicBezTo>
                    <a:pt x="23" y="259"/>
                    <a:pt x="54" y="259"/>
                    <a:pt x="77" y="252"/>
                  </a:cubicBezTo>
                  <a:cubicBezTo>
                    <a:pt x="92" y="244"/>
                    <a:pt x="92" y="229"/>
                    <a:pt x="107" y="221"/>
                  </a:cubicBezTo>
                  <a:cubicBezTo>
                    <a:pt x="115" y="206"/>
                    <a:pt x="138" y="198"/>
                    <a:pt x="138" y="176"/>
                  </a:cubicBezTo>
                  <a:cubicBezTo>
                    <a:pt x="145" y="160"/>
                    <a:pt x="130" y="145"/>
                    <a:pt x="130" y="130"/>
                  </a:cubicBezTo>
                  <a:cubicBezTo>
                    <a:pt x="123" y="115"/>
                    <a:pt x="123" y="92"/>
                    <a:pt x="115" y="69"/>
                  </a:cubicBezTo>
                  <a:cubicBezTo>
                    <a:pt x="107" y="53"/>
                    <a:pt x="107" y="23"/>
                    <a:pt x="92" y="15"/>
                  </a:cubicBezTo>
                  <a:cubicBezTo>
                    <a:pt x="61" y="0"/>
                    <a:pt x="38" y="7"/>
                    <a:pt x="8" y="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30" name="Freeform 61"/>
            <p:cNvSpPr>
              <a:spLocks noChangeArrowheads="1"/>
            </p:cNvSpPr>
            <p:nvPr/>
          </p:nvSpPr>
          <p:spPr bwMode="auto">
            <a:xfrm>
              <a:off x="6535312" y="6116639"/>
              <a:ext cx="1314364" cy="904875"/>
            </a:xfrm>
            <a:custGeom>
              <a:avLst/>
              <a:gdLst>
                <a:gd name="T0" fmla="*/ 221 w 3652"/>
                <a:gd name="T1" fmla="*/ 908 h 2514"/>
                <a:gd name="T2" fmla="*/ 351 w 3652"/>
                <a:gd name="T3" fmla="*/ 725 h 2514"/>
                <a:gd name="T4" fmla="*/ 344 w 3652"/>
                <a:gd name="T5" fmla="*/ 511 h 2514"/>
                <a:gd name="T6" fmla="*/ 397 w 3652"/>
                <a:gd name="T7" fmla="*/ 358 h 2514"/>
                <a:gd name="T8" fmla="*/ 588 w 3652"/>
                <a:gd name="T9" fmla="*/ 290 h 2514"/>
                <a:gd name="T10" fmla="*/ 771 w 3652"/>
                <a:gd name="T11" fmla="*/ 229 h 2514"/>
                <a:gd name="T12" fmla="*/ 1069 w 3652"/>
                <a:gd name="T13" fmla="*/ 236 h 2514"/>
                <a:gd name="T14" fmla="*/ 1191 w 3652"/>
                <a:gd name="T15" fmla="*/ 99 h 2514"/>
                <a:gd name="T16" fmla="*/ 1314 w 3652"/>
                <a:gd name="T17" fmla="*/ 91 h 2514"/>
                <a:gd name="T18" fmla="*/ 1512 w 3652"/>
                <a:gd name="T19" fmla="*/ 221 h 2514"/>
                <a:gd name="T20" fmla="*/ 1673 w 3652"/>
                <a:gd name="T21" fmla="*/ 290 h 2514"/>
                <a:gd name="T22" fmla="*/ 1726 w 3652"/>
                <a:gd name="T23" fmla="*/ 206 h 2514"/>
                <a:gd name="T24" fmla="*/ 1764 w 3652"/>
                <a:gd name="T25" fmla="*/ 198 h 2514"/>
                <a:gd name="T26" fmla="*/ 1825 w 3652"/>
                <a:gd name="T27" fmla="*/ 267 h 2514"/>
                <a:gd name="T28" fmla="*/ 1963 w 3652"/>
                <a:gd name="T29" fmla="*/ 221 h 2514"/>
                <a:gd name="T30" fmla="*/ 2032 w 3652"/>
                <a:gd name="T31" fmla="*/ 152 h 2514"/>
                <a:gd name="T32" fmla="*/ 2223 w 3652"/>
                <a:gd name="T33" fmla="*/ 183 h 2514"/>
                <a:gd name="T34" fmla="*/ 2352 w 3652"/>
                <a:gd name="T35" fmla="*/ 168 h 2514"/>
                <a:gd name="T36" fmla="*/ 2566 w 3652"/>
                <a:gd name="T37" fmla="*/ 191 h 2514"/>
                <a:gd name="T38" fmla="*/ 2643 w 3652"/>
                <a:gd name="T39" fmla="*/ 68 h 2514"/>
                <a:gd name="T40" fmla="*/ 2902 w 3652"/>
                <a:gd name="T41" fmla="*/ 122 h 2514"/>
                <a:gd name="T42" fmla="*/ 3193 w 3652"/>
                <a:gd name="T43" fmla="*/ 412 h 2514"/>
                <a:gd name="T44" fmla="*/ 3544 w 3652"/>
                <a:gd name="T45" fmla="*/ 916 h 2514"/>
                <a:gd name="T46" fmla="*/ 3620 w 3652"/>
                <a:gd name="T47" fmla="*/ 1153 h 2514"/>
                <a:gd name="T48" fmla="*/ 3254 w 3652"/>
                <a:gd name="T49" fmla="*/ 1161 h 2514"/>
                <a:gd name="T50" fmla="*/ 2925 w 3652"/>
                <a:gd name="T51" fmla="*/ 1352 h 2514"/>
                <a:gd name="T52" fmla="*/ 2780 w 3652"/>
                <a:gd name="T53" fmla="*/ 1443 h 2514"/>
                <a:gd name="T54" fmla="*/ 2505 w 3652"/>
                <a:gd name="T55" fmla="*/ 1550 h 2514"/>
                <a:gd name="T56" fmla="*/ 2413 w 3652"/>
                <a:gd name="T57" fmla="*/ 1481 h 2514"/>
                <a:gd name="T58" fmla="*/ 2261 w 3652"/>
                <a:gd name="T59" fmla="*/ 1397 h 2514"/>
                <a:gd name="T60" fmla="*/ 2100 w 3652"/>
                <a:gd name="T61" fmla="*/ 1520 h 2514"/>
                <a:gd name="T62" fmla="*/ 2055 w 3652"/>
                <a:gd name="T63" fmla="*/ 1627 h 2514"/>
                <a:gd name="T64" fmla="*/ 2284 w 3652"/>
                <a:gd name="T65" fmla="*/ 1848 h 2514"/>
                <a:gd name="T66" fmla="*/ 2498 w 3652"/>
                <a:gd name="T67" fmla="*/ 1833 h 2514"/>
                <a:gd name="T68" fmla="*/ 2482 w 3652"/>
                <a:gd name="T69" fmla="*/ 2131 h 2514"/>
                <a:gd name="T70" fmla="*/ 2521 w 3652"/>
                <a:gd name="T71" fmla="*/ 2230 h 2514"/>
                <a:gd name="T72" fmla="*/ 2398 w 3652"/>
                <a:gd name="T73" fmla="*/ 2314 h 2514"/>
                <a:gd name="T74" fmla="*/ 2314 w 3652"/>
                <a:gd name="T75" fmla="*/ 2421 h 2514"/>
                <a:gd name="T76" fmla="*/ 2192 w 3652"/>
                <a:gd name="T77" fmla="*/ 2474 h 2514"/>
                <a:gd name="T78" fmla="*/ 2070 w 3652"/>
                <a:gd name="T79" fmla="*/ 2459 h 2514"/>
                <a:gd name="T80" fmla="*/ 1994 w 3652"/>
                <a:gd name="T81" fmla="*/ 2429 h 2514"/>
                <a:gd name="T82" fmla="*/ 2047 w 3652"/>
                <a:gd name="T83" fmla="*/ 2276 h 2514"/>
                <a:gd name="T84" fmla="*/ 1902 w 3652"/>
                <a:gd name="T85" fmla="*/ 2200 h 2514"/>
                <a:gd name="T86" fmla="*/ 1909 w 3652"/>
                <a:gd name="T87" fmla="*/ 2001 h 2514"/>
                <a:gd name="T88" fmla="*/ 1894 w 3652"/>
                <a:gd name="T89" fmla="*/ 1772 h 2514"/>
                <a:gd name="T90" fmla="*/ 1772 w 3652"/>
                <a:gd name="T91" fmla="*/ 1672 h 2514"/>
                <a:gd name="T92" fmla="*/ 1612 w 3652"/>
                <a:gd name="T93" fmla="*/ 1756 h 2514"/>
                <a:gd name="T94" fmla="*/ 1474 w 3652"/>
                <a:gd name="T95" fmla="*/ 1779 h 2514"/>
                <a:gd name="T96" fmla="*/ 1260 w 3652"/>
                <a:gd name="T97" fmla="*/ 1764 h 2514"/>
                <a:gd name="T98" fmla="*/ 1169 w 3652"/>
                <a:gd name="T99" fmla="*/ 1718 h 2514"/>
                <a:gd name="T100" fmla="*/ 1085 w 3652"/>
                <a:gd name="T101" fmla="*/ 1703 h 2514"/>
                <a:gd name="T102" fmla="*/ 901 w 3652"/>
                <a:gd name="T103" fmla="*/ 1642 h 2514"/>
                <a:gd name="T104" fmla="*/ 886 w 3652"/>
                <a:gd name="T105" fmla="*/ 1779 h 2514"/>
                <a:gd name="T106" fmla="*/ 771 w 3652"/>
                <a:gd name="T107" fmla="*/ 1909 h 2514"/>
                <a:gd name="T108" fmla="*/ 558 w 3652"/>
                <a:gd name="T109" fmla="*/ 1680 h 2514"/>
                <a:gd name="T110" fmla="*/ 412 w 3652"/>
                <a:gd name="T111" fmla="*/ 1573 h 2514"/>
                <a:gd name="T112" fmla="*/ 122 w 3652"/>
                <a:gd name="T113" fmla="*/ 1397 h 2514"/>
                <a:gd name="T114" fmla="*/ 8 w 3652"/>
                <a:gd name="T115" fmla="*/ 1183 h 2514"/>
                <a:gd name="T116" fmla="*/ 145 w 3652"/>
                <a:gd name="T117" fmla="*/ 931 h 2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2" h="2514">
                  <a:moveTo>
                    <a:pt x="145" y="931"/>
                  </a:moveTo>
                  <a:lnTo>
                    <a:pt x="145" y="931"/>
                  </a:lnTo>
                  <a:cubicBezTo>
                    <a:pt x="176" y="924"/>
                    <a:pt x="199" y="924"/>
                    <a:pt x="221" y="908"/>
                  </a:cubicBezTo>
                  <a:cubicBezTo>
                    <a:pt x="244" y="893"/>
                    <a:pt x="244" y="855"/>
                    <a:pt x="267" y="847"/>
                  </a:cubicBezTo>
                  <a:cubicBezTo>
                    <a:pt x="290" y="840"/>
                    <a:pt x="313" y="893"/>
                    <a:pt x="328" y="878"/>
                  </a:cubicBezTo>
                  <a:cubicBezTo>
                    <a:pt x="351" y="832"/>
                    <a:pt x="344" y="779"/>
                    <a:pt x="351" y="725"/>
                  </a:cubicBezTo>
                  <a:cubicBezTo>
                    <a:pt x="351" y="695"/>
                    <a:pt x="366" y="664"/>
                    <a:pt x="351" y="633"/>
                  </a:cubicBezTo>
                  <a:cubicBezTo>
                    <a:pt x="344" y="603"/>
                    <a:pt x="290" y="595"/>
                    <a:pt x="290" y="565"/>
                  </a:cubicBezTo>
                  <a:cubicBezTo>
                    <a:pt x="290" y="534"/>
                    <a:pt x="321" y="527"/>
                    <a:pt x="344" y="511"/>
                  </a:cubicBezTo>
                  <a:cubicBezTo>
                    <a:pt x="359" y="504"/>
                    <a:pt x="389" y="511"/>
                    <a:pt x="397" y="496"/>
                  </a:cubicBezTo>
                  <a:cubicBezTo>
                    <a:pt x="405" y="473"/>
                    <a:pt x="366" y="450"/>
                    <a:pt x="366" y="427"/>
                  </a:cubicBezTo>
                  <a:cubicBezTo>
                    <a:pt x="366" y="404"/>
                    <a:pt x="382" y="374"/>
                    <a:pt x="397" y="358"/>
                  </a:cubicBezTo>
                  <a:cubicBezTo>
                    <a:pt x="405" y="336"/>
                    <a:pt x="428" y="313"/>
                    <a:pt x="451" y="305"/>
                  </a:cubicBezTo>
                  <a:cubicBezTo>
                    <a:pt x="481" y="297"/>
                    <a:pt x="519" y="320"/>
                    <a:pt x="550" y="313"/>
                  </a:cubicBezTo>
                  <a:cubicBezTo>
                    <a:pt x="565" y="313"/>
                    <a:pt x="573" y="297"/>
                    <a:pt x="588" y="290"/>
                  </a:cubicBezTo>
                  <a:lnTo>
                    <a:pt x="588" y="290"/>
                  </a:lnTo>
                  <a:cubicBezTo>
                    <a:pt x="619" y="282"/>
                    <a:pt x="664" y="290"/>
                    <a:pt x="695" y="275"/>
                  </a:cubicBezTo>
                  <a:cubicBezTo>
                    <a:pt x="725" y="267"/>
                    <a:pt x="741" y="229"/>
                    <a:pt x="771" y="229"/>
                  </a:cubicBezTo>
                  <a:cubicBezTo>
                    <a:pt x="810" y="229"/>
                    <a:pt x="840" y="259"/>
                    <a:pt x="878" y="282"/>
                  </a:cubicBezTo>
                  <a:cubicBezTo>
                    <a:pt x="886" y="290"/>
                    <a:pt x="886" y="313"/>
                    <a:pt x="901" y="313"/>
                  </a:cubicBezTo>
                  <a:cubicBezTo>
                    <a:pt x="955" y="297"/>
                    <a:pt x="1016" y="275"/>
                    <a:pt x="1069" y="236"/>
                  </a:cubicBezTo>
                  <a:cubicBezTo>
                    <a:pt x="1085" y="229"/>
                    <a:pt x="1054" y="183"/>
                    <a:pt x="1077" y="183"/>
                  </a:cubicBezTo>
                  <a:cubicBezTo>
                    <a:pt x="1108" y="175"/>
                    <a:pt x="1130" y="236"/>
                    <a:pt x="1153" y="221"/>
                  </a:cubicBezTo>
                  <a:cubicBezTo>
                    <a:pt x="1191" y="191"/>
                    <a:pt x="1161" y="129"/>
                    <a:pt x="1191" y="99"/>
                  </a:cubicBezTo>
                  <a:cubicBezTo>
                    <a:pt x="1207" y="84"/>
                    <a:pt x="1237" y="106"/>
                    <a:pt x="1260" y="106"/>
                  </a:cubicBezTo>
                  <a:cubicBezTo>
                    <a:pt x="1275" y="99"/>
                    <a:pt x="1291" y="91"/>
                    <a:pt x="1314" y="91"/>
                  </a:cubicBezTo>
                  <a:lnTo>
                    <a:pt x="1314" y="91"/>
                  </a:lnTo>
                  <a:cubicBezTo>
                    <a:pt x="1344" y="99"/>
                    <a:pt x="1382" y="114"/>
                    <a:pt x="1413" y="122"/>
                  </a:cubicBezTo>
                  <a:cubicBezTo>
                    <a:pt x="1428" y="129"/>
                    <a:pt x="1451" y="137"/>
                    <a:pt x="1466" y="152"/>
                  </a:cubicBezTo>
                  <a:cubicBezTo>
                    <a:pt x="1489" y="168"/>
                    <a:pt x="1497" y="198"/>
                    <a:pt x="1512" y="221"/>
                  </a:cubicBezTo>
                  <a:cubicBezTo>
                    <a:pt x="1527" y="236"/>
                    <a:pt x="1535" y="252"/>
                    <a:pt x="1558" y="259"/>
                  </a:cubicBezTo>
                  <a:cubicBezTo>
                    <a:pt x="1573" y="259"/>
                    <a:pt x="1581" y="236"/>
                    <a:pt x="1596" y="236"/>
                  </a:cubicBezTo>
                  <a:cubicBezTo>
                    <a:pt x="1627" y="244"/>
                    <a:pt x="1642" y="290"/>
                    <a:pt x="1673" y="290"/>
                  </a:cubicBezTo>
                  <a:cubicBezTo>
                    <a:pt x="1688" y="282"/>
                    <a:pt x="1696" y="252"/>
                    <a:pt x="1696" y="229"/>
                  </a:cubicBezTo>
                  <a:cubicBezTo>
                    <a:pt x="1696" y="206"/>
                    <a:pt x="1657" y="183"/>
                    <a:pt x="1673" y="168"/>
                  </a:cubicBezTo>
                  <a:cubicBezTo>
                    <a:pt x="1696" y="160"/>
                    <a:pt x="1711" y="191"/>
                    <a:pt x="1726" y="206"/>
                  </a:cubicBezTo>
                  <a:lnTo>
                    <a:pt x="1726" y="206"/>
                  </a:lnTo>
                  <a:cubicBezTo>
                    <a:pt x="1734" y="221"/>
                    <a:pt x="1741" y="244"/>
                    <a:pt x="1757" y="244"/>
                  </a:cubicBezTo>
                  <a:cubicBezTo>
                    <a:pt x="1772" y="244"/>
                    <a:pt x="1757" y="214"/>
                    <a:pt x="1764" y="198"/>
                  </a:cubicBezTo>
                  <a:cubicBezTo>
                    <a:pt x="1772" y="198"/>
                    <a:pt x="1780" y="214"/>
                    <a:pt x="1787" y="214"/>
                  </a:cubicBezTo>
                  <a:cubicBezTo>
                    <a:pt x="1795" y="221"/>
                    <a:pt x="1810" y="206"/>
                    <a:pt x="1818" y="214"/>
                  </a:cubicBezTo>
                  <a:cubicBezTo>
                    <a:pt x="1825" y="229"/>
                    <a:pt x="1810" y="252"/>
                    <a:pt x="1825" y="267"/>
                  </a:cubicBezTo>
                  <a:cubicBezTo>
                    <a:pt x="1833" y="275"/>
                    <a:pt x="1848" y="259"/>
                    <a:pt x="1856" y="259"/>
                  </a:cubicBezTo>
                  <a:cubicBezTo>
                    <a:pt x="1864" y="259"/>
                    <a:pt x="1864" y="275"/>
                    <a:pt x="1864" y="275"/>
                  </a:cubicBezTo>
                  <a:cubicBezTo>
                    <a:pt x="1902" y="259"/>
                    <a:pt x="1932" y="236"/>
                    <a:pt x="1963" y="221"/>
                  </a:cubicBezTo>
                  <a:cubicBezTo>
                    <a:pt x="1978" y="214"/>
                    <a:pt x="2001" y="206"/>
                    <a:pt x="2009" y="198"/>
                  </a:cubicBezTo>
                  <a:cubicBezTo>
                    <a:pt x="2024" y="183"/>
                    <a:pt x="2024" y="168"/>
                    <a:pt x="2032" y="152"/>
                  </a:cubicBezTo>
                  <a:lnTo>
                    <a:pt x="2032" y="152"/>
                  </a:lnTo>
                  <a:cubicBezTo>
                    <a:pt x="2169" y="175"/>
                    <a:pt x="2169" y="175"/>
                    <a:pt x="2169" y="175"/>
                  </a:cubicBezTo>
                  <a:lnTo>
                    <a:pt x="2169" y="175"/>
                  </a:lnTo>
                  <a:cubicBezTo>
                    <a:pt x="2169" y="175"/>
                    <a:pt x="2215" y="183"/>
                    <a:pt x="2223" y="183"/>
                  </a:cubicBezTo>
                  <a:cubicBezTo>
                    <a:pt x="2230" y="183"/>
                    <a:pt x="2261" y="168"/>
                    <a:pt x="2261" y="168"/>
                  </a:cubicBezTo>
                  <a:cubicBezTo>
                    <a:pt x="2284" y="175"/>
                    <a:pt x="2314" y="191"/>
                    <a:pt x="2337" y="191"/>
                  </a:cubicBezTo>
                  <a:cubicBezTo>
                    <a:pt x="2345" y="191"/>
                    <a:pt x="2345" y="168"/>
                    <a:pt x="2352" y="168"/>
                  </a:cubicBezTo>
                  <a:cubicBezTo>
                    <a:pt x="2368" y="160"/>
                    <a:pt x="2391" y="168"/>
                    <a:pt x="2413" y="175"/>
                  </a:cubicBezTo>
                  <a:cubicBezTo>
                    <a:pt x="2436" y="183"/>
                    <a:pt x="2452" y="206"/>
                    <a:pt x="2482" y="214"/>
                  </a:cubicBezTo>
                  <a:cubicBezTo>
                    <a:pt x="2513" y="214"/>
                    <a:pt x="2536" y="191"/>
                    <a:pt x="2566" y="191"/>
                  </a:cubicBezTo>
                  <a:cubicBezTo>
                    <a:pt x="2589" y="191"/>
                    <a:pt x="2612" y="206"/>
                    <a:pt x="2627" y="198"/>
                  </a:cubicBezTo>
                  <a:cubicBezTo>
                    <a:pt x="2635" y="191"/>
                    <a:pt x="2612" y="175"/>
                    <a:pt x="2612" y="160"/>
                  </a:cubicBezTo>
                  <a:cubicBezTo>
                    <a:pt x="2620" y="129"/>
                    <a:pt x="2620" y="99"/>
                    <a:pt x="2643" y="68"/>
                  </a:cubicBezTo>
                  <a:cubicBezTo>
                    <a:pt x="2658" y="38"/>
                    <a:pt x="2681" y="30"/>
                    <a:pt x="2711" y="0"/>
                  </a:cubicBezTo>
                  <a:lnTo>
                    <a:pt x="2711" y="0"/>
                  </a:lnTo>
                  <a:cubicBezTo>
                    <a:pt x="2788" y="30"/>
                    <a:pt x="2857" y="68"/>
                    <a:pt x="2902" y="122"/>
                  </a:cubicBezTo>
                  <a:cubicBezTo>
                    <a:pt x="2948" y="183"/>
                    <a:pt x="3032" y="206"/>
                    <a:pt x="3093" y="252"/>
                  </a:cubicBezTo>
                  <a:cubicBezTo>
                    <a:pt x="3109" y="259"/>
                    <a:pt x="3162" y="290"/>
                    <a:pt x="3162" y="297"/>
                  </a:cubicBezTo>
                  <a:cubicBezTo>
                    <a:pt x="3162" y="358"/>
                    <a:pt x="3132" y="358"/>
                    <a:pt x="3193" y="412"/>
                  </a:cubicBezTo>
                  <a:cubicBezTo>
                    <a:pt x="3269" y="481"/>
                    <a:pt x="3292" y="542"/>
                    <a:pt x="3322" y="633"/>
                  </a:cubicBezTo>
                  <a:cubicBezTo>
                    <a:pt x="3338" y="672"/>
                    <a:pt x="3376" y="825"/>
                    <a:pt x="3414" y="840"/>
                  </a:cubicBezTo>
                  <a:cubicBezTo>
                    <a:pt x="3430" y="863"/>
                    <a:pt x="3544" y="916"/>
                    <a:pt x="3544" y="916"/>
                  </a:cubicBezTo>
                  <a:cubicBezTo>
                    <a:pt x="3552" y="1046"/>
                    <a:pt x="3582" y="1054"/>
                    <a:pt x="3651" y="1084"/>
                  </a:cubicBezTo>
                  <a:lnTo>
                    <a:pt x="3651" y="1084"/>
                  </a:lnTo>
                  <a:cubicBezTo>
                    <a:pt x="3643" y="1115"/>
                    <a:pt x="3651" y="1145"/>
                    <a:pt x="3620" y="1153"/>
                  </a:cubicBezTo>
                  <a:cubicBezTo>
                    <a:pt x="3559" y="1176"/>
                    <a:pt x="3491" y="1161"/>
                    <a:pt x="3437" y="1145"/>
                  </a:cubicBezTo>
                  <a:cubicBezTo>
                    <a:pt x="3391" y="1138"/>
                    <a:pt x="3368" y="1077"/>
                    <a:pt x="3322" y="1077"/>
                  </a:cubicBezTo>
                  <a:cubicBezTo>
                    <a:pt x="3284" y="1084"/>
                    <a:pt x="3277" y="1138"/>
                    <a:pt x="3254" y="1161"/>
                  </a:cubicBezTo>
                  <a:cubicBezTo>
                    <a:pt x="3216" y="1206"/>
                    <a:pt x="3177" y="1260"/>
                    <a:pt x="3124" y="1283"/>
                  </a:cubicBezTo>
                  <a:cubicBezTo>
                    <a:pt x="3093" y="1298"/>
                    <a:pt x="3055" y="1268"/>
                    <a:pt x="3024" y="1275"/>
                  </a:cubicBezTo>
                  <a:cubicBezTo>
                    <a:pt x="2986" y="1290"/>
                    <a:pt x="2956" y="1329"/>
                    <a:pt x="2925" y="1352"/>
                  </a:cubicBezTo>
                  <a:cubicBezTo>
                    <a:pt x="2910" y="1367"/>
                    <a:pt x="2887" y="1382"/>
                    <a:pt x="2880" y="1405"/>
                  </a:cubicBezTo>
                  <a:cubicBezTo>
                    <a:pt x="2872" y="1436"/>
                    <a:pt x="2895" y="1489"/>
                    <a:pt x="2872" y="1497"/>
                  </a:cubicBezTo>
                  <a:cubicBezTo>
                    <a:pt x="2841" y="1512"/>
                    <a:pt x="2818" y="1451"/>
                    <a:pt x="2780" y="1443"/>
                  </a:cubicBezTo>
                  <a:cubicBezTo>
                    <a:pt x="2727" y="1443"/>
                    <a:pt x="2666" y="1451"/>
                    <a:pt x="2612" y="1474"/>
                  </a:cubicBezTo>
                  <a:cubicBezTo>
                    <a:pt x="2566" y="1489"/>
                    <a:pt x="2536" y="1527"/>
                    <a:pt x="2505" y="1550"/>
                  </a:cubicBezTo>
                  <a:lnTo>
                    <a:pt x="2505" y="1550"/>
                  </a:lnTo>
                  <a:cubicBezTo>
                    <a:pt x="2475" y="1558"/>
                    <a:pt x="2452" y="1565"/>
                    <a:pt x="2429" y="1565"/>
                  </a:cubicBezTo>
                  <a:cubicBezTo>
                    <a:pt x="2413" y="1565"/>
                    <a:pt x="2398" y="1573"/>
                    <a:pt x="2398" y="1558"/>
                  </a:cubicBezTo>
                  <a:cubicBezTo>
                    <a:pt x="2391" y="1535"/>
                    <a:pt x="2406" y="1512"/>
                    <a:pt x="2413" y="1481"/>
                  </a:cubicBezTo>
                  <a:cubicBezTo>
                    <a:pt x="2413" y="1466"/>
                    <a:pt x="2421" y="1443"/>
                    <a:pt x="2413" y="1420"/>
                  </a:cubicBezTo>
                  <a:cubicBezTo>
                    <a:pt x="2398" y="1397"/>
                    <a:pt x="2375" y="1382"/>
                    <a:pt x="2345" y="1382"/>
                  </a:cubicBezTo>
                  <a:cubicBezTo>
                    <a:pt x="2314" y="1375"/>
                    <a:pt x="2284" y="1390"/>
                    <a:pt x="2261" y="1397"/>
                  </a:cubicBezTo>
                  <a:cubicBezTo>
                    <a:pt x="2223" y="1413"/>
                    <a:pt x="2177" y="1420"/>
                    <a:pt x="2154" y="1451"/>
                  </a:cubicBezTo>
                  <a:cubicBezTo>
                    <a:pt x="2138" y="1474"/>
                    <a:pt x="2169" y="1512"/>
                    <a:pt x="2154" y="1535"/>
                  </a:cubicBezTo>
                  <a:cubicBezTo>
                    <a:pt x="2146" y="1550"/>
                    <a:pt x="2116" y="1512"/>
                    <a:pt x="2100" y="1520"/>
                  </a:cubicBezTo>
                  <a:cubicBezTo>
                    <a:pt x="2093" y="1527"/>
                    <a:pt x="2123" y="1558"/>
                    <a:pt x="2108" y="1573"/>
                  </a:cubicBezTo>
                  <a:cubicBezTo>
                    <a:pt x="2093" y="1581"/>
                    <a:pt x="2062" y="1550"/>
                    <a:pt x="2047" y="1565"/>
                  </a:cubicBezTo>
                  <a:cubicBezTo>
                    <a:pt x="2032" y="1581"/>
                    <a:pt x="2047" y="1611"/>
                    <a:pt x="2055" y="1627"/>
                  </a:cubicBezTo>
                  <a:cubicBezTo>
                    <a:pt x="2070" y="1680"/>
                    <a:pt x="2077" y="1733"/>
                    <a:pt x="2116" y="1779"/>
                  </a:cubicBezTo>
                  <a:cubicBezTo>
                    <a:pt x="2138" y="1810"/>
                    <a:pt x="2177" y="1825"/>
                    <a:pt x="2215" y="1840"/>
                  </a:cubicBezTo>
                  <a:cubicBezTo>
                    <a:pt x="2238" y="1848"/>
                    <a:pt x="2261" y="1848"/>
                    <a:pt x="2284" y="1848"/>
                  </a:cubicBezTo>
                  <a:cubicBezTo>
                    <a:pt x="2314" y="1840"/>
                    <a:pt x="2352" y="1840"/>
                    <a:pt x="2391" y="1840"/>
                  </a:cubicBezTo>
                  <a:cubicBezTo>
                    <a:pt x="2421" y="1840"/>
                    <a:pt x="2459" y="1833"/>
                    <a:pt x="2498" y="1833"/>
                  </a:cubicBezTo>
                  <a:lnTo>
                    <a:pt x="2498" y="1833"/>
                  </a:lnTo>
                  <a:cubicBezTo>
                    <a:pt x="2490" y="1863"/>
                    <a:pt x="2475" y="1894"/>
                    <a:pt x="2475" y="1925"/>
                  </a:cubicBezTo>
                  <a:cubicBezTo>
                    <a:pt x="2475" y="1955"/>
                    <a:pt x="2498" y="1978"/>
                    <a:pt x="2498" y="2008"/>
                  </a:cubicBezTo>
                  <a:cubicBezTo>
                    <a:pt x="2505" y="2047"/>
                    <a:pt x="2498" y="2092"/>
                    <a:pt x="2482" y="2131"/>
                  </a:cubicBezTo>
                  <a:cubicBezTo>
                    <a:pt x="2475" y="2154"/>
                    <a:pt x="2444" y="2154"/>
                    <a:pt x="2429" y="2177"/>
                  </a:cubicBezTo>
                  <a:cubicBezTo>
                    <a:pt x="2429" y="2184"/>
                    <a:pt x="2436" y="2200"/>
                    <a:pt x="2444" y="2207"/>
                  </a:cubicBezTo>
                  <a:cubicBezTo>
                    <a:pt x="2467" y="2222"/>
                    <a:pt x="2505" y="2215"/>
                    <a:pt x="2521" y="2230"/>
                  </a:cubicBezTo>
                  <a:cubicBezTo>
                    <a:pt x="2536" y="2238"/>
                    <a:pt x="2536" y="2261"/>
                    <a:pt x="2521" y="2261"/>
                  </a:cubicBezTo>
                  <a:cubicBezTo>
                    <a:pt x="2498" y="2276"/>
                    <a:pt x="2467" y="2268"/>
                    <a:pt x="2444" y="2276"/>
                  </a:cubicBezTo>
                  <a:cubicBezTo>
                    <a:pt x="2429" y="2283"/>
                    <a:pt x="2413" y="2306"/>
                    <a:pt x="2398" y="2314"/>
                  </a:cubicBezTo>
                  <a:cubicBezTo>
                    <a:pt x="2360" y="2314"/>
                    <a:pt x="2322" y="2276"/>
                    <a:pt x="2291" y="2291"/>
                  </a:cubicBezTo>
                  <a:cubicBezTo>
                    <a:pt x="2261" y="2306"/>
                    <a:pt x="2230" y="2337"/>
                    <a:pt x="2230" y="2375"/>
                  </a:cubicBezTo>
                  <a:cubicBezTo>
                    <a:pt x="2238" y="2406"/>
                    <a:pt x="2284" y="2406"/>
                    <a:pt x="2314" y="2421"/>
                  </a:cubicBezTo>
                  <a:lnTo>
                    <a:pt x="2314" y="2421"/>
                  </a:lnTo>
                  <a:cubicBezTo>
                    <a:pt x="2284" y="2429"/>
                    <a:pt x="2261" y="2436"/>
                    <a:pt x="2238" y="2452"/>
                  </a:cubicBezTo>
                  <a:cubicBezTo>
                    <a:pt x="2223" y="2459"/>
                    <a:pt x="2207" y="2474"/>
                    <a:pt x="2192" y="2474"/>
                  </a:cubicBezTo>
                  <a:cubicBezTo>
                    <a:pt x="2177" y="2474"/>
                    <a:pt x="2169" y="2459"/>
                    <a:pt x="2154" y="2459"/>
                  </a:cubicBezTo>
                  <a:cubicBezTo>
                    <a:pt x="2138" y="2459"/>
                    <a:pt x="2123" y="2474"/>
                    <a:pt x="2108" y="2474"/>
                  </a:cubicBezTo>
                  <a:cubicBezTo>
                    <a:pt x="2093" y="2474"/>
                    <a:pt x="2085" y="2459"/>
                    <a:pt x="2070" y="2459"/>
                  </a:cubicBezTo>
                  <a:cubicBezTo>
                    <a:pt x="2055" y="2474"/>
                    <a:pt x="2039" y="2497"/>
                    <a:pt x="2032" y="2513"/>
                  </a:cubicBezTo>
                  <a:lnTo>
                    <a:pt x="2032" y="2513"/>
                  </a:lnTo>
                  <a:cubicBezTo>
                    <a:pt x="2016" y="2482"/>
                    <a:pt x="2001" y="2459"/>
                    <a:pt x="1994" y="2429"/>
                  </a:cubicBezTo>
                  <a:cubicBezTo>
                    <a:pt x="1994" y="2398"/>
                    <a:pt x="1978" y="2352"/>
                    <a:pt x="2001" y="2329"/>
                  </a:cubicBezTo>
                  <a:cubicBezTo>
                    <a:pt x="2016" y="2306"/>
                    <a:pt x="2062" y="2337"/>
                    <a:pt x="2077" y="2314"/>
                  </a:cubicBezTo>
                  <a:cubicBezTo>
                    <a:pt x="2085" y="2299"/>
                    <a:pt x="2062" y="2283"/>
                    <a:pt x="2047" y="2276"/>
                  </a:cubicBezTo>
                  <a:cubicBezTo>
                    <a:pt x="2024" y="2268"/>
                    <a:pt x="2001" y="2283"/>
                    <a:pt x="1986" y="2276"/>
                  </a:cubicBezTo>
                  <a:cubicBezTo>
                    <a:pt x="1955" y="2261"/>
                    <a:pt x="1932" y="2222"/>
                    <a:pt x="1902" y="2200"/>
                  </a:cubicBezTo>
                  <a:lnTo>
                    <a:pt x="1902" y="2200"/>
                  </a:lnTo>
                  <a:cubicBezTo>
                    <a:pt x="1917" y="2177"/>
                    <a:pt x="1940" y="2154"/>
                    <a:pt x="1940" y="2131"/>
                  </a:cubicBezTo>
                  <a:cubicBezTo>
                    <a:pt x="1940" y="2123"/>
                    <a:pt x="1909" y="2123"/>
                    <a:pt x="1902" y="2115"/>
                  </a:cubicBezTo>
                  <a:cubicBezTo>
                    <a:pt x="1894" y="2077"/>
                    <a:pt x="1925" y="2039"/>
                    <a:pt x="1909" y="2001"/>
                  </a:cubicBezTo>
                  <a:cubicBezTo>
                    <a:pt x="1902" y="1963"/>
                    <a:pt x="1848" y="1940"/>
                    <a:pt x="1848" y="1902"/>
                  </a:cubicBezTo>
                  <a:cubicBezTo>
                    <a:pt x="1848" y="1879"/>
                    <a:pt x="1894" y="1894"/>
                    <a:pt x="1902" y="1871"/>
                  </a:cubicBezTo>
                  <a:cubicBezTo>
                    <a:pt x="1917" y="1840"/>
                    <a:pt x="1894" y="1802"/>
                    <a:pt x="1894" y="1772"/>
                  </a:cubicBezTo>
                  <a:cubicBezTo>
                    <a:pt x="1902" y="1756"/>
                    <a:pt x="1925" y="1749"/>
                    <a:pt x="1917" y="1733"/>
                  </a:cubicBezTo>
                  <a:cubicBezTo>
                    <a:pt x="1909" y="1711"/>
                    <a:pt x="1894" y="1688"/>
                    <a:pt x="1871" y="1680"/>
                  </a:cubicBezTo>
                  <a:cubicBezTo>
                    <a:pt x="1841" y="1672"/>
                    <a:pt x="1802" y="1665"/>
                    <a:pt x="1772" y="1672"/>
                  </a:cubicBezTo>
                  <a:cubicBezTo>
                    <a:pt x="1749" y="1680"/>
                    <a:pt x="1741" y="1703"/>
                    <a:pt x="1726" y="1718"/>
                  </a:cubicBezTo>
                  <a:cubicBezTo>
                    <a:pt x="1719" y="1733"/>
                    <a:pt x="1711" y="1756"/>
                    <a:pt x="1696" y="1764"/>
                  </a:cubicBezTo>
                  <a:cubicBezTo>
                    <a:pt x="1673" y="1772"/>
                    <a:pt x="1634" y="1756"/>
                    <a:pt x="1612" y="1756"/>
                  </a:cubicBezTo>
                  <a:cubicBezTo>
                    <a:pt x="1581" y="1764"/>
                    <a:pt x="1558" y="1779"/>
                    <a:pt x="1535" y="1779"/>
                  </a:cubicBezTo>
                  <a:cubicBezTo>
                    <a:pt x="1520" y="1779"/>
                    <a:pt x="1512" y="1764"/>
                    <a:pt x="1497" y="1764"/>
                  </a:cubicBezTo>
                  <a:cubicBezTo>
                    <a:pt x="1489" y="1764"/>
                    <a:pt x="1482" y="1779"/>
                    <a:pt x="1474" y="1779"/>
                  </a:cubicBezTo>
                  <a:cubicBezTo>
                    <a:pt x="1444" y="1787"/>
                    <a:pt x="1421" y="1779"/>
                    <a:pt x="1390" y="1772"/>
                  </a:cubicBezTo>
                  <a:cubicBezTo>
                    <a:pt x="1360" y="1764"/>
                    <a:pt x="1329" y="1741"/>
                    <a:pt x="1298" y="1741"/>
                  </a:cubicBezTo>
                  <a:cubicBezTo>
                    <a:pt x="1283" y="1741"/>
                    <a:pt x="1275" y="1756"/>
                    <a:pt x="1260" y="1764"/>
                  </a:cubicBezTo>
                  <a:lnTo>
                    <a:pt x="1260" y="1764"/>
                  </a:lnTo>
                  <a:cubicBezTo>
                    <a:pt x="1252" y="1749"/>
                    <a:pt x="1245" y="1741"/>
                    <a:pt x="1230" y="1726"/>
                  </a:cubicBezTo>
                  <a:cubicBezTo>
                    <a:pt x="1230" y="1726"/>
                    <a:pt x="1176" y="1718"/>
                    <a:pt x="1169" y="1718"/>
                  </a:cubicBezTo>
                  <a:lnTo>
                    <a:pt x="1130" y="1688"/>
                  </a:lnTo>
                  <a:cubicBezTo>
                    <a:pt x="1115" y="1680"/>
                    <a:pt x="1100" y="1680"/>
                    <a:pt x="1085" y="1680"/>
                  </a:cubicBezTo>
                  <a:cubicBezTo>
                    <a:pt x="1077" y="1680"/>
                    <a:pt x="1085" y="1695"/>
                    <a:pt x="1085" y="1703"/>
                  </a:cubicBezTo>
                  <a:cubicBezTo>
                    <a:pt x="1069" y="1703"/>
                    <a:pt x="1062" y="1703"/>
                    <a:pt x="1054" y="1695"/>
                  </a:cubicBezTo>
                  <a:cubicBezTo>
                    <a:pt x="1039" y="1672"/>
                    <a:pt x="1039" y="1634"/>
                    <a:pt x="1016" y="1627"/>
                  </a:cubicBezTo>
                  <a:cubicBezTo>
                    <a:pt x="977" y="1611"/>
                    <a:pt x="939" y="1634"/>
                    <a:pt x="901" y="1642"/>
                  </a:cubicBezTo>
                  <a:cubicBezTo>
                    <a:pt x="901" y="1642"/>
                    <a:pt x="886" y="1711"/>
                    <a:pt x="886" y="1718"/>
                  </a:cubicBezTo>
                  <a:lnTo>
                    <a:pt x="916" y="1764"/>
                  </a:lnTo>
                  <a:cubicBezTo>
                    <a:pt x="901" y="1772"/>
                    <a:pt x="886" y="1764"/>
                    <a:pt x="886" y="1779"/>
                  </a:cubicBezTo>
                  <a:cubicBezTo>
                    <a:pt x="871" y="1802"/>
                    <a:pt x="886" y="1840"/>
                    <a:pt x="871" y="1863"/>
                  </a:cubicBezTo>
                  <a:cubicBezTo>
                    <a:pt x="863" y="1879"/>
                    <a:pt x="848" y="1848"/>
                    <a:pt x="833" y="1856"/>
                  </a:cubicBezTo>
                  <a:cubicBezTo>
                    <a:pt x="810" y="1863"/>
                    <a:pt x="794" y="1894"/>
                    <a:pt x="771" y="1909"/>
                  </a:cubicBezTo>
                  <a:lnTo>
                    <a:pt x="771" y="1909"/>
                  </a:lnTo>
                  <a:cubicBezTo>
                    <a:pt x="718" y="1840"/>
                    <a:pt x="680" y="1764"/>
                    <a:pt x="626" y="1703"/>
                  </a:cubicBezTo>
                  <a:cubicBezTo>
                    <a:pt x="611" y="1680"/>
                    <a:pt x="573" y="1695"/>
                    <a:pt x="558" y="1680"/>
                  </a:cubicBezTo>
                  <a:cubicBezTo>
                    <a:pt x="542" y="1657"/>
                    <a:pt x="550" y="1619"/>
                    <a:pt x="535" y="1588"/>
                  </a:cubicBezTo>
                  <a:cubicBezTo>
                    <a:pt x="527" y="1581"/>
                    <a:pt x="504" y="1573"/>
                    <a:pt x="489" y="1573"/>
                  </a:cubicBezTo>
                  <a:cubicBezTo>
                    <a:pt x="466" y="1565"/>
                    <a:pt x="435" y="1581"/>
                    <a:pt x="412" y="1573"/>
                  </a:cubicBezTo>
                  <a:cubicBezTo>
                    <a:pt x="374" y="1565"/>
                    <a:pt x="328" y="1550"/>
                    <a:pt x="305" y="1520"/>
                  </a:cubicBezTo>
                  <a:cubicBezTo>
                    <a:pt x="283" y="1481"/>
                    <a:pt x="321" y="1420"/>
                    <a:pt x="290" y="1390"/>
                  </a:cubicBezTo>
                  <a:cubicBezTo>
                    <a:pt x="244" y="1359"/>
                    <a:pt x="176" y="1413"/>
                    <a:pt x="122" y="1397"/>
                  </a:cubicBezTo>
                  <a:cubicBezTo>
                    <a:pt x="107" y="1390"/>
                    <a:pt x="122" y="1359"/>
                    <a:pt x="114" y="1344"/>
                  </a:cubicBezTo>
                  <a:cubicBezTo>
                    <a:pt x="114" y="1321"/>
                    <a:pt x="107" y="1298"/>
                    <a:pt x="91" y="1275"/>
                  </a:cubicBezTo>
                  <a:cubicBezTo>
                    <a:pt x="69" y="1245"/>
                    <a:pt x="23" y="1222"/>
                    <a:pt x="8" y="1183"/>
                  </a:cubicBezTo>
                  <a:cubicBezTo>
                    <a:pt x="0" y="1161"/>
                    <a:pt x="8" y="1130"/>
                    <a:pt x="15" y="1107"/>
                  </a:cubicBezTo>
                  <a:cubicBezTo>
                    <a:pt x="30" y="1077"/>
                    <a:pt x="69" y="1061"/>
                    <a:pt x="91" y="1031"/>
                  </a:cubicBezTo>
                  <a:cubicBezTo>
                    <a:pt x="114" y="1000"/>
                    <a:pt x="130" y="962"/>
                    <a:pt x="145" y="931"/>
                  </a:cubicBezTo>
                </a:path>
              </a:pathLst>
            </a:custGeom>
            <a:solidFill>
              <a:schemeClr val="tx1">
                <a:lumMod val="40000"/>
                <a:lumOff val="60000"/>
              </a:schemeClr>
            </a:solidFill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31" name="Freeform 62"/>
            <p:cNvSpPr>
              <a:spLocks noChangeArrowheads="1"/>
            </p:cNvSpPr>
            <p:nvPr/>
          </p:nvSpPr>
          <p:spPr bwMode="auto">
            <a:xfrm>
              <a:off x="7425841" y="6913563"/>
              <a:ext cx="419073" cy="273050"/>
            </a:xfrm>
            <a:custGeom>
              <a:avLst/>
              <a:gdLst>
                <a:gd name="T0" fmla="*/ 23 w 1162"/>
                <a:gd name="T1" fmla="*/ 611 h 757"/>
                <a:gd name="T2" fmla="*/ 23 w 1162"/>
                <a:gd name="T3" fmla="*/ 611 h 757"/>
                <a:gd name="T4" fmla="*/ 0 w 1162"/>
                <a:gd name="T5" fmla="*/ 542 h 757"/>
                <a:gd name="T6" fmla="*/ 61 w 1162"/>
                <a:gd name="T7" fmla="*/ 519 h 757"/>
                <a:gd name="T8" fmla="*/ 76 w 1162"/>
                <a:gd name="T9" fmla="*/ 359 h 757"/>
                <a:gd name="T10" fmla="*/ 114 w 1162"/>
                <a:gd name="T11" fmla="*/ 252 h 757"/>
                <a:gd name="T12" fmla="*/ 114 w 1162"/>
                <a:gd name="T13" fmla="*/ 252 h 757"/>
                <a:gd name="T14" fmla="*/ 168 w 1162"/>
                <a:gd name="T15" fmla="*/ 267 h 757"/>
                <a:gd name="T16" fmla="*/ 374 w 1162"/>
                <a:gd name="T17" fmla="*/ 137 h 757"/>
                <a:gd name="T18" fmla="*/ 412 w 1162"/>
                <a:gd name="T19" fmla="*/ 84 h 757"/>
                <a:gd name="T20" fmla="*/ 412 w 1162"/>
                <a:gd name="T21" fmla="*/ 84 h 757"/>
                <a:gd name="T22" fmla="*/ 588 w 1162"/>
                <a:gd name="T23" fmla="*/ 99 h 757"/>
                <a:gd name="T24" fmla="*/ 672 w 1162"/>
                <a:gd name="T25" fmla="*/ 145 h 757"/>
                <a:gd name="T26" fmla="*/ 824 w 1162"/>
                <a:gd name="T27" fmla="*/ 84 h 757"/>
                <a:gd name="T28" fmla="*/ 1099 w 1162"/>
                <a:gd name="T29" fmla="*/ 122 h 757"/>
                <a:gd name="T30" fmla="*/ 1161 w 1162"/>
                <a:gd name="T31" fmla="*/ 229 h 757"/>
                <a:gd name="T32" fmla="*/ 1161 w 1162"/>
                <a:gd name="T33" fmla="*/ 229 h 757"/>
                <a:gd name="T34" fmla="*/ 1031 w 1162"/>
                <a:gd name="T35" fmla="*/ 313 h 757"/>
                <a:gd name="T36" fmla="*/ 1031 w 1162"/>
                <a:gd name="T37" fmla="*/ 313 h 757"/>
                <a:gd name="T38" fmla="*/ 993 w 1162"/>
                <a:gd name="T39" fmla="*/ 321 h 757"/>
                <a:gd name="T40" fmla="*/ 955 w 1162"/>
                <a:gd name="T41" fmla="*/ 450 h 757"/>
                <a:gd name="T42" fmla="*/ 786 w 1162"/>
                <a:gd name="T43" fmla="*/ 427 h 757"/>
                <a:gd name="T44" fmla="*/ 710 w 1162"/>
                <a:gd name="T45" fmla="*/ 496 h 757"/>
                <a:gd name="T46" fmla="*/ 802 w 1162"/>
                <a:gd name="T47" fmla="*/ 496 h 757"/>
                <a:gd name="T48" fmla="*/ 855 w 1162"/>
                <a:gd name="T49" fmla="*/ 557 h 757"/>
                <a:gd name="T50" fmla="*/ 718 w 1162"/>
                <a:gd name="T51" fmla="*/ 588 h 757"/>
                <a:gd name="T52" fmla="*/ 718 w 1162"/>
                <a:gd name="T53" fmla="*/ 672 h 757"/>
                <a:gd name="T54" fmla="*/ 511 w 1162"/>
                <a:gd name="T55" fmla="*/ 733 h 757"/>
                <a:gd name="T56" fmla="*/ 504 w 1162"/>
                <a:gd name="T57" fmla="*/ 588 h 757"/>
                <a:gd name="T58" fmla="*/ 359 w 1162"/>
                <a:gd name="T59" fmla="*/ 550 h 757"/>
                <a:gd name="T60" fmla="*/ 221 w 1162"/>
                <a:gd name="T61" fmla="*/ 733 h 757"/>
                <a:gd name="T62" fmla="*/ 221 w 1162"/>
                <a:gd name="T63" fmla="*/ 733 h 757"/>
                <a:gd name="T64" fmla="*/ 137 w 1162"/>
                <a:gd name="T65" fmla="*/ 710 h 757"/>
                <a:gd name="T66" fmla="*/ 46 w 1162"/>
                <a:gd name="T67" fmla="*/ 710 h 757"/>
                <a:gd name="T68" fmla="*/ 61 w 1162"/>
                <a:gd name="T69" fmla="*/ 679 h 757"/>
                <a:gd name="T70" fmla="*/ 23 w 1162"/>
                <a:gd name="T71" fmla="*/ 611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62" h="757">
                  <a:moveTo>
                    <a:pt x="23" y="611"/>
                  </a:moveTo>
                  <a:lnTo>
                    <a:pt x="23" y="611"/>
                  </a:lnTo>
                  <a:cubicBezTo>
                    <a:pt x="15" y="588"/>
                    <a:pt x="7" y="557"/>
                    <a:pt x="0" y="542"/>
                  </a:cubicBezTo>
                  <a:cubicBezTo>
                    <a:pt x="0" y="534"/>
                    <a:pt x="61" y="527"/>
                    <a:pt x="61" y="519"/>
                  </a:cubicBezTo>
                  <a:cubicBezTo>
                    <a:pt x="61" y="512"/>
                    <a:pt x="68" y="382"/>
                    <a:pt x="76" y="359"/>
                  </a:cubicBezTo>
                  <a:cubicBezTo>
                    <a:pt x="84" y="343"/>
                    <a:pt x="107" y="290"/>
                    <a:pt x="114" y="252"/>
                  </a:cubicBezTo>
                  <a:lnTo>
                    <a:pt x="114" y="252"/>
                  </a:lnTo>
                  <a:cubicBezTo>
                    <a:pt x="137" y="259"/>
                    <a:pt x="152" y="275"/>
                    <a:pt x="168" y="267"/>
                  </a:cubicBezTo>
                  <a:cubicBezTo>
                    <a:pt x="244" y="237"/>
                    <a:pt x="313" y="191"/>
                    <a:pt x="374" y="137"/>
                  </a:cubicBezTo>
                  <a:cubicBezTo>
                    <a:pt x="397" y="114"/>
                    <a:pt x="389" y="107"/>
                    <a:pt x="412" y="84"/>
                  </a:cubicBezTo>
                  <a:lnTo>
                    <a:pt x="412" y="84"/>
                  </a:lnTo>
                  <a:cubicBezTo>
                    <a:pt x="488" y="84"/>
                    <a:pt x="534" y="15"/>
                    <a:pt x="588" y="99"/>
                  </a:cubicBezTo>
                  <a:cubicBezTo>
                    <a:pt x="611" y="129"/>
                    <a:pt x="626" y="160"/>
                    <a:pt x="672" y="145"/>
                  </a:cubicBezTo>
                  <a:cubicBezTo>
                    <a:pt x="725" y="129"/>
                    <a:pt x="771" y="99"/>
                    <a:pt x="824" y="84"/>
                  </a:cubicBezTo>
                  <a:cubicBezTo>
                    <a:pt x="939" y="107"/>
                    <a:pt x="1031" y="0"/>
                    <a:pt x="1099" y="122"/>
                  </a:cubicBezTo>
                  <a:cubicBezTo>
                    <a:pt x="1122" y="160"/>
                    <a:pt x="1138" y="191"/>
                    <a:pt x="1161" y="229"/>
                  </a:cubicBezTo>
                  <a:lnTo>
                    <a:pt x="1161" y="229"/>
                  </a:lnTo>
                  <a:cubicBezTo>
                    <a:pt x="1031" y="313"/>
                    <a:pt x="1031" y="313"/>
                    <a:pt x="1031" y="313"/>
                  </a:cubicBezTo>
                  <a:lnTo>
                    <a:pt x="1031" y="313"/>
                  </a:lnTo>
                  <a:cubicBezTo>
                    <a:pt x="1016" y="313"/>
                    <a:pt x="993" y="305"/>
                    <a:pt x="993" y="321"/>
                  </a:cubicBezTo>
                  <a:cubicBezTo>
                    <a:pt x="970" y="359"/>
                    <a:pt x="993" y="427"/>
                    <a:pt x="955" y="450"/>
                  </a:cubicBezTo>
                  <a:cubicBezTo>
                    <a:pt x="901" y="473"/>
                    <a:pt x="840" y="420"/>
                    <a:pt x="786" y="427"/>
                  </a:cubicBezTo>
                  <a:cubicBezTo>
                    <a:pt x="756" y="435"/>
                    <a:pt x="702" y="458"/>
                    <a:pt x="710" y="496"/>
                  </a:cubicBezTo>
                  <a:cubicBezTo>
                    <a:pt x="718" y="527"/>
                    <a:pt x="771" y="489"/>
                    <a:pt x="802" y="496"/>
                  </a:cubicBezTo>
                  <a:cubicBezTo>
                    <a:pt x="824" y="512"/>
                    <a:pt x="870" y="534"/>
                    <a:pt x="855" y="557"/>
                  </a:cubicBezTo>
                  <a:cubicBezTo>
                    <a:pt x="817" y="588"/>
                    <a:pt x="756" y="557"/>
                    <a:pt x="718" y="588"/>
                  </a:cubicBezTo>
                  <a:cubicBezTo>
                    <a:pt x="695" y="603"/>
                    <a:pt x="748" y="657"/>
                    <a:pt x="718" y="672"/>
                  </a:cubicBezTo>
                  <a:cubicBezTo>
                    <a:pt x="664" y="710"/>
                    <a:pt x="580" y="756"/>
                    <a:pt x="511" y="733"/>
                  </a:cubicBezTo>
                  <a:cubicBezTo>
                    <a:pt x="466" y="710"/>
                    <a:pt x="534" y="618"/>
                    <a:pt x="504" y="588"/>
                  </a:cubicBezTo>
                  <a:cubicBezTo>
                    <a:pt x="473" y="550"/>
                    <a:pt x="405" y="527"/>
                    <a:pt x="359" y="550"/>
                  </a:cubicBezTo>
                  <a:cubicBezTo>
                    <a:pt x="290" y="588"/>
                    <a:pt x="267" y="672"/>
                    <a:pt x="221" y="733"/>
                  </a:cubicBezTo>
                  <a:lnTo>
                    <a:pt x="221" y="733"/>
                  </a:lnTo>
                  <a:cubicBezTo>
                    <a:pt x="198" y="725"/>
                    <a:pt x="168" y="710"/>
                    <a:pt x="137" y="710"/>
                  </a:cubicBezTo>
                  <a:cubicBezTo>
                    <a:pt x="107" y="702"/>
                    <a:pt x="76" y="718"/>
                    <a:pt x="46" y="710"/>
                  </a:cubicBezTo>
                  <a:cubicBezTo>
                    <a:pt x="38" y="702"/>
                    <a:pt x="61" y="687"/>
                    <a:pt x="61" y="679"/>
                  </a:cubicBezTo>
                  <a:cubicBezTo>
                    <a:pt x="53" y="657"/>
                    <a:pt x="30" y="634"/>
                    <a:pt x="23" y="61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32" name="Freeform 63"/>
            <p:cNvSpPr>
              <a:spLocks noChangeArrowheads="1"/>
            </p:cNvSpPr>
            <p:nvPr/>
          </p:nvSpPr>
          <p:spPr bwMode="auto">
            <a:xfrm>
              <a:off x="7797293" y="6996114"/>
              <a:ext cx="169852" cy="198437"/>
            </a:xfrm>
            <a:custGeom>
              <a:avLst/>
              <a:gdLst>
                <a:gd name="T0" fmla="*/ 130 w 474"/>
                <a:gd name="T1" fmla="*/ 0 h 551"/>
                <a:gd name="T2" fmla="*/ 130 w 474"/>
                <a:gd name="T3" fmla="*/ 0 h 551"/>
                <a:gd name="T4" fmla="*/ 0 w 474"/>
                <a:gd name="T5" fmla="*/ 84 h 551"/>
                <a:gd name="T6" fmla="*/ 0 w 474"/>
                <a:gd name="T7" fmla="*/ 84 h 551"/>
                <a:gd name="T8" fmla="*/ 130 w 474"/>
                <a:gd name="T9" fmla="*/ 214 h 551"/>
                <a:gd name="T10" fmla="*/ 107 w 474"/>
                <a:gd name="T11" fmla="*/ 313 h 551"/>
                <a:gd name="T12" fmla="*/ 183 w 474"/>
                <a:gd name="T13" fmla="*/ 450 h 551"/>
                <a:gd name="T14" fmla="*/ 244 w 474"/>
                <a:gd name="T15" fmla="*/ 542 h 551"/>
                <a:gd name="T16" fmla="*/ 305 w 474"/>
                <a:gd name="T17" fmla="*/ 496 h 551"/>
                <a:gd name="T18" fmla="*/ 267 w 474"/>
                <a:gd name="T19" fmla="*/ 450 h 551"/>
                <a:gd name="T20" fmla="*/ 328 w 474"/>
                <a:gd name="T21" fmla="*/ 389 h 551"/>
                <a:gd name="T22" fmla="*/ 351 w 474"/>
                <a:gd name="T23" fmla="*/ 328 h 551"/>
                <a:gd name="T24" fmla="*/ 473 w 474"/>
                <a:gd name="T25" fmla="*/ 260 h 551"/>
                <a:gd name="T26" fmla="*/ 473 w 474"/>
                <a:gd name="T27" fmla="*/ 260 h 551"/>
                <a:gd name="T28" fmla="*/ 435 w 474"/>
                <a:gd name="T29" fmla="*/ 221 h 551"/>
                <a:gd name="T30" fmla="*/ 290 w 474"/>
                <a:gd name="T31" fmla="*/ 145 h 551"/>
                <a:gd name="T32" fmla="*/ 145 w 474"/>
                <a:gd name="T33" fmla="*/ 30 h 551"/>
                <a:gd name="T34" fmla="*/ 130 w 474"/>
                <a:gd name="T35" fmla="*/ 0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4" h="551">
                  <a:moveTo>
                    <a:pt x="130" y="0"/>
                  </a:moveTo>
                  <a:lnTo>
                    <a:pt x="130" y="0"/>
                  </a:lnTo>
                  <a:cubicBezTo>
                    <a:pt x="0" y="84"/>
                    <a:pt x="0" y="84"/>
                    <a:pt x="0" y="84"/>
                  </a:cubicBezTo>
                  <a:lnTo>
                    <a:pt x="0" y="84"/>
                  </a:lnTo>
                  <a:cubicBezTo>
                    <a:pt x="46" y="130"/>
                    <a:pt x="107" y="160"/>
                    <a:pt x="130" y="214"/>
                  </a:cubicBezTo>
                  <a:cubicBezTo>
                    <a:pt x="145" y="244"/>
                    <a:pt x="91" y="283"/>
                    <a:pt x="107" y="313"/>
                  </a:cubicBezTo>
                  <a:cubicBezTo>
                    <a:pt x="114" y="367"/>
                    <a:pt x="160" y="405"/>
                    <a:pt x="183" y="450"/>
                  </a:cubicBezTo>
                  <a:cubicBezTo>
                    <a:pt x="206" y="481"/>
                    <a:pt x="214" y="527"/>
                    <a:pt x="244" y="542"/>
                  </a:cubicBezTo>
                  <a:cubicBezTo>
                    <a:pt x="267" y="550"/>
                    <a:pt x="298" y="519"/>
                    <a:pt x="305" y="496"/>
                  </a:cubicBezTo>
                  <a:cubicBezTo>
                    <a:pt x="305" y="473"/>
                    <a:pt x="267" y="466"/>
                    <a:pt x="267" y="450"/>
                  </a:cubicBezTo>
                  <a:cubicBezTo>
                    <a:pt x="275" y="428"/>
                    <a:pt x="313" y="412"/>
                    <a:pt x="328" y="389"/>
                  </a:cubicBezTo>
                  <a:cubicBezTo>
                    <a:pt x="336" y="374"/>
                    <a:pt x="328" y="344"/>
                    <a:pt x="351" y="328"/>
                  </a:cubicBezTo>
                  <a:cubicBezTo>
                    <a:pt x="389" y="290"/>
                    <a:pt x="427" y="290"/>
                    <a:pt x="473" y="260"/>
                  </a:cubicBezTo>
                  <a:lnTo>
                    <a:pt x="473" y="260"/>
                  </a:lnTo>
                  <a:cubicBezTo>
                    <a:pt x="466" y="252"/>
                    <a:pt x="450" y="237"/>
                    <a:pt x="435" y="221"/>
                  </a:cubicBezTo>
                  <a:cubicBezTo>
                    <a:pt x="397" y="183"/>
                    <a:pt x="336" y="183"/>
                    <a:pt x="290" y="145"/>
                  </a:cubicBezTo>
                  <a:cubicBezTo>
                    <a:pt x="275" y="145"/>
                    <a:pt x="160" y="46"/>
                    <a:pt x="145" y="30"/>
                  </a:cubicBezTo>
                  <a:cubicBezTo>
                    <a:pt x="137" y="23"/>
                    <a:pt x="130" y="8"/>
                    <a:pt x="130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33" name="Freeform 64"/>
            <p:cNvSpPr>
              <a:spLocks noChangeArrowheads="1"/>
            </p:cNvSpPr>
            <p:nvPr/>
          </p:nvSpPr>
          <p:spPr bwMode="auto">
            <a:xfrm>
              <a:off x="7462352" y="7791450"/>
              <a:ext cx="217473" cy="217488"/>
            </a:xfrm>
            <a:custGeom>
              <a:avLst/>
              <a:gdLst>
                <a:gd name="T0" fmla="*/ 221 w 604"/>
                <a:gd name="T1" fmla="*/ 8 h 605"/>
                <a:gd name="T2" fmla="*/ 221 w 604"/>
                <a:gd name="T3" fmla="*/ 8 h 605"/>
                <a:gd name="T4" fmla="*/ 397 w 604"/>
                <a:gd name="T5" fmla="*/ 31 h 605"/>
                <a:gd name="T6" fmla="*/ 466 w 604"/>
                <a:gd name="T7" fmla="*/ 123 h 605"/>
                <a:gd name="T8" fmla="*/ 588 w 604"/>
                <a:gd name="T9" fmla="*/ 123 h 605"/>
                <a:gd name="T10" fmla="*/ 596 w 604"/>
                <a:gd name="T11" fmla="*/ 168 h 605"/>
                <a:gd name="T12" fmla="*/ 450 w 604"/>
                <a:gd name="T13" fmla="*/ 237 h 605"/>
                <a:gd name="T14" fmla="*/ 504 w 604"/>
                <a:gd name="T15" fmla="*/ 290 h 605"/>
                <a:gd name="T16" fmla="*/ 504 w 604"/>
                <a:gd name="T17" fmla="*/ 290 h 605"/>
                <a:gd name="T18" fmla="*/ 435 w 604"/>
                <a:gd name="T19" fmla="*/ 336 h 605"/>
                <a:gd name="T20" fmla="*/ 420 w 604"/>
                <a:gd name="T21" fmla="*/ 421 h 605"/>
                <a:gd name="T22" fmla="*/ 275 w 604"/>
                <a:gd name="T23" fmla="*/ 474 h 605"/>
                <a:gd name="T24" fmla="*/ 183 w 604"/>
                <a:gd name="T25" fmla="*/ 604 h 605"/>
                <a:gd name="T26" fmla="*/ 183 w 604"/>
                <a:gd name="T27" fmla="*/ 604 h 605"/>
                <a:gd name="T28" fmla="*/ 122 w 604"/>
                <a:gd name="T29" fmla="*/ 535 h 605"/>
                <a:gd name="T30" fmla="*/ 61 w 604"/>
                <a:gd name="T31" fmla="*/ 436 h 605"/>
                <a:gd name="T32" fmla="*/ 15 w 604"/>
                <a:gd name="T33" fmla="*/ 421 h 605"/>
                <a:gd name="T34" fmla="*/ 38 w 604"/>
                <a:gd name="T35" fmla="*/ 313 h 605"/>
                <a:gd name="T36" fmla="*/ 53 w 604"/>
                <a:gd name="T37" fmla="*/ 199 h 605"/>
                <a:gd name="T38" fmla="*/ 0 w 604"/>
                <a:gd name="T39" fmla="*/ 115 h 605"/>
                <a:gd name="T40" fmla="*/ 38 w 604"/>
                <a:gd name="T41" fmla="*/ 61 h 605"/>
                <a:gd name="T42" fmla="*/ 99 w 604"/>
                <a:gd name="T43" fmla="*/ 77 h 605"/>
                <a:gd name="T44" fmla="*/ 221 w 604"/>
                <a:gd name="T45" fmla="*/ 8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4" h="605">
                  <a:moveTo>
                    <a:pt x="221" y="8"/>
                  </a:moveTo>
                  <a:lnTo>
                    <a:pt x="221" y="8"/>
                  </a:lnTo>
                  <a:cubicBezTo>
                    <a:pt x="283" y="16"/>
                    <a:pt x="344" y="0"/>
                    <a:pt x="397" y="31"/>
                  </a:cubicBezTo>
                  <a:cubicBezTo>
                    <a:pt x="435" y="46"/>
                    <a:pt x="435" y="100"/>
                    <a:pt x="466" y="123"/>
                  </a:cubicBezTo>
                  <a:cubicBezTo>
                    <a:pt x="504" y="138"/>
                    <a:pt x="550" y="107"/>
                    <a:pt x="588" y="123"/>
                  </a:cubicBezTo>
                  <a:cubicBezTo>
                    <a:pt x="603" y="130"/>
                    <a:pt x="603" y="161"/>
                    <a:pt x="596" y="168"/>
                  </a:cubicBezTo>
                  <a:cubicBezTo>
                    <a:pt x="558" y="207"/>
                    <a:pt x="481" y="199"/>
                    <a:pt x="450" y="237"/>
                  </a:cubicBezTo>
                  <a:cubicBezTo>
                    <a:pt x="435" y="260"/>
                    <a:pt x="489" y="275"/>
                    <a:pt x="504" y="290"/>
                  </a:cubicBezTo>
                  <a:lnTo>
                    <a:pt x="504" y="290"/>
                  </a:lnTo>
                  <a:cubicBezTo>
                    <a:pt x="481" y="306"/>
                    <a:pt x="458" y="321"/>
                    <a:pt x="435" y="336"/>
                  </a:cubicBezTo>
                  <a:cubicBezTo>
                    <a:pt x="435" y="336"/>
                    <a:pt x="420" y="413"/>
                    <a:pt x="420" y="421"/>
                  </a:cubicBezTo>
                  <a:cubicBezTo>
                    <a:pt x="420" y="428"/>
                    <a:pt x="275" y="474"/>
                    <a:pt x="275" y="474"/>
                  </a:cubicBezTo>
                  <a:cubicBezTo>
                    <a:pt x="244" y="520"/>
                    <a:pt x="214" y="565"/>
                    <a:pt x="183" y="604"/>
                  </a:cubicBezTo>
                  <a:lnTo>
                    <a:pt x="183" y="604"/>
                  </a:lnTo>
                  <a:cubicBezTo>
                    <a:pt x="160" y="581"/>
                    <a:pt x="145" y="558"/>
                    <a:pt x="122" y="535"/>
                  </a:cubicBezTo>
                  <a:cubicBezTo>
                    <a:pt x="99" y="504"/>
                    <a:pt x="84" y="466"/>
                    <a:pt x="61" y="436"/>
                  </a:cubicBezTo>
                  <a:cubicBezTo>
                    <a:pt x="46" y="421"/>
                    <a:pt x="15" y="436"/>
                    <a:pt x="15" y="421"/>
                  </a:cubicBezTo>
                  <a:cubicBezTo>
                    <a:pt x="8" y="382"/>
                    <a:pt x="31" y="344"/>
                    <a:pt x="38" y="313"/>
                  </a:cubicBezTo>
                  <a:cubicBezTo>
                    <a:pt x="46" y="275"/>
                    <a:pt x="61" y="237"/>
                    <a:pt x="53" y="199"/>
                  </a:cubicBezTo>
                  <a:cubicBezTo>
                    <a:pt x="53" y="168"/>
                    <a:pt x="23" y="146"/>
                    <a:pt x="0" y="115"/>
                  </a:cubicBezTo>
                  <a:cubicBezTo>
                    <a:pt x="0" y="115"/>
                    <a:pt x="38" y="69"/>
                    <a:pt x="38" y="61"/>
                  </a:cubicBezTo>
                  <a:cubicBezTo>
                    <a:pt x="46" y="54"/>
                    <a:pt x="99" y="77"/>
                    <a:pt x="99" y="77"/>
                  </a:cubicBezTo>
                  <a:cubicBezTo>
                    <a:pt x="145" y="54"/>
                    <a:pt x="183" y="31"/>
                    <a:pt x="221" y="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43" name="Freeform 65"/>
            <p:cNvSpPr>
              <a:spLocks noChangeArrowheads="1"/>
            </p:cNvSpPr>
            <p:nvPr/>
          </p:nvSpPr>
          <p:spPr bwMode="auto">
            <a:xfrm>
              <a:off x="7200431" y="7896225"/>
              <a:ext cx="558764" cy="630238"/>
            </a:xfrm>
            <a:custGeom>
              <a:avLst/>
              <a:gdLst>
                <a:gd name="T0" fmla="*/ 909 w 1552"/>
                <a:gd name="T1" fmla="*/ 314 h 1751"/>
                <a:gd name="T2" fmla="*/ 1146 w 1552"/>
                <a:gd name="T3" fmla="*/ 131 h 1751"/>
                <a:gd name="T4" fmla="*/ 1230 w 1552"/>
                <a:gd name="T5" fmla="*/ 0 h 1751"/>
                <a:gd name="T6" fmla="*/ 1314 w 1552"/>
                <a:gd name="T7" fmla="*/ 85 h 1751"/>
                <a:gd name="T8" fmla="*/ 1322 w 1552"/>
                <a:gd name="T9" fmla="*/ 237 h 1751"/>
                <a:gd name="T10" fmla="*/ 1406 w 1552"/>
                <a:gd name="T11" fmla="*/ 222 h 1751"/>
                <a:gd name="T12" fmla="*/ 1536 w 1552"/>
                <a:gd name="T13" fmla="*/ 428 h 1751"/>
                <a:gd name="T14" fmla="*/ 1390 w 1552"/>
                <a:gd name="T15" fmla="*/ 696 h 1751"/>
                <a:gd name="T16" fmla="*/ 1352 w 1552"/>
                <a:gd name="T17" fmla="*/ 910 h 1751"/>
                <a:gd name="T18" fmla="*/ 1253 w 1552"/>
                <a:gd name="T19" fmla="*/ 955 h 1751"/>
                <a:gd name="T20" fmla="*/ 1138 w 1552"/>
                <a:gd name="T21" fmla="*/ 994 h 1751"/>
                <a:gd name="T22" fmla="*/ 1100 w 1552"/>
                <a:gd name="T23" fmla="*/ 1123 h 1751"/>
                <a:gd name="T24" fmla="*/ 1093 w 1552"/>
                <a:gd name="T25" fmla="*/ 1314 h 1751"/>
                <a:gd name="T26" fmla="*/ 940 w 1552"/>
                <a:gd name="T27" fmla="*/ 1368 h 1751"/>
                <a:gd name="T28" fmla="*/ 718 w 1552"/>
                <a:gd name="T29" fmla="*/ 1498 h 1751"/>
                <a:gd name="T30" fmla="*/ 718 w 1552"/>
                <a:gd name="T31" fmla="*/ 1567 h 1751"/>
                <a:gd name="T32" fmla="*/ 596 w 1552"/>
                <a:gd name="T33" fmla="*/ 1467 h 1751"/>
                <a:gd name="T34" fmla="*/ 474 w 1552"/>
                <a:gd name="T35" fmla="*/ 1521 h 1751"/>
                <a:gd name="T36" fmla="*/ 336 w 1552"/>
                <a:gd name="T37" fmla="*/ 1643 h 1751"/>
                <a:gd name="T38" fmla="*/ 313 w 1552"/>
                <a:gd name="T39" fmla="*/ 1681 h 1751"/>
                <a:gd name="T40" fmla="*/ 161 w 1552"/>
                <a:gd name="T41" fmla="*/ 1734 h 1751"/>
                <a:gd name="T42" fmla="*/ 92 w 1552"/>
                <a:gd name="T43" fmla="*/ 1689 h 1751"/>
                <a:gd name="T44" fmla="*/ 31 w 1552"/>
                <a:gd name="T45" fmla="*/ 1467 h 1751"/>
                <a:gd name="T46" fmla="*/ 0 w 1552"/>
                <a:gd name="T47" fmla="*/ 1269 h 1751"/>
                <a:gd name="T48" fmla="*/ 54 w 1552"/>
                <a:gd name="T49" fmla="*/ 1200 h 1751"/>
                <a:gd name="T50" fmla="*/ 77 w 1552"/>
                <a:gd name="T51" fmla="*/ 1085 h 1751"/>
                <a:gd name="T52" fmla="*/ 146 w 1552"/>
                <a:gd name="T53" fmla="*/ 932 h 1751"/>
                <a:gd name="T54" fmla="*/ 100 w 1552"/>
                <a:gd name="T55" fmla="*/ 833 h 1751"/>
                <a:gd name="T56" fmla="*/ 176 w 1552"/>
                <a:gd name="T57" fmla="*/ 680 h 1751"/>
                <a:gd name="T58" fmla="*/ 283 w 1552"/>
                <a:gd name="T59" fmla="*/ 658 h 1751"/>
                <a:gd name="T60" fmla="*/ 413 w 1552"/>
                <a:gd name="T61" fmla="*/ 596 h 1751"/>
                <a:gd name="T62" fmla="*/ 512 w 1552"/>
                <a:gd name="T63" fmla="*/ 459 h 1751"/>
                <a:gd name="T64" fmla="*/ 673 w 1552"/>
                <a:gd name="T65" fmla="*/ 314 h 1751"/>
                <a:gd name="T66" fmla="*/ 909 w 1552"/>
                <a:gd name="T67" fmla="*/ 314 h 1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52" h="1751">
                  <a:moveTo>
                    <a:pt x="909" y="314"/>
                  </a:moveTo>
                  <a:lnTo>
                    <a:pt x="909" y="314"/>
                  </a:lnTo>
                  <a:cubicBezTo>
                    <a:pt x="940" y="275"/>
                    <a:pt x="970" y="230"/>
                    <a:pt x="1001" y="184"/>
                  </a:cubicBezTo>
                  <a:cubicBezTo>
                    <a:pt x="1001" y="184"/>
                    <a:pt x="1146" y="138"/>
                    <a:pt x="1146" y="131"/>
                  </a:cubicBezTo>
                  <a:cubicBezTo>
                    <a:pt x="1146" y="123"/>
                    <a:pt x="1161" y="46"/>
                    <a:pt x="1161" y="46"/>
                  </a:cubicBezTo>
                  <a:cubicBezTo>
                    <a:pt x="1184" y="31"/>
                    <a:pt x="1207" y="16"/>
                    <a:pt x="1230" y="0"/>
                  </a:cubicBezTo>
                  <a:lnTo>
                    <a:pt x="1230" y="0"/>
                  </a:lnTo>
                  <a:cubicBezTo>
                    <a:pt x="1261" y="31"/>
                    <a:pt x="1307" y="46"/>
                    <a:pt x="1314" y="85"/>
                  </a:cubicBezTo>
                  <a:cubicBezTo>
                    <a:pt x="1322" y="115"/>
                    <a:pt x="1276" y="138"/>
                    <a:pt x="1276" y="169"/>
                  </a:cubicBezTo>
                  <a:cubicBezTo>
                    <a:pt x="1284" y="192"/>
                    <a:pt x="1291" y="230"/>
                    <a:pt x="1322" y="237"/>
                  </a:cubicBezTo>
                  <a:cubicBezTo>
                    <a:pt x="1345" y="253"/>
                    <a:pt x="1375" y="230"/>
                    <a:pt x="1406" y="222"/>
                  </a:cubicBezTo>
                  <a:lnTo>
                    <a:pt x="1406" y="222"/>
                  </a:lnTo>
                  <a:cubicBezTo>
                    <a:pt x="1429" y="268"/>
                    <a:pt x="1436" y="321"/>
                    <a:pt x="1459" y="360"/>
                  </a:cubicBezTo>
                  <a:cubicBezTo>
                    <a:pt x="1482" y="390"/>
                    <a:pt x="1528" y="398"/>
                    <a:pt x="1536" y="428"/>
                  </a:cubicBezTo>
                  <a:cubicBezTo>
                    <a:pt x="1551" y="482"/>
                    <a:pt x="1543" y="535"/>
                    <a:pt x="1520" y="581"/>
                  </a:cubicBezTo>
                  <a:cubicBezTo>
                    <a:pt x="1497" y="627"/>
                    <a:pt x="1436" y="658"/>
                    <a:pt x="1390" y="696"/>
                  </a:cubicBezTo>
                  <a:cubicBezTo>
                    <a:pt x="1368" y="719"/>
                    <a:pt x="1307" y="719"/>
                    <a:pt x="1307" y="749"/>
                  </a:cubicBezTo>
                  <a:cubicBezTo>
                    <a:pt x="1291" y="803"/>
                    <a:pt x="1337" y="856"/>
                    <a:pt x="1352" y="910"/>
                  </a:cubicBezTo>
                  <a:lnTo>
                    <a:pt x="1352" y="910"/>
                  </a:lnTo>
                  <a:cubicBezTo>
                    <a:pt x="1314" y="925"/>
                    <a:pt x="1276" y="925"/>
                    <a:pt x="1253" y="955"/>
                  </a:cubicBezTo>
                  <a:cubicBezTo>
                    <a:pt x="1238" y="978"/>
                    <a:pt x="1245" y="1017"/>
                    <a:pt x="1245" y="1047"/>
                  </a:cubicBezTo>
                  <a:cubicBezTo>
                    <a:pt x="1245" y="1047"/>
                    <a:pt x="1146" y="994"/>
                    <a:pt x="1138" y="994"/>
                  </a:cubicBezTo>
                  <a:cubicBezTo>
                    <a:pt x="1131" y="994"/>
                    <a:pt x="1085" y="1039"/>
                    <a:pt x="1085" y="1039"/>
                  </a:cubicBezTo>
                  <a:cubicBezTo>
                    <a:pt x="1093" y="1070"/>
                    <a:pt x="1108" y="1100"/>
                    <a:pt x="1100" y="1123"/>
                  </a:cubicBezTo>
                  <a:cubicBezTo>
                    <a:pt x="1093" y="1162"/>
                    <a:pt x="1047" y="1184"/>
                    <a:pt x="1047" y="1215"/>
                  </a:cubicBezTo>
                  <a:cubicBezTo>
                    <a:pt x="1047" y="1253"/>
                    <a:pt x="1077" y="1284"/>
                    <a:pt x="1093" y="1314"/>
                  </a:cubicBezTo>
                  <a:lnTo>
                    <a:pt x="1093" y="1314"/>
                  </a:lnTo>
                  <a:cubicBezTo>
                    <a:pt x="1093" y="1314"/>
                    <a:pt x="947" y="1368"/>
                    <a:pt x="940" y="1368"/>
                  </a:cubicBezTo>
                  <a:cubicBezTo>
                    <a:pt x="940" y="1375"/>
                    <a:pt x="909" y="1421"/>
                    <a:pt x="909" y="1421"/>
                  </a:cubicBezTo>
                  <a:cubicBezTo>
                    <a:pt x="848" y="1444"/>
                    <a:pt x="772" y="1452"/>
                    <a:pt x="718" y="1498"/>
                  </a:cubicBezTo>
                  <a:cubicBezTo>
                    <a:pt x="695" y="1505"/>
                    <a:pt x="718" y="1544"/>
                    <a:pt x="718" y="1567"/>
                  </a:cubicBezTo>
                  <a:lnTo>
                    <a:pt x="718" y="1567"/>
                  </a:lnTo>
                  <a:cubicBezTo>
                    <a:pt x="703" y="1582"/>
                    <a:pt x="680" y="1628"/>
                    <a:pt x="665" y="1612"/>
                  </a:cubicBezTo>
                  <a:cubicBezTo>
                    <a:pt x="619" y="1574"/>
                    <a:pt x="642" y="1490"/>
                    <a:pt x="596" y="1467"/>
                  </a:cubicBezTo>
                  <a:cubicBezTo>
                    <a:pt x="558" y="1444"/>
                    <a:pt x="512" y="1475"/>
                    <a:pt x="482" y="1498"/>
                  </a:cubicBezTo>
                  <a:cubicBezTo>
                    <a:pt x="474" y="1498"/>
                    <a:pt x="482" y="1521"/>
                    <a:pt x="474" y="1521"/>
                  </a:cubicBezTo>
                  <a:cubicBezTo>
                    <a:pt x="428" y="1544"/>
                    <a:pt x="375" y="1528"/>
                    <a:pt x="336" y="1559"/>
                  </a:cubicBezTo>
                  <a:cubicBezTo>
                    <a:pt x="313" y="1582"/>
                    <a:pt x="336" y="1620"/>
                    <a:pt x="336" y="1643"/>
                  </a:cubicBezTo>
                  <a:lnTo>
                    <a:pt x="336" y="1643"/>
                  </a:lnTo>
                  <a:cubicBezTo>
                    <a:pt x="329" y="1658"/>
                    <a:pt x="321" y="1673"/>
                    <a:pt x="313" y="1681"/>
                  </a:cubicBezTo>
                  <a:cubicBezTo>
                    <a:pt x="290" y="1704"/>
                    <a:pt x="275" y="1719"/>
                    <a:pt x="252" y="1727"/>
                  </a:cubicBezTo>
                  <a:cubicBezTo>
                    <a:pt x="229" y="1734"/>
                    <a:pt x="191" y="1734"/>
                    <a:pt x="161" y="1734"/>
                  </a:cubicBezTo>
                  <a:cubicBezTo>
                    <a:pt x="138" y="1734"/>
                    <a:pt x="107" y="1750"/>
                    <a:pt x="84" y="1734"/>
                  </a:cubicBezTo>
                  <a:cubicBezTo>
                    <a:pt x="69" y="1727"/>
                    <a:pt x="92" y="1704"/>
                    <a:pt x="92" y="1689"/>
                  </a:cubicBezTo>
                  <a:cubicBezTo>
                    <a:pt x="92" y="1658"/>
                    <a:pt x="84" y="1628"/>
                    <a:pt x="77" y="1597"/>
                  </a:cubicBezTo>
                  <a:cubicBezTo>
                    <a:pt x="61" y="1551"/>
                    <a:pt x="16" y="1513"/>
                    <a:pt x="31" y="1467"/>
                  </a:cubicBezTo>
                  <a:cubicBezTo>
                    <a:pt x="38" y="1437"/>
                    <a:pt x="138" y="1475"/>
                    <a:pt x="130" y="1437"/>
                  </a:cubicBezTo>
                  <a:cubicBezTo>
                    <a:pt x="123" y="1368"/>
                    <a:pt x="46" y="1322"/>
                    <a:pt x="0" y="1269"/>
                  </a:cubicBezTo>
                  <a:cubicBezTo>
                    <a:pt x="8" y="1269"/>
                    <a:pt x="8" y="1269"/>
                    <a:pt x="8" y="1269"/>
                  </a:cubicBezTo>
                  <a:cubicBezTo>
                    <a:pt x="23" y="1246"/>
                    <a:pt x="31" y="1223"/>
                    <a:pt x="54" y="1200"/>
                  </a:cubicBezTo>
                  <a:cubicBezTo>
                    <a:pt x="69" y="1184"/>
                    <a:pt x="115" y="1200"/>
                    <a:pt x="123" y="1177"/>
                  </a:cubicBezTo>
                  <a:cubicBezTo>
                    <a:pt x="130" y="1146"/>
                    <a:pt x="69" y="1116"/>
                    <a:pt x="77" y="1085"/>
                  </a:cubicBezTo>
                  <a:cubicBezTo>
                    <a:pt x="92" y="1047"/>
                    <a:pt x="153" y="1047"/>
                    <a:pt x="168" y="1009"/>
                  </a:cubicBezTo>
                  <a:cubicBezTo>
                    <a:pt x="184" y="986"/>
                    <a:pt x="146" y="963"/>
                    <a:pt x="146" y="932"/>
                  </a:cubicBezTo>
                  <a:cubicBezTo>
                    <a:pt x="146" y="910"/>
                    <a:pt x="184" y="894"/>
                    <a:pt x="168" y="879"/>
                  </a:cubicBezTo>
                  <a:cubicBezTo>
                    <a:pt x="161" y="856"/>
                    <a:pt x="84" y="864"/>
                    <a:pt x="100" y="833"/>
                  </a:cubicBezTo>
                  <a:cubicBezTo>
                    <a:pt x="115" y="795"/>
                    <a:pt x="191" y="818"/>
                    <a:pt x="214" y="780"/>
                  </a:cubicBezTo>
                  <a:cubicBezTo>
                    <a:pt x="229" y="749"/>
                    <a:pt x="191" y="711"/>
                    <a:pt x="176" y="680"/>
                  </a:cubicBezTo>
                  <a:lnTo>
                    <a:pt x="176" y="680"/>
                  </a:lnTo>
                  <a:cubicBezTo>
                    <a:pt x="214" y="673"/>
                    <a:pt x="252" y="680"/>
                    <a:pt x="283" y="658"/>
                  </a:cubicBezTo>
                  <a:cubicBezTo>
                    <a:pt x="313" y="642"/>
                    <a:pt x="313" y="589"/>
                    <a:pt x="352" y="573"/>
                  </a:cubicBezTo>
                  <a:cubicBezTo>
                    <a:pt x="367" y="566"/>
                    <a:pt x="398" y="612"/>
                    <a:pt x="413" y="596"/>
                  </a:cubicBezTo>
                  <a:cubicBezTo>
                    <a:pt x="436" y="581"/>
                    <a:pt x="413" y="543"/>
                    <a:pt x="421" y="520"/>
                  </a:cubicBezTo>
                  <a:cubicBezTo>
                    <a:pt x="443" y="489"/>
                    <a:pt x="482" y="467"/>
                    <a:pt x="512" y="459"/>
                  </a:cubicBezTo>
                  <a:cubicBezTo>
                    <a:pt x="558" y="451"/>
                    <a:pt x="611" y="505"/>
                    <a:pt x="642" y="474"/>
                  </a:cubicBezTo>
                  <a:cubicBezTo>
                    <a:pt x="680" y="436"/>
                    <a:pt x="627" y="337"/>
                    <a:pt x="673" y="314"/>
                  </a:cubicBezTo>
                  <a:cubicBezTo>
                    <a:pt x="718" y="283"/>
                    <a:pt x="772" y="352"/>
                    <a:pt x="833" y="352"/>
                  </a:cubicBezTo>
                  <a:cubicBezTo>
                    <a:pt x="856" y="360"/>
                    <a:pt x="879" y="329"/>
                    <a:pt x="909" y="314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44" name="Freeform 66"/>
            <p:cNvSpPr>
              <a:spLocks noChangeArrowheads="1"/>
            </p:cNvSpPr>
            <p:nvPr/>
          </p:nvSpPr>
          <p:spPr bwMode="auto">
            <a:xfrm>
              <a:off x="7643316" y="7889876"/>
              <a:ext cx="306367" cy="138113"/>
            </a:xfrm>
            <a:custGeom>
              <a:avLst/>
              <a:gdLst>
                <a:gd name="T0" fmla="*/ 0 w 849"/>
                <a:gd name="T1" fmla="*/ 15 h 383"/>
                <a:gd name="T2" fmla="*/ 0 w 849"/>
                <a:gd name="T3" fmla="*/ 15 h 383"/>
                <a:gd name="T4" fmla="*/ 130 w 849"/>
                <a:gd name="T5" fmla="*/ 31 h 383"/>
                <a:gd name="T6" fmla="*/ 229 w 849"/>
                <a:gd name="T7" fmla="*/ 84 h 383"/>
                <a:gd name="T8" fmla="*/ 329 w 849"/>
                <a:gd name="T9" fmla="*/ 15 h 383"/>
                <a:gd name="T10" fmla="*/ 435 w 849"/>
                <a:gd name="T11" fmla="*/ 69 h 383"/>
                <a:gd name="T12" fmla="*/ 496 w 849"/>
                <a:gd name="T13" fmla="*/ 38 h 383"/>
                <a:gd name="T14" fmla="*/ 588 w 849"/>
                <a:gd name="T15" fmla="*/ 77 h 383"/>
                <a:gd name="T16" fmla="*/ 688 w 849"/>
                <a:gd name="T17" fmla="*/ 8 h 383"/>
                <a:gd name="T18" fmla="*/ 802 w 849"/>
                <a:gd name="T19" fmla="*/ 31 h 383"/>
                <a:gd name="T20" fmla="*/ 802 w 849"/>
                <a:gd name="T21" fmla="*/ 31 h 383"/>
                <a:gd name="T22" fmla="*/ 802 w 849"/>
                <a:gd name="T23" fmla="*/ 115 h 383"/>
                <a:gd name="T24" fmla="*/ 825 w 849"/>
                <a:gd name="T25" fmla="*/ 222 h 383"/>
                <a:gd name="T26" fmla="*/ 565 w 849"/>
                <a:gd name="T27" fmla="*/ 283 h 383"/>
                <a:gd name="T28" fmla="*/ 550 w 849"/>
                <a:gd name="T29" fmla="*/ 359 h 383"/>
                <a:gd name="T30" fmla="*/ 428 w 849"/>
                <a:gd name="T31" fmla="*/ 375 h 383"/>
                <a:gd name="T32" fmla="*/ 420 w 849"/>
                <a:gd name="T33" fmla="*/ 344 h 383"/>
                <a:gd name="T34" fmla="*/ 352 w 849"/>
                <a:gd name="T35" fmla="*/ 367 h 383"/>
                <a:gd name="T36" fmla="*/ 313 w 849"/>
                <a:gd name="T37" fmla="*/ 290 h 383"/>
                <a:gd name="T38" fmla="*/ 252 w 849"/>
                <a:gd name="T39" fmla="*/ 245 h 383"/>
                <a:gd name="T40" fmla="*/ 176 w 849"/>
                <a:gd name="T41" fmla="*/ 237 h 383"/>
                <a:gd name="T42" fmla="*/ 176 w 849"/>
                <a:gd name="T43" fmla="*/ 237 h 383"/>
                <a:gd name="T44" fmla="*/ 92 w 849"/>
                <a:gd name="T45" fmla="*/ 252 h 383"/>
                <a:gd name="T46" fmla="*/ 46 w 849"/>
                <a:gd name="T47" fmla="*/ 184 h 383"/>
                <a:gd name="T48" fmla="*/ 84 w 849"/>
                <a:gd name="T49" fmla="*/ 100 h 383"/>
                <a:gd name="T50" fmla="*/ 0 w 849"/>
                <a:gd name="T51" fmla="*/ 15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49" h="383">
                  <a:moveTo>
                    <a:pt x="0" y="15"/>
                  </a:moveTo>
                  <a:lnTo>
                    <a:pt x="0" y="15"/>
                  </a:lnTo>
                  <a:cubicBezTo>
                    <a:pt x="46" y="23"/>
                    <a:pt x="92" y="15"/>
                    <a:pt x="130" y="31"/>
                  </a:cubicBezTo>
                  <a:cubicBezTo>
                    <a:pt x="168" y="38"/>
                    <a:pt x="191" y="84"/>
                    <a:pt x="229" y="84"/>
                  </a:cubicBezTo>
                  <a:cubicBezTo>
                    <a:pt x="275" y="84"/>
                    <a:pt x="290" y="23"/>
                    <a:pt x="329" y="15"/>
                  </a:cubicBezTo>
                  <a:cubicBezTo>
                    <a:pt x="367" y="15"/>
                    <a:pt x="397" y="61"/>
                    <a:pt x="435" y="69"/>
                  </a:cubicBezTo>
                  <a:cubicBezTo>
                    <a:pt x="458" y="69"/>
                    <a:pt x="474" y="31"/>
                    <a:pt x="496" y="38"/>
                  </a:cubicBezTo>
                  <a:cubicBezTo>
                    <a:pt x="535" y="38"/>
                    <a:pt x="558" y="77"/>
                    <a:pt x="588" y="77"/>
                  </a:cubicBezTo>
                  <a:cubicBezTo>
                    <a:pt x="626" y="69"/>
                    <a:pt x="649" y="15"/>
                    <a:pt x="688" y="8"/>
                  </a:cubicBezTo>
                  <a:cubicBezTo>
                    <a:pt x="726" y="0"/>
                    <a:pt x="764" y="23"/>
                    <a:pt x="802" y="31"/>
                  </a:cubicBezTo>
                  <a:lnTo>
                    <a:pt x="802" y="31"/>
                  </a:lnTo>
                  <a:cubicBezTo>
                    <a:pt x="802" y="61"/>
                    <a:pt x="802" y="84"/>
                    <a:pt x="802" y="115"/>
                  </a:cubicBezTo>
                  <a:cubicBezTo>
                    <a:pt x="810" y="146"/>
                    <a:pt x="848" y="199"/>
                    <a:pt x="825" y="222"/>
                  </a:cubicBezTo>
                  <a:cubicBezTo>
                    <a:pt x="749" y="268"/>
                    <a:pt x="649" y="245"/>
                    <a:pt x="565" y="283"/>
                  </a:cubicBezTo>
                  <a:cubicBezTo>
                    <a:pt x="542" y="290"/>
                    <a:pt x="573" y="344"/>
                    <a:pt x="550" y="359"/>
                  </a:cubicBezTo>
                  <a:cubicBezTo>
                    <a:pt x="519" y="382"/>
                    <a:pt x="474" y="382"/>
                    <a:pt x="428" y="375"/>
                  </a:cubicBezTo>
                  <a:cubicBezTo>
                    <a:pt x="420" y="375"/>
                    <a:pt x="435" y="352"/>
                    <a:pt x="420" y="344"/>
                  </a:cubicBezTo>
                  <a:cubicBezTo>
                    <a:pt x="397" y="344"/>
                    <a:pt x="374" y="375"/>
                    <a:pt x="352" y="367"/>
                  </a:cubicBezTo>
                  <a:cubicBezTo>
                    <a:pt x="329" y="352"/>
                    <a:pt x="329" y="313"/>
                    <a:pt x="313" y="290"/>
                  </a:cubicBezTo>
                  <a:cubicBezTo>
                    <a:pt x="298" y="275"/>
                    <a:pt x="275" y="252"/>
                    <a:pt x="252" y="245"/>
                  </a:cubicBezTo>
                  <a:cubicBezTo>
                    <a:pt x="229" y="229"/>
                    <a:pt x="206" y="237"/>
                    <a:pt x="176" y="237"/>
                  </a:cubicBezTo>
                  <a:lnTo>
                    <a:pt x="176" y="237"/>
                  </a:lnTo>
                  <a:cubicBezTo>
                    <a:pt x="145" y="245"/>
                    <a:pt x="115" y="268"/>
                    <a:pt x="92" y="252"/>
                  </a:cubicBezTo>
                  <a:cubicBezTo>
                    <a:pt x="61" y="245"/>
                    <a:pt x="54" y="207"/>
                    <a:pt x="46" y="184"/>
                  </a:cubicBezTo>
                  <a:cubicBezTo>
                    <a:pt x="46" y="153"/>
                    <a:pt x="92" y="130"/>
                    <a:pt x="84" y="100"/>
                  </a:cubicBezTo>
                  <a:cubicBezTo>
                    <a:pt x="77" y="61"/>
                    <a:pt x="31" y="46"/>
                    <a:pt x="0" y="15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45" name="Freeform 67"/>
            <p:cNvSpPr>
              <a:spLocks noChangeArrowheads="1"/>
            </p:cNvSpPr>
            <p:nvPr/>
          </p:nvSpPr>
          <p:spPr bwMode="auto">
            <a:xfrm>
              <a:off x="7665539" y="7840663"/>
              <a:ext cx="563525" cy="671512"/>
            </a:xfrm>
            <a:custGeom>
              <a:avLst/>
              <a:gdLst>
                <a:gd name="T0" fmla="*/ 741 w 1567"/>
                <a:gd name="T1" fmla="*/ 168 h 1864"/>
                <a:gd name="T2" fmla="*/ 856 w 1567"/>
                <a:gd name="T3" fmla="*/ 46 h 1864"/>
                <a:gd name="T4" fmla="*/ 1054 w 1567"/>
                <a:gd name="T5" fmla="*/ 30 h 1864"/>
                <a:gd name="T6" fmla="*/ 1031 w 1567"/>
                <a:gd name="T7" fmla="*/ 145 h 1864"/>
                <a:gd name="T8" fmla="*/ 1123 w 1567"/>
                <a:gd name="T9" fmla="*/ 298 h 1864"/>
                <a:gd name="T10" fmla="*/ 1108 w 1567"/>
                <a:gd name="T11" fmla="*/ 504 h 1864"/>
                <a:gd name="T12" fmla="*/ 1276 w 1567"/>
                <a:gd name="T13" fmla="*/ 550 h 1864"/>
                <a:gd name="T14" fmla="*/ 1451 w 1567"/>
                <a:gd name="T15" fmla="*/ 695 h 1864"/>
                <a:gd name="T16" fmla="*/ 1474 w 1567"/>
                <a:gd name="T17" fmla="*/ 771 h 1864"/>
                <a:gd name="T18" fmla="*/ 1398 w 1567"/>
                <a:gd name="T19" fmla="*/ 886 h 1864"/>
                <a:gd name="T20" fmla="*/ 1451 w 1567"/>
                <a:gd name="T21" fmla="*/ 1016 h 1864"/>
                <a:gd name="T22" fmla="*/ 1551 w 1567"/>
                <a:gd name="T23" fmla="*/ 1100 h 1864"/>
                <a:gd name="T24" fmla="*/ 1444 w 1567"/>
                <a:gd name="T25" fmla="*/ 1184 h 1864"/>
                <a:gd name="T26" fmla="*/ 1337 w 1567"/>
                <a:gd name="T27" fmla="*/ 1123 h 1864"/>
                <a:gd name="T28" fmla="*/ 1367 w 1567"/>
                <a:gd name="T29" fmla="*/ 1252 h 1864"/>
                <a:gd name="T30" fmla="*/ 1543 w 1567"/>
                <a:gd name="T31" fmla="*/ 1252 h 1864"/>
                <a:gd name="T32" fmla="*/ 1459 w 1567"/>
                <a:gd name="T33" fmla="*/ 1413 h 1864"/>
                <a:gd name="T34" fmla="*/ 1398 w 1567"/>
                <a:gd name="T35" fmla="*/ 1581 h 1864"/>
                <a:gd name="T36" fmla="*/ 1413 w 1567"/>
                <a:gd name="T37" fmla="*/ 1711 h 1864"/>
                <a:gd name="T38" fmla="*/ 1367 w 1567"/>
                <a:gd name="T39" fmla="*/ 1749 h 1864"/>
                <a:gd name="T40" fmla="*/ 1192 w 1567"/>
                <a:gd name="T41" fmla="*/ 1634 h 1864"/>
                <a:gd name="T42" fmla="*/ 1092 w 1567"/>
                <a:gd name="T43" fmla="*/ 1680 h 1864"/>
                <a:gd name="T44" fmla="*/ 963 w 1567"/>
                <a:gd name="T45" fmla="*/ 1703 h 1864"/>
                <a:gd name="T46" fmla="*/ 917 w 1567"/>
                <a:gd name="T47" fmla="*/ 1863 h 1864"/>
                <a:gd name="T48" fmla="*/ 848 w 1567"/>
                <a:gd name="T49" fmla="*/ 1703 h 1864"/>
                <a:gd name="T50" fmla="*/ 634 w 1567"/>
                <a:gd name="T51" fmla="*/ 1780 h 1864"/>
                <a:gd name="T52" fmla="*/ 581 w 1567"/>
                <a:gd name="T53" fmla="*/ 1680 h 1864"/>
                <a:gd name="T54" fmla="*/ 443 w 1567"/>
                <a:gd name="T55" fmla="*/ 1489 h 1864"/>
                <a:gd name="T56" fmla="*/ 413 w 1567"/>
                <a:gd name="T57" fmla="*/ 1398 h 1864"/>
                <a:gd name="T58" fmla="*/ 336 w 1567"/>
                <a:gd name="T59" fmla="*/ 1298 h 1864"/>
                <a:gd name="T60" fmla="*/ 252 w 1567"/>
                <a:gd name="T61" fmla="*/ 1252 h 1864"/>
                <a:gd name="T62" fmla="*/ 153 w 1567"/>
                <a:gd name="T63" fmla="*/ 1123 h 1864"/>
                <a:gd name="T64" fmla="*/ 61 w 1567"/>
                <a:gd name="T65" fmla="*/ 1062 h 1864"/>
                <a:gd name="T66" fmla="*/ 99 w 1567"/>
                <a:gd name="T67" fmla="*/ 848 h 1864"/>
                <a:gd name="T68" fmla="*/ 245 w 1567"/>
                <a:gd name="T69" fmla="*/ 580 h 1864"/>
                <a:gd name="T70" fmla="*/ 115 w 1567"/>
                <a:gd name="T71" fmla="*/ 374 h 1864"/>
                <a:gd name="T72" fmla="*/ 191 w 1567"/>
                <a:gd name="T73" fmla="*/ 382 h 1864"/>
                <a:gd name="T74" fmla="*/ 291 w 1567"/>
                <a:gd name="T75" fmla="*/ 504 h 1864"/>
                <a:gd name="T76" fmla="*/ 367 w 1567"/>
                <a:gd name="T77" fmla="*/ 512 h 1864"/>
                <a:gd name="T78" fmla="*/ 504 w 1567"/>
                <a:gd name="T79" fmla="*/ 420 h 1864"/>
                <a:gd name="T80" fmla="*/ 741 w 1567"/>
                <a:gd name="T81" fmla="*/ 252 h 1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7" h="1864">
                  <a:moveTo>
                    <a:pt x="741" y="168"/>
                  </a:moveTo>
                  <a:lnTo>
                    <a:pt x="741" y="168"/>
                  </a:lnTo>
                  <a:cubicBezTo>
                    <a:pt x="772" y="160"/>
                    <a:pt x="817" y="168"/>
                    <a:pt x="840" y="145"/>
                  </a:cubicBezTo>
                  <a:cubicBezTo>
                    <a:pt x="863" y="122"/>
                    <a:pt x="840" y="76"/>
                    <a:pt x="856" y="46"/>
                  </a:cubicBezTo>
                  <a:cubicBezTo>
                    <a:pt x="871" y="23"/>
                    <a:pt x="902" y="0"/>
                    <a:pt x="932" y="0"/>
                  </a:cubicBezTo>
                  <a:cubicBezTo>
                    <a:pt x="978" y="0"/>
                    <a:pt x="1016" y="23"/>
                    <a:pt x="1054" y="30"/>
                  </a:cubicBezTo>
                  <a:lnTo>
                    <a:pt x="1054" y="30"/>
                  </a:lnTo>
                  <a:cubicBezTo>
                    <a:pt x="1046" y="69"/>
                    <a:pt x="1024" y="107"/>
                    <a:pt x="1031" y="145"/>
                  </a:cubicBezTo>
                  <a:cubicBezTo>
                    <a:pt x="1039" y="183"/>
                    <a:pt x="1062" y="214"/>
                    <a:pt x="1077" y="244"/>
                  </a:cubicBezTo>
                  <a:cubicBezTo>
                    <a:pt x="1092" y="267"/>
                    <a:pt x="1115" y="275"/>
                    <a:pt x="1123" y="298"/>
                  </a:cubicBezTo>
                  <a:cubicBezTo>
                    <a:pt x="1123" y="328"/>
                    <a:pt x="1100" y="351"/>
                    <a:pt x="1100" y="382"/>
                  </a:cubicBezTo>
                  <a:cubicBezTo>
                    <a:pt x="1100" y="420"/>
                    <a:pt x="1092" y="466"/>
                    <a:pt x="1108" y="504"/>
                  </a:cubicBezTo>
                  <a:cubicBezTo>
                    <a:pt x="1115" y="527"/>
                    <a:pt x="1131" y="558"/>
                    <a:pt x="1154" y="565"/>
                  </a:cubicBezTo>
                  <a:cubicBezTo>
                    <a:pt x="1192" y="573"/>
                    <a:pt x="1238" y="542"/>
                    <a:pt x="1276" y="550"/>
                  </a:cubicBezTo>
                  <a:cubicBezTo>
                    <a:pt x="1321" y="558"/>
                    <a:pt x="1360" y="588"/>
                    <a:pt x="1398" y="611"/>
                  </a:cubicBezTo>
                  <a:cubicBezTo>
                    <a:pt x="1421" y="634"/>
                    <a:pt x="1436" y="664"/>
                    <a:pt x="1451" y="695"/>
                  </a:cubicBezTo>
                  <a:cubicBezTo>
                    <a:pt x="1459" y="718"/>
                    <a:pt x="1467" y="748"/>
                    <a:pt x="1474" y="771"/>
                  </a:cubicBezTo>
                  <a:lnTo>
                    <a:pt x="1474" y="771"/>
                  </a:lnTo>
                  <a:cubicBezTo>
                    <a:pt x="1444" y="794"/>
                    <a:pt x="1406" y="802"/>
                    <a:pt x="1383" y="825"/>
                  </a:cubicBezTo>
                  <a:cubicBezTo>
                    <a:pt x="1367" y="840"/>
                    <a:pt x="1383" y="871"/>
                    <a:pt x="1398" y="886"/>
                  </a:cubicBezTo>
                  <a:cubicBezTo>
                    <a:pt x="1413" y="909"/>
                    <a:pt x="1451" y="924"/>
                    <a:pt x="1459" y="955"/>
                  </a:cubicBezTo>
                  <a:cubicBezTo>
                    <a:pt x="1467" y="970"/>
                    <a:pt x="1444" y="1000"/>
                    <a:pt x="1451" y="1016"/>
                  </a:cubicBezTo>
                  <a:cubicBezTo>
                    <a:pt x="1459" y="1031"/>
                    <a:pt x="1482" y="1023"/>
                    <a:pt x="1497" y="1039"/>
                  </a:cubicBezTo>
                  <a:cubicBezTo>
                    <a:pt x="1520" y="1054"/>
                    <a:pt x="1535" y="1077"/>
                    <a:pt x="1551" y="1100"/>
                  </a:cubicBezTo>
                  <a:cubicBezTo>
                    <a:pt x="1551" y="1115"/>
                    <a:pt x="1558" y="1138"/>
                    <a:pt x="1551" y="1146"/>
                  </a:cubicBezTo>
                  <a:cubicBezTo>
                    <a:pt x="1520" y="1169"/>
                    <a:pt x="1482" y="1191"/>
                    <a:pt x="1444" y="1184"/>
                  </a:cubicBezTo>
                  <a:cubicBezTo>
                    <a:pt x="1406" y="1169"/>
                    <a:pt x="1390" y="1115"/>
                    <a:pt x="1344" y="1092"/>
                  </a:cubicBezTo>
                  <a:cubicBezTo>
                    <a:pt x="1337" y="1084"/>
                    <a:pt x="1337" y="1115"/>
                    <a:pt x="1337" y="1123"/>
                  </a:cubicBezTo>
                  <a:cubicBezTo>
                    <a:pt x="1329" y="1146"/>
                    <a:pt x="1314" y="1169"/>
                    <a:pt x="1314" y="1191"/>
                  </a:cubicBezTo>
                  <a:cubicBezTo>
                    <a:pt x="1321" y="1222"/>
                    <a:pt x="1344" y="1245"/>
                    <a:pt x="1367" y="1252"/>
                  </a:cubicBezTo>
                  <a:cubicBezTo>
                    <a:pt x="1406" y="1260"/>
                    <a:pt x="1436" y="1214"/>
                    <a:pt x="1467" y="1214"/>
                  </a:cubicBezTo>
                  <a:cubicBezTo>
                    <a:pt x="1497" y="1214"/>
                    <a:pt x="1528" y="1230"/>
                    <a:pt x="1543" y="1252"/>
                  </a:cubicBezTo>
                  <a:cubicBezTo>
                    <a:pt x="1558" y="1306"/>
                    <a:pt x="1566" y="1367"/>
                    <a:pt x="1543" y="1413"/>
                  </a:cubicBezTo>
                  <a:cubicBezTo>
                    <a:pt x="1528" y="1436"/>
                    <a:pt x="1482" y="1398"/>
                    <a:pt x="1459" y="1413"/>
                  </a:cubicBezTo>
                  <a:cubicBezTo>
                    <a:pt x="1436" y="1428"/>
                    <a:pt x="1436" y="1459"/>
                    <a:pt x="1429" y="1489"/>
                  </a:cubicBezTo>
                  <a:cubicBezTo>
                    <a:pt x="1413" y="1520"/>
                    <a:pt x="1406" y="1550"/>
                    <a:pt x="1398" y="1581"/>
                  </a:cubicBezTo>
                  <a:cubicBezTo>
                    <a:pt x="1398" y="1627"/>
                    <a:pt x="1406" y="1665"/>
                    <a:pt x="1413" y="1711"/>
                  </a:cubicBezTo>
                  <a:lnTo>
                    <a:pt x="1413" y="1711"/>
                  </a:lnTo>
                  <a:cubicBezTo>
                    <a:pt x="1413" y="1726"/>
                    <a:pt x="1413" y="1741"/>
                    <a:pt x="1406" y="1749"/>
                  </a:cubicBezTo>
                  <a:cubicBezTo>
                    <a:pt x="1398" y="1757"/>
                    <a:pt x="1375" y="1757"/>
                    <a:pt x="1367" y="1749"/>
                  </a:cubicBezTo>
                  <a:cubicBezTo>
                    <a:pt x="1321" y="1703"/>
                    <a:pt x="1291" y="1642"/>
                    <a:pt x="1238" y="1611"/>
                  </a:cubicBezTo>
                  <a:cubicBezTo>
                    <a:pt x="1222" y="1596"/>
                    <a:pt x="1207" y="1634"/>
                    <a:pt x="1192" y="1634"/>
                  </a:cubicBezTo>
                  <a:cubicBezTo>
                    <a:pt x="1161" y="1627"/>
                    <a:pt x="1146" y="1573"/>
                    <a:pt x="1123" y="1589"/>
                  </a:cubicBezTo>
                  <a:cubicBezTo>
                    <a:pt x="1092" y="1604"/>
                    <a:pt x="1108" y="1650"/>
                    <a:pt x="1092" y="1680"/>
                  </a:cubicBezTo>
                  <a:cubicBezTo>
                    <a:pt x="1077" y="1696"/>
                    <a:pt x="1054" y="1703"/>
                    <a:pt x="1031" y="1711"/>
                  </a:cubicBezTo>
                  <a:cubicBezTo>
                    <a:pt x="1008" y="1711"/>
                    <a:pt x="978" y="1680"/>
                    <a:pt x="963" y="1703"/>
                  </a:cubicBezTo>
                  <a:cubicBezTo>
                    <a:pt x="924" y="1749"/>
                    <a:pt x="932" y="1810"/>
                    <a:pt x="917" y="1863"/>
                  </a:cubicBezTo>
                  <a:lnTo>
                    <a:pt x="917" y="1863"/>
                  </a:lnTo>
                  <a:cubicBezTo>
                    <a:pt x="886" y="1841"/>
                    <a:pt x="840" y="1833"/>
                    <a:pt x="825" y="1802"/>
                  </a:cubicBezTo>
                  <a:cubicBezTo>
                    <a:pt x="817" y="1772"/>
                    <a:pt x="871" y="1726"/>
                    <a:pt x="848" y="1703"/>
                  </a:cubicBezTo>
                  <a:cubicBezTo>
                    <a:pt x="825" y="1673"/>
                    <a:pt x="772" y="1665"/>
                    <a:pt x="733" y="1680"/>
                  </a:cubicBezTo>
                  <a:cubicBezTo>
                    <a:pt x="695" y="1696"/>
                    <a:pt x="688" y="1780"/>
                    <a:pt x="634" y="1780"/>
                  </a:cubicBezTo>
                  <a:cubicBezTo>
                    <a:pt x="604" y="1780"/>
                    <a:pt x="604" y="1711"/>
                    <a:pt x="581" y="1680"/>
                  </a:cubicBezTo>
                  <a:lnTo>
                    <a:pt x="581" y="1680"/>
                  </a:lnTo>
                  <a:cubicBezTo>
                    <a:pt x="581" y="1619"/>
                    <a:pt x="611" y="1543"/>
                    <a:pt x="573" y="1489"/>
                  </a:cubicBezTo>
                  <a:cubicBezTo>
                    <a:pt x="550" y="1451"/>
                    <a:pt x="481" y="1505"/>
                    <a:pt x="443" y="1489"/>
                  </a:cubicBezTo>
                  <a:cubicBezTo>
                    <a:pt x="428" y="1482"/>
                    <a:pt x="466" y="1451"/>
                    <a:pt x="466" y="1436"/>
                  </a:cubicBezTo>
                  <a:cubicBezTo>
                    <a:pt x="458" y="1413"/>
                    <a:pt x="420" y="1413"/>
                    <a:pt x="413" y="1398"/>
                  </a:cubicBezTo>
                  <a:cubicBezTo>
                    <a:pt x="397" y="1375"/>
                    <a:pt x="405" y="1352"/>
                    <a:pt x="390" y="1329"/>
                  </a:cubicBezTo>
                  <a:cubicBezTo>
                    <a:pt x="374" y="1314"/>
                    <a:pt x="344" y="1321"/>
                    <a:pt x="336" y="1298"/>
                  </a:cubicBezTo>
                  <a:cubicBezTo>
                    <a:pt x="329" y="1283"/>
                    <a:pt x="367" y="1245"/>
                    <a:pt x="344" y="1230"/>
                  </a:cubicBezTo>
                  <a:cubicBezTo>
                    <a:pt x="313" y="1214"/>
                    <a:pt x="275" y="1275"/>
                    <a:pt x="252" y="1252"/>
                  </a:cubicBezTo>
                  <a:cubicBezTo>
                    <a:pt x="214" y="1230"/>
                    <a:pt x="237" y="1169"/>
                    <a:pt x="206" y="1130"/>
                  </a:cubicBezTo>
                  <a:cubicBezTo>
                    <a:pt x="199" y="1115"/>
                    <a:pt x="168" y="1130"/>
                    <a:pt x="153" y="1123"/>
                  </a:cubicBezTo>
                  <a:cubicBezTo>
                    <a:pt x="122" y="1107"/>
                    <a:pt x="92" y="1077"/>
                    <a:pt x="61" y="1062"/>
                  </a:cubicBezTo>
                  <a:lnTo>
                    <a:pt x="61" y="1062"/>
                  </a:lnTo>
                  <a:cubicBezTo>
                    <a:pt x="46" y="1008"/>
                    <a:pt x="0" y="955"/>
                    <a:pt x="16" y="901"/>
                  </a:cubicBezTo>
                  <a:cubicBezTo>
                    <a:pt x="16" y="871"/>
                    <a:pt x="77" y="871"/>
                    <a:pt x="99" y="848"/>
                  </a:cubicBezTo>
                  <a:cubicBezTo>
                    <a:pt x="145" y="810"/>
                    <a:pt x="206" y="779"/>
                    <a:pt x="229" y="733"/>
                  </a:cubicBezTo>
                  <a:cubicBezTo>
                    <a:pt x="252" y="687"/>
                    <a:pt x="260" y="634"/>
                    <a:pt x="245" y="580"/>
                  </a:cubicBezTo>
                  <a:cubicBezTo>
                    <a:pt x="237" y="550"/>
                    <a:pt x="191" y="542"/>
                    <a:pt x="168" y="512"/>
                  </a:cubicBezTo>
                  <a:cubicBezTo>
                    <a:pt x="145" y="473"/>
                    <a:pt x="138" y="420"/>
                    <a:pt x="115" y="374"/>
                  </a:cubicBezTo>
                  <a:lnTo>
                    <a:pt x="115" y="374"/>
                  </a:lnTo>
                  <a:cubicBezTo>
                    <a:pt x="145" y="374"/>
                    <a:pt x="168" y="366"/>
                    <a:pt x="191" y="382"/>
                  </a:cubicBezTo>
                  <a:cubicBezTo>
                    <a:pt x="214" y="389"/>
                    <a:pt x="237" y="412"/>
                    <a:pt x="252" y="427"/>
                  </a:cubicBezTo>
                  <a:cubicBezTo>
                    <a:pt x="268" y="450"/>
                    <a:pt x="268" y="489"/>
                    <a:pt x="291" y="504"/>
                  </a:cubicBezTo>
                  <a:cubicBezTo>
                    <a:pt x="313" y="512"/>
                    <a:pt x="336" y="481"/>
                    <a:pt x="359" y="481"/>
                  </a:cubicBezTo>
                  <a:cubicBezTo>
                    <a:pt x="374" y="489"/>
                    <a:pt x="359" y="512"/>
                    <a:pt x="367" y="512"/>
                  </a:cubicBezTo>
                  <a:cubicBezTo>
                    <a:pt x="413" y="519"/>
                    <a:pt x="458" y="519"/>
                    <a:pt x="489" y="496"/>
                  </a:cubicBezTo>
                  <a:cubicBezTo>
                    <a:pt x="512" y="481"/>
                    <a:pt x="481" y="427"/>
                    <a:pt x="504" y="420"/>
                  </a:cubicBezTo>
                  <a:cubicBezTo>
                    <a:pt x="588" y="382"/>
                    <a:pt x="688" y="405"/>
                    <a:pt x="764" y="359"/>
                  </a:cubicBezTo>
                  <a:cubicBezTo>
                    <a:pt x="787" y="336"/>
                    <a:pt x="749" y="283"/>
                    <a:pt x="741" y="252"/>
                  </a:cubicBezTo>
                  <a:cubicBezTo>
                    <a:pt x="741" y="221"/>
                    <a:pt x="741" y="198"/>
                    <a:pt x="741" y="16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46" name="Freeform 68"/>
            <p:cNvSpPr>
              <a:spLocks noChangeArrowheads="1"/>
            </p:cNvSpPr>
            <p:nvPr/>
          </p:nvSpPr>
          <p:spPr bwMode="auto">
            <a:xfrm>
              <a:off x="8033815" y="7631113"/>
              <a:ext cx="920690" cy="554037"/>
            </a:xfrm>
            <a:custGeom>
              <a:avLst/>
              <a:gdLst>
                <a:gd name="T0" fmla="*/ 214 w 2559"/>
                <a:gd name="T1" fmla="*/ 413 h 1537"/>
                <a:gd name="T2" fmla="*/ 214 w 2559"/>
                <a:gd name="T3" fmla="*/ 413 h 1537"/>
                <a:gd name="T4" fmla="*/ 183 w 2559"/>
                <a:gd name="T5" fmla="*/ 481 h 1537"/>
                <a:gd name="T6" fmla="*/ 206 w 2559"/>
                <a:gd name="T7" fmla="*/ 527 h 1537"/>
                <a:gd name="T8" fmla="*/ 122 w 2559"/>
                <a:gd name="T9" fmla="*/ 581 h 1537"/>
                <a:gd name="T10" fmla="*/ 30 w 2559"/>
                <a:gd name="T11" fmla="*/ 611 h 1537"/>
                <a:gd name="T12" fmla="*/ 30 w 2559"/>
                <a:gd name="T13" fmla="*/ 611 h 1537"/>
                <a:gd name="T14" fmla="*/ 7 w 2559"/>
                <a:gd name="T15" fmla="*/ 726 h 1537"/>
                <a:gd name="T16" fmla="*/ 53 w 2559"/>
                <a:gd name="T17" fmla="*/ 825 h 1537"/>
                <a:gd name="T18" fmla="*/ 99 w 2559"/>
                <a:gd name="T19" fmla="*/ 879 h 1537"/>
                <a:gd name="T20" fmla="*/ 76 w 2559"/>
                <a:gd name="T21" fmla="*/ 963 h 1537"/>
                <a:gd name="T22" fmla="*/ 84 w 2559"/>
                <a:gd name="T23" fmla="*/ 1085 h 1537"/>
                <a:gd name="T24" fmla="*/ 130 w 2559"/>
                <a:gd name="T25" fmla="*/ 1146 h 1537"/>
                <a:gd name="T26" fmla="*/ 252 w 2559"/>
                <a:gd name="T27" fmla="*/ 1131 h 1537"/>
                <a:gd name="T28" fmla="*/ 374 w 2559"/>
                <a:gd name="T29" fmla="*/ 1192 h 1537"/>
                <a:gd name="T30" fmla="*/ 427 w 2559"/>
                <a:gd name="T31" fmla="*/ 1276 h 1537"/>
                <a:gd name="T32" fmla="*/ 450 w 2559"/>
                <a:gd name="T33" fmla="*/ 1352 h 1537"/>
                <a:gd name="T34" fmla="*/ 450 w 2559"/>
                <a:gd name="T35" fmla="*/ 1360 h 1537"/>
                <a:gd name="T36" fmla="*/ 588 w 2559"/>
                <a:gd name="T37" fmla="*/ 1314 h 1537"/>
                <a:gd name="T38" fmla="*/ 779 w 2559"/>
                <a:gd name="T39" fmla="*/ 1283 h 1537"/>
                <a:gd name="T40" fmla="*/ 863 w 2559"/>
                <a:gd name="T41" fmla="*/ 1322 h 1537"/>
                <a:gd name="T42" fmla="*/ 825 w 2559"/>
                <a:gd name="T43" fmla="*/ 1436 h 1537"/>
                <a:gd name="T44" fmla="*/ 939 w 2559"/>
                <a:gd name="T45" fmla="*/ 1459 h 1537"/>
                <a:gd name="T46" fmla="*/ 1153 w 2559"/>
                <a:gd name="T47" fmla="*/ 1459 h 1537"/>
                <a:gd name="T48" fmla="*/ 1321 w 2559"/>
                <a:gd name="T49" fmla="*/ 1490 h 1537"/>
                <a:gd name="T50" fmla="*/ 1436 w 2559"/>
                <a:gd name="T51" fmla="*/ 1513 h 1537"/>
                <a:gd name="T52" fmla="*/ 1665 w 2559"/>
                <a:gd name="T53" fmla="*/ 1528 h 1537"/>
                <a:gd name="T54" fmla="*/ 1741 w 2559"/>
                <a:gd name="T55" fmla="*/ 1475 h 1537"/>
                <a:gd name="T56" fmla="*/ 1840 w 2559"/>
                <a:gd name="T57" fmla="*/ 1413 h 1537"/>
                <a:gd name="T58" fmla="*/ 1917 w 2559"/>
                <a:gd name="T59" fmla="*/ 1314 h 1537"/>
                <a:gd name="T60" fmla="*/ 1970 w 2559"/>
                <a:gd name="T61" fmla="*/ 1245 h 1537"/>
                <a:gd name="T62" fmla="*/ 2131 w 2559"/>
                <a:gd name="T63" fmla="*/ 1261 h 1537"/>
                <a:gd name="T64" fmla="*/ 2314 w 2559"/>
                <a:gd name="T65" fmla="*/ 1253 h 1537"/>
                <a:gd name="T66" fmla="*/ 2383 w 2559"/>
                <a:gd name="T67" fmla="*/ 1154 h 1537"/>
                <a:gd name="T68" fmla="*/ 2352 w 2559"/>
                <a:gd name="T69" fmla="*/ 1100 h 1537"/>
                <a:gd name="T70" fmla="*/ 2406 w 2559"/>
                <a:gd name="T71" fmla="*/ 1024 h 1537"/>
                <a:gd name="T72" fmla="*/ 2558 w 2559"/>
                <a:gd name="T73" fmla="*/ 1016 h 1537"/>
                <a:gd name="T74" fmla="*/ 2558 w 2559"/>
                <a:gd name="T75" fmla="*/ 1016 h 1537"/>
                <a:gd name="T76" fmla="*/ 2513 w 2559"/>
                <a:gd name="T77" fmla="*/ 802 h 1537"/>
                <a:gd name="T78" fmla="*/ 2497 w 2559"/>
                <a:gd name="T79" fmla="*/ 711 h 1537"/>
                <a:gd name="T80" fmla="*/ 2444 w 2559"/>
                <a:gd name="T81" fmla="*/ 596 h 1537"/>
                <a:gd name="T82" fmla="*/ 2047 w 2559"/>
                <a:gd name="T83" fmla="*/ 222 h 1537"/>
                <a:gd name="T84" fmla="*/ 1543 w 2559"/>
                <a:gd name="T85" fmla="*/ 69 h 1537"/>
                <a:gd name="T86" fmla="*/ 1199 w 2559"/>
                <a:gd name="T87" fmla="*/ 31 h 1537"/>
                <a:gd name="T88" fmla="*/ 962 w 2559"/>
                <a:gd name="T89" fmla="*/ 16 h 1537"/>
                <a:gd name="T90" fmla="*/ 710 w 2559"/>
                <a:gd name="T91" fmla="*/ 16 h 1537"/>
                <a:gd name="T92" fmla="*/ 519 w 2559"/>
                <a:gd name="T93" fmla="*/ 336 h 1537"/>
                <a:gd name="T94" fmla="*/ 397 w 2559"/>
                <a:gd name="T95" fmla="*/ 474 h 1537"/>
                <a:gd name="T96" fmla="*/ 214 w 2559"/>
                <a:gd name="T97" fmla="*/ 413 h 1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59" h="1537">
                  <a:moveTo>
                    <a:pt x="214" y="413"/>
                  </a:moveTo>
                  <a:lnTo>
                    <a:pt x="214" y="413"/>
                  </a:lnTo>
                  <a:cubicBezTo>
                    <a:pt x="206" y="436"/>
                    <a:pt x="183" y="459"/>
                    <a:pt x="183" y="481"/>
                  </a:cubicBezTo>
                  <a:cubicBezTo>
                    <a:pt x="183" y="497"/>
                    <a:pt x="214" y="512"/>
                    <a:pt x="206" y="527"/>
                  </a:cubicBezTo>
                  <a:cubicBezTo>
                    <a:pt x="191" y="558"/>
                    <a:pt x="153" y="566"/>
                    <a:pt x="122" y="581"/>
                  </a:cubicBezTo>
                  <a:cubicBezTo>
                    <a:pt x="91" y="596"/>
                    <a:pt x="61" y="596"/>
                    <a:pt x="30" y="611"/>
                  </a:cubicBezTo>
                  <a:lnTo>
                    <a:pt x="30" y="611"/>
                  </a:lnTo>
                  <a:cubicBezTo>
                    <a:pt x="22" y="650"/>
                    <a:pt x="0" y="688"/>
                    <a:pt x="7" y="726"/>
                  </a:cubicBezTo>
                  <a:cubicBezTo>
                    <a:pt x="15" y="764"/>
                    <a:pt x="38" y="795"/>
                    <a:pt x="53" y="825"/>
                  </a:cubicBezTo>
                  <a:cubicBezTo>
                    <a:pt x="68" y="848"/>
                    <a:pt x="91" y="856"/>
                    <a:pt x="99" y="879"/>
                  </a:cubicBezTo>
                  <a:cubicBezTo>
                    <a:pt x="99" y="909"/>
                    <a:pt x="76" y="932"/>
                    <a:pt x="76" y="963"/>
                  </a:cubicBezTo>
                  <a:cubicBezTo>
                    <a:pt x="76" y="1001"/>
                    <a:pt x="68" y="1047"/>
                    <a:pt x="84" y="1085"/>
                  </a:cubicBezTo>
                  <a:cubicBezTo>
                    <a:pt x="91" y="1108"/>
                    <a:pt x="107" y="1139"/>
                    <a:pt x="130" y="1146"/>
                  </a:cubicBezTo>
                  <a:cubicBezTo>
                    <a:pt x="168" y="1154"/>
                    <a:pt x="214" y="1123"/>
                    <a:pt x="252" y="1131"/>
                  </a:cubicBezTo>
                  <a:cubicBezTo>
                    <a:pt x="297" y="1139"/>
                    <a:pt x="336" y="1169"/>
                    <a:pt x="374" y="1192"/>
                  </a:cubicBezTo>
                  <a:cubicBezTo>
                    <a:pt x="397" y="1215"/>
                    <a:pt x="412" y="1245"/>
                    <a:pt x="427" y="1276"/>
                  </a:cubicBezTo>
                  <a:cubicBezTo>
                    <a:pt x="435" y="1299"/>
                    <a:pt x="443" y="1329"/>
                    <a:pt x="450" y="1352"/>
                  </a:cubicBezTo>
                  <a:cubicBezTo>
                    <a:pt x="450" y="1360"/>
                    <a:pt x="450" y="1360"/>
                    <a:pt x="450" y="1360"/>
                  </a:cubicBezTo>
                  <a:cubicBezTo>
                    <a:pt x="496" y="1345"/>
                    <a:pt x="542" y="1322"/>
                    <a:pt x="588" y="1314"/>
                  </a:cubicBezTo>
                  <a:cubicBezTo>
                    <a:pt x="649" y="1299"/>
                    <a:pt x="718" y="1283"/>
                    <a:pt x="779" y="1283"/>
                  </a:cubicBezTo>
                  <a:cubicBezTo>
                    <a:pt x="809" y="1283"/>
                    <a:pt x="855" y="1291"/>
                    <a:pt x="863" y="1322"/>
                  </a:cubicBezTo>
                  <a:cubicBezTo>
                    <a:pt x="870" y="1360"/>
                    <a:pt x="802" y="1398"/>
                    <a:pt x="825" y="1436"/>
                  </a:cubicBezTo>
                  <a:cubicBezTo>
                    <a:pt x="840" y="1475"/>
                    <a:pt x="901" y="1459"/>
                    <a:pt x="939" y="1459"/>
                  </a:cubicBezTo>
                  <a:cubicBezTo>
                    <a:pt x="1008" y="1467"/>
                    <a:pt x="1084" y="1452"/>
                    <a:pt x="1153" y="1459"/>
                  </a:cubicBezTo>
                  <a:cubicBezTo>
                    <a:pt x="1206" y="1459"/>
                    <a:pt x="1268" y="1482"/>
                    <a:pt x="1321" y="1490"/>
                  </a:cubicBezTo>
                  <a:cubicBezTo>
                    <a:pt x="1359" y="1497"/>
                    <a:pt x="1397" y="1505"/>
                    <a:pt x="1436" y="1513"/>
                  </a:cubicBezTo>
                  <a:cubicBezTo>
                    <a:pt x="1512" y="1520"/>
                    <a:pt x="1588" y="1536"/>
                    <a:pt x="1665" y="1528"/>
                  </a:cubicBezTo>
                  <a:cubicBezTo>
                    <a:pt x="1695" y="1528"/>
                    <a:pt x="1718" y="1490"/>
                    <a:pt x="1741" y="1475"/>
                  </a:cubicBezTo>
                  <a:cubicBezTo>
                    <a:pt x="1779" y="1452"/>
                    <a:pt x="1810" y="1436"/>
                    <a:pt x="1840" y="1413"/>
                  </a:cubicBezTo>
                  <a:cubicBezTo>
                    <a:pt x="1871" y="1383"/>
                    <a:pt x="1894" y="1345"/>
                    <a:pt x="1917" y="1314"/>
                  </a:cubicBezTo>
                  <a:cubicBezTo>
                    <a:pt x="1932" y="1291"/>
                    <a:pt x="1940" y="1253"/>
                    <a:pt x="1970" y="1245"/>
                  </a:cubicBezTo>
                  <a:cubicBezTo>
                    <a:pt x="2024" y="1238"/>
                    <a:pt x="2077" y="1261"/>
                    <a:pt x="2131" y="1261"/>
                  </a:cubicBezTo>
                  <a:cubicBezTo>
                    <a:pt x="2192" y="1261"/>
                    <a:pt x="2253" y="1276"/>
                    <a:pt x="2314" y="1253"/>
                  </a:cubicBezTo>
                  <a:cubicBezTo>
                    <a:pt x="2344" y="1238"/>
                    <a:pt x="2375" y="1192"/>
                    <a:pt x="2383" y="1154"/>
                  </a:cubicBezTo>
                  <a:cubicBezTo>
                    <a:pt x="2390" y="1139"/>
                    <a:pt x="2352" y="1123"/>
                    <a:pt x="2352" y="1100"/>
                  </a:cubicBezTo>
                  <a:cubicBezTo>
                    <a:pt x="2360" y="1070"/>
                    <a:pt x="2375" y="1039"/>
                    <a:pt x="2406" y="1024"/>
                  </a:cubicBezTo>
                  <a:cubicBezTo>
                    <a:pt x="2452" y="1008"/>
                    <a:pt x="2513" y="1016"/>
                    <a:pt x="2558" y="1016"/>
                  </a:cubicBezTo>
                  <a:lnTo>
                    <a:pt x="2558" y="1016"/>
                  </a:lnTo>
                  <a:cubicBezTo>
                    <a:pt x="2558" y="940"/>
                    <a:pt x="2558" y="879"/>
                    <a:pt x="2513" y="802"/>
                  </a:cubicBezTo>
                  <a:cubicBezTo>
                    <a:pt x="2497" y="772"/>
                    <a:pt x="2505" y="741"/>
                    <a:pt x="2497" y="711"/>
                  </a:cubicBezTo>
                  <a:cubicBezTo>
                    <a:pt x="2482" y="657"/>
                    <a:pt x="2467" y="634"/>
                    <a:pt x="2444" y="596"/>
                  </a:cubicBezTo>
                  <a:cubicBezTo>
                    <a:pt x="2352" y="459"/>
                    <a:pt x="2177" y="336"/>
                    <a:pt x="2047" y="222"/>
                  </a:cubicBezTo>
                  <a:cubicBezTo>
                    <a:pt x="1909" y="92"/>
                    <a:pt x="1711" y="138"/>
                    <a:pt x="1543" y="69"/>
                  </a:cubicBezTo>
                  <a:cubicBezTo>
                    <a:pt x="1443" y="31"/>
                    <a:pt x="1283" y="84"/>
                    <a:pt x="1199" y="31"/>
                  </a:cubicBezTo>
                  <a:cubicBezTo>
                    <a:pt x="1115" y="0"/>
                    <a:pt x="1054" y="0"/>
                    <a:pt x="962" y="16"/>
                  </a:cubicBezTo>
                  <a:cubicBezTo>
                    <a:pt x="886" y="23"/>
                    <a:pt x="794" y="0"/>
                    <a:pt x="710" y="16"/>
                  </a:cubicBezTo>
                  <a:cubicBezTo>
                    <a:pt x="557" y="39"/>
                    <a:pt x="534" y="207"/>
                    <a:pt x="519" y="336"/>
                  </a:cubicBezTo>
                  <a:cubicBezTo>
                    <a:pt x="511" y="375"/>
                    <a:pt x="412" y="405"/>
                    <a:pt x="397" y="474"/>
                  </a:cubicBezTo>
                  <a:cubicBezTo>
                    <a:pt x="366" y="474"/>
                    <a:pt x="275" y="443"/>
                    <a:pt x="214" y="413"/>
                  </a:cubicBezTo>
                </a:path>
              </a:pathLst>
            </a:custGeom>
            <a:solidFill>
              <a:schemeClr val="tx1">
                <a:lumMod val="40000"/>
                <a:lumOff val="60000"/>
              </a:schemeClr>
            </a:solidFill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47" name="Freeform 69"/>
            <p:cNvSpPr>
              <a:spLocks noChangeArrowheads="1"/>
            </p:cNvSpPr>
            <p:nvPr/>
          </p:nvSpPr>
          <p:spPr bwMode="auto">
            <a:xfrm>
              <a:off x="8138583" y="7994650"/>
              <a:ext cx="825446" cy="622300"/>
            </a:xfrm>
            <a:custGeom>
              <a:avLst/>
              <a:gdLst>
                <a:gd name="T0" fmla="*/ 99 w 2292"/>
                <a:gd name="T1" fmla="*/ 1284 h 1728"/>
                <a:gd name="T2" fmla="*/ 99 w 2292"/>
                <a:gd name="T3" fmla="*/ 1284 h 1728"/>
                <a:gd name="T4" fmla="*/ 84 w 2292"/>
                <a:gd name="T5" fmla="*/ 1154 h 1728"/>
                <a:gd name="T6" fmla="*/ 115 w 2292"/>
                <a:gd name="T7" fmla="*/ 1062 h 1728"/>
                <a:gd name="T8" fmla="*/ 145 w 2292"/>
                <a:gd name="T9" fmla="*/ 986 h 1728"/>
                <a:gd name="T10" fmla="*/ 229 w 2292"/>
                <a:gd name="T11" fmla="*/ 986 h 1728"/>
                <a:gd name="T12" fmla="*/ 229 w 2292"/>
                <a:gd name="T13" fmla="*/ 825 h 1728"/>
                <a:gd name="T14" fmla="*/ 153 w 2292"/>
                <a:gd name="T15" fmla="*/ 787 h 1728"/>
                <a:gd name="T16" fmla="*/ 53 w 2292"/>
                <a:gd name="T17" fmla="*/ 825 h 1728"/>
                <a:gd name="T18" fmla="*/ 0 w 2292"/>
                <a:gd name="T19" fmla="*/ 764 h 1728"/>
                <a:gd name="T20" fmla="*/ 23 w 2292"/>
                <a:gd name="T21" fmla="*/ 696 h 1728"/>
                <a:gd name="T22" fmla="*/ 30 w 2292"/>
                <a:gd name="T23" fmla="*/ 665 h 1728"/>
                <a:gd name="T24" fmla="*/ 130 w 2292"/>
                <a:gd name="T25" fmla="*/ 757 h 1728"/>
                <a:gd name="T26" fmla="*/ 237 w 2292"/>
                <a:gd name="T27" fmla="*/ 719 h 1728"/>
                <a:gd name="T28" fmla="*/ 237 w 2292"/>
                <a:gd name="T29" fmla="*/ 673 h 1728"/>
                <a:gd name="T30" fmla="*/ 183 w 2292"/>
                <a:gd name="T31" fmla="*/ 612 h 1728"/>
                <a:gd name="T32" fmla="*/ 137 w 2292"/>
                <a:gd name="T33" fmla="*/ 589 h 1728"/>
                <a:gd name="T34" fmla="*/ 145 w 2292"/>
                <a:gd name="T35" fmla="*/ 528 h 1728"/>
                <a:gd name="T36" fmla="*/ 84 w 2292"/>
                <a:gd name="T37" fmla="*/ 459 h 1728"/>
                <a:gd name="T38" fmla="*/ 69 w 2292"/>
                <a:gd name="T39" fmla="*/ 398 h 1728"/>
                <a:gd name="T40" fmla="*/ 160 w 2292"/>
                <a:gd name="T41" fmla="*/ 344 h 1728"/>
                <a:gd name="T42" fmla="*/ 160 w 2292"/>
                <a:gd name="T43" fmla="*/ 352 h 1728"/>
                <a:gd name="T44" fmla="*/ 298 w 2292"/>
                <a:gd name="T45" fmla="*/ 306 h 1728"/>
                <a:gd name="T46" fmla="*/ 489 w 2292"/>
                <a:gd name="T47" fmla="*/ 275 h 1728"/>
                <a:gd name="T48" fmla="*/ 573 w 2292"/>
                <a:gd name="T49" fmla="*/ 314 h 1728"/>
                <a:gd name="T50" fmla="*/ 535 w 2292"/>
                <a:gd name="T51" fmla="*/ 428 h 1728"/>
                <a:gd name="T52" fmla="*/ 649 w 2292"/>
                <a:gd name="T53" fmla="*/ 451 h 1728"/>
                <a:gd name="T54" fmla="*/ 863 w 2292"/>
                <a:gd name="T55" fmla="*/ 451 h 1728"/>
                <a:gd name="T56" fmla="*/ 1031 w 2292"/>
                <a:gd name="T57" fmla="*/ 482 h 1728"/>
                <a:gd name="T58" fmla="*/ 1146 w 2292"/>
                <a:gd name="T59" fmla="*/ 505 h 1728"/>
                <a:gd name="T60" fmla="*/ 1375 w 2292"/>
                <a:gd name="T61" fmla="*/ 520 h 1728"/>
                <a:gd name="T62" fmla="*/ 1451 w 2292"/>
                <a:gd name="T63" fmla="*/ 467 h 1728"/>
                <a:gd name="T64" fmla="*/ 1550 w 2292"/>
                <a:gd name="T65" fmla="*/ 405 h 1728"/>
                <a:gd name="T66" fmla="*/ 1627 w 2292"/>
                <a:gd name="T67" fmla="*/ 306 h 1728"/>
                <a:gd name="T68" fmla="*/ 1680 w 2292"/>
                <a:gd name="T69" fmla="*/ 237 h 1728"/>
                <a:gd name="T70" fmla="*/ 1841 w 2292"/>
                <a:gd name="T71" fmla="*/ 253 h 1728"/>
                <a:gd name="T72" fmla="*/ 2024 w 2292"/>
                <a:gd name="T73" fmla="*/ 245 h 1728"/>
                <a:gd name="T74" fmla="*/ 2093 w 2292"/>
                <a:gd name="T75" fmla="*/ 146 h 1728"/>
                <a:gd name="T76" fmla="*/ 2062 w 2292"/>
                <a:gd name="T77" fmla="*/ 92 h 1728"/>
                <a:gd name="T78" fmla="*/ 2116 w 2292"/>
                <a:gd name="T79" fmla="*/ 16 h 1728"/>
                <a:gd name="T80" fmla="*/ 2268 w 2292"/>
                <a:gd name="T81" fmla="*/ 8 h 1728"/>
                <a:gd name="T82" fmla="*/ 2268 w 2292"/>
                <a:gd name="T83" fmla="*/ 8 h 1728"/>
                <a:gd name="T84" fmla="*/ 2276 w 2292"/>
                <a:gd name="T85" fmla="*/ 123 h 1728"/>
                <a:gd name="T86" fmla="*/ 2253 w 2292"/>
                <a:gd name="T87" fmla="*/ 497 h 1728"/>
                <a:gd name="T88" fmla="*/ 2116 w 2292"/>
                <a:gd name="T89" fmla="*/ 772 h 1728"/>
                <a:gd name="T90" fmla="*/ 2085 w 2292"/>
                <a:gd name="T91" fmla="*/ 994 h 1728"/>
                <a:gd name="T92" fmla="*/ 2009 w 2292"/>
                <a:gd name="T93" fmla="*/ 1314 h 1728"/>
                <a:gd name="T94" fmla="*/ 1848 w 2292"/>
                <a:gd name="T95" fmla="*/ 1406 h 1728"/>
                <a:gd name="T96" fmla="*/ 1757 w 2292"/>
                <a:gd name="T97" fmla="*/ 1567 h 1728"/>
                <a:gd name="T98" fmla="*/ 1550 w 2292"/>
                <a:gd name="T99" fmla="*/ 1628 h 1728"/>
                <a:gd name="T100" fmla="*/ 1421 w 2292"/>
                <a:gd name="T101" fmla="*/ 1498 h 1728"/>
                <a:gd name="T102" fmla="*/ 1489 w 2292"/>
                <a:gd name="T103" fmla="*/ 1628 h 1728"/>
                <a:gd name="T104" fmla="*/ 1489 w 2292"/>
                <a:gd name="T105" fmla="*/ 1628 h 1728"/>
                <a:gd name="T106" fmla="*/ 1245 w 2292"/>
                <a:gd name="T107" fmla="*/ 1544 h 1728"/>
                <a:gd name="T108" fmla="*/ 1024 w 2292"/>
                <a:gd name="T109" fmla="*/ 1521 h 1728"/>
                <a:gd name="T110" fmla="*/ 978 w 2292"/>
                <a:gd name="T111" fmla="*/ 1505 h 1728"/>
                <a:gd name="T112" fmla="*/ 718 w 2292"/>
                <a:gd name="T113" fmla="*/ 1528 h 1728"/>
                <a:gd name="T114" fmla="*/ 657 w 2292"/>
                <a:gd name="T115" fmla="*/ 1391 h 1728"/>
                <a:gd name="T116" fmla="*/ 557 w 2292"/>
                <a:gd name="T117" fmla="*/ 1253 h 1728"/>
                <a:gd name="T118" fmla="*/ 313 w 2292"/>
                <a:gd name="T119" fmla="*/ 1299 h 1728"/>
                <a:gd name="T120" fmla="*/ 260 w 2292"/>
                <a:gd name="T121" fmla="*/ 1261 h 1728"/>
                <a:gd name="T122" fmla="*/ 99 w 2292"/>
                <a:gd name="T123" fmla="*/ 1284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92" h="1728">
                  <a:moveTo>
                    <a:pt x="99" y="1284"/>
                  </a:moveTo>
                  <a:lnTo>
                    <a:pt x="99" y="1284"/>
                  </a:lnTo>
                  <a:cubicBezTo>
                    <a:pt x="92" y="1238"/>
                    <a:pt x="84" y="1200"/>
                    <a:pt x="84" y="1154"/>
                  </a:cubicBezTo>
                  <a:cubicBezTo>
                    <a:pt x="92" y="1123"/>
                    <a:pt x="99" y="1093"/>
                    <a:pt x="115" y="1062"/>
                  </a:cubicBezTo>
                  <a:cubicBezTo>
                    <a:pt x="122" y="1032"/>
                    <a:pt x="122" y="1001"/>
                    <a:pt x="145" y="986"/>
                  </a:cubicBezTo>
                  <a:cubicBezTo>
                    <a:pt x="168" y="971"/>
                    <a:pt x="214" y="1009"/>
                    <a:pt x="229" y="986"/>
                  </a:cubicBezTo>
                  <a:cubicBezTo>
                    <a:pt x="252" y="940"/>
                    <a:pt x="244" y="879"/>
                    <a:pt x="229" y="825"/>
                  </a:cubicBezTo>
                  <a:cubicBezTo>
                    <a:pt x="214" y="803"/>
                    <a:pt x="183" y="787"/>
                    <a:pt x="153" y="787"/>
                  </a:cubicBezTo>
                  <a:cubicBezTo>
                    <a:pt x="122" y="787"/>
                    <a:pt x="92" y="833"/>
                    <a:pt x="53" y="825"/>
                  </a:cubicBezTo>
                  <a:cubicBezTo>
                    <a:pt x="30" y="818"/>
                    <a:pt x="7" y="795"/>
                    <a:pt x="0" y="764"/>
                  </a:cubicBezTo>
                  <a:cubicBezTo>
                    <a:pt x="0" y="742"/>
                    <a:pt x="15" y="719"/>
                    <a:pt x="23" y="696"/>
                  </a:cubicBezTo>
                  <a:cubicBezTo>
                    <a:pt x="23" y="688"/>
                    <a:pt x="23" y="657"/>
                    <a:pt x="30" y="665"/>
                  </a:cubicBezTo>
                  <a:cubicBezTo>
                    <a:pt x="76" y="688"/>
                    <a:pt x="92" y="742"/>
                    <a:pt x="130" y="757"/>
                  </a:cubicBezTo>
                  <a:cubicBezTo>
                    <a:pt x="168" y="764"/>
                    <a:pt x="206" y="742"/>
                    <a:pt x="237" y="719"/>
                  </a:cubicBezTo>
                  <a:cubicBezTo>
                    <a:pt x="244" y="711"/>
                    <a:pt x="237" y="688"/>
                    <a:pt x="237" y="673"/>
                  </a:cubicBezTo>
                  <a:cubicBezTo>
                    <a:pt x="221" y="650"/>
                    <a:pt x="206" y="627"/>
                    <a:pt x="183" y="612"/>
                  </a:cubicBezTo>
                  <a:cubicBezTo>
                    <a:pt x="168" y="596"/>
                    <a:pt x="145" y="604"/>
                    <a:pt x="137" y="589"/>
                  </a:cubicBezTo>
                  <a:cubicBezTo>
                    <a:pt x="130" y="573"/>
                    <a:pt x="153" y="543"/>
                    <a:pt x="145" y="528"/>
                  </a:cubicBezTo>
                  <a:cubicBezTo>
                    <a:pt x="137" y="497"/>
                    <a:pt x="99" y="482"/>
                    <a:pt x="84" y="459"/>
                  </a:cubicBezTo>
                  <a:cubicBezTo>
                    <a:pt x="69" y="444"/>
                    <a:pt x="53" y="413"/>
                    <a:pt x="69" y="398"/>
                  </a:cubicBezTo>
                  <a:cubicBezTo>
                    <a:pt x="92" y="375"/>
                    <a:pt x="130" y="367"/>
                    <a:pt x="160" y="344"/>
                  </a:cubicBezTo>
                  <a:cubicBezTo>
                    <a:pt x="160" y="352"/>
                    <a:pt x="160" y="352"/>
                    <a:pt x="160" y="352"/>
                  </a:cubicBezTo>
                  <a:cubicBezTo>
                    <a:pt x="206" y="337"/>
                    <a:pt x="252" y="314"/>
                    <a:pt x="298" y="306"/>
                  </a:cubicBezTo>
                  <a:cubicBezTo>
                    <a:pt x="359" y="291"/>
                    <a:pt x="428" y="275"/>
                    <a:pt x="489" y="275"/>
                  </a:cubicBezTo>
                  <a:cubicBezTo>
                    <a:pt x="519" y="275"/>
                    <a:pt x="565" y="283"/>
                    <a:pt x="573" y="314"/>
                  </a:cubicBezTo>
                  <a:cubicBezTo>
                    <a:pt x="580" y="352"/>
                    <a:pt x="512" y="390"/>
                    <a:pt x="535" y="428"/>
                  </a:cubicBezTo>
                  <a:cubicBezTo>
                    <a:pt x="550" y="467"/>
                    <a:pt x="611" y="451"/>
                    <a:pt x="649" y="451"/>
                  </a:cubicBezTo>
                  <a:cubicBezTo>
                    <a:pt x="718" y="459"/>
                    <a:pt x="794" y="444"/>
                    <a:pt x="863" y="451"/>
                  </a:cubicBezTo>
                  <a:cubicBezTo>
                    <a:pt x="916" y="451"/>
                    <a:pt x="978" y="474"/>
                    <a:pt x="1031" y="482"/>
                  </a:cubicBezTo>
                  <a:cubicBezTo>
                    <a:pt x="1069" y="489"/>
                    <a:pt x="1107" y="497"/>
                    <a:pt x="1146" y="505"/>
                  </a:cubicBezTo>
                  <a:cubicBezTo>
                    <a:pt x="1222" y="512"/>
                    <a:pt x="1298" y="528"/>
                    <a:pt x="1375" y="520"/>
                  </a:cubicBezTo>
                  <a:cubicBezTo>
                    <a:pt x="1405" y="520"/>
                    <a:pt x="1428" y="482"/>
                    <a:pt x="1451" y="467"/>
                  </a:cubicBezTo>
                  <a:cubicBezTo>
                    <a:pt x="1489" y="444"/>
                    <a:pt x="1520" y="428"/>
                    <a:pt x="1550" y="405"/>
                  </a:cubicBezTo>
                  <a:cubicBezTo>
                    <a:pt x="1581" y="375"/>
                    <a:pt x="1604" y="337"/>
                    <a:pt x="1627" y="306"/>
                  </a:cubicBezTo>
                  <a:cubicBezTo>
                    <a:pt x="1642" y="283"/>
                    <a:pt x="1650" y="245"/>
                    <a:pt x="1680" y="237"/>
                  </a:cubicBezTo>
                  <a:cubicBezTo>
                    <a:pt x="1734" y="230"/>
                    <a:pt x="1787" y="253"/>
                    <a:pt x="1841" y="253"/>
                  </a:cubicBezTo>
                  <a:cubicBezTo>
                    <a:pt x="1902" y="253"/>
                    <a:pt x="1963" y="268"/>
                    <a:pt x="2024" y="245"/>
                  </a:cubicBezTo>
                  <a:cubicBezTo>
                    <a:pt x="2054" y="230"/>
                    <a:pt x="2085" y="184"/>
                    <a:pt x="2093" y="146"/>
                  </a:cubicBezTo>
                  <a:cubicBezTo>
                    <a:pt x="2100" y="131"/>
                    <a:pt x="2062" y="115"/>
                    <a:pt x="2062" y="92"/>
                  </a:cubicBezTo>
                  <a:cubicBezTo>
                    <a:pt x="2070" y="62"/>
                    <a:pt x="2085" y="31"/>
                    <a:pt x="2116" y="16"/>
                  </a:cubicBezTo>
                  <a:cubicBezTo>
                    <a:pt x="2162" y="0"/>
                    <a:pt x="2223" y="8"/>
                    <a:pt x="2268" y="8"/>
                  </a:cubicBezTo>
                  <a:lnTo>
                    <a:pt x="2268" y="8"/>
                  </a:lnTo>
                  <a:cubicBezTo>
                    <a:pt x="2268" y="46"/>
                    <a:pt x="2261" y="85"/>
                    <a:pt x="2276" y="123"/>
                  </a:cubicBezTo>
                  <a:cubicBezTo>
                    <a:pt x="2291" y="237"/>
                    <a:pt x="2284" y="383"/>
                    <a:pt x="2253" y="497"/>
                  </a:cubicBezTo>
                  <a:cubicBezTo>
                    <a:pt x="2116" y="772"/>
                    <a:pt x="2116" y="772"/>
                    <a:pt x="2116" y="772"/>
                  </a:cubicBezTo>
                  <a:cubicBezTo>
                    <a:pt x="2093" y="825"/>
                    <a:pt x="2085" y="940"/>
                    <a:pt x="2085" y="994"/>
                  </a:cubicBezTo>
                  <a:cubicBezTo>
                    <a:pt x="2085" y="1039"/>
                    <a:pt x="2032" y="1299"/>
                    <a:pt x="2009" y="1314"/>
                  </a:cubicBezTo>
                  <a:cubicBezTo>
                    <a:pt x="1955" y="1345"/>
                    <a:pt x="1894" y="1368"/>
                    <a:pt x="1848" y="1406"/>
                  </a:cubicBezTo>
                  <a:cubicBezTo>
                    <a:pt x="1802" y="1436"/>
                    <a:pt x="1795" y="1521"/>
                    <a:pt x="1757" y="1567"/>
                  </a:cubicBezTo>
                  <a:cubicBezTo>
                    <a:pt x="1696" y="1605"/>
                    <a:pt x="1604" y="1727"/>
                    <a:pt x="1550" y="1628"/>
                  </a:cubicBezTo>
                  <a:cubicBezTo>
                    <a:pt x="1512" y="1551"/>
                    <a:pt x="1535" y="1528"/>
                    <a:pt x="1421" y="1498"/>
                  </a:cubicBezTo>
                  <a:cubicBezTo>
                    <a:pt x="1497" y="1498"/>
                    <a:pt x="1543" y="1597"/>
                    <a:pt x="1489" y="1628"/>
                  </a:cubicBezTo>
                  <a:lnTo>
                    <a:pt x="1489" y="1628"/>
                  </a:lnTo>
                  <a:cubicBezTo>
                    <a:pt x="1382" y="1589"/>
                    <a:pt x="1352" y="1567"/>
                    <a:pt x="1245" y="1544"/>
                  </a:cubicBezTo>
                  <a:cubicBezTo>
                    <a:pt x="1168" y="1528"/>
                    <a:pt x="1092" y="1536"/>
                    <a:pt x="1024" y="1521"/>
                  </a:cubicBezTo>
                  <a:cubicBezTo>
                    <a:pt x="1008" y="1521"/>
                    <a:pt x="993" y="1505"/>
                    <a:pt x="978" y="1505"/>
                  </a:cubicBezTo>
                  <a:cubicBezTo>
                    <a:pt x="893" y="1505"/>
                    <a:pt x="802" y="1559"/>
                    <a:pt x="718" y="1528"/>
                  </a:cubicBezTo>
                  <a:cubicBezTo>
                    <a:pt x="672" y="1513"/>
                    <a:pt x="680" y="1436"/>
                    <a:pt x="657" y="1391"/>
                  </a:cubicBezTo>
                  <a:cubicBezTo>
                    <a:pt x="626" y="1345"/>
                    <a:pt x="611" y="1269"/>
                    <a:pt x="557" y="1253"/>
                  </a:cubicBezTo>
                  <a:cubicBezTo>
                    <a:pt x="481" y="1230"/>
                    <a:pt x="397" y="1299"/>
                    <a:pt x="313" y="1299"/>
                  </a:cubicBezTo>
                  <a:cubicBezTo>
                    <a:pt x="298" y="1299"/>
                    <a:pt x="282" y="1269"/>
                    <a:pt x="260" y="1261"/>
                  </a:cubicBezTo>
                  <a:cubicBezTo>
                    <a:pt x="206" y="1261"/>
                    <a:pt x="153" y="1276"/>
                    <a:pt x="99" y="1284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48" name="Freeform 70"/>
            <p:cNvSpPr>
              <a:spLocks noChangeArrowheads="1"/>
            </p:cNvSpPr>
            <p:nvPr/>
          </p:nvSpPr>
          <p:spPr bwMode="auto">
            <a:xfrm>
              <a:off x="7948096" y="8407400"/>
              <a:ext cx="769887" cy="585788"/>
            </a:xfrm>
            <a:custGeom>
              <a:avLst/>
              <a:gdLst>
                <a:gd name="T0" fmla="*/ 130 w 2140"/>
                <a:gd name="T1" fmla="*/ 290 h 1628"/>
                <a:gd name="T2" fmla="*/ 244 w 2140"/>
                <a:gd name="T3" fmla="*/ 138 h 1628"/>
                <a:gd name="T4" fmla="*/ 336 w 2140"/>
                <a:gd name="T5" fmla="*/ 16 h 1628"/>
                <a:gd name="T6" fmla="*/ 451 w 2140"/>
                <a:gd name="T7" fmla="*/ 38 h 1628"/>
                <a:gd name="T8" fmla="*/ 619 w 2140"/>
                <a:gd name="T9" fmla="*/ 176 h 1628"/>
                <a:gd name="T10" fmla="*/ 626 w 2140"/>
                <a:gd name="T11" fmla="*/ 138 h 1628"/>
                <a:gd name="T12" fmla="*/ 840 w 2140"/>
                <a:gd name="T13" fmla="*/ 153 h 1628"/>
                <a:gd name="T14" fmla="*/ 1184 w 2140"/>
                <a:gd name="T15" fmla="*/ 245 h 1628"/>
                <a:gd name="T16" fmla="*/ 1505 w 2140"/>
                <a:gd name="T17" fmla="*/ 359 h 1628"/>
                <a:gd name="T18" fmla="*/ 1772 w 2140"/>
                <a:gd name="T19" fmla="*/ 398 h 1628"/>
                <a:gd name="T20" fmla="*/ 2016 w 2140"/>
                <a:gd name="T21" fmla="*/ 482 h 1628"/>
                <a:gd name="T22" fmla="*/ 1787 w 2140"/>
                <a:gd name="T23" fmla="*/ 504 h 1628"/>
                <a:gd name="T24" fmla="*/ 1993 w 2140"/>
                <a:gd name="T25" fmla="*/ 619 h 1628"/>
                <a:gd name="T26" fmla="*/ 2055 w 2140"/>
                <a:gd name="T27" fmla="*/ 688 h 1628"/>
                <a:gd name="T28" fmla="*/ 1665 w 2140"/>
                <a:gd name="T29" fmla="*/ 894 h 1628"/>
                <a:gd name="T30" fmla="*/ 1451 w 2140"/>
                <a:gd name="T31" fmla="*/ 978 h 1628"/>
                <a:gd name="T32" fmla="*/ 1428 w 2140"/>
                <a:gd name="T33" fmla="*/ 1108 h 1628"/>
                <a:gd name="T34" fmla="*/ 1558 w 2140"/>
                <a:gd name="T35" fmla="*/ 1276 h 1628"/>
                <a:gd name="T36" fmla="*/ 1375 w 2140"/>
                <a:gd name="T37" fmla="*/ 1559 h 1628"/>
                <a:gd name="T38" fmla="*/ 1054 w 2140"/>
                <a:gd name="T39" fmla="*/ 1413 h 1628"/>
                <a:gd name="T40" fmla="*/ 1069 w 2140"/>
                <a:gd name="T41" fmla="*/ 1582 h 1628"/>
                <a:gd name="T42" fmla="*/ 955 w 2140"/>
                <a:gd name="T43" fmla="*/ 1627 h 1628"/>
                <a:gd name="T44" fmla="*/ 718 w 2140"/>
                <a:gd name="T45" fmla="*/ 1490 h 1628"/>
                <a:gd name="T46" fmla="*/ 550 w 2140"/>
                <a:gd name="T47" fmla="*/ 1467 h 1628"/>
                <a:gd name="T48" fmla="*/ 481 w 2140"/>
                <a:gd name="T49" fmla="*/ 1398 h 1628"/>
                <a:gd name="T50" fmla="*/ 435 w 2140"/>
                <a:gd name="T51" fmla="*/ 1291 h 1628"/>
                <a:gd name="T52" fmla="*/ 321 w 2140"/>
                <a:gd name="T53" fmla="*/ 1307 h 1628"/>
                <a:gd name="T54" fmla="*/ 107 w 2140"/>
                <a:gd name="T55" fmla="*/ 1268 h 1628"/>
                <a:gd name="T56" fmla="*/ 53 w 2140"/>
                <a:gd name="T57" fmla="*/ 1177 h 1628"/>
                <a:gd name="T58" fmla="*/ 7 w 2140"/>
                <a:gd name="T59" fmla="*/ 1039 h 1628"/>
                <a:gd name="T60" fmla="*/ 237 w 2140"/>
                <a:gd name="T61" fmla="*/ 833 h 1628"/>
                <a:gd name="T62" fmla="*/ 313 w 2140"/>
                <a:gd name="T63" fmla="*/ 611 h 1628"/>
                <a:gd name="T64" fmla="*/ 221 w 2140"/>
                <a:gd name="T65" fmla="*/ 474 h 1628"/>
                <a:gd name="T66" fmla="*/ 130 w 2140"/>
                <a:gd name="T67" fmla="*/ 290 h 1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40" h="1628">
                  <a:moveTo>
                    <a:pt x="130" y="290"/>
                  </a:moveTo>
                  <a:lnTo>
                    <a:pt x="130" y="290"/>
                  </a:lnTo>
                  <a:cubicBezTo>
                    <a:pt x="145" y="237"/>
                    <a:pt x="137" y="176"/>
                    <a:pt x="176" y="130"/>
                  </a:cubicBezTo>
                  <a:cubicBezTo>
                    <a:pt x="191" y="107"/>
                    <a:pt x="221" y="138"/>
                    <a:pt x="244" y="138"/>
                  </a:cubicBezTo>
                  <a:cubicBezTo>
                    <a:pt x="267" y="130"/>
                    <a:pt x="290" y="123"/>
                    <a:pt x="305" y="107"/>
                  </a:cubicBezTo>
                  <a:cubicBezTo>
                    <a:pt x="321" y="77"/>
                    <a:pt x="305" y="31"/>
                    <a:pt x="336" y="16"/>
                  </a:cubicBezTo>
                  <a:cubicBezTo>
                    <a:pt x="359" y="0"/>
                    <a:pt x="374" y="54"/>
                    <a:pt x="405" y="61"/>
                  </a:cubicBezTo>
                  <a:cubicBezTo>
                    <a:pt x="420" y="61"/>
                    <a:pt x="435" y="23"/>
                    <a:pt x="451" y="38"/>
                  </a:cubicBezTo>
                  <a:cubicBezTo>
                    <a:pt x="504" y="69"/>
                    <a:pt x="534" y="130"/>
                    <a:pt x="580" y="176"/>
                  </a:cubicBezTo>
                  <a:cubicBezTo>
                    <a:pt x="588" y="184"/>
                    <a:pt x="611" y="184"/>
                    <a:pt x="619" y="176"/>
                  </a:cubicBezTo>
                  <a:cubicBezTo>
                    <a:pt x="626" y="168"/>
                    <a:pt x="626" y="153"/>
                    <a:pt x="626" y="138"/>
                  </a:cubicBezTo>
                  <a:lnTo>
                    <a:pt x="626" y="138"/>
                  </a:lnTo>
                  <a:cubicBezTo>
                    <a:pt x="680" y="130"/>
                    <a:pt x="733" y="115"/>
                    <a:pt x="787" y="115"/>
                  </a:cubicBezTo>
                  <a:cubicBezTo>
                    <a:pt x="809" y="123"/>
                    <a:pt x="825" y="153"/>
                    <a:pt x="840" y="153"/>
                  </a:cubicBezTo>
                  <a:cubicBezTo>
                    <a:pt x="924" y="153"/>
                    <a:pt x="1008" y="84"/>
                    <a:pt x="1084" y="107"/>
                  </a:cubicBezTo>
                  <a:cubicBezTo>
                    <a:pt x="1138" y="123"/>
                    <a:pt x="1153" y="199"/>
                    <a:pt x="1184" y="245"/>
                  </a:cubicBezTo>
                  <a:cubicBezTo>
                    <a:pt x="1207" y="290"/>
                    <a:pt x="1199" y="367"/>
                    <a:pt x="1245" y="382"/>
                  </a:cubicBezTo>
                  <a:cubicBezTo>
                    <a:pt x="1329" y="413"/>
                    <a:pt x="1420" y="359"/>
                    <a:pt x="1505" y="359"/>
                  </a:cubicBezTo>
                  <a:cubicBezTo>
                    <a:pt x="1520" y="359"/>
                    <a:pt x="1535" y="375"/>
                    <a:pt x="1551" y="375"/>
                  </a:cubicBezTo>
                  <a:cubicBezTo>
                    <a:pt x="1619" y="390"/>
                    <a:pt x="1695" y="382"/>
                    <a:pt x="1772" y="398"/>
                  </a:cubicBezTo>
                  <a:cubicBezTo>
                    <a:pt x="1879" y="421"/>
                    <a:pt x="1909" y="443"/>
                    <a:pt x="2016" y="482"/>
                  </a:cubicBezTo>
                  <a:lnTo>
                    <a:pt x="2016" y="482"/>
                  </a:lnTo>
                  <a:cubicBezTo>
                    <a:pt x="1993" y="497"/>
                    <a:pt x="1963" y="497"/>
                    <a:pt x="1909" y="482"/>
                  </a:cubicBezTo>
                  <a:cubicBezTo>
                    <a:pt x="1887" y="474"/>
                    <a:pt x="1818" y="497"/>
                    <a:pt x="1787" y="504"/>
                  </a:cubicBezTo>
                  <a:cubicBezTo>
                    <a:pt x="1757" y="512"/>
                    <a:pt x="1894" y="520"/>
                    <a:pt x="1917" y="520"/>
                  </a:cubicBezTo>
                  <a:cubicBezTo>
                    <a:pt x="2016" y="520"/>
                    <a:pt x="2093" y="520"/>
                    <a:pt x="1993" y="619"/>
                  </a:cubicBezTo>
                  <a:cubicBezTo>
                    <a:pt x="1978" y="634"/>
                    <a:pt x="1948" y="688"/>
                    <a:pt x="1963" y="711"/>
                  </a:cubicBezTo>
                  <a:cubicBezTo>
                    <a:pt x="1986" y="749"/>
                    <a:pt x="2032" y="695"/>
                    <a:pt x="2055" y="688"/>
                  </a:cubicBezTo>
                  <a:cubicBezTo>
                    <a:pt x="2139" y="657"/>
                    <a:pt x="2039" y="795"/>
                    <a:pt x="2001" y="818"/>
                  </a:cubicBezTo>
                  <a:cubicBezTo>
                    <a:pt x="1909" y="894"/>
                    <a:pt x="1772" y="1016"/>
                    <a:pt x="1665" y="894"/>
                  </a:cubicBezTo>
                  <a:cubicBezTo>
                    <a:pt x="1657" y="879"/>
                    <a:pt x="1596" y="932"/>
                    <a:pt x="1573" y="947"/>
                  </a:cubicBezTo>
                  <a:cubicBezTo>
                    <a:pt x="1535" y="970"/>
                    <a:pt x="1489" y="947"/>
                    <a:pt x="1451" y="978"/>
                  </a:cubicBezTo>
                  <a:cubicBezTo>
                    <a:pt x="1390" y="1047"/>
                    <a:pt x="1375" y="1016"/>
                    <a:pt x="1298" y="1047"/>
                  </a:cubicBezTo>
                  <a:cubicBezTo>
                    <a:pt x="1107" y="1115"/>
                    <a:pt x="1375" y="1123"/>
                    <a:pt x="1428" y="1108"/>
                  </a:cubicBezTo>
                  <a:cubicBezTo>
                    <a:pt x="1451" y="1100"/>
                    <a:pt x="1551" y="1016"/>
                    <a:pt x="1566" y="1062"/>
                  </a:cubicBezTo>
                  <a:cubicBezTo>
                    <a:pt x="1573" y="1123"/>
                    <a:pt x="1558" y="1215"/>
                    <a:pt x="1558" y="1276"/>
                  </a:cubicBezTo>
                  <a:cubicBezTo>
                    <a:pt x="1543" y="1352"/>
                    <a:pt x="1466" y="1490"/>
                    <a:pt x="1375" y="1559"/>
                  </a:cubicBezTo>
                  <a:lnTo>
                    <a:pt x="1375" y="1559"/>
                  </a:lnTo>
                  <a:cubicBezTo>
                    <a:pt x="1344" y="1536"/>
                    <a:pt x="1291" y="1467"/>
                    <a:pt x="1253" y="1452"/>
                  </a:cubicBezTo>
                  <a:cubicBezTo>
                    <a:pt x="1191" y="1429"/>
                    <a:pt x="1123" y="1390"/>
                    <a:pt x="1054" y="1413"/>
                  </a:cubicBezTo>
                  <a:cubicBezTo>
                    <a:pt x="1023" y="1421"/>
                    <a:pt x="1069" y="1551"/>
                    <a:pt x="1069" y="1582"/>
                  </a:cubicBezTo>
                  <a:lnTo>
                    <a:pt x="1069" y="1582"/>
                  </a:lnTo>
                  <a:cubicBezTo>
                    <a:pt x="1031" y="1589"/>
                    <a:pt x="993" y="1612"/>
                    <a:pt x="955" y="1627"/>
                  </a:cubicBezTo>
                  <a:lnTo>
                    <a:pt x="955" y="1627"/>
                  </a:lnTo>
                  <a:cubicBezTo>
                    <a:pt x="909" y="1589"/>
                    <a:pt x="848" y="1505"/>
                    <a:pt x="794" y="1482"/>
                  </a:cubicBezTo>
                  <a:cubicBezTo>
                    <a:pt x="771" y="1474"/>
                    <a:pt x="748" y="1497"/>
                    <a:pt x="718" y="1490"/>
                  </a:cubicBezTo>
                  <a:cubicBezTo>
                    <a:pt x="703" y="1490"/>
                    <a:pt x="695" y="1459"/>
                    <a:pt x="680" y="1459"/>
                  </a:cubicBezTo>
                  <a:cubicBezTo>
                    <a:pt x="634" y="1452"/>
                    <a:pt x="596" y="1459"/>
                    <a:pt x="550" y="1467"/>
                  </a:cubicBezTo>
                  <a:cubicBezTo>
                    <a:pt x="557" y="1467"/>
                    <a:pt x="557" y="1467"/>
                    <a:pt x="557" y="1467"/>
                  </a:cubicBezTo>
                  <a:cubicBezTo>
                    <a:pt x="534" y="1444"/>
                    <a:pt x="504" y="1421"/>
                    <a:pt x="481" y="1398"/>
                  </a:cubicBezTo>
                  <a:cubicBezTo>
                    <a:pt x="473" y="1383"/>
                    <a:pt x="489" y="1375"/>
                    <a:pt x="481" y="1360"/>
                  </a:cubicBezTo>
                  <a:cubicBezTo>
                    <a:pt x="473" y="1337"/>
                    <a:pt x="458" y="1307"/>
                    <a:pt x="435" y="1291"/>
                  </a:cubicBezTo>
                  <a:cubicBezTo>
                    <a:pt x="420" y="1284"/>
                    <a:pt x="405" y="1307"/>
                    <a:pt x="390" y="1307"/>
                  </a:cubicBezTo>
                  <a:cubicBezTo>
                    <a:pt x="367" y="1314"/>
                    <a:pt x="344" y="1299"/>
                    <a:pt x="321" y="1307"/>
                  </a:cubicBezTo>
                  <a:cubicBezTo>
                    <a:pt x="275" y="1314"/>
                    <a:pt x="237" y="1368"/>
                    <a:pt x="191" y="1360"/>
                  </a:cubicBezTo>
                  <a:cubicBezTo>
                    <a:pt x="153" y="1352"/>
                    <a:pt x="137" y="1291"/>
                    <a:pt x="107" y="1268"/>
                  </a:cubicBezTo>
                  <a:cubicBezTo>
                    <a:pt x="92" y="1261"/>
                    <a:pt x="61" y="1276"/>
                    <a:pt x="53" y="1261"/>
                  </a:cubicBezTo>
                  <a:cubicBezTo>
                    <a:pt x="38" y="1238"/>
                    <a:pt x="53" y="1207"/>
                    <a:pt x="53" y="1177"/>
                  </a:cubicBezTo>
                  <a:lnTo>
                    <a:pt x="53" y="1177"/>
                  </a:lnTo>
                  <a:cubicBezTo>
                    <a:pt x="38" y="1131"/>
                    <a:pt x="0" y="1085"/>
                    <a:pt x="7" y="1039"/>
                  </a:cubicBezTo>
                  <a:cubicBezTo>
                    <a:pt x="7" y="978"/>
                    <a:pt x="30" y="917"/>
                    <a:pt x="76" y="879"/>
                  </a:cubicBezTo>
                  <a:cubicBezTo>
                    <a:pt x="115" y="840"/>
                    <a:pt x="191" y="856"/>
                    <a:pt x="237" y="833"/>
                  </a:cubicBezTo>
                  <a:cubicBezTo>
                    <a:pt x="267" y="825"/>
                    <a:pt x="290" y="795"/>
                    <a:pt x="298" y="772"/>
                  </a:cubicBezTo>
                  <a:cubicBezTo>
                    <a:pt x="313" y="718"/>
                    <a:pt x="336" y="657"/>
                    <a:pt x="313" y="611"/>
                  </a:cubicBezTo>
                  <a:cubicBezTo>
                    <a:pt x="305" y="588"/>
                    <a:pt x="252" y="619"/>
                    <a:pt x="237" y="596"/>
                  </a:cubicBezTo>
                  <a:cubicBezTo>
                    <a:pt x="214" y="565"/>
                    <a:pt x="229" y="512"/>
                    <a:pt x="221" y="474"/>
                  </a:cubicBezTo>
                  <a:cubicBezTo>
                    <a:pt x="214" y="428"/>
                    <a:pt x="206" y="390"/>
                    <a:pt x="183" y="352"/>
                  </a:cubicBezTo>
                  <a:cubicBezTo>
                    <a:pt x="176" y="329"/>
                    <a:pt x="145" y="306"/>
                    <a:pt x="130" y="29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49" name="Freeform 71"/>
            <p:cNvSpPr>
              <a:spLocks noChangeArrowheads="1"/>
            </p:cNvSpPr>
            <p:nvPr/>
          </p:nvSpPr>
          <p:spPr bwMode="auto">
            <a:xfrm>
              <a:off x="7451240" y="8369300"/>
              <a:ext cx="179376" cy="198438"/>
            </a:xfrm>
            <a:custGeom>
              <a:avLst/>
              <a:gdLst>
                <a:gd name="T0" fmla="*/ 23 w 498"/>
                <a:gd name="T1" fmla="*/ 253 h 551"/>
                <a:gd name="T2" fmla="*/ 23 w 498"/>
                <a:gd name="T3" fmla="*/ 253 h 551"/>
                <a:gd name="T4" fmla="*/ 23 w 498"/>
                <a:gd name="T5" fmla="*/ 184 h 551"/>
                <a:gd name="T6" fmla="*/ 214 w 498"/>
                <a:gd name="T7" fmla="*/ 107 h 551"/>
                <a:gd name="T8" fmla="*/ 245 w 498"/>
                <a:gd name="T9" fmla="*/ 54 h 551"/>
                <a:gd name="T10" fmla="*/ 398 w 498"/>
                <a:gd name="T11" fmla="*/ 0 h 551"/>
                <a:gd name="T12" fmla="*/ 398 w 498"/>
                <a:gd name="T13" fmla="*/ 0 h 551"/>
                <a:gd name="T14" fmla="*/ 443 w 498"/>
                <a:gd name="T15" fmla="*/ 100 h 551"/>
                <a:gd name="T16" fmla="*/ 436 w 498"/>
                <a:gd name="T17" fmla="*/ 161 h 551"/>
                <a:gd name="T18" fmla="*/ 497 w 498"/>
                <a:gd name="T19" fmla="*/ 222 h 551"/>
                <a:gd name="T20" fmla="*/ 420 w 498"/>
                <a:gd name="T21" fmla="*/ 314 h 551"/>
                <a:gd name="T22" fmla="*/ 398 w 498"/>
                <a:gd name="T23" fmla="*/ 390 h 551"/>
                <a:gd name="T24" fmla="*/ 390 w 498"/>
                <a:gd name="T25" fmla="*/ 550 h 551"/>
                <a:gd name="T26" fmla="*/ 390 w 498"/>
                <a:gd name="T27" fmla="*/ 550 h 551"/>
                <a:gd name="T28" fmla="*/ 298 w 498"/>
                <a:gd name="T29" fmla="*/ 497 h 551"/>
                <a:gd name="T30" fmla="*/ 222 w 498"/>
                <a:gd name="T31" fmla="*/ 535 h 551"/>
                <a:gd name="T32" fmla="*/ 100 w 498"/>
                <a:gd name="T33" fmla="*/ 436 h 551"/>
                <a:gd name="T34" fmla="*/ 62 w 498"/>
                <a:gd name="T35" fmla="*/ 344 h 551"/>
                <a:gd name="T36" fmla="*/ 23 w 498"/>
                <a:gd name="T37" fmla="*/ 253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8" h="551">
                  <a:moveTo>
                    <a:pt x="23" y="253"/>
                  </a:moveTo>
                  <a:lnTo>
                    <a:pt x="23" y="253"/>
                  </a:lnTo>
                  <a:cubicBezTo>
                    <a:pt x="23" y="230"/>
                    <a:pt x="0" y="191"/>
                    <a:pt x="23" y="184"/>
                  </a:cubicBezTo>
                  <a:cubicBezTo>
                    <a:pt x="77" y="138"/>
                    <a:pt x="153" y="130"/>
                    <a:pt x="214" y="107"/>
                  </a:cubicBezTo>
                  <a:cubicBezTo>
                    <a:pt x="214" y="107"/>
                    <a:pt x="245" y="61"/>
                    <a:pt x="245" y="54"/>
                  </a:cubicBezTo>
                  <a:cubicBezTo>
                    <a:pt x="252" y="54"/>
                    <a:pt x="398" y="0"/>
                    <a:pt x="398" y="0"/>
                  </a:cubicBezTo>
                  <a:lnTo>
                    <a:pt x="398" y="0"/>
                  </a:lnTo>
                  <a:cubicBezTo>
                    <a:pt x="413" y="31"/>
                    <a:pt x="428" y="61"/>
                    <a:pt x="443" y="100"/>
                  </a:cubicBezTo>
                  <a:cubicBezTo>
                    <a:pt x="443" y="123"/>
                    <a:pt x="428" y="145"/>
                    <a:pt x="436" y="161"/>
                  </a:cubicBezTo>
                  <a:cubicBezTo>
                    <a:pt x="451" y="191"/>
                    <a:pt x="497" y="191"/>
                    <a:pt x="497" y="222"/>
                  </a:cubicBezTo>
                  <a:cubicBezTo>
                    <a:pt x="497" y="260"/>
                    <a:pt x="443" y="283"/>
                    <a:pt x="420" y="314"/>
                  </a:cubicBezTo>
                  <a:cubicBezTo>
                    <a:pt x="413" y="336"/>
                    <a:pt x="398" y="367"/>
                    <a:pt x="398" y="390"/>
                  </a:cubicBezTo>
                  <a:cubicBezTo>
                    <a:pt x="390" y="443"/>
                    <a:pt x="390" y="497"/>
                    <a:pt x="390" y="550"/>
                  </a:cubicBezTo>
                  <a:lnTo>
                    <a:pt x="390" y="550"/>
                  </a:lnTo>
                  <a:cubicBezTo>
                    <a:pt x="359" y="535"/>
                    <a:pt x="329" y="505"/>
                    <a:pt x="298" y="497"/>
                  </a:cubicBezTo>
                  <a:cubicBezTo>
                    <a:pt x="268" y="497"/>
                    <a:pt x="245" y="543"/>
                    <a:pt x="222" y="535"/>
                  </a:cubicBezTo>
                  <a:cubicBezTo>
                    <a:pt x="168" y="520"/>
                    <a:pt x="130" y="474"/>
                    <a:pt x="100" y="436"/>
                  </a:cubicBezTo>
                  <a:cubicBezTo>
                    <a:pt x="77" y="413"/>
                    <a:pt x="69" y="375"/>
                    <a:pt x="62" y="344"/>
                  </a:cubicBezTo>
                  <a:cubicBezTo>
                    <a:pt x="46" y="314"/>
                    <a:pt x="39" y="283"/>
                    <a:pt x="23" y="25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50" name="Freeform 72"/>
            <p:cNvSpPr>
              <a:spLocks noChangeArrowheads="1"/>
            </p:cNvSpPr>
            <p:nvPr/>
          </p:nvSpPr>
          <p:spPr bwMode="auto">
            <a:xfrm>
              <a:off x="7563945" y="8223251"/>
              <a:ext cx="322241" cy="498475"/>
            </a:xfrm>
            <a:custGeom>
              <a:avLst/>
              <a:gdLst>
                <a:gd name="T0" fmla="*/ 343 w 894"/>
                <a:gd name="T1" fmla="*/ 0 h 1383"/>
                <a:gd name="T2" fmla="*/ 343 w 894"/>
                <a:gd name="T3" fmla="*/ 0 h 1383"/>
                <a:gd name="T4" fmla="*/ 435 w 894"/>
                <a:gd name="T5" fmla="*/ 61 h 1383"/>
                <a:gd name="T6" fmla="*/ 488 w 894"/>
                <a:gd name="T7" fmla="*/ 68 h 1383"/>
                <a:gd name="T8" fmla="*/ 534 w 894"/>
                <a:gd name="T9" fmla="*/ 190 h 1383"/>
                <a:gd name="T10" fmla="*/ 626 w 894"/>
                <a:gd name="T11" fmla="*/ 168 h 1383"/>
                <a:gd name="T12" fmla="*/ 618 w 894"/>
                <a:gd name="T13" fmla="*/ 236 h 1383"/>
                <a:gd name="T14" fmla="*/ 672 w 894"/>
                <a:gd name="T15" fmla="*/ 267 h 1383"/>
                <a:gd name="T16" fmla="*/ 695 w 894"/>
                <a:gd name="T17" fmla="*/ 336 h 1383"/>
                <a:gd name="T18" fmla="*/ 748 w 894"/>
                <a:gd name="T19" fmla="*/ 374 h 1383"/>
                <a:gd name="T20" fmla="*/ 725 w 894"/>
                <a:gd name="T21" fmla="*/ 427 h 1383"/>
                <a:gd name="T22" fmla="*/ 855 w 894"/>
                <a:gd name="T23" fmla="*/ 427 h 1383"/>
                <a:gd name="T24" fmla="*/ 863 w 894"/>
                <a:gd name="T25" fmla="*/ 618 h 1383"/>
                <a:gd name="T26" fmla="*/ 863 w 894"/>
                <a:gd name="T27" fmla="*/ 618 h 1383"/>
                <a:gd name="T28" fmla="*/ 809 w 894"/>
                <a:gd name="T29" fmla="*/ 725 h 1383"/>
                <a:gd name="T30" fmla="*/ 794 w 894"/>
                <a:gd name="T31" fmla="*/ 832 h 1383"/>
                <a:gd name="T32" fmla="*/ 626 w 894"/>
                <a:gd name="T33" fmla="*/ 847 h 1383"/>
                <a:gd name="T34" fmla="*/ 557 w 894"/>
                <a:gd name="T35" fmla="*/ 947 h 1383"/>
                <a:gd name="T36" fmla="*/ 481 w 894"/>
                <a:gd name="T37" fmla="*/ 909 h 1383"/>
                <a:gd name="T38" fmla="*/ 481 w 894"/>
                <a:gd name="T39" fmla="*/ 1000 h 1383"/>
                <a:gd name="T40" fmla="*/ 527 w 894"/>
                <a:gd name="T41" fmla="*/ 1115 h 1383"/>
                <a:gd name="T42" fmla="*/ 527 w 894"/>
                <a:gd name="T43" fmla="*/ 1115 h 1383"/>
                <a:gd name="T44" fmla="*/ 465 w 894"/>
                <a:gd name="T45" fmla="*/ 1122 h 1383"/>
                <a:gd name="T46" fmla="*/ 442 w 894"/>
                <a:gd name="T47" fmla="*/ 1069 h 1383"/>
                <a:gd name="T48" fmla="*/ 381 w 894"/>
                <a:gd name="T49" fmla="*/ 1084 h 1383"/>
                <a:gd name="T50" fmla="*/ 389 w 894"/>
                <a:gd name="T51" fmla="*/ 1122 h 1383"/>
                <a:gd name="T52" fmla="*/ 359 w 894"/>
                <a:gd name="T53" fmla="*/ 1153 h 1383"/>
                <a:gd name="T54" fmla="*/ 465 w 894"/>
                <a:gd name="T55" fmla="*/ 1237 h 1383"/>
                <a:gd name="T56" fmla="*/ 580 w 894"/>
                <a:gd name="T57" fmla="*/ 1191 h 1383"/>
                <a:gd name="T58" fmla="*/ 580 w 894"/>
                <a:gd name="T59" fmla="*/ 1191 h 1383"/>
                <a:gd name="T60" fmla="*/ 595 w 894"/>
                <a:gd name="T61" fmla="*/ 1283 h 1383"/>
                <a:gd name="T62" fmla="*/ 588 w 894"/>
                <a:gd name="T63" fmla="*/ 1321 h 1383"/>
                <a:gd name="T64" fmla="*/ 504 w 894"/>
                <a:gd name="T65" fmla="*/ 1306 h 1383"/>
                <a:gd name="T66" fmla="*/ 397 w 894"/>
                <a:gd name="T67" fmla="*/ 1268 h 1383"/>
                <a:gd name="T68" fmla="*/ 374 w 894"/>
                <a:gd name="T69" fmla="*/ 1290 h 1383"/>
                <a:gd name="T70" fmla="*/ 351 w 894"/>
                <a:gd name="T71" fmla="*/ 1359 h 1383"/>
                <a:gd name="T72" fmla="*/ 313 w 894"/>
                <a:gd name="T73" fmla="*/ 1382 h 1383"/>
                <a:gd name="T74" fmla="*/ 267 w 894"/>
                <a:gd name="T75" fmla="*/ 1336 h 1383"/>
                <a:gd name="T76" fmla="*/ 267 w 894"/>
                <a:gd name="T77" fmla="*/ 1336 h 1383"/>
                <a:gd name="T78" fmla="*/ 213 w 894"/>
                <a:gd name="T79" fmla="*/ 1206 h 1383"/>
                <a:gd name="T80" fmla="*/ 84 w 894"/>
                <a:gd name="T81" fmla="*/ 1145 h 1383"/>
                <a:gd name="T82" fmla="*/ 7 w 894"/>
                <a:gd name="T83" fmla="*/ 1099 h 1383"/>
                <a:gd name="T84" fmla="*/ 61 w 894"/>
                <a:gd name="T85" fmla="*/ 985 h 1383"/>
                <a:gd name="T86" fmla="*/ 76 w 894"/>
                <a:gd name="T87" fmla="*/ 954 h 1383"/>
                <a:gd name="T88" fmla="*/ 76 w 894"/>
                <a:gd name="T89" fmla="*/ 954 h 1383"/>
                <a:gd name="T90" fmla="*/ 84 w 894"/>
                <a:gd name="T91" fmla="*/ 794 h 1383"/>
                <a:gd name="T92" fmla="*/ 106 w 894"/>
                <a:gd name="T93" fmla="*/ 718 h 1383"/>
                <a:gd name="T94" fmla="*/ 183 w 894"/>
                <a:gd name="T95" fmla="*/ 626 h 1383"/>
                <a:gd name="T96" fmla="*/ 122 w 894"/>
                <a:gd name="T97" fmla="*/ 565 h 1383"/>
                <a:gd name="T98" fmla="*/ 129 w 894"/>
                <a:gd name="T99" fmla="*/ 504 h 1383"/>
                <a:gd name="T100" fmla="*/ 84 w 894"/>
                <a:gd name="T101" fmla="*/ 404 h 1383"/>
                <a:gd name="T102" fmla="*/ 84 w 894"/>
                <a:gd name="T103" fmla="*/ 404 h 1383"/>
                <a:gd name="T104" fmla="*/ 38 w 894"/>
                <a:gd name="T105" fmla="*/ 305 h 1383"/>
                <a:gd name="T106" fmla="*/ 91 w 894"/>
                <a:gd name="T107" fmla="*/ 213 h 1383"/>
                <a:gd name="T108" fmla="*/ 76 w 894"/>
                <a:gd name="T109" fmla="*/ 129 h 1383"/>
                <a:gd name="T110" fmla="*/ 129 w 894"/>
                <a:gd name="T111" fmla="*/ 84 h 1383"/>
                <a:gd name="T112" fmla="*/ 236 w 894"/>
                <a:gd name="T113" fmla="*/ 137 h 1383"/>
                <a:gd name="T114" fmla="*/ 244 w 894"/>
                <a:gd name="T115" fmla="*/ 45 h 1383"/>
                <a:gd name="T116" fmla="*/ 343 w 894"/>
                <a:gd name="T117" fmla="*/ 0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94" h="1383">
                  <a:moveTo>
                    <a:pt x="343" y="0"/>
                  </a:moveTo>
                  <a:lnTo>
                    <a:pt x="343" y="0"/>
                  </a:lnTo>
                  <a:cubicBezTo>
                    <a:pt x="374" y="15"/>
                    <a:pt x="404" y="45"/>
                    <a:pt x="435" y="61"/>
                  </a:cubicBezTo>
                  <a:cubicBezTo>
                    <a:pt x="450" y="68"/>
                    <a:pt x="481" y="53"/>
                    <a:pt x="488" y="68"/>
                  </a:cubicBezTo>
                  <a:cubicBezTo>
                    <a:pt x="519" y="107"/>
                    <a:pt x="496" y="168"/>
                    <a:pt x="534" y="190"/>
                  </a:cubicBezTo>
                  <a:cubicBezTo>
                    <a:pt x="557" y="213"/>
                    <a:pt x="595" y="152"/>
                    <a:pt x="626" y="168"/>
                  </a:cubicBezTo>
                  <a:cubicBezTo>
                    <a:pt x="649" y="183"/>
                    <a:pt x="611" y="221"/>
                    <a:pt x="618" y="236"/>
                  </a:cubicBezTo>
                  <a:cubicBezTo>
                    <a:pt x="626" y="259"/>
                    <a:pt x="656" y="252"/>
                    <a:pt x="672" y="267"/>
                  </a:cubicBezTo>
                  <a:cubicBezTo>
                    <a:pt x="687" y="290"/>
                    <a:pt x="679" y="313"/>
                    <a:pt x="695" y="336"/>
                  </a:cubicBezTo>
                  <a:cubicBezTo>
                    <a:pt x="702" y="351"/>
                    <a:pt x="740" y="351"/>
                    <a:pt x="748" y="374"/>
                  </a:cubicBezTo>
                  <a:cubicBezTo>
                    <a:pt x="748" y="389"/>
                    <a:pt x="710" y="420"/>
                    <a:pt x="725" y="427"/>
                  </a:cubicBezTo>
                  <a:cubicBezTo>
                    <a:pt x="763" y="443"/>
                    <a:pt x="832" y="389"/>
                    <a:pt x="855" y="427"/>
                  </a:cubicBezTo>
                  <a:cubicBezTo>
                    <a:pt x="893" y="481"/>
                    <a:pt x="863" y="557"/>
                    <a:pt x="863" y="618"/>
                  </a:cubicBezTo>
                  <a:lnTo>
                    <a:pt x="863" y="618"/>
                  </a:lnTo>
                  <a:cubicBezTo>
                    <a:pt x="847" y="657"/>
                    <a:pt x="824" y="687"/>
                    <a:pt x="809" y="725"/>
                  </a:cubicBezTo>
                  <a:cubicBezTo>
                    <a:pt x="802" y="763"/>
                    <a:pt x="824" y="817"/>
                    <a:pt x="794" y="832"/>
                  </a:cubicBezTo>
                  <a:cubicBezTo>
                    <a:pt x="748" y="863"/>
                    <a:pt x="679" y="824"/>
                    <a:pt x="626" y="847"/>
                  </a:cubicBezTo>
                  <a:cubicBezTo>
                    <a:pt x="588" y="863"/>
                    <a:pt x="588" y="924"/>
                    <a:pt x="557" y="947"/>
                  </a:cubicBezTo>
                  <a:cubicBezTo>
                    <a:pt x="527" y="954"/>
                    <a:pt x="504" y="893"/>
                    <a:pt x="481" y="909"/>
                  </a:cubicBezTo>
                  <a:cubicBezTo>
                    <a:pt x="458" y="924"/>
                    <a:pt x="473" y="970"/>
                    <a:pt x="481" y="1000"/>
                  </a:cubicBezTo>
                  <a:cubicBezTo>
                    <a:pt x="488" y="1038"/>
                    <a:pt x="511" y="1076"/>
                    <a:pt x="527" y="1115"/>
                  </a:cubicBezTo>
                  <a:lnTo>
                    <a:pt x="527" y="1115"/>
                  </a:lnTo>
                  <a:cubicBezTo>
                    <a:pt x="504" y="1115"/>
                    <a:pt x="481" y="1130"/>
                    <a:pt x="465" y="1122"/>
                  </a:cubicBezTo>
                  <a:cubicBezTo>
                    <a:pt x="450" y="1107"/>
                    <a:pt x="458" y="1076"/>
                    <a:pt x="442" y="1069"/>
                  </a:cubicBezTo>
                  <a:cubicBezTo>
                    <a:pt x="427" y="1061"/>
                    <a:pt x="397" y="1076"/>
                    <a:pt x="381" y="1084"/>
                  </a:cubicBezTo>
                  <a:cubicBezTo>
                    <a:pt x="374" y="1092"/>
                    <a:pt x="389" y="1107"/>
                    <a:pt x="389" y="1122"/>
                  </a:cubicBezTo>
                  <a:cubicBezTo>
                    <a:pt x="381" y="1138"/>
                    <a:pt x="351" y="1138"/>
                    <a:pt x="359" y="1153"/>
                  </a:cubicBezTo>
                  <a:cubicBezTo>
                    <a:pt x="381" y="1191"/>
                    <a:pt x="420" y="1229"/>
                    <a:pt x="465" y="1237"/>
                  </a:cubicBezTo>
                  <a:cubicBezTo>
                    <a:pt x="511" y="1237"/>
                    <a:pt x="542" y="1206"/>
                    <a:pt x="580" y="1191"/>
                  </a:cubicBezTo>
                  <a:lnTo>
                    <a:pt x="580" y="1191"/>
                  </a:lnTo>
                  <a:cubicBezTo>
                    <a:pt x="588" y="1222"/>
                    <a:pt x="595" y="1252"/>
                    <a:pt x="595" y="1283"/>
                  </a:cubicBezTo>
                  <a:cubicBezTo>
                    <a:pt x="595" y="1298"/>
                    <a:pt x="603" y="1321"/>
                    <a:pt x="588" y="1321"/>
                  </a:cubicBezTo>
                  <a:cubicBezTo>
                    <a:pt x="565" y="1329"/>
                    <a:pt x="534" y="1313"/>
                    <a:pt x="504" y="1306"/>
                  </a:cubicBezTo>
                  <a:cubicBezTo>
                    <a:pt x="465" y="1290"/>
                    <a:pt x="435" y="1268"/>
                    <a:pt x="397" y="1268"/>
                  </a:cubicBezTo>
                  <a:cubicBezTo>
                    <a:pt x="389" y="1268"/>
                    <a:pt x="381" y="1283"/>
                    <a:pt x="374" y="1290"/>
                  </a:cubicBezTo>
                  <a:cubicBezTo>
                    <a:pt x="366" y="1313"/>
                    <a:pt x="366" y="1344"/>
                    <a:pt x="351" y="1359"/>
                  </a:cubicBezTo>
                  <a:cubicBezTo>
                    <a:pt x="343" y="1374"/>
                    <a:pt x="328" y="1382"/>
                    <a:pt x="313" y="1382"/>
                  </a:cubicBezTo>
                  <a:cubicBezTo>
                    <a:pt x="290" y="1374"/>
                    <a:pt x="282" y="1351"/>
                    <a:pt x="267" y="1336"/>
                  </a:cubicBezTo>
                  <a:lnTo>
                    <a:pt x="267" y="1336"/>
                  </a:lnTo>
                  <a:cubicBezTo>
                    <a:pt x="252" y="1290"/>
                    <a:pt x="244" y="1237"/>
                    <a:pt x="213" y="1206"/>
                  </a:cubicBezTo>
                  <a:cubicBezTo>
                    <a:pt x="175" y="1176"/>
                    <a:pt x="122" y="1168"/>
                    <a:pt x="84" y="1145"/>
                  </a:cubicBezTo>
                  <a:cubicBezTo>
                    <a:pt x="53" y="1130"/>
                    <a:pt x="7" y="1130"/>
                    <a:pt x="7" y="1099"/>
                  </a:cubicBezTo>
                  <a:cubicBezTo>
                    <a:pt x="0" y="1054"/>
                    <a:pt x="45" y="1023"/>
                    <a:pt x="61" y="985"/>
                  </a:cubicBezTo>
                  <a:cubicBezTo>
                    <a:pt x="68" y="977"/>
                    <a:pt x="68" y="962"/>
                    <a:pt x="76" y="954"/>
                  </a:cubicBezTo>
                  <a:lnTo>
                    <a:pt x="76" y="954"/>
                  </a:lnTo>
                  <a:cubicBezTo>
                    <a:pt x="76" y="901"/>
                    <a:pt x="76" y="847"/>
                    <a:pt x="84" y="794"/>
                  </a:cubicBezTo>
                  <a:cubicBezTo>
                    <a:pt x="84" y="771"/>
                    <a:pt x="99" y="740"/>
                    <a:pt x="106" y="718"/>
                  </a:cubicBezTo>
                  <a:cubicBezTo>
                    <a:pt x="129" y="687"/>
                    <a:pt x="183" y="664"/>
                    <a:pt x="183" y="626"/>
                  </a:cubicBezTo>
                  <a:cubicBezTo>
                    <a:pt x="183" y="595"/>
                    <a:pt x="137" y="595"/>
                    <a:pt x="122" y="565"/>
                  </a:cubicBezTo>
                  <a:cubicBezTo>
                    <a:pt x="114" y="549"/>
                    <a:pt x="129" y="527"/>
                    <a:pt x="129" y="504"/>
                  </a:cubicBezTo>
                  <a:cubicBezTo>
                    <a:pt x="114" y="465"/>
                    <a:pt x="99" y="435"/>
                    <a:pt x="84" y="404"/>
                  </a:cubicBezTo>
                  <a:lnTo>
                    <a:pt x="84" y="404"/>
                  </a:lnTo>
                  <a:cubicBezTo>
                    <a:pt x="68" y="374"/>
                    <a:pt x="38" y="343"/>
                    <a:pt x="38" y="305"/>
                  </a:cubicBezTo>
                  <a:cubicBezTo>
                    <a:pt x="38" y="274"/>
                    <a:pt x="84" y="252"/>
                    <a:pt x="91" y="213"/>
                  </a:cubicBezTo>
                  <a:cubicBezTo>
                    <a:pt x="99" y="190"/>
                    <a:pt x="84" y="160"/>
                    <a:pt x="76" y="129"/>
                  </a:cubicBezTo>
                  <a:cubicBezTo>
                    <a:pt x="76" y="129"/>
                    <a:pt x="122" y="84"/>
                    <a:pt x="129" y="84"/>
                  </a:cubicBezTo>
                  <a:cubicBezTo>
                    <a:pt x="137" y="84"/>
                    <a:pt x="236" y="137"/>
                    <a:pt x="236" y="137"/>
                  </a:cubicBezTo>
                  <a:cubicBezTo>
                    <a:pt x="236" y="107"/>
                    <a:pt x="229" y="68"/>
                    <a:pt x="244" y="45"/>
                  </a:cubicBezTo>
                  <a:cubicBezTo>
                    <a:pt x="267" y="15"/>
                    <a:pt x="305" y="15"/>
                    <a:pt x="343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51" name="Freeform 73"/>
            <p:cNvSpPr>
              <a:spLocks noChangeArrowheads="1"/>
            </p:cNvSpPr>
            <p:nvPr/>
          </p:nvSpPr>
          <p:spPr bwMode="auto">
            <a:xfrm>
              <a:off x="7690937" y="8605838"/>
              <a:ext cx="82545" cy="63500"/>
            </a:xfrm>
            <a:custGeom>
              <a:avLst/>
              <a:gdLst>
                <a:gd name="T0" fmla="*/ 229 w 230"/>
                <a:gd name="T1" fmla="*/ 130 h 177"/>
                <a:gd name="T2" fmla="*/ 229 w 230"/>
                <a:gd name="T3" fmla="*/ 130 h 177"/>
                <a:gd name="T4" fmla="*/ 176 w 230"/>
                <a:gd name="T5" fmla="*/ 54 h 177"/>
                <a:gd name="T6" fmla="*/ 176 w 230"/>
                <a:gd name="T7" fmla="*/ 54 h 177"/>
                <a:gd name="T8" fmla="*/ 114 w 230"/>
                <a:gd name="T9" fmla="*/ 61 h 177"/>
                <a:gd name="T10" fmla="*/ 91 w 230"/>
                <a:gd name="T11" fmla="*/ 8 h 177"/>
                <a:gd name="T12" fmla="*/ 30 w 230"/>
                <a:gd name="T13" fmla="*/ 23 h 177"/>
                <a:gd name="T14" fmla="*/ 38 w 230"/>
                <a:gd name="T15" fmla="*/ 61 h 177"/>
                <a:gd name="T16" fmla="*/ 8 w 230"/>
                <a:gd name="T17" fmla="*/ 92 h 177"/>
                <a:gd name="T18" fmla="*/ 114 w 230"/>
                <a:gd name="T19" fmla="*/ 176 h 177"/>
                <a:gd name="T20" fmla="*/ 229 w 230"/>
                <a:gd name="T21" fmla="*/ 13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0" h="177">
                  <a:moveTo>
                    <a:pt x="229" y="130"/>
                  </a:moveTo>
                  <a:lnTo>
                    <a:pt x="229" y="130"/>
                  </a:lnTo>
                  <a:cubicBezTo>
                    <a:pt x="176" y="54"/>
                    <a:pt x="176" y="54"/>
                    <a:pt x="176" y="54"/>
                  </a:cubicBezTo>
                  <a:lnTo>
                    <a:pt x="176" y="54"/>
                  </a:lnTo>
                  <a:cubicBezTo>
                    <a:pt x="153" y="54"/>
                    <a:pt x="130" y="69"/>
                    <a:pt x="114" y="61"/>
                  </a:cubicBezTo>
                  <a:cubicBezTo>
                    <a:pt x="99" y="46"/>
                    <a:pt x="107" y="15"/>
                    <a:pt x="91" y="8"/>
                  </a:cubicBezTo>
                  <a:cubicBezTo>
                    <a:pt x="76" y="0"/>
                    <a:pt x="46" y="15"/>
                    <a:pt x="30" y="23"/>
                  </a:cubicBezTo>
                  <a:cubicBezTo>
                    <a:pt x="23" y="31"/>
                    <a:pt x="38" y="46"/>
                    <a:pt x="38" y="61"/>
                  </a:cubicBezTo>
                  <a:cubicBezTo>
                    <a:pt x="30" y="77"/>
                    <a:pt x="0" y="77"/>
                    <a:pt x="8" y="92"/>
                  </a:cubicBezTo>
                  <a:cubicBezTo>
                    <a:pt x="30" y="130"/>
                    <a:pt x="69" y="168"/>
                    <a:pt x="114" y="176"/>
                  </a:cubicBezTo>
                  <a:cubicBezTo>
                    <a:pt x="160" y="176"/>
                    <a:pt x="191" y="145"/>
                    <a:pt x="229" y="13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52" name="Freeform 74"/>
            <p:cNvSpPr>
              <a:spLocks noChangeArrowheads="1"/>
            </p:cNvSpPr>
            <p:nvPr/>
          </p:nvSpPr>
          <p:spPr bwMode="auto">
            <a:xfrm>
              <a:off x="7549658" y="8440738"/>
              <a:ext cx="520666" cy="468312"/>
            </a:xfrm>
            <a:custGeom>
              <a:avLst/>
              <a:gdLst>
                <a:gd name="T0" fmla="*/ 619 w 1445"/>
                <a:gd name="T1" fmla="*/ 588 h 1299"/>
                <a:gd name="T2" fmla="*/ 619 w 1445"/>
                <a:gd name="T3" fmla="*/ 588 h 1299"/>
                <a:gd name="T4" fmla="*/ 566 w 1445"/>
                <a:gd name="T5" fmla="*/ 512 h 1299"/>
                <a:gd name="T6" fmla="*/ 566 w 1445"/>
                <a:gd name="T7" fmla="*/ 512 h 1299"/>
                <a:gd name="T8" fmla="*/ 520 w 1445"/>
                <a:gd name="T9" fmla="*/ 397 h 1299"/>
                <a:gd name="T10" fmla="*/ 520 w 1445"/>
                <a:gd name="T11" fmla="*/ 306 h 1299"/>
                <a:gd name="T12" fmla="*/ 596 w 1445"/>
                <a:gd name="T13" fmla="*/ 344 h 1299"/>
                <a:gd name="T14" fmla="*/ 665 w 1445"/>
                <a:gd name="T15" fmla="*/ 244 h 1299"/>
                <a:gd name="T16" fmla="*/ 833 w 1445"/>
                <a:gd name="T17" fmla="*/ 229 h 1299"/>
                <a:gd name="T18" fmla="*/ 848 w 1445"/>
                <a:gd name="T19" fmla="*/ 122 h 1299"/>
                <a:gd name="T20" fmla="*/ 902 w 1445"/>
                <a:gd name="T21" fmla="*/ 15 h 1299"/>
                <a:gd name="T22" fmla="*/ 902 w 1445"/>
                <a:gd name="T23" fmla="*/ 15 h 1299"/>
                <a:gd name="T24" fmla="*/ 955 w 1445"/>
                <a:gd name="T25" fmla="*/ 115 h 1299"/>
                <a:gd name="T26" fmla="*/ 1054 w 1445"/>
                <a:gd name="T27" fmla="*/ 15 h 1299"/>
                <a:gd name="T28" fmla="*/ 1169 w 1445"/>
                <a:gd name="T29" fmla="*/ 38 h 1299"/>
                <a:gd name="T30" fmla="*/ 1146 w 1445"/>
                <a:gd name="T31" fmla="*/ 137 h 1299"/>
                <a:gd name="T32" fmla="*/ 1238 w 1445"/>
                <a:gd name="T33" fmla="*/ 198 h 1299"/>
                <a:gd name="T34" fmla="*/ 1238 w 1445"/>
                <a:gd name="T35" fmla="*/ 198 h 1299"/>
                <a:gd name="T36" fmla="*/ 1291 w 1445"/>
                <a:gd name="T37" fmla="*/ 260 h 1299"/>
                <a:gd name="T38" fmla="*/ 1329 w 1445"/>
                <a:gd name="T39" fmla="*/ 382 h 1299"/>
                <a:gd name="T40" fmla="*/ 1345 w 1445"/>
                <a:gd name="T41" fmla="*/ 504 h 1299"/>
                <a:gd name="T42" fmla="*/ 1421 w 1445"/>
                <a:gd name="T43" fmla="*/ 519 h 1299"/>
                <a:gd name="T44" fmla="*/ 1406 w 1445"/>
                <a:gd name="T45" fmla="*/ 680 h 1299"/>
                <a:gd name="T46" fmla="*/ 1345 w 1445"/>
                <a:gd name="T47" fmla="*/ 741 h 1299"/>
                <a:gd name="T48" fmla="*/ 1184 w 1445"/>
                <a:gd name="T49" fmla="*/ 787 h 1299"/>
                <a:gd name="T50" fmla="*/ 1115 w 1445"/>
                <a:gd name="T51" fmla="*/ 947 h 1299"/>
                <a:gd name="T52" fmla="*/ 1161 w 1445"/>
                <a:gd name="T53" fmla="*/ 1085 h 1299"/>
                <a:gd name="T54" fmla="*/ 1161 w 1445"/>
                <a:gd name="T55" fmla="*/ 1085 h 1299"/>
                <a:gd name="T56" fmla="*/ 1093 w 1445"/>
                <a:gd name="T57" fmla="*/ 1062 h 1299"/>
                <a:gd name="T58" fmla="*/ 932 w 1445"/>
                <a:gd name="T59" fmla="*/ 1069 h 1299"/>
                <a:gd name="T60" fmla="*/ 902 w 1445"/>
                <a:gd name="T61" fmla="*/ 1115 h 1299"/>
                <a:gd name="T62" fmla="*/ 795 w 1445"/>
                <a:gd name="T63" fmla="*/ 1184 h 1299"/>
                <a:gd name="T64" fmla="*/ 695 w 1445"/>
                <a:gd name="T65" fmla="*/ 1192 h 1299"/>
                <a:gd name="T66" fmla="*/ 581 w 1445"/>
                <a:gd name="T67" fmla="*/ 1245 h 1299"/>
                <a:gd name="T68" fmla="*/ 474 w 1445"/>
                <a:gd name="T69" fmla="*/ 1253 h 1299"/>
                <a:gd name="T70" fmla="*/ 436 w 1445"/>
                <a:gd name="T71" fmla="*/ 1215 h 1299"/>
                <a:gd name="T72" fmla="*/ 405 w 1445"/>
                <a:gd name="T73" fmla="*/ 1283 h 1299"/>
                <a:gd name="T74" fmla="*/ 405 w 1445"/>
                <a:gd name="T75" fmla="*/ 1283 h 1299"/>
                <a:gd name="T76" fmla="*/ 359 w 1445"/>
                <a:gd name="T77" fmla="*/ 1283 h 1299"/>
                <a:gd name="T78" fmla="*/ 329 w 1445"/>
                <a:gd name="T79" fmla="*/ 1146 h 1299"/>
                <a:gd name="T80" fmla="*/ 382 w 1445"/>
                <a:gd name="T81" fmla="*/ 1100 h 1299"/>
                <a:gd name="T82" fmla="*/ 314 w 1445"/>
                <a:gd name="T83" fmla="*/ 1069 h 1299"/>
                <a:gd name="T84" fmla="*/ 291 w 1445"/>
                <a:gd name="T85" fmla="*/ 955 h 1299"/>
                <a:gd name="T86" fmla="*/ 123 w 1445"/>
                <a:gd name="T87" fmla="*/ 886 h 1299"/>
                <a:gd name="T88" fmla="*/ 100 w 1445"/>
                <a:gd name="T89" fmla="*/ 787 h 1299"/>
                <a:gd name="T90" fmla="*/ 31 w 1445"/>
                <a:gd name="T91" fmla="*/ 726 h 1299"/>
                <a:gd name="T92" fmla="*/ 8 w 1445"/>
                <a:gd name="T93" fmla="*/ 680 h 1299"/>
                <a:gd name="T94" fmla="*/ 77 w 1445"/>
                <a:gd name="T95" fmla="*/ 649 h 1299"/>
                <a:gd name="T96" fmla="*/ 130 w 1445"/>
                <a:gd name="T97" fmla="*/ 741 h 1299"/>
                <a:gd name="T98" fmla="*/ 237 w 1445"/>
                <a:gd name="T99" fmla="*/ 771 h 1299"/>
                <a:gd name="T100" fmla="*/ 306 w 1445"/>
                <a:gd name="T101" fmla="*/ 733 h 1299"/>
                <a:gd name="T102" fmla="*/ 306 w 1445"/>
                <a:gd name="T103" fmla="*/ 733 h 1299"/>
                <a:gd name="T104" fmla="*/ 352 w 1445"/>
                <a:gd name="T105" fmla="*/ 779 h 1299"/>
                <a:gd name="T106" fmla="*/ 390 w 1445"/>
                <a:gd name="T107" fmla="*/ 756 h 1299"/>
                <a:gd name="T108" fmla="*/ 413 w 1445"/>
                <a:gd name="T109" fmla="*/ 687 h 1299"/>
                <a:gd name="T110" fmla="*/ 436 w 1445"/>
                <a:gd name="T111" fmla="*/ 665 h 1299"/>
                <a:gd name="T112" fmla="*/ 543 w 1445"/>
                <a:gd name="T113" fmla="*/ 703 h 1299"/>
                <a:gd name="T114" fmla="*/ 627 w 1445"/>
                <a:gd name="T115" fmla="*/ 718 h 1299"/>
                <a:gd name="T116" fmla="*/ 634 w 1445"/>
                <a:gd name="T117" fmla="*/ 680 h 1299"/>
                <a:gd name="T118" fmla="*/ 619 w 1445"/>
                <a:gd name="T119" fmla="*/ 588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45" h="1299">
                  <a:moveTo>
                    <a:pt x="619" y="588"/>
                  </a:moveTo>
                  <a:lnTo>
                    <a:pt x="619" y="588"/>
                  </a:lnTo>
                  <a:cubicBezTo>
                    <a:pt x="566" y="512"/>
                    <a:pt x="566" y="512"/>
                    <a:pt x="566" y="512"/>
                  </a:cubicBezTo>
                  <a:lnTo>
                    <a:pt x="566" y="512"/>
                  </a:lnTo>
                  <a:cubicBezTo>
                    <a:pt x="550" y="473"/>
                    <a:pt x="527" y="435"/>
                    <a:pt x="520" y="397"/>
                  </a:cubicBezTo>
                  <a:cubicBezTo>
                    <a:pt x="512" y="367"/>
                    <a:pt x="497" y="321"/>
                    <a:pt x="520" y="306"/>
                  </a:cubicBezTo>
                  <a:cubicBezTo>
                    <a:pt x="543" y="290"/>
                    <a:pt x="566" y="351"/>
                    <a:pt x="596" y="344"/>
                  </a:cubicBezTo>
                  <a:cubicBezTo>
                    <a:pt x="627" y="321"/>
                    <a:pt x="627" y="260"/>
                    <a:pt x="665" y="244"/>
                  </a:cubicBezTo>
                  <a:cubicBezTo>
                    <a:pt x="718" y="221"/>
                    <a:pt x="787" y="260"/>
                    <a:pt x="833" y="229"/>
                  </a:cubicBezTo>
                  <a:cubicBezTo>
                    <a:pt x="863" y="214"/>
                    <a:pt x="841" y="160"/>
                    <a:pt x="848" y="122"/>
                  </a:cubicBezTo>
                  <a:cubicBezTo>
                    <a:pt x="863" y="84"/>
                    <a:pt x="886" y="54"/>
                    <a:pt x="902" y="15"/>
                  </a:cubicBezTo>
                  <a:lnTo>
                    <a:pt x="902" y="15"/>
                  </a:lnTo>
                  <a:cubicBezTo>
                    <a:pt x="925" y="46"/>
                    <a:pt x="925" y="115"/>
                    <a:pt x="955" y="115"/>
                  </a:cubicBezTo>
                  <a:cubicBezTo>
                    <a:pt x="1009" y="115"/>
                    <a:pt x="1016" y="31"/>
                    <a:pt x="1054" y="15"/>
                  </a:cubicBezTo>
                  <a:cubicBezTo>
                    <a:pt x="1093" y="0"/>
                    <a:pt x="1146" y="8"/>
                    <a:pt x="1169" y="38"/>
                  </a:cubicBezTo>
                  <a:cubicBezTo>
                    <a:pt x="1192" y="61"/>
                    <a:pt x="1138" y="107"/>
                    <a:pt x="1146" y="137"/>
                  </a:cubicBezTo>
                  <a:cubicBezTo>
                    <a:pt x="1161" y="168"/>
                    <a:pt x="1207" y="176"/>
                    <a:pt x="1238" y="198"/>
                  </a:cubicBezTo>
                  <a:lnTo>
                    <a:pt x="1238" y="198"/>
                  </a:lnTo>
                  <a:cubicBezTo>
                    <a:pt x="1253" y="214"/>
                    <a:pt x="1284" y="237"/>
                    <a:pt x="1291" y="260"/>
                  </a:cubicBezTo>
                  <a:cubicBezTo>
                    <a:pt x="1314" y="298"/>
                    <a:pt x="1322" y="336"/>
                    <a:pt x="1329" y="382"/>
                  </a:cubicBezTo>
                  <a:cubicBezTo>
                    <a:pt x="1337" y="420"/>
                    <a:pt x="1322" y="473"/>
                    <a:pt x="1345" y="504"/>
                  </a:cubicBezTo>
                  <a:cubicBezTo>
                    <a:pt x="1360" y="527"/>
                    <a:pt x="1413" y="496"/>
                    <a:pt x="1421" y="519"/>
                  </a:cubicBezTo>
                  <a:cubicBezTo>
                    <a:pt x="1444" y="565"/>
                    <a:pt x="1421" y="626"/>
                    <a:pt x="1406" y="680"/>
                  </a:cubicBezTo>
                  <a:cubicBezTo>
                    <a:pt x="1398" y="703"/>
                    <a:pt x="1375" y="733"/>
                    <a:pt x="1345" y="741"/>
                  </a:cubicBezTo>
                  <a:cubicBezTo>
                    <a:pt x="1299" y="764"/>
                    <a:pt x="1223" y="748"/>
                    <a:pt x="1184" y="787"/>
                  </a:cubicBezTo>
                  <a:cubicBezTo>
                    <a:pt x="1138" y="825"/>
                    <a:pt x="1115" y="886"/>
                    <a:pt x="1115" y="947"/>
                  </a:cubicBezTo>
                  <a:cubicBezTo>
                    <a:pt x="1108" y="993"/>
                    <a:pt x="1146" y="1039"/>
                    <a:pt x="1161" y="1085"/>
                  </a:cubicBezTo>
                  <a:lnTo>
                    <a:pt x="1161" y="1085"/>
                  </a:lnTo>
                  <a:cubicBezTo>
                    <a:pt x="1138" y="1077"/>
                    <a:pt x="1115" y="1069"/>
                    <a:pt x="1093" y="1062"/>
                  </a:cubicBezTo>
                  <a:cubicBezTo>
                    <a:pt x="1093" y="1062"/>
                    <a:pt x="948" y="1069"/>
                    <a:pt x="932" y="1069"/>
                  </a:cubicBezTo>
                  <a:cubicBezTo>
                    <a:pt x="925" y="1069"/>
                    <a:pt x="902" y="1115"/>
                    <a:pt x="902" y="1115"/>
                  </a:cubicBezTo>
                  <a:cubicBezTo>
                    <a:pt x="863" y="1138"/>
                    <a:pt x="833" y="1169"/>
                    <a:pt x="795" y="1184"/>
                  </a:cubicBezTo>
                  <a:cubicBezTo>
                    <a:pt x="764" y="1192"/>
                    <a:pt x="734" y="1184"/>
                    <a:pt x="695" y="1192"/>
                  </a:cubicBezTo>
                  <a:cubicBezTo>
                    <a:pt x="657" y="1207"/>
                    <a:pt x="619" y="1237"/>
                    <a:pt x="581" y="1245"/>
                  </a:cubicBezTo>
                  <a:cubicBezTo>
                    <a:pt x="550" y="1253"/>
                    <a:pt x="512" y="1260"/>
                    <a:pt x="474" y="1253"/>
                  </a:cubicBezTo>
                  <a:cubicBezTo>
                    <a:pt x="459" y="1245"/>
                    <a:pt x="451" y="1207"/>
                    <a:pt x="436" y="1215"/>
                  </a:cubicBezTo>
                  <a:cubicBezTo>
                    <a:pt x="405" y="1222"/>
                    <a:pt x="413" y="1260"/>
                    <a:pt x="405" y="1283"/>
                  </a:cubicBezTo>
                  <a:lnTo>
                    <a:pt x="405" y="1283"/>
                  </a:lnTo>
                  <a:cubicBezTo>
                    <a:pt x="390" y="1283"/>
                    <a:pt x="367" y="1298"/>
                    <a:pt x="359" y="1283"/>
                  </a:cubicBezTo>
                  <a:cubicBezTo>
                    <a:pt x="329" y="1245"/>
                    <a:pt x="321" y="1192"/>
                    <a:pt x="329" y="1146"/>
                  </a:cubicBezTo>
                  <a:cubicBezTo>
                    <a:pt x="329" y="1123"/>
                    <a:pt x="390" y="1130"/>
                    <a:pt x="382" y="1100"/>
                  </a:cubicBezTo>
                  <a:cubicBezTo>
                    <a:pt x="382" y="1077"/>
                    <a:pt x="329" y="1092"/>
                    <a:pt x="314" y="1069"/>
                  </a:cubicBezTo>
                  <a:cubicBezTo>
                    <a:pt x="291" y="1039"/>
                    <a:pt x="321" y="985"/>
                    <a:pt x="291" y="955"/>
                  </a:cubicBezTo>
                  <a:cubicBezTo>
                    <a:pt x="252" y="917"/>
                    <a:pt x="168" y="924"/>
                    <a:pt x="123" y="886"/>
                  </a:cubicBezTo>
                  <a:cubicBezTo>
                    <a:pt x="100" y="863"/>
                    <a:pt x="115" y="817"/>
                    <a:pt x="100" y="787"/>
                  </a:cubicBezTo>
                  <a:cubicBezTo>
                    <a:pt x="84" y="764"/>
                    <a:pt x="54" y="748"/>
                    <a:pt x="31" y="726"/>
                  </a:cubicBezTo>
                  <a:cubicBezTo>
                    <a:pt x="23" y="710"/>
                    <a:pt x="0" y="695"/>
                    <a:pt x="8" y="680"/>
                  </a:cubicBezTo>
                  <a:cubicBezTo>
                    <a:pt x="16" y="657"/>
                    <a:pt x="54" y="634"/>
                    <a:pt x="77" y="649"/>
                  </a:cubicBezTo>
                  <a:cubicBezTo>
                    <a:pt x="107" y="665"/>
                    <a:pt x="100" y="718"/>
                    <a:pt x="130" y="741"/>
                  </a:cubicBezTo>
                  <a:cubicBezTo>
                    <a:pt x="161" y="764"/>
                    <a:pt x="199" y="779"/>
                    <a:pt x="237" y="771"/>
                  </a:cubicBezTo>
                  <a:cubicBezTo>
                    <a:pt x="268" y="771"/>
                    <a:pt x="283" y="748"/>
                    <a:pt x="306" y="733"/>
                  </a:cubicBezTo>
                  <a:lnTo>
                    <a:pt x="306" y="733"/>
                  </a:lnTo>
                  <a:cubicBezTo>
                    <a:pt x="321" y="748"/>
                    <a:pt x="329" y="771"/>
                    <a:pt x="352" y="779"/>
                  </a:cubicBezTo>
                  <a:cubicBezTo>
                    <a:pt x="367" y="779"/>
                    <a:pt x="382" y="771"/>
                    <a:pt x="390" y="756"/>
                  </a:cubicBezTo>
                  <a:cubicBezTo>
                    <a:pt x="405" y="741"/>
                    <a:pt x="405" y="710"/>
                    <a:pt x="413" y="687"/>
                  </a:cubicBezTo>
                  <a:cubicBezTo>
                    <a:pt x="420" y="680"/>
                    <a:pt x="428" y="665"/>
                    <a:pt x="436" y="665"/>
                  </a:cubicBezTo>
                  <a:cubicBezTo>
                    <a:pt x="474" y="665"/>
                    <a:pt x="504" y="687"/>
                    <a:pt x="543" y="703"/>
                  </a:cubicBezTo>
                  <a:cubicBezTo>
                    <a:pt x="573" y="710"/>
                    <a:pt x="604" y="726"/>
                    <a:pt x="627" y="718"/>
                  </a:cubicBezTo>
                  <a:cubicBezTo>
                    <a:pt x="642" y="718"/>
                    <a:pt x="634" y="695"/>
                    <a:pt x="634" y="680"/>
                  </a:cubicBezTo>
                  <a:cubicBezTo>
                    <a:pt x="634" y="649"/>
                    <a:pt x="627" y="619"/>
                    <a:pt x="619" y="58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53" name="Freeform 75"/>
            <p:cNvSpPr>
              <a:spLocks noChangeArrowheads="1"/>
            </p:cNvSpPr>
            <p:nvPr/>
          </p:nvSpPr>
          <p:spPr bwMode="auto">
            <a:xfrm>
              <a:off x="7313137" y="8415339"/>
              <a:ext cx="393674" cy="585787"/>
            </a:xfrm>
            <a:custGeom>
              <a:avLst/>
              <a:gdLst>
                <a:gd name="T0" fmla="*/ 23 w 1094"/>
                <a:gd name="T1" fmla="*/ 199 h 1628"/>
                <a:gd name="T2" fmla="*/ 161 w 1094"/>
                <a:gd name="T3" fmla="*/ 77 h 1628"/>
                <a:gd name="T4" fmla="*/ 283 w 1094"/>
                <a:gd name="T5" fmla="*/ 23 h 1628"/>
                <a:gd name="T6" fmla="*/ 405 w 1094"/>
                <a:gd name="T7" fmla="*/ 123 h 1628"/>
                <a:gd name="T8" fmla="*/ 444 w 1094"/>
                <a:gd name="T9" fmla="*/ 214 h 1628"/>
                <a:gd name="T10" fmla="*/ 604 w 1094"/>
                <a:gd name="T11" fmla="*/ 405 h 1628"/>
                <a:gd name="T12" fmla="*/ 772 w 1094"/>
                <a:gd name="T13" fmla="*/ 420 h 1628"/>
                <a:gd name="T14" fmla="*/ 757 w 1094"/>
                <a:gd name="T15" fmla="*/ 451 h 1628"/>
                <a:gd name="T16" fmla="*/ 780 w 1094"/>
                <a:gd name="T17" fmla="*/ 611 h 1628"/>
                <a:gd name="T18" fmla="*/ 963 w 1094"/>
                <a:gd name="T19" fmla="*/ 802 h 1628"/>
                <a:gd name="T20" fmla="*/ 894 w 1094"/>
                <a:gd name="T21" fmla="*/ 840 h 1628"/>
                <a:gd name="T22" fmla="*/ 734 w 1094"/>
                <a:gd name="T23" fmla="*/ 718 h 1628"/>
                <a:gd name="T24" fmla="*/ 688 w 1094"/>
                <a:gd name="T25" fmla="*/ 795 h 1628"/>
                <a:gd name="T26" fmla="*/ 780 w 1094"/>
                <a:gd name="T27" fmla="*/ 955 h 1628"/>
                <a:gd name="T28" fmla="*/ 971 w 1094"/>
                <a:gd name="T29" fmla="*/ 1138 h 1628"/>
                <a:gd name="T30" fmla="*/ 986 w 1094"/>
                <a:gd name="T31" fmla="*/ 1215 h 1628"/>
                <a:gd name="T32" fmla="*/ 1062 w 1094"/>
                <a:gd name="T33" fmla="*/ 1352 h 1628"/>
                <a:gd name="T34" fmla="*/ 1093 w 1094"/>
                <a:gd name="T35" fmla="*/ 1444 h 1628"/>
                <a:gd name="T36" fmla="*/ 1085 w 1094"/>
                <a:gd name="T37" fmla="*/ 1559 h 1628"/>
                <a:gd name="T38" fmla="*/ 1070 w 1094"/>
                <a:gd name="T39" fmla="*/ 1612 h 1628"/>
                <a:gd name="T40" fmla="*/ 1009 w 1094"/>
                <a:gd name="T41" fmla="*/ 1566 h 1628"/>
                <a:gd name="T42" fmla="*/ 917 w 1094"/>
                <a:gd name="T43" fmla="*/ 1528 h 1628"/>
                <a:gd name="T44" fmla="*/ 818 w 1094"/>
                <a:gd name="T45" fmla="*/ 1536 h 1628"/>
                <a:gd name="T46" fmla="*/ 841 w 1094"/>
                <a:gd name="T47" fmla="*/ 1597 h 1628"/>
                <a:gd name="T48" fmla="*/ 741 w 1094"/>
                <a:gd name="T49" fmla="*/ 1566 h 1628"/>
                <a:gd name="T50" fmla="*/ 719 w 1094"/>
                <a:gd name="T51" fmla="*/ 1406 h 1628"/>
                <a:gd name="T52" fmla="*/ 596 w 1094"/>
                <a:gd name="T53" fmla="*/ 1459 h 1628"/>
                <a:gd name="T54" fmla="*/ 527 w 1094"/>
                <a:gd name="T55" fmla="*/ 1490 h 1628"/>
                <a:gd name="T56" fmla="*/ 436 w 1094"/>
                <a:gd name="T57" fmla="*/ 1482 h 1628"/>
                <a:gd name="T58" fmla="*/ 352 w 1094"/>
                <a:gd name="T59" fmla="*/ 1314 h 1628"/>
                <a:gd name="T60" fmla="*/ 337 w 1094"/>
                <a:gd name="T61" fmla="*/ 1245 h 1628"/>
                <a:gd name="T62" fmla="*/ 413 w 1094"/>
                <a:gd name="T63" fmla="*/ 1062 h 1628"/>
                <a:gd name="T64" fmla="*/ 298 w 1094"/>
                <a:gd name="T65" fmla="*/ 863 h 1628"/>
                <a:gd name="T66" fmla="*/ 46 w 1094"/>
                <a:gd name="T67" fmla="*/ 795 h 1628"/>
                <a:gd name="T68" fmla="*/ 146 w 1094"/>
                <a:gd name="T69" fmla="*/ 657 h 1628"/>
                <a:gd name="T70" fmla="*/ 123 w 1094"/>
                <a:gd name="T71" fmla="*/ 375 h 1628"/>
                <a:gd name="T72" fmla="*/ 123 w 1094"/>
                <a:gd name="T73" fmla="*/ 229 h 1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94" h="1628">
                  <a:moveTo>
                    <a:pt x="23" y="199"/>
                  </a:moveTo>
                  <a:lnTo>
                    <a:pt x="23" y="199"/>
                  </a:lnTo>
                  <a:cubicBezTo>
                    <a:pt x="23" y="176"/>
                    <a:pt x="0" y="138"/>
                    <a:pt x="23" y="115"/>
                  </a:cubicBezTo>
                  <a:cubicBezTo>
                    <a:pt x="62" y="84"/>
                    <a:pt x="115" y="100"/>
                    <a:pt x="161" y="77"/>
                  </a:cubicBezTo>
                  <a:cubicBezTo>
                    <a:pt x="169" y="77"/>
                    <a:pt x="161" y="54"/>
                    <a:pt x="169" y="54"/>
                  </a:cubicBezTo>
                  <a:cubicBezTo>
                    <a:pt x="199" y="31"/>
                    <a:pt x="245" y="0"/>
                    <a:pt x="283" y="23"/>
                  </a:cubicBezTo>
                  <a:cubicBezTo>
                    <a:pt x="329" y="46"/>
                    <a:pt x="306" y="130"/>
                    <a:pt x="352" y="168"/>
                  </a:cubicBezTo>
                  <a:cubicBezTo>
                    <a:pt x="367" y="184"/>
                    <a:pt x="390" y="138"/>
                    <a:pt x="405" y="123"/>
                  </a:cubicBezTo>
                  <a:lnTo>
                    <a:pt x="405" y="123"/>
                  </a:lnTo>
                  <a:cubicBezTo>
                    <a:pt x="421" y="153"/>
                    <a:pt x="428" y="184"/>
                    <a:pt x="444" y="214"/>
                  </a:cubicBezTo>
                  <a:cubicBezTo>
                    <a:pt x="451" y="245"/>
                    <a:pt x="459" y="283"/>
                    <a:pt x="482" y="306"/>
                  </a:cubicBezTo>
                  <a:cubicBezTo>
                    <a:pt x="512" y="344"/>
                    <a:pt x="550" y="390"/>
                    <a:pt x="604" y="405"/>
                  </a:cubicBezTo>
                  <a:cubicBezTo>
                    <a:pt x="627" y="413"/>
                    <a:pt x="650" y="367"/>
                    <a:pt x="680" y="367"/>
                  </a:cubicBezTo>
                  <a:cubicBezTo>
                    <a:pt x="711" y="375"/>
                    <a:pt x="741" y="405"/>
                    <a:pt x="772" y="420"/>
                  </a:cubicBezTo>
                  <a:lnTo>
                    <a:pt x="772" y="420"/>
                  </a:lnTo>
                  <a:cubicBezTo>
                    <a:pt x="764" y="428"/>
                    <a:pt x="764" y="443"/>
                    <a:pt x="757" y="451"/>
                  </a:cubicBezTo>
                  <a:cubicBezTo>
                    <a:pt x="741" y="489"/>
                    <a:pt x="696" y="520"/>
                    <a:pt x="703" y="565"/>
                  </a:cubicBezTo>
                  <a:cubicBezTo>
                    <a:pt x="703" y="596"/>
                    <a:pt x="749" y="596"/>
                    <a:pt x="780" y="611"/>
                  </a:cubicBezTo>
                  <a:cubicBezTo>
                    <a:pt x="818" y="634"/>
                    <a:pt x="871" y="642"/>
                    <a:pt x="909" y="672"/>
                  </a:cubicBezTo>
                  <a:cubicBezTo>
                    <a:pt x="940" y="703"/>
                    <a:pt x="948" y="756"/>
                    <a:pt x="963" y="802"/>
                  </a:cubicBezTo>
                  <a:lnTo>
                    <a:pt x="963" y="802"/>
                  </a:lnTo>
                  <a:cubicBezTo>
                    <a:pt x="940" y="817"/>
                    <a:pt x="925" y="840"/>
                    <a:pt x="894" y="840"/>
                  </a:cubicBezTo>
                  <a:cubicBezTo>
                    <a:pt x="856" y="848"/>
                    <a:pt x="818" y="833"/>
                    <a:pt x="787" y="810"/>
                  </a:cubicBezTo>
                  <a:cubicBezTo>
                    <a:pt x="757" y="787"/>
                    <a:pt x="764" y="734"/>
                    <a:pt x="734" y="718"/>
                  </a:cubicBezTo>
                  <a:cubicBezTo>
                    <a:pt x="711" y="703"/>
                    <a:pt x="673" y="726"/>
                    <a:pt x="665" y="749"/>
                  </a:cubicBezTo>
                  <a:cubicBezTo>
                    <a:pt x="657" y="764"/>
                    <a:pt x="680" y="779"/>
                    <a:pt x="688" y="795"/>
                  </a:cubicBezTo>
                  <a:cubicBezTo>
                    <a:pt x="711" y="817"/>
                    <a:pt x="741" y="833"/>
                    <a:pt x="757" y="856"/>
                  </a:cubicBezTo>
                  <a:cubicBezTo>
                    <a:pt x="772" y="886"/>
                    <a:pt x="757" y="932"/>
                    <a:pt x="780" y="955"/>
                  </a:cubicBezTo>
                  <a:cubicBezTo>
                    <a:pt x="825" y="993"/>
                    <a:pt x="909" y="986"/>
                    <a:pt x="948" y="1024"/>
                  </a:cubicBezTo>
                  <a:cubicBezTo>
                    <a:pt x="978" y="1054"/>
                    <a:pt x="948" y="1108"/>
                    <a:pt x="971" y="1138"/>
                  </a:cubicBezTo>
                  <a:cubicBezTo>
                    <a:pt x="986" y="1161"/>
                    <a:pt x="1039" y="1146"/>
                    <a:pt x="1039" y="1169"/>
                  </a:cubicBezTo>
                  <a:cubicBezTo>
                    <a:pt x="1047" y="1199"/>
                    <a:pt x="986" y="1192"/>
                    <a:pt x="986" y="1215"/>
                  </a:cubicBezTo>
                  <a:cubicBezTo>
                    <a:pt x="978" y="1261"/>
                    <a:pt x="986" y="1314"/>
                    <a:pt x="1016" y="1352"/>
                  </a:cubicBezTo>
                  <a:cubicBezTo>
                    <a:pt x="1024" y="1367"/>
                    <a:pt x="1047" y="1352"/>
                    <a:pt x="1062" y="1352"/>
                  </a:cubicBezTo>
                  <a:lnTo>
                    <a:pt x="1062" y="1352"/>
                  </a:lnTo>
                  <a:cubicBezTo>
                    <a:pt x="1070" y="1383"/>
                    <a:pt x="1093" y="1413"/>
                    <a:pt x="1093" y="1444"/>
                  </a:cubicBezTo>
                  <a:cubicBezTo>
                    <a:pt x="1093" y="1459"/>
                    <a:pt x="1070" y="1474"/>
                    <a:pt x="1070" y="1490"/>
                  </a:cubicBezTo>
                  <a:cubicBezTo>
                    <a:pt x="1070" y="1513"/>
                    <a:pt x="1085" y="1536"/>
                    <a:pt x="1085" y="1559"/>
                  </a:cubicBezTo>
                  <a:cubicBezTo>
                    <a:pt x="1085" y="1574"/>
                    <a:pt x="1077" y="1597"/>
                    <a:pt x="1070" y="1612"/>
                  </a:cubicBezTo>
                  <a:lnTo>
                    <a:pt x="1070" y="1612"/>
                  </a:lnTo>
                  <a:cubicBezTo>
                    <a:pt x="1047" y="1612"/>
                    <a:pt x="1032" y="1620"/>
                    <a:pt x="1016" y="1604"/>
                  </a:cubicBezTo>
                  <a:cubicBezTo>
                    <a:pt x="1001" y="1597"/>
                    <a:pt x="1016" y="1574"/>
                    <a:pt x="1009" y="1566"/>
                  </a:cubicBezTo>
                  <a:cubicBezTo>
                    <a:pt x="994" y="1543"/>
                    <a:pt x="971" y="1528"/>
                    <a:pt x="948" y="1520"/>
                  </a:cubicBezTo>
                  <a:cubicBezTo>
                    <a:pt x="940" y="1520"/>
                    <a:pt x="925" y="1528"/>
                    <a:pt x="917" y="1528"/>
                  </a:cubicBezTo>
                  <a:cubicBezTo>
                    <a:pt x="894" y="1528"/>
                    <a:pt x="871" y="1505"/>
                    <a:pt x="848" y="1505"/>
                  </a:cubicBezTo>
                  <a:cubicBezTo>
                    <a:pt x="833" y="1505"/>
                    <a:pt x="818" y="1520"/>
                    <a:pt x="818" y="1536"/>
                  </a:cubicBezTo>
                  <a:cubicBezTo>
                    <a:pt x="810" y="1559"/>
                    <a:pt x="833" y="1581"/>
                    <a:pt x="841" y="1597"/>
                  </a:cubicBezTo>
                  <a:lnTo>
                    <a:pt x="841" y="1597"/>
                  </a:lnTo>
                  <a:cubicBezTo>
                    <a:pt x="833" y="1604"/>
                    <a:pt x="833" y="1627"/>
                    <a:pt x="825" y="1627"/>
                  </a:cubicBezTo>
                  <a:cubicBezTo>
                    <a:pt x="795" y="1612"/>
                    <a:pt x="757" y="1597"/>
                    <a:pt x="741" y="1566"/>
                  </a:cubicBezTo>
                  <a:cubicBezTo>
                    <a:pt x="726" y="1528"/>
                    <a:pt x="764" y="1482"/>
                    <a:pt x="764" y="1436"/>
                  </a:cubicBezTo>
                  <a:cubicBezTo>
                    <a:pt x="757" y="1421"/>
                    <a:pt x="741" y="1406"/>
                    <a:pt x="719" y="1406"/>
                  </a:cubicBezTo>
                  <a:cubicBezTo>
                    <a:pt x="696" y="1406"/>
                    <a:pt x="673" y="1421"/>
                    <a:pt x="642" y="1436"/>
                  </a:cubicBezTo>
                  <a:cubicBezTo>
                    <a:pt x="627" y="1436"/>
                    <a:pt x="612" y="1451"/>
                    <a:pt x="596" y="1459"/>
                  </a:cubicBezTo>
                  <a:cubicBezTo>
                    <a:pt x="573" y="1467"/>
                    <a:pt x="550" y="1482"/>
                    <a:pt x="527" y="1490"/>
                  </a:cubicBezTo>
                  <a:lnTo>
                    <a:pt x="527" y="1490"/>
                  </a:lnTo>
                  <a:cubicBezTo>
                    <a:pt x="512" y="1474"/>
                    <a:pt x="505" y="1436"/>
                    <a:pt x="482" y="1436"/>
                  </a:cubicBezTo>
                  <a:cubicBezTo>
                    <a:pt x="459" y="1436"/>
                    <a:pt x="451" y="1467"/>
                    <a:pt x="436" y="1482"/>
                  </a:cubicBezTo>
                  <a:lnTo>
                    <a:pt x="436" y="1482"/>
                  </a:lnTo>
                  <a:cubicBezTo>
                    <a:pt x="405" y="1429"/>
                    <a:pt x="367" y="1375"/>
                    <a:pt x="352" y="1314"/>
                  </a:cubicBezTo>
                  <a:cubicBezTo>
                    <a:pt x="344" y="1291"/>
                    <a:pt x="390" y="1276"/>
                    <a:pt x="382" y="1253"/>
                  </a:cubicBezTo>
                  <a:cubicBezTo>
                    <a:pt x="375" y="1238"/>
                    <a:pt x="337" y="1261"/>
                    <a:pt x="337" y="1245"/>
                  </a:cubicBezTo>
                  <a:cubicBezTo>
                    <a:pt x="321" y="1215"/>
                    <a:pt x="321" y="1169"/>
                    <a:pt x="337" y="1138"/>
                  </a:cubicBezTo>
                  <a:cubicBezTo>
                    <a:pt x="352" y="1108"/>
                    <a:pt x="398" y="1100"/>
                    <a:pt x="413" y="1062"/>
                  </a:cubicBezTo>
                  <a:cubicBezTo>
                    <a:pt x="428" y="1024"/>
                    <a:pt x="436" y="978"/>
                    <a:pt x="413" y="940"/>
                  </a:cubicBezTo>
                  <a:cubicBezTo>
                    <a:pt x="390" y="902"/>
                    <a:pt x="344" y="879"/>
                    <a:pt x="298" y="863"/>
                  </a:cubicBezTo>
                  <a:cubicBezTo>
                    <a:pt x="260" y="856"/>
                    <a:pt x="214" y="894"/>
                    <a:pt x="176" y="879"/>
                  </a:cubicBezTo>
                  <a:cubicBezTo>
                    <a:pt x="130" y="863"/>
                    <a:pt x="77" y="840"/>
                    <a:pt x="46" y="795"/>
                  </a:cubicBezTo>
                  <a:cubicBezTo>
                    <a:pt x="23" y="756"/>
                    <a:pt x="8" y="688"/>
                    <a:pt x="31" y="650"/>
                  </a:cubicBezTo>
                  <a:cubicBezTo>
                    <a:pt x="54" y="619"/>
                    <a:pt x="130" y="688"/>
                    <a:pt x="146" y="657"/>
                  </a:cubicBezTo>
                  <a:cubicBezTo>
                    <a:pt x="161" y="611"/>
                    <a:pt x="92" y="565"/>
                    <a:pt x="92" y="520"/>
                  </a:cubicBezTo>
                  <a:cubicBezTo>
                    <a:pt x="85" y="466"/>
                    <a:pt x="123" y="428"/>
                    <a:pt x="123" y="375"/>
                  </a:cubicBezTo>
                  <a:cubicBezTo>
                    <a:pt x="123" y="359"/>
                    <a:pt x="85" y="382"/>
                    <a:pt x="85" y="367"/>
                  </a:cubicBezTo>
                  <a:cubicBezTo>
                    <a:pt x="85" y="321"/>
                    <a:pt x="138" y="275"/>
                    <a:pt x="123" y="229"/>
                  </a:cubicBezTo>
                  <a:cubicBezTo>
                    <a:pt x="108" y="199"/>
                    <a:pt x="54" y="206"/>
                    <a:pt x="23" y="199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54" name="Freeform 76"/>
            <p:cNvSpPr>
              <a:spLocks noChangeArrowheads="1"/>
            </p:cNvSpPr>
            <p:nvPr/>
          </p:nvSpPr>
          <p:spPr bwMode="auto">
            <a:xfrm>
              <a:off x="7011532" y="8351839"/>
              <a:ext cx="473044" cy="674687"/>
            </a:xfrm>
            <a:custGeom>
              <a:avLst/>
              <a:gdLst>
                <a:gd name="T0" fmla="*/ 527 w 1315"/>
                <a:gd name="T1" fmla="*/ 0 h 1872"/>
                <a:gd name="T2" fmla="*/ 558 w 1315"/>
                <a:gd name="T3" fmla="*/ 198 h 1872"/>
                <a:gd name="T4" fmla="*/ 619 w 1315"/>
                <a:gd name="T5" fmla="*/ 420 h 1872"/>
                <a:gd name="T6" fmla="*/ 688 w 1315"/>
                <a:gd name="T7" fmla="*/ 465 h 1872"/>
                <a:gd name="T8" fmla="*/ 840 w 1315"/>
                <a:gd name="T9" fmla="*/ 412 h 1872"/>
                <a:gd name="T10" fmla="*/ 863 w 1315"/>
                <a:gd name="T11" fmla="*/ 374 h 1872"/>
                <a:gd name="T12" fmla="*/ 925 w 1315"/>
                <a:gd name="T13" fmla="*/ 542 h 1872"/>
                <a:gd name="T14" fmla="*/ 932 w 1315"/>
                <a:gd name="T15" fmla="*/ 695 h 1872"/>
                <a:gd name="T16" fmla="*/ 871 w 1315"/>
                <a:gd name="T17" fmla="*/ 825 h 1872"/>
                <a:gd name="T18" fmla="*/ 1016 w 1315"/>
                <a:gd name="T19" fmla="*/ 1054 h 1872"/>
                <a:gd name="T20" fmla="*/ 1253 w 1315"/>
                <a:gd name="T21" fmla="*/ 1115 h 1872"/>
                <a:gd name="T22" fmla="*/ 1177 w 1315"/>
                <a:gd name="T23" fmla="*/ 1313 h 1872"/>
                <a:gd name="T24" fmla="*/ 1222 w 1315"/>
                <a:gd name="T25" fmla="*/ 1428 h 1872"/>
                <a:gd name="T26" fmla="*/ 1276 w 1315"/>
                <a:gd name="T27" fmla="*/ 1657 h 1872"/>
                <a:gd name="T28" fmla="*/ 1314 w 1315"/>
                <a:gd name="T29" fmla="*/ 1764 h 1872"/>
                <a:gd name="T30" fmla="*/ 1230 w 1315"/>
                <a:gd name="T31" fmla="*/ 1871 h 1872"/>
                <a:gd name="T32" fmla="*/ 1200 w 1315"/>
                <a:gd name="T33" fmla="*/ 1825 h 1872"/>
                <a:gd name="T34" fmla="*/ 1131 w 1315"/>
                <a:gd name="T35" fmla="*/ 1810 h 1872"/>
                <a:gd name="T36" fmla="*/ 1070 w 1315"/>
                <a:gd name="T37" fmla="*/ 1833 h 1872"/>
                <a:gd name="T38" fmla="*/ 1047 w 1315"/>
                <a:gd name="T39" fmla="*/ 1787 h 1872"/>
                <a:gd name="T40" fmla="*/ 909 w 1315"/>
                <a:gd name="T41" fmla="*/ 1718 h 1872"/>
                <a:gd name="T42" fmla="*/ 817 w 1315"/>
                <a:gd name="T43" fmla="*/ 1695 h 1872"/>
                <a:gd name="T44" fmla="*/ 619 w 1315"/>
                <a:gd name="T45" fmla="*/ 1611 h 1872"/>
                <a:gd name="T46" fmla="*/ 581 w 1315"/>
                <a:gd name="T47" fmla="*/ 1634 h 1872"/>
                <a:gd name="T48" fmla="*/ 413 w 1315"/>
                <a:gd name="T49" fmla="*/ 1680 h 1872"/>
                <a:gd name="T50" fmla="*/ 260 w 1315"/>
                <a:gd name="T51" fmla="*/ 1626 h 1872"/>
                <a:gd name="T52" fmla="*/ 222 w 1315"/>
                <a:gd name="T53" fmla="*/ 1695 h 1872"/>
                <a:gd name="T54" fmla="*/ 184 w 1315"/>
                <a:gd name="T55" fmla="*/ 1711 h 1872"/>
                <a:gd name="T56" fmla="*/ 69 w 1315"/>
                <a:gd name="T57" fmla="*/ 1573 h 1872"/>
                <a:gd name="T58" fmla="*/ 107 w 1315"/>
                <a:gd name="T59" fmla="*/ 1428 h 1872"/>
                <a:gd name="T60" fmla="*/ 69 w 1315"/>
                <a:gd name="T61" fmla="*/ 1306 h 1872"/>
                <a:gd name="T62" fmla="*/ 84 w 1315"/>
                <a:gd name="T63" fmla="*/ 1275 h 1872"/>
                <a:gd name="T64" fmla="*/ 46 w 1315"/>
                <a:gd name="T65" fmla="*/ 1145 h 1872"/>
                <a:gd name="T66" fmla="*/ 31 w 1315"/>
                <a:gd name="T67" fmla="*/ 924 h 1872"/>
                <a:gd name="T68" fmla="*/ 31 w 1315"/>
                <a:gd name="T69" fmla="*/ 702 h 1872"/>
                <a:gd name="T70" fmla="*/ 77 w 1315"/>
                <a:gd name="T71" fmla="*/ 649 h 1872"/>
                <a:gd name="T72" fmla="*/ 46 w 1315"/>
                <a:gd name="T73" fmla="*/ 550 h 1872"/>
                <a:gd name="T74" fmla="*/ 23 w 1315"/>
                <a:gd name="T75" fmla="*/ 488 h 1872"/>
                <a:gd name="T76" fmla="*/ 222 w 1315"/>
                <a:gd name="T77" fmla="*/ 465 h 1872"/>
                <a:gd name="T78" fmla="*/ 436 w 1315"/>
                <a:gd name="T79" fmla="*/ 183 h 1872"/>
                <a:gd name="T80" fmla="*/ 489 w 1315"/>
                <a:gd name="T81" fmla="*/ 76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15" h="1872">
                  <a:moveTo>
                    <a:pt x="527" y="0"/>
                  </a:moveTo>
                  <a:lnTo>
                    <a:pt x="527" y="0"/>
                  </a:lnTo>
                  <a:cubicBezTo>
                    <a:pt x="573" y="53"/>
                    <a:pt x="650" y="99"/>
                    <a:pt x="657" y="168"/>
                  </a:cubicBezTo>
                  <a:cubicBezTo>
                    <a:pt x="665" y="206"/>
                    <a:pt x="565" y="168"/>
                    <a:pt x="558" y="198"/>
                  </a:cubicBezTo>
                  <a:cubicBezTo>
                    <a:pt x="543" y="244"/>
                    <a:pt x="588" y="282"/>
                    <a:pt x="604" y="328"/>
                  </a:cubicBezTo>
                  <a:cubicBezTo>
                    <a:pt x="611" y="359"/>
                    <a:pt x="619" y="389"/>
                    <a:pt x="619" y="420"/>
                  </a:cubicBezTo>
                  <a:cubicBezTo>
                    <a:pt x="619" y="435"/>
                    <a:pt x="596" y="458"/>
                    <a:pt x="611" y="465"/>
                  </a:cubicBezTo>
                  <a:cubicBezTo>
                    <a:pt x="634" y="481"/>
                    <a:pt x="665" y="465"/>
                    <a:pt x="688" y="465"/>
                  </a:cubicBezTo>
                  <a:cubicBezTo>
                    <a:pt x="718" y="465"/>
                    <a:pt x="756" y="465"/>
                    <a:pt x="779" y="458"/>
                  </a:cubicBezTo>
                  <a:cubicBezTo>
                    <a:pt x="802" y="450"/>
                    <a:pt x="817" y="435"/>
                    <a:pt x="840" y="412"/>
                  </a:cubicBezTo>
                  <a:cubicBezTo>
                    <a:pt x="848" y="404"/>
                    <a:pt x="856" y="389"/>
                    <a:pt x="863" y="374"/>
                  </a:cubicBezTo>
                  <a:lnTo>
                    <a:pt x="863" y="374"/>
                  </a:lnTo>
                  <a:cubicBezTo>
                    <a:pt x="894" y="381"/>
                    <a:pt x="948" y="374"/>
                    <a:pt x="963" y="404"/>
                  </a:cubicBezTo>
                  <a:cubicBezTo>
                    <a:pt x="978" y="450"/>
                    <a:pt x="925" y="496"/>
                    <a:pt x="925" y="542"/>
                  </a:cubicBezTo>
                  <a:cubicBezTo>
                    <a:pt x="925" y="557"/>
                    <a:pt x="963" y="534"/>
                    <a:pt x="963" y="550"/>
                  </a:cubicBezTo>
                  <a:cubicBezTo>
                    <a:pt x="963" y="603"/>
                    <a:pt x="925" y="641"/>
                    <a:pt x="932" y="695"/>
                  </a:cubicBezTo>
                  <a:cubicBezTo>
                    <a:pt x="932" y="740"/>
                    <a:pt x="1001" y="786"/>
                    <a:pt x="986" y="832"/>
                  </a:cubicBezTo>
                  <a:cubicBezTo>
                    <a:pt x="970" y="863"/>
                    <a:pt x="894" y="794"/>
                    <a:pt x="871" y="825"/>
                  </a:cubicBezTo>
                  <a:cubicBezTo>
                    <a:pt x="848" y="863"/>
                    <a:pt x="863" y="931"/>
                    <a:pt x="886" y="970"/>
                  </a:cubicBezTo>
                  <a:cubicBezTo>
                    <a:pt x="917" y="1015"/>
                    <a:pt x="970" y="1038"/>
                    <a:pt x="1016" y="1054"/>
                  </a:cubicBezTo>
                  <a:cubicBezTo>
                    <a:pt x="1054" y="1069"/>
                    <a:pt x="1100" y="1031"/>
                    <a:pt x="1138" y="1038"/>
                  </a:cubicBezTo>
                  <a:cubicBezTo>
                    <a:pt x="1184" y="1054"/>
                    <a:pt x="1230" y="1077"/>
                    <a:pt x="1253" y="1115"/>
                  </a:cubicBezTo>
                  <a:cubicBezTo>
                    <a:pt x="1276" y="1153"/>
                    <a:pt x="1268" y="1199"/>
                    <a:pt x="1253" y="1237"/>
                  </a:cubicBezTo>
                  <a:cubicBezTo>
                    <a:pt x="1238" y="1275"/>
                    <a:pt x="1192" y="1283"/>
                    <a:pt x="1177" y="1313"/>
                  </a:cubicBezTo>
                  <a:cubicBezTo>
                    <a:pt x="1161" y="1344"/>
                    <a:pt x="1161" y="1390"/>
                    <a:pt x="1177" y="1420"/>
                  </a:cubicBezTo>
                  <a:cubicBezTo>
                    <a:pt x="1177" y="1436"/>
                    <a:pt x="1215" y="1413"/>
                    <a:pt x="1222" y="1428"/>
                  </a:cubicBezTo>
                  <a:cubicBezTo>
                    <a:pt x="1230" y="1451"/>
                    <a:pt x="1184" y="1466"/>
                    <a:pt x="1192" y="1489"/>
                  </a:cubicBezTo>
                  <a:cubicBezTo>
                    <a:pt x="1207" y="1550"/>
                    <a:pt x="1245" y="1604"/>
                    <a:pt x="1276" y="1657"/>
                  </a:cubicBezTo>
                  <a:lnTo>
                    <a:pt x="1276" y="1657"/>
                  </a:lnTo>
                  <a:cubicBezTo>
                    <a:pt x="1291" y="1695"/>
                    <a:pt x="1314" y="1726"/>
                    <a:pt x="1314" y="1764"/>
                  </a:cubicBezTo>
                  <a:cubicBezTo>
                    <a:pt x="1314" y="1779"/>
                    <a:pt x="1284" y="1795"/>
                    <a:pt x="1268" y="1810"/>
                  </a:cubicBezTo>
                  <a:cubicBezTo>
                    <a:pt x="1253" y="1833"/>
                    <a:pt x="1245" y="1848"/>
                    <a:pt x="1230" y="1871"/>
                  </a:cubicBezTo>
                  <a:lnTo>
                    <a:pt x="1230" y="1871"/>
                  </a:lnTo>
                  <a:cubicBezTo>
                    <a:pt x="1215" y="1856"/>
                    <a:pt x="1207" y="1848"/>
                    <a:pt x="1200" y="1825"/>
                  </a:cubicBezTo>
                  <a:cubicBezTo>
                    <a:pt x="1192" y="1817"/>
                    <a:pt x="1207" y="1787"/>
                    <a:pt x="1192" y="1787"/>
                  </a:cubicBezTo>
                  <a:cubicBezTo>
                    <a:pt x="1169" y="1779"/>
                    <a:pt x="1146" y="1795"/>
                    <a:pt x="1131" y="1810"/>
                  </a:cubicBezTo>
                  <a:cubicBezTo>
                    <a:pt x="1115" y="1817"/>
                    <a:pt x="1131" y="1840"/>
                    <a:pt x="1115" y="1848"/>
                  </a:cubicBezTo>
                  <a:cubicBezTo>
                    <a:pt x="1100" y="1856"/>
                    <a:pt x="1085" y="1840"/>
                    <a:pt x="1070" y="1833"/>
                  </a:cubicBezTo>
                  <a:lnTo>
                    <a:pt x="1070" y="1833"/>
                  </a:lnTo>
                  <a:cubicBezTo>
                    <a:pt x="1062" y="1817"/>
                    <a:pt x="1062" y="1795"/>
                    <a:pt x="1047" y="1787"/>
                  </a:cubicBezTo>
                  <a:cubicBezTo>
                    <a:pt x="1024" y="1779"/>
                    <a:pt x="993" y="1810"/>
                    <a:pt x="970" y="1802"/>
                  </a:cubicBezTo>
                  <a:cubicBezTo>
                    <a:pt x="940" y="1787"/>
                    <a:pt x="917" y="1749"/>
                    <a:pt x="909" y="1718"/>
                  </a:cubicBezTo>
                  <a:cubicBezTo>
                    <a:pt x="902" y="1703"/>
                    <a:pt x="932" y="1665"/>
                    <a:pt x="909" y="1657"/>
                  </a:cubicBezTo>
                  <a:cubicBezTo>
                    <a:pt x="879" y="1649"/>
                    <a:pt x="848" y="1688"/>
                    <a:pt x="817" y="1695"/>
                  </a:cubicBezTo>
                  <a:cubicBezTo>
                    <a:pt x="795" y="1695"/>
                    <a:pt x="772" y="1680"/>
                    <a:pt x="756" y="1672"/>
                  </a:cubicBezTo>
                  <a:cubicBezTo>
                    <a:pt x="711" y="1649"/>
                    <a:pt x="665" y="1619"/>
                    <a:pt x="619" y="1611"/>
                  </a:cubicBezTo>
                  <a:cubicBezTo>
                    <a:pt x="604" y="1611"/>
                    <a:pt x="604" y="1634"/>
                    <a:pt x="596" y="1642"/>
                  </a:cubicBezTo>
                  <a:cubicBezTo>
                    <a:pt x="588" y="1642"/>
                    <a:pt x="581" y="1634"/>
                    <a:pt x="581" y="1634"/>
                  </a:cubicBezTo>
                  <a:cubicBezTo>
                    <a:pt x="558" y="1634"/>
                    <a:pt x="535" y="1649"/>
                    <a:pt x="512" y="1649"/>
                  </a:cubicBezTo>
                  <a:cubicBezTo>
                    <a:pt x="481" y="1665"/>
                    <a:pt x="443" y="1680"/>
                    <a:pt x="413" y="1680"/>
                  </a:cubicBezTo>
                  <a:cubicBezTo>
                    <a:pt x="382" y="1680"/>
                    <a:pt x="367" y="1649"/>
                    <a:pt x="336" y="1642"/>
                  </a:cubicBezTo>
                  <a:cubicBezTo>
                    <a:pt x="313" y="1634"/>
                    <a:pt x="291" y="1619"/>
                    <a:pt x="260" y="1626"/>
                  </a:cubicBezTo>
                  <a:cubicBezTo>
                    <a:pt x="237" y="1634"/>
                    <a:pt x="237" y="1672"/>
                    <a:pt x="222" y="1695"/>
                  </a:cubicBezTo>
                  <a:lnTo>
                    <a:pt x="222" y="1695"/>
                  </a:lnTo>
                  <a:cubicBezTo>
                    <a:pt x="184" y="1711"/>
                    <a:pt x="184" y="1711"/>
                    <a:pt x="184" y="1711"/>
                  </a:cubicBezTo>
                  <a:lnTo>
                    <a:pt x="184" y="1711"/>
                  </a:lnTo>
                  <a:cubicBezTo>
                    <a:pt x="168" y="1680"/>
                    <a:pt x="161" y="1634"/>
                    <a:pt x="138" y="1611"/>
                  </a:cubicBezTo>
                  <a:cubicBezTo>
                    <a:pt x="115" y="1588"/>
                    <a:pt x="84" y="1596"/>
                    <a:pt x="69" y="1573"/>
                  </a:cubicBezTo>
                  <a:cubicBezTo>
                    <a:pt x="46" y="1550"/>
                    <a:pt x="46" y="1520"/>
                    <a:pt x="46" y="1489"/>
                  </a:cubicBezTo>
                  <a:cubicBezTo>
                    <a:pt x="54" y="1466"/>
                    <a:pt x="100" y="1459"/>
                    <a:pt x="107" y="1428"/>
                  </a:cubicBezTo>
                  <a:cubicBezTo>
                    <a:pt x="107" y="1405"/>
                    <a:pt x="69" y="1390"/>
                    <a:pt x="61" y="1367"/>
                  </a:cubicBezTo>
                  <a:cubicBezTo>
                    <a:pt x="61" y="1352"/>
                    <a:pt x="61" y="1329"/>
                    <a:pt x="69" y="1306"/>
                  </a:cubicBezTo>
                  <a:cubicBezTo>
                    <a:pt x="69" y="1298"/>
                    <a:pt x="77" y="1283"/>
                    <a:pt x="84" y="1275"/>
                  </a:cubicBezTo>
                  <a:lnTo>
                    <a:pt x="84" y="1275"/>
                  </a:lnTo>
                  <a:cubicBezTo>
                    <a:pt x="92" y="1260"/>
                    <a:pt x="123" y="1252"/>
                    <a:pt x="115" y="1237"/>
                  </a:cubicBezTo>
                  <a:cubicBezTo>
                    <a:pt x="107" y="1199"/>
                    <a:pt x="61" y="1176"/>
                    <a:pt x="46" y="1145"/>
                  </a:cubicBezTo>
                  <a:cubicBezTo>
                    <a:pt x="23" y="1107"/>
                    <a:pt x="8" y="1069"/>
                    <a:pt x="8" y="1023"/>
                  </a:cubicBezTo>
                  <a:cubicBezTo>
                    <a:pt x="8" y="992"/>
                    <a:pt x="31" y="954"/>
                    <a:pt x="31" y="924"/>
                  </a:cubicBezTo>
                  <a:cubicBezTo>
                    <a:pt x="31" y="886"/>
                    <a:pt x="0" y="847"/>
                    <a:pt x="8" y="817"/>
                  </a:cubicBezTo>
                  <a:cubicBezTo>
                    <a:pt x="8" y="771"/>
                    <a:pt x="8" y="733"/>
                    <a:pt x="31" y="702"/>
                  </a:cubicBezTo>
                  <a:cubicBezTo>
                    <a:pt x="46" y="687"/>
                    <a:pt x="77" y="717"/>
                    <a:pt x="92" y="702"/>
                  </a:cubicBezTo>
                  <a:cubicBezTo>
                    <a:pt x="107" y="687"/>
                    <a:pt x="77" y="664"/>
                    <a:pt x="77" y="649"/>
                  </a:cubicBezTo>
                  <a:cubicBezTo>
                    <a:pt x="77" y="626"/>
                    <a:pt x="100" y="611"/>
                    <a:pt x="92" y="595"/>
                  </a:cubicBezTo>
                  <a:cubicBezTo>
                    <a:pt x="92" y="573"/>
                    <a:pt x="61" y="565"/>
                    <a:pt x="46" y="550"/>
                  </a:cubicBezTo>
                  <a:cubicBezTo>
                    <a:pt x="31" y="527"/>
                    <a:pt x="31" y="504"/>
                    <a:pt x="23" y="481"/>
                  </a:cubicBezTo>
                  <a:cubicBezTo>
                    <a:pt x="23" y="488"/>
                    <a:pt x="23" y="488"/>
                    <a:pt x="23" y="488"/>
                  </a:cubicBezTo>
                  <a:cubicBezTo>
                    <a:pt x="54" y="504"/>
                    <a:pt x="84" y="542"/>
                    <a:pt x="123" y="534"/>
                  </a:cubicBezTo>
                  <a:cubicBezTo>
                    <a:pt x="161" y="534"/>
                    <a:pt x="206" y="504"/>
                    <a:pt x="222" y="465"/>
                  </a:cubicBezTo>
                  <a:cubicBezTo>
                    <a:pt x="268" y="374"/>
                    <a:pt x="237" y="252"/>
                    <a:pt x="298" y="168"/>
                  </a:cubicBezTo>
                  <a:cubicBezTo>
                    <a:pt x="329" y="129"/>
                    <a:pt x="390" y="198"/>
                    <a:pt x="436" y="183"/>
                  </a:cubicBezTo>
                  <a:cubicBezTo>
                    <a:pt x="451" y="175"/>
                    <a:pt x="443" y="145"/>
                    <a:pt x="451" y="122"/>
                  </a:cubicBezTo>
                  <a:cubicBezTo>
                    <a:pt x="451" y="122"/>
                    <a:pt x="489" y="84"/>
                    <a:pt x="489" y="76"/>
                  </a:cubicBezTo>
                  <a:cubicBezTo>
                    <a:pt x="489" y="68"/>
                    <a:pt x="527" y="0"/>
                    <a:pt x="527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55" name="Freeform 77"/>
            <p:cNvSpPr>
              <a:spLocks noChangeArrowheads="1"/>
            </p:cNvSpPr>
            <p:nvPr/>
          </p:nvSpPr>
          <p:spPr bwMode="auto">
            <a:xfrm>
              <a:off x="6446418" y="8410576"/>
              <a:ext cx="607972" cy="511175"/>
            </a:xfrm>
            <a:custGeom>
              <a:avLst/>
              <a:gdLst>
                <a:gd name="T0" fmla="*/ 39 w 1690"/>
                <a:gd name="T1" fmla="*/ 1344 h 1422"/>
                <a:gd name="T2" fmla="*/ 31 w 1690"/>
                <a:gd name="T3" fmla="*/ 1283 h 1422"/>
                <a:gd name="T4" fmla="*/ 31 w 1690"/>
                <a:gd name="T5" fmla="*/ 1253 h 1422"/>
                <a:gd name="T6" fmla="*/ 23 w 1690"/>
                <a:gd name="T7" fmla="*/ 1192 h 1422"/>
                <a:gd name="T8" fmla="*/ 31 w 1690"/>
                <a:gd name="T9" fmla="*/ 1169 h 1422"/>
                <a:gd name="T10" fmla="*/ 31 w 1690"/>
                <a:gd name="T11" fmla="*/ 1161 h 1422"/>
                <a:gd name="T12" fmla="*/ 8 w 1690"/>
                <a:gd name="T13" fmla="*/ 1062 h 1422"/>
                <a:gd name="T14" fmla="*/ 16 w 1690"/>
                <a:gd name="T15" fmla="*/ 924 h 1422"/>
                <a:gd name="T16" fmla="*/ 8 w 1690"/>
                <a:gd name="T17" fmla="*/ 840 h 1422"/>
                <a:gd name="T18" fmla="*/ 54 w 1690"/>
                <a:gd name="T19" fmla="*/ 764 h 1422"/>
                <a:gd name="T20" fmla="*/ 367 w 1690"/>
                <a:gd name="T21" fmla="*/ 573 h 1422"/>
                <a:gd name="T22" fmla="*/ 306 w 1690"/>
                <a:gd name="T23" fmla="*/ 260 h 1422"/>
                <a:gd name="T24" fmla="*/ 528 w 1690"/>
                <a:gd name="T25" fmla="*/ 260 h 1422"/>
                <a:gd name="T26" fmla="*/ 566 w 1690"/>
                <a:gd name="T27" fmla="*/ 382 h 1422"/>
                <a:gd name="T28" fmla="*/ 711 w 1690"/>
                <a:gd name="T29" fmla="*/ 321 h 1422"/>
                <a:gd name="T30" fmla="*/ 749 w 1690"/>
                <a:gd name="T31" fmla="*/ 244 h 1422"/>
                <a:gd name="T32" fmla="*/ 864 w 1690"/>
                <a:gd name="T33" fmla="*/ 191 h 1422"/>
                <a:gd name="T34" fmla="*/ 978 w 1690"/>
                <a:gd name="T35" fmla="*/ 275 h 1422"/>
                <a:gd name="T36" fmla="*/ 1184 w 1690"/>
                <a:gd name="T37" fmla="*/ 191 h 1422"/>
                <a:gd name="T38" fmla="*/ 1337 w 1690"/>
                <a:gd name="T39" fmla="*/ 206 h 1422"/>
                <a:gd name="T40" fmla="*/ 1421 w 1690"/>
                <a:gd name="T41" fmla="*/ 0 h 1422"/>
                <a:gd name="T42" fmla="*/ 1490 w 1690"/>
                <a:gd name="T43" fmla="*/ 69 h 1422"/>
                <a:gd name="T44" fmla="*/ 1658 w 1690"/>
                <a:gd name="T45" fmla="*/ 191 h 1422"/>
                <a:gd name="T46" fmla="*/ 1589 w 1690"/>
                <a:gd name="T47" fmla="*/ 321 h 1422"/>
                <a:gd name="T48" fmla="*/ 1658 w 1690"/>
                <a:gd name="T49" fmla="*/ 435 h 1422"/>
                <a:gd name="T50" fmla="*/ 1658 w 1690"/>
                <a:gd name="T51" fmla="*/ 542 h 1422"/>
                <a:gd name="T52" fmla="*/ 1574 w 1690"/>
                <a:gd name="T53" fmla="*/ 657 h 1422"/>
                <a:gd name="T54" fmla="*/ 1574 w 1690"/>
                <a:gd name="T55" fmla="*/ 863 h 1422"/>
                <a:gd name="T56" fmla="*/ 1681 w 1690"/>
                <a:gd name="T57" fmla="*/ 1077 h 1422"/>
                <a:gd name="T58" fmla="*/ 1650 w 1690"/>
                <a:gd name="T59" fmla="*/ 1115 h 1422"/>
                <a:gd name="T60" fmla="*/ 1589 w 1690"/>
                <a:gd name="T61" fmla="*/ 1169 h 1422"/>
                <a:gd name="T62" fmla="*/ 1482 w 1690"/>
                <a:gd name="T63" fmla="*/ 1169 h 1422"/>
                <a:gd name="T64" fmla="*/ 1429 w 1690"/>
                <a:gd name="T65" fmla="*/ 1100 h 1422"/>
                <a:gd name="T66" fmla="*/ 1253 w 1690"/>
                <a:gd name="T67" fmla="*/ 1138 h 1422"/>
                <a:gd name="T68" fmla="*/ 1154 w 1690"/>
                <a:gd name="T69" fmla="*/ 1161 h 1422"/>
                <a:gd name="T70" fmla="*/ 978 w 1690"/>
                <a:gd name="T71" fmla="*/ 1146 h 1422"/>
                <a:gd name="T72" fmla="*/ 757 w 1690"/>
                <a:gd name="T73" fmla="*/ 1337 h 1422"/>
                <a:gd name="T74" fmla="*/ 634 w 1690"/>
                <a:gd name="T75" fmla="*/ 1421 h 1422"/>
                <a:gd name="T76" fmla="*/ 428 w 1690"/>
                <a:gd name="T77" fmla="*/ 1260 h 1422"/>
                <a:gd name="T78" fmla="*/ 306 w 1690"/>
                <a:gd name="T79" fmla="*/ 1222 h 1422"/>
                <a:gd name="T80" fmla="*/ 245 w 1690"/>
                <a:gd name="T81" fmla="*/ 1199 h 1422"/>
                <a:gd name="T82" fmla="*/ 459 w 1690"/>
                <a:gd name="T83" fmla="*/ 947 h 1422"/>
                <a:gd name="T84" fmla="*/ 39 w 1690"/>
                <a:gd name="T85" fmla="*/ 1344 h 1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90" h="1422">
                  <a:moveTo>
                    <a:pt x="39" y="1344"/>
                  </a:moveTo>
                  <a:lnTo>
                    <a:pt x="39" y="1344"/>
                  </a:lnTo>
                  <a:cubicBezTo>
                    <a:pt x="31" y="1306"/>
                    <a:pt x="31" y="1306"/>
                    <a:pt x="31" y="1306"/>
                  </a:cubicBezTo>
                  <a:cubicBezTo>
                    <a:pt x="31" y="1299"/>
                    <a:pt x="31" y="1283"/>
                    <a:pt x="31" y="1283"/>
                  </a:cubicBezTo>
                  <a:cubicBezTo>
                    <a:pt x="31" y="1276"/>
                    <a:pt x="31" y="1276"/>
                    <a:pt x="31" y="1276"/>
                  </a:cubicBezTo>
                  <a:cubicBezTo>
                    <a:pt x="39" y="1276"/>
                    <a:pt x="39" y="1260"/>
                    <a:pt x="31" y="1253"/>
                  </a:cubicBezTo>
                  <a:cubicBezTo>
                    <a:pt x="31" y="1245"/>
                    <a:pt x="31" y="1245"/>
                    <a:pt x="23" y="1237"/>
                  </a:cubicBezTo>
                  <a:cubicBezTo>
                    <a:pt x="16" y="1222"/>
                    <a:pt x="8" y="1199"/>
                    <a:pt x="23" y="1192"/>
                  </a:cubicBezTo>
                  <a:lnTo>
                    <a:pt x="31" y="1184"/>
                  </a:lnTo>
                  <a:cubicBezTo>
                    <a:pt x="31" y="1176"/>
                    <a:pt x="31" y="1176"/>
                    <a:pt x="31" y="1169"/>
                  </a:cubicBezTo>
                  <a:lnTo>
                    <a:pt x="31" y="1169"/>
                  </a:lnTo>
                  <a:lnTo>
                    <a:pt x="31" y="1161"/>
                  </a:lnTo>
                  <a:cubicBezTo>
                    <a:pt x="16" y="1092"/>
                    <a:pt x="16" y="1092"/>
                    <a:pt x="16" y="1092"/>
                  </a:cubicBezTo>
                  <a:cubicBezTo>
                    <a:pt x="16" y="1085"/>
                    <a:pt x="23" y="1062"/>
                    <a:pt x="8" y="1062"/>
                  </a:cubicBezTo>
                  <a:cubicBezTo>
                    <a:pt x="8" y="1024"/>
                    <a:pt x="0" y="1024"/>
                    <a:pt x="23" y="993"/>
                  </a:cubicBezTo>
                  <a:cubicBezTo>
                    <a:pt x="46" y="970"/>
                    <a:pt x="46" y="947"/>
                    <a:pt x="16" y="924"/>
                  </a:cubicBezTo>
                  <a:cubicBezTo>
                    <a:pt x="16" y="909"/>
                    <a:pt x="23" y="901"/>
                    <a:pt x="23" y="878"/>
                  </a:cubicBezTo>
                  <a:cubicBezTo>
                    <a:pt x="23" y="863"/>
                    <a:pt x="8" y="855"/>
                    <a:pt x="8" y="840"/>
                  </a:cubicBezTo>
                  <a:cubicBezTo>
                    <a:pt x="8" y="817"/>
                    <a:pt x="54" y="802"/>
                    <a:pt x="54" y="764"/>
                  </a:cubicBezTo>
                  <a:lnTo>
                    <a:pt x="54" y="764"/>
                  </a:lnTo>
                  <a:cubicBezTo>
                    <a:pt x="107" y="733"/>
                    <a:pt x="153" y="703"/>
                    <a:pt x="207" y="672"/>
                  </a:cubicBezTo>
                  <a:cubicBezTo>
                    <a:pt x="260" y="642"/>
                    <a:pt x="344" y="634"/>
                    <a:pt x="367" y="573"/>
                  </a:cubicBezTo>
                  <a:cubicBezTo>
                    <a:pt x="382" y="519"/>
                    <a:pt x="306" y="466"/>
                    <a:pt x="298" y="405"/>
                  </a:cubicBezTo>
                  <a:cubicBezTo>
                    <a:pt x="291" y="359"/>
                    <a:pt x="268" y="290"/>
                    <a:pt x="306" y="260"/>
                  </a:cubicBezTo>
                  <a:cubicBezTo>
                    <a:pt x="336" y="237"/>
                    <a:pt x="367" y="321"/>
                    <a:pt x="405" y="321"/>
                  </a:cubicBezTo>
                  <a:cubicBezTo>
                    <a:pt x="451" y="321"/>
                    <a:pt x="482" y="282"/>
                    <a:pt x="528" y="260"/>
                  </a:cubicBezTo>
                  <a:lnTo>
                    <a:pt x="528" y="260"/>
                  </a:lnTo>
                  <a:cubicBezTo>
                    <a:pt x="535" y="298"/>
                    <a:pt x="550" y="336"/>
                    <a:pt x="566" y="382"/>
                  </a:cubicBezTo>
                  <a:cubicBezTo>
                    <a:pt x="566" y="382"/>
                    <a:pt x="650" y="397"/>
                    <a:pt x="657" y="390"/>
                  </a:cubicBezTo>
                  <a:cubicBezTo>
                    <a:pt x="657" y="382"/>
                    <a:pt x="711" y="321"/>
                    <a:pt x="711" y="321"/>
                  </a:cubicBezTo>
                  <a:cubicBezTo>
                    <a:pt x="741" y="313"/>
                    <a:pt x="787" y="344"/>
                    <a:pt x="795" y="313"/>
                  </a:cubicBezTo>
                  <a:cubicBezTo>
                    <a:pt x="810" y="290"/>
                    <a:pt x="757" y="267"/>
                    <a:pt x="749" y="244"/>
                  </a:cubicBezTo>
                  <a:cubicBezTo>
                    <a:pt x="749" y="221"/>
                    <a:pt x="772" y="191"/>
                    <a:pt x="795" y="183"/>
                  </a:cubicBezTo>
                  <a:cubicBezTo>
                    <a:pt x="810" y="176"/>
                    <a:pt x="856" y="168"/>
                    <a:pt x="864" y="191"/>
                  </a:cubicBezTo>
                  <a:cubicBezTo>
                    <a:pt x="879" y="221"/>
                    <a:pt x="825" y="267"/>
                    <a:pt x="848" y="290"/>
                  </a:cubicBezTo>
                  <a:cubicBezTo>
                    <a:pt x="886" y="321"/>
                    <a:pt x="940" y="290"/>
                    <a:pt x="978" y="275"/>
                  </a:cubicBezTo>
                  <a:cubicBezTo>
                    <a:pt x="1024" y="260"/>
                    <a:pt x="1062" y="229"/>
                    <a:pt x="1108" y="206"/>
                  </a:cubicBezTo>
                  <a:cubicBezTo>
                    <a:pt x="1131" y="199"/>
                    <a:pt x="1161" y="199"/>
                    <a:pt x="1184" y="191"/>
                  </a:cubicBezTo>
                  <a:cubicBezTo>
                    <a:pt x="1184" y="191"/>
                    <a:pt x="1307" y="282"/>
                    <a:pt x="1307" y="275"/>
                  </a:cubicBezTo>
                  <a:cubicBezTo>
                    <a:pt x="1307" y="267"/>
                    <a:pt x="1337" y="206"/>
                    <a:pt x="1337" y="206"/>
                  </a:cubicBezTo>
                  <a:cubicBezTo>
                    <a:pt x="1322" y="176"/>
                    <a:pt x="1284" y="145"/>
                    <a:pt x="1299" y="115"/>
                  </a:cubicBezTo>
                  <a:cubicBezTo>
                    <a:pt x="1322" y="61"/>
                    <a:pt x="1383" y="38"/>
                    <a:pt x="1421" y="0"/>
                  </a:cubicBezTo>
                  <a:lnTo>
                    <a:pt x="1421" y="0"/>
                  </a:lnTo>
                  <a:cubicBezTo>
                    <a:pt x="1444" y="23"/>
                    <a:pt x="1467" y="38"/>
                    <a:pt x="1490" y="69"/>
                  </a:cubicBezTo>
                  <a:cubicBezTo>
                    <a:pt x="1513" y="99"/>
                    <a:pt x="1513" y="153"/>
                    <a:pt x="1543" y="176"/>
                  </a:cubicBezTo>
                  <a:cubicBezTo>
                    <a:pt x="1574" y="199"/>
                    <a:pt x="1650" y="153"/>
                    <a:pt x="1658" y="191"/>
                  </a:cubicBezTo>
                  <a:cubicBezTo>
                    <a:pt x="1673" y="237"/>
                    <a:pt x="1612" y="275"/>
                    <a:pt x="1589" y="321"/>
                  </a:cubicBezTo>
                  <a:lnTo>
                    <a:pt x="1589" y="321"/>
                  </a:lnTo>
                  <a:cubicBezTo>
                    <a:pt x="1597" y="344"/>
                    <a:pt x="1597" y="367"/>
                    <a:pt x="1612" y="390"/>
                  </a:cubicBezTo>
                  <a:cubicBezTo>
                    <a:pt x="1627" y="405"/>
                    <a:pt x="1658" y="413"/>
                    <a:pt x="1658" y="435"/>
                  </a:cubicBezTo>
                  <a:cubicBezTo>
                    <a:pt x="1666" y="451"/>
                    <a:pt x="1643" y="466"/>
                    <a:pt x="1643" y="489"/>
                  </a:cubicBezTo>
                  <a:cubicBezTo>
                    <a:pt x="1643" y="504"/>
                    <a:pt x="1673" y="527"/>
                    <a:pt x="1658" y="542"/>
                  </a:cubicBezTo>
                  <a:cubicBezTo>
                    <a:pt x="1643" y="557"/>
                    <a:pt x="1612" y="527"/>
                    <a:pt x="1597" y="542"/>
                  </a:cubicBezTo>
                  <a:cubicBezTo>
                    <a:pt x="1574" y="573"/>
                    <a:pt x="1574" y="611"/>
                    <a:pt x="1574" y="657"/>
                  </a:cubicBezTo>
                  <a:cubicBezTo>
                    <a:pt x="1566" y="687"/>
                    <a:pt x="1597" y="726"/>
                    <a:pt x="1597" y="764"/>
                  </a:cubicBezTo>
                  <a:cubicBezTo>
                    <a:pt x="1597" y="794"/>
                    <a:pt x="1574" y="832"/>
                    <a:pt x="1574" y="863"/>
                  </a:cubicBezTo>
                  <a:cubicBezTo>
                    <a:pt x="1574" y="909"/>
                    <a:pt x="1589" y="947"/>
                    <a:pt x="1612" y="985"/>
                  </a:cubicBezTo>
                  <a:cubicBezTo>
                    <a:pt x="1627" y="1016"/>
                    <a:pt x="1673" y="1039"/>
                    <a:pt x="1681" y="1077"/>
                  </a:cubicBezTo>
                  <a:cubicBezTo>
                    <a:pt x="1689" y="1092"/>
                    <a:pt x="1658" y="1100"/>
                    <a:pt x="1650" y="1115"/>
                  </a:cubicBezTo>
                  <a:lnTo>
                    <a:pt x="1650" y="1115"/>
                  </a:lnTo>
                  <a:cubicBezTo>
                    <a:pt x="1635" y="1115"/>
                    <a:pt x="1627" y="1115"/>
                    <a:pt x="1612" y="1123"/>
                  </a:cubicBezTo>
                  <a:cubicBezTo>
                    <a:pt x="1605" y="1130"/>
                    <a:pt x="1605" y="1161"/>
                    <a:pt x="1589" y="1169"/>
                  </a:cubicBezTo>
                  <a:cubicBezTo>
                    <a:pt x="1574" y="1184"/>
                    <a:pt x="1551" y="1184"/>
                    <a:pt x="1528" y="1184"/>
                  </a:cubicBezTo>
                  <a:cubicBezTo>
                    <a:pt x="1513" y="1184"/>
                    <a:pt x="1497" y="1176"/>
                    <a:pt x="1482" y="1169"/>
                  </a:cubicBezTo>
                  <a:lnTo>
                    <a:pt x="1482" y="1169"/>
                  </a:lnTo>
                  <a:cubicBezTo>
                    <a:pt x="1467" y="1146"/>
                    <a:pt x="1459" y="1100"/>
                    <a:pt x="1429" y="1100"/>
                  </a:cubicBezTo>
                  <a:cubicBezTo>
                    <a:pt x="1391" y="1100"/>
                    <a:pt x="1375" y="1161"/>
                    <a:pt x="1330" y="1169"/>
                  </a:cubicBezTo>
                  <a:cubicBezTo>
                    <a:pt x="1307" y="1176"/>
                    <a:pt x="1284" y="1123"/>
                    <a:pt x="1253" y="1138"/>
                  </a:cubicBezTo>
                  <a:cubicBezTo>
                    <a:pt x="1238" y="1146"/>
                    <a:pt x="1268" y="1199"/>
                    <a:pt x="1245" y="1199"/>
                  </a:cubicBezTo>
                  <a:cubicBezTo>
                    <a:pt x="1215" y="1207"/>
                    <a:pt x="1184" y="1153"/>
                    <a:pt x="1154" y="1161"/>
                  </a:cubicBezTo>
                  <a:cubicBezTo>
                    <a:pt x="1131" y="1169"/>
                    <a:pt x="1154" y="1230"/>
                    <a:pt x="1131" y="1230"/>
                  </a:cubicBezTo>
                  <a:cubicBezTo>
                    <a:pt x="1078" y="1222"/>
                    <a:pt x="1032" y="1123"/>
                    <a:pt x="978" y="1146"/>
                  </a:cubicBezTo>
                  <a:cubicBezTo>
                    <a:pt x="902" y="1176"/>
                    <a:pt x="894" y="1299"/>
                    <a:pt x="825" y="1352"/>
                  </a:cubicBezTo>
                  <a:cubicBezTo>
                    <a:pt x="810" y="1367"/>
                    <a:pt x="780" y="1329"/>
                    <a:pt x="757" y="1337"/>
                  </a:cubicBezTo>
                  <a:cubicBezTo>
                    <a:pt x="711" y="1352"/>
                    <a:pt x="673" y="1390"/>
                    <a:pt x="634" y="1421"/>
                  </a:cubicBezTo>
                  <a:lnTo>
                    <a:pt x="634" y="1421"/>
                  </a:lnTo>
                  <a:cubicBezTo>
                    <a:pt x="573" y="1405"/>
                    <a:pt x="505" y="1413"/>
                    <a:pt x="459" y="1375"/>
                  </a:cubicBezTo>
                  <a:cubicBezTo>
                    <a:pt x="428" y="1352"/>
                    <a:pt x="459" y="1283"/>
                    <a:pt x="428" y="1260"/>
                  </a:cubicBezTo>
                  <a:cubicBezTo>
                    <a:pt x="398" y="1237"/>
                    <a:pt x="344" y="1268"/>
                    <a:pt x="306" y="1253"/>
                  </a:cubicBezTo>
                  <a:cubicBezTo>
                    <a:pt x="291" y="1253"/>
                    <a:pt x="314" y="1230"/>
                    <a:pt x="306" y="1222"/>
                  </a:cubicBezTo>
                  <a:cubicBezTo>
                    <a:pt x="268" y="1199"/>
                    <a:pt x="283" y="1214"/>
                    <a:pt x="245" y="1199"/>
                  </a:cubicBezTo>
                  <a:lnTo>
                    <a:pt x="245" y="1199"/>
                  </a:lnTo>
                  <a:cubicBezTo>
                    <a:pt x="268" y="1176"/>
                    <a:pt x="291" y="1161"/>
                    <a:pt x="298" y="1130"/>
                  </a:cubicBezTo>
                  <a:cubicBezTo>
                    <a:pt x="321" y="1069"/>
                    <a:pt x="459" y="1024"/>
                    <a:pt x="459" y="947"/>
                  </a:cubicBezTo>
                  <a:cubicBezTo>
                    <a:pt x="336" y="1039"/>
                    <a:pt x="253" y="1146"/>
                    <a:pt x="107" y="1214"/>
                  </a:cubicBezTo>
                  <a:cubicBezTo>
                    <a:pt x="69" y="1253"/>
                    <a:pt x="54" y="1299"/>
                    <a:pt x="39" y="1344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56" name="Freeform 78"/>
            <p:cNvSpPr>
              <a:spLocks noChangeArrowheads="1"/>
            </p:cNvSpPr>
            <p:nvPr/>
          </p:nvSpPr>
          <p:spPr bwMode="auto">
            <a:xfrm>
              <a:off x="6181323" y="8543925"/>
              <a:ext cx="285731" cy="407988"/>
            </a:xfrm>
            <a:custGeom>
              <a:avLst/>
              <a:gdLst>
                <a:gd name="T0" fmla="*/ 794 w 795"/>
                <a:gd name="T1" fmla="*/ 390 h 1132"/>
                <a:gd name="T2" fmla="*/ 794 w 795"/>
                <a:gd name="T3" fmla="*/ 390 h 1132"/>
                <a:gd name="T4" fmla="*/ 718 w 795"/>
                <a:gd name="T5" fmla="*/ 367 h 1132"/>
                <a:gd name="T6" fmla="*/ 664 w 795"/>
                <a:gd name="T7" fmla="*/ 367 h 1132"/>
                <a:gd name="T8" fmla="*/ 626 w 795"/>
                <a:gd name="T9" fmla="*/ 344 h 1132"/>
                <a:gd name="T10" fmla="*/ 595 w 795"/>
                <a:gd name="T11" fmla="*/ 268 h 1132"/>
                <a:gd name="T12" fmla="*/ 534 w 795"/>
                <a:gd name="T13" fmla="*/ 214 h 1132"/>
                <a:gd name="T14" fmla="*/ 481 w 795"/>
                <a:gd name="T15" fmla="*/ 176 h 1132"/>
                <a:gd name="T16" fmla="*/ 435 w 795"/>
                <a:gd name="T17" fmla="*/ 122 h 1132"/>
                <a:gd name="T18" fmla="*/ 366 w 795"/>
                <a:gd name="T19" fmla="*/ 176 h 1132"/>
                <a:gd name="T20" fmla="*/ 297 w 795"/>
                <a:gd name="T21" fmla="*/ 206 h 1132"/>
                <a:gd name="T22" fmla="*/ 290 w 795"/>
                <a:gd name="T23" fmla="*/ 153 h 1132"/>
                <a:gd name="T24" fmla="*/ 236 w 795"/>
                <a:gd name="T25" fmla="*/ 153 h 1132"/>
                <a:gd name="T26" fmla="*/ 213 w 795"/>
                <a:gd name="T27" fmla="*/ 69 h 1132"/>
                <a:gd name="T28" fmla="*/ 137 w 795"/>
                <a:gd name="T29" fmla="*/ 0 h 1132"/>
                <a:gd name="T30" fmla="*/ 137 w 795"/>
                <a:gd name="T31" fmla="*/ 0 h 1132"/>
                <a:gd name="T32" fmla="*/ 91 w 795"/>
                <a:gd name="T33" fmla="*/ 54 h 1132"/>
                <a:gd name="T34" fmla="*/ 114 w 795"/>
                <a:gd name="T35" fmla="*/ 145 h 1132"/>
                <a:gd name="T36" fmla="*/ 183 w 795"/>
                <a:gd name="T37" fmla="*/ 237 h 1132"/>
                <a:gd name="T38" fmla="*/ 129 w 795"/>
                <a:gd name="T39" fmla="*/ 275 h 1132"/>
                <a:gd name="T40" fmla="*/ 91 w 795"/>
                <a:gd name="T41" fmla="*/ 359 h 1132"/>
                <a:gd name="T42" fmla="*/ 0 w 795"/>
                <a:gd name="T43" fmla="*/ 428 h 1132"/>
                <a:gd name="T44" fmla="*/ 0 w 795"/>
                <a:gd name="T45" fmla="*/ 428 h 1132"/>
                <a:gd name="T46" fmla="*/ 7 w 795"/>
                <a:gd name="T47" fmla="*/ 481 h 1132"/>
                <a:gd name="T48" fmla="*/ 30 w 795"/>
                <a:gd name="T49" fmla="*/ 489 h 1132"/>
                <a:gd name="T50" fmla="*/ 30 w 795"/>
                <a:gd name="T51" fmla="*/ 489 h 1132"/>
                <a:gd name="T52" fmla="*/ 114 w 795"/>
                <a:gd name="T53" fmla="*/ 497 h 1132"/>
                <a:gd name="T54" fmla="*/ 168 w 795"/>
                <a:gd name="T55" fmla="*/ 535 h 1132"/>
                <a:gd name="T56" fmla="*/ 175 w 795"/>
                <a:gd name="T57" fmla="*/ 573 h 1132"/>
                <a:gd name="T58" fmla="*/ 198 w 795"/>
                <a:gd name="T59" fmla="*/ 672 h 1132"/>
                <a:gd name="T60" fmla="*/ 252 w 795"/>
                <a:gd name="T61" fmla="*/ 688 h 1132"/>
                <a:gd name="T62" fmla="*/ 252 w 795"/>
                <a:gd name="T63" fmla="*/ 733 h 1132"/>
                <a:gd name="T64" fmla="*/ 290 w 795"/>
                <a:gd name="T65" fmla="*/ 749 h 1132"/>
                <a:gd name="T66" fmla="*/ 244 w 795"/>
                <a:gd name="T67" fmla="*/ 802 h 1132"/>
                <a:gd name="T68" fmla="*/ 313 w 795"/>
                <a:gd name="T69" fmla="*/ 909 h 1132"/>
                <a:gd name="T70" fmla="*/ 313 w 795"/>
                <a:gd name="T71" fmla="*/ 909 h 1132"/>
                <a:gd name="T72" fmla="*/ 359 w 795"/>
                <a:gd name="T73" fmla="*/ 932 h 1132"/>
                <a:gd name="T74" fmla="*/ 511 w 795"/>
                <a:gd name="T75" fmla="*/ 863 h 1132"/>
                <a:gd name="T76" fmla="*/ 557 w 795"/>
                <a:gd name="T77" fmla="*/ 925 h 1132"/>
                <a:gd name="T78" fmla="*/ 481 w 795"/>
                <a:gd name="T79" fmla="*/ 1031 h 1132"/>
                <a:gd name="T80" fmla="*/ 572 w 795"/>
                <a:gd name="T81" fmla="*/ 1131 h 1132"/>
                <a:gd name="T82" fmla="*/ 572 w 795"/>
                <a:gd name="T83" fmla="*/ 1131 h 1132"/>
                <a:gd name="T84" fmla="*/ 702 w 795"/>
                <a:gd name="T85" fmla="*/ 1047 h 1132"/>
                <a:gd name="T86" fmla="*/ 779 w 795"/>
                <a:gd name="T87" fmla="*/ 970 h 1132"/>
                <a:gd name="T88" fmla="*/ 779 w 795"/>
                <a:gd name="T89" fmla="*/ 970 h 1132"/>
                <a:gd name="T90" fmla="*/ 771 w 795"/>
                <a:gd name="T91" fmla="*/ 932 h 1132"/>
                <a:gd name="T92" fmla="*/ 771 w 795"/>
                <a:gd name="T93" fmla="*/ 909 h 1132"/>
                <a:gd name="T94" fmla="*/ 771 w 795"/>
                <a:gd name="T95" fmla="*/ 902 h 1132"/>
                <a:gd name="T96" fmla="*/ 771 w 795"/>
                <a:gd name="T97" fmla="*/ 879 h 1132"/>
                <a:gd name="T98" fmla="*/ 763 w 795"/>
                <a:gd name="T99" fmla="*/ 863 h 1132"/>
                <a:gd name="T100" fmla="*/ 763 w 795"/>
                <a:gd name="T101" fmla="*/ 818 h 1132"/>
                <a:gd name="T102" fmla="*/ 771 w 795"/>
                <a:gd name="T103" fmla="*/ 810 h 1132"/>
                <a:gd name="T104" fmla="*/ 771 w 795"/>
                <a:gd name="T105" fmla="*/ 795 h 1132"/>
                <a:gd name="T106" fmla="*/ 771 w 795"/>
                <a:gd name="T107" fmla="*/ 795 h 1132"/>
                <a:gd name="T108" fmla="*/ 771 w 795"/>
                <a:gd name="T109" fmla="*/ 787 h 1132"/>
                <a:gd name="T110" fmla="*/ 756 w 795"/>
                <a:gd name="T111" fmla="*/ 718 h 1132"/>
                <a:gd name="T112" fmla="*/ 748 w 795"/>
                <a:gd name="T113" fmla="*/ 688 h 1132"/>
                <a:gd name="T114" fmla="*/ 763 w 795"/>
                <a:gd name="T115" fmla="*/ 619 h 1132"/>
                <a:gd name="T116" fmla="*/ 756 w 795"/>
                <a:gd name="T117" fmla="*/ 550 h 1132"/>
                <a:gd name="T118" fmla="*/ 763 w 795"/>
                <a:gd name="T119" fmla="*/ 504 h 1132"/>
                <a:gd name="T120" fmla="*/ 748 w 795"/>
                <a:gd name="T121" fmla="*/ 466 h 1132"/>
                <a:gd name="T122" fmla="*/ 794 w 795"/>
                <a:gd name="T123" fmla="*/ 39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5" h="1132">
                  <a:moveTo>
                    <a:pt x="794" y="390"/>
                  </a:moveTo>
                  <a:lnTo>
                    <a:pt x="794" y="390"/>
                  </a:lnTo>
                  <a:cubicBezTo>
                    <a:pt x="779" y="375"/>
                    <a:pt x="740" y="375"/>
                    <a:pt x="718" y="367"/>
                  </a:cubicBezTo>
                  <a:cubicBezTo>
                    <a:pt x="687" y="359"/>
                    <a:pt x="702" y="344"/>
                    <a:pt x="664" y="367"/>
                  </a:cubicBezTo>
                  <a:cubicBezTo>
                    <a:pt x="641" y="375"/>
                    <a:pt x="641" y="352"/>
                    <a:pt x="626" y="344"/>
                  </a:cubicBezTo>
                  <a:cubicBezTo>
                    <a:pt x="626" y="321"/>
                    <a:pt x="603" y="291"/>
                    <a:pt x="595" y="268"/>
                  </a:cubicBezTo>
                  <a:cubicBezTo>
                    <a:pt x="580" y="245"/>
                    <a:pt x="557" y="229"/>
                    <a:pt x="534" y="214"/>
                  </a:cubicBezTo>
                  <a:cubicBezTo>
                    <a:pt x="519" y="206"/>
                    <a:pt x="496" y="191"/>
                    <a:pt x="481" y="176"/>
                  </a:cubicBezTo>
                  <a:cubicBezTo>
                    <a:pt x="473" y="161"/>
                    <a:pt x="435" y="130"/>
                    <a:pt x="435" y="122"/>
                  </a:cubicBezTo>
                  <a:cubicBezTo>
                    <a:pt x="420" y="122"/>
                    <a:pt x="382" y="168"/>
                    <a:pt x="366" y="176"/>
                  </a:cubicBezTo>
                  <a:cubicBezTo>
                    <a:pt x="351" y="183"/>
                    <a:pt x="305" y="222"/>
                    <a:pt x="297" y="206"/>
                  </a:cubicBezTo>
                  <a:cubicBezTo>
                    <a:pt x="290" y="191"/>
                    <a:pt x="290" y="176"/>
                    <a:pt x="290" y="153"/>
                  </a:cubicBezTo>
                  <a:cubicBezTo>
                    <a:pt x="290" y="145"/>
                    <a:pt x="244" y="153"/>
                    <a:pt x="236" y="153"/>
                  </a:cubicBezTo>
                  <a:cubicBezTo>
                    <a:pt x="229" y="153"/>
                    <a:pt x="221" y="77"/>
                    <a:pt x="213" y="69"/>
                  </a:cubicBezTo>
                  <a:cubicBezTo>
                    <a:pt x="190" y="39"/>
                    <a:pt x="160" y="23"/>
                    <a:pt x="137" y="0"/>
                  </a:cubicBezTo>
                  <a:lnTo>
                    <a:pt x="137" y="0"/>
                  </a:lnTo>
                  <a:cubicBezTo>
                    <a:pt x="122" y="16"/>
                    <a:pt x="99" y="31"/>
                    <a:pt x="91" y="54"/>
                  </a:cubicBezTo>
                  <a:cubicBezTo>
                    <a:pt x="91" y="84"/>
                    <a:pt x="99" y="115"/>
                    <a:pt x="114" y="145"/>
                  </a:cubicBezTo>
                  <a:cubicBezTo>
                    <a:pt x="129" y="176"/>
                    <a:pt x="175" y="199"/>
                    <a:pt x="183" y="237"/>
                  </a:cubicBezTo>
                  <a:cubicBezTo>
                    <a:pt x="183" y="260"/>
                    <a:pt x="137" y="260"/>
                    <a:pt x="129" y="275"/>
                  </a:cubicBezTo>
                  <a:cubicBezTo>
                    <a:pt x="107" y="298"/>
                    <a:pt x="114" y="336"/>
                    <a:pt x="91" y="359"/>
                  </a:cubicBezTo>
                  <a:cubicBezTo>
                    <a:pt x="68" y="390"/>
                    <a:pt x="30" y="405"/>
                    <a:pt x="0" y="428"/>
                  </a:cubicBezTo>
                  <a:lnTo>
                    <a:pt x="0" y="428"/>
                  </a:lnTo>
                  <a:cubicBezTo>
                    <a:pt x="7" y="451"/>
                    <a:pt x="0" y="466"/>
                    <a:pt x="7" y="481"/>
                  </a:cubicBezTo>
                  <a:cubicBezTo>
                    <a:pt x="15" y="489"/>
                    <a:pt x="23" y="489"/>
                    <a:pt x="30" y="489"/>
                  </a:cubicBezTo>
                  <a:lnTo>
                    <a:pt x="30" y="489"/>
                  </a:lnTo>
                  <a:cubicBezTo>
                    <a:pt x="61" y="497"/>
                    <a:pt x="91" y="489"/>
                    <a:pt x="114" y="497"/>
                  </a:cubicBezTo>
                  <a:cubicBezTo>
                    <a:pt x="137" y="504"/>
                    <a:pt x="152" y="520"/>
                    <a:pt x="168" y="535"/>
                  </a:cubicBezTo>
                  <a:cubicBezTo>
                    <a:pt x="175" y="543"/>
                    <a:pt x="168" y="558"/>
                    <a:pt x="175" y="573"/>
                  </a:cubicBezTo>
                  <a:cubicBezTo>
                    <a:pt x="175" y="573"/>
                    <a:pt x="190" y="665"/>
                    <a:pt x="198" y="672"/>
                  </a:cubicBezTo>
                  <a:cubicBezTo>
                    <a:pt x="206" y="672"/>
                    <a:pt x="252" y="688"/>
                    <a:pt x="252" y="688"/>
                  </a:cubicBezTo>
                  <a:cubicBezTo>
                    <a:pt x="252" y="703"/>
                    <a:pt x="244" y="718"/>
                    <a:pt x="252" y="733"/>
                  </a:cubicBezTo>
                  <a:cubicBezTo>
                    <a:pt x="259" y="741"/>
                    <a:pt x="290" y="733"/>
                    <a:pt x="290" y="749"/>
                  </a:cubicBezTo>
                  <a:cubicBezTo>
                    <a:pt x="290" y="772"/>
                    <a:pt x="244" y="779"/>
                    <a:pt x="244" y="802"/>
                  </a:cubicBezTo>
                  <a:cubicBezTo>
                    <a:pt x="252" y="840"/>
                    <a:pt x="290" y="871"/>
                    <a:pt x="313" y="909"/>
                  </a:cubicBezTo>
                  <a:lnTo>
                    <a:pt x="313" y="909"/>
                  </a:lnTo>
                  <a:cubicBezTo>
                    <a:pt x="328" y="917"/>
                    <a:pt x="343" y="932"/>
                    <a:pt x="359" y="932"/>
                  </a:cubicBezTo>
                  <a:cubicBezTo>
                    <a:pt x="412" y="917"/>
                    <a:pt x="458" y="863"/>
                    <a:pt x="511" y="863"/>
                  </a:cubicBezTo>
                  <a:cubicBezTo>
                    <a:pt x="542" y="863"/>
                    <a:pt x="565" y="902"/>
                    <a:pt x="557" y="925"/>
                  </a:cubicBezTo>
                  <a:cubicBezTo>
                    <a:pt x="549" y="970"/>
                    <a:pt x="488" y="986"/>
                    <a:pt x="481" y="1031"/>
                  </a:cubicBezTo>
                  <a:cubicBezTo>
                    <a:pt x="473" y="1047"/>
                    <a:pt x="557" y="1115"/>
                    <a:pt x="572" y="1131"/>
                  </a:cubicBezTo>
                  <a:lnTo>
                    <a:pt x="572" y="1131"/>
                  </a:lnTo>
                  <a:cubicBezTo>
                    <a:pt x="611" y="1100"/>
                    <a:pt x="657" y="1070"/>
                    <a:pt x="702" y="1047"/>
                  </a:cubicBezTo>
                  <a:cubicBezTo>
                    <a:pt x="740" y="1031"/>
                    <a:pt x="763" y="1001"/>
                    <a:pt x="779" y="970"/>
                  </a:cubicBezTo>
                  <a:lnTo>
                    <a:pt x="779" y="970"/>
                  </a:lnTo>
                  <a:cubicBezTo>
                    <a:pt x="771" y="932"/>
                    <a:pt x="771" y="932"/>
                    <a:pt x="771" y="932"/>
                  </a:cubicBezTo>
                  <a:cubicBezTo>
                    <a:pt x="771" y="925"/>
                    <a:pt x="771" y="909"/>
                    <a:pt x="771" y="909"/>
                  </a:cubicBezTo>
                  <a:cubicBezTo>
                    <a:pt x="771" y="902"/>
                    <a:pt x="771" y="902"/>
                    <a:pt x="771" y="902"/>
                  </a:cubicBezTo>
                  <a:cubicBezTo>
                    <a:pt x="779" y="902"/>
                    <a:pt x="779" y="886"/>
                    <a:pt x="771" y="879"/>
                  </a:cubicBezTo>
                  <a:cubicBezTo>
                    <a:pt x="771" y="871"/>
                    <a:pt x="771" y="871"/>
                    <a:pt x="763" y="863"/>
                  </a:cubicBezTo>
                  <a:cubicBezTo>
                    <a:pt x="756" y="848"/>
                    <a:pt x="748" y="825"/>
                    <a:pt x="763" y="818"/>
                  </a:cubicBezTo>
                  <a:lnTo>
                    <a:pt x="771" y="810"/>
                  </a:lnTo>
                  <a:cubicBezTo>
                    <a:pt x="771" y="802"/>
                    <a:pt x="771" y="802"/>
                    <a:pt x="771" y="795"/>
                  </a:cubicBezTo>
                  <a:lnTo>
                    <a:pt x="771" y="795"/>
                  </a:lnTo>
                  <a:lnTo>
                    <a:pt x="771" y="787"/>
                  </a:lnTo>
                  <a:cubicBezTo>
                    <a:pt x="756" y="718"/>
                    <a:pt x="756" y="718"/>
                    <a:pt x="756" y="718"/>
                  </a:cubicBezTo>
                  <a:cubicBezTo>
                    <a:pt x="756" y="711"/>
                    <a:pt x="763" y="688"/>
                    <a:pt x="748" y="688"/>
                  </a:cubicBezTo>
                  <a:cubicBezTo>
                    <a:pt x="748" y="650"/>
                    <a:pt x="740" y="650"/>
                    <a:pt x="763" y="619"/>
                  </a:cubicBezTo>
                  <a:cubicBezTo>
                    <a:pt x="786" y="596"/>
                    <a:pt x="786" y="573"/>
                    <a:pt x="756" y="550"/>
                  </a:cubicBezTo>
                  <a:cubicBezTo>
                    <a:pt x="756" y="535"/>
                    <a:pt x="763" y="527"/>
                    <a:pt x="763" y="504"/>
                  </a:cubicBezTo>
                  <a:cubicBezTo>
                    <a:pt x="763" y="489"/>
                    <a:pt x="748" y="481"/>
                    <a:pt x="748" y="466"/>
                  </a:cubicBezTo>
                  <a:cubicBezTo>
                    <a:pt x="748" y="443"/>
                    <a:pt x="794" y="428"/>
                    <a:pt x="794" y="39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57" name="Freeform 79"/>
            <p:cNvSpPr>
              <a:spLocks noChangeArrowheads="1"/>
            </p:cNvSpPr>
            <p:nvPr/>
          </p:nvSpPr>
          <p:spPr bwMode="auto">
            <a:xfrm>
              <a:off x="6016233" y="8685214"/>
              <a:ext cx="96832" cy="173037"/>
            </a:xfrm>
            <a:custGeom>
              <a:avLst/>
              <a:gdLst>
                <a:gd name="T0" fmla="*/ 0 w 269"/>
                <a:gd name="T1" fmla="*/ 46 h 482"/>
                <a:gd name="T2" fmla="*/ 0 w 269"/>
                <a:gd name="T3" fmla="*/ 46 h 482"/>
                <a:gd name="T4" fmla="*/ 54 w 269"/>
                <a:gd name="T5" fmla="*/ 0 h 482"/>
                <a:gd name="T6" fmla="*/ 69 w 269"/>
                <a:gd name="T7" fmla="*/ 46 h 482"/>
                <a:gd name="T8" fmla="*/ 122 w 269"/>
                <a:gd name="T9" fmla="*/ 53 h 482"/>
                <a:gd name="T10" fmla="*/ 130 w 269"/>
                <a:gd name="T11" fmla="*/ 107 h 482"/>
                <a:gd name="T12" fmla="*/ 176 w 269"/>
                <a:gd name="T13" fmla="*/ 114 h 482"/>
                <a:gd name="T14" fmla="*/ 176 w 269"/>
                <a:gd name="T15" fmla="*/ 114 h 482"/>
                <a:gd name="T16" fmla="*/ 191 w 269"/>
                <a:gd name="T17" fmla="*/ 206 h 482"/>
                <a:gd name="T18" fmla="*/ 268 w 269"/>
                <a:gd name="T19" fmla="*/ 397 h 482"/>
                <a:gd name="T20" fmla="*/ 214 w 269"/>
                <a:gd name="T21" fmla="*/ 481 h 482"/>
                <a:gd name="T22" fmla="*/ 214 w 269"/>
                <a:gd name="T23" fmla="*/ 481 h 482"/>
                <a:gd name="T24" fmla="*/ 176 w 269"/>
                <a:gd name="T25" fmla="*/ 428 h 482"/>
                <a:gd name="T26" fmla="*/ 107 w 269"/>
                <a:gd name="T27" fmla="*/ 351 h 482"/>
                <a:gd name="T28" fmla="*/ 0 w 269"/>
                <a:gd name="T29" fmla="*/ 183 h 482"/>
                <a:gd name="T30" fmla="*/ 31 w 269"/>
                <a:gd name="T31" fmla="*/ 145 h 482"/>
                <a:gd name="T32" fmla="*/ 0 w 269"/>
                <a:gd name="T33" fmla="*/ 46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9" h="482">
                  <a:moveTo>
                    <a:pt x="0" y="46"/>
                  </a:moveTo>
                  <a:lnTo>
                    <a:pt x="0" y="46"/>
                  </a:lnTo>
                  <a:cubicBezTo>
                    <a:pt x="16" y="30"/>
                    <a:pt x="31" y="0"/>
                    <a:pt x="54" y="0"/>
                  </a:cubicBezTo>
                  <a:cubicBezTo>
                    <a:pt x="69" y="0"/>
                    <a:pt x="61" y="30"/>
                    <a:pt x="69" y="46"/>
                  </a:cubicBezTo>
                  <a:cubicBezTo>
                    <a:pt x="84" y="53"/>
                    <a:pt x="107" y="46"/>
                    <a:pt x="122" y="53"/>
                  </a:cubicBezTo>
                  <a:cubicBezTo>
                    <a:pt x="130" y="68"/>
                    <a:pt x="122" y="91"/>
                    <a:pt x="130" y="107"/>
                  </a:cubicBezTo>
                  <a:cubicBezTo>
                    <a:pt x="145" y="114"/>
                    <a:pt x="161" y="114"/>
                    <a:pt x="176" y="114"/>
                  </a:cubicBezTo>
                  <a:lnTo>
                    <a:pt x="176" y="114"/>
                  </a:lnTo>
                  <a:cubicBezTo>
                    <a:pt x="184" y="145"/>
                    <a:pt x="176" y="175"/>
                    <a:pt x="191" y="206"/>
                  </a:cubicBezTo>
                  <a:cubicBezTo>
                    <a:pt x="207" y="267"/>
                    <a:pt x="260" y="328"/>
                    <a:pt x="268" y="397"/>
                  </a:cubicBezTo>
                  <a:cubicBezTo>
                    <a:pt x="268" y="428"/>
                    <a:pt x="230" y="450"/>
                    <a:pt x="214" y="481"/>
                  </a:cubicBezTo>
                  <a:lnTo>
                    <a:pt x="214" y="481"/>
                  </a:lnTo>
                  <a:cubicBezTo>
                    <a:pt x="207" y="466"/>
                    <a:pt x="191" y="443"/>
                    <a:pt x="176" y="428"/>
                  </a:cubicBezTo>
                  <a:cubicBezTo>
                    <a:pt x="153" y="397"/>
                    <a:pt x="122" y="374"/>
                    <a:pt x="107" y="351"/>
                  </a:cubicBezTo>
                  <a:cubicBezTo>
                    <a:pt x="69" y="298"/>
                    <a:pt x="23" y="244"/>
                    <a:pt x="0" y="183"/>
                  </a:cubicBezTo>
                  <a:cubicBezTo>
                    <a:pt x="0" y="168"/>
                    <a:pt x="31" y="160"/>
                    <a:pt x="31" y="145"/>
                  </a:cubicBezTo>
                  <a:cubicBezTo>
                    <a:pt x="31" y="107"/>
                    <a:pt x="8" y="76"/>
                    <a:pt x="0" y="4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58" name="Freeform 80"/>
            <p:cNvSpPr>
              <a:spLocks noChangeArrowheads="1"/>
            </p:cNvSpPr>
            <p:nvPr/>
          </p:nvSpPr>
          <p:spPr bwMode="auto">
            <a:xfrm>
              <a:off x="6095603" y="8689976"/>
              <a:ext cx="112706" cy="138113"/>
            </a:xfrm>
            <a:custGeom>
              <a:avLst/>
              <a:gdLst>
                <a:gd name="T0" fmla="*/ 236 w 313"/>
                <a:gd name="T1" fmla="*/ 23 h 383"/>
                <a:gd name="T2" fmla="*/ 236 w 313"/>
                <a:gd name="T3" fmla="*/ 23 h 383"/>
                <a:gd name="T4" fmla="*/ 243 w 313"/>
                <a:gd name="T5" fmla="*/ 76 h 383"/>
                <a:gd name="T6" fmla="*/ 266 w 313"/>
                <a:gd name="T7" fmla="*/ 84 h 383"/>
                <a:gd name="T8" fmla="*/ 266 w 313"/>
                <a:gd name="T9" fmla="*/ 84 h 383"/>
                <a:gd name="T10" fmla="*/ 304 w 313"/>
                <a:gd name="T11" fmla="*/ 168 h 383"/>
                <a:gd name="T12" fmla="*/ 304 w 313"/>
                <a:gd name="T13" fmla="*/ 367 h 383"/>
                <a:gd name="T14" fmla="*/ 304 w 313"/>
                <a:gd name="T15" fmla="*/ 367 h 383"/>
                <a:gd name="T16" fmla="*/ 259 w 313"/>
                <a:gd name="T17" fmla="*/ 367 h 383"/>
                <a:gd name="T18" fmla="*/ 281 w 313"/>
                <a:gd name="T19" fmla="*/ 336 h 383"/>
                <a:gd name="T20" fmla="*/ 251 w 313"/>
                <a:gd name="T21" fmla="*/ 306 h 383"/>
                <a:gd name="T22" fmla="*/ 151 w 313"/>
                <a:gd name="T23" fmla="*/ 199 h 383"/>
                <a:gd name="T24" fmla="*/ 137 w 313"/>
                <a:gd name="T25" fmla="*/ 252 h 383"/>
                <a:gd name="T26" fmla="*/ 76 w 313"/>
                <a:gd name="T27" fmla="*/ 183 h 383"/>
                <a:gd name="T28" fmla="*/ 0 w 313"/>
                <a:gd name="T29" fmla="*/ 76 h 383"/>
                <a:gd name="T30" fmla="*/ 0 w 313"/>
                <a:gd name="T31" fmla="*/ 76 h 383"/>
                <a:gd name="T32" fmla="*/ 30 w 313"/>
                <a:gd name="T33" fmla="*/ 8 h 383"/>
                <a:gd name="T34" fmla="*/ 122 w 313"/>
                <a:gd name="T35" fmla="*/ 38 h 383"/>
                <a:gd name="T36" fmla="*/ 236 w 313"/>
                <a:gd name="T37" fmla="*/ 23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3" h="383">
                  <a:moveTo>
                    <a:pt x="236" y="23"/>
                  </a:moveTo>
                  <a:lnTo>
                    <a:pt x="236" y="23"/>
                  </a:lnTo>
                  <a:cubicBezTo>
                    <a:pt x="243" y="46"/>
                    <a:pt x="236" y="61"/>
                    <a:pt x="243" y="76"/>
                  </a:cubicBezTo>
                  <a:cubicBezTo>
                    <a:pt x="251" y="84"/>
                    <a:pt x="259" y="84"/>
                    <a:pt x="266" y="84"/>
                  </a:cubicBezTo>
                  <a:lnTo>
                    <a:pt x="266" y="84"/>
                  </a:lnTo>
                  <a:cubicBezTo>
                    <a:pt x="281" y="115"/>
                    <a:pt x="297" y="138"/>
                    <a:pt x="304" y="168"/>
                  </a:cubicBezTo>
                  <a:cubicBezTo>
                    <a:pt x="312" y="237"/>
                    <a:pt x="304" y="298"/>
                    <a:pt x="304" y="367"/>
                  </a:cubicBezTo>
                  <a:lnTo>
                    <a:pt x="304" y="367"/>
                  </a:lnTo>
                  <a:cubicBezTo>
                    <a:pt x="289" y="367"/>
                    <a:pt x="274" y="382"/>
                    <a:pt x="259" y="367"/>
                  </a:cubicBezTo>
                  <a:cubicBezTo>
                    <a:pt x="251" y="359"/>
                    <a:pt x="281" y="351"/>
                    <a:pt x="281" y="336"/>
                  </a:cubicBezTo>
                  <a:cubicBezTo>
                    <a:pt x="274" y="328"/>
                    <a:pt x="259" y="321"/>
                    <a:pt x="251" y="306"/>
                  </a:cubicBezTo>
                  <a:cubicBezTo>
                    <a:pt x="220" y="275"/>
                    <a:pt x="197" y="222"/>
                    <a:pt x="151" y="199"/>
                  </a:cubicBezTo>
                  <a:cubicBezTo>
                    <a:pt x="137" y="191"/>
                    <a:pt x="159" y="260"/>
                    <a:pt x="137" y="252"/>
                  </a:cubicBezTo>
                  <a:cubicBezTo>
                    <a:pt x="107" y="245"/>
                    <a:pt x="99" y="206"/>
                    <a:pt x="76" y="183"/>
                  </a:cubicBezTo>
                  <a:cubicBezTo>
                    <a:pt x="46" y="153"/>
                    <a:pt x="23" y="115"/>
                    <a:pt x="0" y="76"/>
                  </a:cubicBezTo>
                  <a:lnTo>
                    <a:pt x="0" y="76"/>
                  </a:lnTo>
                  <a:cubicBezTo>
                    <a:pt x="8" y="53"/>
                    <a:pt x="8" y="15"/>
                    <a:pt x="30" y="8"/>
                  </a:cubicBezTo>
                  <a:cubicBezTo>
                    <a:pt x="61" y="0"/>
                    <a:pt x="91" y="38"/>
                    <a:pt x="122" y="38"/>
                  </a:cubicBezTo>
                  <a:cubicBezTo>
                    <a:pt x="159" y="46"/>
                    <a:pt x="197" y="31"/>
                    <a:pt x="236" y="2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59" name="Freeform 81"/>
            <p:cNvSpPr>
              <a:spLocks noChangeArrowheads="1"/>
            </p:cNvSpPr>
            <p:nvPr/>
          </p:nvSpPr>
          <p:spPr bwMode="auto">
            <a:xfrm>
              <a:off x="6190847" y="8720138"/>
              <a:ext cx="101593" cy="163512"/>
            </a:xfrm>
            <a:custGeom>
              <a:avLst/>
              <a:gdLst>
                <a:gd name="T0" fmla="*/ 0 w 284"/>
                <a:gd name="T1" fmla="*/ 0 h 452"/>
                <a:gd name="T2" fmla="*/ 0 w 284"/>
                <a:gd name="T3" fmla="*/ 0 h 452"/>
                <a:gd name="T4" fmla="*/ 84 w 284"/>
                <a:gd name="T5" fmla="*/ 8 h 452"/>
                <a:gd name="T6" fmla="*/ 138 w 284"/>
                <a:gd name="T7" fmla="*/ 46 h 452"/>
                <a:gd name="T8" fmla="*/ 145 w 284"/>
                <a:gd name="T9" fmla="*/ 84 h 452"/>
                <a:gd name="T10" fmla="*/ 168 w 284"/>
                <a:gd name="T11" fmla="*/ 183 h 452"/>
                <a:gd name="T12" fmla="*/ 222 w 284"/>
                <a:gd name="T13" fmla="*/ 199 h 452"/>
                <a:gd name="T14" fmla="*/ 222 w 284"/>
                <a:gd name="T15" fmla="*/ 244 h 452"/>
                <a:gd name="T16" fmla="*/ 260 w 284"/>
                <a:gd name="T17" fmla="*/ 260 h 452"/>
                <a:gd name="T18" fmla="*/ 214 w 284"/>
                <a:gd name="T19" fmla="*/ 313 h 452"/>
                <a:gd name="T20" fmla="*/ 283 w 284"/>
                <a:gd name="T21" fmla="*/ 420 h 452"/>
                <a:gd name="T22" fmla="*/ 283 w 284"/>
                <a:gd name="T23" fmla="*/ 420 h 452"/>
                <a:gd name="T24" fmla="*/ 183 w 284"/>
                <a:gd name="T25" fmla="*/ 451 h 452"/>
                <a:gd name="T26" fmla="*/ 92 w 284"/>
                <a:gd name="T27" fmla="*/ 451 h 452"/>
                <a:gd name="T28" fmla="*/ 92 w 284"/>
                <a:gd name="T29" fmla="*/ 451 h 452"/>
                <a:gd name="T30" fmla="*/ 61 w 284"/>
                <a:gd name="T31" fmla="*/ 405 h 452"/>
                <a:gd name="T32" fmla="*/ 99 w 284"/>
                <a:gd name="T33" fmla="*/ 351 h 452"/>
                <a:gd name="T34" fmla="*/ 92 w 284"/>
                <a:gd name="T35" fmla="*/ 275 h 452"/>
                <a:gd name="T36" fmla="*/ 38 w 284"/>
                <a:gd name="T37" fmla="*/ 283 h 452"/>
                <a:gd name="T38" fmla="*/ 38 w 284"/>
                <a:gd name="T39" fmla="*/ 283 h 452"/>
                <a:gd name="T40" fmla="*/ 38 w 284"/>
                <a:gd name="T41" fmla="*/ 84 h 452"/>
                <a:gd name="T42" fmla="*/ 0 w 284"/>
                <a:gd name="T43" fmla="*/ 0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84" h="452">
                  <a:moveTo>
                    <a:pt x="0" y="0"/>
                  </a:moveTo>
                  <a:lnTo>
                    <a:pt x="0" y="0"/>
                  </a:lnTo>
                  <a:cubicBezTo>
                    <a:pt x="31" y="8"/>
                    <a:pt x="61" y="0"/>
                    <a:pt x="84" y="8"/>
                  </a:cubicBezTo>
                  <a:cubicBezTo>
                    <a:pt x="107" y="15"/>
                    <a:pt x="122" y="31"/>
                    <a:pt x="138" y="46"/>
                  </a:cubicBezTo>
                  <a:cubicBezTo>
                    <a:pt x="145" y="54"/>
                    <a:pt x="138" y="69"/>
                    <a:pt x="145" y="84"/>
                  </a:cubicBezTo>
                  <a:cubicBezTo>
                    <a:pt x="145" y="84"/>
                    <a:pt x="160" y="176"/>
                    <a:pt x="168" y="183"/>
                  </a:cubicBezTo>
                  <a:cubicBezTo>
                    <a:pt x="176" y="183"/>
                    <a:pt x="222" y="199"/>
                    <a:pt x="222" y="199"/>
                  </a:cubicBezTo>
                  <a:cubicBezTo>
                    <a:pt x="222" y="214"/>
                    <a:pt x="214" y="229"/>
                    <a:pt x="222" y="244"/>
                  </a:cubicBezTo>
                  <a:cubicBezTo>
                    <a:pt x="229" y="252"/>
                    <a:pt x="260" y="244"/>
                    <a:pt x="260" y="260"/>
                  </a:cubicBezTo>
                  <a:cubicBezTo>
                    <a:pt x="260" y="283"/>
                    <a:pt x="214" y="290"/>
                    <a:pt x="214" y="313"/>
                  </a:cubicBezTo>
                  <a:cubicBezTo>
                    <a:pt x="222" y="351"/>
                    <a:pt x="260" y="382"/>
                    <a:pt x="283" y="420"/>
                  </a:cubicBezTo>
                  <a:lnTo>
                    <a:pt x="283" y="420"/>
                  </a:lnTo>
                  <a:cubicBezTo>
                    <a:pt x="252" y="428"/>
                    <a:pt x="222" y="443"/>
                    <a:pt x="183" y="451"/>
                  </a:cubicBezTo>
                  <a:cubicBezTo>
                    <a:pt x="153" y="451"/>
                    <a:pt x="122" y="451"/>
                    <a:pt x="92" y="451"/>
                  </a:cubicBezTo>
                  <a:lnTo>
                    <a:pt x="92" y="451"/>
                  </a:lnTo>
                  <a:cubicBezTo>
                    <a:pt x="77" y="436"/>
                    <a:pt x="61" y="420"/>
                    <a:pt x="61" y="405"/>
                  </a:cubicBezTo>
                  <a:cubicBezTo>
                    <a:pt x="61" y="382"/>
                    <a:pt x="92" y="374"/>
                    <a:pt x="99" y="351"/>
                  </a:cubicBezTo>
                  <a:cubicBezTo>
                    <a:pt x="99" y="321"/>
                    <a:pt x="107" y="290"/>
                    <a:pt x="92" y="275"/>
                  </a:cubicBezTo>
                  <a:cubicBezTo>
                    <a:pt x="77" y="260"/>
                    <a:pt x="54" y="275"/>
                    <a:pt x="38" y="283"/>
                  </a:cubicBezTo>
                  <a:lnTo>
                    <a:pt x="38" y="283"/>
                  </a:lnTo>
                  <a:cubicBezTo>
                    <a:pt x="38" y="214"/>
                    <a:pt x="46" y="153"/>
                    <a:pt x="38" y="84"/>
                  </a:cubicBezTo>
                  <a:cubicBezTo>
                    <a:pt x="31" y="54"/>
                    <a:pt x="15" y="31"/>
                    <a:pt x="0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60" name="Freeform 82"/>
            <p:cNvSpPr>
              <a:spLocks noChangeArrowheads="1"/>
            </p:cNvSpPr>
            <p:nvPr/>
          </p:nvSpPr>
          <p:spPr bwMode="auto">
            <a:xfrm>
              <a:off x="6079730" y="8718551"/>
              <a:ext cx="150803" cy="231775"/>
            </a:xfrm>
            <a:custGeom>
              <a:avLst/>
              <a:gdLst>
                <a:gd name="T0" fmla="*/ 0 w 420"/>
                <a:gd name="T1" fmla="*/ 23 h 643"/>
                <a:gd name="T2" fmla="*/ 0 w 420"/>
                <a:gd name="T3" fmla="*/ 23 h 643"/>
                <a:gd name="T4" fmla="*/ 46 w 420"/>
                <a:gd name="T5" fmla="*/ 0 h 643"/>
                <a:gd name="T6" fmla="*/ 46 w 420"/>
                <a:gd name="T7" fmla="*/ 0 h 643"/>
                <a:gd name="T8" fmla="*/ 122 w 420"/>
                <a:gd name="T9" fmla="*/ 107 h 643"/>
                <a:gd name="T10" fmla="*/ 183 w 420"/>
                <a:gd name="T11" fmla="*/ 176 h 643"/>
                <a:gd name="T12" fmla="*/ 197 w 420"/>
                <a:gd name="T13" fmla="*/ 123 h 643"/>
                <a:gd name="T14" fmla="*/ 297 w 420"/>
                <a:gd name="T15" fmla="*/ 230 h 643"/>
                <a:gd name="T16" fmla="*/ 327 w 420"/>
                <a:gd name="T17" fmla="*/ 260 h 643"/>
                <a:gd name="T18" fmla="*/ 305 w 420"/>
                <a:gd name="T19" fmla="*/ 291 h 643"/>
                <a:gd name="T20" fmla="*/ 350 w 420"/>
                <a:gd name="T21" fmla="*/ 291 h 643"/>
                <a:gd name="T22" fmla="*/ 350 w 420"/>
                <a:gd name="T23" fmla="*/ 291 h 643"/>
                <a:gd name="T24" fmla="*/ 404 w 420"/>
                <a:gd name="T25" fmla="*/ 283 h 643"/>
                <a:gd name="T26" fmla="*/ 411 w 420"/>
                <a:gd name="T27" fmla="*/ 359 h 643"/>
                <a:gd name="T28" fmla="*/ 373 w 420"/>
                <a:gd name="T29" fmla="*/ 413 h 643"/>
                <a:gd name="T30" fmla="*/ 404 w 420"/>
                <a:gd name="T31" fmla="*/ 459 h 643"/>
                <a:gd name="T32" fmla="*/ 404 w 420"/>
                <a:gd name="T33" fmla="*/ 459 h 643"/>
                <a:gd name="T34" fmla="*/ 343 w 420"/>
                <a:gd name="T35" fmla="*/ 535 h 643"/>
                <a:gd name="T36" fmla="*/ 389 w 420"/>
                <a:gd name="T37" fmla="*/ 581 h 643"/>
                <a:gd name="T38" fmla="*/ 350 w 420"/>
                <a:gd name="T39" fmla="*/ 642 h 643"/>
                <a:gd name="T40" fmla="*/ 350 w 420"/>
                <a:gd name="T41" fmla="*/ 642 h 643"/>
                <a:gd name="T42" fmla="*/ 274 w 420"/>
                <a:gd name="T43" fmla="*/ 611 h 643"/>
                <a:gd name="T44" fmla="*/ 160 w 420"/>
                <a:gd name="T45" fmla="*/ 627 h 643"/>
                <a:gd name="T46" fmla="*/ 160 w 420"/>
                <a:gd name="T47" fmla="*/ 627 h 643"/>
                <a:gd name="T48" fmla="*/ 69 w 420"/>
                <a:gd name="T49" fmla="*/ 535 h 643"/>
                <a:gd name="T50" fmla="*/ 38 w 420"/>
                <a:gd name="T51" fmla="*/ 390 h 643"/>
                <a:gd name="T52" fmla="*/ 38 w 420"/>
                <a:gd name="T53" fmla="*/ 390 h 643"/>
                <a:gd name="T54" fmla="*/ 92 w 420"/>
                <a:gd name="T55" fmla="*/ 306 h 643"/>
                <a:gd name="T56" fmla="*/ 15 w 420"/>
                <a:gd name="T57" fmla="*/ 115 h 643"/>
                <a:gd name="T58" fmla="*/ 0 w 420"/>
                <a:gd name="T59" fmla="*/ 23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20" h="643">
                  <a:moveTo>
                    <a:pt x="0" y="23"/>
                  </a:moveTo>
                  <a:lnTo>
                    <a:pt x="0" y="23"/>
                  </a:lnTo>
                  <a:cubicBezTo>
                    <a:pt x="46" y="0"/>
                    <a:pt x="46" y="0"/>
                    <a:pt x="46" y="0"/>
                  </a:cubicBezTo>
                  <a:lnTo>
                    <a:pt x="46" y="0"/>
                  </a:lnTo>
                  <a:cubicBezTo>
                    <a:pt x="69" y="39"/>
                    <a:pt x="92" y="77"/>
                    <a:pt x="122" y="107"/>
                  </a:cubicBezTo>
                  <a:cubicBezTo>
                    <a:pt x="145" y="130"/>
                    <a:pt x="153" y="169"/>
                    <a:pt x="183" y="176"/>
                  </a:cubicBezTo>
                  <a:cubicBezTo>
                    <a:pt x="205" y="184"/>
                    <a:pt x="183" y="115"/>
                    <a:pt x="197" y="123"/>
                  </a:cubicBezTo>
                  <a:cubicBezTo>
                    <a:pt x="243" y="146"/>
                    <a:pt x="266" y="199"/>
                    <a:pt x="297" y="230"/>
                  </a:cubicBezTo>
                  <a:cubicBezTo>
                    <a:pt x="305" y="245"/>
                    <a:pt x="320" y="252"/>
                    <a:pt x="327" y="260"/>
                  </a:cubicBezTo>
                  <a:cubicBezTo>
                    <a:pt x="327" y="275"/>
                    <a:pt x="297" y="283"/>
                    <a:pt x="305" y="291"/>
                  </a:cubicBezTo>
                  <a:cubicBezTo>
                    <a:pt x="320" y="306"/>
                    <a:pt x="335" y="291"/>
                    <a:pt x="350" y="291"/>
                  </a:cubicBezTo>
                  <a:lnTo>
                    <a:pt x="350" y="291"/>
                  </a:lnTo>
                  <a:cubicBezTo>
                    <a:pt x="366" y="283"/>
                    <a:pt x="389" y="268"/>
                    <a:pt x="404" y="283"/>
                  </a:cubicBezTo>
                  <a:cubicBezTo>
                    <a:pt x="419" y="298"/>
                    <a:pt x="411" y="329"/>
                    <a:pt x="411" y="359"/>
                  </a:cubicBezTo>
                  <a:cubicBezTo>
                    <a:pt x="404" y="382"/>
                    <a:pt x="373" y="390"/>
                    <a:pt x="373" y="413"/>
                  </a:cubicBezTo>
                  <a:cubicBezTo>
                    <a:pt x="373" y="428"/>
                    <a:pt x="389" y="444"/>
                    <a:pt x="404" y="459"/>
                  </a:cubicBezTo>
                  <a:lnTo>
                    <a:pt x="404" y="459"/>
                  </a:lnTo>
                  <a:cubicBezTo>
                    <a:pt x="381" y="482"/>
                    <a:pt x="350" y="505"/>
                    <a:pt x="343" y="535"/>
                  </a:cubicBezTo>
                  <a:cubicBezTo>
                    <a:pt x="343" y="550"/>
                    <a:pt x="389" y="558"/>
                    <a:pt x="389" y="581"/>
                  </a:cubicBezTo>
                  <a:cubicBezTo>
                    <a:pt x="389" y="604"/>
                    <a:pt x="366" y="627"/>
                    <a:pt x="350" y="642"/>
                  </a:cubicBezTo>
                  <a:lnTo>
                    <a:pt x="350" y="642"/>
                  </a:lnTo>
                  <a:cubicBezTo>
                    <a:pt x="320" y="634"/>
                    <a:pt x="297" y="611"/>
                    <a:pt x="274" y="611"/>
                  </a:cubicBezTo>
                  <a:cubicBezTo>
                    <a:pt x="236" y="604"/>
                    <a:pt x="197" y="619"/>
                    <a:pt x="160" y="627"/>
                  </a:cubicBezTo>
                  <a:lnTo>
                    <a:pt x="160" y="627"/>
                  </a:lnTo>
                  <a:cubicBezTo>
                    <a:pt x="130" y="596"/>
                    <a:pt x="92" y="566"/>
                    <a:pt x="69" y="535"/>
                  </a:cubicBezTo>
                  <a:cubicBezTo>
                    <a:pt x="54" y="489"/>
                    <a:pt x="54" y="436"/>
                    <a:pt x="38" y="390"/>
                  </a:cubicBezTo>
                  <a:lnTo>
                    <a:pt x="38" y="390"/>
                  </a:lnTo>
                  <a:cubicBezTo>
                    <a:pt x="54" y="359"/>
                    <a:pt x="92" y="337"/>
                    <a:pt x="92" y="306"/>
                  </a:cubicBezTo>
                  <a:cubicBezTo>
                    <a:pt x="84" y="237"/>
                    <a:pt x="31" y="176"/>
                    <a:pt x="15" y="115"/>
                  </a:cubicBezTo>
                  <a:cubicBezTo>
                    <a:pt x="0" y="84"/>
                    <a:pt x="8" y="54"/>
                    <a:pt x="0" y="2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61" name="Freeform 83"/>
            <p:cNvSpPr>
              <a:spLocks noChangeArrowheads="1"/>
            </p:cNvSpPr>
            <p:nvPr/>
          </p:nvSpPr>
          <p:spPr bwMode="auto">
            <a:xfrm>
              <a:off x="6203546" y="8855076"/>
              <a:ext cx="184138" cy="138113"/>
            </a:xfrm>
            <a:custGeom>
              <a:avLst/>
              <a:gdLst>
                <a:gd name="T0" fmla="*/ 61 w 512"/>
                <a:gd name="T1" fmla="*/ 77 h 383"/>
                <a:gd name="T2" fmla="*/ 61 w 512"/>
                <a:gd name="T3" fmla="*/ 77 h 383"/>
                <a:gd name="T4" fmla="*/ 152 w 512"/>
                <a:gd name="T5" fmla="*/ 77 h 383"/>
                <a:gd name="T6" fmla="*/ 252 w 512"/>
                <a:gd name="T7" fmla="*/ 46 h 383"/>
                <a:gd name="T8" fmla="*/ 252 w 512"/>
                <a:gd name="T9" fmla="*/ 46 h 383"/>
                <a:gd name="T10" fmla="*/ 298 w 512"/>
                <a:gd name="T11" fmla="*/ 69 h 383"/>
                <a:gd name="T12" fmla="*/ 450 w 512"/>
                <a:gd name="T13" fmla="*/ 0 h 383"/>
                <a:gd name="T14" fmla="*/ 496 w 512"/>
                <a:gd name="T15" fmla="*/ 62 h 383"/>
                <a:gd name="T16" fmla="*/ 420 w 512"/>
                <a:gd name="T17" fmla="*/ 168 h 383"/>
                <a:gd name="T18" fmla="*/ 511 w 512"/>
                <a:gd name="T19" fmla="*/ 268 h 383"/>
                <a:gd name="T20" fmla="*/ 511 w 512"/>
                <a:gd name="T21" fmla="*/ 268 h 383"/>
                <a:gd name="T22" fmla="*/ 397 w 512"/>
                <a:gd name="T23" fmla="*/ 329 h 383"/>
                <a:gd name="T24" fmla="*/ 68 w 512"/>
                <a:gd name="T25" fmla="*/ 382 h 383"/>
                <a:gd name="T26" fmla="*/ 68 w 512"/>
                <a:gd name="T27" fmla="*/ 382 h 383"/>
                <a:gd name="T28" fmla="*/ 53 w 512"/>
                <a:gd name="T29" fmla="*/ 275 h 383"/>
                <a:gd name="T30" fmla="*/ 7 w 512"/>
                <a:gd name="T31" fmla="*/ 260 h 383"/>
                <a:gd name="T32" fmla="*/ 7 w 512"/>
                <a:gd name="T33" fmla="*/ 260 h 383"/>
                <a:gd name="T34" fmla="*/ 46 w 512"/>
                <a:gd name="T35" fmla="*/ 199 h 383"/>
                <a:gd name="T36" fmla="*/ 0 w 512"/>
                <a:gd name="T37" fmla="*/ 153 h 383"/>
                <a:gd name="T38" fmla="*/ 61 w 512"/>
                <a:gd name="T39" fmla="*/ 77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383">
                  <a:moveTo>
                    <a:pt x="61" y="77"/>
                  </a:moveTo>
                  <a:lnTo>
                    <a:pt x="61" y="77"/>
                  </a:lnTo>
                  <a:cubicBezTo>
                    <a:pt x="91" y="77"/>
                    <a:pt x="122" y="77"/>
                    <a:pt x="152" y="77"/>
                  </a:cubicBezTo>
                  <a:cubicBezTo>
                    <a:pt x="191" y="69"/>
                    <a:pt x="221" y="54"/>
                    <a:pt x="252" y="46"/>
                  </a:cubicBezTo>
                  <a:lnTo>
                    <a:pt x="252" y="46"/>
                  </a:lnTo>
                  <a:cubicBezTo>
                    <a:pt x="267" y="54"/>
                    <a:pt x="282" y="69"/>
                    <a:pt x="298" y="69"/>
                  </a:cubicBezTo>
                  <a:cubicBezTo>
                    <a:pt x="351" y="54"/>
                    <a:pt x="397" y="0"/>
                    <a:pt x="450" y="0"/>
                  </a:cubicBezTo>
                  <a:cubicBezTo>
                    <a:pt x="481" y="0"/>
                    <a:pt x="504" y="39"/>
                    <a:pt x="496" y="62"/>
                  </a:cubicBezTo>
                  <a:cubicBezTo>
                    <a:pt x="488" y="107"/>
                    <a:pt x="427" y="123"/>
                    <a:pt x="420" y="168"/>
                  </a:cubicBezTo>
                  <a:cubicBezTo>
                    <a:pt x="412" y="184"/>
                    <a:pt x="496" y="252"/>
                    <a:pt x="511" y="268"/>
                  </a:cubicBezTo>
                  <a:lnTo>
                    <a:pt x="511" y="268"/>
                  </a:lnTo>
                  <a:cubicBezTo>
                    <a:pt x="473" y="291"/>
                    <a:pt x="435" y="314"/>
                    <a:pt x="397" y="329"/>
                  </a:cubicBezTo>
                  <a:cubicBezTo>
                    <a:pt x="282" y="367"/>
                    <a:pt x="160" y="344"/>
                    <a:pt x="68" y="382"/>
                  </a:cubicBezTo>
                  <a:lnTo>
                    <a:pt x="68" y="382"/>
                  </a:lnTo>
                  <a:cubicBezTo>
                    <a:pt x="61" y="344"/>
                    <a:pt x="68" y="306"/>
                    <a:pt x="53" y="275"/>
                  </a:cubicBezTo>
                  <a:cubicBezTo>
                    <a:pt x="46" y="260"/>
                    <a:pt x="23" y="268"/>
                    <a:pt x="7" y="260"/>
                  </a:cubicBezTo>
                  <a:lnTo>
                    <a:pt x="7" y="260"/>
                  </a:lnTo>
                  <a:cubicBezTo>
                    <a:pt x="23" y="245"/>
                    <a:pt x="46" y="222"/>
                    <a:pt x="46" y="199"/>
                  </a:cubicBezTo>
                  <a:cubicBezTo>
                    <a:pt x="46" y="176"/>
                    <a:pt x="0" y="168"/>
                    <a:pt x="0" y="153"/>
                  </a:cubicBezTo>
                  <a:cubicBezTo>
                    <a:pt x="7" y="123"/>
                    <a:pt x="38" y="100"/>
                    <a:pt x="61" y="7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62" name="Freeform 84"/>
            <p:cNvSpPr>
              <a:spLocks noChangeArrowheads="1"/>
            </p:cNvSpPr>
            <p:nvPr/>
          </p:nvSpPr>
          <p:spPr bwMode="auto">
            <a:xfrm>
              <a:off x="5825746" y="8858251"/>
              <a:ext cx="174614" cy="176213"/>
            </a:xfrm>
            <a:custGeom>
              <a:avLst/>
              <a:gdLst>
                <a:gd name="T0" fmla="*/ 352 w 483"/>
                <a:gd name="T1" fmla="*/ 8 h 490"/>
                <a:gd name="T2" fmla="*/ 352 w 483"/>
                <a:gd name="T3" fmla="*/ 8 h 490"/>
                <a:gd name="T4" fmla="*/ 451 w 483"/>
                <a:gd name="T5" fmla="*/ 84 h 490"/>
                <a:gd name="T6" fmla="*/ 474 w 483"/>
                <a:gd name="T7" fmla="*/ 160 h 490"/>
                <a:gd name="T8" fmla="*/ 474 w 483"/>
                <a:gd name="T9" fmla="*/ 221 h 490"/>
                <a:gd name="T10" fmla="*/ 474 w 483"/>
                <a:gd name="T11" fmla="*/ 329 h 490"/>
                <a:gd name="T12" fmla="*/ 474 w 483"/>
                <a:gd name="T13" fmla="*/ 329 h 490"/>
                <a:gd name="T14" fmla="*/ 390 w 483"/>
                <a:gd name="T15" fmla="*/ 405 h 490"/>
                <a:gd name="T16" fmla="*/ 336 w 483"/>
                <a:gd name="T17" fmla="*/ 390 h 490"/>
                <a:gd name="T18" fmla="*/ 191 w 483"/>
                <a:gd name="T19" fmla="*/ 489 h 490"/>
                <a:gd name="T20" fmla="*/ 191 w 483"/>
                <a:gd name="T21" fmla="*/ 489 h 490"/>
                <a:gd name="T22" fmla="*/ 31 w 483"/>
                <a:gd name="T23" fmla="*/ 390 h 490"/>
                <a:gd name="T24" fmla="*/ 0 w 483"/>
                <a:gd name="T25" fmla="*/ 290 h 490"/>
                <a:gd name="T26" fmla="*/ 0 w 483"/>
                <a:gd name="T27" fmla="*/ 290 h 490"/>
                <a:gd name="T28" fmla="*/ 184 w 483"/>
                <a:gd name="T29" fmla="*/ 283 h 490"/>
                <a:gd name="T30" fmla="*/ 199 w 483"/>
                <a:gd name="T31" fmla="*/ 221 h 490"/>
                <a:gd name="T32" fmla="*/ 145 w 483"/>
                <a:gd name="T33" fmla="*/ 99 h 490"/>
                <a:gd name="T34" fmla="*/ 184 w 483"/>
                <a:gd name="T35" fmla="*/ 15 h 490"/>
                <a:gd name="T36" fmla="*/ 275 w 483"/>
                <a:gd name="T37" fmla="*/ 23 h 490"/>
                <a:gd name="T38" fmla="*/ 352 w 483"/>
                <a:gd name="T39" fmla="*/ 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3" h="490">
                  <a:moveTo>
                    <a:pt x="352" y="8"/>
                  </a:moveTo>
                  <a:lnTo>
                    <a:pt x="352" y="8"/>
                  </a:lnTo>
                  <a:cubicBezTo>
                    <a:pt x="382" y="31"/>
                    <a:pt x="420" y="54"/>
                    <a:pt x="451" y="84"/>
                  </a:cubicBezTo>
                  <a:cubicBezTo>
                    <a:pt x="466" y="107"/>
                    <a:pt x="474" y="137"/>
                    <a:pt x="474" y="160"/>
                  </a:cubicBezTo>
                  <a:cubicBezTo>
                    <a:pt x="482" y="183"/>
                    <a:pt x="474" y="199"/>
                    <a:pt x="474" y="221"/>
                  </a:cubicBezTo>
                  <a:cubicBezTo>
                    <a:pt x="474" y="260"/>
                    <a:pt x="474" y="290"/>
                    <a:pt x="474" y="329"/>
                  </a:cubicBezTo>
                  <a:lnTo>
                    <a:pt x="474" y="329"/>
                  </a:lnTo>
                  <a:cubicBezTo>
                    <a:pt x="443" y="351"/>
                    <a:pt x="420" y="390"/>
                    <a:pt x="390" y="405"/>
                  </a:cubicBezTo>
                  <a:cubicBezTo>
                    <a:pt x="374" y="412"/>
                    <a:pt x="352" y="382"/>
                    <a:pt x="336" y="390"/>
                  </a:cubicBezTo>
                  <a:cubicBezTo>
                    <a:pt x="290" y="405"/>
                    <a:pt x="229" y="466"/>
                    <a:pt x="191" y="489"/>
                  </a:cubicBezTo>
                  <a:lnTo>
                    <a:pt x="191" y="489"/>
                  </a:lnTo>
                  <a:cubicBezTo>
                    <a:pt x="130" y="466"/>
                    <a:pt x="61" y="481"/>
                    <a:pt x="31" y="390"/>
                  </a:cubicBezTo>
                  <a:cubicBezTo>
                    <a:pt x="23" y="367"/>
                    <a:pt x="15" y="336"/>
                    <a:pt x="0" y="290"/>
                  </a:cubicBezTo>
                  <a:lnTo>
                    <a:pt x="0" y="290"/>
                  </a:lnTo>
                  <a:cubicBezTo>
                    <a:pt x="46" y="290"/>
                    <a:pt x="138" y="298"/>
                    <a:pt x="184" y="283"/>
                  </a:cubicBezTo>
                  <a:cubicBezTo>
                    <a:pt x="199" y="275"/>
                    <a:pt x="207" y="244"/>
                    <a:pt x="199" y="221"/>
                  </a:cubicBezTo>
                  <a:cubicBezTo>
                    <a:pt x="191" y="176"/>
                    <a:pt x="153" y="145"/>
                    <a:pt x="145" y="99"/>
                  </a:cubicBezTo>
                  <a:cubicBezTo>
                    <a:pt x="145" y="69"/>
                    <a:pt x="153" y="31"/>
                    <a:pt x="184" y="15"/>
                  </a:cubicBezTo>
                  <a:cubicBezTo>
                    <a:pt x="207" y="0"/>
                    <a:pt x="245" y="23"/>
                    <a:pt x="275" y="23"/>
                  </a:cubicBezTo>
                  <a:cubicBezTo>
                    <a:pt x="306" y="23"/>
                    <a:pt x="329" y="8"/>
                    <a:pt x="352" y="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63" name="Freeform 85"/>
            <p:cNvSpPr>
              <a:spLocks noChangeArrowheads="1"/>
            </p:cNvSpPr>
            <p:nvPr/>
          </p:nvSpPr>
          <p:spPr bwMode="auto">
            <a:xfrm>
              <a:off x="5930514" y="8686800"/>
              <a:ext cx="206362" cy="300038"/>
            </a:xfrm>
            <a:custGeom>
              <a:avLst/>
              <a:gdLst>
                <a:gd name="T0" fmla="*/ 237 w 574"/>
                <a:gd name="T1" fmla="*/ 39 h 834"/>
                <a:gd name="T2" fmla="*/ 237 w 574"/>
                <a:gd name="T3" fmla="*/ 39 h 834"/>
                <a:gd name="T4" fmla="*/ 268 w 574"/>
                <a:gd name="T5" fmla="*/ 138 h 834"/>
                <a:gd name="T6" fmla="*/ 237 w 574"/>
                <a:gd name="T7" fmla="*/ 176 h 834"/>
                <a:gd name="T8" fmla="*/ 344 w 574"/>
                <a:gd name="T9" fmla="*/ 344 h 834"/>
                <a:gd name="T10" fmla="*/ 413 w 574"/>
                <a:gd name="T11" fmla="*/ 421 h 834"/>
                <a:gd name="T12" fmla="*/ 451 w 574"/>
                <a:gd name="T13" fmla="*/ 474 h 834"/>
                <a:gd name="T14" fmla="*/ 451 w 574"/>
                <a:gd name="T15" fmla="*/ 474 h 834"/>
                <a:gd name="T16" fmla="*/ 482 w 574"/>
                <a:gd name="T17" fmla="*/ 619 h 834"/>
                <a:gd name="T18" fmla="*/ 573 w 574"/>
                <a:gd name="T19" fmla="*/ 711 h 834"/>
                <a:gd name="T20" fmla="*/ 573 w 574"/>
                <a:gd name="T21" fmla="*/ 711 h 834"/>
                <a:gd name="T22" fmla="*/ 535 w 574"/>
                <a:gd name="T23" fmla="*/ 749 h 834"/>
                <a:gd name="T24" fmla="*/ 482 w 574"/>
                <a:gd name="T25" fmla="*/ 718 h 834"/>
                <a:gd name="T26" fmla="*/ 413 w 574"/>
                <a:gd name="T27" fmla="*/ 749 h 834"/>
                <a:gd name="T28" fmla="*/ 413 w 574"/>
                <a:gd name="T29" fmla="*/ 818 h 834"/>
                <a:gd name="T30" fmla="*/ 413 w 574"/>
                <a:gd name="T31" fmla="*/ 818 h 834"/>
                <a:gd name="T32" fmla="*/ 291 w 574"/>
                <a:gd name="T33" fmla="*/ 833 h 834"/>
                <a:gd name="T34" fmla="*/ 184 w 574"/>
                <a:gd name="T35" fmla="*/ 803 h 834"/>
                <a:gd name="T36" fmla="*/ 184 w 574"/>
                <a:gd name="T37" fmla="*/ 803 h 834"/>
                <a:gd name="T38" fmla="*/ 184 w 574"/>
                <a:gd name="T39" fmla="*/ 695 h 834"/>
                <a:gd name="T40" fmla="*/ 184 w 574"/>
                <a:gd name="T41" fmla="*/ 634 h 834"/>
                <a:gd name="T42" fmla="*/ 161 w 574"/>
                <a:gd name="T43" fmla="*/ 558 h 834"/>
                <a:gd name="T44" fmla="*/ 62 w 574"/>
                <a:gd name="T45" fmla="*/ 482 h 834"/>
                <a:gd name="T46" fmla="*/ 62 w 574"/>
                <a:gd name="T47" fmla="*/ 482 h 834"/>
                <a:gd name="T48" fmla="*/ 0 w 574"/>
                <a:gd name="T49" fmla="*/ 344 h 834"/>
                <a:gd name="T50" fmla="*/ 0 w 574"/>
                <a:gd name="T51" fmla="*/ 184 h 834"/>
                <a:gd name="T52" fmla="*/ 0 w 574"/>
                <a:gd name="T53" fmla="*/ 184 h 834"/>
                <a:gd name="T54" fmla="*/ 84 w 574"/>
                <a:gd name="T55" fmla="*/ 123 h 834"/>
                <a:gd name="T56" fmla="*/ 207 w 574"/>
                <a:gd name="T57" fmla="*/ 8 h 834"/>
                <a:gd name="T58" fmla="*/ 237 w 574"/>
                <a:gd name="T59" fmla="*/ 39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74" h="834">
                  <a:moveTo>
                    <a:pt x="237" y="39"/>
                  </a:moveTo>
                  <a:lnTo>
                    <a:pt x="237" y="39"/>
                  </a:lnTo>
                  <a:cubicBezTo>
                    <a:pt x="245" y="69"/>
                    <a:pt x="268" y="100"/>
                    <a:pt x="268" y="138"/>
                  </a:cubicBezTo>
                  <a:cubicBezTo>
                    <a:pt x="268" y="153"/>
                    <a:pt x="237" y="161"/>
                    <a:pt x="237" y="176"/>
                  </a:cubicBezTo>
                  <a:cubicBezTo>
                    <a:pt x="260" y="237"/>
                    <a:pt x="306" y="291"/>
                    <a:pt x="344" y="344"/>
                  </a:cubicBezTo>
                  <a:cubicBezTo>
                    <a:pt x="359" y="367"/>
                    <a:pt x="390" y="390"/>
                    <a:pt x="413" y="421"/>
                  </a:cubicBezTo>
                  <a:cubicBezTo>
                    <a:pt x="428" y="436"/>
                    <a:pt x="444" y="459"/>
                    <a:pt x="451" y="474"/>
                  </a:cubicBezTo>
                  <a:lnTo>
                    <a:pt x="451" y="474"/>
                  </a:lnTo>
                  <a:cubicBezTo>
                    <a:pt x="467" y="520"/>
                    <a:pt x="467" y="573"/>
                    <a:pt x="482" y="619"/>
                  </a:cubicBezTo>
                  <a:cubicBezTo>
                    <a:pt x="505" y="650"/>
                    <a:pt x="543" y="680"/>
                    <a:pt x="573" y="711"/>
                  </a:cubicBezTo>
                  <a:lnTo>
                    <a:pt x="573" y="711"/>
                  </a:lnTo>
                  <a:cubicBezTo>
                    <a:pt x="558" y="718"/>
                    <a:pt x="558" y="749"/>
                    <a:pt x="535" y="749"/>
                  </a:cubicBezTo>
                  <a:cubicBezTo>
                    <a:pt x="520" y="749"/>
                    <a:pt x="505" y="718"/>
                    <a:pt x="482" y="718"/>
                  </a:cubicBezTo>
                  <a:cubicBezTo>
                    <a:pt x="459" y="718"/>
                    <a:pt x="428" y="726"/>
                    <a:pt x="413" y="749"/>
                  </a:cubicBezTo>
                  <a:cubicBezTo>
                    <a:pt x="405" y="772"/>
                    <a:pt x="413" y="795"/>
                    <a:pt x="413" y="818"/>
                  </a:cubicBezTo>
                  <a:lnTo>
                    <a:pt x="413" y="818"/>
                  </a:lnTo>
                  <a:cubicBezTo>
                    <a:pt x="375" y="825"/>
                    <a:pt x="329" y="833"/>
                    <a:pt x="291" y="833"/>
                  </a:cubicBezTo>
                  <a:cubicBezTo>
                    <a:pt x="253" y="833"/>
                    <a:pt x="214" y="810"/>
                    <a:pt x="184" y="803"/>
                  </a:cubicBezTo>
                  <a:lnTo>
                    <a:pt x="184" y="803"/>
                  </a:lnTo>
                  <a:cubicBezTo>
                    <a:pt x="184" y="764"/>
                    <a:pt x="184" y="734"/>
                    <a:pt x="184" y="695"/>
                  </a:cubicBezTo>
                  <a:cubicBezTo>
                    <a:pt x="184" y="673"/>
                    <a:pt x="192" y="657"/>
                    <a:pt x="184" y="634"/>
                  </a:cubicBezTo>
                  <a:cubicBezTo>
                    <a:pt x="184" y="611"/>
                    <a:pt x="176" y="581"/>
                    <a:pt x="161" y="558"/>
                  </a:cubicBezTo>
                  <a:cubicBezTo>
                    <a:pt x="130" y="528"/>
                    <a:pt x="92" y="505"/>
                    <a:pt x="62" y="482"/>
                  </a:cubicBezTo>
                  <a:lnTo>
                    <a:pt x="62" y="482"/>
                  </a:lnTo>
                  <a:cubicBezTo>
                    <a:pt x="0" y="344"/>
                    <a:pt x="0" y="344"/>
                    <a:pt x="0" y="344"/>
                  </a:cubicBezTo>
                  <a:cubicBezTo>
                    <a:pt x="0" y="184"/>
                    <a:pt x="0" y="184"/>
                    <a:pt x="0" y="184"/>
                  </a:cubicBezTo>
                  <a:lnTo>
                    <a:pt x="0" y="184"/>
                  </a:lnTo>
                  <a:cubicBezTo>
                    <a:pt x="31" y="161"/>
                    <a:pt x="62" y="146"/>
                    <a:pt x="84" y="123"/>
                  </a:cubicBezTo>
                  <a:cubicBezTo>
                    <a:pt x="123" y="84"/>
                    <a:pt x="161" y="31"/>
                    <a:pt x="207" y="8"/>
                  </a:cubicBezTo>
                  <a:cubicBezTo>
                    <a:pt x="222" y="0"/>
                    <a:pt x="230" y="23"/>
                    <a:pt x="237" y="39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64" name="Freeform 86"/>
            <p:cNvSpPr>
              <a:spLocks noChangeArrowheads="1"/>
            </p:cNvSpPr>
            <p:nvPr/>
          </p:nvSpPr>
          <p:spPr bwMode="auto">
            <a:xfrm>
              <a:off x="5524140" y="8734425"/>
              <a:ext cx="266683" cy="234950"/>
            </a:xfrm>
            <a:custGeom>
              <a:avLst/>
              <a:gdLst>
                <a:gd name="T0" fmla="*/ 657 w 742"/>
                <a:gd name="T1" fmla="*/ 451 h 651"/>
                <a:gd name="T2" fmla="*/ 657 w 742"/>
                <a:gd name="T3" fmla="*/ 451 h 651"/>
                <a:gd name="T4" fmla="*/ 741 w 742"/>
                <a:gd name="T5" fmla="*/ 229 h 651"/>
                <a:gd name="T6" fmla="*/ 680 w 742"/>
                <a:gd name="T7" fmla="*/ 161 h 651"/>
                <a:gd name="T8" fmla="*/ 603 w 742"/>
                <a:gd name="T9" fmla="*/ 23 h 651"/>
                <a:gd name="T10" fmla="*/ 603 w 742"/>
                <a:gd name="T11" fmla="*/ 23 h 651"/>
                <a:gd name="T12" fmla="*/ 558 w 742"/>
                <a:gd name="T13" fmla="*/ 38 h 651"/>
                <a:gd name="T14" fmla="*/ 497 w 742"/>
                <a:gd name="T15" fmla="*/ 8 h 651"/>
                <a:gd name="T16" fmla="*/ 451 w 742"/>
                <a:gd name="T17" fmla="*/ 84 h 651"/>
                <a:gd name="T18" fmla="*/ 397 w 742"/>
                <a:gd name="T19" fmla="*/ 214 h 651"/>
                <a:gd name="T20" fmla="*/ 321 w 742"/>
                <a:gd name="T21" fmla="*/ 306 h 651"/>
                <a:gd name="T22" fmla="*/ 99 w 742"/>
                <a:gd name="T23" fmla="*/ 298 h 651"/>
                <a:gd name="T24" fmla="*/ 99 w 742"/>
                <a:gd name="T25" fmla="*/ 298 h 651"/>
                <a:gd name="T26" fmla="*/ 69 w 742"/>
                <a:gd name="T27" fmla="*/ 405 h 651"/>
                <a:gd name="T28" fmla="*/ 0 w 742"/>
                <a:gd name="T29" fmla="*/ 466 h 651"/>
                <a:gd name="T30" fmla="*/ 76 w 742"/>
                <a:gd name="T31" fmla="*/ 604 h 651"/>
                <a:gd name="T32" fmla="*/ 252 w 742"/>
                <a:gd name="T33" fmla="*/ 650 h 651"/>
                <a:gd name="T34" fmla="*/ 527 w 742"/>
                <a:gd name="T35" fmla="*/ 581 h 651"/>
                <a:gd name="T36" fmla="*/ 657 w 742"/>
                <a:gd name="T37" fmla="*/ 451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2" h="651">
                  <a:moveTo>
                    <a:pt x="657" y="451"/>
                  </a:moveTo>
                  <a:lnTo>
                    <a:pt x="657" y="451"/>
                  </a:lnTo>
                  <a:cubicBezTo>
                    <a:pt x="680" y="390"/>
                    <a:pt x="733" y="298"/>
                    <a:pt x="741" y="229"/>
                  </a:cubicBezTo>
                  <a:cubicBezTo>
                    <a:pt x="741" y="199"/>
                    <a:pt x="695" y="184"/>
                    <a:pt x="680" y="161"/>
                  </a:cubicBezTo>
                  <a:cubicBezTo>
                    <a:pt x="649" y="115"/>
                    <a:pt x="634" y="69"/>
                    <a:pt x="603" y="23"/>
                  </a:cubicBezTo>
                  <a:lnTo>
                    <a:pt x="603" y="23"/>
                  </a:lnTo>
                  <a:cubicBezTo>
                    <a:pt x="588" y="31"/>
                    <a:pt x="573" y="46"/>
                    <a:pt x="558" y="38"/>
                  </a:cubicBezTo>
                  <a:cubicBezTo>
                    <a:pt x="535" y="38"/>
                    <a:pt x="519" y="0"/>
                    <a:pt x="497" y="8"/>
                  </a:cubicBezTo>
                  <a:cubicBezTo>
                    <a:pt x="466" y="16"/>
                    <a:pt x="466" y="54"/>
                    <a:pt x="451" y="84"/>
                  </a:cubicBezTo>
                  <a:cubicBezTo>
                    <a:pt x="428" y="130"/>
                    <a:pt x="420" y="176"/>
                    <a:pt x="397" y="214"/>
                  </a:cubicBezTo>
                  <a:cubicBezTo>
                    <a:pt x="374" y="252"/>
                    <a:pt x="344" y="275"/>
                    <a:pt x="321" y="306"/>
                  </a:cubicBezTo>
                  <a:cubicBezTo>
                    <a:pt x="99" y="298"/>
                    <a:pt x="99" y="298"/>
                    <a:pt x="99" y="298"/>
                  </a:cubicBezTo>
                  <a:lnTo>
                    <a:pt x="99" y="298"/>
                  </a:lnTo>
                  <a:cubicBezTo>
                    <a:pt x="99" y="344"/>
                    <a:pt x="107" y="359"/>
                    <a:pt x="69" y="405"/>
                  </a:cubicBezTo>
                  <a:cubicBezTo>
                    <a:pt x="61" y="420"/>
                    <a:pt x="0" y="459"/>
                    <a:pt x="0" y="466"/>
                  </a:cubicBezTo>
                  <a:cubicBezTo>
                    <a:pt x="0" y="512"/>
                    <a:pt x="38" y="581"/>
                    <a:pt x="76" y="604"/>
                  </a:cubicBezTo>
                  <a:cubicBezTo>
                    <a:pt x="145" y="642"/>
                    <a:pt x="168" y="627"/>
                    <a:pt x="252" y="650"/>
                  </a:cubicBezTo>
                  <a:cubicBezTo>
                    <a:pt x="252" y="527"/>
                    <a:pt x="443" y="581"/>
                    <a:pt x="527" y="581"/>
                  </a:cubicBezTo>
                  <a:cubicBezTo>
                    <a:pt x="497" y="489"/>
                    <a:pt x="573" y="459"/>
                    <a:pt x="657" y="45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65" name="Freeform 87"/>
            <p:cNvSpPr>
              <a:spLocks noChangeArrowheads="1"/>
            </p:cNvSpPr>
            <p:nvPr/>
          </p:nvSpPr>
          <p:spPr bwMode="auto">
            <a:xfrm>
              <a:off x="5741615" y="8701089"/>
              <a:ext cx="212711" cy="263525"/>
            </a:xfrm>
            <a:custGeom>
              <a:avLst/>
              <a:gdLst>
                <a:gd name="T0" fmla="*/ 0 w 590"/>
                <a:gd name="T1" fmla="*/ 114 h 734"/>
                <a:gd name="T2" fmla="*/ 0 w 590"/>
                <a:gd name="T3" fmla="*/ 114 h 734"/>
                <a:gd name="T4" fmla="*/ 62 w 590"/>
                <a:gd name="T5" fmla="*/ 114 h 734"/>
                <a:gd name="T6" fmla="*/ 46 w 590"/>
                <a:gd name="T7" fmla="*/ 22 h 734"/>
                <a:gd name="T8" fmla="*/ 123 w 590"/>
                <a:gd name="T9" fmla="*/ 15 h 734"/>
                <a:gd name="T10" fmla="*/ 191 w 590"/>
                <a:gd name="T11" fmla="*/ 61 h 734"/>
                <a:gd name="T12" fmla="*/ 191 w 590"/>
                <a:gd name="T13" fmla="*/ 61 h 734"/>
                <a:gd name="T14" fmla="*/ 230 w 590"/>
                <a:gd name="T15" fmla="*/ 114 h 734"/>
                <a:gd name="T16" fmla="*/ 275 w 590"/>
                <a:gd name="T17" fmla="*/ 160 h 734"/>
                <a:gd name="T18" fmla="*/ 314 w 590"/>
                <a:gd name="T19" fmla="*/ 107 h 734"/>
                <a:gd name="T20" fmla="*/ 421 w 590"/>
                <a:gd name="T21" fmla="*/ 76 h 734"/>
                <a:gd name="T22" fmla="*/ 527 w 590"/>
                <a:gd name="T23" fmla="*/ 107 h 734"/>
                <a:gd name="T24" fmla="*/ 527 w 590"/>
                <a:gd name="T25" fmla="*/ 145 h 734"/>
                <a:gd name="T26" fmla="*/ 527 w 590"/>
                <a:gd name="T27" fmla="*/ 145 h 734"/>
                <a:gd name="T28" fmla="*/ 527 w 590"/>
                <a:gd name="T29" fmla="*/ 305 h 734"/>
                <a:gd name="T30" fmla="*/ 589 w 590"/>
                <a:gd name="T31" fmla="*/ 443 h 734"/>
                <a:gd name="T32" fmla="*/ 589 w 590"/>
                <a:gd name="T33" fmla="*/ 443 h 734"/>
                <a:gd name="T34" fmla="*/ 512 w 590"/>
                <a:gd name="T35" fmla="*/ 458 h 734"/>
                <a:gd name="T36" fmla="*/ 421 w 590"/>
                <a:gd name="T37" fmla="*/ 450 h 734"/>
                <a:gd name="T38" fmla="*/ 382 w 590"/>
                <a:gd name="T39" fmla="*/ 534 h 734"/>
                <a:gd name="T40" fmla="*/ 436 w 590"/>
                <a:gd name="T41" fmla="*/ 656 h 734"/>
                <a:gd name="T42" fmla="*/ 421 w 590"/>
                <a:gd name="T43" fmla="*/ 718 h 734"/>
                <a:gd name="T44" fmla="*/ 237 w 590"/>
                <a:gd name="T45" fmla="*/ 725 h 734"/>
                <a:gd name="T46" fmla="*/ 237 w 590"/>
                <a:gd name="T47" fmla="*/ 725 h 734"/>
                <a:gd name="T48" fmla="*/ 77 w 590"/>
                <a:gd name="T49" fmla="*/ 542 h 734"/>
                <a:gd name="T50" fmla="*/ 54 w 590"/>
                <a:gd name="T51" fmla="*/ 542 h 734"/>
                <a:gd name="T52" fmla="*/ 54 w 590"/>
                <a:gd name="T53" fmla="*/ 542 h 734"/>
                <a:gd name="T54" fmla="*/ 138 w 590"/>
                <a:gd name="T55" fmla="*/ 320 h 734"/>
                <a:gd name="T56" fmla="*/ 77 w 590"/>
                <a:gd name="T57" fmla="*/ 252 h 734"/>
                <a:gd name="T58" fmla="*/ 0 w 590"/>
                <a:gd name="T59" fmla="*/ 114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90" h="734">
                  <a:moveTo>
                    <a:pt x="0" y="114"/>
                  </a:moveTo>
                  <a:lnTo>
                    <a:pt x="0" y="114"/>
                  </a:lnTo>
                  <a:cubicBezTo>
                    <a:pt x="23" y="114"/>
                    <a:pt x="54" y="129"/>
                    <a:pt x="62" y="114"/>
                  </a:cubicBezTo>
                  <a:cubicBezTo>
                    <a:pt x="77" y="84"/>
                    <a:pt x="31" y="45"/>
                    <a:pt x="46" y="22"/>
                  </a:cubicBezTo>
                  <a:cubicBezTo>
                    <a:pt x="62" y="0"/>
                    <a:pt x="100" y="7"/>
                    <a:pt x="123" y="15"/>
                  </a:cubicBezTo>
                  <a:cubicBezTo>
                    <a:pt x="153" y="22"/>
                    <a:pt x="169" y="45"/>
                    <a:pt x="191" y="61"/>
                  </a:cubicBezTo>
                  <a:lnTo>
                    <a:pt x="191" y="61"/>
                  </a:lnTo>
                  <a:cubicBezTo>
                    <a:pt x="207" y="76"/>
                    <a:pt x="214" y="99"/>
                    <a:pt x="230" y="114"/>
                  </a:cubicBezTo>
                  <a:cubicBezTo>
                    <a:pt x="245" y="129"/>
                    <a:pt x="252" y="160"/>
                    <a:pt x="275" y="160"/>
                  </a:cubicBezTo>
                  <a:cubicBezTo>
                    <a:pt x="298" y="160"/>
                    <a:pt x="291" y="114"/>
                    <a:pt x="314" y="107"/>
                  </a:cubicBezTo>
                  <a:cubicBezTo>
                    <a:pt x="344" y="84"/>
                    <a:pt x="382" y="76"/>
                    <a:pt x="421" y="76"/>
                  </a:cubicBezTo>
                  <a:cubicBezTo>
                    <a:pt x="459" y="76"/>
                    <a:pt x="497" y="91"/>
                    <a:pt x="527" y="107"/>
                  </a:cubicBezTo>
                  <a:cubicBezTo>
                    <a:pt x="535" y="114"/>
                    <a:pt x="527" y="129"/>
                    <a:pt x="527" y="145"/>
                  </a:cubicBezTo>
                  <a:lnTo>
                    <a:pt x="527" y="145"/>
                  </a:lnTo>
                  <a:cubicBezTo>
                    <a:pt x="527" y="305"/>
                    <a:pt x="527" y="305"/>
                    <a:pt x="527" y="305"/>
                  </a:cubicBezTo>
                  <a:cubicBezTo>
                    <a:pt x="589" y="443"/>
                    <a:pt x="589" y="443"/>
                    <a:pt x="589" y="443"/>
                  </a:cubicBezTo>
                  <a:lnTo>
                    <a:pt x="589" y="443"/>
                  </a:lnTo>
                  <a:cubicBezTo>
                    <a:pt x="566" y="443"/>
                    <a:pt x="543" y="458"/>
                    <a:pt x="512" y="458"/>
                  </a:cubicBezTo>
                  <a:cubicBezTo>
                    <a:pt x="482" y="458"/>
                    <a:pt x="444" y="435"/>
                    <a:pt x="421" y="450"/>
                  </a:cubicBezTo>
                  <a:cubicBezTo>
                    <a:pt x="390" y="466"/>
                    <a:pt x="382" y="504"/>
                    <a:pt x="382" y="534"/>
                  </a:cubicBezTo>
                  <a:cubicBezTo>
                    <a:pt x="390" y="580"/>
                    <a:pt x="428" y="611"/>
                    <a:pt x="436" y="656"/>
                  </a:cubicBezTo>
                  <a:cubicBezTo>
                    <a:pt x="444" y="679"/>
                    <a:pt x="436" y="710"/>
                    <a:pt x="421" y="718"/>
                  </a:cubicBezTo>
                  <a:cubicBezTo>
                    <a:pt x="375" y="733"/>
                    <a:pt x="283" y="725"/>
                    <a:pt x="237" y="725"/>
                  </a:cubicBezTo>
                  <a:lnTo>
                    <a:pt x="237" y="725"/>
                  </a:lnTo>
                  <a:cubicBezTo>
                    <a:pt x="199" y="641"/>
                    <a:pt x="146" y="542"/>
                    <a:pt x="77" y="542"/>
                  </a:cubicBezTo>
                  <a:cubicBezTo>
                    <a:pt x="69" y="542"/>
                    <a:pt x="62" y="542"/>
                    <a:pt x="54" y="542"/>
                  </a:cubicBezTo>
                  <a:lnTo>
                    <a:pt x="54" y="542"/>
                  </a:lnTo>
                  <a:cubicBezTo>
                    <a:pt x="77" y="481"/>
                    <a:pt x="130" y="389"/>
                    <a:pt x="138" y="320"/>
                  </a:cubicBezTo>
                  <a:cubicBezTo>
                    <a:pt x="138" y="290"/>
                    <a:pt x="92" y="275"/>
                    <a:pt x="77" y="252"/>
                  </a:cubicBezTo>
                  <a:cubicBezTo>
                    <a:pt x="46" y="206"/>
                    <a:pt x="31" y="160"/>
                    <a:pt x="0" y="114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66" name="Freeform 88"/>
            <p:cNvSpPr>
              <a:spLocks noChangeArrowheads="1"/>
            </p:cNvSpPr>
            <p:nvPr/>
          </p:nvSpPr>
          <p:spPr bwMode="auto">
            <a:xfrm>
              <a:off x="4951090" y="8429625"/>
              <a:ext cx="480981" cy="490538"/>
            </a:xfrm>
            <a:custGeom>
              <a:avLst/>
              <a:gdLst>
                <a:gd name="T0" fmla="*/ 1100 w 1338"/>
                <a:gd name="T1" fmla="*/ 993 h 1361"/>
                <a:gd name="T2" fmla="*/ 1100 w 1338"/>
                <a:gd name="T3" fmla="*/ 993 h 1361"/>
                <a:gd name="T4" fmla="*/ 1085 w 1338"/>
                <a:gd name="T5" fmla="*/ 856 h 1361"/>
                <a:gd name="T6" fmla="*/ 1085 w 1338"/>
                <a:gd name="T7" fmla="*/ 848 h 1361"/>
                <a:gd name="T8" fmla="*/ 1100 w 1338"/>
                <a:gd name="T9" fmla="*/ 741 h 1361"/>
                <a:gd name="T10" fmla="*/ 894 w 1338"/>
                <a:gd name="T11" fmla="*/ 696 h 1361"/>
                <a:gd name="T12" fmla="*/ 963 w 1338"/>
                <a:gd name="T13" fmla="*/ 642 h 1361"/>
                <a:gd name="T14" fmla="*/ 925 w 1338"/>
                <a:gd name="T15" fmla="*/ 566 h 1361"/>
                <a:gd name="T16" fmla="*/ 1039 w 1338"/>
                <a:gd name="T17" fmla="*/ 451 h 1361"/>
                <a:gd name="T18" fmla="*/ 1093 w 1338"/>
                <a:gd name="T19" fmla="*/ 474 h 1361"/>
                <a:gd name="T20" fmla="*/ 1238 w 1338"/>
                <a:gd name="T21" fmla="*/ 382 h 1361"/>
                <a:gd name="T22" fmla="*/ 1337 w 1338"/>
                <a:gd name="T23" fmla="*/ 352 h 1361"/>
                <a:gd name="T24" fmla="*/ 1253 w 1338"/>
                <a:gd name="T25" fmla="*/ 214 h 1361"/>
                <a:gd name="T26" fmla="*/ 1222 w 1338"/>
                <a:gd name="T27" fmla="*/ 168 h 1361"/>
                <a:gd name="T28" fmla="*/ 1222 w 1338"/>
                <a:gd name="T29" fmla="*/ 168 h 1361"/>
                <a:gd name="T30" fmla="*/ 1207 w 1338"/>
                <a:gd name="T31" fmla="*/ 130 h 1361"/>
                <a:gd name="T32" fmla="*/ 1108 w 1338"/>
                <a:gd name="T33" fmla="*/ 130 h 1361"/>
                <a:gd name="T34" fmla="*/ 1077 w 1338"/>
                <a:gd name="T35" fmla="*/ 85 h 1361"/>
                <a:gd name="T36" fmla="*/ 1039 w 1338"/>
                <a:gd name="T37" fmla="*/ 123 h 1361"/>
                <a:gd name="T38" fmla="*/ 1001 w 1338"/>
                <a:gd name="T39" fmla="*/ 92 h 1361"/>
                <a:gd name="T40" fmla="*/ 1024 w 1338"/>
                <a:gd name="T41" fmla="*/ 62 h 1361"/>
                <a:gd name="T42" fmla="*/ 1008 w 1338"/>
                <a:gd name="T43" fmla="*/ 0 h 1361"/>
                <a:gd name="T44" fmla="*/ 1008 w 1338"/>
                <a:gd name="T45" fmla="*/ 0 h 1361"/>
                <a:gd name="T46" fmla="*/ 940 w 1338"/>
                <a:gd name="T47" fmla="*/ 16 h 1361"/>
                <a:gd name="T48" fmla="*/ 818 w 1338"/>
                <a:gd name="T49" fmla="*/ 168 h 1361"/>
                <a:gd name="T50" fmla="*/ 749 w 1338"/>
                <a:gd name="T51" fmla="*/ 229 h 1361"/>
                <a:gd name="T52" fmla="*/ 688 w 1338"/>
                <a:gd name="T53" fmla="*/ 245 h 1361"/>
                <a:gd name="T54" fmla="*/ 680 w 1338"/>
                <a:gd name="T55" fmla="*/ 237 h 1361"/>
                <a:gd name="T56" fmla="*/ 672 w 1338"/>
                <a:gd name="T57" fmla="*/ 237 h 1361"/>
                <a:gd name="T58" fmla="*/ 665 w 1338"/>
                <a:gd name="T59" fmla="*/ 245 h 1361"/>
                <a:gd name="T60" fmla="*/ 543 w 1338"/>
                <a:gd name="T61" fmla="*/ 260 h 1361"/>
                <a:gd name="T62" fmla="*/ 367 w 1338"/>
                <a:gd name="T63" fmla="*/ 260 h 1361"/>
                <a:gd name="T64" fmla="*/ 344 w 1338"/>
                <a:gd name="T65" fmla="*/ 413 h 1361"/>
                <a:gd name="T66" fmla="*/ 107 w 1338"/>
                <a:gd name="T67" fmla="*/ 520 h 1361"/>
                <a:gd name="T68" fmla="*/ 0 w 1338"/>
                <a:gd name="T69" fmla="*/ 665 h 1361"/>
                <a:gd name="T70" fmla="*/ 298 w 1338"/>
                <a:gd name="T71" fmla="*/ 734 h 1361"/>
                <a:gd name="T72" fmla="*/ 291 w 1338"/>
                <a:gd name="T73" fmla="*/ 902 h 1361"/>
                <a:gd name="T74" fmla="*/ 191 w 1338"/>
                <a:gd name="T75" fmla="*/ 963 h 1361"/>
                <a:gd name="T76" fmla="*/ 184 w 1338"/>
                <a:gd name="T77" fmla="*/ 1032 h 1361"/>
                <a:gd name="T78" fmla="*/ 229 w 1338"/>
                <a:gd name="T79" fmla="*/ 1108 h 1361"/>
                <a:gd name="T80" fmla="*/ 306 w 1338"/>
                <a:gd name="T81" fmla="*/ 1024 h 1361"/>
                <a:gd name="T82" fmla="*/ 604 w 1338"/>
                <a:gd name="T83" fmla="*/ 1062 h 1361"/>
                <a:gd name="T84" fmla="*/ 336 w 1338"/>
                <a:gd name="T85" fmla="*/ 1108 h 1361"/>
                <a:gd name="T86" fmla="*/ 390 w 1338"/>
                <a:gd name="T87" fmla="*/ 1161 h 1361"/>
                <a:gd name="T88" fmla="*/ 459 w 1338"/>
                <a:gd name="T89" fmla="*/ 1291 h 1361"/>
                <a:gd name="T90" fmla="*/ 596 w 1338"/>
                <a:gd name="T91" fmla="*/ 1337 h 1361"/>
                <a:gd name="T92" fmla="*/ 795 w 1338"/>
                <a:gd name="T93" fmla="*/ 1230 h 1361"/>
                <a:gd name="T94" fmla="*/ 1008 w 1338"/>
                <a:gd name="T95" fmla="*/ 1177 h 1361"/>
                <a:gd name="T96" fmla="*/ 1100 w 1338"/>
                <a:gd name="T97" fmla="*/ 993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38" h="1361">
                  <a:moveTo>
                    <a:pt x="1100" y="993"/>
                  </a:moveTo>
                  <a:lnTo>
                    <a:pt x="1100" y="993"/>
                  </a:lnTo>
                  <a:cubicBezTo>
                    <a:pt x="1093" y="955"/>
                    <a:pt x="1093" y="894"/>
                    <a:pt x="1085" y="856"/>
                  </a:cubicBezTo>
                  <a:lnTo>
                    <a:pt x="1085" y="848"/>
                  </a:lnTo>
                  <a:cubicBezTo>
                    <a:pt x="1093" y="810"/>
                    <a:pt x="1131" y="764"/>
                    <a:pt x="1100" y="741"/>
                  </a:cubicBezTo>
                  <a:cubicBezTo>
                    <a:pt x="1047" y="696"/>
                    <a:pt x="955" y="734"/>
                    <a:pt x="894" y="696"/>
                  </a:cubicBezTo>
                  <a:cubicBezTo>
                    <a:pt x="871" y="680"/>
                    <a:pt x="955" y="673"/>
                    <a:pt x="963" y="642"/>
                  </a:cubicBezTo>
                  <a:cubicBezTo>
                    <a:pt x="970" y="619"/>
                    <a:pt x="917" y="596"/>
                    <a:pt x="925" y="566"/>
                  </a:cubicBezTo>
                  <a:cubicBezTo>
                    <a:pt x="947" y="520"/>
                    <a:pt x="993" y="482"/>
                    <a:pt x="1039" y="451"/>
                  </a:cubicBezTo>
                  <a:cubicBezTo>
                    <a:pt x="1054" y="443"/>
                    <a:pt x="1077" y="482"/>
                    <a:pt x="1093" y="474"/>
                  </a:cubicBezTo>
                  <a:cubicBezTo>
                    <a:pt x="1146" y="459"/>
                    <a:pt x="1192" y="405"/>
                    <a:pt x="1238" y="382"/>
                  </a:cubicBezTo>
                  <a:cubicBezTo>
                    <a:pt x="1268" y="367"/>
                    <a:pt x="1337" y="382"/>
                    <a:pt x="1337" y="352"/>
                  </a:cubicBezTo>
                  <a:cubicBezTo>
                    <a:pt x="1337" y="298"/>
                    <a:pt x="1276" y="260"/>
                    <a:pt x="1253" y="214"/>
                  </a:cubicBezTo>
                  <a:cubicBezTo>
                    <a:pt x="1238" y="199"/>
                    <a:pt x="1230" y="184"/>
                    <a:pt x="1222" y="168"/>
                  </a:cubicBezTo>
                  <a:lnTo>
                    <a:pt x="1222" y="168"/>
                  </a:lnTo>
                  <a:cubicBezTo>
                    <a:pt x="1215" y="153"/>
                    <a:pt x="1222" y="130"/>
                    <a:pt x="1207" y="130"/>
                  </a:cubicBezTo>
                  <a:cubicBezTo>
                    <a:pt x="1177" y="115"/>
                    <a:pt x="1138" y="138"/>
                    <a:pt x="1108" y="130"/>
                  </a:cubicBezTo>
                  <a:cubicBezTo>
                    <a:pt x="1093" y="123"/>
                    <a:pt x="1093" y="85"/>
                    <a:pt x="1077" y="85"/>
                  </a:cubicBezTo>
                  <a:cubicBezTo>
                    <a:pt x="1054" y="77"/>
                    <a:pt x="1054" y="115"/>
                    <a:pt x="1039" y="123"/>
                  </a:cubicBezTo>
                  <a:cubicBezTo>
                    <a:pt x="1024" y="123"/>
                    <a:pt x="1001" y="107"/>
                    <a:pt x="1001" y="92"/>
                  </a:cubicBezTo>
                  <a:cubicBezTo>
                    <a:pt x="993" y="85"/>
                    <a:pt x="1024" y="77"/>
                    <a:pt x="1024" y="62"/>
                  </a:cubicBezTo>
                  <a:cubicBezTo>
                    <a:pt x="1024" y="39"/>
                    <a:pt x="1008" y="23"/>
                    <a:pt x="1008" y="0"/>
                  </a:cubicBezTo>
                  <a:lnTo>
                    <a:pt x="1008" y="0"/>
                  </a:lnTo>
                  <a:cubicBezTo>
                    <a:pt x="940" y="16"/>
                    <a:pt x="940" y="16"/>
                    <a:pt x="940" y="16"/>
                  </a:cubicBezTo>
                  <a:cubicBezTo>
                    <a:pt x="917" y="16"/>
                    <a:pt x="864" y="146"/>
                    <a:pt x="818" y="168"/>
                  </a:cubicBezTo>
                  <a:cubicBezTo>
                    <a:pt x="772" y="184"/>
                    <a:pt x="733" y="168"/>
                    <a:pt x="749" y="229"/>
                  </a:cubicBezTo>
                  <a:cubicBezTo>
                    <a:pt x="756" y="268"/>
                    <a:pt x="695" y="260"/>
                    <a:pt x="688" y="245"/>
                  </a:cubicBezTo>
                  <a:cubicBezTo>
                    <a:pt x="680" y="245"/>
                    <a:pt x="680" y="237"/>
                    <a:pt x="680" y="237"/>
                  </a:cubicBezTo>
                  <a:cubicBezTo>
                    <a:pt x="680" y="237"/>
                    <a:pt x="680" y="237"/>
                    <a:pt x="672" y="237"/>
                  </a:cubicBezTo>
                  <a:lnTo>
                    <a:pt x="665" y="245"/>
                  </a:lnTo>
                  <a:cubicBezTo>
                    <a:pt x="642" y="314"/>
                    <a:pt x="543" y="382"/>
                    <a:pt x="543" y="260"/>
                  </a:cubicBezTo>
                  <a:cubicBezTo>
                    <a:pt x="512" y="252"/>
                    <a:pt x="397" y="252"/>
                    <a:pt x="367" y="260"/>
                  </a:cubicBezTo>
                  <a:cubicBezTo>
                    <a:pt x="367" y="306"/>
                    <a:pt x="413" y="382"/>
                    <a:pt x="344" y="413"/>
                  </a:cubicBezTo>
                  <a:cubicBezTo>
                    <a:pt x="260" y="443"/>
                    <a:pt x="191" y="466"/>
                    <a:pt x="107" y="520"/>
                  </a:cubicBezTo>
                  <a:cubicBezTo>
                    <a:pt x="23" y="566"/>
                    <a:pt x="0" y="550"/>
                    <a:pt x="0" y="665"/>
                  </a:cubicBezTo>
                  <a:cubicBezTo>
                    <a:pt x="138" y="665"/>
                    <a:pt x="191" y="604"/>
                    <a:pt x="298" y="734"/>
                  </a:cubicBezTo>
                  <a:cubicBezTo>
                    <a:pt x="329" y="764"/>
                    <a:pt x="359" y="902"/>
                    <a:pt x="291" y="902"/>
                  </a:cubicBezTo>
                  <a:cubicBezTo>
                    <a:pt x="184" y="902"/>
                    <a:pt x="260" y="894"/>
                    <a:pt x="191" y="963"/>
                  </a:cubicBezTo>
                  <a:cubicBezTo>
                    <a:pt x="107" y="1039"/>
                    <a:pt x="69" y="948"/>
                    <a:pt x="184" y="1032"/>
                  </a:cubicBezTo>
                  <a:cubicBezTo>
                    <a:pt x="207" y="1047"/>
                    <a:pt x="199" y="1108"/>
                    <a:pt x="229" y="1108"/>
                  </a:cubicBezTo>
                  <a:cubicBezTo>
                    <a:pt x="237" y="1108"/>
                    <a:pt x="268" y="1032"/>
                    <a:pt x="306" y="1024"/>
                  </a:cubicBezTo>
                  <a:cubicBezTo>
                    <a:pt x="428" y="1047"/>
                    <a:pt x="481" y="1062"/>
                    <a:pt x="604" y="1062"/>
                  </a:cubicBezTo>
                  <a:cubicBezTo>
                    <a:pt x="604" y="1100"/>
                    <a:pt x="367" y="1108"/>
                    <a:pt x="336" y="1108"/>
                  </a:cubicBezTo>
                  <a:cubicBezTo>
                    <a:pt x="260" y="1123"/>
                    <a:pt x="375" y="1154"/>
                    <a:pt x="390" y="1161"/>
                  </a:cubicBezTo>
                  <a:cubicBezTo>
                    <a:pt x="451" y="1192"/>
                    <a:pt x="367" y="1261"/>
                    <a:pt x="459" y="1291"/>
                  </a:cubicBezTo>
                  <a:cubicBezTo>
                    <a:pt x="596" y="1337"/>
                    <a:pt x="596" y="1337"/>
                    <a:pt x="596" y="1337"/>
                  </a:cubicBezTo>
                  <a:cubicBezTo>
                    <a:pt x="665" y="1360"/>
                    <a:pt x="711" y="1223"/>
                    <a:pt x="795" y="1230"/>
                  </a:cubicBezTo>
                  <a:cubicBezTo>
                    <a:pt x="894" y="1230"/>
                    <a:pt x="917" y="1200"/>
                    <a:pt x="1008" y="1177"/>
                  </a:cubicBezTo>
                  <a:cubicBezTo>
                    <a:pt x="1008" y="1077"/>
                    <a:pt x="1024" y="1009"/>
                    <a:pt x="1100" y="99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67" name="Freeform 89"/>
            <p:cNvSpPr>
              <a:spLocks noChangeArrowheads="1"/>
            </p:cNvSpPr>
            <p:nvPr/>
          </p:nvSpPr>
          <p:spPr bwMode="auto">
            <a:xfrm>
              <a:off x="5265395" y="8399463"/>
              <a:ext cx="633371" cy="457200"/>
            </a:xfrm>
            <a:custGeom>
              <a:avLst/>
              <a:gdLst>
                <a:gd name="T0" fmla="*/ 229 w 1758"/>
                <a:gd name="T1" fmla="*/ 1077 h 1269"/>
                <a:gd name="T2" fmla="*/ 229 w 1758"/>
                <a:gd name="T3" fmla="*/ 1077 h 1269"/>
                <a:gd name="T4" fmla="*/ 214 w 1758"/>
                <a:gd name="T5" fmla="*/ 940 h 1269"/>
                <a:gd name="T6" fmla="*/ 214 w 1758"/>
                <a:gd name="T7" fmla="*/ 932 h 1269"/>
                <a:gd name="T8" fmla="*/ 229 w 1758"/>
                <a:gd name="T9" fmla="*/ 825 h 1269"/>
                <a:gd name="T10" fmla="*/ 23 w 1758"/>
                <a:gd name="T11" fmla="*/ 780 h 1269"/>
                <a:gd name="T12" fmla="*/ 92 w 1758"/>
                <a:gd name="T13" fmla="*/ 726 h 1269"/>
                <a:gd name="T14" fmla="*/ 54 w 1758"/>
                <a:gd name="T15" fmla="*/ 650 h 1269"/>
                <a:gd name="T16" fmla="*/ 168 w 1758"/>
                <a:gd name="T17" fmla="*/ 535 h 1269"/>
                <a:gd name="T18" fmla="*/ 222 w 1758"/>
                <a:gd name="T19" fmla="*/ 558 h 1269"/>
                <a:gd name="T20" fmla="*/ 367 w 1758"/>
                <a:gd name="T21" fmla="*/ 466 h 1269"/>
                <a:gd name="T22" fmla="*/ 466 w 1758"/>
                <a:gd name="T23" fmla="*/ 436 h 1269"/>
                <a:gd name="T24" fmla="*/ 382 w 1758"/>
                <a:gd name="T25" fmla="*/ 298 h 1269"/>
                <a:gd name="T26" fmla="*/ 351 w 1758"/>
                <a:gd name="T27" fmla="*/ 252 h 1269"/>
                <a:gd name="T28" fmla="*/ 351 w 1758"/>
                <a:gd name="T29" fmla="*/ 252 h 1269"/>
                <a:gd name="T30" fmla="*/ 550 w 1758"/>
                <a:gd name="T31" fmla="*/ 260 h 1269"/>
                <a:gd name="T32" fmla="*/ 642 w 1758"/>
                <a:gd name="T33" fmla="*/ 291 h 1269"/>
                <a:gd name="T34" fmla="*/ 741 w 1758"/>
                <a:gd name="T35" fmla="*/ 230 h 1269"/>
                <a:gd name="T36" fmla="*/ 848 w 1758"/>
                <a:gd name="T37" fmla="*/ 260 h 1269"/>
                <a:gd name="T38" fmla="*/ 1100 w 1758"/>
                <a:gd name="T39" fmla="*/ 77 h 1269"/>
                <a:gd name="T40" fmla="*/ 1192 w 1758"/>
                <a:gd name="T41" fmla="*/ 107 h 1269"/>
                <a:gd name="T42" fmla="*/ 1298 w 1758"/>
                <a:gd name="T43" fmla="*/ 16 h 1269"/>
                <a:gd name="T44" fmla="*/ 1360 w 1758"/>
                <a:gd name="T45" fmla="*/ 54 h 1269"/>
                <a:gd name="T46" fmla="*/ 1413 w 1758"/>
                <a:gd name="T47" fmla="*/ 0 h 1269"/>
                <a:gd name="T48" fmla="*/ 1558 w 1758"/>
                <a:gd name="T49" fmla="*/ 92 h 1269"/>
                <a:gd name="T50" fmla="*/ 1589 w 1758"/>
                <a:gd name="T51" fmla="*/ 39 h 1269"/>
                <a:gd name="T52" fmla="*/ 1589 w 1758"/>
                <a:gd name="T53" fmla="*/ 39 h 1269"/>
                <a:gd name="T54" fmla="*/ 1650 w 1758"/>
                <a:gd name="T55" fmla="*/ 61 h 1269"/>
                <a:gd name="T56" fmla="*/ 1642 w 1758"/>
                <a:gd name="T57" fmla="*/ 138 h 1269"/>
                <a:gd name="T58" fmla="*/ 1719 w 1758"/>
                <a:gd name="T59" fmla="*/ 169 h 1269"/>
                <a:gd name="T60" fmla="*/ 1757 w 1758"/>
                <a:gd name="T61" fmla="*/ 283 h 1269"/>
                <a:gd name="T62" fmla="*/ 1673 w 1758"/>
                <a:gd name="T63" fmla="*/ 505 h 1269"/>
                <a:gd name="T64" fmla="*/ 1658 w 1758"/>
                <a:gd name="T65" fmla="*/ 665 h 1269"/>
                <a:gd name="T66" fmla="*/ 1581 w 1758"/>
                <a:gd name="T67" fmla="*/ 749 h 1269"/>
                <a:gd name="T68" fmla="*/ 1512 w 1758"/>
                <a:gd name="T69" fmla="*/ 902 h 1269"/>
                <a:gd name="T70" fmla="*/ 1512 w 1758"/>
                <a:gd name="T71" fmla="*/ 902 h 1269"/>
                <a:gd name="T72" fmla="*/ 1444 w 1758"/>
                <a:gd name="T73" fmla="*/ 856 h 1269"/>
                <a:gd name="T74" fmla="*/ 1367 w 1758"/>
                <a:gd name="T75" fmla="*/ 863 h 1269"/>
                <a:gd name="T76" fmla="*/ 1383 w 1758"/>
                <a:gd name="T77" fmla="*/ 955 h 1269"/>
                <a:gd name="T78" fmla="*/ 1321 w 1758"/>
                <a:gd name="T79" fmla="*/ 955 h 1269"/>
                <a:gd name="T80" fmla="*/ 1321 w 1758"/>
                <a:gd name="T81" fmla="*/ 955 h 1269"/>
                <a:gd name="T82" fmla="*/ 1276 w 1758"/>
                <a:gd name="T83" fmla="*/ 970 h 1269"/>
                <a:gd name="T84" fmla="*/ 1215 w 1758"/>
                <a:gd name="T85" fmla="*/ 940 h 1269"/>
                <a:gd name="T86" fmla="*/ 1169 w 1758"/>
                <a:gd name="T87" fmla="*/ 1016 h 1269"/>
                <a:gd name="T88" fmla="*/ 1115 w 1758"/>
                <a:gd name="T89" fmla="*/ 1146 h 1269"/>
                <a:gd name="T90" fmla="*/ 1039 w 1758"/>
                <a:gd name="T91" fmla="*/ 1238 h 1269"/>
                <a:gd name="T92" fmla="*/ 817 w 1758"/>
                <a:gd name="T93" fmla="*/ 1230 h 1269"/>
                <a:gd name="T94" fmla="*/ 817 w 1758"/>
                <a:gd name="T95" fmla="*/ 1230 h 1269"/>
                <a:gd name="T96" fmla="*/ 665 w 1758"/>
                <a:gd name="T97" fmla="*/ 1177 h 1269"/>
                <a:gd name="T98" fmla="*/ 573 w 1758"/>
                <a:gd name="T99" fmla="*/ 1062 h 1269"/>
                <a:gd name="T100" fmla="*/ 466 w 1758"/>
                <a:gd name="T101" fmla="*/ 1108 h 1269"/>
                <a:gd name="T102" fmla="*/ 336 w 1758"/>
                <a:gd name="T103" fmla="*/ 1077 h 1269"/>
                <a:gd name="T104" fmla="*/ 229 w 1758"/>
                <a:gd name="T105" fmla="*/ 1077 h 1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58" h="1269">
                  <a:moveTo>
                    <a:pt x="229" y="1077"/>
                  </a:moveTo>
                  <a:lnTo>
                    <a:pt x="229" y="1077"/>
                  </a:lnTo>
                  <a:cubicBezTo>
                    <a:pt x="222" y="1039"/>
                    <a:pt x="222" y="978"/>
                    <a:pt x="214" y="940"/>
                  </a:cubicBezTo>
                  <a:lnTo>
                    <a:pt x="214" y="932"/>
                  </a:lnTo>
                  <a:cubicBezTo>
                    <a:pt x="222" y="894"/>
                    <a:pt x="260" y="848"/>
                    <a:pt x="229" y="825"/>
                  </a:cubicBezTo>
                  <a:cubicBezTo>
                    <a:pt x="176" y="780"/>
                    <a:pt x="84" y="818"/>
                    <a:pt x="23" y="780"/>
                  </a:cubicBezTo>
                  <a:cubicBezTo>
                    <a:pt x="0" y="764"/>
                    <a:pt x="84" y="757"/>
                    <a:pt x="92" y="726"/>
                  </a:cubicBezTo>
                  <a:cubicBezTo>
                    <a:pt x="99" y="703"/>
                    <a:pt x="46" y="680"/>
                    <a:pt x="54" y="650"/>
                  </a:cubicBezTo>
                  <a:cubicBezTo>
                    <a:pt x="76" y="604"/>
                    <a:pt x="122" y="566"/>
                    <a:pt x="168" y="535"/>
                  </a:cubicBezTo>
                  <a:cubicBezTo>
                    <a:pt x="183" y="527"/>
                    <a:pt x="206" y="566"/>
                    <a:pt x="222" y="558"/>
                  </a:cubicBezTo>
                  <a:cubicBezTo>
                    <a:pt x="275" y="543"/>
                    <a:pt x="321" y="489"/>
                    <a:pt x="367" y="466"/>
                  </a:cubicBezTo>
                  <a:cubicBezTo>
                    <a:pt x="397" y="451"/>
                    <a:pt x="466" y="466"/>
                    <a:pt x="466" y="436"/>
                  </a:cubicBezTo>
                  <a:cubicBezTo>
                    <a:pt x="466" y="382"/>
                    <a:pt x="405" y="344"/>
                    <a:pt x="382" y="298"/>
                  </a:cubicBezTo>
                  <a:cubicBezTo>
                    <a:pt x="367" y="283"/>
                    <a:pt x="359" y="268"/>
                    <a:pt x="351" y="252"/>
                  </a:cubicBezTo>
                  <a:lnTo>
                    <a:pt x="351" y="252"/>
                  </a:lnTo>
                  <a:cubicBezTo>
                    <a:pt x="412" y="252"/>
                    <a:pt x="481" y="252"/>
                    <a:pt x="550" y="260"/>
                  </a:cubicBezTo>
                  <a:cubicBezTo>
                    <a:pt x="581" y="268"/>
                    <a:pt x="611" y="298"/>
                    <a:pt x="642" y="291"/>
                  </a:cubicBezTo>
                  <a:cubicBezTo>
                    <a:pt x="680" y="283"/>
                    <a:pt x="703" y="230"/>
                    <a:pt x="741" y="230"/>
                  </a:cubicBezTo>
                  <a:cubicBezTo>
                    <a:pt x="779" y="222"/>
                    <a:pt x="817" y="275"/>
                    <a:pt x="848" y="260"/>
                  </a:cubicBezTo>
                  <a:cubicBezTo>
                    <a:pt x="947" y="222"/>
                    <a:pt x="1008" y="123"/>
                    <a:pt x="1100" y="77"/>
                  </a:cubicBezTo>
                  <a:cubicBezTo>
                    <a:pt x="1131" y="61"/>
                    <a:pt x="1161" y="115"/>
                    <a:pt x="1192" y="107"/>
                  </a:cubicBezTo>
                  <a:cubicBezTo>
                    <a:pt x="1237" y="92"/>
                    <a:pt x="1253" y="31"/>
                    <a:pt x="1298" y="16"/>
                  </a:cubicBezTo>
                  <a:cubicBezTo>
                    <a:pt x="1321" y="8"/>
                    <a:pt x="1337" y="54"/>
                    <a:pt x="1360" y="54"/>
                  </a:cubicBezTo>
                  <a:cubicBezTo>
                    <a:pt x="1383" y="46"/>
                    <a:pt x="1390" y="0"/>
                    <a:pt x="1413" y="0"/>
                  </a:cubicBezTo>
                  <a:cubicBezTo>
                    <a:pt x="1474" y="16"/>
                    <a:pt x="1505" y="84"/>
                    <a:pt x="1558" y="92"/>
                  </a:cubicBezTo>
                  <a:cubicBezTo>
                    <a:pt x="1581" y="100"/>
                    <a:pt x="1581" y="54"/>
                    <a:pt x="1589" y="39"/>
                  </a:cubicBezTo>
                  <a:lnTo>
                    <a:pt x="1589" y="39"/>
                  </a:lnTo>
                  <a:cubicBezTo>
                    <a:pt x="1612" y="46"/>
                    <a:pt x="1635" y="46"/>
                    <a:pt x="1650" y="61"/>
                  </a:cubicBezTo>
                  <a:cubicBezTo>
                    <a:pt x="1658" y="84"/>
                    <a:pt x="1635" y="115"/>
                    <a:pt x="1642" y="138"/>
                  </a:cubicBezTo>
                  <a:cubicBezTo>
                    <a:pt x="1658" y="161"/>
                    <a:pt x="1703" y="146"/>
                    <a:pt x="1719" y="169"/>
                  </a:cubicBezTo>
                  <a:cubicBezTo>
                    <a:pt x="1742" y="199"/>
                    <a:pt x="1757" y="245"/>
                    <a:pt x="1757" y="283"/>
                  </a:cubicBezTo>
                  <a:cubicBezTo>
                    <a:pt x="1742" y="359"/>
                    <a:pt x="1696" y="428"/>
                    <a:pt x="1673" y="505"/>
                  </a:cubicBezTo>
                  <a:cubicBezTo>
                    <a:pt x="1658" y="558"/>
                    <a:pt x="1673" y="619"/>
                    <a:pt x="1658" y="665"/>
                  </a:cubicBezTo>
                  <a:cubicBezTo>
                    <a:pt x="1642" y="703"/>
                    <a:pt x="1596" y="711"/>
                    <a:pt x="1581" y="749"/>
                  </a:cubicBezTo>
                  <a:cubicBezTo>
                    <a:pt x="1551" y="795"/>
                    <a:pt x="1535" y="848"/>
                    <a:pt x="1512" y="902"/>
                  </a:cubicBezTo>
                  <a:lnTo>
                    <a:pt x="1512" y="902"/>
                  </a:lnTo>
                  <a:cubicBezTo>
                    <a:pt x="1490" y="886"/>
                    <a:pt x="1474" y="863"/>
                    <a:pt x="1444" y="856"/>
                  </a:cubicBezTo>
                  <a:cubicBezTo>
                    <a:pt x="1421" y="848"/>
                    <a:pt x="1383" y="841"/>
                    <a:pt x="1367" y="863"/>
                  </a:cubicBezTo>
                  <a:cubicBezTo>
                    <a:pt x="1352" y="886"/>
                    <a:pt x="1398" y="925"/>
                    <a:pt x="1383" y="955"/>
                  </a:cubicBezTo>
                  <a:cubicBezTo>
                    <a:pt x="1375" y="970"/>
                    <a:pt x="1344" y="955"/>
                    <a:pt x="1321" y="955"/>
                  </a:cubicBezTo>
                  <a:lnTo>
                    <a:pt x="1321" y="955"/>
                  </a:lnTo>
                  <a:cubicBezTo>
                    <a:pt x="1306" y="963"/>
                    <a:pt x="1291" y="978"/>
                    <a:pt x="1276" y="970"/>
                  </a:cubicBezTo>
                  <a:cubicBezTo>
                    <a:pt x="1253" y="970"/>
                    <a:pt x="1237" y="932"/>
                    <a:pt x="1215" y="940"/>
                  </a:cubicBezTo>
                  <a:cubicBezTo>
                    <a:pt x="1184" y="948"/>
                    <a:pt x="1184" y="986"/>
                    <a:pt x="1169" y="1016"/>
                  </a:cubicBezTo>
                  <a:cubicBezTo>
                    <a:pt x="1146" y="1062"/>
                    <a:pt x="1138" y="1108"/>
                    <a:pt x="1115" y="1146"/>
                  </a:cubicBezTo>
                  <a:cubicBezTo>
                    <a:pt x="1092" y="1184"/>
                    <a:pt x="1062" y="1207"/>
                    <a:pt x="1039" y="1238"/>
                  </a:cubicBezTo>
                  <a:cubicBezTo>
                    <a:pt x="817" y="1230"/>
                    <a:pt x="817" y="1230"/>
                    <a:pt x="817" y="1230"/>
                  </a:cubicBezTo>
                  <a:lnTo>
                    <a:pt x="817" y="1230"/>
                  </a:lnTo>
                  <a:cubicBezTo>
                    <a:pt x="756" y="1230"/>
                    <a:pt x="710" y="1268"/>
                    <a:pt x="665" y="1177"/>
                  </a:cubicBezTo>
                  <a:cubicBezTo>
                    <a:pt x="642" y="1161"/>
                    <a:pt x="581" y="1093"/>
                    <a:pt x="573" y="1062"/>
                  </a:cubicBezTo>
                  <a:cubicBezTo>
                    <a:pt x="542" y="1062"/>
                    <a:pt x="497" y="1100"/>
                    <a:pt x="466" y="1108"/>
                  </a:cubicBezTo>
                  <a:cubicBezTo>
                    <a:pt x="412" y="1123"/>
                    <a:pt x="374" y="1085"/>
                    <a:pt x="336" y="1077"/>
                  </a:cubicBezTo>
                  <a:cubicBezTo>
                    <a:pt x="290" y="1070"/>
                    <a:pt x="252" y="1070"/>
                    <a:pt x="229" y="107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68" name="Freeform 90"/>
            <p:cNvSpPr>
              <a:spLocks noChangeArrowheads="1"/>
            </p:cNvSpPr>
            <p:nvPr/>
          </p:nvSpPr>
          <p:spPr bwMode="auto">
            <a:xfrm>
              <a:off x="5309843" y="8005763"/>
              <a:ext cx="585749" cy="500062"/>
            </a:xfrm>
            <a:custGeom>
              <a:avLst/>
              <a:gdLst>
                <a:gd name="T0" fmla="*/ 963 w 1628"/>
                <a:gd name="T1" fmla="*/ 84 h 1391"/>
                <a:gd name="T2" fmla="*/ 963 w 1628"/>
                <a:gd name="T3" fmla="*/ 84 h 1391"/>
                <a:gd name="T4" fmla="*/ 1215 w 1628"/>
                <a:gd name="T5" fmla="*/ 8 h 1391"/>
                <a:gd name="T6" fmla="*/ 1215 w 1628"/>
                <a:gd name="T7" fmla="*/ 8 h 1391"/>
                <a:gd name="T8" fmla="*/ 1345 w 1628"/>
                <a:gd name="T9" fmla="*/ 31 h 1391"/>
                <a:gd name="T10" fmla="*/ 1337 w 1628"/>
                <a:gd name="T11" fmla="*/ 122 h 1391"/>
                <a:gd name="T12" fmla="*/ 1375 w 1628"/>
                <a:gd name="T13" fmla="*/ 222 h 1391"/>
                <a:gd name="T14" fmla="*/ 1497 w 1628"/>
                <a:gd name="T15" fmla="*/ 145 h 1391"/>
                <a:gd name="T16" fmla="*/ 1505 w 1628"/>
                <a:gd name="T17" fmla="*/ 206 h 1391"/>
                <a:gd name="T18" fmla="*/ 1474 w 1628"/>
                <a:gd name="T19" fmla="*/ 252 h 1391"/>
                <a:gd name="T20" fmla="*/ 1467 w 1628"/>
                <a:gd name="T21" fmla="*/ 313 h 1391"/>
                <a:gd name="T22" fmla="*/ 1520 w 1628"/>
                <a:gd name="T23" fmla="*/ 374 h 1391"/>
                <a:gd name="T24" fmla="*/ 1574 w 1628"/>
                <a:gd name="T25" fmla="*/ 497 h 1391"/>
                <a:gd name="T26" fmla="*/ 1620 w 1628"/>
                <a:gd name="T27" fmla="*/ 550 h 1391"/>
                <a:gd name="T28" fmla="*/ 1528 w 1628"/>
                <a:gd name="T29" fmla="*/ 611 h 1391"/>
                <a:gd name="T30" fmla="*/ 1482 w 1628"/>
                <a:gd name="T31" fmla="*/ 649 h 1391"/>
                <a:gd name="T32" fmla="*/ 1551 w 1628"/>
                <a:gd name="T33" fmla="*/ 741 h 1391"/>
                <a:gd name="T34" fmla="*/ 1490 w 1628"/>
                <a:gd name="T35" fmla="*/ 779 h 1391"/>
                <a:gd name="T36" fmla="*/ 1490 w 1628"/>
                <a:gd name="T37" fmla="*/ 894 h 1391"/>
                <a:gd name="T38" fmla="*/ 1513 w 1628"/>
                <a:gd name="T39" fmla="*/ 1062 h 1391"/>
                <a:gd name="T40" fmla="*/ 1467 w 1628"/>
                <a:gd name="T41" fmla="*/ 1131 h 1391"/>
                <a:gd name="T42" fmla="*/ 1467 w 1628"/>
                <a:gd name="T43" fmla="*/ 1131 h 1391"/>
                <a:gd name="T44" fmla="*/ 1436 w 1628"/>
                <a:gd name="T45" fmla="*/ 1184 h 1391"/>
                <a:gd name="T46" fmla="*/ 1291 w 1628"/>
                <a:gd name="T47" fmla="*/ 1092 h 1391"/>
                <a:gd name="T48" fmla="*/ 1238 w 1628"/>
                <a:gd name="T49" fmla="*/ 1146 h 1391"/>
                <a:gd name="T50" fmla="*/ 1176 w 1628"/>
                <a:gd name="T51" fmla="*/ 1108 h 1391"/>
                <a:gd name="T52" fmla="*/ 1070 w 1628"/>
                <a:gd name="T53" fmla="*/ 1199 h 1391"/>
                <a:gd name="T54" fmla="*/ 978 w 1628"/>
                <a:gd name="T55" fmla="*/ 1169 h 1391"/>
                <a:gd name="T56" fmla="*/ 726 w 1628"/>
                <a:gd name="T57" fmla="*/ 1352 h 1391"/>
                <a:gd name="T58" fmla="*/ 619 w 1628"/>
                <a:gd name="T59" fmla="*/ 1322 h 1391"/>
                <a:gd name="T60" fmla="*/ 520 w 1628"/>
                <a:gd name="T61" fmla="*/ 1383 h 1391"/>
                <a:gd name="T62" fmla="*/ 428 w 1628"/>
                <a:gd name="T63" fmla="*/ 1352 h 1391"/>
                <a:gd name="T64" fmla="*/ 229 w 1628"/>
                <a:gd name="T65" fmla="*/ 1344 h 1391"/>
                <a:gd name="T66" fmla="*/ 229 w 1628"/>
                <a:gd name="T67" fmla="*/ 1344 h 1391"/>
                <a:gd name="T68" fmla="*/ 214 w 1628"/>
                <a:gd name="T69" fmla="*/ 1306 h 1391"/>
                <a:gd name="T70" fmla="*/ 115 w 1628"/>
                <a:gd name="T71" fmla="*/ 1306 h 1391"/>
                <a:gd name="T72" fmla="*/ 84 w 1628"/>
                <a:gd name="T73" fmla="*/ 1261 h 1391"/>
                <a:gd name="T74" fmla="*/ 46 w 1628"/>
                <a:gd name="T75" fmla="*/ 1299 h 1391"/>
                <a:gd name="T76" fmla="*/ 8 w 1628"/>
                <a:gd name="T77" fmla="*/ 1268 h 1391"/>
                <a:gd name="T78" fmla="*/ 31 w 1628"/>
                <a:gd name="T79" fmla="*/ 1238 h 1391"/>
                <a:gd name="T80" fmla="*/ 15 w 1628"/>
                <a:gd name="T81" fmla="*/ 1176 h 1391"/>
                <a:gd name="T82" fmla="*/ 15 w 1628"/>
                <a:gd name="T83" fmla="*/ 1176 h 1391"/>
                <a:gd name="T84" fmla="*/ 176 w 1628"/>
                <a:gd name="T85" fmla="*/ 1138 h 1391"/>
                <a:gd name="T86" fmla="*/ 290 w 1628"/>
                <a:gd name="T87" fmla="*/ 1131 h 1391"/>
                <a:gd name="T88" fmla="*/ 436 w 1628"/>
                <a:gd name="T89" fmla="*/ 1016 h 1391"/>
                <a:gd name="T90" fmla="*/ 504 w 1628"/>
                <a:gd name="T91" fmla="*/ 932 h 1391"/>
                <a:gd name="T92" fmla="*/ 627 w 1628"/>
                <a:gd name="T93" fmla="*/ 901 h 1391"/>
                <a:gd name="T94" fmla="*/ 734 w 1628"/>
                <a:gd name="T95" fmla="*/ 787 h 1391"/>
                <a:gd name="T96" fmla="*/ 932 w 1628"/>
                <a:gd name="T97" fmla="*/ 443 h 1391"/>
                <a:gd name="T98" fmla="*/ 947 w 1628"/>
                <a:gd name="T99" fmla="*/ 336 h 1391"/>
                <a:gd name="T100" fmla="*/ 986 w 1628"/>
                <a:gd name="T101" fmla="*/ 275 h 1391"/>
                <a:gd name="T102" fmla="*/ 986 w 1628"/>
                <a:gd name="T103" fmla="*/ 122 h 1391"/>
                <a:gd name="T104" fmla="*/ 1077 w 1628"/>
                <a:gd name="T105" fmla="*/ 107 h 1391"/>
                <a:gd name="T106" fmla="*/ 1077 w 1628"/>
                <a:gd name="T107" fmla="*/ 100 h 1391"/>
                <a:gd name="T108" fmla="*/ 963 w 1628"/>
                <a:gd name="T109" fmla="*/ 84 h 1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28" h="1391">
                  <a:moveTo>
                    <a:pt x="963" y="84"/>
                  </a:moveTo>
                  <a:lnTo>
                    <a:pt x="963" y="84"/>
                  </a:lnTo>
                  <a:cubicBezTo>
                    <a:pt x="1215" y="8"/>
                    <a:pt x="1215" y="8"/>
                    <a:pt x="1215" y="8"/>
                  </a:cubicBezTo>
                  <a:lnTo>
                    <a:pt x="1215" y="8"/>
                  </a:lnTo>
                  <a:cubicBezTo>
                    <a:pt x="1261" y="15"/>
                    <a:pt x="1314" y="0"/>
                    <a:pt x="1345" y="31"/>
                  </a:cubicBezTo>
                  <a:cubicBezTo>
                    <a:pt x="1368" y="54"/>
                    <a:pt x="1337" y="92"/>
                    <a:pt x="1337" y="122"/>
                  </a:cubicBezTo>
                  <a:cubicBezTo>
                    <a:pt x="1345" y="153"/>
                    <a:pt x="1337" y="214"/>
                    <a:pt x="1375" y="222"/>
                  </a:cubicBezTo>
                  <a:cubicBezTo>
                    <a:pt x="1421" y="229"/>
                    <a:pt x="1459" y="176"/>
                    <a:pt x="1497" y="145"/>
                  </a:cubicBezTo>
                  <a:lnTo>
                    <a:pt x="1505" y="206"/>
                  </a:lnTo>
                  <a:cubicBezTo>
                    <a:pt x="1497" y="214"/>
                    <a:pt x="1474" y="252"/>
                    <a:pt x="1474" y="252"/>
                  </a:cubicBezTo>
                  <a:cubicBezTo>
                    <a:pt x="1474" y="252"/>
                    <a:pt x="1467" y="306"/>
                    <a:pt x="1467" y="313"/>
                  </a:cubicBezTo>
                  <a:lnTo>
                    <a:pt x="1520" y="374"/>
                  </a:lnTo>
                  <a:cubicBezTo>
                    <a:pt x="1543" y="413"/>
                    <a:pt x="1558" y="458"/>
                    <a:pt x="1574" y="497"/>
                  </a:cubicBezTo>
                  <a:cubicBezTo>
                    <a:pt x="1574" y="497"/>
                    <a:pt x="1627" y="550"/>
                    <a:pt x="1620" y="550"/>
                  </a:cubicBezTo>
                  <a:cubicBezTo>
                    <a:pt x="1612" y="558"/>
                    <a:pt x="1528" y="611"/>
                    <a:pt x="1528" y="611"/>
                  </a:cubicBezTo>
                  <a:cubicBezTo>
                    <a:pt x="1513" y="626"/>
                    <a:pt x="1482" y="634"/>
                    <a:pt x="1482" y="649"/>
                  </a:cubicBezTo>
                  <a:cubicBezTo>
                    <a:pt x="1490" y="688"/>
                    <a:pt x="1551" y="703"/>
                    <a:pt x="1551" y="741"/>
                  </a:cubicBezTo>
                  <a:cubicBezTo>
                    <a:pt x="1551" y="764"/>
                    <a:pt x="1497" y="756"/>
                    <a:pt x="1490" y="779"/>
                  </a:cubicBezTo>
                  <a:cubicBezTo>
                    <a:pt x="1474" y="817"/>
                    <a:pt x="1490" y="856"/>
                    <a:pt x="1490" y="894"/>
                  </a:cubicBezTo>
                  <a:cubicBezTo>
                    <a:pt x="1497" y="947"/>
                    <a:pt x="1513" y="1008"/>
                    <a:pt x="1513" y="1062"/>
                  </a:cubicBezTo>
                  <a:cubicBezTo>
                    <a:pt x="1505" y="1092"/>
                    <a:pt x="1482" y="1108"/>
                    <a:pt x="1467" y="1131"/>
                  </a:cubicBezTo>
                  <a:lnTo>
                    <a:pt x="1467" y="1131"/>
                  </a:lnTo>
                  <a:cubicBezTo>
                    <a:pt x="1459" y="1146"/>
                    <a:pt x="1459" y="1192"/>
                    <a:pt x="1436" y="1184"/>
                  </a:cubicBezTo>
                  <a:cubicBezTo>
                    <a:pt x="1383" y="1176"/>
                    <a:pt x="1352" y="1108"/>
                    <a:pt x="1291" y="1092"/>
                  </a:cubicBezTo>
                  <a:cubicBezTo>
                    <a:pt x="1268" y="1092"/>
                    <a:pt x="1261" y="1138"/>
                    <a:pt x="1238" y="1146"/>
                  </a:cubicBezTo>
                  <a:cubicBezTo>
                    <a:pt x="1215" y="1146"/>
                    <a:pt x="1199" y="1100"/>
                    <a:pt x="1176" y="1108"/>
                  </a:cubicBezTo>
                  <a:cubicBezTo>
                    <a:pt x="1131" y="1123"/>
                    <a:pt x="1115" y="1184"/>
                    <a:pt x="1070" y="1199"/>
                  </a:cubicBezTo>
                  <a:cubicBezTo>
                    <a:pt x="1039" y="1207"/>
                    <a:pt x="1009" y="1153"/>
                    <a:pt x="978" y="1169"/>
                  </a:cubicBezTo>
                  <a:cubicBezTo>
                    <a:pt x="886" y="1215"/>
                    <a:pt x="825" y="1314"/>
                    <a:pt x="726" y="1352"/>
                  </a:cubicBezTo>
                  <a:cubicBezTo>
                    <a:pt x="695" y="1367"/>
                    <a:pt x="657" y="1314"/>
                    <a:pt x="619" y="1322"/>
                  </a:cubicBezTo>
                  <a:cubicBezTo>
                    <a:pt x="581" y="1322"/>
                    <a:pt x="558" y="1375"/>
                    <a:pt x="520" y="1383"/>
                  </a:cubicBezTo>
                  <a:cubicBezTo>
                    <a:pt x="489" y="1390"/>
                    <a:pt x="459" y="1360"/>
                    <a:pt x="428" y="1352"/>
                  </a:cubicBezTo>
                  <a:cubicBezTo>
                    <a:pt x="359" y="1344"/>
                    <a:pt x="290" y="1344"/>
                    <a:pt x="229" y="1344"/>
                  </a:cubicBezTo>
                  <a:lnTo>
                    <a:pt x="229" y="1344"/>
                  </a:lnTo>
                  <a:cubicBezTo>
                    <a:pt x="222" y="1329"/>
                    <a:pt x="229" y="1306"/>
                    <a:pt x="214" y="1306"/>
                  </a:cubicBezTo>
                  <a:cubicBezTo>
                    <a:pt x="184" y="1291"/>
                    <a:pt x="145" y="1314"/>
                    <a:pt x="115" y="1306"/>
                  </a:cubicBezTo>
                  <a:cubicBezTo>
                    <a:pt x="100" y="1299"/>
                    <a:pt x="100" y="1261"/>
                    <a:pt x="84" y="1261"/>
                  </a:cubicBezTo>
                  <a:cubicBezTo>
                    <a:pt x="61" y="1253"/>
                    <a:pt x="61" y="1291"/>
                    <a:pt x="46" y="1299"/>
                  </a:cubicBezTo>
                  <a:cubicBezTo>
                    <a:pt x="31" y="1299"/>
                    <a:pt x="8" y="1283"/>
                    <a:pt x="8" y="1268"/>
                  </a:cubicBezTo>
                  <a:cubicBezTo>
                    <a:pt x="0" y="1261"/>
                    <a:pt x="31" y="1253"/>
                    <a:pt x="31" y="1238"/>
                  </a:cubicBezTo>
                  <a:cubicBezTo>
                    <a:pt x="31" y="1215"/>
                    <a:pt x="15" y="1199"/>
                    <a:pt x="15" y="1176"/>
                  </a:cubicBezTo>
                  <a:lnTo>
                    <a:pt x="15" y="1176"/>
                  </a:lnTo>
                  <a:cubicBezTo>
                    <a:pt x="176" y="1138"/>
                    <a:pt x="176" y="1138"/>
                    <a:pt x="176" y="1138"/>
                  </a:cubicBezTo>
                  <a:cubicBezTo>
                    <a:pt x="214" y="1131"/>
                    <a:pt x="245" y="1176"/>
                    <a:pt x="290" y="1131"/>
                  </a:cubicBezTo>
                  <a:cubicBezTo>
                    <a:pt x="336" y="1092"/>
                    <a:pt x="405" y="1054"/>
                    <a:pt x="436" y="1016"/>
                  </a:cubicBezTo>
                  <a:cubicBezTo>
                    <a:pt x="459" y="986"/>
                    <a:pt x="466" y="947"/>
                    <a:pt x="504" y="932"/>
                  </a:cubicBezTo>
                  <a:cubicBezTo>
                    <a:pt x="550" y="917"/>
                    <a:pt x="588" y="932"/>
                    <a:pt x="627" y="901"/>
                  </a:cubicBezTo>
                  <a:cubicBezTo>
                    <a:pt x="657" y="863"/>
                    <a:pt x="703" y="825"/>
                    <a:pt x="734" y="787"/>
                  </a:cubicBezTo>
                  <a:cubicBezTo>
                    <a:pt x="825" y="665"/>
                    <a:pt x="871" y="588"/>
                    <a:pt x="932" y="443"/>
                  </a:cubicBezTo>
                  <a:cubicBezTo>
                    <a:pt x="940" y="420"/>
                    <a:pt x="940" y="367"/>
                    <a:pt x="947" y="336"/>
                  </a:cubicBezTo>
                  <a:cubicBezTo>
                    <a:pt x="955" y="306"/>
                    <a:pt x="970" y="306"/>
                    <a:pt x="986" y="275"/>
                  </a:cubicBezTo>
                  <a:cubicBezTo>
                    <a:pt x="1009" y="244"/>
                    <a:pt x="986" y="161"/>
                    <a:pt x="986" y="122"/>
                  </a:cubicBezTo>
                  <a:cubicBezTo>
                    <a:pt x="1016" y="115"/>
                    <a:pt x="1047" y="115"/>
                    <a:pt x="1077" y="107"/>
                  </a:cubicBezTo>
                  <a:cubicBezTo>
                    <a:pt x="1077" y="100"/>
                    <a:pt x="1077" y="100"/>
                    <a:pt x="1077" y="100"/>
                  </a:cubicBezTo>
                  <a:cubicBezTo>
                    <a:pt x="1054" y="100"/>
                    <a:pt x="970" y="92"/>
                    <a:pt x="963" y="84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69" name="Freeform 91"/>
            <p:cNvSpPr>
              <a:spLocks noChangeArrowheads="1"/>
            </p:cNvSpPr>
            <p:nvPr/>
          </p:nvSpPr>
          <p:spPr bwMode="auto">
            <a:xfrm>
              <a:off x="6076555" y="8934450"/>
              <a:ext cx="150803" cy="109538"/>
            </a:xfrm>
            <a:custGeom>
              <a:avLst/>
              <a:gdLst>
                <a:gd name="T0" fmla="*/ 168 w 420"/>
                <a:gd name="T1" fmla="*/ 23 h 306"/>
                <a:gd name="T2" fmla="*/ 168 w 420"/>
                <a:gd name="T3" fmla="*/ 23 h 306"/>
                <a:gd name="T4" fmla="*/ 282 w 420"/>
                <a:gd name="T5" fmla="*/ 7 h 306"/>
                <a:gd name="T6" fmla="*/ 358 w 420"/>
                <a:gd name="T7" fmla="*/ 38 h 306"/>
                <a:gd name="T8" fmla="*/ 358 w 420"/>
                <a:gd name="T9" fmla="*/ 38 h 306"/>
                <a:gd name="T10" fmla="*/ 404 w 420"/>
                <a:gd name="T11" fmla="*/ 53 h 306"/>
                <a:gd name="T12" fmla="*/ 419 w 420"/>
                <a:gd name="T13" fmla="*/ 160 h 306"/>
                <a:gd name="T14" fmla="*/ 419 w 420"/>
                <a:gd name="T15" fmla="*/ 160 h 306"/>
                <a:gd name="T16" fmla="*/ 274 w 420"/>
                <a:gd name="T17" fmla="*/ 305 h 306"/>
                <a:gd name="T18" fmla="*/ 274 w 420"/>
                <a:gd name="T19" fmla="*/ 305 h 306"/>
                <a:gd name="T20" fmla="*/ 191 w 420"/>
                <a:gd name="T21" fmla="*/ 214 h 306"/>
                <a:gd name="T22" fmla="*/ 115 w 420"/>
                <a:gd name="T23" fmla="*/ 244 h 306"/>
                <a:gd name="T24" fmla="*/ 77 w 420"/>
                <a:gd name="T25" fmla="*/ 168 h 306"/>
                <a:gd name="T26" fmla="*/ 8 w 420"/>
                <a:gd name="T27" fmla="*/ 130 h 306"/>
                <a:gd name="T28" fmla="*/ 8 w 420"/>
                <a:gd name="T29" fmla="*/ 130 h 306"/>
                <a:gd name="T30" fmla="*/ 8 w 420"/>
                <a:gd name="T31" fmla="*/ 61 h 306"/>
                <a:gd name="T32" fmla="*/ 77 w 420"/>
                <a:gd name="T33" fmla="*/ 30 h 306"/>
                <a:gd name="T34" fmla="*/ 130 w 420"/>
                <a:gd name="T35" fmla="*/ 61 h 306"/>
                <a:gd name="T36" fmla="*/ 168 w 420"/>
                <a:gd name="T37" fmla="*/ 23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0" h="306">
                  <a:moveTo>
                    <a:pt x="168" y="23"/>
                  </a:moveTo>
                  <a:lnTo>
                    <a:pt x="168" y="23"/>
                  </a:lnTo>
                  <a:cubicBezTo>
                    <a:pt x="205" y="15"/>
                    <a:pt x="244" y="0"/>
                    <a:pt x="282" y="7"/>
                  </a:cubicBezTo>
                  <a:cubicBezTo>
                    <a:pt x="305" y="7"/>
                    <a:pt x="328" y="30"/>
                    <a:pt x="358" y="38"/>
                  </a:cubicBezTo>
                  <a:lnTo>
                    <a:pt x="358" y="38"/>
                  </a:lnTo>
                  <a:cubicBezTo>
                    <a:pt x="374" y="46"/>
                    <a:pt x="397" y="38"/>
                    <a:pt x="404" y="53"/>
                  </a:cubicBezTo>
                  <a:cubicBezTo>
                    <a:pt x="419" y="84"/>
                    <a:pt x="412" y="122"/>
                    <a:pt x="419" y="160"/>
                  </a:cubicBezTo>
                  <a:lnTo>
                    <a:pt x="419" y="160"/>
                  </a:lnTo>
                  <a:cubicBezTo>
                    <a:pt x="358" y="183"/>
                    <a:pt x="313" y="221"/>
                    <a:pt x="274" y="305"/>
                  </a:cubicBezTo>
                  <a:lnTo>
                    <a:pt x="274" y="305"/>
                  </a:lnTo>
                  <a:cubicBezTo>
                    <a:pt x="244" y="275"/>
                    <a:pt x="228" y="229"/>
                    <a:pt x="191" y="214"/>
                  </a:cubicBezTo>
                  <a:cubicBezTo>
                    <a:pt x="161" y="206"/>
                    <a:pt x="138" y="252"/>
                    <a:pt x="115" y="244"/>
                  </a:cubicBezTo>
                  <a:cubicBezTo>
                    <a:pt x="84" y="229"/>
                    <a:pt x="92" y="183"/>
                    <a:pt x="77" y="168"/>
                  </a:cubicBezTo>
                  <a:cubicBezTo>
                    <a:pt x="62" y="145"/>
                    <a:pt x="31" y="145"/>
                    <a:pt x="8" y="130"/>
                  </a:cubicBezTo>
                  <a:lnTo>
                    <a:pt x="8" y="130"/>
                  </a:lnTo>
                  <a:cubicBezTo>
                    <a:pt x="8" y="107"/>
                    <a:pt x="0" y="84"/>
                    <a:pt x="8" y="61"/>
                  </a:cubicBezTo>
                  <a:cubicBezTo>
                    <a:pt x="23" y="38"/>
                    <a:pt x="54" y="30"/>
                    <a:pt x="77" y="30"/>
                  </a:cubicBezTo>
                  <a:cubicBezTo>
                    <a:pt x="100" y="30"/>
                    <a:pt x="115" y="61"/>
                    <a:pt x="130" y="61"/>
                  </a:cubicBezTo>
                  <a:cubicBezTo>
                    <a:pt x="153" y="61"/>
                    <a:pt x="153" y="30"/>
                    <a:pt x="168" y="2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70" name="Freeform 92"/>
            <p:cNvSpPr>
              <a:spLocks noChangeArrowheads="1"/>
            </p:cNvSpPr>
            <p:nvPr/>
          </p:nvSpPr>
          <p:spPr bwMode="auto">
            <a:xfrm>
              <a:off x="5895591" y="8977313"/>
              <a:ext cx="280970" cy="139700"/>
            </a:xfrm>
            <a:custGeom>
              <a:avLst/>
              <a:gdLst>
                <a:gd name="T0" fmla="*/ 283 w 779"/>
                <a:gd name="T1" fmla="*/ 0 h 390"/>
                <a:gd name="T2" fmla="*/ 283 w 779"/>
                <a:gd name="T3" fmla="*/ 0 h 390"/>
                <a:gd name="T4" fmla="*/ 390 w 779"/>
                <a:gd name="T5" fmla="*/ 30 h 390"/>
                <a:gd name="T6" fmla="*/ 512 w 779"/>
                <a:gd name="T7" fmla="*/ 15 h 390"/>
                <a:gd name="T8" fmla="*/ 512 w 779"/>
                <a:gd name="T9" fmla="*/ 15 h 390"/>
                <a:gd name="T10" fmla="*/ 581 w 779"/>
                <a:gd name="T11" fmla="*/ 53 h 390"/>
                <a:gd name="T12" fmla="*/ 619 w 779"/>
                <a:gd name="T13" fmla="*/ 129 h 390"/>
                <a:gd name="T14" fmla="*/ 695 w 779"/>
                <a:gd name="T15" fmla="*/ 99 h 390"/>
                <a:gd name="T16" fmla="*/ 778 w 779"/>
                <a:gd name="T17" fmla="*/ 190 h 390"/>
                <a:gd name="T18" fmla="*/ 778 w 779"/>
                <a:gd name="T19" fmla="*/ 190 h 390"/>
                <a:gd name="T20" fmla="*/ 771 w 779"/>
                <a:gd name="T21" fmla="*/ 213 h 390"/>
                <a:gd name="T22" fmla="*/ 535 w 779"/>
                <a:gd name="T23" fmla="*/ 366 h 390"/>
                <a:gd name="T24" fmla="*/ 84 w 779"/>
                <a:gd name="T25" fmla="*/ 236 h 390"/>
                <a:gd name="T26" fmla="*/ 0 w 779"/>
                <a:gd name="T27" fmla="*/ 160 h 390"/>
                <a:gd name="T28" fmla="*/ 0 w 779"/>
                <a:gd name="T29" fmla="*/ 160 h 390"/>
                <a:gd name="T30" fmla="*/ 145 w 779"/>
                <a:gd name="T31" fmla="*/ 61 h 390"/>
                <a:gd name="T32" fmla="*/ 199 w 779"/>
                <a:gd name="T33" fmla="*/ 76 h 390"/>
                <a:gd name="T34" fmla="*/ 283 w 779"/>
                <a:gd name="T35" fmla="*/ 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9" h="390">
                  <a:moveTo>
                    <a:pt x="283" y="0"/>
                  </a:moveTo>
                  <a:lnTo>
                    <a:pt x="283" y="0"/>
                  </a:lnTo>
                  <a:cubicBezTo>
                    <a:pt x="313" y="7"/>
                    <a:pt x="352" y="30"/>
                    <a:pt x="390" y="30"/>
                  </a:cubicBezTo>
                  <a:cubicBezTo>
                    <a:pt x="428" y="30"/>
                    <a:pt x="474" y="22"/>
                    <a:pt x="512" y="15"/>
                  </a:cubicBezTo>
                  <a:lnTo>
                    <a:pt x="512" y="15"/>
                  </a:lnTo>
                  <a:cubicBezTo>
                    <a:pt x="535" y="30"/>
                    <a:pt x="566" y="30"/>
                    <a:pt x="581" y="53"/>
                  </a:cubicBezTo>
                  <a:cubicBezTo>
                    <a:pt x="596" y="68"/>
                    <a:pt x="588" y="114"/>
                    <a:pt x="619" y="129"/>
                  </a:cubicBezTo>
                  <a:cubicBezTo>
                    <a:pt x="642" y="137"/>
                    <a:pt x="665" y="91"/>
                    <a:pt x="695" y="99"/>
                  </a:cubicBezTo>
                  <a:cubicBezTo>
                    <a:pt x="732" y="114"/>
                    <a:pt x="748" y="160"/>
                    <a:pt x="778" y="190"/>
                  </a:cubicBezTo>
                  <a:lnTo>
                    <a:pt x="778" y="190"/>
                  </a:lnTo>
                  <a:cubicBezTo>
                    <a:pt x="778" y="198"/>
                    <a:pt x="778" y="206"/>
                    <a:pt x="771" y="213"/>
                  </a:cubicBezTo>
                  <a:cubicBezTo>
                    <a:pt x="709" y="389"/>
                    <a:pt x="732" y="328"/>
                    <a:pt x="535" y="366"/>
                  </a:cubicBezTo>
                  <a:cubicBezTo>
                    <a:pt x="413" y="389"/>
                    <a:pt x="130" y="381"/>
                    <a:pt x="84" y="236"/>
                  </a:cubicBezTo>
                  <a:cubicBezTo>
                    <a:pt x="61" y="190"/>
                    <a:pt x="31" y="175"/>
                    <a:pt x="0" y="160"/>
                  </a:cubicBezTo>
                  <a:lnTo>
                    <a:pt x="0" y="160"/>
                  </a:lnTo>
                  <a:cubicBezTo>
                    <a:pt x="38" y="137"/>
                    <a:pt x="99" y="76"/>
                    <a:pt x="145" y="61"/>
                  </a:cubicBezTo>
                  <a:cubicBezTo>
                    <a:pt x="161" y="53"/>
                    <a:pt x="183" y="83"/>
                    <a:pt x="199" y="76"/>
                  </a:cubicBezTo>
                  <a:cubicBezTo>
                    <a:pt x="229" y="61"/>
                    <a:pt x="252" y="22"/>
                    <a:pt x="283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71" name="Freeform 93"/>
            <p:cNvSpPr>
              <a:spLocks noChangeArrowheads="1"/>
            </p:cNvSpPr>
            <p:nvPr/>
          </p:nvSpPr>
          <p:spPr bwMode="auto">
            <a:xfrm>
              <a:off x="6452768" y="8842375"/>
              <a:ext cx="236522" cy="223838"/>
            </a:xfrm>
            <a:custGeom>
              <a:avLst/>
              <a:gdLst>
                <a:gd name="T0" fmla="*/ 229 w 658"/>
                <a:gd name="T1" fmla="*/ 0 h 620"/>
                <a:gd name="T2" fmla="*/ 229 w 658"/>
                <a:gd name="T3" fmla="*/ 0 h 620"/>
                <a:gd name="T4" fmla="*/ 160 w 658"/>
                <a:gd name="T5" fmla="*/ 100 h 620"/>
                <a:gd name="T6" fmla="*/ 53 w 658"/>
                <a:gd name="T7" fmla="*/ 222 h 620"/>
                <a:gd name="T8" fmla="*/ 7 w 658"/>
                <a:gd name="T9" fmla="*/ 344 h 620"/>
                <a:gd name="T10" fmla="*/ 7 w 658"/>
                <a:gd name="T11" fmla="*/ 344 h 620"/>
                <a:gd name="T12" fmla="*/ 30 w 658"/>
                <a:gd name="T13" fmla="*/ 382 h 620"/>
                <a:gd name="T14" fmla="*/ 122 w 658"/>
                <a:gd name="T15" fmla="*/ 382 h 620"/>
                <a:gd name="T16" fmla="*/ 168 w 658"/>
                <a:gd name="T17" fmla="*/ 428 h 620"/>
                <a:gd name="T18" fmla="*/ 229 w 658"/>
                <a:gd name="T19" fmla="*/ 436 h 620"/>
                <a:gd name="T20" fmla="*/ 244 w 658"/>
                <a:gd name="T21" fmla="*/ 497 h 620"/>
                <a:gd name="T22" fmla="*/ 221 w 658"/>
                <a:gd name="T23" fmla="*/ 527 h 620"/>
                <a:gd name="T24" fmla="*/ 229 w 658"/>
                <a:gd name="T25" fmla="*/ 596 h 620"/>
                <a:gd name="T26" fmla="*/ 229 w 658"/>
                <a:gd name="T27" fmla="*/ 596 h 620"/>
                <a:gd name="T28" fmla="*/ 343 w 658"/>
                <a:gd name="T29" fmla="*/ 619 h 620"/>
                <a:gd name="T30" fmla="*/ 489 w 658"/>
                <a:gd name="T31" fmla="*/ 581 h 620"/>
                <a:gd name="T32" fmla="*/ 580 w 658"/>
                <a:gd name="T33" fmla="*/ 604 h 620"/>
                <a:gd name="T34" fmla="*/ 580 w 658"/>
                <a:gd name="T35" fmla="*/ 604 h 620"/>
                <a:gd name="T36" fmla="*/ 588 w 658"/>
                <a:gd name="T37" fmla="*/ 481 h 620"/>
                <a:gd name="T38" fmla="*/ 534 w 658"/>
                <a:gd name="T39" fmla="*/ 420 h 620"/>
                <a:gd name="T40" fmla="*/ 634 w 658"/>
                <a:gd name="T41" fmla="*/ 352 h 620"/>
                <a:gd name="T42" fmla="*/ 618 w 658"/>
                <a:gd name="T43" fmla="*/ 222 h 620"/>
                <a:gd name="T44" fmla="*/ 618 w 658"/>
                <a:gd name="T45" fmla="*/ 222 h 620"/>
                <a:gd name="T46" fmla="*/ 443 w 658"/>
                <a:gd name="T47" fmla="*/ 176 h 620"/>
                <a:gd name="T48" fmla="*/ 412 w 658"/>
                <a:gd name="T49" fmla="*/ 61 h 620"/>
                <a:gd name="T50" fmla="*/ 290 w 658"/>
                <a:gd name="T51" fmla="*/ 54 h 620"/>
                <a:gd name="T52" fmla="*/ 290 w 658"/>
                <a:gd name="T53" fmla="*/ 23 h 620"/>
                <a:gd name="T54" fmla="*/ 229 w 658"/>
                <a:gd name="T55" fmla="*/ 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58" h="620">
                  <a:moveTo>
                    <a:pt x="229" y="0"/>
                  </a:moveTo>
                  <a:lnTo>
                    <a:pt x="229" y="0"/>
                  </a:lnTo>
                  <a:cubicBezTo>
                    <a:pt x="206" y="31"/>
                    <a:pt x="176" y="61"/>
                    <a:pt x="160" y="100"/>
                  </a:cubicBezTo>
                  <a:cubicBezTo>
                    <a:pt x="145" y="153"/>
                    <a:pt x="76" y="168"/>
                    <a:pt x="53" y="222"/>
                  </a:cubicBezTo>
                  <a:cubicBezTo>
                    <a:pt x="38" y="260"/>
                    <a:pt x="23" y="306"/>
                    <a:pt x="7" y="344"/>
                  </a:cubicBezTo>
                  <a:lnTo>
                    <a:pt x="7" y="344"/>
                  </a:lnTo>
                  <a:cubicBezTo>
                    <a:pt x="23" y="382"/>
                    <a:pt x="0" y="359"/>
                    <a:pt x="30" y="382"/>
                  </a:cubicBezTo>
                  <a:cubicBezTo>
                    <a:pt x="61" y="397"/>
                    <a:pt x="91" y="375"/>
                    <a:pt x="122" y="382"/>
                  </a:cubicBezTo>
                  <a:cubicBezTo>
                    <a:pt x="145" y="390"/>
                    <a:pt x="145" y="420"/>
                    <a:pt x="168" y="428"/>
                  </a:cubicBezTo>
                  <a:cubicBezTo>
                    <a:pt x="183" y="436"/>
                    <a:pt x="214" y="420"/>
                    <a:pt x="229" y="436"/>
                  </a:cubicBezTo>
                  <a:cubicBezTo>
                    <a:pt x="244" y="451"/>
                    <a:pt x="244" y="474"/>
                    <a:pt x="244" y="497"/>
                  </a:cubicBezTo>
                  <a:cubicBezTo>
                    <a:pt x="244" y="512"/>
                    <a:pt x="221" y="512"/>
                    <a:pt x="221" y="527"/>
                  </a:cubicBezTo>
                  <a:cubicBezTo>
                    <a:pt x="214" y="550"/>
                    <a:pt x="221" y="573"/>
                    <a:pt x="229" y="596"/>
                  </a:cubicBezTo>
                  <a:lnTo>
                    <a:pt x="229" y="596"/>
                  </a:lnTo>
                  <a:cubicBezTo>
                    <a:pt x="267" y="604"/>
                    <a:pt x="298" y="619"/>
                    <a:pt x="343" y="619"/>
                  </a:cubicBezTo>
                  <a:cubicBezTo>
                    <a:pt x="389" y="619"/>
                    <a:pt x="435" y="581"/>
                    <a:pt x="489" y="581"/>
                  </a:cubicBezTo>
                  <a:cubicBezTo>
                    <a:pt x="519" y="581"/>
                    <a:pt x="550" y="596"/>
                    <a:pt x="580" y="604"/>
                  </a:cubicBezTo>
                  <a:lnTo>
                    <a:pt x="580" y="604"/>
                  </a:lnTo>
                  <a:cubicBezTo>
                    <a:pt x="580" y="565"/>
                    <a:pt x="595" y="519"/>
                    <a:pt x="588" y="481"/>
                  </a:cubicBezTo>
                  <a:cubicBezTo>
                    <a:pt x="580" y="451"/>
                    <a:pt x="527" y="443"/>
                    <a:pt x="534" y="420"/>
                  </a:cubicBezTo>
                  <a:cubicBezTo>
                    <a:pt x="550" y="382"/>
                    <a:pt x="618" y="390"/>
                    <a:pt x="634" y="352"/>
                  </a:cubicBezTo>
                  <a:cubicBezTo>
                    <a:pt x="657" y="306"/>
                    <a:pt x="626" y="267"/>
                    <a:pt x="618" y="222"/>
                  </a:cubicBezTo>
                  <a:lnTo>
                    <a:pt x="618" y="222"/>
                  </a:lnTo>
                  <a:cubicBezTo>
                    <a:pt x="557" y="206"/>
                    <a:pt x="489" y="214"/>
                    <a:pt x="443" y="176"/>
                  </a:cubicBezTo>
                  <a:cubicBezTo>
                    <a:pt x="412" y="153"/>
                    <a:pt x="443" y="84"/>
                    <a:pt x="412" y="61"/>
                  </a:cubicBezTo>
                  <a:cubicBezTo>
                    <a:pt x="382" y="38"/>
                    <a:pt x="328" y="69"/>
                    <a:pt x="290" y="54"/>
                  </a:cubicBezTo>
                  <a:cubicBezTo>
                    <a:pt x="275" y="54"/>
                    <a:pt x="298" y="31"/>
                    <a:pt x="290" y="23"/>
                  </a:cubicBezTo>
                  <a:cubicBezTo>
                    <a:pt x="252" y="0"/>
                    <a:pt x="267" y="15"/>
                    <a:pt x="229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72" name="Freeform 94"/>
            <p:cNvSpPr>
              <a:spLocks noChangeArrowheads="1"/>
            </p:cNvSpPr>
            <p:nvPr/>
          </p:nvSpPr>
          <p:spPr bwMode="auto">
            <a:xfrm>
              <a:off x="6436894" y="8966201"/>
              <a:ext cx="104768" cy="119063"/>
            </a:xfrm>
            <a:custGeom>
              <a:avLst/>
              <a:gdLst>
                <a:gd name="T0" fmla="*/ 53 w 291"/>
                <a:gd name="T1" fmla="*/ 0 h 329"/>
                <a:gd name="T2" fmla="*/ 53 w 291"/>
                <a:gd name="T3" fmla="*/ 0 h 329"/>
                <a:gd name="T4" fmla="*/ 76 w 291"/>
                <a:gd name="T5" fmla="*/ 38 h 329"/>
                <a:gd name="T6" fmla="*/ 168 w 291"/>
                <a:gd name="T7" fmla="*/ 38 h 329"/>
                <a:gd name="T8" fmla="*/ 214 w 291"/>
                <a:gd name="T9" fmla="*/ 84 h 329"/>
                <a:gd name="T10" fmla="*/ 275 w 291"/>
                <a:gd name="T11" fmla="*/ 92 h 329"/>
                <a:gd name="T12" fmla="*/ 290 w 291"/>
                <a:gd name="T13" fmla="*/ 153 h 329"/>
                <a:gd name="T14" fmla="*/ 267 w 291"/>
                <a:gd name="T15" fmla="*/ 183 h 329"/>
                <a:gd name="T16" fmla="*/ 275 w 291"/>
                <a:gd name="T17" fmla="*/ 252 h 329"/>
                <a:gd name="T18" fmla="*/ 275 w 291"/>
                <a:gd name="T19" fmla="*/ 252 h 329"/>
                <a:gd name="T20" fmla="*/ 252 w 291"/>
                <a:gd name="T21" fmla="*/ 298 h 329"/>
                <a:gd name="T22" fmla="*/ 214 w 291"/>
                <a:gd name="T23" fmla="*/ 298 h 329"/>
                <a:gd name="T24" fmla="*/ 183 w 291"/>
                <a:gd name="T25" fmla="*/ 328 h 329"/>
                <a:gd name="T26" fmla="*/ 183 w 291"/>
                <a:gd name="T27" fmla="*/ 328 h 329"/>
                <a:gd name="T28" fmla="*/ 99 w 291"/>
                <a:gd name="T29" fmla="*/ 290 h 329"/>
                <a:gd name="T30" fmla="*/ 107 w 291"/>
                <a:gd name="T31" fmla="*/ 229 h 329"/>
                <a:gd name="T32" fmla="*/ 99 w 291"/>
                <a:gd name="T33" fmla="*/ 153 h 329"/>
                <a:gd name="T34" fmla="*/ 46 w 291"/>
                <a:gd name="T35" fmla="*/ 122 h 329"/>
                <a:gd name="T36" fmla="*/ 0 w 291"/>
                <a:gd name="T37" fmla="*/ 76 h 329"/>
                <a:gd name="T38" fmla="*/ 0 w 291"/>
                <a:gd name="T39" fmla="*/ 76 h 329"/>
                <a:gd name="T40" fmla="*/ 53 w 291"/>
                <a:gd name="T41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1" h="329">
                  <a:moveTo>
                    <a:pt x="53" y="0"/>
                  </a:moveTo>
                  <a:lnTo>
                    <a:pt x="53" y="0"/>
                  </a:lnTo>
                  <a:cubicBezTo>
                    <a:pt x="69" y="38"/>
                    <a:pt x="46" y="15"/>
                    <a:pt x="76" y="38"/>
                  </a:cubicBezTo>
                  <a:cubicBezTo>
                    <a:pt x="107" y="53"/>
                    <a:pt x="137" y="31"/>
                    <a:pt x="168" y="38"/>
                  </a:cubicBezTo>
                  <a:cubicBezTo>
                    <a:pt x="191" y="46"/>
                    <a:pt x="191" y="76"/>
                    <a:pt x="214" y="84"/>
                  </a:cubicBezTo>
                  <a:cubicBezTo>
                    <a:pt x="229" y="92"/>
                    <a:pt x="260" y="76"/>
                    <a:pt x="275" y="92"/>
                  </a:cubicBezTo>
                  <a:cubicBezTo>
                    <a:pt x="290" y="107"/>
                    <a:pt x="290" y="130"/>
                    <a:pt x="290" y="153"/>
                  </a:cubicBezTo>
                  <a:cubicBezTo>
                    <a:pt x="290" y="168"/>
                    <a:pt x="267" y="168"/>
                    <a:pt x="267" y="183"/>
                  </a:cubicBezTo>
                  <a:cubicBezTo>
                    <a:pt x="260" y="206"/>
                    <a:pt x="267" y="229"/>
                    <a:pt x="275" y="252"/>
                  </a:cubicBezTo>
                  <a:lnTo>
                    <a:pt x="275" y="252"/>
                  </a:lnTo>
                  <a:cubicBezTo>
                    <a:pt x="267" y="267"/>
                    <a:pt x="267" y="290"/>
                    <a:pt x="252" y="298"/>
                  </a:cubicBezTo>
                  <a:cubicBezTo>
                    <a:pt x="244" y="306"/>
                    <a:pt x="229" y="290"/>
                    <a:pt x="214" y="298"/>
                  </a:cubicBezTo>
                  <a:cubicBezTo>
                    <a:pt x="199" y="298"/>
                    <a:pt x="191" y="313"/>
                    <a:pt x="183" y="328"/>
                  </a:cubicBezTo>
                  <a:lnTo>
                    <a:pt x="183" y="328"/>
                  </a:lnTo>
                  <a:cubicBezTo>
                    <a:pt x="153" y="313"/>
                    <a:pt x="114" y="321"/>
                    <a:pt x="99" y="290"/>
                  </a:cubicBezTo>
                  <a:cubicBezTo>
                    <a:pt x="84" y="275"/>
                    <a:pt x="107" y="252"/>
                    <a:pt x="107" y="229"/>
                  </a:cubicBezTo>
                  <a:cubicBezTo>
                    <a:pt x="107" y="206"/>
                    <a:pt x="114" y="175"/>
                    <a:pt x="99" y="153"/>
                  </a:cubicBezTo>
                  <a:cubicBezTo>
                    <a:pt x="91" y="137"/>
                    <a:pt x="61" y="137"/>
                    <a:pt x="46" y="122"/>
                  </a:cubicBezTo>
                  <a:cubicBezTo>
                    <a:pt x="15" y="99"/>
                    <a:pt x="23" y="107"/>
                    <a:pt x="0" y="76"/>
                  </a:cubicBezTo>
                  <a:lnTo>
                    <a:pt x="0" y="76"/>
                  </a:lnTo>
                  <a:cubicBezTo>
                    <a:pt x="23" y="61"/>
                    <a:pt x="38" y="31"/>
                    <a:pt x="53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73" name="Freeform 95"/>
            <p:cNvSpPr>
              <a:spLocks noChangeArrowheads="1"/>
            </p:cNvSpPr>
            <p:nvPr/>
          </p:nvSpPr>
          <p:spPr bwMode="auto">
            <a:xfrm>
              <a:off x="6941686" y="8810626"/>
              <a:ext cx="134928" cy="187325"/>
            </a:xfrm>
            <a:custGeom>
              <a:avLst/>
              <a:gdLst>
                <a:gd name="T0" fmla="*/ 107 w 376"/>
                <a:gd name="T1" fmla="*/ 54 h 521"/>
                <a:gd name="T2" fmla="*/ 107 w 376"/>
                <a:gd name="T3" fmla="*/ 54 h 521"/>
                <a:gd name="T4" fmla="*/ 153 w 376"/>
                <a:gd name="T5" fmla="*/ 69 h 521"/>
                <a:gd name="T6" fmla="*/ 214 w 376"/>
                <a:gd name="T7" fmla="*/ 54 h 521"/>
                <a:gd name="T8" fmla="*/ 237 w 376"/>
                <a:gd name="T9" fmla="*/ 8 h 521"/>
                <a:gd name="T10" fmla="*/ 275 w 376"/>
                <a:gd name="T11" fmla="*/ 0 h 521"/>
                <a:gd name="T12" fmla="*/ 275 w 376"/>
                <a:gd name="T13" fmla="*/ 0 h 521"/>
                <a:gd name="T14" fmla="*/ 260 w 376"/>
                <a:gd name="T15" fmla="*/ 31 h 521"/>
                <a:gd name="T16" fmla="*/ 252 w 376"/>
                <a:gd name="T17" fmla="*/ 92 h 521"/>
                <a:gd name="T18" fmla="*/ 298 w 376"/>
                <a:gd name="T19" fmla="*/ 153 h 521"/>
                <a:gd name="T20" fmla="*/ 237 w 376"/>
                <a:gd name="T21" fmla="*/ 214 h 521"/>
                <a:gd name="T22" fmla="*/ 260 w 376"/>
                <a:gd name="T23" fmla="*/ 298 h 521"/>
                <a:gd name="T24" fmla="*/ 329 w 376"/>
                <a:gd name="T25" fmla="*/ 336 h 521"/>
                <a:gd name="T26" fmla="*/ 375 w 376"/>
                <a:gd name="T27" fmla="*/ 436 h 521"/>
                <a:gd name="T28" fmla="*/ 375 w 376"/>
                <a:gd name="T29" fmla="*/ 436 h 521"/>
                <a:gd name="T30" fmla="*/ 168 w 376"/>
                <a:gd name="T31" fmla="*/ 512 h 521"/>
                <a:gd name="T32" fmla="*/ 61 w 376"/>
                <a:gd name="T33" fmla="*/ 497 h 521"/>
                <a:gd name="T34" fmla="*/ 23 w 376"/>
                <a:gd name="T35" fmla="*/ 405 h 521"/>
                <a:gd name="T36" fmla="*/ 8 w 376"/>
                <a:gd name="T37" fmla="*/ 306 h 521"/>
                <a:gd name="T38" fmla="*/ 31 w 376"/>
                <a:gd name="T39" fmla="*/ 267 h 521"/>
                <a:gd name="T40" fmla="*/ 23 w 376"/>
                <a:gd name="T41" fmla="*/ 168 h 521"/>
                <a:gd name="T42" fmla="*/ 100 w 376"/>
                <a:gd name="T43" fmla="*/ 145 h 521"/>
                <a:gd name="T44" fmla="*/ 84 w 376"/>
                <a:gd name="T45" fmla="*/ 99 h 521"/>
                <a:gd name="T46" fmla="*/ 107 w 376"/>
                <a:gd name="T47" fmla="*/ 5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521">
                  <a:moveTo>
                    <a:pt x="107" y="54"/>
                  </a:moveTo>
                  <a:lnTo>
                    <a:pt x="107" y="54"/>
                  </a:lnTo>
                  <a:cubicBezTo>
                    <a:pt x="122" y="61"/>
                    <a:pt x="138" y="69"/>
                    <a:pt x="153" y="69"/>
                  </a:cubicBezTo>
                  <a:cubicBezTo>
                    <a:pt x="176" y="69"/>
                    <a:pt x="199" y="69"/>
                    <a:pt x="214" y="54"/>
                  </a:cubicBezTo>
                  <a:cubicBezTo>
                    <a:pt x="230" y="46"/>
                    <a:pt x="230" y="15"/>
                    <a:pt x="237" y="8"/>
                  </a:cubicBezTo>
                  <a:cubicBezTo>
                    <a:pt x="252" y="0"/>
                    <a:pt x="260" y="0"/>
                    <a:pt x="275" y="0"/>
                  </a:cubicBezTo>
                  <a:lnTo>
                    <a:pt x="275" y="0"/>
                  </a:lnTo>
                  <a:cubicBezTo>
                    <a:pt x="268" y="8"/>
                    <a:pt x="260" y="23"/>
                    <a:pt x="260" y="31"/>
                  </a:cubicBezTo>
                  <a:cubicBezTo>
                    <a:pt x="252" y="54"/>
                    <a:pt x="252" y="77"/>
                    <a:pt x="252" y="92"/>
                  </a:cubicBezTo>
                  <a:cubicBezTo>
                    <a:pt x="260" y="115"/>
                    <a:pt x="298" y="130"/>
                    <a:pt x="298" y="153"/>
                  </a:cubicBezTo>
                  <a:cubicBezTo>
                    <a:pt x="291" y="184"/>
                    <a:pt x="245" y="191"/>
                    <a:pt x="237" y="214"/>
                  </a:cubicBezTo>
                  <a:cubicBezTo>
                    <a:pt x="237" y="245"/>
                    <a:pt x="237" y="275"/>
                    <a:pt x="260" y="298"/>
                  </a:cubicBezTo>
                  <a:cubicBezTo>
                    <a:pt x="275" y="321"/>
                    <a:pt x="306" y="313"/>
                    <a:pt x="329" y="336"/>
                  </a:cubicBezTo>
                  <a:cubicBezTo>
                    <a:pt x="352" y="359"/>
                    <a:pt x="359" y="405"/>
                    <a:pt x="375" y="436"/>
                  </a:cubicBezTo>
                  <a:lnTo>
                    <a:pt x="375" y="436"/>
                  </a:lnTo>
                  <a:cubicBezTo>
                    <a:pt x="306" y="459"/>
                    <a:pt x="245" y="497"/>
                    <a:pt x="168" y="512"/>
                  </a:cubicBezTo>
                  <a:cubicBezTo>
                    <a:pt x="138" y="520"/>
                    <a:pt x="92" y="520"/>
                    <a:pt x="61" y="497"/>
                  </a:cubicBezTo>
                  <a:cubicBezTo>
                    <a:pt x="39" y="474"/>
                    <a:pt x="31" y="436"/>
                    <a:pt x="23" y="405"/>
                  </a:cubicBezTo>
                  <a:cubicBezTo>
                    <a:pt x="8" y="374"/>
                    <a:pt x="0" y="336"/>
                    <a:pt x="8" y="306"/>
                  </a:cubicBezTo>
                  <a:cubicBezTo>
                    <a:pt x="8" y="290"/>
                    <a:pt x="31" y="283"/>
                    <a:pt x="31" y="267"/>
                  </a:cubicBezTo>
                  <a:cubicBezTo>
                    <a:pt x="39" y="229"/>
                    <a:pt x="8" y="199"/>
                    <a:pt x="23" y="168"/>
                  </a:cubicBezTo>
                  <a:cubicBezTo>
                    <a:pt x="39" y="145"/>
                    <a:pt x="84" y="161"/>
                    <a:pt x="100" y="145"/>
                  </a:cubicBezTo>
                  <a:cubicBezTo>
                    <a:pt x="115" y="130"/>
                    <a:pt x="84" y="115"/>
                    <a:pt x="84" y="99"/>
                  </a:cubicBezTo>
                  <a:cubicBezTo>
                    <a:pt x="92" y="84"/>
                    <a:pt x="100" y="69"/>
                    <a:pt x="107" y="54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74" name="Freeform 96"/>
            <p:cNvSpPr>
              <a:spLocks noChangeArrowheads="1"/>
            </p:cNvSpPr>
            <p:nvPr/>
          </p:nvSpPr>
          <p:spPr bwMode="auto">
            <a:xfrm>
              <a:off x="7090901" y="8932863"/>
              <a:ext cx="330178" cy="209550"/>
            </a:xfrm>
            <a:custGeom>
              <a:avLst/>
              <a:gdLst>
                <a:gd name="T0" fmla="*/ 114 w 917"/>
                <a:gd name="T1" fmla="*/ 565 h 582"/>
                <a:gd name="T2" fmla="*/ 114 w 917"/>
                <a:gd name="T3" fmla="*/ 565 h 582"/>
                <a:gd name="T4" fmla="*/ 122 w 917"/>
                <a:gd name="T5" fmla="*/ 474 h 582"/>
                <a:gd name="T6" fmla="*/ 61 w 917"/>
                <a:gd name="T7" fmla="*/ 420 h 582"/>
                <a:gd name="T8" fmla="*/ 15 w 917"/>
                <a:gd name="T9" fmla="*/ 352 h 582"/>
                <a:gd name="T10" fmla="*/ 76 w 917"/>
                <a:gd name="T11" fmla="*/ 329 h 582"/>
                <a:gd name="T12" fmla="*/ 84 w 917"/>
                <a:gd name="T13" fmla="*/ 267 h 582"/>
                <a:gd name="T14" fmla="*/ 30 w 917"/>
                <a:gd name="T15" fmla="*/ 206 h 582"/>
                <a:gd name="T16" fmla="*/ 0 w 917"/>
                <a:gd name="T17" fmla="*/ 84 h 582"/>
                <a:gd name="T18" fmla="*/ 0 w 917"/>
                <a:gd name="T19" fmla="*/ 84 h 582"/>
                <a:gd name="T20" fmla="*/ 38 w 917"/>
                <a:gd name="T21" fmla="*/ 15 h 582"/>
                <a:gd name="T22" fmla="*/ 114 w 917"/>
                <a:gd name="T23" fmla="*/ 31 h 582"/>
                <a:gd name="T24" fmla="*/ 191 w 917"/>
                <a:gd name="T25" fmla="*/ 69 h 582"/>
                <a:gd name="T26" fmla="*/ 290 w 917"/>
                <a:gd name="T27" fmla="*/ 38 h 582"/>
                <a:gd name="T28" fmla="*/ 359 w 917"/>
                <a:gd name="T29" fmla="*/ 23 h 582"/>
                <a:gd name="T30" fmla="*/ 374 w 917"/>
                <a:gd name="T31" fmla="*/ 31 h 582"/>
                <a:gd name="T32" fmla="*/ 397 w 917"/>
                <a:gd name="T33" fmla="*/ 0 h 582"/>
                <a:gd name="T34" fmla="*/ 534 w 917"/>
                <a:gd name="T35" fmla="*/ 61 h 582"/>
                <a:gd name="T36" fmla="*/ 595 w 917"/>
                <a:gd name="T37" fmla="*/ 84 h 582"/>
                <a:gd name="T38" fmla="*/ 687 w 917"/>
                <a:gd name="T39" fmla="*/ 46 h 582"/>
                <a:gd name="T40" fmla="*/ 687 w 917"/>
                <a:gd name="T41" fmla="*/ 107 h 582"/>
                <a:gd name="T42" fmla="*/ 748 w 917"/>
                <a:gd name="T43" fmla="*/ 191 h 582"/>
                <a:gd name="T44" fmla="*/ 825 w 917"/>
                <a:gd name="T45" fmla="*/ 176 h 582"/>
                <a:gd name="T46" fmla="*/ 848 w 917"/>
                <a:gd name="T47" fmla="*/ 222 h 582"/>
                <a:gd name="T48" fmla="*/ 848 w 917"/>
                <a:gd name="T49" fmla="*/ 222 h 582"/>
                <a:gd name="T50" fmla="*/ 825 w 917"/>
                <a:gd name="T51" fmla="*/ 275 h 582"/>
                <a:gd name="T52" fmla="*/ 863 w 917"/>
                <a:gd name="T53" fmla="*/ 290 h 582"/>
                <a:gd name="T54" fmla="*/ 901 w 917"/>
                <a:gd name="T55" fmla="*/ 359 h 582"/>
                <a:gd name="T56" fmla="*/ 901 w 917"/>
                <a:gd name="T57" fmla="*/ 359 h 582"/>
                <a:gd name="T58" fmla="*/ 886 w 917"/>
                <a:gd name="T59" fmla="*/ 413 h 582"/>
                <a:gd name="T60" fmla="*/ 909 w 917"/>
                <a:gd name="T61" fmla="*/ 459 h 582"/>
                <a:gd name="T62" fmla="*/ 901 w 917"/>
                <a:gd name="T63" fmla="*/ 504 h 582"/>
                <a:gd name="T64" fmla="*/ 901 w 917"/>
                <a:gd name="T65" fmla="*/ 504 h 582"/>
                <a:gd name="T66" fmla="*/ 832 w 917"/>
                <a:gd name="T67" fmla="*/ 512 h 582"/>
                <a:gd name="T68" fmla="*/ 756 w 917"/>
                <a:gd name="T69" fmla="*/ 451 h 582"/>
                <a:gd name="T70" fmla="*/ 718 w 917"/>
                <a:gd name="T71" fmla="*/ 466 h 582"/>
                <a:gd name="T72" fmla="*/ 710 w 917"/>
                <a:gd name="T73" fmla="*/ 504 h 582"/>
                <a:gd name="T74" fmla="*/ 626 w 917"/>
                <a:gd name="T75" fmla="*/ 489 h 582"/>
                <a:gd name="T76" fmla="*/ 267 w 917"/>
                <a:gd name="T77" fmla="*/ 466 h 582"/>
                <a:gd name="T78" fmla="*/ 214 w 917"/>
                <a:gd name="T79" fmla="*/ 520 h 582"/>
                <a:gd name="T80" fmla="*/ 229 w 917"/>
                <a:gd name="T81" fmla="*/ 565 h 582"/>
                <a:gd name="T82" fmla="*/ 114 w 917"/>
                <a:gd name="T83" fmla="*/ 565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17" h="582">
                  <a:moveTo>
                    <a:pt x="114" y="565"/>
                  </a:moveTo>
                  <a:lnTo>
                    <a:pt x="114" y="565"/>
                  </a:lnTo>
                  <a:cubicBezTo>
                    <a:pt x="122" y="535"/>
                    <a:pt x="137" y="504"/>
                    <a:pt x="122" y="474"/>
                  </a:cubicBezTo>
                  <a:cubicBezTo>
                    <a:pt x="114" y="451"/>
                    <a:pt x="76" y="443"/>
                    <a:pt x="61" y="420"/>
                  </a:cubicBezTo>
                  <a:cubicBezTo>
                    <a:pt x="46" y="398"/>
                    <a:pt x="15" y="375"/>
                    <a:pt x="15" y="352"/>
                  </a:cubicBezTo>
                  <a:cubicBezTo>
                    <a:pt x="23" y="329"/>
                    <a:pt x="69" y="344"/>
                    <a:pt x="76" y="329"/>
                  </a:cubicBezTo>
                  <a:cubicBezTo>
                    <a:pt x="91" y="313"/>
                    <a:pt x="91" y="290"/>
                    <a:pt x="84" y="267"/>
                  </a:cubicBezTo>
                  <a:cubicBezTo>
                    <a:pt x="69" y="245"/>
                    <a:pt x="38" y="229"/>
                    <a:pt x="30" y="206"/>
                  </a:cubicBezTo>
                  <a:cubicBezTo>
                    <a:pt x="15" y="168"/>
                    <a:pt x="7" y="123"/>
                    <a:pt x="0" y="84"/>
                  </a:cubicBezTo>
                  <a:lnTo>
                    <a:pt x="0" y="84"/>
                  </a:lnTo>
                  <a:cubicBezTo>
                    <a:pt x="15" y="61"/>
                    <a:pt x="15" y="23"/>
                    <a:pt x="38" y="15"/>
                  </a:cubicBezTo>
                  <a:cubicBezTo>
                    <a:pt x="69" y="8"/>
                    <a:pt x="91" y="23"/>
                    <a:pt x="114" y="31"/>
                  </a:cubicBezTo>
                  <a:cubicBezTo>
                    <a:pt x="145" y="38"/>
                    <a:pt x="160" y="69"/>
                    <a:pt x="191" y="69"/>
                  </a:cubicBezTo>
                  <a:cubicBezTo>
                    <a:pt x="221" y="69"/>
                    <a:pt x="259" y="54"/>
                    <a:pt x="290" y="38"/>
                  </a:cubicBezTo>
                  <a:cubicBezTo>
                    <a:pt x="313" y="38"/>
                    <a:pt x="336" y="23"/>
                    <a:pt x="359" y="23"/>
                  </a:cubicBezTo>
                  <a:cubicBezTo>
                    <a:pt x="359" y="23"/>
                    <a:pt x="366" y="31"/>
                    <a:pt x="374" y="31"/>
                  </a:cubicBezTo>
                  <a:cubicBezTo>
                    <a:pt x="382" y="23"/>
                    <a:pt x="382" y="0"/>
                    <a:pt x="397" y="0"/>
                  </a:cubicBezTo>
                  <a:cubicBezTo>
                    <a:pt x="443" y="8"/>
                    <a:pt x="489" y="38"/>
                    <a:pt x="534" y="61"/>
                  </a:cubicBezTo>
                  <a:cubicBezTo>
                    <a:pt x="550" y="69"/>
                    <a:pt x="573" y="84"/>
                    <a:pt x="595" y="84"/>
                  </a:cubicBezTo>
                  <a:cubicBezTo>
                    <a:pt x="626" y="77"/>
                    <a:pt x="657" y="38"/>
                    <a:pt x="687" y="46"/>
                  </a:cubicBezTo>
                  <a:cubicBezTo>
                    <a:pt x="710" y="54"/>
                    <a:pt x="680" y="92"/>
                    <a:pt x="687" y="107"/>
                  </a:cubicBezTo>
                  <a:cubicBezTo>
                    <a:pt x="695" y="138"/>
                    <a:pt x="718" y="176"/>
                    <a:pt x="748" y="191"/>
                  </a:cubicBezTo>
                  <a:cubicBezTo>
                    <a:pt x="771" y="199"/>
                    <a:pt x="802" y="168"/>
                    <a:pt x="825" y="176"/>
                  </a:cubicBezTo>
                  <a:cubicBezTo>
                    <a:pt x="840" y="184"/>
                    <a:pt x="840" y="206"/>
                    <a:pt x="848" y="222"/>
                  </a:cubicBezTo>
                  <a:lnTo>
                    <a:pt x="848" y="222"/>
                  </a:lnTo>
                  <a:cubicBezTo>
                    <a:pt x="840" y="237"/>
                    <a:pt x="825" y="252"/>
                    <a:pt x="825" y="275"/>
                  </a:cubicBezTo>
                  <a:cubicBezTo>
                    <a:pt x="825" y="290"/>
                    <a:pt x="855" y="283"/>
                    <a:pt x="863" y="290"/>
                  </a:cubicBezTo>
                  <a:cubicBezTo>
                    <a:pt x="878" y="313"/>
                    <a:pt x="886" y="336"/>
                    <a:pt x="901" y="359"/>
                  </a:cubicBezTo>
                  <a:lnTo>
                    <a:pt x="901" y="359"/>
                  </a:lnTo>
                  <a:cubicBezTo>
                    <a:pt x="893" y="375"/>
                    <a:pt x="878" y="390"/>
                    <a:pt x="886" y="413"/>
                  </a:cubicBezTo>
                  <a:cubicBezTo>
                    <a:pt x="886" y="428"/>
                    <a:pt x="909" y="436"/>
                    <a:pt x="909" y="459"/>
                  </a:cubicBezTo>
                  <a:cubicBezTo>
                    <a:pt x="916" y="474"/>
                    <a:pt x="909" y="489"/>
                    <a:pt x="901" y="504"/>
                  </a:cubicBezTo>
                  <a:lnTo>
                    <a:pt x="901" y="504"/>
                  </a:lnTo>
                  <a:cubicBezTo>
                    <a:pt x="878" y="504"/>
                    <a:pt x="855" y="520"/>
                    <a:pt x="832" y="512"/>
                  </a:cubicBezTo>
                  <a:cubicBezTo>
                    <a:pt x="802" y="504"/>
                    <a:pt x="787" y="459"/>
                    <a:pt x="756" y="451"/>
                  </a:cubicBezTo>
                  <a:cubicBezTo>
                    <a:pt x="748" y="443"/>
                    <a:pt x="733" y="451"/>
                    <a:pt x="718" y="466"/>
                  </a:cubicBezTo>
                  <a:cubicBezTo>
                    <a:pt x="710" y="474"/>
                    <a:pt x="718" y="504"/>
                    <a:pt x="710" y="504"/>
                  </a:cubicBezTo>
                  <a:cubicBezTo>
                    <a:pt x="680" y="512"/>
                    <a:pt x="657" y="497"/>
                    <a:pt x="626" y="489"/>
                  </a:cubicBezTo>
                  <a:cubicBezTo>
                    <a:pt x="504" y="481"/>
                    <a:pt x="389" y="459"/>
                    <a:pt x="267" y="466"/>
                  </a:cubicBezTo>
                  <a:cubicBezTo>
                    <a:pt x="244" y="466"/>
                    <a:pt x="221" y="497"/>
                    <a:pt x="214" y="520"/>
                  </a:cubicBezTo>
                  <a:cubicBezTo>
                    <a:pt x="214" y="535"/>
                    <a:pt x="244" y="558"/>
                    <a:pt x="229" y="565"/>
                  </a:cubicBezTo>
                  <a:cubicBezTo>
                    <a:pt x="198" y="581"/>
                    <a:pt x="153" y="565"/>
                    <a:pt x="114" y="565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75" name="Freeform 97"/>
            <p:cNvSpPr>
              <a:spLocks noChangeArrowheads="1"/>
            </p:cNvSpPr>
            <p:nvPr/>
          </p:nvSpPr>
          <p:spPr bwMode="auto">
            <a:xfrm>
              <a:off x="7387744" y="8993188"/>
              <a:ext cx="66671" cy="80962"/>
            </a:xfrm>
            <a:custGeom>
              <a:avLst/>
              <a:gdLst>
                <a:gd name="T0" fmla="*/ 23 w 184"/>
                <a:gd name="T1" fmla="*/ 54 h 223"/>
                <a:gd name="T2" fmla="*/ 23 w 184"/>
                <a:gd name="T3" fmla="*/ 54 h 223"/>
                <a:gd name="T4" fmla="*/ 68 w 184"/>
                <a:gd name="T5" fmla="*/ 69 h 223"/>
                <a:gd name="T6" fmla="*/ 84 w 184"/>
                <a:gd name="T7" fmla="*/ 31 h 223"/>
                <a:gd name="T8" fmla="*/ 145 w 184"/>
                <a:gd name="T9" fmla="*/ 8 h 223"/>
                <a:gd name="T10" fmla="*/ 153 w 184"/>
                <a:gd name="T11" fmla="*/ 46 h 223"/>
                <a:gd name="T12" fmla="*/ 183 w 184"/>
                <a:gd name="T13" fmla="*/ 92 h 223"/>
                <a:gd name="T14" fmla="*/ 183 w 184"/>
                <a:gd name="T15" fmla="*/ 92 h 223"/>
                <a:gd name="T16" fmla="*/ 153 w 184"/>
                <a:gd name="T17" fmla="*/ 130 h 223"/>
                <a:gd name="T18" fmla="*/ 168 w 184"/>
                <a:gd name="T19" fmla="*/ 161 h 223"/>
                <a:gd name="T20" fmla="*/ 122 w 184"/>
                <a:gd name="T21" fmla="*/ 214 h 223"/>
                <a:gd name="T22" fmla="*/ 76 w 184"/>
                <a:gd name="T23" fmla="*/ 191 h 223"/>
                <a:gd name="T24" fmla="*/ 76 w 184"/>
                <a:gd name="T25" fmla="*/ 191 h 223"/>
                <a:gd name="T26" fmla="*/ 38 w 184"/>
                <a:gd name="T27" fmla="*/ 122 h 223"/>
                <a:gd name="T28" fmla="*/ 0 w 184"/>
                <a:gd name="T29" fmla="*/ 107 h 223"/>
                <a:gd name="T30" fmla="*/ 23 w 184"/>
                <a:gd name="T31" fmla="*/ 5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4" h="223">
                  <a:moveTo>
                    <a:pt x="23" y="54"/>
                  </a:moveTo>
                  <a:lnTo>
                    <a:pt x="23" y="54"/>
                  </a:lnTo>
                  <a:cubicBezTo>
                    <a:pt x="38" y="61"/>
                    <a:pt x="53" y="77"/>
                    <a:pt x="68" y="69"/>
                  </a:cubicBezTo>
                  <a:cubicBezTo>
                    <a:pt x="84" y="61"/>
                    <a:pt x="68" y="38"/>
                    <a:pt x="84" y="31"/>
                  </a:cubicBezTo>
                  <a:cubicBezTo>
                    <a:pt x="99" y="16"/>
                    <a:pt x="122" y="0"/>
                    <a:pt x="145" y="8"/>
                  </a:cubicBezTo>
                  <a:cubicBezTo>
                    <a:pt x="160" y="8"/>
                    <a:pt x="145" y="38"/>
                    <a:pt x="153" y="46"/>
                  </a:cubicBezTo>
                  <a:cubicBezTo>
                    <a:pt x="160" y="69"/>
                    <a:pt x="168" y="77"/>
                    <a:pt x="183" y="92"/>
                  </a:cubicBezTo>
                  <a:lnTo>
                    <a:pt x="183" y="92"/>
                  </a:lnTo>
                  <a:cubicBezTo>
                    <a:pt x="168" y="107"/>
                    <a:pt x="160" y="115"/>
                    <a:pt x="153" y="130"/>
                  </a:cubicBezTo>
                  <a:cubicBezTo>
                    <a:pt x="153" y="138"/>
                    <a:pt x="168" y="153"/>
                    <a:pt x="168" y="161"/>
                  </a:cubicBezTo>
                  <a:cubicBezTo>
                    <a:pt x="153" y="184"/>
                    <a:pt x="145" y="207"/>
                    <a:pt x="122" y="214"/>
                  </a:cubicBezTo>
                  <a:cubicBezTo>
                    <a:pt x="107" y="222"/>
                    <a:pt x="91" y="199"/>
                    <a:pt x="76" y="191"/>
                  </a:cubicBezTo>
                  <a:lnTo>
                    <a:pt x="76" y="191"/>
                  </a:lnTo>
                  <a:cubicBezTo>
                    <a:pt x="61" y="168"/>
                    <a:pt x="53" y="145"/>
                    <a:pt x="38" y="122"/>
                  </a:cubicBezTo>
                  <a:cubicBezTo>
                    <a:pt x="30" y="115"/>
                    <a:pt x="0" y="122"/>
                    <a:pt x="0" y="107"/>
                  </a:cubicBezTo>
                  <a:cubicBezTo>
                    <a:pt x="0" y="84"/>
                    <a:pt x="15" y="69"/>
                    <a:pt x="23" y="54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76" name="Freeform 98"/>
            <p:cNvSpPr>
              <a:spLocks noChangeArrowheads="1"/>
            </p:cNvSpPr>
            <p:nvPr/>
          </p:nvSpPr>
          <p:spPr bwMode="auto">
            <a:xfrm>
              <a:off x="7406793" y="8932863"/>
              <a:ext cx="123817" cy="190500"/>
            </a:xfrm>
            <a:custGeom>
              <a:avLst/>
              <a:gdLst>
                <a:gd name="T0" fmla="*/ 176 w 345"/>
                <a:gd name="T1" fmla="*/ 46 h 528"/>
                <a:gd name="T2" fmla="*/ 176 w 345"/>
                <a:gd name="T3" fmla="*/ 46 h 528"/>
                <a:gd name="T4" fmla="*/ 222 w 345"/>
                <a:gd name="T5" fmla="*/ 0 h 528"/>
                <a:gd name="T6" fmla="*/ 267 w 345"/>
                <a:gd name="T7" fmla="*/ 54 h 528"/>
                <a:gd name="T8" fmla="*/ 267 w 345"/>
                <a:gd name="T9" fmla="*/ 54 h 528"/>
                <a:gd name="T10" fmla="*/ 260 w 345"/>
                <a:gd name="T11" fmla="*/ 107 h 528"/>
                <a:gd name="T12" fmla="*/ 306 w 345"/>
                <a:gd name="T13" fmla="*/ 145 h 528"/>
                <a:gd name="T14" fmla="*/ 290 w 345"/>
                <a:gd name="T15" fmla="*/ 260 h 528"/>
                <a:gd name="T16" fmla="*/ 283 w 345"/>
                <a:gd name="T17" fmla="*/ 260 h 528"/>
                <a:gd name="T18" fmla="*/ 329 w 345"/>
                <a:gd name="T19" fmla="*/ 306 h 528"/>
                <a:gd name="T20" fmla="*/ 329 w 345"/>
                <a:gd name="T21" fmla="*/ 306 h 528"/>
                <a:gd name="T22" fmla="*/ 336 w 345"/>
                <a:gd name="T23" fmla="*/ 367 h 528"/>
                <a:gd name="T24" fmla="*/ 336 w 345"/>
                <a:gd name="T25" fmla="*/ 481 h 528"/>
                <a:gd name="T26" fmla="*/ 306 w 345"/>
                <a:gd name="T27" fmla="*/ 481 h 528"/>
                <a:gd name="T28" fmla="*/ 283 w 345"/>
                <a:gd name="T29" fmla="*/ 527 h 528"/>
                <a:gd name="T30" fmla="*/ 283 w 345"/>
                <a:gd name="T31" fmla="*/ 527 h 528"/>
                <a:gd name="T32" fmla="*/ 115 w 345"/>
                <a:gd name="T33" fmla="*/ 489 h 528"/>
                <a:gd name="T34" fmla="*/ 84 w 345"/>
                <a:gd name="T35" fmla="*/ 504 h 528"/>
                <a:gd name="T36" fmla="*/ 23 w 345"/>
                <a:gd name="T37" fmla="*/ 504 h 528"/>
                <a:gd name="T38" fmla="*/ 23 w 345"/>
                <a:gd name="T39" fmla="*/ 504 h 528"/>
                <a:gd name="T40" fmla="*/ 31 w 345"/>
                <a:gd name="T41" fmla="*/ 459 h 528"/>
                <a:gd name="T42" fmla="*/ 8 w 345"/>
                <a:gd name="T43" fmla="*/ 413 h 528"/>
                <a:gd name="T44" fmla="*/ 23 w 345"/>
                <a:gd name="T45" fmla="*/ 359 h 528"/>
                <a:gd name="T46" fmla="*/ 23 w 345"/>
                <a:gd name="T47" fmla="*/ 359 h 528"/>
                <a:gd name="T48" fmla="*/ 69 w 345"/>
                <a:gd name="T49" fmla="*/ 382 h 528"/>
                <a:gd name="T50" fmla="*/ 115 w 345"/>
                <a:gd name="T51" fmla="*/ 329 h 528"/>
                <a:gd name="T52" fmla="*/ 100 w 345"/>
                <a:gd name="T53" fmla="*/ 298 h 528"/>
                <a:gd name="T54" fmla="*/ 130 w 345"/>
                <a:gd name="T55" fmla="*/ 260 h 528"/>
                <a:gd name="T56" fmla="*/ 130 w 345"/>
                <a:gd name="T57" fmla="*/ 260 h 528"/>
                <a:gd name="T58" fmla="*/ 168 w 345"/>
                <a:gd name="T59" fmla="*/ 199 h 528"/>
                <a:gd name="T60" fmla="*/ 214 w 345"/>
                <a:gd name="T61" fmla="*/ 153 h 528"/>
                <a:gd name="T62" fmla="*/ 176 w 345"/>
                <a:gd name="T63" fmla="*/ 46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5" h="528">
                  <a:moveTo>
                    <a:pt x="176" y="46"/>
                  </a:moveTo>
                  <a:lnTo>
                    <a:pt x="176" y="46"/>
                  </a:lnTo>
                  <a:cubicBezTo>
                    <a:pt x="191" y="31"/>
                    <a:pt x="199" y="0"/>
                    <a:pt x="222" y="0"/>
                  </a:cubicBezTo>
                  <a:cubicBezTo>
                    <a:pt x="245" y="0"/>
                    <a:pt x="252" y="38"/>
                    <a:pt x="267" y="54"/>
                  </a:cubicBezTo>
                  <a:lnTo>
                    <a:pt x="267" y="54"/>
                  </a:lnTo>
                  <a:cubicBezTo>
                    <a:pt x="267" y="69"/>
                    <a:pt x="260" y="84"/>
                    <a:pt x="260" y="107"/>
                  </a:cubicBezTo>
                  <a:cubicBezTo>
                    <a:pt x="267" y="123"/>
                    <a:pt x="298" y="123"/>
                    <a:pt x="306" y="145"/>
                  </a:cubicBezTo>
                  <a:cubicBezTo>
                    <a:pt x="313" y="184"/>
                    <a:pt x="290" y="222"/>
                    <a:pt x="290" y="260"/>
                  </a:cubicBezTo>
                  <a:cubicBezTo>
                    <a:pt x="283" y="260"/>
                    <a:pt x="283" y="260"/>
                    <a:pt x="283" y="260"/>
                  </a:cubicBezTo>
                  <a:cubicBezTo>
                    <a:pt x="329" y="306"/>
                    <a:pt x="329" y="306"/>
                    <a:pt x="329" y="306"/>
                  </a:cubicBezTo>
                  <a:lnTo>
                    <a:pt x="329" y="306"/>
                  </a:lnTo>
                  <a:cubicBezTo>
                    <a:pt x="329" y="329"/>
                    <a:pt x="336" y="344"/>
                    <a:pt x="336" y="367"/>
                  </a:cubicBezTo>
                  <a:cubicBezTo>
                    <a:pt x="336" y="405"/>
                    <a:pt x="344" y="443"/>
                    <a:pt x="336" y="481"/>
                  </a:cubicBezTo>
                  <a:cubicBezTo>
                    <a:pt x="336" y="489"/>
                    <a:pt x="313" y="474"/>
                    <a:pt x="306" y="481"/>
                  </a:cubicBezTo>
                  <a:cubicBezTo>
                    <a:pt x="290" y="489"/>
                    <a:pt x="290" y="512"/>
                    <a:pt x="283" y="527"/>
                  </a:cubicBezTo>
                  <a:lnTo>
                    <a:pt x="283" y="527"/>
                  </a:lnTo>
                  <a:cubicBezTo>
                    <a:pt x="222" y="512"/>
                    <a:pt x="168" y="497"/>
                    <a:pt x="115" y="489"/>
                  </a:cubicBezTo>
                  <a:cubicBezTo>
                    <a:pt x="100" y="489"/>
                    <a:pt x="92" y="504"/>
                    <a:pt x="84" y="504"/>
                  </a:cubicBezTo>
                  <a:cubicBezTo>
                    <a:pt x="61" y="504"/>
                    <a:pt x="46" y="504"/>
                    <a:pt x="23" y="504"/>
                  </a:cubicBezTo>
                  <a:lnTo>
                    <a:pt x="23" y="504"/>
                  </a:lnTo>
                  <a:cubicBezTo>
                    <a:pt x="31" y="489"/>
                    <a:pt x="38" y="474"/>
                    <a:pt x="31" y="459"/>
                  </a:cubicBezTo>
                  <a:cubicBezTo>
                    <a:pt x="31" y="436"/>
                    <a:pt x="8" y="428"/>
                    <a:pt x="8" y="413"/>
                  </a:cubicBezTo>
                  <a:cubicBezTo>
                    <a:pt x="0" y="390"/>
                    <a:pt x="15" y="375"/>
                    <a:pt x="23" y="359"/>
                  </a:cubicBezTo>
                  <a:lnTo>
                    <a:pt x="23" y="359"/>
                  </a:lnTo>
                  <a:cubicBezTo>
                    <a:pt x="38" y="367"/>
                    <a:pt x="54" y="390"/>
                    <a:pt x="69" y="382"/>
                  </a:cubicBezTo>
                  <a:cubicBezTo>
                    <a:pt x="92" y="375"/>
                    <a:pt x="100" y="352"/>
                    <a:pt x="115" y="329"/>
                  </a:cubicBezTo>
                  <a:cubicBezTo>
                    <a:pt x="115" y="321"/>
                    <a:pt x="100" y="306"/>
                    <a:pt x="100" y="298"/>
                  </a:cubicBezTo>
                  <a:cubicBezTo>
                    <a:pt x="107" y="283"/>
                    <a:pt x="115" y="275"/>
                    <a:pt x="130" y="260"/>
                  </a:cubicBezTo>
                  <a:lnTo>
                    <a:pt x="130" y="260"/>
                  </a:lnTo>
                  <a:cubicBezTo>
                    <a:pt x="145" y="237"/>
                    <a:pt x="153" y="222"/>
                    <a:pt x="168" y="199"/>
                  </a:cubicBezTo>
                  <a:cubicBezTo>
                    <a:pt x="184" y="184"/>
                    <a:pt x="214" y="168"/>
                    <a:pt x="214" y="153"/>
                  </a:cubicBezTo>
                  <a:cubicBezTo>
                    <a:pt x="214" y="115"/>
                    <a:pt x="191" y="84"/>
                    <a:pt x="176" y="4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77" name="Freeform 99"/>
            <p:cNvSpPr>
              <a:spLocks noChangeArrowheads="1"/>
            </p:cNvSpPr>
            <p:nvPr/>
          </p:nvSpPr>
          <p:spPr bwMode="auto">
            <a:xfrm>
              <a:off x="7500449" y="8921751"/>
              <a:ext cx="184138" cy="182563"/>
            </a:xfrm>
            <a:custGeom>
              <a:avLst/>
              <a:gdLst>
                <a:gd name="T0" fmla="*/ 321 w 513"/>
                <a:gd name="T1" fmla="*/ 191 h 505"/>
                <a:gd name="T2" fmla="*/ 321 w 513"/>
                <a:gd name="T3" fmla="*/ 191 h 505"/>
                <a:gd name="T4" fmla="*/ 305 w 513"/>
                <a:gd name="T5" fmla="*/ 221 h 505"/>
                <a:gd name="T6" fmla="*/ 221 w 513"/>
                <a:gd name="T7" fmla="*/ 160 h 505"/>
                <a:gd name="T8" fmla="*/ 244 w 513"/>
                <a:gd name="T9" fmla="*/ 30 h 505"/>
                <a:gd name="T10" fmla="*/ 199 w 513"/>
                <a:gd name="T11" fmla="*/ 0 h 505"/>
                <a:gd name="T12" fmla="*/ 122 w 513"/>
                <a:gd name="T13" fmla="*/ 30 h 505"/>
                <a:gd name="T14" fmla="*/ 76 w 513"/>
                <a:gd name="T15" fmla="*/ 53 h 505"/>
                <a:gd name="T16" fmla="*/ 7 w 513"/>
                <a:gd name="T17" fmla="*/ 84 h 505"/>
                <a:gd name="T18" fmla="*/ 7 w 513"/>
                <a:gd name="T19" fmla="*/ 84 h 505"/>
                <a:gd name="T20" fmla="*/ 0 w 513"/>
                <a:gd name="T21" fmla="*/ 137 h 505"/>
                <a:gd name="T22" fmla="*/ 46 w 513"/>
                <a:gd name="T23" fmla="*/ 175 h 505"/>
                <a:gd name="T24" fmla="*/ 30 w 513"/>
                <a:gd name="T25" fmla="*/ 290 h 505"/>
                <a:gd name="T26" fmla="*/ 23 w 513"/>
                <a:gd name="T27" fmla="*/ 290 h 505"/>
                <a:gd name="T28" fmla="*/ 69 w 513"/>
                <a:gd name="T29" fmla="*/ 336 h 505"/>
                <a:gd name="T30" fmla="*/ 69 w 513"/>
                <a:gd name="T31" fmla="*/ 336 h 505"/>
                <a:gd name="T32" fmla="*/ 122 w 513"/>
                <a:gd name="T33" fmla="*/ 267 h 505"/>
                <a:gd name="T34" fmla="*/ 183 w 513"/>
                <a:gd name="T35" fmla="*/ 297 h 505"/>
                <a:gd name="T36" fmla="*/ 244 w 513"/>
                <a:gd name="T37" fmla="*/ 290 h 505"/>
                <a:gd name="T38" fmla="*/ 290 w 513"/>
                <a:gd name="T39" fmla="*/ 290 h 505"/>
                <a:gd name="T40" fmla="*/ 290 w 513"/>
                <a:gd name="T41" fmla="*/ 328 h 505"/>
                <a:gd name="T42" fmla="*/ 328 w 513"/>
                <a:gd name="T43" fmla="*/ 343 h 505"/>
                <a:gd name="T44" fmla="*/ 336 w 513"/>
                <a:gd name="T45" fmla="*/ 397 h 505"/>
                <a:gd name="T46" fmla="*/ 260 w 513"/>
                <a:gd name="T47" fmla="*/ 366 h 505"/>
                <a:gd name="T48" fmla="*/ 244 w 513"/>
                <a:gd name="T49" fmla="*/ 412 h 505"/>
                <a:gd name="T50" fmla="*/ 275 w 513"/>
                <a:gd name="T51" fmla="*/ 481 h 505"/>
                <a:gd name="T52" fmla="*/ 275 w 513"/>
                <a:gd name="T53" fmla="*/ 481 h 505"/>
                <a:gd name="T54" fmla="*/ 359 w 513"/>
                <a:gd name="T55" fmla="*/ 481 h 505"/>
                <a:gd name="T56" fmla="*/ 412 w 513"/>
                <a:gd name="T57" fmla="*/ 328 h 505"/>
                <a:gd name="T58" fmla="*/ 496 w 513"/>
                <a:gd name="T59" fmla="*/ 351 h 505"/>
                <a:gd name="T60" fmla="*/ 474 w 513"/>
                <a:gd name="T61" fmla="*/ 282 h 505"/>
                <a:gd name="T62" fmla="*/ 504 w 513"/>
                <a:gd name="T63" fmla="*/ 267 h 505"/>
                <a:gd name="T64" fmla="*/ 504 w 513"/>
                <a:gd name="T65" fmla="*/ 267 h 505"/>
                <a:gd name="T66" fmla="*/ 458 w 513"/>
                <a:gd name="T67" fmla="*/ 214 h 505"/>
                <a:gd name="T68" fmla="*/ 366 w 513"/>
                <a:gd name="T69" fmla="*/ 191 h 505"/>
                <a:gd name="T70" fmla="*/ 321 w 513"/>
                <a:gd name="T71" fmla="*/ 191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13" h="505">
                  <a:moveTo>
                    <a:pt x="321" y="191"/>
                  </a:moveTo>
                  <a:lnTo>
                    <a:pt x="321" y="191"/>
                  </a:lnTo>
                  <a:cubicBezTo>
                    <a:pt x="313" y="198"/>
                    <a:pt x="313" y="221"/>
                    <a:pt x="305" y="221"/>
                  </a:cubicBezTo>
                  <a:cubicBezTo>
                    <a:pt x="275" y="206"/>
                    <a:pt x="237" y="191"/>
                    <a:pt x="221" y="160"/>
                  </a:cubicBezTo>
                  <a:cubicBezTo>
                    <a:pt x="206" y="122"/>
                    <a:pt x="244" y="76"/>
                    <a:pt x="244" y="30"/>
                  </a:cubicBezTo>
                  <a:cubicBezTo>
                    <a:pt x="237" y="15"/>
                    <a:pt x="221" y="0"/>
                    <a:pt x="199" y="0"/>
                  </a:cubicBezTo>
                  <a:cubicBezTo>
                    <a:pt x="176" y="0"/>
                    <a:pt x="153" y="15"/>
                    <a:pt x="122" y="30"/>
                  </a:cubicBezTo>
                  <a:cubicBezTo>
                    <a:pt x="107" y="30"/>
                    <a:pt x="92" y="45"/>
                    <a:pt x="76" y="53"/>
                  </a:cubicBezTo>
                  <a:cubicBezTo>
                    <a:pt x="53" y="61"/>
                    <a:pt x="30" y="76"/>
                    <a:pt x="7" y="84"/>
                  </a:cubicBezTo>
                  <a:lnTo>
                    <a:pt x="7" y="84"/>
                  </a:lnTo>
                  <a:cubicBezTo>
                    <a:pt x="7" y="99"/>
                    <a:pt x="0" y="114"/>
                    <a:pt x="0" y="137"/>
                  </a:cubicBezTo>
                  <a:cubicBezTo>
                    <a:pt x="7" y="153"/>
                    <a:pt x="38" y="153"/>
                    <a:pt x="46" y="175"/>
                  </a:cubicBezTo>
                  <a:cubicBezTo>
                    <a:pt x="53" y="214"/>
                    <a:pt x="30" y="252"/>
                    <a:pt x="30" y="290"/>
                  </a:cubicBezTo>
                  <a:cubicBezTo>
                    <a:pt x="23" y="290"/>
                    <a:pt x="23" y="290"/>
                    <a:pt x="23" y="290"/>
                  </a:cubicBezTo>
                  <a:cubicBezTo>
                    <a:pt x="69" y="336"/>
                    <a:pt x="69" y="336"/>
                    <a:pt x="69" y="336"/>
                  </a:cubicBezTo>
                  <a:lnTo>
                    <a:pt x="69" y="336"/>
                  </a:lnTo>
                  <a:cubicBezTo>
                    <a:pt x="84" y="313"/>
                    <a:pt x="92" y="275"/>
                    <a:pt x="122" y="267"/>
                  </a:cubicBezTo>
                  <a:cubicBezTo>
                    <a:pt x="145" y="259"/>
                    <a:pt x="160" y="290"/>
                    <a:pt x="183" y="297"/>
                  </a:cubicBezTo>
                  <a:cubicBezTo>
                    <a:pt x="206" y="297"/>
                    <a:pt x="221" y="290"/>
                    <a:pt x="244" y="290"/>
                  </a:cubicBezTo>
                  <a:cubicBezTo>
                    <a:pt x="260" y="290"/>
                    <a:pt x="282" y="282"/>
                    <a:pt x="290" y="290"/>
                  </a:cubicBezTo>
                  <a:cubicBezTo>
                    <a:pt x="298" y="297"/>
                    <a:pt x="282" y="320"/>
                    <a:pt x="290" y="328"/>
                  </a:cubicBezTo>
                  <a:cubicBezTo>
                    <a:pt x="298" y="336"/>
                    <a:pt x="321" y="328"/>
                    <a:pt x="328" y="343"/>
                  </a:cubicBezTo>
                  <a:cubicBezTo>
                    <a:pt x="336" y="359"/>
                    <a:pt x="351" y="389"/>
                    <a:pt x="336" y="397"/>
                  </a:cubicBezTo>
                  <a:cubicBezTo>
                    <a:pt x="305" y="405"/>
                    <a:pt x="282" y="359"/>
                    <a:pt x="260" y="366"/>
                  </a:cubicBezTo>
                  <a:cubicBezTo>
                    <a:pt x="244" y="366"/>
                    <a:pt x="244" y="397"/>
                    <a:pt x="244" y="412"/>
                  </a:cubicBezTo>
                  <a:cubicBezTo>
                    <a:pt x="252" y="435"/>
                    <a:pt x="267" y="458"/>
                    <a:pt x="275" y="481"/>
                  </a:cubicBezTo>
                  <a:lnTo>
                    <a:pt x="275" y="481"/>
                  </a:lnTo>
                  <a:cubicBezTo>
                    <a:pt x="305" y="481"/>
                    <a:pt x="336" y="504"/>
                    <a:pt x="359" y="481"/>
                  </a:cubicBezTo>
                  <a:cubicBezTo>
                    <a:pt x="389" y="443"/>
                    <a:pt x="366" y="366"/>
                    <a:pt x="412" y="328"/>
                  </a:cubicBezTo>
                  <a:cubicBezTo>
                    <a:pt x="435" y="305"/>
                    <a:pt x="474" y="366"/>
                    <a:pt x="496" y="351"/>
                  </a:cubicBezTo>
                  <a:cubicBezTo>
                    <a:pt x="512" y="336"/>
                    <a:pt x="474" y="305"/>
                    <a:pt x="474" y="282"/>
                  </a:cubicBezTo>
                  <a:cubicBezTo>
                    <a:pt x="481" y="275"/>
                    <a:pt x="496" y="267"/>
                    <a:pt x="504" y="267"/>
                  </a:cubicBezTo>
                  <a:lnTo>
                    <a:pt x="504" y="267"/>
                  </a:lnTo>
                  <a:cubicBezTo>
                    <a:pt x="489" y="244"/>
                    <a:pt x="481" y="229"/>
                    <a:pt x="458" y="214"/>
                  </a:cubicBezTo>
                  <a:cubicBezTo>
                    <a:pt x="435" y="198"/>
                    <a:pt x="397" y="198"/>
                    <a:pt x="366" y="191"/>
                  </a:cubicBezTo>
                  <a:cubicBezTo>
                    <a:pt x="351" y="191"/>
                    <a:pt x="336" y="191"/>
                    <a:pt x="321" y="19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78" name="Freeform 100"/>
            <p:cNvSpPr>
              <a:spLocks noChangeArrowheads="1"/>
            </p:cNvSpPr>
            <p:nvPr/>
          </p:nvSpPr>
          <p:spPr bwMode="auto">
            <a:xfrm>
              <a:off x="7605218" y="8956676"/>
              <a:ext cx="93656" cy="60325"/>
            </a:xfrm>
            <a:custGeom>
              <a:avLst/>
              <a:gdLst>
                <a:gd name="T0" fmla="*/ 214 w 261"/>
                <a:gd name="T1" fmla="*/ 168 h 169"/>
                <a:gd name="T2" fmla="*/ 214 w 261"/>
                <a:gd name="T3" fmla="*/ 168 h 169"/>
                <a:gd name="T4" fmla="*/ 168 w 261"/>
                <a:gd name="T5" fmla="*/ 115 h 169"/>
                <a:gd name="T6" fmla="*/ 76 w 261"/>
                <a:gd name="T7" fmla="*/ 92 h 169"/>
                <a:gd name="T8" fmla="*/ 31 w 261"/>
                <a:gd name="T9" fmla="*/ 92 h 169"/>
                <a:gd name="T10" fmla="*/ 31 w 261"/>
                <a:gd name="T11" fmla="*/ 92 h 169"/>
                <a:gd name="T12" fmla="*/ 8 w 261"/>
                <a:gd name="T13" fmla="*/ 31 h 169"/>
                <a:gd name="T14" fmla="*/ 38 w 261"/>
                <a:gd name="T15" fmla="*/ 0 h 169"/>
                <a:gd name="T16" fmla="*/ 107 w 261"/>
                <a:gd name="T17" fmla="*/ 23 h 169"/>
                <a:gd name="T18" fmla="*/ 138 w 261"/>
                <a:gd name="T19" fmla="*/ 15 h 169"/>
                <a:gd name="T20" fmla="*/ 199 w 261"/>
                <a:gd name="T21" fmla="*/ 61 h 169"/>
                <a:gd name="T22" fmla="*/ 206 w 261"/>
                <a:gd name="T23" fmla="*/ 99 h 169"/>
                <a:gd name="T24" fmla="*/ 260 w 261"/>
                <a:gd name="T25" fmla="*/ 107 h 169"/>
                <a:gd name="T26" fmla="*/ 260 w 261"/>
                <a:gd name="T27" fmla="*/ 107 h 169"/>
                <a:gd name="T28" fmla="*/ 245 w 261"/>
                <a:gd name="T29" fmla="*/ 168 h 169"/>
                <a:gd name="T30" fmla="*/ 245 w 261"/>
                <a:gd name="T31" fmla="*/ 168 h 169"/>
                <a:gd name="T32" fmla="*/ 214 w 261"/>
                <a:gd name="T33" fmla="*/ 168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1" h="169">
                  <a:moveTo>
                    <a:pt x="214" y="168"/>
                  </a:moveTo>
                  <a:lnTo>
                    <a:pt x="214" y="168"/>
                  </a:lnTo>
                  <a:cubicBezTo>
                    <a:pt x="199" y="145"/>
                    <a:pt x="191" y="130"/>
                    <a:pt x="168" y="115"/>
                  </a:cubicBezTo>
                  <a:cubicBezTo>
                    <a:pt x="145" y="99"/>
                    <a:pt x="107" y="99"/>
                    <a:pt x="76" y="92"/>
                  </a:cubicBezTo>
                  <a:cubicBezTo>
                    <a:pt x="61" y="92"/>
                    <a:pt x="46" y="92"/>
                    <a:pt x="31" y="92"/>
                  </a:cubicBezTo>
                  <a:lnTo>
                    <a:pt x="31" y="92"/>
                  </a:lnTo>
                  <a:cubicBezTo>
                    <a:pt x="23" y="76"/>
                    <a:pt x="0" y="54"/>
                    <a:pt x="8" y="31"/>
                  </a:cubicBezTo>
                  <a:cubicBezTo>
                    <a:pt x="8" y="15"/>
                    <a:pt x="23" y="0"/>
                    <a:pt x="38" y="0"/>
                  </a:cubicBezTo>
                  <a:cubicBezTo>
                    <a:pt x="61" y="0"/>
                    <a:pt x="84" y="23"/>
                    <a:pt x="107" y="23"/>
                  </a:cubicBezTo>
                  <a:cubicBezTo>
                    <a:pt x="115" y="23"/>
                    <a:pt x="130" y="15"/>
                    <a:pt x="138" y="15"/>
                  </a:cubicBezTo>
                  <a:cubicBezTo>
                    <a:pt x="161" y="23"/>
                    <a:pt x="184" y="38"/>
                    <a:pt x="199" y="61"/>
                  </a:cubicBezTo>
                  <a:cubicBezTo>
                    <a:pt x="206" y="69"/>
                    <a:pt x="191" y="92"/>
                    <a:pt x="206" y="99"/>
                  </a:cubicBezTo>
                  <a:cubicBezTo>
                    <a:pt x="222" y="115"/>
                    <a:pt x="237" y="107"/>
                    <a:pt x="260" y="107"/>
                  </a:cubicBezTo>
                  <a:lnTo>
                    <a:pt x="260" y="107"/>
                  </a:lnTo>
                  <a:cubicBezTo>
                    <a:pt x="245" y="168"/>
                    <a:pt x="245" y="168"/>
                    <a:pt x="245" y="168"/>
                  </a:cubicBezTo>
                  <a:lnTo>
                    <a:pt x="245" y="168"/>
                  </a:lnTo>
                  <a:cubicBezTo>
                    <a:pt x="214" y="168"/>
                    <a:pt x="214" y="168"/>
                    <a:pt x="214" y="16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79" name="Freeform 101"/>
            <p:cNvSpPr>
              <a:spLocks noChangeArrowheads="1"/>
            </p:cNvSpPr>
            <p:nvPr/>
          </p:nvSpPr>
          <p:spPr bwMode="auto">
            <a:xfrm>
              <a:off x="7508387" y="9015413"/>
              <a:ext cx="119055" cy="127000"/>
            </a:xfrm>
            <a:custGeom>
              <a:avLst/>
              <a:gdLst>
                <a:gd name="T0" fmla="*/ 46 w 329"/>
                <a:gd name="T1" fmla="*/ 77 h 353"/>
                <a:gd name="T2" fmla="*/ 46 w 329"/>
                <a:gd name="T3" fmla="*/ 77 h 353"/>
                <a:gd name="T4" fmla="*/ 99 w 329"/>
                <a:gd name="T5" fmla="*/ 8 h 353"/>
                <a:gd name="T6" fmla="*/ 160 w 329"/>
                <a:gd name="T7" fmla="*/ 38 h 353"/>
                <a:gd name="T8" fmla="*/ 221 w 329"/>
                <a:gd name="T9" fmla="*/ 31 h 353"/>
                <a:gd name="T10" fmla="*/ 267 w 329"/>
                <a:gd name="T11" fmla="*/ 31 h 353"/>
                <a:gd name="T12" fmla="*/ 267 w 329"/>
                <a:gd name="T13" fmla="*/ 69 h 353"/>
                <a:gd name="T14" fmla="*/ 305 w 329"/>
                <a:gd name="T15" fmla="*/ 84 h 353"/>
                <a:gd name="T16" fmla="*/ 313 w 329"/>
                <a:gd name="T17" fmla="*/ 138 h 353"/>
                <a:gd name="T18" fmla="*/ 237 w 329"/>
                <a:gd name="T19" fmla="*/ 107 h 353"/>
                <a:gd name="T20" fmla="*/ 221 w 329"/>
                <a:gd name="T21" fmla="*/ 153 h 353"/>
                <a:gd name="T22" fmla="*/ 252 w 329"/>
                <a:gd name="T23" fmla="*/ 222 h 353"/>
                <a:gd name="T24" fmla="*/ 252 w 329"/>
                <a:gd name="T25" fmla="*/ 222 h 353"/>
                <a:gd name="T26" fmla="*/ 160 w 329"/>
                <a:gd name="T27" fmla="*/ 268 h 353"/>
                <a:gd name="T28" fmla="*/ 84 w 329"/>
                <a:gd name="T29" fmla="*/ 352 h 353"/>
                <a:gd name="T30" fmla="*/ 84 w 329"/>
                <a:gd name="T31" fmla="*/ 352 h 353"/>
                <a:gd name="T32" fmla="*/ 0 w 329"/>
                <a:gd name="T33" fmla="*/ 298 h 353"/>
                <a:gd name="T34" fmla="*/ 0 w 329"/>
                <a:gd name="T35" fmla="*/ 298 h 353"/>
                <a:gd name="T36" fmla="*/ 23 w 329"/>
                <a:gd name="T37" fmla="*/ 252 h 353"/>
                <a:gd name="T38" fmla="*/ 53 w 329"/>
                <a:gd name="T39" fmla="*/ 252 h 353"/>
                <a:gd name="T40" fmla="*/ 53 w 329"/>
                <a:gd name="T41" fmla="*/ 138 h 353"/>
                <a:gd name="T42" fmla="*/ 46 w 329"/>
                <a:gd name="T43" fmla="*/ 77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9" h="353">
                  <a:moveTo>
                    <a:pt x="46" y="77"/>
                  </a:moveTo>
                  <a:lnTo>
                    <a:pt x="46" y="77"/>
                  </a:lnTo>
                  <a:cubicBezTo>
                    <a:pt x="61" y="54"/>
                    <a:pt x="69" y="16"/>
                    <a:pt x="99" y="8"/>
                  </a:cubicBezTo>
                  <a:cubicBezTo>
                    <a:pt x="122" y="0"/>
                    <a:pt x="137" y="31"/>
                    <a:pt x="160" y="38"/>
                  </a:cubicBezTo>
                  <a:cubicBezTo>
                    <a:pt x="183" y="38"/>
                    <a:pt x="198" y="31"/>
                    <a:pt x="221" y="31"/>
                  </a:cubicBezTo>
                  <a:cubicBezTo>
                    <a:pt x="237" y="31"/>
                    <a:pt x="259" y="23"/>
                    <a:pt x="267" y="31"/>
                  </a:cubicBezTo>
                  <a:cubicBezTo>
                    <a:pt x="275" y="38"/>
                    <a:pt x="259" y="61"/>
                    <a:pt x="267" y="69"/>
                  </a:cubicBezTo>
                  <a:cubicBezTo>
                    <a:pt x="275" y="77"/>
                    <a:pt x="298" y="69"/>
                    <a:pt x="305" y="84"/>
                  </a:cubicBezTo>
                  <a:cubicBezTo>
                    <a:pt x="313" y="100"/>
                    <a:pt x="328" y="130"/>
                    <a:pt x="313" y="138"/>
                  </a:cubicBezTo>
                  <a:cubicBezTo>
                    <a:pt x="282" y="146"/>
                    <a:pt x="259" y="100"/>
                    <a:pt x="237" y="107"/>
                  </a:cubicBezTo>
                  <a:cubicBezTo>
                    <a:pt x="221" y="107"/>
                    <a:pt x="221" y="138"/>
                    <a:pt x="221" y="153"/>
                  </a:cubicBezTo>
                  <a:cubicBezTo>
                    <a:pt x="229" y="176"/>
                    <a:pt x="244" y="199"/>
                    <a:pt x="252" y="222"/>
                  </a:cubicBezTo>
                  <a:lnTo>
                    <a:pt x="252" y="222"/>
                  </a:lnTo>
                  <a:cubicBezTo>
                    <a:pt x="221" y="237"/>
                    <a:pt x="183" y="245"/>
                    <a:pt x="160" y="268"/>
                  </a:cubicBezTo>
                  <a:cubicBezTo>
                    <a:pt x="130" y="291"/>
                    <a:pt x="107" y="321"/>
                    <a:pt x="84" y="352"/>
                  </a:cubicBezTo>
                  <a:lnTo>
                    <a:pt x="84" y="352"/>
                  </a:lnTo>
                  <a:cubicBezTo>
                    <a:pt x="0" y="298"/>
                    <a:pt x="0" y="298"/>
                    <a:pt x="0" y="298"/>
                  </a:cubicBezTo>
                  <a:lnTo>
                    <a:pt x="0" y="298"/>
                  </a:lnTo>
                  <a:cubicBezTo>
                    <a:pt x="7" y="283"/>
                    <a:pt x="7" y="260"/>
                    <a:pt x="23" y="252"/>
                  </a:cubicBezTo>
                  <a:cubicBezTo>
                    <a:pt x="30" y="245"/>
                    <a:pt x="53" y="260"/>
                    <a:pt x="53" y="252"/>
                  </a:cubicBezTo>
                  <a:cubicBezTo>
                    <a:pt x="61" y="214"/>
                    <a:pt x="53" y="176"/>
                    <a:pt x="53" y="138"/>
                  </a:cubicBezTo>
                  <a:cubicBezTo>
                    <a:pt x="53" y="115"/>
                    <a:pt x="46" y="100"/>
                    <a:pt x="46" y="7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80" name="Freeform 102"/>
            <p:cNvSpPr>
              <a:spLocks noChangeArrowheads="1"/>
            </p:cNvSpPr>
            <p:nvPr/>
          </p:nvSpPr>
          <p:spPr bwMode="auto">
            <a:xfrm>
              <a:off x="7692524" y="8821738"/>
              <a:ext cx="476219" cy="360362"/>
            </a:xfrm>
            <a:custGeom>
              <a:avLst/>
              <a:gdLst>
                <a:gd name="T0" fmla="*/ 0 w 1322"/>
                <a:gd name="T1" fmla="*/ 542 h 1001"/>
                <a:gd name="T2" fmla="*/ 0 w 1322"/>
                <a:gd name="T3" fmla="*/ 542 h 1001"/>
                <a:gd name="T4" fmla="*/ 15 w 1322"/>
                <a:gd name="T5" fmla="*/ 481 h 1001"/>
                <a:gd name="T6" fmla="*/ 15 w 1322"/>
                <a:gd name="T7" fmla="*/ 481 h 1001"/>
                <a:gd name="T8" fmla="*/ 30 w 1322"/>
                <a:gd name="T9" fmla="*/ 428 h 1001"/>
                <a:gd name="T10" fmla="*/ 15 w 1322"/>
                <a:gd name="T11" fmla="*/ 359 h 1001"/>
                <a:gd name="T12" fmla="*/ 38 w 1322"/>
                <a:gd name="T13" fmla="*/ 313 h 1001"/>
                <a:gd name="T14" fmla="*/ 7 w 1322"/>
                <a:gd name="T15" fmla="*/ 221 h 1001"/>
                <a:gd name="T16" fmla="*/ 7 w 1322"/>
                <a:gd name="T17" fmla="*/ 221 h 1001"/>
                <a:gd name="T18" fmla="*/ 38 w 1322"/>
                <a:gd name="T19" fmla="*/ 153 h 1001"/>
                <a:gd name="T20" fmla="*/ 76 w 1322"/>
                <a:gd name="T21" fmla="*/ 191 h 1001"/>
                <a:gd name="T22" fmla="*/ 183 w 1322"/>
                <a:gd name="T23" fmla="*/ 183 h 1001"/>
                <a:gd name="T24" fmla="*/ 297 w 1322"/>
                <a:gd name="T25" fmla="*/ 130 h 1001"/>
                <a:gd name="T26" fmla="*/ 397 w 1322"/>
                <a:gd name="T27" fmla="*/ 122 h 1001"/>
                <a:gd name="T28" fmla="*/ 504 w 1322"/>
                <a:gd name="T29" fmla="*/ 53 h 1001"/>
                <a:gd name="T30" fmla="*/ 534 w 1322"/>
                <a:gd name="T31" fmla="*/ 7 h 1001"/>
                <a:gd name="T32" fmla="*/ 695 w 1322"/>
                <a:gd name="T33" fmla="*/ 0 h 1001"/>
                <a:gd name="T34" fmla="*/ 763 w 1322"/>
                <a:gd name="T35" fmla="*/ 23 h 1001"/>
                <a:gd name="T36" fmla="*/ 763 w 1322"/>
                <a:gd name="T37" fmla="*/ 23 h 1001"/>
                <a:gd name="T38" fmla="*/ 763 w 1322"/>
                <a:gd name="T39" fmla="*/ 107 h 1001"/>
                <a:gd name="T40" fmla="*/ 817 w 1322"/>
                <a:gd name="T41" fmla="*/ 114 h 1001"/>
                <a:gd name="T42" fmla="*/ 901 w 1322"/>
                <a:gd name="T43" fmla="*/ 206 h 1001"/>
                <a:gd name="T44" fmla="*/ 1031 w 1322"/>
                <a:gd name="T45" fmla="*/ 153 h 1001"/>
                <a:gd name="T46" fmla="*/ 1100 w 1322"/>
                <a:gd name="T47" fmla="*/ 153 h 1001"/>
                <a:gd name="T48" fmla="*/ 1145 w 1322"/>
                <a:gd name="T49" fmla="*/ 137 h 1001"/>
                <a:gd name="T50" fmla="*/ 1191 w 1322"/>
                <a:gd name="T51" fmla="*/ 206 h 1001"/>
                <a:gd name="T52" fmla="*/ 1191 w 1322"/>
                <a:gd name="T53" fmla="*/ 244 h 1001"/>
                <a:gd name="T54" fmla="*/ 1267 w 1322"/>
                <a:gd name="T55" fmla="*/ 313 h 1001"/>
                <a:gd name="T56" fmla="*/ 1260 w 1322"/>
                <a:gd name="T57" fmla="*/ 313 h 1001"/>
                <a:gd name="T58" fmla="*/ 1306 w 1322"/>
                <a:gd name="T59" fmla="*/ 366 h 1001"/>
                <a:gd name="T60" fmla="*/ 1222 w 1322"/>
                <a:gd name="T61" fmla="*/ 382 h 1001"/>
                <a:gd name="T62" fmla="*/ 1153 w 1322"/>
                <a:gd name="T63" fmla="*/ 389 h 1001"/>
                <a:gd name="T64" fmla="*/ 1138 w 1322"/>
                <a:gd name="T65" fmla="*/ 458 h 1001"/>
                <a:gd name="T66" fmla="*/ 1130 w 1322"/>
                <a:gd name="T67" fmla="*/ 511 h 1001"/>
                <a:gd name="T68" fmla="*/ 1130 w 1322"/>
                <a:gd name="T69" fmla="*/ 511 h 1001"/>
                <a:gd name="T70" fmla="*/ 1100 w 1322"/>
                <a:gd name="T71" fmla="*/ 580 h 1001"/>
                <a:gd name="T72" fmla="*/ 1031 w 1322"/>
                <a:gd name="T73" fmla="*/ 626 h 1001"/>
                <a:gd name="T74" fmla="*/ 1031 w 1322"/>
                <a:gd name="T75" fmla="*/ 718 h 1001"/>
                <a:gd name="T76" fmla="*/ 1015 w 1322"/>
                <a:gd name="T77" fmla="*/ 748 h 1001"/>
                <a:gd name="T78" fmla="*/ 1008 w 1322"/>
                <a:gd name="T79" fmla="*/ 847 h 1001"/>
                <a:gd name="T80" fmla="*/ 977 w 1322"/>
                <a:gd name="T81" fmla="*/ 893 h 1001"/>
                <a:gd name="T82" fmla="*/ 931 w 1322"/>
                <a:gd name="T83" fmla="*/ 916 h 1001"/>
                <a:gd name="T84" fmla="*/ 908 w 1322"/>
                <a:gd name="T85" fmla="*/ 985 h 1001"/>
                <a:gd name="T86" fmla="*/ 855 w 1322"/>
                <a:gd name="T87" fmla="*/ 985 h 1001"/>
                <a:gd name="T88" fmla="*/ 855 w 1322"/>
                <a:gd name="T89" fmla="*/ 985 h 1001"/>
                <a:gd name="T90" fmla="*/ 832 w 1322"/>
                <a:gd name="T91" fmla="*/ 939 h 1001"/>
                <a:gd name="T92" fmla="*/ 809 w 1322"/>
                <a:gd name="T93" fmla="*/ 962 h 1001"/>
                <a:gd name="T94" fmla="*/ 748 w 1322"/>
                <a:gd name="T95" fmla="*/ 870 h 1001"/>
                <a:gd name="T96" fmla="*/ 656 w 1322"/>
                <a:gd name="T97" fmla="*/ 947 h 1001"/>
                <a:gd name="T98" fmla="*/ 588 w 1322"/>
                <a:gd name="T99" fmla="*/ 993 h 1001"/>
                <a:gd name="T100" fmla="*/ 534 w 1322"/>
                <a:gd name="T101" fmla="*/ 939 h 1001"/>
                <a:gd name="T102" fmla="*/ 496 w 1322"/>
                <a:gd name="T103" fmla="*/ 863 h 1001"/>
                <a:gd name="T104" fmla="*/ 435 w 1322"/>
                <a:gd name="T105" fmla="*/ 878 h 1001"/>
                <a:gd name="T106" fmla="*/ 397 w 1322"/>
                <a:gd name="T107" fmla="*/ 771 h 1001"/>
                <a:gd name="T108" fmla="*/ 320 w 1322"/>
                <a:gd name="T109" fmla="*/ 832 h 1001"/>
                <a:gd name="T110" fmla="*/ 275 w 1322"/>
                <a:gd name="T111" fmla="*/ 901 h 1001"/>
                <a:gd name="T112" fmla="*/ 275 w 1322"/>
                <a:gd name="T113" fmla="*/ 847 h 1001"/>
                <a:gd name="T114" fmla="*/ 290 w 1322"/>
                <a:gd name="T115" fmla="*/ 748 h 1001"/>
                <a:gd name="T116" fmla="*/ 183 w 1322"/>
                <a:gd name="T117" fmla="*/ 680 h 1001"/>
                <a:gd name="T118" fmla="*/ 83 w 1322"/>
                <a:gd name="T119" fmla="*/ 611 h 1001"/>
                <a:gd name="T120" fmla="*/ 68 w 1322"/>
                <a:gd name="T121" fmla="*/ 580 h 1001"/>
                <a:gd name="T122" fmla="*/ 0 w 1322"/>
                <a:gd name="T123" fmla="*/ 542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22" h="1001">
                  <a:moveTo>
                    <a:pt x="0" y="542"/>
                  </a:moveTo>
                  <a:lnTo>
                    <a:pt x="0" y="542"/>
                  </a:lnTo>
                  <a:cubicBezTo>
                    <a:pt x="15" y="481"/>
                    <a:pt x="15" y="481"/>
                    <a:pt x="15" y="481"/>
                  </a:cubicBezTo>
                  <a:lnTo>
                    <a:pt x="15" y="481"/>
                  </a:lnTo>
                  <a:cubicBezTo>
                    <a:pt x="22" y="466"/>
                    <a:pt x="30" y="443"/>
                    <a:pt x="30" y="428"/>
                  </a:cubicBezTo>
                  <a:cubicBezTo>
                    <a:pt x="30" y="405"/>
                    <a:pt x="15" y="382"/>
                    <a:pt x="15" y="359"/>
                  </a:cubicBezTo>
                  <a:cubicBezTo>
                    <a:pt x="15" y="343"/>
                    <a:pt x="38" y="328"/>
                    <a:pt x="38" y="313"/>
                  </a:cubicBezTo>
                  <a:cubicBezTo>
                    <a:pt x="38" y="282"/>
                    <a:pt x="15" y="252"/>
                    <a:pt x="7" y="221"/>
                  </a:cubicBezTo>
                  <a:lnTo>
                    <a:pt x="7" y="221"/>
                  </a:lnTo>
                  <a:cubicBezTo>
                    <a:pt x="15" y="198"/>
                    <a:pt x="7" y="160"/>
                    <a:pt x="38" y="153"/>
                  </a:cubicBezTo>
                  <a:cubicBezTo>
                    <a:pt x="53" y="145"/>
                    <a:pt x="61" y="183"/>
                    <a:pt x="76" y="191"/>
                  </a:cubicBezTo>
                  <a:cubicBezTo>
                    <a:pt x="114" y="198"/>
                    <a:pt x="152" y="191"/>
                    <a:pt x="183" y="183"/>
                  </a:cubicBezTo>
                  <a:cubicBezTo>
                    <a:pt x="221" y="175"/>
                    <a:pt x="259" y="145"/>
                    <a:pt x="297" y="130"/>
                  </a:cubicBezTo>
                  <a:cubicBezTo>
                    <a:pt x="336" y="122"/>
                    <a:pt x="366" y="130"/>
                    <a:pt x="397" y="122"/>
                  </a:cubicBezTo>
                  <a:cubicBezTo>
                    <a:pt x="435" y="107"/>
                    <a:pt x="465" y="76"/>
                    <a:pt x="504" y="53"/>
                  </a:cubicBezTo>
                  <a:cubicBezTo>
                    <a:pt x="504" y="53"/>
                    <a:pt x="527" y="7"/>
                    <a:pt x="534" y="7"/>
                  </a:cubicBezTo>
                  <a:cubicBezTo>
                    <a:pt x="550" y="7"/>
                    <a:pt x="695" y="0"/>
                    <a:pt x="695" y="0"/>
                  </a:cubicBezTo>
                  <a:cubicBezTo>
                    <a:pt x="717" y="7"/>
                    <a:pt x="740" y="15"/>
                    <a:pt x="763" y="23"/>
                  </a:cubicBezTo>
                  <a:lnTo>
                    <a:pt x="763" y="23"/>
                  </a:lnTo>
                  <a:cubicBezTo>
                    <a:pt x="763" y="53"/>
                    <a:pt x="748" y="84"/>
                    <a:pt x="763" y="107"/>
                  </a:cubicBezTo>
                  <a:cubicBezTo>
                    <a:pt x="771" y="122"/>
                    <a:pt x="802" y="107"/>
                    <a:pt x="817" y="114"/>
                  </a:cubicBezTo>
                  <a:cubicBezTo>
                    <a:pt x="847" y="137"/>
                    <a:pt x="863" y="198"/>
                    <a:pt x="901" y="206"/>
                  </a:cubicBezTo>
                  <a:cubicBezTo>
                    <a:pt x="947" y="214"/>
                    <a:pt x="985" y="160"/>
                    <a:pt x="1031" y="153"/>
                  </a:cubicBezTo>
                  <a:cubicBezTo>
                    <a:pt x="1054" y="145"/>
                    <a:pt x="1077" y="160"/>
                    <a:pt x="1100" y="153"/>
                  </a:cubicBezTo>
                  <a:cubicBezTo>
                    <a:pt x="1115" y="153"/>
                    <a:pt x="1130" y="130"/>
                    <a:pt x="1145" y="137"/>
                  </a:cubicBezTo>
                  <a:cubicBezTo>
                    <a:pt x="1168" y="153"/>
                    <a:pt x="1183" y="183"/>
                    <a:pt x="1191" y="206"/>
                  </a:cubicBezTo>
                  <a:cubicBezTo>
                    <a:pt x="1199" y="221"/>
                    <a:pt x="1183" y="229"/>
                    <a:pt x="1191" y="244"/>
                  </a:cubicBezTo>
                  <a:cubicBezTo>
                    <a:pt x="1214" y="267"/>
                    <a:pt x="1244" y="290"/>
                    <a:pt x="1267" y="313"/>
                  </a:cubicBezTo>
                  <a:cubicBezTo>
                    <a:pt x="1260" y="313"/>
                    <a:pt x="1260" y="313"/>
                    <a:pt x="1260" y="313"/>
                  </a:cubicBezTo>
                  <a:cubicBezTo>
                    <a:pt x="1275" y="328"/>
                    <a:pt x="1321" y="351"/>
                    <a:pt x="1306" y="366"/>
                  </a:cubicBezTo>
                  <a:cubicBezTo>
                    <a:pt x="1290" y="397"/>
                    <a:pt x="1252" y="382"/>
                    <a:pt x="1222" y="382"/>
                  </a:cubicBezTo>
                  <a:cubicBezTo>
                    <a:pt x="1199" y="382"/>
                    <a:pt x="1168" y="374"/>
                    <a:pt x="1153" y="389"/>
                  </a:cubicBezTo>
                  <a:cubicBezTo>
                    <a:pt x="1130" y="405"/>
                    <a:pt x="1138" y="435"/>
                    <a:pt x="1138" y="458"/>
                  </a:cubicBezTo>
                  <a:cubicBezTo>
                    <a:pt x="1130" y="473"/>
                    <a:pt x="1130" y="496"/>
                    <a:pt x="1130" y="511"/>
                  </a:cubicBezTo>
                  <a:lnTo>
                    <a:pt x="1130" y="511"/>
                  </a:lnTo>
                  <a:cubicBezTo>
                    <a:pt x="1115" y="534"/>
                    <a:pt x="1115" y="565"/>
                    <a:pt x="1100" y="580"/>
                  </a:cubicBezTo>
                  <a:cubicBezTo>
                    <a:pt x="1084" y="603"/>
                    <a:pt x="1046" y="603"/>
                    <a:pt x="1031" y="626"/>
                  </a:cubicBezTo>
                  <a:cubicBezTo>
                    <a:pt x="1023" y="657"/>
                    <a:pt x="1038" y="687"/>
                    <a:pt x="1031" y="718"/>
                  </a:cubicBezTo>
                  <a:cubicBezTo>
                    <a:pt x="1031" y="733"/>
                    <a:pt x="1015" y="741"/>
                    <a:pt x="1015" y="748"/>
                  </a:cubicBezTo>
                  <a:cubicBezTo>
                    <a:pt x="1008" y="779"/>
                    <a:pt x="1015" y="817"/>
                    <a:pt x="1008" y="847"/>
                  </a:cubicBezTo>
                  <a:cubicBezTo>
                    <a:pt x="1000" y="870"/>
                    <a:pt x="985" y="878"/>
                    <a:pt x="977" y="893"/>
                  </a:cubicBezTo>
                  <a:cubicBezTo>
                    <a:pt x="962" y="901"/>
                    <a:pt x="939" y="901"/>
                    <a:pt x="931" y="916"/>
                  </a:cubicBezTo>
                  <a:cubicBezTo>
                    <a:pt x="916" y="932"/>
                    <a:pt x="931" y="970"/>
                    <a:pt x="908" y="985"/>
                  </a:cubicBezTo>
                  <a:cubicBezTo>
                    <a:pt x="901" y="993"/>
                    <a:pt x="878" y="985"/>
                    <a:pt x="855" y="985"/>
                  </a:cubicBezTo>
                  <a:lnTo>
                    <a:pt x="855" y="985"/>
                  </a:lnTo>
                  <a:cubicBezTo>
                    <a:pt x="847" y="970"/>
                    <a:pt x="847" y="947"/>
                    <a:pt x="832" y="939"/>
                  </a:cubicBezTo>
                  <a:cubicBezTo>
                    <a:pt x="825" y="939"/>
                    <a:pt x="817" y="970"/>
                    <a:pt x="809" y="962"/>
                  </a:cubicBezTo>
                  <a:cubicBezTo>
                    <a:pt x="779" y="939"/>
                    <a:pt x="786" y="870"/>
                    <a:pt x="748" y="870"/>
                  </a:cubicBezTo>
                  <a:cubicBezTo>
                    <a:pt x="702" y="863"/>
                    <a:pt x="687" y="924"/>
                    <a:pt x="656" y="947"/>
                  </a:cubicBezTo>
                  <a:cubicBezTo>
                    <a:pt x="633" y="970"/>
                    <a:pt x="618" y="1000"/>
                    <a:pt x="588" y="993"/>
                  </a:cubicBezTo>
                  <a:cubicBezTo>
                    <a:pt x="565" y="993"/>
                    <a:pt x="550" y="962"/>
                    <a:pt x="534" y="939"/>
                  </a:cubicBezTo>
                  <a:cubicBezTo>
                    <a:pt x="519" y="916"/>
                    <a:pt x="519" y="878"/>
                    <a:pt x="496" y="863"/>
                  </a:cubicBezTo>
                  <a:cubicBezTo>
                    <a:pt x="481" y="855"/>
                    <a:pt x="450" y="893"/>
                    <a:pt x="435" y="878"/>
                  </a:cubicBezTo>
                  <a:cubicBezTo>
                    <a:pt x="412" y="855"/>
                    <a:pt x="435" y="786"/>
                    <a:pt x="397" y="771"/>
                  </a:cubicBezTo>
                  <a:cubicBezTo>
                    <a:pt x="366" y="756"/>
                    <a:pt x="343" y="809"/>
                    <a:pt x="320" y="832"/>
                  </a:cubicBezTo>
                  <a:cubicBezTo>
                    <a:pt x="305" y="855"/>
                    <a:pt x="297" y="893"/>
                    <a:pt x="275" y="901"/>
                  </a:cubicBezTo>
                  <a:cubicBezTo>
                    <a:pt x="252" y="901"/>
                    <a:pt x="267" y="863"/>
                    <a:pt x="275" y="847"/>
                  </a:cubicBezTo>
                  <a:cubicBezTo>
                    <a:pt x="275" y="809"/>
                    <a:pt x="305" y="779"/>
                    <a:pt x="290" y="748"/>
                  </a:cubicBezTo>
                  <a:cubicBezTo>
                    <a:pt x="275" y="710"/>
                    <a:pt x="221" y="703"/>
                    <a:pt x="183" y="680"/>
                  </a:cubicBezTo>
                  <a:cubicBezTo>
                    <a:pt x="152" y="657"/>
                    <a:pt x="114" y="641"/>
                    <a:pt x="83" y="611"/>
                  </a:cubicBezTo>
                  <a:cubicBezTo>
                    <a:pt x="76" y="603"/>
                    <a:pt x="76" y="588"/>
                    <a:pt x="68" y="580"/>
                  </a:cubicBezTo>
                  <a:cubicBezTo>
                    <a:pt x="53" y="565"/>
                    <a:pt x="22" y="557"/>
                    <a:pt x="0" y="54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81" name="Freeform 103"/>
            <p:cNvSpPr>
              <a:spLocks noChangeArrowheads="1"/>
            </p:cNvSpPr>
            <p:nvPr/>
          </p:nvSpPr>
          <p:spPr bwMode="auto">
            <a:xfrm>
              <a:off x="7500449" y="9017000"/>
              <a:ext cx="506379" cy="355600"/>
            </a:xfrm>
            <a:custGeom>
              <a:avLst/>
              <a:gdLst>
                <a:gd name="T0" fmla="*/ 275 w 1406"/>
                <a:gd name="T1" fmla="*/ 214 h 986"/>
                <a:gd name="T2" fmla="*/ 275 w 1406"/>
                <a:gd name="T3" fmla="*/ 214 h 986"/>
                <a:gd name="T4" fmla="*/ 359 w 1406"/>
                <a:gd name="T5" fmla="*/ 214 h 986"/>
                <a:gd name="T6" fmla="*/ 412 w 1406"/>
                <a:gd name="T7" fmla="*/ 61 h 986"/>
                <a:gd name="T8" fmla="*/ 496 w 1406"/>
                <a:gd name="T9" fmla="*/ 84 h 986"/>
                <a:gd name="T10" fmla="*/ 474 w 1406"/>
                <a:gd name="T11" fmla="*/ 15 h 986"/>
                <a:gd name="T12" fmla="*/ 504 w 1406"/>
                <a:gd name="T13" fmla="*/ 0 h 986"/>
                <a:gd name="T14" fmla="*/ 504 w 1406"/>
                <a:gd name="T15" fmla="*/ 0 h 986"/>
                <a:gd name="T16" fmla="*/ 535 w 1406"/>
                <a:gd name="T17" fmla="*/ 0 h 986"/>
                <a:gd name="T18" fmla="*/ 535 w 1406"/>
                <a:gd name="T19" fmla="*/ 0 h 986"/>
                <a:gd name="T20" fmla="*/ 603 w 1406"/>
                <a:gd name="T21" fmla="*/ 38 h 986"/>
                <a:gd name="T22" fmla="*/ 618 w 1406"/>
                <a:gd name="T23" fmla="*/ 69 h 986"/>
                <a:gd name="T24" fmla="*/ 718 w 1406"/>
                <a:gd name="T25" fmla="*/ 138 h 986"/>
                <a:gd name="T26" fmla="*/ 825 w 1406"/>
                <a:gd name="T27" fmla="*/ 206 h 986"/>
                <a:gd name="T28" fmla="*/ 810 w 1406"/>
                <a:gd name="T29" fmla="*/ 305 h 986"/>
                <a:gd name="T30" fmla="*/ 810 w 1406"/>
                <a:gd name="T31" fmla="*/ 359 h 986"/>
                <a:gd name="T32" fmla="*/ 855 w 1406"/>
                <a:gd name="T33" fmla="*/ 290 h 986"/>
                <a:gd name="T34" fmla="*/ 932 w 1406"/>
                <a:gd name="T35" fmla="*/ 229 h 986"/>
                <a:gd name="T36" fmla="*/ 970 w 1406"/>
                <a:gd name="T37" fmla="*/ 336 h 986"/>
                <a:gd name="T38" fmla="*/ 1031 w 1406"/>
                <a:gd name="T39" fmla="*/ 321 h 986"/>
                <a:gd name="T40" fmla="*/ 1069 w 1406"/>
                <a:gd name="T41" fmla="*/ 397 h 986"/>
                <a:gd name="T42" fmla="*/ 1123 w 1406"/>
                <a:gd name="T43" fmla="*/ 451 h 986"/>
                <a:gd name="T44" fmla="*/ 1191 w 1406"/>
                <a:gd name="T45" fmla="*/ 405 h 986"/>
                <a:gd name="T46" fmla="*/ 1283 w 1406"/>
                <a:gd name="T47" fmla="*/ 328 h 986"/>
                <a:gd name="T48" fmla="*/ 1344 w 1406"/>
                <a:gd name="T49" fmla="*/ 420 h 986"/>
                <a:gd name="T50" fmla="*/ 1367 w 1406"/>
                <a:gd name="T51" fmla="*/ 397 h 986"/>
                <a:gd name="T52" fmla="*/ 1390 w 1406"/>
                <a:gd name="T53" fmla="*/ 443 h 986"/>
                <a:gd name="T54" fmla="*/ 1390 w 1406"/>
                <a:gd name="T55" fmla="*/ 443 h 986"/>
                <a:gd name="T56" fmla="*/ 1405 w 1406"/>
                <a:gd name="T57" fmla="*/ 542 h 986"/>
                <a:gd name="T58" fmla="*/ 1382 w 1406"/>
                <a:gd name="T59" fmla="*/ 634 h 986"/>
                <a:gd name="T60" fmla="*/ 1382 w 1406"/>
                <a:gd name="T61" fmla="*/ 688 h 986"/>
                <a:gd name="T62" fmla="*/ 1398 w 1406"/>
                <a:gd name="T63" fmla="*/ 817 h 986"/>
                <a:gd name="T64" fmla="*/ 1352 w 1406"/>
                <a:gd name="T65" fmla="*/ 833 h 986"/>
                <a:gd name="T66" fmla="*/ 1207 w 1406"/>
                <a:gd name="T67" fmla="*/ 825 h 986"/>
                <a:gd name="T68" fmla="*/ 1115 w 1406"/>
                <a:gd name="T69" fmla="*/ 833 h 986"/>
                <a:gd name="T70" fmla="*/ 1077 w 1406"/>
                <a:gd name="T71" fmla="*/ 772 h 986"/>
                <a:gd name="T72" fmla="*/ 1016 w 1406"/>
                <a:gd name="T73" fmla="*/ 764 h 986"/>
                <a:gd name="T74" fmla="*/ 916 w 1406"/>
                <a:gd name="T75" fmla="*/ 833 h 986"/>
                <a:gd name="T76" fmla="*/ 649 w 1406"/>
                <a:gd name="T77" fmla="*/ 924 h 986"/>
                <a:gd name="T78" fmla="*/ 443 w 1406"/>
                <a:gd name="T79" fmla="*/ 970 h 986"/>
                <a:gd name="T80" fmla="*/ 343 w 1406"/>
                <a:gd name="T81" fmla="*/ 962 h 986"/>
                <a:gd name="T82" fmla="*/ 237 w 1406"/>
                <a:gd name="T83" fmla="*/ 985 h 986"/>
                <a:gd name="T84" fmla="*/ 137 w 1406"/>
                <a:gd name="T85" fmla="*/ 962 h 986"/>
                <a:gd name="T86" fmla="*/ 137 w 1406"/>
                <a:gd name="T87" fmla="*/ 962 h 986"/>
                <a:gd name="T88" fmla="*/ 153 w 1406"/>
                <a:gd name="T89" fmla="*/ 894 h 986"/>
                <a:gd name="T90" fmla="*/ 61 w 1406"/>
                <a:gd name="T91" fmla="*/ 794 h 986"/>
                <a:gd name="T92" fmla="*/ 15 w 1406"/>
                <a:gd name="T93" fmla="*/ 810 h 986"/>
                <a:gd name="T94" fmla="*/ 23 w 1406"/>
                <a:gd name="T95" fmla="*/ 710 h 986"/>
                <a:gd name="T96" fmla="*/ 0 w 1406"/>
                <a:gd name="T97" fmla="*/ 649 h 986"/>
                <a:gd name="T98" fmla="*/ 23 w 1406"/>
                <a:gd name="T99" fmla="*/ 580 h 986"/>
                <a:gd name="T100" fmla="*/ 84 w 1406"/>
                <a:gd name="T101" fmla="*/ 558 h 986"/>
                <a:gd name="T102" fmla="*/ 160 w 1406"/>
                <a:gd name="T103" fmla="*/ 588 h 986"/>
                <a:gd name="T104" fmla="*/ 176 w 1406"/>
                <a:gd name="T105" fmla="*/ 550 h 986"/>
                <a:gd name="T106" fmla="*/ 168 w 1406"/>
                <a:gd name="T107" fmla="*/ 451 h 986"/>
                <a:gd name="T108" fmla="*/ 107 w 1406"/>
                <a:gd name="T109" fmla="*/ 344 h 986"/>
                <a:gd name="T110" fmla="*/ 107 w 1406"/>
                <a:gd name="T111" fmla="*/ 344 h 986"/>
                <a:gd name="T112" fmla="*/ 183 w 1406"/>
                <a:gd name="T113" fmla="*/ 260 h 986"/>
                <a:gd name="T114" fmla="*/ 275 w 1406"/>
                <a:gd name="T115" fmla="*/ 214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06" h="986">
                  <a:moveTo>
                    <a:pt x="275" y="214"/>
                  </a:moveTo>
                  <a:lnTo>
                    <a:pt x="275" y="214"/>
                  </a:lnTo>
                  <a:cubicBezTo>
                    <a:pt x="305" y="214"/>
                    <a:pt x="336" y="237"/>
                    <a:pt x="359" y="214"/>
                  </a:cubicBezTo>
                  <a:cubicBezTo>
                    <a:pt x="389" y="176"/>
                    <a:pt x="366" y="99"/>
                    <a:pt x="412" y="61"/>
                  </a:cubicBezTo>
                  <a:cubicBezTo>
                    <a:pt x="435" y="38"/>
                    <a:pt x="474" y="99"/>
                    <a:pt x="496" y="84"/>
                  </a:cubicBezTo>
                  <a:cubicBezTo>
                    <a:pt x="512" y="69"/>
                    <a:pt x="474" y="38"/>
                    <a:pt x="474" y="15"/>
                  </a:cubicBezTo>
                  <a:cubicBezTo>
                    <a:pt x="481" y="8"/>
                    <a:pt x="496" y="0"/>
                    <a:pt x="504" y="0"/>
                  </a:cubicBezTo>
                  <a:lnTo>
                    <a:pt x="504" y="0"/>
                  </a:lnTo>
                  <a:cubicBezTo>
                    <a:pt x="535" y="0"/>
                    <a:pt x="535" y="0"/>
                    <a:pt x="535" y="0"/>
                  </a:cubicBezTo>
                  <a:lnTo>
                    <a:pt x="535" y="0"/>
                  </a:lnTo>
                  <a:cubicBezTo>
                    <a:pt x="557" y="15"/>
                    <a:pt x="588" y="23"/>
                    <a:pt x="603" y="38"/>
                  </a:cubicBezTo>
                  <a:cubicBezTo>
                    <a:pt x="611" y="46"/>
                    <a:pt x="611" y="61"/>
                    <a:pt x="618" y="69"/>
                  </a:cubicBezTo>
                  <a:cubicBezTo>
                    <a:pt x="649" y="99"/>
                    <a:pt x="687" y="115"/>
                    <a:pt x="718" y="138"/>
                  </a:cubicBezTo>
                  <a:cubicBezTo>
                    <a:pt x="756" y="161"/>
                    <a:pt x="810" y="168"/>
                    <a:pt x="825" y="206"/>
                  </a:cubicBezTo>
                  <a:cubicBezTo>
                    <a:pt x="840" y="237"/>
                    <a:pt x="810" y="267"/>
                    <a:pt x="810" y="305"/>
                  </a:cubicBezTo>
                  <a:cubicBezTo>
                    <a:pt x="802" y="321"/>
                    <a:pt x="787" y="359"/>
                    <a:pt x="810" y="359"/>
                  </a:cubicBezTo>
                  <a:cubicBezTo>
                    <a:pt x="832" y="351"/>
                    <a:pt x="840" y="313"/>
                    <a:pt x="855" y="290"/>
                  </a:cubicBezTo>
                  <a:cubicBezTo>
                    <a:pt x="878" y="267"/>
                    <a:pt x="901" y="214"/>
                    <a:pt x="932" y="229"/>
                  </a:cubicBezTo>
                  <a:cubicBezTo>
                    <a:pt x="970" y="244"/>
                    <a:pt x="947" y="313"/>
                    <a:pt x="970" y="336"/>
                  </a:cubicBezTo>
                  <a:cubicBezTo>
                    <a:pt x="985" y="351"/>
                    <a:pt x="1016" y="313"/>
                    <a:pt x="1031" y="321"/>
                  </a:cubicBezTo>
                  <a:cubicBezTo>
                    <a:pt x="1054" y="336"/>
                    <a:pt x="1054" y="374"/>
                    <a:pt x="1069" y="397"/>
                  </a:cubicBezTo>
                  <a:cubicBezTo>
                    <a:pt x="1085" y="420"/>
                    <a:pt x="1100" y="451"/>
                    <a:pt x="1123" y="451"/>
                  </a:cubicBezTo>
                  <a:cubicBezTo>
                    <a:pt x="1153" y="458"/>
                    <a:pt x="1168" y="428"/>
                    <a:pt x="1191" y="405"/>
                  </a:cubicBezTo>
                  <a:cubicBezTo>
                    <a:pt x="1222" y="382"/>
                    <a:pt x="1237" y="321"/>
                    <a:pt x="1283" y="328"/>
                  </a:cubicBezTo>
                  <a:cubicBezTo>
                    <a:pt x="1321" y="328"/>
                    <a:pt x="1314" y="397"/>
                    <a:pt x="1344" y="420"/>
                  </a:cubicBezTo>
                  <a:cubicBezTo>
                    <a:pt x="1352" y="428"/>
                    <a:pt x="1360" y="397"/>
                    <a:pt x="1367" y="397"/>
                  </a:cubicBezTo>
                  <a:cubicBezTo>
                    <a:pt x="1382" y="405"/>
                    <a:pt x="1382" y="428"/>
                    <a:pt x="1390" y="443"/>
                  </a:cubicBezTo>
                  <a:lnTo>
                    <a:pt x="1390" y="443"/>
                  </a:lnTo>
                  <a:cubicBezTo>
                    <a:pt x="1398" y="474"/>
                    <a:pt x="1405" y="504"/>
                    <a:pt x="1405" y="542"/>
                  </a:cubicBezTo>
                  <a:cubicBezTo>
                    <a:pt x="1405" y="573"/>
                    <a:pt x="1390" y="603"/>
                    <a:pt x="1382" y="634"/>
                  </a:cubicBezTo>
                  <a:cubicBezTo>
                    <a:pt x="1375" y="649"/>
                    <a:pt x="1382" y="665"/>
                    <a:pt x="1382" y="688"/>
                  </a:cubicBezTo>
                  <a:cubicBezTo>
                    <a:pt x="1382" y="726"/>
                    <a:pt x="1390" y="772"/>
                    <a:pt x="1398" y="817"/>
                  </a:cubicBezTo>
                  <a:cubicBezTo>
                    <a:pt x="1352" y="833"/>
                    <a:pt x="1352" y="833"/>
                    <a:pt x="1352" y="833"/>
                  </a:cubicBezTo>
                  <a:cubicBezTo>
                    <a:pt x="1306" y="833"/>
                    <a:pt x="1260" y="825"/>
                    <a:pt x="1207" y="825"/>
                  </a:cubicBezTo>
                  <a:cubicBezTo>
                    <a:pt x="1176" y="833"/>
                    <a:pt x="1146" y="848"/>
                    <a:pt x="1115" y="833"/>
                  </a:cubicBezTo>
                  <a:cubicBezTo>
                    <a:pt x="1092" y="825"/>
                    <a:pt x="1092" y="794"/>
                    <a:pt x="1077" y="772"/>
                  </a:cubicBezTo>
                  <a:cubicBezTo>
                    <a:pt x="1077" y="772"/>
                    <a:pt x="1023" y="764"/>
                    <a:pt x="1016" y="764"/>
                  </a:cubicBezTo>
                  <a:cubicBezTo>
                    <a:pt x="1008" y="764"/>
                    <a:pt x="916" y="833"/>
                    <a:pt x="916" y="833"/>
                  </a:cubicBezTo>
                  <a:cubicBezTo>
                    <a:pt x="825" y="863"/>
                    <a:pt x="741" y="894"/>
                    <a:pt x="649" y="924"/>
                  </a:cubicBezTo>
                  <a:cubicBezTo>
                    <a:pt x="580" y="940"/>
                    <a:pt x="512" y="962"/>
                    <a:pt x="443" y="970"/>
                  </a:cubicBezTo>
                  <a:cubicBezTo>
                    <a:pt x="412" y="970"/>
                    <a:pt x="374" y="955"/>
                    <a:pt x="343" y="962"/>
                  </a:cubicBezTo>
                  <a:cubicBezTo>
                    <a:pt x="305" y="962"/>
                    <a:pt x="275" y="985"/>
                    <a:pt x="237" y="985"/>
                  </a:cubicBezTo>
                  <a:cubicBezTo>
                    <a:pt x="199" y="985"/>
                    <a:pt x="168" y="970"/>
                    <a:pt x="137" y="962"/>
                  </a:cubicBezTo>
                  <a:lnTo>
                    <a:pt x="137" y="962"/>
                  </a:lnTo>
                  <a:cubicBezTo>
                    <a:pt x="137" y="940"/>
                    <a:pt x="160" y="917"/>
                    <a:pt x="153" y="894"/>
                  </a:cubicBezTo>
                  <a:cubicBezTo>
                    <a:pt x="130" y="855"/>
                    <a:pt x="99" y="817"/>
                    <a:pt x="61" y="794"/>
                  </a:cubicBezTo>
                  <a:cubicBezTo>
                    <a:pt x="46" y="787"/>
                    <a:pt x="23" y="825"/>
                    <a:pt x="15" y="810"/>
                  </a:cubicBezTo>
                  <a:cubicBezTo>
                    <a:pt x="0" y="779"/>
                    <a:pt x="23" y="741"/>
                    <a:pt x="23" y="710"/>
                  </a:cubicBezTo>
                  <a:cubicBezTo>
                    <a:pt x="23" y="688"/>
                    <a:pt x="0" y="672"/>
                    <a:pt x="0" y="649"/>
                  </a:cubicBezTo>
                  <a:cubicBezTo>
                    <a:pt x="0" y="626"/>
                    <a:pt x="7" y="603"/>
                    <a:pt x="23" y="580"/>
                  </a:cubicBezTo>
                  <a:cubicBezTo>
                    <a:pt x="38" y="565"/>
                    <a:pt x="61" y="550"/>
                    <a:pt x="84" y="558"/>
                  </a:cubicBezTo>
                  <a:cubicBezTo>
                    <a:pt x="107" y="558"/>
                    <a:pt x="130" y="588"/>
                    <a:pt x="160" y="588"/>
                  </a:cubicBezTo>
                  <a:cubicBezTo>
                    <a:pt x="176" y="588"/>
                    <a:pt x="168" y="565"/>
                    <a:pt x="176" y="550"/>
                  </a:cubicBezTo>
                  <a:cubicBezTo>
                    <a:pt x="176" y="519"/>
                    <a:pt x="176" y="481"/>
                    <a:pt x="168" y="451"/>
                  </a:cubicBezTo>
                  <a:cubicBezTo>
                    <a:pt x="153" y="413"/>
                    <a:pt x="130" y="374"/>
                    <a:pt x="107" y="344"/>
                  </a:cubicBezTo>
                  <a:lnTo>
                    <a:pt x="107" y="344"/>
                  </a:lnTo>
                  <a:cubicBezTo>
                    <a:pt x="130" y="313"/>
                    <a:pt x="153" y="283"/>
                    <a:pt x="183" y="260"/>
                  </a:cubicBezTo>
                  <a:cubicBezTo>
                    <a:pt x="206" y="237"/>
                    <a:pt x="244" y="229"/>
                    <a:pt x="275" y="214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82" name="Freeform 104"/>
            <p:cNvSpPr>
              <a:spLocks noChangeArrowheads="1"/>
            </p:cNvSpPr>
            <p:nvPr/>
          </p:nvSpPr>
          <p:spPr bwMode="auto">
            <a:xfrm>
              <a:off x="8100486" y="8929688"/>
              <a:ext cx="193662" cy="112712"/>
            </a:xfrm>
            <a:custGeom>
              <a:avLst/>
              <a:gdLst>
                <a:gd name="T0" fmla="*/ 298 w 536"/>
                <a:gd name="T1" fmla="*/ 305 h 314"/>
                <a:gd name="T2" fmla="*/ 298 w 536"/>
                <a:gd name="T3" fmla="*/ 305 h 314"/>
                <a:gd name="T4" fmla="*/ 336 w 536"/>
                <a:gd name="T5" fmla="*/ 252 h 314"/>
                <a:gd name="T6" fmla="*/ 458 w 536"/>
                <a:gd name="T7" fmla="*/ 183 h 314"/>
                <a:gd name="T8" fmla="*/ 535 w 536"/>
                <a:gd name="T9" fmla="*/ 175 h 314"/>
                <a:gd name="T10" fmla="*/ 535 w 536"/>
                <a:gd name="T11" fmla="*/ 175 h 314"/>
                <a:gd name="T12" fmla="*/ 374 w 536"/>
                <a:gd name="T13" fmla="*/ 30 h 314"/>
                <a:gd name="T14" fmla="*/ 298 w 536"/>
                <a:gd name="T15" fmla="*/ 38 h 314"/>
                <a:gd name="T16" fmla="*/ 260 w 536"/>
                <a:gd name="T17" fmla="*/ 7 h 314"/>
                <a:gd name="T18" fmla="*/ 130 w 536"/>
                <a:gd name="T19" fmla="*/ 15 h 314"/>
                <a:gd name="T20" fmla="*/ 130 w 536"/>
                <a:gd name="T21" fmla="*/ 15 h 314"/>
                <a:gd name="T22" fmla="*/ 176 w 536"/>
                <a:gd name="T23" fmla="*/ 68 h 314"/>
                <a:gd name="T24" fmla="*/ 92 w 536"/>
                <a:gd name="T25" fmla="*/ 84 h 314"/>
                <a:gd name="T26" fmla="*/ 23 w 536"/>
                <a:gd name="T27" fmla="*/ 91 h 314"/>
                <a:gd name="T28" fmla="*/ 8 w 536"/>
                <a:gd name="T29" fmla="*/ 160 h 314"/>
                <a:gd name="T30" fmla="*/ 0 w 536"/>
                <a:gd name="T31" fmla="*/ 213 h 314"/>
                <a:gd name="T32" fmla="*/ 0 w 536"/>
                <a:gd name="T33" fmla="*/ 213 h 314"/>
                <a:gd name="T34" fmla="*/ 84 w 536"/>
                <a:gd name="T35" fmla="*/ 274 h 314"/>
                <a:gd name="T36" fmla="*/ 145 w 536"/>
                <a:gd name="T37" fmla="*/ 244 h 314"/>
                <a:gd name="T38" fmla="*/ 183 w 536"/>
                <a:gd name="T39" fmla="*/ 297 h 314"/>
                <a:gd name="T40" fmla="*/ 298 w 536"/>
                <a:gd name="T41" fmla="*/ 30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6" h="314">
                  <a:moveTo>
                    <a:pt x="298" y="305"/>
                  </a:moveTo>
                  <a:lnTo>
                    <a:pt x="298" y="305"/>
                  </a:lnTo>
                  <a:cubicBezTo>
                    <a:pt x="313" y="290"/>
                    <a:pt x="328" y="274"/>
                    <a:pt x="336" y="252"/>
                  </a:cubicBezTo>
                  <a:cubicBezTo>
                    <a:pt x="359" y="175"/>
                    <a:pt x="374" y="183"/>
                    <a:pt x="458" y="183"/>
                  </a:cubicBezTo>
                  <a:cubicBezTo>
                    <a:pt x="481" y="183"/>
                    <a:pt x="504" y="183"/>
                    <a:pt x="535" y="175"/>
                  </a:cubicBezTo>
                  <a:lnTo>
                    <a:pt x="535" y="175"/>
                  </a:lnTo>
                  <a:cubicBezTo>
                    <a:pt x="489" y="137"/>
                    <a:pt x="428" y="53"/>
                    <a:pt x="374" y="30"/>
                  </a:cubicBezTo>
                  <a:cubicBezTo>
                    <a:pt x="351" y="22"/>
                    <a:pt x="328" y="45"/>
                    <a:pt x="298" y="38"/>
                  </a:cubicBezTo>
                  <a:cubicBezTo>
                    <a:pt x="283" y="38"/>
                    <a:pt x="275" y="7"/>
                    <a:pt x="260" y="7"/>
                  </a:cubicBezTo>
                  <a:cubicBezTo>
                    <a:pt x="214" y="0"/>
                    <a:pt x="176" y="7"/>
                    <a:pt x="130" y="15"/>
                  </a:cubicBezTo>
                  <a:lnTo>
                    <a:pt x="130" y="15"/>
                  </a:lnTo>
                  <a:cubicBezTo>
                    <a:pt x="145" y="30"/>
                    <a:pt x="191" y="53"/>
                    <a:pt x="176" y="68"/>
                  </a:cubicBezTo>
                  <a:cubicBezTo>
                    <a:pt x="160" y="99"/>
                    <a:pt x="122" y="84"/>
                    <a:pt x="92" y="84"/>
                  </a:cubicBezTo>
                  <a:cubicBezTo>
                    <a:pt x="69" y="84"/>
                    <a:pt x="38" y="76"/>
                    <a:pt x="23" y="91"/>
                  </a:cubicBezTo>
                  <a:cubicBezTo>
                    <a:pt x="0" y="107"/>
                    <a:pt x="8" y="137"/>
                    <a:pt x="8" y="160"/>
                  </a:cubicBezTo>
                  <a:cubicBezTo>
                    <a:pt x="0" y="175"/>
                    <a:pt x="0" y="198"/>
                    <a:pt x="0" y="213"/>
                  </a:cubicBezTo>
                  <a:lnTo>
                    <a:pt x="0" y="213"/>
                  </a:lnTo>
                  <a:cubicBezTo>
                    <a:pt x="23" y="236"/>
                    <a:pt x="53" y="267"/>
                    <a:pt x="84" y="274"/>
                  </a:cubicBezTo>
                  <a:cubicBezTo>
                    <a:pt x="107" y="282"/>
                    <a:pt x="122" y="236"/>
                    <a:pt x="145" y="244"/>
                  </a:cubicBezTo>
                  <a:cubicBezTo>
                    <a:pt x="168" y="244"/>
                    <a:pt x="160" y="290"/>
                    <a:pt x="183" y="297"/>
                  </a:cubicBezTo>
                  <a:cubicBezTo>
                    <a:pt x="229" y="313"/>
                    <a:pt x="244" y="297"/>
                    <a:pt x="298" y="305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83" name="Freeform 105"/>
            <p:cNvSpPr>
              <a:spLocks noChangeArrowheads="1"/>
            </p:cNvSpPr>
            <p:nvPr/>
          </p:nvSpPr>
          <p:spPr bwMode="auto">
            <a:xfrm>
              <a:off x="8316371" y="8907463"/>
              <a:ext cx="126992" cy="74612"/>
            </a:xfrm>
            <a:custGeom>
              <a:avLst/>
              <a:gdLst>
                <a:gd name="T0" fmla="*/ 46 w 353"/>
                <a:gd name="T1" fmla="*/ 192 h 208"/>
                <a:gd name="T2" fmla="*/ 46 w 353"/>
                <a:gd name="T3" fmla="*/ 192 h 208"/>
                <a:gd name="T4" fmla="*/ 123 w 353"/>
                <a:gd name="T5" fmla="*/ 176 h 208"/>
                <a:gd name="T6" fmla="*/ 291 w 353"/>
                <a:gd name="T7" fmla="*/ 199 h 208"/>
                <a:gd name="T8" fmla="*/ 352 w 353"/>
                <a:gd name="T9" fmla="*/ 169 h 208"/>
                <a:gd name="T10" fmla="*/ 352 w 353"/>
                <a:gd name="T11" fmla="*/ 169 h 208"/>
                <a:gd name="T12" fmla="*/ 230 w 353"/>
                <a:gd name="T13" fmla="*/ 62 h 208"/>
                <a:gd name="T14" fmla="*/ 31 w 353"/>
                <a:gd name="T15" fmla="*/ 23 h 208"/>
                <a:gd name="T16" fmla="*/ 46 w 353"/>
                <a:gd name="T17" fmla="*/ 19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08">
                  <a:moveTo>
                    <a:pt x="46" y="192"/>
                  </a:moveTo>
                  <a:lnTo>
                    <a:pt x="46" y="192"/>
                  </a:lnTo>
                  <a:cubicBezTo>
                    <a:pt x="69" y="176"/>
                    <a:pt x="100" y="169"/>
                    <a:pt x="123" y="176"/>
                  </a:cubicBezTo>
                  <a:cubicBezTo>
                    <a:pt x="176" y="184"/>
                    <a:pt x="237" y="207"/>
                    <a:pt x="291" y="199"/>
                  </a:cubicBezTo>
                  <a:cubicBezTo>
                    <a:pt x="314" y="192"/>
                    <a:pt x="329" y="184"/>
                    <a:pt x="352" y="169"/>
                  </a:cubicBezTo>
                  <a:lnTo>
                    <a:pt x="352" y="169"/>
                  </a:lnTo>
                  <a:cubicBezTo>
                    <a:pt x="321" y="146"/>
                    <a:pt x="268" y="77"/>
                    <a:pt x="230" y="62"/>
                  </a:cubicBezTo>
                  <a:cubicBezTo>
                    <a:pt x="168" y="39"/>
                    <a:pt x="100" y="0"/>
                    <a:pt x="31" y="23"/>
                  </a:cubicBezTo>
                  <a:cubicBezTo>
                    <a:pt x="0" y="31"/>
                    <a:pt x="46" y="161"/>
                    <a:pt x="46" y="19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84" name="Freeform 106"/>
            <p:cNvSpPr>
              <a:spLocks noChangeArrowheads="1"/>
            </p:cNvSpPr>
            <p:nvPr/>
          </p:nvSpPr>
          <p:spPr bwMode="auto">
            <a:xfrm>
              <a:off x="7995717" y="9005888"/>
              <a:ext cx="844495" cy="531812"/>
            </a:xfrm>
            <a:custGeom>
              <a:avLst/>
              <a:gdLst>
                <a:gd name="T0" fmla="*/ 672 w 2346"/>
                <a:gd name="T1" fmla="*/ 69 h 1476"/>
                <a:gd name="T2" fmla="*/ 328 w 2346"/>
                <a:gd name="T3" fmla="*/ 84 h 1476"/>
                <a:gd name="T4" fmla="*/ 588 w 2346"/>
                <a:gd name="T5" fmla="*/ 92 h 1476"/>
                <a:gd name="T6" fmla="*/ 435 w 2346"/>
                <a:gd name="T7" fmla="*/ 31 h 1476"/>
                <a:gd name="T8" fmla="*/ 290 w 2346"/>
                <a:gd name="T9" fmla="*/ 0 h 1476"/>
                <a:gd name="T10" fmla="*/ 260 w 2346"/>
                <a:gd name="T11" fmla="*/ 69 h 1476"/>
                <a:gd name="T12" fmla="*/ 191 w 2346"/>
                <a:gd name="T13" fmla="*/ 207 h 1476"/>
                <a:gd name="T14" fmla="*/ 168 w 2346"/>
                <a:gd name="T15" fmla="*/ 336 h 1476"/>
                <a:gd name="T16" fmla="*/ 91 w 2346"/>
                <a:gd name="T17" fmla="*/ 405 h 1476"/>
                <a:gd name="T18" fmla="*/ 15 w 2346"/>
                <a:gd name="T19" fmla="*/ 474 h 1476"/>
                <a:gd name="T20" fmla="*/ 30 w 2346"/>
                <a:gd name="T21" fmla="*/ 573 h 1476"/>
                <a:gd name="T22" fmla="*/ 7 w 2346"/>
                <a:gd name="T23" fmla="*/ 719 h 1476"/>
                <a:gd name="T24" fmla="*/ 23 w 2346"/>
                <a:gd name="T25" fmla="*/ 848 h 1476"/>
                <a:gd name="T26" fmla="*/ 198 w 2346"/>
                <a:gd name="T27" fmla="*/ 917 h 1476"/>
                <a:gd name="T28" fmla="*/ 458 w 2346"/>
                <a:gd name="T29" fmla="*/ 909 h 1476"/>
                <a:gd name="T30" fmla="*/ 641 w 2346"/>
                <a:gd name="T31" fmla="*/ 1055 h 1476"/>
                <a:gd name="T32" fmla="*/ 832 w 2346"/>
                <a:gd name="T33" fmla="*/ 1200 h 1476"/>
                <a:gd name="T34" fmla="*/ 1023 w 2346"/>
                <a:gd name="T35" fmla="*/ 1200 h 1476"/>
                <a:gd name="T36" fmla="*/ 1229 w 2346"/>
                <a:gd name="T37" fmla="*/ 1330 h 1476"/>
                <a:gd name="T38" fmla="*/ 1275 w 2346"/>
                <a:gd name="T39" fmla="*/ 1436 h 1476"/>
                <a:gd name="T40" fmla="*/ 1321 w 2346"/>
                <a:gd name="T41" fmla="*/ 1444 h 1476"/>
                <a:gd name="T42" fmla="*/ 1443 w 2346"/>
                <a:gd name="T43" fmla="*/ 1337 h 1476"/>
                <a:gd name="T44" fmla="*/ 1909 w 2346"/>
                <a:gd name="T45" fmla="*/ 986 h 1476"/>
                <a:gd name="T46" fmla="*/ 2169 w 2346"/>
                <a:gd name="T47" fmla="*/ 390 h 1476"/>
                <a:gd name="T48" fmla="*/ 1520 w 2346"/>
                <a:gd name="T49" fmla="*/ 359 h 1476"/>
                <a:gd name="T50" fmla="*/ 1077 w 2346"/>
                <a:gd name="T51" fmla="*/ 169 h 1476"/>
                <a:gd name="T52" fmla="*/ 939 w 2346"/>
                <a:gd name="T53" fmla="*/ 260 h 1476"/>
                <a:gd name="T54" fmla="*/ 909 w 2346"/>
                <a:gd name="T55" fmla="*/ 375 h 1476"/>
                <a:gd name="T56" fmla="*/ 718 w 2346"/>
                <a:gd name="T57" fmla="*/ 321 h 1476"/>
                <a:gd name="T58" fmla="*/ 641 w 2346"/>
                <a:gd name="T59" fmla="*/ 352 h 1476"/>
                <a:gd name="T60" fmla="*/ 573 w 2346"/>
                <a:gd name="T61" fmla="*/ 306 h 1476"/>
                <a:gd name="T62" fmla="*/ 702 w 2346"/>
                <a:gd name="T63" fmla="*/ 161 h 1476"/>
                <a:gd name="T64" fmla="*/ 672 w 2346"/>
                <a:gd name="T65" fmla="*/ 69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46" h="1476">
                  <a:moveTo>
                    <a:pt x="672" y="69"/>
                  </a:moveTo>
                  <a:lnTo>
                    <a:pt x="672" y="69"/>
                  </a:lnTo>
                  <a:cubicBezTo>
                    <a:pt x="641" y="92"/>
                    <a:pt x="618" y="123"/>
                    <a:pt x="565" y="123"/>
                  </a:cubicBezTo>
                  <a:cubicBezTo>
                    <a:pt x="504" y="130"/>
                    <a:pt x="374" y="123"/>
                    <a:pt x="328" y="84"/>
                  </a:cubicBezTo>
                  <a:cubicBezTo>
                    <a:pt x="404" y="84"/>
                    <a:pt x="519" y="123"/>
                    <a:pt x="588" y="92"/>
                  </a:cubicBezTo>
                  <a:lnTo>
                    <a:pt x="588" y="92"/>
                  </a:lnTo>
                  <a:cubicBezTo>
                    <a:pt x="534" y="84"/>
                    <a:pt x="519" y="100"/>
                    <a:pt x="473" y="84"/>
                  </a:cubicBezTo>
                  <a:cubicBezTo>
                    <a:pt x="450" y="77"/>
                    <a:pt x="458" y="31"/>
                    <a:pt x="435" y="31"/>
                  </a:cubicBezTo>
                  <a:cubicBezTo>
                    <a:pt x="412" y="23"/>
                    <a:pt x="397" y="69"/>
                    <a:pt x="374" y="61"/>
                  </a:cubicBezTo>
                  <a:cubicBezTo>
                    <a:pt x="343" y="54"/>
                    <a:pt x="313" y="23"/>
                    <a:pt x="290" y="0"/>
                  </a:cubicBezTo>
                  <a:lnTo>
                    <a:pt x="290" y="0"/>
                  </a:lnTo>
                  <a:cubicBezTo>
                    <a:pt x="275" y="23"/>
                    <a:pt x="275" y="54"/>
                    <a:pt x="260" y="69"/>
                  </a:cubicBezTo>
                  <a:cubicBezTo>
                    <a:pt x="244" y="92"/>
                    <a:pt x="206" y="92"/>
                    <a:pt x="191" y="115"/>
                  </a:cubicBezTo>
                  <a:cubicBezTo>
                    <a:pt x="183" y="146"/>
                    <a:pt x="198" y="176"/>
                    <a:pt x="191" y="207"/>
                  </a:cubicBezTo>
                  <a:cubicBezTo>
                    <a:pt x="191" y="222"/>
                    <a:pt x="175" y="230"/>
                    <a:pt x="175" y="237"/>
                  </a:cubicBezTo>
                  <a:cubicBezTo>
                    <a:pt x="168" y="268"/>
                    <a:pt x="175" y="306"/>
                    <a:pt x="168" y="336"/>
                  </a:cubicBezTo>
                  <a:cubicBezTo>
                    <a:pt x="160" y="359"/>
                    <a:pt x="145" y="367"/>
                    <a:pt x="137" y="382"/>
                  </a:cubicBezTo>
                  <a:cubicBezTo>
                    <a:pt x="122" y="390"/>
                    <a:pt x="99" y="390"/>
                    <a:pt x="91" y="405"/>
                  </a:cubicBezTo>
                  <a:cubicBezTo>
                    <a:pt x="76" y="421"/>
                    <a:pt x="91" y="459"/>
                    <a:pt x="68" y="474"/>
                  </a:cubicBezTo>
                  <a:cubicBezTo>
                    <a:pt x="61" y="482"/>
                    <a:pt x="38" y="474"/>
                    <a:pt x="15" y="474"/>
                  </a:cubicBezTo>
                  <a:lnTo>
                    <a:pt x="15" y="474"/>
                  </a:lnTo>
                  <a:cubicBezTo>
                    <a:pt x="23" y="505"/>
                    <a:pt x="30" y="535"/>
                    <a:pt x="30" y="573"/>
                  </a:cubicBezTo>
                  <a:cubicBezTo>
                    <a:pt x="30" y="604"/>
                    <a:pt x="15" y="634"/>
                    <a:pt x="7" y="665"/>
                  </a:cubicBezTo>
                  <a:cubicBezTo>
                    <a:pt x="0" y="680"/>
                    <a:pt x="7" y="696"/>
                    <a:pt x="7" y="719"/>
                  </a:cubicBezTo>
                  <a:cubicBezTo>
                    <a:pt x="7" y="757"/>
                    <a:pt x="15" y="803"/>
                    <a:pt x="23" y="848"/>
                  </a:cubicBezTo>
                  <a:lnTo>
                    <a:pt x="23" y="848"/>
                  </a:lnTo>
                  <a:cubicBezTo>
                    <a:pt x="76" y="848"/>
                    <a:pt x="137" y="825"/>
                    <a:pt x="183" y="841"/>
                  </a:cubicBezTo>
                  <a:cubicBezTo>
                    <a:pt x="206" y="856"/>
                    <a:pt x="175" y="909"/>
                    <a:pt x="198" y="917"/>
                  </a:cubicBezTo>
                  <a:cubicBezTo>
                    <a:pt x="244" y="932"/>
                    <a:pt x="298" y="917"/>
                    <a:pt x="343" y="909"/>
                  </a:cubicBezTo>
                  <a:cubicBezTo>
                    <a:pt x="382" y="909"/>
                    <a:pt x="420" y="894"/>
                    <a:pt x="458" y="909"/>
                  </a:cubicBezTo>
                  <a:cubicBezTo>
                    <a:pt x="489" y="925"/>
                    <a:pt x="504" y="963"/>
                    <a:pt x="527" y="986"/>
                  </a:cubicBezTo>
                  <a:cubicBezTo>
                    <a:pt x="565" y="1016"/>
                    <a:pt x="603" y="1032"/>
                    <a:pt x="641" y="1055"/>
                  </a:cubicBezTo>
                  <a:cubicBezTo>
                    <a:pt x="664" y="1078"/>
                    <a:pt x="672" y="1108"/>
                    <a:pt x="695" y="1123"/>
                  </a:cubicBezTo>
                  <a:cubicBezTo>
                    <a:pt x="733" y="1154"/>
                    <a:pt x="779" y="1184"/>
                    <a:pt x="832" y="1200"/>
                  </a:cubicBezTo>
                  <a:cubicBezTo>
                    <a:pt x="871" y="1200"/>
                    <a:pt x="901" y="1161"/>
                    <a:pt x="939" y="1161"/>
                  </a:cubicBezTo>
                  <a:cubicBezTo>
                    <a:pt x="970" y="1161"/>
                    <a:pt x="993" y="1192"/>
                    <a:pt x="1023" y="1200"/>
                  </a:cubicBezTo>
                  <a:cubicBezTo>
                    <a:pt x="1054" y="1200"/>
                    <a:pt x="1092" y="1169"/>
                    <a:pt x="1123" y="1184"/>
                  </a:cubicBezTo>
                  <a:cubicBezTo>
                    <a:pt x="1168" y="1215"/>
                    <a:pt x="1184" y="1291"/>
                    <a:pt x="1229" y="1330"/>
                  </a:cubicBezTo>
                  <a:cubicBezTo>
                    <a:pt x="1245" y="1345"/>
                    <a:pt x="1283" y="1307"/>
                    <a:pt x="1298" y="1330"/>
                  </a:cubicBezTo>
                  <a:cubicBezTo>
                    <a:pt x="1306" y="1353"/>
                    <a:pt x="1275" y="1414"/>
                    <a:pt x="1275" y="1436"/>
                  </a:cubicBezTo>
                  <a:lnTo>
                    <a:pt x="1275" y="1436"/>
                  </a:lnTo>
                  <a:cubicBezTo>
                    <a:pt x="1290" y="1444"/>
                    <a:pt x="1306" y="1444"/>
                    <a:pt x="1321" y="1444"/>
                  </a:cubicBezTo>
                  <a:cubicBezTo>
                    <a:pt x="1367" y="1444"/>
                    <a:pt x="1413" y="1475"/>
                    <a:pt x="1459" y="1475"/>
                  </a:cubicBezTo>
                  <a:cubicBezTo>
                    <a:pt x="1459" y="1436"/>
                    <a:pt x="1451" y="1383"/>
                    <a:pt x="1443" y="1337"/>
                  </a:cubicBezTo>
                  <a:cubicBezTo>
                    <a:pt x="1482" y="1230"/>
                    <a:pt x="1474" y="1146"/>
                    <a:pt x="1596" y="1100"/>
                  </a:cubicBezTo>
                  <a:cubicBezTo>
                    <a:pt x="1703" y="1055"/>
                    <a:pt x="1802" y="1009"/>
                    <a:pt x="1909" y="986"/>
                  </a:cubicBezTo>
                  <a:cubicBezTo>
                    <a:pt x="2169" y="932"/>
                    <a:pt x="2169" y="665"/>
                    <a:pt x="2077" y="474"/>
                  </a:cubicBezTo>
                  <a:cubicBezTo>
                    <a:pt x="2054" y="413"/>
                    <a:pt x="2138" y="428"/>
                    <a:pt x="2169" y="390"/>
                  </a:cubicBezTo>
                  <a:cubicBezTo>
                    <a:pt x="2345" y="222"/>
                    <a:pt x="1963" y="268"/>
                    <a:pt x="1886" y="291"/>
                  </a:cubicBezTo>
                  <a:cubicBezTo>
                    <a:pt x="1764" y="321"/>
                    <a:pt x="1627" y="291"/>
                    <a:pt x="1520" y="359"/>
                  </a:cubicBezTo>
                  <a:cubicBezTo>
                    <a:pt x="1489" y="375"/>
                    <a:pt x="1298" y="405"/>
                    <a:pt x="1382" y="344"/>
                  </a:cubicBezTo>
                  <a:cubicBezTo>
                    <a:pt x="1497" y="268"/>
                    <a:pt x="1084" y="39"/>
                    <a:pt x="1077" y="169"/>
                  </a:cubicBezTo>
                  <a:cubicBezTo>
                    <a:pt x="1077" y="268"/>
                    <a:pt x="1000" y="268"/>
                    <a:pt x="939" y="260"/>
                  </a:cubicBezTo>
                  <a:lnTo>
                    <a:pt x="939" y="260"/>
                  </a:lnTo>
                  <a:cubicBezTo>
                    <a:pt x="932" y="291"/>
                    <a:pt x="924" y="291"/>
                    <a:pt x="916" y="314"/>
                  </a:cubicBezTo>
                  <a:cubicBezTo>
                    <a:pt x="909" y="336"/>
                    <a:pt x="924" y="367"/>
                    <a:pt x="909" y="375"/>
                  </a:cubicBezTo>
                  <a:cubicBezTo>
                    <a:pt x="863" y="390"/>
                    <a:pt x="817" y="382"/>
                    <a:pt x="771" y="367"/>
                  </a:cubicBezTo>
                  <a:cubicBezTo>
                    <a:pt x="748" y="359"/>
                    <a:pt x="741" y="336"/>
                    <a:pt x="718" y="321"/>
                  </a:cubicBezTo>
                  <a:cubicBezTo>
                    <a:pt x="702" y="306"/>
                    <a:pt x="672" y="275"/>
                    <a:pt x="657" y="291"/>
                  </a:cubicBezTo>
                  <a:cubicBezTo>
                    <a:pt x="634" y="298"/>
                    <a:pt x="664" y="344"/>
                    <a:pt x="641" y="352"/>
                  </a:cubicBezTo>
                  <a:cubicBezTo>
                    <a:pt x="618" y="367"/>
                    <a:pt x="580" y="359"/>
                    <a:pt x="557" y="344"/>
                  </a:cubicBezTo>
                  <a:cubicBezTo>
                    <a:pt x="542" y="336"/>
                    <a:pt x="565" y="314"/>
                    <a:pt x="573" y="306"/>
                  </a:cubicBezTo>
                  <a:cubicBezTo>
                    <a:pt x="588" y="283"/>
                    <a:pt x="588" y="260"/>
                    <a:pt x="603" y="245"/>
                  </a:cubicBezTo>
                  <a:cubicBezTo>
                    <a:pt x="634" y="207"/>
                    <a:pt x="679" y="199"/>
                    <a:pt x="702" y="161"/>
                  </a:cubicBezTo>
                  <a:cubicBezTo>
                    <a:pt x="718" y="146"/>
                    <a:pt x="702" y="115"/>
                    <a:pt x="695" y="100"/>
                  </a:cubicBezTo>
                  <a:cubicBezTo>
                    <a:pt x="679" y="77"/>
                    <a:pt x="687" y="92"/>
                    <a:pt x="672" y="69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85" name="Freeform 107"/>
            <p:cNvSpPr>
              <a:spLocks noChangeArrowheads="1"/>
            </p:cNvSpPr>
            <p:nvPr/>
          </p:nvSpPr>
          <p:spPr bwMode="auto">
            <a:xfrm>
              <a:off x="8190966" y="9015413"/>
              <a:ext cx="203187" cy="131762"/>
            </a:xfrm>
            <a:custGeom>
              <a:avLst/>
              <a:gdLst>
                <a:gd name="T0" fmla="*/ 397 w 566"/>
                <a:gd name="T1" fmla="*/ 237 h 368"/>
                <a:gd name="T2" fmla="*/ 397 w 566"/>
                <a:gd name="T3" fmla="*/ 237 h 368"/>
                <a:gd name="T4" fmla="*/ 321 w 566"/>
                <a:gd name="T5" fmla="*/ 207 h 368"/>
                <a:gd name="T6" fmla="*/ 382 w 566"/>
                <a:gd name="T7" fmla="*/ 153 h 368"/>
                <a:gd name="T8" fmla="*/ 512 w 566"/>
                <a:gd name="T9" fmla="*/ 61 h 368"/>
                <a:gd name="T10" fmla="*/ 275 w 566"/>
                <a:gd name="T11" fmla="*/ 16 h 368"/>
                <a:gd name="T12" fmla="*/ 130 w 566"/>
                <a:gd name="T13" fmla="*/ 46 h 368"/>
                <a:gd name="T14" fmla="*/ 130 w 566"/>
                <a:gd name="T15" fmla="*/ 46 h 368"/>
                <a:gd name="T16" fmla="*/ 153 w 566"/>
                <a:gd name="T17" fmla="*/ 77 h 368"/>
                <a:gd name="T18" fmla="*/ 160 w 566"/>
                <a:gd name="T19" fmla="*/ 138 h 368"/>
                <a:gd name="T20" fmla="*/ 61 w 566"/>
                <a:gd name="T21" fmla="*/ 222 h 368"/>
                <a:gd name="T22" fmla="*/ 31 w 566"/>
                <a:gd name="T23" fmla="*/ 283 h 368"/>
                <a:gd name="T24" fmla="*/ 15 w 566"/>
                <a:gd name="T25" fmla="*/ 321 h 368"/>
                <a:gd name="T26" fmla="*/ 99 w 566"/>
                <a:gd name="T27" fmla="*/ 329 h 368"/>
                <a:gd name="T28" fmla="*/ 115 w 566"/>
                <a:gd name="T29" fmla="*/ 268 h 368"/>
                <a:gd name="T30" fmla="*/ 176 w 566"/>
                <a:gd name="T31" fmla="*/ 298 h 368"/>
                <a:gd name="T32" fmla="*/ 229 w 566"/>
                <a:gd name="T33" fmla="*/ 344 h 368"/>
                <a:gd name="T34" fmla="*/ 367 w 566"/>
                <a:gd name="T35" fmla="*/ 352 h 368"/>
                <a:gd name="T36" fmla="*/ 374 w 566"/>
                <a:gd name="T37" fmla="*/ 291 h 368"/>
                <a:gd name="T38" fmla="*/ 397 w 566"/>
                <a:gd name="T39" fmla="*/ 237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66" h="368">
                  <a:moveTo>
                    <a:pt x="397" y="237"/>
                  </a:moveTo>
                  <a:lnTo>
                    <a:pt x="397" y="237"/>
                  </a:lnTo>
                  <a:cubicBezTo>
                    <a:pt x="351" y="230"/>
                    <a:pt x="313" y="207"/>
                    <a:pt x="321" y="207"/>
                  </a:cubicBezTo>
                  <a:cubicBezTo>
                    <a:pt x="336" y="191"/>
                    <a:pt x="359" y="153"/>
                    <a:pt x="382" y="153"/>
                  </a:cubicBezTo>
                  <a:cubicBezTo>
                    <a:pt x="412" y="146"/>
                    <a:pt x="565" y="138"/>
                    <a:pt x="512" y="61"/>
                  </a:cubicBezTo>
                  <a:cubicBezTo>
                    <a:pt x="466" y="0"/>
                    <a:pt x="351" y="31"/>
                    <a:pt x="275" y="16"/>
                  </a:cubicBezTo>
                  <a:cubicBezTo>
                    <a:pt x="191" y="0"/>
                    <a:pt x="160" y="23"/>
                    <a:pt x="130" y="46"/>
                  </a:cubicBezTo>
                  <a:lnTo>
                    <a:pt x="130" y="46"/>
                  </a:lnTo>
                  <a:cubicBezTo>
                    <a:pt x="145" y="69"/>
                    <a:pt x="137" y="54"/>
                    <a:pt x="153" y="77"/>
                  </a:cubicBezTo>
                  <a:cubicBezTo>
                    <a:pt x="160" y="92"/>
                    <a:pt x="176" y="123"/>
                    <a:pt x="160" y="138"/>
                  </a:cubicBezTo>
                  <a:cubicBezTo>
                    <a:pt x="137" y="176"/>
                    <a:pt x="92" y="184"/>
                    <a:pt x="61" y="222"/>
                  </a:cubicBezTo>
                  <a:cubicBezTo>
                    <a:pt x="46" y="237"/>
                    <a:pt x="46" y="260"/>
                    <a:pt x="31" y="283"/>
                  </a:cubicBezTo>
                  <a:cubicBezTo>
                    <a:pt x="23" y="291"/>
                    <a:pt x="0" y="313"/>
                    <a:pt x="15" y="321"/>
                  </a:cubicBezTo>
                  <a:cubicBezTo>
                    <a:pt x="38" y="336"/>
                    <a:pt x="76" y="344"/>
                    <a:pt x="99" y="329"/>
                  </a:cubicBezTo>
                  <a:cubicBezTo>
                    <a:pt x="122" y="321"/>
                    <a:pt x="92" y="275"/>
                    <a:pt x="115" y="268"/>
                  </a:cubicBezTo>
                  <a:cubicBezTo>
                    <a:pt x="130" y="252"/>
                    <a:pt x="160" y="283"/>
                    <a:pt x="176" y="298"/>
                  </a:cubicBezTo>
                  <a:cubicBezTo>
                    <a:pt x="199" y="313"/>
                    <a:pt x="206" y="336"/>
                    <a:pt x="229" y="344"/>
                  </a:cubicBezTo>
                  <a:cubicBezTo>
                    <a:pt x="275" y="359"/>
                    <a:pt x="321" y="367"/>
                    <a:pt x="367" y="352"/>
                  </a:cubicBezTo>
                  <a:cubicBezTo>
                    <a:pt x="382" y="344"/>
                    <a:pt x="367" y="313"/>
                    <a:pt x="374" y="291"/>
                  </a:cubicBezTo>
                  <a:cubicBezTo>
                    <a:pt x="382" y="268"/>
                    <a:pt x="390" y="268"/>
                    <a:pt x="397" y="23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86" name="Freeform 108"/>
            <p:cNvSpPr>
              <a:spLocks noChangeArrowheads="1"/>
            </p:cNvSpPr>
            <p:nvPr/>
          </p:nvSpPr>
          <p:spPr bwMode="auto">
            <a:xfrm>
              <a:off x="7267102" y="6611938"/>
              <a:ext cx="169852" cy="169862"/>
            </a:xfrm>
            <a:custGeom>
              <a:avLst/>
              <a:gdLst>
                <a:gd name="T0" fmla="*/ 473 w 474"/>
                <a:gd name="T1" fmla="*/ 175 h 474"/>
                <a:gd name="T2" fmla="*/ 473 w 474"/>
                <a:gd name="T3" fmla="*/ 175 h 474"/>
                <a:gd name="T4" fmla="*/ 450 w 474"/>
                <a:gd name="T5" fmla="*/ 351 h 474"/>
                <a:gd name="T6" fmla="*/ 466 w 474"/>
                <a:gd name="T7" fmla="*/ 458 h 474"/>
                <a:gd name="T8" fmla="*/ 466 w 474"/>
                <a:gd name="T9" fmla="*/ 458 h 474"/>
                <a:gd name="T10" fmla="*/ 359 w 474"/>
                <a:gd name="T11" fmla="*/ 465 h 474"/>
                <a:gd name="T12" fmla="*/ 252 w 474"/>
                <a:gd name="T13" fmla="*/ 473 h 474"/>
                <a:gd name="T14" fmla="*/ 183 w 474"/>
                <a:gd name="T15" fmla="*/ 465 h 474"/>
                <a:gd name="T16" fmla="*/ 84 w 474"/>
                <a:gd name="T17" fmla="*/ 404 h 474"/>
                <a:gd name="T18" fmla="*/ 23 w 474"/>
                <a:gd name="T19" fmla="*/ 252 h 474"/>
                <a:gd name="T20" fmla="*/ 15 w 474"/>
                <a:gd name="T21" fmla="*/ 190 h 474"/>
                <a:gd name="T22" fmla="*/ 76 w 474"/>
                <a:gd name="T23" fmla="*/ 198 h 474"/>
                <a:gd name="T24" fmla="*/ 68 w 474"/>
                <a:gd name="T25" fmla="*/ 145 h 474"/>
                <a:gd name="T26" fmla="*/ 122 w 474"/>
                <a:gd name="T27" fmla="*/ 160 h 474"/>
                <a:gd name="T28" fmla="*/ 122 w 474"/>
                <a:gd name="T29" fmla="*/ 76 h 474"/>
                <a:gd name="T30" fmla="*/ 229 w 474"/>
                <a:gd name="T31" fmla="*/ 22 h 474"/>
                <a:gd name="T32" fmla="*/ 313 w 474"/>
                <a:gd name="T33" fmla="*/ 7 h 474"/>
                <a:gd name="T34" fmla="*/ 381 w 474"/>
                <a:gd name="T35" fmla="*/ 45 h 474"/>
                <a:gd name="T36" fmla="*/ 381 w 474"/>
                <a:gd name="T37" fmla="*/ 106 h 474"/>
                <a:gd name="T38" fmla="*/ 366 w 474"/>
                <a:gd name="T39" fmla="*/ 183 h 474"/>
                <a:gd name="T40" fmla="*/ 397 w 474"/>
                <a:gd name="T41" fmla="*/ 190 h 474"/>
                <a:gd name="T42" fmla="*/ 473 w 474"/>
                <a:gd name="T43" fmla="*/ 175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74" h="474">
                  <a:moveTo>
                    <a:pt x="473" y="175"/>
                  </a:moveTo>
                  <a:lnTo>
                    <a:pt x="473" y="175"/>
                  </a:lnTo>
                  <a:cubicBezTo>
                    <a:pt x="466" y="236"/>
                    <a:pt x="450" y="290"/>
                    <a:pt x="450" y="351"/>
                  </a:cubicBezTo>
                  <a:cubicBezTo>
                    <a:pt x="450" y="389"/>
                    <a:pt x="458" y="420"/>
                    <a:pt x="466" y="458"/>
                  </a:cubicBezTo>
                  <a:lnTo>
                    <a:pt x="466" y="458"/>
                  </a:lnTo>
                  <a:cubicBezTo>
                    <a:pt x="427" y="458"/>
                    <a:pt x="389" y="465"/>
                    <a:pt x="359" y="465"/>
                  </a:cubicBezTo>
                  <a:cubicBezTo>
                    <a:pt x="320" y="465"/>
                    <a:pt x="282" y="465"/>
                    <a:pt x="252" y="473"/>
                  </a:cubicBezTo>
                  <a:cubicBezTo>
                    <a:pt x="229" y="473"/>
                    <a:pt x="206" y="473"/>
                    <a:pt x="183" y="465"/>
                  </a:cubicBezTo>
                  <a:cubicBezTo>
                    <a:pt x="145" y="450"/>
                    <a:pt x="106" y="435"/>
                    <a:pt x="84" y="404"/>
                  </a:cubicBezTo>
                  <a:cubicBezTo>
                    <a:pt x="45" y="358"/>
                    <a:pt x="38" y="305"/>
                    <a:pt x="23" y="252"/>
                  </a:cubicBezTo>
                  <a:cubicBezTo>
                    <a:pt x="15" y="236"/>
                    <a:pt x="0" y="206"/>
                    <a:pt x="15" y="190"/>
                  </a:cubicBezTo>
                  <a:cubicBezTo>
                    <a:pt x="30" y="175"/>
                    <a:pt x="61" y="206"/>
                    <a:pt x="76" y="198"/>
                  </a:cubicBezTo>
                  <a:cubicBezTo>
                    <a:pt x="91" y="183"/>
                    <a:pt x="61" y="152"/>
                    <a:pt x="68" y="145"/>
                  </a:cubicBezTo>
                  <a:cubicBezTo>
                    <a:pt x="84" y="137"/>
                    <a:pt x="114" y="175"/>
                    <a:pt x="122" y="160"/>
                  </a:cubicBezTo>
                  <a:cubicBezTo>
                    <a:pt x="137" y="137"/>
                    <a:pt x="106" y="99"/>
                    <a:pt x="122" y="76"/>
                  </a:cubicBezTo>
                  <a:cubicBezTo>
                    <a:pt x="145" y="45"/>
                    <a:pt x="191" y="38"/>
                    <a:pt x="229" y="22"/>
                  </a:cubicBezTo>
                  <a:cubicBezTo>
                    <a:pt x="252" y="15"/>
                    <a:pt x="282" y="0"/>
                    <a:pt x="313" y="7"/>
                  </a:cubicBezTo>
                  <a:cubicBezTo>
                    <a:pt x="343" y="7"/>
                    <a:pt x="366" y="22"/>
                    <a:pt x="381" y="45"/>
                  </a:cubicBezTo>
                  <a:cubicBezTo>
                    <a:pt x="389" y="68"/>
                    <a:pt x="381" y="91"/>
                    <a:pt x="381" y="106"/>
                  </a:cubicBezTo>
                  <a:cubicBezTo>
                    <a:pt x="374" y="137"/>
                    <a:pt x="359" y="160"/>
                    <a:pt x="366" y="183"/>
                  </a:cubicBezTo>
                  <a:cubicBezTo>
                    <a:pt x="366" y="198"/>
                    <a:pt x="381" y="190"/>
                    <a:pt x="397" y="190"/>
                  </a:cubicBezTo>
                  <a:cubicBezTo>
                    <a:pt x="420" y="190"/>
                    <a:pt x="443" y="183"/>
                    <a:pt x="473" y="175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87" name="Freeform 109"/>
            <p:cNvSpPr>
              <a:spLocks noChangeArrowheads="1"/>
            </p:cNvSpPr>
            <p:nvPr/>
          </p:nvSpPr>
          <p:spPr bwMode="auto">
            <a:xfrm>
              <a:off x="7338535" y="6503988"/>
              <a:ext cx="720678" cy="569912"/>
            </a:xfrm>
            <a:custGeom>
              <a:avLst/>
              <a:gdLst>
                <a:gd name="T0" fmla="*/ 1421 w 2002"/>
                <a:gd name="T1" fmla="*/ 7 h 1582"/>
                <a:gd name="T2" fmla="*/ 1421 w 2002"/>
                <a:gd name="T3" fmla="*/ 7 h 1582"/>
                <a:gd name="T4" fmla="*/ 1390 w 2002"/>
                <a:gd name="T5" fmla="*/ 76 h 1582"/>
                <a:gd name="T6" fmla="*/ 1207 w 2002"/>
                <a:gd name="T7" fmla="*/ 68 h 1582"/>
                <a:gd name="T8" fmla="*/ 1092 w 2002"/>
                <a:gd name="T9" fmla="*/ 0 h 1582"/>
                <a:gd name="T10" fmla="*/ 1024 w 2002"/>
                <a:gd name="T11" fmla="*/ 84 h 1582"/>
                <a:gd name="T12" fmla="*/ 894 w 2002"/>
                <a:gd name="T13" fmla="*/ 206 h 1582"/>
                <a:gd name="T14" fmla="*/ 794 w 2002"/>
                <a:gd name="T15" fmla="*/ 198 h 1582"/>
                <a:gd name="T16" fmla="*/ 695 w 2002"/>
                <a:gd name="T17" fmla="*/ 275 h 1582"/>
                <a:gd name="T18" fmla="*/ 650 w 2002"/>
                <a:gd name="T19" fmla="*/ 328 h 1582"/>
                <a:gd name="T20" fmla="*/ 642 w 2002"/>
                <a:gd name="T21" fmla="*/ 420 h 1582"/>
                <a:gd name="T22" fmla="*/ 550 w 2002"/>
                <a:gd name="T23" fmla="*/ 366 h 1582"/>
                <a:gd name="T24" fmla="*/ 382 w 2002"/>
                <a:gd name="T25" fmla="*/ 397 h 1582"/>
                <a:gd name="T26" fmla="*/ 275 w 2002"/>
                <a:gd name="T27" fmla="*/ 473 h 1582"/>
                <a:gd name="T28" fmla="*/ 275 w 2002"/>
                <a:gd name="T29" fmla="*/ 473 h 1582"/>
                <a:gd name="T30" fmla="*/ 252 w 2002"/>
                <a:gd name="T31" fmla="*/ 649 h 1582"/>
                <a:gd name="T32" fmla="*/ 268 w 2002"/>
                <a:gd name="T33" fmla="*/ 756 h 1582"/>
                <a:gd name="T34" fmla="*/ 268 w 2002"/>
                <a:gd name="T35" fmla="*/ 756 h 1582"/>
                <a:gd name="T36" fmla="*/ 245 w 2002"/>
                <a:gd name="T37" fmla="*/ 848 h 1582"/>
                <a:gd name="T38" fmla="*/ 268 w 2002"/>
                <a:gd name="T39" fmla="*/ 931 h 1582"/>
                <a:gd name="T40" fmla="*/ 252 w 2002"/>
                <a:gd name="T41" fmla="*/ 1054 h 1582"/>
                <a:gd name="T42" fmla="*/ 199 w 2002"/>
                <a:gd name="T43" fmla="*/ 1100 h 1582"/>
                <a:gd name="T44" fmla="*/ 214 w 2002"/>
                <a:gd name="T45" fmla="*/ 1130 h 1582"/>
                <a:gd name="T46" fmla="*/ 291 w 2002"/>
                <a:gd name="T47" fmla="*/ 1153 h 1582"/>
                <a:gd name="T48" fmla="*/ 291 w 2002"/>
                <a:gd name="T49" fmla="*/ 1184 h 1582"/>
                <a:gd name="T50" fmla="*/ 214 w 2002"/>
                <a:gd name="T51" fmla="*/ 1199 h 1582"/>
                <a:gd name="T52" fmla="*/ 168 w 2002"/>
                <a:gd name="T53" fmla="*/ 1237 h 1582"/>
                <a:gd name="T54" fmla="*/ 61 w 2002"/>
                <a:gd name="T55" fmla="*/ 1214 h 1582"/>
                <a:gd name="T56" fmla="*/ 0 w 2002"/>
                <a:gd name="T57" fmla="*/ 1298 h 1582"/>
                <a:gd name="T58" fmla="*/ 84 w 2002"/>
                <a:gd name="T59" fmla="*/ 1344 h 1582"/>
                <a:gd name="T60" fmla="*/ 84 w 2002"/>
                <a:gd name="T61" fmla="*/ 1344 h 1582"/>
                <a:gd name="T62" fmla="*/ 245 w 2002"/>
                <a:gd name="T63" fmla="*/ 1336 h 1582"/>
                <a:gd name="T64" fmla="*/ 359 w 2002"/>
                <a:gd name="T65" fmla="*/ 1390 h 1582"/>
                <a:gd name="T66" fmla="*/ 359 w 2002"/>
                <a:gd name="T67" fmla="*/ 1390 h 1582"/>
                <a:gd name="T68" fmla="*/ 413 w 2002"/>
                <a:gd name="T69" fmla="*/ 1405 h 1582"/>
                <a:gd name="T70" fmla="*/ 619 w 2002"/>
                <a:gd name="T71" fmla="*/ 1275 h 1582"/>
                <a:gd name="T72" fmla="*/ 657 w 2002"/>
                <a:gd name="T73" fmla="*/ 1222 h 1582"/>
                <a:gd name="T74" fmla="*/ 657 w 2002"/>
                <a:gd name="T75" fmla="*/ 1222 h 1582"/>
                <a:gd name="T76" fmla="*/ 741 w 2002"/>
                <a:gd name="T77" fmla="*/ 1168 h 1582"/>
                <a:gd name="T78" fmla="*/ 856 w 2002"/>
                <a:gd name="T79" fmla="*/ 1176 h 1582"/>
                <a:gd name="T80" fmla="*/ 925 w 2002"/>
                <a:gd name="T81" fmla="*/ 1206 h 1582"/>
                <a:gd name="T82" fmla="*/ 1031 w 2002"/>
                <a:gd name="T83" fmla="*/ 1184 h 1582"/>
                <a:gd name="T84" fmla="*/ 1054 w 2002"/>
                <a:gd name="T85" fmla="*/ 1184 h 1582"/>
                <a:gd name="T86" fmla="*/ 1054 w 2002"/>
                <a:gd name="T87" fmla="*/ 1184 h 1582"/>
                <a:gd name="T88" fmla="*/ 1085 w 2002"/>
                <a:gd name="T89" fmla="*/ 1015 h 1582"/>
                <a:gd name="T90" fmla="*/ 1123 w 2002"/>
                <a:gd name="T91" fmla="*/ 954 h 1582"/>
                <a:gd name="T92" fmla="*/ 1200 w 2002"/>
                <a:gd name="T93" fmla="*/ 939 h 1582"/>
                <a:gd name="T94" fmla="*/ 1314 w 2002"/>
                <a:gd name="T95" fmla="*/ 1008 h 1582"/>
                <a:gd name="T96" fmla="*/ 1299 w 2002"/>
                <a:gd name="T97" fmla="*/ 1130 h 1582"/>
                <a:gd name="T98" fmla="*/ 1299 w 2002"/>
                <a:gd name="T99" fmla="*/ 1130 h 1582"/>
                <a:gd name="T100" fmla="*/ 1383 w 2002"/>
                <a:gd name="T101" fmla="*/ 1199 h 1582"/>
                <a:gd name="T102" fmla="*/ 1658 w 2002"/>
                <a:gd name="T103" fmla="*/ 1420 h 1582"/>
                <a:gd name="T104" fmla="*/ 1872 w 2002"/>
                <a:gd name="T105" fmla="*/ 1413 h 1582"/>
                <a:gd name="T106" fmla="*/ 1917 w 2002"/>
                <a:gd name="T107" fmla="*/ 1581 h 1582"/>
                <a:gd name="T108" fmla="*/ 1978 w 2002"/>
                <a:gd name="T109" fmla="*/ 1497 h 1582"/>
                <a:gd name="T110" fmla="*/ 1940 w 2002"/>
                <a:gd name="T111" fmla="*/ 1359 h 1582"/>
                <a:gd name="T112" fmla="*/ 1726 w 2002"/>
                <a:gd name="T113" fmla="*/ 1023 h 1582"/>
                <a:gd name="T114" fmla="*/ 1551 w 2002"/>
                <a:gd name="T115" fmla="*/ 748 h 1582"/>
                <a:gd name="T116" fmla="*/ 1490 w 2002"/>
                <a:gd name="T117" fmla="*/ 175 h 1582"/>
                <a:gd name="T118" fmla="*/ 1627 w 2002"/>
                <a:gd name="T119" fmla="*/ 137 h 1582"/>
                <a:gd name="T120" fmla="*/ 1490 w 2002"/>
                <a:gd name="T121" fmla="*/ 45 h 1582"/>
                <a:gd name="T122" fmla="*/ 1421 w 2002"/>
                <a:gd name="T123" fmla="*/ 7 h 1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02" h="1582">
                  <a:moveTo>
                    <a:pt x="1421" y="7"/>
                  </a:moveTo>
                  <a:lnTo>
                    <a:pt x="1421" y="7"/>
                  </a:lnTo>
                  <a:cubicBezTo>
                    <a:pt x="1413" y="38"/>
                    <a:pt x="1421" y="68"/>
                    <a:pt x="1390" y="76"/>
                  </a:cubicBezTo>
                  <a:cubicBezTo>
                    <a:pt x="1329" y="99"/>
                    <a:pt x="1261" y="84"/>
                    <a:pt x="1207" y="68"/>
                  </a:cubicBezTo>
                  <a:cubicBezTo>
                    <a:pt x="1161" y="61"/>
                    <a:pt x="1138" y="0"/>
                    <a:pt x="1092" y="0"/>
                  </a:cubicBezTo>
                  <a:cubicBezTo>
                    <a:pt x="1054" y="7"/>
                    <a:pt x="1047" y="61"/>
                    <a:pt x="1024" y="84"/>
                  </a:cubicBezTo>
                  <a:cubicBezTo>
                    <a:pt x="986" y="129"/>
                    <a:pt x="947" y="183"/>
                    <a:pt x="894" y="206"/>
                  </a:cubicBezTo>
                  <a:cubicBezTo>
                    <a:pt x="863" y="221"/>
                    <a:pt x="825" y="191"/>
                    <a:pt x="794" y="198"/>
                  </a:cubicBezTo>
                  <a:cubicBezTo>
                    <a:pt x="756" y="213"/>
                    <a:pt x="726" y="252"/>
                    <a:pt x="695" y="275"/>
                  </a:cubicBezTo>
                  <a:cubicBezTo>
                    <a:pt x="680" y="290"/>
                    <a:pt x="657" y="305"/>
                    <a:pt x="650" y="328"/>
                  </a:cubicBezTo>
                  <a:cubicBezTo>
                    <a:pt x="642" y="359"/>
                    <a:pt x="665" y="412"/>
                    <a:pt x="642" y="420"/>
                  </a:cubicBezTo>
                  <a:cubicBezTo>
                    <a:pt x="611" y="435"/>
                    <a:pt x="588" y="374"/>
                    <a:pt x="550" y="366"/>
                  </a:cubicBezTo>
                  <a:cubicBezTo>
                    <a:pt x="497" y="366"/>
                    <a:pt x="436" y="374"/>
                    <a:pt x="382" y="397"/>
                  </a:cubicBezTo>
                  <a:cubicBezTo>
                    <a:pt x="336" y="412"/>
                    <a:pt x="306" y="450"/>
                    <a:pt x="275" y="473"/>
                  </a:cubicBezTo>
                  <a:lnTo>
                    <a:pt x="275" y="473"/>
                  </a:lnTo>
                  <a:cubicBezTo>
                    <a:pt x="268" y="534"/>
                    <a:pt x="252" y="588"/>
                    <a:pt x="252" y="649"/>
                  </a:cubicBezTo>
                  <a:cubicBezTo>
                    <a:pt x="252" y="687"/>
                    <a:pt x="260" y="718"/>
                    <a:pt x="268" y="756"/>
                  </a:cubicBezTo>
                  <a:lnTo>
                    <a:pt x="268" y="756"/>
                  </a:lnTo>
                  <a:cubicBezTo>
                    <a:pt x="260" y="786"/>
                    <a:pt x="245" y="817"/>
                    <a:pt x="245" y="848"/>
                  </a:cubicBezTo>
                  <a:cubicBezTo>
                    <a:pt x="245" y="878"/>
                    <a:pt x="268" y="901"/>
                    <a:pt x="268" y="931"/>
                  </a:cubicBezTo>
                  <a:cubicBezTo>
                    <a:pt x="275" y="970"/>
                    <a:pt x="268" y="1015"/>
                    <a:pt x="252" y="1054"/>
                  </a:cubicBezTo>
                  <a:cubicBezTo>
                    <a:pt x="245" y="1077"/>
                    <a:pt x="214" y="1077"/>
                    <a:pt x="199" y="1100"/>
                  </a:cubicBezTo>
                  <a:cubicBezTo>
                    <a:pt x="199" y="1107"/>
                    <a:pt x="206" y="1123"/>
                    <a:pt x="214" y="1130"/>
                  </a:cubicBezTo>
                  <a:cubicBezTo>
                    <a:pt x="237" y="1145"/>
                    <a:pt x="275" y="1138"/>
                    <a:pt x="291" y="1153"/>
                  </a:cubicBezTo>
                  <a:cubicBezTo>
                    <a:pt x="306" y="1161"/>
                    <a:pt x="306" y="1184"/>
                    <a:pt x="291" y="1184"/>
                  </a:cubicBezTo>
                  <a:cubicBezTo>
                    <a:pt x="268" y="1199"/>
                    <a:pt x="237" y="1191"/>
                    <a:pt x="214" y="1199"/>
                  </a:cubicBezTo>
                  <a:cubicBezTo>
                    <a:pt x="199" y="1206"/>
                    <a:pt x="183" y="1229"/>
                    <a:pt x="168" y="1237"/>
                  </a:cubicBezTo>
                  <a:cubicBezTo>
                    <a:pt x="130" y="1237"/>
                    <a:pt x="92" y="1199"/>
                    <a:pt x="61" y="1214"/>
                  </a:cubicBezTo>
                  <a:cubicBezTo>
                    <a:pt x="31" y="1229"/>
                    <a:pt x="0" y="1260"/>
                    <a:pt x="0" y="1298"/>
                  </a:cubicBezTo>
                  <a:cubicBezTo>
                    <a:pt x="8" y="1329"/>
                    <a:pt x="54" y="1329"/>
                    <a:pt x="84" y="1344"/>
                  </a:cubicBezTo>
                  <a:lnTo>
                    <a:pt x="84" y="1344"/>
                  </a:lnTo>
                  <a:cubicBezTo>
                    <a:pt x="138" y="1344"/>
                    <a:pt x="191" y="1329"/>
                    <a:pt x="245" y="1336"/>
                  </a:cubicBezTo>
                  <a:cubicBezTo>
                    <a:pt x="291" y="1344"/>
                    <a:pt x="321" y="1375"/>
                    <a:pt x="359" y="1390"/>
                  </a:cubicBezTo>
                  <a:lnTo>
                    <a:pt x="359" y="1390"/>
                  </a:lnTo>
                  <a:cubicBezTo>
                    <a:pt x="382" y="1397"/>
                    <a:pt x="397" y="1413"/>
                    <a:pt x="413" y="1405"/>
                  </a:cubicBezTo>
                  <a:cubicBezTo>
                    <a:pt x="489" y="1375"/>
                    <a:pt x="558" y="1329"/>
                    <a:pt x="619" y="1275"/>
                  </a:cubicBezTo>
                  <a:cubicBezTo>
                    <a:pt x="642" y="1252"/>
                    <a:pt x="634" y="1245"/>
                    <a:pt x="657" y="1222"/>
                  </a:cubicBezTo>
                  <a:lnTo>
                    <a:pt x="657" y="1222"/>
                  </a:lnTo>
                  <a:cubicBezTo>
                    <a:pt x="665" y="1206"/>
                    <a:pt x="733" y="1168"/>
                    <a:pt x="741" y="1168"/>
                  </a:cubicBezTo>
                  <a:cubicBezTo>
                    <a:pt x="772" y="1153"/>
                    <a:pt x="833" y="1153"/>
                    <a:pt x="856" y="1176"/>
                  </a:cubicBezTo>
                  <a:cubicBezTo>
                    <a:pt x="871" y="1199"/>
                    <a:pt x="902" y="1206"/>
                    <a:pt x="925" y="1206"/>
                  </a:cubicBezTo>
                  <a:cubicBezTo>
                    <a:pt x="963" y="1206"/>
                    <a:pt x="993" y="1184"/>
                    <a:pt x="1031" y="1184"/>
                  </a:cubicBezTo>
                  <a:cubicBezTo>
                    <a:pt x="1039" y="1184"/>
                    <a:pt x="1047" y="1184"/>
                    <a:pt x="1054" y="1184"/>
                  </a:cubicBezTo>
                  <a:lnTo>
                    <a:pt x="1054" y="1184"/>
                  </a:lnTo>
                  <a:cubicBezTo>
                    <a:pt x="1062" y="1123"/>
                    <a:pt x="1062" y="1069"/>
                    <a:pt x="1085" y="1015"/>
                  </a:cubicBezTo>
                  <a:cubicBezTo>
                    <a:pt x="1092" y="992"/>
                    <a:pt x="1108" y="970"/>
                    <a:pt x="1123" y="954"/>
                  </a:cubicBezTo>
                  <a:cubicBezTo>
                    <a:pt x="1146" y="939"/>
                    <a:pt x="1177" y="931"/>
                    <a:pt x="1200" y="939"/>
                  </a:cubicBezTo>
                  <a:cubicBezTo>
                    <a:pt x="1238" y="954"/>
                    <a:pt x="1283" y="970"/>
                    <a:pt x="1314" y="1008"/>
                  </a:cubicBezTo>
                  <a:cubicBezTo>
                    <a:pt x="1329" y="1031"/>
                    <a:pt x="1306" y="1100"/>
                    <a:pt x="1299" y="1130"/>
                  </a:cubicBezTo>
                  <a:lnTo>
                    <a:pt x="1299" y="1130"/>
                  </a:lnTo>
                  <a:cubicBezTo>
                    <a:pt x="1329" y="1145"/>
                    <a:pt x="1352" y="1161"/>
                    <a:pt x="1383" y="1199"/>
                  </a:cubicBezTo>
                  <a:cubicBezTo>
                    <a:pt x="1444" y="1275"/>
                    <a:pt x="1551" y="1443"/>
                    <a:pt x="1658" y="1420"/>
                  </a:cubicBezTo>
                  <a:cubicBezTo>
                    <a:pt x="1749" y="1405"/>
                    <a:pt x="1788" y="1375"/>
                    <a:pt x="1872" y="1413"/>
                  </a:cubicBezTo>
                  <a:cubicBezTo>
                    <a:pt x="2001" y="1466"/>
                    <a:pt x="1917" y="1504"/>
                    <a:pt x="1917" y="1581"/>
                  </a:cubicBezTo>
                  <a:cubicBezTo>
                    <a:pt x="1925" y="1558"/>
                    <a:pt x="1971" y="1550"/>
                    <a:pt x="1978" y="1497"/>
                  </a:cubicBezTo>
                  <a:cubicBezTo>
                    <a:pt x="1978" y="1436"/>
                    <a:pt x="1963" y="1405"/>
                    <a:pt x="1940" y="1359"/>
                  </a:cubicBezTo>
                  <a:cubicBezTo>
                    <a:pt x="1894" y="1237"/>
                    <a:pt x="1788" y="1130"/>
                    <a:pt x="1726" y="1023"/>
                  </a:cubicBezTo>
                  <a:cubicBezTo>
                    <a:pt x="1681" y="939"/>
                    <a:pt x="1574" y="825"/>
                    <a:pt x="1551" y="748"/>
                  </a:cubicBezTo>
                  <a:cubicBezTo>
                    <a:pt x="1467" y="580"/>
                    <a:pt x="1314" y="328"/>
                    <a:pt x="1490" y="175"/>
                  </a:cubicBezTo>
                  <a:cubicBezTo>
                    <a:pt x="1513" y="160"/>
                    <a:pt x="1619" y="160"/>
                    <a:pt x="1627" y="137"/>
                  </a:cubicBezTo>
                  <a:cubicBezTo>
                    <a:pt x="1642" y="106"/>
                    <a:pt x="1513" y="61"/>
                    <a:pt x="1490" y="45"/>
                  </a:cubicBezTo>
                  <a:cubicBezTo>
                    <a:pt x="1467" y="30"/>
                    <a:pt x="1444" y="15"/>
                    <a:pt x="1421" y="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88" name="Freeform 110"/>
            <p:cNvSpPr>
              <a:spLocks noChangeArrowheads="1"/>
            </p:cNvSpPr>
            <p:nvPr/>
          </p:nvSpPr>
          <p:spPr bwMode="auto">
            <a:xfrm>
              <a:off x="7717923" y="6838950"/>
              <a:ext cx="100006" cy="92075"/>
            </a:xfrm>
            <a:custGeom>
              <a:avLst/>
              <a:gdLst>
                <a:gd name="T0" fmla="*/ 0 w 276"/>
                <a:gd name="T1" fmla="*/ 253 h 254"/>
                <a:gd name="T2" fmla="*/ 0 w 276"/>
                <a:gd name="T3" fmla="*/ 253 h 254"/>
                <a:gd name="T4" fmla="*/ 245 w 276"/>
                <a:gd name="T5" fmla="*/ 199 h 254"/>
                <a:gd name="T6" fmla="*/ 245 w 276"/>
                <a:gd name="T7" fmla="*/ 199 h 254"/>
                <a:gd name="T8" fmla="*/ 260 w 276"/>
                <a:gd name="T9" fmla="*/ 77 h 254"/>
                <a:gd name="T10" fmla="*/ 146 w 276"/>
                <a:gd name="T11" fmla="*/ 8 h 254"/>
                <a:gd name="T12" fmla="*/ 69 w 276"/>
                <a:gd name="T13" fmla="*/ 23 h 254"/>
                <a:gd name="T14" fmla="*/ 31 w 276"/>
                <a:gd name="T15" fmla="*/ 84 h 254"/>
                <a:gd name="T16" fmla="*/ 0 w 276"/>
                <a:gd name="T17" fmla="*/ 253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6" h="254">
                  <a:moveTo>
                    <a:pt x="0" y="253"/>
                  </a:moveTo>
                  <a:lnTo>
                    <a:pt x="0" y="253"/>
                  </a:lnTo>
                  <a:cubicBezTo>
                    <a:pt x="100" y="245"/>
                    <a:pt x="168" y="176"/>
                    <a:pt x="245" y="199"/>
                  </a:cubicBezTo>
                  <a:lnTo>
                    <a:pt x="245" y="199"/>
                  </a:lnTo>
                  <a:cubicBezTo>
                    <a:pt x="252" y="169"/>
                    <a:pt x="275" y="100"/>
                    <a:pt x="260" y="77"/>
                  </a:cubicBezTo>
                  <a:cubicBezTo>
                    <a:pt x="229" y="39"/>
                    <a:pt x="184" y="23"/>
                    <a:pt x="146" y="8"/>
                  </a:cubicBezTo>
                  <a:cubicBezTo>
                    <a:pt x="123" y="0"/>
                    <a:pt x="92" y="8"/>
                    <a:pt x="69" y="23"/>
                  </a:cubicBezTo>
                  <a:cubicBezTo>
                    <a:pt x="54" y="39"/>
                    <a:pt x="38" y="61"/>
                    <a:pt x="31" y="84"/>
                  </a:cubicBezTo>
                  <a:cubicBezTo>
                    <a:pt x="8" y="138"/>
                    <a:pt x="8" y="192"/>
                    <a:pt x="0" y="25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89" name="Freeform 111"/>
            <p:cNvSpPr>
              <a:spLocks noChangeArrowheads="1"/>
            </p:cNvSpPr>
            <p:nvPr/>
          </p:nvSpPr>
          <p:spPr bwMode="auto">
            <a:xfrm>
              <a:off x="7000419" y="6070601"/>
              <a:ext cx="169852" cy="150813"/>
            </a:xfrm>
            <a:custGeom>
              <a:avLst/>
              <a:gdLst>
                <a:gd name="T0" fmla="*/ 23 w 474"/>
                <a:gd name="T1" fmla="*/ 221 h 421"/>
                <a:gd name="T2" fmla="*/ 23 w 474"/>
                <a:gd name="T3" fmla="*/ 221 h 421"/>
                <a:gd name="T4" fmla="*/ 122 w 474"/>
                <a:gd name="T5" fmla="*/ 252 h 421"/>
                <a:gd name="T6" fmla="*/ 175 w 474"/>
                <a:gd name="T7" fmla="*/ 282 h 421"/>
                <a:gd name="T8" fmla="*/ 221 w 474"/>
                <a:gd name="T9" fmla="*/ 351 h 421"/>
                <a:gd name="T10" fmla="*/ 267 w 474"/>
                <a:gd name="T11" fmla="*/ 389 h 421"/>
                <a:gd name="T12" fmla="*/ 305 w 474"/>
                <a:gd name="T13" fmla="*/ 366 h 421"/>
                <a:gd name="T14" fmla="*/ 382 w 474"/>
                <a:gd name="T15" fmla="*/ 420 h 421"/>
                <a:gd name="T16" fmla="*/ 405 w 474"/>
                <a:gd name="T17" fmla="*/ 359 h 421"/>
                <a:gd name="T18" fmla="*/ 382 w 474"/>
                <a:gd name="T19" fmla="*/ 298 h 421"/>
                <a:gd name="T20" fmla="*/ 435 w 474"/>
                <a:gd name="T21" fmla="*/ 336 h 421"/>
                <a:gd name="T22" fmla="*/ 435 w 474"/>
                <a:gd name="T23" fmla="*/ 336 h 421"/>
                <a:gd name="T24" fmla="*/ 443 w 474"/>
                <a:gd name="T25" fmla="*/ 252 h 421"/>
                <a:gd name="T26" fmla="*/ 405 w 474"/>
                <a:gd name="T27" fmla="*/ 183 h 421"/>
                <a:gd name="T28" fmla="*/ 458 w 474"/>
                <a:gd name="T29" fmla="*/ 130 h 421"/>
                <a:gd name="T30" fmla="*/ 458 w 474"/>
                <a:gd name="T31" fmla="*/ 61 h 421"/>
                <a:gd name="T32" fmla="*/ 420 w 474"/>
                <a:gd name="T33" fmla="*/ 61 h 421"/>
                <a:gd name="T34" fmla="*/ 420 w 474"/>
                <a:gd name="T35" fmla="*/ 61 h 421"/>
                <a:gd name="T36" fmla="*/ 389 w 474"/>
                <a:gd name="T37" fmla="*/ 76 h 421"/>
                <a:gd name="T38" fmla="*/ 328 w 474"/>
                <a:gd name="T39" fmla="*/ 46 h 421"/>
                <a:gd name="T40" fmla="*/ 244 w 474"/>
                <a:gd name="T41" fmla="*/ 76 h 421"/>
                <a:gd name="T42" fmla="*/ 221 w 474"/>
                <a:gd name="T43" fmla="*/ 107 h 421"/>
                <a:gd name="T44" fmla="*/ 145 w 474"/>
                <a:gd name="T45" fmla="*/ 15 h 421"/>
                <a:gd name="T46" fmla="*/ 61 w 474"/>
                <a:gd name="T47" fmla="*/ 15 h 421"/>
                <a:gd name="T48" fmla="*/ 46 w 474"/>
                <a:gd name="T49" fmla="*/ 84 h 421"/>
                <a:gd name="T50" fmla="*/ 7 w 474"/>
                <a:gd name="T51" fmla="*/ 99 h 421"/>
                <a:gd name="T52" fmla="*/ 23 w 474"/>
                <a:gd name="T53" fmla="*/ 221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74" h="421">
                  <a:moveTo>
                    <a:pt x="23" y="221"/>
                  </a:moveTo>
                  <a:lnTo>
                    <a:pt x="23" y="221"/>
                  </a:lnTo>
                  <a:cubicBezTo>
                    <a:pt x="53" y="229"/>
                    <a:pt x="91" y="244"/>
                    <a:pt x="122" y="252"/>
                  </a:cubicBezTo>
                  <a:cubicBezTo>
                    <a:pt x="137" y="259"/>
                    <a:pt x="160" y="267"/>
                    <a:pt x="175" y="282"/>
                  </a:cubicBezTo>
                  <a:cubicBezTo>
                    <a:pt x="198" y="298"/>
                    <a:pt x="206" y="328"/>
                    <a:pt x="221" y="351"/>
                  </a:cubicBezTo>
                  <a:cubicBezTo>
                    <a:pt x="236" y="366"/>
                    <a:pt x="244" y="382"/>
                    <a:pt x="267" y="389"/>
                  </a:cubicBezTo>
                  <a:cubicBezTo>
                    <a:pt x="282" y="389"/>
                    <a:pt x="290" y="366"/>
                    <a:pt x="305" y="366"/>
                  </a:cubicBezTo>
                  <a:cubicBezTo>
                    <a:pt x="336" y="374"/>
                    <a:pt x="351" y="420"/>
                    <a:pt x="382" y="420"/>
                  </a:cubicBezTo>
                  <a:cubicBezTo>
                    <a:pt x="397" y="412"/>
                    <a:pt x="405" y="382"/>
                    <a:pt x="405" y="359"/>
                  </a:cubicBezTo>
                  <a:cubicBezTo>
                    <a:pt x="405" y="336"/>
                    <a:pt x="366" y="313"/>
                    <a:pt x="382" y="298"/>
                  </a:cubicBezTo>
                  <a:cubicBezTo>
                    <a:pt x="405" y="290"/>
                    <a:pt x="420" y="321"/>
                    <a:pt x="435" y="336"/>
                  </a:cubicBezTo>
                  <a:lnTo>
                    <a:pt x="435" y="336"/>
                  </a:lnTo>
                  <a:cubicBezTo>
                    <a:pt x="435" y="313"/>
                    <a:pt x="450" y="282"/>
                    <a:pt x="443" y="252"/>
                  </a:cubicBezTo>
                  <a:cubicBezTo>
                    <a:pt x="443" y="229"/>
                    <a:pt x="405" y="206"/>
                    <a:pt x="405" y="183"/>
                  </a:cubicBezTo>
                  <a:cubicBezTo>
                    <a:pt x="412" y="152"/>
                    <a:pt x="450" y="152"/>
                    <a:pt x="458" y="130"/>
                  </a:cubicBezTo>
                  <a:cubicBezTo>
                    <a:pt x="473" y="114"/>
                    <a:pt x="473" y="84"/>
                    <a:pt x="458" y="61"/>
                  </a:cubicBezTo>
                  <a:cubicBezTo>
                    <a:pt x="458" y="53"/>
                    <a:pt x="435" y="61"/>
                    <a:pt x="420" y="61"/>
                  </a:cubicBezTo>
                  <a:lnTo>
                    <a:pt x="420" y="61"/>
                  </a:lnTo>
                  <a:cubicBezTo>
                    <a:pt x="412" y="69"/>
                    <a:pt x="397" y="76"/>
                    <a:pt x="389" y="76"/>
                  </a:cubicBezTo>
                  <a:cubicBezTo>
                    <a:pt x="366" y="69"/>
                    <a:pt x="351" y="46"/>
                    <a:pt x="328" y="46"/>
                  </a:cubicBezTo>
                  <a:cubicBezTo>
                    <a:pt x="298" y="46"/>
                    <a:pt x="267" y="61"/>
                    <a:pt x="244" y="76"/>
                  </a:cubicBezTo>
                  <a:cubicBezTo>
                    <a:pt x="229" y="76"/>
                    <a:pt x="229" y="114"/>
                    <a:pt x="221" y="107"/>
                  </a:cubicBezTo>
                  <a:cubicBezTo>
                    <a:pt x="183" y="84"/>
                    <a:pt x="183" y="30"/>
                    <a:pt x="145" y="15"/>
                  </a:cubicBezTo>
                  <a:cubicBezTo>
                    <a:pt x="122" y="0"/>
                    <a:pt x="84" y="0"/>
                    <a:pt x="61" y="15"/>
                  </a:cubicBezTo>
                  <a:cubicBezTo>
                    <a:pt x="38" y="30"/>
                    <a:pt x="61" y="61"/>
                    <a:pt x="46" y="84"/>
                  </a:cubicBezTo>
                  <a:cubicBezTo>
                    <a:pt x="46" y="91"/>
                    <a:pt x="15" y="91"/>
                    <a:pt x="7" y="99"/>
                  </a:cubicBezTo>
                  <a:cubicBezTo>
                    <a:pt x="0" y="137"/>
                    <a:pt x="15" y="183"/>
                    <a:pt x="23" y="22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90" name="Freeform 112"/>
            <p:cNvSpPr>
              <a:spLocks noChangeArrowheads="1"/>
            </p:cNvSpPr>
            <p:nvPr/>
          </p:nvSpPr>
          <p:spPr bwMode="auto">
            <a:xfrm>
              <a:off x="7230592" y="6091238"/>
              <a:ext cx="88894" cy="88900"/>
            </a:xfrm>
            <a:custGeom>
              <a:avLst/>
              <a:gdLst>
                <a:gd name="T0" fmla="*/ 100 w 246"/>
                <a:gd name="T1" fmla="*/ 221 h 245"/>
                <a:gd name="T2" fmla="*/ 100 w 246"/>
                <a:gd name="T3" fmla="*/ 221 h 245"/>
                <a:gd name="T4" fmla="*/ 237 w 246"/>
                <a:gd name="T5" fmla="*/ 244 h 245"/>
                <a:gd name="T6" fmla="*/ 237 w 246"/>
                <a:gd name="T7" fmla="*/ 244 h 245"/>
                <a:gd name="T8" fmla="*/ 237 w 246"/>
                <a:gd name="T9" fmla="*/ 198 h 245"/>
                <a:gd name="T10" fmla="*/ 184 w 246"/>
                <a:gd name="T11" fmla="*/ 175 h 245"/>
                <a:gd name="T12" fmla="*/ 153 w 246"/>
                <a:gd name="T13" fmla="*/ 130 h 245"/>
                <a:gd name="T14" fmla="*/ 199 w 246"/>
                <a:gd name="T15" fmla="*/ 107 h 245"/>
                <a:gd name="T16" fmla="*/ 153 w 246"/>
                <a:gd name="T17" fmla="*/ 38 h 245"/>
                <a:gd name="T18" fmla="*/ 153 w 246"/>
                <a:gd name="T19" fmla="*/ 38 h 245"/>
                <a:gd name="T20" fmla="*/ 69 w 246"/>
                <a:gd name="T21" fmla="*/ 8 h 245"/>
                <a:gd name="T22" fmla="*/ 46 w 246"/>
                <a:gd name="T23" fmla="*/ 61 h 245"/>
                <a:gd name="T24" fmla="*/ 31 w 246"/>
                <a:gd name="T25" fmla="*/ 76 h 245"/>
                <a:gd name="T26" fmla="*/ 46 w 246"/>
                <a:gd name="T27" fmla="*/ 99 h 245"/>
                <a:gd name="T28" fmla="*/ 16 w 246"/>
                <a:gd name="T29" fmla="*/ 206 h 245"/>
                <a:gd name="T30" fmla="*/ 100 w 246"/>
                <a:gd name="T31" fmla="*/ 22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6" h="245">
                  <a:moveTo>
                    <a:pt x="100" y="221"/>
                  </a:moveTo>
                  <a:lnTo>
                    <a:pt x="100" y="221"/>
                  </a:lnTo>
                  <a:cubicBezTo>
                    <a:pt x="237" y="244"/>
                    <a:pt x="237" y="244"/>
                    <a:pt x="237" y="244"/>
                  </a:cubicBezTo>
                  <a:lnTo>
                    <a:pt x="237" y="244"/>
                  </a:lnTo>
                  <a:cubicBezTo>
                    <a:pt x="237" y="229"/>
                    <a:pt x="245" y="214"/>
                    <a:pt x="237" y="198"/>
                  </a:cubicBezTo>
                  <a:cubicBezTo>
                    <a:pt x="229" y="183"/>
                    <a:pt x="199" y="191"/>
                    <a:pt x="184" y="175"/>
                  </a:cubicBezTo>
                  <a:cubicBezTo>
                    <a:pt x="168" y="168"/>
                    <a:pt x="153" y="145"/>
                    <a:pt x="153" y="130"/>
                  </a:cubicBezTo>
                  <a:cubicBezTo>
                    <a:pt x="161" y="114"/>
                    <a:pt x="199" y="122"/>
                    <a:pt x="199" y="107"/>
                  </a:cubicBezTo>
                  <a:cubicBezTo>
                    <a:pt x="199" y="76"/>
                    <a:pt x="168" y="61"/>
                    <a:pt x="153" y="38"/>
                  </a:cubicBezTo>
                  <a:lnTo>
                    <a:pt x="153" y="38"/>
                  </a:lnTo>
                  <a:cubicBezTo>
                    <a:pt x="123" y="30"/>
                    <a:pt x="100" y="0"/>
                    <a:pt x="69" y="8"/>
                  </a:cubicBezTo>
                  <a:cubicBezTo>
                    <a:pt x="54" y="8"/>
                    <a:pt x="62" y="46"/>
                    <a:pt x="46" y="61"/>
                  </a:cubicBezTo>
                  <a:cubicBezTo>
                    <a:pt x="39" y="69"/>
                    <a:pt x="31" y="69"/>
                    <a:pt x="31" y="76"/>
                  </a:cubicBezTo>
                  <a:cubicBezTo>
                    <a:pt x="23" y="84"/>
                    <a:pt x="46" y="91"/>
                    <a:pt x="46" y="99"/>
                  </a:cubicBezTo>
                  <a:cubicBezTo>
                    <a:pt x="39" y="137"/>
                    <a:pt x="0" y="168"/>
                    <a:pt x="16" y="206"/>
                  </a:cubicBezTo>
                  <a:cubicBezTo>
                    <a:pt x="23" y="229"/>
                    <a:pt x="69" y="214"/>
                    <a:pt x="100" y="22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91" name="Freeform 113"/>
            <p:cNvSpPr>
              <a:spLocks noChangeArrowheads="1"/>
            </p:cNvSpPr>
            <p:nvPr/>
          </p:nvSpPr>
          <p:spPr bwMode="auto">
            <a:xfrm>
              <a:off x="7181383" y="5954714"/>
              <a:ext cx="131754" cy="109537"/>
            </a:xfrm>
            <a:custGeom>
              <a:avLst/>
              <a:gdLst>
                <a:gd name="T0" fmla="*/ 366 w 367"/>
                <a:gd name="T1" fmla="*/ 229 h 306"/>
                <a:gd name="T2" fmla="*/ 366 w 367"/>
                <a:gd name="T3" fmla="*/ 229 h 306"/>
                <a:gd name="T4" fmla="*/ 343 w 367"/>
                <a:gd name="T5" fmla="*/ 298 h 306"/>
                <a:gd name="T6" fmla="*/ 343 w 367"/>
                <a:gd name="T7" fmla="*/ 298 h 306"/>
                <a:gd name="T8" fmla="*/ 237 w 367"/>
                <a:gd name="T9" fmla="*/ 305 h 306"/>
                <a:gd name="T10" fmla="*/ 183 w 367"/>
                <a:gd name="T11" fmla="*/ 305 h 306"/>
                <a:gd name="T12" fmla="*/ 107 w 367"/>
                <a:gd name="T13" fmla="*/ 260 h 306"/>
                <a:gd name="T14" fmla="*/ 84 w 367"/>
                <a:gd name="T15" fmla="*/ 283 h 306"/>
                <a:gd name="T16" fmla="*/ 0 w 367"/>
                <a:gd name="T17" fmla="*/ 260 h 306"/>
                <a:gd name="T18" fmla="*/ 0 w 367"/>
                <a:gd name="T19" fmla="*/ 260 h 306"/>
                <a:gd name="T20" fmla="*/ 46 w 367"/>
                <a:gd name="T21" fmla="*/ 191 h 306"/>
                <a:gd name="T22" fmla="*/ 61 w 367"/>
                <a:gd name="T23" fmla="*/ 115 h 306"/>
                <a:gd name="T24" fmla="*/ 153 w 367"/>
                <a:gd name="T25" fmla="*/ 31 h 306"/>
                <a:gd name="T26" fmla="*/ 244 w 367"/>
                <a:gd name="T27" fmla="*/ 0 h 306"/>
                <a:gd name="T28" fmla="*/ 244 w 367"/>
                <a:gd name="T29" fmla="*/ 0 h 306"/>
                <a:gd name="T30" fmla="*/ 313 w 367"/>
                <a:gd name="T31" fmla="*/ 61 h 306"/>
                <a:gd name="T32" fmla="*/ 321 w 367"/>
                <a:gd name="T33" fmla="*/ 76 h 306"/>
                <a:gd name="T34" fmla="*/ 366 w 367"/>
                <a:gd name="T35" fmla="*/ 229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7" h="306">
                  <a:moveTo>
                    <a:pt x="366" y="229"/>
                  </a:moveTo>
                  <a:lnTo>
                    <a:pt x="366" y="229"/>
                  </a:lnTo>
                  <a:cubicBezTo>
                    <a:pt x="343" y="298"/>
                    <a:pt x="343" y="298"/>
                    <a:pt x="343" y="298"/>
                  </a:cubicBezTo>
                  <a:lnTo>
                    <a:pt x="343" y="298"/>
                  </a:lnTo>
                  <a:cubicBezTo>
                    <a:pt x="305" y="298"/>
                    <a:pt x="275" y="305"/>
                    <a:pt x="237" y="305"/>
                  </a:cubicBezTo>
                  <a:cubicBezTo>
                    <a:pt x="214" y="305"/>
                    <a:pt x="199" y="305"/>
                    <a:pt x="183" y="305"/>
                  </a:cubicBezTo>
                  <a:cubicBezTo>
                    <a:pt x="153" y="290"/>
                    <a:pt x="137" y="267"/>
                    <a:pt x="107" y="260"/>
                  </a:cubicBezTo>
                  <a:cubicBezTo>
                    <a:pt x="99" y="252"/>
                    <a:pt x="99" y="283"/>
                    <a:pt x="84" y="283"/>
                  </a:cubicBezTo>
                  <a:cubicBezTo>
                    <a:pt x="53" y="283"/>
                    <a:pt x="30" y="267"/>
                    <a:pt x="0" y="260"/>
                  </a:cubicBezTo>
                  <a:lnTo>
                    <a:pt x="0" y="260"/>
                  </a:lnTo>
                  <a:cubicBezTo>
                    <a:pt x="15" y="237"/>
                    <a:pt x="38" y="214"/>
                    <a:pt x="46" y="191"/>
                  </a:cubicBezTo>
                  <a:cubicBezTo>
                    <a:pt x="53" y="168"/>
                    <a:pt x="53" y="137"/>
                    <a:pt x="61" y="115"/>
                  </a:cubicBezTo>
                  <a:cubicBezTo>
                    <a:pt x="84" y="84"/>
                    <a:pt x="122" y="53"/>
                    <a:pt x="153" y="31"/>
                  </a:cubicBezTo>
                  <a:cubicBezTo>
                    <a:pt x="183" y="8"/>
                    <a:pt x="214" y="8"/>
                    <a:pt x="244" y="0"/>
                  </a:cubicBezTo>
                  <a:lnTo>
                    <a:pt x="244" y="0"/>
                  </a:lnTo>
                  <a:cubicBezTo>
                    <a:pt x="282" y="23"/>
                    <a:pt x="313" y="46"/>
                    <a:pt x="313" y="61"/>
                  </a:cubicBezTo>
                  <a:cubicBezTo>
                    <a:pt x="321" y="61"/>
                    <a:pt x="321" y="69"/>
                    <a:pt x="321" y="76"/>
                  </a:cubicBezTo>
                  <a:cubicBezTo>
                    <a:pt x="252" y="92"/>
                    <a:pt x="359" y="198"/>
                    <a:pt x="366" y="229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92" name="Freeform 114"/>
            <p:cNvSpPr>
              <a:spLocks noChangeArrowheads="1"/>
            </p:cNvSpPr>
            <p:nvPr/>
          </p:nvSpPr>
          <p:spPr bwMode="auto">
            <a:xfrm>
              <a:off x="7143285" y="6045200"/>
              <a:ext cx="161914" cy="171450"/>
            </a:xfrm>
            <a:custGeom>
              <a:avLst/>
              <a:gdLst>
                <a:gd name="T0" fmla="*/ 23 w 451"/>
                <a:gd name="T1" fmla="*/ 130 h 475"/>
                <a:gd name="T2" fmla="*/ 23 w 451"/>
                <a:gd name="T3" fmla="*/ 130 h 475"/>
                <a:gd name="T4" fmla="*/ 15 w 451"/>
                <a:gd name="T5" fmla="*/ 84 h 475"/>
                <a:gd name="T6" fmla="*/ 84 w 451"/>
                <a:gd name="T7" fmla="*/ 69 h 475"/>
                <a:gd name="T8" fmla="*/ 107 w 451"/>
                <a:gd name="T9" fmla="*/ 8 h 475"/>
                <a:gd name="T10" fmla="*/ 107 w 451"/>
                <a:gd name="T11" fmla="*/ 8 h 475"/>
                <a:gd name="T12" fmla="*/ 191 w 451"/>
                <a:gd name="T13" fmla="*/ 31 h 475"/>
                <a:gd name="T14" fmla="*/ 214 w 451"/>
                <a:gd name="T15" fmla="*/ 8 h 475"/>
                <a:gd name="T16" fmla="*/ 290 w 451"/>
                <a:gd name="T17" fmla="*/ 53 h 475"/>
                <a:gd name="T18" fmla="*/ 344 w 451"/>
                <a:gd name="T19" fmla="*/ 53 h 475"/>
                <a:gd name="T20" fmla="*/ 450 w 451"/>
                <a:gd name="T21" fmla="*/ 46 h 475"/>
                <a:gd name="T22" fmla="*/ 450 w 451"/>
                <a:gd name="T23" fmla="*/ 46 h 475"/>
                <a:gd name="T24" fmla="*/ 443 w 451"/>
                <a:gd name="T25" fmla="*/ 99 h 475"/>
                <a:gd name="T26" fmla="*/ 397 w 451"/>
                <a:gd name="T27" fmla="*/ 168 h 475"/>
                <a:gd name="T28" fmla="*/ 397 w 451"/>
                <a:gd name="T29" fmla="*/ 168 h 475"/>
                <a:gd name="T30" fmla="*/ 313 w 451"/>
                <a:gd name="T31" fmla="*/ 138 h 475"/>
                <a:gd name="T32" fmla="*/ 290 w 451"/>
                <a:gd name="T33" fmla="*/ 191 h 475"/>
                <a:gd name="T34" fmla="*/ 275 w 451"/>
                <a:gd name="T35" fmla="*/ 206 h 475"/>
                <a:gd name="T36" fmla="*/ 290 w 451"/>
                <a:gd name="T37" fmla="*/ 229 h 475"/>
                <a:gd name="T38" fmla="*/ 260 w 451"/>
                <a:gd name="T39" fmla="*/ 336 h 475"/>
                <a:gd name="T40" fmla="*/ 344 w 451"/>
                <a:gd name="T41" fmla="*/ 351 h 475"/>
                <a:gd name="T42" fmla="*/ 344 w 451"/>
                <a:gd name="T43" fmla="*/ 351 h 475"/>
                <a:gd name="T44" fmla="*/ 321 w 451"/>
                <a:gd name="T45" fmla="*/ 397 h 475"/>
                <a:gd name="T46" fmla="*/ 275 w 451"/>
                <a:gd name="T47" fmla="*/ 420 h 475"/>
                <a:gd name="T48" fmla="*/ 176 w 451"/>
                <a:gd name="T49" fmla="*/ 474 h 475"/>
                <a:gd name="T50" fmla="*/ 168 w 451"/>
                <a:gd name="T51" fmla="*/ 458 h 475"/>
                <a:gd name="T52" fmla="*/ 137 w 451"/>
                <a:gd name="T53" fmla="*/ 466 h 475"/>
                <a:gd name="T54" fmla="*/ 130 w 451"/>
                <a:gd name="T55" fmla="*/ 413 h 475"/>
                <a:gd name="T56" fmla="*/ 99 w 451"/>
                <a:gd name="T57" fmla="*/ 413 h 475"/>
                <a:gd name="T58" fmla="*/ 76 w 451"/>
                <a:gd name="T59" fmla="*/ 397 h 475"/>
                <a:gd name="T60" fmla="*/ 69 w 451"/>
                <a:gd name="T61" fmla="*/ 443 h 475"/>
                <a:gd name="T62" fmla="*/ 38 w 451"/>
                <a:gd name="T63" fmla="*/ 405 h 475"/>
                <a:gd name="T64" fmla="*/ 38 w 451"/>
                <a:gd name="T65" fmla="*/ 405 h 475"/>
                <a:gd name="T66" fmla="*/ 46 w 451"/>
                <a:gd name="T67" fmla="*/ 321 h 475"/>
                <a:gd name="T68" fmla="*/ 8 w 451"/>
                <a:gd name="T69" fmla="*/ 252 h 475"/>
                <a:gd name="T70" fmla="*/ 61 w 451"/>
                <a:gd name="T71" fmla="*/ 199 h 475"/>
                <a:gd name="T72" fmla="*/ 61 w 451"/>
                <a:gd name="T73" fmla="*/ 130 h 475"/>
                <a:gd name="T74" fmla="*/ 23 w 451"/>
                <a:gd name="T75" fmla="*/ 13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1" h="475">
                  <a:moveTo>
                    <a:pt x="23" y="130"/>
                  </a:moveTo>
                  <a:lnTo>
                    <a:pt x="23" y="130"/>
                  </a:lnTo>
                  <a:cubicBezTo>
                    <a:pt x="23" y="115"/>
                    <a:pt x="0" y="99"/>
                    <a:pt x="15" y="84"/>
                  </a:cubicBezTo>
                  <a:cubicBezTo>
                    <a:pt x="31" y="69"/>
                    <a:pt x="69" y="84"/>
                    <a:pt x="84" y="69"/>
                  </a:cubicBezTo>
                  <a:cubicBezTo>
                    <a:pt x="107" y="53"/>
                    <a:pt x="99" y="23"/>
                    <a:pt x="107" y="8"/>
                  </a:cubicBezTo>
                  <a:lnTo>
                    <a:pt x="107" y="8"/>
                  </a:lnTo>
                  <a:cubicBezTo>
                    <a:pt x="137" y="15"/>
                    <a:pt x="160" y="31"/>
                    <a:pt x="191" y="31"/>
                  </a:cubicBezTo>
                  <a:cubicBezTo>
                    <a:pt x="206" y="31"/>
                    <a:pt x="206" y="0"/>
                    <a:pt x="214" y="8"/>
                  </a:cubicBezTo>
                  <a:cubicBezTo>
                    <a:pt x="244" y="15"/>
                    <a:pt x="260" y="38"/>
                    <a:pt x="290" y="53"/>
                  </a:cubicBezTo>
                  <a:cubicBezTo>
                    <a:pt x="306" y="53"/>
                    <a:pt x="321" y="53"/>
                    <a:pt x="344" y="53"/>
                  </a:cubicBezTo>
                  <a:cubicBezTo>
                    <a:pt x="382" y="53"/>
                    <a:pt x="412" y="46"/>
                    <a:pt x="450" y="46"/>
                  </a:cubicBezTo>
                  <a:lnTo>
                    <a:pt x="450" y="46"/>
                  </a:lnTo>
                  <a:cubicBezTo>
                    <a:pt x="443" y="99"/>
                    <a:pt x="443" y="99"/>
                    <a:pt x="443" y="99"/>
                  </a:cubicBezTo>
                  <a:cubicBezTo>
                    <a:pt x="397" y="168"/>
                    <a:pt x="397" y="168"/>
                    <a:pt x="397" y="168"/>
                  </a:cubicBezTo>
                  <a:lnTo>
                    <a:pt x="397" y="168"/>
                  </a:lnTo>
                  <a:cubicBezTo>
                    <a:pt x="367" y="160"/>
                    <a:pt x="344" y="130"/>
                    <a:pt x="313" y="138"/>
                  </a:cubicBezTo>
                  <a:cubicBezTo>
                    <a:pt x="298" y="138"/>
                    <a:pt x="306" y="176"/>
                    <a:pt x="290" y="191"/>
                  </a:cubicBezTo>
                  <a:cubicBezTo>
                    <a:pt x="283" y="199"/>
                    <a:pt x="275" y="199"/>
                    <a:pt x="275" y="206"/>
                  </a:cubicBezTo>
                  <a:cubicBezTo>
                    <a:pt x="267" y="214"/>
                    <a:pt x="290" y="221"/>
                    <a:pt x="290" y="229"/>
                  </a:cubicBezTo>
                  <a:cubicBezTo>
                    <a:pt x="283" y="267"/>
                    <a:pt x="244" y="298"/>
                    <a:pt x="260" y="336"/>
                  </a:cubicBezTo>
                  <a:cubicBezTo>
                    <a:pt x="267" y="359"/>
                    <a:pt x="313" y="344"/>
                    <a:pt x="344" y="351"/>
                  </a:cubicBezTo>
                  <a:lnTo>
                    <a:pt x="344" y="351"/>
                  </a:lnTo>
                  <a:cubicBezTo>
                    <a:pt x="336" y="367"/>
                    <a:pt x="336" y="382"/>
                    <a:pt x="321" y="397"/>
                  </a:cubicBezTo>
                  <a:cubicBezTo>
                    <a:pt x="313" y="405"/>
                    <a:pt x="290" y="413"/>
                    <a:pt x="275" y="420"/>
                  </a:cubicBezTo>
                  <a:cubicBezTo>
                    <a:pt x="244" y="435"/>
                    <a:pt x="214" y="458"/>
                    <a:pt x="176" y="474"/>
                  </a:cubicBezTo>
                  <a:cubicBezTo>
                    <a:pt x="176" y="474"/>
                    <a:pt x="176" y="458"/>
                    <a:pt x="168" y="458"/>
                  </a:cubicBezTo>
                  <a:cubicBezTo>
                    <a:pt x="160" y="458"/>
                    <a:pt x="145" y="474"/>
                    <a:pt x="137" y="466"/>
                  </a:cubicBezTo>
                  <a:cubicBezTo>
                    <a:pt x="122" y="451"/>
                    <a:pt x="137" y="428"/>
                    <a:pt x="130" y="413"/>
                  </a:cubicBezTo>
                  <a:cubicBezTo>
                    <a:pt x="122" y="405"/>
                    <a:pt x="107" y="420"/>
                    <a:pt x="99" y="413"/>
                  </a:cubicBezTo>
                  <a:cubicBezTo>
                    <a:pt x="92" y="413"/>
                    <a:pt x="84" y="397"/>
                    <a:pt x="76" y="397"/>
                  </a:cubicBezTo>
                  <a:cubicBezTo>
                    <a:pt x="69" y="413"/>
                    <a:pt x="84" y="443"/>
                    <a:pt x="69" y="443"/>
                  </a:cubicBezTo>
                  <a:cubicBezTo>
                    <a:pt x="53" y="443"/>
                    <a:pt x="46" y="420"/>
                    <a:pt x="38" y="405"/>
                  </a:cubicBezTo>
                  <a:lnTo>
                    <a:pt x="38" y="405"/>
                  </a:lnTo>
                  <a:cubicBezTo>
                    <a:pt x="38" y="382"/>
                    <a:pt x="53" y="351"/>
                    <a:pt x="46" y="321"/>
                  </a:cubicBezTo>
                  <a:cubicBezTo>
                    <a:pt x="46" y="298"/>
                    <a:pt x="8" y="275"/>
                    <a:pt x="8" y="252"/>
                  </a:cubicBezTo>
                  <a:cubicBezTo>
                    <a:pt x="15" y="221"/>
                    <a:pt x="53" y="221"/>
                    <a:pt x="61" y="199"/>
                  </a:cubicBezTo>
                  <a:cubicBezTo>
                    <a:pt x="76" y="183"/>
                    <a:pt x="76" y="153"/>
                    <a:pt x="61" y="130"/>
                  </a:cubicBezTo>
                  <a:cubicBezTo>
                    <a:pt x="61" y="122"/>
                    <a:pt x="38" y="130"/>
                    <a:pt x="23" y="13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93" name="Freeform 115"/>
            <p:cNvSpPr>
              <a:spLocks noChangeArrowheads="1"/>
            </p:cNvSpPr>
            <p:nvPr/>
          </p:nvSpPr>
          <p:spPr bwMode="auto">
            <a:xfrm>
              <a:off x="7286151" y="6037263"/>
              <a:ext cx="225410" cy="157162"/>
            </a:xfrm>
            <a:custGeom>
              <a:avLst/>
              <a:gdLst>
                <a:gd name="T0" fmla="*/ 626 w 627"/>
                <a:gd name="T1" fmla="*/ 222 h 437"/>
                <a:gd name="T2" fmla="*/ 626 w 627"/>
                <a:gd name="T3" fmla="*/ 222 h 437"/>
                <a:gd name="T4" fmla="*/ 558 w 627"/>
                <a:gd name="T5" fmla="*/ 290 h 437"/>
                <a:gd name="T6" fmla="*/ 527 w 627"/>
                <a:gd name="T7" fmla="*/ 382 h 437"/>
                <a:gd name="T8" fmla="*/ 542 w 627"/>
                <a:gd name="T9" fmla="*/ 420 h 437"/>
                <a:gd name="T10" fmla="*/ 481 w 627"/>
                <a:gd name="T11" fmla="*/ 413 h 437"/>
                <a:gd name="T12" fmla="*/ 397 w 627"/>
                <a:gd name="T13" fmla="*/ 436 h 437"/>
                <a:gd name="T14" fmla="*/ 328 w 627"/>
                <a:gd name="T15" fmla="*/ 397 h 437"/>
                <a:gd name="T16" fmla="*/ 267 w 627"/>
                <a:gd name="T17" fmla="*/ 390 h 437"/>
                <a:gd name="T18" fmla="*/ 252 w 627"/>
                <a:gd name="T19" fmla="*/ 413 h 437"/>
                <a:gd name="T20" fmla="*/ 176 w 627"/>
                <a:gd name="T21" fmla="*/ 390 h 437"/>
                <a:gd name="T22" fmla="*/ 138 w 627"/>
                <a:gd name="T23" fmla="*/ 405 h 437"/>
                <a:gd name="T24" fmla="*/ 84 w 627"/>
                <a:gd name="T25" fmla="*/ 397 h 437"/>
                <a:gd name="T26" fmla="*/ 84 w 627"/>
                <a:gd name="T27" fmla="*/ 397 h 437"/>
                <a:gd name="T28" fmla="*/ 84 w 627"/>
                <a:gd name="T29" fmla="*/ 351 h 437"/>
                <a:gd name="T30" fmla="*/ 31 w 627"/>
                <a:gd name="T31" fmla="*/ 328 h 437"/>
                <a:gd name="T32" fmla="*/ 0 w 627"/>
                <a:gd name="T33" fmla="*/ 283 h 437"/>
                <a:gd name="T34" fmla="*/ 46 w 627"/>
                <a:gd name="T35" fmla="*/ 260 h 437"/>
                <a:gd name="T36" fmla="*/ 0 w 627"/>
                <a:gd name="T37" fmla="*/ 191 h 437"/>
                <a:gd name="T38" fmla="*/ 0 w 627"/>
                <a:gd name="T39" fmla="*/ 191 h 437"/>
                <a:gd name="T40" fmla="*/ 46 w 627"/>
                <a:gd name="T41" fmla="*/ 122 h 437"/>
                <a:gd name="T42" fmla="*/ 53 w 627"/>
                <a:gd name="T43" fmla="*/ 69 h 437"/>
                <a:gd name="T44" fmla="*/ 53 w 627"/>
                <a:gd name="T45" fmla="*/ 69 h 437"/>
                <a:gd name="T46" fmla="*/ 76 w 627"/>
                <a:gd name="T47" fmla="*/ 0 h 437"/>
                <a:gd name="T48" fmla="*/ 76 w 627"/>
                <a:gd name="T49" fmla="*/ 0 h 437"/>
                <a:gd name="T50" fmla="*/ 260 w 627"/>
                <a:gd name="T51" fmla="*/ 76 h 437"/>
                <a:gd name="T52" fmla="*/ 626 w 627"/>
                <a:gd name="T53" fmla="*/ 22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7" h="437">
                  <a:moveTo>
                    <a:pt x="626" y="222"/>
                  </a:moveTo>
                  <a:lnTo>
                    <a:pt x="626" y="222"/>
                  </a:lnTo>
                  <a:cubicBezTo>
                    <a:pt x="596" y="252"/>
                    <a:pt x="573" y="260"/>
                    <a:pt x="558" y="290"/>
                  </a:cubicBezTo>
                  <a:cubicBezTo>
                    <a:pt x="535" y="321"/>
                    <a:pt x="535" y="351"/>
                    <a:pt x="527" y="382"/>
                  </a:cubicBezTo>
                  <a:cubicBezTo>
                    <a:pt x="527" y="397"/>
                    <a:pt x="550" y="413"/>
                    <a:pt x="542" y="420"/>
                  </a:cubicBezTo>
                  <a:cubicBezTo>
                    <a:pt x="527" y="428"/>
                    <a:pt x="504" y="413"/>
                    <a:pt x="481" y="413"/>
                  </a:cubicBezTo>
                  <a:cubicBezTo>
                    <a:pt x="451" y="413"/>
                    <a:pt x="428" y="436"/>
                    <a:pt x="397" y="436"/>
                  </a:cubicBezTo>
                  <a:cubicBezTo>
                    <a:pt x="367" y="428"/>
                    <a:pt x="351" y="405"/>
                    <a:pt x="328" y="397"/>
                  </a:cubicBezTo>
                  <a:cubicBezTo>
                    <a:pt x="306" y="390"/>
                    <a:pt x="283" y="382"/>
                    <a:pt x="267" y="390"/>
                  </a:cubicBezTo>
                  <a:cubicBezTo>
                    <a:pt x="260" y="390"/>
                    <a:pt x="260" y="413"/>
                    <a:pt x="252" y="413"/>
                  </a:cubicBezTo>
                  <a:cubicBezTo>
                    <a:pt x="229" y="413"/>
                    <a:pt x="199" y="397"/>
                    <a:pt x="176" y="390"/>
                  </a:cubicBezTo>
                  <a:cubicBezTo>
                    <a:pt x="176" y="390"/>
                    <a:pt x="145" y="405"/>
                    <a:pt x="138" y="405"/>
                  </a:cubicBezTo>
                  <a:cubicBezTo>
                    <a:pt x="130" y="405"/>
                    <a:pt x="84" y="397"/>
                    <a:pt x="84" y="397"/>
                  </a:cubicBezTo>
                  <a:lnTo>
                    <a:pt x="84" y="397"/>
                  </a:lnTo>
                  <a:cubicBezTo>
                    <a:pt x="84" y="382"/>
                    <a:pt x="92" y="367"/>
                    <a:pt x="84" y="351"/>
                  </a:cubicBezTo>
                  <a:cubicBezTo>
                    <a:pt x="76" y="336"/>
                    <a:pt x="46" y="344"/>
                    <a:pt x="31" y="328"/>
                  </a:cubicBezTo>
                  <a:cubicBezTo>
                    <a:pt x="15" y="321"/>
                    <a:pt x="0" y="298"/>
                    <a:pt x="0" y="283"/>
                  </a:cubicBezTo>
                  <a:cubicBezTo>
                    <a:pt x="8" y="267"/>
                    <a:pt x="46" y="275"/>
                    <a:pt x="46" y="260"/>
                  </a:cubicBezTo>
                  <a:cubicBezTo>
                    <a:pt x="46" y="229"/>
                    <a:pt x="15" y="214"/>
                    <a:pt x="0" y="191"/>
                  </a:cubicBezTo>
                  <a:lnTo>
                    <a:pt x="0" y="191"/>
                  </a:lnTo>
                  <a:cubicBezTo>
                    <a:pt x="46" y="122"/>
                    <a:pt x="46" y="122"/>
                    <a:pt x="46" y="122"/>
                  </a:cubicBezTo>
                  <a:cubicBezTo>
                    <a:pt x="53" y="69"/>
                    <a:pt x="53" y="69"/>
                    <a:pt x="53" y="69"/>
                  </a:cubicBezTo>
                  <a:lnTo>
                    <a:pt x="53" y="69"/>
                  </a:lnTo>
                  <a:cubicBezTo>
                    <a:pt x="76" y="0"/>
                    <a:pt x="76" y="0"/>
                    <a:pt x="76" y="0"/>
                  </a:cubicBezTo>
                  <a:lnTo>
                    <a:pt x="76" y="0"/>
                  </a:lnTo>
                  <a:cubicBezTo>
                    <a:pt x="107" y="0"/>
                    <a:pt x="229" y="61"/>
                    <a:pt x="260" y="76"/>
                  </a:cubicBezTo>
                  <a:cubicBezTo>
                    <a:pt x="367" y="138"/>
                    <a:pt x="504" y="168"/>
                    <a:pt x="626" y="22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94" name="Freeform 116"/>
            <p:cNvSpPr>
              <a:spLocks noChangeArrowheads="1"/>
            </p:cNvSpPr>
            <p:nvPr/>
          </p:nvSpPr>
          <p:spPr bwMode="auto">
            <a:xfrm>
              <a:off x="6436894" y="4873625"/>
              <a:ext cx="709566" cy="1036638"/>
            </a:xfrm>
            <a:custGeom>
              <a:avLst/>
              <a:gdLst>
                <a:gd name="T0" fmla="*/ 1482 w 1972"/>
                <a:gd name="T1" fmla="*/ 2360 h 2880"/>
                <a:gd name="T2" fmla="*/ 1413 w 1972"/>
                <a:gd name="T3" fmla="*/ 2375 h 2880"/>
                <a:gd name="T4" fmla="*/ 1390 w 1972"/>
                <a:gd name="T5" fmla="*/ 2474 h 2880"/>
                <a:gd name="T6" fmla="*/ 1390 w 1972"/>
                <a:gd name="T7" fmla="*/ 2558 h 2880"/>
                <a:gd name="T8" fmla="*/ 1352 w 1972"/>
                <a:gd name="T9" fmla="*/ 2604 h 2880"/>
                <a:gd name="T10" fmla="*/ 1260 w 1972"/>
                <a:gd name="T11" fmla="*/ 2734 h 2880"/>
                <a:gd name="T12" fmla="*/ 1138 w 1972"/>
                <a:gd name="T13" fmla="*/ 2657 h 2880"/>
                <a:gd name="T14" fmla="*/ 1000 w 1972"/>
                <a:gd name="T15" fmla="*/ 2734 h 2880"/>
                <a:gd name="T16" fmla="*/ 901 w 1972"/>
                <a:gd name="T17" fmla="*/ 2780 h 2880"/>
                <a:gd name="T18" fmla="*/ 825 w 1972"/>
                <a:gd name="T19" fmla="*/ 2810 h 2880"/>
                <a:gd name="T20" fmla="*/ 718 w 1972"/>
                <a:gd name="T21" fmla="*/ 2840 h 2880"/>
                <a:gd name="T22" fmla="*/ 641 w 1972"/>
                <a:gd name="T23" fmla="*/ 2856 h 2880"/>
                <a:gd name="T24" fmla="*/ 588 w 1972"/>
                <a:gd name="T25" fmla="*/ 2802 h 2880"/>
                <a:gd name="T26" fmla="*/ 496 w 1972"/>
                <a:gd name="T27" fmla="*/ 2688 h 2880"/>
                <a:gd name="T28" fmla="*/ 428 w 1972"/>
                <a:gd name="T29" fmla="*/ 2741 h 2880"/>
                <a:gd name="T30" fmla="*/ 313 w 1972"/>
                <a:gd name="T31" fmla="*/ 2818 h 2880"/>
                <a:gd name="T32" fmla="*/ 244 w 1972"/>
                <a:gd name="T33" fmla="*/ 2703 h 2880"/>
                <a:gd name="T34" fmla="*/ 206 w 1972"/>
                <a:gd name="T35" fmla="*/ 2604 h 2880"/>
                <a:gd name="T36" fmla="*/ 290 w 1972"/>
                <a:gd name="T37" fmla="*/ 2482 h 2880"/>
                <a:gd name="T38" fmla="*/ 214 w 1972"/>
                <a:gd name="T39" fmla="*/ 2391 h 2880"/>
                <a:gd name="T40" fmla="*/ 267 w 1972"/>
                <a:gd name="T41" fmla="*/ 2261 h 2880"/>
                <a:gd name="T42" fmla="*/ 389 w 1972"/>
                <a:gd name="T43" fmla="*/ 2154 h 2880"/>
                <a:gd name="T44" fmla="*/ 366 w 1972"/>
                <a:gd name="T45" fmla="*/ 2070 h 2880"/>
                <a:gd name="T46" fmla="*/ 260 w 1972"/>
                <a:gd name="T47" fmla="*/ 2062 h 2880"/>
                <a:gd name="T48" fmla="*/ 160 w 1972"/>
                <a:gd name="T49" fmla="*/ 1956 h 2880"/>
                <a:gd name="T50" fmla="*/ 99 w 1972"/>
                <a:gd name="T51" fmla="*/ 1818 h 2880"/>
                <a:gd name="T52" fmla="*/ 0 w 1972"/>
                <a:gd name="T53" fmla="*/ 1764 h 2880"/>
                <a:gd name="T54" fmla="*/ 69 w 1972"/>
                <a:gd name="T55" fmla="*/ 1642 h 2880"/>
                <a:gd name="T56" fmla="*/ 130 w 1972"/>
                <a:gd name="T57" fmla="*/ 1558 h 2880"/>
                <a:gd name="T58" fmla="*/ 237 w 1972"/>
                <a:gd name="T59" fmla="*/ 1383 h 2880"/>
                <a:gd name="T60" fmla="*/ 474 w 1972"/>
                <a:gd name="T61" fmla="*/ 1253 h 2880"/>
                <a:gd name="T62" fmla="*/ 542 w 1972"/>
                <a:gd name="T63" fmla="*/ 1253 h 2880"/>
                <a:gd name="T64" fmla="*/ 634 w 1972"/>
                <a:gd name="T65" fmla="*/ 1100 h 2880"/>
                <a:gd name="T66" fmla="*/ 802 w 1972"/>
                <a:gd name="T67" fmla="*/ 1008 h 2880"/>
                <a:gd name="T68" fmla="*/ 848 w 1972"/>
                <a:gd name="T69" fmla="*/ 939 h 2880"/>
                <a:gd name="T70" fmla="*/ 771 w 1972"/>
                <a:gd name="T71" fmla="*/ 886 h 2880"/>
                <a:gd name="T72" fmla="*/ 726 w 1972"/>
                <a:gd name="T73" fmla="*/ 695 h 2880"/>
                <a:gd name="T74" fmla="*/ 664 w 1972"/>
                <a:gd name="T75" fmla="*/ 642 h 2880"/>
                <a:gd name="T76" fmla="*/ 649 w 1972"/>
                <a:gd name="T77" fmla="*/ 573 h 2880"/>
                <a:gd name="T78" fmla="*/ 603 w 1972"/>
                <a:gd name="T79" fmla="*/ 520 h 2880"/>
                <a:gd name="T80" fmla="*/ 588 w 1972"/>
                <a:gd name="T81" fmla="*/ 458 h 2880"/>
                <a:gd name="T82" fmla="*/ 779 w 1972"/>
                <a:gd name="T83" fmla="*/ 344 h 2880"/>
                <a:gd name="T84" fmla="*/ 848 w 1972"/>
                <a:gd name="T85" fmla="*/ 245 h 2880"/>
                <a:gd name="T86" fmla="*/ 863 w 1972"/>
                <a:gd name="T87" fmla="*/ 229 h 2880"/>
                <a:gd name="T88" fmla="*/ 962 w 1972"/>
                <a:gd name="T89" fmla="*/ 130 h 2880"/>
                <a:gd name="T90" fmla="*/ 978 w 1972"/>
                <a:gd name="T91" fmla="*/ 53 h 2880"/>
                <a:gd name="T92" fmla="*/ 1008 w 1972"/>
                <a:gd name="T93" fmla="*/ 31 h 2880"/>
                <a:gd name="T94" fmla="*/ 1031 w 1972"/>
                <a:gd name="T95" fmla="*/ 15 h 2880"/>
                <a:gd name="T96" fmla="*/ 1046 w 1972"/>
                <a:gd name="T97" fmla="*/ 0 h 2880"/>
                <a:gd name="T98" fmla="*/ 1428 w 1972"/>
                <a:gd name="T99" fmla="*/ 351 h 2880"/>
                <a:gd name="T100" fmla="*/ 1512 w 1972"/>
                <a:gd name="T101" fmla="*/ 512 h 2880"/>
                <a:gd name="T102" fmla="*/ 1673 w 1972"/>
                <a:gd name="T103" fmla="*/ 733 h 2880"/>
                <a:gd name="T104" fmla="*/ 1749 w 1972"/>
                <a:gd name="T105" fmla="*/ 932 h 2880"/>
                <a:gd name="T106" fmla="*/ 1818 w 1972"/>
                <a:gd name="T107" fmla="*/ 1367 h 2880"/>
                <a:gd name="T108" fmla="*/ 1871 w 1972"/>
                <a:gd name="T109" fmla="*/ 1719 h 2880"/>
                <a:gd name="T110" fmla="*/ 1940 w 1972"/>
                <a:gd name="T111" fmla="*/ 2024 h 2880"/>
                <a:gd name="T112" fmla="*/ 1971 w 1972"/>
                <a:gd name="T113" fmla="*/ 2101 h 2880"/>
                <a:gd name="T114" fmla="*/ 1909 w 1972"/>
                <a:gd name="T115" fmla="*/ 2154 h 2880"/>
                <a:gd name="T116" fmla="*/ 1833 w 1972"/>
                <a:gd name="T117" fmla="*/ 2154 h 2880"/>
                <a:gd name="T118" fmla="*/ 1741 w 1972"/>
                <a:gd name="T119" fmla="*/ 2146 h 2880"/>
                <a:gd name="T120" fmla="*/ 1688 w 1972"/>
                <a:gd name="T121" fmla="*/ 2139 h 2880"/>
                <a:gd name="T122" fmla="*/ 1573 w 1972"/>
                <a:gd name="T123" fmla="*/ 2139 h 2880"/>
                <a:gd name="T124" fmla="*/ 1512 w 1972"/>
                <a:gd name="T125" fmla="*/ 2246 h 2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72" h="2880">
                  <a:moveTo>
                    <a:pt x="1482" y="2360"/>
                  </a:moveTo>
                  <a:lnTo>
                    <a:pt x="1482" y="2360"/>
                  </a:lnTo>
                  <a:cubicBezTo>
                    <a:pt x="1466" y="2360"/>
                    <a:pt x="1451" y="2353"/>
                    <a:pt x="1444" y="2353"/>
                  </a:cubicBezTo>
                  <a:cubicBezTo>
                    <a:pt x="1428" y="2360"/>
                    <a:pt x="1421" y="2368"/>
                    <a:pt x="1413" y="2375"/>
                  </a:cubicBezTo>
                  <a:cubicBezTo>
                    <a:pt x="1398" y="2398"/>
                    <a:pt x="1383" y="2414"/>
                    <a:pt x="1375" y="2437"/>
                  </a:cubicBezTo>
                  <a:cubicBezTo>
                    <a:pt x="1375" y="2452"/>
                    <a:pt x="1398" y="2459"/>
                    <a:pt x="1390" y="2474"/>
                  </a:cubicBezTo>
                  <a:cubicBezTo>
                    <a:pt x="1383" y="2489"/>
                    <a:pt x="1352" y="2497"/>
                    <a:pt x="1352" y="2512"/>
                  </a:cubicBezTo>
                  <a:cubicBezTo>
                    <a:pt x="1352" y="2535"/>
                    <a:pt x="1375" y="2543"/>
                    <a:pt x="1390" y="2558"/>
                  </a:cubicBezTo>
                  <a:lnTo>
                    <a:pt x="1390" y="2558"/>
                  </a:lnTo>
                  <a:cubicBezTo>
                    <a:pt x="1383" y="2573"/>
                    <a:pt x="1367" y="2588"/>
                    <a:pt x="1352" y="2604"/>
                  </a:cubicBezTo>
                  <a:cubicBezTo>
                    <a:pt x="1337" y="2634"/>
                    <a:pt x="1337" y="2672"/>
                    <a:pt x="1314" y="2695"/>
                  </a:cubicBezTo>
                  <a:cubicBezTo>
                    <a:pt x="1306" y="2718"/>
                    <a:pt x="1283" y="2734"/>
                    <a:pt x="1260" y="2734"/>
                  </a:cubicBezTo>
                  <a:cubicBezTo>
                    <a:pt x="1245" y="2734"/>
                    <a:pt x="1237" y="2703"/>
                    <a:pt x="1222" y="2695"/>
                  </a:cubicBezTo>
                  <a:cubicBezTo>
                    <a:pt x="1199" y="2680"/>
                    <a:pt x="1169" y="2657"/>
                    <a:pt x="1138" y="2657"/>
                  </a:cubicBezTo>
                  <a:cubicBezTo>
                    <a:pt x="1108" y="2665"/>
                    <a:pt x="1092" y="2703"/>
                    <a:pt x="1069" y="2711"/>
                  </a:cubicBezTo>
                  <a:cubicBezTo>
                    <a:pt x="1046" y="2726"/>
                    <a:pt x="1023" y="2734"/>
                    <a:pt x="1000" y="2734"/>
                  </a:cubicBezTo>
                  <a:cubicBezTo>
                    <a:pt x="970" y="2741"/>
                    <a:pt x="939" y="2718"/>
                    <a:pt x="909" y="2734"/>
                  </a:cubicBezTo>
                  <a:cubicBezTo>
                    <a:pt x="901" y="2741"/>
                    <a:pt x="909" y="2764"/>
                    <a:pt x="901" y="2780"/>
                  </a:cubicBezTo>
                  <a:cubicBezTo>
                    <a:pt x="894" y="2795"/>
                    <a:pt x="878" y="2802"/>
                    <a:pt x="871" y="2818"/>
                  </a:cubicBezTo>
                  <a:cubicBezTo>
                    <a:pt x="871" y="2818"/>
                    <a:pt x="833" y="2810"/>
                    <a:pt x="825" y="2810"/>
                  </a:cubicBezTo>
                  <a:cubicBezTo>
                    <a:pt x="817" y="2810"/>
                    <a:pt x="802" y="2879"/>
                    <a:pt x="802" y="2879"/>
                  </a:cubicBezTo>
                  <a:cubicBezTo>
                    <a:pt x="771" y="2871"/>
                    <a:pt x="748" y="2848"/>
                    <a:pt x="718" y="2840"/>
                  </a:cubicBezTo>
                  <a:cubicBezTo>
                    <a:pt x="687" y="2840"/>
                    <a:pt x="664" y="2856"/>
                    <a:pt x="641" y="2856"/>
                  </a:cubicBezTo>
                  <a:lnTo>
                    <a:pt x="641" y="2856"/>
                  </a:lnTo>
                  <a:cubicBezTo>
                    <a:pt x="634" y="2848"/>
                    <a:pt x="619" y="2848"/>
                    <a:pt x="603" y="2840"/>
                  </a:cubicBezTo>
                  <a:cubicBezTo>
                    <a:pt x="596" y="2825"/>
                    <a:pt x="596" y="2810"/>
                    <a:pt x="588" y="2802"/>
                  </a:cubicBezTo>
                  <a:cubicBezTo>
                    <a:pt x="573" y="2780"/>
                    <a:pt x="550" y="2764"/>
                    <a:pt x="527" y="2741"/>
                  </a:cubicBezTo>
                  <a:cubicBezTo>
                    <a:pt x="519" y="2726"/>
                    <a:pt x="512" y="2703"/>
                    <a:pt x="496" y="2688"/>
                  </a:cubicBezTo>
                  <a:cubicBezTo>
                    <a:pt x="489" y="2680"/>
                    <a:pt x="496" y="2703"/>
                    <a:pt x="489" y="2711"/>
                  </a:cubicBezTo>
                  <a:cubicBezTo>
                    <a:pt x="474" y="2726"/>
                    <a:pt x="443" y="2726"/>
                    <a:pt x="428" y="2741"/>
                  </a:cubicBezTo>
                  <a:cubicBezTo>
                    <a:pt x="405" y="2764"/>
                    <a:pt x="397" y="2795"/>
                    <a:pt x="374" y="2810"/>
                  </a:cubicBezTo>
                  <a:cubicBezTo>
                    <a:pt x="359" y="2825"/>
                    <a:pt x="336" y="2825"/>
                    <a:pt x="313" y="2818"/>
                  </a:cubicBezTo>
                  <a:cubicBezTo>
                    <a:pt x="298" y="2810"/>
                    <a:pt x="283" y="2787"/>
                    <a:pt x="267" y="2772"/>
                  </a:cubicBezTo>
                  <a:cubicBezTo>
                    <a:pt x="252" y="2749"/>
                    <a:pt x="252" y="2726"/>
                    <a:pt x="244" y="2703"/>
                  </a:cubicBezTo>
                  <a:cubicBezTo>
                    <a:pt x="244" y="2688"/>
                    <a:pt x="244" y="2672"/>
                    <a:pt x="237" y="2665"/>
                  </a:cubicBezTo>
                  <a:cubicBezTo>
                    <a:pt x="229" y="2642"/>
                    <a:pt x="199" y="2627"/>
                    <a:pt x="206" y="2604"/>
                  </a:cubicBezTo>
                  <a:cubicBezTo>
                    <a:pt x="206" y="2588"/>
                    <a:pt x="229" y="2573"/>
                    <a:pt x="244" y="2558"/>
                  </a:cubicBezTo>
                  <a:cubicBezTo>
                    <a:pt x="260" y="2535"/>
                    <a:pt x="283" y="2512"/>
                    <a:pt x="290" y="2482"/>
                  </a:cubicBezTo>
                  <a:cubicBezTo>
                    <a:pt x="290" y="2452"/>
                    <a:pt x="267" y="2429"/>
                    <a:pt x="252" y="2406"/>
                  </a:cubicBezTo>
                  <a:cubicBezTo>
                    <a:pt x="244" y="2391"/>
                    <a:pt x="214" y="2398"/>
                    <a:pt x="214" y="2391"/>
                  </a:cubicBezTo>
                  <a:cubicBezTo>
                    <a:pt x="214" y="2375"/>
                    <a:pt x="237" y="2375"/>
                    <a:pt x="244" y="2360"/>
                  </a:cubicBezTo>
                  <a:cubicBezTo>
                    <a:pt x="260" y="2330"/>
                    <a:pt x="244" y="2284"/>
                    <a:pt x="267" y="2261"/>
                  </a:cubicBezTo>
                  <a:cubicBezTo>
                    <a:pt x="298" y="2223"/>
                    <a:pt x="359" y="2231"/>
                    <a:pt x="397" y="2200"/>
                  </a:cubicBezTo>
                  <a:cubicBezTo>
                    <a:pt x="405" y="2192"/>
                    <a:pt x="397" y="2169"/>
                    <a:pt x="389" y="2154"/>
                  </a:cubicBezTo>
                  <a:cubicBezTo>
                    <a:pt x="389" y="2139"/>
                    <a:pt x="374" y="2131"/>
                    <a:pt x="366" y="2116"/>
                  </a:cubicBezTo>
                  <a:cubicBezTo>
                    <a:pt x="366" y="2101"/>
                    <a:pt x="382" y="2070"/>
                    <a:pt x="366" y="2070"/>
                  </a:cubicBezTo>
                  <a:cubicBezTo>
                    <a:pt x="344" y="2055"/>
                    <a:pt x="313" y="2085"/>
                    <a:pt x="283" y="2085"/>
                  </a:cubicBezTo>
                  <a:cubicBezTo>
                    <a:pt x="267" y="2085"/>
                    <a:pt x="267" y="2070"/>
                    <a:pt x="260" y="2062"/>
                  </a:cubicBezTo>
                  <a:cubicBezTo>
                    <a:pt x="244" y="2032"/>
                    <a:pt x="237" y="1994"/>
                    <a:pt x="214" y="1971"/>
                  </a:cubicBezTo>
                  <a:cubicBezTo>
                    <a:pt x="199" y="1956"/>
                    <a:pt x="176" y="1971"/>
                    <a:pt x="160" y="1956"/>
                  </a:cubicBezTo>
                  <a:cubicBezTo>
                    <a:pt x="145" y="1948"/>
                    <a:pt x="130" y="1933"/>
                    <a:pt x="122" y="1917"/>
                  </a:cubicBezTo>
                  <a:cubicBezTo>
                    <a:pt x="107" y="1887"/>
                    <a:pt x="122" y="1849"/>
                    <a:pt x="99" y="1818"/>
                  </a:cubicBezTo>
                  <a:cubicBezTo>
                    <a:pt x="76" y="1787"/>
                    <a:pt x="30" y="1780"/>
                    <a:pt x="0" y="1764"/>
                  </a:cubicBezTo>
                  <a:lnTo>
                    <a:pt x="0" y="1764"/>
                  </a:lnTo>
                  <a:cubicBezTo>
                    <a:pt x="8" y="1757"/>
                    <a:pt x="8" y="1749"/>
                    <a:pt x="8" y="1749"/>
                  </a:cubicBezTo>
                  <a:cubicBezTo>
                    <a:pt x="15" y="1726"/>
                    <a:pt x="46" y="1642"/>
                    <a:pt x="69" y="1642"/>
                  </a:cubicBezTo>
                  <a:cubicBezTo>
                    <a:pt x="84" y="1635"/>
                    <a:pt x="114" y="1635"/>
                    <a:pt x="114" y="1612"/>
                  </a:cubicBezTo>
                  <a:cubicBezTo>
                    <a:pt x="114" y="1589"/>
                    <a:pt x="130" y="1574"/>
                    <a:pt x="130" y="1558"/>
                  </a:cubicBezTo>
                  <a:cubicBezTo>
                    <a:pt x="76" y="1543"/>
                    <a:pt x="137" y="1489"/>
                    <a:pt x="145" y="1467"/>
                  </a:cubicBezTo>
                  <a:cubicBezTo>
                    <a:pt x="183" y="1436"/>
                    <a:pt x="206" y="1421"/>
                    <a:pt x="237" y="1383"/>
                  </a:cubicBezTo>
                  <a:cubicBezTo>
                    <a:pt x="267" y="1345"/>
                    <a:pt x="344" y="1268"/>
                    <a:pt x="389" y="1253"/>
                  </a:cubicBezTo>
                  <a:cubicBezTo>
                    <a:pt x="420" y="1245"/>
                    <a:pt x="451" y="1237"/>
                    <a:pt x="474" y="1253"/>
                  </a:cubicBezTo>
                  <a:cubicBezTo>
                    <a:pt x="481" y="1260"/>
                    <a:pt x="496" y="1283"/>
                    <a:pt x="504" y="1276"/>
                  </a:cubicBezTo>
                  <a:cubicBezTo>
                    <a:pt x="512" y="1276"/>
                    <a:pt x="535" y="1260"/>
                    <a:pt x="542" y="1253"/>
                  </a:cubicBezTo>
                  <a:cubicBezTo>
                    <a:pt x="596" y="1237"/>
                    <a:pt x="565" y="1123"/>
                    <a:pt x="588" y="1123"/>
                  </a:cubicBezTo>
                  <a:cubicBezTo>
                    <a:pt x="634" y="1100"/>
                    <a:pt x="634" y="1100"/>
                    <a:pt x="634" y="1100"/>
                  </a:cubicBezTo>
                  <a:cubicBezTo>
                    <a:pt x="664" y="1085"/>
                    <a:pt x="687" y="1047"/>
                    <a:pt x="726" y="1054"/>
                  </a:cubicBezTo>
                  <a:cubicBezTo>
                    <a:pt x="748" y="1062"/>
                    <a:pt x="787" y="1024"/>
                    <a:pt x="802" y="1008"/>
                  </a:cubicBezTo>
                  <a:cubicBezTo>
                    <a:pt x="810" y="1001"/>
                    <a:pt x="848" y="955"/>
                    <a:pt x="848" y="939"/>
                  </a:cubicBezTo>
                  <a:lnTo>
                    <a:pt x="848" y="939"/>
                  </a:lnTo>
                  <a:cubicBezTo>
                    <a:pt x="840" y="939"/>
                    <a:pt x="840" y="939"/>
                    <a:pt x="833" y="939"/>
                  </a:cubicBezTo>
                  <a:cubicBezTo>
                    <a:pt x="833" y="932"/>
                    <a:pt x="779" y="894"/>
                    <a:pt x="771" y="886"/>
                  </a:cubicBezTo>
                  <a:cubicBezTo>
                    <a:pt x="748" y="840"/>
                    <a:pt x="764" y="810"/>
                    <a:pt x="748" y="764"/>
                  </a:cubicBezTo>
                  <a:cubicBezTo>
                    <a:pt x="748" y="741"/>
                    <a:pt x="741" y="710"/>
                    <a:pt x="726" y="695"/>
                  </a:cubicBezTo>
                  <a:cubicBezTo>
                    <a:pt x="718" y="687"/>
                    <a:pt x="687" y="665"/>
                    <a:pt x="680" y="649"/>
                  </a:cubicBezTo>
                  <a:cubicBezTo>
                    <a:pt x="680" y="649"/>
                    <a:pt x="672" y="642"/>
                    <a:pt x="664" y="642"/>
                  </a:cubicBezTo>
                  <a:lnTo>
                    <a:pt x="657" y="642"/>
                  </a:lnTo>
                  <a:cubicBezTo>
                    <a:pt x="657" y="634"/>
                    <a:pt x="664" y="581"/>
                    <a:pt x="649" y="573"/>
                  </a:cubicBezTo>
                  <a:cubicBezTo>
                    <a:pt x="641" y="558"/>
                    <a:pt x="619" y="550"/>
                    <a:pt x="619" y="535"/>
                  </a:cubicBezTo>
                  <a:cubicBezTo>
                    <a:pt x="611" y="527"/>
                    <a:pt x="603" y="520"/>
                    <a:pt x="603" y="520"/>
                  </a:cubicBezTo>
                  <a:cubicBezTo>
                    <a:pt x="596" y="512"/>
                    <a:pt x="580" y="466"/>
                    <a:pt x="580" y="458"/>
                  </a:cubicBezTo>
                  <a:cubicBezTo>
                    <a:pt x="588" y="458"/>
                    <a:pt x="588" y="458"/>
                    <a:pt x="588" y="458"/>
                  </a:cubicBezTo>
                  <a:cubicBezTo>
                    <a:pt x="626" y="458"/>
                    <a:pt x="672" y="466"/>
                    <a:pt x="710" y="466"/>
                  </a:cubicBezTo>
                  <a:cubicBezTo>
                    <a:pt x="733" y="435"/>
                    <a:pt x="748" y="382"/>
                    <a:pt x="779" y="344"/>
                  </a:cubicBezTo>
                  <a:cubicBezTo>
                    <a:pt x="794" y="328"/>
                    <a:pt x="817" y="321"/>
                    <a:pt x="833" y="306"/>
                  </a:cubicBezTo>
                  <a:cubicBezTo>
                    <a:pt x="848" y="275"/>
                    <a:pt x="848" y="275"/>
                    <a:pt x="848" y="245"/>
                  </a:cubicBezTo>
                  <a:lnTo>
                    <a:pt x="848" y="237"/>
                  </a:lnTo>
                  <a:cubicBezTo>
                    <a:pt x="855" y="237"/>
                    <a:pt x="863" y="229"/>
                    <a:pt x="863" y="229"/>
                  </a:cubicBezTo>
                  <a:cubicBezTo>
                    <a:pt x="871" y="222"/>
                    <a:pt x="886" y="199"/>
                    <a:pt x="886" y="191"/>
                  </a:cubicBezTo>
                  <a:cubicBezTo>
                    <a:pt x="955" y="191"/>
                    <a:pt x="916" y="138"/>
                    <a:pt x="962" y="130"/>
                  </a:cubicBezTo>
                  <a:cubicBezTo>
                    <a:pt x="970" y="115"/>
                    <a:pt x="970" y="84"/>
                    <a:pt x="978" y="76"/>
                  </a:cubicBezTo>
                  <a:cubicBezTo>
                    <a:pt x="978" y="69"/>
                    <a:pt x="978" y="61"/>
                    <a:pt x="978" y="53"/>
                  </a:cubicBezTo>
                  <a:lnTo>
                    <a:pt x="985" y="46"/>
                  </a:lnTo>
                  <a:cubicBezTo>
                    <a:pt x="993" y="38"/>
                    <a:pt x="1000" y="31"/>
                    <a:pt x="1008" y="31"/>
                  </a:cubicBezTo>
                  <a:cubicBezTo>
                    <a:pt x="1008" y="23"/>
                    <a:pt x="1016" y="23"/>
                    <a:pt x="1016" y="23"/>
                  </a:cubicBezTo>
                  <a:cubicBezTo>
                    <a:pt x="1023" y="23"/>
                    <a:pt x="1031" y="15"/>
                    <a:pt x="1031" y="15"/>
                  </a:cubicBezTo>
                  <a:cubicBezTo>
                    <a:pt x="1046" y="0"/>
                    <a:pt x="1046" y="0"/>
                    <a:pt x="1046" y="0"/>
                  </a:cubicBezTo>
                  <a:lnTo>
                    <a:pt x="1046" y="0"/>
                  </a:lnTo>
                  <a:cubicBezTo>
                    <a:pt x="1069" y="46"/>
                    <a:pt x="1100" y="92"/>
                    <a:pt x="1123" y="130"/>
                  </a:cubicBezTo>
                  <a:cubicBezTo>
                    <a:pt x="1191" y="260"/>
                    <a:pt x="1306" y="306"/>
                    <a:pt x="1428" y="351"/>
                  </a:cubicBezTo>
                  <a:cubicBezTo>
                    <a:pt x="1482" y="367"/>
                    <a:pt x="1421" y="390"/>
                    <a:pt x="1421" y="413"/>
                  </a:cubicBezTo>
                  <a:cubicBezTo>
                    <a:pt x="1421" y="413"/>
                    <a:pt x="1497" y="504"/>
                    <a:pt x="1512" y="512"/>
                  </a:cubicBezTo>
                  <a:cubicBezTo>
                    <a:pt x="1566" y="542"/>
                    <a:pt x="1596" y="542"/>
                    <a:pt x="1635" y="611"/>
                  </a:cubicBezTo>
                  <a:cubicBezTo>
                    <a:pt x="1657" y="665"/>
                    <a:pt x="1673" y="672"/>
                    <a:pt x="1673" y="733"/>
                  </a:cubicBezTo>
                  <a:cubicBezTo>
                    <a:pt x="1673" y="779"/>
                    <a:pt x="1711" y="802"/>
                    <a:pt x="1711" y="840"/>
                  </a:cubicBezTo>
                  <a:cubicBezTo>
                    <a:pt x="1711" y="886"/>
                    <a:pt x="1749" y="871"/>
                    <a:pt x="1749" y="932"/>
                  </a:cubicBezTo>
                  <a:cubicBezTo>
                    <a:pt x="1741" y="985"/>
                    <a:pt x="1787" y="1092"/>
                    <a:pt x="1749" y="1138"/>
                  </a:cubicBezTo>
                  <a:cubicBezTo>
                    <a:pt x="1657" y="1253"/>
                    <a:pt x="1833" y="1329"/>
                    <a:pt x="1818" y="1367"/>
                  </a:cubicBezTo>
                  <a:cubicBezTo>
                    <a:pt x="1772" y="1444"/>
                    <a:pt x="1810" y="1581"/>
                    <a:pt x="1856" y="1650"/>
                  </a:cubicBezTo>
                  <a:cubicBezTo>
                    <a:pt x="1856" y="1673"/>
                    <a:pt x="1871" y="1696"/>
                    <a:pt x="1871" y="1719"/>
                  </a:cubicBezTo>
                  <a:cubicBezTo>
                    <a:pt x="1887" y="1749"/>
                    <a:pt x="1841" y="1772"/>
                    <a:pt x="1856" y="1818"/>
                  </a:cubicBezTo>
                  <a:cubicBezTo>
                    <a:pt x="1940" y="2024"/>
                    <a:pt x="1940" y="2024"/>
                    <a:pt x="1940" y="2024"/>
                  </a:cubicBezTo>
                  <a:cubicBezTo>
                    <a:pt x="1955" y="2047"/>
                    <a:pt x="1963" y="2078"/>
                    <a:pt x="1971" y="2101"/>
                  </a:cubicBezTo>
                  <a:lnTo>
                    <a:pt x="1971" y="2101"/>
                  </a:lnTo>
                  <a:cubicBezTo>
                    <a:pt x="1948" y="2108"/>
                    <a:pt x="1955" y="2101"/>
                    <a:pt x="1932" y="2116"/>
                  </a:cubicBezTo>
                  <a:cubicBezTo>
                    <a:pt x="1917" y="2123"/>
                    <a:pt x="1925" y="2139"/>
                    <a:pt x="1909" y="2154"/>
                  </a:cubicBezTo>
                  <a:cubicBezTo>
                    <a:pt x="1902" y="2162"/>
                    <a:pt x="1894" y="2169"/>
                    <a:pt x="1879" y="2169"/>
                  </a:cubicBezTo>
                  <a:cubicBezTo>
                    <a:pt x="1864" y="2177"/>
                    <a:pt x="1848" y="2162"/>
                    <a:pt x="1833" y="2154"/>
                  </a:cubicBezTo>
                  <a:cubicBezTo>
                    <a:pt x="1810" y="2154"/>
                    <a:pt x="1795" y="2162"/>
                    <a:pt x="1772" y="2162"/>
                  </a:cubicBezTo>
                  <a:cubicBezTo>
                    <a:pt x="1764" y="2162"/>
                    <a:pt x="1749" y="2146"/>
                    <a:pt x="1741" y="2146"/>
                  </a:cubicBezTo>
                  <a:cubicBezTo>
                    <a:pt x="1719" y="2139"/>
                    <a:pt x="1703" y="2139"/>
                    <a:pt x="1688" y="2139"/>
                  </a:cubicBezTo>
                  <a:lnTo>
                    <a:pt x="1688" y="2139"/>
                  </a:lnTo>
                  <a:cubicBezTo>
                    <a:pt x="1673" y="2123"/>
                    <a:pt x="1665" y="2093"/>
                    <a:pt x="1650" y="2093"/>
                  </a:cubicBezTo>
                  <a:cubicBezTo>
                    <a:pt x="1619" y="2093"/>
                    <a:pt x="1589" y="2108"/>
                    <a:pt x="1573" y="2139"/>
                  </a:cubicBezTo>
                  <a:cubicBezTo>
                    <a:pt x="1558" y="2154"/>
                    <a:pt x="1596" y="2185"/>
                    <a:pt x="1589" y="2208"/>
                  </a:cubicBezTo>
                  <a:cubicBezTo>
                    <a:pt x="1573" y="2231"/>
                    <a:pt x="1535" y="2223"/>
                    <a:pt x="1512" y="2246"/>
                  </a:cubicBezTo>
                  <a:cubicBezTo>
                    <a:pt x="1497" y="2276"/>
                    <a:pt x="1489" y="2322"/>
                    <a:pt x="1482" y="236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95" name="Freeform 117"/>
            <p:cNvSpPr>
              <a:spLocks noChangeArrowheads="1"/>
            </p:cNvSpPr>
            <p:nvPr/>
          </p:nvSpPr>
          <p:spPr bwMode="auto">
            <a:xfrm>
              <a:off x="7075028" y="5759450"/>
              <a:ext cx="134928" cy="139700"/>
            </a:xfrm>
            <a:custGeom>
              <a:avLst/>
              <a:gdLst>
                <a:gd name="T0" fmla="*/ 336 w 375"/>
                <a:gd name="T1" fmla="*/ 0 h 390"/>
                <a:gd name="T2" fmla="*/ 336 w 375"/>
                <a:gd name="T3" fmla="*/ 0 h 390"/>
                <a:gd name="T4" fmla="*/ 222 w 375"/>
                <a:gd name="T5" fmla="*/ 38 h 390"/>
                <a:gd name="T6" fmla="*/ 99 w 375"/>
                <a:gd name="T7" fmla="*/ 30 h 390"/>
                <a:gd name="T8" fmla="*/ 99 w 375"/>
                <a:gd name="T9" fmla="*/ 30 h 390"/>
                <a:gd name="T10" fmla="*/ 23 w 375"/>
                <a:gd name="T11" fmla="*/ 38 h 390"/>
                <a:gd name="T12" fmla="*/ 23 w 375"/>
                <a:gd name="T13" fmla="*/ 168 h 390"/>
                <a:gd name="T14" fmla="*/ 23 w 375"/>
                <a:gd name="T15" fmla="*/ 168 h 390"/>
                <a:gd name="T16" fmla="*/ 38 w 375"/>
                <a:gd name="T17" fmla="*/ 183 h 390"/>
                <a:gd name="T18" fmla="*/ 99 w 375"/>
                <a:gd name="T19" fmla="*/ 190 h 390"/>
                <a:gd name="T20" fmla="*/ 122 w 375"/>
                <a:gd name="T21" fmla="*/ 305 h 390"/>
                <a:gd name="T22" fmla="*/ 137 w 375"/>
                <a:gd name="T23" fmla="*/ 381 h 390"/>
                <a:gd name="T24" fmla="*/ 229 w 375"/>
                <a:gd name="T25" fmla="*/ 374 h 390"/>
                <a:gd name="T26" fmla="*/ 244 w 375"/>
                <a:gd name="T27" fmla="*/ 336 h 390"/>
                <a:gd name="T28" fmla="*/ 252 w 375"/>
                <a:gd name="T29" fmla="*/ 267 h 390"/>
                <a:gd name="T30" fmla="*/ 305 w 375"/>
                <a:gd name="T31" fmla="*/ 244 h 390"/>
                <a:gd name="T32" fmla="*/ 374 w 375"/>
                <a:gd name="T33" fmla="*/ 213 h 390"/>
                <a:gd name="T34" fmla="*/ 374 w 375"/>
                <a:gd name="T35" fmla="*/ 213 h 390"/>
                <a:gd name="T36" fmla="*/ 336 w 375"/>
                <a:gd name="T37" fmla="*/ 38 h 390"/>
                <a:gd name="T38" fmla="*/ 336 w 375"/>
                <a:gd name="T39" fmla="*/ 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75" h="390">
                  <a:moveTo>
                    <a:pt x="336" y="0"/>
                  </a:moveTo>
                  <a:lnTo>
                    <a:pt x="336" y="0"/>
                  </a:lnTo>
                  <a:cubicBezTo>
                    <a:pt x="298" y="15"/>
                    <a:pt x="267" y="30"/>
                    <a:pt x="222" y="38"/>
                  </a:cubicBezTo>
                  <a:cubicBezTo>
                    <a:pt x="183" y="38"/>
                    <a:pt x="145" y="30"/>
                    <a:pt x="99" y="30"/>
                  </a:cubicBezTo>
                  <a:lnTo>
                    <a:pt x="99" y="30"/>
                  </a:lnTo>
                  <a:cubicBezTo>
                    <a:pt x="76" y="30"/>
                    <a:pt x="38" y="15"/>
                    <a:pt x="23" y="38"/>
                  </a:cubicBezTo>
                  <a:cubicBezTo>
                    <a:pt x="0" y="76"/>
                    <a:pt x="23" y="122"/>
                    <a:pt x="23" y="168"/>
                  </a:cubicBezTo>
                  <a:lnTo>
                    <a:pt x="23" y="168"/>
                  </a:lnTo>
                  <a:cubicBezTo>
                    <a:pt x="30" y="175"/>
                    <a:pt x="30" y="183"/>
                    <a:pt x="38" y="183"/>
                  </a:cubicBezTo>
                  <a:cubicBezTo>
                    <a:pt x="61" y="190"/>
                    <a:pt x="76" y="183"/>
                    <a:pt x="99" y="190"/>
                  </a:cubicBezTo>
                  <a:cubicBezTo>
                    <a:pt x="99" y="190"/>
                    <a:pt x="122" y="298"/>
                    <a:pt x="122" y="305"/>
                  </a:cubicBezTo>
                  <a:cubicBezTo>
                    <a:pt x="122" y="313"/>
                    <a:pt x="137" y="381"/>
                    <a:pt x="137" y="381"/>
                  </a:cubicBezTo>
                  <a:cubicBezTo>
                    <a:pt x="168" y="381"/>
                    <a:pt x="199" y="389"/>
                    <a:pt x="229" y="374"/>
                  </a:cubicBezTo>
                  <a:cubicBezTo>
                    <a:pt x="244" y="374"/>
                    <a:pt x="244" y="351"/>
                    <a:pt x="244" y="336"/>
                  </a:cubicBezTo>
                  <a:cubicBezTo>
                    <a:pt x="252" y="313"/>
                    <a:pt x="237" y="282"/>
                    <a:pt x="252" y="267"/>
                  </a:cubicBezTo>
                  <a:cubicBezTo>
                    <a:pt x="260" y="244"/>
                    <a:pt x="290" y="252"/>
                    <a:pt x="305" y="244"/>
                  </a:cubicBezTo>
                  <a:cubicBezTo>
                    <a:pt x="336" y="236"/>
                    <a:pt x="344" y="229"/>
                    <a:pt x="374" y="213"/>
                  </a:cubicBezTo>
                  <a:lnTo>
                    <a:pt x="374" y="213"/>
                  </a:lnTo>
                  <a:cubicBezTo>
                    <a:pt x="351" y="168"/>
                    <a:pt x="336" y="76"/>
                    <a:pt x="336" y="38"/>
                  </a:cubicBezTo>
                  <a:cubicBezTo>
                    <a:pt x="336" y="30"/>
                    <a:pt x="336" y="15"/>
                    <a:pt x="336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96" name="Freeform 118"/>
            <p:cNvSpPr>
              <a:spLocks noChangeArrowheads="1"/>
            </p:cNvSpPr>
            <p:nvPr/>
          </p:nvSpPr>
          <p:spPr bwMode="auto">
            <a:xfrm>
              <a:off x="6644842" y="5781676"/>
              <a:ext cx="623847" cy="449263"/>
            </a:xfrm>
            <a:custGeom>
              <a:avLst/>
              <a:gdLst>
                <a:gd name="T0" fmla="*/ 61 w 1735"/>
                <a:gd name="T1" fmla="*/ 336 h 1246"/>
                <a:gd name="T2" fmla="*/ 222 w 1735"/>
                <a:gd name="T3" fmla="*/ 359 h 1246"/>
                <a:gd name="T4" fmla="*/ 291 w 1735"/>
                <a:gd name="T5" fmla="*/ 298 h 1246"/>
                <a:gd name="T6" fmla="*/ 329 w 1735"/>
                <a:gd name="T7" fmla="*/ 214 h 1246"/>
                <a:gd name="T8" fmla="*/ 489 w 1735"/>
                <a:gd name="T9" fmla="*/ 191 h 1246"/>
                <a:gd name="T10" fmla="*/ 642 w 1735"/>
                <a:gd name="T11" fmla="*/ 175 h 1246"/>
                <a:gd name="T12" fmla="*/ 734 w 1735"/>
                <a:gd name="T13" fmla="*/ 175 h 1246"/>
                <a:gd name="T14" fmla="*/ 810 w 1735"/>
                <a:gd name="T15" fmla="*/ 38 h 1246"/>
                <a:gd name="T16" fmla="*/ 902 w 1735"/>
                <a:gd name="T17" fmla="*/ 30 h 1246"/>
                <a:gd name="T18" fmla="*/ 955 w 1735"/>
                <a:gd name="T19" fmla="*/ 7 h 1246"/>
                <a:gd name="T20" fmla="*/ 1039 w 1735"/>
                <a:gd name="T21" fmla="*/ 30 h 1246"/>
                <a:gd name="T22" fmla="*/ 1077 w 1735"/>
                <a:gd name="T23" fmla="*/ 68 h 1246"/>
                <a:gd name="T24" fmla="*/ 1161 w 1735"/>
                <a:gd name="T25" fmla="*/ 46 h 1246"/>
                <a:gd name="T26" fmla="*/ 1215 w 1735"/>
                <a:gd name="T27" fmla="*/ 107 h 1246"/>
                <a:gd name="T28" fmla="*/ 1230 w 1735"/>
                <a:gd name="T29" fmla="*/ 122 h 1246"/>
                <a:gd name="T30" fmla="*/ 1314 w 1735"/>
                <a:gd name="T31" fmla="*/ 244 h 1246"/>
                <a:gd name="T32" fmla="*/ 1421 w 1735"/>
                <a:gd name="T33" fmla="*/ 313 h 1246"/>
                <a:gd name="T34" fmla="*/ 1444 w 1735"/>
                <a:gd name="T35" fmla="*/ 206 h 1246"/>
                <a:gd name="T36" fmla="*/ 1566 w 1735"/>
                <a:gd name="T37" fmla="*/ 152 h 1246"/>
                <a:gd name="T38" fmla="*/ 1581 w 1735"/>
                <a:gd name="T39" fmla="*/ 175 h 1246"/>
                <a:gd name="T40" fmla="*/ 1734 w 1735"/>
                <a:gd name="T41" fmla="*/ 481 h 1246"/>
                <a:gd name="T42" fmla="*/ 1643 w 1735"/>
                <a:gd name="T43" fmla="*/ 512 h 1246"/>
                <a:gd name="T44" fmla="*/ 1536 w 1735"/>
                <a:gd name="T45" fmla="*/ 672 h 1246"/>
                <a:gd name="T46" fmla="*/ 1490 w 1735"/>
                <a:gd name="T47" fmla="*/ 741 h 1246"/>
                <a:gd name="T48" fmla="*/ 1398 w 1735"/>
                <a:gd name="T49" fmla="*/ 817 h 1246"/>
                <a:gd name="T50" fmla="*/ 1406 w 1735"/>
                <a:gd name="T51" fmla="*/ 863 h 1246"/>
                <a:gd name="T52" fmla="*/ 1314 w 1735"/>
                <a:gd name="T53" fmla="*/ 848 h 1246"/>
                <a:gd name="T54" fmla="*/ 1207 w 1735"/>
                <a:gd name="T55" fmla="*/ 909 h 1246"/>
                <a:gd name="T56" fmla="*/ 1047 w 1735"/>
                <a:gd name="T57" fmla="*/ 817 h 1246"/>
                <a:gd name="T58" fmla="*/ 993 w 1735"/>
                <a:gd name="T59" fmla="*/ 901 h 1246"/>
                <a:gd name="T60" fmla="*/ 1009 w 1735"/>
                <a:gd name="T61" fmla="*/ 1023 h 1246"/>
                <a:gd name="T62" fmla="*/ 886 w 1735"/>
                <a:gd name="T63" fmla="*/ 1031 h 1246"/>
                <a:gd name="T64" fmla="*/ 772 w 1735"/>
                <a:gd name="T65" fmla="*/ 1115 h 1246"/>
                <a:gd name="T66" fmla="*/ 596 w 1735"/>
                <a:gd name="T67" fmla="*/ 1245 h 1246"/>
                <a:gd name="T68" fmla="*/ 466 w 1735"/>
                <a:gd name="T69" fmla="*/ 1161 h 1246"/>
                <a:gd name="T70" fmla="*/ 283 w 1735"/>
                <a:gd name="T71" fmla="*/ 1222 h 1246"/>
                <a:gd name="T72" fmla="*/ 291 w 1735"/>
                <a:gd name="T73" fmla="*/ 1107 h 1246"/>
                <a:gd name="T74" fmla="*/ 237 w 1735"/>
                <a:gd name="T75" fmla="*/ 1016 h 1246"/>
                <a:gd name="T76" fmla="*/ 84 w 1735"/>
                <a:gd name="T77" fmla="*/ 863 h 1246"/>
                <a:gd name="T78" fmla="*/ 100 w 1735"/>
                <a:gd name="T79" fmla="*/ 710 h 1246"/>
                <a:gd name="T80" fmla="*/ 39 w 1735"/>
                <a:gd name="T81" fmla="*/ 649 h 1246"/>
                <a:gd name="T82" fmla="*/ 31 w 1735"/>
                <a:gd name="T83" fmla="*/ 550 h 1246"/>
                <a:gd name="T84" fmla="*/ 46 w 1735"/>
                <a:gd name="T85" fmla="*/ 427 h 1246"/>
                <a:gd name="T86" fmla="*/ 61 w 1735"/>
                <a:gd name="T87" fmla="*/ 336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35" h="1246">
                  <a:moveTo>
                    <a:pt x="61" y="336"/>
                  </a:moveTo>
                  <a:lnTo>
                    <a:pt x="61" y="336"/>
                  </a:lnTo>
                  <a:cubicBezTo>
                    <a:pt x="84" y="336"/>
                    <a:pt x="107" y="320"/>
                    <a:pt x="138" y="320"/>
                  </a:cubicBezTo>
                  <a:cubicBezTo>
                    <a:pt x="168" y="328"/>
                    <a:pt x="191" y="351"/>
                    <a:pt x="222" y="359"/>
                  </a:cubicBezTo>
                  <a:cubicBezTo>
                    <a:pt x="222" y="359"/>
                    <a:pt x="237" y="290"/>
                    <a:pt x="245" y="290"/>
                  </a:cubicBezTo>
                  <a:cubicBezTo>
                    <a:pt x="253" y="290"/>
                    <a:pt x="291" y="298"/>
                    <a:pt x="291" y="298"/>
                  </a:cubicBezTo>
                  <a:cubicBezTo>
                    <a:pt x="298" y="282"/>
                    <a:pt x="314" y="275"/>
                    <a:pt x="321" y="260"/>
                  </a:cubicBezTo>
                  <a:cubicBezTo>
                    <a:pt x="329" y="244"/>
                    <a:pt x="321" y="221"/>
                    <a:pt x="329" y="214"/>
                  </a:cubicBezTo>
                  <a:cubicBezTo>
                    <a:pt x="359" y="198"/>
                    <a:pt x="390" y="221"/>
                    <a:pt x="420" y="214"/>
                  </a:cubicBezTo>
                  <a:cubicBezTo>
                    <a:pt x="443" y="214"/>
                    <a:pt x="466" y="206"/>
                    <a:pt x="489" y="191"/>
                  </a:cubicBezTo>
                  <a:cubicBezTo>
                    <a:pt x="512" y="183"/>
                    <a:pt x="528" y="145"/>
                    <a:pt x="558" y="137"/>
                  </a:cubicBezTo>
                  <a:cubicBezTo>
                    <a:pt x="589" y="137"/>
                    <a:pt x="619" y="160"/>
                    <a:pt x="642" y="175"/>
                  </a:cubicBezTo>
                  <a:cubicBezTo>
                    <a:pt x="657" y="183"/>
                    <a:pt x="665" y="214"/>
                    <a:pt x="680" y="214"/>
                  </a:cubicBezTo>
                  <a:cubicBezTo>
                    <a:pt x="703" y="214"/>
                    <a:pt x="726" y="198"/>
                    <a:pt x="734" y="175"/>
                  </a:cubicBezTo>
                  <a:cubicBezTo>
                    <a:pt x="757" y="152"/>
                    <a:pt x="757" y="114"/>
                    <a:pt x="772" y="84"/>
                  </a:cubicBezTo>
                  <a:cubicBezTo>
                    <a:pt x="787" y="68"/>
                    <a:pt x="803" y="53"/>
                    <a:pt x="810" y="38"/>
                  </a:cubicBezTo>
                  <a:lnTo>
                    <a:pt x="810" y="38"/>
                  </a:lnTo>
                  <a:cubicBezTo>
                    <a:pt x="841" y="38"/>
                    <a:pt x="879" y="38"/>
                    <a:pt x="902" y="30"/>
                  </a:cubicBezTo>
                  <a:cubicBezTo>
                    <a:pt x="917" y="30"/>
                    <a:pt x="917" y="7"/>
                    <a:pt x="925" y="7"/>
                  </a:cubicBezTo>
                  <a:cubicBezTo>
                    <a:pt x="932" y="0"/>
                    <a:pt x="947" y="0"/>
                    <a:pt x="955" y="7"/>
                  </a:cubicBezTo>
                  <a:cubicBezTo>
                    <a:pt x="963" y="15"/>
                    <a:pt x="970" y="30"/>
                    <a:pt x="986" y="30"/>
                  </a:cubicBezTo>
                  <a:cubicBezTo>
                    <a:pt x="1001" y="38"/>
                    <a:pt x="1024" y="23"/>
                    <a:pt x="1039" y="30"/>
                  </a:cubicBezTo>
                  <a:cubicBezTo>
                    <a:pt x="1055" y="38"/>
                    <a:pt x="1047" y="53"/>
                    <a:pt x="1055" y="61"/>
                  </a:cubicBezTo>
                  <a:cubicBezTo>
                    <a:pt x="1062" y="68"/>
                    <a:pt x="1070" y="61"/>
                    <a:pt x="1077" y="68"/>
                  </a:cubicBezTo>
                  <a:cubicBezTo>
                    <a:pt x="1085" y="76"/>
                    <a:pt x="1077" y="107"/>
                    <a:pt x="1093" y="107"/>
                  </a:cubicBezTo>
                  <a:cubicBezTo>
                    <a:pt x="1123" y="99"/>
                    <a:pt x="1131" y="46"/>
                    <a:pt x="1161" y="46"/>
                  </a:cubicBezTo>
                  <a:cubicBezTo>
                    <a:pt x="1184" y="46"/>
                    <a:pt x="1161" y="91"/>
                    <a:pt x="1177" y="107"/>
                  </a:cubicBezTo>
                  <a:cubicBezTo>
                    <a:pt x="1184" y="114"/>
                    <a:pt x="1200" y="107"/>
                    <a:pt x="1215" y="107"/>
                  </a:cubicBezTo>
                  <a:lnTo>
                    <a:pt x="1215" y="107"/>
                  </a:lnTo>
                  <a:cubicBezTo>
                    <a:pt x="1222" y="114"/>
                    <a:pt x="1222" y="122"/>
                    <a:pt x="1230" y="122"/>
                  </a:cubicBezTo>
                  <a:cubicBezTo>
                    <a:pt x="1253" y="129"/>
                    <a:pt x="1268" y="122"/>
                    <a:pt x="1291" y="129"/>
                  </a:cubicBezTo>
                  <a:cubicBezTo>
                    <a:pt x="1291" y="129"/>
                    <a:pt x="1314" y="237"/>
                    <a:pt x="1314" y="244"/>
                  </a:cubicBezTo>
                  <a:cubicBezTo>
                    <a:pt x="1314" y="252"/>
                    <a:pt x="1329" y="320"/>
                    <a:pt x="1329" y="320"/>
                  </a:cubicBezTo>
                  <a:cubicBezTo>
                    <a:pt x="1360" y="320"/>
                    <a:pt x="1391" y="328"/>
                    <a:pt x="1421" y="313"/>
                  </a:cubicBezTo>
                  <a:cubicBezTo>
                    <a:pt x="1436" y="313"/>
                    <a:pt x="1436" y="290"/>
                    <a:pt x="1436" y="275"/>
                  </a:cubicBezTo>
                  <a:cubicBezTo>
                    <a:pt x="1444" y="252"/>
                    <a:pt x="1429" y="221"/>
                    <a:pt x="1444" y="206"/>
                  </a:cubicBezTo>
                  <a:cubicBezTo>
                    <a:pt x="1452" y="183"/>
                    <a:pt x="1482" y="191"/>
                    <a:pt x="1497" y="183"/>
                  </a:cubicBezTo>
                  <a:cubicBezTo>
                    <a:pt x="1528" y="175"/>
                    <a:pt x="1536" y="168"/>
                    <a:pt x="1566" y="152"/>
                  </a:cubicBezTo>
                  <a:lnTo>
                    <a:pt x="1566" y="152"/>
                  </a:lnTo>
                  <a:cubicBezTo>
                    <a:pt x="1574" y="160"/>
                    <a:pt x="1574" y="168"/>
                    <a:pt x="1581" y="175"/>
                  </a:cubicBezTo>
                  <a:cubicBezTo>
                    <a:pt x="1574" y="229"/>
                    <a:pt x="1612" y="343"/>
                    <a:pt x="1643" y="389"/>
                  </a:cubicBezTo>
                  <a:cubicBezTo>
                    <a:pt x="1650" y="412"/>
                    <a:pt x="1696" y="450"/>
                    <a:pt x="1734" y="481"/>
                  </a:cubicBezTo>
                  <a:lnTo>
                    <a:pt x="1734" y="481"/>
                  </a:lnTo>
                  <a:cubicBezTo>
                    <a:pt x="1704" y="489"/>
                    <a:pt x="1673" y="489"/>
                    <a:pt x="1643" y="512"/>
                  </a:cubicBezTo>
                  <a:cubicBezTo>
                    <a:pt x="1612" y="534"/>
                    <a:pt x="1574" y="565"/>
                    <a:pt x="1551" y="596"/>
                  </a:cubicBezTo>
                  <a:cubicBezTo>
                    <a:pt x="1543" y="618"/>
                    <a:pt x="1543" y="649"/>
                    <a:pt x="1536" y="672"/>
                  </a:cubicBezTo>
                  <a:cubicBezTo>
                    <a:pt x="1528" y="695"/>
                    <a:pt x="1505" y="718"/>
                    <a:pt x="1490" y="741"/>
                  </a:cubicBezTo>
                  <a:lnTo>
                    <a:pt x="1490" y="741"/>
                  </a:lnTo>
                  <a:cubicBezTo>
                    <a:pt x="1482" y="756"/>
                    <a:pt x="1490" y="786"/>
                    <a:pt x="1467" y="802"/>
                  </a:cubicBezTo>
                  <a:cubicBezTo>
                    <a:pt x="1452" y="817"/>
                    <a:pt x="1414" y="802"/>
                    <a:pt x="1398" y="817"/>
                  </a:cubicBezTo>
                  <a:cubicBezTo>
                    <a:pt x="1383" y="832"/>
                    <a:pt x="1406" y="848"/>
                    <a:pt x="1406" y="863"/>
                  </a:cubicBezTo>
                  <a:lnTo>
                    <a:pt x="1406" y="863"/>
                  </a:lnTo>
                  <a:cubicBezTo>
                    <a:pt x="1398" y="871"/>
                    <a:pt x="1383" y="878"/>
                    <a:pt x="1375" y="878"/>
                  </a:cubicBezTo>
                  <a:cubicBezTo>
                    <a:pt x="1352" y="871"/>
                    <a:pt x="1337" y="848"/>
                    <a:pt x="1314" y="848"/>
                  </a:cubicBezTo>
                  <a:cubicBezTo>
                    <a:pt x="1284" y="848"/>
                    <a:pt x="1253" y="863"/>
                    <a:pt x="1230" y="878"/>
                  </a:cubicBezTo>
                  <a:cubicBezTo>
                    <a:pt x="1215" y="878"/>
                    <a:pt x="1215" y="916"/>
                    <a:pt x="1207" y="909"/>
                  </a:cubicBezTo>
                  <a:cubicBezTo>
                    <a:pt x="1169" y="886"/>
                    <a:pt x="1169" y="832"/>
                    <a:pt x="1131" y="817"/>
                  </a:cubicBezTo>
                  <a:cubicBezTo>
                    <a:pt x="1108" y="802"/>
                    <a:pt x="1070" y="802"/>
                    <a:pt x="1047" y="817"/>
                  </a:cubicBezTo>
                  <a:cubicBezTo>
                    <a:pt x="1024" y="832"/>
                    <a:pt x="1047" y="863"/>
                    <a:pt x="1032" y="886"/>
                  </a:cubicBezTo>
                  <a:cubicBezTo>
                    <a:pt x="1032" y="893"/>
                    <a:pt x="1001" y="893"/>
                    <a:pt x="993" y="901"/>
                  </a:cubicBezTo>
                  <a:cubicBezTo>
                    <a:pt x="986" y="939"/>
                    <a:pt x="1001" y="985"/>
                    <a:pt x="1009" y="1023"/>
                  </a:cubicBezTo>
                  <a:lnTo>
                    <a:pt x="1009" y="1023"/>
                  </a:lnTo>
                  <a:cubicBezTo>
                    <a:pt x="986" y="1023"/>
                    <a:pt x="970" y="1031"/>
                    <a:pt x="955" y="1038"/>
                  </a:cubicBezTo>
                  <a:cubicBezTo>
                    <a:pt x="932" y="1038"/>
                    <a:pt x="902" y="1016"/>
                    <a:pt x="886" y="1031"/>
                  </a:cubicBezTo>
                  <a:cubicBezTo>
                    <a:pt x="856" y="1061"/>
                    <a:pt x="886" y="1123"/>
                    <a:pt x="848" y="1153"/>
                  </a:cubicBezTo>
                  <a:cubicBezTo>
                    <a:pt x="825" y="1168"/>
                    <a:pt x="803" y="1107"/>
                    <a:pt x="772" y="1115"/>
                  </a:cubicBezTo>
                  <a:cubicBezTo>
                    <a:pt x="749" y="1115"/>
                    <a:pt x="780" y="1161"/>
                    <a:pt x="764" y="1168"/>
                  </a:cubicBezTo>
                  <a:cubicBezTo>
                    <a:pt x="711" y="1207"/>
                    <a:pt x="650" y="1229"/>
                    <a:pt x="596" y="1245"/>
                  </a:cubicBezTo>
                  <a:cubicBezTo>
                    <a:pt x="581" y="1245"/>
                    <a:pt x="581" y="1222"/>
                    <a:pt x="573" y="1214"/>
                  </a:cubicBezTo>
                  <a:cubicBezTo>
                    <a:pt x="535" y="1191"/>
                    <a:pt x="505" y="1161"/>
                    <a:pt x="466" y="1161"/>
                  </a:cubicBezTo>
                  <a:cubicBezTo>
                    <a:pt x="436" y="1161"/>
                    <a:pt x="420" y="1199"/>
                    <a:pt x="390" y="1207"/>
                  </a:cubicBezTo>
                  <a:cubicBezTo>
                    <a:pt x="359" y="1222"/>
                    <a:pt x="314" y="1214"/>
                    <a:pt x="283" y="1222"/>
                  </a:cubicBezTo>
                  <a:lnTo>
                    <a:pt x="283" y="1222"/>
                  </a:lnTo>
                  <a:cubicBezTo>
                    <a:pt x="283" y="1184"/>
                    <a:pt x="291" y="1146"/>
                    <a:pt x="291" y="1107"/>
                  </a:cubicBezTo>
                  <a:cubicBezTo>
                    <a:pt x="291" y="1077"/>
                    <a:pt x="283" y="1038"/>
                    <a:pt x="268" y="1016"/>
                  </a:cubicBezTo>
                  <a:cubicBezTo>
                    <a:pt x="260" y="1000"/>
                    <a:pt x="245" y="1023"/>
                    <a:pt x="237" y="1016"/>
                  </a:cubicBezTo>
                  <a:cubicBezTo>
                    <a:pt x="230" y="1008"/>
                    <a:pt x="230" y="993"/>
                    <a:pt x="222" y="977"/>
                  </a:cubicBezTo>
                  <a:cubicBezTo>
                    <a:pt x="176" y="939"/>
                    <a:pt x="123" y="909"/>
                    <a:pt x="84" y="863"/>
                  </a:cubicBezTo>
                  <a:cubicBezTo>
                    <a:pt x="61" y="832"/>
                    <a:pt x="46" y="794"/>
                    <a:pt x="54" y="764"/>
                  </a:cubicBezTo>
                  <a:cubicBezTo>
                    <a:pt x="54" y="741"/>
                    <a:pt x="92" y="733"/>
                    <a:pt x="100" y="710"/>
                  </a:cubicBezTo>
                  <a:cubicBezTo>
                    <a:pt x="100" y="695"/>
                    <a:pt x="92" y="679"/>
                    <a:pt x="84" y="664"/>
                  </a:cubicBezTo>
                  <a:cubicBezTo>
                    <a:pt x="77" y="657"/>
                    <a:pt x="54" y="664"/>
                    <a:pt x="39" y="649"/>
                  </a:cubicBezTo>
                  <a:cubicBezTo>
                    <a:pt x="23" y="634"/>
                    <a:pt x="8" y="611"/>
                    <a:pt x="0" y="580"/>
                  </a:cubicBezTo>
                  <a:cubicBezTo>
                    <a:pt x="0" y="565"/>
                    <a:pt x="23" y="557"/>
                    <a:pt x="31" y="550"/>
                  </a:cubicBezTo>
                  <a:cubicBezTo>
                    <a:pt x="39" y="527"/>
                    <a:pt x="31" y="504"/>
                    <a:pt x="31" y="489"/>
                  </a:cubicBezTo>
                  <a:cubicBezTo>
                    <a:pt x="39" y="466"/>
                    <a:pt x="39" y="450"/>
                    <a:pt x="46" y="427"/>
                  </a:cubicBezTo>
                  <a:cubicBezTo>
                    <a:pt x="46" y="412"/>
                    <a:pt x="61" y="404"/>
                    <a:pt x="61" y="389"/>
                  </a:cubicBezTo>
                  <a:cubicBezTo>
                    <a:pt x="69" y="374"/>
                    <a:pt x="61" y="351"/>
                    <a:pt x="61" y="33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97" name="Freeform 119"/>
            <p:cNvSpPr>
              <a:spLocks noChangeArrowheads="1"/>
            </p:cNvSpPr>
            <p:nvPr/>
          </p:nvSpPr>
          <p:spPr bwMode="auto">
            <a:xfrm>
              <a:off x="5897180" y="5508625"/>
              <a:ext cx="852431" cy="1144588"/>
            </a:xfrm>
            <a:custGeom>
              <a:avLst/>
              <a:gdLst>
                <a:gd name="T0" fmla="*/ 938 w 2368"/>
                <a:gd name="T1" fmla="*/ 520 h 3178"/>
                <a:gd name="T2" fmla="*/ 961 w 2368"/>
                <a:gd name="T3" fmla="*/ 611 h 3178"/>
                <a:gd name="T4" fmla="*/ 565 w 2368"/>
                <a:gd name="T5" fmla="*/ 680 h 3178"/>
                <a:gd name="T6" fmla="*/ 588 w 2368"/>
                <a:gd name="T7" fmla="*/ 733 h 3178"/>
                <a:gd name="T8" fmla="*/ 519 w 2368"/>
                <a:gd name="T9" fmla="*/ 794 h 3178"/>
                <a:gd name="T10" fmla="*/ 359 w 2368"/>
                <a:gd name="T11" fmla="*/ 1076 h 3178"/>
                <a:gd name="T12" fmla="*/ 137 w 2368"/>
                <a:gd name="T13" fmla="*/ 1443 h 3178"/>
                <a:gd name="T14" fmla="*/ 91 w 2368"/>
                <a:gd name="T15" fmla="*/ 1726 h 3178"/>
                <a:gd name="T16" fmla="*/ 107 w 2368"/>
                <a:gd name="T17" fmla="*/ 1932 h 3178"/>
                <a:gd name="T18" fmla="*/ 229 w 2368"/>
                <a:gd name="T19" fmla="*/ 2092 h 3178"/>
                <a:gd name="T20" fmla="*/ 359 w 2368"/>
                <a:gd name="T21" fmla="*/ 2413 h 3178"/>
                <a:gd name="T22" fmla="*/ 649 w 2368"/>
                <a:gd name="T23" fmla="*/ 2665 h 3178"/>
                <a:gd name="T24" fmla="*/ 778 w 2368"/>
                <a:gd name="T25" fmla="*/ 3070 h 3178"/>
                <a:gd name="T26" fmla="*/ 1045 w 2368"/>
                <a:gd name="T27" fmla="*/ 2810 h 3178"/>
                <a:gd name="T28" fmla="*/ 1236 w 2368"/>
                <a:gd name="T29" fmla="*/ 2688 h 3178"/>
                <a:gd name="T30" fmla="*/ 1251 w 2368"/>
                <a:gd name="T31" fmla="*/ 2742 h 3178"/>
                <a:gd name="T32" fmla="*/ 1366 w 2368"/>
                <a:gd name="T33" fmla="*/ 2673 h 3178"/>
                <a:gd name="T34" fmla="*/ 1488 w 2368"/>
                <a:gd name="T35" fmla="*/ 2742 h 3178"/>
                <a:gd name="T36" fmla="*/ 1626 w 2368"/>
                <a:gd name="T37" fmla="*/ 2665 h 3178"/>
                <a:gd name="T38" fmla="*/ 1817 w 2368"/>
                <a:gd name="T39" fmla="*/ 2612 h 3178"/>
                <a:gd name="T40" fmla="*/ 1916 w 2368"/>
                <a:gd name="T41" fmla="*/ 2619 h 3178"/>
                <a:gd name="T42" fmla="*/ 1992 w 2368"/>
                <a:gd name="T43" fmla="*/ 2596 h 3178"/>
                <a:gd name="T44" fmla="*/ 2099 w 2368"/>
                <a:gd name="T45" fmla="*/ 2566 h 3178"/>
                <a:gd name="T46" fmla="*/ 2122 w 2368"/>
                <a:gd name="T47" fmla="*/ 2321 h 3178"/>
                <a:gd name="T48" fmla="*/ 2115 w 2368"/>
                <a:gd name="T49" fmla="*/ 2199 h 3178"/>
                <a:gd name="T50" fmla="*/ 2137 w 2368"/>
                <a:gd name="T51" fmla="*/ 2115 h 3178"/>
                <a:gd name="T52" fmla="*/ 2222 w 2368"/>
                <a:gd name="T53" fmla="*/ 1993 h 3178"/>
                <a:gd name="T54" fmla="*/ 2359 w 2368"/>
                <a:gd name="T55" fmla="*/ 1978 h 3178"/>
                <a:gd name="T56" fmla="*/ 2367 w 2368"/>
                <a:gd name="T57" fmla="*/ 1863 h 3178"/>
                <a:gd name="T58" fmla="*/ 2313 w 2368"/>
                <a:gd name="T59" fmla="*/ 1772 h 3178"/>
                <a:gd name="T60" fmla="*/ 2160 w 2368"/>
                <a:gd name="T61" fmla="*/ 1619 h 3178"/>
                <a:gd name="T62" fmla="*/ 2176 w 2368"/>
                <a:gd name="T63" fmla="*/ 1466 h 3178"/>
                <a:gd name="T64" fmla="*/ 2115 w 2368"/>
                <a:gd name="T65" fmla="*/ 1405 h 3178"/>
                <a:gd name="T66" fmla="*/ 2107 w 2368"/>
                <a:gd name="T67" fmla="*/ 1306 h 3178"/>
                <a:gd name="T68" fmla="*/ 2122 w 2368"/>
                <a:gd name="T69" fmla="*/ 1183 h 3178"/>
                <a:gd name="T70" fmla="*/ 2137 w 2368"/>
                <a:gd name="T71" fmla="*/ 1092 h 3178"/>
                <a:gd name="T72" fmla="*/ 2099 w 2368"/>
                <a:gd name="T73" fmla="*/ 1076 h 3178"/>
                <a:gd name="T74" fmla="*/ 2023 w 2368"/>
                <a:gd name="T75" fmla="*/ 977 h 3178"/>
                <a:gd name="T76" fmla="*/ 1985 w 2368"/>
                <a:gd name="T77" fmla="*/ 947 h 3178"/>
                <a:gd name="T78" fmla="*/ 1870 w 2368"/>
                <a:gd name="T79" fmla="*/ 1046 h 3178"/>
                <a:gd name="T80" fmla="*/ 1763 w 2368"/>
                <a:gd name="T81" fmla="*/ 1008 h 3178"/>
                <a:gd name="T82" fmla="*/ 1733 w 2368"/>
                <a:gd name="T83" fmla="*/ 901 h 3178"/>
                <a:gd name="T84" fmla="*/ 1740 w 2368"/>
                <a:gd name="T85" fmla="*/ 794 h 3178"/>
                <a:gd name="T86" fmla="*/ 1748 w 2368"/>
                <a:gd name="T87" fmla="*/ 642 h 3178"/>
                <a:gd name="T88" fmla="*/ 1740 w 2368"/>
                <a:gd name="T89" fmla="*/ 596 h 3178"/>
                <a:gd name="T90" fmla="*/ 1893 w 2368"/>
                <a:gd name="T91" fmla="*/ 436 h 3178"/>
                <a:gd name="T92" fmla="*/ 1862 w 2368"/>
                <a:gd name="T93" fmla="*/ 352 h 3178"/>
                <a:gd name="T94" fmla="*/ 1779 w 2368"/>
                <a:gd name="T95" fmla="*/ 321 h 3178"/>
                <a:gd name="T96" fmla="*/ 1710 w 2368"/>
                <a:gd name="T97" fmla="*/ 207 h 3178"/>
                <a:gd name="T98" fmla="*/ 1618 w 2368"/>
                <a:gd name="T99" fmla="*/ 153 h 3178"/>
                <a:gd name="T100" fmla="*/ 1496 w 2368"/>
                <a:gd name="T101" fmla="*/ 0 h 3178"/>
                <a:gd name="T102" fmla="*/ 1450 w 2368"/>
                <a:gd name="T103" fmla="*/ 31 h 3178"/>
                <a:gd name="T104" fmla="*/ 1305 w 2368"/>
                <a:gd name="T105" fmla="*/ 115 h 3178"/>
                <a:gd name="T106" fmla="*/ 1297 w 2368"/>
                <a:gd name="T107" fmla="*/ 146 h 3178"/>
                <a:gd name="T108" fmla="*/ 1236 w 2368"/>
                <a:gd name="T109" fmla="*/ 222 h 3178"/>
                <a:gd name="T110" fmla="*/ 969 w 2368"/>
                <a:gd name="T111" fmla="*/ 314 h 3178"/>
                <a:gd name="T112" fmla="*/ 961 w 2368"/>
                <a:gd name="T113" fmla="*/ 329 h 3178"/>
                <a:gd name="T114" fmla="*/ 992 w 2368"/>
                <a:gd name="T115" fmla="*/ 375 h 3178"/>
                <a:gd name="T116" fmla="*/ 931 w 2368"/>
                <a:gd name="T117" fmla="*/ 520 h 3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68" h="3178">
                  <a:moveTo>
                    <a:pt x="938" y="520"/>
                  </a:moveTo>
                  <a:lnTo>
                    <a:pt x="938" y="520"/>
                  </a:lnTo>
                  <a:cubicBezTo>
                    <a:pt x="938" y="528"/>
                    <a:pt x="923" y="558"/>
                    <a:pt x="900" y="573"/>
                  </a:cubicBezTo>
                  <a:cubicBezTo>
                    <a:pt x="847" y="650"/>
                    <a:pt x="923" y="611"/>
                    <a:pt x="961" y="611"/>
                  </a:cubicBezTo>
                  <a:cubicBezTo>
                    <a:pt x="961" y="725"/>
                    <a:pt x="717" y="604"/>
                    <a:pt x="687" y="627"/>
                  </a:cubicBezTo>
                  <a:cubicBezTo>
                    <a:pt x="649" y="657"/>
                    <a:pt x="588" y="634"/>
                    <a:pt x="565" y="680"/>
                  </a:cubicBezTo>
                  <a:cubicBezTo>
                    <a:pt x="558" y="688"/>
                    <a:pt x="550" y="718"/>
                    <a:pt x="558" y="725"/>
                  </a:cubicBezTo>
                  <a:cubicBezTo>
                    <a:pt x="565" y="733"/>
                    <a:pt x="580" y="733"/>
                    <a:pt x="588" y="733"/>
                  </a:cubicBezTo>
                  <a:cubicBezTo>
                    <a:pt x="596" y="733"/>
                    <a:pt x="626" y="733"/>
                    <a:pt x="626" y="741"/>
                  </a:cubicBezTo>
                  <a:cubicBezTo>
                    <a:pt x="580" y="748"/>
                    <a:pt x="611" y="870"/>
                    <a:pt x="519" y="794"/>
                  </a:cubicBezTo>
                  <a:cubicBezTo>
                    <a:pt x="443" y="725"/>
                    <a:pt x="420" y="863"/>
                    <a:pt x="382" y="931"/>
                  </a:cubicBezTo>
                  <a:cubicBezTo>
                    <a:pt x="351" y="993"/>
                    <a:pt x="344" y="1008"/>
                    <a:pt x="359" y="1076"/>
                  </a:cubicBezTo>
                  <a:cubicBezTo>
                    <a:pt x="366" y="1130"/>
                    <a:pt x="313" y="1176"/>
                    <a:pt x="290" y="1222"/>
                  </a:cubicBezTo>
                  <a:cubicBezTo>
                    <a:pt x="252" y="1298"/>
                    <a:pt x="168" y="1352"/>
                    <a:pt x="137" y="1443"/>
                  </a:cubicBezTo>
                  <a:cubicBezTo>
                    <a:pt x="122" y="1489"/>
                    <a:pt x="130" y="1520"/>
                    <a:pt x="130" y="1565"/>
                  </a:cubicBezTo>
                  <a:cubicBezTo>
                    <a:pt x="130" y="1611"/>
                    <a:pt x="91" y="1672"/>
                    <a:pt x="91" y="1726"/>
                  </a:cubicBezTo>
                  <a:cubicBezTo>
                    <a:pt x="91" y="1772"/>
                    <a:pt x="61" y="1779"/>
                    <a:pt x="30" y="1794"/>
                  </a:cubicBezTo>
                  <a:cubicBezTo>
                    <a:pt x="0" y="1810"/>
                    <a:pt x="99" y="1902"/>
                    <a:pt x="107" y="1932"/>
                  </a:cubicBezTo>
                  <a:cubicBezTo>
                    <a:pt x="122" y="1978"/>
                    <a:pt x="145" y="1970"/>
                    <a:pt x="168" y="2001"/>
                  </a:cubicBezTo>
                  <a:cubicBezTo>
                    <a:pt x="191" y="2031"/>
                    <a:pt x="214" y="2062"/>
                    <a:pt x="229" y="2092"/>
                  </a:cubicBezTo>
                  <a:cubicBezTo>
                    <a:pt x="244" y="2161"/>
                    <a:pt x="305" y="2207"/>
                    <a:pt x="344" y="2260"/>
                  </a:cubicBezTo>
                  <a:cubicBezTo>
                    <a:pt x="366" y="2299"/>
                    <a:pt x="359" y="2375"/>
                    <a:pt x="359" y="2413"/>
                  </a:cubicBezTo>
                  <a:cubicBezTo>
                    <a:pt x="374" y="2497"/>
                    <a:pt x="466" y="2574"/>
                    <a:pt x="496" y="2650"/>
                  </a:cubicBezTo>
                  <a:cubicBezTo>
                    <a:pt x="542" y="2765"/>
                    <a:pt x="580" y="2665"/>
                    <a:pt x="649" y="2665"/>
                  </a:cubicBezTo>
                  <a:cubicBezTo>
                    <a:pt x="649" y="2726"/>
                    <a:pt x="542" y="2795"/>
                    <a:pt x="588" y="2871"/>
                  </a:cubicBezTo>
                  <a:cubicBezTo>
                    <a:pt x="596" y="2925"/>
                    <a:pt x="709" y="3177"/>
                    <a:pt x="778" y="3070"/>
                  </a:cubicBezTo>
                  <a:cubicBezTo>
                    <a:pt x="824" y="3001"/>
                    <a:pt x="915" y="2765"/>
                    <a:pt x="969" y="2726"/>
                  </a:cubicBezTo>
                  <a:cubicBezTo>
                    <a:pt x="976" y="2742"/>
                    <a:pt x="1030" y="2795"/>
                    <a:pt x="1045" y="2810"/>
                  </a:cubicBezTo>
                  <a:cubicBezTo>
                    <a:pt x="1083" y="2856"/>
                    <a:pt x="1061" y="2871"/>
                    <a:pt x="1091" y="2818"/>
                  </a:cubicBezTo>
                  <a:cubicBezTo>
                    <a:pt x="1122" y="2780"/>
                    <a:pt x="1221" y="2612"/>
                    <a:pt x="1236" y="2688"/>
                  </a:cubicBezTo>
                  <a:cubicBezTo>
                    <a:pt x="1244" y="2704"/>
                    <a:pt x="1251" y="2719"/>
                    <a:pt x="1251" y="2742"/>
                  </a:cubicBezTo>
                  <a:lnTo>
                    <a:pt x="1251" y="2742"/>
                  </a:lnTo>
                  <a:cubicBezTo>
                    <a:pt x="1290" y="2726"/>
                    <a:pt x="1320" y="2726"/>
                    <a:pt x="1351" y="2711"/>
                  </a:cubicBezTo>
                  <a:cubicBezTo>
                    <a:pt x="1358" y="2704"/>
                    <a:pt x="1358" y="2681"/>
                    <a:pt x="1366" y="2673"/>
                  </a:cubicBezTo>
                  <a:cubicBezTo>
                    <a:pt x="1397" y="2665"/>
                    <a:pt x="1427" y="2673"/>
                    <a:pt x="1450" y="2688"/>
                  </a:cubicBezTo>
                  <a:cubicBezTo>
                    <a:pt x="1473" y="2696"/>
                    <a:pt x="1465" y="2726"/>
                    <a:pt x="1488" y="2742"/>
                  </a:cubicBezTo>
                  <a:cubicBezTo>
                    <a:pt x="1511" y="2757"/>
                    <a:pt x="1542" y="2765"/>
                    <a:pt x="1565" y="2757"/>
                  </a:cubicBezTo>
                  <a:cubicBezTo>
                    <a:pt x="1595" y="2734"/>
                    <a:pt x="1595" y="2681"/>
                    <a:pt x="1626" y="2665"/>
                  </a:cubicBezTo>
                  <a:cubicBezTo>
                    <a:pt x="1656" y="2658"/>
                    <a:pt x="1695" y="2688"/>
                    <a:pt x="1725" y="2673"/>
                  </a:cubicBezTo>
                  <a:cubicBezTo>
                    <a:pt x="1763" y="2665"/>
                    <a:pt x="1786" y="2627"/>
                    <a:pt x="1817" y="2612"/>
                  </a:cubicBezTo>
                  <a:cubicBezTo>
                    <a:pt x="1847" y="2604"/>
                    <a:pt x="1878" y="2596"/>
                    <a:pt x="1908" y="2604"/>
                  </a:cubicBezTo>
                  <a:cubicBezTo>
                    <a:pt x="1916" y="2604"/>
                    <a:pt x="1916" y="2612"/>
                    <a:pt x="1916" y="2619"/>
                  </a:cubicBezTo>
                  <a:lnTo>
                    <a:pt x="1916" y="2619"/>
                  </a:lnTo>
                  <a:cubicBezTo>
                    <a:pt x="1947" y="2612"/>
                    <a:pt x="1970" y="2612"/>
                    <a:pt x="1992" y="2596"/>
                  </a:cubicBezTo>
                  <a:cubicBezTo>
                    <a:pt x="2015" y="2581"/>
                    <a:pt x="2015" y="2543"/>
                    <a:pt x="2038" y="2535"/>
                  </a:cubicBezTo>
                  <a:cubicBezTo>
                    <a:pt x="2061" y="2528"/>
                    <a:pt x="2084" y="2581"/>
                    <a:pt x="2099" y="2566"/>
                  </a:cubicBezTo>
                  <a:cubicBezTo>
                    <a:pt x="2122" y="2520"/>
                    <a:pt x="2115" y="2467"/>
                    <a:pt x="2122" y="2413"/>
                  </a:cubicBezTo>
                  <a:cubicBezTo>
                    <a:pt x="2122" y="2383"/>
                    <a:pt x="2137" y="2352"/>
                    <a:pt x="2122" y="2321"/>
                  </a:cubicBezTo>
                  <a:cubicBezTo>
                    <a:pt x="2115" y="2291"/>
                    <a:pt x="2061" y="2283"/>
                    <a:pt x="2061" y="2253"/>
                  </a:cubicBezTo>
                  <a:cubicBezTo>
                    <a:pt x="2061" y="2222"/>
                    <a:pt x="2092" y="2215"/>
                    <a:pt x="2115" y="2199"/>
                  </a:cubicBezTo>
                  <a:cubicBezTo>
                    <a:pt x="2130" y="2192"/>
                    <a:pt x="2160" y="2199"/>
                    <a:pt x="2168" y="2184"/>
                  </a:cubicBezTo>
                  <a:cubicBezTo>
                    <a:pt x="2176" y="2161"/>
                    <a:pt x="2137" y="2138"/>
                    <a:pt x="2137" y="2115"/>
                  </a:cubicBezTo>
                  <a:cubicBezTo>
                    <a:pt x="2137" y="2092"/>
                    <a:pt x="2153" y="2062"/>
                    <a:pt x="2168" y="2046"/>
                  </a:cubicBezTo>
                  <a:cubicBezTo>
                    <a:pt x="2176" y="2024"/>
                    <a:pt x="2199" y="2001"/>
                    <a:pt x="2222" y="1993"/>
                  </a:cubicBezTo>
                  <a:cubicBezTo>
                    <a:pt x="2252" y="1985"/>
                    <a:pt x="2290" y="2008"/>
                    <a:pt x="2321" y="2001"/>
                  </a:cubicBezTo>
                  <a:cubicBezTo>
                    <a:pt x="2336" y="2001"/>
                    <a:pt x="2344" y="1985"/>
                    <a:pt x="2359" y="1978"/>
                  </a:cubicBezTo>
                  <a:lnTo>
                    <a:pt x="2359" y="1978"/>
                  </a:lnTo>
                  <a:cubicBezTo>
                    <a:pt x="2359" y="1940"/>
                    <a:pt x="2367" y="1902"/>
                    <a:pt x="2367" y="1863"/>
                  </a:cubicBezTo>
                  <a:cubicBezTo>
                    <a:pt x="2367" y="1833"/>
                    <a:pt x="2359" y="1794"/>
                    <a:pt x="2344" y="1772"/>
                  </a:cubicBezTo>
                  <a:cubicBezTo>
                    <a:pt x="2336" y="1756"/>
                    <a:pt x="2321" y="1779"/>
                    <a:pt x="2313" y="1772"/>
                  </a:cubicBezTo>
                  <a:cubicBezTo>
                    <a:pt x="2306" y="1764"/>
                    <a:pt x="2306" y="1749"/>
                    <a:pt x="2298" y="1733"/>
                  </a:cubicBezTo>
                  <a:cubicBezTo>
                    <a:pt x="2252" y="1695"/>
                    <a:pt x="2199" y="1665"/>
                    <a:pt x="2160" y="1619"/>
                  </a:cubicBezTo>
                  <a:cubicBezTo>
                    <a:pt x="2137" y="1588"/>
                    <a:pt x="2122" y="1550"/>
                    <a:pt x="2130" y="1520"/>
                  </a:cubicBezTo>
                  <a:cubicBezTo>
                    <a:pt x="2130" y="1497"/>
                    <a:pt x="2168" y="1489"/>
                    <a:pt x="2176" y="1466"/>
                  </a:cubicBezTo>
                  <a:cubicBezTo>
                    <a:pt x="2176" y="1451"/>
                    <a:pt x="2168" y="1435"/>
                    <a:pt x="2160" y="1420"/>
                  </a:cubicBezTo>
                  <a:cubicBezTo>
                    <a:pt x="2153" y="1413"/>
                    <a:pt x="2130" y="1420"/>
                    <a:pt x="2115" y="1405"/>
                  </a:cubicBezTo>
                  <a:cubicBezTo>
                    <a:pt x="2099" y="1390"/>
                    <a:pt x="2084" y="1367"/>
                    <a:pt x="2076" y="1336"/>
                  </a:cubicBezTo>
                  <a:cubicBezTo>
                    <a:pt x="2076" y="1321"/>
                    <a:pt x="2099" y="1313"/>
                    <a:pt x="2107" y="1306"/>
                  </a:cubicBezTo>
                  <a:cubicBezTo>
                    <a:pt x="2115" y="1283"/>
                    <a:pt x="2107" y="1260"/>
                    <a:pt x="2107" y="1245"/>
                  </a:cubicBezTo>
                  <a:cubicBezTo>
                    <a:pt x="2115" y="1222"/>
                    <a:pt x="2115" y="1206"/>
                    <a:pt x="2122" y="1183"/>
                  </a:cubicBezTo>
                  <a:cubicBezTo>
                    <a:pt x="2122" y="1168"/>
                    <a:pt x="2137" y="1160"/>
                    <a:pt x="2137" y="1145"/>
                  </a:cubicBezTo>
                  <a:cubicBezTo>
                    <a:pt x="2145" y="1130"/>
                    <a:pt x="2137" y="1107"/>
                    <a:pt x="2137" y="1092"/>
                  </a:cubicBezTo>
                  <a:lnTo>
                    <a:pt x="2137" y="1092"/>
                  </a:lnTo>
                  <a:cubicBezTo>
                    <a:pt x="2130" y="1084"/>
                    <a:pt x="2115" y="1084"/>
                    <a:pt x="2099" y="1076"/>
                  </a:cubicBezTo>
                  <a:cubicBezTo>
                    <a:pt x="2092" y="1061"/>
                    <a:pt x="2092" y="1046"/>
                    <a:pt x="2084" y="1038"/>
                  </a:cubicBezTo>
                  <a:cubicBezTo>
                    <a:pt x="2069" y="1016"/>
                    <a:pt x="2046" y="1000"/>
                    <a:pt x="2023" y="977"/>
                  </a:cubicBezTo>
                  <a:cubicBezTo>
                    <a:pt x="2015" y="962"/>
                    <a:pt x="2008" y="939"/>
                    <a:pt x="1992" y="924"/>
                  </a:cubicBezTo>
                  <a:cubicBezTo>
                    <a:pt x="1985" y="916"/>
                    <a:pt x="1992" y="939"/>
                    <a:pt x="1985" y="947"/>
                  </a:cubicBezTo>
                  <a:cubicBezTo>
                    <a:pt x="1970" y="962"/>
                    <a:pt x="1939" y="962"/>
                    <a:pt x="1924" y="977"/>
                  </a:cubicBezTo>
                  <a:cubicBezTo>
                    <a:pt x="1901" y="1000"/>
                    <a:pt x="1893" y="1031"/>
                    <a:pt x="1870" y="1046"/>
                  </a:cubicBezTo>
                  <a:cubicBezTo>
                    <a:pt x="1855" y="1061"/>
                    <a:pt x="1832" y="1061"/>
                    <a:pt x="1809" y="1054"/>
                  </a:cubicBezTo>
                  <a:cubicBezTo>
                    <a:pt x="1794" y="1046"/>
                    <a:pt x="1779" y="1023"/>
                    <a:pt x="1763" y="1008"/>
                  </a:cubicBezTo>
                  <a:cubicBezTo>
                    <a:pt x="1748" y="985"/>
                    <a:pt x="1748" y="962"/>
                    <a:pt x="1740" y="939"/>
                  </a:cubicBezTo>
                  <a:cubicBezTo>
                    <a:pt x="1740" y="924"/>
                    <a:pt x="1740" y="908"/>
                    <a:pt x="1733" y="901"/>
                  </a:cubicBezTo>
                  <a:cubicBezTo>
                    <a:pt x="1725" y="878"/>
                    <a:pt x="1695" y="863"/>
                    <a:pt x="1702" y="840"/>
                  </a:cubicBezTo>
                  <a:cubicBezTo>
                    <a:pt x="1702" y="824"/>
                    <a:pt x="1725" y="809"/>
                    <a:pt x="1740" y="794"/>
                  </a:cubicBezTo>
                  <a:cubicBezTo>
                    <a:pt x="1756" y="771"/>
                    <a:pt x="1779" y="748"/>
                    <a:pt x="1786" y="718"/>
                  </a:cubicBezTo>
                  <a:cubicBezTo>
                    <a:pt x="1786" y="688"/>
                    <a:pt x="1763" y="665"/>
                    <a:pt x="1748" y="642"/>
                  </a:cubicBezTo>
                  <a:cubicBezTo>
                    <a:pt x="1740" y="627"/>
                    <a:pt x="1710" y="634"/>
                    <a:pt x="1710" y="627"/>
                  </a:cubicBezTo>
                  <a:cubicBezTo>
                    <a:pt x="1710" y="611"/>
                    <a:pt x="1733" y="611"/>
                    <a:pt x="1740" y="596"/>
                  </a:cubicBezTo>
                  <a:cubicBezTo>
                    <a:pt x="1756" y="566"/>
                    <a:pt x="1740" y="520"/>
                    <a:pt x="1763" y="497"/>
                  </a:cubicBezTo>
                  <a:cubicBezTo>
                    <a:pt x="1794" y="459"/>
                    <a:pt x="1855" y="467"/>
                    <a:pt x="1893" y="436"/>
                  </a:cubicBezTo>
                  <a:cubicBezTo>
                    <a:pt x="1901" y="428"/>
                    <a:pt x="1893" y="405"/>
                    <a:pt x="1885" y="390"/>
                  </a:cubicBezTo>
                  <a:cubicBezTo>
                    <a:pt x="1885" y="375"/>
                    <a:pt x="1870" y="367"/>
                    <a:pt x="1862" y="352"/>
                  </a:cubicBezTo>
                  <a:cubicBezTo>
                    <a:pt x="1862" y="337"/>
                    <a:pt x="1878" y="306"/>
                    <a:pt x="1862" y="306"/>
                  </a:cubicBezTo>
                  <a:cubicBezTo>
                    <a:pt x="1840" y="291"/>
                    <a:pt x="1809" y="321"/>
                    <a:pt x="1779" y="321"/>
                  </a:cubicBezTo>
                  <a:cubicBezTo>
                    <a:pt x="1763" y="321"/>
                    <a:pt x="1763" y="306"/>
                    <a:pt x="1756" y="298"/>
                  </a:cubicBezTo>
                  <a:cubicBezTo>
                    <a:pt x="1740" y="268"/>
                    <a:pt x="1733" y="230"/>
                    <a:pt x="1710" y="207"/>
                  </a:cubicBezTo>
                  <a:cubicBezTo>
                    <a:pt x="1695" y="192"/>
                    <a:pt x="1672" y="207"/>
                    <a:pt x="1656" y="192"/>
                  </a:cubicBezTo>
                  <a:cubicBezTo>
                    <a:pt x="1641" y="184"/>
                    <a:pt x="1626" y="169"/>
                    <a:pt x="1618" y="153"/>
                  </a:cubicBezTo>
                  <a:cubicBezTo>
                    <a:pt x="1603" y="123"/>
                    <a:pt x="1618" y="85"/>
                    <a:pt x="1595" y="54"/>
                  </a:cubicBezTo>
                  <a:cubicBezTo>
                    <a:pt x="1572" y="23"/>
                    <a:pt x="1526" y="16"/>
                    <a:pt x="1496" y="0"/>
                  </a:cubicBezTo>
                  <a:lnTo>
                    <a:pt x="1496" y="0"/>
                  </a:lnTo>
                  <a:cubicBezTo>
                    <a:pt x="1488" y="8"/>
                    <a:pt x="1465" y="16"/>
                    <a:pt x="1450" y="31"/>
                  </a:cubicBezTo>
                  <a:cubicBezTo>
                    <a:pt x="1427" y="54"/>
                    <a:pt x="1397" y="85"/>
                    <a:pt x="1358" y="92"/>
                  </a:cubicBezTo>
                  <a:cubicBezTo>
                    <a:pt x="1343" y="100"/>
                    <a:pt x="1305" y="100"/>
                    <a:pt x="1305" y="115"/>
                  </a:cubicBezTo>
                  <a:lnTo>
                    <a:pt x="1305" y="115"/>
                  </a:lnTo>
                  <a:cubicBezTo>
                    <a:pt x="1297" y="115"/>
                    <a:pt x="1297" y="138"/>
                    <a:pt x="1297" y="146"/>
                  </a:cubicBezTo>
                  <a:cubicBezTo>
                    <a:pt x="1290" y="153"/>
                    <a:pt x="1282" y="153"/>
                    <a:pt x="1274" y="161"/>
                  </a:cubicBezTo>
                  <a:cubicBezTo>
                    <a:pt x="1251" y="184"/>
                    <a:pt x="1251" y="199"/>
                    <a:pt x="1236" y="222"/>
                  </a:cubicBezTo>
                  <a:cubicBezTo>
                    <a:pt x="1190" y="237"/>
                    <a:pt x="1160" y="314"/>
                    <a:pt x="1099" y="321"/>
                  </a:cubicBezTo>
                  <a:cubicBezTo>
                    <a:pt x="1091" y="337"/>
                    <a:pt x="976" y="329"/>
                    <a:pt x="969" y="314"/>
                  </a:cubicBezTo>
                  <a:lnTo>
                    <a:pt x="961" y="329"/>
                  </a:lnTo>
                  <a:lnTo>
                    <a:pt x="961" y="329"/>
                  </a:lnTo>
                  <a:cubicBezTo>
                    <a:pt x="954" y="337"/>
                    <a:pt x="961" y="337"/>
                    <a:pt x="961" y="344"/>
                  </a:cubicBezTo>
                  <a:cubicBezTo>
                    <a:pt x="992" y="375"/>
                    <a:pt x="992" y="375"/>
                    <a:pt x="992" y="375"/>
                  </a:cubicBezTo>
                  <a:cubicBezTo>
                    <a:pt x="1015" y="375"/>
                    <a:pt x="969" y="444"/>
                    <a:pt x="961" y="451"/>
                  </a:cubicBezTo>
                  <a:cubicBezTo>
                    <a:pt x="954" y="467"/>
                    <a:pt x="954" y="512"/>
                    <a:pt x="931" y="520"/>
                  </a:cubicBezTo>
                  <a:lnTo>
                    <a:pt x="938" y="520"/>
                  </a:ln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98" name="Freeform 120"/>
            <p:cNvSpPr>
              <a:spLocks noChangeArrowheads="1"/>
            </p:cNvSpPr>
            <p:nvPr/>
          </p:nvSpPr>
          <p:spPr bwMode="auto">
            <a:xfrm>
              <a:off x="6922637" y="5721350"/>
              <a:ext cx="187313" cy="101600"/>
            </a:xfrm>
            <a:custGeom>
              <a:avLst/>
              <a:gdLst>
                <a:gd name="T0" fmla="*/ 519 w 520"/>
                <a:gd name="T1" fmla="*/ 136 h 282"/>
                <a:gd name="T2" fmla="*/ 519 w 520"/>
                <a:gd name="T3" fmla="*/ 136 h 282"/>
                <a:gd name="T4" fmla="*/ 489 w 520"/>
                <a:gd name="T5" fmla="*/ 53 h 282"/>
                <a:gd name="T6" fmla="*/ 489 w 520"/>
                <a:gd name="T7" fmla="*/ 53 h 282"/>
                <a:gd name="T8" fmla="*/ 389 w 520"/>
                <a:gd name="T9" fmla="*/ 38 h 282"/>
                <a:gd name="T10" fmla="*/ 313 w 520"/>
                <a:gd name="T11" fmla="*/ 61 h 282"/>
                <a:gd name="T12" fmla="*/ 198 w 520"/>
                <a:gd name="T13" fmla="*/ 53 h 282"/>
                <a:gd name="T14" fmla="*/ 130 w 520"/>
                <a:gd name="T15" fmla="*/ 7 h 282"/>
                <a:gd name="T16" fmla="*/ 130 w 520"/>
                <a:gd name="T17" fmla="*/ 7 h 282"/>
                <a:gd name="T18" fmla="*/ 92 w 520"/>
                <a:gd name="T19" fmla="*/ 0 h 282"/>
                <a:gd name="T20" fmla="*/ 61 w 520"/>
                <a:gd name="T21" fmla="*/ 22 h 282"/>
                <a:gd name="T22" fmla="*/ 23 w 520"/>
                <a:gd name="T23" fmla="*/ 84 h 282"/>
                <a:gd name="T24" fmla="*/ 38 w 520"/>
                <a:gd name="T25" fmla="*/ 121 h 282"/>
                <a:gd name="T26" fmla="*/ 0 w 520"/>
                <a:gd name="T27" fmla="*/ 159 h 282"/>
                <a:gd name="T28" fmla="*/ 38 w 520"/>
                <a:gd name="T29" fmla="*/ 205 h 282"/>
                <a:gd name="T30" fmla="*/ 38 w 520"/>
                <a:gd name="T31" fmla="*/ 205 h 282"/>
                <a:gd name="T32" fmla="*/ 130 w 520"/>
                <a:gd name="T33" fmla="*/ 197 h 282"/>
                <a:gd name="T34" fmla="*/ 153 w 520"/>
                <a:gd name="T35" fmla="*/ 174 h 282"/>
                <a:gd name="T36" fmla="*/ 183 w 520"/>
                <a:gd name="T37" fmla="*/ 174 h 282"/>
                <a:gd name="T38" fmla="*/ 214 w 520"/>
                <a:gd name="T39" fmla="*/ 197 h 282"/>
                <a:gd name="T40" fmla="*/ 267 w 520"/>
                <a:gd name="T41" fmla="*/ 197 h 282"/>
                <a:gd name="T42" fmla="*/ 283 w 520"/>
                <a:gd name="T43" fmla="*/ 228 h 282"/>
                <a:gd name="T44" fmla="*/ 305 w 520"/>
                <a:gd name="T45" fmla="*/ 235 h 282"/>
                <a:gd name="T46" fmla="*/ 321 w 520"/>
                <a:gd name="T47" fmla="*/ 274 h 282"/>
                <a:gd name="T48" fmla="*/ 389 w 520"/>
                <a:gd name="T49" fmla="*/ 213 h 282"/>
                <a:gd name="T50" fmla="*/ 405 w 520"/>
                <a:gd name="T51" fmla="*/ 274 h 282"/>
                <a:gd name="T52" fmla="*/ 443 w 520"/>
                <a:gd name="T53" fmla="*/ 274 h 282"/>
                <a:gd name="T54" fmla="*/ 443 w 520"/>
                <a:gd name="T55" fmla="*/ 274 h 282"/>
                <a:gd name="T56" fmla="*/ 443 w 520"/>
                <a:gd name="T57" fmla="*/ 144 h 282"/>
                <a:gd name="T58" fmla="*/ 519 w 520"/>
                <a:gd name="T59" fmla="*/ 136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0" h="282">
                  <a:moveTo>
                    <a:pt x="519" y="136"/>
                  </a:moveTo>
                  <a:lnTo>
                    <a:pt x="519" y="136"/>
                  </a:lnTo>
                  <a:cubicBezTo>
                    <a:pt x="489" y="53"/>
                    <a:pt x="489" y="53"/>
                    <a:pt x="489" y="53"/>
                  </a:cubicBezTo>
                  <a:lnTo>
                    <a:pt x="489" y="53"/>
                  </a:lnTo>
                  <a:cubicBezTo>
                    <a:pt x="458" y="45"/>
                    <a:pt x="428" y="38"/>
                    <a:pt x="389" y="38"/>
                  </a:cubicBezTo>
                  <a:cubicBezTo>
                    <a:pt x="367" y="38"/>
                    <a:pt x="344" y="61"/>
                    <a:pt x="313" y="61"/>
                  </a:cubicBezTo>
                  <a:cubicBezTo>
                    <a:pt x="275" y="61"/>
                    <a:pt x="237" y="61"/>
                    <a:pt x="198" y="53"/>
                  </a:cubicBezTo>
                  <a:cubicBezTo>
                    <a:pt x="175" y="38"/>
                    <a:pt x="153" y="22"/>
                    <a:pt x="130" y="7"/>
                  </a:cubicBezTo>
                  <a:lnTo>
                    <a:pt x="130" y="7"/>
                  </a:lnTo>
                  <a:cubicBezTo>
                    <a:pt x="114" y="7"/>
                    <a:pt x="99" y="0"/>
                    <a:pt x="92" y="0"/>
                  </a:cubicBezTo>
                  <a:cubicBezTo>
                    <a:pt x="76" y="7"/>
                    <a:pt x="69" y="15"/>
                    <a:pt x="61" y="22"/>
                  </a:cubicBezTo>
                  <a:cubicBezTo>
                    <a:pt x="46" y="45"/>
                    <a:pt x="31" y="61"/>
                    <a:pt x="23" y="84"/>
                  </a:cubicBezTo>
                  <a:cubicBezTo>
                    <a:pt x="23" y="99"/>
                    <a:pt x="46" y="106"/>
                    <a:pt x="38" y="121"/>
                  </a:cubicBezTo>
                  <a:cubicBezTo>
                    <a:pt x="31" y="136"/>
                    <a:pt x="0" y="144"/>
                    <a:pt x="0" y="159"/>
                  </a:cubicBezTo>
                  <a:cubicBezTo>
                    <a:pt x="0" y="182"/>
                    <a:pt x="23" y="190"/>
                    <a:pt x="38" y="205"/>
                  </a:cubicBezTo>
                  <a:lnTo>
                    <a:pt x="38" y="205"/>
                  </a:lnTo>
                  <a:cubicBezTo>
                    <a:pt x="69" y="205"/>
                    <a:pt x="107" y="205"/>
                    <a:pt x="130" y="197"/>
                  </a:cubicBezTo>
                  <a:cubicBezTo>
                    <a:pt x="145" y="197"/>
                    <a:pt x="145" y="174"/>
                    <a:pt x="153" y="174"/>
                  </a:cubicBezTo>
                  <a:cubicBezTo>
                    <a:pt x="160" y="167"/>
                    <a:pt x="175" y="167"/>
                    <a:pt x="183" y="174"/>
                  </a:cubicBezTo>
                  <a:cubicBezTo>
                    <a:pt x="191" y="182"/>
                    <a:pt x="198" y="197"/>
                    <a:pt x="214" y="197"/>
                  </a:cubicBezTo>
                  <a:cubicBezTo>
                    <a:pt x="229" y="205"/>
                    <a:pt x="252" y="190"/>
                    <a:pt x="267" y="197"/>
                  </a:cubicBezTo>
                  <a:cubicBezTo>
                    <a:pt x="283" y="205"/>
                    <a:pt x="275" y="220"/>
                    <a:pt x="283" y="228"/>
                  </a:cubicBezTo>
                  <a:cubicBezTo>
                    <a:pt x="290" y="235"/>
                    <a:pt x="298" y="228"/>
                    <a:pt x="305" y="235"/>
                  </a:cubicBezTo>
                  <a:cubicBezTo>
                    <a:pt x="313" y="243"/>
                    <a:pt x="305" y="274"/>
                    <a:pt x="321" y="274"/>
                  </a:cubicBezTo>
                  <a:cubicBezTo>
                    <a:pt x="351" y="266"/>
                    <a:pt x="359" y="213"/>
                    <a:pt x="389" y="213"/>
                  </a:cubicBezTo>
                  <a:cubicBezTo>
                    <a:pt x="412" y="213"/>
                    <a:pt x="389" y="258"/>
                    <a:pt x="405" y="274"/>
                  </a:cubicBezTo>
                  <a:cubicBezTo>
                    <a:pt x="412" y="281"/>
                    <a:pt x="428" y="274"/>
                    <a:pt x="443" y="274"/>
                  </a:cubicBezTo>
                  <a:lnTo>
                    <a:pt x="443" y="274"/>
                  </a:lnTo>
                  <a:cubicBezTo>
                    <a:pt x="443" y="228"/>
                    <a:pt x="420" y="182"/>
                    <a:pt x="443" y="144"/>
                  </a:cubicBezTo>
                  <a:cubicBezTo>
                    <a:pt x="458" y="121"/>
                    <a:pt x="496" y="136"/>
                    <a:pt x="519" y="13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199" name="Freeform 121"/>
            <p:cNvSpPr>
              <a:spLocks noChangeArrowheads="1"/>
            </p:cNvSpPr>
            <p:nvPr/>
          </p:nvSpPr>
          <p:spPr bwMode="auto">
            <a:xfrm>
              <a:off x="7098838" y="5691188"/>
              <a:ext cx="104768" cy="82550"/>
            </a:xfrm>
            <a:custGeom>
              <a:avLst/>
              <a:gdLst>
                <a:gd name="T0" fmla="*/ 0 w 291"/>
                <a:gd name="T1" fmla="*/ 76 h 229"/>
                <a:gd name="T2" fmla="*/ 0 w 291"/>
                <a:gd name="T3" fmla="*/ 76 h 229"/>
                <a:gd name="T4" fmla="*/ 0 w 291"/>
                <a:gd name="T5" fmla="*/ 137 h 229"/>
                <a:gd name="T6" fmla="*/ 0 w 291"/>
                <a:gd name="T7" fmla="*/ 137 h 229"/>
                <a:gd name="T8" fmla="*/ 30 w 291"/>
                <a:gd name="T9" fmla="*/ 220 h 229"/>
                <a:gd name="T10" fmla="*/ 30 w 291"/>
                <a:gd name="T11" fmla="*/ 220 h 229"/>
                <a:gd name="T12" fmla="*/ 153 w 291"/>
                <a:gd name="T13" fmla="*/ 228 h 229"/>
                <a:gd name="T14" fmla="*/ 267 w 291"/>
                <a:gd name="T15" fmla="*/ 190 h 229"/>
                <a:gd name="T16" fmla="*/ 267 w 291"/>
                <a:gd name="T17" fmla="*/ 190 h 229"/>
                <a:gd name="T18" fmla="*/ 267 w 291"/>
                <a:gd name="T19" fmla="*/ 61 h 229"/>
                <a:gd name="T20" fmla="*/ 214 w 291"/>
                <a:gd name="T21" fmla="*/ 0 h 229"/>
                <a:gd name="T22" fmla="*/ 214 w 291"/>
                <a:gd name="T23" fmla="*/ 0 h 229"/>
                <a:gd name="T24" fmla="*/ 137 w 291"/>
                <a:gd name="T25" fmla="*/ 61 h 229"/>
                <a:gd name="T26" fmla="*/ 0 w 291"/>
                <a:gd name="T27" fmla="*/ 7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1" h="229">
                  <a:moveTo>
                    <a:pt x="0" y="76"/>
                  </a:moveTo>
                  <a:lnTo>
                    <a:pt x="0" y="76"/>
                  </a:lnTo>
                  <a:cubicBezTo>
                    <a:pt x="0" y="137"/>
                    <a:pt x="0" y="137"/>
                    <a:pt x="0" y="137"/>
                  </a:cubicBezTo>
                  <a:lnTo>
                    <a:pt x="0" y="137"/>
                  </a:lnTo>
                  <a:cubicBezTo>
                    <a:pt x="30" y="220"/>
                    <a:pt x="30" y="220"/>
                    <a:pt x="30" y="220"/>
                  </a:cubicBezTo>
                  <a:lnTo>
                    <a:pt x="30" y="220"/>
                  </a:lnTo>
                  <a:cubicBezTo>
                    <a:pt x="76" y="220"/>
                    <a:pt x="114" y="228"/>
                    <a:pt x="153" y="228"/>
                  </a:cubicBezTo>
                  <a:cubicBezTo>
                    <a:pt x="198" y="220"/>
                    <a:pt x="229" y="205"/>
                    <a:pt x="267" y="190"/>
                  </a:cubicBezTo>
                  <a:lnTo>
                    <a:pt x="267" y="190"/>
                  </a:lnTo>
                  <a:cubicBezTo>
                    <a:pt x="275" y="145"/>
                    <a:pt x="290" y="76"/>
                    <a:pt x="267" y="61"/>
                  </a:cubicBezTo>
                  <a:cubicBezTo>
                    <a:pt x="252" y="45"/>
                    <a:pt x="229" y="23"/>
                    <a:pt x="214" y="0"/>
                  </a:cubicBezTo>
                  <a:lnTo>
                    <a:pt x="214" y="0"/>
                  </a:lnTo>
                  <a:cubicBezTo>
                    <a:pt x="183" y="30"/>
                    <a:pt x="175" y="45"/>
                    <a:pt x="137" y="61"/>
                  </a:cubicBezTo>
                  <a:cubicBezTo>
                    <a:pt x="91" y="76"/>
                    <a:pt x="46" y="68"/>
                    <a:pt x="0" y="7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00" name="Freeform 122"/>
            <p:cNvSpPr>
              <a:spLocks noChangeArrowheads="1"/>
            </p:cNvSpPr>
            <p:nvPr/>
          </p:nvSpPr>
          <p:spPr bwMode="auto">
            <a:xfrm>
              <a:off x="6970259" y="5627689"/>
              <a:ext cx="130167" cy="115887"/>
            </a:xfrm>
            <a:custGeom>
              <a:avLst/>
              <a:gdLst>
                <a:gd name="T0" fmla="*/ 359 w 360"/>
                <a:gd name="T1" fmla="*/ 252 h 322"/>
                <a:gd name="T2" fmla="*/ 359 w 360"/>
                <a:gd name="T3" fmla="*/ 252 h 322"/>
                <a:gd name="T4" fmla="*/ 259 w 360"/>
                <a:gd name="T5" fmla="*/ 191 h 322"/>
                <a:gd name="T6" fmla="*/ 267 w 360"/>
                <a:gd name="T7" fmla="*/ 122 h 322"/>
                <a:gd name="T8" fmla="*/ 206 w 360"/>
                <a:gd name="T9" fmla="*/ 99 h 322"/>
                <a:gd name="T10" fmla="*/ 206 w 360"/>
                <a:gd name="T11" fmla="*/ 46 h 322"/>
                <a:gd name="T12" fmla="*/ 206 w 360"/>
                <a:gd name="T13" fmla="*/ 46 h 322"/>
                <a:gd name="T14" fmla="*/ 168 w 360"/>
                <a:gd name="T15" fmla="*/ 0 h 322"/>
                <a:gd name="T16" fmla="*/ 91 w 360"/>
                <a:gd name="T17" fmla="*/ 46 h 322"/>
                <a:gd name="T18" fmla="*/ 107 w 360"/>
                <a:gd name="T19" fmla="*/ 115 h 322"/>
                <a:gd name="T20" fmla="*/ 30 w 360"/>
                <a:gd name="T21" fmla="*/ 153 h 322"/>
                <a:gd name="T22" fmla="*/ 0 w 360"/>
                <a:gd name="T23" fmla="*/ 267 h 322"/>
                <a:gd name="T24" fmla="*/ 0 w 360"/>
                <a:gd name="T25" fmla="*/ 267 h 322"/>
                <a:gd name="T26" fmla="*/ 68 w 360"/>
                <a:gd name="T27" fmla="*/ 313 h 322"/>
                <a:gd name="T28" fmla="*/ 183 w 360"/>
                <a:gd name="T29" fmla="*/ 321 h 322"/>
                <a:gd name="T30" fmla="*/ 259 w 360"/>
                <a:gd name="T31" fmla="*/ 298 h 322"/>
                <a:gd name="T32" fmla="*/ 359 w 360"/>
                <a:gd name="T33" fmla="*/ 313 h 322"/>
                <a:gd name="T34" fmla="*/ 359 w 360"/>
                <a:gd name="T35" fmla="*/ 313 h 322"/>
                <a:gd name="T36" fmla="*/ 359 w 360"/>
                <a:gd name="T37" fmla="*/ 25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0" h="322">
                  <a:moveTo>
                    <a:pt x="359" y="252"/>
                  </a:moveTo>
                  <a:lnTo>
                    <a:pt x="359" y="252"/>
                  </a:lnTo>
                  <a:cubicBezTo>
                    <a:pt x="328" y="229"/>
                    <a:pt x="282" y="221"/>
                    <a:pt x="259" y="191"/>
                  </a:cubicBezTo>
                  <a:cubicBezTo>
                    <a:pt x="244" y="168"/>
                    <a:pt x="282" y="145"/>
                    <a:pt x="267" y="122"/>
                  </a:cubicBezTo>
                  <a:cubicBezTo>
                    <a:pt x="259" y="107"/>
                    <a:pt x="221" y="115"/>
                    <a:pt x="206" y="99"/>
                  </a:cubicBezTo>
                  <a:cubicBezTo>
                    <a:pt x="198" y="84"/>
                    <a:pt x="206" y="61"/>
                    <a:pt x="206" y="46"/>
                  </a:cubicBezTo>
                  <a:lnTo>
                    <a:pt x="206" y="46"/>
                  </a:lnTo>
                  <a:cubicBezTo>
                    <a:pt x="191" y="30"/>
                    <a:pt x="183" y="0"/>
                    <a:pt x="168" y="0"/>
                  </a:cubicBezTo>
                  <a:cubicBezTo>
                    <a:pt x="137" y="0"/>
                    <a:pt x="107" y="15"/>
                    <a:pt x="91" y="46"/>
                  </a:cubicBezTo>
                  <a:cubicBezTo>
                    <a:pt x="76" y="61"/>
                    <a:pt x="114" y="92"/>
                    <a:pt x="107" y="115"/>
                  </a:cubicBezTo>
                  <a:cubicBezTo>
                    <a:pt x="91" y="138"/>
                    <a:pt x="53" y="130"/>
                    <a:pt x="30" y="153"/>
                  </a:cubicBezTo>
                  <a:cubicBezTo>
                    <a:pt x="15" y="183"/>
                    <a:pt x="7" y="229"/>
                    <a:pt x="0" y="267"/>
                  </a:cubicBezTo>
                  <a:lnTo>
                    <a:pt x="0" y="267"/>
                  </a:lnTo>
                  <a:cubicBezTo>
                    <a:pt x="23" y="282"/>
                    <a:pt x="45" y="298"/>
                    <a:pt x="68" y="313"/>
                  </a:cubicBezTo>
                  <a:cubicBezTo>
                    <a:pt x="107" y="321"/>
                    <a:pt x="145" y="321"/>
                    <a:pt x="183" y="321"/>
                  </a:cubicBezTo>
                  <a:cubicBezTo>
                    <a:pt x="214" y="321"/>
                    <a:pt x="237" y="298"/>
                    <a:pt x="259" y="298"/>
                  </a:cubicBezTo>
                  <a:cubicBezTo>
                    <a:pt x="298" y="298"/>
                    <a:pt x="328" y="305"/>
                    <a:pt x="359" y="313"/>
                  </a:cubicBezTo>
                  <a:lnTo>
                    <a:pt x="359" y="313"/>
                  </a:lnTo>
                  <a:cubicBezTo>
                    <a:pt x="359" y="252"/>
                    <a:pt x="359" y="252"/>
                    <a:pt x="359" y="25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01" name="Freeform 123"/>
            <p:cNvSpPr>
              <a:spLocks noChangeArrowheads="1"/>
            </p:cNvSpPr>
            <p:nvPr/>
          </p:nvSpPr>
          <p:spPr bwMode="auto">
            <a:xfrm>
              <a:off x="7041691" y="5630863"/>
              <a:ext cx="134929" cy="88900"/>
            </a:xfrm>
            <a:custGeom>
              <a:avLst/>
              <a:gdLst>
                <a:gd name="T0" fmla="*/ 375 w 376"/>
                <a:gd name="T1" fmla="*/ 168 h 245"/>
                <a:gd name="T2" fmla="*/ 375 w 376"/>
                <a:gd name="T3" fmla="*/ 168 h 245"/>
                <a:gd name="T4" fmla="*/ 291 w 376"/>
                <a:gd name="T5" fmla="*/ 0 h 245"/>
                <a:gd name="T6" fmla="*/ 291 w 376"/>
                <a:gd name="T7" fmla="*/ 0 h 245"/>
                <a:gd name="T8" fmla="*/ 252 w 376"/>
                <a:gd name="T9" fmla="*/ 15 h 245"/>
                <a:gd name="T10" fmla="*/ 229 w 376"/>
                <a:gd name="T11" fmla="*/ 53 h 245"/>
                <a:gd name="T12" fmla="*/ 199 w 376"/>
                <a:gd name="T13" fmla="*/ 68 h 245"/>
                <a:gd name="T14" fmla="*/ 153 w 376"/>
                <a:gd name="T15" fmla="*/ 53 h 245"/>
                <a:gd name="T16" fmla="*/ 92 w 376"/>
                <a:gd name="T17" fmla="*/ 61 h 245"/>
                <a:gd name="T18" fmla="*/ 61 w 376"/>
                <a:gd name="T19" fmla="*/ 45 h 245"/>
                <a:gd name="T20" fmla="*/ 8 w 376"/>
                <a:gd name="T21" fmla="*/ 38 h 245"/>
                <a:gd name="T22" fmla="*/ 8 w 376"/>
                <a:gd name="T23" fmla="*/ 38 h 245"/>
                <a:gd name="T24" fmla="*/ 8 w 376"/>
                <a:gd name="T25" fmla="*/ 91 h 245"/>
                <a:gd name="T26" fmla="*/ 69 w 376"/>
                <a:gd name="T27" fmla="*/ 114 h 245"/>
                <a:gd name="T28" fmla="*/ 61 w 376"/>
                <a:gd name="T29" fmla="*/ 183 h 245"/>
                <a:gd name="T30" fmla="*/ 161 w 376"/>
                <a:gd name="T31" fmla="*/ 244 h 245"/>
                <a:gd name="T32" fmla="*/ 161 w 376"/>
                <a:gd name="T33" fmla="*/ 244 h 245"/>
                <a:gd name="T34" fmla="*/ 298 w 376"/>
                <a:gd name="T35" fmla="*/ 229 h 245"/>
                <a:gd name="T36" fmla="*/ 375 w 376"/>
                <a:gd name="T37" fmla="*/ 16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6" h="245">
                  <a:moveTo>
                    <a:pt x="375" y="168"/>
                  </a:moveTo>
                  <a:lnTo>
                    <a:pt x="375" y="168"/>
                  </a:lnTo>
                  <a:cubicBezTo>
                    <a:pt x="336" y="122"/>
                    <a:pt x="314" y="61"/>
                    <a:pt x="291" y="0"/>
                  </a:cubicBezTo>
                  <a:lnTo>
                    <a:pt x="291" y="0"/>
                  </a:lnTo>
                  <a:cubicBezTo>
                    <a:pt x="268" y="7"/>
                    <a:pt x="275" y="0"/>
                    <a:pt x="252" y="15"/>
                  </a:cubicBezTo>
                  <a:cubicBezTo>
                    <a:pt x="237" y="22"/>
                    <a:pt x="245" y="38"/>
                    <a:pt x="229" y="53"/>
                  </a:cubicBezTo>
                  <a:cubicBezTo>
                    <a:pt x="222" y="61"/>
                    <a:pt x="214" y="68"/>
                    <a:pt x="199" y="68"/>
                  </a:cubicBezTo>
                  <a:cubicBezTo>
                    <a:pt x="184" y="76"/>
                    <a:pt x="168" y="61"/>
                    <a:pt x="153" y="53"/>
                  </a:cubicBezTo>
                  <a:cubicBezTo>
                    <a:pt x="130" y="53"/>
                    <a:pt x="115" y="61"/>
                    <a:pt x="92" y="61"/>
                  </a:cubicBezTo>
                  <a:cubicBezTo>
                    <a:pt x="84" y="61"/>
                    <a:pt x="69" y="45"/>
                    <a:pt x="61" y="45"/>
                  </a:cubicBezTo>
                  <a:cubicBezTo>
                    <a:pt x="39" y="38"/>
                    <a:pt x="23" y="38"/>
                    <a:pt x="8" y="38"/>
                  </a:cubicBezTo>
                  <a:lnTo>
                    <a:pt x="8" y="38"/>
                  </a:lnTo>
                  <a:cubicBezTo>
                    <a:pt x="8" y="53"/>
                    <a:pt x="0" y="76"/>
                    <a:pt x="8" y="91"/>
                  </a:cubicBezTo>
                  <a:cubicBezTo>
                    <a:pt x="23" y="107"/>
                    <a:pt x="61" y="99"/>
                    <a:pt x="69" y="114"/>
                  </a:cubicBezTo>
                  <a:cubicBezTo>
                    <a:pt x="84" y="137"/>
                    <a:pt x="46" y="160"/>
                    <a:pt x="61" y="183"/>
                  </a:cubicBezTo>
                  <a:cubicBezTo>
                    <a:pt x="84" y="213"/>
                    <a:pt x="130" y="221"/>
                    <a:pt x="161" y="244"/>
                  </a:cubicBezTo>
                  <a:lnTo>
                    <a:pt x="161" y="244"/>
                  </a:lnTo>
                  <a:cubicBezTo>
                    <a:pt x="207" y="236"/>
                    <a:pt x="252" y="244"/>
                    <a:pt x="298" y="229"/>
                  </a:cubicBezTo>
                  <a:cubicBezTo>
                    <a:pt x="336" y="213"/>
                    <a:pt x="344" y="198"/>
                    <a:pt x="375" y="16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02" name="Freeform 124"/>
            <p:cNvSpPr>
              <a:spLocks noChangeArrowheads="1"/>
            </p:cNvSpPr>
            <p:nvPr/>
          </p:nvSpPr>
          <p:spPr bwMode="auto">
            <a:xfrm>
              <a:off x="5017762" y="5210175"/>
              <a:ext cx="1349287" cy="838200"/>
            </a:xfrm>
            <a:custGeom>
              <a:avLst/>
              <a:gdLst>
                <a:gd name="T0" fmla="*/ 3741 w 3750"/>
                <a:gd name="T1" fmla="*/ 978 h 2330"/>
                <a:gd name="T2" fmla="*/ 3543 w 3750"/>
                <a:gd name="T3" fmla="*/ 1153 h 2330"/>
                <a:gd name="T4" fmla="*/ 3405 w 3750"/>
                <a:gd name="T5" fmla="*/ 1161 h 2330"/>
                <a:gd name="T6" fmla="*/ 3405 w 3750"/>
                <a:gd name="T7" fmla="*/ 1283 h 2330"/>
                <a:gd name="T8" fmla="*/ 3329 w 3750"/>
                <a:gd name="T9" fmla="*/ 1375 h 2330"/>
                <a:gd name="T10" fmla="*/ 2574 w 3750"/>
                <a:gd name="T11" fmla="*/ 1360 h 2330"/>
                <a:gd name="T12" fmla="*/ 2436 w 3750"/>
                <a:gd name="T13" fmla="*/ 1679 h 2330"/>
                <a:gd name="T14" fmla="*/ 1802 w 3750"/>
                <a:gd name="T15" fmla="*/ 1924 h 2330"/>
                <a:gd name="T16" fmla="*/ 1764 w 3750"/>
                <a:gd name="T17" fmla="*/ 1977 h 2330"/>
                <a:gd name="T18" fmla="*/ 1489 w 3750"/>
                <a:gd name="T19" fmla="*/ 1786 h 2330"/>
                <a:gd name="T20" fmla="*/ 1329 w 3750"/>
                <a:gd name="T21" fmla="*/ 1802 h 2330"/>
                <a:gd name="T22" fmla="*/ 1107 w 3750"/>
                <a:gd name="T23" fmla="*/ 2122 h 2330"/>
                <a:gd name="T24" fmla="*/ 672 w 3750"/>
                <a:gd name="T25" fmla="*/ 1802 h 2330"/>
                <a:gd name="T26" fmla="*/ 450 w 3750"/>
                <a:gd name="T27" fmla="*/ 2008 h 2330"/>
                <a:gd name="T28" fmla="*/ 511 w 3750"/>
                <a:gd name="T29" fmla="*/ 2267 h 2330"/>
                <a:gd name="T30" fmla="*/ 290 w 3750"/>
                <a:gd name="T31" fmla="*/ 1908 h 2330"/>
                <a:gd name="T32" fmla="*/ 160 w 3750"/>
                <a:gd name="T33" fmla="*/ 1260 h 2330"/>
                <a:gd name="T34" fmla="*/ 328 w 3750"/>
                <a:gd name="T35" fmla="*/ 1512 h 2330"/>
                <a:gd name="T36" fmla="*/ 420 w 3750"/>
                <a:gd name="T37" fmla="*/ 1191 h 2330"/>
                <a:gd name="T38" fmla="*/ 771 w 3750"/>
                <a:gd name="T39" fmla="*/ 1161 h 2330"/>
                <a:gd name="T40" fmla="*/ 909 w 3750"/>
                <a:gd name="T41" fmla="*/ 1024 h 2330"/>
                <a:gd name="T42" fmla="*/ 1008 w 3750"/>
                <a:gd name="T43" fmla="*/ 878 h 2330"/>
                <a:gd name="T44" fmla="*/ 1222 w 3750"/>
                <a:gd name="T45" fmla="*/ 810 h 2330"/>
                <a:gd name="T46" fmla="*/ 1291 w 3750"/>
                <a:gd name="T47" fmla="*/ 817 h 2330"/>
                <a:gd name="T48" fmla="*/ 1382 w 3750"/>
                <a:gd name="T49" fmla="*/ 565 h 2330"/>
                <a:gd name="T50" fmla="*/ 1566 w 3750"/>
                <a:gd name="T51" fmla="*/ 405 h 2330"/>
                <a:gd name="T52" fmla="*/ 1756 w 3750"/>
                <a:gd name="T53" fmla="*/ 458 h 2330"/>
                <a:gd name="T54" fmla="*/ 1779 w 3750"/>
                <a:gd name="T55" fmla="*/ 260 h 2330"/>
                <a:gd name="T56" fmla="*/ 1924 w 3750"/>
                <a:gd name="T57" fmla="*/ 53 h 2330"/>
                <a:gd name="T58" fmla="*/ 2008 w 3750"/>
                <a:gd name="T59" fmla="*/ 23 h 2330"/>
                <a:gd name="T60" fmla="*/ 2276 w 3750"/>
                <a:gd name="T61" fmla="*/ 138 h 2330"/>
                <a:gd name="T62" fmla="*/ 2398 w 3750"/>
                <a:gd name="T63" fmla="*/ 336 h 2330"/>
                <a:gd name="T64" fmla="*/ 2490 w 3750"/>
                <a:gd name="T65" fmla="*/ 481 h 2330"/>
                <a:gd name="T66" fmla="*/ 2604 w 3750"/>
                <a:gd name="T67" fmla="*/ 390 h 2330"/>
                <a:gd name="T68" fmla="*/ 2650 w 3750"/>
                <a:gd name="T69" fmla="*/ 191 h 2330"/>
                <a:gd name="T70" fmla="*/ 2749 w 3750"/>
                <a:gd name="T71" fmla="*/ 168 h 2330"/>
                <a:gd name="T72" fmla="*/ 3002 w 3750"/>
                <a:gd name="T73" fmla="*/ 61 h 2330"/>
                <a:gd name="T74" fmla="*/ 3085 w 3750"/>
                <a:gd name="T75" fmla="*/ 145 h 2330"/>
                <a:gd name="T76" fmla="*/ 3024 w 3750"/>
                <a:gd name="T77" fmla="*/ 344 h 2330"/>
                <a:gd name="T78" fmla="*/ 3191 w 3750"/>
                <a:gd name="T79" fmla="*/ 275 h 2330"/>
                <a:gd name="T80" fmla="*/ 3344 w 3750"/>
                <a:gd name="T81" fmla="*/ 344 h 2330"/>
                <a:gd name="T82" fmla="*/ 3436 w 3750"/>
                <a:gd name="T83" fmla="*/ 527 h 2330"/>
                <a:gd name="T84" fmla="*/ 3573 w 3750"/>
                <a:gd name="T85" fmla="*/ 489 h 2330"/>
                <a:gd name="T86" fmla="*/ 3695 w 3750"/>
                <a:gd name="T87" fmla="*/ 550 h 2330"/>
                <a:gd name="T88" fmla="*/ 3726 w 3750"/>
                <a:gd name="T89" fmla="*/ 672 h 2330"/>
                <a:gd name="T90" fmla="*/ 3749 w 3750"/>
                <a:gd name="T91" fmla="*/ 947 h 2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50" h="2330">
                  <a:moveTo>
                    <a:pt x="3749" y="947"/>
                  </a:moveTo>
                  <a:lnTo>
                    <a:pt x="3749" y="947"/>
                  </a:lnTo>
                  <a:cubicBezTo>
                    <a:pt x="3741" y="947"/>
                    <a:pt x="3741" y="970"/>
                    <a:pt x="3741" y="978"/>
                  </a:cubicBezTo>
                  <a:cubicBezTo>
                    <a:pt x="3734" y="985"/>
                    <a:pt x="3726" y="985"/>
                    <a:pt x="3718" y="993"/>
                  </a:cubicBezTo>
                  <a:cubicBezTo>
                    <a:pt x="3695" y="1016"/>
                    <a:pt x="3695" y="1031"/>
                    <a:pt x="3680" y="1054"/>
                  </a:cubicBezTo>
                  <a:cubicBezTo>
                    <a:pt x="3634" y="1069"/>
                    <a:pt x="3604" y="1146"/>
                    <a:pt x="3543" y="1153"/>
                  </a:cubicBezTo>
                  <a:cubicBezTo>
                    <a:pt x="3535" y="1169"/>
                    <a:pt x="3420" y="1161"/>
                    <a:pt x="3413" y="1146"/>
                  </a:cubicBezTo>
                  <a:lnTo>
                    <a:pt x="3405" y="1161"/>
                  </a:lnTo>
                  <a:lnTo>
                    <a:pt x="3405" y="1161"/>
                  </a:lnTo>
                  <a:cubicBezTo>
                    <a:pt x="3398" y="1169"/>
                    <a:pt x="3405" y="1169"/>
                    <a:pt x="3405" y="1176"/>
                  </a:cubicBezTo>
                  <a:cubicBezTo>
                    <a:pt x="3436" y="1207"/>
                    <a:pt x="3436" y="1207"/>
                    <a:pt x="3436" y="1207"/>
                  </a:cubicBezTo>
                  <a:cubicBezTo>
                    <a:pt x="3459" y="1207"/>
                    <a:pt x="3413" y="1276"/>
                    <a:pt x="3405" y="1283"/>
                  </a:cubicBezTo>
                  <a:cubicBezTo>
                    <a:pt x="3398" y="1299"/>
                    <a:pt x="3398" y="1344"/>
                    <a:pt x="3375" y="1352"/>
                  </a:cubicBezTo>
                  <a:cubicBezTo>
                    <a:pt x="3382" y="1352"/>
                    <a:pt x="3382" y="1352"/>
                    <a:pt x="3382" y="1352"/>
                  </a:cubicBezTo>
                  <a:cubicBezTo>
                    <a:pt x="3375" y="1352"/>
                    <a:pt x="3359" y="1360"/>
                    <a:pt x="3329" y="1375"/>
                  </a:cubicBezTo>
                  <a:cubicBezTo>
                    <a:pt x="3260" y="1421"/>
                    <a:pt x="3078" y="1421"/>
                    <a:pt x="2986" y="1405"/>
                  </a:cubicBezTo>
                  <a:cubicBezTo>
                    <a:pt x="2887" y="1382"/>
                    <a:pt x="2788" y="1398"/>
                    <a:pt x="2688" y="1405"/>
                  </a:cubicBezTo>
                  <a:cubicBezTo>
                    <a:pt x="2627" y="1413"/>
                    <a:pt x="2612" y="1360"/>
                    <a:pt x="2574" y="1360"/>
                  </a:cubicBezTo>
                  <a:cubicBezTo>
                    <a:pt x="2574" y="1398"/>
                    <a:pt x="2581" y="1421"/>
                    <a:pt x="2566" y="1459"/>
                  </a:cubicBezTo>
                  <a:cubicBezTo>
                    <a:pt x="2551" y="1497"/>
                    <a:pt x="2581" y="1527"/>
                    <a:pt x="2581" y="1565"/>
                  </a:cubicBezTo>
                  <a:cubicBezTo>
                    <a:pt x="2581" y="1679"/>
                    <a:pt x="2505" y="1641"/>
                    <a:pt x="2436" y="1679"/>
                  </a:cubicBezTo>
                  <a:cubicBezTo>
                    <a:pt x="2345" y="1672"/>
                    <a:pt x="2367" y="1634"/>
                    <a:pt x="2283" y="1695"/>
                  </a:cubicBezTo>
                  <a:cubicBezTo>
                    <a:pt x="2215" y="1740"/>
                    <a:pt x="2184" y="1794"/>
                    <a:pt x="2131" y="1832"/>
                  </a:cubicBezTo>
                  <a:cubicBezTo>
                    <a:pt x="2062" y="1886"/>
                    <a:pt x="1879" y="1992"/>
                    <a:pt x="1802" y="1924"/>
                  </a:cubicBezTo>
                  <a:cubicBezTo>
                    <a:pt x="1795" y="1916"/>
                    <a:pt x="1772" y="1863"/>
                    <a:pt x="1764" y="1870"/>
                  </a:cubicBezTo>
                  <a:cubicBezTo>
                    <a:pt x="1749" y="1924"/>
                    <a:pt x="1764" y="1931"/>
                    <a:pt x="1764" y="1977"/>
                  </a:cubicBezTo>
                  <a:lnTo>
                    <a:pt x="1764" y="1977"/>
                  </a:lnTo>
                  <a:cubicBezTo>
                    <a:pt x="1749" y="1939"/>
                    <a:pt x="1657" y="1916"/>
                    <a:pt x="1627" y="1893"/>
                  </a:cubicBezTo>
                  <a:cubicBezTo>
                    <a:pt x="1588" y="1863"/>
                    <a:pt x="1543" y="1817"/>
                    <a:pt x="1535" y="1763"/>
                  </a:cubicBezTo>
                  <a:cubicBezTo>
                    <a:pt x="1527" y="1717"/>
                    <a:pt x="1512" y="1786"/>
                    <a:pt x="1489" y="1786"/>
                  </a:cubicBezTo>
                  <a:cubicBezTo>
                    <a:pt x="1466" y="1786"/>
                    <a:pt x="1390" y="1725"/>
                    <a:pt x="1359" y="1710"/>
                  </a:cubicBezTo>
                  <a:cubicBezTo>
                    <a:pt x="1313" y="1695"/>
                    <a:pt x="1283" y="1611"/>
                    <a:pt x="1275" y="1702"/>
                  </a:cubicBezTo>
                  <a:cubicBezTo>
                    <a:pt x="1268" y="1756"/>
                    <a:pt x="1298" y="1779"/>
                    <a:pt x="1329" y="1802"/>
                  </a:cubicBezTo>
                  <a:cubicBezTo>
                    <a:pt x="1397" y="1855"/>
                    <a:pt x="1313" y="1992"/>
                    <a:pt x="1321" y="2054"/>
                  </a:cubicBezTo>
                  <a:cubicBezTo>
                    <a:pt x="1336" y="2115"/>
                    <a:pt x="1344" y="2153"/>
                    <a:pt x="1291" y="2199"/>
                  </a:cubicBezTo>
                  <a:cubicBezTo>
                    <a:pt x="1260" y="2214"/>
                    <a:pt x="1145" y="2138"/>
                    <a:pt x="1107" y="2122"/>
                  </a:cubicBezTo>
                  <a:cubicBezTo>
                    <a:pt x="1000" y="2069"/>
                    <a:pt x="985" y="1962"/>
                    <a:pt x="909" y="1908"/>
                  </a:cubicBezTo>
                  <a:cubicBezTo>
                    <a:pt x="847" y="1870"/>
                    <a:pt x="817" y="1855"/>
                    <a:pt x="771" y="1809"/>
                  </a:cubicBezTo>
                  <a:cubicBezTo>
                    <a:pt x="748" y="1786"/>
                    <a:pt x="702" y="1802"/>
                    <a:pt x="672" y="1802"/>
                  </a:cubicBezTo>
                  <a:cubicBezTo>
                    <a:pt x="649" y="1794"/>
                    <a:pt x="626" y="1756"/>
                    <a:pt x="611" y="1733"/>
                  </a:cubicBezTo>
                  <a:cubicBezTo>
                    <a:pt x="565" y="1687"/>
                    <a:pt x="473" y="1779"/>
                    <a:pt x="435" y="1802"/>
                  </a:cubicBezTo>
                  <a:cubicBezTo>
                    <a:pt x="351" y="1848"/>
                    <a:pt x="435" y="1939"/>
                    <a:pt x="450" y="2008"/>
                  </a:cubicBezTo>
                  <a:cubicBezTo>
                    <a:pt x="473" y="2130"/>
                    <a:pt x="473" y="2130"/>
                    <a:pt x="473" y="2130"/>
                  </a:cubicBezTo>
                  <a:cubicBezTo>
                    <a:pt x="519" y="2191"/>
                    <a:pt x="519" y="2191"/>
                    <a:pt x="519" y="2191"/>
                  </a:cubicBezTo>
                  <a:cubicBezTo>
                    <a:pt x="511" y="2267"/>
                    <a:pt x="511" y="2267"/>
                    <a:pt x="511" y="2267"/>
                  </a:cubicBezTo>
                  <a:cubicBezTo>
                    <a:pt x="504" y="2298"/>
                    <a:pt x="549" y="2313"/>
                    <a:pt x="557" y="2329"/>
                  </a:cubicBezTo>
                  <a:cubicBezTo>
                    <a:pt x="458" y="2329"/>
                    <a:pt x="351" y="2252"/>
                    <a:pt x="397" y="2153"/>
                  </a:cubicBezTo>
                  <a:cubicBezTo>
                    <a:pt x="412" y="2122"/>
                    <a:pt x="320" y="1939"/>
                    <a:pt x="290" y="1908"/>
                  </a:cubicBezTo>
                  <a:cubicBezTo>
                    <a:pt x="252" y="1848"/>
                    <a:pt x="168" y="1817"/>
                    <a:pt x="130" y="1748"/>
                  </a:cubicBezTo>
                  <a:cubicBezTo>
                    <a:pt x="107" y="1664"/>
                    <a:pt x="0" y="1557"/>
                    <a:pt x="30" y="1451"/>
                  </a:cubicBezTo>
                  <a:cubicBezTo>
                    <a:pt x="45" y="1382"/>
                    <a:pt x="61" y="1260"/>
                    <a:pt x="160" y="1260"/>
                  </a:cubicBezTo>
                  <a:cubicBezTo>
                    <a:pt x="160" y="1283"/>
                    <a:pt x="198" y="1337"/>
                    <a:pt x="206" y="1367"/>
                  </a:cubicBezTo>
                  <a:cubicBezTo>
                    <a:pt x="213" y="1405"/>
                    <a:pt x="206" y="1451"/>
                    <a:pt x="206" y="1489"/>
                  </a:cubicBezTo>
                  <a:cubicBezTo>
                    <a:pt x="213" y="1565"/>
                    <a:pt x="366" y="1588"/>
                    <a:pt x="328" y="1512"/>
                  </a:cubicBezTo>
                  <a:cubicBezTo>
                    <a:pt x="282" y="1436"/>
                    <a:pt x="252" y="1360"/>
                    <a:pt x="244" y="1283"/>
                  </a:cubicBezTo>
                  <a:lnTo>
                    <a:pt x="244" y="1283"/>
                  </a:lnTo>
                  <a:cubicBezTo>
                    <a:pt x="297" y="1253"/>
                    <a:pt x="382" y="1230"/>
                    <a:pt x="420" y="1191"/>
                  </a:cubicBezTo>
                  <a:cubicBezTo>
                    <a:pt x="458" y="1161"/>
                    <a:pt x="450" y="1092"/>
                    <a:pt x="488" y="1077"/>
                  </a:cubicBezTo>
                  <a:cubicBezTo>
                    <a:pt x="534" y="1069"/>
                    <a:pt x="565" y="1130"/>
                    <a:pt x="603" y="1146"/>
                  </a:cubicBezTo>
                  <a:cubicBezTo>
                    <a:pt x="657" y="1161"/>
                    <a:pt x="718" y="1169"/>
                    <a:pt x="771" y="1161"/>
                  </a:cubicBezTo>
                  <a:cubicBezTo>
                    <a:pt x="824" y="1161"/>
                    <a:pt x="878" y="1146"/>
                    <a:pt x="924" y="1123"/>
                  </a:cubicBezTo>
                  <a:cubicBezTo>
                    <a:pt x="939" y="1115"/>
                    <a:pt x="939" y="1084"/>
                    <a:pt x="947" y="1069"/>
                  </a:cubicBezTo>
                  <a:cubicBezTo>
                    <a:pt x="947" y="1069"/>
                    <a:pt x="909" y="1031"/>
                    <a:pt x="909" y="1024"/>
                  </a:cubicBezTo>
                  <a:cubicBezTo>
                    <a:pt x="909" y="1016"/>
                    <a:pt x="939" y="917"/>
                    <a:pt x="939" y="917"/>
                  </a:cubicBezTo>
                  <a:cubicBezTo>
                    <a:pt x="947" y="901"/>
                    <a:pt x="962" y="878"/>
                    <a:pt x="977" y="871"/>
                  </a:cubicBezTo>
                  <a:cubicBezTo>
                    <a:pt x="985" y="863"/>
                    <a:pt x="1000" y="878"/>
                    <a:pt x="1008" y="878"/>
                  </a:cubicBezTo>
                  <a:cubicBezTo>
                    <a:pt x="1031" y="863"/>
                    <a:pt x="1038" y="825"/>
                    <a:pt x="1061" y="825"/>
                  </a:cubicBezTo>
                  <a:cubicBezTo>
                    <a:pt x="1092" y="817"/>
                    <a:pt x="1130" y="848"/>
                    <a:pt x="1161" y="840"/>
                  </a:cubicBezTo>
                  <a:cubicBezTo>
                    <a:pt x="1184" y="840"/>
                    <a:pt x="1206" y="817"/>
                    <a:pt x="1222" y="810"/>
                  </a:cubicBezTo>
                  <a:lnTo>
                    <a:pt x="1222" y="810"/>
                  </a:lnTo>
                  <a:cubicBezTo>
                    <a:pt x="1229" y="832"/>
                    <a:pt x="1222" y="886"/>
                    <a:pt x="1252" y="886"/>
                  </a:cubicBezTo>
                  <a:cubicBezTo>
                    <a:pt x="1275" y="894"/>
                    <a:pt x="1283" y="848"/>
                    <a:pt x="1291" y="817"/>
                  </a:cubicBezTo>
                  <a:cubicBezTo>
                    <a:pt x="1306" y="787"/>
                    <a:pt x="1298" y="748"/>
                    <a:pt x="1313" y="718"/>
                  </a:cubicBezTo>
                  <a:cubicBezTo>
                    <a:pt x="1321" y="703"/>
                    <a:pt x="1344" y="718"/>
                    <a:pt x="1352" y="710"/>
                  </a:cubicBezTo>
                  <a:cubicBezTo>
                    <a:pt x="1367" y="665"/>
                    <a:pt x="1367" y="611"/>
                    <a:pt x="1382" y="565"/>
                  </a:cubicBezTo>
                  <a:cubicBezTo>
                    <a:pt x="1405" y="512"/>
                    <a:pt x="1428" y="466"/>
                    <a:pt x="1466" y="435"/>
                  </a:cubicBezTo>
                  <a:cubicBezTo>
                    <a:pt x="1481" y="420"/>
                    <a:pt x="1504" y="435"/>
                    <a:pt x="1527" y="435"/>
                  </a:cubicBezTo>
                  <a:cubicBezTo>
                    <a:pt x="1543" y="428"/>
                    <a:pt x="1550" y="405"/>
                    <a:pt x="1566" y="405"/>
                  </a:cubicBezTo>
                  <a:cubicBezTo>
                    <a:pt x="1573" y="397"/>
                    <a:pt x="1588" y="397"/>
                    <a:pt x="1604" y="405"/>
                  </a:cubicBezTo>
                  <a:cubicBezTo>
                    <a:pt x="1649" y="428"/>
                    <a:pt x="1672" y="481"/>
                    <a:pt x="1726" y="496"/>
                  </a:cubicBezTo>
                  <a:cubicBezTo>
                    <a:pt x="1741" y="504"/>
                    <a:pt x="1749" y="474"/>
                    <a:pt x="1756" y="458"/>
                  </a:cubicBezTo>
                  <a:cubicBezTo>
                    <a:pt x="1756" y="458"/>
                    <a:pt x="1756" y="413"/>
                    <a:pt x="1756" y="405"/>
                  </a:cubicBezTo>
                  <a:cubicBezTo>
                    <a:pt x="1756" y="390"/>
                    <a:pt x="1810" y="321"/>
                    <a:pt x="1810" y="321"/>
                  </a:cubicBezTo>
                  <a:cubicBezTo>
                    <a:pt x="1802" y="298"/>
                    <a:pt x="1779" y="282"/>
                    <a:pt x="1779" y="260"/>
                  </a:cubicBezTo>
                  <a:cubicBezTo>
                    <a:pt x="1779" y="221"/>
                    <a:pt x="1779" y="176"/>
                    <a:pt x="1802" y="153"/>
                  </a:cubicBezTo>
                  <a:cubicBezTo>
                    <a:pt x="1833" y="115"/>
                    <a:pt x="1894" y="122"/>
                    <a:pt x="1932" y="92"/>
                  </a:cubicBezTo>
                  <a:cubicBezTo>
                    <a:pt x="1947" y="84"/>
                    <a:pt x="1917" y="61"/>
                    <a:pt x="1924" y="53"/>
                  </a:cubicBezTo>
                  <a:cubicBezTo>
                    <a:pt x="1932" y="30"/>
                    <a:pt x="1955" y="15"/>
                    <a:pt x="1970" y="0"/>
                  </a:cubicBezTo>
                  <a:lnTo>
                    <a:pt x="1970" y="0"/>
                  </a:lnTo>
                  <a:cubicBezTo>
                    <a:pt x="1985" y="7"/>
                    <a:pt x="1993" y="23"/>
                    <a:pt x="2008" y="23"/>
                  </a:cubicBezTo>
                  <a:cubicBezTo>
                    <a:pt x="2047" y="30"/>
                    <a:pt x="2085" y="15"/>
                    <a:pt x="2123" y="23"/>
                  </a:cubicBezTo>
                  <a:cubicBezTo>
                    <a:pt x="2161" y="23"/>
                    <a:pt x="2192" y="38"/>
                    <a:pt x="2222" y="61"/>
                  </a:cubicBezTo>
                  <a:cubicBezTo>
                    <a:pt x="2245" y="84"/>
                    <a:pt x="2260" y="115"/>
                    <a:pt x="2276" y="138"/>
                  </a:cubicBezTo>
                  <a:cubicBezTo>
                    <a:pt x="2291" y="153"/>
                    <a:pt x="2299" y="176"/>
                    <a:pt x="2306" y="191"/>
                  </a:cubicBezTo>
                  <a:cubicBezTo>
                    <a:pt x="2322" y="221"/>
                    <a:pt x="2337" y="252"/>
                    <a:pt x="2352" y="275"/>
                  </a:cubicBezTo>
                  <a:cubicBezTo>
                    <a:pt x="2367" y="298"/>
                    <a:pt x="2390" y="313"/>
                    <a:pt x="2398" y="336"/>
                  </a:cubicBezTo>
                  <a:cubicBezTo>
                    <a:pt x="2406" y="351"/>
                    <a:pt x="2398" y="382"/>
                    <a:pt x="2406" y="397"/>
                  </a:cubicBezTo>
                  <a:cubicBezTo>
                    <a:pt x="2406" y="413"/>
                    <a:pt x="2429" y="428"/>
                    <a:pt x="2436" y="435"/>
                  </a:cubicBezTo>
                  <a:cubicBezTo>
                    <a:pt x="2452" y="451"/>
                    <a:pt x="2467" y="474"/>
                    <a:pt x="2490" y="481"/>
                  </a:cubicBezTo>
                  <a:cubicBezTo>
                    <a:pt x="2497" y="489"/>
                    <a:pt x="2520" y="489"/>
                    <a:pt x="2528" y="481"/>
                  </a:cubicBezTo>
                  <a:cubicBezTo>
                    <a:pt x="2543" y="451"/>
                    <a:pt x="2535" y="413"/>
                    <a:pt x="2558" y="390"/>
                  </a:cubicBezTo>
                  <a:cubicBezTo>
                    <a:pt x="2566" y="382"/>
                    <a:pt x="2597" y="405"/>
                    <a:pt x="2604" y="390"/>
                  </a:cubicBezTo>
                  <a:cubicBezTo>
                    <a:pt x="2619" y="367"/>
                    <a:pt x="2604" y="328"/>
                    <a:pt x="2604" y="298"/>
                  </a:cubicBezTo>
                  <a:cubicBezTo>
                    <a:pt x="2604" y="267"/>
                    <a:pt x="2589" y="237"/>
                    <a:pt x="2604" y="214"/>
                  </a:cubicBezTo>
                  <a:cubicBezTo>
                    <a:pt x="2612" y="199"/>
                    <a:pt x="2635" y="199"/>
                    <a:pt x="2650" y="191"/>
                  </a:cubicBezTo>
                  <a:cubicBezTo>
                    <a:pt x="2673" y="176"/>
                    <a:pt x="2696" y="168"/>
                    <a:pt x="2711" y="153"/>
                  </a:cubicBezTo>
                  <a:lnTo>
                    <a:pt x="2711" y="153"/>
                  </a:lnTo>
                  <a:cubicBezTo>
                    <a:pt x="2727" y="160"/>
                    <a:pt x="2734" y="168"/>
                    <a:pt x="2749" y="168"/>
                  </a:cubicBezTo>
                  <a:cubicBezTo>
                    <a:pt x="2772" y="168"/>
                    <a:pt x="2803" y="160"/>
                    <a:pt x="2833" y="153"/>
                  </a:cubicBezTo>
                  <a:cubicBezTo>
                    <a:pt x="2879" y="145"/>
                    <a:pt x="2933" y="153"/>
                    <a:pt x="2971" y="130"/>
                  </a:cubicBezTo>
                  <a:cubicBezTo>
                    <a:pt x="2994" y="115"/>
                    <a:pt x="2979" y="76"/>
                    <a:pt x="3002" y="61"/>
                  </a:cubicBezTo>
                  <a:cubicBezTo>
                    <a:pt x="3009" y="53"/>
                    <a:pt x="3024" y="76"/>
                    <a:pt x="3040" y="76"/>
                  </a:cubicBezTo>
                  <a:cubicBezTo>
                    <a:pt x="3070" y="92"/>
                    <a:pt x="3108" y="76"/>
                    <a:pt x="3131" y="99"/>
                  </a:cubicBezTo>
                  <a:cubicBezTo>
                    <a:pt x="3139" y="122"/>
                    <a:pt x="3101" y="130"/>
                    <a:pt x="3085" y="145"/>
                  </a:cubicBezTo>
                  <a:cubicBezTo>
                    <a:pt x="3063" y="160"/>
                    <a:pt x="3047" y="176"/>
                    <a:pt x="3032" y="199"/>
                  </a:cubicBezTo>
                  <a:cubicBezTo>
                    <a:pt x="3024" y="221"/>
                    <a:pt x="3017" y="252"/>
                    <a:pt x="3017" y="275"/>
                  </a:cubicBezTo>
                  <a:cubicBezTo>
                    <a:pt x="3017" y="298"/>
                    <a:pt x="3009" y="328"/>
                    <a:pt x="3024" y="344"/>
                  </a:cubicBezTo>
                  <a:cubicBezTo>
                    <a:pt x="3047" y="351"/>
                    <a:pt x="3063" y="321"/>
                    <a:pt x="3085" y="305"/>
                  </a:cubicBezTo>
                  <a:cubicBezTo>
                    <a:pt x="3101" y="290"/>
                    <a:pt x="3116" y="260"/>
                    <a:pt x="3145" y="252"/>
                  </a:cubicBezTo>
                  <a:cubicBezTo>
                    <a:pt x="3161" y="244"/>
                    <a:pt x="3176" y="260"/>
                    <a:pt x="3191" y="275"/>
                  </a:cubicBezTo>
                  <a:cubicBezTo>
                    <a:pt x="3207" y="282"/>
                    <a:pt x="3207" y="321"/>
                    <a:pt x="3230" y="321"/>
                  </a:cubicBezTo>
                  <a:cubicBezTo>
                    <a:pt x="3260" y="328"/>
                    <a:pt x="3298" y="290"/>
                    <a:pt x="3337" y="298"/>
                  </a:cubicBezTo>
                  <a:cubicBezTo>
                    <a:pt x="3352" y="305"/>
                    <a:pt x="3344" y="328"/>
                    <a:pt x="3344" y="344"/>
                  </a:cubicBezTo>
                  <a:cubicBezTo>
                    <a:pt x="3359" y="367"/>
                    <a:pt x="3367" y="382"/>
                    <a:pt x="3375" y="405"/>
                  </a:cubicBezTo>
                  <a:cubicBezTo>
                    <a:pt x="3390" y="428"/>
                    <a:pt x="3413" y="443"/>
                    <a:pt x="3428" y="466"/>
                  </a:cubicBezTo>
                  <a:cubicBezTo>
                    <a:pt x="3436" y="481"/>
                    <a:pt x="3420" y="512"/>
                    <a:pt x="3436" y="527"/>
                  </a:cubicBezTo>
                  <a:cubicBezTo>
                    <a:pt x="3443" y="535"/>
                    <a:pt x="3459" y="527"/>
                    <a:pt x="3474" y="527"/>
                  </a:cubicBezTo>
                  <a:cubicBezTo>
                    <a:pt x="3482" y="527"/>
                    <a:pt x="3489" y="542"/>
                    <a:pt x="3497" y="535"/>
                  </a:cubicBezTo>
                  <a:cubicBezTo>
                    <a:pt x="3527" y="527"/>
                    <a:pt x="3543" y="496"/>
                    <a:pt x="3573" y="489"/>
                  </a:cubicBezTo>
                  <a:cubicBezTo>
                    <a:pt x="3589" y="489"/>
                    <a:pt x="3604" y="504"/>
                    <a:pt x="3619" y="512"/>
                  </a:cubicBezTo>
                  <a:cubicBezTo>
                    <a:pt x="3642" y="512"/>
                    <a:pt x="3657" y="489"/>
                    <a:pt x="3673" y="496"/>
                  </a:cubicBezTo>
                  <a:cubicBezTo>
                    <a:pt x="3688" y="504"/>
                    <a:pt x="3703" y="535"/>
                    <a:pt x="3695" y="550"/>
                  </a:cubicBezTo>
                  <a:cubicBezTo>
                    <a:pt x="3688" y="580"/>
                    <a:pt x="3627" y="588"/>
                    <a:pt x="3634" y="619"/>
                  </a:cubicBezTo>
                  <a:cubicBezTo>
                    <a:pt x="3642" y="649"/>
                    <a:pt x="3695" y="611"/>
                    <a:pt x="3726" y="626"/>
                  </a:cubicBezTo>
                  <a:cubicBezTo>
                    <a:pt x="3734" y="634"/>
                    <a:pt x="3734" y="657"/>
                    <a:pt x="3726" y="672"/>
                  </a:cubicBezTo>
                  <a:cubicBezTo>
                    <a:pt x="3718" y="687"/>
                    <a:pt x="3695" y="687"/>
                    <a:pt x="3695" y="703"/>
                  </a:cubicBezTo>
                  <a:cubicBezTo>
                    <a:pt x="3680" y="764"/>
                    <a:pt x="3657" y="825"/>
                    <a:pt x="3665" y="878"/>
                  </a:cubicBezTo>
                  <a:cubicBezTo>
                    <a:pt x="3673" y="917"/>
                    <a:pt x="3718" y="924"/>
                    <a:pt x="3749" y="94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03" name="Freeform 125"/>
            <p:cNvSpPr>
              <a:spLocks noChangeArrowheads="1"/>
            </p:cNvSpPr>
            <p:nvPr/>
          </p:nvSpPr>
          <p:spPr bwMode="auto">
            <a:xfrm>
              <a:off x="5106656" y="5068888"/>
              <a:ext cx="393674" cy="603250"/>
            </a:xfrm>
            <a:custGeom>
              <a:avLst/>
              <a:gdLst>
                <a:gd name="T0" fmla="*/ 0 w 1093"/>
                <a:gd name="T1" fmla="*/ 1673 h 1674"/>
                <a:gd name="T2" fmla="*/ 244 w 1093"/>
                <a:gd name="T3" fmla="*/ 1467 h 1674"/>
                <a:gd name="T4" fmla="*/ 527 w 1093"/>
                <a:gd name="T5" fmla="*/ 1551 h 1674"/>
                <a:gd name="T6" fmla="*/ 703 w 1093"/>
                <a:gd name="T7" fmla="*/ 1459 h 1674"/>
                <a:gd name="T8" fmla="*/ 695 w 1093"/>
                <a:gd name="T9" fmla="*/ 1307 h 1674"/>
                <a:gd name="T10" fmla="*/ 764 w 1093"/>
                <a:gd name="T11" fmla="*/ 1268 h 1674"/>
                <a:gd name="T12" fmla="*/ 917 w 1093"/>
                <a:gd name="T13" fmla="*/ 1230 h 1674"/>
                <a:gd name="T14" fmla="*/ 978 w 1093"/>
                <a:gd name="T15" fmla="*/ 1200 h 1674"/>
                <a:gd name="T16" fmla="*/ 1001 w 1093"/>
                <a:gd name="T17" fmla="*/ 1032 h 1674"/>
                <a:gd name="T18" fmla="*/ 1008 w 1093"/>
                <a:gd name="T19" fmla="*/ 955 h 1674"/>
                <a:gd name="T20" fmla="*/ 978 w 1093"/>
                <a:gd name="T21" fmla="*/ 879 h 1674"/>
                <a:gd name="T22" fmla="*/ 962 w 1093"/>
                <a:gd name="T23" fmla="*/ 772 h 1674"/>
                <a:gd name="T24" fmla="*/ 878 w 1093"/>
                <a:gd name="T25" fmla="*/ 711 h 1674"/>
                <a:gd name="T26" fmla="*/ 855 w 1093"/>
                <a:gd name="T27" fmla="*/ 650 h 1674"/>
                <a:gd name="T28" fmla="*/ 871 w 1093"/>
                <a:gd name="T29" fmla="*/ 573 h 1674"/>
                <a:gd name="T30" fmla="*/ 772 w 1093"/>
                <a:gd name="T31" fmla="*/ 558 h 1674"/>
                <a:gd name="T32" fmla="*/ 825 w 1093"/>
                <a:gd name="T33" fmla="*/ 482 h 1674"/>
                <a:gd name="T34" fmla="*/ 886 w 1093"/>
                <a:gd name="T35" fmla="*/ 535 h 1674"/>
                <a:gd name="T36" fmla="*/ 1001 w 1093"/>
                <a:gd name="T37" fmla="*/ 520 h 1674"/>
                <a:gd name="T38" fmla="*/ 940 w 1093"/>
                <a:gd name="T39" fmla="*/ 451 h 1674"/>
                <a:gd name="T40" fmla="*/ 932 w 1093"/>
                <a:gd name="T41" fmla="*/ 397 h 1674"/>
                <a:gd name="T42" fmla="*/ 1001 w 1093"/>
                <a:gd name="T43" fmla="*/ 329 h 1674"/>
                <a:gd name="T44" fmla="*/ 1085 w 1093"/>
                <a:gd name="T45" fmla="*/ 260 h 1674"/>
                <a:gd name="T46" fmla="*/ 1031 w 1093"/>
                <a:gd name="T47" fmla="*/ 107 h 1674"/>
                <a:gd name="T48" fmla="*/ 894 w 1093"/>
                <a:gd name="T49" fmla="*/ 100 h 1674"/>
                <a:gd name="T50" fmla="*/ 802 w 1093"/>
                <a:gd name="T51" fmla="*/ 0 h 1674"/>
                <a:gd name="T52" fmla="*/ 718 w 1093"/>
                <a:gd name="T53" fmla="*/ 84 h 1674"/>
                <a:gd name="T54" fmla="*/ 580 w 1093"/>
                <a:gd name="T55" fmla="*/ 84 h 1674"/>
                <a:gd name="T56" fmla="*/ 588 w 1093"/>
                <a:gd name="T57" fmla="*/ 107 h 1674"/>
                <a:gd name="T58" fmla="*/ 634 w 1093"/>
                <a:gd name="T59" fmla="*/ 252 h 1674"/>
                <a:gd name="T60" fmla="*/ 474 w 1093"/>
                <a:gd name="T61" fmla="*/ 550 h 1674"/>
                <a:gd name="T62" fmla="*/ 321 w 1093"/>
                <a:gd name="T63" fmla="*/ 810 h 1674"/>
                <a:gd name="T64" fmla="*/ 298 w 1093"/>
                <a:gd name="T65" fmla="*/ 1024 h 1674"/>
                <a:gd name="T66" fmla="*/ 92 w 1093"/>
                <a:gd name="T67" fmla="*/ 1307 h 1674"/>
                <a:gd name="T68" fmla="*/ 0 w 1093"/>
                <a:gd name="T69" fmla="*/ 1673 h 1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3" h="1674">
                  <a:moveTo>
                    <a:pt x="0" y="1673"/>
                  </a:moveTo>
                  <a:lnTo>
                    <a:pt x="0" y="1673"/>
                  </a:lnTo>
                  <a:cubicBezTo>
                    <a:pt x="53" y="1643"/>
                    <a:pt x="138" y="1620"/>
                    <a:pt x="176" y="1581"/>
                  </a:cubicBezTo>
                  <a:cubicBezTo>
                    <a:pt x="214" y="1551"/>
                    <a:pt x="206" y="1482"/>
                    <a:pt x="244" y="1467"/>
                  </a:cubicBezTo>
                  <a:cubicBezTo>
                    <a:pt x="290" y="1459"/>
                    <a:pt x="321" y="1520"/>
                    <a:pt x="359" y="1536"/>
                  </a:cubicBezTo>
                  <a:cubicBezTo>
                    <a:pt x="413" y="1551"/>
                    <a:pt x="474" y="1559"/>
                    <a:pt x="527" y="1551"/>
                  </a:cubicBezTo>
                  <a:cubicBezTo>
                    <a:pt x="580" y="1551"/>
                    <a:pt x="634" y="1536"/>
                    <a:pt x="680" y="1513"/>
                  </a:cubicBezTo>
                  <a:cubicBezTo>
                    <a:pt x="695" y="1505"/>
                    <a:pt x="695" y="1474"/>
                    <a:pt x="703" y="1459"/>
                  </a:cubicBezTo>
                  <a:cubicBezTo>
                    <a:pt x="703" y="1459"/>
                    <a:pt x="665" y="1421"/>
                    <a:pt x="665" y="1414"/>
                  </a:cubicBezTo>
                  <a:cubicBezTo>
                    <a:pt x="665" y="1406"/>
                    <a:pt x="695" y="1307"/>
                    <a:pt x="695" y="1307"/>
                  </a:cubicBezTo>
                  <a:cubicBezTo>
                    <a:pt x="703" y="1291"/>
                    <a:pt x="718" y="1268"/>
                    <a:pt x="733" y="1261"/>
                  </a:cubicBezTo>
                  <a:cubicBezTo>
                    <a:pt x="741" y="1253"/>
                    <a:pt x="756" y="1268"/>
                    <a:pt x="764" y="1268"/>
                  </a:cubicBezTo>
                  <a:cubicBezTo>
                    <a:pt x="787" y="1253"/>
                    <a:pt x="794" y="1215"/>
                    <a:pt x="817" y="1215"/>
                  </a:cubicBezTo>
                  <a:cubicBezTo>
                    <a:pt x="848" y="1207"/>
                    <a:pt x="886" y="1238"/>
                    <a:pt x="917" y="1230"/>
                  </a:cubicBezTo>
                  <a:cubicBezTo>
                    <a:pt x="940" y="1230"/>
                    <a:pt x="962" y="1207"/>
                    <a:pt x="978" y="1200"/>
                  </a:cubicBezTo>
                  <a:lnTo>
                    <a:pt x="978" y="1200"/>
                  </a:lnTo>
                  <a:cubicBezTo>
                    <a:pt x="970" y="1169"/>
                    <a:pt x="955" y="1131"/>
                    <a:pt x="962" y="1100"/>
                  </a:cubicBezTo>
                  <a:cubicBezTo>
                    <a:pt x="962" y="1077"/>
                    <a:pt x="985" y="1055"/>
                    <a:pt x="1001" y="1032"/>
                  </a:cubicBezTo>
                  <a:cubicBezTo>
                    <a:pt x="1008" y="1009"/>
                    <a:pt x="1024" y="986"/>
                    <a:pt x="1024" y="955"/>
                  </a:cubicBezTo>
                  <a:cubicBezTo>
                    <a:pt x="1024" y="955"/>
                    <a:pt x="1008" y="963"/>
                    <a:pt x="1008" y="955"/>
                  </a:cubicBezTo>
                  <a:cubicBezTo>
                    <a:pt x="1001" y="947"/>
                    <a:pt x="1016" y="932"/>
                    <a:pt x="1016" y="925"/>
                  </a:cubicBezTo>
                  <a:cubicBezTo>
                    <a:pt x="1008" y="909"/>
                    <a:pt x="985" y="902"/>
                    <a:pt x="978" y="879"/>
                  </a:cubicBezTo>
                  <a:cubicBezTo>
                    <a:pt x="978" y="856"/>
                    <a:pt x="1008" y="841"/>
                    <a:pt x="1008" y="810"/>
                  </a:cubicBezTo>
                  <a:cubicBezTo>
                    <a:pt x="1001" y="795"/>
                    <a:pt x="978" y="780"/>
                    <a:pt x="962" y="772"/>
                  </a:cubicBezTo>
                  <a:cubicBezTo>
                    <a:pt x="947" y="764"/>
                    <a:pt x="932" y="772"/>
                    <a:pt x="924" y="772"/>
                  </a:cubicBezTo>
                  <a:cubicBezTo>
                    <a:pt x="909" y="757"/>
                    <a:pt x="901" y="734"/>
                    <a:pt x="878" y="711"/>
                  </a:cubicBezTo>
                  <a:cubicBezTo>
                    <a:pt x="863" y="695"/>
                    <a:pt x="840" y="688"/>
                    <a:pt x="825" y="665"/>
                  </a:cubicBezTo>
                  <a:cubicBezTo>
                    <a:pt x="825" y="657"/>
                    <a:pt x="848" y="657"/>
                    <a:pt x="855" y="650"/>
                  </a:cubicBezTo>
                  <a:cubicBezTo>
                    <a:pt x="871" y="634"/>
                    <a:pt x="886" y="619"/>
                    <a:pt x="886" y="596"/>
                  </a:cubicBezTo>
                  <a:cubicBezTo>
                    <a:pt x="886" y="589"/>
                    <a:pt x="878" y="581"/>
                    <a:pt x="871" y="573"/>
                  </a:cubicBezTo>
                  <a:cubicBezTo>
                    <a:pt x="848" y="573"/>
                    <a:pt x="833" y="589"/>
                    <a:pt x="810" y="581"/>
                  </a:cubicBezTo>
                  <a:cubicBezTo>
                    <a:pt x="794" y="581"/>
                    <a:pt x="764" y="573"/>
                    <a:pt x="772" y="558"/>
                  </a:cubicBezTo>
                  <a:cubicBezTo>
                    <a:pt x="772" y="535"/>
                    <a:pt x="810" y="535"/>
                    <a:pt x="825" y="520"/>
                  </a:cubicBezTo>
                  <a:cubicBezTo>
                    <a:pt x="833" y="512"/>
                    <a:pt x="817" y="482"/>
                    <a:pt x="825" y="482"/>
                  </a:cubicBezTo>
                  <a:cubicBezTo>
                    <a:pt x="840" y="474"/>
                    <a:pt x="863" y="482"/>
                    <a:pt x="878" y="497"/>
                  </a:cubicBezTo>
                  <a:cubicBezTo>
                    <a:pt x="886" y="505"/>
                    <a:pt x="871" y="528"/>
                    <a:pt x="886" y="535"/>
                  </a:cubicBezTo>
                  <a:cubicBezTo>
                    <a:pt x="909" y="550"/>
                    <a:pt x="940" y="550"/>
                    <a:pt x="962" y="550"/>
                  </a:cubicBezTo>
                  <a:cubicBezTo>
                    <a:pt x="978" y="543"/>
                    <a:pt x="993" y="535"/>
                    <a:pt x="1001" y="520"/>
                  </a:cubicBezTo>
                  <a:cubicBezTo>
                    <a:pt x="1008" y="505"/>
                    <a:pt x="1008" y="489"/>
                    <a:pt x="1001" y="482"/>
                  </a:cubicBezTo>
                  <a:cubicBezTo>
                    <a:pt x="985" y="466"/>
                    <a:pt x="955" y="466"/>
                    <a:pt x="940" y="451"/>
                  </a:cubicBezTo>
                  <a:cubicBezTo>
                    <a:pt x="940" y="436"/>
                    <a:pt x="962" y="428"/>
                    <a:pt x="955" y="420"/>
                  </a:cubicBezTo>
                  <a:cubicBezTo>
                    <a:pt x="955" y="405"/>
                    <a:pt x="932" y="413"/>
                    <a:pt x="932" y="397"/>
                  </a:cubicBezTo>
                  <a:cubicBezTo>
                    <a:pt x="932" y="375"/>
                    <a:pt x="947" y="352"/>
                    <a:pt x="962" y="329"/>
                  </a:cubicBezTo>
                  <a:cubicBezTo>
                    <a:pt x="970" y="321"/>
                    <a:pt x="993" y="336"/>
                    <a:pt x="1001" y="329"/>
                  </a:cubicBezTo>
                  <a:cubicBezTo>
                    <a:pt x="1008" y="321"/>
                    <a:pt x="1008" y="298"/>
                    <a:pt x="1024" y="291"/>
                  </a:cubicBezTo>
                  <a:cubicBezTo>
                    <a:pt x="1039" y="275"/>
                    <a:pt x="1077" y="283"/>
                    <a:pt x="1085" y="260"/>
                  </a:cubicBezTo>
                  <a:cubicBezTo>
                    <a:pt x="1092" y="222"/>
                    <a:pt x="1077" y="176"/>
                    <a:pt x="1062" y="138"/>
                  </a:cubicBezTo>
                  <a:cubicBezTo>
                    <a:pt x="1062" y="123"/>
                    <a:pt x="1047" y="115"/>
                    <a:pt x="1031" y="107"/>
                  </a:cubicBezTo>
                  <a:cubicBezTo>
                    <a:pt x="1016" y="107"/>
                    <a:pt x="993" y="115"/>
                    <a:pt x="978" y="115"/>
                  </a:cubicBezTo>
                  <a:lnTo>
                    <a:pt x="894" y="100"/>
                  </a:lnTo>
                  <a:cubicBezTo>
                    <a:pt x="886" y="92"/>
                    <a:pt x="863" y="31"/>
                    <a:pt x="863" y="31"/>
                  </a:cubicBezTo>
                  <a:cubicBezTo>
                    <a:pt x="840" y="23"/>
                    <a:pt x="817" y="8"/>
                    <a:pt x="802" y="0"/>
                  </a:cubicBezTo>
                  <a:lnTo>
                    <a:pt x="802" y="0"/>
                  </a:lnTo>
                  <a:cubicBezTo>
                    <a:pt x="772" y="31"/>
                    <a:pt x="749" y="61"/>
                    <a:pt x="718" y="84"/>
                  </a:cubicBezTo>
                  <a:cubicBezTo>
                    <a:pt x="695" y="92"/>
                    <a:pt x="680" y="100"/>
                    <a:pt x="657" y="100"/>
                  </a:cubicBezTo>
                  <a:cubicBezTo>
                    <a:pt x="642" y="100"/>
                    <a:pt x="596" y="92"/>
                    <a:pt x="580" y="84"/>
                  </a:cubicBezTo>
                  <a:lnTo>
                    <a:pt x="580" y="84"/>
                  </a:lnTo>
                  <a:cubicBezTo>
                    <a:pt x="588" y="92"/>
                    <a:pt x="588" y="100"/>
                    <a:pt x="588" y="107"/>
                  </a:cubicBezTo>
                  <a:cubicBezTo>
                    <a:pt x="588" y="130"/>
                    <a:pt x="619" y="161"/>
                    <a:pt x="611" y="176"/>
                  </a:cubicBezTo>
                  <a:cubicBezTo>
                    <a:pt x="588" y="237"/>
                    <a:pt x="588" y="191"/>
                    <a:pt x="634" y="252"/>
                  </a:cubicBezTo>
                  <a:cubicBezTo>
                    <a:pt x="672" y="298"/>
                    <a:pt x="665" y="413"/>
                    <a:pt x="634" y="466"/>
                  </a:cubicBezTo>
                  <a:cubicBezTo>
                    <a:pt x="588" y="535"/>
                    <a:pt x="535" y="520"/>
                    <a:pt x="474" y="550"/>
                  </a:cubicBezTo>
                  <a:cubicBezTo>
                    <a:pt x="436" y="566"/>
                    <a:pt x="451" y="642"/>
                    <a:pt x="443" y="680"/>
                  </a:cubicBezTo>
                  <a:cubicBezTo>
                    <a:pt x="428" y="711"/>
                    <a:pt x="321" y="810"/>
                    <a:pt x="321" y="810"/>
                  </a:cubicBezTo>
                  <a:cubicBezTo>
                    <a:pt x="328" y="848"/>
                    <a:pt x="328" y="871"/>
                    <a:pt x="328" y="917"/>
                  </a:cubicBezTo>
                  <a:cubicBezTo>
                    <a:pt x="328" y="955"/>
                    <a:pt x="298" y="978"/>
                    <a:pt x="298" y="1024"/>
                  </a:cubicBezTo>
                  <a:cubicBezTo>
                    <a:pt x="275" y="1077"/>
                    <a:pt x="222" y="1138"/>
                    <a:pt x="199" y="1192"/>
                  </a:cubicBezTo>
                  <a:cubicBezTo>
                    <a:pt x="168" y="1268"/>
                    <a:pt x="130" y="1253"/>
                    <a:pt x="92" y="1307"/>
                  </a:cubicBezTo>
                  <a:cubicBezTo>
                    <a:pt x="76" y="1329"/>
                    <a:pt x="92" y="1406"/>
                    <a:pt x="69" y="1444"/>
                  </a:cubicBezTo>
                  <a:cubicBezTo>
                    <a:pt x="15" y="1520"/>
                    <a:pt x="0" y="1597"/>
                    <a:pt x="0" y="167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04" name="Freeform 126"/>
            <p:cNvSpPr>
              <a:spLocks noChangeArrowheads="1"/>
            </p:cNvSpPr>
            <p:nvPr/>
          </p:nvSpPr>
          <p:spPr bwMode="auto">
            <a:xfrm>
              <a:off x="5413022" y="4854576"/>
              <a:ext cx="190488" cy="142875"/>
            </a:xfrm>
            <a:custGeom>
              <a:avLst/>
              <a:gdLst>
                <a:gd name="T0" fmla="*/ 31 w 529"/>
                <a:gd name="T1" fmla="*/ 206 h 398"/>
                <a:gd name="T2" fmla="*/ 31 w 529"/>
                <a:gd name="T3" fmla="*/ 206 h 398"/>
                <a:gd name="T4" fmla="*/ 0 w 529"/>
                <a:gd name="T5" fmla="*/ 145 h 398"/>
                <a:gd name="T6" fmla="*/ 0 w 529"/>
                <a:gd name="T7" fmla="*/ 145 h 398"/>
                <a:gd name="T8" fmla="*/ 46 w 529"/>
                <a:gd name="T9" fmla="*/ 114 h 398"/>
                <a:gd name="T10" fmla="*/ 100 w 529"/>
                <a:gd name="T11" fmla="*/ 53 h 398"/>
                <a:gd name="T12" fmla="*/ 192 w 529"/>
                <a:gd name="T13" fmla="*/ 53 h 398"/>
                <a:gd name="T14" fmla="*/ 275 w 529"/>
                <a:gd name="T15" fmla="*/ 0 h 398"/>
                <a:gd name="T16" fmla="*/ 275 w 529"/>
                <a:gd name="T17" fmla="*/ 0 h 398"/>
                <a:gd name="T18" fmla="*/ 283 w 529"/>
                <a:gd name="T19" fmla="*/ 76 h 398"/>
                <a:gd name="T20" fmla="*/ 329 w 529"/>
                <a:gd name="T21" fmla="*/ 76 h 398"/>
                <a:gd name="T22" fmla="*/ 367 w 529"/>
                <a:gd name="T23" fmla="*/ 30 h 398"/>
                <a:gd name="T24" fmla="*/ 428 w 529"/>
                <a:gd name="T25" fmla="*/ 30 h 398"/>
                <a:gd name="T26" fmla="*/ 444 w 529"/>
                <a:gd name="T27" fmla="*/ 91 h 398"/>
                <a:gd name="T28" fmla="*/ 474 w 529"/>
                <a:gd name="T29" fmla="*/ 99 h 398"/>
                <a:gd name="T30" fmla="*/ 474 w 529"/>
                <a:gd name="T31" fmla="*/ 99 h 398"/>
                <a:gd name="T32" fmla="*/ 459 w 529"/>
                <a:gd name="T33" fmla="*/ 137 h 398"/>
                <a:gd name="T34" fmla="*/ 421 w 529"/>
                <a:gd name="T35" fmla="*/ 145 h 398"/>
                <a:gd name="T36" fmla="*/ 459 w 529"/>
                <a:gd name="T37" fmla="*/ 214 h 398"/>
                <a:gd name="T38" fmla="*/ 520 w 529"/>
                <a:gd name="T39" fmla="*/ 259 h 398"/>
                <a:gd name="T40" fmla="*/ 520 w 529"/>
                <a:gd name="T41" fmla="*/ 336 h 398"/>
                <a:gd name="T42" fmla="*/ 474 w 529"/>
                <a:gd name="T43" fmla="*/ 397 h 398"/>
                <a:gd name="T44" fmla="*/ 474 w 529"/>
                <a:gd name="T45" fmla="*/ 397 h 398"/>
                <a:gd name="T46" fmla="*/ 436 w 529"/>
                <a:gd name="T47" fmla="*/ 374 h 398"/>
                <a:gd name="T48" fmla="*/ 344 w 529"/>
                <a:gd name="T49" fmla="*/ 366 h 398"/>
                <a:gd name="T50" fmla="*/ 337 w 529"/>
                <a:gd name="T51" fmla="*/ 336 h 398"/>
                <a:gd name="T52" fmla="*/ 260 w 529"/>
                <a:gd name="T53" fmla="*/ 275 h 398"/>
                <a:gd name="T54" fmla="*/ 237 w 529"/>
                <a:gd name="T55" fmla="*/ 290 h 398"/>
                <a:gd name="T56" fmla="*/ 192 w 529"/>
                <a:gd name="T57" fmla="*/ 244 h 398"/>
                <a:gd name="T58" fmla="*/ 130 w 529"/>
                <a:gd name="T59" fmla="*/ 236 h 398"/>
                <a:gd name="T60" fmla="*/ 146 w 529"/>
                <a:gd name="T61" fmla="*/ 198 h 398"/>
                <a:gd name="T62" fmla="*/ 85 w 529"/>
                <a:gd name="T63" fmla="*/ 152 h 398"/>
                <a:gd name="T64" fmla="*/ 31 w 529"/>
                <a:gd name="T65" fmla="*/ 206 h 398"/>
                <a:gd name="T66" fmla="*/ 31 w 529"/>
                <a:gd name="T67" fmla="*/ 206 h 398"/>
                <a:gd name="T68" fmla="*/ 0 w 529"/>
                <a:gd name="T69" fmla="*/ 145 h 398"/>
                <a:gd name="T70" fmla="*/ 31 w 529"/>
                <a:gd name="T71" fmla="*/ 206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9" h="398">
                  <a:moveTo>
                    <a:pt x="31" y="206"/>
                  </a:moveTo>
                  <a:lnTo>
                    <a:pt x="31" y="206"/>
                  </a:lnTo>
                  <a:cubicBezTo>
                    <a:pt x="0" y="145"/>
                    <a:pt x="0" y="145"/>
                    <a:pt x="0" y="145"/>
                  </a:cubicBezTo>
                  <a:lnTo>
                    <a:pt x="0" y="145"/>
                  </a:lnTo>
                  <a:cubicBezTo>
                    <a:pt x="16" y="129"/>
                    <a:pt x="31" y="122"/>
                    <a:pt x="46" y="114"/>
                  </a:cubicBezTo>
                  <a:cubicBezTo>
                    <a:pt x="69" y="91"/>
                    <a:pt x="77" y="68"/>
                    <a:pt x="100" y="53"/>
                  </a:cubicBezTo>
                  <a:cubicBezTo>
                    <a:pt x="130" y="45"/>
                    <a:pt x="161" y="61"/>
                    <a:pt x="192" y="53"/>
                  </a:cubicBezTo>
                  <a:cubicBezTo>
                    <a:pt x="222" y="45"/>
                    <a:pt x="245" y="15"/>
                    <a:pt x="275" y="0"/>
                  </a:cubicBezTo>
                  <a:lnTo>
                    <a:pt x="275" y="0"/>
                  </a:lnTo>
                  <a:cubicBezTo>
                    <a:pt x="275" y="23"/>
                    <a:pt x="268" y="53"/>
                    <a:pt x="283" y="76"/>
                  </a:cubicBezTo>
                  <a:cubicBezTo>
                    <a:pt x="291" y="84"/>
                    <a:pt x="314" y="84"/>
                    <a:pt x="329" y="76"/>
                  </a:cubicBezTo>
                  <a:cubicBezTo>
                    <a:pt x="344" y="68"/>
                    <a:pt x="344" y="38"/>
                    <a:pt x="367" y="30"/>
                  </a:cubicBezTo>
                  <a:cubicBezTo>
                    <a:pt x="382" y="23"/>
                    <a:pt x="413" y="15"/>
                    <a:pt x="428" y="30"/>
                  </a:cubicBezTo>
                  <a:cubicBezTo>
                    <a:pt x="451" y="38"/>
                    <a:pt x="436" y="76"/>
                    <a:pt x="444" y="91"/>
                  </a:cubicBezTo>
                  <a:cubicBezTo>
                    <a:pt x="451" y="99"/>
                    <a:pt x="467" y="99"/>
                    <a:pt x="474" y="99"/>
                  </a:cubicBezTo>
                  <a:lnTo>
                    <a:pt x="474" y="99"/>
                  </a:lnTo>
                  <a:cubicBezTo>
                    <a:pt x="474" y="114"/>
                    <a:pt x="474" y="129"/>
                    <a:pt x="459" y="137"/>
                  </a:cubicBezTo>
                  <a:cubicBezTo>
                    <a:pt x="451" y="145"/>
                    <a:pt x="421" y="129"/>
                    <a:pt x="421" y="145"/>
                  </a:cubicBezTo>
                  <a:cubicBezTo>
                    <a:pt x="421" y="168"/>
                    <a:pt x="444" y="191"/>
                    <a:pt x="459" y="214"/>
                  </a:cubicBezTo>
                  <a:cubicBezTo>
                    <a:pt x="474" y="229"/>
                    <a:pt x="505" y="236"/>
                    <a:pt x="520" y="259"/>
                  </a:cubicBezTo>
                  <a:cubicBezTo>
                    <a:pt x="528" y="282"/>
                    <a:pt x="528" y="313"/>
                    <a:pt x="520" y="336"/>
                  </a:cubicBezTo>
                  <a:cubicBezTo>
                    <a:pt x="512" y="359"/>
                    <a:pt x="489" y="374"/>
                    <a:pt x="474" y="397"/>
                  </a:cubicBezTo>
                  <a:lnTo>
                    <a:pt x="474" y="397"/>
                  </a:lnTo>
                  <a:cubicBezTo>
                    <a:pt x="459" y="389"/>
                    <a:pt x="444" y="381"/>
                    <a:pt x="436" y="374"/>
                  </a:cubicBezTo>
                  <a:cubicBezTo>
                    <a:pt x="405" y="374"/>
                    <a:pt x="375" y="374"/>
                    <a:pt x="344" y="366"/>
                  </a:cubicBezTo>
                  <a:cubicBezTo>
                    <a:pt x="337" y="359"/>
                    <a:pt x="344" y="343"/>
                    <a:pt x="337" y="336"/>
                  </a:cubicBezTo>
                  <a:cubicBezTo>
                    <a:pt x="314" y="313"/>
                    <a:pt x="291" y="290"/>
                    <a:pt x="260" y="275"/>
                  </a:cubicBezTo>
                  <a:cubicBezTo>
                    <a:pt x="253" y="267"/>
                    <a:pt x="245" y="290"/>
                    <a:pt x="237" y="290"/>
                  </a:cubicBezTo>
                  <a:cubicBezTo>
                    <a:pt x="214" y="275"/>
                    <a:pt x="214" y="252"/>
                    <a:pt x="192" y="244"/>
                  </a:cubicBezTo>
                  <a:cubicBezTo>
                    <a:pt x="176" y="236"/>
                    <a:pt x="146" y="252"/>
                    <a:pt x="130" y="236"/>
                  </a:cubicBezTo>
                  <a:cubicBezTo>
                    <a:pt x="123" y="229"/>
                    <a:pt x="153" y="206"/>
                    <a:pt x="146" y="198"/>
                  </a:cubicBezTo>
                  <a:cubicBezTo>
                    <a:pt x="130" y="175"/>
                    <a:pt x="107" y="152"/>
                    <a:pt x="85" y="152"/>
                  </a:cubicBezTo>
                  <a:cubicBezTo>
                    <a:pt x="54" y="152"/>
                    <a:pt x="46" y="183"/>
                    <a:pt x="31" y="206"/>
                  </a:cubicBezTo>
                  <a:lnTo>
                    <a:pt x="31" y="206"/>
                  </a:lnTo>
                  <a:cubicBezTo>
                    <a:pt x="0" y="145"/>
                    <a:pt x="0" y="145"/>
                    <a:pt x="0" y="145"/>
                  </a:cubicBezTo>
                  <a:lnTo>
                    <a:pt x="31" y="206"/>
                  </a:ln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05" name="Freeform 127"/>
            <p:cNvSpPr>
              <a:spLocks noChangeArrowheads="1"/>
            </p:cNvSpPr>
            <p:nvPr/>
          </p:nvSpPr>
          <p:spPr bwMode="auto">
            <a:xfrm>
              <a:off x="5366989" y="4910138"/>
              <a:ext cx="376212" cy="622300"/>
            </a:xfrm>
            <a:custGeom>
              <a:avLst/>
              <a:gdLst>
                <a:gd name="T0" fmla="*/ 603 w 1047"/>
                <a:gd name="T1" fmla="*/ 245 h 1728"/>
                <a:gd name="T2" fmla="*/ 473 w 1047"/>
                <a:gd name="T3" fmla="*/ 214 h 1728"/>
                <a:gd name="T4" fmla="*/ 389 w 1047"/>
                <a:gd name="T5" fmla="*/ 123 h 1728"/>
                <a:gd name="T6" fmla="*/ 321 w 1047"/>
                <a:gd name="T7" fmla="*/ 92 h 1728"/>
                <a:gd name="T8" fmla="*/ 275 w 1047"/>
                <a:gd name="T9" fmla="*/ 46 h 1728"/>
                <a:gd name="T10" fmla="*/ 160 w 1047"/>
                <a:gd name="T11" fmla="*/ 54 h 1728"/>
                <a:gd name="T12" fmla="*/ 114 w 1047"/>
                <a:gd name="T13" fmla="*/ 107 h 1728"/>
                <a:gd name="T14" fmla="*/ 7 w 1047"/>
                <a:gd name="T15" fmla="*/ 252 h 1728"/>
                <a:gd name="T16" fmla="*/ 68 w 1047"/>
                <a:gd name="T17" fmla="*/ 321 h 1728"/>
                <a:gd name="T18" fmla="*/ 168 w 1047"/>
                <a:gd name="T19" fmla="*/ 283 h 1728"/>
                <a:gd name="T20" fmla="*/ 214 w 1047"/>
                <a:gd name="T21" fmla="*/ 298 h 1728"/>
                <a:gd name="T22" fmla="*/ 107 w 1047"/>
                <a:gd name="T23" fmla="*/ 375 h 1728"/>
                <a:gd name="T24" fmla="*/ 84 w 1047"/>
                <a:gd name="T25" fmla="*/ 398 h 1728"/>
                <a:gd name="T26" fmla="*/ 76 w 1047"/>
                <a:gd name="T27" fmla="*/ 443 h 1728"/>
                <a:gd name="T28" fmla="*/ 168 w 1047"/>
                <a:gd name="T29" fmla="*/ 543 h 1728"/>
                <a:gd name="T30" fmla="*/ 305 w 1047"/>
                <a:gd name="T31" fmla="*/ 550 h 1728"/>
                <a:gd name="T32" fmla="*/ 359 w 1047"/>
                <a:gd name="T33" fmla="*/ 703 h 1728"/>
                <a:gd name="T34" fmla="*/ 275 w 1047"/>
                <a:gd name="T35" fmla="*/ 772 h 1728"/>
                <a:gd name="T36" fmla="*/ 206 w 1047"/>
                <a:gd name="T37" fmla="*/ 840 h 1728"/>
                <a:gd name="T38" fmla="*/ 214 w 1047"/>
                <a:gd name="T39" fmla="*/ 894 h 1728"/>
                <a:gd name="T40" fmla="*/ 275 w 1047"/>
                <a:gd name="T41" fmla="*/ 963 h 1728"/>
                <a:gd name="T42" fmla="*/ 160 w 1047"/>
                <a:gd name="T43" fmla="*/ 978 h 1728"/>
                <a:gd name="T44" fmla="*/ 99 w 1047"/>
                <a:gd name="T45" fmla="*/ 925 h 1728"/>
                <a:gd name="T46" fmla="*/ 46 w 1047"/>
                <a:gd name="T47" fmla="*/ 1001 h 1728"/>
                <a:gd name="T48" fmla="*/ 145 w 1047"/>
                <a:gd name="T49" fmla="*/ 1016 h 1728"/>
                <a:gd name="T50" fmla="*/ 129 w 1047"/>
                <a:gd name="T51" fmla="*/ 1093 h 1728"/>
                <a:gd name="T52" fmla="*/ 152 w 1047"/>
                <a:gd name="T53" fmla="*/ 1154 h 1728"/>
                <a:gd name="T54" fmla="*/ 236 w 1047"/>
                <a:gd name="T55" fmla="*/ 1215 h 1728"/>
                <a:gd name="T56" fmla="*/ 252 w 1047"/>
                <a:gd name="T57" fmla="*/ 1322 h 1728"/>
                <a:gd name="T58" fmla="*/ 282 w 1047"/>
                <a:gd name="T59" fmla="*/ 1398 h 1728"/>
                <a:gd name="T60" fmla="*/ 275 w 1047"/>
                <a:gd name="T61" fmla="*/ 1475 h 1728"/>
                <a:gd name="T62" fmla="*/ 252 w 1047"/>
                <a:gd name="T63" fmla="*/ 1643 h 1728"/>
                <a:gd name="T64" fmla="*/ 282 w 1047"/>
                <a:gd name="T65" fmla="*/ 1719 h 1728"/>
                <a:gd name="T66" fmla="*/ 343 w 1047"/>
                <a:gd name="T67" fmla="*/ 1551 h 1728"/>
                <a:gd name="T68" fmla="*/ 412 w 1047"/>
                <a:gd name="T69" fmla="*/ 1398 h 1728"/>
                <a:gd name="T70" fmla="*/ 557 w 1047"/>
                <a:gd name="T71" fmla="*/ 1268 h 1728"/>
                <a:gd name="T72" fmla="*/ 634 w 1047"/>
                <a:gd name="T73" fmla="*/ 1238 h 1728"/>
                <a:gd name="T74" fmla="*/ 786 w 1047"/>
                <a:gd name="T75" fmla="*/ 1291 h 1728"/>
                <a:gd name="T76" fmla="*/ 840 w 1047"/>
                <a:gd name="T77" fmla="*/ 1154 h 1728"/>
                <a:gd name="T78" fmla="*/ 832 w 1047"/>
                <a:gd name="T79" fmla="*/ 986 h 1728"/>
                <a:gd name="T80" fmla="*/ 954 w 1047"/>
                <a:gd name="T81" fmla="*/ 886 h 1728"/>
                <a:gd name="T82" fmla="*/ 1000 w 1047"/>
                <a:gd name="T83" fmla="*/ 833 h 1728"/>
                <a:gd name="T84" fmla="*/ 947 w 1047"/>
                <a:gd name="T85" fmla="*/ 772 h 1728"/>
                <a:gd name="T86" fmla="*/ 1038 w 1047"/>
                <a:gd name="T87" fmla="*/ 642 h 1728"/>
                <a:gd name="T88" fmla="*/ 970 w 1047"/>
                <a:gd name="T89" fmla="*/ 550 h 1728"/>
                <a:gd name="T90" fmla="*/ 924 w 1047"/>
                <a:gd name="T91" fmla="*/ 489 h 1728"/>
                <a:gd name="T92" fmla="*/ 748 w 1047"/>
                <a:gd name="T93" fmla="*/ 535 h 1728"/>
                <a:gd name="T94" fmla="*/ 634 w 1047"/>
                <a:gd name="T95" fmla="*/ 588 h 1728"/>
                <a:gd name="T96" fmla="*/ 664 w 1047"/>
                <a:gd name="T97" fmla="*/ 482 h 1728"/>
                <a:gd name="T98" fmla="*/ 672 w 1047"/>
                <a:gd name="T99" fmla="*/ 413 h 1728"/>
                <a:gd name="T100" fmla="*/ 603 w 1047"/>
                <a:gd name="T101" fmla="*/ 245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47" h="1728">
                  <a:moveTo>
                    <a:pt x="603" y="245"/>
                  </a:moveTo>
                  <a:lnTo>
                    <a:pt x="603" y="245"/>
                  </a:lnTo>
                  <a:cubicBezTo>
                    <a:pt x="588" y="237"/>
                    <a:pt x="573" y="229"/>
                    <a:pt x="565" y="222"/>
                  </a:cubicBezTo>
                  <a:cubicBezTo>
                    <a:pt x="534" y="222"/>
                    <a:pt x="504" y="222"/>
                    <a:pt x="473" y="214"/>
                  </a:cubicBezTo>
                  <a:cubicBezTo>
                    <a:pt x="466" y="207"/>
                    <a:pt x="473" y="191"/>
                    <a:pt x="466" y="184"/>
                  </a:cubicBezTo>
                  <a:cubicBezTo>
                    <a:pt x="443" y="161"/>
                    <a:pt x="420" y="138"/>
                    <a:pt x="389" y="123"/>
                  </a:cubicBezTo>
                  <a:cubicBezTo>
                    <a:pt x="382" y="115"/>
                    <a:pt x="374" y="138"/>
                    <a:pt x="366" y="138"/>
                  </a:cubicBezTo>
                  <a:cubicBezTo>
                    <a:pt x="343" y="123"/>
                    <a:pt x="343" y="100"/>
                    <a:pt x="321" y="92"/>
                  </a:cubicBezTo>
                  <a:cubicBezTo>
                    <a:pt x="305" y="84"/>
                    <a:pt x="275" y="100"/>
                    <a:pt x="259" y="84"/>
                  </a:cubicBezTo>
                  <a:cubicBezTo>
                    <a:pt x="252" y="77"/>
                    <a:pt x="282" y="54"/>
                    <a:pt x="275" y="46"/>
                  </a:cubicBezTo>
                  <a:cubicBezTo>
                    <a:pt x="259" y="23"/>
                    <a:pt x="236" y="0"/>
                    <a:pt x="214" y="0"/>
                  </a:cubicBezTo>
                  <a:cubicBezTo>
                    <a:pt x="183" y="0"/>
                    <a:pt x="175" y="31"/>
                    <a:pt x="160" y="54"/>
                  </a:cubicBezTo>
                  <a:lnTo>
                    <a:pt x="160" y="54"/>
                  </a:lnTo>
                  <a:cubicBezTo>
                    <a:pt x="145" y="69"/>
                    <a:pt x="129" y="84"/>
                    <a:pt x="114" y="107"/>
                  </a:cubicBezTo>
                  <a:cubicBezTo>
                    <a:pt x="91" y="138"/>
                    <a:pt x="76" y="184"/>
                    <a:pt x="53" y="214"/>
                  </a:cubicBezTo>
                  <a:cubicBezTo>
                    <a:pt x="38" y="229"/>
                    <a:pt x="15" y="237"/>
                    <a:pt x="7" y="252"/>
                  </a:cubicBezTo>
                  <a:cubicBezTo>
                    <a:pt x="0" y="260"/>
                    <a:pt x="23" y="268"/>
                    <a:pt x="30" y="283"/>
                  </a:cubicBezTo>
                  <a:cubicBezTo>
                    <a:pt x="38" y="291"/>
                    <a:pt x="53" y="321"/>
                    <a:pt x="68" y="321"/>
                  </a:cubicBezTo>
                  <a:cubicBezTo>
                    <a:pt x="99" y="321"/>
                    <a:pt x="114" y="275"/>
                    <a:pt x="137" y="268"/>
                  </a:cubicBezTo>
                  <a:cubicBezTo>
                    <a:pt x="152" y="260"/>
                    <a:pt x="160" y="275"/>
                    <a:pt x="168" y="283"/>
                  </a:cubicBezTo>
                  <a:cubicBezTo>
                    <a:pt x="183" y="283"/>
                    <a:pt x="198" y="268"/>
                    <a:pt x="214" y="275"/>
                  </a:cubicBezTo>
                  <a:cubicBezTo>
                    <a:pt x="221" y="275"/>
                    <a:pt x="221" y="291"/>
                    <a:pt x="214" y="298"/>
                  </a:cubicBezTo>
                  <a:cubicBezTo>
                    <a:pt x="191" y="314"/>
                    <a:pt x="152" y="306"/>
                    <a:pt x="129" y="321"/>
                  </a:cubicBezTo>
                  <a:cubicBezTo>
                    <a:pt x="114" y="336"/>
                    <a:pt x="122" y="359"/>
                    <a:pt x="107" y="375"/>
                  </a:cubicBezTo>
                  <a:cubicBezTo>
                    <a:pt x="107" y="382"/>
                    <a:pt x="91" y="390"/>
                    <a:pt x="84" y="398"/>
                  </a:cubicBezTo>
                  <a:lnTo>
                    <a:pt x="84" y="398"/>
                  </a:lnTo>
                  <a:cubicBezTo>
                    <a:pt x="76" y="443"/>
                    <a:pt x="76" y="443"/>
                    <a:pt x="76" y="443"/>
                  </a:cubicBezTo>
                  <a:lnTo>
                    <a:pt x="76" y="443"/>
                  </a:lnTo>
                  <a:cubicBezTo>
                    <a:pt x="91" y="451"/>
                    <a:pt x="114" y="466"/>
                    <a:pt x="137" y="474"/>
                  </a:cubicBezTo>
                  <a:cubicBezTo>
                    <a:pt x="137" y="474"/>
                    <a:pt x="160" y="535"/>
                    <a:pt x="168" y="543"/>
                  </a:cubicBezTo>
                  <a:lnTo>
                    <a:pt x="252" y="558"/>
                  </a:lnTo>
                  <a:cubicBezTo>
                    <a:pt x="267" y="558"/>
                    <a:pt x="290" y="550"/>
                    <a:pt x="305" y="550"/>
                  </a:cubicBezTo>
                  <a:cubicBezTo>
                    <a:pt x="321" y="558"/>
                    <a:pt x="336" y="566"/>
                    <a:pt x="336" y="581"/>
                  </a:cubicBezTo>
                  <a:cubicBezTo>
                    <a:pt x="351" y="619"/>
                    <a:pt x="366" y="665"/>
                    <a:pt x="359" y="703"/>
                  </a:cubicBezTo>
                  <a:cubicBezTo>
                    <a:pt x="351" y="726"/>
                    <a:pt x="313" y="718"/>
                    <a:pt x="298" y="734"/>
                  </a:cubicBezTo>
                  <a:cubicBezTo>
                    <a:pt x="282" y="741"/>
                    <a:pt x="282" y="764"/>
                    <a:pt x="275" y="772"/>
                  </a:cubicBezTo>
                  <a:cubicBezTo>
                    <a:pt x="267" y="779"/>
                    <a:pt x="244" y="764"/>
                    <a:pt x="236" y="772"/>
                  </a:cubicBezTo>
                  <a:cubicBezTo>
                    <a:pt x="221" y="795"/>
                    <a:pt x="206" y="818"/>
                    <a:pt x="206" y="840"/>
                  </a:cubicBezTo>
                  <a:cubicBezTo>
                    <a:pt x="206" y="856"/>
                    <a:pt x="229" y="848"/>
                    <a:pt x="229" y="863"/>
                  </a:cubicBezTo>
                  <a:cubicBezTo>
                    <a:pt x="236" y="871"/>
                    <a:pt x="214" y="879"/>
                    <a:pt x="214" y="894"/>
                  </a:cubicBezTo>
                  <a:cubicBezTo>
                    <a:pt x="229" y="909"/>
                    <a:pt x="259" y="909"/>
                    <a:pt x="275" y="925"/>
                  </a:cubicBezTo>
                  <a:cubicBezTo>
                    <a:pt x="282" y="932"/>
                    <a:pt x="282" y="948"/>
                    <a:pt x="275" y="963"/>
                  </a:cubicBezTo>
                  <a:cubicBezTo>
                    <a:pt x="267" y="978"/>
                    <a:pt x="252" y="986"/>
                    <a:pt x="236" y="993"/>
                  </a:cubicBezTo>
                  <a:cubicBezTo>
                    <a:pt x="214" y="993"/>
                    <a:pt x="183" y="993"/>
                    <a:pt x="160" y="978"/>
                  </a:cubicBezTo>
                  <a:cubicBezTo>
                    <a:pt x="145" y="971"/>
                    <a:pt x="160" y="948"/>
                    <a:pt x="152" y="940"/>
                  </a:cubicBezTo>
                  <a:cubicBezTo>
                    <a:pt x="137" y="925"/>
                    <a:pt x="114" y="917"/>
                    <a:pt x="99" y="925"/>
                  </a:cubicBezTo>
                  <a:cubicBezTo>
                    <a:pt x="91" y="925"/>
                    <a:pt x="107" y="955"/>
                    <a:pt x="99" y="963"/>
                  </a:cubicBezTo>
                  <a:cubicBezTo>
                    <a:pt x="84" y="978"/>
                    <a:pt x="46" y="978"/>
                    <a:pt x="46" y="1001"/>
                  </a:cubicBezTo>
                  <a:cubicBezTo>
                    <a:pt x="38" y="1016"/>
                    <a:pt x="68" y="1024"/>
                    <a:pt x="84" y="1024"/>
                  </a:cubicBezTo>
                  <a:cubicBezTo>
                    <a:pt x="107" y="1032"/>
                    <a:pt x="122" y="1016"/>
                    <a:pt x="145" y="1016"/>
                  </a:cubicBezTo>
                  <a:cubicBezTo>
                    <a:pt x="152" y="1024"/>
                    <a:pt x="160" y="1032"/>
                    <a:pt x="160" y="1039"/>
                  </a:cubicBezTo>
                  <a:cubicBezTo>
                    <a:pt x="160" y="1062"/>
                    <a:pt x="145" y="1077"/>
                    <a:pt x="129" y="1093"/>
                  </a:cubicBezTo>
                  <a:cubicBezTo>
                    <a:pt x="122" y="1100"/>
                    <a:pt x="99" y="1100"/>
                    <a:pt x="99" y="1108"/>
                  </a:cubicBezTo>
                  <a:cubicBezTo>
                    <a:pt x="114" y="1131"/>
                    <a:pt x="137" y="1138"/>
                    <a:pt x="152" y="1154"/>
                  </a:cubicBezTo>
                  <a:cubicBezTo>
                    <a:pt x="175" y="1177"/>
                    <a:pt x="183" y="1200"/>
                    <a:pt x="198" y="1215"/>
                  </a:cubicBezTo>
                  <a:cubicBezTo>
                    <a:pt x="206" y="1215"/>
                    <a:pt x="221" y="1207"/>
                    <a:pt x="236" y="1215"/>
                  </a:cubicBezTo>
                  <a:cubicBezTo>
                    <a:pt x="252" y="1223"/>
                    <a:pt x="275" y="1238"/>
                    <a:pt x="282" y="1253"/>
                  </a:cubicBezTo>
                  <a:cubicBezTo>
                    <a:pt x="282" y="1284"/>
                    <a:pt x="252" y="1299"/>
                    <a:pt x="252" y="1322"/>
                  </a:cubicBezTo>
                  <a:cubicBezTo>
                    <a:pt x="259" y="1345"/>
                    <a:pt x="282" y="1352"/>
                    <a:pt x="290" y="1368"/>
                  </a:cubicBezTo>
                  <a:cubicBezTo>
                    <a:pt x="290" y="1375"/>
                    <a:pt x="275" y="1390"/>
                    <a:pt x="282" y="1398"/>
                  </a:cubicBezTo>
                  <a:cubicBezTo>
                    <a:pt x="282" y="1406"/>
                    <a:pt x="298" y="1398"/>
                    <a:pt x="298" y="1398"/>
                  </a:cubicBezTo>
                  <a:cubicBezTo>
                    <a:pt x="298" y="1429"/>
                    <a:pt x="282" y="1452"/>
                    <a:pt x="275" y="1475"/>
                  </a:cubicBezTo>
                  <a:cubicBezTo>
                    <a:pt x="259" y="1498"/>
                    <a:pt x="236" y="1520"/>
                    <a:pt x="236" y="1543"/>
                  </a:cubicBezTo>
                  <a:cubicBezTo>
                    <a:pt x="229" y="1574"/>
                    <a:pt x="244" y="1612"/>
                    <a:pt x="252" y="1643"/>
                  </a:cubicBezTo>
                  <a:lnTo>
                    <a:pt x="252" y="1643"/>
                  </a:lnTo>
                  <a:cubicBezTo>
                    <a:pt x="259" y="1665"/>
                    <a:pt x="252" y="1719"/>
                    <a:pt x="282" y="1719"/>
                  </a:cubicBezTo>
                  <a:cubicBezTo>
                    <a:pt x="305" y="1727"/>
                    <a:pt x="313" y="1681"/>
                    <a:pt x="321" y="1650"/>
                  </a:cubicBezTo>
                  <a:cubicBezTo>
                    <a:pt x="336" y="1620"/>
                    <a:pt x="328" y="1581"/>
                    <a:pt x="343" y="1551"/>
                  </a:cubicBezTo>
                  <a:cubicBezTo>
                    <a:pt x="351" y="1536"/>
                    <a:pt x="374" y="1551"/>
                    <a:pt x="382" y="1543"/>
                  </a:cubicBezTo>
                  <a:cubicBezTo>
                    <a:pt x="397" y="1498"/>
                    <a:pt x="397" y="1444"/>
                    <a:pt x="412" y="1398"/>
                  </a:cubicBezTo>
                  <a:cubicBezTo>
                    <a:pt x="435" y="1345"/>
                    <a:pt x="458" y="1299"/>
                    <a:pt x="496" y="1268"/>
                  </a:cubicBezTo>
                  <a:cubicBezTo>
                    <a:pt x="511" y="1253"/>
                    <a:pt x="534" y="1268"/>
                    <a:pt x="557" y="1268"/>
                  </a:cubicBezTo>
                  <a:cubicBezTo>
                    <a:pt x="573" y="1261"/>
                    <a:pt x="580" y="1238"/>
                    <a:pt x="596" y="1238"/>
                  </a:cubicBezTo>
                  <a:cubicBezTo>
                    <a:pt x="603" y="1230"/>
                    <a:pt x="618" y="1230"/>
                    <a:pt x="634" y="1238"/>
                  </a:cubicBezTo>
                  <a:cubicBezTo>
                    <a:pt x="679" y="1261"/>
                    <a:pt x="702" y="1314"/>
                    <a:pt x="756" y="1329"/>
                  </a:cubicBezTo>
                  <a:cubicBezTo>
                    <a:pt x="771" y="1337"/>
                    <a:pt x="779" y="1307"/>
                    <a:pt x="786" y="1291"/>
                  </a:cubicBezTo>
                  <a:cubicBezTo>
                    <a:pt x="786" y="1291"/>
                    <a:pt x="786" y="1246"/>
                    <a:pt x="786" y="1238"/>
                  </a:cubicBezTo>
                  <a:cubicBezTo>
                    <a:pt x="786" y="1223"/>
                    <a:pt x="840" y="1154"/>
                    <a:pt x="840" y="1154"/>
                  </a:cubicBezTo>
                  <a:cubicBezTo>
                    <a:pt x="832" y="1131"/>
                    <a:pt x="809" y="1115"/>
                    <a:pt x="809" y="1093"/>
                  </a:cubicBezTo>
                  <a:cubicBezTo>
                    <a:pt x="809" y="1054"/>
                    <a:pt x="809" y="1009"/>
                    <a:pt x="832" y="986"/>
                  </a:cubicBezTo>
                  <a:cubicBezTo>
                    <a:pt x="863" y="948"/>
                    <a:pt x="924" y="955"/>
                    <a:pt x="962" y="925"/>
                  </a:cubicBezTo>
                  <a:cubicBezTo>
                    <a:pt x="977" y="917"/>
                    <a:pt x="947" y="894"/>
                    <a:pt x="954" y="886"/>
                  </a:cubicBezTo>
                  <a:cubicBezTo>
                    <a:pt x="962" y="863"/>
                    <a:pt x="985" y="848"/>
                    <a:pt x="1000" y="833"/>
                  </a:cubicBezTo>
                  <a:lnTo>
                    <a:pt x="1000" y="833"/>
                  </a:lnTo>
                  <a:cubicBezTo>
                    <a:pt x="947" y="772"/>
                    <a:pt x="947" y="772"/>
                    <a:pt x="947" y="772"/>
                  </a:cubicBezTo>
                  <a:lnTo>
                    <a:pt x="947" y="772"/>
                  </a:lnTo>
                  <a:cubicBezTo>
                    <a:pt x="954" y="749"/>
                    <a:pt x="962" y="718"/>
                    <a:pt x="977" y="695"/>
                  </a:cubicBezTo>
                  <a:cubicBezTo>
                    <a:pt x="993" y="673"/>
                    <a:pt x="1023" y="665"/>
                    <a:pt x="1038" y="642"/>
                  </a:cubicBezTo>
                  <a:cubicBezTo>
                    <a:pt x="1046" y="627"/>
                    <a:pt x="1046" y="604"/>
                    <a:pt x="1046" y="588"/>
                  </a:cubicBezTo>
                  <a:cubicBezTo>
                    <a:pt x="1046" y="588"/>
                    <a:pt x="970" y="558"/>
                    <a:pt x="970" y="550"/>
                  </a:cubicBezTo>
                  <a:lnTo>
                    <a:pt x="954" y="520"/>
                  </a:lnTo>
                  <a:cubicBezTo>
                    <a:pt x="947" y="512"/>
                    <a:pt x="939" y="489"/>
                    <a:pt x="924" y="489"/>
                  </a:cubicBezTo>
                  <a:cubicBezTo>
                    <a:pt x="893" y="497"/>
                    <a:pt x="871" y="535"/>
                    <a:pt x="832" y="543"/>
                  </a:cubicBezTo>
                  <a:cubicBezTo>
                    <a:pt x="809" y="550"/>
                    <a:pt x="779" y="535"/>
                    <a:pt x="748" y="535"/>
                  </a:cubicBezTo>
                  <a:cubicBezTo>
                    <a:pt x="725" y="543"/>
                    <a:pt x="702" y="550"/>
                    <a:pt x="679" y="558"/>
                  </a:cubicBezTo>
                  <a:cubicBezTo>
                    <a:pt x="664" y="566"/>
                    <a:pt x="657" y="588"/>
                    <a:pt x="634" y="588"/>
                  </a:cubicBezTo>
                  <a:cubicBezTo>
                    <a:pt x="626" y="588"/>
                    <a:pt x="611" y="573"/>
                    <a:pt x="618" y="558"/>
                  </a:cubicBezTo>
                  <a:cubicBezTo>
                    <a:pt x="626" y="527"/>
                    <a:pt x="649" y="504"/>
                    <a:pt x="664" y="482"/>
                  </a:cubicBezTo>
                  <a:cubicBezTo>
                    <a:pt x="679" y="466"/>
                    <a:pt x="702" y="466"/>
                    <a:pt x="702" y="443"/>
                  </a:cubicBezTo>
                  <a:cubicBezTo>
                    <a:pt x="702" y="428"/>
                    <a:pt x="679" y="428"/>
                    <a:pt x="672" y="413"/>
                  </a:cubicBezTo>
                  <a:cubicBezTo>
                    <a:pt x="657" y="382"/>
                    <a:pt x="649" y="344"/>
                    <a:pt x="634" y="306"/>
                  </a:cubicBezTo>
                  <a:cubicBezTo>
                    <a:pt x="626" y="283"/>
                    <a:pt x="611" y="260"/>
                    <a:pt x="603" y="245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06" name="Freeform 128"/>
            <p:cNvSpPr>
              <a:spLocks noChangeArrowheads="1"/>
            </p:cNvSpPr>
            <p:nvPr/>
          </p:nvSpPr>
          <p:spPr bwMode="auto">
            <a:xfrm>
              <a:off x="5565413" y="4835526"/>
              <a:ext cx="492093" cy="550863"/>
            </a:xfrm>
            <a:custGeom>
              <a:avLst/>
              <a:gdLst>
                <a:gd name="T0" fmla="*/ 397 w 1368"/>
                <a:gd name="T1" fmla="*/ 978 h 1529"/>
                <a:gd name="T2" fmla="*/ 488 w 1368"/>
                <a:gd name="T3" fmla="*/ 848 h 1529"/>
                <a:gd name="T4" fmla="*/ 420 w 1368"/>
                <a:gd name="T5" fmla="*/ 756 h 1529"/>
                <a:gd name="T6" fmla="*/ 374 w 1368"/>
                <a:gd name="T7" fmla="*/ 695 h 1529"/>
                <a:gd name="T8" fmla="*/ 198 w 1368"/>
                <a:gd name="T9" fmla="*/ 741 h 1529"/>
                <a:gd name="T10" fmla="*/ 84 w 1368"/>
                <a:gd name="T11" fmla="*/ 794 h 1529"/>
                <a:gd name="T12" fmla="*/ 114 w 1368"/>
                <a:gd name="T13" fmla="*/ 688 h 1529"/>
                <a:gd name="T14" fmla="*/ 122 w 1368"/>
                <a:gd name="T15" fmla="*/ 619 h 1529"/>
                <a:gd name="T16" fmla="*/ 53 w 1368"/>
                <a:gd name="T17" fmla="*/ 451 h 1529"/>
                <a:gd name="T18" fmla="*/ 99 w 1368"/>
                <a:gd name="T19" fmla="*/ 390 h 1529"/>
                <a:gd name="T20" fmla="*/ 38 w 1368"/>
                <a:gd name="T21" fmla="*/ 268 h 1529"/>
                <a:gd name="T22" fmla="*/ 38 w 1368"/>
                <a:gd name="T23" fmla="*/ 191 h 1529"/>
                <a:gd name="T24" fmla="*/ 53 w 1368"/>
                <a:gd name="T25" fmla="*/ 153 h 1529"/>
                <a:gd name="T26" fmla="*/ 76 w 1368"/>
                <a:gd name="T27" fmla="*/ 54 h 1529"/>
                <a:gd name="T28" fmla="*/ 145 w 1368"/>
                <a:gd name="T29" fmla="*/ 8 h 1529"/>
                <a:gd name="T30" fmla="*/ 244 w 1368"/>
                <a:gd name="T31" fmla="*/ 54 h 1529"/>
                <a:gd name="T32" fmla="*/ 267 w 1368"/>
                <a:gd name="T33" fmla="*/ 15 h 1529"/>
                <a:gd name="T34" fmla="*/ 366 w 1368"/>
                <a:gd name="T35" fmla="*/ 122 h 1529"/>
                <a:gd name="T36" fmla="*/ 573 w 1368"/>
                <a:gd name="T37" fmla="*/ 306 h 1529"/>
                <a:gd name="T38" fmla="*/ 695 w 1368"/>
                <a:gd name="T39" fmla="*/ 222 h 1529"/>
                <a:gd name="T40" fmla="*/ 832 w 1368"/>
                <a:gd name="T41" fmla="*/ 176 h 1529"/>
                <a:gd name="T42" fmla="*/ 932 w 1368"/>
                <a:gd name="T43" fmla="*/ 130 h 1529"/>
                <a:gd name="T44" fmla="*/ 1130 w 1368"/>
                <a:gd name="T45" fmla="*/ 145 h 1529"/>
                <a:gd name="T46" fmla="*/ 1252 w 1368"/>
                <a:gd name="T47" fmla="*/ 199 h 1529"/>
                <a:gd name="T48" fmla="*/ 1329 w 1368"/>
                <a:gd name="T49" fmla="*/ 352 h 1529"/>
                <a:gd name="T50" fmla="*/ 1344 w 1368"/>
                <a:gd name="T51" fmla="*/ 405 h 1529"/>
                <a:gd name="T52" fmla="*/ 1229 w 1368"/>
                <a:gd name="T53" fmla="*/ 619 h 1529"/>
                <a:gd name="T54" fmla="*/ 1214 w 1368"/>
                <a:gd name="T55" fmla="*/ 772 h 1529"/>
                <a:gd name="T56" fmla="*/ 1229 w 1368"/>
                <a:gd name="T57" fmla="*/ 901 h 1529"/>
                <a:gd name="T58" fmla="*/ 1138 w 1368"/>
                <a:gd name="T59" fmla="*/ 1108 h 1529"/>
                <a:gd name="T60" fmla="*/ 1191 w 1368"/>
                <a:gd name="T61" fmla="*/ 1192 h 1529"/>
                <a:gd name="T62" fmla="*/ 1084 w 1368"/>
                <a:gd name="T63" fmla="*/ 1253 h 1529"/>
                <a:gd name="T64" fmla="*/ 1084 w 1368"/>
                <a:gd name="T65" fmla="*/ 1429 h 1529"/>
                <a:gd name="T66" fmla="*/ 1008 w 1368"/>
                <a:gd name="T67" fmla="*/ 1520 h 1529"/>
                <a:gd name="T68" fmla="*/ 916 w 1368"/>
                <a:gd name="T69" fmla="*/ 1474 h 1529"/>
                <a:gd name="T70" fmla="*/ 878 w 1368"/>
                <a:gd name="T71" fmla="*/ 1375 h 1529"/>
                <a:gd name="T72" fmla="*/ 786 w 1368"/>
                <a:gd name="T73" fmla="*/ 1230 h 1529"/>
                <a:gd name="T74" fmla="*/ 702 w 1368"/>
                <a:gd name="T75" fmla="*/ 1100 h 1529"/>
                <a:gd name="T76" fmla="*/ 488 w 1368"/>
                <a:gd name="T77" fmla="*/ 1062 h 1529"/>
                <a:gd name="T78" fmla="*/ 450 w 1368"/>
                <a:gd name="T79" fmla="*/ 1039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68" h="1529">
                  <a:moveTo>
                    <a:pt x="397" y="978"/>
                  </a:moveTo>
                  <a:lnTo>
                    <a:pt x="397" y="978"/>
                  </a:lnTo>
                  <a:cubicBezTo>
                    <a:pt x="404" y="955"/>
                    <a:pt x="412" y="924"/>
                    <a:pt x="427" y="901"/>
                  </a:cubicBezTo>
                  <a:cubicBezTo>
                    <a:pt x="443" y="879"/>
                    <a:pt x="473" y="871"/>
                    <a:pt x="488" y="848"/>
                  </a:cubicBezTo>
                  <a:cubicBezTo>
                    <a:pt x="496" y="833"/>
                    <a:pt x="496" y="810"/>
                    <a:pt x="496" y="794"/>
                  </a:cubicBezTo>
                  <a:cubicBezTo>
                    <a:pt x="496" y="794"/>
                    <a:pt x="420" y="764"/>
                    <a:pt x="420" y="756"/>
                  </a:cubicBezTo>
                  <a:lnTo>
                    <a:pt x="404" y="726"/>
                  </a:lnTo>
                  <a:cubicBezTo>
                    <a:pt x="397" y="718"/>
                    <a:pt x="389" y="695"/>
                    <a:pt x="374" y="695"/>
                  </a:cubicBezTo>
                  <a:cubicBezTo>
                    <a:pt x="343" y="703"/>
                    <a:pt x="321" y="741"/>
                    <a:pt x="282" y="749"/>
                  </a:cubicBezTo>
                  <a:cubicBezTo>
                    <a:pt x="259" y="756"/>
                    <a:pt x="229" y="741"/>
                    <a:pt x="198" y="741"/>
                  </a:cubicBezTo>
                  <a:cubicBezTo>
                    <a:pt x="175" y="749"/>
                    <a:pt x="152" y="756"/>
                    <a:pt x="129" y="764"/>
                  </a:cubicBezTo>
                  <a:cubicBezTo>
                    <a:pt x="114" y="772"/>
                    <a:pt x="107" y="794"/>
                    <a:pt x="84" y="794"/>
                  </a:cubicBezTo>
                  <a:cubicBezTo>
                    <a:pt x="76" y="794"/>
                    <a:pt x="61" y="779"/>
                    <a:pt x="68" y="764"/>
                  </a:cubicBezTo>
                  <a:cubicBezTo>
                    <a:pt x="76" y="733"/>
                    <a:pt x="99" y="710"/>
                    <a:pt x="114" y="688"/>
                  </a:cubicBezTo>
                  <a:cubicBezTo>
                    <a:pt x="129" y="672"/>
                    <a:pt x="152" y="672"/>
                    <a:pt x="152" y="649"/>
                  </a:cubicBezTo>
                  <a:cubicBezTo>
                    <a:pt x="152" y="634"/>
                    <a:pt x="129" y="634"/>
                    <a:pt x="122" y="619"/>
                  </a:cubicBezTo>
                  <a:cubicBezTo>
                    <a:pt x="107" y="588"/>
                    <a:pt x="99" y="550"/>
                    <a:pt x="84" y="512"/>
                  </a:cubicBezTo>
                  <a:cubicBezTo>
                    <a:pt x="76" y="489"/>
                    <a:pt x="61" y="466"/>
                    <a:pt x="53" y="451"/>
                  </a:cubicBezTo>
                  <a:lnTo>
                    <a:pt x="53" y="451"/>
                  </a:lnTo>
                  <a:cubicBezTo>
                    <a:pt x="68" y="428"/>
                    <a:pt x="91" y="413"/>
                    <a:pt x="99" y="390"/>
                  </a:cubicBezTo>
                  <a:cubicBezTo>
                    <a:pt x="107" y="367"/>
                    <a:pt x="107" y="336"/>
                    <a:pt x="99" y="313"/>
                  </a:cubicBezTo>
                  <a:cubicBezTo>
                    <a:pt x="84" y="290"/>
                    <a:pt x="53" y="283"/>
                    <a:pt x="38" y="268"/>
                  </a:cubicBezTo>
                  <a:cubicBezTo>
                    <a:pt x="23" y="245"/>
                    <a:pt x="0" y="222"/>
                    <a:pt x="0" y="199"/>
                  </a:cubicBezTo>
                  <a:cubicBezTo>
                    <a:pt x="0" y="183"/>
                    <a:pt x="30" y="199"/>
                    <a:pt x="38" y="191"/>
                  </a:cubicBezTo>
                  <a:cubicBezTo>
                    <a:pt x="53" y="183"/>
                    <a:pt x="53" y="168"/>
                    <a:pt x="53" y="153"/>
                  </a:cubicBezTo>
                  <a:lnTo>
                    <a:pt x="53" y="153"/>
                  </a:lnTo>
                  <a:cubicBezTo>
                    <a:pt x="76" y="145"/>
                    <a:pt x="107" y="138"/>
                    <a:pt x="114" y="115"/>
                  </a:cubicBezTo>
                  <a:cubicBezTo>
                    <a:pt x="122" y="92"/>
                    <a:pt x="84" y="77"/>
                    <a:pt x="76" y="54"/>
                  </a:cubicBezTo>
                  <a:cubicBezTo>
                    <a:pt x="68" y="38"/>
                    <a:pt x="76" y="15"/>
                    <a:pt x="84" y="8"/>
                  </a:cubicBezTo>
                  <a:cubicBezTo>
                    <a:pt x="107" y="0"/>
                    <a:pt x="129" y="0"/>
                    <a:pt x="145" y="8"/>
                  </a:cubicBezTo>
                  <a:cubicBezTo>
                    <a:pt x="160" y="15"/>
                    <a:pt x="160" y="46"/>
                    <a:pt x="175" y="46"/>
                  </a:cubicBezTo>
                  <a:cubicBezTo>
                    <a:pt x="198" y="61"/>
                    <a:pt x="221" y="61"/>
                    <a:pt x="244" y="54"/>
                  </a:cubicBezTo>
                  <a:cubicBezTo>
                    <a:pt x="252" y="46"/>
                    <a:pt x="259" y="31"/>
                    <a:pt x="267" y="23"/>
                  </a:cubicBezTo>
                  <a:cubicBezTo>
                    <a:pt x="267" y="15"/>
                    <a:pt x="267" y="15"/>
                    <a:pt x="267" y="15"/>
                  </a:cubicBezTo>
                  <a:cubicBezTo>
                    <a:pt x="305" y="46"/>
                    <a:pt x="343" y="61"/>
                    <a:pt x="374" y="92"/>
                  </a:cubicBezTo>
                  <a:cubicBezTo>
                    <a:pt x="382" y="99"/>
                    <a:pt x="359" y="115"/>
                    <a:pt x="366" y="122"/>
                  </a:cubicBezTo>
                  <a:cubicBezTo>
                    <a:pt x="420" y="176"/>
                    <a:pt x="481" y="206"/>
                    <a:pt x="534" y="260"/>
                  </a:cubicBezTo>
                  <a:cubicBezTo>
                    <a:pt x="550" y="268"/>
                    <a:pt x="550" y="306"/>
                    <a:pt x="573" y="306"/>
                  </a:cubicBezTo>
                  <a:cubicBezTo>
                    <a:pt x="595" y="298"/>
                    <a:pt x="588" y="252"/>
                    <a:pt x="603" y="245"/>
                  </a:cubicBezTo>
                  <a:cubicBezTo>
                    <a:pt x="634" y="222"/>
                    <a:pt x="664" y="229"/>
                    <a:pt x="695" y="222"/>
                  </a:cubicBezTo>
                  <a:cubicBezTo>
                    <a:pt x="740" y="206"/>
                    <a:pt x="786" y="191"/>
                    <a:pt x="832" y="176"/>
                  </a:cubicBezTo>
                  <a:lnTo>
                    <a:pt x="832" y="176"/>
                  </a:lnTo>
                  <a:cubicBezTo>
                    <a:pt x="847" y="168"/>
                    <a:pt x="863" y="176"/>
                    <a:pt x="870" y="168"/>
                  </a:cubicBezTo>
                  <a:cubicBezTo>
                    <a:pt x="893" y="160"/>
                    <a:pt x="909" y="138"/>
                    <a:pt x="932" y="130"/>
                  </a:cubicBezTo>
                  <a:cubicBezTo>
                    <a:pt x="977" y="115"/>
                    <a:pt x="1023" y="99"/>
                    <a:pt x="1069" y="99"/>
                  </a:cubicBezTo>
                  <a:cubicBezTo>
                    <a:pt x="1092" y="107"/>
                    <a:pt x="1107" y="138"/>
                    <a:pt x="1130" y="145"/>
                  </a:cubicBezTo>
                  <a:cubicBezTo>
                    <a:pt x="1168" y="168"/>
                    <a:pt x="1214" y="183"/>
                    <a:pt x="1252" y="199"/>
                  </a:cubicBezTo>
                  <a:lnTo>
                    <a:pt x="1252" y="199"/>
                  </a:lnTo>
                  <a:cubicBezTo>
                    <a:pt x="1268" y="222"/>
                    <a:pt x="1283" y="245"/>
                    <a:pt x="1290" y="268"/>
                  </a:cubicBezTo>
                  <a:cubicBezTo>
                    <a:pt x="1306" y="298"/>
                    <a:pt x="1306" y="329"/>
                    <a:pt x="1329" y="352"/>
                  </a:cubicBezTo>
                  <a:cubicBezTo>
                    <a:pt x="1336" y="359"/>
                    <a:pt x="1359" y="344"/>
                    <a:pt x="1367" y="359"/>
                  </a:cubicBezTo>
                  <a:cubicBezTo>
                    <a:pt x="1367" y="374"/>
                    <a:pt x="1359" y="390"/>
                    <a:pt x="1344" y="405"/>
                  </a:cubicBezTo>
                  <a:cubicBezTo>
                    <a:pt x="1313" y="443"/>
                    <a:pt x="1268" y="466"/>
                    <a:pt x="1245" y="504"/>
                  </a:cubicBezTo>
                  <a:cubicBezTo>
                    <a:pt x="1222" y="542"/>
                    <a:pt x="1252" y="588"/>
                    <a:pt x="1229" y="619"/>
                  </a:cubicBezTo>
                  <a:cubicBezTo>
                    <a:pt x="1222" y="642"/>
                    <a:pt x="1168" y="611"/>
                    <a:pt x="1168" y="634"/>
                  </a:cubicBezTo>
                  <a:cubicBezTo>
                    <a:pt x="1161" y="680"/>
                    <a:pt x="1207" y="726"/>
                    <a:pt x="1214" y="772"/>
                  </a:cubicBezTo>
                  <a:cubicBezTo>
                    <a:pt x="1214" y="787"/>
                    <a:pt x="1199" y="794"/>
                    <a:pt x="1199" y="810"/>
                  </a:cubicBezTo>
                  <a:cubicBezTo>
                    <a:pt x="1199" y="840"/>
                    <a:pt x="1222" y="871"/>
                    <a:pt x="1229" y="901"/>
                  </a:cubicBezTo>
                  <a:cubicBezTo>
                    <a:pt x="1229" y="909"/>
                    <a:pt x="1214" y="909"/>
                    <a:pt x="1207" y="917"/>
                  </a:cubicBezTo>
                  <a:cubicBezTo>
                    <a:pt x="1184" y="978"/>
                    <a:pt x="1145" y="1039"/>
                    <a:pt x="1138" y="1108"/>
                  </a:cubicBezTo>
                  <a:cubicBezTo>
                    <a:pt x="1138" y="1146"/>
                    <a:pt x="1176" y="1161"/>
                    <a:pt x="1191" y="1192"/>
                  </a:cubicBezTo>
                  <a:lnTo>
                    <a:pt x="1191" y="1192"/>
                  </a:lnTo>
                  <a:cubicBezTo>
                    <a:pt x="1176" y="1207"/>
                    <a:pt x="1153" y="1215"/>
                    <a:pt x="1130" y="1230"/>
                  </a:cubicBezTo>
                  <a:cubicBezTo>
                    <a:pt x="1115" y="1238"/>
                    <a:pt x="1092" y="1238"/>
                    <a:pt x="1084" y="1253"/>
                  </a:cubicBezTo>
                  <a:cubicBezTo>
                    <a:pt x="1069" y="1276"/>
                    <a:pt x="1084" y="1306"/>
                    <a:pt x="1084" y="1337"/>
                  </a:cubicBezTo>
                  <a:cubicBezTo>
                    <a:pt x="1084" y="1367"/>
                    <a:pt x="1099" y="1406"/>
                    <a:pt x="1084" y="1429"/>
                  </a:cubicBezTo>
                  <a:cubicBezTo>
                    <a:pt x="1077" y="1444"/>
                    <a:pt x="1046" y="1421"/>
                    <a:pt x="1038" y="1429"/>
                  </a:cubicBezTo>
                  <a:cubicBezTo>
                    <a:pt x="1015" y="1452"/>
                    <a:pt x="1023" y="1490"/>
                    <a:pt x="1008" y="1520"/>
                  </a:cubicBezTo>
                  <a:cubicBezTo>
                    <a:pt x="1000" y="1528"/>
                    <a:pt x="977" y="1528"/>
                    <a:pt x="970" y="1520"/>
                  </a:cubicBezTo>
                  <a:cubicBezTo>
                    <a:pt x="947" y="1513"/>
                    <a:pt x="932" y="1490"/>
                    <a:pt x="916" y="1474"/>
                  </a:cubicBezTo>
                  <a:cubicBezTo>
                    <a:pt x="909" y="1467"/>
                    <a:pt x="886" y="1452"/>
                    <a:pt x="886" y="1436"/>
                  </a:cubicBezTo>
                  <a:cubicBezTo>
                    <a:pt x="878" y="1421"/>
                    <a:pt x="886" y="1390"/>
                    <a:pt x="878" y="1375"/>
                  </a:cubicBezTo>
                  <a:cubicBezTo>
                    <a:pt x="870" y="1352"/>
                    <a:pt x="847" y="1337"/>
                    <a:pt x="832" y="1314"/>
                  </a:cubicBezTo>
                  <a:cubicBezTo>
                    <a:pt x="817" y="1291"/>
                    <a:pt x="802" y="1260"/>
                    <a:pt x="786" y="1230"/>
                  </a:cubicBezTo>
                  <a:cubicBezTo>
                    <a:pt x="779" y="1215"/>
                    <a:pt x="771" y="1192"/>
                    <a:pt x="756" y="1177"/>
                  </a:cubicBezTo>
                  <a:cubicBezTo>
                    <a:pt x="740" y="1154"/>
                    <a:pt x="725" y="1123"/>
                    <a:pt x="702" y="1100"/>
                  </a:cubicBezTo>
                  <a:cubicBezTo>
                    <a:pt x="672" y="1077"/>
                    <a:pt x="641" y="1062"/>
                    <a:pt x="603" y="1062"/>
                  </a:cubicBezTo>
                  <a:cubicBezTo>
                    <a:pt x="565" y="1054"/>
                    <a:pt x="527" y="1069"/>
                    <a:pt x="488" y="1062"/>
                  </a:cubicBezTo>
                  <a:cubicBezTo>
                    <a:pt x="473" y="1062"/>
                    <a:pt x="465" y="1046"/>
                    <a:pt x="450" y="1039"/>
                  </a:cubicBezTo>
                  <a:lnTo>
                    <a:pt x="450" y="1039"/>
                  </a:lnTo>
                  <a:cubicBezTo>
                    <a:pt x="397" y="978"/>
                    <a:pt x="397" y="978"/>
                    <a:pt x="397" y="97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07" name="Freeform 129"/>
            <p:cNvSpPr>
              <a:spLocks noChangeArrowheads="1"/>
            </p:cNvSpPr>
            <p:nvPr/>
          </p:nvSpPr>
          <p:spPr bwMode="auto">
            <a:xfrm>
              <a:off x="6027346" y="4678363"/>
              <a:ext cx="206362" cy="182562"/>
            </a:xfrm>
            <a:custGeom>
              <a:avLst/>
              <a:gdLst>
                <a:gd name="T0" fmla="*/ 38 w 573"/>
                <a:gd name="T1" fmla="*/ 23 h 505"/>
                <a:gd name="T2" fmla="*/ 38 w 573"/>
                <a:gd name="T3" fmla="*/ 23 h 505"/>
                <a:gd name="T4" fmla="*/ 7 w 573"/>
                <a:gd name="T5" fmla="*/ 91 h 505"/>
                <a:gd name="T6" fmla="*/ 23 w 573"/>
                <a:gd name="T7" fmla="*/ 122 h 505"/>
                <a:gd name="T8" fmla="*/ 7 w 573"/>
                <a:gd name="T9" fmla="*/ 153 h 505"/>
                <a:gd name="T10" fmla="*/ 38 w 573"/>
                <a:gd name="T11" fmla="*/ 183 h 505"/>
                <a:gd name="T12" fmla="*/ 23 w 573"/>
                <a:gd name="T13" fmla="*/ 267 h 505"/>
                <a:gd name="T14" fmla="*/ 91 w 573"/>
                <a:gd name="T15" fmla="*/ 282 h 505"/>
                <a:gd name="T16" fmla="*/ 68 w 573"/>
                <a:gd name="T17" fmla="*/ 374 h 505"/>
                <a:gd name="T18" fmla="*/ 53 w 573"/>
                <a:gd name="T19" fmla="*/ 435 h 505"/>
                <a:gd name="T20" fmla="*/ 91 w 573"/>
                <a:gd name="T21" fmla="*/ 504 h 505"/>
                <a:gd name="T22" fmla="*/ 91 w 573"/>
                <a:gd name="T23" fmla="*/ 504 h 505"/>
                <a:gd name="T24" fmla="*/ 130 w 573"/>
                <a:gd name="T25" fmla="*/ 496 h 505"/>
                <a:gd name="T26" fmla="*/ 130 w 573"/>
                <a:gd name="T27" fmla="*/ 496 h 505"/>
                <a:gd name="T28" fmla="*/ 244 w 573"/>
                <a:gd name="T29" fmla="*/ 374 h 505"/>
                <a:gd name="T30" fmla="*/ 275 w 573"/>
                <a:gd name="T31" fmla="*/ 351 h 505"/>
                <a:gd name="T32" fmla="*/ 313 w 573"/>
                <a:gd name="T33" fmla="*/ 351 h 505"/>
                <a:gd name="T34" fmla="*/ 358 w 573"/>
                <a:gd name="T35" fmla="*/ 328 h 505"/>
                <a:gd name="T36" fmla="*/ 373 w 573"/>
                <a:gd name="T37" fmla="*/ 313 h 505"/>
                <a:gd name="T38" fmla="*/ 511 w 573"/>
                <a:gd name="T39" fmla="*/ 298 h 505"/>
                <a:gd name="T40" fmla="*/ 511 w 573"/>
                <a:gd name="T41" fmla="*/ 237 h 505"/>
                <a:gd name="T42" fmla="*/ 564 w 573"/>
                <a:gd name="T43" fmla="*/ 198 h 505"/>
                <a:gd name="T44" fmla="*/ 564 w 573"/>
                <a:gd name="T45" fmla="*/ 198 h 505"/>
                <a:gd name="T46" fmla="*/ 572 w 573"/>
                <a:gd name="T47" fmla="*/ 160 h 505"/>
                <a:gd name="T48" fmla="*/ 572 w 573"/>
                <a:gd name="T49" fmla="*/ 160 h 505"/>
                <a:gd name="T50" fmla="*/ 396 w 573"/>
                <a:gd name="T51" fmla="*/ 45 h 505"/>
                <a:gd name="T52" fmla="*/ 183 w 573"/>
                <a:gd name="T53" fmla="*/ 53 h 505"/>
                <a:gd name="T54" fmla="*/ 107 w 573"/>
                <a:gd name="T55" fmla="*/ 0 h 505"/>
                <a:gd name="T56" fmla="*/ 38 w 573"/>
                <a:gd name="T57" fmla="*/ 23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73" h="505">
                  <a:moveTo>
                    <a:pt x="38" y="23"/>
                  </a:moveTo>
                  <a:lnTo>
                    <a:pt x="38" y="23"/>
                  </a:lnTo>
                  <a:cubicBezTo>
                    <a:pt x="23" y="45"/>
                    <a:pt x="15" y="61"/>
                    <a:pt x="7" y="91"/>
                  </a:cubicBezTo>
                  <a:cubicBezTo>
                    <a:pt x="7" y="99"/>
                    <a:pt x="23" y="114"/>
                    <a:pt x="23" y="122"/>
                  </a:cubicBezTo>
                  <a:cubicBezTo>
                    <a:pt x="23" y="137"/>
                    <a:pt x="0" y="145"/>
                    <a:pt x="7" y="153"/>
                  </a:cubicBezTo>
                  <a:cubicBezTo>
                    <a:pt x="7" y="168"/>
                    <a:pt x="38" y="168"/>
                    <a:pt x="38" y="183"/>
                  </a:cubicBezTo>
                  <a:cubicBezTo>
                    <a:pt x="38" y="214"/>
                    <a:pt x="7" y="244"/>
                    <a:pt x="23" y="267"/>
                  </a:cubicBezTo>
                  <a:cubicBezTo>
                    <a:pt x="30" y="282"/>
                    <a:pt x="76" y="259"/>
                    <a:pt x="91" y="282"/>
                  </a:cubicBezTo>
                  <a:cubicBezTo>
                    <a:pt x="99" y="305"/>
                    <a:pt x="76" y="343"/>
                    <a:pt x="68" y="374"/>
                  </a:cubicBezTo>
                  <a:cubicBezTo>
                    <a:pt x="61" y="397"/>
                    <a:pt x="53" y="412"/>
                    <a:pt x="53" y="435"/>
                  </a:cubicBezTo>
                  <a:cubicBezTo>
                    <a:pt x="61" y="458"/>
                    <a:pt x="76" y="481"/>
                    <a:pt x="91" y="504"/>
                  </a:cubicBezTo>
                  <a:lnTo>
                    <a:pt x="91" y="504"/>
                  </a:lnTo>
                  <a:cubicBezTo>
                    <a:pt x="130" y="496"/>
                    <a:pt x="130" y="496"/>
                    <a:pt x="130" y="496"/>
                  </a:cubicBezTo>
                  <a:lnTo>
                    <a:pt x="130" y="496"/>
                  </a:lnTo>
                  <a:cubicBezTo>
                    <a:pt x="168" y="450"/>
                    <a:pt x="206" y="412"/>
                    <a:pt x="244" y="374"/>
                  </a:cubicBezTo>
                  <a:cubicBezTo>
                    <a:pt x="252" y="366"/>
                    <a:pt x="260" y="359"/>
                    <a:pt x="275" y="351"/>
                  </a:cubicBezTo>
                  <a:cubicBezTo>
                    <a:pt x="282" y="351"/>
                    <a:pt x="298" y="359"/>
                    <a:pt x="313" y="351"/>
                  </a:cubicBezTo>
                  <a:cubicBezTo>
                    <a:pt x="328" y="351"/>
                    <a:pt x="342" y="343"/>
                    <a:pt x="358" y="328"/>
                  </a:cubicBezTo>
                  <a:cubicBezTo>
                    <a:pt x="365" y="328"/>
                    <a:pt x="365" y="313"/>
                    <a:pt x="373" y="313"/>
                  </a:cubicBezTo>
                  <a:cubicBezTo>
                    <a:pt x="419" y="298"/>
                    <a:pt x="472" y="313"/>
                    <a:pt x="511" y="298"/>
                  </a:cubicBezTo>
                  <a:cubicBezTo>
                    <a:pt x="526" y="282"/>
                    <a:pt x="503" y="252"/>
                    <a:pt x="511" y="237"/>
                  </a:cubicBezTo>
                  <a:cubicBezTo>
                    <a:pt x="526" y="214"/>
                    <a:pt x="549" y="214"/>
                    <a:pt x="564" y="198"/>
                  </a:cubicBezTo>
                  <a:lnTo>
                    <a:pt x="564" y="198"/>
                  </a:lnTo>
                  <a:cubicBezTo>
                    <a:pt x="572" y="160"/>
                    <a:pt x="572" y="160"/>
                    <a:pt x="572" y="160"/>
                  </a:cubicBezTo>
                  <a:lnTo>
                    <a:pt x="572" y="160"/>
                  </a:lnTo>
                  <a:cubicBezTo>
                    <a:pt x="503" y="145"/>
                    <a:pt x="434" y="91"/>
                    <a:pt x="396" y="45"/>
                  </a:cubicBezTo>
                  <a:cubicBezTo>
                    <a:pt x="381" y="30"/>
                    <a:pt x="237" y="68"/>
                    <a:pt x="183" y="53"/>
                  </a:cubicBezTo>
                  <a:cubicBezTo>
                    <a:pt x="160" y="45"/>
                    <a:pt x="114" y="0"/>
                    <a:pt x="107" y="0"/>
                  </a:cubicBezTo>
                  <a:cubicBezTo>
                    <a:pt x="84" y="15"/>
                    <a:pt x="61" y="15"/>
                    <a:pt x="38" y="2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08" name="Freeform 130"/>
            <p:cNvSpPr>
              <a:spLocks noChangeArrowheads="1"/>
            </p:cNvSpPr>
            <p:nvPr/>
          </p:nvSpPr>
          <p:spPr bwMode="auto">
            <a:xfrm>
              <a:off x="5974961" y="4738688"/>
              <a:ext cx="838145" cy="811212"/>
            </a:xfrm>
            <a:custGeom>
              <a:avLst/>
              <a:gdLst>
                <a:gd name="T0" fmla="*/ 236 w 2329"/>
                <a:gd name="T1" fmla="*/ 336 h 2254"/>
                <a:gd name="T2" fmla="*/ 160 w 2329"/>
                <a:gd name="T3" fmla="*/ 420 h 2254"/>
                <a:gd name="T4" fmla="*/ 152 w 2329"/>
                <a:gd name="T5" fmla="*/ 535 h 2254"/>
                <a:gd name="T6" fmla="*/ 206 w 2329"/>
                <a:gd name="T7" fmla="*/ 672 h 2254"/>
                <a:gd name="T8" fmla="*/ 30 w 2329"/>
                <a:gd name="T9" fmla="*/ 901 h 2254"/>
                <a:gd name="T10" fmla="*/ 91 w 2329"/>
                <a:gd name="T11" fmla="*/ 1168 h 2254"/>
                <a:gd name="T12" fmla="*/ 53 w 2329"/>
                <a:gd name="T13" fmla="*/ 1459 h 2254"/>
                <a:gd name="T14" fmla="*/ 175 w 2329"/>
                <a:gd name="T15" fmla="*/ 1459 h 2254"/>
                <a:gd name="T16" fmla="*/ 382 w 2329"/>
                <a:gd name="T17" fmla="*/ 1382 h 2254"/>
                <a:gd name="T18" fmla="*/ 374 w 2329"/>
                <a:gd name="T19" fmla="*/ 1505 h 2254"/>
                <a:gd name="T20" fmla="*/ 427 w 2329"/>
                <a:gd name="T21" fmla="*/ 1611 h 2254"/>
                <a:gd name="T22" fmla="*/ 572 w 2329"/>
                <a:gd name="T23" fmla="*/ 1627 h 2254"/>
                <a:gd name="T24" fmla="*/ 717 w 2329"/>
                <a:gd name="T25" fmla="*/ 1711 h 2254"/>
                <a:gd name="T26" fmla="*/ 816 w 2329"/>
                <a:gd name="T27" fmla="*/ 1833 h 2254"/>
                <a:gd name="T28" fmla="*/ 961 w 2329"/>
                <a:gd name="T29" fmla="*/ 1818 h 2254"/>
                <a:gd name="T30" fmla="*/ 976 w 2329"/>
                <a:gd name="T31" fmla="*/ 1925 h 2254"/>
                <a:gd name="T32" fmla="*/ 1037 w 2329"/>
                <a:gd name="T33" fmla="*/ 2009 h 2254"/>
                <a:gd name="T34" fmla="*/ 1091 w 2329"/>
                <a:gd name="T35" fmla="*/ 2253 h 2254"/>
                <a:gd name="T36" fmla="*/ 1282 w 2329"/>
                <a:gd name="T37" fmla="*/ 2138 h 2254"/>
                <a:gd name="T38" fmla="*/ 1351 w 2329"/>
                <a:gd name="T39" fmla="*/ 2016 h 2254"/>
                <a:gd name="T40" fmla="*/ 1427 w 2329"/>
                <a:gd name="T41" fmla="*/ 1841 h 2254"/>
                <a:gd name="T42" fmla="*/ 1756 w 2329"/>
                <a:gd name="T43" fmla="*/ 1627 h 2254"/>
                <a:gd name="T44" fmla="*/ 1870 w 2329"/>
                <a:gd name="T45" fmla="*/ 1497 h 2254"/>
                <a:gd name="T46" fmla="*/ 2084 w 2329"/>
                <a:gd name="T47" fmla="*/ 1382 h 2254"/>
                <a:gd name="T48" fmla="*/ 2115 w 2329"/>
                <a:gd name="T49" fmla="*/ 1313 h 2254"/>
                <a:gd name="T50" fmla="*/ 2008 w 2329"/>
                <a:gd name="T51" fmla="*/ 1069 h 2254"/>
                <a:gd name="T52" fmla="*/ 1939 w 2329"/>
                <a:gd name="T53" fmla="*/ 1016 h 2254"/>
                <a:gd name="T54" fmla="*/ 1885 w 2329"/>
                <a:gd name="T55" fmla="*/ 894 h 2254"/>
                <a:gd name="T56" fmla="*/ 1992 w 2329"/>
                <a:gd name="T57" fmla="*/ 840 h 2254"/>
                <a:gd name="T58" fmla="*/ 2130 w 2329"/>
                <a:gd name="T59" fmla="*/ 619 h 2254"/>
                <a:gd name="T60" fmla="*/ 2168 w 2329"/>
                <a:gd name="T61" fmla="*/ 565 h 2254"/>
                <a:gd name="T62" fmla="*/ 2260 w 2329"/>
                <a:gd name="T63" fmla="*/ 427 h 2254"/>
                <a:gd name="T64" fmla="*/ 2298 w 2329"/>
                <a:gd name="T65" fmla="*/ 397 h 2254"/>
                <a:gd name="T66" fmla="*/ 2328 w 2329"/>
                <a:gd name="T67" fmla="*/ 374 h 2254"/>
                <a:gd name="T68" fmla="*/ 1985 w 2329"/>
                <a:gd name="T69" fmla="*/ 46 h 2254"/>
                <a:gd name="T70" fmla="*/ 1717 w 2329"/>
                <a:gd name="T71" fmla="*/ 99 h 2254"/>
                <a:gd name="T72" fmla="*/ 1542 w 2329"/>
                <a:gd name="T73" fmla="*/ 69 h 2254"/>
                <a:gd name="T74" fmla="*/ 1557 w 2329"/>
                <a:gd name="T75" fmla="*/ 191 h 2254"/>
                <a:gd name="T76" fmla="*/ 1481 w 2329"/>
                <a:gd name="T77" fmla="*/ 305 h 2254"/>
                <a:gd name="T78" fmla="*/ 1351 w 2329"/>
                <a:gd name="T79" fmla="*/ 260 h 2254"/>
                <a:gd name="T80" fmla="*/ 1114 w 2329"/>
                <a:gd name="T81" fmla="*/ 298 h 2254"/>
                <a:gd name="T82" fmla="*/ 1060 w 2329"/>
                <a:gd name="T83" fmla="*/ 313 h 2254"/>
                <a:gd name="T84" fmla="*/ 923 w 2329"/>
                <a:gd name="T85" fmla="*/ 336 h 2254"/>
                <a:gd name="T86" fmla="*/ 640 w 2329"/>
                <a:gd name="T87" fmla="*/ 626 h 2254"/>
                <a:gd name="T88" fmla="*/ 595 w 2329"/>
                <a:gd name="T89" fmla="*/ 512 h 2254"/>
                <a:gd name="T90" fmla="*/ 420 w 2329"/>
                <a:gd name="T91" fmla="*/ 450 h 2254"/>
                <a:gd name="T92" fmla="*/ 275 w 2329"/>
                <a:gd name="T93" fmla="*/ 328 h 2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29" h="2254">
                  <a:moveTo>
                    <a:pt x="275" y="328"/>
                  </a:moveTo>
                  <a:lnTo>
                    <a:pt x="275" y="328"/>
                  </a:lnTo>
                  <a:cubicBezTo>
                    <a:pt x="236" y="336"/>
                    <a:pt x="236" y="336"/>
                    <a:pt x="236" y="336"/>
                  </a:cubicBezTo>
                  <a:lnTo>
                    <a:pt x="236" y="336"/>
                  </a:lnTo>
                  <a:cubicBezTo>
                    <a:pt x="213" y="344"/>
                    <a:pt x="191" y="351"/>
                    <a:pt x="175" y="366"/>
                  </a:cubicBezTo>
                  <a:cubicBezTo>
                    <a:pt x="160" y="382"/>
                    <a:pt x="175" y="405"/>
                    <a:pt x="160" y="420"/>
                  </a:cubicBezTo>
                  <a:cubicBezTo>
                    <a:pt x="152" y="435"/>
                    <a:pt x="130" y="450"/>
                    <a:pt x="114" y="466"/>
                  </a:cubicBezTo>
                  <a:lnTo>
                    <a:pt x="114" y="466"/>
                  </a:lnTo>
                  <a:cubicBezTo>
                    <a:pt x="130" y="489"/>
                    <a:pt x="145" y="512"/>
                    <a:pt x="152" y="535"/>
                  </a:cubicBezTo>
                  <a:cubicBezTo>
                    <a:pt x="168" y="565"/>
                    <a:pt x="168" y="596"/>
                    <a:pt x="191" y="619"/>
                  </a:cubicBezTo>
                  <a:cubicBezTo>
                    <a:pt x="198" y="626"/>
                    <a:pt x="221" y="611"/>
                    <a:pt x="229" y="626"/>
                  </a:cubicBezTo>
                  <a:cubicBezTo>
                    <a:pt x="229" y="641"/>
                    <a:pt x="221" y="657"/>
                    <a:pt x="206" y="672"/>
                  </a:cubicBezTo>
                  <a:cubicBezTo>
                    <a:pt x="175" y="710"/>
                    <a:pt x="130" y="733"/>
                    <a:pt x="107" y="771"/>
                  </a:cubicBezTo>
                  <a:cubicBezTo>
                    <a:pt x="84" y="809"/>
                    <a:pt x="114" y="855"/>
                    <a:pt x="91" y="886"/>
                  </a:cubicBezTo>
                  <a:cubicBezTo>
                    <a:pt x="84" y="909"/>
                    <a:pt x="30" y="878"/>
                    <a:pt x="30" y="901"/>
                  </a:cubicBezTo>
                  <a:cubicBezTo>
                    <a:pt x="23" y="947"/>
                    <a:pt x="69" y="993"/>
                    <a:pt x="76" y="1039"/>
                  </a:cubicBezTo>
                  <a:cubicBezTo>
                    <a:pt x="76" y="1054"/>
                    <a:pt x="61" y="1061"/>
                    <a:pt x="61" y="1077"/>
                  </a:cubicBezTo>
                  <a:cubicBezTo>
                    <a:pt x="61" y="1107"/>
                    <a:pt x="84" y="1138"/>
                    <a:pt x="91" y="1168"/>
                  </a:cubicBezTo>
                  <a:cubicBezTo>
                    <a:pt x="91" y="1176"/>
                    <a:pt x="76" y="1176"/>
                    <a:pt x="69" y="1184"/>
                  </a:cubicBezTo>
                  <a:cubicBezTo>
                    <a:pt x="46" y="1245"/>
                    <a:pt x="7" y="1306"/>
                    <a:pt x="0" y="1375"/>
                  </a:cubicBezTo>
                  <a:cubicBezTo>
                    <a:pt x="0" y="1413"/>
                    <a:pt x="38" y="1428"/>
                    <a:pt x="53" y="1459"/>
                  </a:cubicBezTo>
                  <a:lnTo>
                    <a:pt x="53" y="1459"/>
                  </a:lnTo>
                  <a:cubicBezTo>
                    <a:pt x="69" y="1466"/>
                    <a:pt x="76" y="1474"/>
                    <a:pt x="91" y="1474"/>
                  </a:cubicBezTo>
                  <a:cubicBezTo>
                    <a:pt x="114" y="1474"/>
                    <a:pt x="145" y="1466"/>
                    <a:pt x="175" y="1459"/>
                  </a:cubicBezTo>
                  <a:cubicBezTo>
                    <a:pt x="221" y="1451"/>
                    <a:pt x="275" y="1459"/>
                    <a:pt x="313" y="1436"/>
                  </a:cubicBezTo>
                  <a:cubicBezTo>
                    <a:pt x="336" y="1421"/>
                    <a:pt x="321" y="1382"/>
                    <a:pt x="344" y="1367"/>
                  </a:cubicBezTo>
                  <a:cubicBezTo>
                    <a:pt x="351" y="1359"/>
                    <a:pt x="366" y="1382"/>
                    <a:pt x="382" y="1382"/>
                  </a:cubicBezTo>
                  <a:cubicBezTo>
                    <a:pt x="412" y="1398"/>
                    <a:pt x="450" y="1382"/>
                    <a:pt x="473" y="1405"/>
                  </a:cubicBezTo>
                  <a:cubicBezTo>
                    <a:pt x="481" y="1428"/>
                    <a:pt x="443" y="1436"/>
                    <a:pt x="427" y="1451"/>
                  </a:cubicBezTo>
                  <a:cubicBezTo>
                    <a:pt x="405" y="1466"/>
                    <a:pt x="389" y="1482"/>
                    <a:pt x="374" y="1505"/>
                  </a:cubicBezTo>
                  <a:cubicBezTo>
                    <a:pt x="366" y="1527"/>
                    <a:pt x="359" y="1558"/>
                    <a:pt x="359" y="1581"/>
                  </a:cubicBezTo>
                  <a:cubicBezTo>
                    <a:pt x="359" y="1604"/>
                    <a:pt x="351" y="1634"/>
                    <a:pt x="366" y="1650"/>
                  </a:cubicBezTo>
                  <a:cubicBezTo>
                    <a:pt x="389" y="1657"/>
                    <a:pt x="405" y="1627"/>
                    <a:pt x="427" y="1611"/>
                  </a:cubicBezTo>
                  <a:cubicBezTo>
                    <a:pt x="443" y="1596"/>
                    <a:pt x="458" y="1566"/>
                    <a:pt x="487" y="1558"/>
                  </a:cubicBezTo>
                  <a:cubicBezTo>
                    <a:pt x="503" y="1550"/>
                    <a:pt x="518" y="1566"/>
                    <a:pt x="533" y="1581"/>
                  </a:cubicBezTo>
                  <a:cubicBezTo>
                    <a:pt x="549" y="1588"/>
                    <a:pt x="549" y="1627"/>
                    <a:pt x="572" y="1627"/>
                  </a:cubicBezTo>
                  <a:cubicBezTo>
                    <a:pt x="602" y="1634"/>
                    <a:pt x="640" y="1596"/>
                    <a:pt x="679" y="1604"/>
                  </a:cubicBezTo>
                  <a:cubicBezTo>
                    <a:pt x="694" y="1611"/>
                    <a:pt x="686" y="1634"/>
                    <a:pt x="686" y="1650"/>
                  </a:cubicBezTo>
                  <a:cubicBezTo>
                    <a:pt x="701" y="1673"/>
                    <a:pt x="709" y="1688"/>
                    <a:pt x="717" y="1711"/>
                  </a:cubicBezTo>
                  <a:cubicBezTo>
                    <a:pt x="732" y="1734"/>
                    <a:pt x="755" y="1749"/>
                    <a:pt x="770" y="1772"/>
                  </a:cubicBezTo>
                  <a:cubicBezTo>
                    <a:pt x="778" y="1787"/>
                    <a:pt x="762" y="1818"/>
                    <a:pt x="778" y="1833"/>
                  </a:cubicBezTo>
                  <a:cubicBezTo>
                    <a:pt x="785" y="1841"/>
                    <a:pt x="801" y="1833"/>
                    <a:pt x="816" y="1833"/>
                  </a:cubicBezTo>
                  <a:cubicBezTo>
                    <a:pt x="824" y="1833"/>
                    <a:pt x="831" y="1848"/>
                    <a:pt x="839" y="1841"/>
                  </a:cubicBezTo>
                  <a:cubicBezTo>
                    <a:pt x="869" y="1833"/>
                    <a:pt x="885" y="1802"/>
                    <a:pt x="915" y="1795"/>
                  </a:cubicBezTo>
                  <a:cubicBezTo>
                    <a:pt x="931" y="1795"/>
                    <a:pt x="946" y="1810"/>
                    <a:pt x="961" y="1818"/>
                  </a:cubicBezTo>
                  <a:cubicBezTo>
                    <a:pt x="984" y="1818"/>
                    <a:pt x="999" y="1795"/>
                    <a:pt x="1015" y="1802"/>
                  </a:cubicBezTo>
                  <a:cubicBezTo>
                    <a:pt x="1030" y="1810"/>
                    <a:pt x="1045" y="1841"/>
                    <a:pt x="1037" y="1856"/>
                  </a:cubicBezTo>
                  <a:cubicBezTo>
                    <a:pt x="1030" y="1886"/>
                    <a:pt x="969" y="1894"/>
                    <a:pt x="976" y="1925"/>
                  </a:cubicBezTo>
                  <a:cubicBezTo>
                    <a:pt x="984" y="1955"/>
                    <a:pt x="1037" y="1917"/>
                    <a:pt x="1068" y="1932"/>
                  </a:cubicBezTo>
                  <a:cubicBezTo>
                    <a:pt x="1076" y="1940"/>
                    <a:pt x="1076" y="1963"/>
                    <a:pt x="1068" y="1978"/>
                  </a:cubicBezTo>
                  <a:cubicBezTo>
                    <a:pt x="1060" y="1993"/>
                    <a:pt x="1037" y="1993"/>
                    <a:pt x="1037" y="2009"/>
                  </a:cubicBezTo>
                  <a:cubicBezTo>
                    <a:pt x="1022" y="2070"/>
                    <a:pt x="999" y="2131"/>
                    <a:pt x="1007" y="2184"/>
                  </a:cubicBezTo>
                  <a:cubicBezTo>
                    <a:pt x="1015" y="2223"/>
                    <a:pt x="1060" y="2230"/>
                    <a:pt x="1091" y="2253"/>
                  </a:cubicBezTo>
                  <a:lnTo>
                    <a:pt x="1091" y="2253"/>
                  </a:lnTo>
                  <a:cubicBezTo>
                    <a:pt x="1091" y="2238"/>
                    <a:pt x="1129" y="2238"/>
                    <a:pt x="1144" y="2230"/>
                  </a:cubicBezTo>
                  <a:cubicBezTo>
                    <a:pt x="1183" y="2223"/>
                    <a:pt x="1213" y="2192"/>
                    <a:pt x="1236" y="2169"/>
                  </a:cubicBezTo>
                  <a:cubicBezTo>
                    <a:pt x="1251" y="2154"/>
                    <a:pt x="1274" y="2146"/>
                    <a:pt x="1282" y="2138"/>
                  </a:cubicBezTo>
                  <a:lnTo>
                    <a:pt x="1282" y="2138"/>
                  </a:lnTo>
                  <a:cubicBezTo>
                    <a:pt x="1290" y="2131"/>
                    <a:pt x="1290" y="2123"/>
                    <a:pt x="1290" y="2123"/>
                  </a:cubicBezTo>
                  <a:cubicBezTo>
                    <a:pt x="1297" y="2100"/>
                    <a:pt x="1328" y="2016"/>
                    <a:pt x="1351" y="2016"/>
                  </a:cubicBezTo>
                  <a:cubicBezTo>
                    <a:pt x="1366" y="2009"/>
                    <a:pt x="1396" y="2009"/>
                    <a:pt x="1396" y="1986"/>
                  </a:cubicBezTo>
                  <a:cubicBezTo>
                    <a:pt x="1396" y="1963"/>
                    <a:pt x="1412" y="1948"/>
                    <a:pt x="1412" y="1932"/>
                  </a:cubicBezTo>
                  <a:cubicBezTo>
                    <a:pt x="1358" y="1917"/>
                    <a:pt x="1419" y="1863"/>
                    <a:pt x="1427" y="1841"/>
                  </a:cubicBezTo>
                  <a:cubicBezTo>
                    <a:pt x="1465" y="1810"/>
                    <a:pt x="1488" y="1795"/>
                    <a:pt x="1519" y="1757"/>
                  </a:cubicBezTo>
                  <a:cubicBezTo>
                    <a:pt x="1549" y="1719"/>
                    <a:pt x="1626" y="1642"/>
                    <a:pt x="1671" y="1627"/>
                  </a:cubicBezTo>
                  <a:cubicBezTo>
                    <a:pt x="1702" y="1619"/>
                    <a:pt x="1733" y="1611"/>
                    <a:pt x="1756" y="1627"/>
                  </a:cubicBezTo>
                  <a:cubicBezTo>
                    <a:pt x="1763" y="1634"/>
                    <a:pt x="1778" y="1657"/>
                    <a:pt x="1786" y="1650"/>
                  </a:cubicBezTo>
                  <a:cubicBezTo>
                    <a:pt x="1794" y="1650"/>
                    <a:pt x="1817" y="1634"/>
                    <a:pt x="1824" y="1627"/>
                  </a:cubicBezTo>
                  <a:cubicBezTo>
                    <a:pt x="1878" y="1611"/>
                    <a:pt x="1847" y="1497"/>
                    <a:pt x="1870" y="1497"/>
                  </a:cubicBezTo>
                  <a:cubicBezTo>
                    <a:pt x="1916" y="1474"/>
                    <a:pt x="1916" y="1474"/>
                    <a:pt x="1916" y="1474"/>
                  </a:cubicBezTo>
                  <a:cubicBezTo>
                    <a:pt x="1946" y="1459"/>
                    <a:pt x="1969" y="1421"/>
                    <a:pt x="2008" y="1428"/>
                  </a:cubicBezTo>
                  <a:cubicBezTo>
                    <a:pt x="2030" y="1436"/>
                    <a:pt x="2069" y="1398"/>
                    <a:pt x="2084" y="1382"/>
                  </a:cubicBezTo>
                  <a:cubicBezTo>
                    <a:pt x="2092" y="1375"/>
                    <a:pt x="2130" y="1329"/>
                    <a:pt x="2130" y="1313"/>
                  </a:cubicBezTo>
                  <a:lnTo>
                    <a:pt x="2130" y="1313"/>
                  </a:lnTo>
                  <a:cubicBezTo>
                    <a:pt x="2122" y="1313"/>
                    <a:pt x="2122" y="1313"/>
                    <a:pt x="2115" y="1313"/>
                  </a:cubicBezTo>
                  <a:cubicBezTo>
                    <a:pt x="2115" y="1306"/>
                    <a:pt x="2061" y="1268"/>
                    <a:pt x="2053" y="1260"/>
                  </a:cubicBezTo>
                  <a:cubicBezTo>
                    <a:pt x="2030" y="1214"/>
                    <a:pt x="2046" y="1184"/>
                    <a:pt x="2030" y="1138"/>
                  </a:cubicBezTo>
                  <a:cubicBezTo>
                    <a:pt x="2030" y="1115"/>
                    <a:pt x="2023" y="1084"/>
                    <a:pt x="2008" y="1069"/>
                  </a:cubicBezTo>
                  <a:cubicBezTo>
                    <a:pt x="2000" y="1061"/>
                    <a:pt x="1969" y="1039"/>
                    <a:pt x="1962" y="1023"/>
                  </a:cubicBezTo>
                  <a:cubicBezTo>
                    <a:pt x="1962" y="1023"/>
                    <a:pt x="1954" y="1016"/>
                    <a:pt x="1946" y="1016"/>
                  </a:cubicBezTo>
                  <a:lnTo>
                    <a:pt x="1939" y="1016"/>
                  </a:lnTo>
                  <a:cubicBezTo>
                    <a:pt x="1939" y="1008"/>
                    <a:pt x="1946" y="955"/>
                    <a:pt x="1931" y="947"/>
                  </a:cubicBezTo>
                  <a:cubicBezTo>
                    <a:pt x="1923" y="932"/>
                    <a:pt x="1901" y="924"/>
                    <a:pt x="1901" y="909"/>
                  </a:cubicBezTo>
                  <a:cubicBezTo>
                    <a:pt x="1893" y="901"/>
                    <a:pt x="1885" y="894"/>
                    <a:pt x="1885" y="894"/>
                  </a:cubicBezTo>
                  <a:cubicBezTo>
                    <a:pt x="1878" y="886"/>
                    <a:pt x="1862" y="840"/>
                    <a:pt x="1862" y="832"/>
                  </a:cubicBezTo>
                  <a:cubicBezTo>
                    <a:pt x="1870" y="832"/>
                    <a:pt x="1870" y="832"/>
                    <a:pt x="1870" y="832"/>
                  </a:cubicBezTo>
                  <a:cubicBezTo>
                    <a:pt x="1908" y="832"/>
                    <a:pt x="1954" y="840"/>
                    <a:pt x="1992" y="840"/>
                  </a:cubicBezTo>
                  <a:cubicBezTo>
                    <a:pt x="2015" y="809"/>
                    <a:pt x="2030" y="756"/>
                    <a:pt x="2061" y="718"/>
                  </a:cubicBezTo>
                  <a:cubicBezTo>
                    <a:pt x="2076" y="702"/>
                    <a:pt x="2099" y="695"/>
                    <a:pt x="2115" y="680"/>
                  </a:cubicBezTo>
                  <a:cubicBezTo>
                    <a:pt x="2130" y="649"/>
                    <a:pt x="2130" y="649"/>
                    <a:pt x="2130" y="619"/>
                  </a:cubicBezTo>
                  <a:lnTo>
                    <a:pt x="2130" y="611"/>
                  </a:lnTo>
                  <a:cubicBezTo>
                    <a:pt x="2137" y="611"/>
                    <a:pt x="2145" y="603"/>
                    <a:pt x="2145" y="603"/>
                  </a:cubicBezTo>
                  <a:cubicBezTo>
                    <a:pt x="2153" y="596"/>
                    <a:pt x="2168" y="573"/>
                    <a:pt x="2168" y="565"/>
                  </a:cubicBezTo>
                  <a:cubicBezTo>
                    <a:pt x="2237" y="565"/>
                    <a:pt x="2198" y="512"/>
                    <a:pt x="2244" y="504"/>
                  </a:cubicBezTo>
                  <a:cubicBezTo>
                    <a:pt x="2252" y="489"/>
                    <a:pt x="2252" y="458"/>
                    <a:pt x="2260" y="450"/>
                  </a:cubicBezTo>
                  <a:cubicBezTo>
                    <a:pt x="2260" y="443"/>
                    <a:pt x="2260" y="435"/>
                    <a:pt x="2260" y="427"/>
                  </a:cubicBezTo>
                  <a:lnTo>
                    <a:pt x="2267" y="420"/>
                  </a:lnTo>
                  <a:cubicBezTo>
                    <a:pt x="2275" y="412"/>
                    <a:pt x="2282" y="405"/>
                    <a:pt x="2290" y="405"/>
                  </a:cubicBezTo>
                  <a:cubicBezTo>
                    <a:pt x="2290" y="397"/>
                    <a:pt x="2298" y="397"/>
                    <a:pt x="2298" y="397"/>
                  </a:cubicBezTo>
                  <a:cubicBezTo>
                    <a:pt x="2305" y="397"/>
                    <a:pt x="2313" y="389"/>
                    <a:pt x="2313" y="389"/>
                  </a:cubicBezTo>
                  <a:cubicBezTo>
                    <a:pt x="2328" y="374"/>
                    <a:pt x="2328" y="374"/>
                    <a:pt x="2328" y="374"/>
                  </a:cubicBezTo>
                  <a:lnTo>
                    <a:pt x="2328" y="374"/>
                  </a:lnTo>
                  <a:cubicBezTo>
                    <a:pt x="2305" y="336"/>
                    <a:pt x="2282" y="298"/>
                    <a:pt x="2275" y="267"/>
                  </a:cubicBezTo>
                  <a:cubicBezTo>
                    <a:pt x="2275" y="168"/>
                    <a:pt x="2191" y="183"/>
                    <a:pt x="2168" y="99"/>
                  </a:cubicBezTo>
                  <a:cubicBezTo>
                    <a:pt x="2160" y="76"/>
                    <a:pt x="2008" y="38"/>
                    <a:pt x="1985" y="46"/>
                  </a:cubicBezTo>
                  <a:cubicBezTo>
                    <a:pt x="1916" y="61"/>
                    <a:pt x="1847" y="46"/>
                    <a:pt x="1801" y="0"/>
                  </a:cubicBezTo>
                  <a:lnTo>
                    <a:pt x="1801" y="0"/>
                  </a:lnTo>
                  <a:cubicBezTo>
                    <a:pt x="1763" y="46"/>
                    <a:pt x="1756" y="61"/>
                    <a:pt x="1717" y="99"/>
                  </a:cubicBezTo>
                  <a:cubicBezTo>
                    <a:pt x="1694" y="114"/>
                    <a:pt x="1679" y="145"/>
                    <a:pt x="1656" y="137"/>
                  </a:cubicBezTo>
                  <a:cubicBezTo>
                    <a:pt x="1633" y="130"/>
                    <a:pt x="1633" y="91"/>
                    <a:pt x="1610" y="76"/>
                  </a:cubicBezTo>
                  <a:cubicBezTo>
                    <a:pt x="1587" y="69"/>
                    <a:pt x="1565" y="61"/>
                    <a:pt x="1542" y="69"/>
                  </a:cubicBezTo>
                  <a:cubicBezTo>
                    <a:pt x="1526" y="69"/>
                    <a:pt x="1542" y="91"/>
                    <a:pt x="1534" y="99"/>
                  </a:cubicBezTo>
                  <a:cubicBezTo>
                    <a:pt x="1526" y="114"/>
                    <a:pt x="1488" y="114"/>
                    <a:pt x="1496" y="130"/>
                  </a:cubicBezTo>
                  <a:cubicBezTo>
                    <a:pt x="1496" y="160"/>
                    <a:pt x="1542" y="168"/>
                    <a:pt x="1557" y="191"/>
                  </a:cubicBezTo>
                  <a:cubicBezTo>
                    <a:pt x="1565" y="214"/>
                    <a:pt x="1565" y="252"/>
                    <a:pt x="1549" y="267"/>
                  </a:cubicBezTo>
                  <a:cubicBezTo>
                    <a:pt x="1534" y="282"/>
                    <a:pt x="1511" y="244"/>
                    <a:pt x="1496" y="252"/>
                  </a:cubicBezTo>
                  <a:cubicBezTo>
                    <a:pt x="1481" y="260"/>
                    <a:pt x="1496" y="298"/>
                    <a:pt x="1481" y="305"/>
                  </a:cubicBezTo>
                  <a:cubicBezTo>
                    <a:pt x="1458" y="313"/>
                    <a:pt x="1427" y="298"/>
                    <a:pt x="1404" y="290"/>
                  </a:cubicBezTo>
                  <a:cubicBezTo>
                    <a:pt x="1389" y="290"/>
                    <a:pt x="1389" y="275"/>
                    <a:pt x="1381" y="267"/>
                  </a:cubicBezTo>
                  <a:cubicBezTo>
                    <a:pt x="1373" y="267"/>
                    <a:pt x="1358" y="260"/>
                    <a:pt x="1351" y="260"/>
                  </a:cubicBezTo>
                  <a:cubicBezTo>
                    <a:pt x="1312" y="267"/>
                    <a:pt x="1274" y="298"/>
                    <a:pt x="1236" y="298"/>
                  </a:cubicBezTo>
                  <a:cubicBezTo>
                    <a:pt x="1221" y="298"/>
                    <a:pt x="1206" y="267"/>
                    <a:pt x="1183" y="267"/>
                  </a:cubicBezTo>
                  <a:cubicBezTo>
                    <a:pt x="1160" y="267"/>
                    <a:pt x="1137" y="282"/>
                    <a:pt x="1114" y="298"/>
                  </a:cubicBezTo>
                  <a:cubicBezTo>
                    <a:pt x="1099" y="305"/>
                    <a:pt x="1106" y="336"/>
                    <a:pt x="1091" y="336"/>
                  </a:cubicBezTo>
                  <a:cubicBezTo>
                    <a:pt x="1076" y="344"/>
                    <a:pt x="1068" y="321"/>
                    <a:pt x="1060" y="313"/>
                  </a:cubicBezTo>
                  <a:lnTo>
                    <a:pt x="1060" y="313"/>
                  </a:lnTo>
                  <a:cubicBezTo>
                    <a:pt x="1045" y="328"/>
                    <a:pt x="1037" y="351"/>
                    <a:pt x="1015" y="366"/>
                  </a:cubicBezTo>
                  <a:cubicBezTo>
                    <a:pt x="992" y="382"/>
                    <a:pt x="969" y="405"/>
                    <a:pt x="938" y="397"/>
                  </a:cubicBezTo>
                  <a:cubicBezTo>
                    <a:pt x="923" y="397"/>
                    <a:pt x="946" y="328"/>
                    <a:pt x="923" y="336"/>
                  </a:cubicBezTo>
                  <a:cubicBezTo>
                    <a:pt x="839" y="382"/>
                    <a:pt x="762" y="450"/>
                    <a:pt x="701" y="527"/>
                  </a:cubicBezTo>
                  <a:cubicBezTo>
                    <a:pt x="686" y="542"/>
                    <a:pt x="717" y="580"/>
                    <a:pt x="709" y="596"/>
                  </a:cubicBezTo>
                  <a:cubicBezTo>
                    <a:pt x="694" y="619"/>
                    <a:pt x="663" y="626"/>
                    <a:pt x="640" y="626"/>
                  </a:cubicBezTo>
                  <a:cubicBezTo>
                    <a:pt x="625" y="619"/>
                    <a:pt x="610" y="596"/>
                    <a:pt x="610" y="580"/>
                  </a:cubicBezTo>
                  <a:cubicBezTo>
                    <a:pt x="610" y="565"/>
                    <a:pt x="625" y="557"/>
                    <a:pt x="625" y="542"/>
                  </a:cubicBezTo>
                  <a:cubicBezTo>
                    <a:pt x="617" y="527"/>
                    <a:pt x="595" y="527"/>
                    <a:pt x="595" y="512"/>
                  </a:cubicBezTo>
                  <a:cubicBezTo>
                    <a:pt x="587" y="504"/>
                    <a:pt x="602" y="489"/>
                    <a:pt x="595" y="481"/>
                  </a:cubicBezTo>
                  <a:cubicBezTo>
                    <a:pt x="587" y="450"/>
                    <a:pt x="587" y="389"/>
                    <a:pt x="556" y="382"/>
                  </a:cubicBezTo>
                  <a:cubicBezTo>
                    <a:pt x="503" y="374"/>
                    <a:pt x="473" y="450"/>
                    <a:pt x="420" y="450"/>
                  </a:cubicBezTo>
                  <a:cubicBezTo>
                    <a:pt x="405" y="458"/>
                    <a:pt x="405" y="412"/>
                    <a:pt x="389" y="405"/>
                  </a:cubicBezTo>
                  <a:cubicBezTo>
                    <a:pt x="374" y="389"/>
                    <a:pt x="344" y="405"/>
                    <a:pt x="328" y="397"/>
                  </a:cubicBezTo>
                  <a:cubicBezTo>
                    <a:pt x="305" y="382"/>
                    <a:pt x="290" y="351"/>
                    <a:pt x="275" y="328"/>
                  </a:cubicBezTo>
                </a:path>
              </a:pathLst>
            </a:custGeom>
            <a:solidFill>
              <a:schemeClr val="accent2"/>
            </a:solidFill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09" name="Freeform 131"/>
            <p:cNvSpPr>
              <a:spLocks noChangeArrowheads="1"/>
            </p:cNvSpPr>
            <p:nvPr/>
          </p:nvSpPr>
          <p:spPr bwMode="auto">
            <a:xfrm>
              <a:off x="6073380" y="4749801"/>
              <a:ext cx="282557" cy="214313"/>
            </a:xfrm>
            <a:custGeom>
              <a:avLst/>
              <a:gdLst>
                <a:gd name="T0" fmla="*/ 785 w 786"/>
                <a:gd name="T1" fmla="*/ 283 h 597"/>
                <a:gd name="T2" fmla="*/ 785 w 786"/>
                <a:gd name="T3" fmla="*/ 283 h 597"/>
                <a:gd name="T4" fmla="*/ 740 w 786"/>
                <a:gd name="T5" fmla="*/ 336 h 597"/>
                <a:gd name="T6" fmla="*/ 663 w 786"/>
                <a:gd name="T7" fmla="*/ 367 h 597"/>
                <a:gd name="T8" fmla="*/ 648 w 786"/>
                <a:gd name="T9" fmla="*/ 306 h 597"/>
                <a:gd name="T10" fmla="*/ 426 w 786"/>
                <a:gd name="T11" fmla="*/ 497 h 597"/>
                <a:gd name="T12" fmla="*/ 434 w 786"/>
                <a:gd name="T13" fmla="*/ 566 h 597"/>
                <a:gd name="T14" fmla="*/ 365 w 786"/>
                <a:gd name="T15" fmla="*/ 596 h 597"/>
                <a:gd name="T16" fmla="*/ 335 w 786"/>
                <a:gd name="T17" fmla="*/ 550 h 597"/>
                <a:gd name="T18" fmla="*/ 350 w 786"/>
                <a:gd name="T19" fmla="*/ 512 h 597"/>
                <a:gd name="T20" fmla="*/ 320 w 786"/>
                <a:gd name="T21" fmla="*/ 482 h 597"/>
                <a:gd name="T22" fmla="*/ 320 w 786"/>
                <a:gd name="T23" fmla="*/ 451 h 597"/>
                <a:gd name="T24" fmla="*/ 281 w 786"/>
                <a:gd name="T25" fmla="*/ 352 h 597"/>
                <a:gd name="T26" fmla="*/ 145 w 786"/>
                <a:gd name="T27" fmla="*/ 420 h 597"/>
                <a:gd name="T28" fmla="*/ 114 w 786"/>
                <a:gd name="T29" fmla="*/ 375 h 597"/>
                <a:gd name="T30" fmla="*/ 53 w 786"/>
                <a:gd name="T31" fmla="*/ 367 h 597"/>
                <a:gd name="T32" fmla="*/ 0 w 786"/>
                <a:gd name="T33" fmla="*/ 298 h 597"/>
                <a:gd name="T34" fmla="*/ 0 w 786"/>
                <a:gd name="T35" fmla="*/ 298 h 597"/>
                <a:gd name="T36" fmla="*/ 114 w 786"/>
                <a:gd name="T37" fmla="*/ 176 h 597"/>
                <a:gd name="T38" fmla="*/ 145 w 786"/>
                <a:gd name="T39" fmla="*/ 153 h 597"/>
                <a:gd name="T40" fmla="*/ 183 w 786"/>
                <a:gd name="T41" fmla="*/ 153 h 597"/>
                <a:gd name="T42" fmla="*/ 228 w 786"/>
                <a:gd name="T43" fmla="*/ 130 h 597"/>
                <a:gd name="T44" fmla="*/ 243 w 786"/>
                <a:gd name="T45" fmla="*/ 115 h 597"/>
                <a:gd name="T46" fmla="*/ 381 w 786"/>
                <a:gd name="T47" fmla="*/ 100 h 597"/>
                <a:gd name="T48" fmla="*/ 381 w 786"/>
                <a:gd name="T49" fmla="*/ 39 h 597"/>
                <a:gd name="T50" fmla="*/ 434 w 786"/>
                <a:gd name="T51" fmla="*/ 0 h 597"/>
                <a:gd name="T52" fmla="*/ 434 w 786"/>
                <a:gd name="T53" fmla="*/ 0 h 597"/>
                <a:gd name="T54" fmla="*/ 549 w 786"/>
                <a:gd name="T55" fmla="*/ 84 h 597"/>
                <a:gd name="T56" fmla="*/ 556 w 786"/>
                <a:gd name="T57" fmla="*/ 54 h 597"/>
                <a:gd name="T58" fmla="*/ 602 w 786"/>
                <a:gd name="T59" fmla="*/ 46 h 597"/>
                <a:gd name="T60" fmla="*/ 656 w 786"/>
                <a:gd name="T61" fmla="*/ 153 h 597"/>
                <a:gd name="T62" fmla="*/ 694 w 786"/>
                <a:gd name="T63" fmla="*/ 176 h 597"/>
                <a:gd name="T64" fmla="*/ 762 w 786"/>
                <a:gd name="T65" fmla="*/ 222 h 597"/>
                <a:gd name="T66" fmla="*/ 785 w 786"/>
                <a:gd name="T67" fmla="*/ 283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86" h="597">
                  <a:moveTo>
                    <a:pt x="785" y="283"/>
                  </a:moveTo>
                  <a:lnTo>
                    <a:pt x="785" y="283"/>
                  </a:lnTo>
                  <a:cubicBezTo>
                    <a:pt x="770" y="298"/>
                    <a:pt x="762" y="321"/>
                    <a:pt x="740" y="336"/>
                  </a:cubicBezTo>
                  <a:cubicBezTo>
                    <a:pt x="717" y="352"/>
                    <a:pt x="694" y="375"/>
                    <a:pt x="663" y="367"/>
                  </a:cubicBezTo>
                  <a:cubicBezTo>
                    <a:pt x="648" y="367"/>
                    <a:pt x="671" y="298"/>
                    <a:pt x="648" y="306"/>
                  </a:cubicBezTo>
                  <a:cubicBezTo>
                    <a:pt x="564" y="352"/>
                    <a:pt x="487" y="420"/>
                    <a:pt x="426" y="497"/>
                  </a:cubicBezTo>
                  <a:cubicBezTo>
                    <a:pt x="411" y="512"/>
                    <a:pt x="442" y="550"/>
                    <a:pt x="434" y="566"/>
                  </a:cubicBezTo>
                  <a:cubicBezTo>
                    <a:pt x="419" y="589"/>
                    <a:pt x="388" y="596"/>
                    <a:pt x="365" y="596"/>
                  </a:cubicBezTo>
                  <a:cubicBezTo>
                    <a:pt x="350" y="589"/>
                    <a:pt x="335" y="566"/>
                    <a:pt x="335" y="550"/>
                  </a:cubicBezTo>
                  <a:cubicBezTo>
                    <a:pt x="335" y="535"/>
                    <a:pt x="350" y="527"/>
                    <a:pt x="350" y="512"/>
                  </a:cubicBezTo>
                  <a:cubicBezTo>
                    <a:pt x="342" y="497"/>
                    <a:pt x="320" y="497"/>
                    <a:pt x="320" y="482"/>
                  </a:cubicBezTo>
                  <a:cubicBezTo>
                    <a:pt x="312" y="474"/>
                    <a:pt x="327" y="459"/>
                    <a:pt x="320" y="451"/>
                  </a:cubicBezTo>
                  <a:cubicBezTo>
                    <a:pt x="312" y="420"/>
                    <a:pt x="312" y="359"/>
                    <a:pt x="281" y="352"/>
                  </a:cubicBezTo>
                  <a:cubicBezTo>
                    <a:pt x="228" y="344"/>
                    <a:pt x="198" y="420"/>
                    <a:pt x="145" y="420"/>
                  </a:cubicBezTo>
                  <a:cubicBezTo>
                    <a:pt x="130" y="428"/>
                    <a:pt x="130" y="382"/>
                    <a:pt x="114" y="375"/>
                  </a:cubicBezTo>
                  <a:cubicBezTo>
                    <a:pt x="99" y="359"/>
                    <a:pt x="69" y="375"/>
                    <a:pt x="53" y="367"/>
                  </a:cubicBezTo>
                  <a:cubicBezTo>
                    <a:pt x="30" y="352"/>
                    <a:pt x="15" y="321"/>
                    <a:pt x="0" y="298"/>
                  </a:cubicBezTo>
                  <a:lnTo>
                    <a:pt x="0" y="298"/>
                  </a:lnTo>
                  <a:cubicBezTo>
                    <a:pt x="38" y="252"/>
                    <a:pt x="76" y="214"/>
                    <a:pt x="114" y="176"/>
                  </a:cubicBezTo>
                  <a:cubicBezTo>
                    <a:pt x="122" y="168"/>
                    <a:pt x="130" y="161"/>
                    <a:pt x="145" y="153"/>
                  </a:cubicBezTo>
                  <a:cubicBezTo>
                    <a:pt x="152" y="153"/>
                    <a:pt x="168" y="161"/>
                    <a:pt x="183" y="153"/>
                  </a:cubicBezTo>
                  <a:cubicBezTo>
                    <a:pt x="198" y="153"/>
                    <a:pt x="212" y="145"/>
                    <a:pt x="228" y="130"/>
                  </a:cubicBezTo>
                  <a:cubicBezTo>
                    <a:pt x="235" y="130"/>
                    <a:pt x="235" y="115"/>
                    <a:pt x="243" y="115"/>
                  </a:cubicBezTo>
                  <a:cubicBezTo>
                    <a:pt x="289" y="100"/>
                    <a:pt x="342" y="115"/>
                    <a:pt x="381" y="100"/>
                  </a:cubicBezTo>
                  <a:cubicBezTo>
                    <a:pt x="396" y="84"/>
                    <a:pt x="373" y="54"/>
                    <a:pt x="381" y="39"/>
                  </a:cubicBezTo>
                  <a:cubicBezTo>
                    <a:pt x="396" y="16"/>
                    <a:pt x="419" y="16"/>
                    <a:pt x="434" y="0"/>
                  </a:cubicBezTo>
                  <a:lnTo>
                    <a:pt x="434" y="0"/>
                  </a:lnTo>
                  <a:cubicBezTo>
                    <a:pt x="472" y="31"/>
                    <a:pt x="503" y="69"/>
                    <a:pt x="549" y="84"/>
                  </a:cubicBezTo>
                  <a:cubicBezTo>
                    <a:pt x="556" y="92"/>
                    <a:pt x="549" y="61"/>
                    <a:pt x="556" y="54"/>
                  </a:cubicBezTo>
                  <a:cubicBezTo>
                    <a:pt x="572" y="46"/>
                    <a:pt x="594" y="31"/>
                    <a:pt x="602" y="46"/>
                  </a:cubicBezTo>
                  <a:cubicBezTo>
                    <a:pt x="633" y="69"/>
                    <a:pt x="633" y="115"/>
                    <a:pt x="656" y="153"/>
                  </a:cubicBezTo>
                  <a:cubicBezTo>
                    <a:pt x="663" y="161"/>
                    <a:pt x="679" y="168"/>
                    <a:pt x="694" y="176"/>
                  </a:cubicBezTo>
                  <a:cubicBezTo>
                    <a:pt x="717" y="191"/>
                    <a:pt x="740" y="207"/>
                    <a:pt x="762" y="222"/>
                  </a:cubicBezTo>
                  <a:cubicBezTo>
                    <a:pt x="778" y="237"/>
                    <a:pt x="778" y="260"/>
                    <a:pt x="785" y="28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10" name="Freeform 132"/>
            <p:cNvSpPr>
              <a:spLocks noChangeArrowheads="1"/>
            </p:cNvSpPr>
            <p:nvPr/>
          </p:nvSpPr>
          <p:spPr bwMode="auto">
            <a:xfrm>
              <a:off x="6230532" y="4614863"/>
              <a:ext cx="393674" cy="247650"/>
            </a:xfrm>
            <a:custGeom>
              <a:avLst/>
              <a:gdLst>
                <a:gd name="T0" fmla="*/ 8 w 1093"/>
                <a:gd name="T1" fmla="*/ 336 h 689"/>
                <a:gd name="T2" fmla="*/ 8 w 1093"/>
                <a:gd name="T3" fmla="*/ 336 h 689"/>
                <a:gd name="T4" fmla="*/ 0 w 1093"/>
                <a:gd name="T5" fmla="*/ 374 h 689"/>
                <a:gd name="T6" fmla="*/ 0 w 1093"/>
                <a:gd name="T7" fmla="*/ 374 h 689"/>
                <a:gd name="T8" fmla="*/ 115 w 1093"/>
                <a:gd name="T9" fmla="*/ 458 h 689"/>
                <a:gd name="T10" fmla="*/ 122 w 1093"/>
                <a:gd name="T11" fmla="*/ 428 h 689"/>
                <a:gd name="T12" fmla="*/ 168 w 1093"/>
                <a:gd name="T13" fmla="*/ 420 h 689"/>
                <a:gd name="T14" fmla="*/ 222 w 1093"/>
                <a:gd name="T15" fmla="*/ 527 h 689"/>
                <a:gd name="T16" fmla="*/ 260 w 1093"/>
                <a:gd name="T17" fmla="*/ 550 h 689"/>
                <a:gd name="T18" fmla="*/ 328 w 1093"/>
                <a:gd name="T19" fmla="*/ 596 h 689"/>
                <a:gd name="T20" fmla="*/ 351 w 1093"/>
                <a:gd name="T21" fmla="*/ 657 h 689"/>
                <a:gd name="T22" fmla="*/ 351 w 1093"/>
                <a:gd name="T23" fmla="*/ 657 h 689"/>
                <a:gd name="T24" fmla="*/ 382 w 1093"/>
                <a:gd name="T25" fmla="*/ 680 h 689"/>
                <a:gd name="T26" fmla="*/ 405 w 1093"/>
                <a:gd name="T27" fmla="*/ 642 h 689"/>
                <a:gd name="T28" fmla="*/ 474 w 1093"/>
                <a:gd name="T29" fmla="*/ 611 h 689"/>
                <a:gd name="T30" fmla="*/ 527 w 1093"/>
                <a:gd name="T31" fmla="*/ 642 h 689"/>
                <a:gd name="T32" fmla="*/ 642 w 1093"/>
                <a:gd name="T33" fmla="*/ 604 h 689"/>
                <a:gd name="T34" fmla="*/ 672 w 1093"/>
                <a:gd name="T35" fmla="*/ 611 h 689"/>
                <a:gd name="T36" fmla="*/ 695 w 1093"/>
                <a:gd name="T37" fmla="*/ 634 h 689"/>
                <a:gd name="T38" fmla="*/ 772 w 1093"/>
                <a:gd name="T39" fmla="*/ 649 h 689"/>
                <a:gd name="T40" fmla="*/ 787 w 1093"/>
                <a:gd name="T41" fmla="*/ 596 h 689"/>
                <a:gd name="T42" fmla="*/ 840 w 1093"/>
                <a:gd name="T43" fmla="*/ 611 h 689"/>
                <a:gd name="T44" fmla="*/ 848 w 1093"/>
                <a:gd name="T45" fmla="*/ 535 h 689"/>
                <a:gd name="T46" fmla="*/ 787 w 1093"/>
                <a:gd name="T47" fmla="*/ 474 h 689"/>
                <a:gd name="T48" fmla="*/ 825 w 1093"/>
                <a:gd name="T49" fmla="*/ 443 h 689"/>
                <a:gd name="T50" fmla="*/ 833 w 1093"/>
                <a:gd name="T51" fmla="*/ 413 h 689"/>
                <a:gd name="T52" fmla="*/ 901 w 1093"/>
                <a:gd name="T53" fmla="*/ 420 h 689"/>
                <a:gd name="T54" fmla="*/ 947 w 1093"/>
                <a:gd name="T55" fmla="*/ 481 h 689"/>
                <a:gd name="T56" fmla="*/ 1008 w 1093"/>
                <a:gd name="T57" fmla="*/ 443 h 689"/>
                <a:gd name="T58" fmla="*/ 1092 w 1093"/>
                <a:gd name="T59" fmla="*/ 344 h 689"/>
                <a:gd name="T60" fmla="*/ 1092 w 1093"/>
                <a:gd name="T61" fmla="*/ 344 h 689"/>
                <a:gd name="T62" fmla="*/ 1069 w 1093"/>
                <a:gd name="T63" fmla="*/ 321 h 689"/>
                <a:gd name="T64" fmla="*/ 863 w 1093"/>
                <a:gd name="T65" fmla="*/ 206 h 689"/>
                <a:gd name="T66" fmla="*/ 634 w 1093"/>
                <a:gd name="T67" fmla="*/ 15 h 689"/>
                <a:gd name="T68" fmla="*/ 435 w 1093"/>
                <a:gd name="T69" fmla="*/ 8 h 689"/>
                <a:gd name="T70" fmla="*/ 298 w 1093"/>
                <a:gd name="T71" fmla="*/ 115 h 689"/>
                <a:gd name="T72" fmla="*/ 176 w 1093"/>
                <a:gd name="T73" fmla="*/ 252 h 689"/>
                <a:gd name="T74" fmla="*/ 99 w 1093"/>
                <a:gd name="T75" fmla="*/ 313 h 689"/>
                <a:gd name="T76" fmla="*/ 8 w 1093"/>
                <a:gd name="T77" fmla="*/ 336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3" h="689">
                  <a:moveTo>
                    <a:pt x="8" y="336"/>
                  </a:moveTo>
                  <a:lnTo>
                    <a:pt x="8" y="336"/>
                  </a:lnTo>
                  <a:cubicBezTo>
                    <a:pt x="0" y="374"/>
                    <a:pt x="0" y="374"/>
                    <a:pt x="0" y="374"/>
                  </a:cubicBezTo>
                  <a:lnTo>
                    <a:pt x="0" y="374"/>
                  </a:lnTo>
                  <a:cubicBezTo>
                    <a:pt x="38" y="405"/>
                    <a:pt x="69" y="443"/>
                    <a:pt x="115" y="458"/>
                  </a:cubicBezTo>
                  <a:cubicBezTo>
                    <a:pt x="122" y="466"/>
                    <a:pt x="115" y="435"/>
                    <a:pt x="122" y="428"/>
                  </a:cubicBezTo>
                  <a:cubicBezTo>
                    <a:pt x="138" y="420"/>
                    <a:pt x="160" y="405"/>
                    <a:pt x="168" y="420"/>
                  </a:cubicBezTo>
                  <a:cubicBezTo>
                    <a:pt x="199" y="443"/>
                    <a:pt x="199" y="489"/>
                    <a:pt x="222" y="527"/>
                  </a:cubicBezTo>
                  <a:cubicBezTo>
                    <a:pt x="229" y="535"/>
                    <a:pt x="245" y="542"/>
                    <a:pt x="260" y="550"/>
                  </a:cubicBezTo>
                  <a:cubicBezTo>
                    <a:pt x="283" y="565"/>
                    <a:pt x="306" y="581"/>
                    <a:pt x="328" y="596"/>
                  </a:cubicBezTo>
                  <a:cubicBezTo>
                    <a:pt x="344" y="611"/>
                    <a:pt x="344" y="634"/>
                    <a:pt x="351" y="657"/>
                  </a:cubicBezTo>
                  <a:lnTo>
                    <a:pt x="351" y="657"/>
                  </a:lnTo>
                  <a:cubicBezTo>
                    <a:pt x="359" y="665"/>
                    <a:pt x="367" y="688"/>
                    <a:pt x="382" y="680"/>
                  </a:cubicBezTo>
                  <a:cubicBezTo>
                    <a:pt x="397" y="680"/>
                    <a:pt x="390" y="649"/>
                    <a:pt x="405" y="642"/>
                  </a:cubicBezTo>
                  <a:cubicBezTo>
                    <a:pt x="428" y="626"/>
                    <a:pt x="451" y="611"/>
                    <a:pt x="474" y="611"/>
                  </a:cubicBezTo>
                  <a:cubicBezTo>
                    <a:pt x="497" y="611"/>
                    <a:pt x="512" y="642"/>
                    <a:pt x="527" y="642"/>
                  </a:cubicBezTo>
                  <a:cubicBezTo>
                    <a:pt x="565" y="642"/>
                    <a:pt x="603" y="611"/>
                    <a:pt x="642" y="604"/>
                  </a:cubicBezTo>
                  <a:cubicBezTo>
                    <a:pt x="649" y="604"/>
                    <a:pt x="664" y="611"/>
                    <a:pt x="672" y="611"/>
                  </a:cubicBezTo>
                  <a:cubicBezTo>
                    <a:pt x="680" y="619"/>
                    <a:pt x="680" y="634"/>
                    <a:pt x="695" y="634"/>
                  </a:cubicBezTo>
                  <a:cubicBezTo>
                    <a:pt x="718" y="642"/>
                    <a:pt x="749" y="657"/>
                    <a:pt x="772" y="649"/>
                  </a:cubicBezTo>
                  <a:cubicBezTo>
                    <a:pt x="787" y="642"/>
                    <a:pt x="772" y="604"/>
                    <a:pt x="787" y="596"/>
                  </a:cubicBezTo>
                  <a:cubicBezTo>
                    <a:pt x="802" y="588"/>
                    <a:pt x="825" y="626"/>
                    <a:pt x="840" y="611"/>
                  </a:cubicBezTo>
                  <a:cubicBezTo>
                    <a:pt x="856" y="596"/>
                    <a:pt x="856" y="558"/>
                    <a:pt x="848" y="535"/>
                  </a:cubicBezTo>
                  <a:cubicBezTo>
                    <a:pt x="833" y="512"/>
                    <a:pt x="787" y="504"/>
                    <a:pt x="787" y="474"/>
                  </a:cubicBezTo>
                  <a:cubicBezTo>
                    <a:pt x="779" y="458"/>
                    <a:pt x="817" y="458"/>
                    <a:pt x="825" y="443"/>
                  </a:cubicBezTo>
                  <a:cubicBezTo>
                    <a:pt x="833" y="435"/>
                    <a:pt x="817" y="413"/>
                    <a:pt x="833" y="413"/>
                  </a:cubicBezTo>
                  <a:cubicBezTo>
                    <a:pt x="856" y="405"/>
                    <a:pt x="878" y="413"/>
                    <a:pt x="901" y="420"/>
                  </a:cubicBezTo>
                  <a:cubicBezTo>
                    <a:pt x="924" y="435"/>
                    <a:pt x="924" y="474"/>
                    <a:pt x="947" y="481"/>
                  </a:cubicBezTo>
                  <a:cubicBezTo>
                    <a:pt x="970" y="489"/>
                    <a:pt x="985" y="458"/>
                    <a:pt x="1008" y="443"/>
                  </a:cubicBezTo>
                  <a:cubicBezTo>
                    <a:pt x="1047" y="405"/>
                    <a:pt x="1054" y="390"/>
                    <a:pt x="1092" y="344"/>
                  </a:cubicBezTo>
                  <a:lnTo>
                    <a:pt x="1092" y="344"/>
                  </a:lnTo>
                  <a:cubicBezTo>
                    <a:pt x="1085" y="336"/>
                    <a:pt x="1077" y="329"/>
                    <a:pt x="1069" y="321"/>
                  </a:cubicBezTo>
                  <a:cubicBezTo>
                    <a:pt x="1001" y="237"/>
                    <a:pt x="955" y="237"/>
                    <a:pt x="863" y="206"/>
                  </a:cubicBezTo>
                  <a:cubicBezTo>
                    <a:pt x="733" y="160"/>
                    <a:pt x="749" y="23"/>
                    <a:pt x="634" y="15"/>
                  </a:cubicBezTo>
                  <a:cubicBezTo>
                    <a:pt x="435" y="8"/>
                    <a:pt x="435" y="8"/>
                    <a:pt x="435" y="8"/>
                  </a:cubicBezTo>
                  <a:cubicBezTo>
                    <a:pt x="344" y="0"/>
                    <a:pt x="367" y="84"/>
                    <a:pt x="298" y="115"/>
                  </a:cubicBezTo>
                  <a:cubicBezTo>
                    <a:pt x="222" y="168"/>
                    <a:pt x="321" y="244"/>
                    <a:pt x="176" y="252"/>
                  </a:cubicBezTo>
                  <a:cubicBezTo>
                    <a:pt x="160" y="252"/>
                    <a:pt x="122" y="306"/>
                    <a:pt x="99" y="313"/>
                  </a:cubicBezTo>
                  <a:cubicBezTo>
                    <a:pt x="69" y="336"/>
                    <a:pt x="38" y="344"/>
                    <a:pt x="8" y="33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11" name="Freeform 133"/>
            <p:cNvSpPr>
              <a:spLocks noChangeArrowheads="1"/>
            </p:cNvSpPr>
            <p:nvPr/>
          </p:nvSpPr>
          <p:spPr bwMode="auto">
            <a:xfrm>
              <a:off x="5708279" y="4583113"/>
              <a:ext cx="284144" cy="201612"/>
            </a:xfrm>
            <a:custGeom>
              <a:avLst/>
              <a:gdLst>
                <a:gd name="T0" fmla="*/ 374 w 788"/>
                <a:gd name="T1" fmla="*/ 77 h 559"/>
                <a:gd name="T2" fmla="*/ 374 w 788"/>
                <a:gd name="T3" fmla="*/ 77 h 559"/>
                <a:gd name="T4" fmla="*/ 267 w 788"/>
                <a:gd name="T5" fmla="*/ 0 h 559"/>
                <a:gd name="T6" fmla="*/ 267 w 788"/>
                <a:gd name="T7" fmla="*/ 0 h 559"/>
                <a:gd name="T8" fmla="*/ 229 w 788"/>
                <a:gd name="T9" fmla="*/ 77 h 559"/>
                <a:gd name="T10" fmla="*/ 267 w 788"/>
                <a:gd name="T11" fmla="*/ 123 h 559"/>
                <a:gd name="T12" fmla="*/ 252 w 788"/>
                <a:gd name="T13" fmla="*/ 146 h 559"/>
                <a:gd name="T14" fmla="*/ 176 w 788"/>
                <a:gd name="T15" fmla="*/ 161 h 559"/>
                <a:gd name="T16" fmla="*/ 46 w 788"/>
                <a:gd name="T17" fmla="*/ 153 h 559"/>
                <a:gd name="T18" fmla="*/ 15 w 788"/>
                <a:gd name="T19" fmla="*/ 191 h 559"/>
                <a:gd name="T20" fmla="*/ 15 w 788"/>
                <a:gd name="T21" fmla="*/ 191 h 559"/>
                <a:gd name="T22" fmla="*/ 7 w 788"/>
                <a:gd name="T23" fmla="*/ 245 h 559"/>
                <a:gd name="T24" fmla="*/ 53 w 788"/>
                <a:gd name="T25" fmla="*/ 260 h 559"/>
                <a:gd name="T26" fmla="*/ 76 w 788"/>
                <a:gd name="T27" fmla="*/ 283 h 559"/>
                <a:gd name="T28" fmla="*/ 68 w 788"/>
                <a:gd name="T29" fmla="*/ 313 h 559"/>
                <a:gd name="T30" fmla="*/ 122 w 788"/>
                <a:gd name="T31" fmla="*/ 321 h 559"/>
                <a:gd name="T32" fmla="*/ 145 w 788"/>
                <a:gd name="T33" fmla="*/ 375 h 559"/>
                <a:gd name="T34" fmla="*/ 260 w 788"/>
                <a:gd name="T35" fmla="*/ 382 h 559"/>
                <a:gd name="T36" fmla="*/ 191 w 788"/>
                <a:gd name="T37" fmla="*/ 444 h 559"/>
                <a:gd name="T38" fmla="*/ 267 w 788"/>
                <a:gd name="T39" fmla="*/ 520 h 559"/>
                <a:gd name="T40" fmla="*/ 290 w 788"/>
                <a:gd name="T41" fmla="*/ 550 h 559"/>
                <a:gd name="T42" fmla="*/ 313 w 788"/>
                <a:gd name="T43" fmla="*/ 558 h 559"/>
                <a:gd name="T44" fmla="*/ 313 w 788"/>
                <a:gd name="T45" fmla="*/ 558 h 559"/>
                <a:gd name="T46" fmla="*/ 405 w 788"/>
                <a:gd name="T47" fmla="*/ 543 h 559"/>
                <a:gd name="T48" fmla="*/ 450 w 788"/>
                <a:gd name="T49" fmla="*/ 466 h 559"/>
                <a:gd name="T50" fmla="*/ 550 w 788"/>
                <a:gd name="T51" fmla="*/ 428 h 559"/>
                <a:gd name="T52" fmla="*/ 550 w 788"/>
                <a:gd name="T53" fmla="*/ 405 h 559"/>
                <a:gd name="T54" fmla="*/ 580 w 788"/>
                <a:gd name="T55" fmla="*/ 367 h 559"/>
                <a:gd name="T56" fmla="*/ 664 w 788"/>
                <a:gd name="T57" fmla="*/ 291 h 559"/>
                <a:gd name="T58" fmla="*/ 756 w 788"/>
                <a:gd name="T59" fmla="*/ 321 h 559"/>
                <a:gd name="T60" fmla="*/ 787 w 788"/>
                <a:gd name="T61" fmla="*/ 268 h 559"/>
                <a:gd name="T62" fmla="*/ 787 w 788"/>
                <a:gd name="T63" fmla="*/ 268 h 559"/>
                <a:gd name="T64" fmla="*/ 626 w 788"/>
                <a:gd name="T65" fmla="*/ 230 h 559"/>
                <a:gd name="T66" fmla="*/ 420 w 788"/>
                <a:gd name="T67" fmla="*/ 153 h 559"/>
                <a:gd name="T68" fmla="*/ 420 w 788"/>
                <a:gd name="T69" fmla="*/ 153 h 559"/>
                <a:gd name="T70" fmla="*/ 374 w 788"/>
                <a:gd name="T71" fmla="*/ 77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88" h="559">
                  <a:moveTo>
                    <a:pt x="374" y="77"/>
                  </a:moveTo>
                  <a:lnTo>
                    <a:pt x="374" y="77"/>
                  </a:lnTo>
                  <a:cubicBezTo>
                    <a:pt x="267" y="0"/>
                    <a:pt x="267" y="0"/>
                    <a:pt x="267" y="0"/>
                  </a:cubicBezTo>
                  <a:lnTo>
                    <a:pt x="267" y="0"/>
                  </a:lnTo>
                  <a:cubicBezTo>
                    <a:pt x="252" y="23"/>
                    <a:pt x="229" y="46"/>
                    <a:pt x="229" y="77"/>
                  </a:cubicBezTo>
                  <a:cubicBezTo>
                    <a:pt x="237" y="100"/>
                    <a:pt x="267" y="107"/>
                    <a:pt x="267" y="123"/>
                  </a:cubicBezTo>
                  <a:cubicBezTo>
                    <a:pt x="275" y="130"/>
                    <a:pt x="267" y="146"/>
                    <a:pt x="252" y="146"/>
                  </a:cubicBezTo>
                  <a:cubicBezTo>
                    <a:pt x="229" y="161"/>
                    <a:pt x="198" y="161"/>
                    <a:pt x="176" y="161"/>
                  </a:cubicBezTo>
                  <a:cubicBezTo>
                    <a:pt x="130" y="161"/>
                    <a:pt x="84" y="146"/>
                    <a:pt x="46" y="153"/>
                  </a:cubicBezTo>
                  <a:cubicBezTo>
                    <a:pt x="30" y="153"/>
                    <a:pt x="23" y="176"/>
                    <a:pt x="15" y="191"/>
                  </a:cubicBezTo>
                  <a:lnTo>
                    <a:pt x="15" y="191"/>
                  </a:lnTo>
                  <a:cubicBezTo>
                    <a:pt x="15" y="214"/>
                    <a:pt x="0" y="230"/>
                    <a:pt x="7" y="245"/>
                  </a:cubicBezTo>
                  <a:cubicBezTo>
                    <a:pt x="15" y="260"/>
                    <a:pt x="38" y="245"/>
                    <a:pt x="53" y="260"/>
                  </a:cubicBezTo>
                  <a:cubicBezTo>
                    <a:pt x="68" y="260"/>
                    <a:pt x="76" y="275"/>
                    <a:pt x="76" y="283"/>
                  </a:cubicBezTo>
                  <a:cubicBezTo>
                    <a:pt x="76" y="298"/>
                    <a:pt x="61" y="313"/>
                    <a:pt x="68" y="313"/>
                  </a:cubicBezTo>
                  <a:cubicBezTo>
                    <a:pt x="84" y="329"/>
                    <a:pt x="107" y="306"/>
                    <a:pt x="122" y="321"/>
                  </a:cubicBezTo>
                  <a:cubicBezTo>
                    <a:pt x="137" y="329"/>
                    <a:pt x="122" y="367"/>
                    <a:pt x="145" y="375"/>
                  </a:cubicBezTo>
                  <a:cubicBezTo>
                    <a:pt x="176" y="390"/>
                    <a:pt x="237" y="352"/>
                    <a:pt x="260" y="382"/>
                  </a:cubicBezTo>
                  <a:cubicBezTo>
                    <a:pt x="275" y="405"/>
                    <a:pt x="183" y="413"/>
                    <a:pt x="191" y="444"/>
                  </a:cubicBezTo>
                  <a:cubicBezTo>
                    <a:pt x="191" y="482"/>
                    <a:pt x="244" y="489"/>
                    <a:pt x="267" y="520"/>
                  </a:cubicBezTo>
                  <a:cubicBezTo>
                    <a:pt x="282" y="527"/>
                    <a:pt x="282" y="543"/>
                    <a:pt x="290" y="550"/>
                  </a:cubicBezTo>
                  <a:cubicBezTo>
                    <a:pt x="298" y="558"/>
                    <a:pt x="305" y="558"/>
                    <a:pt x="313" y="558"/>
                  </a:cubicBezTo>
                  <a:lnTo>
                    <a:pt x="313" y="558"/>
                  </a:lnTo>
                  <a:cubicBezTo>
                    <a:pt x="343" y="550"/>
                    <a:pt x="382" y="558"/>
                    <a:pt x="405" y="543"/>
                  </a:cubicBezTo>
                  <a:cubicBezTo>
                    <a:pt x="428" y="520"/>
                    <a:pt x="428" y="482"/>
                    <a:pt x="450" y="466"/>
                  </a:cubicBezTo>
                  <a:cubicBezTo>
                    <a:pt x="481" y="444"/>
                    <a:pt x="519" y="444"/>
                    <a:pt x="550" y="428"/>
                  </a:cubicBezTo>
                  <a:cubicBezTo>
                    <a:pt x="557" y="428"/>
                    <a:pt x="550" y="413"/>
                    <a:pt x="550" y="405"/>
                  </a:cubicBezTo>
                  <a:cubicBezTo>
                    <a:pt x="557" y="390"/>
                    <a:pt x="573" y="375"/>
                    <a:pt x="580" y="367"/>
                  </a:cubicBezTo>
                  <a:cubicBezTo>
                    <a:pt x="611" y="336"/>
                    <a:pt x="626" y="298"/>
                    <a:pt x="664" y="291"/>
                  </a:cubicBezTo>
                  <a:cubicBezTo>
                    <a:pt x="695" y="283"/>
                    <a:pt x="725" y="329"/>
                    <a:pt x="756" y="321"/>
                  </a:cubicBezTo>
                  <a:cubicBezTo>
                    <a:pt x="787" y="313"/>
                    <a:pt x="779" y="291"/>
                    <a:pt x="787" y="268"/>
                  </a:cubicBezTo>
                  <a:lnTo>
                    <a:pt x="787" y="268"/>
                  </a:lnTo>
                  <a:cubicBezTo>
                    <a:pt x="741" y="252"/>
                    <a:pt x="687" y="237"/>
                    <a:pt x="626" y="230"/>
                  </a:cubicBezTo>
                  <a:cubicBezTo>
                    <a:pt x="542" y="222"/>
                    <a:pt x="496" y="169"/>
                    <a:pt x="420" y="153"/>
                  </a:cubicBezTo>
                  <a:lnTo>
                    <a:pt x="420" y="153"/>
                  </a:lnTo>
                  <a:cubicBezTo>
                    <a:pt x="374" y="77"/>
                    <a:pt x="374" y="77"/>
                    <a:pt x="374" y="7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12" name="Freeform 134"/>
            <p:cNvSpPr>
              <a:spLocks noChangeArrowheads="1"/>
            </p:cNvSpPr>
            <p:nvPr/>
          </p:nvSpPr>
          <p:spPr bwMode="auto">
            <a:xfrm>
              <a:off x="5820984" y="4678363"/>
              <a:ext cx="242871" cy="228600"/>
            </a:xfrm>
            <a:custGeom>
              <a:avLst/>
              <a:gdLst>
                <a:gd name="T0" fmla="*/ 611 w 673"/>
                <a:gd name="T1" fmla="*/ 23 h 635"/>
                <a:gd name="T2" fmla="*/ 611 w 673"/>
                <a:gd name="T3" fmla="*/ 23 h 635"/>
                <a:gd name="T4" fmla="*/ 474 w 673"/>
                <a:gd name="T5" fmla="*/ 0 h 635"/>
                <a:gd name="T6" fmla="*/ 474 w 673"/>
                <a:gd name="T7" fmla="*/ 0 h 635"/>
                <a:gd name="T8" fmla="*/ 443 w 673"/>
                <a:gd name="T9" fmla="*/ 53 h 635"/>
                <a:gd name="T10" fmla="*/ 351 w 673"/>
                <a:gd name="T11" fmla="*/ 23 h 635"/>
                <a:gd name="T12" fmla="*/ 267 w 673"/>
                <a:gd name="T13" fmla="*/ 99 h 635"/>
                <a:gd name="T14" fmla="*/ 237 w 673"/>
                <a:gd name="T15" fmla="*/ 137 h 635"/>
                <a:gd name="T16" fmla="*/ 237 w 673"/>
                <a:gd name="T17" fmla="*/ 160 h 635"/>
                <a:gd name="T18" fmla="*/ 137 w 673"/>
                <a:gd name="T19" fmla="*/ 198 h 635"/>
                <a:gd name="T20" fmla="*/ 92 w 673"/>
                <a:gd name="T21" fmla="*/ 275 h 635"/>
                <a:gd name="T22" fmla="*/ 0 w 673"/>
                <a:gd name="T23" fmla="*/ 290 h 635"/>
                <a:gd name="T24" fmla="*/ 0 w 673"/>
                <a:gd name="T25" fmla="*/ 290 h 635"/>
                <a:gd name="T26" fmla="*/ 46 w 673"/>
                <a:gd name="T27" fmla="*/ 351 h 635"/>
                <a:gd name="T28" fmla="*/ 160 w 673"/>
                <a:gd name="T29" fmla="*/ 313 h 635"/>
                <a:gd name="T30" fmla="*/ 168 w 673"/>
                <a:gd name="T31" fmla="*/ 343 h 635"/>
                <a:gd name="T32" fmla="*/ 107 w 673"/>
                <a:gd name="T33" fmla="*/ 389 h 635"/>
                <a:gd name="T34" fmla="*/ 130 w 673"/>
                <a:gd name="T35" fmla="*/ 473 h 635"/>
                <a:gd name="T36" fmla="*/ 168 w 673"/>
                <a:gd name="T37" fmla="*/ 512 h 635"/>
                <a:gd name="T38" fmla="*/ 137 w 673"/>
                <a:gd name="T39" fmla="*/ 542 h 635"/>
                <a:gd name="T40" fmla="*/ 122 w 673"/>
                <a:gd name="T41" fmla="*/ 611 h 635"/>
                <a:gd name="T42" fmla="*/ 122 w 673"/>
                <a:gd name="T43" fmla="*/ 611 h 635"/>
                <a:gd name="T44" fmla="*/ 160 w 673"/>
                <a:gd name="T45" fmla="*/ 603 h 635"/>
                <a:gd name="T46" fmla="*/ 222 w 673"/>
                <a:gd name="T47" fmla="*/ 565 h 635"/>
                <a:gd name="T48" fmla="*/ 359 w 673"/>
                <a:gd name="T49" fmla="*/ 534 h 635"/>
                <a:gd name="T50" fmla="*/ 420 w 673"/>
                <a:gd name="T51" fmla="*/ 580 h 635"/>
                <a:gd name="T52" fmla="*/ 542 w 673"/>
                <a:gd name="T53" fmla="*/ 634 h 635"/>
                <a:gd name="T54" fmla="*/ 542 w 673"/>
                <a:gd name="T55" fmla="*/ 634 h 635"/>
                <a:gd name="T56" fmla="*/ 588 w 673"/>
                <a:gd name="T57" fmla="*/ 588 h 635"/>
                <a:gd name="T58" fmla="*/ 603 w 673"/>
                <a:gd name="T59" fmla="*/ 534 h 635"/>
                <a:gd name="T60" fmla="*/ 664 w 673"/>
                <a:gd name="T61" fmla="*/ 504 h 635"/>
                <a:gd name="T62" fmla="*/ 664 w 673"/>
                <a:gd name="T63" fmla="*/ 504 h 635"/>
                <a:gd name="T64" fmla="*/ 626 w 673"/>
                <a:gd name="T65" fmla="*/ 435 h 635"/>
                <a:gd name="T66" fmla="*/ 641 w 673"/>
                <a:gd name="T67" fmla="*/ 374 h 635"/>
                <a:gd name="T68" fmla="*/ 664 w 673"/>
                <a:gd name="T69" fmla="*/ 282 h 635"/>
                <a:gd name="T70" fmla="*/ 596 w 673"/>
                <a:gd name="T71" fmla="*/ 267 h 635"/>
                <a:gd name="T72" fmla="*/ 611 w 673"/>
                <a:gd name="T73" fmla="*/ 183 h 635"/>
                <a:gd name="T74" fmla="*/ 580 w 673"/>
                <a:gd name="T75" fmla="*/ 153 h 635"/>
                <a:gd name="T76" fmla="*/ 596 w 673"/>
                <a:gd name="T77" fmla="*/ 122 h 635"/>
                <a:gd name="T78" fmla="*/ 580 w 673"/>
                <a:gd name="T79" fmla="*/ 91 h 635"/>
                <a:gd name="T80" fmla="*/ 611 w 673"/>
                <a:gd name="T81" fmla="*/ 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73" h="635">
                  <a:moveTo>
                    <a:pt x="611" y="23"/>
                  </a:moveTo>
                  <a:lnTo>
                    <a:pt x="611" y="23"/>
                  </a:lnTo>
                  <a:cubicBezTo>
                    <a:pt x="565" y="23"/>
                    <a:pt x="519" y="15"/>
                    <a:pt x="474" y="0"/>
                  </a:cubicBezTo>
                  <a:lnTo>
                    <a:pt x="474" y="0"/>
                  </a:lnTo>
                  <a:cubicBezTo>
                    <a:pt x="466" y="23"/>
                    <a:pt x="474" y="45"/>
                    <a:pt x="443" y="53"/>
                  </a:cubicBezTo>
                  <a:cubicBezTo>
                    <a:pt x="412" y="61"/>
                    <a:pt x="382" y="15"/>
                    <a:pt x="351" y="23"/>
                  </a:cubicBezTo>
                  <a:cubicBezTo>
                    <a:pt x="313" y="30"/>
                    <a:pt x="298" y="68"/>
                    <a:pt x="267" y="99"/>
                  </a:cubicBezTo>
                  <a:cubicBezTo>
                    <a:pt x="260" y="107"/>
                    <a:pt x="244" y="122"/>
                    <a:pt x="237" y="137"/>
                  </a:cubicBezTo>
                  <a:cubicBezTo>
                    <a:pt x="237" y="145"/>
                    <a:pt x="244" y="160"/>
                    <a:pt x="237" y="160"/>
                  </a:cubicBezTo>
                  <a:cubicBezTo>
                    <a:pt x="206" y="176"/>
                    <a:pt x="168" y="176"/>
                    <a:pt x="137" y="198"/>
                  </a:cubicBezTo>
                  <a:cubicBezTo>
                    <a:pt x="115" y="214"/>
                    <a:pt x="115" y="252"/>
                    <a:pt x="92" y="275"/>
                  </a:cubicBezTo>
                  <a:cubicBezTo>
                    <a:pt x="69" y="290"/>
                    <a:pt x="30" y="282"/>
                    <a:pt x="0" y="290"/>
                  </a:cubicBezTo>
                  <a:lnTo>
                    <a:pt x="0" y="290"/>
                  </a:lnTo>
                  <a:cubicBezTo>
                    <a:pt x="15" y="313"/>
                    <a:pt x="23" y="351"/>
                    <a:pt x="46" y="351"/>
                  </a:cubicBezTo>
                  <a:cubicBezTo>
                    <a:pt x="84" y="359"/>
                    <a:pt x="122" y="320"/>
                    <a:pt x="160" y="313"/>
                  </a:cubicBezTo>
                  <a:cubicBezTo>
                    <a:pt x="168" y="313"/>
                    <a:pt x="176" y="336"/>
                    <a:pt x="168" y="343"/>
                  </a:cubicBezTo>
                  <a:cubicBezTo>
                    <a:pt x="153" y="359"/>
                    <a:pt x="115" y="366"/>
                    <a:pt x="107" y="389"/>
                  </a:cubicBezTo>
                  <a:cubicBezTo>
                    <a:pt x="99" y="412"/>
                    <a:pt x="122" y="443"/>
                    <a:pt x="130" y="473"/>
                  </a:cubicBezTo>
                  <a:cubicBezTo>
                    <a:pt x="137" y="489"/>
                    <a:pt x="160" y="489"/>
                    <a:pt x="168" y="512"/>
                  </a:cubicBezTo>
                  <a:cubicBezTo>
                    <a:pt x="168" y="519"/>
                    <a:pt x="145" y="527"/>
                    <a:pt x="137" y="542"/>
                  </a:cubicBezTo>
                  <a:cubicBezTo>
                    <a:pt x="130" y="565"/>
                    <a:pt x="130" y="588"/>
                    <a:pt x="122" y="611"/>
                  </a:cubicBezTo>
                  <a:lnTo>
                    <a:pt x="122" y="611"/>
                  </a:lnTo>
                  <a:cubicBezTo>
                    <a:pt x="137" y="603"/>
                    <a:pt x="153" y="611"/>
                    <a:pt x="160" y="603"/>
                  </a:cubicBezTo>
                  <a:cubicBezTo>
                    <a:pt x="183" y="595"/>
                    <a:pt x="199" y="573"/>
                    <a:pt x="222" y="565"/>
                  </a:cubicBezTo>
                  <a:cubicBezTo>
                    <a:pt x="267" y="550"/>
                    <a:pt x="313" y="534"/>
                    <a:pt x="359" y="534"/>
                  </a:cubicBezTo>
                  <a:cubicBezTo>
                    <a:pt x="382" y="542"/>
                    <a:pt x="397" y="573"/>
                    <a:pt x="420" y="580"/>
                  </a:cubicBezTo>
                  <a:cubicBezTo>
                    <a:pt x="458" y="603"/>
                    <a:pt x="504" y="618"/>
                    <a:pt x="542" y="634"/>
                  </a:cubicBezTo>
                  <a:lnTo>
                    <a:pt x="542" y="634"/>
                  </a:lnTo>
                  <a:cubicBezTo>
                    <a:pt x="558" y="618"/>
                    <a:pt x="580" y="603"/>
                    <a:pt x="588" y="588"/>
                  </a:cubicBezTo>
                  <a:cubicBezTo>
                    <a:pt x="603" y="573"/>
                    <a:pt x="588" y="550"/>
                    <a:pt x="603" y="534"/>
                  </a:cubicBezTo>
                  <a:cubicBezTo>
                    <a:pt x="619" y="519"/>
                    <a:pt x="641" y="512"/>
                    <a:pt x="664" y="504"/>
                  </a:cubicBezTo>
                  <a:lnTo>
                    <a:pt x="664" y="504"/>
                  </a:lnTo>
                  <a:cubicBezTo>
                    <a:pt x="649" y="481"/>
                    <a:pt x="634" y="458"/>
                    <a:pt x="626" y="435"/>
                  </a:cubicBezTo>
                  <a:cubicBezTo>
                    <a:pt x="626" y="412"/>
                    <a:pt x="634" y="397"/>
                    <a:pt x="641" y="374"/>
                  </a:cubicBezTo>
                  <a:cubicBezTo>
                    <a:pt x="649" y="343"/>
                    <a:pt x="672" y="305"/>
                    <a:pt x="664" y="282"/>
                  </a:cubicBezTo>
                  <a:cubicBezTo>
                    <a:pt x="649" y="259"/>
                    <a:pt x="603" y="282"/>
                    <a:pt x="596" y="267"/>
                  </a:cubicBezTo>
                  <a:cubicBezTo>
                    <a:pt x="580" y="244"/>
                    <a:pt x="611" y="214"/>
                    <a:pt x="611" y="183"/>
                  </a:cubicBezTo>
                  <a:cubicBezTo>
                    <a:pt x="611" y="168"/>
                    <a:pt x="580" y="168"/>
                    <a:pt x="580" y="153"/>
                  </a:cubicBezTo>
                  <a:cubicBezTo>
                    <a:pt x="573" y="145"/>
                    <a:pt x="596" y="137"/>
                    <a:pt x="596" y="122"/>
                  </a:cubicBezTo>
                  <a:cubicBezTo>
                    <a:pt x="596" y="114"/>
                    <a:pt x="580" y="99"/>
                    <a:pt x="580" y="91"/>
                  </a:cubicBezTo>
                  <a:cubicBezTo>
                    <a:pt x="588" y="61"/>
                    <a:pt x="596" y="45"/>
                    <a:pt x="611" y="2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13" name="Freeform 135"/>
            <p:cNvSpPr>
              <a:spLocks noChangeArrowheads="1"/>
            </p:cNvSpPr>
            <p:nvPr/>
          </p:nvSpPr>
          <p:spPr bwMode="auto">
            <a:xfrm>
              <a:off x="5603510" y="4651376"/>
              <a:ext cx="280970" cy="295275"/>
            </a:xfrm>
            <a:custGeom>
              <a:avLst/>
              <a:gdLst>
                <a:gd name="T0" fmla="*/ 305 w 780"/>
                <a:gd name="T1" fmla="*/ 0 h 819"/>
                <a:gd name="T2" fmla="*/ 305 w 780"/>
                <a:gd name="T3" fmla="*/ 0 h 819"/>
                <a:gd name="T4" fmla="*/ 297 w 780"/>
                <a:gd name="T5" fmla="*/ 54 h 819"/>
                <a:gd name="T6" fmla="*/ 343 w 780"/>
                <a:gd name="T7" fmla="*/ 69 h 819"/>
                <a:gd name="T8" fmla="*/ 366 w 780"/>
                <a:gd name="T9" fmla="*/ 92 h 819"/>
                <a:gd name="T10" fmla="*/ 358 w 780"/>
                <a:gd name="T11" fmla="*/ 122 h 819"/>
                <a:gd name="T12" fmla="*/ 412 w 780"/>
                <a:gd name="T13" fmla="*/ 130 h 819"/>
                <a:gd name="T14" fmla="*/ 435 w 780"/>
                <a:gd name="T15" fmla="*/ 184 h 819"/>
                <a:gd name="T16" fmla="*/ 550 w 780"/>
                <a:gd name="T17" fmla="*/ 191 h 819"/>
                <a:gd name="T18" fmla="*/ 481 w 780"/>
                <a:gd name="T19" fmla="*/ 253 h 819"/>
                <a:gd name="T20" fmla="*/ 557 w 780"/>
                <a:gd name="T21" fmla="*/ 329 h 819"/>
                <a:gd name="T22" fmla="*/ 580 w 780"/>
                <a:gd name="T23" fmla="*/ 359 h 819"/>
                <a:gd name="T24" fmla="*/ 603 w 780"/>
                <a:gd name="T25" fmla="*/ 367 h 819"/>
                <a:gd name="T26" fmla="*/ 603 w 780"/>
                <a:gd name="T27" fmla="*/ 367 h 819"/>
                <a:gd name="T28" fmla="*/ 649 w 780"/>
                <a:gd name="T29" fmla="*/ 428 h 819"/>
                <a:gd name="T30" fmla="*/ 763 w 780"/>
                <a:gd name="T31" fmla="*/ 390 h 819"/>
                <a:gd name="T32" fmla="*/ 771 w 780"/>
                <a:gd name="T33" fmla="*/ 420 h 819"/>
                <a:gd name="T34" fmla="*/ 710 w 780"/>
                <a:gd name="T35" fmla="*/ 466 h 819"/>
                <a:gd name="T36" fmla="*/ 733 w 780"/>
                <a:gd name="T37" fmla="*/ 550 h 819"/>
                <a:gd name="T38" fmla="*/ 771 w 780"/>
                <a:gd name="T39" fmla="*/ 589 h 819"/>
                <a:gd name="T40" fmla="*/ 740 w 780"/>
                <a:gd name="T41" fmla="*/ 619 h 819"/>
                <a:gd name="T42" fmla="*/ 725 w 780"/>
                <a:gd name="T43" fmla="*/ 688 h 819"/>
                <a:gd name="T44" fmla="*/ 725 w 780"/>
                <a:gd name="T45" fmla="*/ 688 h 819"/>
                <a:gd name="T46" fmla="*/ 588 w 780"/>
                <a:gd name="T47" fmla="*/ 734 h 819"/>
                <a:gd name="T48" fmla="*/ 496 w 780"/>
                <a:gd name="T49" fmla="*/ 757 h 819"/>
                <a:gd name="T50" fmla="*/ 466 w 780"/>
                <a:gd name="T51" fmla="*/ 818 h 819"/>
                <a:gd name="T52" fmla="*/ 427 w 780"/>
                <a:gd name="T53" fmla="*/ 772 h 819"/>
                <a:gd name="T54" fmla="*/ 259 w 780"/>
                <a:gd name="T55" fmla="*/ 634 h 819"/>
                <a:gd name="T56" fmla="*/ 267 w 780"/>
                <a:gd name="T57" fmla="*/ 604 h 819"/>
                <a:gd name="T58" fmla="*/ 160 w 780"/>
                <a:gd name="T59" fmla="*/ 527 h 819"/>
                <a:gd name="T60" fmla="*/ 160 w 780"/>
                <a:gd name="T61" fmla="*/ 527 h 819"/>
                <a:gd name="T62" fmla="*/ 91 w 780"/>
                <a:gd name="T63" fmla="*/ 474 h 819"/>
                <a:gd name="T64" fmla="*/ 68 w 780"/>
                <a:gd name="T65" fmla="*/ 428 h 819"/>
                <a:gd name="T66" fmla="*/ 0 w 780"/>
                <a:gd name="T67" fmla="*/ 413 h 819"/>
                <a:gd name="T68" fmla="*/ 0 w 780"/>
                <a:gd name="T69" fmla="*/ 359 h 819"/>
                <a:gd name="T70" fmla="*/ 0 w 780"/>
                <a:gd name="T71" fmla="*/ 359 h 819"/>
                <a:gd name="T72" fmla="*/ 61 w 780"/>
                <a:gd name="T73" fmla="*/ 352 h 819"/>
                <a:gd name="T74" fmla="*/ 61 w 780"/>
                <a:gd name="T75" fmla="*/ 352 h 819"/>
                <a:gd name="T76" fmla="*/ 38 w 780"/>
                <a:gd name="T77" fmla="*/ 314 h 819"/>
                <a:gd name="T78" fmla="*/ 145 w 780"/>
                <a:gd name="T79" fmla="*/ 321 h 819"/>
                <a:gd name="T80" fmla="*/ 160 w 780"/>
                <a:gd name="T81" fmla="*/ 291 h 819"/>
                <a:gd name="T82" fmla="*/ 244 w 780"/>
                <a:gd name="T83" fmla="*/ 275 h 819"/>
                <a:gd name="T84" fmla="*/ 229 w 780"/>
                <a:gd name="T85" fmla="*/ 222 h 819"/>
                <a:gd name="T86" fmla="*/ 259 w 780"/>
                <a:gd name="T87" fmla="*/ 199 h 819"/>
                <a:gd name="T88" fmla="*/ 252 w 780"/>
                <a:gd name="T89" fmla="*/ 168 h 819"/>
                <a:gd name="T90" fmla="*/ 145 w 780"/>
                <a:gd name="T91" fmla="*/ 214 h 819"/>
                <a:gd name="T92" fmla="*/ 160 w 780"/>
                <a:gd name="T93" fmla="*/ 176 h 819"/>
                <a:gd name="T94" fmla="*/ 152 w 780"/>
                <a:gd name="T95" fmla="*/ 138 h 819"/>
                <a:gd name="T96" fmla="*/ 114 w 780"/>
                <a:gd name="T97" fmla="*/ 84 h 819"/>
                <a:gd name="T98" fmla="*/ 106 w 780"/>
                <a:gd name="T99" fmla="*/ 54 h 819"/>
                <a:gd name="T100" fmla="*/ 106 w 780"/>
                <a:gd name="T101" fmla="*/ 54 h 819"/>
                <a:gd name="T102" fmla="*/ 175 w 780"/>
                <a:gd name="T103" fmla="*/ 31 h 819"/>
                <a:gd name="T104" fmla="*/ 191 w 780"/>
                <a:gd name="T105" fmla="*/ 8 h 819"/>
                <a:gd name="T106" fmla="*/ 305 w 780"/>
                <a:gd name="T107" fmla="*/ 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80" h="819">
                  <a:moveTo>
                    <a:pt x="305" y="0"/>
                  </a:moveTo>
                  <a:lnTo>
                    <a:pt x="305" y="0"/>
                  </a:lnTo>
                  <a:cubicBezTo>
                    <a:pt x="305" y="23"/>
                    <a:pt x="290" y="39"/>
                    <a:pt x="297" y="54"/>
                  </a:cubicBezTo>
                  <a:cubicBezTo>
                    <a:pt x="305" y="69"/>
                    <a:pt x="328" y="54"/>
                    <a:pt x="343" y="69"/>
                  </a:cubicBezTo>
                  <a:cubicBezTo>
                    <a:pt x="358" y="69"/>
                    <a:pt x="366" y="84"/>
                    <a:pt x="366" y="92"/>
                  </a:cubicBezTo>
                  <a:cubicBezTo>
                    <a:pt x="366" y="107"/>
                    <a:pt x="351" y="122"/>
                    <a:pt x="358" y="122"/>
                  </a:cubicBezTo>
                  <a:cubicBezTo>
                    <a:pt x="374" y="138"/>
                    <a:pt x="397" y="115"/>
                    <a:pt x="412" y="130"/>
                  </a:cubicBezTo>
                  <a:cubicBezTo>
                    <a:pt x="427" y="138"/>
                    <a:pt x="412" y="176"/>
                    <a:pt x="435" y="184"/>
                  </a:cubicBezTo>
                  <a:cubicBezTo>
                    <a:pt x="466" y="199"/>
                    <a:pt x="527" y="161"/>
                    <a:pt x="550" y="191"/>
                  </a:cubicBezTo>
                  <a:cubicBezTo>
                    <a:pt x="565" y="214"/>
                    <a:pt x="473" y="222"/>
                    <a:pt x="481" y="253"/>
                  </a:cubicBezTo>
                  <a:cubicBezTo>
                    <a:pt x="481" y="291"/>
                    <a:pt x="534" y="298"/>
                    <a:pt x="557" y="329"/>
                  </a:cubicBezTo>
                  <a:cubicBezTo>
                    <a:pt x="572" y="336"/>
                    <a:pt x="572" y="352"/>
                    <a:pt x="580" y="359"/>
                  </a:cubicBezTo>
                  <a:cubicBezTo>
                    <a:pt x="588" y="367"/>
                    <a:pt x="595" y="367"/>
                    <a:pt x="603" y="367"/>
                  </a:cubicBezTo>
                  <a:lnTo>
                    <a:pt x="603" y="367"/>
                  </a:lnTo>
                  <a:cubicBezTo>
                    <a:pt x="618" y="390"/>
                    <a:pt x="626" y="428"/>
                    <a:pt x="649" y="428"/>
                  </a:cubicBezTo>
                  <a:cubicBezTo>
                    <a:pt x="687" y="436"/>
                    <a:pt x="725" y="397"/>
                    <a:pt x="763" y="390"/>
                  </a:cubicBezTo>
                  <a:cubicBezTo>
                    <a:pt x="771" y="390"/>
                    <a:pt x="779" y="413"/>
                    <a:pt x="771" y="420"/>
                  </a:cubicBezTo>
                  <a:cubicBezTo>
                    <a:pt x="756" y="436"/>
                    <a:pt x="718" y="443"/>
                    <a:pt x="710" y="466"/>
                  </a:cubicBezTo>
                  <a:cubicBezTo>
                    <a:pt x="702" y="489"/>
                    <a:pt x="725" y="520"/>
                    <a:pt x="733" y="550"/>
                  </a:cubicBezTo>
                  <a:cubicBezTo>
                    <a:pt x="740" y="566"/>
                    <a:pt x="763" y="566"/>
                    <a:pt x="771" y="589"/>
                  </a:cubicBezTo>
                  <a:cubicBezTo>
                    <a:pt x="771" y="596"/>
                    <a:pt x="748" y="604"/>
                    <a:pt x="740" y="619"/>
                  </a:cubicBezTo>
                  <a:cubicBezTo>
                    <a:pt x="733" y="642"/>
                    <a:pt x="733" y="665"/>
                    <a:pt x="725" y="688"/>
                  </a:cubicBezTo>
                  <a:lnTo>
                    <a:pt x="725" y="688"/>
                  </a:lnTo>
                  <a:cubicBezTo>
                    <a:pt x="679" y="703"/>
                    <a:pt x="633" y="718"/>
                    <a:pt x="588" y="734"/>
                  </a:cubicBezTo>
                  <a:cubicBezTo>
                    <a:pt x="557" y="741"/>
                    <a:pt x="527" y="734"/>
                    <a:pt x="496" y="757"/>
                  </a:cubicBezTo>
                  <a:cubicBezTo>
                    <a:pt x="481" y="764"/>
                    <a:pt x="488" y="810"/>
                    <a:pt x="466" y="818"/>
                  </a:cubicBezTo>
                  <a:cubicBezTo>
                    <a:pt x="443" y="818"/>
                    <a:pt x="443" y="780"/>
                    <a:pt x="427" y="772"/>
                  </a:cubicBezTo>
                  <a:cubicBezTo>
                    <a:pt x="374" y="718"/>
                    <a:pt x="313" y="688"/>
                    <a:pt x="259" y="634"/>
                  </a:cubicBezTo>
                  <a:cubicBezTo>
                    <a:pt x="252" y="627"/>
                    <a:pt x="275" y="611"/>
                    <a:pt x="267" y="604"/>
                  </a:cubicBezTo>
                  <a:cubicBezTo>
                    <a:pt x="236" y="573"/>
                    <a:pt x="198" y="558"/>
                    <a:pt x="160" y="527"/>
                  </a:cubicBezTo>
                  <a:lnTo>
                    <a:pt x="160" y="527"/>
                  </a:lnTo>
                  <a:cubicBezTo>
                    <a:pt x="91" y="474"/>
                    <a:pt x="91" y="474"/>
                    <a:pt x="91" y="474"/>
                  </a:cubicBezTo>
                  <a:cubicBezTo>
                    <a:pt x="68" y="428"/>
                    <a:pt x="68" y="428"/>
                    <a:pt x="68" y="428"/>
                  </a:cubicBezTo>
                  <a:cubicBezTo>
                    <a:pt x="0" y="413"/>
                    <a:pt x="0" y="413"/>
                    <a:pt x="0" y="413"/>
                  </a:cubicBezTo>
                  <a:cubicBezTo>
                    <a:pt x="0" y="359"/>
                    <a:pt x="0" y="359"/>
                    <a:pt x="0" y="359"/>
                  </a:cubicBezTo>
                  <a:lnTo>
                    <a:pt x="0" y="359"/>
                  </a:lnTo>
                  <a:cubicBezTo>
                    <a:pt x="22" y="359"/>
                    <a:pt x="45" y="352"/>
                    <a:pt x="61" y="352"/>
                  </a:cubicBezTo>
                  <a:lnTo>
                    <a:pt x="61" y="352"/>
                  </a:lnTo>
                  <a:cubicBezTo>
                    <a:pt x="53" y="336"/>
                    <a:pt x="22" y="314"/>
                    <a:pt x="38" y="314"/>
                  </a:cubicBezTo>
                  <a:cubicBezTo>
                    <a:pt x="76" y="298"/>
                    <a:pt x="114" y="329"/>
                    <a:pt x="145" y="321"/>
                  </a:cubicBezTo>
                  <a:cubicBezTo>
                    <a:pt x="160" y="321"/>
                    <a:pt x="152" y="298"/>
                    <a:pt x="160" y="291"/>
                  </a:cubicBezTo>
                  <a:cubicBezTo>
                    <a:pt x="183" y="283"/>
                    <a:pt x="221" y="298"/>
                    <a:pt x="244" y="275"/>
                  </a:cubicBezTo>
                  <a:cubicBezTo>
                    <a:pt x="259" y="268"/>
                    <a:pt x="229" y="245"/>
                    <a:pt x="229" y="222"/>
                  </a:cubicBezTo>
                  <a:cubicBezTo>
                    <a:pt x="236" y="214"/>
                    <a:pt x="252" y="207"/>
                    <a:pt x="259" y="199"/>
                  </a:cubicBezTo>
                  <a:cubicBezTo>
                    <a:pt x="259" y="184"/>
                    <a:pt x="259" y="161"/>
                    <a:pt x="252" y="168"/>
                  </a:cubicBezTo>
                  <a:cubicBezTo>
                    <a:pt x="214" y="168"/>
                    <a:pt x="183" y="207"/>
                    <a:pt x="145" y="214"/>
                  </a:cubicBezTo>
                  <a:cubicBezTo>
                    <a:pt x="137" y="214"/>
                    <a:pt x="160" y="191"/>
                    <a:pt x="160" y="176"/>
                  </a:cubicBezTo>
                  <a:cubicBezTo>
                    <a:pt x="160" y="161"/>
                    <a:pt x="160" y="145"/>
                    <a:pt x="152" y="138"/>
                  </a:cubicBezTo>
                  <a:cubicBezTo>
                    <a:pt x="145" y="115"/>
                    <a:pt x="122" y="107"/>
                    <a:pt x="114" y="84"/>
                  </a:cubicBezTo>
                  <a:cubicBezTo>
                    <a:pt x="106" y="77"/>
                    <a:pt x="106" y="69"/>
                    <a:pt x="106" y="54"/>
                  </a:cubicBezTo>
                  <a:lnTo>
                    <a:pt x="106" y="54"/>
                  </a:lnTo>
                  <a:cubicBezTo>
                    <a:pt x="129" y="46"/>
                    <a:pt x="152" y="46"/>
                    <a:pt x="175" y="31"/>
                  </a:cubicBezTo>
                  <a:cubicBezTo>
                    <a:pt x="183" y="31"/>
                    <a:pt x="183" y="8"/>
                    <a:pt x="191" y="8"/>
                  </a:cubicBezTo>
                  <a:cubicBezTo>
                    <a:pt x="229" y="0"/>
                    <a:pt x="267" y="8"/>
                    <a:pt x="305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14" name="Freeform 136"/>
            <p:cNvSpPr>
              <a:spLocks noChangeArrowheads="1"/>
            </p:cNvSpPr>
            <p:nvPr/>
          </p:nvSpPr>
          <p:spPr bwMode="auto">
            <a:xfrm>
              <a:off x="5363814" y="4598988"/>
              <a:ext cx="150802" cy="190500"/>
            </a:xfrm>
            <a:custGeom>
              <a:avLst/>
              <a:gdLst>
                <a:gd name="T0" fmla="*/ 84 w 421"/>
                <a:gd name="T1" fmla="*/ 0 h 528"/>
                <a:gd name="T2" fmla="*/ 84 w 421"/>
                <a:gd name="T3" fmla="*/ 0 h 528"/>
                <a:gd name="T4" fmla="*/ 160 w 421"/>
                <a:gd name="T5" fmla="*/ 23 h 528"/>
                <a:gd name="T6" fmla="*/ 191 w 421"/>
                <a:gd name="T7" fmla="*/ 23 h 528"/>
                <a:gd name="T8" fmla="*/ 222 w 421"/>
                <a:gd name="T9" fmla="*/ 46 h 528"/>
                <a:gd name="T10" fmla="*/ 275 w 421"/>
                <a:gd name="T11" fmla="*/ 61 h 528"/>
                <a:gd name="T12" fmla="*/ 237 w 421"/>
                <a:gd name="T13" fmla="*/ 84 h 528"/>
                <a:gd name="T14" fmla="*/ 267 w 421"/>
                <a:gd name="T15" fmla="*/ 206 h 528"/>
                <a:gd name="T16" fmla="*/ 298 w 421"/>
                <a:gd name="T17" fmla="*/ 206 h 528"/>
                <a:gd name="T18" fmla="*/ 344 w 421"/>
                <a:gd name="T19" fmla="*/ 283 h 528"/>
                <a:gd name="T20" fmla="*/ 374 w 421"/>
                <a:gd name="T21" fmla="*/ 298 h 528"/>
                <a:gd name="T22" fmla="*/ 374 w 421"/>
                <a:gd name="T23" fmla="*/ 298 h 528"/>
                <a:gd name="T24" fmla="*/ 405 w 421"/>
                <a:gd name="T25" fmla="*/ 359 h 528"/>
                <a:gd name="T26" fmla="*/ 412 w 421"/>
                <a:gd name="T27" fmla="*/ 436 h 528"/>
                <a:gd name="T28" fmla="*/ 412 w 421"/>
                <a:gd name="T29" fmla="*/ 436 h 528"/>
                <a:gd name="T30" fmla="*/ 420 w 421"/>
                <a:gd name="T31" fmla="*/ 497 h 528"/>
                <a:gd name="T32" fmla="*/ 397 w 421"/>
                <a:gd name="T33" fmla="*/ 527 h 528"/>
                <a:gd name="T34" fmla="*/ 397 w 421"/>
                <a:gd name="T35" fmla="*/ 527 h 528"/>
                <a:gd name="T36" fmla="*/ 329 w 421"/>
                <a:gd name="T37" fmla="*/ 481 h 528"/>
                <a:gd name="T38" fmla="*/ 252 w 421"/>
                <a:gd name="T39" fmla="*/ 413 h 528"/>
                <a:gd name="T40" fmla="*/ 23 w 421"/>
                <a:gd name="T41" fmla="*/ 390 h 528"/>
                <a:gd name="T42" fmla="*/ 23 w 421"/>
                <a:gd name="T43" fmla="*/ 390 h 528"/>
                <a:gd name="T44" fmla="*/ 61 w 421"/>
                <a:gd name="T45" fmla="*/ 321 h 528"/>
                <a:gd name="T46" fmla="*/ 54 w 421"/>
                <a:gd name="T47" fmla="*/ 267 h 528"/>
                <a:gd name="T48" fmla="*/ 0 w 421"/>
                <a:gd name="T49" fmla="*/ 206 h 528"/>
                <a:gd name="T50" fmla="*/ 54 w 421"/>
                <a:gd name="T51" fmla="*/ 199 h 528"/>
                <a:gd name="T52" fmla="*/ 84 w 421"/>
                <a:gd name="T53" fmla="*/ 161 h 528"/>
                <a:gd name="T54" fmla="*/ 61 w 421"/>
                <a:gd name="T55" fmla="*/ 92 h 528"/>
                <a:gd name="T56" fmla="*/ 84 w 421"/>
                <a:gd name="T57" fmla="*/ 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21" h="528">
                  <a:moveTo>
                    <a:pt x="84" y="0"/>
                  </a:moveTo>
                  <a:lnTo>
                    <a:pt x="84" y="0"/>
                  </a:lnTo>
                  <a:cubicBezTo>
                    <a:pt x="107" y="8"/>
                    <a:pt x="130" y="15"/>
                    <a:pt x="160" y="23"/>
                  </a:cubicBezTo>
                  <a:cubicBezTo>
                    <a:pt x="168" y="23"/>
                    <a:pt x="183" y="15"/>
                    <a:pt x="191" y="23"/>
                  </a:cubicBezTo>
                  <a:cubicBezTo>
                    <a:pt x="206" y="23"/>
                    <a:pt x="206" y="38"/>
                    <a:pt x="222" y="46"/>
                  </a:cubicBezTo>
                  <a:cubicBezTo>
                    <a:pt x="237" y="54"/>
                    <a:pt x="267" y="38"/>
                    <a:pt x="275" y="61"/>
                  </a:cubicBezTo>
                  <a:cubicBezTo>
                    <a:pt x="283" y="69"/>
                    <a:pt x="244" y="69"/>
                    <a:pt x="237" y="84"/>
                  </a:cubicBezTo>
                  <a:cubicBezTo>
                    <a:pt x="237" y="130"/>
                    <a:pt x="252" y="168"/>
                    <a:pt x="267" y="206"/>
                  </a:cubicBezTo>
                  <a:cubicBezTo>
                    <a:pt x="275" y="214"/>
                    <a:pt x="290" y="199"/>
                    <a:pt x="298" y="206"/>
                  </a:cubicBezTo>
                  <a:cubicBezTo>
                    <a:pt x="321" y="229"/>
                    <a:pt x="321" y="260"/>
                    <a:pt x="344" y="283"/>
                  </a:cubicBezTo>
                  <a:cubicBezTo>
                    <a:pt x="351" y="290"/>
                    <a:pt x="367" y="290"/>
                    <a:pt x="374" y="298"/>
                  </a:cubicBezTo>
                  <a:lnTo>
                    <a:pt x="374" y="298"/>
                  </a:lnTo>
                  <a:cubicBezTo>
                    <a:pt x="405" y="359"/>
                    <a:pt x="405" y="359"/>
                    <a:pt x="405" y="359"/>
                  </a:cubicBezTo>
                  <a:cubicBezTo>
                    <a:pt x="412" y="436"/>
                    <a:pt x="412" y="436"/>
                    <a:pt x="412" y="436"/>
                  </a:cubicBezTo>
                  <a:lnTo>
                    <a:pt x="412" y="436"/>
                  </a:lnTo>
                  <a:cubicBezTo>
                    <a:pt x="412" y="459"/>
                    <a:pt x="420" y="474"/>
                    <a:pt x="420" y="497"/>
                  </a:cubicBezTo>
                  <a:cubicBezTo>
                    <a:pt x="420" y="504"/>
                    <a:pt x="405" y="512"/>
                    <a:pt x="397" y="527"/>
                  </a:cubicBezTo>
                  <a:lnTo>
                    <a:pt x="397" y="527"/>
                  </a:lnTo>
                  <a:cubicBezTo>
                    <a:pt x="374" y="512"/>
                    <a:pt x="351" y="497"/>
                    <a:pt x="329" y="481"/>
                  </a:cubicBezTo>
                  <a:cubicBezTo>
                    <a:pt x="298" y="459"/>
                    <a:pt x="283" y="428"/>
                    <a:pt x="252" y="413"/>
                  </a:cubicBezTo>
                  <a:cubicBezTo>
                    <a:pt x="176" y="390"/>
                    <a:pt x="99" y="398"/>
                    <a:pt x="23" y="390"/>
                  </a:cubicBezTo>
                  <a:lnTo>
                    <a:pt x="23" y="390"/>
                  </a:lnTo>
                  <a:cubicBezTo>
                    <a:pt x="38" y="367"/>
                    <a:pt x="61" y="344"/>
                    <a:pt x="61" y="321"/>
                  </a:cubicBezTo>
                  <a:cubicBezTo>
                    <a:pt x="69" y="306"/>
                    <a:pt x="61" y="283"/>
                    <a:pt x="54" y="267"/>
                  </a:cubicBezTo>
                  <a:cubicBezTo>
                    <a:pt x="38" y="245"/>
                    <a:pt x="0" y="229"/>
                    <a:pt x="0" y="206"/>
                  </a:cubicBezTo>
                  <a:cubicBezTo>
                    <a:pt x="0" y="191"/>
                    <a:pt x="38" y="206"/>
                    <a:pt x="54" y="199"/>
                  </a:cubicBezTo>
                  <a:cubicBezTo>
                    <a:pt x="69" y="191"/>
                    <a:pt x="84" y="176"/>
                    <a:pt x="84" y="161"/>
                  </a:cubicBezTo>
                  <a:cubicBezTo>
                    <a:pt x="92" y="138"/>
                    <a:pt x="69" y="115"/>
                    <a:pt x="61" y="92"/>
                  </a:cubicBezTo>
                  <a:cubicBezTo>
                    <a:pt x="61" y="61"/>
                    <a:pt x="76" y="31"/>
                    <a:pt x="84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15" name="Freeform 137"/>
            <p:cNvSpPr>
              <a:spLocks noChangeArrowheads="1"/>
            </p:cNvSpPr>
            <p:nvPr/>
          </p:nvSpPr>
          <p:spPr bwMode="auto">
            <a:xfrm>
              <a:off x="5506680" y="4748214"/>
              <a:ext cx="153977" cy="142875"/>
            </a:xfrm>
            <a:custGeom>
              <a:avLst/>
              <a:gdLst>
                <a:gd name="T0" fmla="*/ 15 w 429"/>
                <a:gd name="T1" fmla="*/ 23 h 398"/>
                <a:gd name="T2" fmla="*/ 15 w 429"/>
                <a:gd name="T3" fmla="*/ 23 h 398"/>
                <a:gd name="T4" fmla="*/ 69 w 429"/>
                <a:gd name="T5" fmla="*/ 38 h 398"/>
                <a:gd name="T6" fmla="*/ 69 w 429"/>
                <a:gd name="T7" fmla="*/ 68 h 398"/>
                <a:gd name="T8" fmla="*/ 92 w 429"/>
                <a:gd name="T9" fmla="*/ 76 h 398"/>
                <a:gd name="T10" fmla="*/ 145 w 429"/>
                <a:gd name="T11" fmla="*/ 53 h 398"/>
                <a:gd name="T12" fmla="*/ 153 w 429"/>
                <a:gd name="T13" fmla="*/ 7 h 398"/>
                <a:gd name="T14" fmla="*/ 176 w 429"/>
                <a:gd name="T15" fmla="*/ 7 h 398"/>
                <a:gd name="T16" fmla="*/ 222 w 429"/>
                <a:gd name="T17" fmla="*/ 68 h 398"/>
                <a:gd name="T18" fmla="*/ 237 w 429"/>
                <a:gd name="T19" fmla="*/ 91 h 398"/>
                <a:gd name="T20" fmla="*/ 268 w 429"/>
                <a:gd name="T21" fmla="*/ 91 h 398"/>
                <a:gd name="T22" fmla="*/ 268 w 429"/>
                <a:gd name="T23" fmla="*/ 91 h 398"/>
                <a:gd name="T24" fmla="*/ 268 w 429"/>
                <a:gd name="T25" fmla="*/ 145 h 398"/>
                <a:gd name="T26" fmla="*/ 336 w 429"/>
                <a:gd name="T27" fmla="*/ 160 h 398"/>
                <a:gd name="T28" fmla="*/ 359 w 429"/>
                <a:gd name="T29" fmla="*/ 206 h 398"/>
                <a:gd name="T30" fmla="*/ 428 w 429"/>
                <a:gd name="T31" fmla="*/ 259 h 398"/>
                <a:gd name="T32" fmla="*/ 428 w 429"/>
                <a:gd name="T33" fmla="*/ 267 h 398"/>
                <a:gd name="T34" fmla="*/ 405 w 429"/>
                <a:gd name="T35" fmla="*/ 298 h 398"/>
                <a:gd name="T36" fmla="*/ 336 w 429"/>
                <a:gd name="T37" fmla="*/ 290 h 398"/>
                <a:gd name="T38" fmla="*/ 306 w 429"/>
                <a:gd name="T39" fmla="*/ 252 h 398"/>
                <a:gd name="T40" fmla="*/ 245 w 429"/>
                <a:gd name="T41" fmla="*/ 252 h 398"/>
                <a:gd name="T42" fmla="*/ 237 w 429"/>
                <a:gd name="T43" fmla="*/ 298 h 398"/>
                <a:gd name="T44" fmla="*/ 275 w 429"/>
                <a:gd name="T45" fmla="*/ 359 h 398"/>
                <a:gd name="T46" fmla="*/ 214 w 429"/>
                <a:gd name="T47" fmla="*/ 397 h 398"/>
                <a:gd name="T48" fmla="*/ 214 w 429"/>
                <a:gd name="T49" fmla="*/ 397 h 398"/>
                <a:gd name="T50" fmla="*/ 184 w 429"/>
                <a:gd name="T51" fmla="*/ 389 h 398"/>
                <a:gd name="T52" fmla="*/ 168 w 429"/>
                <a:gd name="T53" fmla="*/ 328 h 398"/>
                <a:gd name="T54" fmla="*/ 107 w 429"/>
                <a:gd name="T55" fmla="*/ 328 h 398"/>
                <a:gd name="T56" fmla="*/ 69 w 429"/>
                <a:gd name="T57" fmla="*/ 374 h 398"/>
                <a:gd name="T58" fmla="*/ 23 w 429"/>
                <a:gd name="T59" fmla="*/ 374 h 398"/>
                <a:gd name="T60" fmla="*/ 15 w 429"/>
                <a:gd name="T61" fmla="*/ 298 h 398"/>
                <a:gd name="T62" fmla="*/ 15 w 429"/>
                <a:gd name="T63" fmla="*/ 298 h 398"/>
                <a:gd name="T64" fmla="*/ 23 w 429"/>
                <a:gd name="T65" fmla="*/ 229 h 398"/>
                <a:gd name="T66" fmla="*/ 15 w 429"/>
                <a:gd name="T67" fmla="*/ 206 h 398"/>
                <a:gd name="T68" fmla="*/ 38 w 429"/>
                <a:gd name="T69" fmla="*/ 191 h 398"/>
                <a:gd name="T70" fmla="*/ 31 w 429"/>
                <a:gd name="T71" fmla="*/ 145 h 398"/>
                <a:gd name="T72" fmla="*/ 0 w 429"/>
                <a:gd name="T73" fmla="*/ 114 h 398"/>
                <a:gd name="T74" fmla="*/ 0 w 429"/>
                <a:gd name="T75" fmla="*/ 114 h 398"/>
                <a:gd name="T76" fmla="*/ 23 w 429"/>
                <a:gd name="T77" fmla="*/ 84 h 398"/>
                <a:gd name="T78" fmla="*/ 15 w 429"/>
                <a:gd name="T79" fmla="*/ 2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9" h="398">
                  <a:moveTo>
                    <a:pt x="15" y="23"/>
                  </a:moveTo>
                  <a:lnTo>
                    <a:pt x="15" y="23"/>
                  </a:lnTo>
                  <a:cubicBezTo>
                    <a:pt x="31" y="30"/>
                    <a:pt x="54" y="23"/>
                    <a:pt x="69" y="38"/>
                  </a:cubicBezTo>
                  <a:cubicBezTo>
                    <a:pt x="77" y="38"/>
                    <a:pt x="61" y="53"/>
                    <a:pt x="69" y="68"/>
                  </a:cubicBezTo>
                  <a:cubicBezTo>
                    <a:pt x="69" y="76"/>
                    <a:pt x="84" y="76"/>
                    <a:pt x="92" y="76"/>
                  </a:cubicBezTo>
                  <a:cubicBezTo>
                    <a:pt x="115" y="76"/>
                    <a:pt x="138" y="68"/>
                    <a:pt x="145" y="53"/>
                  </a:cubicBezTo>
                  <a:cubicBezTo>
                    <a:pt x="153" y="46"/>
                    <a:pt x="138" y="23"/>
                    <a:pt x="153" y="7"/>
                  </a:cubicBezTo>
                  <a:cubicBezTo>
                    <a:pt x="153" y="0"/>
                    <a:pt x="168" y="0"/>
                    <a:pt x="176" y="7"/>
                  </a:cubicBezTo>
                  <a:cubicBezTo>
                    <a:pt x="199" y="23"/>
                    <a:pt x="207" y="46"/>
                    <a:pt x="222" y="68"/>
                  </a:cubicBezTo>
                  <a:cubicBezTo>
                    <a:pt x="229" y="76"/>
                    <a:pt x="229" y="91"/>
                    <a:pt x="237" y="91"/>
                  </a:cubicBezTo>
                  <a:cubicBezTo>
                    <a:pt x="245" y="91"/>
                    <a:pt x="260" y="91"/>
                    <a:pt x="268" y="91"/>
                  </a:cubicBezTo>
                  <a:lnTo>
                    <a:pt x="268" y="91"/>
                  </a:lnTo>
                  <a:cubicBezTo>
                    <a:pt x="268" y="145"/>
                    <a:pt x="268" y="145"/>
                    <a:pt x="268" y="145"/>
                  </a:cubicBezTo>
                  <a:cubicBezTo>
                    <a:pt x="336" y="160"/>
                    <a:pt x="336" y="160"/>
                    <a:pt x="336" y="160"/>
                  </a:cubicBezTo>
                  <a:cubicBezTo>
                    <a:pt x="359" y="206"/>
                    <a:pt x="359" y="206"/>
                    <a:pt x="359" y="206"/>
                  </a:cubicBezTo>
                  <a:cubicBezTo>
                    <a:pt x="428" y="259"/>
                    <a:pt x="428" y="259"/>
                    <a:pt x="428" y="259"/>
                  </a:cubicBezTo>
                  <a:cubicBezTo>
                    <a:pt x="428" y="267"/>
                    <a:pt x="428" y="267"/>
                    <a:pt x="428" y="267"/>
                  </a:cubicBezTo>
                  <a:cubicBezTo>
                    <a:pt x="420" y="275"/>
                    <a:pt x="413" y="290"/>
                    <a:pt x="405" y="298"/>
                  </a:cubicBezTo>
                  <a:cubicBezTo>
                    <a:pt x="382" y="305"/>
                    <a:pt x="359" y="305"/>
                    <a:pt x="336" y="290"/>
                  </a:cubicBezTo>
                  <a:cubicBezTo>
                    <a:pt x="321" y="290"/>
                    <a:pt x="321" y="259"/>
                    <a:pt x="306" y="252"/>
                  </a:cubicBezTo>
                  <a:cubicBezTo>
                    <a:pt x="290" y="244"/>
                    <a:pt x="268" y="244"/>
                    <a:pt x="245" y="252"/>
                  </a:cubicBezTo>
                  <a:cubicBezTo>
                    <a:pt x="237" y="259"/>
                    <a:pt x="229" y="282"/>
                    <a:pt x="237" y="298"/>
                  </a:cubicBezTo>
                  <a:cubicBezTo>
                    <a:pt x="245" y="321"/>
                    <a:pt x="283" y="336"/>
                    <a:pt x="275" y="359"/>
                  </a:cubicBezTo>
                  <a:cubicBezTo>
                    <a:pt x="268" y="382"/>
                    <a:pt x="237" y="389"/>
                    <a:pt x="214" y="397"/>
                  </a:cubicBezTo>
                  <a:lnTo>
                    <a:pt x="214" y="397"/>
                  </a:lnTo>
                  <a:cubicBezTo>
                    <a:pt x="207" y="397"/>
                    <a:pt x="191" y="397"/>
                    <a:pt x="184" y="389"/>
                  </a:cubicBezTo>
                  <a:cubicBezTo>
                    <a:pt x="176" y="374"/>
                    <a:pt x="191" y="336"/>
                    <a:pt x="168" y="328"/>
                  </a:cubicBezTo>
                  <a:cubicBezTo>
                    <a:pt x="153" y="313"/>
                    <a:pt x="122" y="321"/>
                    <a:pt x="107" y="328"/>
                  </a:cubicBezTo>
                  <a:cubicBezTo>
                    <a:pt x="84" y="336"/>
                    <a:pt x="84" y="366"/>
                    <a:pt x="69" y="374"/>
                  </a:cubicBezTo>
                  <a:cubicBezTo>
                    <a:pt x="54" y="382"/>
                    <a:pt x="31" y="382"/>
                    <a:pt x="23" y="374"/>
                  </a:cubicBezTo>
                  <a:cubicBezTo>
                    <a:pt x="8" y="351"/>
                    <a:pt x="15" y="321"/>
                    <a:pt x="15" y="298"/>
                  </a:cubicBezTo>
                  <a:lnTo>
                    <a:pt x="15" y="298"/>
                  </a:lnTo>
                  <a:cubicBezTo>
                    <a:pt x="15" y="275"/>
                    <a:pt x="23" y="252"/>
                    <a:pt x="23" y="229"/>
                  </a:cubicBezTo>
                  <a:cubicBezTo>
                    <a:pt x="23" y="221"/>
                    <a:pt x="15" y="214"/>
                    <a:pt x="15" y="206"/>
                  </a:cubicBezTo>
                  <a:cubicBezTo>
                    <a:pt x="15" y="198"/>
                    <a:pt x="31" y="198"/>
                    <a:pt x="38" y="191"/>
                  </a:cubicBezTo>
                  <a:cubicBezTo>
                    <a:pt x="38" y="175"/>
                    <a:pt x="38" y="160"/>
                    <a:pt x="31" y="145"/>
                  </a:cubicBezTo>
                  <a:cubicBezTo>
                    <a:pt x="23" y="129"/>
                    <a:pt x="8" y="122"/>
                    <a:pt x="0" y="114"/>
                  </a:cubicBezTo>
                  <a:lnTo>
                    <a:pt x="0" y="114"/>
                  </a:lnTo>
                  <a:cubicBezTo>
                    <a:pt x="8" y="99"/>
                    <a:pt x="23" y="91"/>
                    <a:pt x="23" y="84"/>
                  </a:cubicBezTo>
                  <a:cubicBezTo>
                    <a:pt x="23" y="61"/>
                    <a:pt x="15" y="46"/>
                    <a:pt x="15" y="2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16" name="Freeform 138"/>
            <p:cNvSpPr>
              <a:spLocks noChangeArrowheads="1"/>
            </p:cNvSpPr>
            <p:nvPr/>
          </p:nvSpPr>
          <p:spPr bwMode="auto">
            <a:xfrm>
              <a:off x="5498742" y="4651376"/>
              <a:ext cx="198425" cy="131763"/>
            </a:xfrm>
            <a:custGeom>
              <a:avLst/>
              <a:gdLst>
                <a:gd name="T0" fmla="*/ 352 w 551"/>
                <a:gd name="T1" fmla="*/ 352 h 368"/>
                <a:gd name="T2" fmla="*/ 352 w 551"/>
                <a:gd name="T3" fmla="*/ 352 h 368"/>
                <a:gd name="T4" fmla="*/ 329 w 551"/>
                <a:gd name="T5" fmla="*/ 314 h 368"/>
                <a:gd name="T6" fmla="*/ 436 w 551"/>
                <a:gd name="T7" fmla="*/ 321 h 368"/>
                <a:gd name="T8" fmla="*/ 451 w 551"/>
                <a:gd name="T9" fmla="*/ 291 h 368"/>
                <a:gd name="T10" fmla="*/ 535 w 551"/>
                <a:gd name="T11" fmla="*/ 275 h 368"/>
                <a:gd name="T12" fmla="*/ 520 w 551"/>
                <a:gd name="T13" fmla="*/ 222 h 368"/>
                <a:gd name="T14" fmla="*/ 550 w 551"/>
                <a:gd name="T15" fmla="*/ 199 h 368"/>
                <a:gd name="T16" fmla="*/ 543 w 551"/>
                <a:gd name="T17" fmla="*/ 168 h 368"/>
                <a:gd name="T18" fmla="*/ 436 w 551"/>
                <a:gd name="T19" fmla="*/ 214 h 368"/>
                <a:gd name="T20" fmla="*/ 451 w 551"/>
                <a:gd name="T21" fmla="*/ 176 h 368"/>
                <a:gd name="T22" fmla="*/ 443 w 551"/>
                <a:gd name="T23" fmla="*/ 138 h 368"/>
                <a:gd name="T24" fmla="*/ 405 w 551"/>
                <a:gd name="T25" fmla="*/ 84 h 368"/>
                <a:gd name="T26" fmla="*/ 397 w 551"/>
                <a:gd name="T27" fmla="*/ 54 h 368"/>
                <a:gd name="T28" fmla="*/ 397 w 551"/>
                <a:gd name="T29" fmla="*/ 54 h 368"/>
                <a:gd name="T30" fmla="*/ 382 w 551"/>
                <a:gd name="T31" fmla="*/ 0 h 368"/>
                <a:gd name="T32" fmla="*/ 329 w 551"/>
                <a:gd name="T33" fmla="*/ 46 h 368"/>
                <a:gd name="T34" fmla="*/ 291 w 551"/>
                <a:gd name="T35" fmla="*/ 23 h 368"/>
                <a:gd name="T36" fmla="*/ 245 w 551"/>
                <a:gd name="T37" fmla="*/ 23 h 368"/>
                <a:gd name="T38" fmla="*/ 191 w 551"/>
                <a:gd name="T39" fmla="*/ 0 h 368"/>
                <a:gd name="T40" fmla="*/ 176 w 551"/>
                <a:gd name="T41" fmla="*/ 16 h 368"/>
                <a:gd name="T42" fmla="*/ 199 w 551"/>
                <a:gd name="T43" fmla="*/ 92 h 368"/>
                <a:gd name="T44" fmla="*/ 207 w 551"/>
                <a:gd name="T45" fmla="*/ 138 h 368"/>
                <a:gd name="T46" fmla="*/ 161 w 551"/>
                <a:gd name="T47" fmla="*/ 191 h 368"/>
                <a:gd name="T48" fmla="*/ 115 w 551"/>
                <a:gd name="T49" fmla="*/ 184 h 368"/>
                <a:gd name="T50" fmla="*/ 61 w 551"/>
                <a:gd name="T51" fmla="*/ 130 h 368"/>
                <a:gd name="T52" fmla="*/ 0 w 551"/>
                <a:gd name="T53" fmla="*/ 153 h 368"/>
                <a:gd name="T54" fmla="*/ 0 w 551"/>
                <a:gd name="T55" fmla="*/ 153 h 368"/>
                <a:gd name="T56" fmla="*/ 31 w 551"/>
                <a:gd name="T57" fmla="*/ 214 h 368"/>
                <a:gd name="T58" fmla="*/ 38 w 551"/>
                <a:gd name="T59" fmla="*/ 291 h 368"/>
                <a:gd name="T60" fmla="*/ 38 w 551"/>
                <a:gd name="T61" fmla="*/ 291 h 368"/>
                <a:gd name="T62" fmla="*/ 92 w 551"/>
                <a:gd name="T63" fmla="*/ 306 h 368"/>
                <a:gd name="T64" fmla="*/ 92 w 551"/>
                <a:gd name="T65" fmla="*/ 336 h 368"/>
                <a:gd name="T66" fmla="*/ 115 w 551"/>
                <a:gd name="T67" fmla="*/ 344 h 368"/>
                <a:gd name="T68" fmla="*/ 168 w 551"/>
                <a:gd name="T69" fmla="*/ 321 h 368"/>
                <a:gd name="T70" fmla="*/ 176 w 551"/>
                <a:gd name="T71" fmla="*/ 275 h 368"/>
                <a:gd name="T72" fmla="*/ 199 w 551"/>
                <a:gd name="T73" fmla="*/ 275 h 368"/>
                <a:gd name="T74" fmla="*/ 245 w 551"/>
                <a:gd name="T75" fmla="*/ 336 h 368"/>
                <a:gd name="T76" fmla="*/ 260 w 551"/>
                <a:gd name="T77" fmla="*/ 359 h 368"/>
                <a:gd name="T78" fmla="*/ 352 w 551"/>
                <a:gd name="T79" fmla="*/ 35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51" h="368">
                  <a:moveTo>
                    <a:pt x="352" y="352"/>
                  </a:moveTo>
                  <a:lnTo>
                    <a:pt x="352" y="352"/>
                  </a:lnTo>
                  <a:cubicBezTo>
                    <a:pt x="344" y="336"/>
                    <a:pt x="313" y="314"/>
                    <a:pt x="329" y="314"/>
                  </a:cubicBezTo>
                  <a:cubicBezTo>
                    <a:pt x="367" y="298"/>
                    <a:pt x="405" y="329"/>
                    <a:pt x="436" y="321"/>
                  </a:cubicBezTo>
                  <a:cubicBezTo>
                    <a:pt x="451" y="321"/>
                    <a:pt x="443" y="298"/>
                    <a:pt x="451" y="291"/>
                  </a:cubicBezTo>
                  <a:cubicBezTo>
                    <a:pt x="474" y="283"/>
                    <a:pt x="512" y="298"/>
                    <a:pt x="535" y="275"/>
                  </a:cubicBezTo>
                  <a:cubicBezTo>
                    <a:pt x="550" y="268"/>
                    <a:pt x="520" y="245"/>
                    <a:pt x="520" y="222"/>
                  </a:cubicBezTo>
                  <a:cubicBezTo>
                    <a:pt x="527" y="214"/>
                    <a:pt x="543" y="207"/>
                    <a:pt x="550" y="199"/>
                  </a:cubicBezTo>
                  <a:cubicBezTo>
                    <a:pt x="550" y="184"/>
                    <a:pt x="550" y="161"/>
                    <a:pt x="543" y="168"/>
                  </a:cubicBezTo>
                  <a:cubicBezTo>
                    <a:pt x="505" y="168"/>
                    <a:pt x="474" y="207"/>
                    <a:pt x="436" y="214"/>
                  </a:cubicBezTo>
                  <a:cubicBezTo>
                    <a:pt x="428" y="214"/>
                    <a:pt x="451" y="191"/>
                    <a:pt x="451" y="176"/>
                  </a:cubicBezTo>
                  <a:cubicBezTo>
                    <a:pt x="451" y="161"/>
                    <a:pt x="451" y="145"/>
                    <a:pt x="443" y="138"/>
                  </a:cubicBezTo>
                  <a:cubicBezTo>
                    <a:pt x="436" y="115"/>
                    <a:pt x="413" y="107"/>
                    <a:pt x="405" y="84"/>
                  </a:cubicBezTo>
                  <a:cubicBezTo>
                    <a:pt x="397" y="77"/>
                    <a:pt x="397" y="69"/>
                    <a:pt x="397" y="54"/>
                  </a:cubicBezTo>
                  <a:lnTo>
                    <a:pt x="397" y="54"/>
                  </a:lnTo>
                  <a:cubicBezTo>
                    <a:pt x="390" y="39"/>
                    <a:pt x="397" y="0"/>
                    <a:pt x="382" y="0"/>
                  </a:cubicBezTo>
                  <a:cubicBezTo>
                    <a:pt x="359" y="0"/>
                    <a:pt x="352" y="39"/>
                    <a:pt x="329" y="46"/>
                  </a:cubicBezTo>
                  <a:cubicBezTo>
                    <a:pt x="313" y="54"/>
                    <a:pt x="298" y="31"/>
                    <a:pt x="291" y="23"/>
                  </a:cubicBezTo>
                  <a:cubicBezTo>
                    <a:pt x="275" y="23"/>
                    <a:pt x="252" y="31"/>
                    <a:pt x="245" y="23"/>
                  </a:cubicBezTo>
                  <a:cubicBezTo>
                    <a:pt x="222" y="23"/>
                    <a:pt x="207" y="8"/>
                    <a:pt x="191" y="0"/>
                  </a:cubicBezTo>
                  <a:cubicBezTo>
                    <a:pt x="184" y="0"/>
                    <a:pt x="176" y="8"/>
                    <a:pt x="176" y="16"/>
                  </a:cubicBezTo>
                  <a:cubicBezTo>
                    <a:pt x="176" y="39"/>
                    <a:pt x="199" y="69"/>
                    <a:pt x="199" y="92"/>
                  </a:cubicBezTo>
                  <a:cubicBezTo>
                    <a:pt x="207" y="107"/>
                    <a:pt x="207" y="130"/>
                    <a:pt x="207" y="138"/>
                  </a:cubicBezTo>
                  <a:cubicBezTo>
                    <a:pt x="191" y="161"/>
                    <a:pt x="184" y="184"/>
                    <a:pt x="161" y="191"/>
                  </a:cubicBezTo>
                  <a:cubicBezTo>
                    <a:pt x="145" y="199"/>
                    <a:pt x="122" y="199"/>
                    <a:pt x="115" y="184"/>
                  </a:cubicBezTo>
                  <a:cubicBezTo>
                    <a:pt x="92" y="176"/>
                    <a:pt x="84" y="138"/>
                    <a:pt x="61" y="130"/>
                  </a:cubicBezTo>
                  <a:cubicBezTo>
                    <a:pt x="38" y="122"/>
                    <a:pt x="23" y="145"/>
                    <a:pt x="0" y="153"/>
                  </a:cubicBezTo>
                  <a:lnTo>
                    <a:pt x="0" y="153"/>
                  </a:lnTo>
                  <a:cubicBezTo>
                    <a:pt x="31" y="214"/>
                    <a:pt x="31" y="214"/>
                    <a:pt x="31" y="214"/>
                  </a:cubicBezTo>
                  <a:cubicBezTo>
                    <a:pt x="38" y="291"/>
                    <a:pt x="38" y="291"/>
                    <a:pt x="38" y="291"/>
                  </a:cubicBezTo>
                  <a:lnTo>
                    <a:pt x="38" y="291"/>
                  </a:lnTo>
                  <a:cubicBezTo>
                    <a:pt x="54" y="298"/>
                    <a:pt x="77" y="291"/>
                    <a:pt x="92" y="306"/>
                  </a:cubicBezTo>
                  <a:cubicBezTo>
                    <a:pt x="100" y="306"/>
                    <a:pt x="84" y="321"/>
                    <a:pt x="92" y="336"/>
                  </a:cubicBezTo>
                  <a:cubicBezTo>
                    <a:pt x="92" y="344"/>
                    <a:pt x="107" y="344"/>
                    <a:pt x="115" y="344"/>
                  </a:cubicBezTo>
                  <a:cubicBezTo>
                    <a:pt x="138" y="344"/>
                    <a:pt x="161" y="336"/>
                    <a:pt x="168" y="321"/>
                  </a:cubicBezTo>
                  <a:cubicBezTo>
                    <a:pt x="176" y="314"/>
                    <a:pt x="161" y="291"/>
                    <a:pt x="176" y="275"/>
                  </a:cubicBezTo>
                  <a:cubicBezTo>
                    <a:pt x="176" y="268"/>
                    <a:pt x="191" y="268"/>
                    <a:pt x="199" y="275"/>
                  </a:cubicBezTo>
                  <a:cubicBezTo>
                    <a:pt x="222" y="291"/>
                    <a:pt x="230" y="314"/>
                    <a:pt x="245" y="336"/>
                  </a:cubicBezTo>
                  <a:cubicBezTo>
                    <a:pt x="252" y="344"/>
                    <a:pt x="252" y="359"/>
                    <a:pt x="260" y="359"/>
                  </a:cubicBezTo>
                  <a:cubicBezTo>
                    <a:pt x="291" y="367"/>
                    <a:pt x="321" y="352"/>
                    <a:pt x="352" y="35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17" name="Freeform 139"/>
            <p:cNvSpPr>
              <a:spLocks noChangeArrowheads="1"/>
            </p:cNvSpPr>
            <p:nvPr/>
          </p:nvSpPr>
          <p:spPr bwMode="auto">
            <a:xfrm>
              <a:off x="5201899" y="4719638"/>
              <a:ext cx="190488" cy="119062"/>
            </a:xfrm>
            <a:custGeom>
              <a:avLst/>
              <a:gdLst>
                <a:gd name="T0" fmla="*/ 474 w 528"/>
                <a:gd name="T1" fmla="*/ 100 h 330"/>
                <a:gd name="T2" fmla="*/ 474 w 528"/>
                <a:gd name="T3" fmla="*/ 100 h 330"/>
                <a:gd name="T4" fmla="*/ 482 w 528"/>
                <a:gd name="T5" fmla="*/ 115 h 330"/>
                <a:gd name="T6" fmla="*/ 505 w 528"/>
                <a:gd name="T7" fmla="*/ 138 h 330"/>
                <a:gd name="T8" fmla="*/ 505 w 528"/>
                <a:gd name="T9" fmla="*/ 199 h 330"/>
                <a:gd name="T10" fmla="*/ 520 w 528"/>
                <a:gd name="T11" fmla="*/ 245 h 330"/>
                <a:gd name="T12" fmla="*/ 482 w 528"/>
                <a:gd name="T13" fmla="*/ 275 h 330"/>
                <a:gd name="T14" fmla="*/ 459 w 528"/>
                <a:gd name="T15" fmla="*/ 321 h 330"/>
                <a:gd name="T16" fmla="*/ 375 w 528"/>
                <a:gd name="T17" fmla="*/ 306 h 330"/>
                <a:gd name="T18" fmla="*/ 336 w 528"/>
                <a:gd name="T19" fmla="*/ 283 h 330"/>
                <a:gd name="T20" fmla="*/ 283 w 528"/>
                <a:gd name="T21" fmla="*/ 283 h 330"/>
                <a:gd name="T22" fmla="*/ 283 w 528"/>
                <a:gd name="T23" fmla="*/ 283 h 330"/>
                <a:gd name="T24" fmla="*/ 260 w 528"/>
                <a:gd name="T25" fmla="*/ 245 h 330"/>
                <a:gd name="T26" fmla="*/ 222 w 528"/>
                <a:gd name="T27" fmla="*/ 222 h 330"/>
                <a:gd name="T28" fmla="*/ 207 w 528"/>
                <a:gd name="T29" fmla="*/ 168 h 330"/>
                <a:gd name="T30" fmla="*/ 161 w 528"/>
                <a:gd name="T31" fmla="*/ 206 h 330"/>
                <a:gd name="T32" fmla="*/ 107 w 528"/>
                <a:gd name="T33" fmla="*/ 222 h 330"/>
                <a:gd name="T34" fmla="*/ 0 w 528"/>
                <a:gd name="T35" fmla="*/ 206 h 330"/>
                <a:gd name="T36" fmla="*/ 0 w 528"/>
                <a:gd name="T37" fmla="*/ 206 h 330"/>
                <a:gd name="T38" fmla="*/ 8 w 528"/>
                <a:gd name="T39" fmla="*/ 123 h 330"/>
                <a:gd name="T40" fmla="*/ 38 w 528"/>
                <a:gd name="T41" fmla="*/ 39 h 330"/>
                <a:gd name="T42" fmla="*/ 100 w 528"/>
                <a:gd name="T43" fmla="*/ 16 h 330"/>
                <a:gd name="T44" fmla="*/ 252 w 528"/>
                <a:gd name="T45" fmla="*/ 62 h 330"/>
                <a:gd name="T46" fmla="*/ 474 w 528"/>
                <a:gd name="T47" fmla="*/ 10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8" h="330">
                  <a:moveTo>
                    <a:pt x="474" y="100"/>
                  </a:moveTo>
                  <a:lnTo>
                    <a:pt x="474" y="100"/>
                  </a:lnTo>
                  <a:cubicBezTo>
                    <a:pt x="474" y="107"/>
                    <a:pt x="474" y="107"/>
                    <a:pt x="482" y="115"/>
                  </a:cubicBezTo>
                  <a:cubicBezTo>
                    <a:pt x="482" y="130"/>
                    <a:pt x="505" y="123"/>
                    <a:pt x="505" y="138"/>
                  </a:cubicBezTo>
                  <a:cubicBezTo>
                    <a:pt x="512" y="153"/>
                    <a:pt x="505" y="176"/>
                    <a:pt x="505" y="199"/>
                  </a:cubicBezTo>
                  <a:cubicBezTo>
                    <a:pt x="505" y="214"/>
                    <a:pt x="527" y="229"/>
                    <a:pt x="520" y="245"/>
                  </a:cubicBezTo>
                  <a:cubicBezTo>
                    <a:pt x="512" y="260"/>
                    <a:pt x="489" y="260"/>
                    <a:pt x="482" y="275"/>
                  </a:cubicBezTo>
                  <a:cubicBezTo>
                    <a:pt x="466" y="283"/>
                    <a:pt x="482" y="314"/>
                    <a:pt x="459" y="321"/>
                  </a:cubicBezTo>
                  <a:cubicBezTo>
                    <a:pt x="436" y="329"/>
                    <a:pt x="405" y="321"/>
                    <a:pt x="375" y="306"/>
                  </a:cubicBezTo>
                  <a:cubicBezTo>
                    <a:pt x="359" y="306"/>
                    <a:pt x="352" y="283"/>
                    <a:pt x="336" y="283"/>
                  </a:cubicBezTo>
                  <a:cubicBezTo>
                    <a:pt x="321" y="275"/>
                    <a:pt x="298" y="283"/>
                    <a:pt x="283" y="283"/>
                  </a:cubicBezTo>
                  <a:lnTo>
                    <a:pt x="283" y="283"/>
                  </a:lnTo>
                  <a:cubicBezTo>
                    <a:pt x="275" y="268"/>
                    <a:pt x="268" y="252"/>
                    <a:pt x="260" y="245"/>
                  </a:cubicBezTo>
                  <a:cubicBezTo>
                    <a:pt x="252" y="237"/>
                    <a:pt x="237" y="237"/>
                    <a:pt x="222" y="222"/>
                  </a:cubicBezTo>
                  <a:cubicBezTo>
                    <a:pt x="214" y="206"/>
                    <a:pt x="222" y="176"/>
                    <a:pt x="207" y="168"/>
                  </a:cubicBezTo>
                  <a:cubicBezTo>
                    <a:pt x="184" y="168"/>
                    <a:pt x="184" y="199"/>
                    <a:pt x="161" y="206"/>
                  </a:cubicBezTo>
                  <a:cubicBezTo>
                    <a:pt x="146" y="214"/>
                    <a:pt x="123" y="222"/>
                    <a:pt x="107" y="222"/>
                  </a:cubicBezTo>
                  <a:cubicBezTo>
                    <a:pt x="69" y="222"/>
                    <a:pt x="38" y="206"/>
                    <a:pt x="0" y="206"/>
                  </a:cubicBezTo>
                  <a:lnTo>
                    <a:pt x="0" y="206"/>
                  </a:lnTo>
                  <a:cubicBezTo>
                    <a:pt x="0" y="176"/>
                    <a:pt x="0" y="153"/>
                    <a:pt x="8" y="123"/>
                  </a:cubicBezTo>
                  <a:cubicBezTo>
                    <a:pt x="23" y="100"/>
                    <a:pt x="8" y="62"/>
                    <a:pt x="38" y="39"/>
                  </a:cubicBezTo>
                  <a:cubicBezTo>
                    <a:pt x="54" y="23"/>
                    <a:pt x="77" y="23"/>
                    <a:pt x="100" y="16"/>
                  </a:cubicBezTo>
                  <a:cubicBezTo>
                    <a:pt x="146" y="0"/>
                    <a:pt x="207" y="39"/>
                    <a:pt x="252" y="62"/>
                  </a:cubicBezTo>
                  <a:cubicBezTo>
                    <a:pt x="313" y="84"/>
                    <a:pt x="398" y="92"/>
                    <a:pt x="474" y="10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18" name="Freeform 140"/>
            <p:cNvSpPr>
              <a:spLocks noChangeArrowheads="1"/>
            </p:cNvSpPr>
            <p:nvPr/>
          </p:nvSpPr>
          <p:spPr bwMode="auto">
            <a:xfrm>
              <a:off x="5284444" y="4738689"/>
              <a:ext cx="236522" cy="173037"/>
            </a:xfrm>
            <a:custGeom>
              <a:avLst/>
              <a:gdLst>
                <a:gd name="T0" fmla="*/ 244 w 657"/>
                <a:gd name="T1" fmla="*/ 8 h 482"/>
                <a:gd name="T2" fmla="*/ 244 w 657"/>
                <a:gd name="T3" fmla="*/ 8 h 482"/>
                <a:gd name="T4" fmla="*/ 374 w 657"/>
                <a:gd name="T5" fmla="*/ 46 h 482"/>
                <a:gd name="T6" fmla="*/ 244 w 657"/>
                <a:gd name="T7" fmla="*/ 46 h 482"/>
                <a:gd name="T8" fmla="*/ 244 w 657"/>
                <a:gd name="T9" fmla="*/ 46 h 482"/>
                <a:gd name="T10" fmla="*/ 252 w 657"/>
                <a:gd name="T11" fmla="*/ 61 h 482"/>
                <a:gd name="T12" fmla="*/ 275 w 657"/>
                <a:gd name="T13" fmla="*/ 84 h 482"/>
                <a:gd name="T14" fmla="*/ 275 w 657"/>
                <a:gd name="T15" fmla="*/ 145 h 482"/>
                <a:gd name="T16" fmla="*/ 290 w 657"/>
                <a:gd name="T17" fmla="*/ 191 h 482"/>
                <a:gd name="T18" fmla="*/ 252 w 657"/>
                <a:gd name="T19" fmla="*/ 221 h 482"/>
                <a:gd name="T20" fmla="*/ 229 w 657"/>
                <a:gd name="T21" fmla="*/ 267 h 482"/>
                <a:gd name="T22" fmla="*/ 145 w 657"/>
                <a:gd name="T23" fmla="*/ 252 h 482"/>
                <a:gd name="T24" fmla="*/ 106 w 657"/>
                <a:gd name="T25" fmla="*/ 229 h 482"/>
                <a:gd name="T26" fmla="*/ 53 w 657"/>
                <a:gd name="T27" fmla="*/ 229 h 482"/>
                <a:gd name="T28" fmla="*/ 53 w 657"/>
                <a:gd name="T29" fmla="*/ 229 h 482"/>
                <a:gd name="T30" fmla="*/ 7 w 657"/>
                <a:gd name="T31" fmla="*/ 260 h 482"/>
                <a:gd name="T32" fmla="*/ 91 w 657"/>
                <a:gd name="T33" fmla="*/ 321 h 482"/>
                <a:gd name="T34" fmla="*/ 99 w 657"/>
                <a:gd name="T35" fmla="*/ 351 h 482"/>
                <a:gd name="T36" fmla="*/ 145 w 657"/>
                <a:gd name="T37" fmla="*/ 366 h 482"/>
                <a:gd name="T38" fmla="*/ 175 w 657"/>
                <a:gd name="T39" fmla="*/ 405 h 482"/>
                <a:gd name="T40" fmla="*/ 191 w 657"/>
                <a:gd name="T41" fmla="*/ 466 h 482"/>
                <a:gd name="T42" fmla="*/ 221 w 657"/>
                <a:gd name="T43" fmla="*/ 443 h 482"/>
                <a:gd name="T44" fmla="*/ 267 w 657"/>
                <a:gd name="T45" fmla="*/ 481 h 482"/>
                <a:gd name="T46" fmla="*/ 336 w 657"/>
                <a:gd name="T47" fmla="*/ 435 h 482"/>
                <a:gd name="T48" fmla="*/ 358 w 657"/>
                <a:gd name="T49" fmla="*/ 466 h 482"/>
                <a:gd name="T50" fmla="*/ 358 w 657"/>
                <a:gd name="T51" fmla="*/ 466 h 482"/>
                <a:gd name="T52" fmla="*/ 404 w 657"/>
                <a:gd name="T53" fmla="*/ 435 h 482"/>
                <a:gd name="T54" fmla="*/ 458 w 657"/>
                <a:gd name="T55" fmla="*/ 374 h 482"/>
                <a:gd name="T56" fmla="*/ 550 w 657"/>
                <a:gd name="T57" fmla="*/ 374 h 482"/>
                <a:gd name="T58" fmla="*/ 633 w 657"/>
                <a:gd name="T59" fmla="*/ 321 h 482"/>
                <a:gd name="T60" fmla="*/ 633 w 657"/>
                <a:gd name="T61" fmla="*/ 321 h 482"/>
                <a:gd name="T62" fmla="*/ 641 w 657"/>
                <a:gd name="T63" fmla="*/ 252 h 482"/>
                <a:gd name="T64" fmla="*/ 633 w 657"/>
                <a:gd name="T65" fmla="*/ 229 h 482"/>
                <a:gd name="T66" fmla="*/ 656 w 657"/>
                <a:gd name="T67" fmla="*/ 214 h 482"/>
                <a:gd name="T68" fmla="*/ 649 w 657"/>
                <a:gd name="T69" fmla="*/ 168 h 482"/>
                <a:gd name="T70" fmla="*/ 618 w 657"/>
                <a:gd name="T71" fmla="*/ 137 h 482"/>
                <a:gd name="T72" fmla="*/ 618 w 657"/>
                <a:gd name="T73" fmla="*/ 137 h 482"/>
                <a:gd name="T74" fmla="*/ 550 w 657"/>
                <a:gd name="T75" fmla="*/ 91 h 482"/>
                <a:gd name="T76" fmla="*/ 473 w 657"/>
                <a:gd name="T77" fmla="*/ 23 h 482"/>
                <a:gd name="T78" fmla="*/ 244 w 657"/>
                <a:gd name="T79" fmla="*/ 0 h 482"/>
                <a:gd name="T80" fmla="*/ 244 w 657"/>
                <a:gd name="T81" fmla="*/ 0 h 482"/>
                <a:gd name="T82" fmla="*/ 244 w 657"/>
                <a:gd name="T83" fmla="*/ 8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7" h="482">
                  <a:moveTo>
                    <a:pt x="244" y="8"/>
                  </a:moveTo>
                  <a:lnTo>
                    <a:pt x="244" y="8"/>
                  </a:lnTo>
                  <a:cubicBezTo>
                    <a:pt x="297" y="15"/>
                    <a:pt x="351" y="30"/>
                    <a:pt x="374" y="46"/>
                  </a:cubicBezTo>
                  <a:cubicBezTo>
                    <a:pt x="336" y="46"/>
                    <a:pt x="290" y="46"/>
                    <a:pt x="244" y="46"/>
                  </a:cubicBezTo>
                  <a:lnTo>
                    <a:pt x="244" y="46"/>
                  </a:lnTo>
                  <a:cubicBezTo>
                    <a:pt x="244" y="53"/>
                    <a:pt x="244" y="53"/>
                    <a:pt x="252" y="61"/>
                  </a:cubicBezTo>
                  <a:cubicBezTo>
                    <a:pt x="252" y="76"/>
                    <a:pt x="275" y="69"/>
                    <a:pt x="275" y="84"/>
                  </a:cubicBezTo>
                  <a:cubicBezTo>
                    <a:pt x="282" y="99"/>
                    <a:pt x="275" y="122"/>
                    <a:pt x="275" y="145"/>
                  </a:cubicBezTo>
                  <a:cubicBezTo>
                    <a:pt x="275" y="160"/>
                    <a:pt x="297" y="175"/>
                    <a:pt x="290" y="191"/>
                  </a:cubicBezTo>
                  <a:cubicBezTo>
                    <a:pt x="282" y="206"/>
                    <a:pt x="259" y="206"/>
                    <a:pt x="252" y="221"/>
                  </a:cubicBezTo>
                  <a:cubicBezTo>
                    <a:pt x="236" y="229"/>
                    <a:pt x="252" y="260"/>
                    <a:pt x="229" y="267"/>
                  </a:cubicBezTo>
                  <a:cubicBezTo>
                    <a:pt x="206" y="275"/>
                    <a:pt x="175" y="267"/>
                    <a:pt x="145" y="252"/>
                  </a:cubicBezTo>
                  <a:cubicBezTo>
                    <a:pt x="129" y="252"/>
                    <a:pt x="122" y="229"/>
                    <a:pt x="106" y="229"/>
                  </a:cubicBezTo>
                  <a:cubicBezTo>
                    <a:pt x="91" y="221"/>
                    <a:pt x="68" y="229"/>
                    <a:pt x="53" y="229"/>
                  </a:cubicBezTo>
                  <a:lnTo>
                    <a:pt x="53" y="229"/>
                  </a:lnTo>
                  <a:cubicBezTo>
                    <a:pt x="38" y="237"/>
                    <a:pt x="0" y="244"/>
                    <a:pt x="7" y="260"/>
                  </a:cubicBezTo>
                  <a:cubicBezTo>
                    <a:pt x="22" y="290"/>
                    <a:pt x="68" y="298"/>
                    <a:pt x="91" y="321"/>
                  </a:cubicBezTo>
                  <a:cubicBezTo>
                    <a:pt x="106" y="328"/>
                    <a:pt x="91" y="344"/>
                    <a:pt x="99" y="351"/>
                  </a:cubicBezTo>
                  <a:cubicBezTo>
                    <a:pt x="114" y="366"/>
                    <a:pt x="129" y="359"/>
                    <a:pt x="145" y="366"/>
                  </a:cubicBezTo>
                  <a:cubicBezTo>
                    <a:pt x="160" y="374"/>
                    <a:pt x="168" y="389"/>
                    <a:pt x="175" y="405"/>
                  </a:cubicBezTo>
                  <a:cubicBezTo>
                    <a:pt x="191" y="427"/>
                    <a:pt x="175" y="458"/>
                    <a:pt x="191" y="466"/>
                  </a:cubicBezTo>
                  <a:cubicBezTo>
                    <a:pt x="206" y="473"/>
                    <a:pt x="206" y="443"/>
                    <a:pt x="221" y="443"/>
                  </a:cubicBezTo>
                  <a:cubicBezTo>
                    <a:pt x="236" y="443"/>
                    <a:pt x="244" y="481"/>
                    <a:pt x="267" y="481"/>
                  </a:cubicBezTo>
                  <a:cubicBezTo>
                    <a:pt x="290" y="473"/>
                    <a:pt x="305" y="435"/>
                    <a:pt x="336" y="435"/>
                  </a:cubicBezTo>
                  <a:cubicBezTo>
                    <a:pt x="343" y="435"/>
                    <a:pt x="351" y="450"/>
                    <a:pt x="358" y="466"/>
                  </a:cubicBezTo>
                  <a:lnTo>
                    <a:pt x="358" y="466"/>
                  </a:lnTo>
                  <a:cubicBezTo>
                    <a:pt x="374" y="450"/>
                    <a:pt x="389" y="443"/>
                    <a:pt x="404" y="435"/>
                  </a:cubicBezTo>
                  <a:cubicBezTo>
                    <a:pt x="427" y="412"/>
                    <a:pt x="435" y="389"/>
                    <a:pt x="458" y="374"/>
                  </a:cubicBezTo>
                  <a:cubicBezTo>
                    <a:pt x="488" y="366"/>
                    <a:pt x="519" y="382"/>
                    <a:pt x="550" y="374"/>
                  </a:cubicBezTo>
                  <a:cubicBezTo>
                    <a:pt x="580" y="366"/>
                    <a:pt x="603" y="336"/>
                    <a:pt x="633" y="321"/>
                  </a:cubicBezTo>
                  <a:lnTo>
                    <a:pt x="633" y="321"/>
                  </a:lnTo>
                  <a:cubicBezTo>
                    <a:pt x="633" y="298"/>
                    <a:pt x="641" y="275"/>
                    <a:pt x="641" y="252"/>
                  </a:cubicBezTo>
                  <a:cubicBezTo>
                    <a:pt x="641" y="244"/>
                    <a:pt x="633" y="237"/>
                    <a:pt x="633" y="229"/>
                  </a:cubicBezTo>
                  <a:cubicBezTo>
                    <a:pt x="633" y="221"/>
                    <a:pt x="649" y="221"/>
                    <a:pt x="656" y="214"/>
                  </a:cubicBezTo>
                  <a:cubicBezTo>
                    <a:pt x="656" y="198"/>
                    <a:pt x="656" y="183"/>
                    <a:pt x="649" y="168"/>
                  </a:cubicBezTo>
                  <a:cubicBezTo>
                    <a:pt x="641" y="152"/>
                    <a:pt x="626" y="145"/>
                    <a:pt x="618" y="137"/>
                  </a:cubicBezTo>
                  <a:lnTo>
                    <a:pt x="618" y="137"/>
                  </a:lnTo>
                  <a:cubicBezTo>
                    <a:pt x="595" y="122"/>
                    <a:pt x="572" y="107"/>
                    <a:pt x="550" y="91"/>
                  </a:cubicBezTo>
                  <a:cubicBezTo>
                    <a:pt x="519" y="69"/>
                    <a:pt x="504" y="38"/>
                    <a:pt x="473" y="23"/>
                  </a:cubicBezTo>
                  <a:cubicBezTo>
                    <a:pt x="397" y="0"/>
                    <a:pt x="320" y="8"/>
                    <a:pt x="244" y="0"/>
                  </a:cubicBezTo>
                  <a:lnTo>
                    <a:pt x="244" y="0"/>
                  </a:lnTo>
                  <a:cubicBezTo>
                    <a:pt x="244" y="0"/>
                    <a:pt x="244" y="0"/>
                    <a:pt x="244" y="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19" name="Freeform 141"/>
            <p:cNvSpPr>
              <a:spLocks noChangeArrowheads="1"/>
            </p:cNvSpPr>
            <p:nvPr/>
          </p:nvSpPr>
          <p:spPr bwMode="auto">
            <a:xfrm>
              <a:off x="5284444" y="3732213"/>
              <a:ext cx="939739" cy="822325"/>
            </a:xfrm>
            <a:custGeom>
              <a:avLst/>
              <a:gdLst>
                <a:gd name="T0" fmla="*/ 175 w 2612"/>
                <a:gd name="T1" fmla="*/ 810 h 2285"/>
                <a:gd name="T2" fmla="*/ 22 w 2612"/>
                <a:gd name="T3" fmla="*/ 749 h 2285"/>
                <a:gd name="T4" fmla="*/ 236 w 2612"/>
                <a:gd name="T5" fmla="*/ 672 h 2285"/>
                <a:gd name="T6" fmla="*/ 244 w 2612"/>
                <a:gd name="T7" fmla="*/ 512 h 2285"/>
                <a:gd name="T8" fmla="*/ 404 w 2612"/>
                <a:gd name="T9" fmla="*/ 436 h 2285"/>
                <a:gd name="T10" fmla="*/ 641 w 2612"/>
                <a:gd name="T11" fmla="*/ 344 h 2285"/>
                <a:gd name="T12" fmla="*/ 802 w 2612"/>
                <a:gd name="T13" fmla="*/ 252 h 2285"/>
                <a:gd name="T14" fmla="*/ 847 w 2612"/>
                <a:gd name="T15" fmla="*/ 153 h 2285"/>
                <a:gd name="T16" fmla="*/ 1107 w 2612"/>
                <a:gd name="T17" fmla="*/ 138 h 2285"/>
                <a:gd name="T18" fmla="*/ 1199 w 2612"/>
                <a:gd name="T19" fmla="*/ 153 h 2285"/>
                <a:gd name="T20" fmla="*/ 1252 w 2612"/>
                <a:gd name="T21" fmla="*/ 0 h 2285"/>
                <a:gd name="T22" fmla="*/ 1390 w 2612"/>
                <a:gd name="T23" fmla="*/ 69 h 2285"/>
                <a:gd name="T24" fmla="*/ 1466 w 2612"/>
                <a:gd name="T25" fmla="*/ 46 h 2285"/>
                <a:gd name="T26" fmla="*/ 1604 w 2612"/>
                <a:gd name="T27" fmla="*/ 92 h 2285"/>
                <a:gd name="T28" fmla="*/ 1726 w 2612"/>
                <a:gd name="T29" fmla="*/ 61 h 2285"/>
                <a:gd name="T30" fmla="*/ 1840 w 2612"/>
                <a:gd name="T31" fmla="*/ 161 h 2285"/>
                <a:gd name="T32" fmla="*/ 1986 w 2612"/>
                <a:gd name="T33" fmla="*/ 206 h 2285"/>
                <a:gd name="T34" fmla="*/ 2123 w 2612"/>
                <a:gd name="T35" fmla="*/ 214 h 2285"/>
                <a:gd name="T36" fmla="*/ 2169 w 2612"/>
                <a:gd name="T37" fmla="*/ 405 h 2285"/>
                <a:gd name="T38" fmla="*/ 2192 w 2612"/>
                <a:gd name="T39" fmla="*/ 649 h 2285"/>
                <a:gd name="T40" fmla="*/ 2481 w 2612"/>
                <a:gd name="T41" fmla="*/ 840 h 2285"/>
                <a:gd name="T42" fmla="*/ 2466 w 2612"/>
                <a:gd name="T43" fmla="*/ 978 h 2285"/>
                <a:gd name="T44" fmla="*/ 2435 w 2612"/>
                <a:gd name="T45" fmla="*/ 1070 h 2285"/>
                <a:gd name="T46" fmla="*/ 2404 w 2612"/>
                <a:gd name="T47" fmla="*/ 1192 h 2285"/>
                <a:gd name="T48" fmla="*/ 2557 w 2612"/>
                <a:gd name="T49" fmla="*/ 1291 h 2285"/>
                <a:gd name="T50" fmla="*/ 2496 w 2612"/>
                <a:gd name="T51" fmla="*/ 1474 h 2285"/>
                <a:gd name="T52" fmla="*/ 2314 w 2612"/>
                <a:gd name="T53" fmla="*/ 1704 h 2285"/>
                <a:gd name="T54" fmla="*/ 2215 w 2612"/>
                <a:gd name="T55" fmla="*/ 1864 h 2285"/>
                <a:gd name="T56" fmla="*/ 2161 w 2612"/>
                <a:gd name="T57" fmla="*/ 1940 h 2285"/>
                <a:gd name="T58" fmla="*/ 2299 w 2612"/>
                <a:gd name="T59" fmla="*/ 2032 h 2285"/>
                <a:gd name="T60" fmla="*/ 2261 w 2612"/>
                <a:gd name="T61" fmla="*/ 2177 h 2285"/>
                <a:gd name="T62" fmla="*/ 2138 w 2612"/>
                <a:gd name="T63" fmla="*/ 2200 h 2285"/>
                <a:gd name="T64" fmla="*/ 2008 w 2612"/>
                <a:gd name="T65" fmla="*/ 2246 h 2285"/>
                <a:gd name="T66" fmla="*/ 1817 w 2612"/>
                <a:gd name="T67" fmla="*/ 2215 h 2285"/>
                <a:gd name="T68" fmla="*/ 1718 w 2612"/>
                <a:gd name="T69" fmla="*/ 2284 h 2285"/>
                <a:gd name="T70" fmla="*/ 1810 w 2612"/>
                <a:gd name="T71" fmla="*/ 2108 h 2285"/>
                <a:gd name="T72" fmla="*/ 1688 w 2612"/>
                <a:gd name="T73" fmla="*/ 2101 h 2285"/>
                <a:gd name="T74" fmla="*/ 1535 w 2612"/>
                <a:gd name="T75" fmla="*/ 2070 h 2285"/>
                <a:gd name="T76" fmla="*/ 1405 w 2612"/>
                <a:gd name="T77" fmla="*/ 2108 h 2285"/>
                <a:gd name="T78" fmla="*/ 1313 w 2612"/>
                <a:gd name="T79" fmla="*/ 2009 h 2285"/>
                <a:gd name="T80" fmla="*/ 1077 w 2612"/>
                <a:gd name="T81" fmla="*/ 1887 h 2285"/>
                <a:gd name="T82" fmla="*/ 840 w 2612"/>
                <a:gd name="T83" fmla="*/ 1787 h 2285"/>
                <a:gd name="T84" fmla="*/ 771 w 2612"/>
                <a:gd name="T85" fmla="*/ 1658 h 2285"/>
                <a:gd name="T86" fmla="*/ 840 w 2612"/>
                <a:gd name="T87" fmla="*/ 1368 h 2285"/>
                <a:gd name="T88" fmla="*/ 985 w 2612"/>
                <a:gd name="T89" fmla="*/ 1352 h 2285"/>
                <a:gd name="T90" fmla="*/ 679 w 2612"/>
                <a:gd name="T91" fmla="*/ 1322 h 2285"/>
                <a:gd name="T92" fmla="*/ 580 w 2612"/>
                <a:gd name="T93" fmla="*/ 1123 h 2285"/>
                <a:gd name="T94" fmla="*/ 366 w 2612"/>
                <a:gd name="T95" fmla="*/ 1176 h 2285"/>
                <a:gd name="T96" fmla="*/ 229 w 2612"/>
                <a:gd name="T97" fmla="*/ 1237 h 2285"/>
                <a:gd name="T98" fmla="*/ 137 w 2612"/>
                <a:gd name="T99" fmla="*/ 1306 h 2285"/>
                <a:gd name="T100" fmla="*/ 122 w 2612"/>
                <a:gd name="T101" fmla="*/ 1154 h 2285"/>
                <a:gd name="T102" fmla="*/ 213 w 2612"/>
                <a:gd name="T103" fmla="*/ 1039 h 2285"/>
                <a:gd name="T104" fmla="*/ 175 w 2612"/>
                <a:gd name="T105" fmla="*/ 917 h 2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612" h="2285">
                  <a:moveTo>
                    <a:pt x="175" y="917"/>
                  </a:moveTo>
                  <a:lnTo>
                    <a:pt x="175" y="917"/>
                  </a:lnTo>
                  <a:cubicBezTo>
                    <a:pt x="175" y="886"/>
                    <a:pt x="198" y="840"/>
                    <a:pt x="175" y="810"/>
                  </a:cubicBezTo>
                  <a:cubicBezTo>
                    <a:pt x="160" y="795"/>
                    <a:pt x="129" y="840"/>
                    <a:pt x="106" y="848"/>
                  </a:cubicBezTo>
                  <a:cubicBezTo>
                    <a:pt x="83" y="848"/>
                    <a:pt x="45" y="856"/>
                    <a:pt x="22" y="833"/>
                  </a:cubicBezTo>
                  <a:cubicBezTo>
                    <a:pt x="7" y="810"/>
                    <a:pt x="0" y="764"/>
                    <a:pt x="22" y="749"/>
                  </a:cubicBezTo>
                  <a:cubicBezTo>
                    <a:pt x="53" y="726"/>
                    <a:pt x="99" y="749"/>
                    <a:pt x="137" y="741"/>
                  </a:cubicBezTo>
                  <a:cubicBezTo>
                    <a:pt x="175" y="733"/>
                    <a:pt x="206" y="726"/>
                    <a:pt x="236" y="710"/>
                  </a:cubicBezTo>
                  <a:cubicBezTo>
                    <a:pt x="244" y="703"/>
                    <a:pt x="236" y="688"/>
                    <a:pt x="236" y="672"/>
                  </a:cubicBezTo>
                  <a:cubicBezTo>
                    <a:pt x="229" y="665"/>
                    <a:pt x="206" y="665"/>
                    <a:pt x="213" y="657"/>
                  </a:cubicBezTo>
                  <a:cubicBezTo>
                    <a:pt x="213" y="626"/>
                    <a:pt x="236" y="611"/>
                    <a:pt x="244" y="581"/>
                  </a:cubicBezTo>
                  <a:cubicBezTo>
                    <a:pt x="252" y="558"/>
                    <a:pt x="236" y="535"/>
                    <a:pt x="244" y="512"/>
                  </a:cubicBezTo>
                  <a:cubicBezTo>
                    <a:pt x="259" y="489"/>
                    <a:pt x="290" y="497"/>
                    <a:pt x="305" y="481"/>
                  </a:cubicBezTo>
                  <a:cubicBezTo>
                    <a:pt x="328" y="458"/>
                    <a:pt x="320" y="405"/>
                    <a:pt x="351" y="390"/>
                  </a:cubicBezTo>
                  <a:cubicBezTo>
                    <a:pt x="374" y="382"/>
                    <a:pt x="389" y="420"/>
                    <a:pt x="404" y="436"/>
                  </a:cubicBezTo>
                  <a:cubicBezTo>
                    <a:pt x="427" y="451"/>
                    <a:pt x="443" y="497"/>
                    <a:pt x="465" y="481"/>
                  </a:cubicBezTo>
                  <a:cubicBezTo>
                    <a:pt x="527" y="443"/>
                    <a:pt x="534" y="359"/>
                    <a:pt x="588" y="321"/>
                  </a:cubicBezTo>
                  <a:cubicBezTo>
                    <a:pt x="603" y="306"/>
                    <a:pt x="626" y="351"/>
                    <a:pt x="641" y="344"/>
                  </a:cubicBezTo>
                  <a:cubicBezTo>
                    <a:pt x="664" y="329"/>
                    <a:pt x="664" y="290"/>
                    <a:pt x="687" y="268"/>
                  </a:cubicBezTo>
                  <a:cubicBezTo>
                    <a:pt x="702" y="252"/>
                    <a:pt x="733" y="252"/>
                    <a:pt x="748" y="252"/>
                  </a:cubicBezTo>
                  <a:cubicBezTo>
                    <a:pt x="771" y="252"/>
                    <a:pt x="786" y="260"/>
                    <a:pt x="802" y="252"/>
                  </a:cubicBezTo>
                  <a:cubicBezTo>
                    <a:pt x="817" y="245"/>
                    <a:pt x="825" y="229"/>
                    <a:pt x="840" y="214"/>
                  </a:cubicBezTo>
                  <a:cubicBezTo>
                    <a:pt x="847" y="206"/>
                    <a:pt x="863" y="206"/>
                    <a:pt x="870" y="191"/>
                  </a:cubicBezTo>
                  <a:cubicBezTo>
                    <a:pt x="870" y="176"/>
                    <a:pt x="847" y="168"/>
                    <a:pt x="847" y="153"/>
                  </a:cubicBezTo>
                  <a:cubicBezTo>
                    <a:pt x="855" y="138"/>
                    <a:pt x="863" y="115"/>
                    <a:pt x="878" y="115"/>
                  </a:cubicBezTo>
                  <a:cubicBezTo>
                    <a:pt x="931" y="115"/>
                    <a:pt x="969" y="153"/>
                    <a:pt x="1015" y="153"/>
                  </a:cubicBezTo>
                  <a:cubicBezTo>
                    <a:pt x="1046" y="161"/>
                    <a:pt x="1077" y="138"/>
                    <a:pt x="1107" y="138"/>
                  </a:cubicBezTo>
                  <a:cubicBezTo>
                    <a:pt x="1122" y="138"/>
                    <a:pt x="1122" y="168"/>
                    <a:pt x="1130" y="168"/>
                  </a:cubicBezTo>
                  <a:cubicBezTo>
                    <a:pt x="1145" y="168"/>
                    <a:pt x="1153" y="145"/>
                    <a:pt x="1168" y="138"/>
                  </a:cubicBezTo>
                  <a:cubicBezTo>
                    <a:pt x="1176" y="138"/>
                    <a:pt x="1183" y="161"/>
                    <a:pt x="1199" y="153"/>
                  </a:cubicBezTo>
                  <a:cubicBezTo>
                    <a:pt x="1214" y="145"/>
                    <a:pt x="1214" y="122"/>
                    <a:pt x="1222" y="99"/>
                  </a:cubicBezTo>
                  <a:cubicBezTo>
                    <a:pt x="1222" y="76"/>
                    <a:pt x="1206" y="54"/>
                    <a:pt x="1214" y="31"/>
                  </a:cubicBezTo>
                  <a:cubicBezTo>
                    <a:pt x="1222" y="15"/>
                    <a:pt x="1237" y="0"/>
                    <a:pt x="1252" y="0"/>
                  </a:cubicBezTo>
                  <a:cubicBezTo>
                    <a:pt x="1275" y="8"/>
                    <a:pt x="1290" y="31"/>
                    <a:pt x="1306" y="46"/>
                  </a:cubicBezTo>
                  <a:cubicBezTo>
                    <a:pt x="1321" y="54"/>
                    <a:pt x="1329" y="69"/>
                    <a:pt x="1344" y="76"/>
                  </a:cubicBezTo>
                  <a:cubicBezTo>
                    <a:pt x="1359" y="76"/>
                    <a:pt x="1374" y="76"/>
                    <a:pt x="1390" y="69"/>
                  </a:cubicBezTo>
                  <a:cubicBezTo>
                    <a:pt x="1405" y="61"/>
                    <a:pt x="1405" y="31"/>
                    <a:pt x="1420" y="31"/>
                  </a:cubicBezTo>
                  <a:cubicBezTo>
                    <a:pt x="1436" y="23"/>
                    <a:pt x="1451" y="38"/>
                    <a:pt x="1466" y="46"/>
                  </a:cubicBezTo>
                  <a:lnTo>
                    <a:pt x="1466" y="46"/>
                  </a:lnTo>
                  <a:cubicBezTo>
                    <a:pt x="1481" y="54"/>
                    <a:pt x="1489" y="76"/>
                    <a:pt x="1504" y="76"/>
                  </a:cubicBezTo>
                  <a:cubicBezTo>
                    <a:pt x="1527" y="76"/>
                    <a:pt x="1542" y="38"/>
                    <a:pt x="1573" y="38"/>
                  </a:cubicBezTo>
                  <a:cubicBezTo>
                    <a:pt x="1588" y="46"/>
                    <a:pt x="1588" y="76"/>
                    <a:pt x="1604" y="92"/>
                  </a:cubicBezTo>
                  <a:cubicBezTo>
                    <a:pt x="1619" y="99"/>
                    <a:pt x="1642" y="99"/>
                    <a:pt x="1657" y="92"/>
                  </a:cubicBezTo>
                  <a:cubicBezTo>
                    <a:pt x="1672" y="84"/>
                    <a:pt x="1665" y="54"/>
                    <a:pt x="1680" y="46"/>
                  </a:cubicBezTo>
                  <a:cubicBezTo>
                    <a:pt x="1695" y="38"/>
                    <a:pt x="1711" y="61"/>
                    <a:pt x="1726" y="61"/>
                  </a:cubicBezTo>
                  <a:cubicBezTo>
                    <a:pt x="1756" y="61"/>
                    <a:pt x="1787" y="38"/>
                    <a:pt x="1810" y="54"/>
                  </a:cubicBezTo>
                  <a:cubicBezTo>
                    <a:pt x="1840" y="69"/>
                    <a:pt x="1840" y="107"/>
                    <a:pt x="1840" y="138"/>
                  </a:cubicBezTo>
                  <a:cubicBezTo>
                    <a:pt x="1848" y="145"/>
                    <a:pt x="1840" y="153"/>
                    <a:pt x="1840" y="161"/>
                  </a:cubicBezTo>
                  <a:cubicBezTo>
                    <a:pt x="1840" y="168"/>
                    <a:pt x="1833" y="176"/>
                    <a:pt x="1840" y="176"/>
                  </a:cubicBezTo>
                  <a:cubicBezTo>
                    <a:pt x="1856" y="176"/>
                    <a:pt x="1871" y="161"/>
                    <a:pt x="1886" y="168"/>
                  </a:cubicBezTo>
                  <a:cubicBezTo>
                    <a:pt x="1917" y="168"/>
                    <a:pt x="1947" y="206"/>
                    <a:pt x="1986" y="206"/>
                  </a:cubicBezTo>
                  <a:cubicBezTo>
                    <a:pt x="2001" y="206"/>
                    <a:pt x="2008" y="176"/>
                    <a:pt x="2031" y="176"/>
                  </a:cubicBezTo>
                  <a:cubicBezTo>
                    <a:pt x="2062" y="176"/>
                    <a:pt x="2092" y="199"/>
                    <a:pt x="2123" y="214"/>
                  </a:cubicBezTo>
                  <a:lnTo>
                    <a:pt x="2123" y="214"/>
                  </a:lnTo>
                  <a:cubicBezTo>
                    <a:pt x="2123" y="245"/>
                    <a:pt x="2108" y="275"/>
                    <a:pt x="2115" y="306"/>
                  </a:cubicBezTo>
                  <a:cubicBezTo>
                    <a:pt x="2115" y="329"/>
                    <a:pt x="2146" y="329"/>
                    <a:pt x="2153" y="344"/>
                  </a:cubicBezTo>
                  <a:cubicBezTo>
                    <a:pt x="2169" y="359"/>
                    <a:pt x="2169" y="382"/>
                    <a:pt x="2169" y="405"/>
                  </a:cubicBezTo>
                  <a:cubicBezTo>
                    <a:pt x="2153" y="443"/>
                    <a:pt x="2123" y="474"/>
                    <a:pt x="2115" y="512"/>
                  </a:cubicBezTo>
                  <a:cubicBezTo>
                    <a:pt x="2115" y="535"/>
                    <a:pt x="2146" y="543"/>
                    <a:pt x="2153" y="558"/>
                  </a:cubicBezTo>
                  <a:cubicBezTo>
                    <a:pt x="2169" y="588"/>
                    <a:pt x="2169" y="626"/>
                    <a:pt x="2192" y="649"/>
                  </a:cubicBezTo>
                  <a:cubicBezTo>
                    <a:pt x="2199" y="665"/>
                    <a:pt x="2215" y="672"/>
                    <a:pt x="2230" y="680"/>
                  </a:cubicBezTo>
                  <a:cubicBezTo>
                    <a:pt x="2230" y="680"/>
                    <a:pt x="2222" y="756"/>
                    <a:pt x="2283" y="779"/>
                  </a:cubicBezTo>
                  <a:cubicBezTo>
                    <a:pt x="2352" y="802"/>
                    <a:pt x="2427" y="802"/>
                    <a:pt x="2481" y="840"/>
                  </a:cubicBezTo>
                  <a:cubicBezTo>
                    <a:pt x="2496" y="848"/>
                    <a:pt x="2466" y="871"/>
                    <a:pt x="2466" y="894"/>
                  </a:cubicBezTo>
                  <a:cubicBezTo>
                    <a:pt x="2458" y="901"/>
                    <a:pt x="2458" y="917"/>
                    <a:pt x="2458" y="932"/>
                  </a:cubicBezTo>
                  <a:cubicBezTo>
                    <a:pt x="2458" y="947"/>
                    <a:pt x="2450" y="978"/>
                    <a:pt x="2466" y="978"/>
                  </a:cubicBezTo>
                  <a:cubicBezTo>
                    <a:pt x="2496" y="985"/>
                    <a:pt x="2534" y="947"/>
                    <a:pt x="2565" y="947"/>
                  </a:cubicBezTo>
                  <a:cubicBezTo>
                    <a:pt x="2580" y="955"/>
                    <a:pt x="2565" y="978"/>
                    <a:pt x="2557" y="985"/>
                  </a:cubicBezTo>
                  <a:cubicBezTo>
                    <a:pt x="2519" y="1016"/>
                    <a:pt x="2458" y="1024"/>
                    <a:pt x="2435" y="1070"/>
                  </a:cubicBezTo>
                  <a:cubicBezTo>
                    <a:pt x="2420" y="1093"/>
                    <a:pt x="2450" y="1123"/>
                    <a:pt x="2458" y="1146"/>
                  </a:cubicBezTo>
                  <a:cubicBezTo>
                    <a:pt x="2458" y="1161"/>
                    <a:pt x="2458" y="1176"/>
                    <a:pt x="2450" y="1176"/>
                  </a:cubicBezTo>
                  <a:cubicBezTo>
                    <a:pt x="2435" y="1192"/>
                    <a:pt x="2404" y="1176"/>
                    <a:pt x="2404" y="1192"/>
                  </a:cubicBezTo>
                  <a:cubicBezTo>
                    <a:pt x="2390" y="1215"/>
                    <a:pt x="2398" y="1245"/>
                    <a:pt x="2420" y="1253"/>
                  </a:cubicBezTo>
                  <a:cubicBezTo>
                    <a:pt x="2458" y="1283"/>
                    <a:pt x="2512" y="1276"/>
                    <a:pt x="2557" y="1291"/>
                  </a:cubicBezTo>
                  <a:lnTo>
                    <a:pt x="2557" y="1291"/>
                  </a:lnTo>
                  <a:cubicBezTo>
                    <a:pt x="2611" y="1375"/>
                    <a:pt x="2611" y="1375"/>
                    <a:pt x="2611" y="1375"/>
                  </a:cubicBezTo>
                  <a:lnTo>
                    <a:pt x="2611" y="1375"/>
                  </a:lnTo>
                  <a:cubicBezTo>
                    <a:pt x="2573" y="1383"/>
                    <a:pt x="2542" y="1413"/>
                    <a:pt x="2496" y="1474"/>
                  </a:cubicBezTo>
                  <a:cubicBezTo>
                    <a:pt x="2481" y="1505"/>
                    <a:pt x="2360" y="1604"/>
                    <a:pt x="2352" y="1620"/>
                  </a:cubicBezTo>
                  <a:lnTo>
                    <a:pt x="2352" y="1620"/>
                  </a:lnTo>
                  <a:cubicBezTo>
                    <a:pt x="2306" y="1642"/>
                    <a:pt x="2322" y="1681"/>
                    <a:pt x="2314" y="1704"/>
                  </a:cubicBezTo>
                  <a:cubicBezTo>
                    <a:pt x="2306" y="1719"/>
                    <a:pt x="2283" y="1726"/>
                    <a:pt x="2276" y="1749"/>
                  </a:cubicBezTo>
                  <a:cubicBezTo>
                    <a:pt x="2261" y="1780"/>
                    <a:pt x="2268" y="1818"/>
                    <a:pt x="2253" y="1841"/>
                  </a:cubicBezTo>
                  <a:cubicBezTo>
                    <a:pt x="2245" y="1856"/>
                    <a:pt x="2230" y="1856"/>
                    <a:pt x="2215" y="1864"/>
                  </a:cubicBezTo>
                  <a:cubicBezTo>
                    <a:pt x="2199" y="1864"/>
                    <a:pt x="2176" y="1841"/>
                    <a:pt x="2161" y="1849"/>
                  </a:cubicBezTo>
                  <a:cubicBezTo>
                    <a:pt x="2146" y="1864"/>
                    <a:pt x="2123" y="1887"/>
                    <a:pt x="2123" y="1910"/>
                  </a:cubicBezTo>
                  <a:cubicBezTo>
                    <a:pt x="2123" y="1925"/>
                    <a:pt x="2153" y="1925"/>
                    <a:pt x="2161" y="1940"/>
                  </a:cubicBezTo>
                  <a:cubicBezTo>
                    <a:pt x="2161" y="1956"/>
                    <a:pt x="2146" y="1979"/>
                    <a:pt x="2161" y="1986"/>
                  </a:cubicBezTo>
                  <a:cubicBezTo>
                    <a:pt x="2192" y="2001"/>
                    <a:pt x="2230" y="1979"/>
                    <a:pt x="2261" y="1994"/>
                  </a:cubicBezTo>
                  <a:cubicBezTo>
                    <a:pt x="2276" y="2001"/>
                    <a:pt x="2291" y="2017"/>
                    <a:pt x="2299" y="2032"/>
                  </a:cubicBezTo>
                  <a:cubicBezTo>
                    <a:pt x="2306" y="2055"/>
                    <a:pt x="2322" y="2085"/>
                    <a:pt x="2306" y="2108"/>
                  </a:cubicBezTo>
                  <a:cubicBezTo>
                    <a:pt x="2299" y="2131"/>
                    <a:pt x="2253" y="2116"/>
                    <a:pt x="2245" y="2139"/>
                  </a:cubicBezTo>
                  <a:cubicBezTo>
                    <a:pt x="2238" y="2147"/>
                    <a:pt x="2261" y="2162"/>
                    <a:pt x="2261" y="2177"/>
                  </a:cubicBezTo>
                  <a:cubicBezTo>
                    <a:pt x="2261" y="2185"/>
                    <a:pt x="2245" y="2185"/>
                    <a:pt x="2238" y="2185"/>
                  </a:cubicBezTo>
                  <a:cubicBezTo>
                    <a:pt x="2222" y="2185"/>
                    <a:pt x="2199" y="2169"/>
                    <a:pt x="2184" y="2169"/>
                  </a:cubicBezTo>
                  <a:cubicBezTo>
                    <a:pt x="2169" y="2177"/>
                    <a:pt x="2146" y="2185"/>
                    <a:pt x="2138" y="2200"/>
                  </a:cubicBezTo>
                  <a:cubicBezTo>
                    <a:pt x="2130" y="2208"/>
                    <a:pt x="2146" y="2238"/>
                    <a:pt x="2130" y="2246"/>
                  </a:cubicBezTo>
                  <a:cubicBezTo>
                    <a:pt x="2115" y="2261"/>
                    <a:pt x="2085" y="2269"/>
                    <a:pt x="2062" y="2269"/>
                  </a:cubicBezTo>
                  <a:cubicBezTo>
                    <a:pt x="2047" y="2269"/>
                    <a:pt x="2031" y="2246"/>
                    <a:pt x="2008" y="2246"/>
                  </a:cubicBezTo>
                  <a:cubicBezTo>
                    <a:pt x="1963" y="2238"/>
                    <a:pt x="1917" y="2254"/>
                    <a:pt x="1871" y="2246"/>
                  </a:cubicBezTo>
                  <a:cubicBezTo>
                    <a:pt x="1863" y="2238"/>
                    <a:pt x="1863" y="2215"/>
                    <a:pt x="1856" y="2208"/>
                  </a:cubicBezTo>
                  <a:cubicBezTo>
                    <a:pt x="1840" y="2208"/>
                    <a:pt x="1825" y="2208"/>
                    <a:pt x="1817" y="2215"/>
                  </a:cubicBezTo>
                  <a:cubicBezTo>
                    <a:pt x="1802" y="2231"/>
                    <a:pt x="1817" y="2254"/>
                    <a:pt x="1802" y="2269"/>
                  </a:cubicBezTo>
                  <a:cubicBezTo>
                    <a:pt x="1779" y="2284"/>
                    <a:pt x="1749" y="2276"/>
                    <a:pt x="1718" y="2284"/>
                  </a:cubicBezTo>
                  <a:lnTo>
                    <a:pt x="1718" y="2284"/>
                  </a:lnTo>
                  <a:cubicBezTo>
                    <a:pt x="1718" y="2261"/>
                    <a:pt x="1695" y="2231"/>
                    <a:pt x="1711" y="2208"/>
                  </a:cubicBezTo>
                  <a:cubicBezTo>
                    <a:pt x="1718" y="2185"/>
                    <a:pt x="1764" y="2192"/>
                    <a:pt x="1779" y="2169"/>
                  </a:cubicBezTo>
                  <a:cubicBezTo>
                    <a:pt x="1794" y="2154"/>
                    <a:pt x="1817" y="2131"/>
                    <a:pt x="1810" y="2108"/>
                  </a:cubicBezTo>
                  <a:cubicBezTo>
                    <a:pt x="1810" y="2085"/>
                    <a:pt x="1779" y="2085"/>
                    <a:pt x="1756" y="2085"/>
                  </a:cubicBezTo>
                  <a:cubicBezTo>
                    <a:pt x="1741" y="2085"/>
                    <a:pt x="1741" y="2108"/>
                    <a:pt x="1726" y="2108"/>
                  </a:cubicBezTo>
                  <a:cubicBezTo>
                    <a:pt x="1711" y="2108"/>
                    <a:pt x="1695" y="2101"/>
                    <a:pt x="1688" y="2101"/>
                  </a:cubicBezTo>
                  <a:cubicBezTo>
                    <a:pt x="1672" y="2108"/>
                    <a:pt x="1672" y="2131"/>
                    <a:pt x="1657" y="2131"/>
                  </a:cubicBezTo>
                  <a:cubicBezTo>
                    <a:pt x="1626" y="2131"/>
                    <a:pt x="1596" y="2131"/>
                    <a:pt x="1565" y="2116"/>
                  </a:cubicBezTo>
                  <a:cubicBezTo>
                    <a:pt x="1550" y="2108"/>
                    <a:pt x="1550" y="2085"/>
                    <a:pt x="1535" y="2070"/>
                  </a:cubicBezTo>
                  <a:cubicBezTo>
                    <a:pt x="1527" y="2062"/>
                    <a:pt x="1519" y="2055"/>
                    <a:pt x="1512" y="2062"/>
                  </a:cubicBezTo>
                  <a:cubicBezTo>
                    <a:pt x="1474" y="2070"/>
                    <a:pt x="1443" y="2093"/>
                    <a:pt x="1405" y="2108"/>
                  </a:cubicBezTo>
                  <a:lnTo>
                    <a:pt x="1405" y="2108"/>
                  </a:lnTo>
                  <a:cubicBezTo>
                    <a:pt x="1397" y="2085"/>
                    <a:pt x="1405" y="2047"/>
                    <a:pt x="1382" y="2024"/>
                  </a:cubicBezTo>
                  <a:cubicBezTo>
                    <a:pt x="1374" y="2017"/>
                    <a:pt x="1359" y="2055"/>
                    <a:pt x="1344" y="2047"/>
                  </a:cubicBezTo>
                  <a:cubicBezTo>
                    <a:pt x="1329" y="2047"/>
                    <a:pt x="1329" y="2017"/>
                    <a:pt x="1313" y="2009"/>
                  </a:cubicBezTo>
                  <a:cubicBezTo>
                    <a:pt x="1290" y="2001"/>
                    <a:pt x="1267" y="2024"/>
                    <a:pt x="1244" y="2009"/>
                  </a:cubicBezTo>
                  <a:cubicBezTo>
                    <a:pt x="1206" y="1979"/>
                    <a:pt x="1191" y="1917"/>
                    <a:pt x="1145" y="1879"/>
                  </a:cubicBezTo>
                  <a:cubicBezTo>
                    <a:pt x="1130" y="1872"/>
                    <a:pt x="1100" y="1887"/>
                    <a:pt x="1077" y="1887"/>
                  </a:cubicBezTo>
                  <a:cubicBezTo>
                    <a:pt x="1054" y="1879"/>
                    <a:pt x="1046" y="1849"/>
                    <a:pt x="1031" y="1849"/>
                  </a:cubicBezTo>
                  <a:cubicBezTo>
                    <a:pt x="1008" y="1849"/>
                    <a:pt x="1000" y="1879"/>
                    <a:pt x="985" y="1872"/>
                  </a:cubicBezTo>
                  <a:cubicBezTo>
                    <a:pt x="931" y="1856"/>
                    <a:pt x="886" y="1826"/>
                    <a:pt x="840" y="1787"/>
                  </a:cubicBezTo>
                  <a:cubicBezTo>
                    <a:pt x="817" y="1772"/>
                    <a:pt x="794" y="1757"/>
                    <a:pt x="779" y="1734"/>
                  </a:cubicBezTo>
                  <a:cubicBezTo>
                    <a:pt x="771" y="1719"/>
                    <a:pt x="802" y="1711"/>
                    <a:pt x="802" y="1696"/>
                  </a:cubicBezTo>
                  <a:cubicBezTo>
                    <a:pt x="802" y="1681"/>
                    <a:pt x="771" y="1673"/>
                    <a:pt x="771" y="1658"/>
                  </a:cubicBezTo>
                  <a:cubicBezTo>
                    <a:pt x="763" y="1635"/>
                    <a:pt x="756" y="1604"/>
                    <a:pt x="771" y="1581"/>
                  </a:cubicBezTo>
                  <a:cubicBezTo>
                    <a:pt x="786" y="1566"/>
                    <a:pt x="832" y="1597"/>
                    <a:pt x="840" y="1574"/>
                  </a:cubicBezTo>
                  <a:cubicBezTo>
                    <a:pt x="863" y="1505"/>
                    <a:pt x="817" y="1436"/>
                    <a:pt x="840" y="1368"/>
                  </a:cubicBezTo>
                  <a:cubicBezTo>
                    <a:pt x="847" y="1345"/>
                    <a:pt x="878" y="1406"/>
                    <a:pt x="901" y="1406"/>
                  </a:cubicBezTo>
                  <a:cubicBezTo>
                    <a:pt x="916" y="1406"/>
                    <a:pt x="916" y="1375"/>
                    <a:pt x="939" y="1368"/>
                  </a:cubicBezTo>
                  <a:cubicBezTo>
                    <a:pt x="947" y="1360"/>
                    <a:pt x="977" y="1368"/>
                    <a:pt x="985" y="1352"/>
                  </a:cubicBezTo>
                  <a:cubicBezTo>
                    <a:pt x="992" y="1329"/>
                    <a:pt x="985" y="1291"/>
                    <a:pt x="977" y="1268"/>
                  </a:cubicBezTo>
                  <a:cubicBezTo>
                    <a:pt x="962" y="1245"/>
                    <a:pt x="939" y="1222"/>
                    <a:pt x="916" y="1222"/>
                  </a:cubicBezTo>
                  <a:cubicBezTo>
                    <a:pt x="832" y="1237"/>
                    <a:pt x="763" y="1329"/>
                    <a:pt x="679" y="1322"/>
                  </a:cubicBezTo>
                  <a:cubicBezTo>
                    <a:pt x="641" y="1314"/>
                    <a:pt x="687" y="1237"/>
                    <a:pt x="672" y="1199"/>
                  </a:cubicBezTo>
                  <a:cubicBezTo>
                    <a:pt x="664" y="1176"/>
                    <a:pt x="641" y="1161"/>
                    <a:pt x="626" y="1146"/>
                  </a:cubicBezTo>
                  <a:cubicBezTo>
                    <a:pt x="611" y="1131"/>
                    <a:pt x="595" y="1115"/>
                    <a:pt x="580" y="1123"/>
                  </a:cubicBezTo>
                  <a:cubicBezTo>
                    <a:pt x="565" y="1123"/>
                    <a:pt x="565" y="1146"/>
                    <a:pt x="550" y="1154"/>
                  </a:cubicBezTo>
                  <a:cubicBezTo>
                    <a:pt x="496" y="1176"/>
                    <a:pt x="450" y="1192"/>
                    <a:pt x="389" y="1207"/>
                  </a:cubicBezTo>
                  <a:cubicBezTo>
                    <a:pt x="381" y="1207"/>
                    <a:pt x="374" y="1184"/>
                    <a:pt x="366" y="1176"/>
                  </a:cubicBezTo>
                  <a:cubicBezTo>
                    <a:pt x="343" y="1176"/>
                    <a:pt x="320" y="1176"/>
                    <a:pt x="313" y="1192"/>
                  </a:cubicBezTo>
                  <a:cubicBezTo>
                    <a:pt x="305" y="1207"/>
                    <a:pt x="343" y="1230"/>
                    <a:pt x="328" y="1237"/>
                  </a:cubicBezTo>
                  <a:cubicBezTo>
                    <a:pt x="297" y="1253"/>
                    <a:pt x="259" y="1230"/>
                    <a:pt x="229" y="1237"/>
                  </a:cubicBezTo>
                  <a:cubicBezTo>
                    <a:pt x="213" y="1245"/>
                    <a:pt x="198" y="1253"/>
                    <a:pt x="183" y="1268"/>
                  </a:cubicBezTo>
                  <a:cubicBezTo>
                    <a:pt x="175" y="1276"/>
                    <a:pt x="183" y="1291"/>
                    <a:pt x="175" y="1306"/>
                  </a:cubicBezTo>
                  <a:cubicBezTo>
                    <a:pt x="168" y="1314"/>
                    <a:pt x="152" y="1306"/>
                    <a:pt x="137" y="1306"/>
                  </a:cubicBezTo>
                  <a:lnTo>
                    <a:pt x="137" y="1306"/>
                  </a:lnTo>
                  <a:cubicBezTo>
                    <a:pt x="114" y="1299"/>
                    <a:pt x="76" y="1299"/>
                    <a:pt x="76" y="1268"/>
                  </a:cubicBezTo>
                  <a:cubicBezTo>
                    <a:pt x="68" y="1230"/>
                    <a:pt x="129" y="1199"/>
                    <a:pt x="122" y="1154"/>
                  </a:cubicBezTo>
                  <a:cubicBezTo>
                    <a:pt x="122" y="1131"/>
                    <a:pt x="76" y="1138"/>
                    <a:pt x="61" y="1115"/>
                  </a:cubicBezTo>
                  <a:cubicBezTo>
                    <a:pt x="53" y="1108"/>
                    <a:pt x="53" y="1093"/>
                    <a:pt x="68" y="1085"/>
                  </a:cubicBezTo>
                  <a:cubicBezTo>
                    <a:pt x="114" y="1070"/>
                    <a:pt x="160" y="1054"/>
                    <a:pt x="213" y="1039"/>
                  </a:cubicBezTo>
                  <a:cubicBezTo>
                    <a:pt x="236" y="1039"/>
                    <a:pt x="282" y="1070"/>
                    <a:pt x="282" y="1039"/>
                  </a:cubicBezTo>
                  <a:cubicBezTo>
                    <a:pt x="290" y="1008"/>
                    <a:pt x="252" y="978"/>
                    <a:pt x="229" y="955"/>
                  </a:cubicBezTo>
                  <a:cubicBezTo>
                    <a:pt x="213" y="940"/>
                    <a:pt x="191" y="932"/>
                    <a:pt x="175" y="91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20" name="Freeform 142"/>
            <p:cNvSpPr>
              <a:spLocks noChangeArrowheads="1"/>
            </p:cNvSpPr>
            <p:nvPr/>
          </p:nvSpPr>
          <p:spPr bwMode="auto">
            <a:xfrm>
              <a:off x="5843208" y="4219576"/>
              <a:ext cx="682581" cy="461963"/>
            </a:xfrm>
            <a:custGeom>
              <a:avLst/>
              <a:gdLst>
                <a:gd name="T0" fmla="*/ 0 w 1894"/>
                <a:gd name="T1" fmla="*/ 1085 h 1284"/>
                <a:gd name="T2" fmla="*/ 0 w 1894"/>
                <a:gd name="T3" fmla="*/ 1085 h 1284"/>
                <a:gd name="T4" fmla="*/ 38 w 1894"/>
                <a:gd name="T5" fmla="*/ 1016 h 1284"/>
                <a:gd name="T6" fmla="*/ 161 w 1894"/>
                <a:gd name="T7" fmla="*/ 1008 h 1284"/>
                <a:gd name="T8" fmla="*/ 122 w 1894"/>
                <a:gd name="T9" fmla="*/ 970 h 1284"/>
                <a:gd name="T10" fmla="*/ 168 w 1894"/>
                <a:gd name="T11" fmla="*/ 932 h 1284"/>
                <a:gd name="T12" fmla="*/ 168 w 1894"/>
                <a:gd name="T13" fmla="*/ 932 h 1284"/>
                <a:gd name="T14" fmla="*/ 252 w 1894"/>
                <a:gd name="T15" fmla="*/ 917 h 1284"/>
                <a:gd name="T16" fmla="*/ 267 w 1894"/>
                <a:gd name="T17" fmla="*/ 863 h 1284"/>
                <a:gd name="T18" fmla="*/ 306 w 1894"/>
                <a:gd name="T19" fmla="*/ 856 h 1284"/>
                <a:gd name="T20" fmla="*/ 321 w 1894"/>
                <a:gd name="T21" fmla="*/ 894 h 1284"/>
                <a:gd name="T22" fmla="*/ 458 w 1894"/>
                <a:gd name="T23" fmla="*/ 894 h 1284"/>
                <a:gd name="T24" fmla="*/ 512 w 1894"/>
                <a:gd name="T25" fmla="*/ 917 h 1284"/>
                <a:gd name="T26" fmla="*/ 580 w 1894"/>
                <a:gd name="T27" fmla="*/ 894 h 1284"/>
                <a:gd name="T28" fmla="*/ 588 w 1894"/>
                <a:gd name="T29" fmla="*/ 848 h 1284"/>
                <a:gd name="T30" fmla="*/ 634 w 1894"/>
                <a:gd name="T31" fmla="*/ 817 h 1284"/>
                <a:gd name="T32" fmla="*/ 688 w 1894"/>
                <a:gd name="T33" fmla="*/ 833 h 1284"/>
                <a:gd name="T34" fmla="*/ 711 w 1894"/>
                <a:gd name="T35" fmla="*/ 825 h 1284"/>
                <a:gd name="T36" fmla="*/ 695 w 1894"/>
                <a:gd name="T37" fmla="*/ 787 h 1284"/>
                <a:gd name="T38" fmla="*/ 756 w 1894"/>
                <a:gd name="T39" fmla="*/ 756 h 1284"/>
                <a:gd name="T40" fmla="*/ 749 w 1894"/>
                <a:gd name="T41" fmla="*/ 680 h 1284"/>
                <a:gd name="T42" fmla="*/ 711 w 1894"/>
                <a:gd name="T43" fmla="*/ 642 h 1284"/>
                <a:gd name="T44" fmla="*/ 611 w 1894"/>
                <a:gd name="T45" fmla="*/ 634 h 1284"/>
                <a:gd name="T46" fmla="*/ 611 w 1894"/>
                <a:gd name="T47" fmla="*/ 588 h 1284"/>
                <a:gd name="T48" fmla="*/ 573 w 1894"/>
                <a:gd name="T49" fmla="*/ 558 h 1284"/>
                <a:gd name="T50" fmla="*/ 611 w 1894"/>
                <a:gd name="T51" fmla="*/ 497 h 1284"/>
                <a:gd name="T52" fmla="*/ 665 w 1894"/>
                <a:gd name="T53" fmla="*/ 512 h 1284"/>
                <a:gd name="T54" fmla="*/ 703 w 1894"/>
                <a:gd name="T55" fmla="*/ 489 h 1284"/>
                <a:gd name="T56" fmla="*/ 726 w 1894"/>
                <a:gd name="T57" fmla="*/ 397 h 1284"/>
                <a:gd name="T58" fmla="*/ 764 w 1894"/>
                <a:gd name="T59" fmla="*/ 352 h 1284"/>
                <a:gd name="T60" fmla="*/ 802 w 1894"/>
                <a:gd name="T61" fmla="*/ 268 h 1284"/>
                <a:gd name="T62" fmla="*/ 802 w 1894"/>
                <a:gd name="T63" fmla="*/ 268 h 1284"/>
                <a:gd name="T64" fmla="*/ 1359 w 1894"/>
                <a:gd name="T65" fmla="*/ 23 h 1284"/>
                <a:gd name="T66" fmla="*/ 1473 w 1894"/>
                <a:gd name="T67" fmla="*/ 145 h 1284"/>
                <a:gd name="T68" fmla="*/ 1603 w 1894"/>
                <a:gd name="T69" fmla="*/ 352 h 1284"/>
                <a:gd name="T70" fmla="*/ 1786 w 1894"/>
                <a:gd name="T71" fmla="*/ 550 h 1284"/>
                <a:gd name="T72" fmla="*/ 1672 w 1894"/>
                <a:gd name="T73" fmla="*/ 649 h 1284"/>
                <a:gd name="T74" fmla="*/ 1458 w 1894"/>
                <a:gd name="T75" fmla="*/ 764 h 1284"/>
                <a:gd name="T76" fmla="*/ 1305 w 1894"/>
                <a:gd name="T77" fmla="*/ 703 h 1284"/>
                <a:gd name="T78" fmla="*/ 1046 w 1894"/>
                <a:gd name="T79" fmla="*/ 871 h 1284"/>
                <a:gd name="T80" fmla="*/ 946 w 1894"/>
                <a:gd name="T81" fmla="*/ 963 h 1284"/>
                <a:gd name="T82" fmla="*/ 900 w 1894"/>
                <a:gd name="T83" fmla="*/ 1108 h 1284"/>
                <a:gd name="T84" fmla="*/ 787 w 1894"/>
                <a:gd name="T85" fmla="*/ 1138 h 1284"/>
                <a:gd name="T86" fmla="*/ 603 w 1894"/>
                <a:gd name="T87" fmla="*/ 1199 h 1284"/>
                <a:gd name="T88" fmla="*/ 519 w 1894"/>
                <a:gd name="T89" fmla="*/ 1238 h 1284"/>
                <a:gd name="T90" fmla="*/ 390 w 1894"/>
                <a:gd name="T91" fmla="*/ 1199 h 1284"/>
                <a:gd name="T92" fmla="*/ 214 w 1894"/>
                <a:gd name="T93" fmla="*/ 1146 h 1284"/>
                <a:gd name="T94" fmla="*/ 46 w 1894"/>
                <a:gd name="T95" fmla="*/ 1161 h 1284"/>
                <a:gd name="T96" fmla="*/ 46 w 1894"/>
                <a:gd name="T97" fmla="*/ 1161 h 1284"/>
                <a:gd name="T98" fmla="*/ 0 w 1894"/>
                <a:gd name="T99" fmla="*/ 1085 h 1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94" h="1284">
                  <a:moveTo>
                    <a:pt x="0" y="1085"/>
                  </a:moveTo>
                  <a:lnTo>
                    <a:pt x="0" y="1085"/>
                  </a:lnTo>
                  <a:cubicBezTo>
                    <a:pt x="15" y="1062"/>
                    <a:pt x="15" y="1024"/>
                    <a:pt x="38" y="1016"/>
                  </a:cubicBezTo>
                  <a:cubicBezTo>
                    <a:pt x="76" y="993"/>
                    <a:pt x="130" y="1024"/>
                    <a:pt x="161" y="1008"/>
                  </a:cubicBezTo>
                  <a:cubicBezTo>
                    <a:pt x="176" y="1001"/>
                    <a:pt x="122" y="993"/>
                    <a:pt x="122" y="970"/>
                  </a:cubicBezTo>
                  <a:cubicBezTo>
                    <a:pt x="122" y="955"/>
                    <a:pt x="153" y="947"/>
                    <a:pt x="168" y="932"/>
                  </a:cubicBezTo>
                  <a:lnTo>
                    <a:pt x="168" y="932"/>
                  </a:lnTo>
                  <a:cubicBezTo>
                    <a:pt x="199" y="924"/>
                    <a:pt x="229" y="932"/>
                    <a:pt x="252" y="917"/>
                  </a:cubicBezTo>
                  <a:cubicBezTo>
                    <a:pt x="267" y="902"/>
                    <a:pt x="252" y="879"/>
                    <a:pt x="267" y="863"/>
                  </a:cubicBezTo>
                  <a:cubicBezTo>
                    <a:pt x="275" y="856"/>
                    <a:pt x="290" y="856"/>
                    <a:pt x="306" y="856"/>
                  </a:cubicBezTo>
                  <a:cubicBezTo>
                    <a:pt x="313" y="863"/>
                    <a:pt x="313" y="886"/>
                    <a:pt x="321" y="894"/>
                  </a:cubicBezTo>
                  <a:cubicBezTo>
                    <a:pt x="367" y="902"/>
                    <a:pt x="413" y="886"/>
                    <a:pt x="458" y="894"/>
                  </a:cubicBezTo>
                  <a:cubicBezTo>
                    <a:pt x="481" y="894"/>
                    <a:pt x="497" y="917"/>
                    <a:pt x="512" y="917"/>
                  </a:cubicBezTo>
                  <a:cubicBezTo>
                    <a:pt x="535" y="917"/>
                    <a:pt x="565" y="909"/>
                    <a:pt x="580" y="894"/>
                  </a:cubicBezTo>
                  <a:cubicBezTo>
                    <a:pt x="596" y="886"/>
                    <a:pt x="580" y="856"/>
                    <a:pt x="588" y="848"/>
                  </a:cubicBezTo>
                  <a:cubicBezTo>
                    <a:pt x="596" y="833"/>
                    <a:pt x="619" y="825"/>
                    <a:pt x="634" y="817"/>
                  </a:cubicBezTo>
                  <a:cubicBezTo>
                    <a:pt x="649" y="817"/>
                    <a:pt x="672" y="833"/>
                    <a:pt x="688" y="833"/>
                  </a:cubicBezTo>
                  <a:cubicBezTo>
                    <a:pt x="695" y="833"/>
                    <a:pt x="711" y="833"/>
                    <a:pt x="711" y="825"/>
                  </a:cubicBezTo>
                  <a:cubicBezTo>
                    <a:pt x="711" y="810"/>
                    <a:pt x="688" y="795"/>
                    <a:pt x="695" y="787"/>
                  </a:cubicBezTo>
                  <a:cubicBezTo>
                    <a:pt x="703" y="764"/>
                    <a:pt x="749" y="779"/>
                    <a:pt x="756" y="756"/>
                  </a:cubicBezTo>
                  <a:cubicBezTo>
                    <a:pt x="772" y="733"/>
                    <a:pt x="756" y="703"/>
                    <a:pt x="749" y="680"/>
                  </a:cubicBezTo>
                  <a:cubicBezTo>
                    <a:pt x="741" y="665"/>
                    <a:pt x="726" y="649"/>
                    <a:pt x="711" y="642"/>
                  </a:cubicBezTo>
                  <a:cubicBezTo>
                    <a:pt x="680" y="627"/>
                    <a:pt x="642" y="649"/>
                    <a:pt x="611" y="634"/>
                  </a:cubicBezTo>
                  <a:cubicBezTo>
                    <a:pt x="596" y="627"/>
                    <a:pt x="611" y="604"/>
                    <a:pt x="611" y="588"/>
                  </a:cubicBezTo>
                  <a:cubicBezTo>
                    <a:pt x="603" y="573"/>
                    <a:pt x="573" y="573"/>
                    <a:pt x="573" y="558"/>
                  </a:cubicBezTo>
                  <a:cubicBezTo>
                    <a:pt x="573" y="535"/>
                    <a:pt x="596" y="512"/>
                    <a:pt x="611" y="497"/>
                  </a:cubicBezTo>
                  <a:cubicBezTo>
                    <a:pt x="626" y="489"/>
                    <a:pt x="649" y="512"/>
                    <a:pt x="665" y="512"/>
                  </a:cubicBezTo>
                  <a:cubicBezTo>
                    <a:pt x="680" y="504"/>
                    <a:pt x="695" y="504"/>
                    <a:pt x="703" y="489"/>
                  </a:cubicBezTo>
                  <a:cubicBezTo>
                    <a:pt x="718" y="466"/>
                    <a:pt x="711" y="428"/>
                    <a:pt x="726" y="397"/>
                  </a:cubicBezTo>
                  <a:cubicBezTo>
                    <a:pt x="733" y="374"/>
                    <a:pt x="756" y="367"/>
                    <a:pt x="764" y="352"/>
                  </a:cubicBezTo>
                  <a:cubicBezTo>
                    <a:pt x="772" y="329"/>
                    <a:pt x="756" y="290"/>
                    <a:pt x="802" y="268"/>
                  </a:cubicBezTo>
                  <a:lnTo>
                    <a:pt x="802" y="268"/>
                  </a:lnTo>
                  <a:cubicBezTo>
                    <a:pt x="992" y="268"/>
                    <a:pt x="1175" y="23"/>
                    <a:pt x="1359" y="23"/>
                  </a:cubicBezTo>
                  <a:cubicBezTo>
                    <a:pt x="1481" y="23"/>
                    <a:pt x="1488" y="0"/>
                    <a:pt x="1473" y="145"/>
                  </a:cubicBezTo>
                  <a:cubicBezTo>
                    <a:pt x="1466" y="252"/>
                    <a:pt x="1481" y="344"/>
                    <a:pt x="1603" y="352"/>
                  </a:cubicBezTo>
                  <a:cubicBezTo>
                    <a:pt x="1664" y="367"/>
                    <a:pt x="1893" y="497"/>
                    <a:pt x="1786" y="550"/>
                  </a:cubicBezTo>
                  <a:cubicBezTo>
                    <a:pt x="1748" y="565"/>
                    <a:pt x="1710" y="627"/>
                    <a:pt x="1672" y="649"/>
                  </a:cubicBezTo>
                  <a:cubicBezTo>
                    <a:pt x="1634" y="688"/>
                    <a:pt x="1504" y="756"/>
                    <a:pt x="1458" y="764"/>
                  </a:cubicBezTo>
                  <a:cubicBezTo>
                    <a:pt x="1359" y="772"/>
                    <a:pt x="1374" y="733"/>
                    <a:pt x="1305" y="703"/>
                  </a:cubicBezTo>
                  <a:cubicBezTo>
                    <a:pt x="1252" y="680"/>
                    <a:pt x="1091" y="840"/>
                    <a:pt x="1046" y="871"/>
                  </a:cubicBezTo>
                  <a:cubicBezTo>
                    <a:pt x="1015" y="894"/>
                    <a:pt x="962" y="932"/>
                    <a:pt x="946" y="963"/>
                  </a:cubicBezTo>
                  <a:cubicBezTo>
                    <a:pt x="923" y="1016"/>
                    <a:pt x="954" y="1062"/>
                    <a:pt x="900" y="1108"/>
                  </a:cubicBezTo>
                  <a:cubicBezTo>
                    <a:pt x="877" y="1138"/>
                    <a:pt x="825" y="1154"/>
                    <a:pt x="787" y="1138"/>
                  </a:cubicBezTo>
                  <a:cubicBezTo>
                    <a:pt x="741" y="1123"/>
                    <a:pt x="642" y="1177"/>
                    <a:pt x="603" y="1199"/>
                  </a:cubicBezTo>
                  <a:cubicBezTo>
                    <a:pt x="565" y="1207"/>
                    <a:pt x="588" y="1283"/>
                    <a:pt x="519" y="1238"/>
                  </a:cubicBezTo>
                  <a:cubicBezTo>
                    <a:pt x="489" y="1215"/>
                    <a:pt x="428" y="1199"/>
                    <a:pt x="390" y="1199"/>
                  </a:cubicBezTo>
                  <a:cubicBezTo>
                    <a:pt x="321" y="1192"/>
                    <a:pt x="290" y="1146"/>
                    <a:pt x="214" y="1146"/>
                  </a:cubicBezTo>
                  <a:cubicBezTo>
                    <a:pt x="161" y="1146"/>
                    <a:pt x="99" y="1161"/>
                    <a:pt x="46" y="1161"/>
                  </a:cubicBezTo>
                  <a:lnTo>
                    <a:pt x="46" y="1161"/>
                  </a:lnTo>
                  <a:cubicBezTo>
                    <a:pt x="0" y="1085"/>
                    <a:pt x="0" y="1085"/>
                    <a:pt x="0" y="1085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21" name="Freeform 143"/>
            <p:cNvSpPr>
              <a:spLocks noChangeArrowheads="1"/>
            </p:cNvSpPr>
            <p:nvPr/>
          </p:nvSpPr>
          <p:spPr bwMode="auto">
            <a:xfrm>
              <a:off x="5765424" y="4471988"/>
              <a:ext cx="173027" cy="138112"/>
            </a:xfrm>
            <a:custGeom>
              <a:avLst/>
              <a:gdLst>
                <a:gd name="T0" fmla="*/ 214 w 482"/>
                <a:gd name="T1" fmla="*/ 382 h 383"/>
                <a:gd name="T2" fmla="*/ 214 w 482"/>
                <a:gd name="T3" fmla="*/ 382 h 383"/>
                <a:gd name="T4" fmla="*/ 252 w 482"/>
                <a:gd name="T5" fmla="*/ 313 h 383"/>
                <a:gd name="T6" fmla="*/ 375 w 482"/>
                <a:gd name="T7" fmla="*/ 305 h 383"/>
                <a:gd name="T8" fmla="*/ 336 w 482"/>
                <a:gd name="T9" fmla="*/ 267 h 383"/>
                <a:gd name="T10" fmla="*/ 382 w 482"/>
                <a:gd name="T11" fmla="*/ 229 h 383"/>
                <a:gd name="T12" fmla="*/ 382 w 482"/>
                <a:gd name="T13" fmla="*/ 229 h 383"/>
                <a:gd name="T14" fmla="*/ 375 w 482"/>
                <a:gd name="T15" fmla="*/ 153 h 383"/>
                <a:gd name="T16" fmla="*/ 443 w 482"/>
                <a:gd name="T17" fmla="*/ 114 h 383"/>
                <a:gd name="T18" fmla="*/ 474 w 482"/>
                <a:gd name="T19" fmla="*/ 53 h 383"/>
                <a:gd name="T20" fmla="*/ 420 w 482"/>
                <a:gd name="T21" fmla="*/ 30 h 383"/>
                <a:gd name="T22" fmla="*/ 390 w 482"/>
                <a:gd name="T23" fmla="*/ 53 h 383"/>
                <a:gd name="T24" fmla="*/ 352 w 482"/>
                <a:gd name="T25" fmla="*/ 46 h 383"/>
                <a:gd name="T26" fmla="*/ 321 w 482"/>
                <a:gd name="T27" fmla="*/ 76 h 383"/>
                <a:gd name="T28" fmla="*/ 229 w 482"/>
                <a:gd name="T29" fmla="*/ 61 h 383"/>
                <a:gd name="T30" fmla="*/ 199 w 482"/>
                <a:gd name="T31" fmla="*/ 15 h 383"/>
                <a:gd name="T32" fmla="*/ 176 w 482"/>
                <a:gd name="T33" fmla="*/ 7 h 383"/>
                <a:gd name="T34" fmla="*/ 69 w 482"/>
                <a:gd name="T35" fmla="*/ 53 h 383"/>
                <a:gd name="T36" fmla="*/ 69 w 482"/>
                <a:gd name="T37" fmla="*/ 53 h 383"/>
                <a:gd name="T38" fmla="*/ 31 w 482"/>
                <a:gd name="T39" fmla="*/ 92 h 383"/>
                <a:gd name="T40" fmla="*/ 31 w 482"/>
                <a:gd name="T41" fmla="*/ 176 h 383"/>
                <a:gd name="T42" fmla="*/ 31 w 482"/>
                <a:gd name="T43" fmla="*/ 214 h 383"/>
                <a:gd name="T44" fmla="*/ 0 w 482"/>
                <a:gd name="T45" fmla="*/ 229 h 383"/>
                <a:gd name="T46" fmla="*/ 16 w 482"/>
                <a:gd name="T47" fmla="*/ 267 h 383"/>
                <a:gd name="T48" fmla="*/ 107 w 482"/>
                <a:gd name="T49" fmla="*/ 305 h 383"/>
                <a:gd name="T50" fmla="*/ 107 w 482"/>
                <a:gd name="T51" fmla="*/ 305 h 383"/>
                <a:gd name="T52" fmla="*/ 214 w 482"/>
                <a:gd name="T53" fmla="*/ 38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2" h="383">
                  <a:moveTo>
                    <a:pt x="214" y="382"/>
                  </a:moveTo>
                  <a:lnTo>
                    <a:pt x="214" y="382"/>
                  </a:lnTo>
                  <a:cubicBezTo>
                    <a:pt x="229" y="359"/>
                    <a:pt x="229" y="321"/>
                    <a:pt x="252" y="313"/>
                  </a:cubicBezTo>
                  <a:cubicBezTo>
                    <a:pt x="290" y="290"/>
                    <a:pt x="344" y="321"/>
                    <a:pt x="375" y="305"/>
                  </a:cubicBezTo>
                  <a:cubicBezTo>
                    <a:pt x="390" y="298"/>
                    <a:pt x="336" y="290"/>
                    <a:pt x="336" y="267"/>
                  </a:cubicBezTo>
                  <a:cubicBezTo>
                    <a:pt x="336" y="252"/>
                    <a:pt x="367" y="244"/>
                    <a:pt x="382" y="229"/>
                  </a:cubicBezTo>
                  <a:lnTo>
                    <a:pt x="382" y="229"/>
                  </a:lnTo>
                  <a:cubicBezTo>
                    <a:pt x="382" y="206"/>
                    <a:pt x="359" y="176"/>
                    <a:pt x="375" y="153"/>
                  </a:cubicBezTo>
                  <a:cubicBezTo>
                    <a:pt x="382" y="130"/>
                    <a:pt x="428" y="137"/>
                    <a:pt x="443" y="114"/>
                  </a:cubicBezTo>
                  <a:cubicBezTo>
                    <a:pt x="458" y="99"/>
                    <a:pt x="481" y="76"/>
                    <a:pt x="474" y="53"/>
                  </a:cubicBezTo>
                  <a:cubicBezTo>
                    <a:pt x="474" y="30"/>
                    <a:pt x="443" y="30"/>
                    <a:pt x="420" y="30"/>
                  </a:cubicBezTo>
                  <a:cubicBezTo>
                    <a:pt x="405" y="30"/>
                    <a:pt x="405" y="53"/>
                    <a:pt x="390" y="53"/>
                  </a:cubicBezTo>
                  <a:cubicBezTo>
                    <a:pt x="375" y="53"/>
                    <a:pt x="359" y="46"/>
                    <a:pt x="352" y="46"/>
                  </a:cubicBezTo>
                  <a:cubicBezTo>
                    <a:pt x="336" y="53"/>
                    <a:pt x="336" y="76"/>
                    <a:pt x="321" y="76"/>
                  </a:cubicBezTo>
                  <a:cubicBezTo>
                    <a:pt x="290" y="76"/>
                    <a:pt x="260" y="76"/>
                    <a:pt x="229" y="61"/>
                  </a:cubicBezTo>
                  <a:cubicBezTo>
                    <a:pt x="214" y="53"/>
                    <a:pt x="214" y="30"/>
                    <a:pt x="199" y="15"/>
                  </a:cubicBezTo>
                  <a:cubicBezTo>
                    <a:pt x="191" y="7"/>
                    <a:pt x="183" y="0"/>
                    <a:pt x="176" y="7"/>
                  </a:cubicBezTo>
                  <a:cubicBezTo>
                    <a:pt x="138" y="15"/>
                    <a:pt x="107" y="38"/>
                    <a:pt x="69" y="53"/>
                  </a:cubicBezTo>
                  <a:lnTo>
                    <a:pt x="69" y="53"/>
                  </a:lnTo>
                  <a:cubicBezTo>
                    <a:pt x="61" y="69"/>
                    <a:pt x="38" y="76"/>
                    <a:pt x="31" y="92"/>
                  </a:cubicBezTo>
                  <a:cubicBezTo>
                    <a:pt x="23" y="122"/>
                    <a:pt x="31" y="145"/>
                    <a:pt x="31" y="176"/>
                  </a:cubicBezTo>
                  <a:cubicBezTo>
                    <a:pt x="31" y="191"/>
                    <a:pt x="31" y="206"/>
                    <a:pt x="31" y="214"/>
                  </a:cubicBezTo>
                  <a:cubicBezTo>
                    <a:pt x="23" y="229"/>
                    <a:pt x="8" y="221"/>
                    <a:pt x="0" y="229"/>
                  </a:cubicBezTo>
                  <a:cubicBezTo>
                    <a:pt x="0" y="244"/>
                    <a:pt x="8" y="260"/>
                    <a:pt x="16" y="267"/>
                  </a:cubicBezTo>
                  <a:cubicBezTo>
                    <a:pt x="38" y="282"/>
                    <a:pt x="77" y="290"/>
                    <a:pt x="107" y="305"/>
                  </a:cubicBezTo>
                  <a:lnTo>
                    <a:pt x="107" y="305"/>
                  </a:lnTo>
                  <a:cubicBezTo>
                    <a:pt x="214" y="382"/>
                    <a:pt x="214" y="382"/>
                    <a:pt x="214" y="38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22" name="Freeform 144"/>
            <p:cNvSpPr>
              <a:spLocks noChangeArrowheads="1"/>
            </p:cNvSpPr>
            <p:nvPr/>
          </p:nvSpPr>
          <p:spPr bwMode="auto">
            <a:xfrm>
              <a:off x="5219360" y="4133851"/>
              <a:ext cx="588925" cy="588963"/>
            </a:xfrm>
            <a:custGeom>
              <a:avLst/>
              <a:gdLst>
                <a:gd name="T0" fmla="*/ 489 w 1636"/>
                <a:gd name="T1" fmla="*/ 1291 h 1636"/>
                <a:gd name="T2" fmla="*/ 596 w 1636"/>
                <a:gd name="T3" fmla="*/ 1314 h 1636"/>
                <a:gd name="T4" fmla="*/ 680 w 1636"/>
                <a:gd name="T5" fmla="*/ 1352 h 1636"/>
                <a:gd name="T6" fmla="*/ 672 w 1636"/>
                <a:gd name="T7" fmla="*/ 1497 h 1636"/>
                <a:gd name="T8" fmla="*/ 749 w 1636"/>
                <a:gd name="T9" fmla="*/ 1574 h 1636"/>
                <a:gd name="T10" fmla="*/ 779 w 1636"/>
                <a:gd name="T11" fmla="*/ 1589 h 1636"/>
                <a:gd name="T12" fmla="*/ 894 w 1636"/>
                <a:gd name="T13" fmla="*/ 1620 h 1636"/>
                <a:gd name="T14" fmla="*/ 986 w 1636"/>
                <a:gd name="T15" fmla="*/ 1574 h 1636"/>
                <a:gd name="T16" fmla="*/ 955 w 1636"/>
                <a:gd name="T17" fmla="*/ 1452 h 1636"/>
                <a:gd name="T18" fmla="*/ 1024 w 1636"/>
                <a:gd name="T19" fmla="*/ 1459 h 1636"/>
                <a:gd name="T20" fmla="*/ 1108 w 1636"/>
                <a:gd name="T21" fmla="*/ 1482 h 1636"/>
                <a:gd name="T22" fmla="*/ 1176 w 1636"/>
                <a:gd name="T23" fmla="*/ 1490 h 1636"/>
                <a:gd name="T24" fmla="*/ 1245 w 1636"/>
                <a:gd name="T25" fmla="*/ 1467 h 1636"/>
                <a:gd name="T26" fmla="*/ 1375 w 1636"/>
                <a:gd name="T27" fmla="*/ 1436 h 1636"/>
                <a:gd name="T28" fmla="*/ 1406 w 1636"/>
                <a:gd name="T29" fmla="*/ 1398 h 1636"/>
                <a:gd name="T30" fmla="*/ 1612 w 1636"/>
                <a:gd name="T31" fmla="*/ 1391 h 1636"/>
                <a:gd name="T32" fmla="*/ 1589 w 1636"/>
                <a:gd name="T33" fmla="*/ 1322 h 1636"/>
                <a:gd name="T34" fmla="*/ 1627 w 1636"/>
                <a:gd name="T35" fmla="*/ 1245 h 1636"/>
                <a:gd name="T36" fmla="*/ 1520 w 1636"/>
                <a:gd name="T37" fmla="*/ 1169 h 1636"/>
                <a:gd name="T38" fmla="*/ 1551 w 1636"/>
                <a:gd name="T39" fmla="*/ 1116 h 1636"/>
                <a:gd name="T40" fmla="*/ 1589 w 1636"/>
                <a:gd name="T41" fmla="*/ 993 h 1636"/>
                <a:gd name="T42" fmla="*/ 1566 w 1636"/>
                <a:gd name="T43" fmla="*/ 909 h 1636"/>
                <a:gd name="T44" fmla="*/ 1497 w 1636"/>
                <a:gd name="T45" fmla="*/ 894 h 1636"/>
                <a:gd name="T46" fmla="*/ 1329 w 1636"/>
                <a:gd name="T47" fmla="*/ 764 h 1636"/>
                <a:gd name="T48" fmla="*/ 1215 w 1636"/>
                <a:gd name="T49" fmla="*/ 734 h 1636"/>
                <a:gd name="T50" fmla="*/ 1024 w 1636"/>
                <a:gd name="T51" fmla="*/ 672 h 1636"/>
                <a:gd name="T52" fmla="*/ 986 w 1636"/>
                <a:gd name="T53" fmla="*/ 581 h 1636"/>
                <a:gd name="T54" fmla="*/ 955 w 1636"/>
                <a:gd name="T55" fmla="*/ 466 h 1636"/>
                <a:gd name="T56" fmla="*/ 1024 w 1636"/>
                <a:gd name="T57" fmla="*/ 253 h 1636"/>
                <a:gd name="T58" fmla="*/ 1123 w 1636"/>
                <a:gd name="T59" fmla="*/ 253 h 1636"/>
                <a:gd name="T60" fmla="*/ 1161 w 1636"/>
                <a:gd name="T61" fmla="*/ 153 h 1636"/>
                <a:gd name="T62" fmla="*/ 863 w 1636"/>
                <a:gd name="T63" fmla="*/ 207 h 1636"/>
                <a:gd name="T64" fmla="*/ 810 w 1636"/>
                <a:gd name="T65" fmla="*/ 31 h 1636"/>
                <a:gd name="T66" fmla="*/ 734 w 1636"/>
                <a:gd name="T67" fmla="*/ 39 h 1636"/>
                <a:gd name="T68" fmla="*/ 550 w 1636"/>
                <a:gd name="T69" fmla="*/ 61 h 1636"/>
                <a:gd name="T70" fmla="*/ 512 w 1636"/>
                <a:gd name="T71" fmla="*/ 122 h 1636"/>
                <a:gd name="T72" fmla="*/ 367 w 1636"/>
                <a:gd name="T73" fmla="*/ 153 h 1636"/>
                <a:gd name="T74" fmla="*/ 321 w 1636"/>
                <a:gd name="T75" fmla="*/ 191 h 1636"/>
                <a:gd name="T76" fmla="*/ 275 w 1636"/>
                <a:gd name="T77" fmla="*/ 237 h 1636"/>
                <a:gd name="T78" fmla="*/ 191 w 1636"/>
                <a:gd name="T79" fmla="*/ 237 h 1636"/>
                <a:gd name="T80" fmla="*/ 138 w 1636"/>
                <a:gd name="T81" fmla="*/ 298 h 1636"/>
                <a:gd name="T82" fmla="*/ 8 w 1636"/>
                <a:gd name="T83" fmla="*/ 474 h 1636"/>
                <a:gd name="T84" fmla="*/ 100 w 1636"/>
                <a:gd name="T85" fmla="*/ 604 h 1636"/>
                <a:gd name="T86" fmla="*/ 290 w 1636"/>
                <a:gd name="T87" fmla="*/ 611 h 1636"/>
                <a:gd name="T88" fmla="*/ 283 w 1636"/>
                <a:gd name="T89" fmla="*/ 741 h 1636"/>
                <a:gd name="T90" fmla="*/ 252 w 1636"/>
                <a:gd name="T91" fmla="*/ 879 h 1636"/>
                <a:gd name="T92" fmla="*/ 283 w 1636"/>
                <a:gd name="T93" fmla="*/ 1062 h 1636"/>
                <a:gd name="T94" fmla="*/ 443 w 1636"/>
                <a:gd name="T95" fmla="*/ 1207 h 1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636" h="1636">
                  <a:moveTo>
                    <a:pt x="489" y="1291"/>
                  </a:moveTo>
                  <a:lnTo>
                    <a:pt x="489" y="1291"/>
                  </a:lnTo>
                  <a:cubicBezTo>
                    <a:pt x="512" y="1299"/>
                    <a:pt x="535" y="1306"/>
                    <a:pt x="565" y="1314"/>
                  </a:cubicBezTo>
                  <a:cubicBezTo>
                    <a:pt x="573" y="1314"/>
                    <a:pt x="588" y="1306"/>
                    <a:pt x="596" y="1314"/>
                  </a:cubicBezTo>
                  <a:cubicBezTo>
                    <a:pt x="611" y="1314"/>
                    <a:pt x="611" y="1329"/>
                    <a:pt x="627" y="1337"/>
                  </a:cubicBezTo>
                  <a:cubicBezTo>
                    <a:pt x="642" y="1345"/>
                    <a:pt x="672" y="1329"/>
                    <a:pt x="680" y="1352"/>
                  </a:cubicBezTo>
                  <a:cubicBezTo>
                    <a:pt x="688" y="1360"/>
                    <a:pt x="649" y="1360"/>
                    <a:pt x="642" y="1375"/>
                  </a:cubicBezTo>
                  <a:cubicBezTo>
                    <a:pt x="642" y="1421"/>
                    <a:pt x="657" y="1459"/>
                    <a:pt x="672" y="1497"/>
                  </a:cubicBezTo>
                  <a:cubicBezTo>
                    <a:pt x="680" y="1505"/>
                    <a:pt x="695" y="1490"/>
                    <a:pt x="703" y="1497"/>
                  </a:cubicBezTo>
                  <a:cubicBezTo>
                    <a:pt x="726" y="1520"/>
                    <a:pt x="726" y="1551"/>
                    <a:pt x="749" y="1574"/>
                  </a:cubicBezTo>
                  <a:cubicBezTo>
                    <a:pt x="756" y="1581"/>
                    <a:pt x="772" y="1581"/>
                    <a:pt x="779" y="1589"/>
                  </a:cubicBezTo>
                  <a:lnTo>
                    <a:pt x="779" y="1589"/>
                  </a:lnTo>
                  <a:cubicBezTo>
                    <a:pt x="802" y="1581"/>
                    <a:pt x="817" y="1558"/>
                    <a:pt x="840" y="1566"/>
                  </a:cubicBezTo>
                  <a:cubicBezTo>
                    <a:pt x="863" y="1574"/>
                    <a:pt x="871" y="1612"/>
                    <a:pt x="894" y="1620"/>
                  </a:cubicBezTo>
                  <a:cubicBezTo>
                    <a:pt x="901" y="1635"/>
                    <a:pt x="924" y="1635"/>
                    <a:pt x="940" y="1627"/>
                  </a:cubicBezTo>
                  <a:cubicBezTo>
                    <a:pt x="963" y="1620"/>
                    <a:pt x="970" y="1597"/>
                    <a:pt x="986" y="1574"/>
                  </a:cubicBezTo>
                  <a:cubicBezTo>
                    <a:pt x="986" y="1566"/>
                    <a:pt x="986" y="1543"/>
                    <a:pt x="978" y="1528"/>
                  </a:cubicBezTo>
                  <a:cubicBezTo>
                    <a:pt x="978" y="1505"/>
                    <a:pt x="955" y="1475"/>
                    <a:pt x="955" y="1452"/>
                  </a:cubicBezTo>
                  <a:cubicBezTo>
                    <a:pt x="955" y="1444"/>
                    <a:pt x="963" y="1436"/>
                    <a:pt x="970" y="1436"/>
                  </a:cubicBezTo>
                  <a:cubicBezTo>
                    <a:pt x="986" y="1444"/>
                    <a:pt x="1001" y="1459"/>
                    <a:pt x="1024" y="1459"/>
                  </a:cubicBezTo>
                  <a:cubicBezTo>
                    <a:pt x="1031" y="1467"/>
                    <a:pt x="1054" y="1459"/>
                    <a:pt x="1070" y="1459"/>
                  </a:cubicBezTo>
                  <a:cubicBezTo>
                    <a:pt x="1077" y="1467"/>
                    <a:pt x="1092" y="1490"/>
                    <a:pt x="1108" y="1482"/>
                  </a:cubicBezTo>
                  <a:cubicBezTo>
                    <a:pt x="1131" y="1475"/>
                    <a:pt x="1138" y="1436"/>
                    <a:pt x="1161" y="1436"/>
                  </a:cubicBezTo>
                  <a:cubicBezTo>
                    <a:pt x="1176" y="1436"/>
                    <a:pt x="1169" y="1475"/>
                    <a:pt x="1176" y="1490"/>
                  </a:cubicBezTo>
                  <a:lnTo>
                    <a:pt x="1176" y="1490"/>
                  </a:lnTo>
                  <a:cubicBezTo>
                    <a:pt x="1199" y="1482"/>
                    <a:pt x="1222" y="1482"/>
                    <a:pt x="1245" y="1467"/>
                  </a:cubicBezTo>
                  <a:cubicBezTo>
                    <a:pt x="1253" y="1467"/>
                    <a:pt x="1253" y="1444"/>
                    <a:pt x="1261" y="1444"/>
                  </a:cubicBezTo>
                  <a:cubicBezTo>
                    <a:pt x="1299" y="1436"/>
                    <a:pt x="1337" y="1444"/>
                    <a:pt x="1375" y="1436"/>
                  </a:cubicBezTo>
                  <a:lnTo>
                    <a:pt x="1375" y="1436"/>
                  </a:lnTo>
                  <a:cubicBezTo>
                    <a:pt x="1383" y="1421"/>
                    <a:pt x="1390" y="1398"/>
                    <a:pt x="1406" y="1398"/>
                  </a:cubicBezTo>
                  <a:cubicBezTo>
                    <a:pt x="1444" y="1391"/>
                    <a:pt x="1490" y="1406"/>
                    <a:pt x="1536" y="1406"/>
                  </a:cubicBezTo>
                  <a:cubicBezTo>
                    <a:pt x="1558" y="1406"/>
                    <a:pt x="1589" y="1406"/>
                    <a:pt x="1612" y="1391"/>
                  </a:cubicBezTo>
                  <a:cubicBezTo>
                    <a:pt x="1627" y="1391"/>
                    <a:pt x="1635" y="1375"/>
                    <a:pt x="1627" y="1368"/>
                  </a:cubicBezTo>
                  <a:cubicBezTo>
                    <a:pt x="1627" y="1352"/>
                    <a:pt x="1597" y="1345"/>
                    <a:pt x="1589" y="1322"/>
                  </a:cubicBezTo>
                  <a:cubicBezTo>
                    <a:pt x="1589" y="1291"/>
                    <a:pt x="1612" y="1268"/>
                    <a:pt x="1627" y="1245"/>
                  </a:cubicBezTo>
                  <a:lnTo>
                    <a:pt x="1627" y="1245"/>
                  </a:lnTo>
                  <a:cubicBezTo>
                    <a:pt x="1597" y="1230"/>
                    <a:pt x="1558" y="1222"/>
                    <a:pt x="1536" y="1207"/>
                  </a:cubicBezTo>
                  <a:cubicBezTo>
                    <a:pt x="1528" y="1200"/>
                    <a:pt x="1520" y="1184"/>
                    <a:pt x="1520" y="1169"/>
                  </a:cubicBezTo>
                  <a:cubicBezTo>
                    <a:pt x="1528" y="1161"/>
                    <a:pt x="1543" y="1169"/>
                    <a:pt x="1551" y="1154"/>
                  </a:cubicBezTo>
                  <a:cubicBezTo>
                    <a:pt x="1551" y="1146"/>
                    <a:pt x="1551" y="1131"/>
                    <a:pt x="1551" y="1116"/>
                  </a:cubicBezTo>
                  <a:cubicBezTo>
                    <a:pt x="1551" y="1085"/>
                    <a:pt x="1543" y="1062"/>
                    <a:pt x="1551" y="1032"/>
                  </a:cubicBezTo>
                  <a:cubicBezTo>
                    <a:pt x="1558" y="1016"/>
                    <a:pt x="1581" y="1009"/>
                    <a:pt x="1589" y="993"/>
                  </a:cubicBezTo>
                  <a:lnTo>
                    <a:pt x="1589" y="993"/>
                  </a:lnTo>
                  <a:cubicBezTo>
                    <a:pt x="1581" y="970"/>
                    <a:pt x="1589" y="932"/>
                    <a:pt x="1566" y="909"/>
                  </a:cubicBezTo>
                  <a:cubicBezTo>
                    <a:pt x="1558" y="902"/>
                    <a:pt x="1543" y="940"/>
                    <a:pt x="1528" y="932"/>
                  </a:cubicBezTo>
                  <a:cubicBezTo>
                    <a:pt x="1513" y="932"/>
                    <a:pt x="1513" y="902"/>
                    <a:pt x="1497" y="894"/>
                  </a:cubicBezTo>
                  <a:cubicBezTo>
                    <a:pt x="1474" y="886"/>
                    <a:pt x="1451" y="909"/>
                    <a:pt x="1428" y="894"/>
                  </a:cubicBezTo>
                  <a:cubicBezTo>
                    <a:pt x="1390" y="864"/>
                    <a:pt x="1375" y="802"/>
                    <a:pt x="1329" y="764"/>
                  </a:cubicBezTo>
                  <a:cubicBezTo>
                    <a:pt x="1314" y="757"/>
                    <a:pt x="1284" y="772"/>
                    <a:pt x="1261" y="772"/>
                  </a:cubicBezTo>
                  <a:cubicBezTo>
                    <a:pt x="1238" y="764"/>
                    <a:pt x="1230" y="734"/>
                    <a:pt x="1215" y="734"/>
                  </a:cubicBezTo>
                  <a:cubicBezTo>
                    <a:pt x="1192" y="734"/>
                    <a:pt x="1184" y="764"/>
                    <a:pt x="1169" y="757"/>
                  </a:cubicBezTo>
                  <a:cubicBezTo>
                    <a:pt x="1115" y="741"/>
                    <a:pt x="1070" y="711"/>
                    <a:pt x="1024" y="672"/>
                  </a:cubicBezTo>
                  <a:cubicBezTo>
                    <a:pt x="1001" y="657"/>
                    <a:pt x="978" y="642"/>
                    <a:pt x="963" y="619"/>
                  </a:cubicBezTo>
                  <a:cubicBezTo>
                    <a:pt x="955" y="604"/>
                    <a:pt x="986" y="596"/>
                    <a:pt x="986" y="581"/>
                  </a:cubicBezTo>
                  <a:cubicBezTo>
                    <a:pt x="986" y="566"/>
                    <a:pt x="955" y="558"/>
                    <a:pt x="955" y="543"/>
                  </a:cubicBezTo>
                  <a:cubicBezTo>
                    <a:pt x="947" y="520"/>
                    <a:pt x="940" y="489"/>
                    <a:pt x="955" y="466"/>
                  </a:cubicBezTo>
                  <a:cubicBezTo>
                    <a:pt x="970" y="451"/>
                    <a:pt x="1016" y="482"/>
                    <a:pt x="1024" y="459"/>
                  </a:cubicBezTo>
                  <a:cubicBezTo>
                    <a:pt x="1047" y="390"/>
                    <a:pt x="1001" y="321"/>
                    <a:pt x="1024" y="253"/>
                  </a:cubicBezTo>
                  <a:cubicBezTo>
                    <a:pt x="1031" y="230"/>
                    <a:pt x="1062" y="291"/>
                    <a:pt x="1085" y="291"/>
                  </a:cubicBezTo>
                  <a:cubicBezTo>
                    <a:pt x="1100" y="291"/>
                    <a:pt x="1100" y="260"/>
                    <a:pt x="1123" y="253"/>
                  </a:cubicBezTo>
                  <a:cubicBezTo>
                    <a:pt x="1131" y="245"/>
                    <a:pt x="1161" y="253"/>
                    <a:pt x="1169" y="237"/>
                  </a:cubicBezTo>
                  <a:cubicBezTo>
                    <a:pt x="1176" y="214"/>
                    <a:pt x="1169" y="176"/>
                    <a:pt x="1161" y="153"/>
                  </a:cubicBezTo>
                  <a:cubicBezTo>
                    <a:pt x="1146" y="130"/>
                    <a:pt x="1123" y="107"/>
                    <a:pt x="1100" y="107"/>
                  </a:cubicBezTo>
                  <a:cubicBezTo>
                    <a:pt x="1016" y="122"/>
                    <a:pt x="947" y="214"/>
                    <a:pt x="863" y="207"/>
                  </a:cubicBezTo>
                  <a:cubicBezTo>
                    <a:pt x="825" y="199"/>
                    <a:pt x="871" y="122"/>
                    <a:pt x="856" y="84"/>
                  </a:cubicBezTo>
                  <a:cubicBezTo>
                    <a:pt x="848" y="61"/>
                    <a:pt x="825" y="46"/>
                    <a:pt x="810" y="31"/>
                  </a:cubicBezTo>
                  <a:cubicBezTo>
                    <a:pt x="795" y="16"/>
                    <a:pt x="779" y="0"/>
                    <a:pt x="764" y="8"/>
                  </a:cubicBezTo>
                  <a:cubicBezTo>
                    <a:pt x="749" y="8"/>
                    <a:pt x="749" y="31"/>
                    <a:pt x="734" y="39"/>
                  </a:cubicBezTo>
                  <a:cubicBezTo>
                    <a:pt x="680" y="61"/>
                    <a:pt x="634" y="77"/>
                    <a:pt x="573" y="92"/>
                  </a:cubicBezTo>
                  <a:cubicBezTo>
                    <a:pt x="565" y="92"/>
                    <a:pt x="558" y="69"/>
                    <a:pt x="550" y="61"/>
                  </a:cubicBezTo>
                  <a:cubicBezTo>
                    <a:pt x="527" y="61"/>
                    <a:pt x="504" y="61"/>
                    <a:pt x="497" y="77"/>
                  </a:cubicBezTo>
                  <a:cubicBezTo>
                    <a:pt x="489" y="92"/>
                    <a:pt x="527" y="115"/>
                    <a:pt x="512" y="122"/>
                  </a:cubicBezTo>
                  <a:cubicBezTo>
                    <a:pt x="481" y="138"/>
                    <a:pt x="443" y="115"/>
                    <a:pt x="413" y="122"/>
                  </a:cubicBezTo>
                  <a:cubicBezTo>
                    <a:pt x="397" y="130"/>
                    <a:pt x="382" y="138"/>
                    <a:pt x="367" y="153"/>
                  </a:cubicBezTo>
                  <a:cubicBezTo>
                    <a:pt x="359" y="161"/>
                    <a:pt x="367" y="176"/>
                    <a:pt x="359" y="191"/>
                  </a:cubicBezTo>
                  <a:cubicBezTo>
                    <a:pt x="352" y="199"/>
                    <a:pt x="336" y="191"/>
                    <a:pt x="321" y="191"/>
                  </a:cubicBezTo>
                  <a:lnTo>
                    <a:pt x="321" y="191"/>
                  </a:lnTo>
                  <a:cubicBezTo>
                    <a:pt x="306" y="207"/>
                    <a:pt x="298" y="237"/>
                    <a:pt x="275" y="237"/>
                  </a:cubicBezTo>
                  <a:cubicBezTo>
                    <a:pt x="260" y="245"/>
                    <a:pt x="245" y="222"/>
                    <a:pt x="222" y="222"/>
                  </a:cubicBezTo>
                  <a:cubicBezTo>
                    <a:pt x="206" y="222"/>
                    <a:pt x="199" y="230"/>
                    <a:pt x="191" y="237"/>
                  </a:cubicBezTo>
                  <a:cubicBezTo>
                    <a:pt x="176" y="253"/>
                    <a:pt x="191" y="283"/>
                    <a:pt x="176" y="298"/>
                  </a:cubicBezTo>
                  <a:cubicBezTo>
                    <a:pt x="168" y="314"/>
                    <a:pt x="145" y="291"/>
                    <a:pt x="138" y="298"/>
                  </a:cubicBezTo>
                  <a:cubicBezTo>
                    <a:pt x="100" y="329"/>
                    <a:pt x="69" y="375"/>
                    <a:pt x="38" y="413"/>
                  </a:cubicBezTo>
                  <a:cubicBezTo>
                    <a:pt x="31" y="428"/>
                    <a:pt x="0" y="451"/>
                    <a:pt x="8" y="474"/>
                  </a:cubicBezTo>
                  <a:cubicBezTo>
                    <a:pt x="23" y="512"/>
                    <a:pt x="77" y="527"/>
                    <a:pt x="100" y="566"/>
                  </a:cubicBezTo>
                  <a:cubicBezTo>
                    <a:pt x="107" y="573"/>
                    <a:pt x="84" y="596"/>
                    <a:pt x="100" y="604"/>
                  </a:cubicBezTo>
                  <a:cubicBezTo>
                    <a:pt x="123" y="611"/>
                    <a:pt x="153" y="589"/>
                    <a:pt x="184" y="596"/>
                  </a:cubicBezTo>
                  <a:cubicBezTo>
                    <a:pt x="214" y="596"/>
                    <a:pt x="260" y="589"/>
                    <a:pt x="290" y="611"/>
                  </a:cubicBezTo>
                  <a:cubicBezTo>
                    <a:pt x="306" y="627"/>
                    <a:pt x="267" y="650"/>
                    <a:pt x="267" y="672"/>
                  </a:cubicBezTo>
                  <a:cubicBezTo>
                    <a:pt x="267" y="695"/>
                    <a:pt x="298" y="718"/>
                    <a:pt x="283" y="741"/>
                  </a:cubicBezTo>
                  <a:cubicBezTo>
                    <a:pt x="283" y="757"/>
                    <a:pt x="237" y="726"/>
                    <a:pt x="237" y="741"/>
                  </a:cubicBezTo>
                  <a:cubicBezTo>
                    <a:pt x="222" y="787"/>
                    <a:pt x="252" y="833"/>
                    <a:pt x="252" y="879"/>
                  </a:cubicBezTo>
                  <a:cubicBezTo>
                    <a:pt x="252" y="909"/>
                    <a:pt x="237" y="940"/>
                    <a:pt x="245" y="963"/>
                  </a:cubicBezTo>
                  <a:cubicBezTo>
                    <a:pt x="245" y="1001"/>
                    <a:pt x="267" y="1032"/>
                    <a:pt x="283" y="1062"/>
                  </a:cubicBezTo>
                  <a:cubicBezTo>
                    <a:pt x="298" y="1100"/>
                    <a:pt x="298" y="1154"/>
                    <a:pt x="329" y="1184"/>
                  </a:cubicBezTo>
                  <a:cubicBezTo>
                    <a:pt x="359" y="1215"/>
                    <a:pt x="413" y="1184"/>
                    <a:pt x="443" y="1207"/>
                  </a:cubicBezTo>
                  <a:cubicBezTo>
                    <a:pt x="466" y="1222"/>
                    <a:pt x="474" y="1261"/>
                    <a:pt x="489" y="129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23" name="Freeform 145"/>
            <p:cNvSpPr>
              <a:spLocks noChangeArrowheads="1"/>
            </p:cNvSpPr>
            <p:nvPr/>
          </p:nvSpPr>
          <p:spPr bwMode="auto">
            <a:xfrm>
              <a:off x="7833803" y="9539288"/>
              <a:ext cx="131753" cy="93662"/>
            </a:xfrm>
            <a:custGeom>
              <a:avLst/>
              <a:gdLst>
                <a:gd name="T0" fmla="*/ 321 w 368"/>
                <a:gd name="T1" fmla="*/ 260 h 261"/>
                <a:gd name="T2" fmla="*/ 321 w 368"/>
                <a:gd name="T3" fmla="*/ 260 h 261"/>
                <a:gd name="T4" fmla="*/ 367 w 368"/>
                <a:gd name="T5" fmla="*/ 176 h 261"/>
                <a:gd name="T6" fmla="*/ 336 w 368"/>
                <a:gd name="T7" fmla="*/ 123 h 261"/>
                <a:gd name="T8" fmla="*/ 275 w 368"/>
                <a:gd name="T9" fmla="*/ 123 h 261"/>
                <a:gd name="T10" fmla="*/ 260 w 368"/>
                <a:gd name="T11" fmla="*/ 54 h 261"/>
                <a:gd name="T12" fmla="*/ 183 w 368"/>
                <a:gd name="T13" fmla="*/ 23 h 261"/>
                <a:gd name="T14" fmla="*/ 183 w 368"/>
                <a:gd name="T15" fmla="*/ 23 h 261"/>
                <a:gd name="T16" fmla="*/ 115 w 368"/>
                <a:gd name="T17" fmla="*/ 8 h 261"/>
                <a:gd name="T18" fmla="*/ 92 w 368"/>
                <a:gd name="T19" fmla="*/ 54 h 261"/>
                <a:gd name="T20" fmla="*/ 15 w 368"/>
                <a:gd name="T21" fmla="*/ 54 h 261"/>
                <a:gd name="T22" fmla="*/ 61 w 368"/>
                <a:gd name="T23" fmla="*/ 199 h 261"/>
                <a:gd name="T24" fmla="*/ 61 w 368"/>
                <a:gd name="T25" fmla="*/ 199 h 261"/>
                <a:gd name="T26" fmla="*/ 321 w 368"/>
                <a:gd name="T27" fmla="*/ 26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8" h="261">
                  <a:moveTo>
                    <a:pt x="321" y="260"/>
                  </a:moveTo>
                  <a:lnTo>
                    <a:pt x="321" y="260"/>
                  </a:lnTo>
                  <a:cubicBezTo>
                    <a:pt x="336" y="237"/>
                    <a:pt x="367" y="199"/>
                    <a:pt x="367" y="176"/>
                  </a:cubicBezTo>
                  <a:cubicBezTo>
                    <a:pt x="367" y="153"/>
                    <a:pt x="359" y="130"/>
                    <a:pt x="336" y="123"/>
                  </a:cubicBezTo>
                  <a:cubicBezTo>
                    <a:pt x="321" y="115"/>
                    <a:pt x="290" y="138"/>
                    <a:pt x="275" y="123"/>
                  </a:cubicBezTo>
                  <a:cubicBezTo>
                    <a:pt x="260" y="107"/>
                    <a:pt x="275" y="69"/>
                    <a:pt x="260" y="54"/>
                  </a:cubicBezTo>
                  <a:cubicBezTo>
                    <a:pt x="244" y="31"/>
                    <a:pt x="206" y="31"/>
                    <a:pt x="183" y="23"/>
                  </a:cubicBezTo>
                  <a:lnTo>
                    <a:pt x="183" y="23"/>
                  </a:lnTo>
                  <a:cubicBezTo>
                    <a:pt x="161" y="15"/>
                    <a:pt x="138" y="0"/>
                    <a:pt x="115" y="8"/>
                  </a:cubicBezTo>
                  <a:cubicBezTo>
                    <a:pt x="99" y="8"/>
                    <a:pt x="107" y="46"/>
                    <a:pt x="92" y="54"/>
                  </a:cubicBezTo>
                  <a:cubicBezTo>
                    <a:pt x="69" y="69"/>
                    <a:pt x="23" y="31"/>
                    <a:pt x="15" y="54"/>
                  </a:cubicBezTo>
                  <a:cubicBezTo>
                    <a:pt x="0" y="92"/>
                    <a:pt x="46" y="161"/>
                    <a:pt x="61" y="199"/>
                  </a:cubicBezTo>
                  <a:lnTo>
                    <a:pt x="61" y="199"/>
                  </a:lnTo>
                  <a:cubicBezTo>
                    <a:pt x="153" y="207"/>
                    <a:pt x="237" y="229"/>
                    <a:pt x="321" y="26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24" name="Freeform 146"/>
            <p:cNvSpPr>
              <a:spLocks noChangeArrowheads="1"/>
            </p:cNvSpPr>
            <p:nvPr/>
          </p:nvSpPr>
          <p:spPr bwMode="auto">
            <a:xfrm>
              <a:off x="7898885" y="9302750"/>
              <a:ext cx="566701" cy="401638"/>
            </a:xfrm>
            <a:custGeom>
              <a:avLst/>
              <a:gdLst>
                <a:gd name="T0" fmla="*/ 245 w 1575"/>
                <a:gd name="T1" fmla="*/ 39 h 1117"/>
                <a:gd name="T2" fmla="*/ 245 w 1575"/>
                <a:gd name="T3" fmla="*/ 39 h 1117"/>
                <a:gd name="T4" fmla="*/ 291 w 1575"/>
                <a:gd name="T5" fmla="*/ 23 h 1117"/>
                <a:gd name="T6" fmla="*/ 291 w 1575"/>
                <a:gd name="T7" fmla="*/ 23 h 1117"/>
                <a:gd name="T8" fmla="*/ 451 w 1575"/>
                <a:gd name="T9" fmla="*/ 16 h 1117"/>
                <a:gd name="T10" fmla="*/ 466 w 1575"/>
                <a:gd name="T11" fmla="*/ 92 h 1117"/>
                <a:gd name="T12" fmla="*/ 611 w 1575"/>
                <a:gd name="T13" fmla="*/ 84 h 1117"/>
                <a:gd name="T14" fmla="*/ 726 w 1575"/>
                <a:gd name="T15" fmla="*/ 84 h 1117"/>
                <a:gd name="T16" fmla="*/ 795 w 1575"/>
                <a:gd name="T17" fmla="*/ 161 h 1117"/>
                <a:gd name="T18" fmla="*/ 909 w 1575"/>
                <a:gd name="T19" fmla="*/ 230 h 1117"/>
                <a:gd name="T20" fmla="*/ 963 w 1575"/>
                <a:gd name="T21" fmla="*/ 298 h 1117"/>
                <a:gd name="T22" fmla="*/ 1100 w 1575"/>
                <a:gd name="T23" fmla="*/ 375 h 1117"/>
                <a:gd name="T24" fmla="*/ 1207 w 1575"/>
                <a:gd name="T25" fmla="*/ 336 h 1117"/>
                <a:gd name="T26" fmla="*/ 1291 w 1575"/>
                <a:gd name="T27" fmla="*/ 375 h 1117"/>
                <a:gd name="T28" fmla="*/ 1391 w 1575"/>
                <a:gd name="T29" fmla="*/ 359 h 1117"/>
                <a:gd name="T30" fmla="*/ 1497 w 1575"/>
                <a:gd name="T31" fmla="*/ 505 h 1117"/>
                <a:gd name="T32" fmla="*/ 1566 w 1575"/>
                <a:gd name="T33" fmla="*/ 505 h 1117"/>
                <a:gd name="T34" fmla="*/ 1543 w 1575"/>
                <a:gd name="T35" fmla="*/ 611 h 1117"/>
                <a:gd name="T36" fmla="*/ 1543 w 1575"/>
                <a:gd name="T37" fmla="*/ 611 h 1117"/>
                <a:gd name="T38" fmla="*/ 1391 w 1575"/>
                <a:gd name="T39" fmla="*/ 604 h 1117"/>
                <a:gd name="T40" fmla="*/ 1192 w 1575"/>
                <a:gd name="T41" fmla="*/ 780 h 1117"/>
                <a:gd name="T42" fmla="*/ 1161 w 1575"/>
                <a:gd name="T43" fmla="*/ 795 h 1117"/>
                <a:gd name="T44" fmla="*/ 657 w 1575"/>
                <a:gd name="T45" fmla="*/ 1001 h 1117"/>
                <a:gd name="T46" fmla="*/ 321 w 1575"/>
                <a:gd name="T47" fmla="*/ 970 h 1117"/>
                <a:gd name="T48" fmla="*/ 199 w 1575"/>
                <a:gd name="T49" fmla="*/ 947 h 1117"/>
                <a:gd name="T50" fmla="*/ 138 w 1575"/>
                <a:gd name="T51" fmla="*/ 917 h 1117"/>
                <a:gd name="T52" fmla="*/ 138 w 1575"/>
                <a:gd name="T53" fmla="*/ 917 h 1117"/>
                <a:gd name="T54" fmla="*/ 184 w 1575"/>
                <a:gd name="T55" fmla="*/ 833 h 1117"/>
                <a:gd name="T56" fmla="*/ 153 w 1575"/>
                <a:gd name="T57" fmla="*/ 780 h 1117"/>
                <a:gd name="T58" fmla="*/ 92 w 1575"/>
                <a:gd name="T59" fmla="*/ 780 h 1117"/>
                <a:gd name="T60" fmla="*/ 77 w 1575"/>
                <a:gd name="T61" fmla="*/ 711 h 1117"/>
                <a:gd name="T62" fmla="*/ 0 w 1575"/>
                <a:gd name="T63" fmla="*/ 680 h 1117"/>
                <a:gd name="T64" fmla="*/ 0 w 1575"/>
                <a:gd name="T65" fmla="*/ 680 h 1117"/>
                <a:gd name="T66" fmla="*/ 39 w 1575"/>
                <a:gd name="T67" fmla="*/ 520 h 1117"/>
                <a:gd name="T68" fmla="*/ 31 w 1575"/>
                <a:gd name="T69" fmla="*/ 443 h 1117"/>
                <a:gd name="T70" fmla="*/ 77 w 1575"/>
                <a:gd name="T71" fmla="*/ 405 h 1117"/>
                <a:gd name="T72" fmla="*/ 191 w 1575"/>
                <a:gd name="T73" fmla="*/ 436 h 1117"/>
                <a:gd name="T74" fmla="*/ 222 w 1575"/>
                <a:gd name="T75" fmla="*/ 268 h 1117"/>
                <a:gd name="T76" fmla="*/ 161 w 1575"/>
                <a:gd name="T77" fmla="*/ 161 h 1117"/>
                <a:gd name="T78" fmla="*/ 275 w 1575"/>
                <a:gd name="T79" fmla="*/ 115 h 1117"/>
                <a:gd name="T80" fmla="*/ 245 w 1575"/>
                <a:gd name="T81" fmla="*/ 39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75" h="1117">
                  <a:moveTo>
                    <a:pt x="245" y="39"/>
                  </a:moveTo>
                  <a:lnTo>
                    <a:pt x="245" y="39"/>
                  </a:lnTo>
                  <a:cubicBezTo>
                    <a:pt x="291" y="23"/>
                    <a:pt x="291" y="23"/>
                    <a:pt x="291" y="23"/>
                  </a:cubicBezTo>
                  <a:lnTo>
                    <a:pt x="291" y="23"/>
                  </a:lnTo>
                  <a:cubicBezTo>
                    <a:pt x="344" y="23"/>
                    <a:pt x="405" y="0"/>
                    <a:pt x="451" y="16"/>
                  </a:cubicBezTo>
                  <a:cubicBezTo>
                    <a:pt x="474" y="31"/>
                    <a:pt x="443" y="84"/>
                    <a:pt x="466" y="92"/>
                  </a:cubicBezTo>
                  <a:cubicBezTo>
                    <a:pt x="512" y="107"/>
                    <a:pt x="566" y="92"/>
                    <a:pt x="611" y="84"/>
                  </a:cubicBezTo>
                  <a:cubicBezTo>
                    <a:pt x="650" y="84"/>
                    <a:pt x="688" y="69"/>
                    <a:pt x="726" y="84"/>
                  </a:cubicBezTo>
                  <a:cubicBezTo>
                    <a:pt x="757" y="100"/>
                    <a:pt x="772" y="138"/>
                    <a:pt x="795" y="161"/>
                  </a:cubicBezTo>
                  <a:cubicBezTo>
                    <a:pt x="833" y="191"/>
                    <a:pt x="871" y="207"/>
                    <a:pt x="909" y="230"/>
                  </a:cubicBezTo>
                  <a:cubicBezTo>
                    <a:pt x="932" y="253"/>
                    <a:pt x="940" y="283"/>
                    <a:pt x="963" y="298"/>
                  </a:cubicBezTo>
                  <a:cubicBezTo>
                    <a:pt x="1001" y="329"/>
                    <a:pt x="1047" y="359"/>
                    <a:pt x="1100" y="375"/>
                  </a:cubicBezTo>
                  <a:cubicBezTo>
                    <a:pt x="1139" y="375"/>
                    <a:pt x="1169" y="336"/>
                    <a:pt x="1207" y="336"/>
                  </a:cubicBezTo>
                  <a:cubicBezTo>
                    <a:pt x="1238" y="336"/>
                    <a:pt x="1261" y="367"/>
                    <a:pt x="1291" y="375"/>
                  </a:cubicBezTo>
                  <a:cubicBezTo>
                    <a:pt x="1322" y="375"/>
                    <a:pt x="1360" y="344"/>
                    <a:pt x="1391" y="359"/>
                  </a:cubicBezTo>
                  <a:cubicBezTo>
                    <a:pt x="1436" y="390"/>
                    <a:pt x="1452" y="466"/>
                    <a:pt x="1497" y="505"/>
                  </a:cubicBezTo>
                  <a:cubicBezTo>
                    <a:pt x="1513" y="520"/>
                    <a:pt x="1551" y="482"/>
                    <a:pt x="1566" y="505"/>
                  </a:cubicBezTo>
                  <a:cubicBezTo>
                    <a:pt x="1574" y="528"/>
                    <a:pt x="1543" y="589"/>
                    <a:pt x="1543" y="611"/>
                  </a:cubicBezTo>
                  <a:lnTo>
                    <a:pt x="1543" y="611"/>
                  </a:lnTo>
                  <a:cubicBezTo>
                    <a:pt x="1490" y="604"/>
                    <a:pt x="1429" y="589"/>
                    <a:pt x="1391" y="604"/>
                  </a:cubicBezTo>
                  <a:cubicBezTo>
                    <a:pt x="1306" y="634"/>
                    <a:pt x="1268" y="734"/>
                    <a:pt x="1192" y="780"/>
                  </a:cubicBezTo>
                  <a:cubicBezTo>
                    <a:pt x="1161" y="795"/>
                    <a:pt x="1161" y="795"/>
                    <a:pt x="1161" y="795"/>
                  </a:cubicBezTo>
                  <a:cubicBezTo>
                    <a:pt x="932" y="833"/>
                    <a:pt x="833" y="825"/>
                    <a:pt x="657" y="1001"/>
                  </a:cubicBezTo>
                  <a:cubicBezTo>
                    <a:pt x="543" y="1116"/>
                    <a:pt x="443" y="1047"/>
                    <a:pt x="321" y="970"/>
                  </a:cubicBezTo>
                  <a:cubicBezTo>
                    <a:pt x="291" y="947"/>
                    <a:pt x="237" y="963"/>
                    <a:pt x="199" y="947"/>
                  </a:cubicBezTo>
                  <a:cubicBezTo>
                    <a:pt x="176" y="932"/>
                    <a:pt x="161" y="925"/>
                    <a:pt x="138" y="917"/>
                  </a:cubicBezTo>
                  <a:lnTo>
                    <a:pt x="138" y="917"/>
                  </a:lnTo>
                  <a:cubicBezTo>
                    <a:pt x="153" y="894"/>
                    <a:pt x="184" y="856"/>
                    <a:pt x="184" y="833"/>
                  </a:cubicBezTo>
                  <a:cubicBezTo>
                    <a:pt x="184" y="810"/>
                    <a:pt x="176" y="787"/>
                    <a:pt x="153" y="780"/>
                  </a:cubicBezTo>
                  <a:cubicBezTo>
                    <a:pt x="138" y="772"/>
                    <a:pt x="107" y="795"/>
                    <a:pt x="92" y="780"/>
                  </a:cubicBezTo>
                  <a:cubicBezTo>
                    <a:pt x="77" y="764"/>
                    <a:pt x="92" y="726"/>
                    <a:pt x="77" y="711"/>
                  </a:cubicBezTo>
                  <a:cubicBezTo>
                    <a:pt x="61" y="688"/>
                    <a:pt x="23" y="688"/>
                    <a:pt x="0" y="680"/>
                  </a:cubicBezTo>
                  <a:lnTo>
                    <a:pt x="0" y="680"/>
                  </a:lnTo>
                  <a:cubicBezTo>
                    <a:pt x="8" y="627"/>
                    <a:pt x="31" y="573"/>
                    <a:pt x="39" y="520"/>
                  </a:cubicBezTo>
                  <a:cubicBezTo>
                    <a:pt x="46" y="497"/>
                    <a:pt x="23" y="466"/>
                    <a:pt x="31" y="443"/>
                  </a:cubicBezTo>
                  <a:cubicBezTo>
                    <a:pt x="39" y="428"/>
                    <a:pt x="54" y="405"/>
                    <a:pt x="77" y="405"/>
                  </a:cubicBezTo>
                  <a:cubicBezTo>
                    <a:pt x="115" y="398"/>
                    <a:pt x="161" y="459"/>
                    <a:pt x="191" y="436"/>
                  </a:cubicBezTo>
                  <a:cubicBezTo>
                    <a:pt x="230" y="398"/>
                    <a:pt x="222" y="321"/>
                    <a:pt x="222" y="268"/>
                  </a:cubicBezTo>
                  <a:cubicBezTo>
                    <a:pt x="214" y="230"/>
                    <a:pt x="153" y="199"/>
                    <a:pt x="161" y="161"/>
                  </a:cubicBezTo>
                  <a:cubicBezTo>
                    <a:pt x="176" y="123"/>
                    <a:pt x="253" y="146"/>
                    <a:pt x="275" y="115"/>
                  </a:cubicBezTo>
                  <a:cubicBezTo>
                    <a:pt x="291" y="92"/>
                    <a:pt x="260" y="61"/>
                    <a:pt x="245" y="39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25" name="Freeform 147"/>
            <p:cNvSpPr>
              <a:spLocks noChangeArrowheads="1"/>
            </p:cNvSpPr>
            <p:nvPr/>
          </p:nvSpPr>
          <p:spPr bwMode="auto">
            <a:xfrm>
              <a:off x="7435366" y="9293225"/>
              <a:ext cx="569876" cy="419100"/>
            </a:xfrm>
            <a:custGeom>
              <a:avLst/>
              <a:gdLst>
                <a:gd name="T0" fmla="*/ 1290 w 1582"/>
                <a:gd name="T1" fmla="*/ 710 h 1162"/>
                <a:gd name="T2" fmla="*/ 1290 w 1582"/>
                <a:gd name="T3" fmla="*/ 710 h 1162"/>
                <a:gd name="T4" fmla="*/ 1329 w 1582"/>
                <a:gd name="T5" fmla="*/ 550 h 1162"/>
                <a:gd name="T6" fmla="*/ 1321 w 1582"/>
                <a:gd name="T7" fmla="*/ 473 h 1162"/>
                <a:gd name="T8" fmla="*/ 1367 w 1582"/>
                <a:gd name="T9" fmla="*/ 435 h 1162"/>
                <a:gd name="T10" fmla="*/ 1481 w 1582"/>
                <a:gd name="T11" fmla="*/ 466 h 1162"/>
                <a:gd name="T12" fmla="*/ 1512 w 1582"/>
                <a:gd name="T13" fmla="*/ 298 h 1162"/>
                <a:gd name="T14" fmla="*/ 1451 w 1582"/>
                <a:gd name="T15" fmla="*/ 191 h 1162"/>
                <a:gd name="T16" fmla="*/ 1565 w 1582"/>
                <a:gd name="T17" fmla="*/ 145 h 1162"/>
                <a:gd name="T18" fmla="*/ 1535 w 1582"/>
                <a:gd name="T19" fmla="*/ 69 h 1162"/>
                <a:gd name="T20" fmla="*/ 1535 w 1582"/>
                <a:gd name="T21" fmla="*/ 69 h 1162"/>
                <a:gd name="T22" fmla="*/ 1390 w 1582"/>
                <a:gd name="T23" fmla="*/ 61 h 1162"/>
                <a:gd name="T24" fmla="*/ 1298 w 1582"/>
                <a:gd name="T25" fmla="*/ 69 h 1162"/>
                <a:gd name="T26" fmla="*/ 1260 w 1582"/>
                <a:gd name="T27" fmla="*/ 8 h 1162"/>
                <a:gd name="T28" fmla="*/ 1199 w 1582"/>
                <a:gd name="T29" fmla="*/ 0 h 1162"/>
                <a:gd name="T30" fmla="*/ 1099 w 1582"/>
                <a:gd name="T31" fmla="*/ 69 h 1162"/>
                <a:gd name="T32" fmla="*/ 832 w 1582"/>
                <a:gd name="T33" fmla="*/ 160 h 1162"/>
                <a:gd name="T34" fmla="*/ 626 w 1582"/>
                <a:gd name="T35" fmla="*/ 206 h 1162"/>
                <a:gd name="T36" fmla="*/ 526 w 1582"/>
                <a:gd name="T37" fmla="*/ 198 h 1162"/>
                <a:gd name="T38" fmla="*/ 420 w 1582"/>
                <a:gd name="T39" fmla="*/ 221 h 1162"/>
                <a:gd name="T40" fmla="*/ 320 w 1582"/>
                <a:gd name="T41" fmla="*/ 198 h 1162"/>
                <a:gd name="T42" fmla="*/ 320 w 1582"/>
                <a:gd name="T43" fmla="*/ 198 h 1162"/>
                <a:gd name="T44" fmla="*/ 229 w 1582"/>
                <a:gd name="T45" fmla="*/ 260 h 1162"/>
                <a:gd name="T46" fmla="*/ 175 w 1582"/>
                <a:gd name="T47" fmla="*/ 252 h 1162"/>
                <a:gd name="T48" fmla="*/ 107 w 1582"/>
                <a:gd name="T49" fmla="*/ 344 h 1162"/>
                <a:gd name="T50" fmla="*/ 45 w 1582"/>
                <a:gd name="T51" fmla="*/ 504 h 1162"/>
                <a:gd name="T52" fmla="*/ 0 w 1582"/>
                <a:gd name="T53" fmla="*/ 672 h 1162"/>
                <a:gd name="T54" fmla="*/ 38 w 1582"/>
                <a:gd name="T55" fmla="*/ 741 h 1162"/>
                <a:gd name="T56" fmla="*/ 0 w 1582"/>
                <a:gd name="T57" fmla="*/ 825 h 1162"/>
                <a:gd name="T58" fmla="*/ 38 w 1582"/>
                <a:gd name="T59" fmla="*/ 1023 h 1162"/>
                <a:gd name="T60" fmla="*/ 38 w 1582"/>
                <a:gd name="T61" fmla="*/ 1023 h 1162"/>
                <a:gd name="T62" fmla="*/ 76 w 1582"/>
                <a:gd name="T63" fmla="*/ 1031 h 1162"/>
                <a:gd name="T64" fmla="*/ 236 w 1582"/>
                <a:gd name="T65" fmla="*/ 1161 h 1162"/>
                <a:gd name="T66" fmla="*/ 236 w 1582"/>
                <a:gd name="T67" fmla="*/ 1161 h 1162"/>
                <a:gd name="T68" fmla="*/ 595 w 1582"/>
                <a:gd name="T69" fmla="*/ 947 h 1162"/>
                <a:gd name="T70" fmla="*/ 1069 w 1582"/>
                <a:gd name="T71" fmla="*/ 878 h 1162"/>
                <a:gd name="T72" fmla="*/ 1168 w 1582"/>
                <a:gd name="T73" fmla="*/ 886 h 1162"/>
                <a:gd name="T74" fmla="*/ 1168 w 1582"/>
                <a:gd name="T75" fmla="*/ 886 h 1162"/>
                <a:gd name="T76" fmla="*/ 1122 w 1582"/>
                <a:gd name="T77" fmla="*/ 741 h 1162"/>
                <a:gd name="T78" fmla="*/ 1199 w 1582"/>
                <a:gd name="T79" fmla="*/ 741 h 1162"/>
                <a:gd name="T80" fmla="*/ 1222 w 1582"/>
                <a:gd name="T81" fmla="*/ 695 h 1162"/>
                <a:gd name="T82" fmla="*/ 1290 w 1582"/>
                <a:gd name="T83" fmla="*/ 710 h 1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82" h="1162">
                  <a:moveTo>
                    <a:pt x="1290" y="710"/>
                  </a:moveTo>
                  <a:lnTo>
                    <a:pt x="1290" y="710"/>
                  </a:lnTo>
                  <a:cubicBezTo>
                    <a:pt x="1298" y="657"/>
                    <a:pt x="1321" y="603"/>
                    <a:pt x="1329" y="550"/>
                  </a:cubicBezTo>
                  <a:cubicBezTo>
                    <a:pt x="1336" y="527"/>
                    <a:pt x="1313" y="496"/>
                    <a:pt x="1321" y="473"/>
                  </a:cubicBezTo>
                  <a:cubicBezTo>
                    <a:pt x="1329" y="458"/>
                    <a:pt x="1344" y="435"/>
                    <a:pt x="1367" y="435"/>
                  </a:cubicBezTo>
                  <a:cubicBezTo>
                    <a:pt x="1405" y="428"/>
                    <a:pt x="1451" y="489"/>
                    <a:pt x="1481" y="466"/>
                  </a:cubicBezTo>
                  <a:cubicBezTo>
                    <a:pt x="1520" y="428"/>
                    <a:pt x="1512" y="351"/>
                    <a:pt x="1512" y="298"/>
                  </a:cubicBezTo>
                  <a:cubicBezTo>
                    <a:pt x="1504" y="260"/>
                    <a:pt x="1443" y="229"/>
                    <a:pt x="1451" y="191"/>
                  </a:cubicBezTo>
                  <a:cubicBezTo>
                    <a:pt x="1466" y="153"/>
                    <a:pt x="1543" y="176"/>
                    <a:pt x="1565" y="145"/>
                  </a:cubicBezTo>
                  <a:cubicBezTo>
                    <a:pt x="1581" y="122"/>
                    <a:pt x="1550" y="91"/>
                    <a:pt x="1535" y="69"/>
                  </a:cubicBezTo>
                  <a:lnTo>
                    <a:pt x="1535" y="69"/>
                  </a:lnTo>
                  <a:cubicBezTo>
                    <a:pt x="1489" y="69"/>
                    <a:pt x="1443" y="61"/>
                    <a:pt x="1390" y="61"/>
                  </a:cubicBezTo>
                  <a:cubicBezTo>
                    <a:pt x="1359" y="69"/>
                    <a:pt x="1329" y="84"/>
                    <a:pt x="1298" y="69"/>
                  </a:cubicBezTo>
                  <a:cubicBezTo>
                    <a:pt x="1275" y="61"/>
                    <a:pt x="1275" y="30"/>
                    <a:pt x="1260" y="8"/>
                  </a:cubicBezTo>
                  <a:cubicBezTo>
                    <a:pt x="1260" y="8"/>
                    <a:pt x="1206" y="0"/>
                    <a:pt x="1199" y="0"/>
                  </a:cubicBezTo>
                  <a:cubicBezTo>
                    <a:pt x="1191" y="0"/>
                    <a:pt x="1099" y="69"/>
                    <a:pt x="1099" y="69"/>
                  </a:cubicBezTo>
                  <a:cubicBezTo>
                    <a:pt x="1008" y="99"/>
                    <a:pt x="924" y="130"/>
                    <a:pt x="832" y="160"/>
                  </a:cubicBezTo>
                  <a:cubicBezTo>
                    <a:pt x="763" y="176"/>
                    <a:pt x="695" y="198"/>
                    <a:pt x="626" y="206"/>
                  </a:cubicBezTo>
                  <a:cubicBezTo>
                    <a:pt x="595" y="206"/>
                    <a:pt x="557" y="191"/>
                    <a:pt x="526" y="198"/>
                  </a:cubicBezTo>
                  <a:cubicBezTo>
                    <a:pt x="488" y="198"/>
                    <a:pt x="458" y="221"/>
                    <a:pt x="420" y="221"/>
                  </a:cubicBezTo>
                  <a:cubicBezTo>
                    <a:pt x="382" y="221"/>
                    <a:pt x="351" y="206"/>
                    <a:pt x="320" y="198"/>
                  </a:cubicBezTo>
                  <a:lnTo>
                    <a:pt x="320" y="198"/>
                  </a:lnTo>
                  <a:cubicBezTo>
                    <a:pt x="290" y="214"/>
                    <a:pt x="259" y="244"/>
                    <a:pt x="229" y="260"/>
                  </a:cubicBezTo>
                  <a:cubicBezTo>
                    <a:pt x="213" y="267"/>
                    <a:pt x="190" y="244"/>
                    <a:pt x="175" y="252"/>
                  </a:cubicBezTo>
                  <a:cubicBezTo>
                    <a:pt x="145" y="275"/>
                    <a:pt x="122" y="313"/>
                    <a:pt x="107" y="344"/>
                  </a:cubicBezTo>
                  <a:cubicBezTo>
                    <a:pt x="84" y="397"/>
                    <a:pt x="68" y="450"/>
                    <a:pt x="45" y="504"/>
                  </a:cubicBezTo>
                  <a:cubicBezTo>
                    <a:pt x="30" y="558"/>
                    <a:pt x="7" y="611"/>
                    <a:pt x="0" y="672"/>
                  </a:cubicBezTo>
                  <a:cubicBezTo>
                    <a:pt x="0" y="695"/>
                    <a:pt x="38" y="710"/>
                    <a:pt x="38" y="741"/>
                  </a:cubicBezTo>
                  <a:cubicBezTo>
                    <a:pt x="38" y="771"/>
                    <a:pt x="0" y="794"/>
                    <a:pt x="0" y="825"/>
                  </a:cubicBezTo>
                  <a:cubicBezTo>
                    <a:pt x="0" y="871"/>
                    <a:pt x="30" y="985"/>
                    <a:pt x="38" y="1023"/>
                  </a:cubicBezTo>
                  <a:lnTo>
                    <a:pt x="38" y="1023"/>
                  </a:lnTo>
                  <a:cubicBezTo>
                    <a:pt x="53" y="1023"/>
                    <a:pt x="61" y="1031"/>
                    <a:pt x="76" y="1031"/>
                  </a:cubicBezTo>
                  <a:cubicBezTo>
                    <a:pt x="129" y="1046"/>
                    <a:pt x="198" y="1161"/>
                    <a:pt x="236" y="1161"/>
                  </a:cubicBezTo>
                  <a:lnTo>
                    <a:pt x="236" y="1161"/>
                  </a:lnTo>
                  <a:cubicBezTo>
                    <a:pt x="236" y="1000"/>
                    <a:pt x="481" y="970"/>
                    <a:pt x="595" y="947"/>
                  </a:cubicBezTo>
                  <a:cubicBezTo>
                    <a:pt x="763" y="909"/>
                    <a:pt x="901" y="962"/>
                    <a:pt x="1069" y="878"/>
                  </a:cubicBezTo>
                  <a:cubicBezTo>
                    <a:pt x="1099" y="878"/>
                    <a:pt x="1138" y="878"/>
                    <a:pt x="1168" y="886"/>
                  </a:cubicBezTo>
                  <a:lnTo>
                    <a:pt x="1168" y="886"/>
                  </a:lnTo>
                  <a:cubicBezTo>
                    <a:pt x="1153" y="848"/>
                    <a:pt x="1107" y="779"/>
                    <a:pt x="1122" y="741"/>
                  </a:cubicBezTo>
                  <a:cubicBezTo>
                    <a:pt x="1130" y="718"/>
                    <a:pt x="1176" y="756"/>
                    <a:pt x="1199" y="741"/>
                  </a:cubicBezTo>
                  <a:cubicBezTo>
                    <a:pt x="1214" y="733"/>
                    <a:pt x="1206" y="695"/>
                    <a:pt x="1222" y="695"/>
                  </a:cubicBezTo>
                  <a:cubicBezTo>
                    <a:pt x="1245" y="687"/>
                    <a:pt x="1268" y="702"/>
                    <a:pt x="1290" y="71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26" name="Freeform 148"/>
            <p:cNvSpPr>
              <a:spLocks noChangeArrowheads="1"/>
            </p:cNvSpPr>
            <p:nvPr/>
          </p:nvSpPr>
          <p:spPr bwMode="auto">
            <a:xfrm>
              <a:off x="5801935" y="9144001"/>
              <a:ext cx="893704" cy="461963"/>
            </a:xfrm>
            <a:custGeom>
              <a:avLst/>
              <a:gdLst>
                <a:gd name="T0" fmla="*/ 2397 w 2482"/>
                <a:gd name="T1" fmla="*/ 23 h 1285"/>
                <a:gd name="T2" fmla="*/ 2466 w 2482"/>
                <a:gd name="T3" fmla="*/ 229 h 1285"/>
                <a:gd name="T4" fmla="*/ 2282 w 2482"/>
                <a:gd name="T5" fmla="*/ 550 h 1285"/>
                <a:gd name="T6" fmla="*/ 2336 w 2482"/>
                <a:gd name="T7" fmla="*/ 627 h 1285"/>
                <a:gd name="T8" fmla="*/ 2328 w 2482"/>
                <a:gd name="T9" fmla="*/ 726 h 1285"/>
                <a:gd name="T10" fmla="*/ 2328 w 2482"/>
                <a:gd name="T11" fmla="*/ 886 h 1285"/>
                <a:gd name="T12" fmla="*/ 2137 w 2482"/>
                <a:gd name="T13" fmla="*/ 963 h 1285"/>
                <a:gd name="T14" fmla="*/ 1916 w 2482"/>
                <a:gd name="T15" fmla="*/ 886 h 1285"/>
                <a:gd name="T16" fmla="*/ 1900 w 2482"/>
                <a:gd name="T17" fmla="*/ 1115 h 1285"/>
                <a:gd name="T18" fmla="*/ 1580 w 2482"/>
                <a:gd name="T19" fmla="*/ 1184 h 1285"/>
                <a:gd name="T20" fmla="*/ 1427 w 2482"/>
                <a:gd name="T21" fmla="*/ 1230 h 1285"/>
                <a:gd name="T22" fmla="*/ 1373 w 2482"/>
                <a:gd name="T23" fmla="*/ 1284 h 1285"/>
                <a:gd name="T24" fmla="*/ 1243 w 2482"/>
                <a:gd name="T25" fmla="*/ 1200 h 1285"/>
                <a:gd name="T26" fmla="*/ 1228 w 2482"/>
                <a:gd name="T27" fmla="*/ 1070 h 1285"/>
                <a:gd name="T28" fmla="*/ 1068 w 2482"/>
                <a:gd name="T29" fmla="*/ 1093 h 1285"/>
                <a:gd name="T30" fmla="*/ 1037 w 2482"/>
                <a:gd name="T31" fmla="*/ 955 h 1285"/>
                <a:gd name="T32" fmla="*/ 794 w 2482"/>
                <a:gd name="T33" fmla="*/ 871 h 1285"/>
                <a:gd name="T34" fmla="*/ 710 w 2482"/>
                <a:gd name="T35" fmla="*/ 772 h 1285"/>
                <a:gd name="T36" fmla="*/ 595 w 2482"/>
                <a:gd name="T37" fmla="*/ 764 h 1285"/>
                <a:gd name="T38" fmla="*/ 511 w 2482"/>
                <a:gd name="T39" fmla="*/ 741 h 1285"/>
                <a:gd name="T40" fmla="*/ 351 w 2482"/>
                <a:gd name="T41" fmla="*/ 795 h 1285"/>
                <a:gd name="T42" fmla="*/ 366 w 2482"/>
                <a:gd name="T43" fmla="*/ 680 h 1285"/>
                <a:gd name="T44" fmla="*/ 198 w 2482"/>
                <a:gd name="T45" fmla="*/ 619 h 1285"/>
                <a:gd name="T46" fmla="*/ 15 w 2482"/>
                <a:gd name="T47" fmla="*/ 375 h 1285"/>
                <a:gd name="T48" fmla="*/ 183 w 2482"/>
                <a:gd name="T49" fmla="*/ 359 h 1285"/>
                <a:gd name="T50" fmla="*/ 183 w 2482"/>
                <a:gd name="T51" fmla="*/ 321 h 1285"/>
                <a:gd name="T52" fmla="*/ 702 w 2482"/>
                <a:gd name="T53" fmla="*/ 375 h 1285"/>
                <a:gd name="T54" fmla="*/ 1114 w 2482"/>
                <a:gd name="T55" fmla="*/ 314 h 1285"/>
                <a:gd name="T56" fmla="*/ 1259 w 2482"/>
                <a:gd name="T57" fmla="*/ 168 h 1285"/>
                <a:gd name="T58" fmla="*/ 1282 w 2482"/>
                <a:gd name="T59" fmla="*/ 0 h 1285"/>
                <a:gd name="T60" fmla="*/ 1358 w 2482"/>
                <a:gd name="T61" fmla="*/ 77 h 1285"/>
                <a:gd name="T62" fmla="*/ 1473 w 2482"/>
                <a:gd name="T63" fmla="*/ 77 h 1285"/>
                <a:gd name="T64" fmla="*/ 1587 w 2482"/>
                <a:gd name="T65" fmla="*/ 16 h 1285"/>
                <a:gd name="T66" fmla="*/ 1786 w 2482"/>
                <a:gd name="T67" fmla="*/ 39 h 1285"/>
                <a:gd name="T68" fmla="*/ 2000 w 2482"/>
                <a:gd name="T69" fmla="*/ 85 h 1285"/>
                <a:gd name="T70" fmla="*/ 2129 w 2482"/>
                <a:gd name="T71" fmla="*/ 146 h 1285"/>
                <a:gd name="T72" fmla="*/ 2397 w 2482"/>
                <a:gd name="T73" fmla="*/ 23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82" h="1285">
                  <a:moveTo>
                    <a:pt x="2397" y="23"/>
                  </a:moveTo>
                  <a:lnTo>
                    <a:pt x="2397" y="23"/>
                  </a:lnTo>
                  <a:cubicBezTo>
                    <a:pt x="2412" y="46"/>
                    <a:pt x="2435" y="69"/>
                    <a:pt x="2443" y="100"/>
                  </a:cubicBezTo>
                  <a:cubicBezTo>
                    <a:pt x="2458" y="138"/>
                    <a:pt x="2481" y="191"/>
                    <a:pt x="2466" y="229"/>
                  </a:cubicBezTo>
                  <a:cubicBezTo>
                    <a:pt x="2435" y="321"/>
                    <a:pt x="2374" y="398"/>
                    <a:pt x="2328" y="482"/>
                  </a:cubicBezTo>
                  <a:cubicBezTo>
                    <a:pt x="2313" y="504"/>
                    <a:pt x="2282" y="520"/>
                    <a:pt x="2282" y="550"/>
                  </a:cubicBezTo>
                  <a:cubicBezTo>
                    <a:pt x="2282" y="581"/>
                    <a:pt x="2321" y="604"/>
                    <a:pt x="2336" y="627"/>
                  </a:cubicBezTo>
                  <a:lnTo>
                    <a:pt x="2336" y="627"/>
                  </a:lnTo>
                  <a:cubicBezTo>
                    <a:pt x="2328" y="634"/>
                    <a:pt x="2313" y="642"/>
                    <a:pt x="2305" y="650"/>
                  </a:cubicBezTo>
                  <a:cubicBezTo>
                    <a:pt x="2305" y="680"/>
                    <a:pt x="2336" y="703"/>
                    <a:pt x="2328" y="726"/>
                  </a:cubicBezTo>
                  <a:cubicBezTo>
                    <a:pt x="2313" y="772"/>
                    <a:pt x="2252" y="795"/>
                    <a:pt x="2252" y="833"/>
                  </a:cubicBezTo>
                  <a:cubicBezTo>
                    <a:pt x="2252" y="863"/>
                    <a:pt x="2343" y="871"/>
                    <a:pt x="2328" y="886"/>
                  </a:cubicBezTo>
                  <a:cubicBezTo>
                    <a:pt x="2290" y="925"/>
                    <a:pt x="2221" y="894"/>
                    <a:pt x="2175" y="909"/>
                  </a:cubicBezTo>
                  <a:cubicBezTo>
                    <a:pt x="2160" y="917"/>
                    <a:pt x="2152" y="971"/>
                    <a:pt x="2137" y="963"/>
                  </a:cubicBezTo>
                  <a:cubicBezTo>
                    <a:pt x="2091" y="940"/>
                    <a:pt x="2099" y="863"/>
                    <a:pt x="2053" y="848"/>
                  </a:cubicBezTo>
                  <a:cubicBezTo>
                    <a:pt x="2007" y="833"/>
                    <a:pt x="1954" y="856"/>
                    <a:pt x="1916" y="886"/>
                  </a:cubicBezTo>
                  <a:cubicBezTo>
                    <a:pt x="1900" y="902"/>
                    <a:pt x="1908" y="940"/>
                    <a:pt x="1908" y="971"/>
                  </a:cubicBezTo>
                  <a:cubicBezTo>
                    <a:pt x="1900" y="1016"/>
                    <a:pt x="1923" y="1070"/>
                    <a:pt x="1900" y="1115"/>
                  </a:cubicBezTo>
                  <a:cubicBezTo>
                    <a:pt x="1893" y="1138"/>
                    <a:pt x="1854" y="1123"/>
                    <a:pt x="1839" y="1123"/>
                  </a:cubicBezTo>
                  <a:cubicBezTo>
                    <a:pt x="1755" y="1146"/>
                    <a:pt x="1664" y="1161"/>
                    <a:pt x="1580" y="1184"/>
                  </a:cubicBezTo>
                  <a:cubicBezTo>
                    <a:pt x="1557" y="1192"/>
                    <a:pt x="1541" y="1200"/>
                    <a:pt x="1518" y="1207"/>
                  </a:cubicBezTo>
                  <a:cubicBezTo>
                    <a:pt x="1488" y="1215"/>
                    <a:pt x="1450" y="1215"/>
                    <a:pt x="1427" y="1230"/>
                  </a:cubicBezTo>
                  <a:cubicBezTo>
                    <a:pt x="1404" y="1238"/>
                    <a:pt x="1396" y="1268"/>
                    <a:pt x="1373" y="1284"/>
                  </a:cubicBezTo>
                  <a:lnTo>
                    <a:pt x="1373" y="1284"/>
                  </a:lnTo>
                  <a:cubicBezTo>
                    <a:pt x="1358" y="1253"/>
                    <a:pt x="1358" y="1215"/>
                    <a:pt x="1328" y="1192"/>
                  </a:cubicBezTo>
                  <a:cubicBezTo>
                    <a:pt x="1305" y="1177"/>
                    <a:pt x="1266" y="1207"/>
                    <a:pt x="1243" y="1200"/>
                  </a:cubicBezTo>
                  <a:cubicBezTo>
                    <a:pt x="1221" y="1184"/>
                    <a:pt x="1213" y="1154"/>
                    <a:pt x="1213" y="1131"/>
                  </a:cubicBezTo>
                  <a:cubicBezTo>
                    <a:pt x="1205" y="1108"/>
                    <a:pt x="1236" y="1085"/>
                    <a:pt x="1228" y="1070"/>
                  </a:cubicBezTo>
                  <a:cubicBezTo>
                    <a:pt x="1221" y="1054"/>
                    <a:pt x="1198" y="1062"/>
                    <a:pt x="1182" y="1062"/>
                  </a:cubicBezTo>
                  <a:cubicBezTo>
                    <a:pt x="1144" y="1070"/>
                    <a:pt x="1106" y="1093"/>
                    <a:pt x="1068" y="1093"/>
                  </a:cubicBezTo>
                  <a:cubicBezTo>
                    <a:pt x="1045" y="1085"/>
                    <a:pt x="1022" y="1070"/>
                    <a:pt x="1022" y="1047"/>
                  </a:cubicBezTo>
                  <a:cubicBezTo>
                    <a:pt x="1014" y="1016"/>
                    <a:pt x="1060" y="978"/>
                    <a:pt x="1037" y="955"/>
                  </a:cubicBezTo>
                  <a:cubicBezTo>
                    <a:pt x="999" y="932"/>
                    <a:pt x="947" y="978"/>
                    <a:pt x="908" y="963"/>
                  </a:cubicBezTo>
                  <a:cubicBezTo>
                    <a:pt x="863" y="948"/>
                    <a:pt x="840" y="894"/>
                    <a:pt x="794" y="871"/>
                  </a:cubicBezTo>
                  <a:cubicBezTo>
                    <a:pt x="771" y="856"/>
                    <a:pt x="733" y="894"/>
                    <a:pt x="717" y="871"/>
                  </a:cubicBezTo>
                  <a:cubicBezTo>
                    <a:pt x="694" y="848"/>
                    <a:pt x="725" y="802"/>
                    <a:pt x="710" y="772"/>
                  </a:cubicBezTo>
                  <a:cubicBezTo>
                    <a:pt x="702" y="757"/>
                    <a:pt x="679" y="749"/>
                    <a:pt x="656" y="749"/>
                  </a:cubicBezTo>
                  <a:cubicBezTo>
                    <a:pt x="641" y="749"/>
                    <a:pt x="618" y="764"/>
                    <a:pt x="595" y="764"/>
                  </a:cubicBezTo>
                  <a:cubicBezTo>
                    <a:pt x="588" y="764"/>
                    <a:pt x="580" y="741"/>
                    <a:pt x="572" y="741"/>
                  </a:cubicBezTo>
                  <a:cubicBezTo>
                    <a:pt x="550" y="734"/>
                    <a:pt x="527" y="726"/>
                    <a:pt x="511" y="741"/>
                  </a:cubicBezTo>
                  <a:cubicBezTo>
                    <a:pt x="496" y="757"/>
                    <a:pt x="496" y="802"/>
                    <a:pt x="473" y="810"/>
                  </a:cubicBezTo>
                  <a:cubicBezTo>
                    <a:pt x="435" y="825"/>
                    <a:pt x="381" y="818"/>
                    <a:pt x="351" y="795"/>
                  </a:cubicBezTo>
                  <a:cubicBezTo>
                    <a:pt x="336" y="779"/>
                    <a:pt x="366" y="757"/>
                    <a:pt x="366" y="734"/>
                  </a:cubicBezTo>
                  <a:cubicBezTo>
                    <a:pt x="374" y="718"/>
                    <a:pt x="381" y="696"/>
                    <a:pt x="366" y="680"/>
                  </a:cubicBezTo>
                  <a:cubicBezTo>
                    <a:pt x="358" y="665"/>
                    <a:pt x="336" y="680"/>
                    <a:pt x="320" y="680"/>
                  </a:cubicBezTo>
                  <a:cubicBezTo>
                    <a:pt x="275" y="665"/>
                    <a:pt x="236" y="642"/>
                    <a:pt x="198" y="619"/>
                  </a:cubicBezTo>
                  <a:cubicBezTo>
                    <a:pt x="137" y="573"/>
                    <a:pt x="68" y="535"/>
                    <a:pt x="30" y="482"/>
                  </a:cubicBezTo>
                  <a:cubicBezTo>
                    <a:pt x="7" y="451"/>
                    <a:pt x="0" y="405"/>
                    <a:pt x="15" y="375"/>
                  </a:cubicBezTo>
                  <a:cubicBezTo>
                    <a:pt x="22" y="359"/>
                    <a:pt x="53" y="367"/>
                    <a:pt x="68" y="367"/>
                  </a:cubicBezTo>
                  <a:cubicBezTo>
                    <a:pt x="106" y="359"/>
                    <a:pt x="152" y="375"/>
                    <a:pt x="183" y="359"/>
                  </a:cubicBezTo>
                  <a:cubicBezTo>
                    <a:pt x="198" y="344"/>
                    <a:pt x="183" y="344"/>
                    <a:pt x="183" y="321"/>
                  </a:cubicBezTo>
                  <a:lnTo>
                    <a:pt x="183" y="321"/>
                  </a:lnTo>
                  <a:cubicBezTo>
                    <a:pt x="313" y="329"/>
                    <a:pt x="481" y="268"/>
                    <a:pt x="572" y="306"/>
                  </a:cubicBezTo>
                  <a:cubicBezTo>
                    <a:pt x="603" y="329"/>
                    <a:pt x="656" y="382"/>
                    <a:pt x="702" y="375"/>
                  </a:cubicBezTo>
                  <a:cubicBezTo>
                    <a:pt x="809" y="398"/>
                    <a:pt x="847" y="382"/>
                    <a:pt x="939" y="359"/>
                  </a:cubicBezTo>
                  <a:cubicBezTo>
                    <a:pt x="1014" y="337"/>
                    <a:pt x="1037" y="275"/>
                    <a:pt x="1114" y="314"/>
                  </a:cubicBezTo>
                  <a:cubicBezTo>
                    <a:pt x="1152" y="329"/>
                    <a:pt x="1182" y="344"/>
                    <a:pt x="1221" y="306"/>
                  </a:cubicBezTo>
                  <a:cubicBezTo>
                    <a:pt x="1266" y="268"/>
                    <a:pt x="1259" y="222"/>
                    <a:pt x="1259" y="168"/>
                  </a:cubicBezTo>
                  <a:cubicBezTo>
                    <a:pt x="1259" y="107"/>
                    <a:pt x="1266" y="54"/>
                    <a:pt x="1282" y="0"/>
                  </a:cubicBezTo>
                  <a:lnTo>
                    <a:pt x="1282" y="0"/>
                  </a:lnTo>
                  <a:cubicBezTo>
                    <a:pt x="1289" y="8"/>
                    <a:pt x="1312" y="31"/>
                    <a:pt x="1328" y="39"/>
                  </a:cubicBezTo>
                  <a:cubicBezTo>
                    <a:pt x="1335" y="54"/>
                    <a:pt x="1343" y="69"/>
                    <a:pt x="1358" y="77"/>
                  </a:cubicBezTo>
                  <a:cubicBezTo>
                    <a:pt x="1389" y="92"/>
                    <a:pt x="1419" y="92"/>
                    <a:pt x="1450" y="92"/>
                  </a:cubicBezTo>
                  <a:cubicBezTo>
                    <a:pt x="1457" y="92"/>
                    <a:pt x="1457" y="77"/>
                    <a:pt x="1473" y="77"/>
                  </a:cubicBezTo>
                  <a:cubicBezTo>
                    <a:pt x="1511" y="69"/>
                    <a:pt x="1564" y="92"/>
                    <a:pt x="1602" y="69"/>
                  </a:cubicBezTo>
                  <a:cubicBezTo>
                    <a:pt x="1618" y="62"/>
                    <a:pt x="1572" y="23"/>
                    <a:pt x="1587" y="16"/>
                  </a:cubicBezTo>
                  <a:cubicBezTo>
                    <a:pt x="1656" y="8"/>
                    <a:pt x="1717" y="31"/>
                    <a:pt x="1786" y="39"/>
                  </a:cubicBezTo>
                  <a:lnTo>
                    <a:pt x="1786" y="39"/>
                  </a:lnTo>
                  <a:cubicBezTo>
                    <a:pt x="1816" y="62"/>
                    <a:pt x="1854" y="92"/>
                    <a:pt x="1885" y="115"/>
                  </a:cubicBezTo>
                  <a:cubicBezTo>
                    <a:pt x="1885" y="115"/>
                    <a:pt x="1992" y="85"/>
                    <a:pt x="2000" y="85"/>
                  </a:cubicBezTo>
                  <a:cubicBezTo>
                    <a:pt x="2007" y="85"/>
                    <a:pt x="2076" y="107"/>
                    <a:pt x="2076" y="107"/>
                  </a:cubicBezTo>
                  <a:cubicBezTo>
                    <a:pt x="2099" y="123"/>
                    <a:pt x="2114" y="153"/>
                    <a:pt x="2129" y="146"/>
                  </a:cubicBezTo>
                  <a:cubicBezTo>
                    <a:pt x="2168" y="138"/>
                    <a:pt x="2183" y="92"/>
                    <a:pt x="2221" y="77"/>
                  </a:cubicBezTo>
                  <a:cubicBezTo>
                    <a:pt x="2275" y="46"/>
                    <a:pt x="2336" y="39"/>
                    <a:pt x="2397" y="2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27" name="Freeform 149"/>
            <p:cNvSpPr>
              <a:spLocks noChangeArrowheads="1"/>
            </p:cNvSpPr>
            <p:nvPr/>
          </p:nvSpPr>
          <p:spPr bwMode="auto">
            <a:xfrm>
              <a:off x="6622619" y="8805864"/>
              <a:ext cx="517491" cy="687387"/>
            </a:xfrm>
            <a:custGeom>
              <a:avLst/>
              <a:gdLst>
                <a:gd name="T0" fmla="*/ 115 w 1437"/>
                <a:gd name="T1" fmla="*/ 962 h 1911"/>
                <a:gd name="T2" fmla="*/ 184 w 1437"/>
                <a:gd name="T3" fmla="*/ 1168 h 1911"/>
                <a:gd name="T4" fmla="*/ 0 w 1437"/>
                <a:gd name="T5" fmla="*/ 1489 h 1911"/>
                <a:gd name="T6" fmla="*/ 54 w 1437"/>
                <a:gd name="T7" fmla="*/ 1566 h 1911"/>
                <a:gd name="T8" fmla="*/ 275 w 1437"/>
                <a:gd name="T9" fmla="*/ 1688 h 1911"/>
                <a:gd name="T10" fmla="*/ 382 w 1437"/>
                <a:gd name="T11" fmla="*/ 1825 h 1911"/>
                <a:gd name="T12" fmla="*/ 535 w 1437"/>
                <a:gd name="T13" fmla="*/ 1841 h 1911"/>
                <a:gd name="T14" fmla="*/ 634 w 1437"/>
                <a:gd name="T15" fmla="*/ 1802 h 1911"/>
                <a:gd name="T16" fmla="*/ 818 w 1437"/>
                <a:gd name="T17" fmla="*/ 1757 h 1911"/>
                <a:gd name="T18" fmla="*/ 1146 w 1437"/>
                <a:gd name="T19" fmla="*/ 1825 h 1911"/>
                <a:gd name="T20" fmla="*/ 1116 w 1437"/>
                <a:gd name="T21" fmla="*/ 1635 h 1911"/>
                <a:gd name="T22" fmla="*/ 1100 w 1437"/>
                <a:gd name="T23" fmla="*/ 1405 h 1911"/>
                <a:gd name="T24" fmla="*/ 1215 w 1437"/>
                <a:gd name="T25" fmla="*/ 1153 h 1911"/>
                <a:gd name="T26" fmla="*/ 1291 w 1437"/>
                <a:gd name="T27" fmla="*/ 1016 h 1911"/>
                <a:gd name="T28" fmla="*/ 1413 w 1437"/>
                <a:gd name="T29" fmla="*/ 916 h 1911"/>
                <a:gd name="T30" fmla="*/ 1421 w 1437"/>
                <a:gd name="T31" fmla="*/ 825 h 1911"/>
                <a:gd name="T32" fmla="*/ 1314 w 1437"/>
                <a:gd name="T33" fmla="*/ 703 h 1911"/>
                <a:gd name="T34" fmla="*/ 1383 w 1437"/>
                <a:gd name="T35" fmla="*/ 618 h 1911"/>
                <a:gd name="T36" fmla="*/ 1299 w 1437"/>
                <a:gd name="T37" fmla="*/ 435 h 1911"/>
                <a:gd name="T38" fmla="*/ 1261 w 1437"/>
                <a:gd name="T39" fmla="*/ 451 h 1911"/>
                <a:gd name="T40" fmla="*/ 1054 w 1437"/>
                <a:gd name="T41" fmla="*/ 527 h 1911"/>
                <a:gd name="T42" fmla="*/ 909 w 1437"/>
                <a:gd name="T43" fmla="*/ 420 h 1911"/>
                <a:gd name="T44" fmla="*/ 917 w 1437"/>
                <a:gd name="T45" fmla="*/ 282 h 1911"/>
                <a:gd name="T46" fmla="*/ 986 w 1437"/>
                <a:gd name="T47" fmla="*/ 160 h 1911"/>
                <a:gd name="T48" fmla="*/ 993 w 1437"/>
                <a:gd name="T49" fmla="*/ 69 h 1911"/>
                <a:gd name="T50" fmla="*/ 940 w 1437"/>
                <a:gd name="T51" fmla="*/ 0 h 1911"/>
                <a:gd name="T52" fmla="*/ 764 w 1437"/>
                <a:gd name="T53" fmla="*/ 38 h 1911"/>
                <a:gd name="T54" fmla="*/ 665 w 1437"/>
                <a:gd name="T55" fmla="*/ 61 h 1911"/>
                <a:gd name="T56" fmla="*/ 489 w 1437"/>
                <a:gd name="T57" fmla="*/ 46 h 1911"/>
                <a:gd name="T58" fmla="*/ 268 w 1437"/>
                <a:gd name="T59" fmla="*/ 237 h 1911"/>
                <a:gd name="T60" fmla="*/ 145 w 1437"/>
                <a:gd name="T61" fmla="*/ 321 h 1911"/>
                <a:gd name="T62" fmla="*/ 61 w 1437"/>
                <a:gd name="T63" fmla="*/ 519 h 1911"/>
                <a:gd name="T64" fmla="*/ 107 w 1437"/>
                <a:gd name="T65" fmla="*/ 703 h 1911"/>
                <a:gd name="T66" fmla="*/ 122 w 1437"/>
                <a:gd name="T67" fmla="*/ 741 h 1911"/>
                <a:gd name="T68" fmla="*/ 39 w 1437"/>
                <a:gd name="T69" fmla="*/ 893 h 1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7" h="1911">
                  <a:moveTo>
                    <a:pt x="115" y="962"/>
                  </a:moveTo>
                  <a:lnTo>
                    <a:pt x="115" y="962"/>
                  </a:lnTo>
                  <a:cubicBezTo>
                    <a:pt x="130" y="985"/>
                    <a:pt x="153" y="1008"/>
                    <a:pt x="161" y="1039"/>
                  </a:cubicBezTo>
                  <a:cubicBezTo>
                    <a:pt x="176" y="1077"/>
                    <a:pt x="199" y="1130"/>
                    <a:pt x="184" y="1168"/>
                  </a:cubicBezTo>
                  <a:cubicBezTo>
                    <a:pt x="153" y="1260"/>
                    <a:pt x="92" y="1337"/>
                    <a:pt x="46" y="1421"/>
                  </a:cubicBezTo>
                  <a:cubicBezTo>
                    <a:pt x="31" y="1443"/>
                    <a:pt x="0" y="1459"/>
                    <a:pt x="0" y="1489"/>
                  </a:cubicBezTo>
                  <a:cubicBezTo>
                    <a:pt x="0" y="1520"/>
                    <a:pt x="39" y="1543"/>
                    <a:pt x="54" y="1566"/>
                  </a:cubicBezTo>
                  <a:lnTo>
                    <a:pt x="54" y="1566"/>
                  </a:lnTo>
                  <a:cubicBezTo>
                    <a:pt x="107" y="1581"/>
                    <a:pt x="161" y="1573"/>
                    <a:pt x="199" y="1596"/>
                  </a:cubicBezTo>
                  <a:cubicBezTo>
                    <a:pt x="237" y="1612"/>
                    <a:pt x="252" y="1657"/>
                    <a:pt x="275" y="1688"/>
                  </a:cubicBezTo>
                  <a:cubicBezTo>
                    <a:pt x="298" y="1726"/>
                    <a:pt x="314" y="1764"/>
                    <a:pt x="336" y="1802"/>
                  </a:cubicBezTo>
                  <a:cubicBezTo>
                    <a:pt x="344" y="1818"/>
                    <a:pt x="367" y="1818"/>
                    <a:pt x="382" y="1825"/>
                  </a:cubicBezTo>
                  <a:cubicBezTo>
                    <a:pt x="397" y="1848"/>
                    <a:pt x="397" y="1902"/>
                    <a:pt x="428" y="1902"/>
                  </a:cubicBezTo>
                  <a:cubicBezTo>
                    <a:pt x="466" y="1902"/>
                    <a:pt x="497" y="1856"/>
                    <a:pt x="535" y="1841"/>
                  </a:cubicBezTo>
                  <a:cubicBezTo>
                    <a:pt x="566" y="1825"/>
                    <a:pt x="604" y="1818"/>
                    <a:pt x="634" y="1802"/>
                  </a:cubicBezTo>
                  <a:lnTo>
                    <a:pt x="634" y="1802"/>
                  </a:lnTo>
                  <a:cubicBezTo>
                    <a:pt x="680" y="1787"/>
                    <a:pt x="711" y="1772"/>
                    <a:pt x="756" y="1764"/>
                  </a:cubicBezTo>
                  <a:cubicBezTo>
                    <a:pt x="772" y="1757"/>
                    <a:pt x="795" y="1749"/>
                    <a:pt x="818" y="1757"/>
                  </a:cubicBezTo>
                  <a:cubicBezTo>
                    <a:pt x="909" y="1802"/>
                    <a:pt x="986" y="1879"/>
                    <a:pt x="1085" y="1902"/>
                  </a:cubicBezTo>
                  <a:cubicBezTo>
                    <a:pt x="1116" y="1910"/>
                    <a:pt x="1131" y="1856"/>
                    <a:pt x="1146" y="1825"/>
                  </a:cubicBezTo>
                  <a:cubicBezTo>
                    <a:pt x="1161" y="1787"/>
                    <a:pt x="1192" y="1741"/>
                    <a:pt x="1184" y="1703"/>
                  </a:cubicBezTo>
                  <a:cubicBezTo>
                    <a:pt x="1177" y="1665"/>
                    <a:pt x="1116" y="1665"/>
                    <a:pt x="1116" y="1635"/>
                  </a:cubicBezTo>
                  <a:cubicBezTo>
                    <a:pt x="1100" y="1581"/>
                    <a:pt x="1138" y="1520"/>
                    <a:pt x="1138" y="1466"/>
                  </a:cubicBezTo>
                  <a:cubicBezTo>
                    <a:pt x="1138" y="1443"/>
                    <a:pt x="1108" y="1428"/>
                    <a:pt x="1100" y="1405"/>
                  </a:cubicBezTo>
                  <a:cubicBezTo>
                    <a:pt x="1077" y="1337"/>
                    <a:pt x="1016" y="1260"/>
                    <a:pt x="1047" y="1199"/>
                  </a:cubicBezTo>
                  <a:cubicBezTo>
                    <a:pt x="1070" y="1146"/>
                    <a:pt x="1161" y="1168"/>
                    <a:pt x="1215" y="1153"/>
                  </a:cubicBezTo>
                  <a:cubicBezTo>
                    <a:pt x="1245" y="1138"/>
                    <a:pt x="1283" y="1146"/>
                    <a:pt x="1299" y="1115"/>
                  </a:cubicBezTo>
                  <a:cubicBezTo>
                    <a:pt x="1314" y="1085"/>
                    <a:pt x="1291" y="1046"/>
                    <a:pt x="1291" y="1016"/>
                  </a:cubicBezTo>
                  <a:cubicBezTo>
                    <a:pt x="1283" y="993"/>
                    <a:pt x="1276" y="970"/>
                    <a:pt x="1283" y="955"/>
                  </a:cubicBezTo>
                  <a:cubicBezTo>
                    <a:pt x="1291" y="939"/>
                    <a:pt x="1398" y="924"/>
                    <a:pt x="1413" y="916"/>
                  </a:cubicBezTo>
                  <a:lnTo>
                    <a:pt x="1413" y="916"/>
                  </a:lnTo>
                  <a:cubicBezTo>
                    <a:pt x="1421" y="886"/>
                    <a:pt x="1436" y="855"/>
                    <a:pt x="1421" y="825"/>
                  </a:cubicBezTo>
                  <a:cubicBezTo>
                    <a:pt x="1413" y="802"/>
                    <a:pt x="1375" y="794"/>
                    <a:pt x="1360" y="771"/>
                  </a:cubicBezTo>
                  <a:cubicBezTo>
                    <a:pt x="1345" y="749"/>
                    <a:pt x="1314" y="726"/>
                    <a:pt x="1314" y="703"/>
                  </a:cubicBezTo>
                  <a:cubicBezTo>
                    <a:pt x="1322" y="680"/>
                    <a:pt x="1368" y="695"/>
                    <a:pt x="1375" y="680"/>
                  </a:cubicBezTo>
                  <a:cubicBezTo>
                    <a:pt x="1390" y="664"/>
                    <a:pt x="1390" y="641"/>
                    <a:pt x="1383" y="618"/>
                  </a:cubicBezTo>
                  <a:cubicBezTo>
                    <a:pt x="1368" y="596"/>
                    <a:pt x="1337" y="580"/>
                    <a:pt x="1329" y="557"/>
                  </a:cubicBezTo>
                  <a:cubicBezTo>
                    <a:pt x="1314" y="519"/>
                    <a:pt x="1306" y="474"/>
                    <a:pt x="1299" y="435"/>
                  </a:cubicBezTo>
                  <a:lnTo>
                    <a:pt x="1299" y="435"/>
                  </a:lnTo>
                  <a:cubicBezTo>
                    <a:pt x="1261" y="451"/>
                    <a:pt x="1261" y="451"/>
                    <a:pt x="1261" y="451"/>
                  </a:cubicBezTo>
                  <a:lnTo>
                    <a:pt x="1261" y="451"/>
                  </a:lnTo>
                  <a:cubicBezTo>
                    <a:pt x="1192" y="474"/>
                    <a:pt x="1131" y="512"/>
                    <a:pt x="1054" y="527"/>
                  </a:cubicBezTo>
                  <a:cubicBezTo>
                    <a:pt x="1024" y="535"/>
                    <a:pt x="978" y="535"/>
                    <a:pt x="947" y="512"/>
                  </a:cubicBezTo>
                  <a:cubicBezTo>
                    <a:pt x="925" y="489"/>
                    <a:pt x="917" y="451"/>
                    <a:pt x="909" y="420"/>
                  </a:cubicBezTo>
                  <a:cubicBezTo>
                    <a:pt x="894" y="389"/>
                    <a:pt x="886" y="351"/>
                    <a:pt x="894" y="321"/>
                  </a:cubicBezTo>
                  <a:cubicBezTo>
                    <a:pt x="894" y="305"/>
                    <a:pt x="917" y="298"/>
                    <a:pt x="917" y="282"/>
                  </a:cubicBezTo>
                  <a:cubicBezTo>
                    <a:pt x="925" y="244"/>
                    <a:pt x="894" y="214"/>
                    <a:pt x="909" y="183"/>
                  </a:cubicBezTo>
                  <a:cubicBezTo>
                    <a:pt x="925" y="160"/>
                    <a:pt x="970" y="176"/>
                    <a:pt x="986" y="160"/>
                  </a:cubicBezTo>
                  <a:cubicBezTo>
                    <a:pt x="1001" y="145"/>
                    <a:pt x="970" y="130"/>
                    <a:pt x="970" y="114"/>
                  </a:cubicBezTo>
                  <a:cubicBezTo>
                    <a:pt x="978" y="99"/>
                    <a:pt x="986" y="84"/>
                    <a:pt x="993" y="69"/>
                  </a:cubicBezTo>
                  <a:lnTo>
                    <a:pt x="993" y="69"/>
                  </a:lnTo>
                  <a:cubicBezTo>
                    <a:pt x="978" y="46"/>
                    <a:pt x="970" y="0"/>
                    <a:pt x="940" y="0"/>
                  </a:cubicBezTo>
                  <a:cubicBezTo>
                    <a:pt x="902" y="0"/>
                    <a:pt x="886" y="61"/>
                    <a:pt x="841" y="69"/>
                  </a:cubicBezTo>
                  <a:cubicBezTo>
                    <a:pt x="818" y="76"/>
                    <a:pt x="795" y="23"/>
                    <a:pt x="764" y="38"/>
                  </a:cubicBezTo>
                  <a:cubicBezTo>
                    <a:pt x="749" y="46"/>
                    <a:pt x="779" y="99"/>
                    <a:pt x="756" y="99"/>
                  </a:cubicBezTo>
                  <a:cubicBezTo>
                    <a:pt x="726" y="107"/>
                    <a:pt x="695" y="53"/>
                    <a:pt x="665" y="61"/>
                  </a:cubicBezTo>
                  <a:cubicBezTo>
                    <a:pt x="642" y="69"/>
                    <a:pt x="665" y="130"/>
                    <a:pt x="642" y="130"/>
                  </a:cubicBezTo>
                  <a:cubicBezTo>
                    <a:pt x="589" y="122"/>
                    <a:pt x="543" y="23"/>
                    <a:pt x="489" y="46"/>
                  </a:cubicBezTo>
                  <a:cubicBezTo>
                    <a:pt x="413" y="76"/>
                    <a:pt x="405" y="199"/>
                    <a:pt x="336" y="252"/>
                  </a:cubicBezTo>
                  <a:cubicBezTo>
                    <a:pt x="321" y="267"/>
                    <a:pt x="291" y="229"/>
                    <a:pt x="268" y="237"/>
                  </a:cubicBezTo>
                  <a:cubicBezTo>
                    <a:pt x="222" y="252"/>
                    <a:pt x="184" y="290"/>
                    <a:pt x="145" y="321"/>
                  </a:cubicBezTo>
                  <a:lnTo>
                    <a:pt x="145" y="321"/>
                  </a:lnTo>
                  <a:cubicBezTo>
                    <a:pt x="153" y="366"/>
                    <a:pt x="184" y="405"/>
                    <a:pt x="161" y="451"/>
                  </a:cubicBezTo>
                  <a:cubicBezTo>
                    <a:pt x="145" y="489"/>
                    <a:pt x="77" y="481"/>
                    <a:pt x="61" y="519"/>
                  </a:cubicBezTo>
                  <a:cubicBezTo>
                    <a:pt x="54" y="542"/>
                    <a:pt x="107" y="550"/>
                    <a:pt x="115" y="580"/>
                  </a:cubicBezTo>
                  <a:cubicBezTo>
                    <a:pt x="122" y="618"/>
                    <a:pt x="107" y="664"/>
                    <a:pt x="107" y="703"/>
                  </a:cubicBezTo>
                  <a:lnTo>
                    <a:pt x="107" y="703"/>
                  </a:lnTo>
                  <a:cubicBezTo>
                    <a:pt x="115" y="718"/>
                    <a:pt x="122" y="726"/>
                    <a:pt x="122" y="741"/>
                  </a:cubicBezTo>
                  <a:cubicBezTo>
                    <a:pt x="122" y="779"/>
                    <a:pt x="130" y="817"/>
                    <a:pt x="115" y="848"/>
                  </a:cubicBezTo>
                  <a:cubicBezTo>
                    <a:pt x="100" y="871"/>
                    <a:pt x="39" y="863"/>
                    <a:pt x="39" y="893"/>
                  </a:cubicBezTo>
                  <a:cubicBezTo>
                    <a:pt x="39" y="924"/>
                    <a:pt x="92" y="939"/>
                    <a:pt x="115" y="962"/>
                  </a:cubicBezTo>
                </a:path>
              </a:pathLst>
            </a:custGeom>
            <a:solidFill>
              <a:schemeClr val="tx1">
                <a:lumMod val="40000"/>
                <a:lumOff val="60000"/>
              </a:schemeClr>
            </a:solidFill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28" name="Freeform 150"/>
            <p:cNvSpPr>
              <a:spLocks noChangeArrowheads="1"/>
            </p:cNvSpPr>
            <p:nvPr/>
          </p:nvSpPr>
          <p:spPr bwMode="auto">
            <a:xfrm>
              <a:off x="6438481" y="9050339"/>
              <a:ext cx="231760" cy="149225"/>
            </a:xfrm>
            <a:custGeom>
              <a:avLst/>
              <a:gdLst>
                <a:gd name="T0" fmla="*/ 15 w 642"/>
                <a:gd name="T1" fmla="*/ 298 h 413"/>
                <a:gd name="T2" fmla="*/ 15 w 642"/>
                <a:gd name="T3" fmla="*/ 298 h 413"/>
                <a:gd name="T4" fmla="*/ 114 w 642"/>
                <a:gd name="T5" fmla="*/ 374 h 413"/>
                <a:gd name="T6" fmla="*/ 229 w 642"/>
                <a:gd name="T7" fmla="*/ 344 h 413"/>
                <a:gd name="T8" fmla="*/ 305 w 642"/>
                <a:gd name="T9" fmla="*/ 366 h 413"/>
                <a:gd name="T10" fmla="*/ 358 w 642"/>
                <a:gd name="T11" fmla="*/ 405 h 413"/>
                <a:gd name="T12" fmla="*/ 450 w 642"/>
                <a:gd name="T13" fmla="*/ 336 h 413"/>
                <a:gd name="T14" fmla="*/ 626 w 642"/>
                <a:gd name="T15" fmla="*/ 282 h 413"/>
                <a:gd name="T16" fmla="*/ 626 w 642"/>
                <a:gd name="T17" fmla="*/ 282 h 413"/>
                <a:gd name="T18" fmla="*/ 550 w 642"/>
                <a:gd name="T19" fmla="*/ 213 h 413"/>
                <a:gd name="T20" fmla="*/ 626 w 642"/>
                <a:gd name="T21" fmla="*/ 168 h 413"/>
                <a:gd name="T22" fmla="*/ 633 w 642"/>
                <a:gd name="T23" fmla="*/ 61 h 413"/>
                <a:gd name="T24" fmla="*/ 618 w 642"/>
                <a:gd name="T25" fmla="*/ 23 h 413"/>
                <a:gd name="T26" fmla="*/ 618 w 642"/>
                <a:gd name="T27" fmla="*/ 23 h 413"/>
                <a:gd name="T28" fmla="*/ 527 w 642"/>
                <a:gd name="T29" fmla="*/ 0 h 413"/>
                <a:gd name="T30" fmla="*/ 381 w 642"/>
                <a:gd name="T31" fmla="*/ 38 h 413"/>
                <a:gd name="T32" fmla="*/ 267 w 642"/>
                <a:gd name="T33" fmla="*/ 15 h 413"/>
                <a:gd name="T34" fmla="*/ 267 w 642"/>
                <a:gd name="T35" fmla="*/ 15 h 413"/>
                <a:gd name="T36" fmla="*/ 244 w 642"/>
                <a:gd name="T37" fmla="*/ 61 h 413"/>
                <a:gd name="T38" fmla="*/ 206 w 642"/>
                <a:gd name="T39" fmla="*/ 61 h 413"/>
                <a:gd name="T40" fmla="*/ 175 w 642"/>
                <a:gd name="T41" fmla="*/ 91 h 413"/>
                <a:gd name="T42" fmla="*/ 175 w 642"/>
                <a:gd name="T43" fmla="*/ 91 h 413"/>
                <a:gd name="T44" fmla="*/ 83 w 642"/>
                <a:gd name="T45" fmla="*/ 145 h 413"/>
                <a:gd name="T46" fmla="*/ 68 w 642"/>
                <a:gd name="T47" fmla="*/ 244 h 413"/>
                <a:gd name="T48" fmla="*/ 15 w 642"/>
                <a:gd name="T49" fmla="*/ 175 h 413"/>
                <a:gd name="T50" fmla="*/ 0 w 642"/>
                <a:gd name="T51" fmla="*/ 198 h 413"/>
                <a:gd name="T52" fmla="*/ 15 w 642"/>
                <a:gd name="T53" fmla="*/ 298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2" h="413">
                  <a:moveTo>
                    <a:pt x="15" y="298"/>
                  </a:moveTo>
                  <a:lnTo>
                    <a:pt x="15" y="298"/>
                  </a:lnTo>
                  <a:cubicBezTo>
                    <a:pt x="45" y="321"/>
                    <a:pt x="83" y="351"/>
                    <a:pt x="114" y="374"/>
                  </a:cubicBezTo>
                  <a:cubicBezTo>
                    <a:pt x="114" y="374"/>
                    <a:pt x="221" y="344"/>
                    <a:pt x="229" y="344"/>
                  </a:cubicBezTo>
                  <a:cubicBezTo>
                    <a:pt x="236" y="344"/>
                    <a:pt x="305" y="366"/>
                    <a:pt x="305" y="366"/>
                  </a:cubicBezTo>
                  <a:cubicBezTo>
                    <a:pt x="328" y="382"/>
                    <a:pt x="343" y="412"/>
                    <a:pt x="358" y="405"/>
                  </a:cubicBezTo>
                  <a:cubicBezTo>
                    <a:pt x="397" y="397"/>
                    <a:pt x="412" y="351"/>
                    <a:pt x="450" y="336"/>
                  </a:cubicBezTo>
                  <a:cubicBezTo>
                    <a:pt x="504" y="305"/>
                    <a:pt x="565" y="298"/>
                    <a:pt x="626" y="282"/>
                  </a:cubicBezTo>
                  <a:lnTo>
                    <a:pt x="626" y="282"/>
                  </a:lnTo>
                  <a:cubicBezTo>
                    <a:pt x="603" y="259"/>
                    <a:pt x="550" y="244"/>
                    <a:pt x="550" y="213"/>
                  </a:cubicBezTo>
                  <a:cubicBezTo>
                    <a:pt x="550" y="183"/>
                    <a:pt x="611" y="191"/>
                    <a:pt x="626" y="168"/>
                  </a:cubicBezTo>
                  <a:cubicBezTo>
                    <a:pt x="641" y="137"/>
                    <a:pt x="633" y="99"/>
                    <a:pt x="633" y="61"/>
                  </a:cubicBezTo>
                  <a:cubicBezTo>
                    <a:pt x="633" y="46"/>
                    <a:pt x="626" y="38"/>
                    <a:pt x="618" y="23"/>
                  </a:cubicBezTo>
                  <a:lnTo>
                    <a:pt x="618" y="23"/>
                  </a:lnTo>
                  <a:cubicBezTo>
                    <a:pt x="588" y="15"/>
                    <a:pt x="557" y="0"/>
                    <a:pt x="527" y="0"/>
                  </a:cubicBezTo>
                  <a:cubicBezTo>
                    <a:pt x="473" y="0"/>
                    <a:pt x="427" y="38"/>
                    <a:pt x="381" y="38"/>
                  </a:cubicBezTo>
                  <a:cubicBezTo>
                    <a:pt x="336" y="38"/>
                    <a:pt x="305" y="23"/>
                    <a:pt x="267" y="15"/>
                  </a:cubicBezTo>
                  <a:lnTo>
                    <a:pt x="267" y="15"/>
                  </a:lnTo>
                  <a:cubicBezTo>
                    <a:pt x="259" y="30"/>
                    <a:pt x="259" y="53"/>
                    <a:pt x="244" y="61"/>
                  </a:cubicBezTo>
                  <a:cubicBezTo>
                    <a:pt x="236" y="69"/>
                    <a:pt x="221" y="53"/>
                    <a:pt x="206" y="61"/>
                  </a:cubicBezTo>
                  <a:cubicBezTo>
                    <a:pt x="191" y="61"/>
                    <a:pt x="183" y="76"/>
                    <a:pt x="175" y="91"/>
                  </a:cubicBezTo>
                  <a:lnTo>
                    <a:pt x="175" y="91"/>
                  </a:lnTo>
                  <a:cubicBezTo>
                    <a:pt x="145" y="107"/>
                    <a:pt x="106" y="122"/>
                    <a:pt x="83" y="145"/>
                  </a:cubicBezTo>
                  <a:cubicBezTo>
                    <a:pt x="68" y="175"/>
                    <a:pt x="99" y="229"/>
                    <a:pt x="68" y="244"/>
                  </a:cubicBezTo>
                  <a:cubicBezTo>
                    <a:pt x="45" y="252"/>
                    <a:pt x="38" y="191"/>
                    <a:pt x="15" y="175"/>
                  </a:cubicBezTo>
                  <a:cubicBezTo>
                    <a:pt x="7" y="168"/>
                    <a:pt x="0" y="191"/>
                    <a:pt x="0" y="198"/>
                  </a:cubicBezTo>
                  <a:cubicBezTo>
                    <a:pt x="0" y="229"/>
                    <a:pt x="7" y="267"/>
                    <a:pt x="15" y="29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29" name="Freeform 151"/>
            <p:cNvSpPr>
              <a:spLocks noChangeArrowheads="1"/>
            </p:cNvSpPr>
            <p:nvPr/>
          </p:nvSpPr>
          <p:spPr bwMode="auto">
            <a:xfrm>
              <a:off x="6263868" y="8993188"/>
              <a:ext cx="239697" cy="184150"/>
            </a:xfrm>
            <a:custGeom>
              <a:avLst/>
              <a:gdLst>
                <a:gd name="T0" fmla="*/ 481 w 665"/>
                <a:gd name="T1" fmla="*/ 0 h 513"/>
                <a:gd name="T2" fmla="*/ 481 w 665"/>
                <a:gd name="T3" fmla="*/ 0 h 513"/>
                <a:gd name="T4" fmla="*/ 527 w 665"/>
                <a:gd name="T5" fmla="*/ 46 h 513"/>
                <a:gd name="T6" fmla="*/ 580 w 665"/>
                <a:gd name="T7" fmla="*/ 77 h 513"/>
                <a:gd name="T8" fmla="*/ 588 w 665"/>
                <a:gd name="T9" fmla="*/ 153 h 513"/>
                <a:gd name="T10" fmla="*/ 580 w 665"/>
                <a:gd name="T11" fmla="*/ 214 h 513"/>
                <a:gd name="T12" fmla="*/ 664 w 665"/>
                <a:gd name="T13" fmla="*/ 252 h 513"/>
                <a:gd name="T14" fmla="*/ 664 w 665"/>
                <a:gd name="T15" fmla="*/ 252 h 513"/>
                <a:gd name="T16" fmla="*/ 572 w 665"/>
                <a:gd name="T17" fmla="*/ 306 h 513"/>
                <a:gd name="T18" fmla="*/ 557 w 665"/>
                <a:gd name="T19" fmla="*/ 405 h 513"/>
                <a:gd name="T20" fmla="*/ 504 w 665"/>
                <a:gd name="T21" fmla="*/ 336 h 513"/>
                <a:gd name="T22" fmla="*/ 489 w 665"/>
                <a:gd name="T23" fmla="*/ 359 h 513"/>
                <a:gd name="T24" fmla="*/ 504 w 665"/>
                <a:gd name="T25" fmla="*/ 459 h 513"/>
                <a:gd name="T26" fmla="*/ 504 w 665"/>
                <a:gd name="T27" fmla="*/ 459 h 513"/>
                <a:gd name="T28" fmla="*/ 305 w 665"/>
                <a:gd name="T29" fmla="*/ 436 h 513"/>
                <a:gd name="T30" fmla="*/ 320 w 665"/>
                <a:gd name="T31" fmla="*/ 489 h 513"/>
                <a:gd name="T32" fmla="*/ 191 w 665"/>
                <a:gd name="T33" fmla="*/ 497 h 513"/>
                <a:gd name="T34" fmla="*/ 168 w 665"/>
                <a:gd name="T35" fmla="*/ 512 h 513"/>
                <a:gd name="T36" fmla="*/ 76 w 665"/>
                <a:gd name="T37" fmla="*/ 497 h 513"/>
                <a:gd name="T38" fmla="*/ 46 w 665"/>
                <a:gd name="T39" fmla="*/ 459 h 513"/>
                <a:gd name="T40" fmla="*/ 0 w 665"/>
                <a:gd name="T41" fmla="*/ 420 h 513"/>
                <a:gd name="T42" fmla="*/ 0 w 665"/>
                <a:gd name="T43" fmla="*/ 420 h 513"/>
                <a:gd name="T44" fmla="*/ 23 w 665"/>
                <a:gd name="T45" fmla="*/ 352 h 513"/>
                <a:gd name="T46" fmla="*/ 221 w 665"/>
                <a:gd name="T47" fmla="*/ 184 h 513"/>
                <a:gd name="T48" fmla="*/ 458 w 665"/>
                <a:gd name="T49" fmla="*/ 16 h 513"/>
                <a:gd name="T50" fmla="*/ 481 w 665"/>
                <a:gd name="T51" fmla="*/ 0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65" h="513">
                  <a:moveTo>
                    <a:pt x="481" y="0"/>
                  </a:moveTo>
                  <a:lnTo>
                    <a:pt x="481" y="0"/>
                  </a:lnTo>
                  <a:cubicBezTo>
                    <a:pt x="504" y="31"/>
                    <a:pt x="496" y="23"/>
                    <a:pt x="527" y="46"/>
                  </a:cubicBezTo>
                  <a:cubicBezTo>
                    <a:pt x="542" y="61"/>
                    <a:pt x="572" y="61"/>
                    <a:pt x="580" y="77"/>
                  </a:cubicBezTo>
                  <a:cubicBezTo>
                    <a:pt x="595" y="99"/>
                    <a:pt x="588" y="130"/>
                    <a:pt x="588" y="153"/>
                  </a:cubicBezTo>
                  <a:cubicBezTo>
                    <a:pt x="588" y="176"/>
                    <a:pt x="565" y="199"/>
                    <a:pt x="580" y="214"/>
                  </a:cubicBezTo>
                  <a:cubicBezTo>
                    <a:pt x="595" y="245"/>
                    <a:pt x="634" y="237"/>
                    <a:pt x="664" y="252"/>
                  </a:cubicBezTo>
                  <a:lnTo>
                    <a:pt x="664" y="252"/>
                  </a:lnTo>
                  <a:cubicBezTo>
                    <a:pt x="634" y="268"/>
                    <a:pt x="595" y="283"/>
                    <a:pt x="572" y="306"/>
                  </a:cubicBezTo>
                  <a:cubicBezTo>
                    <a:pt x="557" y="336"/>
                    <a:pt x="588" y="390"/>
                    <a:pt x="557" y="405"/>
                  </a:cubicBezTo>
                  <a:cubicBezTo>
                    <a:pt x="534" y="413"/>
                    <a:pt x="527" y="352"/>
                    <a:pt x="504" y="336"/>
                  </a:cubicBezTo>
                  <a:cubicBezTo>
                    <a:pt x="496" y="329"/>
                    <a:pt x="489" y="352"/>
                    <a:pt x="489" y="359"/>
                  </a:cubicBezTo>
                  <a:cubicBezTo>
                    <a:pt x="489" y="390"/>
                    <a:pt x="496" y="428"/>
                    <a:pt x="504" y="459"/>
                  </a:cubicBezTo>
                  <a:lnTo>
                    <a:pt x="504" y="459"/>
                  </a:lnTo>
                  <a:cubicBezTo>
                    <a:pt x="435" y="451"/>
                    <a:pt x="374" y="428"/>
                    <a:pt x="305" y="436"/>
                  </a:cubicBezTo>
                  <a:cubicBezTo>
                    <a:pt x="290" y="443"/>
                    <a:pt x="336" y="482"/>
                    <a:pt x="320" y="489"/>
                  </a:cubicBezTo>
                  <a:cubicBezTo>
                    <a:pt x="282" y="512"/>
                    <a:pt x="229" y="489"/>
                    <a:pt x="191" y="497"/>
                  </a:cubicBezTo>
                  <a:cubicBezTo>
                    <a:pt x="175" y="497"/>
                    <a:pt x="175" y="512"/>
                    <a:pt x="168" y="512"/>
                  </a:cubicBezTo>
                  <a:cubicBezTo>
                    <a:pt x="137" y="512"/>
                    <a:pt x="107" y="512"/>
                    <a:pt x="76" y="497"/>
                  </a:cubicBezTo>
                  <a:cubicBezTo>
                    <a:pt x="61" y="489"/>
                    <a:pt x="53" y="474"/>
                    <a:pt x="46" y="459"/>
                  </a:cubicBezTo>
                  <a:cubicBezTo>
                    <a:pt x="30" y="451"/>
                    <a:pt x="7" y="428"/>
                    <a:pt x="0" y="420"/>
                  </a:cubicBezTo>
                  <a:lnTo>
                    <a:pt x="0" y="420"/>
                  </a:lnTo>
                  <a:cubicBezTo>
                    <a:pt x="7" y="397"/>
                    <a:pt x="15" y="374"/>
                    <a:pt x="23" y="352"/>
                  </a:cubicBezTo>
                  <a:cubicBezTo>
                    <a:pt x="53" y="283"/>
                    <a:pt x="183" y="275"/>
                    <a:pt x="221" y="184"/>
                  </a:cubicBezTo>
                  <a:cubicBezTo>
                    <a:pt x="290" y="84"/>
                    <a:pt x="359" y="61"/>
                    <a:pt x="458" y="16"/>
                  </a:cubicBezTo>
                  <a:cubicBezTo>
                    <a:pt x="466" y="8"/>
                    <a:pt x="473" y="8"/>
                    <a:pt x="481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30" name="Freeform 152"/>
            <p:cNvSpPr>
              <a:spLocks noChangeArrowheads="1"/>
            </p:cNvSpPr>
            <p:nvPr/>
          </p:nvSpPr>
          <p:spPr bwMode="auto">
            <a:xfrm>
              <a:off x="6851203" y="9091613"/>
              <a:ext cx="712742" cy="622300"/>
            </a:xfrm>
            <a:custGeom>
              <a:avLst/>
              <a:gdLst>
                <a:gd name="T0" fmla="*/ 1513 w 1980"/>
                <a:gd name="T1" fmla="*/ 1566 h 1728"/>
                <a:gd name="T2" fmla="*/ 1658 w 1980"/>
                <a:gd name="T3" fmla="*/ 1581 h 1728"/>
                <a:gd name="T4" fmla="*/ 1658 w 1980"/>
                <a:gd name="T5" fmla="*/ 1299 h 1728"/>
                <a:gd name="T6" fmla="*/ 1665 w 1980"/>
                <a:gd name="T7" fmla="*/ 1062 h 1728"/>
                <a:gd name="T8" fmla="*/ 1795 w 1980"/>
                <a:gd name="T9" fmla="*/ 810 h 1728"/>
                <a:gd name="T10" fmla="*/ 1940 w 1980"/>
                <a:gd name="T11" fmla="*/ 756 h 1728"/>
                <a:gd name="T12" fmla="*/ 1956 w 1980"/>
                <a:gd name="T13" fmla="*/ 688 h 1728"/>
                <a:gd name="T14" fmla="*/ 1818 w 1980"/>
                <a:gd name="T15" fmla="*/ 604 h 1728"/>
                <a:gd name="T16" fmla="*/ 1803 w 1980"/>
                <a:gd name="T17" fmla="*/ 443 h 1728"/>
                <a:gd name="T18" fmla="*/ 1887 w 1980"/>
                <a:gd name="T19" fmla="*/ 352 h 1728"/>
                <a:gd name="T20" fmla="*/ 1979 w 1980"/>
                <a:gd name="T21" fmla="*/ 344 h 1728"/>
                <a:gd name="T22" fmla="*/ 1910 w 1980"/>
                <a:gd name="T23" fmla="*/ 138 h 1728"/>
                <a:gd name="T24" fmla="*/ 1826 w 1980"/>
                <a:gd name="T25" fmla="*/ 84 h 1728"/>
                <a:gd name="T26" fmla="*/ 1658 w 1980"/>
                <a:gd name="T27" fmla="*/ 46 h 1728"/>
                <a:gd name="T28" fmla="*/ 1566 w 1980"/>
                <a:gd name="T29" fmla="*/ 61 h 1728"/>
                <a:gd name="T30" fmla="*/ 1497 w 1980"/>
                <a:gd name="T31" fmla="*/ 69 h 1728"/>
                <a:gd name="T32" fmla="*/ 1383 w 1980"/>
                <a:gd name="T33" fmla="*/ 23 h 1728"/>
                <a:gd name="T34" fmla="*/ 1291 w 1980"/>
                <a:gd name="T35" fmla="*/ 46 h 1728"/>
                <a:gd name="T36" fmla="*/ 879 w 1980"/>
                <a:gd name="T37" fmla="*/ 77 h 1728"/>
                <a:gd name="T38" fmla="*/ 779 w 1980"/>
                <a:gd name="T39" fmla="*/ 122 h 1728"/>
                <a:gd name="T40" fmla="*/ 649 w 1980"/>
                <a:gd name="T41" fmla="*/ 161 h 1728"/>
                <a:gd name="T42" fmla="*/ 665 w 1980"/>
                <a:gd name="T43" fmla="*/ 321 h 1728"/>
                <a:gd name="T44" fmla="*/ 413 w 1980"/>
                <a:gd name="T45" fmla="*/ 405 h 1728"/>
                <a:gd name="T46" fmla="*/ 504 w 1980"/>
                <a:gd name="T47" fmla="*/ 672 h 1728"/>
                <a:gd name="T48" fmla="*/ 550 w 1980"/>
                <a:gd name="T49" fmla="*/ 909 h 1728"/>
                <a:gd name="T50" fmla="*/ 451 w 1980"/>
                <a:gd name="T51" fmla="*/ 1108 h 1728"/>
                <a:gd name="T52" fmla="*/ 122 w 1980"/>
                <a:gd name="T53" fmla="*/ 970 h 1728"/>
                <a:gd name="T54" fmla="*/ 0 w 1980"/>
                <a:gd name="T55" fmla="*/ 1008 h 1728"/>
                <a:gd name="T56" fmla="*/ 191 w 1980"/>
                <a:gd name="T57" fmla="*/ 1138 h 1728"/>
                <a:gd name="T58" fmla="*/ 199 w 1980"/>
                <a:gd name="T59" fmla="*/ 1222 h 1728"/>
                <a:gd name="T60" fmla="*/ 176 w 1980"/>
                <a:gd name="T61" fmla="*/ 1322 h 1728"/>
                <a:gd name="T62" fmla="*/ 245 w 1980"/>
                <a:gd name="T63" fmla="*/ 1398 h 1728"/>
                <a:gd name="T64" fmla="*/ 329 w 1980"/>
                <a:gd name="T65" fmla="*/ 1520 h 1728"/>
                <a:gd name="T66" fmla="*/ 436 w 1980"/>
                <a:gd name="T67" fmla="*/ 1574 h 1728"/>
                <a:gd name="T68" fmla="*/ 420 w 1980"/>
                <a:gd name="T69" fmla="*/ 1673 h 1728"/>
                <a:gd name="T70" fmla="*/ 627 w 1980"/>
                <a:gd name="T71" fmla="*/ 1727 h 1728"/>
                <a:gd name="T72" fmla="*/ 1008 w 1980"/>
                <a:gd name="T73" fmla="*/ 1505 h 1728"/>
                <a:gd name="T74" fmla="*/ 833 w 1980"/>
                <a:gd name="T75" fmla="*/ 1253 h 1728"/>
                <a:gd name="T76" fmla="*/ 756 w 1980"/>
                <a:gd name="T77" fmla="*/ 1169 h 1728"/>
                <a:gd name="T78" fmla="*/ 963 w 1980"/>
                <a:gd name="T79" fmla="*/ 1116 h 1728"/>
                <a:gd name="T80" fmla="*/ 871 w 1980"/>
                <a:gd name="T81" fmla="*/ 1268 h 1728"/>
                <a:gd name="T82" fmla="*/ 986 w 1980"/>
                <a:gd name="T83" fmla="*/ 1352 h 1728"/>
                <a:gd name="T84" fmla="*/ 1207 w 1980"/>
                <a:gd name="T85" fmla="*/ 1505 h 1728"/>
                <a:gd name="T86" fmla="*/ 1368 w 1980"/>
                <a:gd name="T87" fmla="*/ 1551 h 1728"/>
                <a:gd name="T88" fmla="*/ 1306 w 1980"/>
                <a:gd name="T89" fmla="*/ 1398 h 1728"/>
                <a:gd name="T90" fmla="*/ 1360 w 1980"/>
                <a:gd name="T91" fmla="*/ 1352 h 1728"/>
                <a:gd name="T92" fmla="*/ 1520 w 1980"/>
                <a:gd name="T93" fmla="*/ 1337 h 1728"/>
                <a:gd name="T94" fmla="*/ 1513 w 1980"/>
                <a:gd name="T95" fmla="*/ 1566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80" h="1728">
                  <a:moveTo>
                    <a:pt x="1513" y="1566"/>
                  </a:moveTo>
                  <a:lnTo>
                    <a:pt x="1513" y="1566"/>
                  </a:lnTo>
                  <a:cubicBezTo>
                    <a:pt x="1566" y="1566"/>
                    <a:pt x="1612" y="1566"/>
                    <a:pt x="1658" y="1581"/>
                  </a:cubicBezTo>
                  <a:lnTo>
                    <a:pt x="1658" y="1581"/>
                  </a:lnTo>
                  <a:cubicBezTo>
                    <a:pt x="1650" y="1543"/>
                    <a:pt x="1620" y="1429"/>
                    <a:pt x="1620" y="1383"/>
                  </a:cubicBezTo>
                  <a:cubicBezTo>
                    <a:pt x="1620" y="1352"/>
                    <a:pt x="1658" y="1329"/>
                    <a:pt x="1658" y="1299"/>
                  </a:cubicBezTo>
                  <a:cubicBezTo>
                    <a:pt x="1658" y="1268"/>
                    <a:pt x="1620" y="1253"/>
                    <a:pt x="1620" y="1230"/>
                  </a:cubicBezTo>
                  <a:cubicBezTo>
                    <a:pt x="1627" y="1169"/>
                    <a:pt x="1650" y="1116"/>
                    <a:pt x="1665" y="1062"/>
                  </a:cubicBezTo>
                  <a:cubicBezTo>
                    <a:pt x="1688" y="1008"/>
                    <a:pt x="1704" y="955"/>
                    <a:pt x="1727" y="902"/>
                  </a:cubicBezTo>
                  <a:cubicBezTo>
                    <a:pt x="1742" y="871"/>
                    <a:pt x="1765" y="833"/>
                    <a:pt x="1795" y="810"/>
                  </a:cubicBezTo>
                  <a:cubicBezTo>
                    <a:pt x="1810" y="802"/>
                    <a:pt x="1833" y="825"/>
                    <a:pt x="1849" y="818"/>
                  </a:cubicBezTo>
                  <a:cubicBezTo>
                    <a:pt x="1879" y="802"/>
                    <a:pt x="1910" y="772"/>
                    <a:pt x="1940" y="756"/>
                  </a:cubicBezTo>
                  <a:lnTo>
                    <a:pt x="1940" y="756"/>
                  </a:lnTo>
                  <a:cubicBezTo>
                    <a:pt x="1940" y="734"/>
                    <a:pt x="1963" y="711"/>
                    <a:pt x="1956" y="688"/>
                  </a:cubicBezTo>
                  <a:cubicBezTo>
                    <a:pt x="1933" y="649"/>
                    <a:pt x="1902" y="611"/>
                    <a:pt x="1864" y="588"/>
                  </a:cubicBezTo>
                  <a:cubicBezTo>
                    <a:pt x="1849" y="581"/>
                    <a:pt x="1826" y="619"/>
                    <a:pt x="1818" y="604"/>
                  </a:cubicBezTo>
                  <a:cubicBezTo>
                    <a:pt x="1803" y="573"/>
                    <a:pt x="1826" y="535"/>
                    <a:pt x="1826" y="504"/>
                  </a:cubicBezTo>
                  <a:cubicBezTo>
                    <a:pt x="1826" y="482"/>
                    <a:pt x="1803" y="466"/>
                    <a:pt x="1803" y="443"/>
                  </a:cubicBezTo>
                  <a:cubicBezTo>
                    <a:pt x="1803" y="420"/>
                    <a:pt x="1810" y="397"/>
                    <a:pt x="1826" y="374"/>
                  </a:cubicBezTo>
                  <a:cubicBezTo>
                    <a:pt x="1841" y="359"/>
                    <a:pt x="1864" y="344"/>
                    <a:pt x="1887" y="352"/>
                  </a:cubicBezTo>
                  <a:cubicBezTo>
                    <a:pt x="1910" y="352"/>
                    <a:pt x="1933" y="382"/>
                    <a:pt x="1963" y="382"/>
                  </a:cubicBezTo>
                  <a:cubicBezTo>
                    <a:pt x="1979" y="382"/>
                    <a:pt x="1971" y="359"/>
                    <a:pt x="1979" y="344"/>
                  </a:cubicBezTo>
                  <a:cubicBezTo>
                    <a:pt x="1979" y="313"/>
                    <a:pt x="1979" y="275"/>
                    <a:pt x="1971" y="245"/>
                  </a:cubicBezTo>
                  <a:cubicBezTo>
                    <a:pt x="1956" y="207"/>
                    <a:pt x="1933" y="168"/>
                    <a:pt x="1910" y="138"/>
                  </a:cubicBezTo>
                  <a:lnTo>
                    <a:pt x="1910" y="138"/>
                  </a:lnTo>
                  <a:cubicBezTo>
                    <a:pt x="1826" y="84"/>
                    <a:pt x="1826" y="84"/>
                    <a:pt x="1826" y="84"/>
                  </a:cubicBezTo>
                  <a:lnTo>
                    <a:pt x="1826" y="84"/>
                  </a:lnTo>
                  <a:cubicBezTo>
                    <a:pt x="1765" y="69"/>
                    <a:pt x="1711" y="54"/>
                    <a:pt x="1658" y="46"/>
                  </a:cubicBezTo>
                  <a:cubicBezTo>
                    <a:pt x="1643" y="46"/>
                    <a:pt x="1635" y="61"/>
                    <a:pt x="1627" y="61"/>
                  </a:cubicBezTo>
                  <a:cubicBezTo>
                    <a:pt x="1604" y="61"/>
                    <a:pt x="1589" y="61"/>
                    <a:pt x="1566" y="61"/>
                  </a:cubicBezTo>
                  <a:lnTo>
                    <a:pt x="1566" y="61"/>
                  </a:lnTo>
                  <a:cubicBezTo>
                    <a:pt x="1543" y="61"/>
                    <a:pt x="1520" y="77"/>
                    <a:pt x="1497" y="69"/>
                  </a:cubicBezTo>
                  <a:cubicBezTo>
                    <a:pt x="1467" y="61"/>
                    <a:pt x="1452" y="16"/>
                    <a:pt x="1421" y="8"/>
                  </a:cubicBezTo>
                  <a:cubicBezTo>
                    <a:pt x="1413" y="0"/>
                    <a:pt x="1398" y="8"/>
                    <a:pt x="1383" y="23"/>
                  </a:cubicBezTo>
                  <a:cubicBezTo>
                    <a:pt x="1375" y="31"/>
                    <a:pt x="1383" y="61"/>
                    <a:pt x="1375" y="61"/>
                  </a:cubicBezTo>
                  <a:cubicBezTo>
                    <a:pt x="1345" y="69"/>
                    <a:pt x="1322" y="54"/>
                    <a:pt x="1291" y="46"/>
                  </a:cubicBezTo>
                  <a:cubicBezTo>
                    <a:pt x="1169" y="38"/>
                    <a:pt x="1054" y="16"/>
                    <a:pt x="932" y="23"/>
                  </a:cubicBezTo>
                  <a:cubicBezTo>
                    <a:pt x="909" y="23"/>
                    <a:pt x="886" y="54"/>
                    <a:pt x="879" y="77"/>
                  </a:cubicBezTo>
                  <a:cubicBezTo>
                    <a:pt x="879" y="92"/>
                    <a:pt x="909" y="115"/>
                    <a:pt x="894" y="122"/>
                  </a:cubicBezTo>
                  <a:cubicBezTo>
                    <a:pt x="863" y="138"/>
                    <a:pt x="818" y="122"/>
                    <a:pt x="779" y="122"/>
                  </a:cubicBezTo>
                  <a:lnTo>
                    <a:pt x="779" y="122"/>
                  </a:lnTo>
                  <a:cubicBezTo>
                    <a:pt x="764" y="130"/>
                    <a:pt x="657" y="145"/>
                    <a:pt x="649" y="161"/>
                  </a:cubicBezTo>
                  <a:cubicBezTo>
                    <a:pt x="642" y="176"/>
                    <a:pt x="649" y="199"/>
                    <a:pt x="657" y="222"/>
                  </a:cubicBezTo>
                  <a:cubicBezTo>
                    <a:pt x="657" y="252"/>
                    <a:pt x="680" y="291"/>
                    <a:pt x="665" y="321"/>
                  </a:cubicBezTo>
                  <a:cubicBezTo>
                    <a:pt x="649" y="352"/>
                    <a:pt x="611" y="344"/>
                    <a:pt x="581" y="359"/>
                  </a:cubicBezTo>
                  <a:cubicBezTo>
                    <a:pt x="527" y="374"/>
                    <a:pt x="436" y="352"/>
                    <a:pt x="413" y="405"/>
                  </a:cubicBezTo>
                  <a:cubicBezTo>
                    <a:pt x="382" y="466"/>
                    <a:pt x="443" y="543"/>
                    <a:pt x="466" y="611"/>
                  </a:cubicBezTo>
                  <a:cubicBezTo>
                    <a:pt x="474" y="634"/>
                    <a:pt x="504" y="649"/>
                    <a:pt x="504" y="672"/>
                  </a:cubicBezTo>
                  <a:cubicBezTo>
                    <a:pt x="504" y="726"/>
                    <a:pt x="466" y="787"/>
                    <a:pt x="482" y="841"/>
                  </a:cubicBezTo>
                  <a:cubicBezTo>
                    <a:pt x="482" y="871"/>
                    <a:pt x="543" y="871"/>
                    <a:pt x="550" y="909"/>
                  </a:cubicBezTo>
                  <a:cubicBezTo>
                    <a:pt x="558" y="947"/>
                    <a:pt x="527" y="993"/>
                    <a:pt x="512" y="1031"/>
                  </a:cubicBezTo>
                  <a:cubicBezTo>
                    <a:pt x="497" y="1062"/>
                    <a:pt x="482" y="1116"/>
                    <a:pt x="451" y="1108"/>
                  </a:cubicBezTo>
                  <a:cubicBezTo>
                    <a:pt x="352" y="1085"/>
                    <a:pt x="275" y="1008"/>
                    <a:pt x="184" y="963"/>
                  </a:cubicBezTo>
                  <a:cubicBezTo>
                    <a:pt x="161" y="955"/>
                    <a:pt x="138" y="963"/>
                    <a:pt x="122" y="970"/>
                  </a:cubicBezTo>
                  <a:cubicBezTo>
                    <a:pt x="77" y="978"/>
                    <a:pt x="46" y="993"/>
                    <a:pt x="0" y="1008"/>
                  </a:cubicBezTo>
                  <a:lnTo>
                    <a:pt x="0" y="1008"/>
                  </a:lnTo>
                  <a:cubicBezTo>
                    <a:pt x="38" y="1070"/>
                    <a:pt x="54" y="1138"/>
                    <a:pt x="107" y="1177"/>
                  </a:cubicBezTo>
                  <a:cubicBezTo>
                    <a:pt x="138" y="1199"/>
                    <a:pt x="161" y="1146"/>
                    <a:pt x="191" y="1138"/>
                  </a:cubicBezTo>
                  <a:cubicBezTo>
                    <a:pt x="199" y="1138"/>
                    <a:pt x="230" y="1138"/>
                    <a:pt x="230" y="1154"/>
                  </a:cubicBezTo>
                  <a:cubicBezTo>
                    <a:pt x="237" y="1177"/>
                    <a:pt x="214" y="1199"/>
                    <a:pt x="199" y="1222"/>
                  </a:cubicBezTo>
                  <a:cubicBezTo>
                    <a:pt x="191" y="1230"/>
                    <a:pt x="184" y="1238"/>
                    <a:pt x="176" y="1245"/>
                  </a:cubicBezTo>
                  <a:cubicBezTo>
                    <a:pt x="168" y="1276"/>
                    <a:pt x="161" y="1306"/>
                    <a:pt x="176" y="1322"/>
                  </a:cubicBezTo>
                  <a:cubicBezTo>
                    <a:pt x="191" y="1345"/>
                    <a:pt x="230" y="1306"/>
                    <a:pt x="245" y="1322"/>
                  </a:cubicBezTo>
                  <a:cubicBezTo>
                    <a:pt x="260" y="1337"/>
                    <a:pt x="245" y="1375"/>
                    <a:pt x="245" y="1398"/>
                  </a:cubicBezTo>
                  <a:cubicBezTo>
                    <a:pt x="252" y="1444"/>
                    <a:pt x="237" y="1497"/>
                    <a:pt x="260" y="1535"/>
                  </a:cubicBezTo>
                  <a:cubicBezTo>
                    <a:pt x="275" y="1551"/>
                    <a:pt x="306" y="1505"/>
                    <a:pt x="329" y="1520"/>
                  </a:cubicBezTo>
                  <a:cubicBezTo>
                    <a:pt x="344" y="1528"/>
                    <a:pt x="321" y="1581"/>
                    <a:pt x="344" y="1589"/>
                  </a:cubicBezTo>
                  <a:cubicBezTo>
                    <a:pt x="374" y="1604"/>
                    <a:pt x="413" y="1551"/>
                    <a:pt x="436" y="1574"/>
                  </a:cubicBezTo>
                  <a:cubicBezTo>
                    <a:pt x="459" y="1589"/>
                    <a:pt x="428" y="1650"/>
                    <a:pt x="420" y="1673"/>
                  </a:cubicBezTo>
                  <a:lnTo>
                    <a:pt x="420" y="1673"/>
                  </a:lnTo>
                  <a:cubicBezTo>
                    <a:pt x="443" y="1673"/>
                    <a:pt x="474" y="1673"/>
                    <a:pt x="497" y="1681"/>
                  </a:cubicBezTo>
                  <a:cubicBezTo>
                    <a:pt x="566" y="1666"/>
                    <a:pt x="588" y="1711"/>
                    <a:pt x="627" y="1727"/>
                  </a:cubicBezTo>
                  <a:cubicBezTo>
                    <a:pt x="627" y="1681"/>
                    <a:pt x="818" y="1589"/>
                    <a:pt x="863" y="1581"/>
                  </a:cubicBezTo>
                  <a:cubicBezTo>
                    <a:pt x="924" y="1566"/>
                    <a:pt x="955" y="1551"/>
                    <a:pt x="1008" y="1505"/>
                  </a:cubicBezTo>
                  <a:cubicBezTo>
                    <a:pt x="1093" y="1429"/>
                    <a:pt x="871" y="1322"/>
                    <a:pt x="833" y="1253"/>
                  </a:cubicBezTo>
                  <a:lnTo>
                    <a:pt x="833" y="1253"/>
                  </a:lnTo>
                  <a:cubicBezTo>
                    <a:pt x="825" y="1253"/>
                    <a:pt x="818" y="1245"/>
                    <a:pt x="818" y="1245"/>
                  </a:cubicBezTo>
                  <a:cubicBezTo>
                    <a:pt x="779" y="1222"/>
                    <a:pt x="741" y="1207"/>
                    <a:pt x="756" y="1169"/>
                  </a:cubicBezTo>
                  <a:cubicBezTo>
                    <a:pt x="779" y="1070"/>
                    <a:pt x="886" y="1070"/>
                    <a:pt x="940" y="1077"/>
                  </a:cubicBezTo>
                  <a:cubicBezTo>
                    <a:pt x="955" y="1085"/>
                    <a:pt x="963" y="1100"/>
                    <a:pt x="963" y="1116"/>
                  </a:cubicBezTo>
                  <a:cubicBezTo>
                    <a:pt x="986" y="1146"/>
                    <a:pt x="1024" y="1184"/>
                    <a:pt x="1001" y="1215"/>
                  </a:cubicBezTo>
                  <a:cubicBezTo>
                    <a:pt x="978" y="1253"/>
                    <a:pt x="917" y="1260"/>
                    <a:pt x="871" y="1268"/>
                  </a:cubicBezTo>
                  <a:lnTo>
                    <a:pt x="871" y="1268"/>
                  </a:lnTo>
                  <a:cubicBezTo>
                    <a:pt x="917" y="1291"/>
                    <a:pt x="970" y="1337"/>
                    <a:pt x="986" y="1352"/>
                  </a:cubicBezTo>
                  <a:cubicBezTo>
                    <a:pt x="1031" y="1383"/>
                    <a:pt x="1070" y="1421"/>
                    <a:pt x="1108" y="1452"/>
                  </a:cubicBezTo>
                  <a:cubicBezTo>
                    <a:pt x="1138" y="1474"/>
                    <a:pt x="1184" y="1482"/>
                    <a:pt x="1207" y="1505"/>
                  </a:cubicBezTo>
                  <a:cubicBezTo>
                    <a:pt x="1230" y="1535"/>
                    <a:pt x="1276" y="1604"/>
                    <a:pt x="1314" y="1558"/>
                  </a:cubicBezTo>
                  <a:cubicBezTo>
                    <a:pt x="1345" y="1528"/>
                    <a:pt x="1352" y="1543"/>
                    <a:pt x="1368" y="1551"/>
                  </a:cubicBezTo>
                  <a:lnTo>
                    <a:pt x="1368" y="1551"/>
                  </a:lnTo>
                  <a:cubicBezTo>
                    <a:pt x="1352" y="1513"/>
                    <a:pt x="1322" y="1429"/>
                    <a:pt x="1306" y="1398"/>
                  </a:cubicBezTo>
                  <a:cubicBezTo>
                    <a:pt x="1306" y="1383"/>
                    <a:pt x="1283" y="1368"/>
                    <a:pt x="1299" y="1360"/>
                  </a:cubicBezTo>
                  <a:cubicBezTo>
                    <a:pt x="1314" y="1345"/>
                    <a:pt x="1345" y="1368"/>
                    <a:pt x="1360" y="1352"/>
                  </a:cubicBezTo>
                  <a:cubicBezTo>
                    <a:pt x="1375" y="1345"/>
                    <a:pt x="1368" y="1306"/>
                    <a:pt x="1383" y="1306"/>
                  </a:cubicBezTo>
                  <a:cubicBezTo>
                    <a:pt x="1429" y="1299"/>
                    <a:pt x="1490" y="1299"/>
                    <a:pt x="1520" y="1337"/>
                  </a:cubicBezTo>
                  <a:cubicBezTo>
                    <a:pt x="1543" y="1360"/>
                    <a:pt x="1505" y="1406"/>
                    <a:pt x="1505" y="1436"/>
                  </a:cubicBezTo>
                  <a:cubicBezTo>
                    <a:pt x="1505" y="1459"/>
                    <a:pt x="1513" y="1543"/>
                    <a:pt x="1513" y="156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31" name="Freeform 153"/>
            <p:cNvSpPr>
              <a:spLocks noChangeArrowheads="1"/>
            </p:cNvSpPr>
            <p:nvPr/>
          </p:nvSpPr>
          <p:spPr bwMode="auto">
            <a:xfrm>
              <a:off x="7313137" y="9559925"/>
              <a:ext cx="93656" cy="96838"/>
            </a:xfrm>
            <a:custGeom>
              <a:avLst/>
              <a:gdLst>
                <a:gd name="T0" fmla="*/ 85 w 261"/>
                <a:gd name="T1" fmla="*/ 252 h 268"/>
                <a:gd name="T2" fmla="*/ 85 w 261"/>
                <a:gd name="T3" fmla="*/ 252 h 268"/>
                <a:gd name="T4" fmla="*/ 138 w 261"/>
                <a:gd name="T5" fmla="*/ 252 h 268"/>
                <a:gd name="T6" fmla="*/ 230 w 261"/>
                <a:gd name="T7" fmla="*/ 267 h 268"/>
                <a:gd name="T8" fmla="*/ 230 w 261"/>
                <a:gd name="T9" fmla="*/ 267 h 268"/>
                <a:gd name="T10" fmla="*/ 222 w 261"/>
                <a:gd name="T11" fmla="*/ 137 h 268"/>
                <a:gd name="T12" fmla="*/ 237 w 261"/>
                <a:gd name="T13" fmla="*/ 38 h 268"/>
                <a:gd name="T14" fmla="*/ 100 w 261"/>
                <a:gd name="T15" fmla="*/ 7 h 268"/>
                <a:gd name="T16" fmla="*/ 77 w 261"/>
                <a:gd name="T17" fmla="*/ 53 h 268"/>
                <a:gd name="T18" fmla="*/ 16 w 261"/>
                <a:gd name="T19" fmla="*/ 61 h 268"/>
                <a:gd name="T20" fmla="*/ 23 w 261"/>
                <a:gd name="T21" fmla="*/ 99 h 268"/>
                <a:gd name="T22" fmla="*/ 85 w 261"/>
                <a:gd name="T23" fmla="*/ 252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1" h="268">
                  <a:moveTo>
                    <a:pt x="85" y="252"/>
                  </a:moveTo>
                  <a:lnTo>
                    <a:pt x="85" y="252"/>
                  </a:lnTo>
                  <a:cubicBezTo>
                    <a:pt x="92" y="259"/>
                    <a:pt x="108" y="259"/>
                    <a:pt x="138" y="252"/>
                  </a:cubicBezTo>
                  <a:cubicBezTo>
                    <a:pt x="169" y="259"/>
                    <a:pt x="199" y="267"/>
                    <a:pt x="230" y="267"/>
                  </a:cubicBezTo>
                  <a:lnTo>
                    <a:pt x="230" y="267"/>
                  </a:lnTo>
                  <a:cubicBezTo>
                    <a:pt x="230" y="244"/>
                    <a:pt x="222" y="160"/>
                    <a:pt x="222" y="137"/>
                  </a:cubicBezTo>
                  <a:cubicBezTo>
                    <a:pt x="222" y="107"/>
                    <a:pt x="260" y="61"/>
                    <a:pt x="237" y="38"/>
                  </a:cubicBezTo>
                  <a:cubicBezTo>
                    <a:pt x="207" y="0"/>
                    <a:pt x="146" y="0"/>
                    <a:pt x="100" y="7"/>
                  </a:cubicBezTo>
                  <a:cubicBezTo>
                    <a:pt x="85" y="7"/>
                    <a:pt x="92" y="46"/>
                    <a:pt x="77" y="53"/>
                  </a:cubicBezTo>
                  <a:cubicBezTo>
                    <a:pt x="62" y="69"/>
                    <a:pt x="31" y="46"/>
                    <a:pt x="16" y="61"/>
                  </a:cubicBezTo>
                  <a:cubicBezTo>
                    <a:pt x="0" y="69"/>
                    <a:pt x="23" y="84"/>
                    <a:pt x="23" y="99"/>
                  </a:cubicBezTo>
                  <a:cubicBezTo>
                    <a:pt x="39" y="130"/>
                    <a:pt x="69" y="214"/>
                    <a:pt x="85" y="25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32" name="Freeform 154"/>
            <p:cNvSpPr>
              <a:spLocks noChangeArrowheads="1"/>
            </p:cNvSpPr>
            <p:nvPr/>
          </p:nvSpPr>
          <p:spPr bwMode="auto">
            <a:xfrm>
              <a:off x="7117887" y="9477375"/>
              <a:ext cx="101593" cy="71438"/>
            </a:xfrm>
            <a:custGeom>
              <a:avLst/>
              <a:gdLst>
                <a:gd name="T0" fmla="*/ 92 w 284"/>
                <a:gd name="T1" fmla="*/ 183 h 199"/>
                <a:gd name="T2" fmla="*/ 92 w 284"/>
                <a:gd name="T3" fmla="*/ 183 h 199"/>
                <a:gd name="T4" fmla="*/ 84 w 284"/>
                <a:gd name="T5" fmla="*/ 175 h 199"/>
                <a:gd name="T6" fmla="*/ 130 w 284"/>
                <a:gd name="T7" fmla="*/ 198 h 199"/>
                <a:gd name="T8" fmla="*/ 130 w 284"/>
                <a:gd name="T9" fmla="*/ 198 h 199"/>
                <a:gd name="T10" fmla="*/ 260 w 284"/>
                <a:gd name="T11" fmla="*/ 145 h 199"/>
                <a:gd name="T12" fmla="*/ 222 w 284"/>
                <a:gd name="T13" fmla="*/ 46 h 199"/>
                <a:gd name="T14" fmla="*/ 199 w 284"/>
                <a:gd name="T15" fmla="*/ 7 h 199"/>
                <a:gd name="T16" fmla="*/ 15 w 284"/>
                <a:gd name="T17" fmla="*/ 99 h 199"/>
                <a:gd name="T18" fmla="*/ 77 w 284"/>
                <a:gd name="T19" fmla="*/ 175 h 199"/>
                <a:gd name="T20" fmla="*/ 92 w 284"/>
                <a:gd name="T21" fmla="*/ 183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" h="199">
                  <a:moveTo>
                    <a:pt x="92" y="183"/>
                  </a:moveTo>
                  <a:lnTo>
                    <a:pt x="92" y="183"/>
                  </a:lnTo>
                  <a:cubicBezTo>
                    <a:pt x="84" y="183"/>
                    <a:pt x="84" y="175"/>
                    <a:pt x="84" y="175"/>
                  </a:cubicBezTo>
                  <a:cubicBezTo>
                    <a:pt x="92" y="175"/>
                    <a:pt x="115" y="183"/>
                    <a:pt x="130" y="198"/>
                  </a:cubicBezTo>
                  <a:lnTo>
                    <a:pt x="130" y="198"/>
                  </a:lnTo>
                  <a:cubicBezTo>
                    <a:pt x="176" y="190"/>
                    <a:pt x="237" y="183"/>
                    <a:pt x="260" y="145"/>
                  </a:cubicBezTo>
                  <a:cubicBezTo>
                    <a:pt x="283" y="114"/>
                    <a:pt x="245" y="76"/>
                    <a:pt x="222" y="46"/>
                  </a:cubicBezTo>
                  <a:cubicBezTo>
                    <a:pt x="222" y="30"/>
                    <a:pt x="214" y="15"/>
                    <a:pt x="199" y="7"/>
                  </a:cubicBezTo>
                  <a:cubicBezTo>
                    <a:pt x="145" y="0"/>
                    <a:pt x="38" y="0"/>
                    <a:pt x="15" y="99"/>
                  </a:cubicBezTo>
                  <a:cubicBezTo>
                    <a:pt x="0" y="137"/>
                    <a:pt x="38" y="152"/>
                    <a:pt x="77" y="175"/>
                  </a:cubicBezTo>
                  <a:cubicBezTo>
                    <a:pt x="77" y="175"/>
                    <a:pt x="84" y="183"/>
                    <a:pt x="92" y="18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33" name="Freeform 155"/>
            <p:cNvSpPr>
              <a:spLocks noChangeArrowheads="1"/>
            </p:cNvSpPr>
            <p:nvPr/>
          </p:nvSpPr>
          <p:spPr bwMode="auto">
            <a:xfrm>
              <a:off x="6294028" y="9369426"/>
              <a:ext cx="723853" cy="511175"/>
            </a:xfrm>
            <a:custGeom>
              <a:avLst/>
              <a:gdLst>
                <a:gd name="T0" fmla="*/ 7 w 2010"/>
                <a:gd name="T1" fmla="*/ 657 h 1421"/>
                <a:gd name="T2" fmla="*/ 152 w 2010"/>
                <a:gd name="T3" fmla="*/ 580 h 1421"/>
                <a:gd name="T4" fmla="*/ 473 w 2010"/>
                <a:gd name="T5" fmla="*/ 496 h 1421"/>
                <a:gd name="T6" fmla="*/ 542 w 2010"/>
                <a:gd name="T7" fmla="*/ 344 h 1421"/>
                <a:gd name="T8" fmla="*/ 687 w 2010"/>
                <a:gd name="T9" fmla="*/ 221 h 1421"/>
                <a:gd name="T10" fmla="*/ 809 w 2010"/>
                <a:gd name="T11" fmla="*/ 282 h 1421"/>
                <a:gd name="T12" fmla="*/ 886 w 2010"/>
                <a:gd name="T13" fmla="*/ 206 h 1421"/>
                <a:gd name="T14" fmla="*/ 939 w 2010"/>
                <a:gd name="T15" fmla="*/ 23 h 1421"/>
                <a:gd name="T16" fmla="*/ 970 w 2010"/>
                <a:gd name="T17" fmla="*/ 0 h 1421"/>
                <a:gd name="T18" fmla="*/ 1191 w 2010"/>
                <a:gd name="T19" fmla="*/ 122 h 1421"/>
                <a:gd name="T20" fmla="*/ 1298 w 2010"/>
                <a:gd name="T21" fmla="*/ 259 h 1421"/>
                <a:gd name="T22" fmla="*/ 1451 w 2010"/>
                <a:gd name="T23" fmla="*/ 275 h 1421"/>
                <a:gd name="T24" fmla="*/ 1550 w 2010"/>
                <a:gd name="T25" fmla="*/ 236 h 1421"/>
                <a:gd name="T26" fmla="*/ 1741 w 2010"/>
                <a:gd name="T27" fmla="*/ 366 h 1421"/>
                <a:gd name="T28" fmla="*/ 1749 w 2010"/>
                <a:gd name="T29" fmla="*/ 450 h 1421"/>
                <a:gd name="T30" fmla="*/ 1726 w 2010"/>
                <a:gd name="T31" fmla="*/ 550 h 1421"/>
                <a:gd name="T32" fmla="*/ 1795 w 2010"/>
                <a:gd name="T33" fmla="*/ 626 h 1421"/>
                <a:gd name="T34" fmla="*/ 1879 w 2010"/>
                <a:gd name="T35" fmla="*/ 748 h 1421"/>
                <a:gd name="T36" fmla="*/ 1986 w 2010"/>
                <a:gd name="T37" fmla="*/ 802 h 1421"/>
                <a:gd name="T38" fmla="*/ 1970 w 2010"/>
                <a:gd name="T39" fmla="*/ 901 h 1421"/>
                <a:gd name="T40" fmla="*/ 1848 w 2010"/>
                <a:gd name="T41" fmla="*/ 955 h 1421"/>
                <a:gd name="T42" fmla="*/ 1764 w 2010"/>
                <a:gd name="T43" fmla="*/ 825 h 1421"/>
                <a:gd name="T44" fmla="*/ 1695 w 2010"/>
                <a:gd name="T45" fmla="*/ 786 h 1421"/>
                <a:gd name="T46" fmla="*/ 1619 w 2010"/>
                <a:gd name="T47" fmla="*/ 763 h 1421"/>
                <a:gd name="T48" fmla="*/ 1482 w 2010"/>
                <a:gd name="T49" fmla="*/ 741 h 1421"/>
                <a:gd name="T50" fmla="*/ 1405 w 2010"/>
                <a:gd name="T51" fmla="*/ 977 h 1421"/>
                <a:gd name="T52" fmla="*/ 1581 w 2010"/>
                <a:gd name="T53" fmla="*/ 1069 h 1421"/>
                <a:gd name="T54" fmla="*/ 1566 w 2010"/>
                <a:gd name="T55" fmla="*/ 1176 h 1421"/>
                <a:gd name="T56" fmla="*/ 1428 w 2010"/>
                <a:gd name="T57" fmla="*/ 1291 h 1421"/>
                <a:gd name="T58" fmla="*/ 1275 w 2010"/>
                <a:gd name="T59" fmla="*/ 1207 h 1421"/>
                <a:gd name="T60" fmla="*/ 825 w 2010"/>
                <a:gd name="T61" fmla="*/ 1146 h 1421"/>
                <a:gd name="T62" fmla="*/ 779 w 2010"/>
                <a:gd name="T63" fmla="*/ 1245 h 1421"/>
                <a:gd name="T64" fmla="*/ 840 w 2010"/>
                <a:gd name="T65" fmla="*/ 1352 h 1421"/>
                <a:gd name="T66" fmla="*/ 809 w 2010"/>
                <a:gd name="T67" fmla="*/ 1420 h 1421"/>
                <a:gd name="T68" fmla="*/ 794 w 2010"/>
                <a:gd name="T69" fmla="*/ 1313 h 1421"/>
                <a:gd name="T70" fmla="*/ 756 w 2010"/>
                <a:gd name="T71" fmla="*/ 1245 h 1421"/>
                <a:gd name="T72" fmla="*/ 84 w 2010"/>
                <a:gd name="T73" fmla="*/ 909 h 1421"/>
                <a:gd name="T74" fmla="*/ 15 w 2010"/>
                <a:gd name="T75" fmla="*/ 939 h 1421"/>
                <a:gd name="T76" fmla="*/ 38 w 2010"/>
                <a:gd name="T77" fmla="*/ 809 h 1421"/>
                <a:gd name="T78" fmla="*/ 107 w 2010"/>
                <a:gd name="T79" fmla="*/ 718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10" h="1421">
                  <a:moveTo>
                    <a:pt x="7" y="657"/>
                  </a:moveTo>
                  <a:lnTo>
                    <a:pt x="7" y="657"/>
                  </a:lnTo>
                  <a:cubicBezTo>
                    <a:pt x="30" y="641"/>
                    <a:pt x="38" y="611"/>
                    <a:pt x="61" y="603"/>
                  </a:cubicBezTo>
                  <a:cubicBezTo>
                    <a:pt x="84" y="588"/>
                    <a:pt x="122" y="588"/>
                    <a:pt x="152" y="580"/>
                  </a:cubicBezTo>
                  <a:cubicBezTo>
                    <a:pt x="175" y="573"/>
                    <a:pt x="191" y="565"/>
                    <a:pt x="214" y="557"/>
                  </a:cubicBezTo>
                  <a:cubicBezTo>
                    <a:pt x="298" y="534"/>
                    <a:pt x="389" y="519"/>
                    <a:pt x="473" y="496"/>
                  </a:cubicBezTo>
                  <a:cubicBezTo>
                    <a:pt x="488" y="496"/>
                    <a:pt x="527" y="511"/>
                    <a:pt x="534" y="488"/>
                  </a:cubicBezTo>
                  <a:cubicBezTo>
                    <a:pt x="557" y="443"/>
                    <a:pt x="534" y="389"/>
                    <a:pt x="542" y="344"/>
                  </a:cubicBezTo>
                  <a:cubicBezTo>
                    <a:pt x="542" y="313"/>
                    <a:pt x="534" y="275"/>
                    <a:pt x="550" y="259"/>
                  </a:cubicBezTo>
                  <a:cubicBezTo>
                    <a:pt x="588" y="229"/>
                    <a:pt x="641" y="206"/>
                    <a:pt x="687" y="221"/>
                  </a:cubicBezTo>
                  <a:cubicBezTo>
                    <a:pt x="733" y="236"/>
                    <a:pt x="725" y="313"/>
                    <a:pt x="771" y="336"/>
                  </a:cubicBezTo>
                  <a:cubicBezTo>
                    <a:pt x="786" y="344"/>
                    <a:pt x="794" y="290"/>
                    <a:pt x="809" y="282"/>
                  </a:cubicBezTo>
                  <a:cubicBezTo>
                    <a:pt x="855" y="267"/>
                    <a:pt x="924" y="298"/>
                    <a:pt x="962" y="259"/>
                  </a:cubicBezTo>
                  <a:cubicBezTo>
                    <a:pt x="977" y="244"/>
                    <a:pt x="886" y="236"/>
                    <a:pt x="886" y="206"/>
                  </a:cubicBezTo>
                  <a:cubicBezTo>
                    <a:pt x="886" y="168"/>
                    <a:pt x="947" y="145"/>
                    <a:pt x="962" y="99"/>
                  </a:cubicBezTo>
                  <a:cubicBezTo>
                    <a:pt x="970" y="76"/>
                    <a:pt x="939" y="53"/>
                    <a:pt x="939" y="23"/>
                  </a:cubicBezTo>
                  <a:cubicBezTo>
                    <a:pt x="947" y="15"/>
                    <a:pt x="962" y="7"/>
                    <a:pt x="970" y="0"/>
                  </a:cubicBezTo>
                  <a:lnTo>
                    <a:pt x="970" y="0"/>
                  </a:lnTo>
                  <a:cubicBezTo>
                    <a:pt x="1023" y="15"/>
                    <a:pt x="1077" y="7"/>
                    <a:pt x="1115" y="30"/>
                  </a:cubicBezTo>
                  <a:cubicBezTo>
                    <a:pt x="1153" y="46"/>
                    <a:pt x="1168" y="91"/>
                    <a:pt x="1191" y="122"/>
                  </a:cubicBezTo>
                  <a:cubicBezTo>
                    <a:pt x="1214" y="160"/>
                    <a:pt x="1230" y="198"/>
                    <a:pt x="1252" y="236"/>
                  </a:cubicBezTo>
                  <a:cubicBezTo>
                    <a:pt x="1260" y="252"/>
                    <a:pt x="1283" y="252"/>
                    <a:pt x="1298" y="259"/>
                  </a:cubicBezTo>
                  <a:cubicBezTo>
                    <a:pt x="1313" y="282"/>
                    <a:pt x="1313" y="336"/>
                    <a:pt x="1344" y="336"/>
                  </a:cubicBezTo>
                  <a:cubicBezTo>
                    <a:pt x="1382" y="336"/>
                    <a:pt x="1413" y="290"/>
                    <a:pt x="1451" y="275"/>
                  </a:cubicBezTo>
                  <a:cubicBezTo>
                    <a:pt x="1482" y="259"/>
                    <a:pt x="1520" y="252"/>
                    <a:pt x="1550" y="236"/>
                  </a:cubicBezTo>
                  <a:lnTo>
                    <a:pt x="1550" y="236"/>
                  </a:lnTo>
                  <a:cubicBezTo>
                    <a:pt x="1588" y="298"/>
                    <a:pt x="1604" y="366"/>
                    <a:pt x="1657" y="405"/>
                  </a:cubicBezTo>
                  <a:cubicBezTo>
                    <a:pt x="1688" y="427"/>
                    <a:pt x="1711" y="374"/>
                    <a:pt x="1741" y="366"/>
                  </a:cubicBezTo>
                  <a:cubicBezTo>
                    <a:pt x="1749" y="366"/>
                    <a:pt x="1780" y="366"/>
                    <a:pt x="1780" y="382"/>
                  </a:cubicBezTo>
                  <a:cubicBezTo>
                    <a:pt x="1787" y="405"/>
                    <a:pt x="1764" y="427"/>
                    <a:pt x="1749" y="450"/>
                  </a:cubicBezTo>
                  <a:cubicBezTo>
                    <a:pt x="1741" y="458"/>
                    <a:pt x="1734" y="466"/>
                    <a:pt x="1726" y="473"/>
                  </a:cubicBezTo>
                  <a:cubicBezTo>
                    <a:pt x="1718" y="504"/>
                    <a:pt x="1711" y="534"/>
                    <a:pt x="1726" y="550"/>
                  </a:cubicBezTo>
                  <a:cubicBezTo>
                    <a:pt x="1741" y="573"/>
                    <a:pt x="1780" y="534"/>
                    <a:pt x="1795" y="550"/>
                  </a:cubicBezTo>
                  <a:cubicBezTo>
                    <a:pt x="1810" y="565"/>
                    <a:pt x="1795" y="603"/>
                    <a:pt x="1795" y="626"/>
                  </a:cubicBezTo>
                  <a:cubicBezTo>
                    <a:pt x="1802" y="672"/>
                    <a:pt x="1787" y="725"/>
                    <a:pt x="1810" y="763"/>
                  </a:cubicBezTo>
                  <a:cubicBezTo>
                    <a:pt x="1825" y="779"/>
                    <a:pt x="1856" y="733"/>
                    <a:pt x="1879" y="748"/>
                  </a:cubicBezTo>
                  <a:cubicBezTo>
                    <a:pt x="1894" y="756"/>
                    <a:pt x="1871" y="809"/>
                    <a:pt x="1894" y="817"/>
                  </a:cubicBezTo>
                  <a:cubicBezTo>
                    <a:pt x="1924" y="832"/>
                    <a:pt x="1963" y="779"/>
                    <a:pt x="1986" y="802"/>
                  </a:cubicBezTo>
                  <a:cubicBezTo>
                    <a:pt x="2009" y="817"/>
                    <a:pt x="1978" y="878"/>
                    <a:pt x="1970" y="901"/>
                  </a:cubicBezTo>
                  <a:lnTo>
                    <a:pt x="1970" y="901"/>
                  </a:lnTo>
                  <a:cubicBezTo>
                    <a:pt x="1947" y="909"/>
                    <a:pt x="1917" y="916"/>
                    <a:pt x="1894" y="947"/>
                  </a:cubicBezTo>
                  <a:cubicBezTo>
                    <a:pt x="1886" y="955"/>
                    <a:pt x="1871" y="955"/>
                    <a:pt x="1848" y="955"/>
                  </a:cubicBezTo>
                  <a:lnTo>
                    <a:pt x="1848" y="955"/>
                  </a:lnTo>
                  <a:cubicBezTo>
                    <a:pt x="1825" y="924"/>
                    <a:pt x="1787" y="855"/>
                    <a:pt x="1764" y="825"/>
                  </a:cubicBezTo>
                  <a:cubicBezTo>
                    <a:pt x="1749" y="817"/>
                    <a:pt x="1749" y="794"/>
                    <a:pt x="1734" y="786"/>
                  </a:cubicBezTo>
                  <a:cubicBezTo>
                    <a:pt x="1726" y="779"/>
                    <a:pt x="1703" y="786"/>
                    <a:pt x="1695" y="786"/>
                  </a:cubicBezTo>
                  <a:cubicBezTo>
                    <a:pt x="1665" y="779"/>
                    <a:pt x="1642" y="771"/>
                    <a:pt x="1619" y="763"/>
                  </a:cubicBezTo>
                  <a:lnTo>
                    <a:pt x="1619" y="763"/>
                  </a:lnTo>
                  <a:cubicBezTo>
                    <a:pt x="1596" y="748"/>
                    <a:pt x="1581" y="710"/>
                    <a:pt x="1550" y="710"/>
                  </a:cubicBezTo>
                  <a:cubicBezTo>
                    <a:pt x="1527" y="702"/>
                    <a:pt x="1497" y="718"/>
                    <a:pt x="1482" y="741"/>
                  </a:cubicBezTo>
                  <a:cubicBezTo>
                    <a:pt x="1466" y="763"/>
                    <a:pt x="1474" y="802"/>
                    <a:pt x="1466" y="832"/>
                  </a:cubicBezTo>
                  <a:cubicBezTo>
                    <a:pt x="1459" y="855"/>
                    <a:pt x="1413" y="955"/>
                    <a:pt x="1405" y="977"/>
                  </a:cubicBezTo>
                  <a:lnTo>
                    <a:pt x="1405" y="977"/>
                  </a:lnTo>
                  <a:cubicBezTo>
                    <a:pt x="1405" y="1008"/>
                    <a:pt x="1550" y="1077"/>
                    <a:pt x="1581" y="1069"/>
                  </a:cubicBezTo>
                  <a:cubicBezTo>
                    <a:pt x="1604" y="1061"/>
                    <a:pt x="1588" y="1092"/>
                    <a:pt x="1588" y="1107"/>
                  </a:cubicBezTo>
                  <a:cubicBezTo>
                    <a:pt x="1596" y="1153"/>
                    <a:pt x="1642" y="1146"/>
                    <a:pt x="1566" y="1176"/>
                  </a:cubicBezTo>
                  <a:cubicBezTo>
                    <a:pt x="1535" y="1184"/>
                    <a:pt x="1581" y="1260"/>
                    <a:pt x="1558" y="1260"/>
                  </a:cubicBezTo>
                  <a:cubicBezTo>
                    <a:pt x="1520" y="1260"/>
                    <a:pt x="1436" y="1245"/>
                    <a:pt x="1428" y="1291"/>
                  </a:cubicBezTo>
                  <a:cubicBezTo>
                    <a:pt x="1405" y="1298"/>
                    <a:pt x="1397" y="1275"/>
                    <a:pt x="1390" y="1252"/>
                  </a:cubicBezTo>
                  <a:cubicBezTo>
                    <a:pt x="1344" y="1252"/>
                    <a:pt x="1321" y="1222"/>
                    <a:pt x="1275" y="1207"/>
                  </a:cubicBezTo>
                  <a:cubicBezTo>
                    <a:pt x="1230" y="1191"/>
                    <a:pt x="1176" y="1207"/>
                    <a:pt x="1130" y="1191"/>
                  </a:cubicBezTo>
                  <a:cubicBezTo>
                    <a:pt x="1023" y="1176"/>
                    <a:pt x="932" y="1146"/>
                    <a:pt x="825" y="1146"/>
                  </a:cubicBezTo>
                  <a:cubicBezTo>
                    <a:pt x="825" y="1168"/>
                    <a:pt x="794" y="1207"/>
                    <a:pt x="779" y="1229"/>
                  </a:cubicBezTo>
                  <a:cubicBezTo>
                    <a:pt x="779" y="1245"/>
                    <a:pt x="779" y="1245"/>
                    <a:pt x="779" y="1245"/>
                  </a:cubicBezTo>
                  <a:cubicBezTo>
                    <a:pt x="779" y="1268"/>
                    <a:pt x="794" y="1283"/>
                    <a:pt x="809" y="1298"/>
                  </a:cubicBezTo>
                  <a:cubicBezTo>
                    <a:pt x="817" y="1313"/>
                    <a:pt x="840" y="1336"/>
                    <a:pt x="840" y="1352"/>
                  </a:cubicBezTo>
                  <a:cubicBezTo>
                    <a:pt x="840" y="1367"/>
                    <a:pt x="825" y="1382"/>
                    <a:pt x="817" y="1398"/>
                  </a:cubicBezTo>
                  <a:cubicBezTo>
                    <a:pt x="809" y="1405"/>
                    <a:pt x="809" y="1420"/>
                    <a:pt x="809" y="1420"/>
                  </a:cubicBezTo>
                  <a:cubicBezTo>
                    <a:pt x="802" y="1398"/>
                    <a:pt x="794" y="1390"/>
                    <a:pt x="794" y="1367"/>
                  </a:cubicBezTo>
                  <a:cubicBezTo>
                    <a:pt x="794" y="1352"/>
                    <a:pt x="802" y="1329"/>
                    <a:pt x="794" y="1313"/>
                  </a:cubicBezTo>
                  <a:cubicBezTo>
                    <a:pt x="786" y="1306"/>
                    <a:pt x="779" y="1298"/>
                    <a:pt x="771" y="1283"/>
                  </a:cubicBezTo>
                  <a:cubicBezTo>
                    <a:pt x="763" y="1275"/>
                    <a:pt x="763" y="1260"/>
                    <a:pt x="756" y="1245"/>
                  </a:cubicBezTo>
                  <a:cubicBezTo>
                    <a:pt x="664" y="1138"/>
                    <a:pt x="351" y="1031"/>
                    <a:pt x="282" y="970"/>
                  </a:cubicBezTo>
                  <a:cubicBezTo>
                    <a:pt x="236" y="955"/>
                    <a:pt x="130" y="901"/>
                    <a:pt x="84" y="909"/>
                  </a:cubicBezTo>
                  <a:cubicBezTo>
                    <a:pt x="61" y="916"/>
                    <a:pt x="38" y="924"/>
                    <a:pt x="15" y="939"/>
                  </a:cubicBezTo>
                  <a:lnTo>
                    <a:pt x="15" y="939"/>
                  </a:lnTo>
                  <a:cubicBezTo>
                    <a:pt x="15" y="916"/>
                    <a:pt x="15" y="863"/>
                    <a:pt x="23" y="840"/>
                  </a:cubicBezTo>
                  <a:cubicBezTo>
                    <a:pt x="23" y="825"/>
                    <a:pt x="38" y="817"/>
                    <a:pt x="38" y="809"/>
                  </a:cubicBezTo>
                  <a:cubicBezTo>
                    <a:pt x="30" y="794"/>
                    <a:pt x="0" y="794"/>
                    <a:pt x="7" y="786"/>
                  </a:cubicBezTo>
                  <a:cubicBezTo>
                    <a:pt x="30" y="748"/>
                    <a:pt x="107" y="756"/>
                    <a:pt x="107" y="718"/>
                  </a:cubicBezTo>
                  <a:cubicBezTo>
                    <a:pt x="107" y="680"/>
                    <a:pt x="46" y="680"/>
                    <a:pt x="7" y="65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34" name="Freeform 156"/>
            <p:cNvSpPr>
              <a:spLocks noChangeArrowheads="1"/>
            </p:cNvSpPr>
            <p:nvPr/>
          </p:nvSpPr>
          <p:spPr bwMode="auto">
            <a:xfrm>
              <a:off x="6862316" y="9644063"/>
              <a:ext cx="96831" cy="74612"/>
            </a:xfrm>
            <a:custGeom>
              <a:avLst/>
              <a:gdLst>
                <a:gd name="T0" fmla="*/ 267 w 268"/>
                <a:gd name="T1" fmla="*/ 192 h 208"/>
                <a:gd name="T2" fmla="*/ 267 w 268"/>
                <a:gd name="T3" fmla="*/ 192 h 208"/>
                <a:gd name="T4" fmla="*/ 183 w 268"/>
                <a:gd name="T5" fmla="*/ 62 h 208"/>
                <a:gd name="T6" fmla="*/ 153 w 268"/>
                <a:gd name="T7" fmla="*/ 23 h 208"/>
                <a:gd name="T8" fmla="*/ 114 w 268"/>
                <a:gd name="T9" fmla="*/ 23 h 208"/>
                <a:gd name="T10" fmla="*/ 38 w 268"/>
                <a:gd name="T11" fmla="*/ 0 h 208"/>
                <a:gd name="T12" fmla="*/ 38 w 268"/>
                <a:gd name="T13" fmla="*/ 0 h 208"/>
                <a:gd name="T14" fmla="*/ 7 w 268"/>
                <a:gd name="T15" fmla="*/ 54 h 208"/>
                <a:gd name="T16" fmla="*/ 68 w 268"/>
                <a:gd name="T17" fmla="*/ 85 h 208"/>
                <a:gd name="T18" fmla="*/ 61 w 268"/>
                <a:gd name="T19" fmla="*/ 207 h 208"/>
                <a:gd name="T20" fmla="*/ 61 w 268"/>
                <a:gd name="T21" fmla="*/ 207 h 208"/>
                <a:gd name="T22" fmla="*/ 214 w 268"/>
                <a:gd name="T23" fmla="*/ 176 h 208"/>
                <a:gd name="T24" fmla="*/ 267 w 268"/>
                <a:gd name="T25" fmla="*/ 19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8" h="208">
                  <a:moveTo>
                    <a:pt x="267" y="192"/>
                  </a:moveTo>
                  <a:lnTo>
                    <a:pt x="267" y="192"/>
                  </a:lnTo>
                  <a:cubicBezTo>
                    <a:pt x="244" y="161"/>
                    <a:pt x="206" y="92"/>
                    <a:pt x="183" y="62"/>
                  </a:cubicBezTo>
                  <a:cubicBezTo>
                    <a:pt x="168" y="54"/>
                    <a:pt x="168" y="31"/>
                    <a:pt x="153" y="23"/>
                  </a:cubicBezTo>
                  <a:cubicBezTo>
                    <a:pt x="145" y="16"/>
                    <a:pt x="122" y="23"/>
                    <a:pt x="114" y="23"/>
                  </a:cubicBezTo>
                  <a:cubicBezTo>
                    <a:pt x="84" y="16"/>
                    <a:pt x="61" y="8"/>
                    <a:pt x="38" y="0"/>
                  </a:cubicBezTo>
                  <a:lnTo>
                    <a:pt x="38" y="0"/>
                  </a:lnTo>
                  <a:cubicBezTo>
                    <a:pt x="30" y="16"/>
                    <a:pt x="0" y="31"/>
                    <a:pt x="7" y="54"/>
                  </a:cubicBezTo>
                  <a:cubicBezTo>
                    <a:pt x="15" y="69"/>
                    <a:pt x="61" y="62"/>
                    <a:pt x="68" y="85"/>
                  </a:cubicBezTo>
                  <a:cubicBezTo>
                    <a:pt x="84" y="115"/>
                    <a:pt x="68" y="176"/>
                    <a:pt x="61" y="207"/>
                  </a:cubicBezTo>
                  <a:lnTo>
                    <a:pt x="61" y="207"/>
                  </a:lnTo>
                  <a:cubicBezTo>
                    <a:pt x="99" y="176"/>
                    <a:pt x="153" y="161"/>
                    <a:pt x="214" y="176"/>
                  </a:cubicBezTo>
                  <a:cubicBezTo>
                    <a:pt x="229" y="176"/>
                    <a:pt x="252" y="184"/>
                    <a:pt x="267" y="19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35" name="Freeform 157"/>
            <p:cNvSpPr>
              <a:spLocks noChangeArrowheads="1"/>
            </p:cNvSpPr>
            <p:nvPr/>
          </p:nvSpPr>
          <p:spPr bwMode="auto">
            <a:xfrm>
              <a:off x="7049629" y="9647239"/>
              <a:ext cx="322241" cy="206375"/>
            </a:xfrm>
            <a:custGeom>
              <a:avLst/>
              <a:gdLst>
                <a:gd name="T0" fmla="*/ 359 w 895"/>
                <a:gd name="T1" fmla="*/ 413 h 574"/>
                <a:gd name="T2" fmla="*/ 359 w 895"/>
                <a:gd name="T3" fmla="*/ 413 h 574"/>
                <a:gd name="T4" fmla="*/ 275 w 895"/>
                <a:gd name="T5" fmla="*/ 367 h 574"/>
                <a:gd name="T6" fmla="*/ 199 w 895"/>
                <a:gd name="T7" fmla="*/ 298 h 574"/>
                <a:gd name="T8" fmla="*/ 115 w 895"/>
                <a:gd name="T9" fmla="*/ 237 h 574"/>
                <a:gd name="T10" fmla="*/ 329 w 895"/>
                <a:gd name="T11" fmla="*/ 161 h 574"/>
                <a:gd name="T12" fmla="*/ 481 w 895"/>
                <a:gd name="T13" fmla="*/ 61 h 574"/>
                <a:gd name="T14" fmla="*/ 604 w 895"/>
                <a:gd name="T15" fmla="*/ 92 h 574"/>
                <a:gd name="T16" fmla="*/ 733 w 895"/>
                <a:gd name="T17" fmla="*/ 115 h 574"/>
                <a:gd name="T18" fmla="*/ 848 w 895"/>
                <a:gd name="T19" fmla="*/ 252 h 574"/>
                <a:gd name="T20" fmla="*/ 764 w 895"/>
                <a:gd name="T21" fmla="*/ 321 h 574"/>
                <a:gd name="T22" fmla="*/ 710 w 895"/>
                <a:gd name="T23" fmla="*/ 397 h 574"/>
                <a:gd name="T24" fmla="*/ 581 w 895"/>
                <a:gd name="T25" fmla="*/ 497 h 574"/>
                <a:gd name="T26" fmla="*/ 413 w 895"/>
                <a:gd name="T27" fmla="*/ 458 h 574"/>
                <a:gd name="T28" fmla="*/ 359 w 895"/>
                <a:gd name="T29" fmla="*/ 413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5" h="574">
                  <a:moveTo>
                    <a:pt x="359" y="413"/>
                  </a:moveTo>
                  <a:lnTo>
                    <a:pt x="359" y="413"/>
                  </a:lnTo>
                  <a:cubicBezTo>
                    <a:pt x="329" y="397"/>
                    <a:pt x="306" y="390"/>
                    <a:pt x="275" y="367"/>
                  </a:cubicBezTo>
                  <a:cubicBezTo>
                    <a:pt x="252" y="352"/>
                    <a:pt x="229" y="290"/>
                    <a:pt x="199" y="298"/>
                  </a:cubicBezTo>
                  <a:cubicBezTo>
                    <a:pt x="0" y="352"/>
                    <a:pt x="99" y="306"/>
                    <a:pt x="115" y="237"/>
                  </a:cubicBezTo>
                  <a:cubicBezTo>
                    <a:pt x="130" y="168"/>
                    <a:pt x="275" y="191"/>
                    <a:pt x="329" y="161"/>
                  </a:cubicBezTo>
                  <a:cubicBezTo>
                    <a:pt x="390" y="130"/>
                    <a:pt x="436" y="115"/>
                    <a:pt x="481" y="61"/>
                  </a:cubicBezTo>
                  <a:cubicBezTo>
                    <a:pt x="535" y="0"/>
                    <a:pt x="543" y="61"/>
                    <a:pt x="604" y="92"/>
                  </a:cubicBezTo>
                  <a:cubicBezTo>
                    <a:pt x="649" y="115"/>
                    <a:pt x="680" y="115"/>
                    <a:pt x="733" y="115"/>
                  </a:cubicBezTo>
                  <a:cubicBezTo>
                    <a:pt x="764" y="115"/>
                    <a:pt x="825" y="222"/>
                    <a:pt x="848" y="252"/>
                  </a:cubicBezTo>
                  <a:cubicBezTo>
                    <a:pt x="894" y="298"/>
                    <a:pt x="779" y="313"/>
                    <a:pt x="764" y="321"/>
                  </a:cubicBezTo>
                  <a:cubicBezTo>
                    <a:pt x="703" y="336"/>
                    <a:pt x="726" y="359"/>
                    <a:pt x="710" y="397"/>
                  </a:cubicBezTo>
                  <a:cubicBezTo>
                    <a:pt x="688" y="474"/>
                    <a:pt x="634" y="443"/>
                    <a:pt x="581" y="497"/>
                  </a:cubicBezTo>
                  <a:cubicBezTo>
                    <a:pt x="497" y="573"/>
                    <a:pt x="489" y="489"/>
                    <a:pt x="413" y="458"/>
                  </a:cubicBezTo>
                  <a:lnTo>
                    <a:pt x="359" y="413"/>
                  </a:ln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36" name="Freeform 158"/>
            <p:cNvSpPr>
              <a:spLocks noChangeArrowheads="1"/>
            </p:cNvSpPr>
            <p:nvPr/>
          </p:nvSpPr>
          <p:spPr bwMode="auto">
            <a:xfrm>
              <a:off x="6798820" y="9621838"/>
              <a:ext cx="93656" cy="127000"/>
            </a:xfrm>
            <a:custGeom>
              <a:avLst/>
              <a:gdLst>
                <a:gd name="T0" fmla="*/ 0 w 261"/>
                <a:gd name="T1" fmla="*/ 275 h 353"/>
                <a:gd name="T2" fmla="*/ 0 w 261"/>
                <a:gd name="T3" fmla="*/ 275 h 353"/>
                <a:gd name="T4" fmla="*/ 84 w 261"/>
                <a:gd name="T5" fmla="*/ 283 h 353"/>
                <a:gd name="T6" fmla="*/ 161 w 261"/>
                <a:gd name="T7" fmla="*/ 275 h 353"/>
                <a:gd name="T8" fmla="*/ 153 w 261"/>
                <a:gd name="T9" fmla="*/ 329 h 353"/>
                <a:gd name="T10" fmla="*/ 183 w 261"/>
                <a:gd name="T11" fmla="*/ 352 h 353"/>
                <a:gd name="T12" fmla="*/ 237 w 261"/>
                <a:gd name="T13" fmla="*/ 268 h 353"/>
                <a:gd name="T14" fmla="*/ 237 w 261"/>
                <a:gd name="T15" fmla="*/ 268 h 353"/>
                <a:gd name="T16" fmla="*/ 244 w 261"/>
                <a:gd name="T17" fmla="*/ 146 h 353"/>
                <a:gd name="T18" fmla="*/ 183 w 261"/>
                <a:gd name="T19" fmla="*/ 115 h 353"/>
                <a:gd name="T20" fmla="*/ 214 w 261"/>
                <a:gd name="T21" fmla="*/ 61 h 353"/>
                <a:gd name="T22" fmla="*/ 214 w 261"/>
                <a:gd name="T23" fmla="*/ 61 h 353"/>
                <a:gd name="T24" fmla="*/ 145 w 261"/>
                <a:gd name="T25" fmla="*/ 8 h 353"/>
                <a:gd name="T26" fmla="*/ 77 w 261"/>
                <a:gd name="T27" fmla="*/ 39 h 353"/>
                <a:gd name="T28" fmla="*/ 61 w 261"/>
                <a:gd name="T29" fmla="*/ 130 h 353"/>
                <a:gd name="T30" fmla="*/ 0 w 261"/>
                <a:gd name="T31" fmla="*/ 2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1" h="353">
                  <a:moveTo>
                    <a:pt x="0" y="275"/>
                  </a:moveTo>
                  <a:lnTo>
                    <a:pt x="0" y="275"/>
                  </a:lnTo>
                  <a:cubicBezTo>
                    <a:pt x="31" y="275"/>
                    <a:pt x="54" y="283"/>
                    <a:pt x="84" y="283"/>
                  </a:cubicBezTo>
                  <a:cubicBezTo>
                    <a:pt x="115" y="275"/>
                    <a:pt x="138" y="268"/>
                    <a:pt x="161" y="275"/>
                  </a:cubicBezTo>
                  <a:cubicBezTo>
                    <a:pt x="168" y="298"/>
                    <a:pt x="153" y="306"/>
                    <a:pt x="153" y="329"/>
                  </a:cubicBezTo>
                  <a:cubicBezTo>
                    <a:pt x="153" y="336"/>
                    <a:pt x="183" y="352"/>
                    <a:pt x="183" y="352"/>
                  </a:cubicBezTo>
                  <a:cubicBezTo>
                    <a:pt x="191" y="321"/>
                    <a:pt x="214" y="291"/>
                    <a:pt x="237" y="268"/>
                  </a:cubicBezTo>
                  <a:lnTo>
                    <a:pt x="237" y="268"/>
                  </a:lnTo>
                  <a:cubicBezTo>
                    <a:pt x="244" y="237"/>
                    <a:pt x="260" y="176"/>
                    <a:pt x="244" y="146"/>
                  </a:cubicBezTo>
                  <a:cubicBezTo>
                    <a:pt x="237" y="123"/>
                    <a:pt x="191" y="130"/>
                    <a:pt x="183" y="115"/>
                  </a:cubicBezTo>
                  <a:cubicBezTo>
                    <a:pt x="176" y="92"/>
                    <a:pt x="206" y="77"/>
                    <a:pt x="214" y="61"/>
                  </a:cubicBezTo>
                  <a:lnTo>
                    <a:pt x="214" y="61"/>
                  </a:lnTo>
                  <a:cubicBezTo>
                    <a:pt x="191" y="46"/>
                    <a:pt x="176" y="8"/>
                    <a:pt x="145" y="8"/>
                  </a:cubicBezTo>
                  <a:cubicBezTo>
                    <a:pt x="122" y="0"/>
                    <a:pt x="92" y="16"/>
                    <a:pt x="77" y="39"/>
                  </a:cubicBezTo>
                  <a:cubicBezTo>
                    <a:pt x="61" y="61"/>
                    <a:pt x="69" y="100"/>
                    <a:pt x="61" y="130"/>
                  </a:cubicBezTo>
                  <a:cubicBezTo>
                    <a:pt x="54" y="153"/>
                    <a:pt x="8" y="253"/>
                    <a:pt x="0" y="275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37" name="Freeform 159"/>
            <p:cNvSpPr>
              <a:spLocks noChangeArrowheads="1"/>
            </p:cNvSpPr>
            <p:nvPr/>
          </p:nvSpPr>
          <p:spPr bwMode="auto">
            <a:xfrm>
              <a:off x="5916228" y="9879013"/>
              <a:ext cx="85719" cy="127000"/>
            </a:xfrm>
            <a:custGeom>
              <a:avLst/>
              <a:gdLst>
                <a:gd name="T0" fmla="*/ 184 w 238"/>
                <a:gd name="T1" fmla="*/ 0 h 352"/>
                <a:gd name="T2" fmla="*/ 184 w 238"/>
                <a:gd name="T3" fmla="*/ 0 h 352"/>
                <a:gd name="T4" fmla="*/ 77 w 238"/>
                <a:gd name="T5" fmla="*/ 61 h 352"/>
                <a:gd name="T6" fmla="*/ 61 w 238"/>
                <a:gd name="T7" fmla="*/ 122 h 352"/>
                <a:gd name="T8" fmla="*/ 8 w 238"/>
                <a:gd name="T9" fmla="*/ 168 h 352"/>
                <a:gd name="T10" fmla="*/ 8 w 238"/>
                <a:gd name="T11" fmla="*/ 221 h 352"/>
                <a:gd name="T12" fmla="*/ 77 w 238"/>
                <a:gd name="T13" fmla="*/ 282 h 352"/>
                <a:gd name="T14" fmla="*/ 92 w 238"/>
                <a:gd name="T15" fmla="*/ 336 h 352"/>
                <a:gd name="T16" fmla="*/ 214 w 238"/>
                <a:gd name="T17" fmla="*/ 328 h 352"/>
                <a:gd name="T18" fmla="*/ 214 w 238"/>
                <a:gd name="T19" fmla="*/ 328 h 352"/>
                <a:gd name="T20" fmla="*/ 222 w 238"/>
                <a:gd name="T21" fmla="*/ 305 h 352"/>
                <a:gd name="T22" fmla="*/ 161 w 238"/>
                <a:gd name="T23" fmla="*/ 191 h 352"/>
                <a:gd name="T24" fmla="*/ 199 w 238"/>
                <a:gd name="T25" fmla="*/ 137 h 352"/>
                <a:gd name="T26" fmla="*/ 184 w 238"/>
                <a:gd name="T27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8" h="352">
                  <a:moveTo>
                    <a:pt x="184" y="0"/>
                  </a:moveTo>
                  <a:lnTo>
                    <a:pt x="184" y="0"/>
                  </a:lnTo>
                  <a:cubicBezTo>
                    <a:pt x="153" y="23"/>
                    <a:pt x="100" y="38"/>
                    <a:pt x="77" y="61"/>
                  </a:cubicBezTo>
                  <a:cubicBezTo>
                    <a:pt x="61" y="76"/>
                    <a:pt x="69" y="107"/>
                    <a:pt x="61" y="122"/>
                  </a:cubicBezTo>
                  <a:cubicBezTo>
                    <a:pt x="46" y="145"/>
                    <a:pt x="16" y="153"/>
                    <a:pt x="8" y="168"/>
                  </a:cubicBezTo>
                  <a:cubicBezTo>
                    <a:pt x="0" y="183"/>
                    <a:pt x="0" y="206"/>
                    <a:pt x="8" y="221"/>
                  </a:cubicBezTo>
                  <a:cubicBezTo>
                    <a:pt x="23" y="244"/>
                    <a:pt x="61" y="259"/>
                    <a:pt x="77" y="282"/>
                  </a:cubicBezTo>
                  <a:cubicBezTo>
                    <a:pt x="92" y="298"/>
                    <a:pt x="77" y="328"/>
                    <a:pt x="92" y="336"/>
                  </a:cubicBezTo>
                  <a:cubicBezTo>
                    <a:pt x="130" y="351"/>
                    <a:pt x="168" y="336"/>
                    <a:pt x="214" y="328"/>
                  </a:cubicBezTo>
                  <a:lnTo>
                    <a:pt x="214" y="328"/>
                  </a:lnTo>
                  <a:cubicBezTo>
                    <a:pt x="214" y="321"/>
                    <a:pt x="214" y="313"/>
                    <a:pt x="222" y="305"/>
                  </a:cubicBezTo>
                  <a:cubicBezTo>
                    <a:pt x="107" y="305"/>
                    <a:pt x="31" y="191"/>
                    <a:pt x="161" y="191"/>
                  </a:cubicBezTo>
                  <a:cubicBezTo>
                    <a:pt x="207" y="191"/>
                    <a:pt x="237" y="183"/>
                    <a:pt x="199" y="137"/>
                  </a:cubicBezTo>
                  <a:cubicBezTo>
                    <a:pt x="161" y="107"/>
                    <a:pt x="168" y="46"/>
                    <a:pt x="184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38" name="Freeform 160"/>
            <p:cNvSpPr>
              <a:spLocks noChangeArrowheads="1"/>
            </p:cNvSpPr>
            <p:nvPr/>
          </p:nvSpPr>
          <p:spPr bwMode="auto">
            <a:xfrm>
              <a:off x="5311429" y="9234489"/>
              <a:ext cx="1020697" cy="935037"/>
            </a:xfrm>
            <a:custGeom>
              <a:avLst/>
              <a:gdLst>
                <a:gd name="T0" fmla="*/ 15 w 2834"/>
                <a:gd name="T1" fmla="*/ 191 h 2598"/>
                <a:gd name="T2" fmla="*/ 7 w 2834"/>
                <a:gd name="T3" fmla="*/ 146 h 2598"/>
                <a:gd name="T4" fmla="*/ 23 w 2834"/>
                <a:gd name="T5" fmla="*/ 130 h 2598"/>
                <a:gd name="T6" fmla="*/ 38 w 2834"/>
                <a:gd name="T7" fmla="*/ 184 h 2598"/>
                <a:gd name="T8" fmla="*/ 15 w 2834"/>
                <a:gd name="T9" fmla="*/ 191 h 2598"/>
                <a:gd name="T10" fmla="*/ 886 w 2834"/>
                <a:gd name="T11" fmla="*/ 2208 h 2598"/>
                <a:gd name="T12" fmla="*/ 1283 w 2834"/>
                <a:gd name="T13" fmla="*/ 2452 h 2598"/>
                <a:gd name="T14" fmla="*/ 1528 w 2834"/>
                <a:gd name="T15" fmla="*/ 2597 h 2598"/>
                <a:gd name="T16" fmla="*/ 1635 w 2834"/>
                <a:gd name="T17" fmla="*/ 2552 h 2598"/>
                <a:gd name="T18" fmla="*/ 1833 w 2834"/>
                <a:gd name="T19" fmla="*/ 2254 h 2598"/>
                <a:gd name="T20" fmla="*/ 1894 w 2834"/>
                <a:gd name="T21" fmla="*/ 2116 h 2598"/>
                <a:gd name="T22" fmla="*/ 1772 w 2834"/>
                <a:gd name="T23" fmla="*/ 2124 h 2598"/>
                <a:gd name="T24" fmla="*/ 1688 w 2834"/>
                <a:gd name="T25" fmla="*/ 2009 h 2598"/>
                <a:gd name="T26" fmla="*/ 1741 w 2834"/>
                <a:gd name="T27" fmla="*/ 1910 h 2598"/>
                <a:gd name="T28" fmla="*/ 1864 w 2834"/>
                <a:gd name="T29" fmla="*/ 1788 h 2598"/>
                <a:gd name="T30" fmla="*/ 1955 w 2834"/>
                <a:gd name="T31" fmla="*/ 1612 h 2598"/>
                <a:gd name="T32" fmla="*/ 2351 w 2834"/>
                <a:gd name="T33" fmla="*/ 1413 h 2598"/>
                <a:gd name="T34" fmla="*/ 2603 w 2834"/>
                <a:gd name="T35" fmla="*/ 1368 h 2598"/>
                <a:gd name="T36" fmla="*/ 2741 w 2834"/>
                <a:gd name="T37" fmla="*/ 1314 h 2598"/>
                <a:gd name="T38" fmla="*/ 2764 w 2834"/>
                <a:gd name="T39" fmla="*/ 1184 h 2598"/>
                <a:gd name="T40" fmla="*/ 2833 w 2834"/>
                <a:gd name="T41" fmla="*/ 1093 h 2598"/>
                <a:gd name="T42" fmla="*/ 2733 w 2834"/>
                <a:gd name="T43" fmla="*/ 1032 h 2598"/>
                <a:gd name="T44" fmla="*/ 2603 w 2834"/>
                <a:gd name="T45" fmla="*/ 948 h 2598"/>
                <a:gd name="T46" fmla="*/ 2588 w 2834"/>
                <a:gd name="T47" fmla="*/ 818 h 2598"/>
                <a:gd name="T48" fmla="*/ 2428 w 2834"/>
                <a:gd name="T49" fmla="*/ 841 h 2598"/>
                <a:gd name="T50" fmla="*/ 2397 w 2834"/>
                <a:gd name="T51" fmla="*/ 703 h 2598"/>
                <a:gd name="T52" fmla="*/ 2154 w 2834"/>
                <a:gd name="T53" fmla="*/ 619 h 2598"/>
                <a:gd name="T54" fmla="*/ 2070 w 2834"/>
                <a:gd name="T55" fmla="*/ 520 h 2598"/>
                <a:gd name="T56" fmla="*/ 1955 w 2834"/>
                <a:gd name="T57" fmla="*/ 512 h 2598"/>
                <a:gd name="T58" fmla="*/ 1871 w 2834"/>
                <a:gd name="T59" fmla="*/ 489 h 2598"/>
                <a:gd name="T60" fmla="*/ 1711 w 2834"/>
                <a:gd name="T61" fmla="*/ 543 h 2598"/>
                <a:gd name="T62" fmla="*/ 1726 w 2834"/>
                <a:gd name="T63" fmla="*/ 428 h 2598"/>
                <a:gd name="T64" fmla="*/ 1558 w 2834"/>
                <a:gd name="T65" fmla="*/ 367 h 2598"/>
                <a:gd name="T66" fmla="*/ 1375 w 2834"/>
                <a:gd name="T67" fmla="*/ 123 h 2598"/>
                <a:gd name="T68" fmla="*/ 1543 w 2834"/>
                <a:gd name="T69" fmla="*/ 107 h 2598"/>
                <a:gd name="T70" fmla="*/ 1543 w 2834"/>
                <a:gd name="T71" fmla="*/ 69 h 2598"/>
                <a:gd name="T72" fmla="*/ 1405 w 2834"/>
                <a:gd name="T73" fmla="*/ 0 h 2598"/>
                <a:gd name="T74" fmla="*/ 1398 w 2834"/>
                <a:gd name="T75" fmla="*/ 8 h 2598"/>
                <a:gd name="T76" fmla="*/ 848 w 2834"/>
                <a:gd name="T77" fmla="*/ 107 h 2598"/>
                <a:gd name="T78" fmla="*/ 710 w 2834"/>
                <a:gd name="T79" fmla="*/ 237 h 2598"/>
                <a:gd name="T80" fmla="*/ 611 w 2834"/>
                <a:gd name="T81" fmla="*/ 604 h 2598"/>
                <a:gd name="T82" fmla="*/ 252 w 2834"/>
                <a:gd name="T83" fmla="*/ 558 h 2598"/>
                <a:gd name="T84" fmla="*/ 206 w 2834"/>
                <a:gd name="T85" fmla="*/ 749 h 2598"/>
                <a:gd name="T86" fmla="*/ 382 w 2834"/>
                <a:gd name="T87" fmla="*/ 749 h 2598"/>
                <a:gd name="T88" fmla="*/ 443 w 2834"/>
                <a:gd name="T89" fmla="*/ 894 h 2598"/>
                <a:gd name="T90" fmla="*/ 412 w 2834"/>
                <a:gd name="T91" fmla="*/ 1047 h 2598"/>
                <a:gd name="T92" fmla="*/ 328 w 2834"/>
                <a:gd name="T93" fmla="*/ 1093 h 2598"/>
                <a:gd name="T94" fmla="*/ 458 w 2834"/>
                <a:gd name="T95" fmla="*/ 1161 h 2598"/>
                <a:gd name="T96" fmla="*/ 527 w 2834"/>
                <a:gd name="T97" fmla="*/ 1291 h 2598"/>
                <a:gd name="T98" fmla="*/ 565 w 2834"/>
                <a:gd name="T99" fmla="*/ 1368 h 2598"/>
                <a:gd name="T100" fmla="*/ 619 w 2834"/>
                <a:gd name="T101" fmla="*/ 1482 h 2598"/>
                <a:gd name="T102" fmla="*/ 664 w 2834"/>
                <a:gd name="T103" fmla="*/ 1612 h 2598"/>
                <a:gd name="T104" fmla="*/ 672 w 2834"/>
                <a:gd name="T105" fmla="*/ 1711 h 2598"/>
                <a:gd name="T106" fmla="*/ 817 w 2834"/>
                <a:gd name="T107" fmla="*/ 1811 h 2598"/>
                <a:gd name="T108" fmla="*/ 726 w 2834"/>
                <a:gd name="T109" fmla="*/ 1918 h 2598"/>
                <a:gd name="T110" fmla="*/ 787 w 2834"/>
                <a:gd name="T111" fmla="*/ 1994 h 2598"/>
                <a:gd name="T112" fmla="*/ 848 w 2834"/>
                <a:gd name="T113" fmla="*/ 1979 h 2598"/>
                <a:gd name="T114" fmla="*/ 978 w 2834"/>
                <a:gd name="T115" fmla="*/ 2040 h 2598"/>
                <a:gd name="T116" fmla="*/ 1008 w 2834"/>
                <a:gd name="T117" fmla="*/ 2132 h 2598"/>
                <a:gd name="T118" fmla="*/ 947 w 2834"/>
                <a:gd name="T119" fmla="*/ 2200 h 2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34" h="2598">
                  <a:moveTo>
                    <a:pt x="15" y="191"/>
                  </a:moveTo>
                  <a:lnTo>
                    <a:pt x="15" y="191"/>
                  </a:lnTo>
                  <a:cubicBezTo>
                    <a:pt x="15" y="184"/>
                    <a:pt x="7" y="176"/>
                    <a:pt x="7" y="169"/>
                  </a:cubicBezTo>
                  <a:cubicBezTo>
                    <a:pt x="7" y="161"/>
                    <a:pt x="7" y="153"/>
                    <a:pt x="7" y="146"/>
                  </a:cubicBezTo>
                  <a:cubicBezTo>
                    <a:pt x="7" y="138"/>
                    <a:pt x="0" y="115"/>
                    <a:pt x="15" y="107"/>
                  </a:cubicBezTo>
                  <a:cubicBezTo>
                    <a:pt x="23" y="107"/>
                    <a:pt x="23" y="123"/>
                    <a:pt x="23" y="130"/>
                  </a:cubicBezTo>
                  <a:cubicBezTo>
                    <a:pt x="23" y="138"/>
                    <a:pt x="30" y="161"/>
                    <a:pt x="38" y="169"/>
                  </a:cubicBezTo>
                  <a:cubicBezTo>
                    <a:pt x="38" y="176"/>
                    <a:pt x="38" y="184"/>
                    <a:pt x="38" y="184"/>
                  </a:cubicBezTo>
                  <a:cubicBezTo>
                    <a:pt x="38" y="191"/>
                    <a:pt x="30" y="199"/>
                    <a:pt x="15" y="207"/>
                  </a:cubicBezTo>
                  <a:cubicBezTo>
                    <a:pt x="15" y="191"/>
                    <a:pt x="15" y="191"/>
                    <a:pt x="15" y="191"/>
                  </a:cubicBezTo>
                  <a:close/>
                  <a:moveTo>
                    <a:pt x="886" y="2208"/>
                  </a:moveTo>
                  <a:lnTo>
                    <a:pt x="886" y="2208"/>
                  </a:lnTo>
                  <a:cubicBezTo>
                    <a:pt x="886" y="2391"/>
                    <a:pt x="1031" y="2353"/>
                    <a:pt x="1168" y="2353"/>
                  </a:cubicBezTo>
                  <a:cubicBezTo>
                    <a:pt x="1214" y="2376"/>
                    <a:pt x="1276" y="2399"/>
                    <a:pt x="1283" y="2452"/>
                  </a:cubicBezTo>
                  <a:cubicBezTo>
                    <a:pt x="1283" y="2513"/>
                    <a:pt x="1329" y="2552"/>
                    <a:pt x="1382" y="2582"/>
                  </a:cubicBezTo>
                  <a:cubicBezTo>
                    <a:pt x="1405" y="2590"/>
                    <a:pt x="1497" y="2513"/>
                    <a:pt x="1528" y="2597"/>
                  </a:cubicBezTo>
                  <a:cubicBezTo>
                    <a:pt x="1543" y="2597"/>
                    <a:pt x="1550" y="2567"/>
                    <a:pt x="1573" y="2559"/>
                  </a:cubicBezTo>
                  <a:cubicBezTo>
                    <a:pt x="1589" y="2559"/>
                    <a:pt x="1612" y="2552"/>
                    <a:pt x="1635" y="2552"/>
                  </a:cubicBezTo>
                  <a:cubicBezTo>
                    <a:pt x="1635" y="2475"/>
                    <a:pt x="1619" y="2430"/>
                    <a:pt x="1673" y="2353"/>
                  </a:cubicBezTo>
                  <a:cubicBezTo>
                    <a:pt x="1718" y="2277"/>
                    <a:pt x="1741" y="2254"/>
                    <a:pt x="1833" y="2254"/>
                  </a:cubicBezTo>
                  <a:lnTo>
                    <a:pt x="1833" y="2254"/>
                  </a:lnTo>
                  <a:cubicBezTo>
                    <a:pt x="1833" y="2193"/>
                    <a:pt x="1871" y="2162"/>
                    <a:pt x="1894" y="2116"/>
                  </a:cubicBezTo>
                  <a:lnTo>
                    <a:pt x="1894" y="2116"/>
                  </a:lnTo>
                  <a:cubicBezTo>
                    <a:pt x="1848" y="2124"/>
                    <a:pt x="1810" y="2139"/>
                    <a:pt x="1772" y="2124"/>
                  </a:cubicBezTo>
                  <a:cubicBezTo>
                    <a:pt x="1757" y="2116"/>
                    <a:pt x="1772" y="2086"/>
                    <a:pt x="1757" y="2070"/>
                  </a:cubicBezTo>
                  <a:cubicBezTo>
                    <a:pt x="1741" y="2047"/>
                    <a:pt x="1703" y="2032"/>
                    <a:pt x="1688" y="2009"/>
                  </a:cubicBezTo>
                  <a:cubicBezTo>
                    <a:pt x="1680" y="1994"/>
                    <a:pt x="1680" y="1971"/>
                    <a:pt x="1688" y="1956"/>
                  </a:cubicBezTo>
                  <a:cubicBezTo>
                    <a:pt x="1696" y="1941"/>
                    <a:pt x="1726" y="1933"/>
                    <a:pt x="1741" y="1910"/>
                  </a:cubicBezTo>
                  <a:cubicBezTo>
                    <a:pt x="1749" y="1895"/>
                    <a:pt x="1741" y="1864"/>
                    <a:pt x="1757" y="1849"/>
                  </a:cubicBezTo>
                  <a:cubicBezTo>
                    <a:pt x="1780" y="1826"/>
                    <a:pt x="1833" y="1811"/>
                    <a:pt x="1864" y="1788"/>
                  </a:cubicBezTo>
                  <a:lnTo>
                    <a:pt x="1864" y="1788"/>
                  </a:lnTo>
                  <a:cubicBezTo>
                    <a:pt x="1864" y="1765"/>
                    <a:pt x="1940" y="1643"/>
                    <a:pt x="1955" y="1612"/>
                  </a:cubicBezTo>
                  <a:cubicBezTo>
                    <a:pt x="1986" y="1574"/>
                    <a:pt x="2108" y="1597"/>
                    <a:pt x="2169" y="1543"/>
                  </a:cubicBezTo>
                  <a:cubicBezTo>
                    <a:pt x="2230" y="1482"/>
                    <a:pt x="2261" y="1429"/>
                    <a:pt x="2351" y="1413"/>
                  </a:cubicBezTo>
                  <a:cubicBezTo>
                    <a:pt x="2397" y="1406"/>
                    <a:pt x="2474" y="1421"/>
                    <a:pt x="2497" y="1391"/>
                  </a:cubicBezTo>
                  <a:cubicBezTo>
                    <a:pt x="2527" y="1360"/>
                    <a:pt x="2565" y="1360"/>
                    <a:pt x="2603" y="1368"/>
                  </a:cubicBezTo>
                  <a:cubicBezTo>
                    <a:pt x="2657" y="1375"/>
                    <a:pt x="2695" y="1345"/>
                    <a:pt x="2741" y="1314"/>
                  </a:cubicBezTo>
                  <a:lnTo>
                    <a:pt x="2741" y="1314"/>
                  </a:lnTo>
                  <a:cubicBezTo>
                    <a:pt x="2741" y="1291"/>
                    <a:pt x="2741" y="1238"/>
                    <a:pt x="2749" y="1215"/>
                  </a:cubicBezTo>
                  <a:cubicBezTo>
                    <a:pt x="2749" y="1200"/>
                    <a:pt x="2764" y="1192"/>
                    <a:pt x="2764" y="1184"/>
                  </a:cubicBezTo>
                  <a:cubicBezTo>
                    <a:pt x="2756" y="1169"/>
                    <a:pt x="2726" y="1169"/>
                    <a:pt x="2733" y="1161"/>
                  </a:cubicBezTo>
                  <a:cubicBezTo>
                    <a:pt x="2756" y="1123"/>
                    <a:pt x="2833" y="1131"/>
                    <a:pt x="2833" y="1093"/>
                  </a:cubicBezTo>
                  <a:cubicBezTo>
                    <a:pt x="2833" y="1055"/>
                    <a:pt x="2772" y="1055"/>
                    <a:pt x="2733" y="1032"/>
                  </a:cubicBezTo>
                  <a:lnTo>
                    <a:pt x="2733" y="1032"/>
                  </a:lnTo>
                  <a:cubicBezTo>
                    <a:pt x="2718" y="1001"/>
                    <a:pt x="2718" y="963"/>
                    <a:pt x="2688" y="940"/>
                  </a:cubicBezTo>
                  <a:cubicBezTo>
                    <a:pt x="2665" y="925"/>
                    <a:pt x="2626" y="955"/>
                    <a:pt x="2603" y="948"/>
                  </a:cubicBezTo>
                  <a:cubicBezTo>
                    <a:pt x="2581" y="932"/>
                    <a:pt x="2573" y="902"/>
                    <a:pt x="2573" y="879"/>
                  </a:cubicBezTo>
                  <a:cubicBezTo>
                    <a:pt x="2565" y="856"/>
                    <a:pt x="2596" y="833"/>
                    <a:pt x="2588" y="818"/>
                  </a:cubicBezTo>
                  <a:cubicBezTo>
                    <a:pt x="2581" y="802"/>
                    <a:pt x="2558" y="810"/>
                    <a:pt x="2542" y="810"/>
                  </a:cubicBezTo>
                  <a:cubicBezTo>
                    <a:pt x="2504" y="818"/>
                    <a:pt x="2466" y="841"/>
                    <a:pt x="2428" y="841"/>
                  </a:cubicBezTo>
                  <a:cubicBezTo>
                    <a:pt x="2405" y="833"/>
                    <a:pt x="2382" y="818"/>
                    <a:pt x="2382" y="795"/>
                  </a:cubicBezTo>
                  <a:cubicBezTo>
                    <a:pt x="2374" y="764"/>
                    <a:pt x="2420" y="726"/>
                    <a:pt x="2397" y="703"/>
                  </a:cubicBezTo>
                  <a:cubicBezTo>
                    <a:pt x="2359" y="680"/>
                    <a:pt x="2307" y="726"/>
                    <a:pt x="2268" y="711"/>
                  </a:cubicBezTo>
                  <a:cubicBezTo>
                    <a:pt x="2223" y="696"/>
                    <a:pt x="2200" y="642"/>
                    <a:pt x="2154" y="619"/>
                  </a:cubicBezTo>
                  <a:cubicBezTo>
                    <a:pt x="2131" y="604"/>
                    <a:pt x="2093" y="642"/>
                    <a:pt x="2077" y="619"/>
                  </a:cubicBezTo>
                  <a:cubicBezTo>
                    <a:pt x="2054" y="596"/>
                    <a:pt x="2085" y="550"/>
                    <a:pt x="2070" y="520"/>
                  </a:cubicBezTo>
                  <a:cubicBezTo>
                    <a:pt x="2062" y="505"/>
                    <a:pt x="2039" y="497"/>
                    <a:pt x="2016" y="497"/>
                  </a:cubicBezTo>
                  <a:cubicBezTo>
                    <a:pt x="2001" y="497"/>
                    <a:pt x="1978" y="512"/>
                    <a:pt x="1955" y="512"/>
                  </a:cubicBezTo>
                  <a:cubicBezTo>
                    <a:pt x="1948" y="512"/>
                    <a:pt x="1940" y="489"/>
                    <a:pt x="1932" y="489"/>
                  </a:cubicBezTo>
                  <a:cubicBezTo>
                    <a:pt x="1910" y="482"/>
                    <a:pt x="1887" y="474"/>
                    <a:pt x="1871" y="489"/>
                  </a:cubicBezTo>
                  <a:cubicBezTo>
                    <a:pt x="1856" y="505"/>
                    <a:pt x="1856" y="550"/>
                    <a:pt x="1833" y="558"/>
                  </a:cubicBezTo>
                  <a:cubicBezTo>
                    <a:pt x="1795" y="573"/>
                    <a:pt x="1741" y="566"/>
                    <a:pt x="1711" y="543"/>
                  </a:cubicBezTo>
                  <a:cubicBezTo>
                    <a:pt x="1696" y="527"/>
                    <a:pt x="1726" y="505"/>
                    <a:pt x="1726" y="482"/>
                  </a:cubicBezTo>
                  <a:cubicBezTo>
                    <a:pt x="1734" y="466"/>
                    <a:pt x="1741" y="444"/>
                    <a:pt x="1726" y="428"/>
                  </a:cubicBezTo>
                  <a:cubicBezTo>
                    <a:pt x="1718" y="413"/>
                    <a:pt x="1696" y="428"/>
                    <a:pt x="1680" y="428"/>
                  </a:cubicBezTo>
                  <a:cubicBezTo>
                    <a:pt x="1635" y="413"/>
                    <a:pt x="1596" y="390"/>
                    <a:pt x="1558" y="367"/>
                  </a:cubicBezTo>
                  <a:cubicBezTo>
                    <a:pt x="1497" y="321"/>
                    <a:pt x="1428" y="283"/>
                    <a:pt x="1390" y="230"/>
                  </a:cubicBezTo>
                  <a:cubicBezTo>
                    <a:pt x="1367" y="199"/>
                    <a:pt x="1360" y="153"/>
                    <a:pt x="1375" y="123"/>
                  </a:cubicBezTo>
                  <a:cubicBezTo>
                    <a:pt x="1382" y="107"/>
                    <a:pt x="1413" y="115"/>
                    <a:pt x="1428" y="115"/>
                  </a:cubicBezTo>
                  <a:cubicBezTo>
                    <a:pt x="1466" y="107"/>
                    <a:pt x="1512" y="123"/>
                    <a:pt x="1543" y="107"/>
                  </a:cubicBezTo>
                  <a:cubicBezTo>
                    <a:pt x="1558" y="92"/>
                    <a:pt x="1543" y="92"/>
                    <a:pt x="1543" y="69"/>
                  </a:cubicBezTo>
                  <a:lnTo>
                    <a:pt x="1543" y="69"/>
                  </a:lnTo>
                  <a:cubicBezTo>
                    <a:pt x="1489" y="62"/>
                    <a:pt x="1436" y="46"/>
                    <a:pt x="1405" y="0"/>
                  </a:cubicBezTo>
                  <a:lnTo>
                    <a:pt x="1405" y="0"/>
                  </a:lnTo>
                  <a:cubicBezTo>
                    <a:pt x="1398" y="8"/>
                    <a:pt x="1398" y="8"/>
                    <a:pt x="1398" y="8"/>
                  </a:cubicBezTo>
                  <a:lnTo>
                    <a:pt x="1398" y="8"/>
                  </a:lnTo>
                  <a:cubicBezTo>
                    <a:pt x="1329" y="54"/>
                    <a:pt x="1191" y="46"/>
                    <a:pt x="1107" y="77"/>
                  </a:cubicBezTo>
                  <a:cubicBezTo>
                    <a:pt x="1031" y="100"/>
                    <a:pt x="924" y="100"/>
                    <a:pt x="848" y="107"/>
                  </a:cubicBezTo>
                  <a:cubicBezTo>
                    <a:pt x="810" y="115"/>
                    <a:pt x="741" y="115"/>
                    <a:pt x="749" y="153"/>
                  </a:cubicBezTo>
                  <a:cubicBezTo>
                    <a:pt x="764" y="191"/>
                    <a:pt x="733" y="214"/>
                    <a:pt x="710" y="237"/>
                  </a:cubicBezTo>
                  <a:cubicBezTo>
                    <a:pt x="687" y="268"/>
                    <a:pt x="710" y="367"/>
                    <a:pt x="703" y="413"/>
                  </a:cubicBezTo>
                  <a:cubicBezTo>
                    <a:pt x="687" y="489"/>
                    <a:pt x="649" y="543"/>
                    <a:pt x="611" y="604"/>
                  </a:cubicBezTo>
                  <a:cubicBezTo>
                    <a:pt x="542" y="642"/>
                    <a:pt x="474" y="673"/>
                    <a:pt x="420" y="589"/>
                  </a:cubicBezTo>
                  <a:cubicBezTo>
                    <a:pt x="405" y="558"/>
                    <a:pt x="290" y="558"/>
                    <a:pt x="252" y="558"/>
                  </a:cubicBezTo>
                  <a:cubicBezTo>
                    <a:pt x="252" y="627"/>
                    <a:pt x="229" y="688"/>
                    <a:pt x="206" y="749"/>
                  </a:cubicBezTo>
                  <a:lnTo>
                    <a:pt x="206" y="749"/>
                  </a:lnTo>
                  <a:cubicBezTo>
                    <a:pt x="237" y="749"/>
                    <a:pt x="252" y="749"/>
                    <a:pt x="282" y="749"/>
                  </a:cubicBezTo>
                  <a:cubicBezTo>
                    <a:pt x="313" y="749"/>
                    <a:pt x="351" y="734"/>
                    <a:pt x="382" y="749"/>
                  </a:cubicBezTo>
                  <a:cubicBezTo>
                    <a:pt x="397" y="757"/>
                    <a:pt x="389" y="780"/>
                    <a:pt x="397" y="795"/>
                  </a:cubicBezTo>
                  <a:cubicBezTo>
                    <a:pt x="412" y="833"/>
                    <a:pt x="435" y="863"/>
                    <a:pt x="443" y="894"/>
                  </a:cubicBezTo>
                  <a:cubicBezTo>
                    <a:pt x="451" y="902"/>
                    <a:pt x="435" y="909"/>
                    <a:pt x="428" y="917"/>
                  </a:cubicBezTo>
                  <a:cubicBezTo>
                    <a:pt x="420" y="955"/>
                    <a:pt x="428" y="1009"/>
                    <a:pt x="412" y="1047"/>
                  </a:cubicBezTo>
                  <a:cubicBezTo>
                    <a:pt x="397" y="1070"/>
                    <a:pt x="367" y="1062"/>
                    <a:pt x="344" y="1077"/>
                  </a:cubicBezTo>
                  <a:cubicBezTo>
                    <a:pt x="336" y="1077"/>
                    <a:pt x="328" y="1085"/>
                    <a:pt x="328" y="1093"/>
                  </a:cubicBezTo>
                  <a:cubicBezTo>
                    <a:pt x="336" y="1108"/>
                    <a:pt x="351" y="1100"/>
                    <a:pt x="359" y="1108"/>
                  </a:cubicBezTo>
                  <a:cubicBezTo>
                    <a:pt x="397" y="1123"/>
                    <a:pt x="420" y="1154"/>
                    <a:pt x="458" y="1161"/>
                  </a:cubicBezTo>
                  <a:cubicBezTo>
                    <a:pt x="474" y="1169"/>
                    <a:pt x="489" y="1116"/>
                    <a:pt x="496" y="1131"/>
                  </a:cubicBezTo>
                  <a:cubicBezTo>
                    <a:pt x="527" y="1177"/>
                    <a:pt x="519" y="1238"/>
                    <a:pt x="527" y="1291"/>
                  </a:cubicBezTo>
                  <a:cubicBezTo>
                    <a:pt x="535" y="1299"/>
                    <a:pt x="527" y="1314"/>
                    <a:pt x="535" y="1322"/>
                  </a:cubicBezTo>
                  <a:cubicBezTo>
                    <a:pt x="542" y="1337"/>
                    <a:pt x="557" y="1352"/>
                    <a:pt x="565" y="1368"/>
                  </a:cubicBezTo>
                  <a:cubicBezTo>
                    <a:pt x="580" y="1398"/>
                    <a:pt x="573" y="1436"/>
                    <a:pt x="588" y="1467"/>
                  </a:cubicBezTo>
                  <a:cubicBezTo>
                    <a:pt x="596" y="1482"/>
                    <a:pt x="619" y="1467"/>
                    <a:pt x="619" y="1482"/>
                  </a:cubicBezTo>
                  <a:cubicBezTo>
                    <a:pt x="626" y="1521"/>
                    <a:pt x="603" y="1566"/>
                    <a:pt x="619" y="1604"/>
                  </a:cubicBezTo>
                  <a:cubicBezTo>
                    <a:pt x="619" y="1627"/>
                    <a:pt x="657" y="1604"/>
                    <a:pt x="664" y="1612"/>
                  </a:cubicBezTo>
                  <a:cubicBezTo>
                    <a:pt x="680" y="1627"/>
                    <a:pt x="680" y="1643"/>
                    <a:pt x="680" y="1658"/>
                  </a:cubicBezTo>
                  <a:cubicBezTo>
                    <a:pt x="680" y="1681"/>
                    <a:pt x="664" y="1704"/>
                    <a:pt x="672" y="1711"/>
                  </a:cubicBezTo>
                  <a:cubicBezTo>
                    <a:pt x="695" y="1734"/>
                    <a:pt x="733" y="1719"/>
                    <a:pt x="756" y="1734"/>
                  </a:cubicBezTo>
                  <a:cubicBezTo>
                    <a:pt x="779" y="1750"/>
                    <a:pt x="817" y="1780"/>
                    <a:pt x="817" y="1811"/>
                  </a:cubicBezTo>
                  <a:cubicBezTo>
                    <a:pt x="810" y="1841"/>
                    <a:pt x="764" y="1834"/>
                    <a:pt x="749" y="1857"/>
                  </a:cubicBezTo>
                  <a:cubicBezTo>
                    <a:pt x="733" y="1872"/>
                    <a:pt x="718" y="1895"/>
                    <a:pt x="726" y="1918"/>
                  </a:cubicBezTo>
                  <a:cubicBezTo>
                    <a:pt x="733" y="1933"/>
                    <a:pt x="764" y="1918"/>
                    <a:pt x="771" y="1933"/>
                  </a:cubicBezTo>
                  <a:cubicBezTo>
                    <a:pt x="787" y="1948"/>
                    <a:pt x="779" y="1979"/>
                    <a:pt x="787" y="1994"/>
                  </a:cubicBezTo>
                  <a:lnTo>
                    <a:pt x="787" y="1994"/>
                  </a:lnTo>
                  <a:cubicBezTo>
                    <a:pt x="810" y="1994"/>
                    <a:pt x="825" y="1986"/>
                    <a:pt x="848" y="1979"/>
                  </a:cubicBezTo>
                  <a:cubicBezTo>
                    <a:pt x="871" y="1971"/>
                    <a:pt x="901" y="1956"/>
                    <a:pt x="924" y="1963"/>
                  </a:cubicBezTo>
                  <a:cubicBezTo>
                    <a:pt x="947" y="1979"/>
                    <a:pt x="955" y="2017"/>
                    <a:pt x="978" y="2040"/>
                  </a:cubicBezTo>
                  <a:cubicBezTo>
                    <a:pt x="1001" y="2055"/>
                    <a:pt x="1054" y="2047"/>
                    <a:pt x="1062" y="2078"/>
                  </a:cubicBezTo>
                  <a:cubicBezTo>
                    <a:pt x="1069" y="2101"/>
                    <a:pt x="1024" y="2109"/>
                    <a:pt x="1008" y="2132"/>
                  </a:cubicBezTo>
                  <a:cubicBezTo>
                    <a:pt x="1001" y="2139"/>
                    <a:pt x="1016" y="2155"/>
                    <a:pt x="1008" y="2170"/>
                  </a:cubicBezTo>
                  <a:cubicBezTo>
                    <a:pt x="993" y="2185"/>
                    <a:pt x="970" y="2193"/>
                    <a:pt x="947" y="2200"/>
                  </a:cubicBezTo>
                  <a:cubicBezTo>
                    <a:pt x="932" y="2208"/>
                    <a:pt x="909" y="2208"/>
                    <a:pt x="886" y="2208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39" name="Freeform 161"/>
            <p:cNvSpPr>
              <a:spLocks noChangeArrowheads="1"/>
            </p:cNvSpPr>
            <p:nvPr/>
          </p:nvSpPr>
          <p:spPr bwMode="auto">
            <a:xfrm>
              <a:off x="5584462" y="9939339"/>
              <a:ext cx="112706" cy="90487"/>
            </a:xfrm>
            <a:custGeom>
              <a:avLst/>
              <a:gdLst>
                <a:gd name="T0" fmla="*/ 130 w 314"/>
                <a:gd name="T1" fmla="*/ 252 h 253"/>
                <a:gd name="T2" fmla="*/ 130 w 314"/>
                <a:gd name="T3" fmla="*/ 252 h 253"/>
                <a:gd name="T4" fmla="*/ 191 w 314"/>
                <a:gd name="T5" fmla="*/ 244 h 253"/>
                <a:gd name="T6" fmla="*/ 252 w 314"/>
                <a:gd name="T7" fmla="*/ 214 h 253"/>
                <a:gd name="T8" fmla="*/ 252 w 314"/>
                <a:gd name="T9" fmla="*/ 176 h 253"/>
                <a:gd name="T10" fmla="*/ 306 w 314"/>
                <a:gd name="T11" fmla="*/ 122 h 253"/>
                <a:gd name="T12" fmla="*/ 222 w 314"/>
                <a:gd name="T13" fmla="*/ 84 h 253"/>
                <a:gd name="T14" fmla="*/ 168 w 314"/>
                <a:gd name="T15" fmla="*/ 7 h 253"/>
                <a:gd name="T16" fmla="*/ 92 w 314"/>
                <a:gd name="T17" fmla="*/ 23 h 253"/>
                <a:gd name="T18" fmla="*/ 31 w 314"/>
                <a:gd name="T19" fmla="*/ 38 h 253"/>
                <a:gd name="T20" fmla="*/ 31 w 314"/>
                <a:gd name="T21" fmla="*/ 38 h 253"/>
                <a:gd name="T22" fmla="*/ 8 w 314"/>
                <a:gd name="T23" fmla="*/ 122 h 253"/>
                <a:gd name="T24" fmla="*/ 61 w 314"/>
                <a:gd name="T25" fmla="*/ 252 h 253"/>
                <a:gd name="T26" fmla="*/ 61 w 314"/>
                <a:gd name="T27" fmla="*/ 252 h 253"/>
                <a:gd name="T28" fmla="*/ 130 w 314"/>
                <a:gd name="T29" fmla="*/ 244 h 253"/>
                <a:gd name="T30" fmla="*/ 130 w 314"/>
                <a:gd name="T31" fmla="*/ 244 h 253"/>
                <a:gd name="T32" fmla="*/ 130 w 314"/>
                <a:gd name="T33" fmla="*/ 25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4" h="253">
                  <a:moveTo>
                    <a:pt x="130" y="252"/>
                  </a:moveTo>
                  <a:lnTo>
                    <a:pt x="130" y="252"/>
                  </a:lnTo>
                  <a:cubicBezTo>
                    <a:pt x="153" y="252"/>
                    <a:pt x="176" y="252"/>
                    <a:pt x="191" y="244"/>
                  </a:cubicBezTo>
                  <a:cubicBezTo>
                    <a:pt x="214" y="237"/>
                    <a:pt x="237" y="229"/>
                    <a:pt x="252" y="214"/>
                  </a:cubicBezTo>
                  <a:cubicBezTo>
                    <a:pt x="260" y="199"/>
                    <a:pt x="245" y="183"/>
                    <a:pt x="252" y="176"/>
                  </a:cubicBezTo>
                  <a:cubicBezTo>
                    <a:pt x="268" y="153"/>
                    <a:pt x="313" y="145"/>
                    <a:pt x="306" y="122"/>
                  </a:cubicBezTo>
                  <a:cubicBezTo>
                    <a:pt x="298" y="91"/>
                    <a:pt x="245" y="99"/>
                    <a:pt x="222" y="84"/>
                  </a:cubicBezTo>
                  <a:cubicBezTo>
                    <a:pt x="199" y="61"/>
                    <a:pt x="191" y="23"/>
                    <a:pt x="168" y="7"/>
                  </a:cubicBezTo>
                  <a:cubicBezTo>
                    <a:pt x="145" y="0"/>
                    <a:pt x="115" y="15"/>
                    <a:pt x="92" y="23"/>
                  </a:cubicBezTo>
                  <a:cubicBezTo>
                    <a:pt x="69" y="30"/>
                    <a:pt x="54" y="38"/>
                    <a:pt x="31" y="38"/>
                  </a:cubicBezTo>
                  <a:lnTo>
                    <a:pt x="31" y="38"/>
                  </a:lnTo>
                  <a:cubicBezTo>
                    <a:pt x="23" y="69"/>
                    <a:pt x="0" y="99"/>
                    <a:pt x="8" y="122"/>
                  </a:cubicBezTo>
                  <a:cubicBezTo>
                    <a:pt x="15" y="153"/>
                    <a:pt x="46" y="229"/>
                    <a:pt x="61" y="252"/>
                  </a:cubicBezTo>
                  <a:lnTo>
                    <a:pt x="61" y="252"/>
                  </a:lnTo>
                  <a:cubicBezTo>
                    <a:pt x="84" y="244"/>
                    <a:pt x="99" y="237"/>
                    <a:pt x="130" y="244"/>
                  </a:cubicBezTo>
                  <a:lnTo>
                    <a:pt x="130" y="244"/>
                  </a:lnTo>
                  <a:cubicBezTo>
                    <a:pt x="130" y="252"/>
                    <a:pt x="130" y="252"/>
                    <a:pt x="130" y="25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40" name="Freeform 162"/>
            <p:cNvSpPr>
              <a:spLocks noChangeArrowheads="1"/>
            </p:cNvSpPr>
            <p:nvPr/>
          </p:nvSpPr>
          <p:spPr bwMode="auto">
            <a:xfrm>
              <a:off x="4387564" y="9499600"/>
              <a:ext cx="1219121" cy="927100"/>
            </a:xfrm>
            <a:custGeom>
              <a:avLst/>
              <a:gdLst>
                <a:gd name="T0" fmla="*/ 8 w 3385"/>
                <a:gd name="T1" fmla="*/ 2551 h 2575"/>
                <a:gd name="T2" fmla="*/ 69 w 3385"/>
                <a:gd name="T3" fmla="*/ 2536 h 2575"/>
                <a:gd name="T4" fmla="*/ 0 w 3385"/>
                <a:gd name="T5" fmla="*/ 2566 h 2575"/>
                <a:gd name="T6" fmla="*/ 3384 w 3385"/>
                <a:gd name="T7" fmla="*/ 1474 h 2575"/>
                <a:gd name="T8" fmla="*/ 3331 w 3385"/>
                <a:gd name="T9" fmla="*/ 1344 h 2575"/>
                <a:gd name="T10" fmla="*/ 3354 w 3385"/>
                <a:gd name="T11" fmla="*/ 1260 h 2575"/>
                <a:gd name="T12" fmla="*/ 3293 w 3385"/>
                <a:gd name="T13" fmla="*/ 1184 h 2575"/>
                <a:gd name="T14" fmla="*/ 3384 w 3385"/>
                <a:gd name="T15" fmla="*/ 1077 h 2575"/>
                <a:gd name="T16" fmla="*/ 3239 w 3385"/>
                <a:gd name="T17" fmla="*/ 977 h 2575"/>
                <a:gd name="T18" fmla="*/ 3231 w 3385"/>
                <a:gd name="T19" fmla="*/ 878 h 2575"/>
                <a:gd name="T20" fmla="*/ 3186 w 3385"/>
                <a:gd name="T21" fmla="*/ 748 h 2575"/>
                <a:gd name="T22" fmla="*/ 3132 w 3385"/>
                <a:gd name="T23" fmla="*/ 634 h 2575"/>
                <a:gd name="T24" fmla="*/ 3094 w 3385"/>
                <a:gd name="T25" fmla="*/ 557 h 2575"/>
                <a:gd name="T26" fmla="*/ 3025 w 3385"/>
                <a:gd name="T27" fmla="*/ 427 h 2575"/>
                <a:gd name="T28" fmla="*/ 2895 w 3385"/>
                <a:gd name="T29" fmla="*/ 359 h 2575"/>
                <a:gd name="T30" fmla="*/ 2979 w 3385"/>
                <a:gd name="T31" fmla="*/ 313 h 2575"/>
                <a:gd name="T32" fmla="*/ 3010 w 3385"/>
                <a:gd name="T33" fmla="*/ 160 h 2575"/>
                <a:gd name="T34" fmla="*/ 2949 w 3385"/>
                <a:gd name="T35" fmla="*/ 15 h 2575"/>
                <a:gd name="T36" fmla="*/ 2773 w 3385"/>
                <a:gd name="T37" fmla="*/ 15 h 2575"/>
                <a:gd name="T38" fmla="*/ 2750 w 3385"/>
                <a:gd name="T39" fmla="*/ 114 h 2575"/>
                <a:gd name="T40" fmla="*/ 2674 w 3385"/>
                <a:gd name="T41" fmla="*/ 473 h 2575"/>
                <a:gd name="T42" fmla="*/ 2437 w 3385"/>
                <a:gd name="T43" fmla="*/ 710 h 2575"/>
                <a:gd name="T44" fmla="*/ 2185 w 3385"/>
                <a:gd name="T45" fmla="*/ 901 h 2575"/>
                <a:gd name="T46" fmla="*/ 2017 w 3385"/>
                <a:gd name="T47" fmla="*/ 1000 h 2575"/>
                <a:gd name="T48" fmla="*/ 1795 w 3385"/>
                <a:gd name="T49" fmla="*/ 1520 h 2575"/>
                <a:gd name="T50" fmla="*/ 1582 w 3385"/>
                <a:gd name="T51" fmla="*/ 1726 h 2575"/>
                <a:gd name="T52" fmla="*/ 1322 w 3385"/>
                <a:gd name="T53" fmla="*/ 1810 h 2575"/>
                <a:gd name="T54" fmla="*/ 1047 w 3385"/>
                <a:gd name="T55" fmla="*/ 1940 h 2575"/>
                <a:gd name="T56" fmla="*/ 940 w 3385"/>
                <a:gd name="T57" fmla="*/ 2184 h 2575"/>
                <a:gd name="T58" fmla="*/ 1207 w 3385"/>
                <a:gd name="T59" fmla="*/ 2184 h 2575"/>
                <a:gd name="T60" fmla="*/ 1375 w 3385"/>
                <a:gd name="T61" fmla="*/ 2077 h 2575"/>
                <a:gd name="T62" fmla="*/ 1757 w 3385"/>
                <a:gd name="T63" fmla="*/ 2452 h 2575"/>
                <a:gd name="T64" fmla="*/ 1925 w 3385"/>
                <a:gd name="T65" fmla="*/ 2337 h 2575"/>
                <a:gd name="T66" fmla="*/ 1918 w 3385"/>
                <a:gd name="T67" fmla="*/ 2123 h 2575"/>
                <a:gd name="T68" fmla="*/ 1986 w 3385"/>
                <a:gd name="T69" fmla="*/ 1963 h 2575"/>
                <a:gd name="T70" fmla="*/ 2047 w 3385"/>
                <a:gd name="T71" fmla="*/ 2016 h 2575"/>
                <a:gd name="T72" fmla="*/ 2139 w 3385"/>
                <a:gd name="T73" fmla="*/ 1856 h 2575"/>
                <a:gd name="T74" fmla="*/ 2292 w 3385"/>
                <a:gd name="T75" fmla="*/ 1787 h 2575"/>
                <a:gd name="T76" fmla="*/ 2422 w 3385"/>
                <a:gd name="T77" fmla="*/ 1741 h 2575"/>
                <a:gd name="T78" fmla="*/ 2452 w 3385"/>
                <a:gd name="T79" fmla="*/ 1619 h 2575"/>
                <a:gd name="T80" fmla="*/ 2567 w 3385"/>
                <a:gd name="T81" fmla="*/ 1573 h 2575"/>
                <a:gd name="T82" fmla="*/ 3041 w 3385"/>
                <a:gd name="T83" fmla="*/ 1474 h 2575"/>
                <a:gd name="T84" fmla="*/ 3277 w 3385"/>
                <a:gd name="T85" fmla="*/ 1543 h 2575"/>
                <a:gd name="T86" fmla="*/ 3300 w 3385"/>
                <a:gd name="T87" fmla="*/ 1565 h 2575"/>
                <a:gd name="T88" fmla="*/ 3384 w 3385"/>
                <a:gd name="T89" fmla="*/ 1474 h 2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85" h="2575">
                  <a:moveTo>
                    <a:pt x="8" y="2551"/>
                  </a:moveTo>
                  <a:lnTo>
                    <a:pt x="8" y="2551"/>
                  </a:lnTo>
                  <a:cubicBezTo>
                    <a:pt x="23" y="2551"/>
                    <a:pt x="23" y="2513"/>
                    <a:pt x="23" y="2505"/>
                  </a:cubicBezTo>
                  <a:cubicBezTo>
                    <a:pt x="31" y="2497"/>
                    <a:pt x="92" y="2513"/>
                    <a:pt x="69" y="2536"/>
                  </a:cubicBezTo>
                  <a:cubicBezTo>
                    <a:pt x="62" y="2543"/>
                    <a:pt x="54" y="2551"/>
                    <a:pt x="46" y="2566"/>
                  </a:cubicBezTo>
                  <a:cubicBezTo>
                    <a:pt x="39" y="2574"/>
                    <a:pt x="8" y="2566"/>
                    <a:pt x="0" y="2566"/>
                  </a:cubicBezTo>
                  <a:cubicBezTo>
                    <a:pt x="8" y="2551"/>
                    <a:pt x="8" y="2551"/>
                    <a:pt x="8" y="2551"/>
                  </a:cubicBezTo>
                  <a:close/>
                  <a:moveTo>
                    <a:pt x="3384" y="1474"/>
                  </a:moveTo>
                  <a:lnTo>
                    <a:pt x="3384" y="1474"/>
                  </a:lnTo>
                  <a:cubicBezTo>
                    <a:pt x="3369" y="1451"/>
                    <a:pt x="3338" y="1375"/>
                    <a:pt x="3331" y="1344"/>
                  </a:cubicBezTo>
                  <a:cubicBezTo>
                    <a:pt x="3323" y="1321"/>
                    <a:pt x="3346" y="1291"/>
                    <a:pt x="3354" y="1260"/>
                  </a:cubicBezTo>
                  <a:lnTo>
                    <a:pt x="3354" y="1260"/>
                  </a:lnTo>
                  <a:cubicBezTo>
                    <a:pt x="3346" y="1245"/>
                    <a:pt x="3354" y="1214"/>
                    <a:pt x="3338" y="1199"/>
                  </a:cubicBezTo>
                  <a:cubicBezTo>
                    <a:pt x="3331" y="1184"/>
                    <a:pt x="3300" y="1199"/>
                    <a:pt x="3293" y="1184"/>
                  </a:cubicBezTo>
                  <a:cubicBezTo>
                    <a:pt x="3285" y="1161"/>
                    <a:pt x="3300" y="1138"/>
                    <a:pt x="3316" y="1123"/>
                  </a:cubicBezTo>
                  <a:cubicBezTo>
                    <a:pt x="3331" y="1100"/>
                    <a:pt x="3377" y="1107"/>
                    <a:pt x="3384" y="1077"/>
                  </a:cubicBezTo>
                  <a:cubicBezTo>
                    <a:pt x="3384" y="1046"/>
                    <a:pt x="3346" y="1016"/>
                    <a:pt x="3323" y="1000"/>
                  </a:cubicBezTo>
                  <a:cubicBezTo>
                    <a:pt x="3300" y="985"/>
                    <a:pt x="3262" y="1000"/>
                    <a:pt x="3239" y="977"/>
                  </a:cubicBezTo>
                  <a:cubicBezTo>
                    <a:pt x="3231" y="970"/>
                    <a:pt x="3247" y="947"/>
                    <a:pt x="3247" y="924"/>
                  </a:cubicBezTo>
                  <a:cubicBezTo>
                    <a:pt x="3247" y="909"/>
                    <a:pt x="3247" y="893"/>
                    <a:pt x="3231" y="878"/>
                  </a:cubicBezTo>
                  <a:cubicBezTo>
                    <a:pt x="3224" y="870"/>
                    <a:pt x="3186" y="893"/>
                    <a:pt x="3186" y="870"/>
                  </a:cubicBezTo>
                  <a:cubicBezTo>
                    <a:pt x="3170" y="832"/>
                    <a:pt x="3193" y="787"/>
                    <a:pt x="3186" y="748"/>
                  </a:cubicBezTo>
                  <a:cubicBezTo>
                    <a:pt x="3186" y="733"/>
                    <a:pt x="3163" y="748"/>
                    <a:pt x="3155" y="733"/>
                  </a:cubicBezTo>
                  <a:cubicBezTo>
                    <a:pt x="3140" y="702"/>
                    <a:pt x="3147" y="664"/>
                    <a:pt x="3132" y="634"/>
                  </a:cubicBezTo>
                  <a:cubicBezTo>
                    <a:pt x="3124" y="618"/>
                    <a:pt x="3109" y="603"/>
                    <a:pt x="3102" y="588"/>
                  </a:cubicBezTo>
                  <a:cubicBezTo>
                    <a:pt x="3094" y="580"/>
                    <a:pt x="3102" y="565"/>
                    <a:pt x="3094" y="557"/>
                  </a:cubicBezTo>
                  <a:cubicBezTo>
                    <a:pt x="3086" y="504"/>
                    <a:pt x="3094" y="443"/>
                    <a:pt x="3063" y="397"/>
                  </a:cubicBezTo>
                  <a:cubicBezTo>
                    <a:pt x="3056" y="382"/>
                    <a:pt x="3041" y="435"/>
                    <a:pt x="3025" y="427"/>
                  </a:cubicBezTo>
                  <a:cubicBezTo>
                    <a:pt x="2987" y="420"/>
                    <a:pt x="2964" y="389"/>
                    <a:pt x="2926" y="374"/>
                  </a:cubicBezTo>
                  <a:cubicBezTo>
                    <a:pt x="2918" y="366"/>
                    <a:pt x="2903" y="374"/>
                    <a:pt x="2895" y="359"/>
                  </a:cubicBezTo>
                  <a:cubicBezTo>
                    <a:pt x="2895" y="351"/>
                    <a:pt x="2903" y="343"/>
                    <a:pt x="2911" y="343"/>
                  </a:cubicBezTo>
                  <a:cubicBezTo>
                    <a:pt x="2934" y="328"/>
                    <a:pt x="2964" y="336"/>
                    <a:pt x="2979" y="313"/>
                  </a:cubicBezTo>
                  <a:cubicBezTo>
                    <a:pt x="2995" y="275"/>
                    <a:pt x="2987" y="221"/>
                    <a:pt x="2995" y="183"/>
                  </a:cubicBezTo>
                  <a:cubicBezTo>
                    <a:pt x="3002" y="175"/>
                    <a:pt x="3018" y="168"/>
                    <a:pt x="3010" y="160"/>
                  </a:cubicBezTo>
                  <a:cubicBezTo>
                    <a:pt x="3002" y="129"/>
                    <a:pt x="2979" y="99"/>
                    <a:pt x="2964" y="61"/>
                  </a:cubicBezTo>
                  <a:cubicBezTo>
                    <a:pt x="2956" y="46"/>
                    <a:pt x="2964" y="23"/>
                    <a:pt x="2949" y="15"/>
                  </a:cubicBezTo>
                  <a:cubicBezTo>
                    <a:pt x="2918" y="0"/>
                    <a:pt x="2880" y="15"/>
                    <a:pt x="2849" y="15"/>
                  </a:cubicBezTo>
                  <a:cubicBezTo>
                    <a:pt x="2819" y="15"/>
                    <a:pt x="2804" y="15"/>
                    <a:pt x="2773" y="15"/>
                  </a:cubicBezTo>
                  <a:lnTo>
                    <a:pt x="2773" y="15"/>
                  </a:lnTo>
                  <a:cubicBezTo>
                    <a:pt x="2766" y="46"/>
                    <a:pt x="2750" y="76"/>
                    <a:pt x="2750" y="114"/>
                  </a:cubicBezTo>
                  <a:cubicBezTo>
                    <a:pt x="2743" y="198"/>
                    <a:pt x="2781" y="282"/>
                    <a:pt x="2773" y="374"/>
                  </a:cubicBezTo>
                  <a:cubicBezTo>
                    <a:pt x="2766" y="458"/>
                    <a:pt x="2720" y="435"/>
                    <a:pt x="2674" y="473"/>
                  </a:cubicBezTo>
                  <a:cubicBezTo>
                    <a:pt x="2605" y="535"/>
                    <a:pt x="2628" y="611"/>
                    <a:pt x="2529" y="664"/>
                  </a:cubicBezTo>
                  <a:cubicBezTo>
                    <a:pt x="2498" y="679"/>
                    <a:pt x="2422" y="672"/>
                    <a:pt x="2437" y="710"/>
                  </a:cubicBezTo>
                  <a:cubicBezTo>
                    <a:pt x="2452" y="748"/>
                    <a:pt x="2437" y="809"/>
                    <a:pt x="2407" y="840"/>
                  </a:cubicBezTo>
                  <a:cubicBezTo>
                    <a:pt x="2345" y="909"/>
                    <a:pt x="2269" y="901"/>
                    <a:pt x="2185" y="901"/>
                  </a:cubicBezTo>
                  <a:cubicBezTo>
                    <a:pt x="2185" y="954"/>
                    <a:pt x="2193" y="962"/>
                    <a:pt x="2139" y="962"/>
                  </a:cubicBezTo>
                  <a:cubicBezTo>
                    <a:pt x="2124" y="1016"/>
                    <a:pt x="2063" y="1000"/>
                    <a:pt x="2017" y="1000"/>
                  </a:cubicBezTo>
                  <a:cubicBezTo>
                    <a:pt x="2002" y="1084"/>
                    <a:pt x="2032" y="1336"/>
                    <a:pt x="1902" y="1329"/>
                  </a:cubicBezTo>
                  <a:cubicBezTo>
                    <a:pt x="1803" y="1321"/>
                    <a:pt x="1834" y="1459"/>
                    <a:pt x="1795" y="1520"/>
                  </a:cubicBezTo>
                  <a:cubicBezTo>
                    <a:pt x="1757" y="1588"/>
                    <a:pt x="1719" y="1543"/>
                    <a:pt x="1688" y="1619"/>
                  </a:cubicBezTo>
                  <a:cubicBezTo>
                    <a:pt x="1666" y="1665"/>
                    <a:pt x="1612" y="1696"/>
                    <a:pt x="1582" y="1726"/>
                  </a:cubicBezTo>
                  <a:cubicBezTo>
                    <a:pt x="1513" y="1795"/>
                    <a:pt x="1505" y="1741"/>
                    <a:pt x="1436" y="1795"/>
                  </a:cubicBezTo>
                  <a:cubicBezTo>
                    <a:pt x="1391" y="1840"/>
                    <a:pt x="1360" y="1917"/>
                    <a:pt x="1322" y="1810"/>
                  </a:cubicBezTo>
                  <a:cubicBezTo>
                    <a:pt x="1299" y="1810"/>
                    <a:pt x="1284" y="1802"/>
                    <a:pt x="1253" y="1818"/>
                  </a:cubicBezTo>
                  <a:cubicBezTo>
                    <a:pt x="1177" y="1848"/>
                    <a:pt x="1123" y="1925"/>
                    <a:pt x="1047" y="1940"/>
                  </a:cubicBezTo>
                  <a:cubicBezTo>
                    <a:pt x="1009" y="1948"/>
                    <a:pt x="940" y="2001"/>
                    <a:pt x="963" y="2054"/>
                  </a:cubicBezTo>
                  <a:cubicBezTo>
                    <a:pt x="978" y="2100"/>
                    <a:pt x="932" y="2177"/>
                    <a:pt x="940" y="2184"/>
                  </a:cubicBezTo>
                  <a:cubicBezTo>
                    <a:pt x="986" y="2215"/>
                    <a:pt x="986" y="2268"/>
                    <a:pt x="1047" y="2238"/>
                  </a:cubicBezTo>
                  <a:cubicBezTo>
                    <a:pt x="1093" y="2215"/>
                    <a:pt x="1154" y="2192"/>
                    <a:pt x="1207" y="2184"/>
                  </a:cubicBezTo>
                  <a:cubicBezTo>
                    <a:pt x="1238" y="2177"/>
                    <a:pt x="1207" y="2131"/>
                    <a:pt x="1230" y="2100"/>
                  </a:cubicBezTo>
                  <a:cubicBezTo>
                    <a:pt x="1261" y="2047"/>
                    <a:pt x="1337" y="2032"/>
                    <a:pt x="1375" y="2077"/>
                  </a:cubicBezTo>
                  <a:cubicBezTo>
                    <a:pt x="1444" y="2161"/>
                    <a:pt x="1582" y="2131"/>
                    <a:pt x="1635" y="2245"/>
                  </a:cubicBezTo>
                  <a:cubicBezTo>
                    <a:pt x="1673" y="2314"/>
                    <a:pt x="1650" y="2429"/>
                    <a:pt x="1757" y="2452"/>
                  </a:cubicBezTo>
                  <a:cubicBezTo>
                    <a:pt x="1765" y="2398"/>
                    <a:pt x="1795" y="2390"/>
                    <a:pt x="1834" y="2360"/>
                  </a:cubicBezTo>
                  <a:cubicBezTo>
                    <a:pt x="1864" y="2337"/>
                    <a:pt x="1925" y="2345"/>
                    <a:pt x="1925" y="2337"/>
                  </a:cubicBezTo>
                  <a:cubicBezTo>
                    <a:pt x="1941" y="2299"/>
                    <a:pt x="1979" y="2253"/>
                    <a:pt x="1979" y="2215"/>
                  </a:cubicBezTo>
                  <a:cubicBezTo>
                    <a:pt x="1979" y="2184"/>
                    <a:pt x="1933" y="2146"/>
                    <a:pt x="1918" y="2123"/>
                  </a:cubicBezTo>
                  <a:cubicBezTo>
                    <a:pt x="1902" y="2100"/>
                    <a:pt x="1948" y="2093"/>
                    <a:pt x="1948" y="2062"/>
                  </a:cubicBezTo>
                  <a:cubicBezTo>
                    <a:pt x="1956" y="2016"/>
                    <a:pt x="1979" y="1993"/>
                    <a:pt x="1986" y="1963"/>
                  </a:cubicBezTo>
                  <a:cubicBezTo>
                    <a:pt x="1994" y="1925"/>
                    <a:pt x="1994" y="1886"/>
                    <a:pt x="2002" y="1848"/>
                  </a:cubicBezTo>
                  <a:cubicBezTo>
                    <a:pt x="2047" y="1856"/>
                    <a:pt x="2025" y="1993"/>
                    <a:pt x="2047" y="2016"/>
                  </a:cubicBezTo>
                  <a:cubicBezTo>
                    <a:pt x="2063" y="1993"/>
                    <a:pt x="2078" y="1993"/>
                    <a:pt x="2093" y="1986"/>
                  </a:cubicBezTo>
                  <a:cubicBezTo>
                    <a:pt x="2124" y="1955"/>
                    <a:pt x="2101" y="1879"/>
                    <a:pt x="2139" y="1856"/>
                  </a:cubicBezTo>
                  <a:cubicBezTo>
                    <a:pt x="2170" y="1833"/>
                    <a:pt x="2177" y="1871"/>
                    <a:pt x="2200" y="1871"/>
                  </a:cubicBezTo>
                  <a:cubicBezTo>
                    <a:pt x="2208" y="1871"/>
                    <a:pt x="2269" y="1795"/>
                    <a:pt x="2292" y="1787"/>
                  </a:cubicBezTo>
                  <a:cubicBezTo>
                    <a:pt x="2353" y="1764"/>
                    <a:pt x="2361" y="1810"/>
                    <a:pt x="2391" y="1818"/>
                  </a:cubicBezTo>
                  <a:cubicBezTo>
                    <a:pt x="2391" y="1795"/>
                    <a:pt x="2422" y="1772"/>
                    <a:pt x="2422" y="1741"/>
                  </a:cubicBezTo>
                  <a:cubicBezTo>
                    <a:pt x="2422" y="1703"/>
                    <a:pt x="2422" y="1673"/>
                    <a:pt x="2422" y="1634"/>
                  </a:cubicBezTo>
                  <a:cubicBezTo>
                    <a:pt x="2437" y="1627"/>
                    <a:pt x="2445" y="1619"/>
                    <a:pt x="2452" y="1619"/>
                  </a:cubicBezTo>
                  <a:cubicBezTo>
                    <a:pt x="2460" y="1611"/>
                    <a:pt x="2460" y="1596"/>
                    <a:pt x="2452" y="1588"/>
                  </a:cubicBezTo>
                  <a:cubicBezTo>
                    <a:pt x="2437" y="1520"/>
                    <a:pt x="2567" y="1466"/>
                    <a:pt x="2567" y="1573"/>
                  </a:cubicBezTo>
                  <a:cubicBezTo>
                    <a:pt x="2597" y="1588"/>
                    <a:pt x="2697" y="1527"/>
                    <a:pt x="2758" y="1543"/>
                  </a:cubicBezTo>
                  <a:cubicBezTo>
                    <a:pt x="2865" y="1565"/>
                    <a:pt x="2941" y="1497"/>
                    <a:pt x="3041" y="1474"/>
                  </a:cubicBezTo>
                  <a:cubicBezTo>
                    <a:pt x="3086" y="1466"/>
                    <a:pt x="3140" y="1474"/>
                    <a:pt x="3186" y="1482"/>
                  </a:cubicBezTo>
                  <a:cubicBezTo>
                    <a:pt x="3216" y="1489"/>
                    <a:pt x="3262" y="1543"/>
                    <a:pt x="3277" y="1543"/>
                  </a:cubicBezTo>
                  <a:cubicBezTo>
                    <a:pt x="3277" y="1550"/>
                    <a:pt x="3293" y="1558"/>
                    <a:pt x="3293" y="1565"/>
                  </a:cubicBezTo>
                  <a:cubicBezTo>
                    <a:pt x="3293" y="1565"/>
                    <a:pt x="3293" y="1565"/>
                    <a:pt x="3300" y="1565"/>
                  </a:cubicBezTo>
                  <a:cubicBezTo>
                    <a:pt x="3300" y="1573"/>
                    <a:pt x="3323" y="1573"/>
                    <a:pt x="3331" y="1573"/>
                  </a:cubicBezTo>
                  <a:cubicBezTo>
                    <a:pt x="3338" y="1535"/>
                    <a:pt x="3354" y="1489"/>
                    <a:pt x="3384" y="1474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41" name="Freeform 163"/>
            <p:cNvSpPr>
              <a:spLocks noChangeArrowheads="1"/>
            </p:cNvSpPr>
            <p:nvPr/>
          </p:nvSpPr>
          <p:spPr bwMode="auto">
            <a:xfrm>
              <a:off x="4192315" y="6399214"/>
              <a:ext cx="446058" cy="236537"/>
            </a:xfrm>
            <a:custGeom>
              <a:avLst/>
              <a:gdLst>
                <a:gd name="T0" fmla="*/ 31 w 1239"/>
                <a:gd name="T1" fmla="*/ 260 h 658"/>
                <a:gd name="T2" fmla="*/ 31 w 1239"/>
                <a:gd name="T3" fmla="*/ 260 h 658"/>
                <a:gd name="T4" fmla="*/ 115 w 1239"/>
                <a:gd name="T5" fmla="*/ 168 h 658"/>
                <a:gd name="T6" fmla="*/ 153 w 1239"/>
                <a:gd name="T7" fmla="*/ 161 h 658"/>
                <a:gd name="T8" fmla="*/ 237 w 1239"/>
                <a:gd name="T9" fmla="*/ 107 h 658"/>
                <a:gd name="T10" fmla="*/ 267 w 1239"/>
                <a:gd name="T11" fmla="*/ 122 h 658"/>
                <a:gd name="T12" fmla="*/ 329 w 1239"/>
                <a:gd name="T13" fmla="*/ 69 h 658"/>
                <a:gd name="T14" fmla="*/ 352 w 1239"/>
                <a:gd name="T15" fmla="*/ 61 h 658"/>
                <a:gd name="T16" fmla="*/ 375 w 1239"/>
                <a:gd name="T17" fmla="*/ 23 h 658"/>
                <a:gd name="T18" fmla="*/ 443 w 1239"/>
                <a:gd name="T19" fmla="*/ 0 h 658"/>
                <a:gd name="T20" fmla="*/ 474 w 1239"/>
                <a:gd name="T21" fmla="*/ 31 h 658"/>
                <a:gd name="T22" fmla="*/ 504 w 1239"/>
                <a:gd name="T23" fmla="*/ 0 h 658"/>
                <a:gd name="T24" fmla="*/ 504 w 1239"/>
                <a:gd name="T25" fmla="*/ 0 h 658"/>
                <a:gd name="T26" fmla="*/ 611 w 1239"/>
                <a:gd name="T27" fmla="*/ 31 h 658"/>
                <a:gd name="T28" fmla="*/ 627 w 1239"/>
                <a:gd name="T29" fmla="*/ 16 h 658"/>
                <a:gd name="T30" fmla="*/ 703 w 1239"/>
                <a:gd name="T31" fmla="*/ 46 h 658"/>
                <a:gd name="T32" fmla="*/ 733 w 1239"/>
                <a:gd name="T33" fmla="*/ 46 h 658"/>
                <a:gd name="T34" fmla="*/ 779 w 1239"/>
                <a:gd name="T35" fmla="*/ 77 h 658"/>
                <a:gd name="T36" fmla="*/ 817 w 1239"/>
                <a:gd name="T37" fmla="*/ 138 h 658"/>
                <a:gd name="T38" fmla="*/ 871 w 1239"/>
                <a:gd name="T39" fmla="*/ 84 h 658"/>
                <a:gd name="T40" fmla="*/ 947 w 1239"/>
                <a:gd name="T41" fmla="*/ 54 h 658"/>
                <a:gd name="T42" fmla="*/ 993 w 1239"/>
                <a:gd name="T43" fmla="*/ 77 h 658"/>
                <a:gd name="T44" fmla="*/ 993 w 1239"/>
                <a:gd name="T45" fmla="*/ 77 h 658"/>
                <a:gd name="T46" fmla="*/ 963 w 1239"/>
                <a:gd name="T47" fmla="*/ 107 h 658"/>
                <a:gd name="T48" fmla="*/ 970 w 1239"/>
                <a:gd name="T49" fmla="*/ 122 h 658"/>
                <a:gd name="T50" fmla="*/ 1031 w 1239"/>
                <a:gd name="T51" fmla="*/ 283 h 658"/>
                <a:gd name="T52" fmla="*/ 1069 w 1239"/>
                <a:gd name="T53" fmla="*/ 237 h 658"/>
                <a:gd name="T54" fmla="*/ 1100 w 1239"/>
                <a:gd name="T55" fmla="*/ 237 h 658"/>
                <a:gd name="T56" fmla="*/ 1131 w 1239"/>
                <a:gd name="T57" fmla="*/ 222 h 658"/>
                <a:gd name="T58" fmla="*/ 1230 w 1239"/>
                <a:gd name="T59" fmla="*/ 252 h 658"/>
                <a:gd name="T60" fmla="*/ 1230 w 1239"/>
                <a:gd name="T61" fmla="*/ 252 h 658"/>
                <a:gd name="T62" fmla="*/ 1207 w 1239"/>
                <a:gd name="T63" fmla="*/ 443 h 658"/>
                <a:gd name="T64" fmla="*/ 1024 w 1239"/>
                <a:gd name="T65" fmla="*/ 596 h 658"/>
                <a:gd name="T66" fmla="*/ 932 w 1239"/>
                <a:gd name="T67" fmla="*/ 650 h 658"/>
                <a:gd name="T68" fmla="*/ 856 w 1239"/>
                <a:gd name="T69" fmla="*/ 566 h 658"/>
                <a:gd name="T70" fmla="*/ 779 w 1239"/>
                <a:gd name="T71" fmla="*/ 550 h 658"/>
                <a:gd name="T72" fmla="*/ 733 w 1239"/>
                <a:gd name="T73" fmla="*/ 474 h 658"/>
                <a:gd name="T74" fmla="*/ 627 w 1239"/>
                <a:gd name="T75" fmla="*/ 451 h 658"/>
                <a:gd name="T76" fmla="*/ 627 w 1239"/>
                <a:gd name="T77" fmla="*/ 451 h 658"/>
                <a:gd name="T78" fmla="*/ 527 w 1239"/>
                <a:gd name="T79" fmla="*/ 451 h 658"/>
                <a:gd name="T80" fmla="*/ 466 w 1239"/>
                <a:gd name="T81" fmla="*/ 497 h 658"/>
                <a:gd name="T82" fmla="*/ 290 w 1239"/>
                <a:gd name="T83" fmla="*/ 543 h 658"/>
                <a:gd name="T84" fmla="*/ 138 w 1239"/>
                <a:gd name="T85" fmla="*/ 589 h 658"/>
                <a:gd name="T86" fmla="*/ 61 w 1239"/>
                <a:gd name="T87" fmla="*/ 611 h 658"/>
                <a:gd name="T88" fmla="*/ 0 w 1239"/>
                <a:gd name="T89" fmla="*/ 527 h 658"/>
                <a:gd name="T90" fmla="*/ 23 w 1239"/>
                <a:gd name="T91" fmla="*/ 443 h 658"/>
                <a:gd name="T92" fmla="*/ 31 w 1239"/>
                <a:gd name="T93" fmla="*/ 344 h 658"/>
                <a:gd name="T94" fmla="*/ 31 w 1239"/>
                <a:gd name="T95" fmla="*/ 260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39" h="658">
                  <a:moveTo>
                    <a:pt x="31" y="260"/>
                  </a:moveTo>
                  <a:lnTo>
                    <a:pt x="31" y="260"/>
                  </a:lnTo>
                  <a:cubicBezTo>
                    <a:pt x="54" y="237"/>
                    <a:pt x="92" y="184"/>
                    <a:pt x="115" y="168"/>
                  </a:cubicBezTo>
                  <a:cubicBezTo>
                    <a:pt x="130" y="161"/>
                    <a:pt x="145" y="168"/>
                    <a:pt x="153" y="161"/>
                  </a:cubicBezTo>
                  <a:cubicBezTo>
                    <a:pt x="183" y="153"/>
                    <a:pt x="206" y="130"/>
                    <a:pt x="237" y="107"/>
                  </a:cubicBezTo>
                  <a:lnTo>
                    <a:pt x="267" y="122"/>
                  </a:lnTo>
                  <a:cubicBezTo>
                    <a:pt x="275" y="122"/>
                    <a:pt x="329" y="69"/>
                    <a:pt x="329" y="69"/>
                  </a:cubicBezTo>
                  <a:cubicBezTo>
                    <a:pt x="336" y="61"/>
                    <a:pt x="344" y="69"/>
                    <a:pt x="352" y="61"/>
                  </a:cubicBezTo>
                  <a:cubicBezTo>
                    <a:pt x="359" y="54"/>
                    <a:pt x="359" y="31"/>
                    <a:pt x="375" y="23"/>
                  </a:cubicBezTo>
                  <a:cubicBezTo>
                    <a:pt x="397" y="8"/>
                    <a:pt x="420" y="0"/>
                    <a:pt x="443" y="0"/>
                  </a:cubicBezTo>
                  <a:cubicBezTo>
                    <a:pt x="458" y="8"/>
                    <a:pt x="458" y="31"/>
                    <a:pt x="474" y="31"/>
                  </a:cubicBezTo>
                  <a:cubicBezTo>
                    <a:pt x="489" y="31"/>
                    <a:pt x="497" y="8"/>
                    <a:pt x="504" y="0"/>
                  </a:cubicBezTo>
                  <a:lnTo>
                    <a:pt x="504" y="0"/>
                  </a:lnTo>
                  <a:cubicBezTo>
                    <a:pt x="542" y="16"/>
                    <a:pt x="581" y="31"/>
                    <a:pt x="611" y="31"/>
                  </a:cubicBezTo>
                  <a:cubicBezTo>
                    <a:pt x="619" y="31"/>
                    <a:pt x="619" y="8"/>
                    <a:pt x="627" y="16"/>
                  </a:cubicBezTo>
                  <a:cubicBezTo>
                    <a:pt x="657" y="16"/>
                    <a:pt x="680" y="39"/>
                    <a:pt x="703" y="46"/>
                  </a:cubicBezTo>
                  <a:cubicBezTo>
                    <a:pt x="711" y="46"/>
                    <a:pt x="726" y="46"/>
                    <a:pt x="733" y="46"/>
                  </a:cubicBezTo>
                  <a:cubicBezTo>
                    <a:pt x="756" y="54"/>
                    <a:pt x="772" y="61"/>
                    <a:pt x="779" y="77"/>
                  </a:cubicBezTo>
                  <a:cubicBezTo>
                    <a:pt x="802" y="92"/>
                    <a:pt x="794" y="138"/>
                    <a:pt x="817" y="138"/>
                  </a:cubicBezTo>
                  <a:cubicBezTo>
                    <a:pt x="840" y="145"/>
                    <a:pt x="848" y="100"/>
                    <a:pt x="871" y="84"/>
                  </a:cubicBezTo>
                  <a:cubicBezTo>
                    <a:pt x="894" y="69"/>
                    <a:pt x="924" y="61"/>
                    <a:pt x="947" y="54"/>
                  </a:cubicBezTo>
                  <a:cubicBezTo>
                    <a:pt x="970" y="54"/>
                    <a:pt x="978" y="69"/>
                    <a:pt x="993" y="77"/>
                  </a:cubicBezTo>
                  <a:lnTo>
                    <a:pt x="993" y="77"/>
                  </a:lnTo>
                  <a:cubicBezTo>
                    <a:pt x="986" y="84"/>
                    <a:pt x="970" y="92"/>
                    <a:pt x="963" y="107"/>
                  </a:cubicBezTo>
                  <a:cubicBezTo>
                    <a:pt x="955" y="115"/>
                    <a:pt x="970" y="115"/>
                    <a:pt x="970" y="122"/>
                  </a:cubicBezTo>
                  <a:cubicBezTo>
                    <a:pt x="993" y="176"/>
                    <a:pt x="993" y="245"/>
                    <a:pt x="1031" y="283"/>
                  </a:cubicBezTo>
                  <a:cubicBezTo>
                    <a:pt x="1047" y="298"/>
                    <a:pt x="1054" y="245"/>
                    <a:pt x="1069" y="237"/>
                  </a:cubicBezTo>
                  <a:cubicBezTo>
                    <a:pt x="1077" y="230"/>
                    <a:pt x="1092" y="245"/>
                    <a:pt x="1100" y="237"/>
                  </a:cubicBezTo>
                  <a:cubicBezTo>
                    <a:pt x="1108" y="237"/>
                    <a:pt x="1115" y="222"/>
                    <a:pt x="1131" y="222"/>
                  </a:cubicBezTo>
                  <a:cubicBezTo>
                    <a:pt x="1154" y="230"/>
                    <a:pt x="1207" y="252"/>
                    <a:pt x="1230" y="252"/>
                  </a:cubicBezTo>
                  <a:lnTo>
                    <a:pt x="1230" y="252"/>
                  </a:lnTo>
                  <a:cubicBezTo>
                    <a:pt x="1238" y="314"/>
                    <a:pt x="1222" y="428"/>
                    <a:pt x="1207" y="443"/>
                  </a:cubicBezTo>
                  <a:cubicBezTo>
                    <a:pt x="1154" y="489"/>
                    <a:pt x="1092" y="566"/>
                    <a:pt x="1024" y="596"/>
                  </a:cubicBezTo>
                  <a:cubicBezTo>
                    <a:pt x="1001" y="619"/>
                    <a:pt x="963" y="657"/>
                    <a:pt x="932" y="650"/>
                  </a:cubicBezTo>
                  <a:cubicBezTo>
                    <a:pt x="825" y="611"/>
                    <a:pt x="978" y="589"/>
                    <a:pt x="856" y="566"/>
                  </a:cubicBezTo>
                  <a:cubicBezTo>
                    <a:pt x="817" y="566"/>
                    <a:pt x="810" y="566"/>
                    <a:pt x="779" y="550"/>
                  </a:cubicBezTo>
                  <a:cubicBezTo>
                    <a:pt x="741" y="520"/>
                    <a:pt x="794" y="489"/>
                    <a:pt x="733" y="474"/>
                  </a:cubicBezTo>
                  <a:cubicBezTo>
                    <a:pt x="711" y="474"/>
                    <a:pt x="634" y="443"/>
                    <a:pt x="627" y="451"/>
                  </a:cubicBezTo>
                  <a:lnTo>
                    <a:pt x="627" y="451"/>
                  </a:lnTo>
                  <a:cubicBezTo>
                    <a:pt x="581" y="451"/>
                    <a:pt x="550" y="489"/>
                    <a:pt x="527" y="451"/>
                  </a:cubicBezTo>
                  <a:cubicBezTo>
                    <a:pt x="489" y="390"/>
                    <a:pt x="474" y="459"/>
                    <a:pt x="466" y="497"/>
                  </a:cubicBezTo>
                  <a:cubicBezTo>
                    <a:pt x="443" y="642"/>
                    <a:pt x="359" y="504"/>
                    <a:pt x="290" y="543"/>
                  </a:cubicBezTo>
                  <a:cubicBezTo>
                    <a:pt x="214" y="581"/>
                    <a:pt x="229" y="589"/>
                    <a:pt x="138" y="589"/>
                  </a:cubicBezTo>
                  <a:cubicBezTo>
                    <a:pt x="107" y="589"/>
                    <a:pt x="77" y="619"/>
                    <a:pt x="61" y="611"/>
                  </a:cubicBezTo>
                  <a:cubicBezTo>
                    <a:pt x="54" y="604"/>
                    <a:pt x="8" y="535"/>
                    <a:pt x="0" y="527"/>
                  </a:cubicBezTo>
                  <a:cubicBezTo>
                    <a:pt x="0" y="497"/>
                    <a:pt x="31" y="489"/>
                    <a:pt x="23" y="443"/>
                  </a:cubicBezTo>
                  <a:cubicBezTo>
                    <a:pt x="15" y="405"/>
                    <a:pt x="23" y="390"/>
                    <a:pt x="31" y="344"/>
                  </a:cubicBezTo>
                  <a:cubicBezTo>
                    <a:pt x="38" y="306"/>
                    <a:pt x="38" y="275"/>
                    <a:pt x="31" y="26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42" name="Freeform 164"/>
            <p:cNvSpPr>
              <a:spLocks noChangeArrowheads="1"/>
            </p:cNvSpPr>
            <p:nvPr/>
          </p:nvSpPr>
          <p:spPr bwMode="auto">
            <a:xfrm>
              <a:off x="4349467" y="6232526"/>
              <a:ext cx="261921" cy="220663"/>
            </a:xfrm>
            <a:custGeom>
              <a:avLst/>
              <a:gdLst>
                <a:gd name="T0" fmla="*/ 68 w 726"/>
                <a:gd name="T1" fmla="*/ 466 h 612"/>
                <a:gd name="T2" fmla="*/ 68 w 726"/>
                <a:gd name="T3" fmla="*/ 466 h 612"/>
                <a:gd name="T4" fmla="*/ 175 w 726"/>
                <a:gd name="T5" fmla="*/ 497 h 612"/>
                <a:gd name="T6" fmla="*/ 191 w 726"/>
                <a:gd name="T7" fmla="*/ 482 h 612"/>
                <a:gd name="T8" fmla="*/ 267 w 726"/>
                <a:gd name="T9" fmla="*/ 512 h 612"/>
                <a:gd name="T10" fmla="*/ 297 w 726"/>
                <a:gd name="T11" fmla="*/ 512 h 612"/>
                <a:gd name="T12" fmla="*/ 343 w 726"/>
                <a:gd name="T13" fmla="*/ 543 h 612"/>
                <a:gd name="T14" fmla="*/ 381 w 726"/>
                <a:gd name="T15" fmla="*/ 604 h 612"/>
                <a:gd name="T16" fmla="*/ 435 w 726"/>
                <a:gd name="T17" fmla="*/ 550 h 612"/>
                <a:gd name="T18" fmla="*/ 511 w 726"/>
                <a:gd name="T19" fmla="*/ 520 h 612"/>
                <a:gd name="T20" fmla="*/ 557 w 726"/>
                <a:gd name="T21" fmla="*/ 543 h 612"/>
                <a:gd name="T22" fmla="*/ 557 w 726"/>
                <a:gd name="T23" fmla="*/ 543 h 612"/>
                <a:gd name="T24" fmla="*/ 572 w 726"/>
                <a:gd name="T25" fmla="*/ 489 h 612"/>
                <a:gd name="T26" fmla="*/ 641 w 726"/>
                <a:gd name="T27" fmla="*/ 550 h 612"/>
                <a:gd name="T28" fmla="*/ 695 w 726"/>
                <a:gd name="T29" fmla="*/ 520 h 612"/>
                <a:gd name="T30" fmla="*/ 672 w 726"/>
                <a:gd name="T31" fmla="*/ 497 h 612"/>
                <a:gd name="T32" fmla="*/ 695 w 726"/>
                <a:gd name="T33" fmla="*/ 466 h 612"/>
                <a:gd name="T34" fmla="*/ 687 w 726"/>
                <a:gd name="T35" fmla="*/ 436 h 612"/>
                <a:gd name="T36" fmla="*/ 718 w 726"/>
                <a:gd name="T37" fmla="*/ 421 h 612"/>
                <a:gd name="T38" fmla="*/ 679 w 726"/>
                <a:gd name="T39" fmla="*/ 329 h 612"/>
                <a:gd name="T40" fmla="*/ 679 w 726"/>
                <a:gd name="T41" fmla="*/ 275 h 612"/>
                <a:gd name="T42" fmla="*/ 725 w 726"/>
                <a:gd name="T43" fmla="*/ 222 h 612"/>
                <a:gd name="T44" fmla="*/ 710 w 726"/>
                <a:gd name="T45" fmla="*/ 176 h 612"/>
                <a:gd name="T46" fmla="*/ 710 w 726"/>
                <a:gd name="T47" fmla="*/ 176 h 612"/>
                <a:gd name="T48" fmla="*/ 672 w 726"/>
                <a:gd name="T49" fmla="*/ 161 h 612"/>
                <a:gd name="T50" fmla="*/ 603 w 726"/>
                <a:gd name="T51" fmla="*/ 184 h 612"/>
                <a:gd name="T52" fmla="*/ 565 w 726"/>
                <a:gd name="T53" fmla="*/ 153 h 612"/>
                <a:gd name="T54" fmla="*/ 534 w 726"/>
                <a:gd name="T55" fmla="*/ 153 h 612"/>
                <a:gd name="T56" fmla="*/ 534 w 726"/>
                <a:gd name="T57" fmla="*/ 123 h 612"/>
                <a:gd name="T58" fmla="*/ 550 w 726"/>
                <a:gd name="T59" fmla="*/ 100 h 612"/>
                <a:gd name="T60" fmla="*/ 496 w 726"/>
                <a:gd name="T61" fmla="*/ 84 h 612"/>
                <a:gd name="T62" fmla="*/ 420 w 726"/>
                <a:gd name="T63" fmla="*/ 16 h 612"/>
                <a:gd name="T64" fmla="*/ 389 w 726"/>
                <a:gd name="T65" fmla="*/ 16 h 612"/>
                <a:gd name="T66" fmla="*/ 381 w 726"/>
                <a:gd name="T67" fmla="*/ 0 h 612"/>
                <a:gd name="T68" fmla="*/ 297 w 726"/>
                <a:gd name="T69" fmla="*/ 23 h 612"/>
                <a:gd name="T70" fmla="*/ 297 w 726"/>
                <a:gd name="T71" fmla="*/ 23 h 612"/>
                <a:gd name="T72" fmla="*/ 259 w 726"/>
                <a:gd name="T73" fmla="*/ 100 h 612"/>
                <a:gd name="T74" fmla="*/ 267 w 726"/>
                <a:gd name="T75" fmla="*/ 130 h 612"/>
                <a:gd name="T76" fmla="*/ 168 w 726"/>
                <a:gd name="T77" fmla="*/ 138 h 612"/>
                <a:gd name="T78" fmla="*/ 145 w 726"/>
                <a:gd name="T79" fmla="*/ 123 h 612"/>
                <a:gd name="T80" fmla="*/ 122 w 726"/>
                <a:gd name="T81" fmla="*/ 146 h 612"/>
                <a:gd name="T82" fmla="*/ 61 w 726"/>
                <a:gd name="T83" fmla="*/ 138 h 612"/>
                <a:gd name="T84" fmla="*/ 22 w 726"/>
                <a:gd name="T85" fmla="*/ 123 h 612"/>
                <a:gd name="T86" fmla="*/ 0 w 726"/>
                <a:gd name="T87" fmla="*/ 130 h 612"/>
                <a:gd name="T88" fmla="*/ 0 w 726"/>
                <a:gd name="T89" fmla="*/ 130 h 612"/>
                <a:gd name="T90" fmla="*/ 53 w 726"/>
                <a:gd name="T91" fmla="*/ 275 h 612"/>
                <a:gd name="T92" fmla="*/ 61 w 726"/>
                <a:gd name="T93" fmla="*/ 359 h 612"/>
                <a:gd name="T94" fmla="*/ 45 w 726"/>
                <a:gd name="T95" fmla="*/ 413 h 612"/>
                <a:gd name="T96" fmla="*/ 68 w 726"/>
                <a:gd name="T97" fmla="*/ 466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6" h="612">
                  <a:moveTo>
                    <a:pt x="68" y="466"/>
                  </a:moveTo>
                  <a:lnTo>
                    <a:pt x="68" y="466"/>
                  </a:lnTo>
                  <a:cubicBezTo>
                    <a:pt x="106" y="482"/>
                    <a:pt x="145" y="497"/>
                    <a:pt x="175" y="497"/>
                  </a:cubicBezTo>
                  <a:cubicBezTo>
                    <a:pt x="183" y="497"/>
                    <a:pt x="183" y="474"/>
                    <a:pt x="191" y="482"/>
                  </a:cubicBezTo>
                  <a:cubicBezTo>
                    <a:pt x="221" y="482"/>
                    <a:pt x="244" y="505"/>
                    <a:pt x="267" y="512"/>
                  </a:cubicBezTo>
                  <a:cubicBezTo>
                    <a:pt x="275" y="512"/>
                    <a:pt x="290" y="512"/>
                    <a:pt x="297" y="512"/>
                  </a:cubicBezTo>
                  <a:cubicBezTo>
                    <a:pt x="320" y="520"/>
                    <a:pt x="336" y="527"/>
                    <a:pt x="343" y="543"/>
                  </a:cubicBezTo>
                  <a:cubicBezTo>
                    <a:pt x="366" y="558"/>
                    <a:pt x="358" y="604"/>
                    <a:pt x="381" y="604"/>
                  </a:cubicBezTo>
                  <a:cubicBezTo>
                    <a:pt x="404" y="611"/>
                    <a:pt x="412" y="566"/>
                    <a:pt x="435" y="550"/>
                  </a:cubicBezTo>
                  <a:cubicBezTo>
                    <a:pt x="458" y="535"/>
                    <a:pt x="488" y="527"/>
                    <a:pt x="511" y="520"/>
                  </a:cubicBezTo>
                  <a:cubicBezTo>
                    <a:pt x="534" y="520"/>
                    <a:pt x="542" y="535"/>
                    <a:pt x="557" y="543"/>
                  </a:cubicBezTo>
                  <a:lnTo>
                    <a:pt x="557" y="543"/>
                  </a:lnTo>
                  <a:cubicBezTo>
                    <a:pt x="557" y="543"/>
                    <a:pt x="572" y="497"/>
                    <a:pt x="572" y="489"/>
                  </a:cubicBezTo>
                  <a:lnTo>
                    <a:pt x="641" y="550"/>
                  </a:lnTo>
                  <a:cubicBezTo>
                    <a:pt x="664" y="543"/>
                    <a:pt x="687" y="543"/>
                    <a:pt x="695" y="520"/>
                  </a:cubicBezTo>
                  <a:cubicBezTo>
                    <a:pt x="702" y="512"/>
                    <a:pt x="672" y="505"/>
                    <a:pt x="672" y="497"/>
                  </a:cubicBezTo>
                  <a:cubicBezTo>
                    <a:pt x="672" y="482"/>
                    <a:pt x="687" y="482"/>
                    <a:pt x="695" y="466"/>
                  </a:cubicBezTo>
                  <a:cubicBezTo>
                    <a:pt x="695" y="459"/>
                    <a:pt x="679" y="444"/>
                    <a:pt x="687" y="436"/>
                  </a:cubicBezTo>
                  <a:cubicBezTo>
                    <a:pt x="695" y="428"/>
                    <a:pt x="710" y="428"/>
                    <a:pt x="718" y="421"/>
                  </a:cubicBezTo>
                  <a:cubicBezTo>
                    <a:pt x="718" y="421"/>
                    <a:pt x="679" y="336"/>
                    <a:pt x="679" y="329"/>
                  </a:cubicBezTo>
                  <a:cubicBezTo>
                    <a:pt x="679" y="321"/>
                    <a:pt x="679" y="275"/>
                    <a:pt x="679" y="275"/>
                  </a:cubicBezTo>
                  <a:cubicBezTo>
                    <a:pt x="695" y="260"/>
                    <a:pt x="718" y="245"/>
                    <a:pt x="725" y="222"/>
                  </a:cubicBezTo>
                  <a:cubicBezTo>
                    <a:pt x="725" y="207"/>
                    <a:pt x="718" y="191"/>
                    <a:pt x="710" y="176"/>
                  </a:cubicBezTo>
                  <a:lnTo>
                    <a:pt x="710" y="176"/>
                  </a:lnTo>
                  <a:cubicBezTo>
                    <a:pt x="695" y="169"/>
                    <a:pt x="687" y="161"/>
                    <a:pt x="672" y="161"/>
                  </a:cubicBezTo>
                  <a:cubicBezTo>
                    <a:pt x="649" y="161"/>
                    <a:pt x="626" y="184"/>
                    <a:pt x="603" y="184"/>
                  </a:cubicBezTo>
                  <a:cubicBezTo>
                    <a:pt x="588" y="176"/>
                    <a:pt x="580" y="161"/>
                    <a:pt x="565" y="153"/>
                  </a:cubicBezTo>
                  <a:cubicBezTo>
                    <a:pt x="557" y="153"/>
                    <a:pt x="542" y="161"/>
                    <a:pt x="534" y="153"/>
                  </a:cubicBezTo>
                  <a:cubicBezTo>
                    <a:pt x="527" y="146"/>
                    <a:pt x="527" y="130"/>
                    <a:pt x="534" y="123"/>
                  </a:cubicBezTo>
                  <a:cubicBezTo>
                    <a:pt x="534" y="115"/>
                    <a:pt x="557" y="107"/>
                    <a:pt x="550" y="100"/>
                  </a:cubicBezTo>
                  <a:cubicBezTo>
                    <a:pt x="534" y="84"/>
                    <a:pt x="511" y="92"/>
                    <a:pt x="496" y="84"/>
                  </a:cubicBezTo>
                  <a:cubicBezTo>
                    <a:pt x="466" y="61"/>
                    <a:pt x="450" y="31"/>
                    <a:pt x="420" y="16"/>
                  </a:cubicBezTo>
                  <a:cubicBezTo>
                    <a:pt x="412" y="8"/>
                    <a:pt x="397" y="23"/>
                    <a:pt x="389" y="16"/>
                  </a:cubicBezTo>
                  <a:cubicBezTo>
                    <a:pt x="381" y="16"/>
                    <a:pt x="389" y="0"/>
                    <a:pt x="381" y="0"/>
                  </a:cubicBezTo>
                  <a:cubicBezTo>
                    <a:pt x="351" y="0"/>
                    <a:pt x="328" y="16"/>
                    <a:pt x="297" y="23"/>
                  </a:cubicBezTo>
                  <a:lnTo>
                    <a:pt x="297" y="23"/>
                  </a:lnTo>
                  <a:cubicBezTo>
                    <a:pt x="282" y="46"/>
                    <a:pt x="267" y="69"/>
                    <a:pt x="259" y="100"/>
                  </a:cubicBezTo>
                  <a:cubicBezTo>
                    <a:pt x="259" y="107"/>
                    <a:pt x="275" y="123"/>
                    <a:pt x="267" y="130"/>
                  </a:cubicBezTo>
                  <a:cubicBezTo>
                    <a:pt x="236" y="146"/>
                    <a:pt x="198" y="146"/>
                    <a:pt x="168" y="138"/>
                  </a:cubicBezTo>
                  <a:cubicBezTo>
                    <a:pt x="152" y="138"/>
                    <a:pt x="152" y="115"/>
                    <a:pt x="145" y="123"/>
                  </a:cubicBezTo>
                  <a:cubicBezTo>
                    <a:pt x="129" y="123"/>
                    <a:pt x="129" y="138"/>
                    <a:pt x="122" y="146"/>
                  </a:cubicBezTo>
                  <a:cubicBezTo>
                    <a:pt x="99" y="146"/>
                    <a:pt x="76" y="146"/>
                    <a:pt x="61" y="138"/>
                  </a:cubicBezTo>
                  <a:cubicBezTo>
                    <a:pt x="45" y="130"/>
                    <a:pt x="38" y="123"/>
                    <a:pt x="22" y="123"/>
                  </a:cubicBezTo>
                  <a:cubicBezTo>
                    <a:pt x="15" y="115"/>
                    <a:pt x="7" y="123"/>
                    <a:pt x="0" y="130"/>
                  </a:cubicBezTo>
                  <a:lnTo>
                    <a:pt x="0" y="130"/>
                  </a:lnTo>
                  <a:cubicBezTo>
                    <a:pt x="15" y="176"/>
                    <a:pt x="38" y="230"/>
                    <a:pt x="53" y="275"/>
                  </a:cubicBezTo>
                  <a:cubicBezTo>
                    <a:pt x="61" y="306"/>
                    <a:pt x="61" y="336"/>
                    <a:pt x="61" y="359"/>
                  </a:cubicBezTo>
                  <a:cubicBezTo>
                    <a:pt x="61" y="382"/>
                    <a:pt x="45" y="398"/>
                    <a:pt x="45" y="413"/>
                  </a:cubicBezTo>
                  <a:cubicBezTo>
                    <a:pt x="53" y="436"/>
                    <a:pt x="61" y="451"/>
                    <a:pt x="68" y="46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43" name="Freeform 165"/>
            <p:cNvSpPr>
              <a:spLocks noChangeArrowheads="1"/>
            </p:cNvSpPr>
            <p:nvPr/>
          </p:nvSpPr>
          <p:spPr bwMode="auto">
            <a:xfrm>
              <a:off x="4066911" y="6210301"/>
              <a:ext cx="307955" cy="284163"/>
            </a:xfrm>
            <a:custGeom>
              <a:avLst/>
              <a:gdLst>
                <a:gd name="T0" fmla="*/ 787 w 856"/>
                <a:gd name="T1" fmla="*/ 191 h 788"/>
                <a:gd name="T2" fmla="*/ 787 w 856"/>
                <a:gd name="T3" fmla="*/ 191 h 788"/>
                <a:gd name="T4" fmla="*/ 840 w 856"/>
                <a:gd name="T5" fmla="*/ 336 h 788"/>
                <a:gd name="T6" fmla="*/ 848 w 856"/>
                <a:gd name="T7" fmla="*/ 420 h 788"/>
                <a:gd name="T8" fmla="*/ 832 w 856"/>
                <a:gd name="T9" fmla="*/ 474 h 788"/>
                <a:gd name="T10" fmla="*/ 855 w 856"/>
                <a:gd name="T11" fmla="*/ 527 h 788"/>
                <a:gd name="T12" fmla="*/ 855 w 856"/>
                <a:gd name="T13" fmla="*/ 527 h 788"/>
                <a:gd name="T14" fmla="*/ 825 w 856"/>
                <a:gd name="T15" fmla="*/ 558 h 788"/>
                <a:gd name="T16" fmla="*/ 794 w 856"/>
                <a:gd name="T17" fmla="*/ 527 h 788"/>
                <a:gd name="T18" fmla="*/ 726 w 856"/>
                <a:gd name="T19" fmla="*/ 550 h 788"/>
                <a:gd name="T20" fmla="*/ 703 w 856"/>
                <a:gd name="T21" fmla="*/ 588 h 788"/>
                <a:gd name="T22" fmla="*/ 680 w 856"/>
                <a:gd name="T23" fmla="*/ 596 h 788"/>
                <a:gd name="T24" fmla="*/ 618 w 856"/>
                <a:gd name="T25" fmla="*/ 649 h 788"/>
                <a:gd name="T26" fmla="*/ 588 w 856"/>
                <a:gd name="T27" fmla="*/ 634 h 788"/>
                <a:gd name="T28" fmla="*/ 504 w 856"/>
                <a:gd name="T29" fmla="*/ 688 h 788"/>
                <a:gd name="T30" fmla="*/ 466 w 856"/>
                <a:gd name="T31" fmla="*/ 695 h 788"/>
                <a:gd name="T32" fmla="*/ 382 w 856"/>
                <a:gd name="T33" fmla="*/ 787 h 788"/>
                <a:gd name="T34" fmla="*/ 382 w 856"/>
                <a:gd name="T35" fmla="*/ 787 h 788"/>
                <a:gd name="T36" fmla="*/ 282 w 856"/>
                <a:gd name="T37" fmla="*/ 703 h 788"/>
                <a:gd name="T38" fmla="*/ 206 w 856"/>
                <a:gd name="T39" fmla="*/ 734 h 788"/>
                <a:gd name="T40" fmla="*/ 122 w 856"/>
                <a:gd name="T41" fmla="*/ 649 h 788"/>
                <a:gd name="T42" fmla="*/ 69 w 856"/>
                <a:gd name="T43" fmla="*/ 527 h 788"/>
                <a:gd name="T44" fmla="*/ 38 w 856"/>
                <a:gd name="T45" fmla="*/ 420 h 788"/>
                <a:gd name="T46" fmla="*/ 30 w 856"/>
                <a:gd name="T47" fmla="*/ 390 h 788"/>
                <a:gd name="T48" fmla="*/ 30 w 856"/>
                <a:gd name="T49" fmla="*/ 390 h 788"/>
                <a:gd name="T50" fmla="*/ 115 w 856"/>
                <a:gd name="T51" fmla="*/ 321 h 788"/>
                <a:gd name="T52" fmla="*/ 145 w 856"/>
                <a:gd name="T53" fmla="*/ 245 h 788"/>
                <a:gd name="T54" fmla="*/ 160 w 856"/>
                <a:gd name="T55" fmla="*/ 145 h 788"/>
                <a:gd name="T56" fmla="*/ 252 w 856"/>
                <a:gd name="T57" fmla="*/ 153 h 788"/>
                <a:gd name="T58" fmla="*/ 282 w 856"/>
                <a:gd name="T59" fmla="*/ 176 h 788"/>
                <a:gd name="T60" fmla="*/ 313 w 856"/>
                <a:gd name="T61" fmla="*/ 161 h 788"/>
                <a:gd name="T62" fmla="*/ 305 w 856"/>
                <a:gd name="T63" fmla="*/ 99 h 788"/>
                <a:gd name="T64" fmla="*/ 313 w 856"/>
                <a:gd name="T65" fmla="*/ 69 h 788"/>
                <a:gd name="T66" fmla="*/ 359 w 856"/>
                <a:gd name="T67" fmla="*/ 46 h 788"/>
                <a:gd name="T68" fmla="*/ 374 w 856"/>
                <a:gd name="T69" fmla="*/ 0 h 788"/>
                <a:gd name="T70" fmla="*/ 435 w 856"/>
                <a:gd name="T71" fmla="*/ 31 h 788"/>
                <a:gd name="T72" fmla="*/ 481 w 856"/>
                <a:gd name="T73" fmla="*/ 16 h 788"/>
                <a:gd name="T74" fmla="*/ 519 w 856"/>
                <a:gd name="T75" fmla="*/ 8 h 788"/>
                <a:gd name="T76" fmla="*/ 519 w 856"/>
                <a:gd name="T77" fmla="*/ 8 h 788"/>
                <a:gd name="T78" fmla="*/ 580 w 856"/>
                <a:gd name="T79" fmla="*/ 84 h 788"/>
                <a:gd name="T80" fmla="*/ 618 w 856"/>
                <a:gd name="T81" fmla="*/ 130 h 788"/>
                <a:gd name="T82" fmla="*/ 649 w 856"/>
                <a:gd name="T83" fmla="*/ 122 h 788"/>
                <a:gd name="T84" fmla="*/ 649 w 856"/>
                <a:gd name="T85" fmla="*/ 161 h 788"/>
                <a:gd name="T86" fmla="*/ 664 w 856"/>
                <a:gd name="T87" fmla="*/ 214 h 788"/>
                <a:gd name="T88" fmla="*/ 710 w 856"/>
                <a:gd name="T89" fmla="*/ 237 h 788"/>
                <a:gd name="T90" fmla="*/ 748 w 856"/>
                <a:gd name="T91" fmla="*/ 230 h 788"/>
                <a:gd name="T92" fmla="*/ 787 w 856"/>
                <a:gd name="T93" fmla="*/ 191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56" h="788">
                  <a:moveTo>
                    <a:pt x="787" y="191"/>
                  </a:moveTo>
                  <a:lnTo>
                    <a:pt x="787" y="191"/>
                  </a:lnTo>
                  <a:cubicBezTo>
                    <a:pt x="802" y="237"/>
                    <a:pt x="825" y="291"/>
                    <a:pt x="840" y="336"/>
                  </a:cubicBezTo>
                  <a:cubicBezTo>
                    <a:pt x="848" y="367"/>
                    <a:pt x="848" y="397"/>
                    <a:pt x="848" y="420"/>
                  </a:cubicBezTo>
                  <a:cubicBezTo>
                    <a:pt x="848" y="443"/>
                    <a:pt x="832" y="459"/>
                    <a:pt x="832" y="474"/>
                  </a:cubicBezTo>
                  <a:cubicBezTo>
                    <a:pt x="840" y="497"/>
                    <a:pt x="848" y="512"/>
                    <a:pt x="855" y="527"/>
                  </a:cubicBezTo>
                  <a:lnTo>
                    <a:pt x="855" y="527"/>
                  </a:lnTo>
                  <a:cubicBezTo>
                    <a:pt x="848" y="535"/>
                    <a:pt x="840" y="558"/>
                    <a:pt x="825" y="558"/>
                  </a:cubicBezTo>
                  <a:cubicBezTo>
                    <a:pt x="809" y="558"/>
                    <a:pt x="809" y="535"/>
                    <a:pt x="794" y="527"/>
                  </a:cubicBezTo>
                  <a:cubicBezTo>
                    <a:pt x="771" y="527"/>
                    <a:pt x="748" y="535"/>
                    <a:pt x="726" y="550"/>
                  </a:cubicBezTo>
                  <a:cubicBezTo>
                    <a:pt x="710" y="558"/>
                    <a:pt x="710" y="581"/>
                    <a:pt x="703" y="588"/>
                  </a:cubicBezTo>
                  <a:cubicBezTo>
                    <a:pt x="695" y="596"/>
                    <a:pt x="687" y="588"/>
                    <a:pt x="680" y="596"/>
                  </a:cubicBezTo>
                  <a:cubicBezTo>
                    <a:pt x="680" y="596"/>
                    <a:pt x="626" y="649"/>
                    <a:pt x="618" y="649"/>
                  </a:cubicBezTo>
                  <a:lnTo>
                    <a:pt x="588" y="634"/>
                  </a:lnTo>
                  <a:cubicBezTo>
                    <a:pt x="557" y="657"/>
                    <a:pt x="534" y="680"/>
                    <a:pt x="504" y="688"/>
                  </a:cubicBezTo>
                  <a:cubicBezTo>
                    <a:pt x="496" y="695"/>
                    <a:pt x="481" y="688"/>
                    <a:pt x="466" y="695"/>
                  </a:cubicBezTo>
                  <a:cubicBezTo>
                    <a:pt x="443" y="711"/>
                    <a:pt x="405" y="764"/>
                    <a:pt x="382" y="787"/>
                  </a:cubicBezTo>
                  <a:lnTo>
                    <a:pt x="382" y="787"/>
                  </a:lnTo>
                  <a:cubicBezTo>
                    <a:pt x="374" y="749"/>
                    <a:pt x="336" y="749"/>
                    <a:pt x="282" y="703"/>
                  </a:cubicBezTo>
                  <a:cubicBezTo>
                    <a:pt x="252" y="726"/>
                    <a:pt x="267" y="779"/>
                    <a:pt x="206" y="734"/>
                  </a:cubicBezTo>
                  <a:cubicBezTo>
                    <a:pt x="176" y="711"/>
                    <a:pt x="145" y="672"/>
                    <a:pt x="122" y="649"/>
                  </a:cubicBezTo>
                  <a:cubicBezTo>
                    <a:pt x="99" y="596"/>
                    <a:pt x="115" y="558"/>
                    <a:pt x="69" y="527"/>
                  </a:cubicBezTo>
                  <a:cubicBezTo>
                    <a:pt x="0" y="482"/>
                    <a:pt x="53" y="474"/>
                    <a:pt x="38" y="420"/>
                  </a:cubicBezTo>
                  <a:cubicBezTo>
                    <a:pt x="30" y="390"/>
                    <a:pt x="30" y="390"/>
                    <a:pt x="30" y="390"/>
                  </a:cubicBezTo>
                  <a:lnTo>
                    <a:pt x="30" y="390"/>
                  </a:lnTo>
                  <a:cubicBezTo>
                    <a:pt x="46" y="367"/>
                    <a:pt x="99" y="344"/>
                    <a:pt x="115" y="321"/>
                  </a:cubicBezTo>
                  <a:cubicBezTo>
                    <a:pt x="130" y="298"/>
                    <a:pt x="137" y="268"/>
                    <a:pt x="145" y="245"/>
                  </a:cubicBezTo>
                  <a:cubicBezTo>
                    <a:pt x="153" y="207"/>
                    <a:pt x="137" y="161"/>
                    <a:pt x="160" y="145"/>
                  </a:cubicBezTo>
                  <a:cubicBezTo>
                    <a:pt x="183" y="122"/>
                    <a:pt x="221" y="145"/>
                    <a:pt x="252" y="153"/>
                  </a:cubicBezTo>
                  <a:cubicBezTo>
                    <a:pt x="267" y="161"/>
                    <a:pt x="267" y="176"/>
                    <a:pt x="282" y="176"/>
                  </a:cubicBezTo>
                  <a:cubicBezTo>
                    <a:pt x="290" y="176"/>
                    <a:pt x="313" y="176"/>
                    <a:pt x="313" y="161"/>
                  </a:cubicBezTo>
                  <a:cubicBezTo>
                    <a:pt x="321" y="145"/>
                    <a:pt x="305" y="122"/>
                    <a:pt x="305" y="99"/>
                  </a:cubicBezTo>
                  <a:cubicBezTo>
                    <a:pt x="305" y="92"/>
                    <a:pt x="305" y="77"/>
                    <a:pt x="313" y="69"/>
                  </a:cubicBezTo>
                  <a:cubicBezTo>
                    <a:pt x="328" y="54"/>
                    <a:pt x="344" y="61"/>
                    <a:pt x="359" y="46"/>
                  </a:cubicBezTo>
                  <a:cubicBezTo>
                    <a:pt x="366" y="38"/>
                    <a:pt x="359" y="8"/>
                    <a:pt x="374" y="0"/>
                  </a:cubicBezTo>
                  <a:cubicBezTo>
                    <a:pt x="397" y="0"/>
                    <a:pt x="412" y="31"/>
                    <a:pt x="435" y="31"/>
                  </a:cubicBezTo>
                  <a:cubicBezTo>
                    <a:pt x="451" y="31"/>
                    <a:pt x="466" y="23"/>
                    <a:pt x="481" y="16"/>
                  </a:cubicBezTo>
                  <a:cubicBezTo>
                    <a:pt x="496" y="16"/>
                    <a:pt x="504" y="8"/>
                    <a:pt x="519" y="8"/>
                  </a:cubicBezTo>
                  <a:lnTo>
                    <a:pt x="519" y="8"/>
                  </a:lnTo>
                  <a:cubicBezTo>
                    <a:pt x="542" y="31"/>
                    <a:pt x="557" y="61"/>
                    <a:pt x="580" y="84"/>
                  </a:cubicBezTo>
                  <a:cubicBezTo>
                    <a:pt x="588" y="99"/>
                    <a:pt x="603" y="115"/>
                    <a:pt x="618" y="130"/>
                  </a:cubicBezTo>
                  <a:cubicBezTo>
                    <a:pt x="626" y="130"/>
                    <a:pt x="641" y="115"/>
                    <a:pt x="649" y="122"/>
                  </a:cubicBezTo>
                  <a:cubicBezTo>
                    <a:pt x="657" y="130"/>
                    <a:pt x="649" y="153"/>
                    <a:pt x="649" y="161"/>
                  </a:cubicBezTo>
                  <a:cubicBezTo>
                    <a:pt x="657" y="184"/>
                    <a:pt x="649" y="199"/>
                    <a:pt x="664" y="214"/>
                  </a:cubicBezTo>
                  <a:cubicBezTo>
                    <a:pt x="672" y="230"/>
                    <a:pt x="695" y="237"/>
                    <a:pt x="710" y="237"/>
                  </a:cubicBezTo>
                  <a:cubicBezTo>
                    <a:pt x="726" y="245"/>
                    <a:pt x="741" y="237"/>
                    <a:pt x="748" y="230"/>
                  </a:cubicBezTo>
                  <a:cubicBezTo>
                    <a:pt x="764" y="222"/>
                    <a:pt x="771" y="207"/>
                    <a:pt x="787" y="19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44" name="Freeform 166"/>
            <p:cNvSpPr>
              <a:spLocks noChangeArrowheads="1"/>
            </p:cNvSpPr>
            <p:nvPr/>
          </p:nvSpPr>
          <p:spPr bwMode="auto">
            <a:xfrm>
              <a:off x="4243112" y="6083301"/>
              <a:ext cx="214298" cy="214313"/>
            </a:xfrm>
            <a:custGeom>
              <a:avLst/>
              <a:gdLst>
                <a:gd name="T0" fmla="*/ 30 w 596"/>
                <a:gd name="T1" fmla="*/ 359 h 597"/>
                <a:gd name="T2" fmla="*/ 30 w 596"/>
                <a:gd name="T3" fmla="*/ 359 h 597"/>
                <a:gd name="T4" fmla="*/ 91 w 596"/>
                <a:gd name="T5" fmla="*/ 435 h 597"/>
                <a:gd name="T6" fmla="*/ 129 w 596"/>
                <a:gd name="T7" fmla="*/ 481 h 597"/>
                <a:gd name="T8" fmla="*/ 160 w 596"/>
                <a:gd name="T9" fmla="*/ 473 h 597"/>
                <a:gd name="T10" fmla="*/ 160 w 596"/>
                <a:gd name="T11" fmla="*/ 512 h 597"/>
                <a:gd name="T12" fmla="*/ 175 w 596"/>
                <a:gd name="T13" fmla="*/ 565 h 597"/>
                <a:gd name="T14" fmla="*/ 221 w 596"/>
                <a:gd name="T15" fmla="*/ 588 h 597"/>
                <a:gd name="T16" fmla="*/ 259 w 596"/>
                <a:gd name="T17" fmla="*/ 581 h 597"/>
                <a:gd name="T18" fmla="*/ 298 w 596"/>
                <a:gd name="T19" fmla="*/ 542 h 597"/>
                <a:gd name="T20" fmla="*/ 298 w 596"/>
                <a:gd name="T21" fmla="*/ 542 h 597"/>
                <a:gd name="T22" fmla="*/ 320 w 596"/>
                <a:gd name="T23" fmla="*/ 535 h 597"/>
                <a:gd name="T24" fmla="*/ 359 w 596"/>
                <a:gd name="T25" fmla="*/ 550 h 597"/>
                <a:gd name="T26" fmla="*/ 420 w 596"/>
                <a:gd name="T27" fmla="*/ 558 h 597"/>
                <a:gd name="T28" fmla="*/ 443 w 596"/>
                <a:gd name="T29" fmla="*/ 535 h 597"/>
                <a:gd name="T30" fmla="*/ 466 w 596"/>
                <a:gd name="T31" fmla="*/ 550 h 597"/>
                <a:gd name="T32" fmla="*/ 565 w 596"/>
                <a:gd name="T33" fmla="*/ 542 h 597"/>
                <a:gd name="T34" fmla="*/ 557 w 596"/>
                <a:gd name="T35" fmla="*/ 512 h 597"/>
                <a:gd name="T36" fmla="*/ 595 w 596"/>
                <a:gd name="T37" fmla="*/ 435 h 597"/>
                <a:gd name="T38" fmla="*/ 595 w 596"/>
                <a:gd name="T39" fmla="*/ 435 h 597"/>
                <a:gd name="T40" fmla="*/ 550 w 596"/>
                <a:gd name="T41" fmla="*/ 367 h 597"/>
                <a:gd name="T42" fmla="*/ 527 w 596"/>
                <a:gd name="T43" fmla="*/ 306 h 597"/>
                <a:gd name="T44" fmla="*/ 550 w 596"/>
                <a:gd name="T45" fmla="*/ 267 h 597"/>
                <a:gd name="T46" fmla="*/ 496 w 596"/>
                <a:gd name="T47" fmla="*/ 206 h 597"/>
                <a:gd name="T48" fmla="*/ 489 w 596"/>
                <a:gd name="T49" fmla="*/ 107 h 597"/>
                <a:gd name="T50" fmla="*/ 443 w 596"/>
                <a:gd name="T51" fmla="*/ 53 h 597"/>
                <a:gd name="T52" fmla="*/ 443 w 596"/>
                <a:gd name="T53" fmla="*/ 53 h 597"/>
                <a:gd name="T54" fmla="*/ 412 w 596"/>
                <a:gd name="T55" fmla="*/ 8 h 597"/>
                <a:gd name="T56" fmla="*/ 252 w 596"/>
                <a:gd name="T57" fmla="*/ 69 h 597"/>
                <a:gd name="T58" fmla="*/ 252 w 596"/>
                <a:gd name="T59" fmla="*/ 69 h 597"/>
                <a:gd name="T60" fmla="*/ 68 w 596"/>
                <a:gd name="T61" fmla="*/ 145 h 597"/>
                <a:gd name="T62" fmla="*/ 68 w 596"/>
                <a:gd name="T63" fmla="*/ 145 h 597"/>
                <a:gd name="T64" fmla="*/ 7 w 596"/>
                <a:gd name="T65" fmla="*/ 229 h 597"/>
                <a:gd name="T66" fmla="*/ 30 w 596"/>
                <a:gd name="T67" fmla="*/ 359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6" h="597">
                  <a:moveTo>
                    <a:pt x="30" y="359"/>
                  </a:moveTo>
                  <a:lnTo>
                    <a:pt x="30" y="359"/>
                  </a:lnTo>
                  <a:cubicBezTo>
                    <a:pt x="53" y="382"/>
                    <a:pt x="68" y="412"/>
                    <a:pt x="91" y="435"/>
                  </a:cubicBezTo>
                  <a:cubicBezTo>
                    <a:pt x="99" y="450"/>
                    <a:pt x="114" y="466"/>
                    <a:pt x="129" y="481"/>
                  </a:cubicBezTo>
                  <a:cubicBezTo>
                    <a:pt x="137" y="481"/>
                    <a:pt x="152" y="466"/>
                    <a:pt x="160" y="473"/>
                  </a:cubicBezTo>
                  <a:cubicBezTo>
                    <a:pt x="168" y="481"/>
                    <a:pt x="160" y="504"/>
                    <a:pt x="160" y="512"/>
                  </a:cubicBezTo>
                  <a:cubicBezTo>
                    <a:pt x="168" y="535"/>
                    <a:pt x="160" y="550"/>
                    <a:pt x="175" y="565"/>
                  </a:cubicBezTo>
                  <a:cubicBezTo>
                    <a:pt x="183" y="581"/>
                    <a:pt x="206" y="588"/>
                    <a:pt x="221" y="588"/>
                  </a:cubicBezTo>
                  <a:cubicBezTo>
                    <a:pt x="237" y="596"/>
                    <a:pt x="252" y="588"/>
                    <a:pt x="259" y="581"/>
                  </a:cubicBezTo>
                  <a:cubicBezTo>
                    <a:pt x="275" y="573"/>
                    <a:pt x="282" y="558"/>
                    <a:pt x="298" y="542"/>
                  </a:cubicBezTo>
                  <a:lnTo>
                    <a:pt x="298" y="542"/>
                  </a:lnTo>
                  <a:cubicBezTo>
                    <a:pt x="305" y="535"/>
                    <a:pt x="313" y="527"/>
                    <a:pt x="320" y="535"/>
                  </a:cubicBezTo>
                  <a:cubicBezTo>
                    <a:pt x="336" y="535"/>
                    <a:pt x="343" y="542"/>
                    <a:pt x="359" y="550"/>
                  </a:cubicBezTo>
                  <a:cubicBezTo>
                    <a:pt x="374" y="558"/>
                    <a:pt x="397" y="558"/>
                    <a:pt x="420" y="558"/>
                  </a:cubicBezTo>
                  <a:cubicBezTo>
                    <a:pt x="427" y="550"/>
                    <a:pt x="427" y="535"/>
                    <a:pt x="443" y="535"/>
                  </a:cubicBezTo>
                  <a:cubicBezTo>
                    <a:pt x="450" y="527"/>
                    <a:pt x="450" y="550"/>
                    <a:pt x="466" y="550"/>
                  </a:cubicBezTo>
                  <a:cubicBezTo>
                    <a:pt x="496" y="558"/>
                    <a:pt x="534" y="558"/>
                    <a:pt x="565" y="542"/>
                  </a:cubicBezTo>
                  <a:cubicBezTo>
                    <a:pt x="573" y="535"/>
                    <a:pt x="557" y="519"/>
                    <a:pt x="557" y="512"/>
                  </a:cubicBezTo>
                  <a:cubicBezTo>
                    <a:pt x="565" y="481"/>
                    <a:pt x="580" y="458"/>
                    <a:pt x="595" y="435"/>
                  </a:cubicBezTo>
                  <a:lnTo>
                    <a:pt x="595" y="435"/>
                  </a:lnTo>
                  <a:cubicBezTo>
                    <a:pt x="580" y="412"/>
                    <a:pt x="565" y="389"/>
                    <a:pt x="550" y="367"/>
                  </a:cubicBezTo>
                  <a:cubicBezTo>
                    <a:pt x="542" y="351"/>
                    <a:pt x="527" y="328"/>
                    <a:pt x="527" y="306"/>
                  </a:cubicBezTo>
                  <a:cubicBezTo>
                    <a:pt x="527" y="290"/>
                    <a:pt x="557" y="283"/>
                    <a:pt x="550" y="267"/>
                  </a:cubicBezTo>
                  <a:cubicBezTo>
                    <a:pt x="542" y="237"/>
                    <a:pt x="504" y="229"/>
                    <a:pt x="496" y="206"/>
                  </a:cubicBezTo>
                  <a:cubicBezTo>
                    <a:pt x="489" y="176"/>
                    <a:pt x="504" y="137"/>
                    <a:pt x="489" y="107"/>
                  </a:cubicBezTo>
                  <a:cubicBezTo>
                    <a:pt x="481" y="84"/>
                    <a:pt x="458" y="69"/>
                    <a:pt x="443" y="53"/>
                  </a:cubicBezTo>
                  <a:lnTo>
                    <a:pt x="443" y="53"/>
                  </a:lnTo>
                  <a:cubicBezTo>
                    <a:pt x="427" y="38"/>
                    <a:pt x="427" y="0"/>
                    <a:pt x="412" y="8"/>
                  </a:cubicBezTo>
                  <a:cubicBezTo>
                    <a:pt x="359" y="8"/>
                    <a:pt x="305" y="46"/>
                    <a:pt x="252" y="69"/>
                  </a:cubicBezTo>
                  <a:lnTo>
                    <a:pt x="252" y="69"/>
                  </a:lnTo>
                  <a:cubicBezTo>
                    <a:pt x="68" y="145"/>
                    <a:pt x="68" y="145"/>
                    <a:pt x="68" y="145"/>
                  </a:cubicBezTo>
                  <a:lnTo>
                    <a:pt x="68" y="145"/>
                  </a:lnTo>
                  <a:cubicBezTo>
                    <a:pt x="45" y="176"/>
                    <a:pt x="15" y="198"/>
                    <a:pt x="7" y="229"/>
                  </a:cubicBezTo>
                  <a:cubicBezTo>
                    <a:pt x="0" y="275"/>
                    <a:pt x="23" y="313"/>
                    <a:pt x="30" y="359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45" name="Freeform 167"/>
            <p:cNvSpPr>
              <a:spLocks noChangeArrowheads="1"/>
            </p:cNvSpPr>
            <p:nvPr/>
          </p:nvSpPr>
          <p:spPr bwMode="auto">
            <a:xfrm>
              <a:off x="4536779" y="6180139"/>
              <a:ext cx="293669" cy="327025"/>
            </a:xfrm>
            <a:custGeom>
              <a:avLst/>
              <a:gdLst>
                <a:gd name="T0" fmla="*/ 191 w 818"/>
                <a:gd name="T1" fmla="*/ 321 h 910"/>
                <a:gd name="T2" fmla="*/ 191 w 818"/>
                <a:gd name="T3" fmla="*/ 321 h 910"/>
                <a:gd name="T4" fmla="*/ 206 w 818"/>
                <a:gd name="T5" fmla="*/ 367 h 910"/>
                <a:gd name="T6" fmla="*/ 160 w 818"/>
                <a:gd name="T7" fmla="*/ 420 h 910"/>
                <a:gd name="T8" fmla="*/ 160 w 818"/>
                <a:gd name="T9" fmla="*/ 474 h 910"/>
                <a:gd name="T10" fmla="*/ 199 w 818"/>
                <a:gd name="T11" fmla="*/ 566 h 910"/>
                <a:gd name="T12" fmla="*/ 168 w 818"/>
                <a:gd name="T13" fmla="*/ 581 h 910"/>
                <a:gd name="T14" fmla="*/ 176 w 818"/>
                <a:gd name="T15" fmla="*/ 611 h 910"/>
                <a:gd name="T16" fmla="*/ 153 w 818"/>
                <a:gd name="T17" fmla="*/ 642 h 910"/>
                <a:gd name="T18" fmla="*/ 176 w 818"/>
                <a:gd name="T19" fmla="*/ 665 h 910"/>
                <a:gd name="T20" fmla="*/ 122 w 818"/>
                <a:gd name="T21" fmla="*/ 695 h 910"/>
                <a:gd name="T22" fmla="*/ 53 w 818"/>
                <a:gd name="T23" fmla="*/ 634 h 910"/>
                <a:gd name="T24" fmla="*/ 38 w 818"/>
                <a:gd name="T25" fmla="*/ 688 h 910"/>
                <a:gd name="T26" fmla="*/ 38 w 818"/>
                <a:gd name="T27" fmla="*/ 688 h 910"/>
                <a:gd name="T28" fmla="*/ 8 w 818"/>
                <a:gd name="T29" fmla="*/ 718 h 910"/>
                <a:gd name="T30" fmla="*/ 15 w 818"/>
                <a:gd name="T31" fmla="*/ 733 h 910"/>
                <a:gd name="T32" fmla="*/ 76 w 818"/>
                <a:gd name="T33" fmla="*/ 894 h 910"/>
                <a:gd name="T34" fmla="*/ 114 w 818"/>
                <a:gd name="T35" fmla="*/ 848 h 910"/>
                <a:gd name="T36" fmla="*/ 145 w 818"/>
                <a:gd name="T37" fmla="*/ 848 h 910"/>
                <a:gd name="T38" fmla="*/ 176 w 818"/>
                <a:gd name="T39" fmla="*/ 833 h 910"/>
                <a:gd name="T40" fmla="*/ 275 w 818"/>
                <a:gd name="T41" fmla="*/ 863 h 910"/>
                <a:gd name="T42" fmla="*/ 275 w 818"/>
                <a:gd name="T43" fmla="*/ 863 h 910"/>
                <a:gd name="T44" fmla="*/ 267 w 818"/>
                <a:gd name="T45" fmla="*/ 818 h 910"/>
                <a:gd name="T46" fmla="*/ 351 w 818"/>
                <a:gd name="T47" fmla="*/ 703 h 910"/>
                <a:gd name="T48" fmla="*/ 603 w 818"/>
                <a:gd name="T49" fmla="*/ 703 h 910"/>
                <a:gd name="T50" fmla="*/ 657 w 818"/>
                <a:gd name="T51" fmla="*/ 695 h 910"/>
                <a:gd name="T52" fmla="*/ 664 w 818"/>
                <a:gd name="T53" fmla="*/ 650 h 910"/>
                <a:gd name="T54" fmla="*/ 817 w 818"/>
                <a:gd name="T55" fmla="*/ 466 h 910"/>
                <a:gd name="T56" fmla="*/ 779 w 818"/>
                <a:gd name="T57" fmla="*/ 329 h 910"/>
                <a:gd name="T58" fmla="*/ 626 w 818"/>
                <a:gd name="T59" fmla="*/ 352 h 910"/>
                <a:gd name="T60" fmla="*/ 634 w 818"/>
                <a:gd name="T61" fmla="*/ 291 h 910"/>
                <a:gd name="T62" fmla="*/ 657 w 818"/>
                <a:gd name="T63" fmla="*/ 145 h 910"/>
                <a:gd name="T64" fmla="*/ 649 w 818"/>
                <a:gd name="T65" fmla="*/ 92 h 910"/>
                <a:gd name="T66" fmla="*/ 649 w 818"/>
                <a:gd name="T67" fmla="*/ 92 h 910"/>
                <a:gd name="T68" fmla="*/ 550 w 818"/>
                <a:gd name="T69" fmla="*/ 122 h 910"/>
                <a:gd name="T70" fmla="*/ 535 w 818"/>
                <a:gd name="T71" fmla="*/ 77 h 910"/>
                <a:gd name="T72" fmla="*/ 443 w 818"/>
                <a:gd name="T73" fmla="*/ 77 h 910"/>
                <a:gd name="T74" fmla="*/ 412 w 818"/>
                <a:gd name="T75" fmla="*/ 39 h 910"/>
                <a:gd name="T76" fmla="*/ 389 w 818"/>
                <a:gd name="T77" fmla="*/ 0 h 910"/>
                <a:gd name="T78" fmla="*/ 389 w 818"/>
                <a:gd name="T79" fmla="*/ 0 h 910"/>
                <a:gd name="T80" fmla="*/ 313 w 818"/>
                <a:gd name="T81" fmla="*/ 39 h 910"/>
                <a:gd name="T82" fmla="*/ 313 w 818"/>
                <a:gd name="T83" fmla="*/ 39 h 910"/>
                <a:gd name="T84" fmla="*/ 260 w 818"/>
                <a:gd name="T85" fmla="*/ 92 h 910"/>
                <a:gd name="T86" fmla="*/ 244 w 818"/>
                <a:gd name="T87" fmla="*/ 130 h 910"/>
                <a:gd name="T88" fmla="*/ 237 w 818"/>
                <a:gd name="T89" fmla="*/ 161 h 910"/>
                <a:gd name="T90" fmla="*/ 221 w 818"/>
                <a:gd name="T91" fmla="*/ 176 h 910"/>
                <a:gd name="T92" fmla="*/ 206 w 818"/>
                <a:gd name="T93" fmla="*/ 222 h 910"/>
                <a:gd name="T94" fmla="*/ 206 w 818"/>
                <a:gd name="T95" fmla="*/ 252 h 910"/>
                <a:gd name="T96" fmla="*/ 214 w 818"/>
                <a:gd name="T97" fmla="*/ 275 h 910"/>
                <a:gd name="T98" fmla="*/ 191 w 818"/>
                <a:gd name="T99" fmla="*/ 321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18" h="910">
                  <a:moveTo>
                    <a:pt x="191" y="321"/>
                  </a:moveTo>
                  <a:lnTo>
                    <a:pt x="191" y="321"/>
                  </a:lnTo>
                  <a:cubicBezTo>
                    <a:pt x="199" y="336"/>
                    <a:pt x="206" y="352"/>
                    <a:pt x="206" y="367"/>
                  </a:cubicBezTo>
                  <a:cubicBezTo>
                    <a:pt x="199" y="390"/>
                    <a:pt x="176" y="405"/>
                    <a:pt x="160" y="420"/>
                  </a:cubicBezTo>
                  <a:cubicBezTo>
                    <a:pt x="160" y="420"/>
                    <a:pt x="160" y="466"/>
                    <a:pt x="160" y="474"/>
                  </a:cubicBezTo>
                  <a:cubicBezTo>
                    <a:pt x="160" y="481"/>
                    <a:pt x="199" y="566"/>
                    <a:pt x="199" y="566"/>
                  </a:cubicBezTo>
                  <a:cubicBezTo>
                    <a:pt x="191" y="573"/>
                    <a:pt x="176" y="573"/>
                    <a:pt x="168" y="581"/>
                  </a:cubicBezTo>
                  <a:cubicBezTo>
                    <a:pt x="160" y="589"/>
                    <a:pt x="176" y="604"/>
                    <a:pt x="176" y="611"/>
                  </a:cubicBezTo>
                  <a:cubicBezTo>
                    <a:pt x="168" y="627"/>
                    <a:pt x="153" y="627"/>
                    <a:pt x="153" y="642"/>
                  </a:cubicBezTo>
                  <a:cubicBezTo>
                    <a:pt x="153" y="650"/>
                    <a:pt x="183" y="657"/>
                    <a:pt x="176" y="665"/>
                  </a:cubicBezTo>
                  <a:cubicBezTo>
                    <a:pt x="168" y="688"/>
                    <a:pt x="145" y="688"/>
                    <a:pt x="122" y="695"/>
                  </a:cubicBezTo>
                  <a:lnTo>
                    <a:pt x="53" y="634"/>
                  </a:lnTo>
                  <a:cubicBezTo>
                    <a:pt x="53" y="642"/>
                    <a:pt x="38" y="688"/>
                    <a:pt x="38" y="688"/>
                  </a:cubicBezTo>
                  <a:lnTo>
                    <a:pt x="38" y="688"/>
                  </a:lnTo>
                  <a:cubicBezTo>
                    <a:pt x="31" y="695"/>
                    <a:pt x="15" y="703"/>
                    <a:pt x="8" y="718"/>
                  </a:cubicBezTo>
                  <a:cubicBezTo>
                    <a:pt x="0" y="726"/>
                    <a:pt x="15" y="726"/>
                    <a:pt x="15" y="733"/>
                  </a:cubicBezTo>
                  <a:cubicBezTo>
                    <a:pt x="38" y="787"/>
                    <a:pt x="38" y="856"/>
                    <a:pt x="76" y="894"/>
                  </a:cubicBezTo>
                  <a:cubicBezTo>
                    <a:pt x="92" y="909"/>
                    <a:pt x="99" y="856"/>
                    <a:pt x="114" y="848"/>
                  </a:cubicBezTo>
                  <a:cubicBezTo>
                    <a:pt x="122" y="841"/>
                    <a:pt x="137" y="856"/>
                    <a:pt x="145" y="848"/>
                  </a:cubicBezTo>
                  <a:cubicBezTo>
                    <a:pt x="153" y="848"/>
                    <a:pt x="160" y="833"/>
                    <a:pt x="176" y="833"/>
                  </a:cubicBezTo>
                  <a:cubicBezTo>
                    <a:pt x="199" y="841"/>
                    <a:pt x="252" y="863"/>
                    <a:pt x="275" y="863"/>
                  </a:cubicBezTo>
                  <a:lnTo>
                    <a:pt x="275" y="863"/>
                  </a:lnTo>
                  <a:cubicBezTo>
                    <a:pt x="275" y="841"/>
                    <a:pt x="275" y="825"/>
                    <a:pt x="267" y="818"/>
                  </a:cubicBezTo>
                  <a:cubicBezTo>
                    <a:pt x="221" y="764"/>
                    <a:pt x="298" y="718"/>
                    <a:pt x="351" y="703"/>
                  </a:cubicBezTo>
                  <a:cubicBezTo>
                    <a:pt x="397" y="695"/>
                    <a:pt x="581" y="627"/>
                    <a:pt x="603" y="703"/>
                  </a:cubicBezTo>
                  <a:cubicBezTo>
                    <a:pt x="619" y="772"/>
                    <a:pt x="642" y="726"/>
                    <a:pt x="657" y="695"/>
                  </a:cubicBezTo>
                  <a:cubicBezTo>
                    <a:pt x="664" y="688"/>
                    <a:pt x="664" y="650"/>
                    <a:pt x="664" y="650"/>
                  </a:cubicBezTo>
                  <a:cubicBezTo>
                    <a:pt x="687" y="726"/>
                    <a:pt x="810" y="512"/>
                    <a:pt x="817" y="466"/>
                  </a:cubicBezTo>
                  <a:cubicBezTo>
                    <a:pt x="817" y="413"/>
                    <a:pt x="817" y="367"/>
                    <a:pt x="779" y="329"/>
                  </a:cubicBezTo>
                  <a:cubicBezTo>
                    <a:pt x="733" y="275"/>
                    <a:pt x="672" y="344"/>
                    <a:pt x="626" y="352"/>
                  </a:cubicBezTo>
                  <a:cubicBezTo>
                    <a:pt x="573" y="367"/>
                    <a:pt x="611" y="306"/>
                    <a:pt x="634" y="291"/>
                  </a:cubicBezTo>
                  <a:cubicBezTo>
                    <a:pt x="657" y="268"/>
                    <a:pt x="657" y="183"/>
                    <a:pt x="657" y="145"/>
                  </a:cubicBezTo>
                  <a:cubicBezTo>
                    <a:pt x="657" y="138"/>
                    <a:pt x="649" y="115"/>
                    <a:pt x="649" y="92"/>
                  </a:cubicBezTo>
                  <a:lnTo>
                    <a:pt x="649" y="92"/>
                  </a:lnTo>
                  <a:cubicBezTo>
                    <a:pt x="634" y="100"/>
                    <a:pt x="565" y="130"/>
                    <a:pt x="550" y="122"/>
                  </a:cubicBezTo>
                  <a:cubicBezTo>
                    <a:pt x="535" y="115"/>
                    <a:pt x="550" y="84"/>
                    <a:pt x="535" y="77"/>
                  </a:cubicBezTo>
                  <a:cubicBezTo>
                    <a:pt x="504" y="69"/>
                    <a:pt x="473" y="92"/>
                    <a:pt x="443" y="77"/>
                  </a:cubicBezTo>
                  <a:cubicBezTo>
                    <a:pt x="428" y="69"/>
                    <a:pt x="420" y="54"/>
                    <a:pt x="412" y="39"/>
                  </a:cubicBezTo>
                  <a:cubicBezTo>
                    <a:pt x="405" y="23"/>
                    <a:pt x="397" y="8"/>
                    <a:pt x="389" y="0"/>
                  </a:cubicBezTo>
                  <a:lnTo>
                    <a:pt x="389" y="0"/>
                  </a:lnTo>
                  <a:cubicBezTo>
                    <a:pt x="313" y="39"/>
                    <a:pt x="313" y="39"/>
                    <a:pt x="313" y="39"/>
                  </a:cubicBezTo>
                  <a:lnTo>
                    <a:pt x="313" y="39"/>
                  </a:lnTo>
                  <a:cubicBezTo>
                    <a:pt x="298" y="54"/>
                    <a:pt x="275" y="69"/>
                    <a:pt x="260" y="92"/>
                  </a:cubicBezTo>
                  <a:cubicBezTo>
                    <a:pt x="252" y="100"/>
                    <a:pt x="252" y="115"/>
                    <a:pt x="244" y="130"/>
                  </a:cubicBezTo>
                  <a:cubicBezTo>
                    <a:pt x="244" y="138"/>
                    <a:pt x="244" y="153"/>
                    <a:pt x="237" y="161"/>
                  </a:cubicBezTo>
                  <a:cubicBezTo>
                    <a:pt x="237" y="168"/>
                    <a:pt x="229" y="168"/>
                    <a:pt x="221" y="176"/>
                  </a:cubicBezTo>
                  <a:cubicBezTo>
                    <a:pt x="214" y="191"/>
                    <a:pt x="206" y="206"/>
                    <a:pt x="206" y="222"/>
                  </a:cubicBezTo>
                  <a:cubicBezTo>
                    <a:pt x="199" y="229"/>
                    <a:pt x="199" y="245"/>
                    <a:pt x="206" y="252"/>
                  </a:cubicBezTo>
                  <a:cubicBezTo>
                    <a:pt x="206" y="260"/>
                    <a:pt x="214" y="268"/>
                    <a:pt x="214" y="275"/>
                  </a:cubicBezTo>
                  <a:cubicBezTo>
                    <a:pt x="206" y="291"/>
                    <a:pt x="199" y="306"/>
                    <a:pt x="191" y="32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46" name="Freeform 168"/>
            <p:cNvSpPr>
              <a:spLocks noChangeArrowheads="1"/>
            </p:cNvSpPr>
            <p:nvPr/>
          </p:nvSpPr>
          <p:spPr bwMode="auto">
            <a:xfrm>
              <a:off x="4401851" y="6049963"/>
              <a:ext cx="247634" cy="247650"/>
            </a:xfrm>
            <a:custGeom>
              <a:avLst/>
              <a:gdLst>
                <a:gd name="T0" fmla="*/ 0 w 688"/>
                <a:gd name="T1" fmla="*/ 145 h 689"/>
                <a:gd name="T2" fmla="*/ 0 w 688"/>
                <a:gd name="T3" fmla="*/ 145 h 689"/>
                <a:gd name="T4" fmla="*/ 46 w 688"/>
                <a:gd name="T5" fmla="*/ 199 h 689"/>
                <a:gd name="T6" fmla="*/ 53 w 688"/>
                <a:gd name="T7" fmla="*/ 298 h 689"/>
                <a:gd name="T8" fmla="*/ 107 w 688"/>
                <a:gd name="T9" fmla="*/ 359 h 689"/>
                <a:gd name="T10" fmla="*/ 84 w 688"/>
                <a:gd name="T11" fmla="*/ 398 h 689"/>
                <a:gd name="T12" fmla="*/ 107 w 688"/>
                <a:gd name="T13" fmla="*/ 459 h 689"/>
                <a:gd name="T14" fmla="*/ 152 w 688"/>
                <a:gd name="T15" fmla="*/ 527 h 689"/>
                <a:gd name="T16" fmla="*/ 152 w 688"/>
                <a:gd name="T17" fmla="*/ 527 h 689"/>
                <a:gd name="T18" fmla="*/ 236 w 688"/>
                <a:gd name="T19" fmla="*/ 504 h 689"/>
                <a:gd name="T20" fmla="*/ 244 w 688"/>
                <a:gd name="T21" fmla="*/ 520 h 689"/>
                <a:gd name="T22" fmla="*/ 275 w 688"/>
                <a:gd name="T23" fmla="*/ 520 h 689"/>
                <a:gd name="T24" fmla="*/ 351 w 688"/>
                <a:gd name="T25" fmla="*/ 588 h 689"/>
                <a:gd name="T26" fmla="*/ 405 w 688"/>
                <a:gd name="T27" fmla="*/ 604 h 689"/>
                <a:gd name="T28" fmla="*/ 389 w 688"/>
                <a:gd name="T29" fmla="*/ 627 h 689"/>
                <a:gd name="T30" fmla="*/ 389 w 688"/>
                <a:gd name="T31" fmla="*/ 657 h 689"/>
                <a:gd name="T32" fmla="*/ 420 w 688"/>
                <a:gd name="T33" fmla="*/ 657 h 689"/>
                <a:gd name="T34" fmla="*/ 458 w 688"/>
                <a:gd name="T35" fmla="*/ 688 h 689"/>
                <a:gd name="T36" fmla="*/ 527 w 688"/>
                <a:gd name="T37" fmla="*/ 665 h 689"/>
                <a:gd name="T38" fmla="*/ 565 w 688"/>
                <a:gd name="T39" fmla="*/ 680 h 689"/>
                <a:gd name="T40" fmla="*/ 565 w 688"/>
                <a:gd name="T41" fmla="*/ 680 h 689"/>
                <a:gd name="T42" fmla="*/ 588 w 688"/>
                <a:gd name="T43" fmla="*/ 634 h 689"/>
                <a:gd name="T44" fmla="*/ 580 w 688"/>
                <a:gd name="T45" fmla="*/ 611 h 689"/>
                <a:gd name="T46" fmla="*/ 580 w 688"/>
                <a:gd name="T47" fmla="*/ 581 h 689"/>
                <a:gd name="T48" fmla="*/ 595 w 688"/>
                <a:gd name="T49" fmla="*/ 535 h 689"/>
                <a:gd name="T50" fmla="*/ 611 w 688"/>
                <a:gd name="T51" fmla="*/ 520 h 689"/>
                <a:gd name="T52" fmla="*/ 618 w 688"/>
                <a:gd name="T53" fmla="*/ 489 h 689"/>
                <a:gd name="T54" fmla="*/ 634 w 688"/>
                <a:gd name="T55" fmla="*/ 451 h 689"/>
                <a:gd name="T56" fmla="*/ 687 w 688"/>
                <a:gd name="T57" fmla="*/ 398 h 689"/>
                <a:gd name="T58" fmla="*/ 687 w 688"/>
                <a:gd name="T59" fmla="*/ 398 h 689"/>
                <a:gd name="T60" fmla="*/ 664 w 688"/>
                <a:gd name="T61" fmla="*/ 390 h 689"/>
                <a:gd name="T62" fmla="*/ 657 w 688"/>
                <a:gd name="T63" fmla="*/ 352 h 689"/>
                <a:gd name="T64" fmla="*/ 641 w 688"/>
                <a:gd name="T65" fmla="*/ 344 h 689"/>
                <a:gd name="T66" fmla="*/ 649 w 688"/>
                <a:gd name="T67" fmla="*/ 321 h 689"/>
                <a:gd name="T68" fmla="*/ 618 w 688"/>
                <a:gd name="T69" fmla="*/ 298 h 689"/>
                <a:gd name="T70" fmla="*/ 611 w 688"/>
                <a:gd name="T71" fmla="*/ 245 h 689"/>
                <a:gd name="T72" fmla="*/ 557 w 688"/>
                <a:gd name="T73" fmla="*/ 206 h 689"/>
                <a:gd name="T74" fmla="*/ 557 w 688"/>
                <a:gd name="T75" fmla="*/ 206 h 689"/>
                <a:gd name="T76" fmla="*/ 527 w 688"/>
                <a:gd name="T77" fmla="*/ 252 h 689"/>
                <a:gd name="T78" fmla="*/ 496 w 688"/>
                <a:gd name="T79" fmla="*/ 229 h 689"/>
                <a:gd name="T80" fmla="*/ 481 w 688"/>
                <a:gd name="T81" fmla="*/ 168 h 689"/>
                <a:gd name="T82" fmla="*/ 427 w 688"/>
                <a:gd name="T83" fmla="*/ 130 h 689"/>
                <a:gd name="T84" fmla="*/ 412 w 688"/>
                <a:gd name="T85" fmla="*/ 46 h 689"/>
                <a:gd name="T86" fmla="*/ 412 w 688"/>
                <a:gd name="T87" fmla="*/ 46 h 689"/>
                <a:gd name="T88" fmla="*/ 336 w 688"/>
                <a:gd name="T89" fmla="*/ 0 h 689"/>
                <a:gd name="T90" fmla="*/ 252 w 688"/>
                <a:gd name="T91" fmla="*/ 23 h 689"/>
                <a:gd name="T92" fmla="*/ 259 w 688"/>
                <a:gd name="T93" fmla="*/ 38 h 689"/>
                <a:gd name="T94" fmla="*/ 137 w 688"/>
                <a:gd name="T95" fmla="*/ 69 h 689"/>
                <a:gd name="T96" fmla="*/ 107 w 688"/>
                <a:gd name="T97" fmla="*/ 107 h 689"/>
                <a:gd name="T98" fmla="*/ 61 w 688"/>
                <a:gd name="T99" fmla="*/ 84 h 689"/>
                <a:gd name="T100" fmla="*/ 30 w 688"/>
                <a:gd name="T101" fmla="*/ 92 h 689"/>
                <a:gd name="T102" fmla="*/ 38 w 688"/>
                <a:gd name="T103" fmla="*/ 130 h 689"/>
                <a:gd name="T104" fmla="*/ 0 w 688"/>
                <a:gd name="T105" fmla="*/ 145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88" h="689">
                  <a:moveTo>
                    <a:pt x="0" y="145"/>
                  </a:moveTo>
                  <a:lnTo>
                    <a:pt x="0" y="145"/>
                  </a:lnTo>
                  <a:cubicBezTo>
                    <a:pt x="15" y="161"/>
                    <a:pt x="38" y="176"/>
                    <a:pt x="46" y="199"/>
                  </a:cubicBezTo>
                  <a:cubicBezTo>
                    <a:pt x="61" y="229"/>
                    <a:pt x="46" y="268"/>
                    <a:pt x="53" y="298"/>
                  </a:cubicBezTo>
                  <a:cubicBezTo>
                    <a:pt x="61" y="321"/>
                    <a:pt x="99" y="329"/>
                    <a:pt x="107" y="359"/>
                  </a:cubicBezTo>
                  <a:cubicBezTo>
                    <a:pt x="114" y="375"/>
                    <a:pt x="84" y="382"/>
                    <a:pt x="84" y="398"/>
                  </a:cubicBezTo>
                  <a:cubicBezTo>
                    <a:pt x="84" y="420"/>
                    <a:pt x="99" y="443"/>
                    <a:pt x="107" y="459"/>
                  </a:cubicBezTo>
                  <a:cubicBezTo>
                    <a:pt x="122" y="481"/>
                    <a:pt x="137" y="504"/>
                    <a:pt x="152" y="527"/>
                  </a:cubicBezTo>
                  <a:lnTo>
                    <a:pt x="152" y="527"/>
                  </a:lnTo>
                  <a:cubicBezTo>
                    <a:pt x="183" y="520"/>
                    <a:pt x="206" y="504"/>
                    <a:pt x="236" y="504"/>
                  </a:cubicBezTo>
                  <a:cubicBezTo>
                    <a:pt x="244" y="504"/>
                    <a:pt x="236" y="520"/>
                    <a:pt x="244" y="520"/>
                  </a:cubicBezTo>
                  <a:cubicBezTo>
                    <a:pt x="252" y="527"/>
                    <a:pt x="267" y="512"/>
                    <a:pt x="275" y="520"/>
                  </a:cubicBezTo>
                  <a:cubicBezTo>
                    <a:pt x="305" y="535"/>
                    <a:pt x="321" y="565"/>
                    <a:pt x="351" y="588"/>
                  </a:cubicBezTo>
                  <a:cubicBezTo>
                    <a:pt x="366" y="596"/>
                    <a:pt x="389" y="588"/>
                    <a:pt x="405" y="604"/>
                  </a:cubicBezTo>
                  <a:cubicBezTo>
                    <a:pt x="412" y="611"/>
                    <a:pt x="389" y="619"/>
                    <a:pt x="389" y="627"/>
                  </a:cubicBezTo>
                  <a:cubicBezTo>
                    <a:pt x="382" y="634"/>
                    <a:pt x="382" y="650"/>
                    <a:pt x="389" y="657"/>
                  </a:cubicBezTo>
                  <a:cubicBezTo>
                    <a:pt x="397" y="665"/>
                    <a:pt x="412" y="657"/>
                    <a:pt x="420" y="657"/>
                  </a:cubicBezTo>
                  <a:cubicBezTo>
                    <a:pt x="435" y="665"/>
                    <a:pt x="443" y="680"/>
                    <a:pt x="458" y="688"/>
                  </a:cubicBezTo>
                  <a:cubicBezTo>
                    <a:pt x="481" y="688"/>
                    <a:pt x="504" y="665"/>
                    <a:pt x="527" y="665"/>
                  </a:cubicBezTo>
                  <a:cubicBezTo>
                    <a:pt x="542" y="665"/>
                    <a:pt x="550" y="673"/>
                    <a:pt x="565" y="680"/>
                  </a:cubicBezTo>
                  <a:lnTo>
                    <a:pt x="565" y="680"/>
                  </a:lnTo>
                  <a:cubicBezTo>
                    <a:pt x="573" y="665"/>
                    <a:pt x="580" y="650"/>
                    <a:pt x="588" y="634"/>
                  </a:cubicBezTo>
                  <a:cubicBezTo>
                    <a:pt x="588" y="627"/>
                    <a:pt x="580" y="619"/>
                    <a:pt x="580" y="611"/>
                  </a:cubicBezTo>
                  <a:cubicBezTo>
                    <a:pt x="573" y="604"/>
                    <a:pt x="573" y="588"/>
                    <a:pt x="580" y="581"/>
                  </a:cubicBezTo>
                  <a:cubicBezTo>
                    <a:pt x="580" y="565"/>
                    <a:pt x="588" y="550"/>
                    <a:pt x="595" y="535"/>
                  </a:cubicBezTo>
                  <a:cubicBezTo>
                    <a:pt x="603" y="527"/>
                    <a:pt x="611" y="527"/>
                    <a:pt x="611" y="520"/>
                  </a:cubicBezTo>
                  <a:cubicBezTo>
                    <a:pt x="618" y="512"/>
                    <a:pt x="618" y="497"/>
                    <a:pt x="618" y="489"/>
                  </a:cubicBezTo>
                  <a:cubicBezTo>
                    <a:pt x="626" y="474"/>
                    <a:pt x="626" y="459"/>
                    <a:pt x="634" y="451"/>
                  </a:cubicBezTo>
                  <a:cubicBezTo>
                    <a:pt x="649" y="428"/>
                    <a:pt x="672" y="413"/>
                    <a:pt x="687" y="398"/>
                  </a:cubicBezTo>
                  <a:lnTo>
                    <a:pt x="687" y="398"/>
                  </a:lnTo>
                  <a:cubicBezTo>
                    <a:pt x="680" y="398"/>
                    <a:pt x="672" y="398"/>
                    <a:pt x="664" y="390"/>
                  </a:cubicBezTo>
                  <a:cubicBezTo>
                    <a:pt x="664" y="375"/>
                    <a:pt x="664" y="359"/>
                    <a:pt x="657" y="352"/>
                  </a:cubicBezTo>
                  <a:cubicBezTo>
                    <a:pt x="657" y="344"/>
                    <a:pt x="641" y="352"/>
                    <a:pt x="641" y="344"/>
                  </a:cubicBezTo>
                  <a:cubicBezTo>
                    <a:pt x="641" y="336"/>
                    <a:pt x="649" y="329"/>
                    <a:pt x="649" y="321"/>
                  </a:cubicBezTo>
                  <a:cubicBezTo>
                    <a:pt x="641" y="313"/>
                    <a:pt x="618" y="306"/>
                    <a:pt x="618" y="298"/>
                  </a:cubicBezTo>
                  <a:cubicBezTo>
                    <a:pt x="611" y="283"/>
                    <a:pt x="618" y="260"/>
                    <a:pt x="611" y="245"/>
                  </a:cubicBezTo>
                  <a:cubicBezTo>
                    <a:pt x="595" y="222"/>
                    <a:pt x="573" y="222"/>
                    <a:pt x="557" y="206"/>
                  </a:cubicBezTo>
                  <a:lnTo>
                    <a:pt x="557" y="206"/>
                  </a:lnTo>
                  <a:cubicBezTo>
                    <a:pt x="550" y="222"/>
                    <a:pt x="550" y="245"/>
                    <a:pt x="527" y="252"/>
                  </a:cubicBezTo>
                  <a:cubicBezTo>
                    <a:pt x="519" y="260"/>
                    <a:pt x="504" y="237"/>
                    <a:pt x="496" y="229"/>
                  </a:cubicBezTo>
                  <a:cubicBezTo>
                    <a:pt x="488" y="206"/>
                    <a:pt x="488" y="184"/>
                    <a:pt x="481" y="168"/>
                  </a:cubicBezTo>
                  <a:cubicBezTo>
                    <a:pt x="466" y="145"/>
                    <a:pt x="435" y="145"/>
                    <a:pt x="427" y="130"/>
                  </a:cubicBezTo>
                  <a:cubicBezTo>
                    <a:pt x="412" y="107"/>
                    <a:pt x="412" y="77"/>
                    <a:pt x="412" y="46"/>
                  </a:cubicBezTo>
                  <a:lnTo>
                    <a:pt x="412" y="46"/>
                  </a:lnTo>
                  <a:cubicBezTo>
                    <a:pt x="382" y="31"/>
                    <a:pt x="366" y="8"/>
                    <a:pt x="336" y="0"/>
                  </a:cubicBezTo>
                  <a:cubicBezTo>
                    <a:pt x="305" y="0"/>
                    <a:pt x="282" y="8"/>
                    <a:pt x="252" y="23"/>
                  </a:cubicBezTo>
                  <a:cubicBezTo>
                    <a:pt x="244" y="23"/>
                    <a:pt x="267" y="38"/>
                    <a:pt x="259" y="38"/>
                  </a:cubicBezTo>
                  <a:cubicBezTo>
                    <a:pt x="221" y="61"/>
                    <a:pt x="175" y="54"/>
                    <a:pt x="137" y="69"/>
                  </a:cubicBezTo>
                  <a:cubicBezTo>
                    <a:pt x="122" y="77"/>
                    <a:pt x="122" y="100"/>
                    <a:pt x="107" y="107"/>
                  </a:cubicBezTo>
                  <a:cubicBezTo>
                    <a:pt x="91" y="107"/>
                    <a:pt x="76" y="84"/>
                    <a:pt x="61" y="84"/>
                  </a:cubicBezTo>
                  <a:cubicBezTo>
                    <a:pt x="53" y="84"/>
                    <a:pt x="30" y="84"/>
                    <a:pt x="30" y="92"/>
                  </a:cubicBezTo>
                  <a:cubicBezTo>
                    <a:pt x="23" y="100"/>
                    <a:pt x="46" y="115"/>
                    <a:pt x="38" y="130"/>
                  </a:cubicBezTo>
                  <a:cubicBezTo>
                    <a:pt x="30" y="138"/>
                    <a:pt x="15" y="138"/>
                    <a:pt x="0" y="145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47" name="Freeform 169"/>
            <p:cNvSpPr>
              <a:spLocks noChangeArrowheads="1"/>
            </p:cNvSpPr>
            <p:nvPr/>
          </p:nvSpPr>
          <p:spPr bwMode="auto">
            <a:xfrm>
              <a:off x="4671709" y="6003925"/>
              <a:ext cx="231760" cy="357188"/>
            </a:xfrm>
            <a:custGeom>
              <a:avLst/>
              <a:gdLst>
                <a:gd name="T0" fmla="*/ 275 w 643"/>
                <a:gd name="T1" fmla="*/ 581 h 994"/>
                <a:gd name="T2" fmla="*/ 275 w 643"/>
                <a:gd name="T3" fmla="*/ 581 h 994"/>
                <a:gd name="T4" fmla="*/ 176 w 643"/>
                <a:gd name="T5" fmla="*/ 611 h 994"/>
                <a:gd name="T6" fmla="*/ 161 w 643"/>
                <a:gd name="T7" fmla="*/ 566 h 994"/>
                <a:gd name="T8" fmla="*/ 69 w 643"/>
                <a:gd name="T9" fmla="*/ 566 h 994"/>
                <a:gd name="T10" fmla="*/ 38 w 643"/>
                <a:gd name="T11" fmla="*/ 528 h 994"/>
                <a:gd name="T12" fmla="*/ 15 w 643"/>
                <a:gd name="T13" fmla="*/ 489 h 994"/>
                <a:gd name="T14" fmla="*/ 15 w 643"/>
                <a:gd name="T15" fmla="*/ 489 h 994"/>
                <a:gd name="T16" fmla="*/ 0 w 643"/>
                <a:gd name="T17" fmla="*/ 459 h 994"/>
                <a:gd name="T18" fmla="*/ 8 w 643"/>
                <a:gd name="T19" fmla="*/ 413 h 994"/>
                <a:gd name="T20" fmla="*/ 61 w 643"/>
                <a:gd name="T21" fmla="*/ 329 h 994"/>
                <a:gd name="T22" fmla="*/ 61 w 643"/>
                <a:gd name="T23" fmla="*/ 291 h 994"/>
                <a:gd name="T24" fmla="*/ 115 w 643"/>
                <a:gd name="T25" fmla="*/ 237 h 994"/>
                <a:gd name="T26" fmla="*/ 99 w 643"/>
                <a:gd name="T27" fmla="*/ 214 h 994"/>
                <a:gd name="T28" fmla="*/ 92 w 643"/>
                <a:gd name="T29" fmla="*/ 153 h 994"/>
                <a:gd name="T30" fmla="*/ 92 w 643"/>
                <a:gd name="T31" fmla="*/ 153 h 994"/>
                <a:gd name="T32" fmla="*/ 130 w 643"/>
                <a:gd name="T33" fmla="*/ 130 h 994"/>
                <a:gd name="T34" fmla="*/ 161 w 643"/>
                <a:gd name="T35" fmla="*/ 107 h 994"/>
                <a:gd name="T36" fmla="*/ 222 w 643"/>
                <a:gd name="T37" fmla="*/ 138 h 994"/>
                <a:gd name="T38" fmla="*/ 245 w 643"/>
                <a:gd name="T39" fmla="*/ 123 h 994"/>
                <a:gd name="T40" fmla="*/ 268 w 643"/>
                <a:gd name="T41" fmla="*/ 138 h 994"/>
                <a:gd name="T42" fmla="*/ 329 w 643"/>
                <a:gd name="T43" fmla="*/ 107 h 994"/>
                <a:gd name="T44" fmla="*/ 336 w 643"/>
                <a:gd name="T45" fmla="*/ 54 h 994"/>
                <a:gd name="T46" fmla="*/ 367 w 643"/>
                <a:gd name="T47" fmla="*/ 46 h 994"/>
                <a:gd name="T48" fmla="*/ 390 w 643"/>
                <a:gd name="T49" fmla="*/ 0 h 994"/>
                <a:gd name="T50" fmla="*/ 390 w 643"/>
                <a:gd name="T51" fmla="*/ 0 h 994"/>
                <a:gd name="T52" fmla="*/ 451 w 643"/>
                <a:gd name="T53" fmla="*/ 153 h 994"/>
                <a:gd name="T54" fmla="*/ 543 w 643"/>
                <a:gd name="T55" fmla="*/ 321 h 994"/>
                <a:gd name="T56" fmla="*/ 558 w 643"/>
                <a:gd name="T57" fmla="*/ 634 h 994"/>
                <a:gd name="T58" fmla="*/ 573 w 643"/>
                <a:gd name="T59" fmla="*/ 734 h 994"/>
                <a:gd name="T60" fmla="*/ 520 w 643"/>
                <a:gd name="T61" fmla="*/ 917 h 994"/>
                <a:gd name="T62" fmla="*/ 428 w 643"/>
                <a:gd name="T63" fmla="*/ 795 h 994"/>
                <a:gd name="T64" fmla="*/ 459 w 643"/>
                <a:gd name="T65" fmla="*/ 619 h 994"/>
                <a:gd name="T66" fmla="*/ 275 w 643"/>
                <a:gd name="T67" fmla="*/ 298 h 994"/>
                <a:gd name="T68" fmla="*/ 191 w 643"/>
                <a:gd name="T69" fmla="*/ 336 h 994"/>
                <a:gd name="T70" fmla="*/ 229 w 643"/>
                <a:gd name="T71" fmla="*/ 413 h 994"/>
                <a:gd name="T72" fmla="*/ 275 w 643"/>
                <a:gd name="T73" fmla="*/ 581 h 9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43" h="994">
                  <a:moveTo>
                    <a:pt x="275" y="581"/>
                  </a:moveTo>
                  <a:lnTo>
                    <a:pt x="275" y="581"/>
                  </a:lnTo>
                  <a:cubicBezTo>
                    <a:pt x="260" y="589"/>
                    <a:pt x="191" y="619"/>
                    <a:pt x="176" y="611"/>
                  </a:cubicBezTo>
                  <a:cubicBezTo>
                    <a:pt x="161" y="604"/>
                    <a:pt x="176" y="573"/>
                    <a:pt x="161" y="566"/>
                  </a:cubicBezTo>
                  <a:cubicBezTo>
                    <a:pt x="130" y="558"/>
                    <a:pt x="99" y="581"/>
                    <a:pt x="69" y="566"/>
                  </a:cubicBezTo>
                  <a:cubicBezTo>
                    <a:pt x="54" y="558"/>
                    <a:pt x="46" y="543"/>
                    <a:pt x="38" y="528"/>
                  </a:cubicBezTo>
                  <a:cubicBezTo>
                    <a:pt x="31" y="512"/>
                    <a:pt x="23" y="497"/>
                    <a:pt x="15" y="489"/>
                  </a:cubicBezTo>
                  <a:lnTo>
                    <a:pt x="15" y="489"/>
                  </a:lnTo>
                  <a:cubicBezTo>
                    <a:pt x="15" y="474"/>
                    <a:pt x="8" y="466"/>
                    <a:pt x="0" y="459"/>
                  </a:cubicBezTo>
                  <a:cubicBezTo>
                    <a:pt x="0" y="443"/>
                    <a:pt x="0" y="420"/>
                    <a:pt x="8" y="413"/>
                  </a:cubicBezTo>
                  <a:cubicBezTo>
                    <a:pt x="23" y="382"/>
                    <a:pt x="46" y="359"/>
                    <a:pt x="61" y="329"/>
                  </a:cubicBezTo>
                  <a:cubicBezTo>
                    <a:pt x="69" y="321"/>
                    <a:pt x="54" y="306"/>
                    <a:pt x="61" y="291"/>
                  </a:cubicBezTo>
                  <a:cubicBezTo>
                    <a:pt x="69" y="268"/>
                    <a:pt x="99" y="260"/>
                    <a:pt x="115" y="237"/>
                  </a:cubicBezTo>
                  <a:cubicBezTo>
                    <a:pt x="115" y="230"/>
                    <a:pt x="99" y="222"/>
                    <a:pt x="99" y="214"/>
                  </a:cubicBezTo>
                  <a:cubicBezTo>
                    <a:pt x="92" y="191"/>
                    <a:pt x="92" y="176"/>
                    <a:pt x="92" y="153"/>
                  </a:cubicBezTo>
                  <a:lnTo>
                    <a:pt x="92" y="153"/>
                  </a:lnTo>
                  <a:cubicBezTo>
                    <a:pt x="107" y="146"/>
                    <a:pt x="115" y="138"/>
                    <a:pt x="130" y="130"/>
                  </a:cubicBezTo>
                  <a:cubicBezTo>
                    <a:pt x="138" y="123"/>
                    <a:pt x="145" y="107"/>
                    <a:pt x="161" y="107"/>
                  </a:cubicBezTo>
                  <a:cubicBezTo>
                    <a:pt x="184" y="115"/>
                    <a:pt x="199" y="130"/>
                    <a:pt x="222" y="138"/>
                  </a:cubicBezTo>
                  <a:cubicBezTo>
                    <a:pt x="229" y="138"/>
                    <a:pt x="237" y="123"/>
                    <a:pt x="245" y="123"/>
                  </a:cubicBezTo>
                  <a:cubicBezTo>
                    <a:pt x="252" y="123"/>
                    <a:pt x="260" y="146"/>
                    <a:pt x="268" y="138"/>
                  </a:cubicBezTo>
                  <a:cubicBezTo>
                    <a:pt x="290" y="138"/>
                    <a:pt x="313" y="123"/>
                    <a:pt x="329" y="107"/>
                  </a:cubicBezTo>
                  <a:cubicBezTo>
                    <a:pt x="336" y="92"/>
                    <a:pt x="329" y="69"/>
                    <a:pt x="336" y="54"/>
                  </a:cubicBezTo>
                  <a:cubicBezTo>
                    <a:pt x="344" y="46"/>
                    <a:pt x="359" y="54"/>
                    <a:pt x="367" y="46"/>
                  </a:cubicBezTo>
                  <a:cubicBezTo>
                    <a:pt x="382" y="31"/>
                    <a:pt x="382" y="23"/>
                    <a:pt x="390" y="0"/>
                  </a:cubicBezTo>
                  <a:lnTo>
                    <a:pt x="390" y="0"/>
                  </a:lnTo>
                  <a:cubicBezTo>
                    <a:pt x="451" y="31"/>
                    <a:pt x="428" y="92"/>
                    <a:pt x="451" y="153"/>
                  </a:cubicBezTo>
                  <a:cubicBezTo>
                    <a:pt x="474" y="214"/>
                    <a:pt x="527" y="253"/>
                    <a:pt x="543" y="321"/>
                  </a:cubicBezTo>
                  <a:cubicBezTo>
                    <a:pt x="565" y="436"/>
                    <a:pt x="642" y="535"/>
                    <a:pt x="558" y="634"/>
                  </a:cubicBezTo>
                  <a:cubicBezTo>
                    <a:pt x="527" y="665"/>
                    <a:pt x="573" y="695"/>
                    <a:pt x="573" y="734"/>
                  </a:cubicBezTo>
                  <a:cubicBezTo>
                    <a:pt x="573" y="764"/>
                    <a:pt x="527" y="879"/>
                    <a:pt x="520" y="917"/>
                  </a:cubicBezTo>
                  <a:cubicBezTo>
                    <a:pt x="497" y="993"/>
                    <a:pt x="459" y="833"/>
                    <a:pt x="428" y="795"/>
                  </a:cubicBezTo>
                  <a:cubicBezTo>
                    <a:pt x="390" y="749"/>
                    <a:pt x="459" y="680"/>
                    <a:pt x="459" y="619"/>
                  </a:cubicBezTo>
                  <a:cubicBezTo>
                    <a:pt x="459" y="451"/>
                    <a:pt x="405" y="375"/>
                    <a:pt x="275" y="298"/>
                  </a:cubicBezTo>
                  <a:cubicBezTo>
                    <a:pt x="214" y="260"/>
                    <a:pt x="237" y="291"/>
                    <a:pt x="191" y="336"/>
                  </a:cubicBezTo>
                  <a:cubicBezTo>
                    <a:pt x="145" y="390"/>
                    <a:pt x="176" y="375"/>
                    <a:pt x="229" y="413"/>
                  </a:cubicBezTo>
                  <a:cubicBezTo>
                    <a:pt x="252" y="436"/>
                    <a:pt x="268" y="520"/>
                    <a:pt x="275" y="58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48" name="Freeform 170"/>
            <p:cNvSpPr>
              <a:spLocks noChangeArrowheads="1"/>
            </p:cNvSpPr>
            <p:nvPr/>
          </p:nvSpPr>
          <p:spPr bwMode="auto">
            <a:xfrm>
              <a:off x="4600276" y="6059489"/>
              <a:ext cx="112706" cy="134937"/>
            </a:xfrm>
            <a:custGeom>
              <a:avLst/>
              <a:gdLst>
                <a:gd name="T0" fmla="*/ 236 w 314"/>
                <a:gd name="T1" fmla="*/ 0 h 376"/>
                <a:gd name="T2" fmla="*/ 236 w 314"/>
                <a:gd name="T3" fmla="*/ 0 h 376"/>
                <a:gd name="T4" fmla="*/ 290 w 314"/>
                <a:gd name="T5" fmla="*/ 0 h 376"/>
                <a:gd name="T6" fmla="*/ 290 w 314"/>
                <a:gd name="T7" fmla="*/ 0 h 376"/>
                <a:gd name="T8" fmla="*/ 297 w 314"/>
                <a:gd name="T9" fmla="*/ 61 h 376"/>
                <a:gd name="T10" fmla="*/ 313 w 314"/>
                <a:gd name="T11" fmla="*/ 84 h 376"/>
                <a:gd name="T12" fmla="*/ 259 w 314"/>
                <a:gd name="T13" fmla="*/ 138 h 376"/>
                <a:gd name="T14" fmla="*/ 259 w 314"/>
                <a:gd name="T15" fmla="*/ 176 h 376"/>
                <a:gd name="T16" fmla="*/ 206 w 314"/>
                <a:gd name="T17" fmla="*/ 260 h 376"/>
                <a:gd name="T18" fmla="*/ 198 w 314"/>
                <a:gd name="T19" fmla="*/ 306 h 376"/>
                <a:gd name="T20" fmla="*/ 213 w 314"/>
                <a:gd name="T21" fmla="*/ 336 h 376"/>
                <a:gd name="T22" fmla="*/ 213 w 314"/>
                <a:gd name="T23" fmla="*/ 336 h 376"/>
                <a:gd name="T24" fmla="*/ 137 w 314"/>
                <a:gd name="T25" fmla="*/ 375 h 376"/>
                <a:gd name="T26" fmla="*/ 137 w 314"/>
                <a:gd name="T27" fmla="*/ 375 h 376"/>
                <a:gd name="T28" fmla="*/ 114 w 314"/>
                <a:gd name="T29" fmla="*/ 367 h 376"/>
                <a:gd name="T30" fmla="*/ 107 w 314"/>
                <a:gd name="T31" fmla="*/ 329 h 376"/>
                <a:gd name="T32" fmla="*/ 91 w 314"/>
                <a:gd name="T33" fmla="*/ 321 h 376"/>
                <a:gd name="T34" fmla="*/ 99 w 314"/>
                <a:gd name="T35" fmla="*/ 298 h 376"/>
                <a:gd name="T36" fmla="*/ 68 w 314"/>
                <a:gd name="T37" fmla="*/ 275 h 376"/>
                <a:gd name="T38" fmla="*/ 61 w 314"/>
                <a:gd name="T39" fmla="*/ 222 h 376"/>
                <a:gd name="T40" fmla="*/ 7 w 314"/>
                <a:gd name="T41" fmla="*/ 183 h 376"/>
                <a:gd name="T42" fmla="*/ 7 w 314"/>
                <a:gd name="T43" fmla="*/ 183 h 376"/>
                <a:gd name="T44" fmla="*/ 0 w 314"/>
                <a:gd name="T45" fmla="*/ 161 h 376"/>
                <a:gd name="T46" fmla="*/ 68 w 314"/>
                <a:gd name="T47" fmla="*/ 130 h 376"/>
                <a:gd name="T48" fmla="*/ 91 w 314"/>
                <a:gd name="T49" fmla="*/ 100 h 376"/>
                <a:gd name="T50" fmla="*/ 152 w 314"/>
                <a:gd name="T51" fmla="*/ 92 h 376"/>
                <a:gd name="T52" fmla="*/ 183 w 314"/>
                <a:gd name="T53" fmla="*/ 61 h 376"/>
                <a:gd name="T54" fmla="*/ 213 w 314"/>
                <a:gd name="T55" fmla="*/ 61 h 376"/>
                <a:gd name="T56" fmla="*/ 236 w 314"/>
                <a:gd name="T57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14" h="376">
                  <a:moveTo>
                    <a:pt x="236" y="0"/>
                  </a:moveTo>
                  <a:lnTo>
                    <a:pt x="236" y="0"/>
                  </a:lnTo>
                  <a:cubicBezTo>
                    <a:pt x="290" y="0"/>
                    <a:pt x="290" y="0"/>
                    <a:pt x="290" y="0"/>
                  </a:cubicBezTo>
                  <a:lnTo>
                    <a:pt x="290" y="0"/>
                  </a:lnTo>
                  <a:cubicBezTo>
                    <a:pt x="290" y="23"/>
                    <a:pt x="290" y="38"/>
                    <a:pt x="297" y="61"/>
                  </a:cubicBezTo>
                  <a:cubicBezTo>
                    <a:pt x="297" y="69"/>
                    <a:pt x="313" y="77"/>
                    <a:pt x="313" y="84"/>
                  </a:cubicBezTo>
                  <a:cubicBezTo>
                    <a:pt x="297" y="107"/>
                    <a:pt x="267" y="115"/>
                    <a:pt x="259" y="138"/>
                  </a:cubicBezTo>
                  <a:cubicBezTo>
                    <a:pt x="252" y="153"/>
                    <a:pt x="267" y="168"/>
                    <a:pt x="259" y="176"/>
                  </a:cubicBezTo>
                  <a:cubicBezTo>
                    <a:pt x="244" y="206"/>
                    <a:pt x="221" y="229"/>
                    <a:pt x="206" y="260"/>
                  </a:cubicBezTo>
                  <a:cubicBezTo>
                    <a:pt x="198" y="267"/>
                    <a:pt x="198" y="290"/>
                    <a:pt x="198" y="306"/>
                  </a:cubicBezTo>
                  <a:cubicBezTo>
                    <a:pt x="206" y="313"/>
                    <a:pt x="213" y="321"/>
                    <a:pt x="213" y="336"/>
                  </a:cubicBezTo>
                  <a:lnTo>
                    <a:pt x="213" y="336"/>
                  </a:lnTo>
                  <a:cubicBezTo>
                    <a:pt x="137" y="375"/>
                    <a:pt x="137" y="375"/>
                    <a:pt x="137" y="375"/>
                  </a:cubicBezTo>
                  <a:lnTo>
                    <a:pt x="137" y="375"/>
                  </a:lnTo>
                  <a:cubicBezTo>
                    <a:pt x="130" y="375"/>
                    <a:pt x="122" y="375"/>
                    <a:pt x="114" y="367"/>
                  </a:cubicBezTo>
                  <a:cubicBezTo>
                    <a:pt x="114" y="352"/>
                    <a:pt x="114" y="336"/>
                    <a:pt x="107" y="329"/>
                  </a:cubicBezTo>
                  <a:cubicBezTo>
                    <a:pt x="107" y="321"/>
                    <a:pt x="91" y="329"/>
                    <a:pt x="91" y="321"/>
                  </a:cubicBezTo>
                  <a:cubicBezTo>
                    <a:pt x="91" y="313"/>
                    <a:pt x="99" y="306"/>
                    <a:pt x="99" y="298"/>
                  </a:cubicBezTo>
                  <a:cubicBezTo>
                    <a:pt x="91" y="290"/>
                    <a:pt x="68" y="283"/>
                    <a:pt x="68" y="275"/>
                  </a:cubicBezTo>
                  <a:cubicBezTo>
                    <a:pt x="61" y="260"/>
                    <a:pt x="68" y="237"/>
                    <a:pt x="61" y="222"/>
                  </a:cubicBezTo>
                  <a:cubicBezTo>
                    <a:pt x="45" y="199"/>
                    <a:pt x="23" y="199"/>
                    <a:pt x="7" y="183"/>
                  </a:cubicBezTo>
                  <a:lnTo>
                    <a:pt x="7" y="183"/>
                  </a:lnTo>
                  <a:cubicBezTo>
                    <a:pt x="7" y="176"/>
                    <a:pt x="0" y="168"/>
                    <a:pt x="0" y="161"/>
                  </a:cubicBezTo>
                  <a:cubicBezTo>
                    <a:pt x="23" y="145"/>
                    <a:pt x="53" y="145"/>
                    <a:pt x="68" y="130"/>
                  </a:cubicBezTo>
                  <a:cubicBezTo>
                    <a:pt x="84" y="122"/>
                    <a:pt x="76" y="100"/>
                    <a:pt x="91" y="100"/>
                  </a:cubicBezTo>
                  <a:cubicBezTo>
                    <a:pt x="114" y="84"/>
                    <a:pt x="137" y="100"/>
                    <a:pt x="152" y="92"/>
                  </a:cubicBezTo>
                  <a:cubicBezTo>
                    <a:pt x="168" y="92"/>
                    <a:pt x="168" y="69"/>
                    <a:pt x="183" y="61"/>
                  </a:cubicBezTo>
                  <a:cubicBezTo>
                    <a:pt x="191" y="61"/>
                    <a:pt x="206" y="69"/>
                    <a:pt x="213" y="61"/>
                  </a:cubicBezTo>
                  <a:cubicBezTo>
                    <a:pt x="229" y="46"/>
                    <a:pt x="229" y="23"/>
                    <a:pt x="236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49" name="Freeform 171"/>
            <p:cNvSpPr>
              <a:spLocks noChangeArrowheads="1"/>
            </p:cNvSpPr>
            <p:nvPr/>
          </p:nvSpPr>
          <p:spPr bwMode="auto">
            <a:xfrm>
              <a:off x="4657422" y="5995988"/>
              <a:ext cx="153978" cy="63500"/>
            </a:xfrm>
            <a:custGeom>
              <a:avLst/>
              <a:gdLst>
                <a:gd name="T0" fmla="*/ 76 w 429"/>
                <a:gd name="T1" fmla="*/ 175 h 176"/>
                <a:gd name="T2" fmla="*/ 76 w 429"/>
                <a:gd name="T3" fmla="*/ 175 h 176"/>
                <a:gd name="T4" fmla="*/ 130 w 429"/>
                <a:gd name="T5" fmla="*/ 175 h 176"/>
                <a:gd name="T6" fmla="*/ 130 w 429"/>
                <a:gd name="T7" fmla="*/ 175 h 176"/>
                <a:gd name="T8" fmla="*/ 168 w 429"/>
                <a:gd name="T9" fmla="*/ 152 h 176"/>
                <a:gd name="T10" fmla="*/ 199 w 429"/>
                <a:gd name="T11" fmla="*/ 129 h 176"/>
                <a:gd name="T12" fmla="*/ 260 w 429"/>
                <a:gd name="T13" fmla="*/ 160 h 176"/>
                <a:gd name="T14" fmla="*/ 283 w 429"/>
                <a:gd name="T15" fmla="*/ 145 h 176"/>
                <a:gd name="T16" fmla="*/ 306 w 429"/>
                <a:gd name="T17" fmla="*/ 160 h 176"/>
                <a:gd name="T18" fmla="*/ 367 w 429"/>
                <a:gd name="T19" fmla="*/ 129 h 176"/>
                <a:gd name="T20" fmla="*/ 374 w 429"/>
                <a:gd name="T21" fmla="*/ 76 h 176"/>
                <a:gd name="T22" fmla="*/ 405 w 429"/>
                <a:gd name="T23" fmla="*/ 68 h 176"/>
                <a:gd name="T24" fmla="*/ 428 w 429"/>
                <a:gd name="T25" fmla="*/ 22 h 176"/>
                <a:gd name="T26" fmla="*/ 428 w 429"/>
                <a:gd name="T27" fmla="*/ 22 h 176"/>
                <a:gd name="T28" fmla="*/ 389 w 429"/>
                <a:gd name="T29" fmla="*/ 15 h 176"/>
                <a:gd name="T30" fmla="*/ 122 w 429"/>
                <a:gd name="T31" fmla="*/ 38 h 176"/>
                <a:gd name="T32" fmla="*/ 0 w 429"/>
                <a:gd name="T33" fmla="*/ 122 h 176"/>
                <a:gd name="T34" fmla="*/ 0 w 429"/>
                <a:gd name="T35" fmla="*/ 122 h 176"/>
                <a:gd name="T36" fmla="*/ 0 w 429"/>
                <a:gd name="T37" fmla="*/ 152 h 176"/>
                <a:gd name="T38" fmla="*/ 31 w 429"/>
                <a:gd name="T39" fmla="*/ 175 h 176"/>
                <a:gd name="T40" fmla="*/ 61 w 429"/>
                <a:gd name="T41" fmla="*/ 168 h 176"/>
                <a:gd name="T42" fmla="*/ 76 w 429"/>
                <a:gd name="T43" fmla="*/ 17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9" h="176">
                  <a:moveTo>
                    <a:pt x="76" y="175"/>
                  </a:moveTo>
                  <a:lnTo>
                    <a:pt x="76" y="175"/>
                  </a:lnTo>
                  <a:cubicBezTo>
                    <a:pt x="130" y="175"/>
                    <a:pt x="130" y="175"/>
                    <a:pt x="130" y="175"/>
                  </a:cubicBezTo>
                  <a:lnTo>
                    <a:pt x="130" y="175"/>
                  </a:lnTo>
                  <a:cubicBezTo>
                    <a:pt x="145" y="168"/>
                    <a:pt x="153" y="160"/>
                    <a:pt x="168" y="152"/>
                  </a:cubicBezTo>
                  <a:cubicBezTo>
                    <a:pt x="176" y="145"/>
                    <a:pt x="183" y="129"/>
                    <a:pt x="199" y="129"/>
                  </a:cubicBezTo>
                  <a:cubicBezTo>
                    <a:pt x="222" y="137"/>
                    <a:pt x="237" y="152"/>
                    <a:pt x="260" y="160"/>
                  </a:cubicBezTo>
                  <a:cubicBezTo>
                    <a:pt x="267" y="160"/>
                    <a:pt x="275" y="145"/>
                    <a:pt x="283" y="145"/>
                  </a:cubicBezTo>
                  <a:cubicBezTo>
                    <a:pt x="290" y="145"/>
                    <a:pt x="298" y="168"/>
                    <a:pt x="306" y="160"/>
                  </a:cubicBezTo>
                  <a:cubicBezTo>
                    <a:pt x="328" y="160"/>
                    <a:pt x="351" y="145"/>
                    <a:pt x="367" y="129"/>
                  </a:cubicBezTo>
                  <a:cubicBezTo>
                    <a:pt x="374" y="114"/>
                    <a:pt x="367" y="91"/>
                    <a:pt x="374" y="76"/>
                  </a:cubicBezTo>
                  <a:cubicBezTo>
                    <a:pt x="382" y="68"/>
                    <a:pt x="397" y="76"/>
                    <a:pt x="405" y="68"/>
                  </a:cubicBezTo>
                  <a:cubicBezTo>
                    <a:pt x="420" y="53"/>
                    <a:pt x="420" y="45"/>
                    <a:pt x="428" y="22"/>
                  </a:cubicBezTo>
                  <a:lnTo>
                    <a:pt x="428" y="22"/>
                  </a:lnTo>
                  <a:cubicBezTo>
                    <a:pt x="420" y="22"/>
                    <a:pt x="405" y="15"/>
                    <a:pt x="389" y="15"/>
                  </a:cubicBezTo>
                  <a:cubicBezTo>
                    <a:pt x="313" y="0"/>
                    <a:pt x="191" y="7"/>
                    <a:pt x="122" y="38"/>
                  </a:cubicBezTo>
                  <a:cubicBezTo>
                    <a:pt x="99" y="53"/>
                    <a:pt x="46" y="91"/>
                    <a:pt x="0" y="122"/>
                  </a:cubicBezTo>
                  <a:lnTo>
                    <a:pt x="0" y="122"/>
                  </a:lnTo>
                  <a:cubicBezTo>
                    <a:pt x="0" y="137"/>
                    <a:pt x="0" y="145"/>
                    <a:pt x="0" y="152"/>
                  </a:cubicBezTo>
                  <a:cubicBezTo>
                    <a:pt x="8" y="168"/>
                    <a:pt x="15" y="175"/>
                    <a:pt x="31" y="175"/>
                  </a:cubicBezTo>
                  <a:cubicBezTo>
                    <a:pt x="38" y="175"/>
                    <a:pt x="53" y="168"/>
                    <a:pt x="61" y="168"/>
                  </a:cubicBezTo>
                  <a:cubicBezTo>
                    <a:pt x="69" y="168"/>
                    <a:pt x="69" y="175"/>
                    <a:pt x="76" y="175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50" name="Freeform 172"/>
            <p:cNvSpPr>
              <a:spLocks noChangeArrowheads="1"/>
            </p:cNvSpPr>
            <p:nvPr/>
          </p:nvSpPr>
          <p:spPr bwMode="auto">
            <a:xfrm>
              <a:off x="4551067" y="6007101"/>
              <a:ext cx="134928" cy="138113"/>
            </a:xfrm>
            <a:custGeom>
              <a:avLst/>
              <a:gdLst>
                <a:gd name="T0" fmla="*/ 298 w 375"/>
                <a:gd name="T1" fmla="*/ 92 h 383"/>
                <a:gd name="T2" fmla="*/ 298 w 375"/>
                <a:gd name="T3" fmla="*/ 92 h 383"/>
                <a:gd name="T4" fmla="*/ 298 w 375"/>
                <a:gd name="T5" fmla="*/ 122 h 383"/>
                <a:gd name="T6" fmla="*/ 329 w 375"/>
                <a:gd name="T7" fmla="*/ 145 h 383"/>
                <a:gd name="T8" fmla="*/ 359 w 375"/>
                <a:gd name="T9" fmla="*/ 138 h 383"/>
                <a:gd name="T10" fmla="*/ 374 w 375"/>
                <a:gd name="T11" fmla="*/ 145 h 383"/>
                <a:gd name="T12" fmla="*/ 374 w 375"/>
                <a:gd name="T13" fmla="*/ 145 h 383"/>
                <a:gd name="T14" fmla="*/ 351 w 375"/>
                <a:gd name="T15" fmla="*/ 206 h 383"/>
                <a:gd name="T16" fmla="*/ 321 w 375"/>
                <a:gd name="T17" fmla="*/ 206 h 383"/>
                <a:gd name="T18" fmla="*/ 290 w 375"/>
                <a:gd name="T19" fmla="*/ 237 h 383"/>
                <a:gd name="T20" fmla="*/ 229 w 375"/>
                <a:gd name="T21" fmla="*/ 245 h 383"/>
                <a:gd name="T22" fmla="*/ 206 w 375"/>
                <a:gd name="T23" fmla="*/ 275 h 383"/>
                <a:gd name="T24" fmla="*/ 138 w 375"/>
                <a:gd name="T25" fmla="*/ 306 h 383"/>
                <a:gd name="T26" fmla="*/ 145 w 375"/>
                <a:gd name="T27" fmla="*/ 328 h 383"/>
                <a:gd name="T28" fmla="*/ 145 w 375"/>
                <a:gd name="T29" fmla="*/ 328 h 383"/>
                <a:gd name="T30" fmla="*/ 115 w 375"/>
                <a:gd name="T31" fmla="*/ 374 h 383"/>
                <a:gd name="T32" fmla="*/ 84 w 375"/>
                <a:gd name="T33" fmla="*/ 351 h 383"/>
                <a:gd name="T34" fmla="*/ 69 w 375"/>
                <a:gd name="T35" fmla="*/ 290 h 383"/>
                <a:gd name="T36" fmla="*/ 15 w 375"/>
                <a:gd name="T37" fmla="*/ 252 h 383"/>
                <a:gd name="T38" fmla="*/ 0 w 375"/>
                <a:gd name="T39" fmla="*/ 168 h 383"/>
                <a:gd name="T40" fmla="*/ 0 w 375"/>
                <a:gd name="T41" fmla="*/ 168 h 383"/>
                <a:gd name="T42" fmla="*/ 54 w 375"/>
                <a:gd name="T43" fmla="*/ 153 h 383"/>
                <a:gd name="T44" fmla="*/ 38 w 375"/>
                <a:gd name="T45" fmla="*/ 107 h 383"/>
                <a:gd name="T46" fmla="*/ 84 w 375"/>
                <a:gd name="T47" fmla="*/ 31 h 383"/>
                <a:gd name="T48" fmla="*/ 84 w 375"/>
                <a:gd name="T49" fmla="*/ 31 h 383"/>
                <a:gd name="T50" fmla="*/ 122 w 375"/>
                <a:gd name="T51" fmla="*/ 61 h 383"/>
                <a:gd name="T52" fmla="*/ 145 w 375"/>
                <a:gd name="T53" fmla="*/ 46 h 383"/>
                <a:gd name="T54" fmla="*/ 145 w 375"/>
                <a:gd name="T55" fmla="*/ 8 h 383"/>
                <a:gd name="T56" fmla="*/ 206 w 375"/>
                <a:gd name="T57" fmla="*/ 61 h 383"/>
                <a:gd name="T58" fmla="*/ 206 w 375"/>
                <a:gd name="T59" fmla="*/ 61 h 383"/>
                <a:gd name="T60" fmla="*/ 191 w 375"/>
                <a:gd name="T61" fmla="*/ 160 h 383"/>
                <a:gd name="T62" fmla="*/ 298 w 375"/>
                <a:gd name="T63" fmla="*/ 9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75" h="383">
                  <a:moveTo>
                    <a:pt x="298" y="92"/>
                  </a:moveTo>
                  <a:lnTo>
                    <a:pt x="298" y="92"/>
                  </a:lnTo>
                  <a:cubicBezTo>
                    <a:pt x="298" y="107"/>
                    <a:pt x="298" y="115"/>
                    <a:pt x="298" y="122"/>
                  </a:cubicBezTo>
                  <a:cubicBezTo>
                    <a:pt x="306" y="138"/>
                    <a:pt x="313" y="145"/>
                    <a:pt x="329" y="145"/>
                  </a:cubicBezTo>
                  <a:cubicBezTo>
                    <a:pt x="336" y="145"/>
                    <a:pt x="351" y="138"/>
                    <a:pt x="359" y="138"/>
                  </a:cubicBezTo>
                  <a:cubicBezTo>
                    <a:pt x="367" y="138"/>
                    <a:pt x="367" y="145"/>
                    <a:pt x="374" y="145"/>
                  </a:cubicBezTo>
                  <a:lnTo>
                    <a:pt x="374" y="145"/>
                  </a:lnTo>
                  <a:cubicBezTo>
                    <a:pt x="367" y="168"/>
                    <a:pt x="367" y="191"/>
                    <a:pt x="351" y="206"/>
                  </a:cubicBezTo>
                  <a:cubicBezTo>
                    <a:pt x="344" y="214"/>
                    <a:pt x="329" y="206"/>
                    <a:pt x="321" y="206"/>
                  </a:cubicBezTo>
                  <a:cubicBezTo>
                    <a:pt x="306" y="214"/>
                    <a:pt x="306" y="237"/>
                    <a:pt x="290" y="237"/>
                  </a:cubicBezTo>
                  <a:cubicBezTo>
                    <a:pt x="275" y="245"/>
                    <a:pt x="252" y="229"/>
                    <a:pt x="229" y="245"/>
                  </a:cubicBezTo>
                  <a:cubicBezTo>
                    <a:pt x="214" y="245"/>
                    <a:pt x="222" y="267"/>
                    <a:pt x="206" y="275"/>
                  </a:cubicBezTo>
                  <a:cubicBezTo>
                    <a:pt x="191" y="290"/>
                    <a:pt x="161" y="290"/>
                    <a:pt x="138" y="306"/>
                  </a:cubicBezTo>
                  <a:cubicBezTo>
                    <a:pt x="138" y="313"/>
                    <a:pt x="145" y="321"/>
                    <a:pt x="145" y="328"/>
                  </a:cubicBezTo>
                  <a:lnTo>
                    <a:pt x="145" y="328"/>
                  </a:lnTo>
                  <a:cubicBezTo>
                    <a:pt x="138" y="344"/>
                    <a:pt x="138" y="367"/>
                    <a:pt x="115" y="374"/>
                  </a:cubicBezTo>
                  <a:cubicBezTo>
                    <a:pt x="107" y="382"/>
                    <a:pt x="92" y="359"/>
                    <a:pt x="84" y="351"/>
                  </a:cubicBezTo>
                  <a:cubicBezTo>
                    <a:pt x="76" y="328"/>
                    <a:pt x="76" y="306"/>
                    <a:pt x="69" y="290"/>
                  </a:cubicBezTo>
                  <a:cubicBezTo>
                    <a:pt x="54" y="267"/>
                    <a:pt x="23" y="267"/>
                    <a:pt x="15" y="252"/>
                  </a:cubicBezTo>
                  <a:cubicBezTo>
                    <a:pt x="0" y="229"/>
                    <a:pt x="0" y="199"/>
                    <a:pt x="0" y="168"/>
                  </a:cubicBezTo>
                  <a:lnTo>
                    <a:pt x="0" y="168"/>
                  </a:lnTo>
                  <a:cubicBezTo>
                    <a:pt x="15" y="168"/>
                    <a:pt x="38" y="168"/>
                    <a:pt x="54" y="153"/>
                  </a:cubicBezTo>
                  <a:cubicBezTo>
                    <a:pt x="61" y="138"/>
                    <a:pt x="38" y="122"/>
                    <a:pt x="38" y="107"/>
                  </a:cubicBezTo>
                  <a:cubicBezTo>
                    <a:pt x="46" y="76"/>
                    <a:pt x="69" y="53"/>
                    <a:pt x="84" y="31"/>
                  </a:cubicBezTo>
                  <a:lnTo>
                    <a:pt x="84" y="31"/>
                  </a:lnTo>
                  <a:cubicBezTo>
                    <a:pt x="99" y="38"/>
                    <a:pt x="107" y="53"/>
                    <a:pt x="122" y="61"/>
                  </a:cubicBezTo>
                  <a:cubicBezTo>
                    <a:pt x="130" y="61"/>
                    <a:pt x="138" y="53"/>
                    <a:pt x="145" y="46"/>
                  </a:cubicBezTo>
                  <a:cubicBezTo>
                    <a:pt x="153" y="31"/>
                    <a:pt x="138" y="0"/>
                    <a:pt x="145" y="8"/>
                  </a:cubicBezTo>
                  <a:cubicBezTo>
                    <a:pt x="176" y="15"/>
                    <a:pt x="183" y="38"/>
                    <a:pt x="206" y="61"/>
                  </a:cubicBezTo>
                  <a:lnTo>
                    <a:pt x="206" y="61"/>
                  </a:lnTo>
                  <a:cubicBezTo>
                    <a:pt x="199" y="84"/>
                    <a:pt x="191" y="122"/>
                    <a:pt x="191" y="160"/>
                  </a:cubicBezTo>
                  <a:cubicBezTo>
                    <a:pt x="206" y="160"/>
                    <a:pt x="252" y="130"/>
                    <a:pt x="298" y="9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51" name="Freeform 173"/>
            <p:cNvSpPr>
              <a:spLocks noChangeArrowheads="1"/>
            </p:cNvSpPr>
            <p:nvPr/>
          </p:nvSpPr>
          <p:spPr bwMode="auto">
            <a:xfrm>
              <a:off x="4292321" y="5861050"/>
              <a:ext cx="288906" cy="247650"/>
            </a:xfrm>
            <a:custGeom>
              <a:avLst/>
              <a:gdLst>
                <a:gd name="T0" fmla="*/ 306 w 803"/>
                <a:gd name="T1" fmla="*/ 672 h 689"/>
                <a:gd name="T2" fmla="*/ 306 w 803"/>
                <a:gd name="T3" fmla="*/ 672 h 689"/>
                <a:gd name="T4" fmla="*/ 344 w 803"/>
                <a:gd name="T5" fmla="*/ 657 h 689"/>
                <a:gd name="T6" fmla="*/ 336 w 803"/>
                <a:gd name="T7" fmla="*/ 619 h 689"/>
                <a:gd name="T8" fmla="*/ 367 w 803"/>
                <a:gd name="T9" fmla="*/ 611 h 689"/>
                <a:gd name="T10" fmla="*/ 413 w 803"/>
                <a:gd name="T11" fmla="*/ 634 h 689"/>
                <a:gd name="T12" fmla="*/ 443 w 803"/>
                <a:gd name="T13" fmla="*/ 596 h 689"/>
                <a:gd name="T14" fmla="*/ 565 w 803"/>
                <a:gd name="T15" fmla="*/ 565 h 689"/>
                <a:gd name="T16" fmla="*/ 558 w 803"/>
                <a:gd name="T17" fmla="*/ 550 h 689"/>
                <a:gd name="T18" fmla="*/ 642 w 803"/>
                <a:gd name="T19" fmla="*/ 527 h 689"/>
                <a:gd name="T20" fmla="*/ 718 w 803"/>
                <a:gd name="T21" fmla="*/ 573 h 689"/>
                <a:gd name="T22" fmla="*/ 718 w 803"/>
                <a:gd name="T23" fmla="*/ 573 h 689"/>
                <a:gd name="T24" fmla="*/ 772 w 803"/>
                <a:gd name="T25" fmla="*/ 558 h 689"/>
                <a:gd name="T26" fmla="*/ 756 w 803"/>
                <a:gd name="T27" fmla="*/ 512 h 689"/>
                <a:gd name="T28" fmla="*/ 802 w 803"/>
                <a:gd name="T29" fmla="*/ 436 h 689"/>
                <a:gd name="T30" fmla="*/ 802 w 803"/>
                <a:gd name="T31" fmla="*/ 436 h 689"/>
                <a:gd name="T32" fmla="*/ 787 w 803"/>
                <a:gd name="T33" fmla="*/ 413 h 689"/>
                <a:gd name="T34" fmla="*/ 695 w 803"/>
                <a:gd name="T35" fmla="*/ 405 h 689"/>
                <a:gd name="T36" fmla="*/ 672 w 803"/>
                <a:gd name="T37" fmla="*/ 352 h 689"/>
                <a:gd name="T38" fmla="*/ 718 w 803"/>
                <a:gd name="T39" fmla="*/ 260 h 689"/>
                <a:gd name="T40" fmla="*/ 665 w 803"/>
                <a:gd name="T41" fmla="*/ 153 h 689"/>
                <a:gd name="T42" fmla="*/ 649 w 803"/>
                <a:gd name="T43" fmla="*/ 99 h 689"/>
                <a:gd name="T44" fmla="*/ 627 w 803"/>
                <a:gd name="T45" fmla="*/ 61 h 689"/>
                <a:gd name="T46" fmla="*/ 627 w 803"/>
                <a:gd name="T47" fmla="*/ 61 h 689"/>
                <a:gd name="T48" fmla="*/ 604 w 803"/>
                <a:gd name="T49" fmla="*/ 16 h 689"/>
                <a:gd name="T50" fmla="*/ 558 w 803"/>
                <a:gd name="T51" fmla="*/ 8 h 689"/>
                <a:gd name="T52" fmla="*/ 489 w 803"/>
                <a:gd name="T53" fmla="*/ 23 h 689"/>
                <a:gd name="T54" fmla="*/ 428 w 803"/>
                <a:gd name="T55" fmla="*/ 69 h 689"/>
                <a:gd name="T56" fmla="*/ 367 w 803"/>
                <a:gd name="T57" fmla="*/ 54 h 689"/>
                <a:gd name="T58" fmla="*/ 375 w 803"/>
                <a:gd name="T59" fmla="*/ 69 h 689"/>
                <a:gd name="T60" fmla="*/ 298 w 803"/>
                <a:gd name="T61" fmla="*/ 69 h 689"/>
                <a:gd name="T62" fmla="*/ 237 w 803"/>
                <a:gd name="T63" fmla="*/ 46 h 689"/>
                <a:gd name="T64" fmla="*/ 191 w 803"/>
                <a:gd name="T65" fmla="*/ 99 h 689"/>
                <a:gd name="T66" fmla="*/ 130 w 803"/>
                <a:gd name="T67" fmla="*/ 92 h 689"/>
                <a:gd name="T68" fmla="*/ 31 w 803"/>
                <a:gd name="T69" fmla="*/ 92 h 689"/>
                <a:gd name="T70" fmla="*/ 31 w 803"/>
                <a:gd name="T71" fmla="*/ 92 h 689"/>
                <a:gd name="T72" fmla="*/ 46 w 803"/>
                <a:gd name="T73" fmla="*/ 153 h 689"/>
                <a:gd name="T74" fmla="*/ 38 w 803"/>
                <a:gd name="T75" fmla="*/ 206 h 689"/>
                <a:gd name="T76" fmla="*/ 0 w 803"/>
                <a:gd name="T77" fmla="*/ 283 h 689"/>
                <a:gd name="T78" fmla="*/ 0 w 803"/>
                <a:gd name="T79" fmla="*/ 283 h 689"/>
                <a:gd name="T80" fmla="*/ 38 w 803"/>
                <a:gd name="T81" fmla="*/ 359 h 689"/>
                <a:gd name="T82" fmla="*/ 145 w 803"/>
                <a:gd name="T83" fmla="*/ 458 h 689"/>
                <a:gd name="T84" fmla="*/ 115 w 803"/>
                <a:gd name="T85" fmla="*/ 688 h 689"/>
                <a:gd name="T86" fmla="*/ 115 w 803"/>
                <a:gd name="T87" fmla="*/ 688 h 689"/>
                <a:gd name="T88" fmla="*/ 275 w 803"/>
                <a:gd name="T89" fmla="*/ 627 h 689"/>
                <a:gd name="T90" fmla="*/ 306 w 803"/>
                <a:gd name="T91" fmla="*/ 672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03" h="689">
                  <a:moveTo>
                    <a:pt x="306" y="672"/>
                  </a:moveTo>
                  <a:lnTo>
                    <a:pt x="306" y="672"/>
                  </a:lnTo>
                  <a:cubicBezTo>
                    <a:pt x="321" y="665"/>
                    <a:pt x="336" y="665"/>
                    <a:pt x="344" y="657"/>
                  </a:cubicBezTo>
                  <a:cubicBezTo>
                    <a:pt x="352" y="642"/>
                    <a:pt x="329" y="627"/>
                    <a:pt x="336" y="619"/>
                  </a:cubicBezTo>
                  <a:cubicBezTo>
                    <a:pt x="336" y="611"/>
                    <a:pt x="359" y="611"/>
                    <a:pt x="367" y="611"/>
                  </a:cubicBezTo>
                  <a:cubicBezTo>
                    <a:pt x="382" y="611"/>
                    <a:pt x="397" y="634"/>
                    <a:pt x="413" y="634"/>
                  </a:cubicBezTo>
                  <a:cubicBezTo>
                    <a:pt x="428" y="627"/>
                    <a:pt x="428" y="604"/>
                    <a:pt x="443" y="596"/>
                  </a:cubicBezTo>
                  <a:cubicBezTo>
                    <a:pt x="481" y="581"/>
                    <a:pt x="527" y="588"/>
                    <a:pt x="565" y="565"/>
                  </a:cubicBezTo>
                  <a:cubicBezTo>
                    <a:pt x="573" y="565"/>
                    <a:pt x="550" y="550"/>
                    <a:pt x="558" y="550"/>
                  </a:cubicBezTo>
                  <a:cubicBezTo>
                    <a:pt x="588" y="535"/>
                    <a:pt x="611" y="527"/>
                    <a:pt x="642" y="527"/>
                  </a:cubicBezTo>
                  <a:cubicBezTo>
                    <a:pt x="672" y="535"/>
                    <a:pt x="688" y="558"/>
                    <a:pt x="718" y="573"/>
                  </a:cubicBezTo>
                  <a:lnTo>
                    <a:pt x="718" y="573"/>
                  </a:lnTo>
                  <a:cubicBezTo>
                    <a:pt x="733" y="573"/>
                    <a:pt x="756" y="573"/>
                    <a:pt x="772" y="558"/>
                  </a:cubicBezTo>
                  <a:cubicBezTo>
                    <a:pt x="779" y="543"/>
                    <a:pt x="756" y="527"/>
                    <a:pt x="756" y="512"/>
                  </a:cubicBezTo>
                  <a:cubicBezTo>
                    <a:pt x="764" y="481"/>
                    <a:pt x="787" y="458"/>
                    <a:pt x="802" y="436"/>
                  </a:cubicBezTo>
                  <a:lnTo>
                    <a:pt x="802" y="436"/>
                  </a:lnTo>
                  <a:cubicBezTo>
                    <a:pt x="794" y="428"/>
                    <a:pt x="794" y="420"/>
                    <a:pt x="787" y="413"/>
                  </a:cubicBezTo>
                  <a:cubicBezTo>
                    <a:pt x="756" y="405"/>
                    <a:pt x="718" y="428"/>
                    <a:pt x="695" y="405"/>
                  </a:cubicBezTo>
                  <a:cubicBezTo>
                    <a:pt x="672" y="397"/>
                    <a:pt x="672" y="367"/>
                    <a:pt x="672" y="352"/>
                  </a:cubicBezTo>
                  <a:cubicBezTo>
                    <a:pt x="680" y="321"/>
                    <a:pt x="726" y="298"/>
                    <a:pt x="718" y="260"/>
                  </a:cubicBezTo>
                  <a:cubicBezTo>
                    <a:pt x="718" y="222"/>
                    <a:pt x="680" y="191"/>
                    <a:pt x="665" y="153"/>
                  </a:cubicBezTo>
                  <a:cubicBezTo>
                    <a:pt x="657" y="138"/>
                    <a:pt x="657" y="115"/>
                    <a:pt x="649" y="99"/>
                  </a:cubicBezTo>
                  <a:cubicBezTo>
                    <a:pt x="642" y="84"/>
                    <a:pt x="634" y="77"/>
                    <a:pt x="627" y="61"/>
                  </a:cubicBezTo>
                  <a:lnTo>
                    <a:pt x="627" y="61"/>
                  </a:lnTo>
                  <a:cubicBezTo>
                    <a:pt x="619" y="46"/>
                    <a:pt x="619" y="23"/>
                    <a:pt x="604" y="16"/>
                  </a:cubicBezTo>
                  <a:cubicBezTo>
                    <a:pt x="588" y="0"/>
                    <a:pt x="573" y="8"/>
                    <a:pt x="558" y="8"/>
                  </a:cubicBezTo>
                  <a:cubicBezTo>
                    <a:pt x="535" y="16"/>
                    <a:pt x="512" y="16"/>
                    <a:pt x="489" y="23"/>
                  </a:cubicBezTo>
                  <a:lnTo>
                    <a:pt x="428" y="69"/>
                  </a:lnTo>
                  <a:cubicBezTo>
                    <a:pt x="420" y="69"/>
                    <a:pt x="367" y="54"/>
                    <a:pt x="367" y="54"/>
                  </a:cubicBezTo>
                  <a:cubicBezTo>
                    <a:pt x="367" y="61"/>
                    <a:pt x="382" y="69"/>
                    <a:pt x="375" y="69"/>
                  </a:cubicBezTo>
                  <a:cubicBezTo>
                    <a:pt x="352" y="77"/>
                    <a:pt x="329" y="69"/>
                    <a:pt x="298" y="69"/>
                  </a:cubicBezTo>
                  <a:cubicBezTo>
                    <a:pt x="283" y="61"/>
                    <a:pt x="260" y="39"/>
                    <a:pt x="237" y="46"/>
                  </a:cubicBezTo>
                  <a:cubicBezTo>
                    <a:pt x="214" y="54"/>
                    <a:pt x="214" y="92"/>
                    <a:pt x="191" y="99"/>
                  </a:cubicBezTo>
                  <a:cubicBezTo>
                    <a:pt x="168" y="107"/>
                    <a:pt x="153" y="92"/>
                    <a:pt x="130" y="92"/>
                  </a:cubicBezTo>
                  <a:cubicBezTo>
                    <a:pt x="100" y="84"/>
                    <a:pt x="61" y="92"/>
                    <a:pt x="31" y="92"/>
                  </a:cubicBezTo>
                  <a:lnTo>
                    <a:pt x="31" y="92"/>
                  </a:lnTo>
                  <a:cubicBezTo>
                    <a:pt x="38" y="115"/>
                    <a:pt x="46" y="138"/>
                    <a:pt x="46" y="153"/>
                  </a:cubicBezTo>
                  <a:cubicBezTo>
                    <a:pt x="46" y="168"/>
                    <a:pt x="38" y="191"/>
                    <a:pt x="38" y="206"/>
                  </a:cubicBezTo>
                  <a:cubicBezTo>
                    <a:pt x="23" y="229"/>
                    <a:pt x="15" y="260"/>
                    <a:pt x="0" y="283"/>
                  </a:cubicBezTo>
                  <a:lnTo>
                    <a:pt x="0" y="283"/>
                  </a:lnTo>
                  <a:cubicBezTo>
                    <a:pt x="15" y="306"/>
                    <a:pt x="23" y="336"/>
                    <a:pt x="38" y="359"/>
                  </a:cubicBezTo>
                  <a:cubicBezTo>
                    <a:pt x="69" y="397"/>
                    <a:pt x="130" y="413"/>
                    <a:pt x="145" y="458"/>
                  </a:cubicBezTo>
                  <a:cubicBezTo>
                    <a:pt x="161" y="535"/>
                    <a:pt x="122" y="611"/>
                    <a:pt x="115" y="688"/>
                  </a:cubicBezTo>
                  <a:lnTo>
                    <a:pt x="115" y="688"/>
                  </a:lnTo>
                  <a:cubicBezTo>
                    <a:pt x="168" y="665"/>
                    <a:pt x="222" y="627"/>
                    <a:pt x="275" y="627"/>
                  </a:cubicBezTo>
                  <a:cubicBezTo>
                    <a:pt x="290" y="619"/>
                    <a:pt x="290" y="657"/>
                    <a:pt x="306" y="67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52" name="Freeform 174"/>
            <p:cNvSpPr>
              <a:spLocks noChangeArrowheads="1"/>
            </p:cNvSpPr>
            <p:nvPr/>
          </p:nvSpPr>
          <p:spPr bwMode="auto">
            <a:xfrm>
              <a:off x="4517731" y="5875339"/>
              <a:ext cx="130167" cy="153987"/>
            </a:xfrm>
            <a:custGeom>
              <a:avLst/>
              <a:gdLst>
                <a:gd name="T0" fmla="*/ 297 w 360"/>
                <a:gd name="T1" fmla="*/ 427 h 428"/>
                <a:gd name="T2" fmla="*/ 297 w 360"/>
                <a:gd name="T3" fmla="*/ 427 h 428"/>
                <a:gd name="T4" fmla="*/ 236 w 360"/>
                <a:gd name="T5" fmla="*/ 374 h 428"/>
                <a:gd name="T6" fmla="*/ 236 w 360"/>
                <a:gd name="T7" fmla="*/ 412 h 428"/>
                <a:gd name="T8" fmla="*/ 213 w 360"/>
                <a:gd name="T9" fmla="*/ 427 h 428"/>
                <a:gd name="T10" fmla="*/ 175 w 360"/>
                <a:gd name="T11" fmla="*/ 397 h 428"/>
                <a:gd name="T12" fmla="*/ 175 w 360"/>
                <a:gd name="T13" fmla="*/ 397 h 428"/>
                <a:gd name="T14" fmla="*/ 160 w 360"/>
                <a:gd name="T15" fmla="*/ 374 h 428"/>
                <a:gd name="T16" fmla="*/ 68 w 360"/>
                <a:gd name="T17" fmla="*/ 366 h 428"/>
                <a:gd name="T18" fmla="*/ 45 w 360"/>
                <a:gd name="T19" fmla="*/ 313 h 428"/>
                <a:gd name="T20" fmla="*/ 91 w 360"/>
                <a:gd name="T21" fmla="*/ 221 h 428"/>
                <a:gd name="T22" fmla="*/ 38 w 360"/>
                <a:gd name="T23" fmla="*/ 114 h 428"/>
                <a:gd name="T24" fmla="*/ 22 w 360"/>
                <a:gd name="T25" fmla="*/ 60 h 428"/>
                <a:gd name="T26" fmla="*/ 0 w 360"/>
                <a:gd name="T27" fmla="*/ 22 h 428"/>
                <a:gd name="T28" fmla="*/ 0 w 360"/>
                <a:gd name="T29" fmla="*/ 22 h 428"/>
                <a:gd name="T30" fmla="*/ 61 w 360"/>
                <a:gd name="T31" fmla="*/ 15 h 428"/>
                <a:gd name="T32" fmla="*/ 76 w 360"/>
                <a:gd name="T33" fmla="*/ 22 h 428"/>
                <a:gd name="T34" fmla="*/ 91 w 360"/>
                <a:gd name="T35" fmla="*/ 7 h 428"/>
                <a:gd name="T36" fmla="*/ 137 w 360"/>
                <a:gd name="T37" fmla="*/ 0 h 428"/>
                <a:gd name="T38" fmla="*/ 137 w 360"/>
                <a:gd name="T39" fmla="*/ 0 h 428"/>
                <a:gd name="T40" fmla="*/ 145 w 360"/>
                <a:gd name="T41" fmla="*/ 38 h 428"/>
                <a:gd name="T42" fmla="*/ 175 w 360"/>
                <a:gd name="T43" fmla="*/ 68 h 428"/>
                <a:gd name="T44" fmla="*/ 198 w 360"/>
                <a:gd name="T45" fmla="*/ 45 h 428"/>
                <a:gd name="T46" fmla="*/ 206 w 360"/>
                <a:gd name="T47" fmla="*/ 76 h 428"/>
                <a:gd name="T48" fmla="*/ 236 w 360"/>
                <a:gd name="T49" fmla="*/ 53 h 428"/>
                <a:gd name="T50" fmla="*/ 259 w 360"/>
                <a:gd name="T51" fmla="*/ 68 h 428"/>
                <a:gd name="T52" fmla="*/ 297 w 360"/>
                <a:gd name="T53" fmla="*/ 53 h 428"/>
                <a:gd name="T54" fmla="*/ 336 w 360"/>
                <a:gd name="T55" fmla="*/ 76 h 428"/>
                <a:gd name="T56" fmla="*/ 336 w 360"/>
                <a:gd name="T57" fmla="*/ 76 h 428"/>
                <a:gd name="T58" fmla="*/ 305 w 360"/>
                <a:gd name="T59" fmla="*/ 99 h 428"/>
                <a:gd name="T60" fmla="*/ 305 w 360"/>
                <a:gd name="T61" fmla="*/ 122 h 428"/>
                <a:gd name="T62" fmla="*/ 320 w 360"/>
                <a:gd name="T63" fmla="*/ 144 h 428"/>
                <a:gd name="T64" fmla="*/ 297 w 360"/>
                <a:gd name="T65" fmla="*/ 229 h 428"/>
                <a:gd name="T66" fmla="*/ 320 w 360"/>
                <a:gd name="T67" fmla="*/ 244 h 428"/>
                <a:gd name="T68" fmla="*/ 359 w 360"/>
                <a:gd name="T69" fmla="*/ 320 h 428"/>
                <a:gd name="T70" fmla="*/ 359 w 360"/>
                <a:gd name="T71" fmla="*/ 320 h 428"/>
                <a:gd name="T72" fmla="*/ 297 w 360"/>
                <a:gd name="T73" fmla="*/ 427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0" h="428">
                  <a:moveTo>
                    <a:pt x="297" y="427"/>
                  </a:moveTo>
                  <a:lnTo>
                    <a:pt x="297" y="427"/>
                  </a:lnTo>
                  <a:cubicBezTo>
                    <a:pt x="274" y="404"/>
                    <a:pt x="267" y="381"/>
                    <a:pt x="236" y="374"/>
                  </a:cubicBezTo>
                  <a:cubicBezTo>
                    <a:pt x="229" y="366"/>
                    <a:pt x="244" y="397"/>
                    <a:pt x="236" y="412"/>
                  </a:cubicBezTo>
                  <a:cubicBezTo>
                    <a:pt x="229" y="419"/>
                    <a:pt x="221" y="427"/>
                    <a:pt x="213" y="427"/>
                  </a:cubicBezTo>
                  <a:cubicBezTo>
                    <a:pt x="198" y="419"/>
                    <a:pt x="190" y="404"/>
                    <a:pt x="175" y="397"/>
                  </a:cubicBezTo>
                  <a:lnTo>
                    <a:pt x="175" y="397"/>
                  </a:lnTo>
                  <a:cubicBezTo>
                    <a:pt x="167" y="389"/>
                    <a:pt x="167" y="381"/>
                    <a:pt x="160" y="374"/>
                  </a:cubicBezTo>
                  <a:cubicBezTo>
                    <a:pt x="129" y="366"/>
                    <a:pt x="91" y="389"/>
                    <a:pt x="68" y="366"/>
                  </a:cubicBezTo>
                  <a:cubicBezTo>
                    <a:pt x="45" y="358"/>
                    <a:pt x="45" y="328"/>
                    <a:pt x="45" y="313"/>
                  </a:cubicBezTo>
                  <a:cubicBezTo>
                    <a:pt x="53" y="282"/>
                    <a:pt x="99" y="259"/>
                    <a:pt x="91" y="221"/>
                  </a:cubicBezTo>
                  <a:cubicBezTo>
                    <a:pt x="91" y="183"/>
                    <a:pt x="53" y="152"/>
                    <a:pt x="38" y="114"/>
                  </a:cubicBezTo>
                  <a:cubicBezTo>
                    <a:pt x="30" y="99"/>
                    <a:pt x="30" y="76"/>
                    <a:pt x="22" y="60"/>
                  </a:cubicBezTo>
                  <a:cubicBezTo>
                    <a:pt x="15" y="45"/>
                    <a:pt x="7" y="38"/>
                    <a:pt x="0" y="22"/>
                  </a:cubicBezTo>
                  <a:lnTo>
                    <a:pt x="0" y="22"/>
                  </a:lnTo>
                  <a:cubicBezTo>
                    <a:pt x="22" y="15"/>
                    <a:pt x="38" y="7"/>
                    <a:pt x="61" y="15"/>
                  </a:cubicBezTo>
                  <a:cubicBezTo>
                    <a:pt x="68" y="15"/>
                    <a:pt x="68" y="30"/>
                    <a:pt x="76" y="22"/>
                  </a:cubicBezTo>
                  <a:cubicBezTo>
                    <a:pt x="84" y="22"/>
                    <a:pt x="84" y="7"/>
                    <a:pt x="91" y="7"/>
                  </a:cubicBezTo>
                  <a:cubicBezTo>
                    <a:pt x="106" y="0"/>
                    <a:pt x="122" y="0"/>
                    <a:pt x="137" y="0"/>
                  </a:cubicBezTo>
                  <a:lnTo>
                    <a:pt x="137" y="0"/>
                  </a:lnTo>
                  <a:cubicBezTo>
                    <a:pt x="137" y="7"/>
                    <a:pt x="137" y="22"/>
                    <a:pt x="145" y="38"/>
                  </a:cubicBezTo>
                  <a:cubicBezTo>
                    <a:pt x="152" y="53"/>
                    <a:pt x="160" y="68"/>
                    <a:pt x="175" y="68"/>
                  </a:cubicBezTo>
                  <a:cubicBezTo>
                    <a:pt x="183" y="68"/>
                    <a:pt x="190" y="53"/>
                    <a:pt x="198" y="45"/>
                  </a:cubicBezTo>
                  <a:cubicBezTo>
                    <a:pt x="198" y="45"/>
                    <a:pt x="198" y="76"/>
                    <a:pt x="206" y="76"/>
                  </a:cubicBezTo>
                  <a:cubicBezTo>
                    <a:pt x="206" y="68"/>
                    <a:pt x="236" y="53"/>
                    <a:pt x="236" y="53"/>
                  </a:cubicBezTo>
                  <a:cubicBezTo>
                    <a:pt x="244" y="60"/>
                    <a:pt x="252" y="68"/>
                    <a:pt x="259" y="68"/>
                  </a:cubicBezTo>
                  <a:cubicBezTo>
                    <a:pt x="274" y="68"/>
                    <a:pt x="290" y="45"/>
                    <a:pt x="297" y="53"/>
                  </a:cubicBezTo>
                  <a:cubicBezTo>
                    <a:pt x="313" y="53"/>
                    <a:pt x="320" y="68"/>
                    <a:pt x="336" y="76"/>
                  </a:cubicBezTo>
                  <a:lnTo>
                    <a:pt x="336" y="76"/>
                  </a:lnTo>
                  <a:cubicBezTo>
                    <a:pt x="320" y="83"/>
                    <a:pt x="313" y="91"/>
                    <a:pt x="305" y="99"/>
                  </a:cubicBezTo>
                  <a:cubicBezTo>
                    <a:pt x="297" y="106"/>
                    <a:pt x="305" y="114"/>
                    <a:pt x="305" y="122"/>
                  </a:cubicBezTo>
                  <a:cubicBezTo>
                    <a:pt x="305" y="129"/>
                    <a:pt x="320" y="137"/>
                    <a:pt x="320" y="144"/>
                  </a:cubicBezTo>
                  <a:cubicBezTo>
                    <a:pt x="313" y="175"/>
                    <a:pt x="297" y="198"/>
                    <a:pt x="297" y="229"/>
                  </a:cubicBezTo>
                  <a:cubicBezTo>
                    <a:pt x="297" y="236"/>
                    <a:pt x="320" y="236"/>
                    <a:pt x="320" y="244"/>
                  </a:cubicBezTo>
                  <a:cubicBezTo>
                    <a:pt x="336" y="267"/>
                    <a:pt x="343" y="297"/>
                    <a:pt x="359" y="320"/>
                  </a:cubicBezTo>
                  <a:lnTo>
                    <a:pt x="359" y="320"/>
                  </a:lnTo>
                  <a:cubicBezTo>
                    <a:pt x="328" y="351"/>
                    <a:pt x="305" y="381"/>
                    <a:pt x="297" y="42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53" name="Freeform 175"/>
            <p:cNvSpPr>
              <a:spLocks noChangeArrowheads="1"/>
            </p:cNvSpPr>
            <p:nvPr/>
          </p:nvSpPr>
          <p:spPr bwMode="auto">
            <a:xfrm>
              <a:off x="3998653" y="5929314"/>
              <a:ext cx="352402" cy="206375"/>
            </a:xfrm>
            <a:custGeom>
              <a:avLst/>
              <a:gdLst>
                <a:gd name="T0" fmla="*/ 817 w 979"/>
                <a:gd name="T1" fmla="*/ 92 h 574"/>
                <a:gd name="T2" fmla="*/ 817 w 979"/>
                <a:gd name="T3" fmla="*/ 92 h 574"/>
                <a:gd name="T4" fmla="*/ 855 w 979"/>
                <a:gd name="T5" fmla="*/ 168 h 574"/>
                <a:gd name="T6" fmla="*/ 962 w 979"/>
                <a:gd name="T7" fmla="*/ 267 h 574"/>
                <a:gd name="T8" fmla="*/ 932 w 979"/>
                <a:gd name="T9" fmla="*/ 497 h 574"/>
                <a:gd name="T10" fmla="*/ 932 w 979"/>
                <a:gd name="T11" fmla="*/ 497 h 574"/>
                <a:gd name="T12" fmla="*/ 748 w 979"/>
                <a:gd name="T13" fmla="*/ 573 h 574"/>
                <a:gd name="T14" fmla="*/ 748 w 979"/>
                <a:gd name="T15" fmla="*/ 573 h 574"/>
                <a:gd name="T16" fmla="*/ 642 w 979"/>
                <a:gd name="T17" fmla="*/ 504 h 574"/>
                <a:gd name="T18" fmla="*/ 603 w 979"/>
                <a:gd name="T19" fmla="*/ 489 h 574"/>
                <a:gd name="T20" fmla="*/ 596 w 979"/>
                <a:gd name="T21" fmla="*/ 512 h 574"/>
                <a:gd name="T22" fmla="*/ 550 w 979"/>
                <a:gd name="T23" fmla="*/ 512 h 574"/>
                <a:gd name="T24" fmla="*/ 512 w 979"/>
                <a:gd name="T25" fmla="*/ 497 h 574"/>
                <a:gd name="T26" fmla="*/ 481 w 979"/>
                <a:gd name="T27" fmla="*/ 542 h 574"/>
                <a:gd name="T28" fmla="*/ 443 w 979"/>
                <a:gd name="T29" fmla="*/ 481 h 574"/>
                <a:gd name="T30" fmla="*/ 374 w 979"/>
                <a:gd name="T31" fmla="*/ 497 h 574"/>
                <a:gd name="T32" fmla="*/ 344 w 979"/>
                <a:gd name="T33" fmla="*/ 489 h 574"/>
                <a:gd name="T34" fmla="*/ 313 w 979"/>
                <a:gd name="T35" fmla="*/ 466 h 574"/>
                <a:gd name="T36" fmla="*/ 237 w 979"/>
                <a:gd name="T37" fmla="*/ 489 h 574"/>
                <a:gd name="T38" fmla="*/ 175 w 979"/>
                <a:gd name="T39" fmla="*/ 497 h 574"/>
                <a:gd name="T40" fmla="*/ 107 w 979"/>
                <a:gd name="T41" fmla="*/ 481 h 574"/>
                <a:gd name="T42" fmla="*/ 76 w 979"/>
                <a:gd name="T43" fmla="*/ 466 h 574"/>
                <a:gd name="T44" fmla="*/ 76 w 979"/>
                <a:gd name="T45" fmla="*/ 466 h 574"/>
                <a:gd name="T46" fmla="*/ 99 w 979"/>
                <a:gd name="T47" fmla="*/ 390 h 574"/>
                <a:gd name="T48" fmla="*/ 38 w 979"/>
                <a:gd name="T49" fmla="*/ 275 h 574"/>
                <a:gd name="T50" fmla="*/ 69 w 979"/>
                <a:gd name="T51" fmla="*/ 237 h 574"/>
                <a:gd name="T52" fmla="*/ 23 w 979"/>
                <a:gd name="T53" fmla="*/ 191 h 574"/>
                <a:gd name="T54" fmla="*/ 31 w 979"/>
                <a:gd name="T55" fmla="*/ 122 h 574"/>
                <a:gd name="T56" fmla="*/ 15 w 979"/>
                <a:gd name="T57" fmla="*/ 46 h 574"/>
                <a:gd name="T58" fmla="*/ 69 w 979"/>
                <a:gd name="T59" fmla="*/ 15 h 574"/>
                <a:gd name="T60" fmla="*/ 69 w 979"/>
                <a:gd name="T61" fmla="*/ 15 h 574"/>
                <a:gd name="T62" fmla="*/ 145 w 979"/>
                <a:gd name="T63" fmla="*/ 54 h 574"/>
                <a:gd name="T64" fmla="*/ 214 w 979"/>
                <a:gd name="T65" fmla="*/ 61 h 574"/>
                <a:gd name="T66" fmla="*/ 306 w 979"/>
                <a:gd name="T67" fmla="*/ 8 h 574"/>
                <a:gd name="T68" fmla="*/ 374 w 979"/>
                <a:gd name="T69" fmla="*/ 46 h 574"/>
                <a:gd name="T70" fmla="*/ 382 w 979"/>
                <a:gd name="T71" fmla="*/ 8 h 574"/>
                <a:gd name="T72" fmla="*/ 405 w 979"/>
                <a:gd name="T73" fmla="*/ 8 h 574"/>
                <a:gd name="T74" fmla="*/ 466 w 979"/>
                <a:gd name="T75" fmla="*/ 107 h 574"/>
                <a:gd name="T76" fmla="*/ 527 w 979"/>
                <a:gd name="T77" fmla="*/ 145 h 574"/>
                <a:gd name="T78" fmla="*/ 588 w 979"/>
                <a:gd name="T79" fmla="*/ 115 h 574"/>
                <a:gd name="T80" fmla="*/ 664 w 979"/>
                <a:gd name="T81" fmla="*/ 77 h 574"/>
                <a:gd name="T82" fmla="*/ 710 w 979"/>
                <a:gd name="T83" fmla="*/ 92 h 574"/>
                <a:gd name="T84" fmla="*/ 733 w 979"/>
                <a:gd name="T85" fmla="*/ 77 h 574"/>
                <a:gd name="T86" fmla="*/ 817 w 979"/>
                <a:gd name="T87" fmla="*/ 92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79" h="574">
                  <a:moveTo>
                    <a:pt x="817" y="92"/>
                  </a:moveTo>
                  <a:lnTo>
                    <a:pt x="817" y="92"/>
                  </a:lnTo>
                  <a:cubicBezTo>
                    <a:pt x="832" y="115"/>
                    <a:pt x="840" y="145"/>
                    <a:pt x="855" y="168"/>
                  </a:cubicBezTo>
                  <a:cubicBezTo>
                    <a:pt x="886" y="206"/>
                    <a:pt x="947" y="222"/>
                    <a:pt x="962" y="267"/>
                  </a:cubicBezTo>
                  <a:cubicBezTo>
                    <a:pt x="978" y="344"/>
                    <a:pt x="939" y="420"/>
                    <a:pt x="932" y="497"/>
                  </a:cubicBezTo>
                  <a:lnTo>
                    <a:pt x="932" y="497"/>
                  </a:lnTo>
                  <a:cubicBezTo>
                    <a:pt x="748" y="573"/>
                    <a:pt x="748" y="573"/>
                    <a:pt x="748" y="573"/>
                  </a:cubicBezTo>
                  <a:lnTo>
                    <a:pt x="748" y="573"/>
                  </a:lnTo>
                  <a:cubicBezTo>
                    <a:pt x="718" y="550"/>
                    <a:pt x="680" y="520"/>
                    <a:pt x="642" y="504"/>
                  </a:cubicBezTo>
                  <a:cubicBezTo>
                    <a:pt x="626" y="497"/>
                    <a:pt x="611" y="489"/>
                    <a:pt x="603" y="489"/>
                  </a:cubicBezTo>
                  <a:cubicBezTo>
                    <a:pt x="596" y="497"/>
                    <a:pt x="603" y="504"/>
                    <a:pt x="596" y="512"/>
                  </a:cubicBezTo>
                  <a:cubicBezTo>
                    <a:pt x="580" y="512"/>
                    <a:pt x="565" y="512"/>
                    <a:pt x="550" y="512"/>
                  </a:cubicBezTo>
                  <a:cubicBezTo>
                    <a:pt x="535" y="512"/>
                    <a:pt x="527" y="489"/>
                    <a:pt x="512" y="497"/>
                  </a:cubicBezTo>
                  <a:cubicBezTo>
                    <a:pt x="496" y="504"/>
                    <a:pt x="504" y="542"/>
                    <a:pt x="481" y="542"/>
                  </a:cubicBezTo>
                  <a:cubicBezTo>
                    <a:pt x="458" y="535"/>
                    <a:pt x="466" y="489"/>
                    <a:pt x="443" y="481"/>
                  </a:cubicBezTo>
                  <a:cubicBezTo>
                    <a:pt x="420" y="474"/>
                    <a:pt x="397" y="497"/>
                    <a:pt x="374" y="497"/>
                  </a:cubicBezTo>
                  <a:cubicBezTo>
                    <a:pt x="367" y="497"/>
                    <a:pt x="351" y="497"/>
                    <a:pt x="344" y="489"/>
                  </a:cubicBezTo>
                  <a:cubicBezTo>
                    <a:pt x="328" y="481"/>
                    <a:pt x="328" y="466"/>
                    <a:pt x="313" y="466"/>
                  </a:cubicBezTo>
                  <a:cubicBezTo>
                    <a:pt x="290" y="466"/>
                    <a:pt x="260" y="481"/>
                    <a:pt x="237" y="489"/>
                  </a:cubicBezTo>
                  <a:cubicBezTo>
                    <a:pt x="214" y="497"/>
                    <a:pt x="198" y="504"/>
                    <a:pt x="175" y="497"/>
                  </a:cubicBezTo>
                  <a:cubicBezTo>
                    <a:pt x="153" y="497"/>
                    <a:pt x="130" y="489"/>
                    <a:pt x="107" y="481"/>
                  </a:cubicBezTo>
                  <a:cubicBezTo>
                    <a:pt x="99" y="481"/>
                    <a:pt x="92" y="474"/>
                    <a:pt x="76" y="466"/>
                  </a:cubicBezTo>
                  <a:lnTo>
                    <a:pt x="76" y="466"/>
                  </a:lnTo>
                  <a:cubicBezTo>
                    <a:pt x="84" y="443"/>
                    <a:pt x="107" y="420"/>
                    <a:pt x="99" y="390"/>
                  </a:cubicBezTo>
                  <a:cubicBezTo>
                    <a:pt x="92" y="352"/>
                    <a:pt x="53" y="313"/>
                    <a:pt x="38" y="275"/>
                  </a:cubicBezTo>
                  <a:cubicBezTo>
                    <a:pt x="38" y="260"/>
                    <a:pt x="69" y="252"/>
                    <a:pt x="69" y="237"/>
                  </a:cubicBezTo>
                  <a:cubicBezTo>
                    <a:pt x="61" y="222"/>
                    <a:pt x="31" y="214"/>
                    <a:pt x="23" y="191"/>
                  </a:cubicBezTo>
                  <a:cubicBezTo>
                    <a:pt x="15" y="168"/>
                    <a:pt x="31" y="145"/>
                    <a:pt x="31" y="122"/>
                  </a:cubicBezTo>
                  <a:cubicBezTo>
                    <a:pt x="23" y="100"/>
                    <a:pt x="0" y="69"/>
                    <a:pt x="15" y="46"/>
                  </a:cubicBezTo>
                  <a:cubicBezTo>
                    <a:pt x="23" y="31"/>
                    <a:pt x="46" y="23"/>
                    <a:pt x="69" y="15"/>
                  </a:cubicBezTo>
                  <a:lnTo>
                    <a:pt x="69" y="15"/>
                  </a:lnTo>
                  <a:cubicBezTo>
                    <a:pt x="92" y="31"/>
                    <a:pt x="122" y="46"/>
                    <a:pt x="145" y="54"/>
                  </a:cubicBezTo>
                  <a:cubicBezTo>
                    <a:pt x="168" y="61"/>
                    <a:pt x="191" y="69"/>
                    <a:pt x="214" y="61"/>
                  </a:cubicBezTo>
                  <a:cubicBezTo>
                    <a:pt x="244" y="54"/>
                    <a:pt x="267" y="8"/>
                    <a:pt x="306" y="8"/>
                  </a:cubicBezTo>
                  <a:cubicBezTo>
                    <a:pt x="328" y="0"/>
                    <a:pt x="344" y="46"/>
                    <a:pt x="374" y="46"/>
                  </a:cubicBezTo>
                  <a:cubicBezTo>
                    <a:pt x="382" y="46"/>
                    <a:pt x="374" y="15"/>
                    <a:pt x="382" y="8"/>
                  </a:cubicBezTo>
                  <a:cubicBezTo>
                    <a:pt x="382" y="0"/>
                    <a:pt x="397" y="0"/>
                    <a:pt x="405" y="8"/>
                  </a:cubicBezTo>
                  <a:cubicBezTo>
                    <a:pt x="428" y="38"/>
                    <a:pt x="443" y="77"/>
                    <a:pt x="466" y="107"/>
                  </a:cubicBezTo>
                  <a:cubicBezTo>
                    <a:pt x="481" y="122"/>
                    <a:pt x="504" y="145"/>
                    <a:pt x="527" y="145"/>
                  </a:cubicBezTo>
                  <a:cubicBezTo>
                    <a:pt x="550" y="145"/>
                    <a:pt x="573" y="130"/>
                    <a:pt x="588" y="115"/>
                  </a:cubicBezTo>
                  <a:cubicBezTo>
                    <a:pt x="619" y="107"/>
                    <a:pt x="642" y="84"/>
                    <a:pt x="664" y="77"/>
                  </a:cubicBezTo>
                  <a:cubicBezTo>
                    <a:pt x="680" y="77"/>
                    <a:pt x="695" y="92"/>
                    <a:pt x="710" y="92"/>
                  </a:cubicBezTo>
                  <a:cubicBezTo>
                    <a:pt x="718" y="92"/>
                    <a:pt x="725" y="77"/>
                    <a:pt x="733" y="77"/>
                  </a:cubicBezTo>
                  <a:cubicBezTo>
                    <a:pt x="764" y="77"/>
                    <a:pt x="794" y="84"/>
                    <a:pt x="817" y="92"/>
                  </a:cubicBezTo>
                </a:path>
              </a:pathLst>
            </a:custGeom>
            <a:solidFill>
              <a:schemeClr val="accent2"/>
            </a:solidFill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54" name="Freeform 176"/>
            <p:cNvSpPr>
              <a:spLocks noChangeArrowheads="1"/>
            </p:cNvSpPr>
            <p:nvPr/>
          </p:nvSpPr>
          <p:spPr bwMode="auto">
            <a:xfrm>
              <a:off x="4022463" y="5729288"/>
              <a:ext cx="292081" cy="252412"/>
            </a:xfrm>
            <a:custGeom>
              <a:avLst/>
              <a:gdLst>
                <a:gd name="T0" fmla="*/ 0 w 810"/>
                <a:gd name="T1" fmla="*/ 572 h 703"/>
                <a:gd name="T2" fmla="*/ 0 w 810"/>
                <a:gd name="T3" fmla="*/ 572 h 703"/>
                <a:gd name="T4" fmla="*/ 76 w 810"/>
                <a:gd name="T5" fmla="*/ 611 h 703"/>
                <a:gd name="T6" fmla="*/ 145 w 810"/>
                <a:gd name="T7" fmla="*/ 618 h 703"/>
                <a:gd name="T8" fmla="*/ 237 w 810"/>
                <a:gd name="T9" fmla="*/ 565 h 703"/>
                <a:gd name="T10" fmla="*/ 305 w 810"/>
                <a:gd name="T11" fmla="*/ 603 h 703"/>
                <a:gd name="T12" fmla="*/ 313 w 810"/>
                <a:gd name="T13" fmla="*/ 565 h 703"/>
                <a:gd name="T14" fmla="*/ 336 w 810"/>
                <a:gd name="T15" fmla="*/ 565 h 703"/>
                <a:gd name="T16" fmla="*/ 397 w 810"/>
                <a:gd name="T17" fmla="*/ 664 h 703"/>
                <a:gd name="T18" fmla="*/ 458 w 810"/>
                <a:gd name="T19" fmla="*/ 702 h 703"/>
                <a:gd name="T20" fmla="*/ 519 w 810"/>
                <a:gd name="T21" fmla="*/ 672 h 703"/>
                <a:gd name="T22" fmla="*/ 595 w 810"/>
                <a:gd name="T23" fmla="*/ 634 h 703"/>
                <a:gd name="T24" fmla="*/ 641 w 810"/>
                <a:gd name="T25" fmla="*/ 649 h 703"/>
                <a:gd name="T26" fmla="*/ 664 w 810"/>
                <a:gd name="T27" fmla="*/ 634 h 703"/>
                <a:gd name="T28" fmla="*/ 748 w 810"/>
                <a:gd name="T29" fmla="*/ 649 h 703"/>
                <a:gd name="T30" fmla="*/ 748 w 810"/>
                <a:gd name="T31" fmla="*/ 649 h 703"/>
                <a:gd name="T32" fmla="*/ 786 w 810"/>
                <a:gd name="T33" fmla="*/ 572 h 703"/>
                <a:gd name="T34" fmla="*/ 794 w 810"/>
                <a:gd name="T35" fmla="*/ 519 h 703"/>
                <a:gd name="T36" fmla="*/ 779 w 810"/>
                <a:gd name="T37" fmla="*/ 458 h 703"/>
                <a:gd name="T38" fmla="*/ 779 w 810"/>
                <a:gd name="T39" fmla="*/ 458 h 703"/>
                <a:gd name="T40" fmla="*/ 794 w 810"/>
                <a:gd name="T41" fmla="*/ 374 h 703"/>
                <a:gd name="T42" fmla="*/ 809 w 810"/>
                <a:gd name="T43" fmla="*/ 343 h 703"/>
                <a:gd name="T44" fmla="*/ 779 w 810"/>
                <a:gd name="T45" fmla="*/ 236 h 703"/>
                <a:gd name="T46" fmla="*/ 740 w 810"/>
                <a:gd name="T47" fmla="*/ 168 h 703"/>
                <a:gd name="T48" fmla="*/ 740 w 810"/>
                <a:gd name="T49" fmla="*/ 84 h 703"/>
                <a:gd name="T50" fmla="*/ 740 w 810"/>
                <a:gd name="T51" fmla="*/ 84 h 703"/>
                <a:gd name="T52" fmla="*/ 687 w 810"/>
                <a:gd name="T53" fmla="*/ 0 h 703"/>
                <a:gd name="T54" fmla="*/ 687 w 810"/>
                <a:gd name="T55" fmla="*/ 0 h 703"/>
                <a:gd name="T56" fmla="*/ 656 w 810"/>
                <a:gd name="T57" fmla="*/ 39 h 703"/>
                <a:gd name="T58" fmla="*/ 595 w 810"/>
                <a:gd name="T59" fmla="*/ 46 h 703"/>
                <a:gd name="T60" fmla="*/ 557 w 810"/>
                <a:gd name="T61" fmla="*/ 31 h 703"/>
                <a:gd name="T62" fmla="*/ 527 w 810"/>
                <a:gd name="T63" fmla="*/ 39 h 703"/>
                <a:gd name="T64" fmla="*/ 504 w 810"/>
                <a:gd name="T65" fmla="*/ 77 h 703"/>
                <a:gd name="T66" fmla="*/ 458 w 810"/>
                <a:gd name="T67" fmla="*/ 91 h 703"/>
                <a:gd name="T68" fmla="*/ 420 w 810"/>
                <a:gd name="T69" fmla="*/ 54 h 703"/>
                <a:gd name="T70" fmla="*/ 313 w 810"/>
                <a:gd name="T71" fmla="*/ 91 h 703"/>
                <a:gd name="T72" fmla="*/ 313 w 810"/>
                <a:gd name="T73" fmla="*/ 91 h 703"/>
                <a:gd name="T74" fmla="*/ 336 w 810"/>
                <a:gd name="T75" fmla="*/ 137 h 703"/>
                <a:gd name="T76" fmla="*/ 336 w 810"/>
                <a:gd name="T77" fmla="*/ 206 h 703"/>
                <a:gd name="T78" fmla="*/ 305 w 810"/>
                <a:gd name="T79" fmla="*/ 213 h 703"/>
                <a:gd name="T80" fmla="*/ 275 w 810"/>
                <a:gd name="T81" fmla="*/ 290 h 703"/>
                <a:gd name="T82" fmla="*/ 175 w 810"/>
                <a:gd name="T83" fmla="*/ 252 h 703"/>
                <a:gd name="T84" fmla="*/ 145 w 810"/>
                <a:gd name="T85" fmla="*/ 259 h 703"/>
                <a:gd name="T86" fmla="*/ 145 w 810"/>
                <a:gd name="T87" fmla="*/ 313 h 703"/>
                <a:gd name="T88" fmla="*/ 106 w 810"/>
                <a:gd name="T89" fmla="*/ 359 h 703"/>
                <a:gd name="T90" fmla="*/ 106 w 810"/>
                <a:gd name="T91" fmla="*/ 359 h 703"/>
                <a:gd name="T92" fmla="*/ 84 w 810"/>
                <a:gd name="T93" fmla="*/ 412 h 703"/>
                <a:gd name="T94" fmla="*/ 122 w 810"/>
                <a:gd name="T95" fmla="*/ 458 h 703"/>
                <a:gd name="T96" fmla="*/ 99 w 810"/>
                <a:gd name="T97" fmla="*/ 488 h 703"/>
                <a:gd name="T98" fmla="*/ 61 w 810"/>
                <a:gd name="T99" fmla="*/ 488 h 703"/>
                <a:gd name="T100" fmla="*/ 61 w 810"/>
                <a:gd name="T101" fmla="*/ 488 h 703"/>
                <a:gd name="T102" fmla="*/ 53 w 810"/>
                <a:gd name="T103" fmla="*/ 549 h 703"/>
                <a:gd name="T104" fmla="*/ 0 w 810"/>
                <a:gd name="T105" fmla="*/ 572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10" h="703">
                  <a:moveTo>
                    <a:pt x="0" y="572"/>
                  </a:moveTo>
                  <a:lnTo>
                    <a:pt x="0" y="572"/>
                  </a:lnTo>
                  <a:cubicBezTo>
                    <a:pt x="23" y="588"/>
                    <a:pt x="53" y="603"/>
                    <a:pt x="76" y="611"/>
                  </a:cubicBezTo>
                  <a:cubicBezTo>
                    <a:pt x="99" y="618"/>
                    <a:pt x="122" y="626"/>
                    <a:pt x="145" y="618"/>
                  </a:cubicBezTo>
                  <a:cubicBezTo>
                    <a:pt x="175" y="611"/>
                    <a:pt x="198" y="565"/>
                    <a:pt x="237" y="565"/>
                  </a:cubicBezTo>
                  <a:cubicBezTo>
                    <a:pt x="259" y="557"/>
                    <a:pt x="275" y="603"/>
                    <a:pt x="305" y="603"/>
                  </a:cubicBezTo>
                  <a:cubicBezTo>
                    <a:pt x="313" y="603"/>
                    <a:pt x="305" y="572"/>
                    <a:pt x="313" y="565"/>
                  </a:cubicBezTo>
                  <a:cubicBezTo>
                    <a:pt x="313" y="557"/>
                    <a:pt x="328" y="557"/>
                    <a:pt x="336" y="565"/>
                  </a:cubicBezTo>
                  <a:cubicBezTo>
                    <a:pt x="359" y="595"/>
                    <a:pt x="374" y="634"/>
                    <a:pt x="397" y="664"/>
                  </a:cubicBezTo>
                  <a:cubicBezTo>
                    <a:pt x="412" y="679"/>
                    <a:pt x="435" y="702"/>
                    <a:pt x="458" y="702"/>
                  </a:cubicBezTo>
                  <a:cubicBezTo>
                    <a:pt x="481" y="702"/>
                    <a:pt x="504" y="687"/>
                    <a:pt x="519" y="672"/>
                  </a:cubicBezTo>
                  <a:cubicBezTo>
                    <a:pt x="550" y="664"/>
                    <a:pt x="573" y="641"/>
                    <a:pt x="595" y="634"/>
                  </a:cubicBezTo>
                  <a:cubicBezTo>
                    <a:pt x="611" y="634"/>
                    <a:pt x="626" y="649"/>
                    <a:pt x="641" y="649"/>
                  </a:cubicBezTo>
                  <a:cubicBezTo>
                    <a:pt x="649" y="649"/>
                    <a:pt x="656" y="634"/>
                    <a:pt x="664" y="634"/>
                  </a:cubicBezTo>
                  <a:cubicBezTo>
                    <a:pt x="695" y="634"/>
                    <a:pt x="725" y="641"/>
                    <a:pt x="748" y="649"/>
                  </a:cubicBezTo>
                  <a:lnTo>
                    <a:pt x="748" y="649"/>
                  </a:lnTo>
                  <a:cubicBezTo>
                    <a:pt x="763" y="626"/>
                    <a:pt x="771" y="595"/>
                    <a:pt x="786" y="572"/>
                  </a:cubicBezTo>
                  <a:cubicBezTo>
                    <a:pt x="786" y="557"/>
                    <a:pt x="794" y="534"/>
                    <a:pt x="794" y="519"/>
                  </a:cubicBezTo>
                  <a:cubicBezTo>
                    <a:pt x="794" y="504"/>
                    <a:pt x="786" y="481"/>
                    <a:pt x="779" y="458"/>
                  </a:cubicBezTo>
                  <a:lnTo>
                    <a:pt x="779" y="458"/>
                  </a:lnTo>
                  <a:cubicBezTo>
                    <a:pt x="786" y="435"/>
                    <a:pt x="786" y="405"/>
                    <a:pt x="794" y="374"/>
                  </a:cubicBezTo>
                  <a:cubicBezTo>
                    <a:pt x="794" y="366"/>
                    <a:pt x="809" y="359"/>
                    <a:pt x="809" y="343"/>
                  </a:cubicBezTo>
                  <a:cubicBezTo>
                    <a:pt x="802" y="305"/>
                    <a:pt x="786" y="267"/>
                    <a:pt x="779" y="236"/>
                  </a:cubicBezTo>
                  <a:cubicBezTo>
                    <a:pt x="763" y="206"/>
                    <a:pt x="748" y="191"/>
                    <a:pt x="740" y="168"/>
                  </a:cubicBezTo>
                  <a:cubicBezTo>
                    <a:pt x="733" y="137"/>
                    <a:pt x="740" y="114"/>
                    <a:pt x="740" y="84"/>
                  </a:cubicBezTo>
                  <a:lnTo>
                    <a:pt x="740" y="84"/>
                  </a:lnTo>
                  <a:cubicBezTo>
                    <a:pt x="687" y="0"/>
                    <a:pt x="687" y="0"/>
                    <a:pt x="687" y="0"/>
                  </a:cubicBezTo>
                  <a:lnTo>
                    <a:pt x="687" y="0"/>
                  </a:lnTo>
                  <a:cubicBezTo>
                    <a:pt x="679" y="16"/>
                    <a:pt x="672" y="31"/>
                    <a:pt x="656" y="39"/>
                  </a:cubicBezTo>
                  <a:cubicBezTo>
                    <a:pt x="641" y="46"/>
                    <a:pt x="618" y="46"/>
                    <a:pt x="595" y="46"/>
                  </a:cubicBezTo>
                  <a:cubicBezTo>
                    <a:pt x="580" y="46"/>
                    <a:pt x="573" y="39"/>
                    <a:pt x="557" y="31"/>
                  </a:cubicBezTo>
                  <a:cubicBezTo>
                    <a:pt x="542" y="31"/>
                    <a:pt x="534" y="31"/>
                    <a:pt x="527" y="39"/>
                  </a:cubicBezTo>
                  <a:cubicBezTo>
                    <a:pt x="511" y="46"/>
                    <a:pt x="511" y="69"/>
                    <a:pt x="504" y="77"/>
                  </a:cubicBezTo>
                  <a:cubicBezTo>
                    <a:pt x="488" y="84"/>
                    <a:pt x="473" y="91"/>
                    <a:pt x="458" y="91"/>
                  </a:cubicBezTo>
                  <a:cubicBezTo>
                    <a:pt x="443" y="84"/>
                    <a:pt x="435" y="54"/>
                    <a:pt x="420" y="54"/>
                  </a:cubicBezTo>
                  <a:cubicBezTo>
                    <a:pt x="381" y="54"/>
                    <a:pt x="343" y="77"/>
                    <a:pt x="313" y="91"/>
                  </a:cubicBezTo>
                  <a:lnTo>
                    <a:pt x="313" y="91"/>
                  </a:lnTo>
                  <a:cubicBezTo>
                    <a:pt x="320" y="107"/>
                    <a:pt x="328" y="122"/>
                    <a:pt x="336" y="137"/>
                  </a:cubicBezTo>
                  <a:cubicBezTo>
                    <a:pt x="343" y="160"/>
                    <a:pt x="343" y="183"/>
                    <a:pt x="336" y="206"/>
                  </a:cubicBezTo>
                  <a:cubicBezTo>
                    <a:pt x="328" y="221"/>
                    <a:pt x="305" y="206"/>
                    <a:pt x="305" y="213"/>
                  </a:cubicBezTo>
                  <a:cubicBezTo>
                    <a:pt x="282" y="236"/>
                    <a:pt x="298" y="282"/>
                    <a:pt x="275" y="290"/>
                  </a:cubicBezTo>
                  <a:cubicBezTo>
                    <a:pt x="237" y="297"/>
                    <a:pt x="206" y="259"/>
                    <a:pt x="175" y="252"/>
                  </a:cubicBezTo>
                  <a:cubicBezTo>
                    <a:pt x="160" y="252"/>
                    <a:pt x="152" y="252"/>
                    <a:pt x="145" y="259"/>
                  </a:cubicBezTo>
                  <a:cubicBezTo>
                    <a:pt x="137" y="274"/>
                    <a:pt x="152" y="297"/>
                    <a:pt x="145" y="313"/>
                  </a:cubicBezTo>
                  <a:cubicBezTo>
                    <a:pt x="137" y="336"/>
                    <a:pt x="122" y="343"/>
                    <a:pt x="106" y="359"/>
                  </a:cubicBezTo>
                  <a:lnTo>
                    <a:pt x="106" y="359"/>
                  </a:lnTo>
                  <a:cubicBezTo>
                    <a:pt x="99" y="374"/>
                    <a:pt x="84" y="389"/>
                    <a:pt x="84" y="412"/>
                  </a:cubicBezTo>
                  <a:cubicBezTo>
                    <a:pt x="84" y="427"/>
                    <a:pt x="114" y="435"/>
                    <a:pt x="122" y="458"/>
                  </a:cubicBezTo>
                  <a:cubicBezTo>
                    <a:pt x="122" y="465"/>
                    <a:pt x="114" y="481"/>
                    <a:pt x="99" y="488"/>
                  </a:cubicBezTo>
                  <a:cubicBezTo>
                    <a:pt x="91" y="488"/>
                    <a:pt x="76" y="488"/>
                    <a:pt x="61" y="488"/>
                  </a:cubicBezTo>
                  <a:lnTo>
                    <a:pt x="61" y="488"/>
                  </a:lnTo>
                  <a:cubicBezTo>
                    <a:pt x="53" y="511"/>
                    <a:pt x="61" y="534"/>
                    <a:pt x="53" y="549"/>
                  </a:cubicBezTo>
                  <a:cubicBezTo>
                    <a:pt x="38" y="565"/>
                    <a:pt x="15" y="565"/>
                    <a:pt x="0" y="57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55" name="Freeform 177"/>
            <p:cNvSpPr>
              <a:spLocks noChangeArrowheads="1"/>
            </p:cNvSpPr>
            <p:nvPr/>
          </p:nvSpPr>
          <p:spPr bwMode="auto">
            <a:xfrm>
              <a:off x="4285972" y="5641976"/>
              <a:ext cx="315892" cy="258763"/>
            </a:xfrm>
            <a:custGeom>
              <a:avLst/>
              <a:gdLst>
                <a:gd name="T0" fmla="*/ 642 w 879"/>
                <a:gd name="T1" fmla="*/ 671 h 718"/>
                <a:gd name="T2" fmla="*/ 642 w 879"/>
                <a:gd name="T3" fmla="*/ 671 h 718"/>
                <a:gd name="T4" fmla="*/ 703 w 879"/>
                <a:gd name="T5" fmla="*/ 664 h 718"/>
                <a:gd name="T6" fmla="*/ 718 w 879"/>
                <a:gd name="T7" fmla="*/ 671 h 718"/>
                <a:gd name="T8" fmla="*/ 733 w 879"/>
                <a:gd name="T9" fmla="*/ 656 h 718"/>
                <a:gd name="T10" fmla="*/ 779 w 879"/>
                <a:gd name="T11" fmla="*/ 649 h 718"/>
                <a:gd name="T12" fmla="*/ 779 w 879"/>
                <a:gd name="T13" fmla="*/ 649 h 718"/>
                <a:gd name="T14" fmla="*/ 756 w 879"/>
                <a:gd name="T15" fmla="*/ 580 h 718"/>
                <a:gd name="T16" fmla="*/ 855 w 879"/>
                <a:gd name="T17" fmla="*/ 572 h 718"/>
                <a:gd name="T18" fmla="*/ 878 w 879"/>
                <a:gd name="T19" fmla="*/ 557 h 718"/>
                <a:gd name="T20" fmla="*/ 848 w 879"/>
                <a:gd name="T21" fmla="*/ 496 h 718"/>
                <a:gd name="T22" fmla="*/ 817 w 879"/>
                <a:gd name="T23" fmla="*/ 496 h 718"/>
                <a:gd name="T24" fmla="*/ 802 w 879"/>
                <a:gd name="T25" fmla="*/ 480 h 718"/>
                <a:gd name="T26" fmla="*/ 764 w 879"/>
                <a:gd name="T27" fmla="*/ 480 h 718"/>
                <a:gd name="T28" fmla="*/ 733 w 879"/>
                <a:gd name="T29" fmla="*/ 389 h 718"/>
                <a:gd name="T30" fmla="*/ 726 w 879"/>
                <a:gd name="T31" fmla="*/ 381 h 718"/>
                <a:gd name="T32" fmla="*/ 741 w 879"/>
                <a:gd name="T33" fmla="*/ 343 h 718"/>
                <a:gd name="T34" fmla="*/ 756 w 879"/>
                <a:gd name="T35" fmla="*/ 267 h 718"/>
                <a:gd name="T36" fmla="*/ 733 w 879"/>
                <a:gd name="T37" fmla="*/ 244 h 718"/>
                <a:gd name="T38" fmla="*/ 642 w 879"/>
                <a:gd name="T39" fmla="*/ 145 h 718"/>
                <a:gd name="T40" fmla="*/ 642 w 879"/>
                <a:gd name="T41" fmla="*/ 145 h 718"/>
                <a:gd name="T42" fmla="*/ 580 w 879"/>
                <a:gd name="T43" fmla="*/ 122 h 718"/>
                <a:gd name="T44" fmla="*/ 542 w 879"/>
                <a:gd name="T45" fmla="*/ 8 h 718"/>
                <a:gd name="T46" fmla="*/ 504 w 879"/>
                <a:gd name="T47" fmla="*/ 8 h 718"/>
                <a:gd name="T48" fmla="*/ 504 w 879"/>
                <a:gd name="T49" fmla="*/ 8 h 718"/>
                <a:gd name="T50" fmla="*/ 405 w 879"/>
                <a:gd name="T51" fmla="*/ 61 h 718"/>
                <a:gd name="T52" fmla="*/ 351 w 879"/>
                <a:gd name="T53" fmla="*/ 84 h 718"/>
                <a:gd name="T54" fmla="*/ 290 w 879"/>
                <a:gd name="T55" fmla="*/ 77 h 718"/>
                <a:gd name="T56" fmla="*/ 290 w 879"/>
                <a:gd name="T57" fmla="*/ 153 h 718"/>
                <a:gd name="T58" fmla="*/ 252 w 879"/>
                <a:gd name="T59" fmla="*/ 145 h 718"/>
                <a:gd name="T60" fmla="*/ 229 w 879"/>
                <a:gd name="T61" fmla="*/ 168 h 718"/>
                <a:gd name="T62" fmla="*/ 183 w 879"/>
                <a:gd name="T63" fmla="*/ 161 h 718"/>
                <a:gd name="T64" fmla="*/ 145 w 879"/>
                <a:gd name="T65" fmla="*/ 191 h 718"/>
                <a:gd name="T66" fmla="*/ 92 w 879"/>
                <a:gd name="T67" fmla="*/ 206 h 718"/>
                <a:gd name="T68" fmla="*/ 153 w 879"/>
                <a:gd name="T69" fmla="*/ 267 h 718"/>
                <a:gd name="T70" fmla="*/ 130 w 879"/>
                <a:gd name="T71" fmla="*/ 283 h 718"/>
                <a:gd name="T72" fmla="*/ 130 w 879"/>
                <a:gd name="T73" fmla="*/ 335 h 718"/>
                <a:gd name="T74" fmla="*/ 53 w 879"/>
                <a:gd name="T75" fmla="*/ 321 h 718"/>
                <a:gd name="T76" fmla="*/ 7 w 879"/>
                <a:gd name="T77" fmla="*/ 328 h 718"/>
                <a:gd name="T78" fmla="*/ 7 w 879"/>
                <a:gd name="T79" fmla="*/ 328 h 718"/>
                <a:gd name="T80" fmla="*/ 7 w 879"/>
                <a:gd name="T81" fmla="*/ 412 h 718"/>
                <a:gd name="T82" fmla="*/ 46 w 879"/>
                <a:gd name="T83" fmla="*/ 480 h 718"/>
                <a:gd name="T84" fmla="*/ 76 w 879"/>
                <a:gd name="T85" fmla="*/ 587 h 718"/>
                <a:gd name="T86" fmla="*/ 61 w 879"/>
                <a:gd name="T87" fmla="*/ 618 h 718"/>
                <a:gd name="T88" fmla="*/ 46 w 879"/>
                <a:gd name="T89" fmla="*/ 702 h 718"/>
                <a:gd name="T90" fmla="*/ 46 w 879"/>
                <a:gd name="T91" fmla="*/ 702 h 718"/>
                <a:gd name="T92" fmla="*/ 145 w 879"/>
                <a:gd name="T93" fmla="*/ 702 h 718"/>
                <a:gd name="T94" fmla="*/ 206 w 879"/>
                <a:gd name="T95" fmla="*/ 709 h 718"/>
                <a:gd name="T96" fmla="*/ 252 w 879"/>
                <a:gd name="T97" fmla="*/ 656 h 718"/>
                <a:gd name="T98" fmla="*/ 313 w 879"/>
                <a:gd name="T99" fmla="*/ 679 h 718"/>
                <a:gd name="T100" fmla="*/ 390 w 879"/>
                <a:gd name="T101" fmla="*/ 679 h 718"/>
                <a:gd name="T102" fmla="*/ 382 w 879"/>
                <a:gd name="T103" fmla="*/ 664 h 718"/>
                <a:gd name="T104" fmla="*/ 443 w 879"/>
                <a:gd name="T105" fmla="*/ 679 h 718"/>
                <a:gd name="T106" fmla="*/ 504 w 879"/>
                <a:gd name="T107" fmla="*/ 633 h 718"/>
                <a:gd name="T108" fmla="*/ 573 w 879"/>
                <a:gd name="T109" fmla="*/ 618 h 718"/>
                <a:gd name="T110" fmla="*/ 619 w 879"/>
                <a:gd name="T111" fmla="*/ 626 h 718"/>
                <a:gd name="T112" fmla="*/ 642 w 879"/>
                <a:gd name="T113" fmla="*/ 671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79" h="718">
                  <a:moveTo>
                    <a:pt x="642" y="671"/>
                  </a:moveTo>
                  <a:lnTo>
                    <a:pt x="642" y="671"/>
                  </a:lnTo>
                  <a:cubicBezTo>
                    <a:pt x="664" y="664"/>
                    <a:pt x="680" y="656"/>
                    <a:pt x="703" y="664"/>
                  </a:cubicBezTo>
                  <a:cubicBezTo>
                    <a:pt x="710" y="664"/>
                    <a:pt x="710" y="679"/>
                    <a:pt x="718" y="671"/>
                  </a:cubicBezTo>
                  <a:cubicBezTo>
                    <a:pt x="726" y="671"/>
                    <a:pt x="726" y="656"/>
                    <a:pt x="733" y="656"/>
                  </a:cubicBezTo>
                  <a:cubicBezTo>
                    <a:pt x="748" y="649"/>
                    <a:pt x="764" y="649"/>
                    <a:pt x="779" y="649"/>
                  </a:cubicBezTo>
                  <a:lnTo>
                    <a:pt x="779" y="649"/>
                  </a:lnTo>
                  <a:cubicBezTo>
                    <a:pt x="771" y="626"/>
                    <a:pt x="741" y="595"/>
                    <a:pt x="756" y="580"/>
                  </a:cubicBezTo>
                  <a:cubicBezTo>
                    <a:pt x="787" y="557"/>
                    <a:pt x="825" y="580"/>
                    <a:pt x="855" y="572"/>
                  </a:cubicBezTo>
                  <a:cubicBezTo>
                    <a:pt x="871" y="572"/>
                    <a:pt x="878" y="564"/>
                    <a:pt x="878" y="557"/>
                  </a:cubicBezTo>
                  <a:cubicBezTo>
                    <a:pt x="878" y="534"/>
                    <a:pt x="863" y="511"/>
                    <a:pt x="848" y="496"/>
                  </a:cubicBezTo>
                  <a:cubicBezTo>
                    <a:pt x="840" y="488"/>
                    <a:pt x="825" y="503"/>
                    <a:pt x="817" y="496"/>
                  </a:cubicBezTo>
                  <a:cubicBezTo>
                    <a:pt x="809" y="496"/>
                    <a:pt x="809" y="480"/>
                    <a:pt x="802" y="480"/>
                  </a:cubicBezTo>
                  <a:cubicBezTo>
                    <a:pt x="787" y="473"/>
                    <a:pt x="771" y="488"/>
                    <a:pt x="764" y="480"/>
                  </a:cubicBezTo>
                  <a:cubicBezTo>
                    <a:pt x="748" y="457"/>
                    <a:pt x="748" y="419"/>
                    <a:pt x="733" y="389"/>
                  </a:cubicBezTo>
                  <a:lnTo>
                    <a:pt x="726" y="381"/>
                  </a:lnTo>
                  <a:cubicBezTo>
                    <a:pt x="726" y="366"/>
                    <a:pt x="733" y="358"/>
                    <a:pt x="741" y="343"/>
                  </a:cubicBezTo>
                  <a:cubicBezTo>
                    <a:pt x="748" y="321"/>
                    <a:pt x="756" y="290"/>
                    <a:pt x="756" y="267"/>
                  </a:cubicBezTo>
                  <a:cubicBezTo>
                    <a:pt x="756" y="252"/>
                    <a:pt x="741" y="252"/>
                    <a:pt x="733" y="244"/>
                  </a:cubicBezTo>
                  <a:cubicBezTo>
                    <a:pt x="703" y="214"/>
                    <a:pt x="672" y="176"/>
                    <a:pt x="642" y="145"/>
                  </a:cubicBezTo>
                  <a:lnTo>
                    <a:pt x="642" y="145"/>
                  </a:lnTo>
                  <a:cubicBezTo>
                    <a:pt x="619" y="138"/>
                    <a:pt x="596" y="138"/>
                    <a:pt x="580" y="122"/>
                  </a:cubicBezTo>
                  <a:cubicBezTo>
                    <a:pt x="557" y="92"/>
                    <a:pt x="565" y="38"/>
                    <a:pt x="542" y="8"/>
                  </a:cubicBezTo>
                  <a:cubicBezTo>
                    <a:pt x="534" y="0"/>
                    <a:pt x="512" y="8"/>
                    <a:pt x="504" y="8"/>
                  </a:cubicBezTo>
                  <a:lnTo>
                    <a:pt x="504" y="8"/>
                  </a:lnTo>
                  <a:cubicBezTo>
                    <a:pt x="473" y="31"/>
                    <a:pt x="443" y="46"/>
                    <a:pt x="405" y="61"/>
                  </a:cubicBezTo>
                  <a:cubicBezTo>
                    <a:pt x="390" y="77"/>
                    <a:pt x="374" y="84"/>
                    <a:pt x="351" y="84"/>
                  </a:cubicBezTo>
                  <a:cubicBezTo>
                    <a:pt x="328" y="92"/>
                    <a:pt x="305" y="69"/>
                    <a:pt x="290" y="77"/>
                  </a:cubicBezTo>
                  <a:cubicBezTo>
                    <a:pt x="275" y="100"/>
                    <a:pt x="298" y="130"/>
                    <a:pt x="290" y="153"/>
                  </a:cubicBezTo>
                  <a:cubicBezTo>
                    <a:pt x="282" y="161"/>
                    <a:pt x="259" y="145"/>
                    <a:pt x="252" y="145"/>
                  </a:cubicBezTo>
                  <a:cubicBezTo>
                    <a:pt x="237" y="153"/>
                    <a:pt x="237" y="168"/>
                    <a:pt x="229" y="168"/>
                  </a:cubicBezTo>
                  <a:cubicBezTo>
                    <a:pt x="214" y="168"/>
                    <a:pt x="198" y="161"/>
                    <a:pt x="183" y="161"/>
                  </a:cubicBezTo>
                  <a:cubicBezTo>
                    <a:pt x="168" y="168"/>
                    <a:pt x="160" y="183"/>
                    <a:pt x="145" y="191"/>
                  </a:cubicBezTo>
                  <a:cubicBezTo>
                    <a:pt x="130" y="199"/>
                    <a:pt x="92" y="191"/>
                    <a:pt x="92" y="206"/>
                  </a:cubicBezTo>
                  <a:cubicBezTo>
                    <a:pt x="99" y="237"/>
                    <a:pt x="145" y="237"/>
                    <a:pt x="153" y="267"/>
                  </a:cubicBezTo>
                  <a:cubicBezTo>
                    <a:pt x="160" y="275"/>
                    <a:pt x="137" y="275"/>
                    <a:pt x="130" y="283"/>
                  </a:cubicBezTo>
                  <a:cubicBezTo>
                    <a:pt x="122" y="298"/>
                    <a:pt x="145" y="328"/>
                    <a:pt x="130" y="335"/>
                  </a:cubicBezTo>
                  <a:cubicBezTo>
                    <a:pt x="107" y="343"/>
                    <a:pt x="76" y="321"/>
                    <a:pt x="53" y="321"/>
                  </a:cubicBezTo>
                  <a:cubicBezTo>
                    <a:pt x="38" y="321"/>
                    <a:pt x="23" y="328"/>
                    <a:pt x="7" y="328"/>
                  </a:cubicBezTo>
                  <a:lnTo>
                    <a:pt x="7" y="328"/>
                  </a:lnTo>
                  <a:cubicBezTo>
                    <a:pt x="7" y="358"/>
                    <a:pt x="0" y="381"/>
                    <a:pt x="7" y="412"/>
                  </a:cubicBezTo>
                  <a:cubicBezTo>
                    <a:pt x="15" y="435"/>
                    <a:pt x="30" y="450"/>
                    <a:pt x="46" y="480"/>
                  </a:cubicBezTo>
                  <a:cubicBezTo>
                    <a:pt x="53" y="511"/>
                    <a:pt x="69" y="549"/>
                    <a:pt x="76" y="587"/>
                  </a:cubicBezTo>
                  <a:cubicBezTo>
                    <a:pt x="76" y="603"/>
                    <a:pt x="61" y="610"/>
                    <a:pt x="61" y="618"/>
                  </a:cubicBezTo>
                  <a:cubicBezTo>
                    <a:pt x="53" y="649"/>
                    <a:pt x="53" y="679"/>
                    <a:pt x="46" y="702"/>
                  </a:cubicBezTo>
                  <a:lnTo>
                    <a:pt x="46" y="702"/>
                  </a:lnTo>
                  <a:cubicBezTo>
                    <a:pt x="76" y="702"/>
                    <a:pt x="115" y="694"/>
                    <a:pt x="145" y="702"/>
                  </a:cubicBezTo>
                  <a:cubicBezTo>
                    <a:pt x="168" y="702"/>
                    <a:pt x="183" y="717"/>
                    <a:pt x="206" y="709"/>
                  </a:cubicBezTo>
                  <a:cubicBezTo>
                    <a:pt x="229" y="702"/>
                    <a:pt x="229" y="664"/>
                    <a:pt x="252" y="656"/>
                  </a:cubicBezTo>
                  <a:cubicBezTo>
                    <a:pt x="275" y="649"/>
                    <a:pt x="298" y="671"/>
                    <a:pt x="313" y="679"/>
                  </a:cubicBezTo>
                  <a:cubicBezTo>
                    <a:pt x="344" y="679"/>
                    <a:pt x="367" y="687"/>
                    <a:pt x="390" y="679"/>
                  </a:cubicBezTo>
                  <a:cubicBezTo>
                    <a:pt x="397" y="679"/>
                    <a:pt x="382" y="671"/>
                    <a:pt x="382" y="664"/>
                  </a:cubicBezTo>
                  <a:cubicBezTo>
                    <a:pt x="382" y="664"/>
                    <a:pt x="435" y="679"/>
                    <a:pt x="443" y="679"/>
                  </a:cubicBezTo>
                  <a:lnTo>
                    <a:pt x="504" y="633"/>
                  </a:lnTo>
                  <a:cubicBezTo>
                    <a:pt x="527" y="626"/>
                    <a:pt x="550" y="626"/>
                    <a:pt x="573" y="618"/>
                  </a:cubicBezTo>
                  <a:cubicBezTo>
                    <a:pt x="588" y="618"/>
                    <a:pt x="603" y="610"/>
                    <a:pt x="619" y="626"/>
                  </a:cubicBezTo>
                  <a:cubicBezTo>
                    <a:pt x="634" y="633"/>
                    <a:pt x="634" y="656"/>
                    <a:pt x="642" y="67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56" name="Freeform 178"/>
            <p:cNvSpPr>
              <a:spLocks noChangeArrowheads="1"/>
            </p:cNvSpPr>
            <p:nvPr/>
          </p:nvSpPr>
          <p:spPr bwMode="auto">
            <a:xfrm>
              <a:off x="4624087" y="5894389"/>
              <a:ext cx="122229" cy="96837"/>
            </a:xfrm>
            <a:custGeom>
              <a:avLst/>
              <a:gdLst>
                <a:gd name="T0" fmla="*/ 62 w 338"/>
                <a:gd name="T1" fmla="*/ 267 h 268"/>
                <a:gd name="T2" fmla="*/ 62 w 338"/>
                <a:gd name="T3" fmla="*/ 267 h 268"/>
                <a:gd name="T4" fmla="*/ 23 w 338"/>
                <a:gd name="T5" fmla="*/ 191 h 268"/>
                <a:gd name="T6" fmla="*/ 0 w 338"/>
                <a:gd name="T7" fmla="*/ 176 h 268"/>
                <a:gd name="T8" fmla="*/ 23 w 338"/>
                <a:gd name="T9" fmla="*/ 91 h 268"/>
                <a:gd name="T10" fmla="*/ 8 w 338"/>
                <a:gd name="T11" fmla="*/ 69 h 268"/>
                <a:gd name="T12" fmla="*/ 8 w 338"/>
                <a:gd name="T13" fmla="*/ 46 h 268"/>
                <a:gd name="T14" fmla="*/ 39 w 338"/>
                <a:gd name="T15" fmla="*/ 23 h 268"/>
                <a:gd name="T16" fmla="*/ 39 w 338"/>
                <a:gd name="T17" fmla="*/ 23 h 268"/>
                <a:gd name="T18" fmla="*/ 84 w 338"/>
                <a:gd name="T19" fmla="*/ 0 h 268"/>
                <a:gd name="T20" fmla="*/ 153 w 338"/>
                <a:gd name="T21" fmla="*/ 0 h 268"/>
                <a:gd name="T22" fmla="*/ 222 w 338"/>
                <a:gd name="T23" fmla="*/ 23 h 268"/>
                <a:gd name="T24" fmla="*/ 245 w 338"/>
                <a:gd name="T25" fmla="*/ 61 h 268"/>
                <a:gd name="T26" fmla="*/ 275 w 338"/>
                <a:gd name="T27" fmla="*/ 23 h 268"/>
                <a:gd name="T28" fmla="*/ 337 w 338"/>
                <a:gd name="T29" fmla="*/ 23 h 268"/>
                <a:gd name="T30" fmla="*/ 337 w 338"/>
                <a:gd name="T31" fmla="*/ 23 h 268"/>
                <a:gd name="T32" fmla="*/ 337 w 338"/>
                <a:gd name="T33" fmla="*/ 46 h 268"/>
                <a:gd name="T34" fmla="*/ 275 w 338"/>
                <a:gd name="T35" fmla="*/ 137 h 268"/>
                <a:gd name="T36" fmla="*/ 222 w 338"/>
                <a:gd name="T37" fmla="*/ 168 h 268"/>
                <a:gd name="T38" fmla="*/ 199 w 338"/>
                <a:gd name="T39" fmla="*/ 176 h 268"/>
                <a:gd name="T40" fmla="*/ 145 w 338"/>
                <a:gd name="T41" fmla="*/ 206 h 268"/>
                <a:gd name="T42" fmla="*/ 62 w 338"/>
                <a:gd name="T43" fmla="*/ 267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8" h="268">
                  <a:moveTo>
                    <a:pt x="62" y="267"/>
                  </a:moveTo>
                  <a:lnTo>
                    <a:pt x="62" y="267"/>
                  </a:lnTo>
                  <a:cubicBezTo>
                    <a:pt x="46" y="244"/>
                    <a:pt x="39" y="214"/>
                    <a:pt x="23" y="191"/>
                  </a:cubicBezTo>
                  <a:cubicBezTo>
                    <a:pt x="23" y="183"/>
                    <a:pt x="0" y="183"/>
                    <a:pt x="0" y="176"/>
                  </a:cubicBezTo>
                  <a:cubicBezTo>
                    <a:pt x="0" y="145"/>
                    <a:pt x="16" y="122"/>
                    <a:pt x="23" y="91"/>
                  </a:cubicBezTo>
                  <a:cubicBezTo>
                    <a:pt x="23" y="84"/>
                    <a:pt x="8" y="76"/>
                    <a:pt x="8" y="69"/>
                  </a:cubicBezTo>
                  <a:cubicBezTo>
                    <a:pt x="8" y="61"/>
                    <a:pt x="0" y="53"/>
                    <a:pt x="8" y="46"/>
                  </a:cubicBezTo>
                  <a:cubicBezTo>
                    <a:pt x="16" y="38"/>
                    <a:pt x="23" y="30"/>
                    <a:pt x="39" y="23"/>
                  </a:cubicBezTo>
                  <a:lnTo>
                    <a:pt x="39" y="23"/>
                  </a:lnTo>
                  <a:cubicBezTo>
                    <a:pt x="54" y="15"/>
                    <a:pt x="69" y="0"/>
                    <a:pt x="84" y="0"/>
                  </a:cubicBezTo>
                  <a:cubicBezTo>
                    <a:pt x="107" y="0"/>
                    <a:pt x="130" y="0"/>
                    <a:pt x="153" y="0"/>
                  </a:cubicBezTo>
                  <a:cubicBezTo>
                    <a:pt x="176" y="7"/>
                    <a:pt x="207" y="7"/>
                    <a:pt x="222" y="23"/>
                  </a:cubicBezTo>
                  <a:cubicBezTo>
                    <a:pt x="237" y="30"/>
                    <a:pt x="229" y="61"/>
                    <a:pt x="245" y="61"/>
                  </a:cubicBezTo>
                  <a:cubicBezTo>
                    <a:pt x="260" y="61"/>
                    <a:pt x="260" y="30"/>
                    <a:pt x="275" y="23"/>
                  </a:cubicBezTo>
                  <a:cubicBezTo>
                    <a:pt x="298" y="15"/>
                    <a:pt x="314" y="23"/>
                    <a:pt x="337" y="23"/>
                  </a:cubicBezTo>
                  <a:lnTo>
                    <a:pt x="337" y="23"/>
                  </a:lnTo>
                  <a:cubicBezTo>
                    <a:pt x="337" y="30"/>
                    <a:pt x="337" y="38"/>
                    <a:pt x="337" y="46"/>
                  </a:cubicBezTo>
                  <a:cubicBezTo>
                    <a:pt x="337" y="69"/>
                    <a:pt x="291" y="122"/>
                    <a:pt x="275" y="137"/>
                  </a:cubicBezTo>
                  <a:cubicBezTo>
                    <a:pt x="260" y="153"/>
                    <a:pt x="237" y="160"/>
                    <a:pt x="222" y="168"/>
                  </a:cubicBezTo>
                  <a:cubicBezTo>
                    <a:pt x="214" y="176"/>
                    <a:pt x="207" y="176"/>
                    <a:pt x="199" y="176"/>
                  </a:cubicBezTo>
                  <a:cubicBezTo>
                    <a:pt x="176" y="183"/>
                    <a:pt x="161" y="199"/>
                    <a:pt x="145" y="206"/>
                  </a:cubicBezTo>
                  <a:cubicBezTo>
                    <a:pt x="107" y="229"/>
                    <a:pt x="84" y="244"/>
                    <a:pt x="62" y="26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57" name="Freeform 179"/>
            <p:cNvSpPr>
              <a:spLocks noChangeArrowheads="1"/>
            </p:cNvSpPr>
            <p:nvPr/>
          </p:nvSpPr>
          <p:spPr bwMode="auto">
            <a:xfrm>
              <a:off x="4517731" y="5630863"/>
              <a:ext cx="228585" cy="285750"/>
            </a:xfrm>
            <a:custGeom>
              <a:avLst/>
              <a:gdLst>
                <a:gd name="T0" fmla="*/ 137 w 635"/>
                <a:gd name="T1" fmla="*/ 679 h 794"/>
                <a:gd name="T2" fmla="*/ 137 w 635"/>
                <a:gd name="T3" fmla="*/ 679 h 794"/>
                <a:gd name="T4" fmla="*/ 145 w 635"/>
                <a:gd name="T5" fmla="*/ 717 h 794"/>
                <a:gd name="T6" fmla="*/ 175 w 635"/>
                <a:gd name="T7" fmla="*/ 747 h 794"/>
                <a:gd name="T8" fmla="*/ 198 w 635"/>
                <a:gd name="T9" fmla="*/ 724 h 794"/>
                <a:gd name="T10" fmla="*/ 206 w 635"/>
                <a:gd name="T11" fmla="*/ 755 h 794"/>
                <a:gd name="T12" fmla="*/ 236 w 635"/>
                <a:gd name="T13" fmla="*/ 732 h 794"/>
                <a:gd name="T14" fmla="*/ 259 w 635"/>
                <a:gd name="T15" fmla="*/ 747 h 794"/>
                <a:gd name="T16" fmla="*/ 297 w 635"/>
                <a:gd name="T17" fmla="*/ 732 h 794"/>
                <a:gd name="T18" fmla="*/ 336 w 635"/>
                <a:gd name="T19" fmla="*/ 755 h 794"/>
                <a:gd name="T20" fmla="*/ 336 w 635"/>
                <a:gd name="T21" fmla="*/ 755 h 794"/>
                <a:gd name="T22" fmla="*/ 381 w 635"/>
                <a:gd name="T23" fmla="*/ 732 h 794"/>
                <a:gd name="T24" fmla="*/ 450 w 635"/>
                <a:gd name="T25" fmla="*/ 732 h 794"/>
                <a:gd name="T26" fmla="*/ 519 w 635"/>
                <a:gd name="T27" fmla="*/ 755 h 794"/>
                <a:gd name="T28" fmla="*/ 542 w 635"/>
                <a:gd name="T29" fmla="*/ 793 h 794"/>
                <a:gd name="T30" fmla="*/ 572 w 635"/>
                <a:gd name="T31" fmla="*/ 755 h 794"/>
                <a:gd name="T32" fmla="*/ 634 w 635"/>
                <a:gd name="T33" fmla="*/ 755 h 794"/>
                <a:gd name="T34" fmla="*/ 634 w 635"/>
                <a:gd name="T35" fmla="*/ 755 h 794"/>
                <a:gd name="T36" fmla="*/ 618 w 635"/>
                <a:gd name="T37" fmla="*/ 686 h 794"/>
                <a:gd name="T38" fmla="*/ 603 w 635"/>
                <a:gd name="T39" fmla="*/ 625 h 794"/>
                <a:gd name="T40" fmla="*/ 488 w 635"/>
                <a:gd name="T41" fmla="*/ 541 h 794"/>
                <a:gd name="T42" fmla="*/ 542 w 635"/>
                <a:gd name="T43" fmla="*/ 701 h 794"/>
                <a:gd name="T44" fmla="*/ 504 w 635"/>
                <a:gd name="T45" fmla="*/ 633 h 794"/>
                <a:gd name="T46" fmla="*/ 435 w 635"/>
                <a:gd name="T47" fmla="*/ 571 h 794"/>
                <a:gd name="T48" fmla="*/ 359 w 635"/>
                <a:gd name="T49" fmla="*/ 404 h 794"/>
                <a:gd name="T50" fmla="*/ 274 w 635"/>
                <a:gd name="T51" fmla="*/ 252 h 794"/>
                <a:gd name="T52" fmla="*/ 183 w 635"/>
                <a:gd name="T53" fmla="*/ 84 h 794"/>
                <a:gd name="T54" fmla="*/ 167 w 635"/>
                <a:gd name="T55" fmla="*/ 0 h 794"/>
                <a:gd name="T56" fmla="*/ 167 w 635"/>
                <a:gd name="T57" fmla="*/ 0 h 794"/>
                <a:gd name="T58" fmla="*/ 114 w 635"/>
                <a:gd name="T59" fmla="*/ 38 h 794"/>
                <a:gd name="T60" fmla="*/ 53 w 635"/>
                <a:gd name="T61" fmla="*/ 99 h 794"/>
                <a:gd name="T62" fmla="*/ 0 w 635"/>
                <a:gd name="T63" fmla="*/ 175 h 794"/>
                <a:gd name="T64" fmla="*/ 0 w 635"/>
                <a:gd name="T65" fmla="*/ 175 h 794"/>
                <a:gd name="T66" fmla="*/ 91 w 635"/>
                <a:gd name="T67" fmla="*/ 274 h 794"/>
                <a:gd name="T68" fmla="*/ 114 w 635"/>
                <a:gd name="T69" fmla="*/ 297 h 794"/>
                <a:gd name="T70" fmla="*/ 99 w 635"/>
                <a:gd name="T71" fmla="*/ 373 h 794"/>
                <a:gd name="T72" fmla="*/ 84 w 635"/>
                <a:gd name="T73" fmla="*/ 411 h 794"/>
                <a:gd name="T74" fmla="*/ 91 w 635"/>
                <a:gd name="T75" fmla="*/ 419 h 794"/>
                <a:gd name="T76" fmla="*/ 122 w 635"/>
                <a:gd name="T77" fmla="*/ 510 h 794"/>
                <a:gd name="T78" fmla="*/ 160 w 635"/>
                <a:gd name="T79" fmla="*/ 510 h 794"/>
                <a:gd name="T80" fmla="*/ 175 w 635"/>
                <a:gd name="T81" fmla="*/ 526 h 794"/>
                <a:gd name="T82" fmla="*/ 206 w 635"/>
                <a:gd name="T83" fmla="*/ 526 h 794"/>
                <a:gd name="T84" fmla="*/ 236 w 635"/>
                <a:gd name="T85" fmla="*/ 587 h 794"/>
                <a:gd name="T86" fmla="*/ 213 w 635"/>
                <a:gd name="T87" fmla="*/ 602 h 794"/>
                <a:gd name="T88" fmla="*/ 114 w 635"/>
                <a:gd name="T89" fmla="*/ 610 h 794"/>
                <a:gd name="T90" fmla="*/ 137 w 635"/>
                <a:gd name="T91" fmla="*/ 679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35" h="794">
                  <a:moveTo>
                    <a:pt x="137" y="679"/>
                  </a:moveTo>
                  <a:lnTo>
                    <a:pt x="137" y="679"/>
                  </a:lnTo>
                  <a:cubicBezTo>
                    <a:pt x="137" y="686"/>
                    <a:pt x="137" y="701"/>
                    <a:pt x="145" y="717"/>
                  </a:cubicBezTo>
                  <a:cubicBezTo>
                    <a:pt x="152" y="732"/>
                    <a:pt x="160" y="747"/>
                    <a:pt x="175" y="747"/>
                  </a:cubicBezTo>
                  <a:cubicBezTo>
                    <a:pt x="183" y="747"/>
                    <a:pt x="190" y="732"/>
                    <a:pt x="198" y="724"/>
                  </a:cubicBezTo>
                  <a:cubicBezTo>
                    <a:pt x="198" y="724"/>
                    <a:pt x="198" y="755"/>
                    <a:pt x="206" y="755"/>
                  </a:cubicBezTo>
                  <a:cubicBezTo>
                    <a:pt x="206" y="747"/>
                    <a:pt x="236" y="732"/>
                    <a:pt x="236" y="732"/>
                  </a:cubicBezTo>
                  <a:cubicBezTo>
                    <a:pt x="244" y="739"/>
                    <a:pt x="252" y="747"/>
                    <a:pt x="259" y="747"/>
                  </a:cubicBezTo>
                  <a:cubicBezTo>
                    <a:pt x="274" y="747"/>
                    <a:pt x="290" y="724"/>
                    <a:pt x="297" y="732"/>
                  </a:cubicBezTo>
                  <a:cubicBezTo>
                    <a:pt x="313" y="732"/>
                    <a:pt x="320" y="747"/>
                    <a:pt x="336" y="755"/>
                  </a:cubicBezTo>
                  <a:lnTo>
                    <a:pt x="336" y="755"/>
                  </a:lnTo>
                  <a:cubicBezTo>
                    <a:pt x="351" y="747"/>
                    <a:pt x="366" y="732"/>
                    <a:pt x="381" y="732"/>
                  </a:cubicBezTo>
                  <a:cubicBezTo>
                    <a:pt x="404" y="732"/>
                    <a:pt x="427" y="732"/>
                    <a:pt x="450" y="732"/>
                  </a:cubicBezTo>
                  <a:cubicBezTo>
                    <a:pt x="473" y="739"/>
                    <a:pt x="504" y="739"/>
                    <a:pt x="519" y="755"/>
                  </a:cubicBezTo>
                  <a:cubicBezTo>
                    <a:pt x="534" y="762"/>
                    <a:pt x="526" y="793"/>
                    <a:pt x="542" y="793"/>
                  </a:cubicBezTo>
                  <a:cubicBezTo>
                    <a:pt x="557" y="793"/>
                    <a:pt x="557" y="762"/>
                    <a:pt x="572" y="755"/>
                  </a:cubicBezTo>
                  <a:cubicBezTo>
                    <a:pt x="595" y="747"/>
                    <a:pt x="611" y="755"/>
                    <a:pt x="634" y="755"/>
                  </a:cubicBezTo>
                  <a:lnTo>
                    <a:pt x="634" y="755"/>
                  </a:lnTo>
                  <a:cubicBezTo>
                    <a:pt x="626" y="732"/>
                    <a:pt x="618" y="709"/>
                    <a:pt x="618" y="686"/>
                  </a:cubicBezTo>
                  <a:cubicBezTo>
                    <a:pt x="618" y="663"/>
                    <a:pt x="603" y="648"/>
                    <a:pt x="603" y="625"/>
                  </a:cubicBezTo>
                  <a:cubicBezTo>
                    <a:pt x="588" y="564"/>
                    <a:pt x="542" y="541"/>
                    <a:pt x="488" y="541"/>
                  </a:cubicBezTo>
                  <a:cubicBezTo>
                    <a:pt x="488" y="602"/>
                    <a:pt x="549" y="640"/>
                    <a:pt x="542" y="701"/>
                  </a:cubicBezTo>
                  <a:cubicBezTo>
                    <a:pt x="526" y="686"/>
                    <a:pt x="519" y="656"/>
                    <a:pt x="504" y="633"/>
                  </a:cubicBezTo>
                  <a:cubicBezTo>
                    <a:pt x="473" y="610"/>
                    <a:pt x="450" y="610"/>
                    <a:pt x="435" y="571"/>
                  </a:cubicBezTo>
                  <a:cubicBezTo>
                    <a:pt x="412" y="503"/>
                    <a:pt x="442" y="449"/>
                    <a:pt x="359" y="404"/>
                  </a:cubicBezTo>
                  <a:cubicBezTo>
                    <a:pt x="297" y="365"/>
                    <a:pt x="320" y="297"/>
                    <a:pt x="274" y="252"/>
                  </a:cubicBezTo>
                  <a:cubicBezTo>
                    <a:pt x="206" y="191"/>
                    <a:pt x="137" y="206"/>
                    <a:pt x="183" y="84"/>
                  </a:cubicBezTo>
                  <a:cubicBezTo>
                    <a:pt x="229" y="38"/>
                    <a:pt x="198" y="15"/>
                    <a:pt x="167" y="0"/>
                  </a:cubicBezTo>
                  <a:lnTo>
                    <a:pt x="167" y="0"/>
                  </a:lnTo>
                  <a:cubicBezTo>
                    <a:pt x="137" y="30"/>
                    <a:pt x="145" y="15"/>
                    <a:pt x="114" y="38"/>
                  </a:cubicBezTo>
                  <a:cubicBezTo>
                    <a:pt x="91" y="61"/>
                    <a:pt x="68" y="76"/>
                    <a:pt x="53" y="99"/>
                  </a:cubicBezTo>
                  <a:cubicBezTo>
                    <a:pt x="30" y="122"/>
                    <a:pt x="15" y="152"/>
                    <a:pt x="0" y="175"/>
                  </a:cubicBezTo>
                  <a:lnTo>
                    <a:pt x="0" y="175"/>
                  </a:lnTo>
                  <a:cubicBezTo>
                    <a:pt x="30" y="206"/>
                    <a:pt x="61" y="244"/>
                    <a:pt x="91" y="274"/>
                  </a:cubicBezTo>
                  <a:cubicBezTo>
                    <a:pt x="99" y="282"/>
                    <a:pt x="114" y="282"/>
                    <a:pt x="114" y="297"/>
                  </a:cubicBezTo>
                  <a:cubicBezTo>
                    <a:pt x="114" y="320"/>
                    <a:pt x="106" y="351"/>
                    <a:pt x="99" y="373"/>
                  </a:cubicBezTo>
                  <a:cubicBezTo>
                    <a:pt x="91" y="388"/>
                    <a:pt x="84" y="396"/>
                    <a:pt x="84" y="411"/>
                  </a:cubicBezTo>
                  <a:lnTo>
                    <a:pt x="91" y="419"/>
                  </a:lnTo>
                  <a:cubicBezTo>
                    <a:pt x="106" y="449"/>
                    <a:pt x="106" y="487"/>
                    <a:pt x="122" y="510"/>
                  </a:cubicBezTo>
                  <a:cubicBezTo>
                    <a:pt x="129" y="518"/>
                    <a:pt x="145" y="503"/>
                    <a:pt x="160" y="510"/>
                  </a:cubicBezTo>
                  <a:cubicBezTo>
                    <a:pt x="167" y="510"/>
                    <a:pt x="167" y="526"/>
                    <a:pt x="175" y="526"/>
                  </a:cubicBezTo>
                  <a:cubicBezTo>
                    <a:pt x="183" y="533"/>
                    <a:pt x="198" y="518"/>
                    <a:pt x="206" y="526"/>
                  </a:cubicBezTo>
                  <a:cubicBezTo>
                    <a:pt x="221" y="541"/>
                    <a:pt x="236" y="564"/>
                    <a:pt x="236" y="587"/>
                  </a:cubicBezTo>
                  <a:cubicBezTo>
                    <a:pt x="236" y="594"/>
                    <a:pt x="229" y="602"/>
                    <a:pt x="213" y="602"/>
                  </a:cubicBezTo>
                  <a:cubicBezTo>
                    <a:pt x="183" y="610"/>
                    <a:pt x="145" y="587"/>
                    <a:pt x="114" y="610"/>
                  </a:cubicBezTo>
                  <a:cubicBezTo>
                    <a:pt x="99" y="625"/>
                    <a:pt x="129" y="656"/>
                    <a:pt x="137" y="679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58" name="Freeform 180"/>
            <p:cNvSpPr>
              <a:spLocks noChangeArrowheads="1"/>
            </p:cNvSpPr>
            <p:nvPr/>
          </p:nvSpPr>
          <p:spPr bwMode="auto">
            <a:xfrm>
              <a:off x="4228825" y="5519739"/>
              <a:ext cx="239697" cy="244475"/>
            </a:xfrm>
            <a:custGeom>
              <a:avLst/>
              <a:gdLst>
                <a:gd name="T0" fmla="*/ 114 w 665"/>
                <a:gd name="T1" fmla="*/ 580 h 680"/>
                <a:gd name="T2" fmla="*/ 114 w 665"/>
                <a:gd name="T3" fmla="*/ 580 h 680"/>
                <a:gd name="T4" fmla="*/ 91 w 665"/>
                <a:gd name="T5" fmla="*/ 497 h 680"/>
                <a:gd name="T6" fmla="*/ 61 w 665"/>
                <a:gd name="T7" fmla="*/ 481 h 680"/>
                <a:gd name="T8" fmla="*/ 38 w 665"/>
                <a:gd name="T9" fmla="*/ 420 h 680"/>
                <a:gd name="T10" fmla="*/ 38 w 665"/>
                <a:gd name="T11" fmla="*/ 275 h 680"/>
                <a:gd name="T12" fmla="*/ 7 w 665"/>
                <a:gd name="T13" fmla="*/ 214 h 680"/>
                <a:gd name="T14" fmla="*/ 45 w 665"/>
                <a:gd name="T15" fmla="*/ 199 h 680"/>
                <a:gd name="T16" fmla="*/ 68 w 665"/>
                <a:gd name="T17" fmla="*/ 76 h 680"/>
                <a:gd name="T18" fmla="*/ 83 w 665"/>
                <a:gd name="T19" fmla="*/ 54 h 680"/>
                <a:gd name="T20" fmla="*/ 145 w 665"/>
                <a:gd name="T21" fmla="*/ 46 h 680"/>
                <a:gd name="T22" fmla="*/ 145 w 665"/>
                <a:gd name="T23" fmla="*/ 46 h 680"/>
                <a:gd name="T24" fmla="*/ 221 w 665"/>
                <a:gd name="T25" fmla="*/ 0 h 680"/>
                <a:gd name="T26" fmla="*/ 244 w 665"/>
                <a:gd name="T27" fmla="*/ 38 h 680"/>
                <a:gd name="T28" fmla="*/ 275 w 665"/>
                <a:gd name="T29" fmla="*/ 31 h 680"/>
                <a:gd name="T30" fmla="*/ 297 w 665"/>
                <a:gd name="T31" fmla="*/ 76 h 680"/>
                <a:gd name="T32" fmla="*/ 366 w 665"/>
                <a:gd name="T33" fmla="*/ 54 h 680"/>
                <a:gd name="T34" fmla="*/ 427 w 665"/>
                <a:gd name="T35" fmla="*/ 99 h 680"/>
                <a:gd name="T36" fmla="*/ 442 w 665"/>
                <a:gd name="T37" fmla="*/ 138 h 680"/>
                <a:gd name="T38" fmla="*/ 519 w 665"/>
                <a:gd name="T39" fmla="*/ 130 h 680"/>
                <a:gd name="T40" fmla="*/ 565 w 665"/>
                <a:gd name="T41" fmla="*/ 107 h 680"/>
                <a:gd name="T42" fmla="*/ 595 w 665"/>
                <a:gd name="T43" fmla="*/ 99 h 680"/>
                <a:gd name="T44" fmla="*/ 595 w 665"/>
                <a:gd name="T45" fmla="*/ 214 h 680"/>
                <a:gd name="T46" fmla="*/ 626 w 665"/>
                <a:gd name="T47" fmla="*/ 283 h 680"/>
                <a:gd name="T48" fmla="*/ 664 w 665"/>
                <a:gd name="T49" fmla="*/ 344 h 680"/>
                <a:gd name="T50" fmla="*/ 664 w 665"/>
                <a:gd name="T51" fmla="*/ 344 h 680"/>
                <a:gd name="T52" fmla="*/ 565 w 665"/>
                <a:gd name="T53" fmla="*/ 397 h 680"/>
                <a:gd name="T54" fmla="*/ 511 w 665"/>
                <a:gd name="T55" fmla="*/ 420 h 680"/>
                <a:gd name="T56" fmla="*/ 450 w 665"/>
                <a:gd name="T57" fmla="*/ 413 h 680"/>
                <a:gd name="T58" fmla="*/ 450 w 665"/>
                <a:gd name="T59" fmla="*/ 489 h 680"/>
                <a:gd name="T60" fmla="*/ 412 w 665"/>
                <a:gd name="T61" fmla="*/ 481 h 680"/>
                <a:gd name="T62" fmla="*/ 389 w 665"/>
                <a:gd name="T63" fmla="*/ 504 h 680"/>
                <a:gd name="T64" fmla="*/ 343 w 665"/>
                <a:gd name="T65" fmla="*/ 497 h 680"/>
                <a:gd name="T66" fmla="*/ 305 w 665"/>
                <a:gd name="T67" fmla="*/ 527 h 680"/>
                <a:gd name="T68" fmla="*/ 252 w 665"/>
                <a:gd name="T69" fmla="*/ 542 h 680"/>
                <a:gd name="T70" fmla="*/ 313 w 665"/>
                <a:gd name="T71" fmla="*/ 603 h 680"/>
                <a:gd name="T72" fmla="*/ 290 w 665"/>
                <a:gd name="T73" fmla="*/ 619 h 680"/>
                <a:gd name="T74" fmla="*/ 290 w 665"/>
                <a:gd name="T75" fmla="*/ 671 h 680"/>
                <a:gd name="T76" fmla="*/ 213 w 665"/>
                <a:gd name="T77" fmla="*/ 657 h 680"/>
                <a:gd name="T78" fmla="*/ 167 w 665"/>
                <a:gd name="T79" fmla="*/ 664 h 680"/>
                <a:gd name="T80" fmla="*/ 167 w 665"/>
                <a:gd name="T81" fmla="*/ 664 h 680"/>
                <a:gd name="T82" fmla="*/ 114 w 665"/>
                <a:gd name="T83" fmla="*/ 58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5" h="680">
                  <a:moveTo>
                    <a:pt x="114" y="580"/>
                  </a:moveTo>
                  <a:lnTo>
                    <a:pt x="114" y="580"/>
                  </a:lnTo>
                  <a:cubicBezTo>
                    <a:pt x="106" y="558"/>
                    <a:pt x="106" y="527"/>
                    <a:pt x="91" y="497"/>
                  </a:cubicBezTo>
                  <a:cubicBezTo>
                    <a:pt x="83" y="489"/>
                    <a:pt x="68" y="489"/>
                    <a:pt x="61" y="481"/>
                  </a:cubicBezTo>
                  <a:cubicBezTo>
                    <a:pt x="45" y="466"/>
                    <a:pt x="38" y="443"/>
                    <a:pt x="38" y="420"/>
                  </a:cubicBezTo>
                  <a:cubicBezTo>
                    <a:pt x="30" y="374"/>
                    <a:pt x="45" y="328"/>
                    <a:pt x="38" y="275"/>
                  </a:cubicBezTo>
                  <a:cubicBezTo>
                    <a:pt x="30" y="252"/>
                    <a:pt x="0" y="237"/>
                    <a:pt x="7" y="214"/>
                  </a:cubicBezTo>
                  <a:cubicBezTo>
                    <a:pt x="7" y="199"/>
                    <a:pt x="38" y="214"/>
                    <a:pt x="45" y="199"/>
                  </a:cubicBezTo>
                  <a:cubicBezTo>
                    <a:pt x="61" y="161"/>
                    <a:pt x="53" y="115"/>
                    <a:pt x="68" y="76"/>
                  </a:cubicBezTo>
                  <a:cubicBezTo>
                    <a:pt x="68" y="69"/>
                    <a:pt x="76" y="54"/>
                    <a:pt x="83" y="54"/>
                  </a:cubicBezTo>
                  <a:cubicBezTo>
                    <a:pt x="106" y="46"/>
                    <a:pt x="122" y="46"/>
                    <a:pt x="145" y="46"/>
                  </a:cubicBezTo>
                  <a:lnTo>
                    <a:pt x="145" y="46"/>
                  </a:lnTo>
                  <a:cubicBezTo>
                    <a:pt x="167" y="31"/>
                    <a:pt x="190" y="0"/>
                    <a:pt x="221" y="0"/>
                  </a:cubicBezTo>
                  <a:cubicBezTo>
                    <a:pt x="236" y="0"/>
                    <a:pt x="236" y="31"/>
                    <a:pt x="244" y="38"/>
                  </a:cubicBezTo>
                  <a:cubicBezTo>
                    <a:pt x="252" y="46"/>
                    <a:pt x="267" y="31"/>
                    <a:pt x="275" y="31"/>
                  </a:cubicBezTo>
                  <a:cubicBezTo>
                    <a:pt x="282" y="46"/>
                    <a:pt x="282" y="69"/>
                    <a:pt x="297" y="76"/>
                  </a:cubicBezTo>
                  <a:cubicBezTo>
                    <a:pt x="320" y="76"/>
                    <a:pt x="343" y="46"/>
                    <a:pt x="366" y="54"/>
                  </a:cubicBezTo>
                  <a:cubicBezTo>
                    <a:pt x="389" y="61"/>
                    <a:pt x="412" y="84"/>
                    <a:pt x="427" y="99"/>
                  </a:cubicBezTo>
                  <a:cubicBezTo>
                    <a:pt x="435" y="107"/>
                    <a:pt x="427" y="130"/>
                    <a:pt x="442" y="138"/>
                  </a:cubicBezTo>
                  <a:cubicBezTo>
                    <a:pt x="465" y="145"/>
                    <a:pt x="488" y="138"/>
                    <a:pt x="519" y="130"/>
                  </a:cubicBezTo>
                  <a:cubicBezTo>
                    <a:pt x="534" y="122"/>
                    <a:pt x="550" y="115"/>
                    <a:pt x="565" y="107"/>
                  </a:cubicBezTo>
                  <a:cubicBezTo>
                    <a:pt x="572" y="107"/>
                    <a:pt x="595" y="84"/>
                    <a:pt x="595" y="99"/>
                  </a:cubicBezTo>
                  <a:cubicBezTo>
                    <a:pt x="611" y="138"/>
                    <a:pt x="595" y="176"/>
                    <a:pt x="595" y="214"/>
                  </a:cubicBezTo>
                  <a:cubicBezTo>
                    <a:pt x="603" y="237"/>
                    <a:pt x="618" y="260"/>
                    <a:pt x="626" y="283"/>
                  </a:cubicBezTo>
                  <a:cubicBezTo>
                    <a:pt x="633" y="306"/>
                    <a:pt x="649" y="321"/>
                    <a:pt x="664" y="344"/>
                  </a:cubicBezTo>
                  <a:lnTo>
                    <a:pt x="664" y="344"/>
                  </a:lnTo>
                  <a:cubicBezTo>
                    <a:pt x="633" y="367"/>
                    <a:pt x="603" y="382"/>
                    <a:pt x="565" y="397"/>
                  </a:cubicBezTo>
                  <a:cubicBezTo>
                    <a:pt x="550" y="413"/>
                    <a:pt x="534" y="420"/>
                    <a:pt x="511" y="420"/>
                  </a:cubicBezTo>
                  <a:cubicBezTo>
                    <a:pt x="488" y="428"/>
                    <a:pt x="465" y="405"/>
                    <a:pt x="450" y="413"/>
                  </a:cubicBezTo>
                  <a:cubicBezTo>
                    <a:pt x="435" y="436"/>
                    <a:pt x="458" y="466"/>
                    <a:pt x="450" y="489"/>
                  </a:cubicBezTo>
                  <a:cubicBezTo>
                    <a:pt x="442" y="497"/>
                    <a:pt x="419" y="481"/>
                    <a:pt x="412" y="481"/>
                  </a:cubicBezTo>
                  <a:cubicBezTo>
                    <a:pt x="397" y="489"/>
                    <a:pt x="397" y="504"/>
                    <a:pt x="389" y="504"/>
                  </a:cubicBezTo>
                  <a:cubicBezTo>
                    <a:pt x="374" y="504"/>
                    <a:pt x="358" y="497"/>
                    <a:pt x="343" y="497"/>
                  </a:cubicBezTo>
                  <a:cubicBezTo>
                    <a:pt x="328" y="504"/>
                    <a:pt x="320" y="519"/>
                    <a:pt x="305" y="527"/>
                  </a:cubicBezTo>
                  <a:cubicBezTo>
                    <a:pt x="290" y="535"/>
                    <a:pt x="252" y="527"/>
                    <a:pt x="252" y="542"/>
                  </a:cubicBezTo>
                  <a:cubicBezTo>
                    <a:pt x="259" y="573"/>
                    <a:pt x="305" y="573"/>
                    <a:pt x="313" y="603"/>
                  </a:cubicBezTo>
                  <a:cubicBezTo>
                    <a:pt x="320" y="611"/>
                    <a:pt x="297" y="611"/>
                    <a:pt x="290" y="619"/>
                  </a:cubicBezTo>
                  <a:cubicBezTo>
                    <a:pt x="282" y="634"/>
                    <a:pt x="305" y="664"/>
                    <a:pt x="290" y="671"/>
                  </a:cubicBezTo>
                  <a:cubicBezTo>
                    <a:pt x="267" y="679"/>
                    <a:pt x="236" y="657"/>
                    <a:pt x="213" y="657"/>
                  </a:cubicBezTo>
                  <a:cubicBezTo>
                    <a:pt x="198" y="657"/>
                    <a:pt x="183" y="664"/>
                    <a:pt x="167" y="664"/>
                  </a:cubicBezTo>
                  <a:lnTo>
                    <a:pt x="167" y="664"/>
                  </a:lnTo>
                  <a:cubicBezTo>
                    <a:pt x="114" y="580"/>
                    <a:pt x="114" y="580"/>
                    <a:pt x="114" y="58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59" name="Freeform 181"/>
            <p:cNvSpPr>
              <a:spLocks noChangeArrowheads="1"/>
            </p:cNvSpPr>
            <p:nvPr/>
          </p:nvSpPr>
          <p:spPr bwMode="auto">
            <a:xfrm>
              <a:off x="3803402" y="6097588"/>
              <a:ext cx="465108" cy="254000"/>
            </a:xfrm>
            <a:custGeom>
              <a:avLst/>
              <a:gdLst>
                <a:gd name="T0" fmla="*/ 1252 w 1291"/>
                <a:gd name="T1" fmla="*/ 321 h 704"/>
                <a:gd name="T2" fmla="*/ 1252 w 1291"/>
                <a:gd name="T3" fmla="*/ 321 h 704"/>
                <a:gd name="T4" fmla="*/ 1229 w 1291"/>
                <a:gd name="T5" fmla="*/ 191 h 704"/>
                <a:gd name="T6" fmla="*/ 1290 w 1291"/>
                <a:gd name="T7" fmla="*/ 107 h 704"/>
                <a:gd name="T8" fmla="*/ 1290 w 1291"/>
                <a:gd name="T9" fmla="*/ 107 h 704"/>
                <a:gd name="T10" fmla="*/ 1184 w 1291"/>
                <a:gd name="T11" fmla="*/ 38 h 704"/>
                <a:gd name="T12" fmla="*/ 1145 w 1291"/>
                <a:gd name="T13" fmla="*/ 23 h 704"/>
                <a:gd name="T14" fmla="*/ 1138 w 1291"/>
                <a:gd name="T15" fmla="*/ 46 h 704"/>
                <a:gd name="T16" fmla="*/ 1092 w 1291"/>
                <a:gd name="T17" fmla="*/ 46 h 704"/>
                <a:gd name="T18" fmla="*/ 1054 w 1291"/>
                <a:gd name="T19" fmla="*/ 31 h 704"/>
                <a:gd name="T20" fmla="*/ 1023 w 1291"/>
                <a:gd name="T21" fmla="*/ 76 h 704"/>
                <a:gd name="T22" fmla="*/ 985 w 1291"/>
                <a:gd name="T23" fmla="*/ 15 h 704"/>
                <a:gd name="T24" fmla="*/ 916 w 1291"/>
                <a:gd name="T25" fmla="*/ 31 h 704"/>
                <a:gd name="T26" fmla="*/ 886 w 1291"/>
                <a:gd name="T27" fmla="*/ 23 h 704"/>
                <a:gd name="T28" fmla="*/ 855 w 1291"/>
                <a:gd name="T29" fmla="*/ 0 h 704"/>
                <a:gd name="T30" fmla="*/ 779 w 1291"/>
                <a:gd name="T31" fmla="*/ 23 h 704"/>
                <a:gd name="T32" fmla="*/ 717 w 1291"/>
                <a:gd name="T33" fmla="*/ 31 h 704"/>
                <a:gd name="T34" fmla="*/ 649 w 1291"/>
                <a:gd name="T35" fmla="*/ 15 h 704"/>
                <a:gd name="T36" fmla="*/ 618 w 1291"/>
                <a:gd name="T37" fmla="*/ 0 h 704"/>
                <a:gd name="T38" fmla="*/ 618 w 1291"/>
                <a:gd name="T39" fmla="*/ 0 h 704"/>
                <a:gd name="T40" fmla="*/ 603 w 1291"/>
                <a:gd name="T41" fmla="*/ 54 h 704"/>
                <a:gd name="T42" fmla="*/ 603 w 1291"/>
                <a:gd name="T43" fmla="*/ 107 h 704"/>
                <a:gd name="T44" fmla="*/ 527 w 1291"/>
                <a:gd name="T45" fmla="*/ 153 h 704"/>
                <a:gd name="T46" fmla="*/ 511 w 1291"/>
                <a:gd name="T47" fmla="*/ 206 h 704"/>
                <a:gd name="T48" fmla="*/ 442 w 1291"/>
                <a:gd name="T49" fmla="*/ 206 h 704"/>
                <a:gd name="T50" fmla="*/ 374 w 1291"/>
                <a:gd name="T51" fmla="*/ 275 h 704"/>
                <a:gd name="T52" fmla="*/ 244 w 1291"/>
                <a:gd name="T53" fmla="*/ 290 h 704"/>
                <a:gd name="T54" fmla="*/ 229 w 1291"/>
                <a:gd name="T55" fmla="*/ 313 h 704"/>
                <a:gd name="T56" fmla="*/ 183 w 1291"/>
                <a:gd name="T57" fmla="*/ 313 h 704"/>
                <a:gd name="T58" fmla="*/ 106 w 1291"/>
                <a:gd name="T59" fmla="*/ 367 h 704"/>
                <a:gd name="T60" fmla="*/ 0 w 1291"/>
                <a:gd name="T61" fmla="*/ 390 h 704"/>
                <a:gd name="T62" fmla="*/ 0 w 1291"/>
                <a:gd name="T63" fmla="*/ 390 h 704"/>
                <a:gd name="T64" fmla="*/ 0 w 1291"/>
                <a:gd name="T65" fmla="*/ 435 h 704"/>
                <a:gd name="T66" fmla="*/ 30 w 1291"/>
                <a:gd name="T67" fmla="*/ 466 h 704"/>
                <a:gd name="T68" fmla="*/ 30 w 1291"/>
                <a:gd name="T69" fmla="*/ 520 h 704"/>
                <a:gd name="T70" fmla="*/ 45 w 1291"/>
                <a:gd name="T71" fmla="*/ 573 h 704"/>
                <a:gd name="T72" fmla="*/ 106 w 1291"/>
                <a:gd name="T73" fmla="*/ 573 h 704"/>
                <a:gd name="T74" fmla="*/ 145 w 1291"/>
                <a:gd name="T75" fmla="*/ 642 h 704"/>
                <a:gd name="T76" fmla="*/ 198 w 1291"/>
                <a:gd name="T77" fmla="*/ 695 h 704"/>
                <a:gd name="T78" fmla="*/ 267 w 1291"/>
                <a:gd name="T79" fmla="*/ 642 h 704"/>
                <a:gd name="T80" fmla="*/ 267 w 1291"/>
                <a:gd name="T81" fmla="*/ 642 h 704"/>
                <a:gd name="T82" fmla="*/ 442 w 1291"/>
                <a:gd name="T83" fmla="*/ 527 h 704"/>
                <a:gd name="T84" fmla="*/ 504 w 1291"/>
                <a:gd name="T85" fmla="*/ 428 h 704"/>
                <a:gd name="T86" fmla="*/ 588 w 1291"/>
                <a:gd name="T87" fmla="*/ 474 h 704"/>
                <a:gd name="T88" fmla="*/ 679 w 1291"/>
                <a:gd name="T89" fmla="*/ 588 h 704"/>
                <a:gd name="T90" fmla="*/ 748 w 1291"/>
                <a:gd name="T91" fmla="*/ 649 h 704"/>
                <a:gd name="T92" fmla="*/ 763 w 1291"/>
                <a:gd name="T93" fmla="*/ 703 h 704"/>
                <a:gd name="T94" fmla="*/ 763 w 1291"/>
                <a:gd name="T95" fmla="*/ 703 h 704"/>
                <a:gd name="T96" fmla="*/ 848 w 1291"/>
                <a:gd name="T97" fmla="*/ 634 h 704"/>
                <a:gd name="T98" fmla="*/ 878 w 1291"/>
                <a:gd name="T99" fmla="*/ 558 h 704"/>
                <a:gd name="T100" fmla="*/ 893 w 1291"/>
                <a:gd name="T101" fmla="*/ 458 h 704"/>
                <a:gd name="T102" fmla="*/ 985 w 1291"/>
                <a:gd name="T103" fmla="*/ 466 h 704"/>
                <a:gd name="T104" fmla="*/ 1015 w 1291"/>
                <a:gd name="T105" fmla="*/ 489 h 704"/>
                <a:gd name="T106" fmla="*/ 1046 w 1291"/>
                <a:gd name="T107" fmla="*/ 474 h 704"/>
                <a:gd name="T108" fmla="*/ 1038 w 1291"/>
                <a:gd name="T109" fmla="*/ 412 h 704"/>
                <a:gd name="T110" fmla="*/ 1046 w 1291"/>
                <a:gd name="T111" fmla="*/ 382 h 704"/>
                <a:gd name="T112" fmla="*/ 1092 w 1291"/>
                <a:gd name="T113" fmla="*/ 359 h 704"/>
                <a:gd name="T114" fmla="*/ 1107 w 1291"/>
                <a:gd name="T115" fmla="*/ 313 h 704"/>
                <a:gd name="T116" fmla="*/ 1168 w 1291"/>
                <a:gd name="T117" fmla="*/ 344 h 704"/>
                <a:gd name="T118" fmla="*/ 1214 w 1291"/>
                <a:gd name="T119" fmla="*/ 329 h 704"/>
                <a:gd name="T120" fmla="*/ 1252 w 1291"/>
                <a:gd name="T121" fmla="*/ 321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91" h="704">
                  <a:moveTo>
                    <a:pt x="1252" y="321"/>
                  </a:moveTo>
                  <a:lnTo>
                    <a:pt x="1252" y="321"/>
                  </a:lnTo>
                  <a:cubicBezTo>
                    <a:pt x="1245" y="275"/>
                    <a:pt x="1222" y="237"/>
                    <a:pt x="1229" y="191"/>
                  </a:cubicBezTo>
                  <a:cubicBezTo>
                    <a:pt x="1237" y="160"/>
                    <a:pt x="1267" y="138"/>
                    <a:pt x="1290" y="107"/>
                  </a:cubicBezTo>
                  <a:lnTo>
                    <a:pt x="1290" y="107"/>
                  </a:lnTo>
                  <a:cubicBezTo>
                    <a:pt x="1260" y="84"/>
                    <a:pt x="1222" y="54"/>
                    <a:pt x="1184" y="38"/>
                  </a:cubicBezTo>
                  <a:cubicBezTo>
                    <a:pt x="1168" y="31"/>
                    <a:pt x="1153" y="23"/>
                    <a:pt x="1145" y="23"/>
                  </a:cubicBezTo>
                  <a:cubicBezTo>
                    <a:pt x="1138" y="31"/>
                    <a:pt x="1145" y="38"/>
                    <a:pt x="1138" y="46"/>
                  </a:cubicBezTo>
                  <a:cubicBezTo>
                    <a:pt x="1122" y="46"/>
                    <a:pt x="1107" y="46"/>
                    <a:pt x="1092" y="46"/>
                  </a:cubicBezTo>
                  <a:cubicBezTo>
                    <a:pt x="1077" y="46"/>
                    <a:pt x="1069" y="23"/>
                    <a:pt x="1054" y="31"/>
                  </a:cubicBezTo>
                  <a:cubicBezTo>
                    <a:pt x="1038" y="38"/>
                    <a:pt x="1046" y="76"/>
                    <a:pt x="1023" y="76"/>
                  </a:cubicBezTo>
                  <a:cubicBezTo>
                    <a:pt x="1000" y="69"/>
                    <a:pt x="1008" y="23"/>
                    <a:pt x="985" y="15"/>
                  </a:cubicBezTo>
                  <a:cubicBezTo>
                    <a:pt x="962" y="8"/>
                    <a:pt x="939" y="31"/>
                    <a:pt x="916" y="31"/>
                  </a:cubicBezTo>
                  <a:cubicBezTo>
                    <a:pt x="909" y="31"/>
                    <a:pt x="893" y="31"/>
                    <a:pt x="886" y="23"/>
                  </a:cubicBezTo>
                  <a:cubicBezTo>
                    <a:pt x="870" y="15"/>
                    <a:pt x="870" y="0"/>
                    <a:pt x="855" y="0"/>
                  </a:cubicBezTo>
                  <a:cubicBezTo>
                    <a:pt x="832" y="0"/>
                    <a:pt x="802" y="15"/>
                    <a:pt x="779" y="23"/>
                  </a:cubicBezTo>
                  <a:cubicBezTo>
                    <a:pt x="756" y="31"/>
                    <a:pt x="740" y="38"/>
                    <a:pt x="717" y="31"/>
                  </a:cubicBezTo>
                  <a:cubicBezTo>
                    <a:pt x="695" y="31"/>
                    <a:pt x="672" y="23"/>
                    <a:pt x="649" y="15"/>
                  </a:cubicBezTo>
                  <a:cubicBezTo>
                    <a:pt x="641" y="15"/>
                    <a:pt x="634" y="8"/>
                    <a:pt x="618" y="0"/>
                  </a:cubicBezTo>
                  <a:lnTo>
                    <a:pt x="618" y="0"/>
                  </a:lnTo>
                  <a:cubicBezTo>
                    <a:pt x="611" y="15"/>
                    <a:pt x="603" y="31"/>
                    <a:pt x="603" y="54"/>
                  </a:cubicBezTo>
                  <a:cubicBezTo>
                    <a:pt x="595" y="69"/>
                    <a:pt x="611" y="92"/>
                    <a:pt x="603" y="107"/>
                  </a:cubicBezTo>
                  <a:cubicBezTo>
                    <a:pt x="588" y="130"/>
                    <a:pt x="550" y="130"/>
                    <a:pt x="527" y="153"/>
                  </a:cubicBezTo>
                  <a:cubicBezTo>
                    <a:pt x="519" y="168"/>
                    <a:pt x="527" y="199"/>
                    <a:pt x="511" y="206"/>
                  </a:cubicBezTo>
                  <a:cubicBezTo>
                    <a:pt x="488" y="222"/>
                    <a:pt x="465" y="199"/>
                    <a:pt x="442" y="206"/>
                  </a:cubicBezTo>
                  <a:cubicBezTo>
                    <a:pt x="412" y="222"/>
                    <a:pt x="404" y="260"/>
                    <a:pt x="374" y="275"/>
                  </a:cubicBezTo>
                  <a:cubicBezTo>
                    <a:pt x="336" y="290"/>
                    <a:pt x="290" y="275"/>
                    <a:pt x="244" y="290"/>
                  </a:cubicBezTo>
                  <a:cubicBezTo>
                    <a:pt x="236" y="290"/>
                    <a:pt x="236" y="313"/>
                    <a:pt x="229" y="313"/>
                  </a:cubicBezTo>
                  <a:cubicBezTo>
                    <a:pt x="213" y="321"/>
                    <a:pt x="198" y="306"/>
                    <a:pt x="183" y="313"/>
                  </a:cubicBezTo>
                  <a:cubicBezTo>
                    <a:pt x="160" y="329"/>
                    <a:pt x="137" y="351"/>
                    <a:pt x="106" y="367"/>
                  </a:cubicBezTo>
                  <a:cubicBezTo>
                    <a:pt x="76" y="374"/>
                    <a:pt x="38" y="382"/>
                    <a:pt x="0" y="390"/>
                  </a:cubicBezTo>
                  <a:lnTo>
                    <a:pt x="0" y="390"/>
                  </a:lnTo>
                  <a:cubicBezTo>
                    <a:pt x="0" y="405"/>
                    <a:pt x="0" y="420"/>
                    <a:pt x="0" y="435"/>
                  </a:cubicBezTo>
                  <a:cubicBezTo>
                    <a:pt x="7" y="451"/>
                    <a:pt x="23" y="451"/>
                    <a:pt x="30" y="466"/>
                  </a:cubicBezTo>
                  <a:cubicBezTo>
                    <a:pt x="38" y="481"/>
                    <a:pt x="30" y="497"/>
                    <a:pt x="30" y="520"/>
                  </a:cubicBezTo>
                  <a:cubicBezTo>
                    <a:pt x="38" y="535"/>
                    <a:pt x="30" y="558"/>
                    <a:pt x="45" y="573"/>
                  </a:cubicBezTo>
                  <a:cubicBezTo>
                    <a:pt x="61" y="581"/>
                    <a:pt x="91" y="558"/>
                    <a:pt x="106" y="573"/>
                  </a:cubicBezTo>
                  <a:cubicBezTo>
                    <a:pt x="129" y="588"/>
                    <a:pt x="129" y="619"/>
                    <a:pt x="145" y="642"/>
                  </a:cubicBezTo>
                  <a:cubicBezTo>
                    <a:pt x="160" y="657"/>
                    <a:pt x="175" y="687"/>
                    <a:pt x="198" y="695"/>
                  </a:cubicBezTo>
                  <a:cubicBezTo>
                    <a:pt x="229" y="695"/>
                    <a:pt x="236" y="657"/>
                    <a:pt x="267" y="642"/>
                  </a:cubicBezTo>
                  <a:lnTo>
                    <a:pt x="267" y="642"/>
                  </a:lnTo>
                  <a:cubicBezTo>
                    <a:pt x="397" y="642"/>
                    <a:pt x="366" y="619"/>
                    <a:pt x="442" y="527"/>
                  </a:cubicBezTo>
                  <a:cubicBezTo>
                    <a:pt x="450" y="512"/>
                    <a:pt x="481" y="412"/>
                    <a:pt x="504" y="428"/>
                  </a:cubicBezTo>
                  <a:cubicBezTo>
                    <a:pt x="534" y="443"/>
                    <a:pt x="557" y="458"/>
                    <a:pt x="588" y="474"/>
                  </a:cubicBezTo>
                  <a:cubicBezTo>
                    <a:pt x="634" y="489"/>
                    <a:pt x="679" y="543"/>
                    <a:pt x="679" y="588"/>
                  </a:cubicBezTo>
                  <a:cubicBezTo>
                    <a:pt x="679" y="619"/>
                    <a:pt x="740" y="604"/>
                    <a:pt x="748" y="649"/>
                  </a:cubicBezTo>
                  <a:cubicBezTo>
                    <a:pt x="763" y="703"/>
                    <a:pt x="763" y="703"/>
                    <a:pt x="763" y="703"/>
                  </a:cubicBezTo>
                  <a:lnTo>
                    <a:pt x="763" y="703"/>
                  </a:lnTo>
                  <a:cubicBezTo>
                    <a:pt x="779" y="680"/>
                    <a:pt x="832" y="657"/>
                    <a:pt x="848" y="634"/>
                  </a:cubicBezTo>
                  <a:cubicBezTo>
                    <a:pt x="863" y="611"/>
                    <a:pt x="870" y="581"/>
                    <a:pt x="878" y="558"/>
                  </a:cubicBezTo>
                  <a:cubicBezTo>
                    <a:pt x="886" y="520"/>
                    <a:pt x="870" y="474"/>
                    <a:pt x="893" y="458"/>
                  </a:cubicBezTo>
                  <a:cubicBezTo>
                    <a:pt x="916" y="435"/>
                    <a:pt x="954" y="458"/>
                    <a:pt x="985" y="466"/>
                  </a:cubicBezTo>
                  <a:cubicBezTo>
                    <a:pt x="1000" y="474"/>
                    <a:pt x="1000" y="489"/>
                    <a:pt x="1015" y="489"/>
                  </a:cubicBezTo>
                  <a:cubicBezTo>
                    <a:pt x="1023" y="489"/>
                    <a:pt x="1046" y="489"/>
                    <a:pt x="1046" y="474"/>
                  </a:cubicBezTo>
                  <a:cubicBezTo>
                    <a:pt x="1054" y="458"/>
                    <a:pt x="1038" y="435"/>
                    <a:pt x="1038" y="412"/>
                  </a:cubicBezTo>
                  <a:cubicBezTo>
                    <a:pt x="1038" y="405"/>
                    <a:pt x="1038" y="390"/>
                    <a:pt x="1046" y="382"/>
                  </a:cubicBezTo>
                  <a:cubicBezTo>
                    <a:pt x="1061" y="367"/>
                    <a:pt x="1077" y="374"/>
                    <a:pt x="1092" y="359"/>
                  </a:cubicBezTo>
                  <a:cubicBezTo>
                    <a:pt x="1099" y="351"/>
                    <a:pt x="1092" y="321"/>
                    <a:pt x="1107" y="313"/>
                  </a:cubicBezTo>
                  <a:cubicBezTo>
                    <a:pt x="1130" y="313"/>
                    <a:pt x="1145" y="344"/>
                    <a:pt x="1168" y="344"/>
                  </a:cubicBezTo>
                  <a:cubicBezTo>
                    <a:pt x="1184" y="344"/>
                    <a:pt x="1199" y="336"/>
                    <a:pt x="1214" y="329"/>
                  </a:cubicBezTo>
                  <a:cubicBezTo>
                    <a:pt x="1229" y="329"/>
                    <a:pt x="1237" y="321"/>
                    <a:pt x="1252" y="32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60" name="Freeform 182"/>
            <p:cNvSpPr>
              <a:spLocks noChangeArrowheads="1"/>
            </p:cNvSpPr>
            <p:nvPr/>
          </p:nvSpPr>
          <p:spPr bwMode="auto">
            <a:xfrm>
              <a:off x="3604979" y="5895976"/>
              <a:ext cx="439708" cy="371475"/>
            </a:xfrm>
            <a:custGeom>
              <a:avLst/>
              <a:gdLst>
                <a:gd name="T0" fmla="*/ 1222 w 1223"/>
                <a:gd name="T1" fmla="*/ 23 h 1033"/>
                <a:gd name="T2" fmla="*/ 1222 w 1223"/>
                <a:gd name="T3" fmla="*/ 23 h 1033"/>
                <a:gd name="T4" fmla="*/ 1214 w 1223"/>
                <a:gd name="T5" fmla="*/ 84 h 1033"/>
                <a:gd name="T6" fmla="*/ 1161 w 1223"/>
                <a:gd name="T7" fmla="*/ 107 h 1033"/>
                <a:gd name="T8" fmla="*/ 1161 w 1223"/>
                <a:gd name="T9" fmla="*/ 107 h 1033"/>
                <a:gd name="T10" fmla="*/ 1107 w 1223"/>
                <a:gd name="T11" fmla="*/ 138 h 1033"/>
                <a:gd name="T12" fmla="*/ 1123 w 1223"/>
                <a:gd name="T13" fmla="*/ 214 h 1033"/>
                <a:gd name="T14" fmla="*/ 1115 w 1223"/>
                <a:gd name="T15" fmla="*/ 283 h 1033"/>
                <a:gd name="T16" fmla="*/ 1161 w 1223"/>
                <a:gd name="T17" fmla="*/ 329 h 1033"/>
                <a:gd name="T18" fmla="*/ 1130 w 1223"/>
                <a:gd name="T19" fmla="*/ 367 h 1033"/>
                <a:gd name="T20" fmla="*/ 1191 w 1223"/>
                <a:gd name="T21" fmla="*/ 482 h 1033"/>
                <a:gd name="T22" fmla="*/ 1168 w 1223"/>
                <a:gd name="T23" fmla="*/ 558 h 1033"/>
                <a:gd name="T24" fmla="*/ 1168 w 1223"/>
                <a:gd name="T25" fmla="*/ 558 h 1033"/>
                <a:gd name="T26" fmla="*/ 1153 w 1223"/>
                <a:gd name="T27" fmla="*/ 612 h 1033"/>
                <a:gd name="T28" fmla="*/ 1153 w 1223"/>
                <a:gd name="T29" fmla="*/ 665 h 1033"/>
                <a:gd name="T30" fmla="*/ 1077 w 1223"/>
                <a:gd name="T31" fmla="*/ 711 h 1033"/>
                <a:gd name="T32" fmla="*/ 1061 w 1223"/>
                <a:gd name="T33" fmla="*/ 764 h 1033"/>
                <a:gd name="T34" fmla="*/ 992 w 1223"/>
                <a:gd name="T35" fmla="*/ 764 h 1033"/>
                <a:gd name="T36" fmla="*/ 924 w 1223"/>
                <a:gd name="T37" fmla="*/ 833 h 1033"/>
                <a:gd name="T38" fmla="*/ 794 w 1223"/>
                <a:gd name="T39" fmla="*/ 848 h 1033"/>
                <a:gd name="T40" fmla="*/ 779 w 1223"/>
                <a:gd name="T41" fmla="*/ 871 h 1033"/>
                <a:gd name="T42" fmla="*/ 733 w 1223"/>
                <a:gd name="T43" fmla="*/ 871 h 1033"/>
                <a:gd name="T44" fmla="*/ 656 w 1223"/>
                <a:gd name="T45" fmla="*/ 925 h 1033"/>
                <a:gd name="T46" fmla="*/ 550 w 1223"/>
                <a:gd name="T47" fmla="*/ 948 h 1033"/>
                <a:gd name="T48" fmla="*/ 550 w 1223"/>
                <a:gd name="T49" fmla="*/ 948 h 1033"/>
                <a:gd name="T50" fmla="*/ 450 w 1223"/>
                <a:gd name="T51" fmla="*/ 932 h 1033"/>
                <a:gd name="T52" fmla="*/ 435 w 1223"/>
                <a:gd name="T53" fmla="*/ 970 h 1033"/>
                <a:gd name="T54" fmla="*/ 313 w 1223"/>
                <a:gd name="T55" fmla="*/ 1032 h 1033"/>
                <a:gd name="T56" fmla="*/ 244 w 1223"/>
                <a:gd name="T57" fmla="*/ 963 h 1033"/>
                <a:gd name="T58" fmla="*/ 214 w 1223"/>
                <a:gd name="T59" fmla="*/ 848 h 1033"/>
                <a:gd name="T60" fmla="*/ 214 w 1223"/>
                <a:gd name="T61" fmla="*/ 764 h 1033"/>
                <a:gd name="T62" fmla="*/ 252 w 1223"/>
                <a:gd name="T63" fmla="*/ 657 h 1033"/>
                <a:gd name="T64" fmla="*/ 290 w 1223"/>
                <a:gd name="T65" fmla="*/ 612 h 1033"/>
                <a:gd name="T66" fmla="*/ 275 w 1223"/>
                <a:gd name="T67" fmla="*/ 573 h 1033"/>
                <a:gd name="T68" fmla="*/ 191 w 1223"/>
                <a:gd name="T69" fmla="*/ 589 h 1033"/>
                <a:gd name="T70" fmla="*/ 145 w 1223"/>
                <a:gd name="T71" fmla="*/ 543 h 1033"/>
                <a:gd name="T72" fmla="*/ 84 w 1223"/>
                <a:gd name="T73" fmla="*/ 543 h 1033"/>
                <a:gd name="T74" fmla="*/ 45 w 1223"/>
                <a:gd name="T75" fmla="*/ 482 h 1033"/>
                <a:gd name="T76" fmla="*/ 0 w 1223"/>
                <a:gd name="T77" fmla="*/ 459 h 1033"/>
                <a:gd name="T78" fmla="*/ 0 w 1223"/>
                <a:gd name="T79" fmla="*/ 459 h 1033"/>
                <a:gd name="T80" fmla="*/ 84 w 1223"/>
                <a:gd name="T81" fmla="*/ 421 h 1033"/>
                <a:gd name="T82" fmla="*/ 198 w 1223"/>
                <a:gd name="T83" fmla="*/ 405 h 1033"/>
                <a:gd name="T84" fmla="*/ 244 w 1223"/>
                <a:gd name="T85" fmla="*/ 375 h 1033"/>
                <a:gd name="T86" fmla="*/ 275 w 1223"/>
                <a:gd name="T87" fmla="*/ 375 h 1033"/>
                <a:gd name="T88" fmla="*/ 351 w 1223"/>
                <a:gd name="T89" fmla="*/ 352 h 1033"/>
                <a:gd name="T90" fmla="*/ 427 w 1223"/>
                <a:gd name="T91" fmla="*/ 375 h 1033"/>
                <a:gd name="T92" fmla="*/ 473 w 1223"/>
                <a:gd name="T93" fmla="*/ 298 h 1033"/>
                <a:gd name="T94" fmla="*/ 496 w 1223"/>
                <a:gd name="T95" fmla="*/ 245 h 1033"/>
                <a:gd name="T96" fmla="*/ 565 w 1223"/>
                <a:gd name="T97" fmla="*/ 214 h 1033"/>
                <a:gd name="T98" fmla="*/ 618 w 1223"/>
                <a:gd name="T99" fmla="*/ 184 h 1033"/>
                <a:gd name="T100" fmla="*/ 626 w 1223"/>
                <a:gd name="T101" fmla="*/ 123 h 1033"/>
                <a:gd name="T102" fmla="*/ 679 w 1223"/>
                <a:gd name="T103" fmla="*/ 115 h 1033"/>
                <a:gd name="T104" fmla="*/ 702 w 1223"/>
                <a:gd name="T105" fmla="*/ 130 h 1033"/>
                <a:gd name="T106" fmla="*/ 771 w 1223"/>
                <a:gd name="T107" fmla="*/ 84 h 1033"/>
                <a:gd name="T108" fmla="*/ 931 w 1223"/>
                <a:gd name="T109" fmla="*/ 92 h 1033"/>
                <a:gd name="T110" fmla="*/ 992 w 1223"/>
                <a:gd name="T111" fmla="*/ 46 h 1033"/>
                <a:gd name="T112" fmla="*/ 1130 w 1223"/>
                <a:gd name="T113" fmla="*/ 8 h 1033"/>
                <a:gd name="T114" fmla="*/ 1222 w 1223"/>
                <a:gd name="T115" fmla="*/ 23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23" h="1033">
                  <a:moveTo>
                    <a:pt x="1222" y="23"/>
                  </a:moveTo>
                  <a:lnTo>
                    <a:pt x="1222" y="23"/>
                  </a:lnTo>
                  <a:cubicBezTo>
                    <a:pt x="1214" y="46"/>
                    <a:pt x="1222" y="69"/>
                    <a:pt x="1214" y="84"/>
                  </a:cubicBezTo>
                  <a:cubicBezTo>
                    <a:pt x="1199" y="100"/>
                    <a:pt x="1176" y="100"/>
                    <a:pt x="1161" y="107"/>
                  </a:cubicBezTo>
                  <a:lnTo>
                    <a:pt x="1161" y="107"/>
                  </a:lnTo>
                  <a:cubicBezTo>
                    <a:pt x="1138" y="115"/>
                    <a:pt x="1115" y="123"/>
                    <a:pt x="1107" y="138"/>
                  </a:cubicBezTo>
                  <a:cubicBezTo>
                    <a:pt x="1092" y="161"/>
                    <a:pt x="1115" y="192"/>
                    <a:pt x="1123" y="214"/>
                  </a:cubicBezTo>
                  <a:cubicBezTo>
                    <a:pt x="1123" y="237"/>
                    <a:pt x="1107" y="260"/>
                    <a:pt x="1115" y="283"/>
                  </a:cubicBezTo>
                  <a:cubicBezTo>
                    <a:pt x="1123" y="306"/>
                    <a:pt x="1153" y="314"/>
                    <a:pt x="1161" y="329"/>
                  </a:cubicBezTo>
                  <a:cubicBezTo>
                    <a:pt x="1161" y="344"/>
                    <a:pt x="1130" y="352"/>
                    <a:pt x="1130" y="367"/>
                  </a:cubicBezTo>
                  <a:cubicBezTo>
                    <a:pt x="1145" y="405"/>
                    <a:pt x="1184" y="444"/>
                    <a:pt x="1191" y="482"/>
                  </a:cubicBezTo>
                  <a:cubicBezTo>
                    <a:pt x="1199" y="512"/>
                    <a:pt x="1176" y="535"/>
                    <a:pt x="1168" y="558"/>
                  </a:cubicBezTo>
                  <a:lnTo>
                    <a:pt x="1168" y="558"/>
                  </a:lnTo>
                  <a:cubicBezTo>
                    <a:pt x="1161" y="573"/>
                    <a:pt x="1153" y="589"/>
                    <a:pt x="1153" y="612"/>
                  </a:cubicBezTo>
                  <a:cubicBezTo>
                    <a:pt x="1145" y="627"/>
                    <a:pt x="1161" y="650"/>
                    <a:pt x="1153" y="665"/>
                  </a:cubicBezTo>
                  <a:cubicBezTo>
                    <a:pt x="1138" y="688"/>
                    <a:pt x="1100" y="688"/>
                    <a:pt x="1077" y="711"/>
                  </a:cubicBezTo>
                  <a:cubicBezTo>
                    <a:pt x="1069" y="726"/>
                    <a:pt x="1077" y="757"/>
                    <a:pt x="1061" y="764"/>
                  </a:cubicBezTo>
                  <a:cubicBezTo>
                    <a:pt x="1038" y="780"/>
                    <a:pt x="1015" y="757"/>
                    <a:pt x="992" y="764"/>
                  </a:cubicBezTo>
                  <a:cubicBezTo>
                    <a:pt x="962" y="780"/>
                    <a:pt x="954" y="818"/>
                    <a:pt x="924" y="833"/>
                  </a:cubicBezTo>
                  <a:cubicBezTo>
                    <a:pt x="886" y="848"/>
                    <a:pt x="840" y="833"/>
                    <a:pt x="794" y="848"/>
                  </a:cubicBezTo>
                  <a:cubicBezTo>
                    <a:pt x="786" y="848"/>
                    <a:pt x="786" y="871"/>
                    <a:pt x="779" y="871"/>
                  </a:cubicBezTo>
                  <a:cubicBezTo>
                    <a:pt x="763" y="879"/>
                    <a:pt x="748" y="864"/>
                    <a:pt x="733" y="871"/>
                  </a:cubicBezTo>
                  <a:cubicBezTo>
                    <a:pt x="710" y="887"/>
                    <a:pt x="687" y="909"/>
                    <a:pt x="656" y="925"/>
                  </a:cubicBezTo>
                  <a:cubicBezTo>
                    <a:pt x="626" y="932"/>
                    <a:pt x="588" y="940"/>
                    <a:pt x="550" y="948"/>
                  </a:cubicBezTo>
                  <a:lnTo>
                    <a:pt x="550" y="948"/>
                  </a:lnTo>
                  <a:cubicBezTo>
                    <a:pt x="519" y="940"/>
                    <a:pt x="481" y="925"/>
                    <a:pt x="450" y="932"/>
                  </a:cubicBezTo>
                  <a:cubicBezTo>
                    <a:pt x="443" y="940"/>
                    <a:pt x="443" y="963"/>
                    <a:pt x="435" y="970"/>
                  </a:cubicBezTo>
                  <a:cubicBezTo>
                    <a:pt x="397" y="993"/>
                    <a:pt x="359" y="1032"/>
                    <a:pt x="313" y="1032"/>
                  </a:cubicBezTo>
                  <a:cubicBezTo>
                    <a:pt x="282" y="1032"/>
                    <a:pt x="259" y="993"/>
                    <a:pt x="244" y="963"/>
                  </a:cubicBezTo>
                  <a:cubicBezTo>
                    <a:pt x="229" y="932"/>
                    <a:pt x="221" y="887"/>
                    <a:pt x="214" y="848"/>
                  </a:cubicBezTo>
                  <a:cubicBezTo>
                    <a:pt x="214" y="818"/>
                    <a:pt x="214" y="795"/>
                    <a:pt x="214" y="764"/>
                  </a:cubicBezTo>
                  <a:cubicBezTo>
                    <a:pt x="221" y="726"/>
                    <a:pt x="237" y="696"/>
                    <a:pt x="252" y="657"/>
                  </a:cubicBezTo>
                  <a:cubicBezTo>
                    <a:pt x="259" y="642"/>
                    <a:pt x="282" y="634"/>
                    <a:pt x="290" y="612"/>
                  </a:cubicBezTo>
                  <a:cubicBezTo>
                    <a:pt x="290" y="596"/>
                    <a:pt x="275" y="589"/>
                    <a:pt x="275" y="573"/>
                  </a:cubicBezTo>
                  <a:cubicBezTo>
                    <a:pt x="275" y="573"/>
                    <a:pt x="198" y="589"/>
                    <a:pt x="191" y="589"/>
                  </a:cubicBezTo>
                  <a:lnTo>
                    <a:pt x="145" y="543"/>
                  </a:lnTo>
                  <a:cubicBezTo>
                    <a:pt x="122" y="543"/>
                    <a:pt x="99" y="551"/>
                    <a:pt x="84" y="543"/>
                  </a:cubicBezTo>
                  <a:cubicBezTo>
                    <a:pt x="61" y="528"/>
                    <a:pt x="53" y="505"/>
                    <a:pt x="45" y="482"/>
                  </a:cubicBezTo>
                  <a:cubicBezTo>
                    <a:pt x="38" y="474"/>
                    <a:pt x="7" y="466"/>
                    <a:pt x="0" y="459"/>
                  </a:cubicBezTo>
                  <a:lnTo>
                    <a:pt x="0" y="459"/>
                  </a:lnTo>
                  <a:cubicBezTo>
                    <a:pt x="23" y="444"/>
                    <a:pt x="68" y="428"/>
                    <a:pt x="84" y="421"/>
                  </a:cubicBezTo>
                  <a:cubicBezTo>
                    <a:pt x="122" y="413"/>
                    <a:pt x="160" y="421"/>
                    <a:pt x="198" y="405"/>
                  </a:cubicBezTo>
                  <a:cubicBezTo>
                    <a:pt x="214" y="398"/>
                    <a:pt x="229" y="375"/>
                    <a:pt x="244" y="375"/>
                  </a:cubicBezTo>
                  <a:cubicBezTo>
                    <a:pt x="252" y="367"/>
                    <a:pt x="267" y="382"/>
                    <a:pt x="275" y="375"/>
                  </a:cubicBezTo>
                  <a:cubicBezTo>
                    <a:pt x="305" y="375"/>
                    <a:pt x="320" y="352"/>
                    <a:pt x="351" y="352"/>
                  </a:cubicBezTo>
                  <a:cubicBezTo>
                    <a:pt x="374" y="352"/>
                    <a:pt x="404" y="382"/>
                    <a:pt x="427" y="375"/>
                  </a:cubicBezTo>
                  <a:cubicBezTo>
                    <a:pt x="450" y="359"/>
                    <a:pt x="458" y="321"/>
                    <a:pt x="473" y="298"/>
                  </a:cubicBezTo>
                  <a:cubicBezTo>
                    <a:pt x="481" y="283"/>
                    <a:pt x="481" y="260"/>
                    <a:pt x="496" y="245"/>
                  </a:cubicBezTo>
                  <a:cubicBezTo>
                    <a:pt x="519" y="230"/>
                    <a:pt x="542" y="230"/>
                    <a:pt x="565" y="214"/>
                  </a:cubicBezTo>
                  <a:cubicBezTo>
                    <a:pt x="588" y="207"/>
                    <a:pt x="611" y="199"/>
                    <a:pt x="618" y="184"/>
                  </a:cubicBezTo>
                  <a:cubicBezTo>
                    <a:pt x="634" y="169"/>
                    <a:pt x="611" y="138"/>
                    <a:pt x="626" y="123"/>
                  </a:cubicBezTo>
                  <a:cubicBezTo>
                    <a:pt x="641" y="115"/>
                    <a:pt x="664" y="115"/>
                    <a:pt x="679" y="115"/>
                  </a:cubicBezTo>
                  <a:cubicBezTo>
                    <a:pt x="687" y="115"/>
                    <a:pt x="695" y="130"/>
                    <a:pt x="702" y="130"/>
                  </a:cubicBezTo>
                  <a:cubicBezTo>
                    <a:pt x="725" y="123"/>
                    <a:pt x="740" y="84"/>
                    <a:pt x="771" y="84"/>
                  </a:cubicBezTo>
                  <a:cubicBezTo>
                    <a:pt x="825" y="69"/>
                    <a:pt x="878" y="100"/>
                    <a:pt x="931" y="92"/>
                  </a:cubicBezTo>
                  <a:cubicBezTo>
                    <a:pt x="954" y="84"/>
                    <a:pt x="970" y="54"/>
                    <a:pt x="992" y="46"/>
                  </a:cubicBezTo>
                  <a:cubicBezTo>
                    <a:pt x="1038" y="23"/>
                    <a:pt x="1084" y="8"/>
                    <a:pt x="1130" y="8"/>
                  </a:cubicBezTo>
                  <a:cubicBezTo>
                    <a:pt x="1161" y="0"/>
                    <a:pt x="1191" y="16"/>
                    <a:pt x="1222" y="2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61" name="Freeform 183"/>
            <p:cNvSpPr>
              <a:spLocks noChangeArrowheads="1"/>
            </p:cNvSpPr>
            <p:nvPr/>
          </p:nvSpPr>
          <p:spPr bwMode="auto">
            <a:xfrm>
              <a:off x="3338296" y="6061075"/>
              <a:ext cx="593686" cy="488950"/>
            </a:xfrm>
            <a:custGeom>
              <a:avLst/>
              <a:gdLst>
                <a:gd name="T0" fmla="*/ 741 w 1651"/>
                <a:gd name="T1" fmla="*/ 0 h 1360"/>
                <a:gd name="T2" fmla="*/ 741 w 1651"/>
                <a:gd name="T3" fmla="*/ 0 h 1360"/>
                <a:gd name="T4" fmla="*/ 786 w 1651"/>
                <a:gd name="T5" fmla="*/ 23 h 1360"/>
                <a:gd name="T6" fmla="*/ 825 w 1651"/>
                <a:gd name="T7" fmla="*/ 84 h 1360"/>
                <a:gd name="T8" fmla="*/ 886 w 1651"/>
                <a:gd name="T9" fmla="*/ 84 h 1360"/>
                <a:gd name="T10" fmla="*/ 932 w 1651"/>
                <a:gd name="T11" fmla="*/ 130 h 1360"/>
                <a:gd name="T12" fmla="*/ 1016 w 1651"/>
                <a:gd name="T13" fmla="*/ 114 h 1360"/>
                <a:gd name="T14" fmla="*/ 1031 w 1651"/>
                <a:gd name="T15" fmla="*/ 153 h 1360"/>
                <a:gd name="T16" fmla="*/ 993 w 1651"/>
                <a:gd name="T17" fmla="*/ 198 h 1360"/>
                <a:gd name="T18" fmla="*/ 955 w 1651"/>
                <a:gd name="T19" fmla="*/ 305 h 1360"/>
                <a:gd name="T20" fmla="*/ 955 w 1651"/>
                <a:gd name="T21" fmla="*/ 389 h 1360"/>
                <a:gd name="T22" fmla="*/ 985 w 1651"/>
                <a:gd name="T23" fmla="*/ 504 h 1360"/>
                <a:gd name="T24" fmla="*/ 1054 w 1651"/>
                <a:gd name="T25" fmla="*/ 573 h 1360"/>
                <a:gd name="T26" fmla="*/ 1176 w 1651"/>
                <a:gd name="T27" fmla="*/ 511 h 1360"/>
                <a:gd name="T28" fmla="*/ 1191 w 1651"/>
                <a:gd name="T29" fmla="*/ 473 h 1360"/>
                <a:gd name="T30" fmla="*/ 1291 w 1651"/>
                <a:gd name="T31" fmla="*/ 489 h 1360"/>
                <a:gd name="T32" fmla="*/ 1291 w 1651"/>
                <a:gd name="T33" fmla="*/ 489 h 1360"/>
                <a:gd name="T34" fmla="*/ 1291 w 1651"/>
                <a:gd name="T35" fmla="*/ 534 h 1360"/>
                <a:gd name="T36" fmla="*/ 1321 w 1651"/>
                <a:gd name="T37" fmla="*/ 565 h 1360"/>
                <a:gd name="T38" fmla="*/ 1321 w 1651"/>
                <a:gd name="T39" fmla="*/ 619 h 1360"/>
                <a:gd name="T40" fmla="*/ 1336 w 1651"/>
                <a:gd name="T41" fmla="*/ 672 h 1360"/>
                <a:gd name="T42" fmla="*/ 1397 w 1651"/>
                <a:gd name="T43" fmla="*/ 672 h 1360"/>
                <a:gd name="T44" fmla="*/ 1436 w 1651"/>
                <a:gd name="T45" fmla="*/ 741 h 1360"/>
                <a:gd name="T46" fmla="*/ 1489 w 1651"/>
                <a:gd name="T47" fmla="*/ 794 h 1360"/>
                <a:gd name="T48" fmla="*/ 1558 w 1651"/>
                <a:gd name="T49" fmla="*/ 741 h 1360"/>
                <a:gd name="T50" fmla="*/ 1558 w 1651"/>
                <a:gd name="T51" fmla="*/ 741 h 1360"/>
                <a:gd name="T52" fmla="*/ 1566 w 1651"/>
                <a:gd name="T53" fmla="*/ 802 h 1360"/>
                <a:gd name="T54" fmla="*/ 1535 w 1651"/>
                <a:gd name="T55" fmla="*/ 832 h 1360"/>
                <a:gd name="T56" fmla="*/ 1596 w 1651"/>
                <a:gd name="T57" fmla="*/ 924 h 1360"/>
                <a:gd name="T58" fmla="*/ 1535 w 1651"/>
                <a:gd name="T59" fmla="*/ 1077 h 1360"/>
                <a:gd name="T60" fmla="*/ 1459 w 1651"/>
                <a:gd name="T61" fmla="*/ 1253 h 1360"/>
                <a:gd name="T62" fmla="*/ 1397 w 1651"/>
                <a:gd name="T63" fmla="*/ 1344 h 1360"/>
                <a:gd name="T64" fmla="*/ 1390 w 1651"/>
                <a:gd name="T65" fmla="*/ 1230 h 1360"/>
                <a:gd name="T66" fmla="*/ 1344 w 1651"/>
                <a:gd name="T67" fmla="*/ 1298 h 1360"/>
                <a:gd name="T68" fmla="*/ 1359 w 1651"/>
                <a:gd name="T69" fmla="*/ 1329 h 1360"/>
                <a:gd name="T70" fmla="*/ 1359 w 1651"/>
                <a:gd name="T71" fmla="*/ 1329 h 1360"/>
                <a:gd name="T72" fmla="*/ 1359 w 1651"/>
                <a:gd name="T73" fmla="*/ 1329 h 1360"/>
                <a:gd name="T74" fmla="*/ 1329 w 1651"/>
                <a:gd name="T75" fmla="*/ 1344 h 1360"/>
                <a:gd name="T76" fmla="*/ 1252 w 1651"/>
                <a:gd name="T77" fmla="*/ 1306 h 1360"/>
                <a:gd name="T78" fmla="*/ 1184 w 1651"/>
                <a:gd name="T79" fmla="*/ 1268 h 1360"/>
                <a:gd name="T80" fmla="*/ 978 w 1651"/>
                <a:gd name="T81" fmla="*/ 1329 h 1360"/>
                <a:gd name="T82" fmla="*/ 878 w 1651"/>
                <a:gd name="T83" fmla="*/ 1260 h 1360"/>
                <a:gd name="T84" fmla="*/ 794 w 1651"/>
                <a:gd name="T85" fmla="*/ 1176 h 1360"/>
                <a:gd name="T86" fmla="*/ 756 w 1651"/>
                <a:gd name="T87" fmla="*/ 1115 h 1360"/>
                <a:gd name="T88" fmla="*/ 634 w 1651"/>
                <a:gd name="T89" fmla="*/ 1100 h 1360"/>
                <a:gd name="T90" fmla="*/ 496 w 1651"/>
                <a:gd name="T91" fmla="*/ 1077 h 1360"/>
                <a:gd name="T92" fmla="*/ 473 w 1651"/>
                <a:gd name="T93" fmla="*/ 932 h 1360"/>
                <a:gd name="T94" fmla="*/ 366 w 1651"/>
                <a:gd name="T95" fmla="*/ 840 h 1360"/>
                <a:gd name="T96" fmla="*/ 244 w 1651"/>
                <a:gd name="T97" fmla="*/ 680 h 1360"/>
                <a:gd name="T98" fmla="*/ 175 w 1651"/>
                <a:gd name="T99" fmla="*/ 634 h 1360"/>
                <a:gd name="T100" fmla="*/ 175 w 1651"/>
                <a:gd name="T101" fmla="*/ 642 h 1360"/>
                <a:gd name="T102" fmla="*/ 30 w 1651"/>
                <a:gd name="T103" fmla="*/ 443 h 1360"/>
                <a:gd name="T104" fmla="*/ 0 w 1651"/>
                <a:gd name="T105" fmla="*/ 405 h 1360"/>
                <a:gd name="T106" fmla="*/ 99 w 1651"/>
                <a:gd name="T107" fmla="*/ 389 h 1360"/>
                <a:gd name="T108" fmla="*/ 168 w 1651"/>
                <a:gd name="T109" fmla="*/ 336 h 1360"/>
                <a:gd name="T110" fmla="*/ 259 w 1651"/>
                <a:gd name="T111" fmla="*/ 198 h 1360"/>
                <a:gd name="T112" fmla="*/ 374 w 1651"/>
                <a:gd name="T113" fmla="*/ 221 h 1360"/>
                <a:gd name="T114" fmla="*/ 550 w 1651"/>
                <a:gd name="T115" fmla="*/ 191 h 1360"/>
                <a:gd name="T116" fmla="*/ 588 w 1651"/>
                <a:gd name="T117" fmla="*/ 92 h 1360"/>
                <a:gd name="T118" fmla="*/ 695 w 1651"/>
                <a:gd name="T119" fmla="*/ 30 h 1360"/>
                <a:gd name="T120" fmla="*/ 741 w 1651"/>
                <a:gd name="T121" fmla="*/ 0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51" h="1360">
                  <a:moveTo>
                    <a:pt x="741" y="0"/>
                  </a:moveTo>
                  <a:lnTo>
                    <a:pt x="741" y="0"/>
                  </a:lnTo>
                  <a:cubicBezTo>
                    <a:pt x="748" y="7"/>
                    <a:pt x="779" y="15"/>
                    <a:pt x="786" y="23"/>
                  </a:cubicBezTo>
                  <a:cubicBezTo>
                    <a:pt x="794" y="46"/>
                    <a:pt x="802" y="69"/>
                    <a:pt x="825" y="84"/>
                  </a:cubicBezTo>
                  <a:cubicBezTo>
                    <a:pt x="840" y="92"/>
                    <a:pt x="863" y="84"/>
                    <a:pt x="886" y="84"/>
                  </a:cubicBezTo>
                  <a:lnTo>
                    <a:pt x="932" y="130"/>
                  </a:lnTo>
                  <a:cubicBezTo>
                    <a:pt x="939" y="130"/>
                    <a:pt x="1016" y="114"/>
                    <a:pt x="1016" y="114"/>
                  </a:cubicBezTo>
                  <a:cubicBezTo>
                    <a:pt x="1016" y="130"/>
                    <a:pt x="1031" y="137"/>
                    <a:pt x="1031" y="153"/>
                  </a:cubicBezTo>
                  <a:cubicBezTo>
                    <a:pt x="1023" y="175"/>
                    <a:pt x="1000" y="183"/>
                    <a:pt x="993" y="198"/>
                  </a:cubicBezTo>
                  <a:cubicBezTo>
                    <a:pt x="978" y="237"/>
                    <a:pt x="962" y="267"/>
                    <a:pt x="955" y="305"/>
                  </a:cubicBezTo>
                  <a:cubicBezTo>
                    <a:pt x="955" y="336"/>
                    <a:pt x="955" y="359"/>
                    <a:pt x="955" y="389"/>
                  </a:cubicBezTo>
                  <a:cubicBezTo>
                    <a:pt x="962" y="428"/>
                    <a:pt x="970" y="473"/>
                    <a:pt x="985" y="504"/>
                  </a:cubicBezTo>
                  <a:cubicBezTo>
                    <a:pt x="1000" y="534"/>
                    <a:pt x="1023" y="573"/>
                    <a:pt x="1054" y="573"/>
                  </a:cubicBezTo>
                  <a:cubicBezTo>
                    <a:pt x="1100" y="573"/>
                    <a:pt x="1138" y="534"/>
                    <a:pt x="1176" y="511"/>
                  </a:cubicBezTo>
                  <a:cubicBezTo>
                    <a:pt x="1184" y="504"/>
                    <a:pt x="1184" y="481"/>
                    <a:pt x="1191" y="473"/>
                  </a:cubicBezTo>
                  <a:cubicBezTo>
                    <a:pt x="1222" y="466"/>
                    <a:pt x="1260" y="481"/>
                    <a:pt x="1291" y="489"/>
                  </a:cubicBezTo>
                  <a:lnTo>
                    <a:pt x="1291" y="489"/>
                  </a:lnTo>
                  <a:cubicBezTo>
                    <a:pt x="1291" y="504"/>
                    <a:pt x="1291" y="519"/>
                    <a:pt x="1291" y="534"/>
                  </a:cubicBezTo>
                  <a:cubicBezTo>
                    <a:pt x="1298" y="550"/>
                    <a:pt x="1314" y="550"/>
                    <a:pt x="1321" y="565"/>
                  </a:cubicBezTo>
                  <a:cubicBezTo>
                    <a:pt x="1329" y="580"/>
                    <a:pt x="1321" y="596"/>
                    <a:pt x="1321" y="619"/>
                  </a:cubicBezTo>
                  <a:cubicBezTo>
                    <a:pt x="1329" y="634"/>
                    <a:pt x="1321" y="657"/>
                    <a:pt x="1336" y="672"/>
                  </a:cubicBezTo>
                  <a:cubicBezTo>
                    <a:pt x="1352" y="680"/>
                    <a:pt x="1382" y="657"/>
                    <a:pt x="1397" y="672"/>
                  </a:cubicBezTo>
                  <a:cubicBezTo>
                    <a:pt x="1420" y="687"/>
                    <a:pt x="1420" y="718"/>
                    <a:pt x="1436" y="741"/>
                  </a:cubicBezTo>
                  <a:cubicBezTo>
                    <a:pt x="1451" y="756"/>
                    <a:pt x="1466" y="786"/>
                    <a:pt x="1489" y="794"/>
                  </a:cubicBezTo>
                  <a:cubicBezTo>
                    <a:pt x="1520" y="794"/>
                    <a:pt x="1527" y="756"/>
                    <a:pt x="1558" y="741"/>
                  </a:cubicBezTo>
                  <a:lnTo>
                    <a:pt x="1558" y="741"/>
                  </a:lnTo>
                  <a:cubicBezTo>
                    <a:pt x="1558" y="756"/>
                    <a:pt x="1566" y="779"/>
                    <a:pt x="1566" y="802"/>
                  </a:cubicBezTo>
                  <a:cubicBezTo>
                    <a:pt x="1566" y="832"/>
                    <a:pt x="1543" y="817"/>
                    <a:pt x="1535" y="832"/>
                  </a:cubicBezTo>
                  <a:cubicBezTo>
                    <a:pt x="1527" y="848"/>
                    <a:pt x="1581" y="909"/>
                    <a:pt x="1596" y="924"/>
                  </a:cubicBezTo>
                  <a:cubicBezTo>
                    <a:pt x="1650" y="993"/>
                    <a:pt x="1634" y="1077"/>
                    <a:pt x="1535" y="1077"/>
                  </a:cubicBezTo>
                  <a:cubicBezTo>
                    <a:pt x="1466" y="1084"/>
                    <a:pt x="1474" y="1207"/>
                    <a:pt x="1459" y="1253"/>
                  </a:cubicBezTo>
                  <a:cubicBezTo>
                    <a:pt x="1443" y="1283"/>
                    <a:pt x="1405" y="1314"/>
                    <a:pt x="1397" y="1344"/>
                  </a:cubicBezTo>
                  <a:cubicBezTo>
                    <a:pt x="1352" y="1344"/>
                    <a:pt x="1390" y="1245"/>
                    <a:pt x="1390" y="1230"/>
                  </a:cubicBezTo>
                  <a:cubicBezTo>
                    <a:pt x="1390" y="1184"/>
                    <a:pt x="1291" y="1222"/>
                    <a:pt x="1344" y="1298"/>
                  </a:cubicBezTo>
                  <a:cubicBezTo>
                    <a:pt x="1344" y="1306"/>
                    <a:pt x="1367" y="1329"/>
                    <a:pt x="1359" y="1329"/>
                  </a:cubicBezTo>
                  <a:lnTo>
                    <a:pt x="1359" y="1329"/>
                  </a:lnTo>
                  <a:lnTo>
                    <a:pt x="1359" y="1329"/>
                  </a:lnTo>
                  <a:cubicBezTo>
                    <a:pt x="1352" y="1329"/>
                    <a:pt x="1336" y="1344"/>
                    <a:pt x="1329" y="1344"/>
                  </a:cubicBezTo>
                  <a:cubicBezTo>
                    <a:pt x="1291" y="1344"/>
                    <a:pt x="1275" y="1329"/>
                    <a:pt x="1252" y="1306"/>
                  </a:cubicBezTo>
                  <a:cubicBezTo>
                    <a:pt x="1237" y="1291"/>
                    <a:pt x="1184" y="1283"/>
                    <a:pt x="1184" y="1268"/>
                  </a:cubicBezTo>
                  <a:cubicBezTo>
                    <a:pt x="1184" y="1191"/>
                    <a:pt x="1031" y="1359"/>
                    <a:pt x="978" y="1329"/>
                  </a:cubicBezTo>
                  <a:cubicBezTo>
                    <a:pt x="939" y="1306"/>
                    <a:pt x="916" y="1268"/>
                    <a:pt x="878" y="1260"/>
                  </a:cubicBezTo>
                  <a:cubicBezTo>
                    <a:pt x="817" y="1245"/>
                    <a:pt x="886" y="1176"/>
                    <a:pt x="794" y="1176"/>
                  </a:cubicBezTo>
                  <a:cubicBezTo>
                    <a:pt x="748" y="1176"/>
                    <a:pt x="802" y="1123"/>
                    <a:pt x="756" y="1115"/>
                  </a:cubicBezTo>
                  <a:cubicBezTo>
                    <a:pt x="718" y="1115"/>
                    <a:pt x="664" y="1100"/>
                    <a:pt x="634" y="1100"/>
                  </a:cubicBezTo>
                  <a:cubicBezTo>
                    <a:pt x="542" y="1100"/>
                    <a:pt x="572" y="1123"/>
                    <a:pt x="496" y="1077"/>
                  </a:cubicBezTo>
                  <a:cubicBezTo>
                    <a:pt x="481" y="1069"/>
                    <a:pt x="481" y="955"/>
                    <a:pt x="473" y="932"/>
                  </a:cubicBezTo>
                  <a:cubicBezTo>
                    <a:pt x="450" y="825"/>
                    <a:pt x="458" y="886"/>
                    <a:pt x="366" y="840"/>
                  </a:cubicBezTo>
                  <a:cubicBezTo>
                    <a:pt x="321" y="817"/>
                    <a:pt x="259" y="680"/>
                    <a:pt x="244" y="680"/>
                  </a:cubicBezTo>
                  <a:cubicBezTo>
                    <a:pt x="198" y="672"/>
                    <a:pt x="191" y="695"/>
                    <a:pt x="175" y="634"/>
                  </a:cubicBezTo>
                  <a:cubicBezTo>
                    <a:pt x="175" y="634"/>
                    <a:pt x="175" y="634"/>
                    <a:pt x="175" y="642"/>
                  </a:cubicBezTo>
                  <a:cubicBezTo>
                    <a:pt x="160" y="588"/>
                    <a:pt x="7" y="489"/>
                    <a:pt x="30" y="443"/>
                  </a:cubicBezTo>
                  <a:cubicBezTo>
                    <a:pt x="46" y="412"/>
                    <a:pt x="15" y="428"/>
                    <a:pt x="0" y="405"/>
                  </a:cubicBezTo>
                  <a:cubicBezTo>
                    <a:pt x="15" y="397"/>
                    <a:pt x="69" y="397"/>
                    <a:pt x="99" y="389"/>
                  </a:cubicBezTo>
                  <a:cubicBezTo>
                    <a:pt x="122" y="374"/>
                    <a:pt x="137" y="336"/>
                    <a:pt x="168" y="336"/>
                  </a:cubicBezTo>
                  <a:cubicBezTo>
                    <a:pt x="221" y="336"/>
                    <a:pt x="244" y="244"/>
                    <a:pt x="259" y="198"/>
                  </a:cubicBezTo>
                  <a:cubicBezTo>
                    <a:pt x="282" y="153"/>
                    <a:pt x="343" y="221"/>
                    <a:pt x="374" y="221"/>
                  </a:cubicBezTo>
                  <a:cubicBezTo>
                    <a:pt x="405" y="221"/>
                    <a:pt x="542" y="214"/>
                    <a:pt x="550" y="191"/>
                  </a:cubicBezTo>
                  <a:cubicBezTo>
                    <a:pt x="557" y="160"/>
                    <a:pt x="565" y="122"/>
                    <a:pt x="588" y="92"/>
                  </a:cubicBezTo>
                  <a:cubicBezTo>
                    <a:pt x="611" y="76"/>
                    <a:pt x="664" y="53"/>
                    <a:pt x="695" y="30"/>
                  </a:cubicBezTo>
                  <a:cubicBezTo>
                    <a:pt x="733" y="7"/>
                    <a:pt x="741" y="7"/>
                    <a:pt x="741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62" name="Freeform 184"/>
            <p:cNvSpPr>
              <a:spLocks noChangeArrowheads="1"/>
            </p:cNvSpPr>
            <p:nvPr/>
          </p:nvSpPr>
          <p:spPr bwMode="auto">
            <a:xfrm>
              <a:off x="3474812" y="5726114"/>
              <a:ext cx="592098" cy="344487"/>
            </a:xfrm>
            <a:custGeom>
              <a:avLst/>
              <a:gdLst>
                <a:gd name="T0" fmla="*/ 832 w 1643"/>
                <a:gd name="T1" fmla="*/ 0 h 955"/>
                <a:gd name="T2" fmla="*/ 763 w 1643"/>
                <a:gd name="T3" fmla="*/ 159 h 955"/>
                <a:gd name="T4" fmla="*/ 596 w 1643"/>
                <a:gd name="T5" fmla="*/ 495 h 955"/>
                <a:gd name="T6" fmla="*/ 565 w 1643"/>
                <a:gd name="T7" fmla="*/ 579 h 955"/>
                <a:gd name="T8" fmla="*/ 557 w 1643"/>
                <a:gd name="T9" fmla="*/ 587 h 955"/>
                <a:gd name="T10" fmla="*/ 374 w 1643"/>
                <a:gd name="T11" fmla="*/ 625 h 955"/>
                <a:gd name="T12" fmla="*/ 114 w 1643"/>
                <a:gd name="T13" fmla="*/ 664 h 955"/>
                <a:gd name="T14" fmla="*/ 38 w 1643"/>
                <a:gd name="T15" fmla="*/ 740 h 955"/>
                <a:gd name="T16" fmla="*/ 122 w 1643"/>
                <a:gd name="T17" fmla="*/ 885 h 955"/>
                <a:gd name="T18" fmla="*/ 359 w 1643"/>
                <a:gd name="T19" fmla="*/ 885 h 955"/>
                <a:gd name="T20" fmla="*/ 359 w 1643"/>
                <a:gd name="T21" fmla="*/ 931 h 955"/>
                <a:gd name="T22" fmla="*/ 557 w 1643"/>
                <a:gd name="T23" fmla="*/ 877 h 955"/>
                <a:gd name="T24" fmla="*/ 634 w 1643"/>
                <a:gd name="T25" fmla="*/ 847 h 955"/>
                <a:gd name="T26" fmla="*/ 786 w 1643"/>
                <a:gd name="T27" fmla="*/ 847 h 955"/>
                <a:gd name="T28" fmla="*/ 855 w 1643"/>
                <a:gd name="T29" fmla="*/ 717 h 955"/>
                <a:gd name="T30" fmla="*/ 977 w 1643"/>
                <a:gd name="T31" fmla="*/ 656 h 955"/>
                <a:gd name="T32" fmla="*/ 1038 w 1643"/>
                <a:gd name="T33" fmla="*/ 587 h 955"/>
                <a:gd name="T34" fmla="*/ 1130 w 1643"/>
                <a:gd name="T35" fmla="*/ 556 h 955"/>
                <a:gd name="T36" fmla="*/ 1351 w 1643"/>
                <a:gd name="T37" fmla="*/ 518 h 955"/>
                <a:gd name="T38" fmla="*/ 1581 w 1643"/>
                <a:gd name="T39" fmla="*/ 495 h 955"/>
                <a:gd name="T40" fmla="*/ 1619 w 1643"/>
                <a:gd name="T41" fmla="*/ 495 h 955"/>
                <a:gd name="T42" fmla="*/ 1604 w 1643"/>
                <a:gd name="T43" fmla="*/ 419 h 955"/>
                <a:gd name="T44" fmla="*/ 1626 w 1643"/>
                <a:gd name="T45" fmla="*/ 366 h 955"/>
                <a:gd name="T46" fmla="*/ 1512 w 1643"/>
                <a:gd name="T47" fmla="*/ 335 h 955"/>
                <a:gd name="T48" fmla="*/ 1474 w 1643"/>
                <a:gd name="T49" fmla="*/ 358 h 955"/>
                <a:gd name="T50" fmla="*/ 1405 w 1643"/>
                <a:gd name="T51" fmla="*/ 381 h 955"/>
                <a:gd name="T52" fmla="*/ 1329 w 1643"/>
                <a:gd name="T53" fmla="*/ 389 h 955"/>
                <a:gd name="T54" fmla="*/ 1222 w 1643"/>
                <a:gd name="T55" fmla="*/ 266 h 955"/>
                <a:gd name="T56" fmla="*/ 1161 w 1643"/>
                <a:gd name="T57" fmla="*/ 266 h 955"/>
                <a:gd name="T58" fmla="*/ 1168 w 1643"/>
                <a:gd name="T59" fmla="*/ 175 h 955"/>
                <a:gd name="T60" fmla="*/ 1084 w 1643"/>
                <a:gd name="T61" fmla="*/ 91 h 955"/>
                <a:gd name="T62" fmla="*/ 970 w 1643"/>
                <a:gd name="T63" fmla="*/ 106 h 955"/>
                <a:gd name="T64" fmla="*/ 893 w 1643"/>
                <a:gd name="T65" fmla="*/ 38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43" h="955">
                  <a:moveTo>
                    <a:pt x="832" y="0"/>
                  </a:moveTo>
                  <a:lnTo>
                    <a:pt x="832" y="0"/>
                  </a:lnTo>
                  <a:cubicBezTo>
                    <a:pt x="832" y="15"/>
                    <a:pt x="832" y="23"/>
                    <a:pt x="802" y="30"/>
                  </a:cubicBezTo>
                  <a:cubicBezTo>
                    <a:pt x="756" y="46"/>
                    <a:pt x="756" y="114"/>
                    <a:pt x="763" y="159"/>
                  </a:cubicBezTo>
                  <a:cubicBezTo>
                    <a:pt x="779" y="251"/>
                    <a:pt x="725" y="335"/>
                    <a:pt x="664" y="396"/>
                  </a:cubicBezTo>
                  <a:cubicBezTo>
                    <a:pt x="626" y="434"/>
                    <a:pt x="596" y="434"/>
                    <a:pt x="596" y="495"/>
                  </a:cubicBezTo>
                  <a:cubicBezTo>
                    <a:pt x="596" y="511"/>
                    <a:pt x="626" y="595"/>
                    <a:pt x="588" y="595"/>
                  </a:cubicBezTo>
                  <a:lnTo>
                    <a:pt x="565" y="579"/>
                  </a:lnTo>
                  <a:lnTo>
                    <a:pt x="557" y="587"/>
                  </a:lnTo>
                  <a:lnTo>
                    <a:pt x="557" y="587"/>
                  </a:lnTo>
                  <a:cubicBezTo>
                    <a:pt x="511" y="602"/>
                    <a:pt x="481" y="572"/>
                    <a:pt x="443" y="579"/>
                  </a:cubicBezTo>
                  <a:cubicBezTo>
                    <a:pt x="443" y="595"/>
                    <a:pt x="382" y="625"/>
                    <a:pt x="374" y="625"/>
                  </a:cubicBezTo>
                  <a:cubicBezTo>
                    <a:pt x="298" y="648"/>
                    <a:pt x="252" y="725"/>
                    <a:pt x="183" y="618"/>
                  </a:cubicBezTo>
                  <a:cubicBezTo>
                    <a:pt x="152" y="572"/>
                    <a:pt x="137" y="625"/>
                    <a:pt x="114" y="664"/>
                  </a:cubicBezTo>
                  <a:cubicBezTo>
                    <a:pt x="91" y="702"/>
                    <a:pt x="53" y="686"/>
                    <a:pt x="23" y="694"/>
                  </a:cubicBezTo>
                  <a:cubicBezTo>
                    <a:pt x="23" y="709"/>
                    <a:pt x="61" y="717"/>
                    <a:pt x="38" y="740"/>
                  </a:cubicBezTo>
                  <a:cubicBezTo>
                    <a:pt x="0" y="793"/>
                    <a:pt x="53" y="801"/>
                    <a:pt x="91" y="816"/>
                  </a:cubicBezTo>
                  <a:cubicBezTo>
                    <a:pt x="122" y="839"/>
                    <a:pt x="99" y="870"/>
                    <a:pt x="122" y="885"/>
                  </a:cubicBezTo>
                  <a:cubicBezTo>
                    <a:pt x="145" y="900"/>
                    <a:pt x="206" y="831"/>
                    <a:pt x="244" y="893"/>
                  </a:cubicBezTo>
                  <a:cubicBezTo>
                    <a:pt x="282" y="954"/>
                    <a:pt x="313" y="893"/>
                    <a:pt x="359" y="885"/>
                  </a:cubicBezTo>
                  <a:cubicBezTo>
                    <a:pt x="359" y="908"/>
                    <a:pt x="359" y="923"/>
                    <a:pt x="359" y="931"/>
                  </a:cubicBezTo>
                  <a:lnTo>
                    <a:pt x="359" y="931"/>
                  </a:lnTo>
                  <a:cubicBezTo>
                    <a:pt x="382" y="916"/>
                    <a:pt x="427" y="900"/>
                    <a:pt x="443" y="893"/>
                  </a:cubicBezTo>
                  <a:cubicBezTo>
                    <a:pt x="481" y="885"/>
                    <a:pt x="519" y="893"/>
                    <a:pt x="557" y="877"/>
                  </a:cubicBezTo>
                  <a:cubicBezTo>
                    <a:pt x="573" y="870"/>
                    <a:pt x="588" y="847"/>
                    <a:pt x="603" y="847"/>
                  </a:cubicBezTo>
                  <a:cubicBezTo>
                    <a:pt x="611" y="839"/>
                    <a:pt x="626" y="854"/>
                    <a:pt x="634" y="847"/>
                  </a:cubicBezTo>
                  <a:cubicBezTo>
                    <a:pt x="664" y="847"/>
                    <a:pt x="679" y="824"/>
                    <a:pt x="710" y="824"/>
                  </a:cubicBezTo>
                  <a:cubicBezTo>
                    <a:pt x="733" y="824"/>
                    <a:pt x="763" y="854"/>
                    <a:pt x="786" y="847"/>
                  </a:cubicBezTo>
                  <a:cubicBezTo>
                    <a:pt x="809" y="831"/>
                    <a:pt x="817" y="793"/>
                    <a:pt x="832" y="770"/>
                  </a:cubicBezTo>
                  <a:cubicBezTo>
                    <a:pt x="840" y="755"/>
                    <a:pt x="840" y="732"/>
                    <a:pt x="855" y="717"/>
                  </a:cubicBezTo>
                  <a:cubicBezTo>
                    <a:pt x="878" y="702"/>
                    <a:pt x="901" y="702"/>
                    <a:pt x="924" y="686"/>
                  </a:cubicBezTo>
                  <a:cubicBezTo>
                    <a:pt x="947" y="679"/>
                    <a:pt x="970" y="671"/>
                    <a:pt x="977" y="656"/>
                  </a:cubicBezTo>
                  <a:cubicBezTo>
                    <a:pt x="993" y="641"/>
                    <a:pt x="970" y="610"/>
                    <a:pt x="985" y="595"/>
                  </a:cubicBezTo>
                  <a:cubicBezTo>
                    <a:pt x="1000" y="587"/>
                    <a:pt x="1023" y="587"/>
                    <a:pt x="1038" y="587"/>
                  </a:cubicBezTo>
                  <a:cubicBezTo>
                    <a:pt x="1046" y="587"/>
                    <a:pt x="1054" y="602"/>
                    <a:pt x="1061" y="602"/>
                  </a:cubicBezTo>
                  <a:cubicBezTo>
                    <a:pt x="1084" y="595"/>
                    <a:pt x="1099" y="556"/>
                    <a:pt x="1130" y="556"/>
                  </a:cubicBezTo>
                  <a:cubicBezTo>
                    <a:pt x="1184" y="541"/>
                    <a:pt x="1237" y="572"/>
                    <a:pt x="1290" y="564"/>
                  </a:cubicBezTo>
                  <a:cubicBezTo>
                    <a:pt x="1313" y="556"/>
                    <a:pt x="1329" y="526"/>
                    <a:pt x="1351" y="518"/>
                  </a:cubicBezTo>
                  <a:cubicBezTo>
                    <a:pt x="1397" y="495"/>
                    <a:pt x="1443" y="480"/>
                    <a:pt x="1489" y="480"/>
                  </a:cubicBezTo>
                  <a:cubicBezTo>
                    <a:pt x="1520" y="472"/>
                    <a:pt x="1550" y="488"/>
                    <a:pt x="1581" y="495"/>
                  </a:cubicBezTo>
                  <a:lnTo>
                    <a:pt x="1581" y="495"/>
                  </a:lnTo>
                  <a:cubicBezTo>
                    <a:pt x="1596" y="495"/>
                    <a:pt x="1611" y="495"/>
                    <a:pt x="1619" y="495"/>
                  </a:cubicBezTo>
                  <a:cubicBezTo>
                    <a:pt x="1634" y="488"/>
                    <a:pt x="1642" y="472"/>
                    <a:pt x="1642" y="465"/>
                  </a:cubicBezTo>
                  <a:cubicBezTo>
                    <a:pt x="1634" y="442"/>
                    <a:pt x="1604" y="434"/>
                    <a:pt x="1604" y="419"/>
                  </a:cubicBezTo>
                  <a:cubicBezTo>
                    <a:pt x="1604" y="396"/>
                    <a:pt x="1619" y="381"/>
                    <a:pt x="1626" y="366"/>
                  </a:cubicBezTo>
                  <a:lnTo>
                    <a:pt x="1626" y="366"/>
                  </a:lnTo>
                  <a:cubicBezTo>
                    <a:pt x="1611" y="350"/>
                    <a:pt x="1596" y="335"/>
                    <a:pt x="1581" y="327"/>
                  </a:cubicBezTo>
                  <a:cubicBezTo>
                    <a:pt x="1558" y="327"/>
                    <a:pt x="1535" y="327"/>
                    <a:pt x="1512" y="335"/>
                  </a:cubicBezTo>
                  <a:cubicBezTo>
                    <a:pt x="1497" y="343"/>
                    <a:pt x="1489" y="350"/>
                    <a:pt x="1474" y="358"/>
                  </a:cubicBezTo>
                  <a:lnTo>
                    <a:pt x="1474" y="358"/>
                  </a:lnTo>
                  <a:cubicBezTo>
                    <a:pt x="1459" y="366"/>
                    <a:pt x="1443" y="358"/>
                    <a:pt x="1428" y="366"/>
                  </a:cubicBezTo>
                  <a:cubicBezTo>
                    <a:pt x="1420" y="366"/>
                    <a:pt x="1413" y="381"/>
                    <a:pt x="1405" y="381"/>
                  </a:cubicBezTo>
                  <a:cubicBezTo>
                    <a:pt x="1390" y="381"/>
                    <a:pt x="1367" y="373"/>
                    <a:pt x="1351" y="373"/>
                  </a:cubicBezTo>
                  <a:cubicBezTo>
                    <a:pt x="1344" y="373"/>
                    <a:pt x="1336" y="389"/>
                    <a:pt x="1329" y="389"/>
                  </a:cubicBezTo>
                  <a:cubicBezTo>
                    <a:pt x="1321" y="381"/>
                    <a:pt x="1321" y="358"/>
                    <a:pt x="1313" y="350"/>
                  </a:cubicBezTo>
                  <a:cubicBezTo>
                    <a:pt x="1283" y="320"/>
                    <a:pt x="1260" y="281"/>
                    <a:pt x="1222" y="266"/>
                  </a:cubicBezTo>
                  <a:cubicBezTo>
                    <a:pt x="1207" y="259"/>
                    <a:pt x="1199" y="281"/>
                    <a:pt x="1184" y="289"/>
                  </a:cubicBezTo>
                  <a:cubicBezTo>
                    <a:pt x="1168" y="289"/>
                    <a:pt x="1161" y="274"/>
                    <a:pt x="1161" y="266"/>
                  </a:cubicBezTo>
                  <a:cubicBezTo>
                    <a:pt x="1161" y="259"/>
                    <a:pt x="1191" y="266"/>
                    <a:pt x="1191" y="251"/>
                  </a:cubicBezTo>
                  <a:cubicBezTo>
                    <a:pt x="1191" y="228"/>
                    <a:pt x="1191" y="190"/>
                    <a:pt x="1168" y="175"/>
                  </a:cubicBezTo>
                  <a:cubicBezTo>
                    <a:pt x="1138" y="159"/>
                    <a:pt x="1084" y="205"/>
                    <a:pt x="1061" y="182"/>
                  </a:cubicBezTo>
                  <a:cubicBezTo>
                    <a:pt x="1046" y="159"/>
                    <a:pt x="1099" y="121"/>
                    <a:pt x="1084" y="91"/>
                  </a:cubicBezTo>
                  <a:cubicBezTo>
                    <a:pt x="1069" y="76"/>
                    <a:pt x="1038" y="84"/>
                    <a:pt x="1008" y="84"/>
                  </a:cubicBezTo>
                  <a:cubicBezTo>
                    <a:pt x="993" y="84"/>
                    <a:pt x="985" y="106"/>
                    <a:pt x="970" y="106"/>
                  </a:cubicBezTo>
                  <a:cubicBezTo>
                    <a:pt x="954" y="106"/>
                    <a:pt x="939" y="114"/>
                    <a:pt x="924" y="98"/>
                  </a:cubicBezTo>
                  <a:cubicBezTo>
                    <a:pt x="909" y="84"/>
                    <a:pt x="909" y="53"/>
                    <a:pt x="893" y="38"/>
                  </a:cubicBezTo>
                  <a:cubicBezTo>
                    <a:pt x="878" y="23"/>
                    <a:pt x="848" y="15"/>
                    <a:pt x="832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63" name="Freeform 185"/>
            <p:cNvSpPr>
              <a:spLocks noChangeArrowheads="1"/>
            </p:cNvSpPr>
            <p:nvPr/>
          </p:nvSpPr>
          <p:spPr bwMode="auto">
            <a:xfrm>
              <a:off x="3925632" y="5489575"/>
              <a:ext cx="220648" cy="368300"/>
            </a:xfrm>
            <a:custGeom>
              <a:avLst/>
              <a:gdLst>
                <a:gd name="T0" fmla="*/ 222 w 612"/>
                <a:gd name="T1" fmla="*/ 1015 h 1024"/>
                <a:gd name="T2" fmla="*/ 222 w 612"/>
                <a:gd name="T3" fmla="*/ 1015 h 1024"/>
                <a:gd name="T4" fmla="*/ 260 w 612"/>
                <a:gd name="T5" fmla="*/ 992 h 1024"/>
                <a:gd name="T6" fmla="*/ 329 w 612"/>
                <a:gd name="T7" fmla="*/ 984 h 1024"/>
                <a:gd name="T8" fmla="*/ 374 w 612"/>
                <a:gd name="T9" fmla="*/ 1023 h 1024"/>
                <a:gd name="T10" fmla="*/ 374 w 612"/>
                <a:gd name="T11" fmla="*/ 1023 h 1024"/>
                <a:gd name="T12" fmla="*/ 413 w 612"/>
                <a:gd name="T13" fmla="*/ 977 h 1024"/>
                <a:gd name="T14" fmla="*/ 413 w 612"/>
                <a:gd name="T15" fmla="*/ 923 h 1024"/>
                <a:gd name="T16" fmla="*/ 443 w 612"/>
                <a:gd name="T17" fmla="*/ 916 h 1024"/>
                <a:gd name="T18" fmla="*/ 543 w 612"/>
                <a:gd name="T19" fmla="*/ 954 h 1024"/>
                <a:gd name="T20" fmla="*/ 573 w 612"/>
                <a:gd name="T21" fmla="*/ 877 h 1024"/>
                <a:gd name="T22" fmla="*/ 604 w 612"/>
                <a:gd name="T23" fmla="*/ 870 h 1024"/>
                <a:gd name="T24" fmla="*/ 604 w 612"/>
                <a:gd name="T25" fmla="*/ 801 h 1024"/>
                <a:gd name="T26" fmla="*/ 581 w 612"/>
                <a:gd name="T27" fmla="*/ 755 h 1024"/>
                <a:gd name="T28" fmla="*/ 581 w 612"/>
                <a:gd name="T29" fmla="*/ 755 h 1024"/>
                <a:gd name="T30" fmla="*/ 573 w 612"/>
                <a:gd name="T31" fmla="*/ 733 h 1024"/>
                <a:gd name="T32" fmla="*/ 566 w 612"/>
                <a:gd name="T33" fmla="*/ 642 h 1024"/>
                <a:gd name="T34" fmla="*/ 535 w 612"/>
                <a:gd name="T35" fmla="*/ 611 h 1024"/>
                <a:gd name="T36" fmla="*/ 558 w 612"/>
                <a:gd name="T37" fmla="*/ 535 h 1024"/>
                <a:gd name="T38" fmla="*/ 520 w 612"/>
                <a:gd name="T39" fmla="*/ 520 h 1024"/>
                <a:gd name="T40" fmla="*/ 527 w 612"/>
                <a:gd name="T41" fmla="*/ 336 h 1024"/>
                <a:gd name="T42" fmla="*/ 512 w 612"/>
                <a:gd name="T43" fmla="*/ 237 h 1024"/>
                <a:gd name="T44" fmla="*/ 436 w 612"/>
                <a:gd name="T45" fmla="*/ 183 h 1024"/>
                <a:gd name="T46" fmla="*/ 474 w 612"/>
                <a:gd name="T47" fmla="*/ 61 h 1024"/>
                <a:gd name="T48" fmla="*/ 474 w 612"/>
                <a:gd name="T49" fmla="*/ 61 h 1024"/>
                <a:gd name="T50" fmla="*/ 321 w 612"/>
                <a:gd name="T51" fmla="*/ 31 h 1024"/>
                <a:gd name="T52" fmla="*/ 260 w 612"/>
                <a:gd name="T53" fmla="*/ 107 h 1024"/>
                <a:gd name="T54" fmla="*/ 176 w 612"/>
                <a:gd name="T55" fmla="*/ 283 h 1024"/>
                <a:gd name="T56" fmla="*/ 130 w 612"/>
                <a:gd name="T57" fmla="*/ 390 h 1024"/>
                <a:gd name="T58" fmla="*/ 0 w 612"/>
                <a:gd name="T59" fmla="*/ 397 h 1024"/>
                <a:gd name="T60" fmla="*/ 0 w 612"/>
                <a:gd name="T61" fmla="*/ 397 h 1024"/>
                <a:gd name="T62" fmla="*/ 38 w 612"/>
                <a:gd name="T63" fmla="*/ 558 h 1024"/>
                <a:gd name="T64" fmla="*/ 107 w 612"/>
                <a:gd name="T65" fmla="*/ 565 h 1024"/>
                <a:gd name="T66" fmla="*/ 92 w 612"/>
                <a:gd name="T67" fmla="*/ 718 h 1024"/>
                <a:gd name="T68" fmla="*/ 168 w 612"/>
                <a:gd name="T69" fmla="*/ 763 h 1024"/>
                <a:gd name="T70" fmla="*/ 168 w 612"/>
                <a:gd name="T71" fmla="*/ 832 h 1024"/>
                <a:gd name="T72" fmla="*/ 191 w 612"/>
                <a:gd name="T73" fmla="*/ 832 h 1024"/>
                <a:gd name="T74" fmla="*/ 176 w 612"/>
                <a:gd name="T75" fmla="*/ 931 h 1024"/>
                <a:gd name="T76" fmla="*/ 214 w 612"/>
                <a:gd name="T77" fmla="*/ 984 h 1024"/>
                <a:gd name="T78" fmla="*/ 222 w 612"/>
                <a:gd name="T79" fmla="*/ 1015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12" h="1024">
                  <a:moveTo>
                    <a:pt x="222" y="1015"/>
                  </a:moveTo>
                  <a:lnTo>
                    <a:pt x="222" y="1015"/>
                  </a:lnTo>
                  <a:cubicBezTo>
                    <a:pt x="237" y="1007"/>
                    <a:pt x="245" y="1000"/>
                    <a:pt x="260" y="992"/>
                  </a:cubicBezTo>
                  <a:cubicBezTo>
                    <a:pt x="283" y="984"/>
                    <a:pt x="306" y="984"/>
                    <a:pt x="329" y="984"/>
                  </a:cubicBezTo>
                  <a:cubicBezTo>
                    <a:pt x="344" y="992"/>
                    <a:pt x="359" y="1007"/>
                    <a:pt x="374" y="1023"/>
                  </a:cubicBezTo>
                  <a:lnTo>
                    <a:pt x="374" y="1023"/>
                  </a:lnTo>
                  <a:cubicBezTo>
                    <a:pt x="390" y="1007"/>
                    <a:pt x="405" y="1000"/>
                    <a:pt x="413" y="977"/>
                  </a:cubicBezTo>
                  <a:cubicBezTo>
                    <a:pt x="420" y="961"/>
                    <a:pt x="405" y="938"/>
                    <a:pt x="413" y="923"/>
                  </a:cubicBezTo>
                  <a:cubicBezTo>
                    <a:pt x="420" y="916"/>
                    <a:pt x="428" y="916"/>
                    <a:pt x="443" y="916"/>
                  </a:cubicBezTo>
                  <a:cubicBezTo>
                    <a:pt x="474" y="923"/>
                    <a:pt x="505" y="961"/>
                    <a:pt x="543" y="954"/>
                  </a:cubicBezTo>
                  <a:cubicBezTo>
                    <a:pt x="566" y="946"/>
                    <a:pt x="550" y="900"/>
                    <a:pt x="573" y="877"/>
                  </a:cubicBezTo>
                  <a:cubicBezTo>
                    <a:pt x="573" y="870"/>
                    <a:pt x="596" y="885"/>
                    <a:pt x="604" y="870"/>
                  </a:cubicBezTo>
                  <a:cubicBezTo>
                    <a:pt x="611" y="847"/>
                    <a:pt x="611" y="824"/>
                    <a:pt x="604" y="801"/>
                  </a:cubicBezTo>
                  <a:cubicBezTo>
                    <a:pt x="596" y="786"/>
                    <a:pt x="588" y="771"/>
                    <a:pt x="581" y="755"/>
                  </a:cubicBezTo>
                  <a:lnTo>
                    <a:pt x="581" y="755"/>
                  </a:lnTo>
                  <a:cubicBezTo>
                    <a:pt x="573" y="748"/>
                    <a:pt x="573" y="741"/>
                    <a:pt x="573" y="733"/>
                  </a:cubicBezTo>
                  <a:cubicBezTo>
                    <a:pt x="566" y="703"/>
                    <a:pt x="573" y="672"/>
                    <a:pt x="566" y="642"/>
                  </a:cubicBezTo>
                  <a:cubicBezTo>
                    <a:pt x="558" y="626"/>
                    <a:pt x="535" y="626"/>
                    <a:pt x="535" y="611"/>
                  </a:cubicBezTo>
                  <a:cubicBezTo>
                    <a:pt x="535" y="588"/>
                    <a:pt x="558" y="558"/>
                    <a:pt x="558" y="535"/>
                  </a:cubicBezTo>
                  <a:cubicBezTo>
                    <a:pt x="558" y="520"/>
                    <a:pt x="520" y="535"/>
                    <a:pt x="520" y="520"/>
                  </a:cubicBezTo>
                  <a:cubicBezTo>
                    <a:pt x="512" y="458"/>
                    <a:pt x="527" y="397"/>
                    <a:pt x="527" y="336"/>
                  </a:cubicBezTo>
                  <a:cubicBezTo>
                    <a:pt x="527" y="305"/>
                    <a:pt x="527" y="267"/>
                    <a:pt x="512" y="237"/>
                  </a:cubicBezTo>
                  <a:cubicBezTo>
                    <a:pt x="497" y="214"/>
                    <a:pt x="443" y="214"/>
                    <a:pt x="436" y="183"/>
                  </a:cubicBezTo>
                  <a:cubicBezTo>
                    <a:pt x="428" y="138"/>
                    <a:pt x="466" y="99"/>
                    <a:pt x="474" y="61"/>
                  </a:cubicBezTo>
                  <a:lnTo>
                    <a:pt x="474" y="61"/>
                  </a:lnTo>
                  <a:cubicBezTo>
                    <a:pt x="428" y="61"/>
                    <a:pt x="382" y="76"/>
                    <a:pt x="321" y="31"/>
                  </a:cubicBezTo>
                  <a:cubicBezTo>
                    <a:pt x="283" y="0"/>
                    <a:pt x="275" y="84"/>
                    <a:pt x="260" y="107"/>
                  </a:cubicBezTo>
                  <a:cubicBezTo>
                    <a:pt x="176" y="283"/>
                    <a:pt x="176" y="283"/>
                    <a:pt x="176" y="283"/>
                  </a:cubicBezTo>
                  <a:cubicBezTo>
                    <a:pt x="161" y="313"/>
                    <a:pt x="153" y="374"/>
                    <a:pt x="130" y="390"/>
                  </a:cubicBezTo>
                  <a:cubicBezTo>
                    <a:pt x="84" y="420"/>
                    <a:pt x="38" y="412"/>
                    <a:pt x="0" y="397"/>
                  </a:cubicBezTo>
                  <a:lnTo>
                    <a:pt x="0" y="397"/>
                  </a:lnTo>
                  <a:cubicBezTo>
                    <a:pt x="8" y="435"/>
                    <a:pt x="8" y="527"/>
                    <a:pt x="38" y="558"/>
                  </a:cubicBezTo>
                  <a:cubicBezTo>
                    <a:pt x="54" y="573"/>
                    <a:pt x="92" y="542"/>
                    <a:pt x="107" y="565"/>
                  </a:cubicBezTo>
                  <a:cubicBezTo>
                    <a:pt x="122" y="611"/>
                    <a:pt x="77" y="672"/>
                    <a:pt x="92" y="718"/>
                  </a:cubicBezTo>
                  <a:cubicBezTo>
                    <a:pt x="107" y="748"/>
                    <a:pt x="153" y="741"/>
                    <a:pt x="168" y="763"/>
                  </a:cubicBezTo>
                  <a:cubicBezTo>
                    <a:pt x="176" y="786"/>
                    <a:pt x="161" y="809"/>
                    <a:pt x="168" y="832"/>
                  </a:cubicBezTo>
                  <a:cubicBezTo>
                    <a:pt x="168" y="832"/>
                    <a:pt x="191" y="824"/>
                    <a:pt x="191" y="832"/>
                  </a:cubicBezTo>
                  <a:cubicBezTo>
                    <a:pt x="191" y="870"/>
                    <a:pt x="176" y="900"/>
                    <a:pt x="176" y="931"/>
                  </a:cubicBezTo>
                  <a:cubicBezTo>
                    <a:pt x="184" y="954"/>
                    <a:pt x="199" y="969"/>
                    <a:pt x="214" y="984"/>
                  </a:cubicBezTo>
                  <a:cubicBezTo>
                    <a:pt x="214" y="992"/>
                    <a:pt x="214" y="1007"/>
                    <a:pt x="222" y="1015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64" name="Freeform 186"/>
            <p:cNvSpPr>
              <a:spLocks noChangeArrowheads="1"/>
            </p:cNvSpPr>
            <p:nvPr/>
          </p:nvSpPr>
          <p:spPr bwMode="auto">
            <a:xfrm>
              <a:off x="3763718" y="5624514"/>
              <a:ext cx="242871" cy="242887"/>
            </a:xfrm>
            <a:custGeom>
              <a:avLst/>
              <a:gdLst>
                <a:gd name="T0" fmla="*/ 450 w 673"/>
                <a:gd name="T1" fmla="*/ 23 h 673"/>
                <a:gd name="T2" fmla="*/ 450 w 673"/>
                <a:gd name="T3" fmla="*/ 23 h 673"/>
                <a:gd name="T4" fmla="*/ 366 w 673"/>
                <a:gd name="T5" fmla="*/ 0 h 673"/>
                <a:gd name="T6" fmla="*/ 267 w 673"/>
                <a:gd name="T7" fmla="*/ 31 h 673"/>
                <a:gd name="T8" fmla="*/ 267 w 673"/>
                <a:gd name="T9" fmla="*/ 31 h 673"/>
                <a:gd name="T10" fmla="*/ 191 w 673"/>
                <a:gd name="T11" fmla="*/ 16 h 673"/>
                <a:gd name="T12" fmla="*/ 91 w 673"/>
                <a:gd name="T13" fmla="*/ 46 h 673"/>
                <a:gd name="T14" fmla="*/ 38 w 673"/>
                <a:gd name="T15" fmla="*/ 153 h 673"/>
                <a:gd name="T16" fmla="*/ 23 w 673"/>
                <a:gd name="T17" fmla="*/ 252 h 673"/>
                <a:gd name="T18" fmla="*/ 30 w 673"/>
                <a:gd name="T19" fmla="*/ 283 h 673"/>
                <a:gd name="T20" fmla="*/ 30 w 673"/>
                <a:gd name="T21" fmla="*/ 283 h 673"/>
                <a:gd name="T22" fmla="*/ 91 w 673"/>
                <a:gd name="T23" fmla="*/ 321 h 673"/>
                <a:gd name="T24" fmla="*/ 122 w 673"/>
                <a:gd name="T25" fmla="*/ 381 h 673"/>
                <a:gd name="T26" fmla="*/ 168 w 673"/>
                <a:gd name="T27" fmla="*/ 389 h 673"/>
                <a:gd name="T28" fmla="*/ 206 w 673"/>
                <a:gd name="T29" fmla="*/ 367 h 673"/>
                <a:gd name="T30" fmla="*/ 282 w 673"/>
                <a:gd name="T31" fmla="*/ 374 h 673"/>
                <a:gd name="T32" fmla="*/ 259 w 673"/>
                <a:gd name="T33" fmla="*/ 465 h 673"/>
                <a:gd name="T34" fmla="*/ 366 w 673"/>
                <a:gd name="T35" fmla="*/ 458 h 673"/>
                <a:gd name="T36" fmla="*/ 389 w 673"/>
                <a:gd name="T37" fmla="*/ 534 h 673"/>
                <a:gd name="T38" fmla="*/ 359 w 673"/>
                <a:gd name="T39" fmla="*/ 549 h 673"/>
                <a:gd name="T40" fmla="*/ 382 w 673"/>
                <a:gd name="T41" fmla="*/ 572 h 673"/>
                <a:gd name="T42" fmla="*/ 420 w 673"/>
                <a:gd name="T43" fmla="*/ 549 h 673"/>
                <a:gd name="T44" fmla="*/ 511 w 673"/>
                <a:gd name="T45" fmla="*/ 633 h 673"/>
                <a:gd name="T46" fmla="*/ 527 w 673"/>
                <a:gd name="T47" fmla="*/ 672 h 673"/>
                <a:gd name="T48" fmla="*/ 549 w 673"/>
                <a:gd name="T49" fmla="*/ 656 h 673"/>
                <a:gd name="T50" fmla="*/ 603 w 673"/>
                <a:gd name="T51" fmla="*/ 664 h 673"/>
                <a:gd name="T52" fmla="*/ 626 w 673"/>
                <a:gd name="T53" fmla="*/ 649 h 673"/>
                <a:gd name="T54" fmla="*/ 672 w 673"/>
                <a:gd name="T55" fmla="*/ 641 h 673"/>
                <a:gd name="T56" fmla="*/ 672 w 673"/>
                <a:gd name="T57" fmla="*/ 641 h 673"/>
                <a:gd name="T58" fmla="*/ 664 w 673"/>
                <a:gd name="T59" fmla="*/ 610 h 673"/>
                <a:gd name="T60" fmla="*/ 626 w 673"/>
                <a:gd name="T61" fmla="*/ 557 h 673"/>
                <a:gd name="T62" fmla="*/ 641 w 673"/>
                <a:gd name="T63" fmla="*/ 458 h 673"/>
                <a:gd name="T64" fmla="*/ 618 w 673"/>
                <a:gd name="T65" fmla="*/ 458 h 673"/>
                <a:gd name="T66" fmla="*/ 618 w 673"/>
                <a:gd name="T67" fmla="*/ 389 h 673"/>
                <a:gd name="T68" fmla="*/ 542 w 673"/>
                <a:gd name="T69" fmla="*/ 344 h 673"/>
                <a:gd name="T70" fmla="*/ 557 w 673"/>
                <a:gd name="T71" fmla="*/ 191 h 673"/>
                <a:gd name="T72" fmla="*/ 488 w 673"/>
                <a:gd name="T73" fmla="*/ 184 h 673"/>
                <a:gd name="T74" fmla="*/ 450 w 673"/>
                <a:gd name="T75" fmla="*/ 23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3" h="673">
                  <a:moveTo>
                    <a:pt x="450" y="23"/>
                  </a:moveTo>
                  <a:lnTo>
                    <a:pt x="450" y="23"/>
                  </a:lnTo>
                  <a:cubicBezTo>
                    <a:pt x="420" y="16"/>
                    <a:pt x="389" y="0"/>
                    <a:pt x="366" y="0"/>
                  </a:cubicBezTo>
                  <a:cubicBezTo>
                    <a:pt x="313" y="0"/>
                    <a:pt x="305" y="16"/>
                    <a:pt x="267" y="31"/>
                  </a:cubicBezTo>
                  <a:lnTo>
                    <a:pt x="267" y="31"/>
                  </a:lnTo>
                  <a:cubicBezTo>
                    <a:pt x="191" y="16"/>
                    <a:pt x="191" y="16"/>
                    <a:pt x="191" y="16"/>
                  </a:cubicBezTo>
                  <a:cubicBezTo>
                    <a:pt x="152" y="46"/>
                    <a:pt x="137" y="16"/>
                    <a:pt x="91" y="46"/>
                  </a:cubicBezTo>
                  <a:cubicBezTo>
                    <a:pt x="84" y="61"/>
                    <a:pt x="0" y="146"/>
                    <a:pt x="38" y="153"/>
                  </a:cubicBezTo>
                  <a:cubicBezTo>
                    <a:pt x="38" y="184"/>
                    <a:pt x="23" y="214"/>
                    <a:pt x="23" y="252"/>
                  </a:cubicBezTo>
                  <a:cubicBezTo>
                    <a:pt x="23" y="268"/>
                    <a:pt x="23" y="275"/>
                    <a:pt x="30" y="283"/>
                  </a:cubicBezTo>
                  <a:lnTo>
                    <a:pt x="30" y="283"/>
                  </a:lnTo>
                  <a:cubicBezTo>
                    <a:pt x="46" y="298"/>
                    <a:pt x="76" y="306"/>
                    <a:pt x="91" y="321"/>
                  </a:cubicBezTo>
                  <a:cubicBezTo>
                    <a:pt x="107" y="336"/>
                    <a:pt x="107" y="367"/>
                    <a:pt x="122" y="381"/>
                  </a:cubicBezTo>
                  <a:cubicBezTo>
                    <a:pt x="137" y="397"/>
                    <a:pt x="152" y="389"/>
                    <a:pt x="168" y="389"/>
                  </a:cubicBezTo>
                  <a:cubicBezTo>
                    <a:pt x="183" y="389"/>
                    <a:pt x="191" y="367"/>
                    <a:pt x="206" y="367"/>
                  </a:cubicBezTo>
                  <a:cubicBezTo>
                    <a:pt x="236" y="367"/>
                    <a:pt x="267" y="359"/>
                    <a:pt x="282" y="374"/>
                  </a:cubicBezTo>
                  <a:cubicBezTo>
                    <a:pt x="297" y="404"/>
                    <a:pt x="244" y="442"/>
                    <a:pt x="259" y="465"/>
                  </a:cubicBezTo>
                  <a:cubicBezTo>
                    <a:pt x="282" y="488"/>
                    <a:pt x="336" y="442"/>
                    <a:pt x="366" y="458"/>
                  </a:cubicBezTo>
                  <a:cubicBezTo>
                    <a:pt x="389" y="473"/>
                    <a:pt x="389" y="511"/>
                    <a:pt x="389" y="534"/>
                  </a:cubicBezTo>
                  <a:cubicBezTo>
                    <a:pt x="389" y="549"/>
                    <a:pt x="359" y="542"/>
                    <a:pt x="359" y="549"/>
                  </a:cubicBezTo>
                  <a:cubicBezTo>
                    <a:pt x="359" y="557"/>
                    <a:pt x="366" y="572"/>
                    <a:pt x="382" y="572"/>
                  </a:cubicBezTo>
                  <a:cubicBezTo>
                    <a:pt x="397" y="564"/>
                    <a:pt x="405" y="542"/>
                    <a:pt x="420" y="549"/>
                  </a:cubicBezTo>
                  <a:cubicBezTo>
                    <a:pt x="458" y="564"/>
                    <a:pt x="481" y="603"/>
                    <a:pt x="511" y="633"/>
                  </a:cubicBezTo>
                  <a:cubicBezTo>
                    <a:pt x="519" y="641"/>
                    <a:pt x="519" y="664"/>
                    <a:pt x="527" y="672"/>
                  </a:cubicBezTo>
                  <a:cubicBezTo>
                    <a:pt x="534" y="672"/>
                    <a:pt x="542" y="656"/>
                    <a:pt x="549" y="656"/>
                  </a:cubicBezTo>
                  <a:cubicBezTo>
                    <a:pt x="565" y="656"/>
                    <a:pt x="588" y="664"/>
                    <a:pt x="603" y="664"/>
                  </a:cubicBezTo>
                  <a:cubicBezTo>
                    <a:pt x="611" y="664"/>
                    <a:pt x="618" y="649"/>
                    <a:pt x="626" y="649"/>
                  </a:cubicBezTo>
                  <a:cubicBezTo>
                    <a:pt x="641" y="641"/>
                    <a:pt x="657" y="649"/>
                    <a:pt x="672" y="641"/>
                  </a:cubicBezTo>
                  <a:lnTo>
                    <a:pt x="672" y="641"/>
                  </a:lnTo>
                  <a:cubicBezTo>
                    <a:pt x="664" y="633"/>
                    <a:pt x="664" y="618"/>
                    <a:pt x="664" y="610"/>
                  </a:cubicBezTo>
                  <a:cubicBezTo>
                    <a:pt x="649" y="595"/>
                    <a:pt x="634" y="580"/>
                    <a:pt x="626" y="557"/>
                  </a:cubicBezTo>
                  <a:cubicBezTo>
                    <a:pt x="626" y="526"/>
                    <a:pt x="641" y="496"/>
                    <a:pt x="641" y="458"/>
                  </a:cubicBezTo>
                  <a:cubicBezTo>
                    <a:pt x="641" y="450"/>
                    <a:pt x="618" y="458"/>
                    <a:pt x="618" y="458"/>
                  </a:cubicBezTo>
                  <a:cubicBezTo>
                    <a:pt x="611" y="435"/>
                    <a:pt x="626" y="412"/>
                    <a:pt x="618" y="389"/>
                  </a:cubicBezTo>
                  <a:cubicBezTo>
                    <a:pt x="603" y="367"/>
                    <a:pt x="557" y="374"/>
                    <a:pt x="542" y="344"/>
                  </a:cubicBezTo>
                  <a:cubicBezTo>
                    <a:pt x="527" y="298"/>
                    <a:pt x="572" y="237"/>
                    <a:pt x="557" y="191"/>
                  </a:cubicBezTo>
                  <a:cubicBezTo>
                    <a:pt x="542" y="168"/>
                    <a:pt x="504" y="199"/>
                    <a:pt x="488" y="184"/>
                  </a:cubicBezTo>
                  <a:cubicBezTo>
                    <a:pt x="458" y="153"/>
                    <a:pt x="458" y="61"/>
                    <a:pt x="450" y="2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65" name="Freeform 187"/>
            <p:cNvSpPr>
              <a:spLocks noChangeArrowheads="1"/>
            </p:cNvSpPr>
            <p:nvPr/>
          </p:nvSpPr>
          <p:spPr bwMode="auto">
            <a:xfrm>
              <a:off x="4079610" y="5462589"/>
              <a:ext cx="201600" cy="300037"/>
            </a:xfrm>
            <a:custGeom>
              <a:avLst/>
              <a:gdLst>
                <a:gd name="T0" fmla="*/ 46 w 559"/>
                <a:gd name="T1" fmla="*/ 137 h 832"/>
                <a:gd name="T2" fmla="*/ 46 w 559"/>
                <a:gd name="T3" fmla="*/ 137 h 832"/>
                <a:gd name="T4" fmla="*/ 8 w 559"/>
                <a:gd name="T5" fmla="*/ 259 h 832"/>
                <a:gd name="T6" fmla="*/ 84 w 559"/>
                <a:gd name="T7" fmla="*/ 313 h 832"/>
                <a:gd name="T8" fmla="*/ 99 w 559"/>
                <a:gd name="T9" fmla="*/ 412 h 832"/>
                <a:gd name="T10" fmla="*/ 92 w 559"/>
                <a:gd name="T11" fmla="*/ 596 h 832"/>
                <a:gd name="T12" fmla="*/ 130 w 559"/>
                <a:gd name="T13" fmla="*/ 611 h 832"/>
                <a:gd name="T14" fmla="*/ 107 w 559"/>
                <a:gd name="T15" fmla="*/ 687 h 832"/>
                <a:gd name="T16" fmla="*/ 138 w 559"/>
                <a:gd name="T17" fmla="*/ 718 h 832"/>
                <a:gd name="T18" fmla="*/ 145 w 559"/>
                <a:gd name="T19" fmla="*/ 809 h 832"/>
                <a:gd name="T20" fmla="*/ 153 w 559"/>
                <a:gd name="T21" fmla="*/ 831 h 832"/>
                <a:gd name="T22" fmla="*/ 153 w 559"/>
                <a:gd name="T23" fmla="*/ 831 h 832"/>
                <a:gd name="T24" fmla="*/ 260 w 559"/>
                <a:gd name="T25" fmla="*/ 794 h 832"/>
                <a:gd name="T26" fmla="*/ 298 w 559"/>
                <a:gd name="T27" fmla="*/ 831 h 832"/>
                <a:gd name="T28" fmla="*/ 344 w 559"/>
                <a:gd name="T29" fmla="*/ 817 h 832"/>
                <a:gd name="T30" fmla="*/ 367 w 559"/>
                <a:gd name="T31" fmla="*/ 779 h 832"/>
                <a:gd name="T32" fmla="*/ 397 w 559"/>
                <a:gd name="T33" fmla="*/ 771 h 832"/>
                <a:gd name="T34" fmla="*/ 435 w 559"/>
                <a:gd name="T35" fmla="*/ 786 h 832"/>
                <a:gd name="T36" fmla="*/ 496 w 559"/>
                <a:gd name="T37" fmla="*/ 779 h 832"/>
                <a:gd name="T38" fmla="*/ 527 w 559"/>
                <a:gd name="T39" fmla="*/ 740 h 832"/>
                <a:gd name="T40" fmla="*/ 527 w 559"/>
                <a:gd name="T41" fmla="*/ 740 h 832"/>
                <a:gd name="T42" fmla="*/ 504 w 559"/>
                <a:gd name="T43" fmla="*/ 657 h 832"/>
                <a:gd name="T44" fmla="*/ 474 w 559"/>
                <a:gd name="T45" fmla="*/ 641 h 832"/>
                <a:gd name="T46" fmla="*/ 451 w 559"/>
                <a:gd name="T47" fmla="*/ 580 h 832"/>
                <a:gd name="T48" fmla="*/ 451 w 559"/>
                <a:gd name="T49" fmla="*/ 435 h 832"/>
                <a:gd name="T50" fmla="*/ 420 w 559"/>
                <a:gd name="T51" fmla="*/ 374 h 832"/>
                <a:gd name="T52" fmla="*/ 458 w 559"/>
                <a:gd name="T53" fmla="*/ 359 h 832"/>
                <a:gd name="T54" fmla="*/ 481 w 559"/>
                <a:gd name="T55" fmla="*/ 236 h 832"/>
                <a:gd name="T56" fmla="*/ 496 w 559"/>
                <a:gd name="T57" fmla="*/ 214 h 832"/>
                <a:gd name="T58" fmla="*/ 558 w 559"/>
                <a:gd name="T59" fmla="*/ 206 h 832"/>
                <a:gd name="T60" fmla="*/ 558 w 559"/>
                <a:gd name="T61" fmla="*/ 206 h 832"/>
                <a:gd name="T62" fmla="*/ 542 w 559"/>
                <a:gd name="T63" fmla="*/ 99 h 832"/>
                <a:gd name="T64" fmla="*/ 535 w 559"/>
                <a:gd name="T65" fmla="*/ 45 h 832"/>
                <a:gd name="T66" fmla="*/ 535 w 559"/>
                <a:gd name="T67" fmla="*/ 0 h 832"/>
                <a:gd name="T68" fmla="*/ 535 w 559"/>
                <a:gd name="T69" fmla="*/ 0 h 832"/>
                <a:gd name="T70" fmla="*/ 290 w 559"/>
                <a:gd name="T71" fmla="*/ 68 h 832"/>
                <a:gd name="T72" fmla="*/ 122 w 559"/>
                <a:gd name="T73" fmla="*/ 145 h 832"/>
                <a:gd name="T74" fmla="*/ 46 w 559"/>
                <a:gd name="T75" fmla="*/ 137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9" h="832">
                  <a:moveTo>
                    <a:pt x="46" y="137"/>
                  </a:moveTo>
                  <a:lnTo>
                    <a:pt x="46" y="137"/>
                  </a:lnTo>
                  <a:cubicBezTo>
                    <a:pt x="38" y="175"/>
                    <a:pt x="0" y="214"/>
                    <a:pt x="8" y="259"/>
                  </a:cubicBezTo>
                  <a:cubicBezTo>
                    <a:pt x="15" y="290"/>
                    <a:pt x="69" y="290"/>
                    <a:pt x="84" y="313"/>
                  </a:cubicBezTo>
                  <a:cubicBezTo>
                    <a:pt x="99" y="343"/>
                    <a:pt x="99" y="381"/>
                    <a:pt x="99" y="412"/>
                  </a:cubicBezTo>
                  <a:cubicBezTo>
                    <a:pt x="99" y="473"/>
                    <a:pt x="84" y="534"/>
                    <a:pt x="92" y="596"/>
                  </a:cubicBezTo>
                  <a:cubicBezTo>
                    <a:pt x="92" y="611"/>
                    <a:pt x="130" y="596"/>
                    <a:pt x="130" y="611"/>
                  </a:cubicBezTo>
                  <a:cubicBezTo>
                    <a:pt x="130" y="634"/>
                    <a:pt x="107" y="664"/>
                    <a:pt x="107" y="687"/>
                  </a:cubicBezTo>
                  <a:cubicBezTo>
                    <a:pt x="107" y="702"/>
                    <a:pt x="130" y="702"/>
                    <a:pt x="138" y="718"/>
                  </a:cubicBezTo>
                  <a:cubicBezTo>
                    <a:pt x="145" y="748"/>
                    <a:pt x="138" y="779"/>
                    <a:pt x="145" y="809"/>
                  </a:cubicBezTo>
                  <a:cubicBezTo>
                    <a:pt x="145" y="817"/>
                    <a:pt x="145" y="824"/>
                    <a:pt x="153" y="831"/>
                  </a:cubicBezTo>
                  <a:lnTo>
                    <a:pt x="153" y="831"/>
                  </a:lnTo>
                  <a:cubicBezTo>
                    <a:pt x="183" y="817"/>
                    <a:pt x="221" y="794"/>
                    <a:pt x="260" y="794"/>
                  </a:cubicBezTo>
                  <a:cubicBezTo>
                    <a:pt x="275" y="794"/>
                    <a:pt x="283" y="824"/>
                    <a:pt x="298" y="831"/>
                  </a:cubicBezTo>
                  <a:cubicBezTo>
                    <a:pt x="313" y="831"/>
                    <a:pt x="328" y="824"/>
                    <a:pt x="344" y="817"/>
                  </a:cubicBezTo>
                  <a:cubicBezTo>
                    <a:pt x="351" y="809"/>
                    <a:pt x="351" y="786"/>
                    <a:pt x="367" y="779"/>
                  </a:cubicBezTo>
                  <a:cubicBezTo>
                    <a:pt x="374" y="771"/>
                    <a:pt x="382" y="771"/>
                    <a:pt x="397" y="771"/>
                  </a:cubicBezTo>
                  <a:cubicBezTo>
                    <a:pt x="413" y="779"/>
                    <a:pt x="420" y="786"/>
                    <a:pt x="435" y="786"/>
                  </a:cubicBezTo>
                  <a:cubicBezTo>
                    <a:pt x="458" y="786"/>
                    <a:pt x="481" y="786"/>
                    <a:pt x="496" y="779"/>
                  </a:cubicBezTo>
                  <a:cubicBezTo>
                    <a:pt x="512" y="771"/>
                    <a:pt x="519" y="756"/>
                    <a:pt x="527" y="740"/>
                  </a:cubicBezTo>
                  <a:lnTo>
                    <a:pt x="527" y="740"/>
                  </a:lnTo>
                  <a:cubicBezTo>
                    <a:pt x="519" y="718"/>
                    <a:pt x="519" y="687"/>
                    <a:pt x="504" y="657"/>
                  </a:cubicBezTo>
                  <a:cubicBezTo>
                    <a:pt x="496" y="649"/>
                    <a:pt x="481" y="649"/>
                    <a:pt x="474" y="641"/>
                  </a:cubicBezTo>
                  <a:cubicBezTo>
                    <a:pt x="458" y="626"/>
                    <a:pt x="451" y="603"/>
                    <a:pt x="451" y="580"/>
                  </a:cubicBezTo>
                  <a:cubicBezTo>
                    <a:pt x="443" y="534"/>
                    <a:pt x="458" y="488"/>
                    <a:pt x="451" y="435"/>
                  </a:cubicBezTo>
                  <a:cubicBezTo>
                    <a:pt x="443" y="412"/>
                    <a:pt x="413" y="397"/>
                    <a:pt x="420" y="374"/>
                  </a:cubicBezTo>
                  <a:cubicBezTo>
                    <a:pt x="420" y="359"/>
                    <a:pt x="451" y="374"/>
                    <a:pt x="458" y="359"/>
                  </a:cubicBezTo>
                  <a:cubicBezTo>
                    <a:pt x="474" y="321"/>
                    <a:pt x="466" y="275"/>
                    <a:pt x="481" y="236"/>
                  </a:cubicBezTo>
                  <a:cubicBezTo>
                    <a:pt x="481" y="229"/>
                    <a:pt x="489" y="214"/>
                    <a:pt x="496" y="214"/>
                  </a:cubicBezTo>
                  <a:cubicBezTo>
                    <a:pt x="519" y="206"/>
                    <a:pt x="535" y="206"/>
                    <a:pt x="558" y="206"/>
                  </a:cubicBezTo>
                  <a:lnTo>
                    <a:pt x="558" y="206"/>
                  </a:lnTo>
                  <a:cubicBezTo>
                    <a:pt x="550" y="168"/>
                    <a:pt x="550" y="137"/>
                    <a:pt x="542" y="99"/>
                  </a:cubicBezTo>
                  <a:cubicBezTo>
                    <a:pt x="542" y="84"/>
                    <a:pt x="535" y="61"/>
                    <a:pt x="535" y="45"/>
                  </a:cubicBezTo>
                  <a:cubicBezTo>
                    <a:pt x="527" y="23"/>
                    <a:pt x="535" y="23"/>
                    <a:pt x="535" y="0"/>
                  </a:cubicBezTo>
                  <a:lnTo>
                    <a:pt x="535" y="0"/>
                  </a:lnTo>
                  <a:cubicBezTo>
                    <a:pt x="290" y="68"/>
                    <a:pt x="290" y="68"/>
                    <a:pt x="290" y="68"/>
                  </a:cubicBezTo>
                  <a:cubicBezTo>
                    <a:pt x="206" y="107"/>
                    <a:pt x="199" y="160"/>
                    <a:pt x="122" y="145"/>
                  </a:cubicBezTo>
                  <a:cubicBezTo>
                    <a:pt x="92" y="137"/>
                    <a:pt x="69" y="137"/>
                    <a:pt x="46" y="13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66" name="Freeform 188"/>
            <p:cNvSpPr>
              <a:spLocks noChangeArrowheads="1"/>
            </p:cNvSpPr>
            <p:nvPr/>
          </p:nvSpPr>
          <p:spPr bwMode="auto">
            <a:xfrm>
              <a:off x="4270097" y="5372101"/>
              <a:ext cx="307955" cy="322263"/>
            </a:xfrm>
            <a:custGeom>
              <a:avLst/>
              <a:gdLst>
                <a:gd name="T0" fmla="*/ 504 w 856"/>
                <a:gd name="T1" fmla="*/ 68 h 894"/>
                <a:gd name="T2" fmla="*/ 504 w 856"/>
                <a:gd name="T3" fmla="*/ 68 h 894"/>
                <a:gd name="T4" fmla="*/ 374 w 856"/>
                <a:gd name="T5" fmla="*/ 68 h 894"/>
                <a:gd name="T6" fmla="*/ 405 w 856"/>
                <a:gd name="T7" fmla="*/ 30 h 894"/>
                <a:gd name="T8" fmla="*/ 436 w 856"/>
                <a:gd name="T9" fmla="*/ 7 h 894"/>
                <a:gd name="T10" fmla="*/ 558 w 856"/>
                <a:gd name="T11" fmla="*/ 38 h 894"/>
                <a:gd name="T12" fmla="*/ 558 w 856"/>
                <a:gd name="T13" fmla="*/ 38 h 894"/>
                <a:gd name="T14" fmla="*/ 542 w 856"/>
                <a:gd name="T15" fmla="*/ 91 h 894"/>
                <a:gd name="T16" fmla="*/ 527 w 856"/>
                <a:gd name="T17" fmla="*/ 145 h 894"/>
                <a:gd name="T18" fmla="*/ 512 w 856"/>
                <a:gd name="T19" fmla="*/ 145 h 894"/>
                <a:gd name="T20" fmla="*/ 519 w 856"/>
                <a:gd name="T21" fmla="*/ 91 h 894"/>
                <a:gd name="T22" fmla="*/ 504 w 856"/>
                <a:gd name="T23" fmla="*/ 68 h 894"/>
                <a:gd name="T24" fmla="*/ 855 w 856"/>
                <a:gd name="T25" fmla="*/ 718 h 894"/>
                <a:gd name="T26" fmla="*/ 855 w 856"/>
                <a:gd name="T27" fmla="*/ 718 h 894"/>
                <a:gd name="T28" fmla="*/ 787 w 856"/>
                <a:gd name="T29" fmla="*/ 702 h 894"/>
                <a:gd name="T30" fmla="*/ 764 w 856"/>
                <a:gd name="T31" fmla="*/ 588 h 894"/>
                <a:gd name="T32" fmla="*/ 634 w 856"/>
                <a:gd name="T33" fmla="*/ 282 h 894"/>
                <a:gd name="T34" fmla="*/ 405 w 856"/>
                <a:gd name="T35" fmla="*/ 236 h 894"/>
                <a:gd name="T36" fmla="*/ 283 w 856"/>
                <a:gd name="T37" fmla="*/ 206 h 894"/>
                <a:gd name="T38" fmla="*/ 122 w 856"/>
                <a:gd name="T39" fmla="*/ 191 h 894"/>
                <a:gd name="T40" fmla="*/ 8 w 856"/>
                <a:gd name="T41" fmla="*/ 252 h 894"/>
                <a:gd name="T42" fmla="*/ 8 w 856"/>
                <a:gd name="T43" fmla="*/ 252 h 894"/>
                <a:gd name="T44" fmla="*/ 8 w 856"/>
                <a:gd name="T45" fmla="*/ 297 h 894"/>
                <a:gd name="T46" fmla="*/ 15 w 856"/>
                <a:gd name="T47" fmla="*/ 351 h 894"/>
                <a:gd name="T48" fmla="*/ 31 w 856"/>
                <a:gd name="T49" fmla="*/ 458 h 894"/>
                <a:gd name="T50" fmla="*/ 31 w 856"/>
                <a:gd name="T51" fmla="*/ 458 h 894"/>
                <a:gd name="T52" fmla="*/ 107 w 856"/>
                <a:gd name="T53" fmla="*/ 412 h 894"/>
                <a:gd name="T54" fmla="*/ 130 w 856"/>
                <a:gd name="T55" fmla="*/ 450 h 894"/>
                <a:gd name="T56" fmla="*/ 161 w 856"/>
                <a:gd name="T57" fmla="*/ 443 h 894"/>
                <a:gd name="T58" fmla="*/ 183 w 856"/>
                <a:gd name="T59" fmla="*/ 488 h 894"/>
                <a:gd name="T60" fmla="*/ 252 w 856"/>
                <a:gd name="T61" fmla="*/ 466 h 894"/>
                <a:gd name="T62" fmla="*/ 313 w 856"/>
                <a:gd name="T63" fmla="*/ 511 h 894"/>
                <a:gd name="T64" fmla="*/ 328 w 856"/>
                <a:gd name="T65" fmla="*/ 550 h 894"/>
                <a:gd name="T66" fmla="*/ 405 w 856"/>
                <a:gd name="T67" fmla="*/ 542 h 894"/>
                <a:gd name="T68" fmla="*/ 451 w 856"/>
                <a:gd name="T69" fmla="*/ 519 h 894"/>
                <a:gd name="T70" fmla="*/ 481 w 856"/>
                <a:gd name="T71" fmla="*/ 511 h 894"/>
                <a:gd name="T72" fmla="*/ 481 w 856"/>
                <a:gd name="T73" fmla="*/ 626 h 894"/>
                <a:gd name="T74" fmla="*/ 512 w 856"/>
                <a:gd name="T75" fmla="*/ 695 h 894"/>
                <a:gd name="T76" fmla="*/ 550 w 856"/>
                <a:gd name="T77" fmla="*/ 756 h 894"/>
                <a:gd name="T78" fmla="*/ 550 w 856"/>
                <a:gd name="T79" fmla="*/ 756 h 894"/>
                <a:gd name="T80" fmla="*/ 588 w 856"/>
                <a:gd name="T81" fmla="*/ 756 h 894"/>
                <a:gd name="T82" fmla="*/ 626 w 856"/>
                <a:gd name="T83" fmla="*/ 870 h 894"/>
                <a:gd name="T84" fmla="*/ 688 w 856"/>
                <a:gd name="T85" fmla="*/ 893 h 894"/>
                <a:gd name="T86" fmla="*/ 688 w 856"/>
                <a:gd name="T87" fmla="*/ 893 h 894"/>
                <a:gd name="T88" fmla="*/ 741 w 856"/>
                <a:gd name="T89" fmla="*/ 817 h 894"/>
                <a:gd name="T90" fmla="*/ 802 w 856"/>
                <a:gd name="T91" fmla="*/ 756 h 894"/>
                <a:gd name="T92" fmla="*/ 855 w 856"/>
                <a:gd name="T93" fmla="*/ 718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56" h="894">
                  <a:moveTo>
                    <a:pt x="504" y="68"/>
                  </a:moveTo>
                  <a:lnTo>
                    <a:pt x="504" y="68"/>
                  </a:lnTo>
                  <a:cubicBezTo>
                    <a:pt x="458" y="53"/>
                    <a:pt x="420" y="68"/>
                    <a:pt x="374" y="68"/>
                  </a:cubicBezTo>
                  <a:cubicBezTo>
                    <a:pt x="374" y="53"/>
                    <a:pt x="397" y="38"/>
                    <a:pt x="405" y="30"/>
                  </a:cubicBezTo>
                  <a:cubicBezTo>
                    <a:pt x="413" y="23"/>
                    <a:pt x="420" y="0"/>
                    <a:pt x="436" y="7"/>
                  </a:cubicBezTo>
                  <a:cubicBezTo>
                    <a:pt x="474" y="23"/>
                    <a:pt x="512" y="38"/>
                    <a:pt x="558" y="38"/>
                  </a:cubicBezTo>
                  <a:lnTo>
                    <a:pt x="558" y="38"/>
                  </a:lnTo>
                  <a:cubicBezTo>
                    <a:pt x="558" y="53"/>
                    <a:pt x="542" y="68"/>
                    <a:pt x="542" y="91"/>
                  </a:cubicBezTo>
                  <a:cubicBezTo>
                    <a:pt x="535" y="106"/>
                    <a:pt x="535" y="129"/>
                    <a:pt x="527" y="145"/>
                  </a:cubicBezTo>
                  <a:cubicBezTo>
                    <a:pt x="519" y="160"/>
                    <a:pt x="512" y="160"/>
                    <a:pt x="512" y="145"/>
                  </a:cubicBezTo>
                  <a:cubicBezTo>
                    <a:pt x="504" y="129"/>
                    <a:pt x="512" y="106"/>
                    <a:pt x="519" y="91"/>
                  </a:cubicBezTo>
                  <a:cubicBezTo>
                    <a:pt x="504" y="68"/>
                    <a:pt x="504" y="68"/>
                    <a:pt x="504" y="68"/>
                  </a:cubicBezTo>
                  <a:close/>
                  <a:moveTo>
                    <a:pt x="855" y="718"/>
                  </a:moveTo>
                  <a:lnTo>
                    <a:pt x="855" y="718"/>
                  </a:lnTo>
                  <a:cubicBezTo>
                    <a:pt x="833" y="710"/>
                    <a:pt x="802" y="710"/>
                    <a:pt x="787" y="702"/>
                  </a:cubicBezTo>
                  <a:cubicBezTo>
                    <a:pt x="710" y="695"/>
                    <a:pt x="749" y="649"/>
                    <a:pt x="764" y="588"/>
                  </a:cubicBezTo>
                  <a:cubicBezTo>
                    <a:pt x="817" y="420"/>
                    <a:pt x="764" y="381"/>
                    <a:pt x="634" y="282"/>
                  </a:cubicBezTo>
                  <a:cubicBezTo>
                    <a:pt x="550" y="221"/>
                    <a:pt x="512" y="236"/>
                    <a:pt x="405" y="236"/>
                  </a:cubicBezTo>
                  <a:cubicBezTo>
                    <a:pt x="367" y="236"/>
                    <a:pt x="321" y="206"/>
                    <a:pt x="283" y="206"/>
                  </a:cubicBezTo>
                  <a:cubicBezTo>
                    <a:pt x="229" y="206"/>
                    <a:pt x="168" y="244"/>
                    <a:pt x="122" y="191"/>
                  </a:cubicBezTo>
                  <a:cubicBezTo>
                    <a:pt x="92" y="160"/>
                    <a:pt x="8" y="206"/>
                    <a:pt x="8" y="252"/>
                  </a:cubicBezTo>
                  <a:lnTo>
                    <a:pt x="8" y="252"/>
                  </a:lnTo>
                  <a:cubicBezTo>
                    <a:pt x="8" y="275"/>
                    <a:pt x="0" y="275"/>
                    <a:pt x="8" y="297"/>
                  </a:cubicBezTo>
                  <a:cubicBezTo>
                    <a:pt x="8" y="313"/>
                    <a:pt x="15" y="336"/>
                    <a:pt x="15" y="351"/>
                  </a:cubicBezTo>
                  <a:cubicBezTo>
                    <a:pt x="23" y="389"/>
                    <a:pt x="23" y="420"/>
                    <a:pt x="31" y="458"/>
                  </a:cubicBezTo>
                  <a:lnTo>
                    <a:pt x="31" y="458"/>
                  </a:lnTo>
                  <a:cubicBezTo>
                    <a:pt x="53" y="443"/>
                    <a:pt x="76" y="412"/>
                    <a:pt x="107" y="412"/>
                  </a:cubicBezTo>
                  <a:cubicBezTo>
                    <a:pt x="122" y="412"/>
                    <a:pt x="122" y="443"/>
                    <a:pt x="130" y="450"/>
                  </a:cubicBezTo>
                  <a:cubicBezTo>
                    <a:pt x="138" y="458"/>
                    <a:pt x="153" y="443"/>
                    <a:pt x="161" y="443"/>
                  </a:cubicBezTo>
                  <a:cubicBezTo>
                    <a:pt x="168" y="458"/>
                    <a:pt x="168" y="481"/>
                    <a:pt x="183" y="488"/>
                  </a:cubicBezTo>
                  <a:cubicBezTo>
                    <a:pt x="206" y="488"/>
                    <a:pt x="229" y="458"/>
                    <a:pt x="252" y="466"/>
                  </a:cubicBezTo>
                  <a:cubicBezTo>
                    <a:pt x="275" y="473"/>
                    <a:pt x="298" y="496"/>
                    <a:pt x="313" y="511"/>
                  </a:cubicBezTo>
                  <a:cubicBezTo>
                    <a:pt x="321" y="519"/>
                    <a:pt x="313" y="542"/>
                    <a:pt x="328" y="550"/>
                  </a:cubicBezTo>
                  <a:cubicBezTo>
                    <a:pt x="351" y="557"/>
                    <a:pt x="374" y="550"/>
                    <a:pt x="405" y="542"/>
                  </a:cubicBezTo>
                  <a:cubicBezTo>
                    <a:pt x="420" y="534"/>
                    <a:pt x="436" y="527"/>
                    <a:pt x="451" y="519"/>
                  </a:cubicBezTo>
                  <a:cubicBezTo>
                    <a:pt x="458" y="519"/>
                    <a:pt x="481" y="496"/>
                    <a:pt x="481" y="511"/>
                  </a:cubicBezTo>
                  <a:cubicBezTo>
                    <a:pt x="497" y="550"/>
                    <a:pt x="481" y="588"/>
                    <a:pt x="481" y="626"/>
                  </a:cubicBezTo>
                  <a:cubicBezTo>
                    <a:pt x="489" y="649"/>
                    <a:pt x="504" y="672"/>
                    <a:pt x="512" y="695"/>
                  </a:cubicBezTo>
                  <a:cubicBezTo>
                    <a:pt x="519" y="718"/>
                    <a:pt x="535" y="733"/>
                    <a:pt x="550" y="756"/>
                  </a:cubicBezTo>
                  <a:lnTo>
                    <a:pt x="550" y="756"/>
                  </a:lnTo>
                  <a:cubicBezTo>
                    <a:pt x="558" y="756"/>
                    <a:pt x="580" y="748"/>
                    <a:pt x="588" y="756"/>
                  </a:cubicBezTo>
                  <a:cubicBezTo>
                    <a:pt x="611" y="786"/>
                    <a:pt x="603" y="840"/>
                    <a:pt x="626" y="870"/>
                  </a:cubicBezTo>
                  <a:cubicBezTo>
                    <a:pt x="642" y="886"/>
                    <a:pt x="665" y="886"/>
                    <a:pt x="688" y="893"/>
                  </a:cubicBezTo>
                  <a:lnTo>
                    <a:pt x="688" y="893"/>
                  </a:lnTo>
                  <a:cubicBezTo>
                    <a:pt x="703" y="870"/>
                    <a:pt x="718" y="840"/>
                    <a:pt x="741" y="817"/>
                  </a:cubicBezTo>
                  <a:cubicBezTo>
                    <a:pt x="756" y="794"/>
                    <a:pt x="779" y="779"/>
                    <a:pt x="802" y="756"/>
                  </a:cubicBezTo>
                  <a:cubicBezTo>
                    <a:pt x="833" y="733"/>
                    <a:pt x="825" y="748"/>
                    <a:pt x="855" y="718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67" name="Freeform 189"/>
            <p:cNvSpPr>
              <a:spLocks noChangeArrowheads="1"/>
            </p:cNvSpPr>
            <p:nvPr/>
          </p:nvSpPr>
          <p:spPr bwMode="auto">
            <a:xfrm>
              <a:off x="4911406" y="4779964"/>
              <a:ext cx="536540" cy="473075"/>
            </a:xfrm>
            <a:custGeom>
              <a:avLst/>
              <a:gdLst>
                <a:gd name="T0" fmla="*/ 191 w 1490"/>
                <a:gd name="T1" fmla="*/ 1276 h 1315"/>
                <a:gd name="T2" fmla="*/ 114 w 1490"/>
                <a:gd name="T3" fmla="*/ 1230 h 1315"/>
                <a:gd name="T4" fmla="*/ 76 w 1490"/>
                <a:gd name="T5" fmla="*/ 1024 h 1315"/>
                <a:gd name="T6" fmla="*/ 69 w 1490"/>
                <a:gd name="T7" fmla="*/ 673 h 1315"/>
                <a:gd name="T8" fmla="*/ 359 w 1490"/>
                <a:gd name="T9" fmla="*/ 657 h 1315"/>
                <a:gd name="T10" fmla="*/ 435 w 1490"/>
                <a:gd name="T11" fmla="*/ 1016 h 1315"/>
                <a:gd name="T12" fmla="*/ 466 w 1490"/>
                <a:gd name="T13" fmla="*/ 1177 h 1315"/>
                <a:gd name="T14" fmla="*/ 374 w 1490"/>
                <a:gd name="T15" fmla="*/ 1299 h 1315"/>
                <a:gd name="T16" fmla="*/ 191 w 1490"/>
                <a:gd name="T17" fmla="*/ 1276 h 1315"/>
                <a:gd name="T18" fmla="*/ 710 w 1490"/>
                <a:gd name="T19" fmla="*/ 421 h 1315"/>
                <a:gd name="T20" fmla="*/ 741 w 1490"/>
                <a:gd name="T21" fmla="*/ 344 h 1315"/>
                <a:gd name="T22" fmla="*/ 786 w 1490"/>
                <a:gd name="T23" fmla="*/ 367 h 1315"/>
                <a:gd name="T24" fmla="*/ 771 w 1490"/>
                <a:gd name="T25" fmla="*/ 405 h 1315"/>
                <a:gd name="T26" fmla="*/ 733 w 1490"/>
                <a:gd name="T27" fmla="*/ 436 h 1315"/>
                <a:gd name="T28" fmla="*/ 710 w 1490"/>
                <a:gd name="T29" fmla="*/ 421 h 1315"/>
                <a:gd name="T30" fmla="*/ 809 w 1490"/>
                <a:gd name="T31" fmla="*/ 38 h 1315"/>
                <a:gd name="T32" fmla="*/ 809 w 1490"/>
                <a:gd name="T33" fmla="*/ 199 h 1315"/>
                <a:gd name="T34" fmla="*/ 786 w 1490"/>
                <a:gd name="T35" fmla="*/ 474 h 1315"/>
                <a:gd name="T36" fmla="*/ 909 w 1490"/>
                <a:gd name="T37" fmla="*/ 757 h 1315"/>
                <a:gd name="T38" fmla="*/ 1122 w 1490"/>
                <a:gd name="T39" fmla="*/ 886 h 1315"/>
                <a:gd name="T40" fmla="*/ 1260 w 1490"/>
                <a:gd name="T41" fmla="*/ 886 h 1315"/>
                <a:gd name="T42" fmla="*/ 1344 w 1490"/>
                <a:gd name="T43" fmla="*/ 802 h 1315"/>
                <a:gd name="T44" fmla="*/ 1352 w 1490"/>
                <a:gd name="T45" fmla="*/ 757 h 1315"/>
                <a:gd name="T46" fmla="*/ 1397 w 1490"/>
                <a:gd name="T47" fmla="*/ 680 h 1315"/>
                <a:gd name="T48" fmla="*/ 1482 w 1490"/>
                <a:gd name="T49" fmla="*/ 634 h 1315"/>
                <a:gd name="T50" fmla="*/ 1405 w 1490"/>
                <a:gd name="T51" fmla="*/ 627 h 1315"/>
                <a:gd name="T52" fmla="*/ 1298 w 1490"/>
                <a:gd name="T53" fmla="*/ 642 h 1315"/>
                <a:gd name="T54" fmla="*/ 1321 w 1490"/>
                <a:gd name="T55" fmla="*/ 573 h 1315"/>
                <a:gd name="T56" fmla="*/ 1428 w 1490"/>
                <a:gd name="T57" fmla="*/ 413 h 1315"/>
                <a:gd name="T58" fmla="*/ 1375 w 1490"/>
                <a:gd name="T59" fmla="*/ 321 h 1315"/>
                <a:gd name="T60" fmla="*/ 1260 w 1490"/>
                <a:gd name="T61" fmla="*/ 329 h 1315"/>
                <a:gd name="T62" fmla="*/ 1214 w 1490"/>
                <a:gd name="T63" fmla="*/ 291 h 1315"/>
                <a:gd name="T64" fmla="*/ 1138 w 1490"/>
                <a:gd name="T65" fmla="*/ 237 h 1315"/>
                <a:gd name="T66" fmla="*/ 1046 w 1490"/>
                <a:gd name="T67" fmla="*/ 146 h 1315"/>
                <a:gd name="T68" fmla="*/ 1092 w 1490"/>
                <a:gd name="T69" fmla="*/ 115 h 1315"/>
                <a:gd name="T70" fmla="*/ 1031 w 1490"/>
                <a:gd name="T71" fmla="*/ 54 h 1315"/>
                <a:gd name="T72" fmla="*/ 970 w 1490"/>
                <a:gd name="T73" fmla="*/ 38 h 1315"/>
                <a:gd name="T74" fmla="*/ 809 w 1490"/>
                <a:gd name="T75" fmla="*/ 38 h 1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90" h="1315">
                  <a:moveTo>
                    <a:pt x="191" y="1276"/>
                  </a:moveTo>
                  <a:lnTo>
                    <a:pt x="191" y="1276"/>
                  </a:lnTo>
                  <a:cubicBezTo>
                    <a:pt x="175" y="1268"/>
                    <a:pt x="137" y="1245"/>
                    <a:pt x="122" y="1238"/>
                  </a:cubicBezTo>
                  <a:cubicBezTo>
                    <a:pt x="114" y="1230"/>
                    <a:pt x="114" y="1238"/>
                    <a:pt x="114" y="1230"/>
                  </a:cubicBezTo>
                  <a:cubicBezTo>
                    <a:pt x="107" y="1222"/>
                    <a:pt x="107" y="1154"/>
                    <a:pt x="107" y="1138"/>
                  </a:cubicBezTo>
                  <a:cubicBezTo>
                    <a:pt x="53" y="1115"/>
                    <a:pt x="76" y="1062"/>
                    <a:pt x="76" y="1024"/>
                  </a:cubicBezTo>
                  <a:cubicBezTo>
                    <a:pt x="76" y="970"/>
                    <a:pt x="76" y="940"/>
                    <a:pt x="53" y="894"/>
                  </a:cubicBezTo>
                  <a:cubicBezTo>
                    <a:pt x="0" y="802"/>
                    <a:pt x="0" y="764"/>
                    <a:pt x="69" y="673"/>
                  </a:cubicBezTo>
                  <a:cubicBezTo>
                    <a:pt x="107" y="611"/>
                    <a:pt x="145" y="581"/>
                    <a:pt x="183" y="527"/>
                  </a:cubicBezTo>
                  <a:cubicBezTo>
                    <a:pt x="267" y="428"/>
                    <a:pt x="313" y="588"/>
                    <a:pt x="359" y="657"/>
                  </a:cubicBezTo>
                  <a:cubicBezTo>
                    <a:pt x="412" y="734"/>
                    <a:pt x="366" y="818"/>
                    <a:pt x="382" y="894"/>
                  </a:cubicBezTo>
                  <a:cubicBezTo>
                    <a:pt x="450" y="917"/>
                    <a:pt x="473" y="955"/>
                    <a:pt x="435" y="1016"/>
                  </a:cubicBezTo>
                  <a:cubicBezTo>
                    <a:pt x="382" y="1093"/>
                    <a:pt x="443" y="1054"/>
                    <a:pt x="473" y="1100"/>
                  </a:cubicBezTo>
                  <a:cubicBezTo>
                    <a:pt x="481" y="1108"/>
                    <a:pt x="458" y="1154"/>
                    <a:pt x="466" y="1177"/>
                  </a:cubicBezTo>
                  <a:cubicBezTo>
                    <a:pt x="473" y="1192"/>
                    <a:pt x="511" y="1291"/>
                    <a:pt x="450" y="1276"/>
                  </a:cubicBezTo>
                  <a:cubicBezTo>
                    <a:pt x="405" y="1268"/>
                    <a:pt x="412" y="1284"/>
                    <a:pt x="374" y="1299"/>
                  </a:cubicBezTo>
                  <a:cubicBezTo>
                    <a:pt x="321" y="1314"/>
                    <a:pt x="328" y="1307"/>
                    <a:pt x="275" y="1307"/>
                  </a:cubicBezTo>
                  <a:cubicBezTo>
                    <a:pt x="191" y="1276"/>
                    <a:pt x="191" y="1276"/>
                    <a:pt x="191" y="1276"/>
                  </a:cubicBezTo>
                  <a:close/>
                  <a:moveTo>
                    <a:pt x="710" y="421"/>
                  </a:moveTo>
                  <a:lnTo>
                    <a:pt x="710" y="421"/>
                  </a:lnTo>
                  <a:cubicBezTo>
                    <a:pt x="710" y="405"/>
                    <a:pt x="718" y="390"/>
                    <a:pt x="725" y="382"/>
                  </a:cubicBezTo>
                  <a:cubicBezTo>
                    <a:pt x="725" y="367"/>
                    <a:pt x="733" y="352"/>
                    <a:pt x="741" y="344"/>
                  </a:cubicBezTo>
                  <a:cubicBezTo>
                    <a:pt x="748" y="329"/>
                    <a:pt x="764" y="306"/>
                    <a:pt x="779" y="321"/>
                  </a:cubicBezTo>
                  <a:cubicBezTo>
                    <a:pt x="786" y="336"/>
                    <a:pt x="786" y="352"/>
                    <a:pt x="786" y="367"/>
                  </a:cubicBezTo>
                  <a:cubicBezTo>
                    <a:pt x="794" y="375"/>
                    <a:pt x="794" y="390"/>
                    <a:pt x="794" y="398"/>
                  </a:cubicBezTo>
                  <a:cubicBezTo>
                    <a:pt x="786" y="398"/>
                    <a:pt x="779" y="405"/>
                    <a:pt x="771" y="405"/>
                  </a:cubicBezTo>
                  <a:cubicBezTo>
                    <a:pt x="764" y="413"/>
                    <a:pt x="756" y="421"/>
                    <a:pt x="748" y="428"/>
                  </a:cubicBezTo>
                  <a:cubicBezTo>
                    <a:pt x="748" y="436"/>
                    <a:pt x="741" y="436"/>
                    <a:pt x="733" y="436"/>
                  </a:cubicBezTo>
                  <a:cubicBezTo>
                    <a:pt x="725" y="443"/>
                    <a:pt x="725" y="451"/>
                    <a:pt x="718" y="459"/>
                  </a:cubicBezTo>
                  <a:cubicBezTo>
                    <a:pt x="710" y="421"/>
                    <a:pt x="710" y="421"/>
                    <a:pt x="710" y="421"/>
                  </a:cubicBezTo>
                  <a:close/>
                  <a:moveTo>
                    <a:pt x="809" y="38"/>
                  </a:moveTo>
                  <a:lnTo>
                    <a:pt x="809" y="38"/>
                  </a:lnTo>
                  <a:lnTo>
                    <a:pt x="809" y="38"/>
                  </a:lnTo>
                  <a:cubicBezTo>
                    <a:pt x="802" y="92"/>
                    <a:pt x="802" y="146"/>
                    <a:pt x="809" y="199"/>
                  </a:cubicBezTo>
                  <a:cubicBezTo>
                    <a:pt x="840" y="390"/>
                    <a:pt x="840" y="390"/>
                    <a:pt x="840" y="390"/>
                  </a:cubicBezTo>
                  <a:cubicBezTo>
                    <a:pt x="847" y="428"/>
                    <a:pt x="809" y="451"/>
                    <a:pt x="786" y="474"/>
                  </a:cubicBezTo>
                  <a:cubicBezTo>
                    <a:pt x="764" y="505"/>
                    <a:pt x="779" y="588"/>
                    <a:pt x="809" y="604"/>
                  </a:cubicBezTo>
                  <a:cubicBezTo>
                    <a:pt x="863" y="634"/>
                    <a:pt x="901" y="703"/>
                    <a:pt x="909" y="757"/>
                  </a:cubicBezTo>
                  <a:cubicBezTo>
                    <a:pt x="985" y="772"/>
                    <a:pt x="1084" y="810"/>
                    <a:pt x="1122" y="886"/>
                  </a:cubicBezTo>
                  <a:lnTo>
                    <a:pt x="1122" y="886"/>
                  </a:lnTo>
                  <a:cubicBezTo>
                    <a:pt x="1138" y="894"/>
                    <a:pt x="1184" y="902"/>
                    <a:pt x="1199" y="902"/>
                  </a:cubicBezTo>
                  <a:cubicBezTo>
                    <a:pt x="1222" y="902"/>
                    <a:pt x="1237" y="894"/>
                    <a:pt x="1260" y="886"/>
                  </a:cubicBezTo>
                  <a:cubicBezTo>
                    <a:pt x="1291" y="863"/>
                    <a:pt x="1314" y="833"/>
                    <a:pt x="1344" y="802"/>
                  </a:cubicBezTo>
                  <a:lnTo>
                    <a:pt x="1344" y="802"/>
                  </a:lnTo>
                  <a:cubicBezTo>
                    <a:pt x="1352" y="757"/>
                    <a:pt x="1352" y="757"/>
                    <a:pt x="1352" y="757"/>
                  </a:cubicBezTo>
                  <a:lnTo>
                    <a:pt x="1352" y="757"/>
                  </a:lnTo>
                  <a:cubicBezTo>
                    <a:pt x="1359" y="749"/>
                    <a:pt x="1375" y="741"/>
                    <a:pt x="1375" y="734"/>
                  </a:cubicBezTo>
                  <a:cubicBezTo>
                    <a:pt x="1390" y="718"/>
                    <a:pt x="1382" y="695"/>
                    <a:pt x="1397" y="680"/>
                  </a:cubicBezTo>
                  <a:cubicBezTo>
                    <a:pt x="1420" y="665"/>
                    <a:pt x="1459" y="673"/>
                    <a:pt x="1482" y="657"/>
                  </a:cubicBezTo>
                  <a:cubicBezTo>
                    <a:pt x="1489" y="650"/>
                    <a:pt x="1489" y="634"/>
                    <a:pt x="1482" y="634"/>
                  </a:cubicBezTo>
                  <a:cubicBezTo>
                    <a:pt x="1466" y="627"/>
                    <a:pt x="1451" y="642"/>
                    <a:pt x="1436" y="642"/>
                  </a:cubicBezTo>
                  <a:cubicBezTo>
                    <a:pt x="1428" y="634"/>
                    <a:pt x="1420" y="619"/>
                    <a:pt x="1405" y="627"/>
                  </a:cubicBezTo>
                  <a:cubicBezTo>
                    <a:pt x="1382" y="634"/>
                    <a:pt x="1367" y="680"/>
                    <a:pt x="1336" y="680"/>
                  </a:cubicBezTo>
                  <a:cubicBezTo>
                    <a:pt x="1321" y="680"/>
                    <a:pt x="1306" y="650"/>
                    <a:pt x="1298" y="642"/>
                  </a:cubicBezTo>
                  <a:cubicBezTo>
                    <a:pt x="1291" y="627"/>
                    <a:pt x="1268" y="619"/>
                    <a:pt x="1275" y="611"/>
                  </a:cubicBezTo>
                  <a:cubicBezTo>
                    <a:pt x="1283" y="596"/>
                    <a:pt x="1306" y="588"/>
                    <a:pt x="1321" y="573"/>
                  </a:cubicBezTo>
                  <a:cubicBezTo>
                    <a:pt x="1344" y="543"/>
                    <a:pt x="1359" y="497"/>
                    <a:pt x="1382" y="466"/>
                  </a:cubicBezTo>
                  <a:cubicBezTo>
                    <a:pt x="1397" y="443"/>
                    <a:pt x="1413" y="428"/>
                    <a:pt x="1428" y="413"/>
                  </a:cubicBezTo>
                  <a:cubicBezTo>
                    <a:pt x="1397" y="352"/>
                    <a:pt x="1397" y="352"/>
                    <a:pt x="1397" y="352"/>
                  </a:cubicBezTo>
                  <a:cubicBezTo>
                    <a:pt x="1390" y="336"/>
                    <a:pt x="1382" y="321"/>
                    <a:pt x="1375" y="321"/>
                  </a:cubicBezTo>
                  <a:cubicBezTo>
                    <a:pt x="1344" y="321"/>
                    <a:pt x="1329" y="359"/>
                    <a:pt x="1306" y="367"/>
                  </a:cubicBezTo>
                  <a:cubicBezTo>
                    <a:pt x="1283" y="367"/>
                    <a:pt x="1275" y="329"/>
                    <a:pt x="1260" y="329"/>
                  </a:cubicBezTo>
                  <a:cubicBezTo>
                    <a:pt x="1245" y="329"/>
                    <a:pt x="1245" y="359"/>
                    <a:pt x="1230" y="352"/>
                  </a:cubicBezTo>
                  <a:cubicBezTo>
                    <a:pt x="1214" y="344"/>
                    <a:pt x="1230" y="313"/>
                    <a:pt x="1214" y="291"/>
                  </a:cubicBezTo>
                  <a:cubicBezTo>
                    <a:pt x="1207" y="275"/>
                    <a:pt x="1199" y="260"/>
                    <a:pt x="1184" y="252"/>
                  </a:cubicBezTo>
                  <a:cubicBezTo>
                    <a:pt x="1168" y="245"/>
                    <a:pt x="1153" y="252"/>
                    <a:pt x="1138" y="237"/>
                  </a:cubicBezTo>
                  <a:cubicBezTo>
                    <a:pt x="1130" y="230"/>
                    <a:pt x="1145" y="214"/>
                    <a:pt x="1130" y="207"/>
                  </a:cubicBezTo>
                  <a:cubicBezTo>
                    <a:pt x="1107" y="184"/>
                    <a:pt x="1061" y="176"/>
                    <a:pt x="1046" y="146"/>
                  </a:cubicBezTo>
                  <a:cubicBezTo>
                    <a:pt x="1039" y="130"/>
                    <a:pt x="1077" y="123"/>
                    <a:pt x="1092" y="115"/>
                  </a:cubicBezTo>
                  <a:lnTo>
                    <a:pt x="1092" y="115"/>
                  </a:lnTo>
                  <a:cubicBezTo>
                    <a:pt x="1084" y="100"/>
                    <a:pt x="1077" y="84"/>
                    <a:pt x="1069" y="77"/>
                  </a:cubicBezTo>
                  <a:cubicBezTo>
                    <a:pt x="1061" y="69"/>
                    <a:pt x="1046" y="69"/>
                    <a:pt x="1031" y="54"/>
                  </a:cubicBezTo>
                  <a:cubicBezTo>
                    <a:pt x="1023" y="38"/>
                    <a:pt x="1031" y="8"/>
                    <a:pt x="1016" y="0"/>
                  </a:cubicBezTo>
                  <a:cubicBezTo>
                    <a:pt x="993" y="0"/>
                    <a:pt x="993" y="31"/>
                    <a:pt x="970" y="38"/>
                  </a:cubicBezTo>
                  <a:cubicBezTo>
                    <a:pt x="955" y="46"/>
                    <a:pt x="932" y="54"/>
                    <a:pt x="916" y="54"/>
                  </a:cubicBezTo>
                  <a:cubicBezTo>
                    <a:pt x="878" y="54"/>
                    <a:pt x="847" y="38"/>
                    <a:pt x="809" y="38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68" name="Freeform 190"/>
            <p:cNvSpPr>
              <a:spLocks noChangeArrowheads="1"/>
            </p:cNvSpPr>
            <p:nvPr/>
          </p:nvSpPr>
          <p:spPr bwMode="auto">
            <a:xfrm>
              <a:off x="4003415" y="3975100"/>
              <a:ext cx="1395322" cy="1430338"/>
            </a:xfrm>
            <a:custGeom>
              <a:avLst/>
              <a:gdLst>
                <a:gd name="T0" fmla="*/ 2826 w 3874"/>
                <a:gd name="T1" fmla="*/ 2276 h 3973"/>
                <a:gd name="T2" fmla="*/ 3124 w 3874"/>
                <a:gd name="T3" fmla="*/ 2620 h 3973"/>
                <a:gd name="T4" fmla="*/ 1940 w 3874"/>
                <a:gd name="T5" fmla="*/ 2849 h 3973"/>
                <a:gd name="T6" fmla="*/ 1971 w 3874"/>
                <a:gd name="T7" fmla="*/ 2903 h 3973"/>
                <a:gd name="T8" fmla="*/ 810 w 3874"/>
                <a:gd name="T9" fmla="*/ 2559 h 3973"/>
                <a:gd name="T10" fmla="*/ 1230 w 3874"/>
                <a:gd name="T11" fmla="*/ 2208 h 3973"/>
                <a:gd name="T12" fmla="*/ 1268 w 3874"/>
                <a:gd name="T13" fmla="*/ 3002 h 3973"/>
                <a:gd name="T14" fmla="*/ 1115 w 3874"/>
                <a:gd name="T15" fmla="*/ 2590 h 3973"/>
                <a:gd name="T16" fmla="*/ 1635 w 3874"/>
                <a:gd name="T17" fmla="*/ 2513 h 3973"/>
                <a:gd name="T18" fmla="*/ 1879 w 3874"/>
                <a:gd name="T19" fmla="*/ 1673 h 3973"/>
                <a:gd name="T20" fmla="*/ 1131 w 3874"/>
                <a:gd name="T21" fmla="*/ 1902 h 3973"/>
                <a:gd name="T22" fmla="*/ 1978 w 3874"/>
                <a:gd name="T23" fmla="*/ 1482 h 3973"/>
                <a:gd name="T24" fmla="*/ 2047 w 3874"/>
                <a:gd name="T25" fmla="*/ 1497 h 3973"/>
                <a:gd name="T26" fmla="*/ 23 w 3874"/>
                <a:gd name="T27" fmla="*/ 512 h 3973"/>
                <a:gd name="T28" fmla="*/ 298 w 3874"/>
                <a:gd name="T29" fmla="*/ 527 h 3973"/>
                <a:gd name="T30" fmla="*/ 23 w 3874"/>
                <a:gd name="T31" fmla="*/ 696 h 3973"/>
                <a:gd name="T32" fmla="*/ 741 w 3874"/>
                <a:gd name="T33" fmla="*/ 61 h 3973"/>
                <a:gd name="T34" fmla="*/ 466 w 3874"/>
                <a:gd name="T35" fmla="*/ 352 h 3973"/>
                <a:gd name="T36" fmla="*/ 1742 w 3874"/>
                <a:gd name="T37" fmla="*/ 1077 h 3973"/>
                <a:gd name="T38" fmla="*/ 2101 w 3874"/>
                <a:gd name="T39" fmla="*/ 779 h 3973"/>
                <a:gd name="T40" fmla="*/ 1230 w 3874"/>
                <a:gd name="T41" fmla="*/ 283 h 3973"/>
                <a:gd name="T42" fmla="*/ 1100 w 3874"/>
                <a:gd name="T43" fmla="*/ 466 h 3973"/>
                <a:gd name="T44" fmla="*/ 1337 w 3874"/>
                <a:gd name="T45" fmla="*/ 581 h 3973"/>
                <a:gd name="T46" fmla="*/ 1558 w 3874"/>
                <a:gd name="T47" fmla="*/ 863 h 3973"/>
                <a:gd name="T48" fmla="*/ 1046 w 3874"/>
                <a:gd name="T49" fmla="*/ 1169 h 3973"/>
                <a:gd name="T50" fmla="*/ 1551 w 3874"/>
                <a:gd name="T51" fmla="*/ 1093 h 3973"/>
                <a:gd name="T52" fmla="*/ 917 w 3874"/>
                <a:gd name="T53" fmla="*/ 1093 h 3973"/>
                <a:gd name="T54" fmla="*/ 1283 w 3874"/>
                <a:gd name="T55" fmla="*/ 588 h 3973"/>
                <a:gd name="T56" fmla="*/ 1161 w 3874"/>
                <a:gd name="T57" fmla="*/ 573 h 3973"/>
                <a:gd name="T58" fmla="*/ 2307 w 3874"/>
                <a:gd name="T59" fmla="*/ 527 h 3973"/>
                <a:gd name="T60" fmla="*/ 2223 w 3874"/>
                <a:gd name="T61" fmla="*/ 650 h 3973"/>
                <a:gd name="T62" fmla="*/ 2505 w 3874"/>
                <a:gd name="T63" fmla="*/ 482 h 3973"/>
                <a:gd name="T64" fmla="*/ 2276 w 3874"/>
                <a:gd name="T65" fmla="*/ 818 h 3973"/>
                <a:gd name="T66" fmla="*/ 2131 w 3874"/>
                <a:gd name="T67" fmla="*/ 1429 h 3973"/>
                <a:gd name="T68" fmla="*/ 2200 w 3874"/>
                <a:gd name="T69" fmla="*/ 1597 h 3973"/>
                <a:gd name="T70" fmla="*/ 2040 w 3874"/>
                <a:gd name="T71" fmla="*/ 2139 h 3973"/>
                <a:gd name="T72" fmla="*/ 2139 w 3874"/>
                <a:gd name="T73" fmla="*/ 2811 h 3973"/>
                <a:gd name="T74" fmla="*/ 2047 w 3874"/>
                <a:gd name="T75" fmla="*/ 3934 h 3973"/>
                <a:gd name="T76" fmla="*/ 2345 w 3874"/>
                <a:gd name="T77" fmla="*/ 3392 h 3973"/>
                <a:gd name="T78" fmla="*/ 2482 w 3874"/>
                <a:gd name="T79" fmla="*/ 2246 h 3973"/>
                <a:gd name="T80" fmla="*/ 3010 w 3874"/>
                <a:gd name="T81" fmla="*/ 1329 h 3973"/>
                <a:gd name="T82" fmla="*/ 2643 w 3874"/>
                <a:gd name="T83" fmla="*/ 1925 h 3973"/>
                <a:gd name="T84" fmla="*/ 2872 w 3874"/>
                <a:gd name="T85" fmla="*/ 2154 h 3973"/>
                <a:gd name="T86" fmla="*/ 3094 w 3874"/>
                <a:gd name="T87" fmla="*/ 2338 h 3973"/>
                <a:gd name="T88" fmla="*/ 3315 w 3874"/>
                <a:gd name="T89" fmla="*/ 1704 h 3973"/>
                <a:gd name="T90" fmla="*/ 3476 w 3874"/>
                <a:gd name="T91" fmla="*/ 1956 h 3973"/>
                <a:gd name="T92" fmla="*/ 3804 w 3874"/>
                <a:gd name="T93" fmla="*/ 2124 h 3973"/>
                <a:gd name="T94" fmla="*/ 3865 w 3874"/>
                <a:gd name="T95" fmla="*/ 1895 h 3973"/>
                <a:gd name="T96" fmla="*/ 3659 w 3874"/>
                <a:gd name="T97" fmla="*/ 1505 h 3973"/>
                <a:gd name="T98" fmla="*/ 3666 w 3874"/>
                <a:gd name="T99" fmla="*/ 1054 h 3973"/>
                <a:gd name="T100" fmla="*/ 3514 w 3874"/>
                <a:gd name="T101" fmla="*/ 741 h 3973"/>
                <a:gd name="T102" fmla="*/ 3697 w 3874"/>
                <a:gd name="T103" fmla="*/ 634 h 3973"/>
                <a:gd name="T104" fmla="*/ 3842 w 3874"/>
                <a:gd name="T105" fmla="*/ 367 h 3973"/>
                <a:gd name="T106" fmla="*/ 3499 w 3874"/>
                <a:gd name="T107" fmla="*/ 321 h 3973"/>
                <a:gd name="T108" fmla="*/ 3040 w 3874"/>
                <a:gd name="T109" fmla="*/ 474 h 3973"/>
                <a:gd name="T110" fmla="*/ 2979 w 3874"/>
                <a:gd name="T111" fmla="*/ 237 h 3973"/>
                <a:gd name="T112" fmla="*/ 2727 w 3874"/>
                <a:gd name="T113" fmla="*/ 268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74" h="3973">
                  <a:moveTo>
                    <a:pt x="3063" y="2681"/>
                  </a:moveTo>
                  <a:lnTo>
                    <a:pt x="3063" y="2681"/>
                  </a:lnTo>
                  <a:cubicBezTo>
                    <a:pt x="3040" y="2659"/>
                    <a:pt x="3032" y="2620"/>
                    <a:pt x="3010" y="2597"/>
                  </a:cubicBezTo>
                  <a:cubicBezTo>
                    <a:pt x="2994" y="2574"/>
                    <a:pt x="2933" y="2513"/>
                    <a:pt x="2941" y="2483"/>
                  </a:cubicBezTo>
                  <a:cubicBezTo>
                    <a:pt x="2949" y="2406"/>
                    <a:pt x="2926" y="2399"/>
                    <a:pt x="2880" y="2345"/>
                  </a:cubicBezTo>
                  <a:cubicBezTo>
                    <a:pt x="2864" y="2330"/>
                    <a:pt x="2834" y="2292"/>
                    <a:pt x="2826" y="2276"/>
                  </a:cubicBezTo>
                  <a:cubicBezTo>
                    <a:pt x="2826" y="2269"/>
                    <a:pt x="2857" y="2208"/>
                    <a:pt x="2864" y="2208"/>
                  </a:cubicBezTo>
                  <a:lnTo>
                    <a:pt x="2864" y="2208"/>
                  </a:lnTo>
                  <a:cubicBezTo>
                    <a:pt x="2880" y="2208"/>
                    <a:pt x="2994" y="2315"/>
                    <a:pt x="3010" y="2338"/>
                  </a:cubicBezTo>
                  <a:cubicBezTo>
                    <a:pt x="3025" y="2353"/>
                    <a:pt x="3032" y="2376"/>
                    <a:pt x="3040" y="2391"/>
                  </a:cubicBezTo>
                  <a:cubicBezTo>
                    <a:pt x="3048" y="2406"/>
                    <a:pt x="3071" y="2406"/>
                    <a:pt x="3086" y="2422"/>
                  </a:cubicBezTo>
                  <a:cubicBezTo>
                    <a:pt x="3109" y="2437"/>
                    <a:pt x="3139" y="2597"/>
                    <a:pt x="3124" y="2620"/>
                  </a:cubicBezTo>
                  <a:cubicBezTo>
                    <a:pt x="3094" y="2651"/>
                    <a:pt x="3116" y="2659"/>
                    <a:pt x="3139" y="2681"/>
                  </a:cubicBezTo>
                  <a:cubicBezTo>
                    <a:pt x="3170" y="2727"/>
                    <a:pt x="3101" y="2727"/>
                    <a:pt x="3071" y="2720"/>
                  </a:cubicBezTo>
                  <a:cubicBezTo>
                    <a:pt x="3063" y="2681"/>
                    <a:pt x="3063" y="2681"/>
                    <a:pt x="3063" y="2681"/>
                  </a:cubicBezTo>
                  <a:close/>
                  <a:moveTo>
                    <a:pt x="1940" y="2964"/>
                  </a:moveTo>
                  <a:lnTo>
                    <a:pt x="1940" y="2964"/>
                  </a:lnTo>
                  <a:cubicBezTo>
                    <a:pt x="1917" y="2933"/>
                    <a:pt x="1917" y="2880"/>
                    <a:pt x="1940" y="2849"/>
                  </a:cubicBezTo>
                  <a:cubicBezTo>
                    <a:pt x="1948" y="2834"/>
                    <a:pt x="1955" y="2811"/>
                    <a:pt x="1963" y="2796"/>
                  </a:cubicBezTo>
                  <a:cubicBezTo>
                    <a:pt x="1963" y="2788"/>
                    <a:pt x="1963" y="2781"/>
                    <a:pt x="1971" y="2773"/>
                  </a:cubicBezTo>
                  <a:cubicBezTo>
                    <a:pt x="1971" y="2765"/>
                    <a:pt x="1986" y="2750"/>
                    <a:pt x="1986" y="2743"/>
                  </a:cubicBezTo>
                  <a:lnTo>
                    <a:pt x="1986" y="2743"/>
                  </a:lnTo>
                  <a:cubicBezTo>
                    <a:pt x="2001" y="2781"/>
                    <a:pt x="1986" y="2826"/>
                    <a:pt x="1971" y="2865"/>
                  </a:cubicBezTo>
                  <a:cubicBezTo>
                    <a:pt x="1971" y="2880"/>
                    <a:pt x="1971" y="2888"/>
                    <a:pt x="1971" y="2903"/>
                  </a:cubicBezTo>
                  <a:cubicBezTo>
                    <a:pt x="1971" y="2926"/>
                    <a:pt x="1963" y="2941"/>
                    <a:pt x="1963" y="2956"/>
                  </a:cubicBezTo>
                  <a:cubicBezTo>
                    <a:pt x="1940" y="2964"/>
                    <a:pt x="1940" y="2964"/>
                    <a:pt x="1940" y="2964"/>
                  </a:cubicBezTo>
                  <a:close/>
                  <a:moveTo>
                    <a:pt x="749" y="2826"/>
                  </a:moveTo>
                  <a:lnTo>
                    <a:pt x="749" y="2826"/>
                  </a:lnTo>
                  <a:cubicBezTo>
                    <a:pt x="779" y="2804"/>
                    <a:pt x="772" y="2720"/>
                    <a:pt x="810" y="2674"/>
                  </a:cubicBezTo>
                  <a:cubicBezTo>
                    <a:pt x="840" y="2643"/>
                    <a:pt x="886" y="2567"/>
                    <a:pt x="810" y="2559"/>
                  </a:cubicBezTo>
                  <a:cubicBezTo>
                    <a:pt x="810" y="2551"/>
                    <a:pt x="810" y="2551"/>
                    <a:pt x="810" y="2551"/>
                  </a:cubicBezTo>
                  <a:cubicBezTo>
                    <a:pt x="802" y="2551"/>
                    <a:pt x="802" y="2551"/>
                    <a:pt x="802" y="2544"/>
                  </a:cubicBezTo>
                  <a:cubicBezTo>
                    <a:pt x="863" y="2521"/>
                    <a:pt x="833" y="2384"/>
                    <a:pt x="863" y="2376"/>
                  </a:cubicBezTo>
                  <a:cubicBezTo>
                    <a:pt x="917" y="2361"/>
                    <a:pt x="993" y="2361"/>
                    <a:pt x="1016" y="2292"/>
                  </a:cubicBezTo>
                  <a:cubicBezTo>
                    <a:pt x="1046" y="2292"/>
                    <a:pt x="1092" y="2345"/>
                    <a:pt x="1123" y="2315"/>
                  </a:cubicBezTo>
                  <a:cubicBezTo>
                    <a:pt x="1146" y="2292"/>
                    <a:pt x="1207" y="2208"/>
                    <a:pt x="1230" y="2208"/>
                  </a:cubicBezTo>
                  <a:cubicBezTo>
                    <a:pt x="1238" y="2185"/>
                    <a:pt x="1314" y="2162"/>
                    <a:pt x="1337" y="2154"/>
                  </a:cubicBezTo>
                  <a:cubicBezTo>
                    <a:pt x="1390" y="2124"/>
                    <a:pt x="1360" y="2185"/>
                    <a:pt x="1352" y="2223"/>
                  </a:cubicBezTo>
                  <a:cubicBezTo>
                    <a:pt x="1344" y="2246"/>
                    <a:pt x="1375" y="2399"/>
                    <a:pt x="1383" y="2429"/>
                  </a:cubicBezTo>
                  <a:cubicBezTo>
                    <a:pt x="1406" y="2513"/>
                    <a:pt x="1413" y="2551"/>
                    <a:pt x="1467" y="2613"/>
                  </a:cubicBezTo>
                  <a:cubicBezTo>
                    <a:pt x="1490" y="2643"/>
                    <a:pt x="1543" y="2842"/>
                    <a:pt x="1505" y="2872"/>
                  </a:cubicBezTo>
                  <a:cubicBezTo>
                    <a:pt x="1436" y="2941"/>
                    <a:pt x="1383" y="3040"/>
                    <a:pt x="1268" y="3002"/>
                  </a:cubicBezTo>
                  <a:cubicBezTo>
                    <a:pt x="1222" y="2987"/>
                    <a:pt x="1207" y="3086"/>
                    <a:pt x="1184" y="3117"/>
                  </a:cubicBezTo>
                  <a:cubicBezTo>
                    <a:pt x="1092" y="3224"/>
                    <a:pt x="970" y="3056"/>
                    <a:pt x="1054" y="2995"/>
                  </a:cubicBezTo>
                  <a:cubicBezTo>
                    <a:pt x="1085" y="2972"/>
                    <a:pt x="1169" y="2956"/>
                    <a:pt x="1154" y="2911"/>
                  </a:cubicBezTo>
                  <a:cubicBezTo>
                    <a:pt x="1138" y="2872"/>
                    <a:pt x="1108" y="2826"/>
                    <a:pt x="1100" y="2788"/>
                  </a:cubicBezTo>
                  <a:cubicBezTo>
                    <a:pt x="1054" y="2773"/>
                    <a:pt x="1046" y="2735"/>
                    <a:pt x="1062" y="2697"/>
                  </a:cubicBezTo>
                  <a:cubicBezTo>
                    <a:pt x="1123" y="2697"/>
                    <a:pt x="1154" y="2643"/>
                    <a:pt x="1115" y="2590"/>
                  </a:cubicBezTo>
                  <a:cubicBezTo>
                    <a:pt x="1024" y="2468"/>
                    <a:pt x="894" y="3025"/>
                    <a:pt x="756" y="2857"/>
                  </a:cubicBezTo>
                  <a:cubicBezTo>
                    <a:pt x="749" y="2826"/>
                    <a:pt x="749" y="2826"/>
                    <a:pt x="749" y="2826"/>
                  </a:cubicBezTo>
                  <a:close/>
                  <a:moveTo>
                    <a:pt x="1436" y="2445"/>
                  </a:moveTo>
                  <a:lnTo>
                    <a:pt x="1436" y="2445"/>
                  </a:lnTo>
                  <a:cubicBezTo>
                    <a:pt x="1467" y="2506"/>
                    <a:pt x="1467" y="2506"/>
                    <a:pt x="1467" y="2506"/>
                  </a:cubicBezTo>
                  <a:cubicBezTo>
                    <a:pt x="1497" y="2544"/>
                    <a:pt x="1604" y="2551"/>
                    <a:pt x="1635" y="2513"/>
                  </a:cubicBezTo>
                  <a:cubicBezTo>
                    <a:pt x="1673" y="2460"/>
                    <a:pt x="1673" y="2376"/>
                    <a:pt x="1703" y="2315"/>
                  </a:cubicBezTo>
                  <a:cubicBezTo>
                    <a:pt x="1726" y="2261"/>
                    <a:pt x="1772" y="2238"/>
                    <a:pt x="1795" y="2177"/>
                  </a:cubicBezTo>
                  <a:cubicBezTo>
                    <a:pt x="1833" y="2101"/>
                    <a:pt x="1849" y="2017"/>
                    <a:pt x="1887" y="1940"/>
                  </a:cubicBezTo>
                  <a:cubicBezTo>
                    <a:pt x="1933" y="1849"/>
                    <a:pt x="2017" y="1734"/>
                    <a:pt x="2047" y="1650"/>
                  </a:cubicBezTo>
                  <a:cubicBezTo>
                    <a:pt x="2055" y="1627"/>
                    <a:pt x="2032" y="1520"/>
                    <a:pt x="2009" y="1551"/>
                  </a:cubicBezTo>
                  <a:cubicBezTo>
                    <a:pt x="1879" y="1673"/>
                    <a:pt x="1879" y="1673"/>
                    <a:pt x="1879" y="1673"/>
                  </a:cubicBezTo>
                  <a:cubicBezTo>
                    <a:pt x="1833" y="1719"/>
                    <a:pt x="1474" y="1986"/>
                    <a:pt x="1558" y="2055"/>
                  </a:cubicBezTo>
                  <a:cubicBezTo>
                    <a:pt x="1589" y="2070"/>
                    <a:pt x="1619" y="2086"/>
                    <a:pt x="1650" y="2101"/>
                  </a:cubicBezTo>
                  <a:cubicBezTo>
                    <a:pt x="1596" y="2101"/>
                    <a:pt x="1482" y="2132"/>
                    <a:pt x="1459" y="2177"/>
                  </a:cubicBezTo>
                  <a:cubicBezTo>
                    <a:pt x="1436" y="2231"/>
                    <a:pt x="1398" y="2391"/>
                    <a:pt x="1436" y="2445"/>
                  </a:cubicBezTo>
                  <a:close/>
                  <a:moveTo>
                    <a:pt x="1131" y="1902"/>
                  </a:moveTo>
                  <a:lnTo>
                    <a:pt x="1131" y="1902"/>
                  </a:lnTo>
                  <a:cubicBezTo>
                    <a:pt x="1115" y="1849"/>
                    <a:pt x="1169" y="1749"/>
                    <a:pt x="1199" y="1719"/>
                  </a:cubicBezTo>
                  <a:cubicBezTo>
                    <a:pt x="1230" y="1688"/>
                    <a:pt x="1299" y="1597"/>
                    <a:pt x="1337" y="1597"/>
                  </a:cubicBezTo>
                  <a:cubicBezTo>
                    <a:pt x="1360" y="1673"/>
                    <a:pt x="1276" y="1749"/>
                    <a:pt x="1253" y="1826"/>
                  </a:cubicBezTo>
                  <a:cubicBezTo>
                    <a:pt x="1245" y="1864"/>
                    <a:pt x="1184" y="2017"/>
                    <a:pt x="1131" y="1948"/>
                  </a:cubicBezTo>
                  <a:cubicBezTo>
                    <a:pt x="1131" y="1902"/>
                    <a:pt x="1131" y="1902"/>
                    <a:pt x="1131" y="1902"/>
                  </a:cubicBezTo>
                  <a:close/>
                  <a:moveTo>
                    <a:pt x="1978" y="1482"/>
                  </a:moveTo>
                  <a:lnTo>
                    <a:pt x="1978" y="1482"/>
                  </a:lnTo>
                  <a:cubicBezTo>
                    <a:pt x="1963" y="1459"/>
                    <a:pt x="2009" y="1444"/>
                    <a:pt x="2017" y="1429"/>
                  </a:cubicBezTo>
                  <a:cubicBezTo>
                    <a:pt x="2032" y="1398"/>
                    <a:pt x="2032" y="1368"/>
                    <a:pt x="2040" y="1337"/>
                  </a:cubicBezTo>
                  <a:cubicBezTo>
                    <a:pt x="2055" y="1360"/>
                    <a:pt x="2063" y="1383"/>
                    <a:pt x="2070" y="1406"/>
                  </a:cubicBezTo>
                  <a:cubicBezTo>
                    <a:pt x="2085" y="1436"/>
                    <a:pt x="2101" y="1459"/>
                    <a:pt x="2070" y="1482"/>
                  </a:cubicBezTo>
                  <a:cubicBezTo>
                    <a:pt x="2063" y="1482"/>
                    <a:pt x="2055" y="1497"/>
                    <a:pt x="2047" y="1497"/>
                  </a:cubicBezTo>
                  <a:cubicBezTo>
                    <a:pt x="2047" y="1505"/>
                    <a:pt x="2032" y="1505"/>
                    <a:pt x="2032" y="1505"/>
                  </a:cubicBezTo>
                  <a:cubicBezTo>
                    <a:pt x="2017" y="1505"/>
                    <a:pt x="2009" y="1513"/>
                    <a:pt x="1994" y="1513"/>
                  </a:cubicBezTo>
                  <a:cubicBezTo>
                    <a:pt x="1978" y="1482"/>
                    <a:pt x="1978" y="1482"/>
                    <a:pt x="1978" y="1482"/>
                  </a:cubicBezTo>
                  <a:close/>
                  <a:moveTo>
                    <a:pt x="31" y="642"/>
                  </a:moveTo>
                  <a:lnTo>
                    <a:pt x="31" y="642"/>
                  </a:lnTo>
                  <a:cubicBezTo>
                    <a:pt x="8" y="627"/>
                    <a:pt x="0" y="527"/>
                    <a:pt x="23" y="512"/>
                  </a:cubicBezTo>
                  <a:cubicBezTo>
                    <a:pt x="54" y="482"/>
                    <a:pt x="107" y="497"/>
                    <a:pt x="145" y="504"/>
                  </a:cubicBezTo>
                  <a:cubicBezTo>
                    <a:pt x="206" y="512"/>
                    <a:pt x="222" y="459"/>
                    <a:pt x="268" y="459"/>
                  </a:cubicBezTo>
                  <a:cubicBezTo>
                    <a:pt x="313" y="459"/>
                    <a:pt x="352" y="443"/>
                    <a:pt x="367" y="398"/>
                  </a:cubicBezTo>
                  <a:lnTo>
                    <a:pt x="367" y="398"/>
                  </a:lnTo>
                  <a:cubicBezTo>
                    <a:pt x="374" y="421"/>
                    <a:pt x="397" y="428"/>
                    <a:pt x="405" y="459"/>
                  </a:cubicBezTo>
                  <a:cubicBezTo>
                    <a:pt x="382" y="474"/>
                    <a:pt x="252" y="474"/>
                    <a:pt x="298" y="527"/>
                  </a:cubicBezTo>
                  <a:cubicBezTo>
                    <a:pt x="313" y="550"/>
                    <a:pt x="283" y="581"/>
                    <a:pt x="260" y="573"/>
                  </a:cubicBezTo>
                  <a:cubicBezTo>
                    <a:pt x="245" y="565"/>
                    <a:pt x="168" y="588"/>
                    <a:pt x="183" y="611"/>
                  </a:cubicBezTo>
                  <a:cubicBezTo>
                    <a:pt x="160" y="650"/>
                    <a:pt x="206" y="696"/>
                    <a:pt x="153" y="718"/>
                  </a:cubicBezTo>
                  <a:cubicBezTo>
                    <a:pt x="130" y="726"/>
                    <a:pt x="115" y="711"/>
                    <a:pt x="99" y="696"/>
                  </a:cubicBezTo>
                  <a:cubicBezTo>
                    <a:pt x="84" y="673"/>
                    <a:pt x="77" y="680"/>
                    <a:pt x="54" y="680"/>
                  </a:cubicBezTo>
                  <a:cubicBezTo>
                    <a:pt x="54" y="688"/>
                    <a:pt x="31" y="696"/>
                    <a:pt x="23" y="696"/>
                  </a:cubicBezTo>
                  <a:cubicBezTo>
                    <a:pt x="31" y="642"/>
                    <a:pt x="31" y="642"/>
                    <a:pt x="31" y="642"/>
                  </a:cubicBezTo>
                  <a:close/>
                  <a:moveTo>
                    <a:pt x="466" y="321"/>
                  </a:moveTo>
                  <a:lnTo>
                    <a:pt x="466" y="321"/>
                  </a:lnTo>
                  <a:cubicBezTo>
                    <a:pt x="497" y="283"/>
                    <a:pt x="542" y="290"/>
                    <a:pt x="565" y="245"/>
                  </a:cubicBezTo>
                  <a:cubicBezTo>
                    <a:pt x="581" y="214"/>
                    <a:pt x="588" y="191"/>
                    <a:pt x="619" y="168"/>
                  </a:cubicBezTo>
                  <a:cubicBezTo>
                    <a:pt x="657" y="130"/>
                    <a:pt x="703" y="107"/>
                    <a:pt x="741" y="61"/>
                  </a:cubicBezTo>
                  <a:cubicBezTo>
                    <a:pt x="772" y="38"/>
                    <a:pt x="810" y="23"/>
                    <a:pt x="840" y="0"/>
                  </a:cubicBezTo>
                  <a:cubicBezTo>
                    <a:pt x="856" y="38"/>
                    <a:pt x="840" y="168"/>
                    <a:pt x="794" y="184"/>
                  </a:cubicBezTo>
                  <a:cubicBezTo>
                    <a:pt x="772" y="199"/>
                    <a:pt x="772" y="184"/>
                    <a:pt x="749" y="207"/>
                  </a:cubicBezTo>
                  <a:cubicBezTo>
                    <a:pt x="710" y="252"/>
                    <a:pt x="672" y="352"/>
                    <a:pt x="596" y="329"/>
                  </a:cubicBezTo>
                  <a:cubicBezTo>
                    <a:pt x="573" y="321"/>
                    <a:pt x="542" y="298"/>
                    <a:pt x="520" y="329"/>
                  </a:cubicBezTo>
                  <a:cubicBezTo>
                    <a:pt x="504" y="352"/>
                    <a:pt x="520" y="390"/>
                    <a:pt x="466" y="352"/>
                  </a:cubicBezTo>
                  <a:cubicBezTo>
                    <a:pt x="466" y="321"/>
                    <a:pt x="466" y="321"/>
                    <a:pt x="466" y="321"/>
                  </a:cubicBezTo>
                  <a:close/>
                  <a:moveTo>
                    <a:pt x="1551" y="1093"/>
                  </a:moveTo>
                  <a:lnTo>
                    <a:pt x="1551" y="1093"/>
                  </a:lnTo>
                  <a:cubicBezTo>
                    <a:pt x="1596" y="1070"/>
                    <a:pt x="1665" y="1085"/>
                    <a:pt x="1688" y="1054"/>
                  </a:cubicBezTo>
                  <a:cubicBezTo>
                    <a:pt x="1696" y="1039"/>
                    <a:pt x="1772" y="917"/>
                    <a:pt x="1772" y="986"/>
                  </a:cubicBezTo>
                  <a:cubicBezTo>
                    <a:pt x="1780" y="1032"/>
                    <a:pt x="1742" y="1062"/>
                    <a:pt x="1742" y="1077"/>
                  </a:cubicBezTo>
                  <a:cubicBezTo>
                    <a:pt x="1818" y="1077"/>
                    <a:pt x="1856" y="1093"/>
                    <a:pt x="1917" y="1047"/>
                  </a:cubicBezTo>
                  <a:cubicBezTo>
                    <a:pt x="1940" y="1032"/>
                    <a:pt x="2093" y="902"/>
                    <a:pt x="2063" y="894"/>
                  </a:cubicBezTo>
                  <a:cubicBezTo>
                    <a:pt x="2017" y="894"/>
                    <a:pt x="1986" y="917"/>
                    <a:pt x="1948" y="917"/>
                  </a:cubicBezTo>
                  <a:cubicBezTo>
                    <a:pt x="1948" y="879"/>
                    <a:pt x="1994" y="772"/>
                    <a:pt x="2024" y="848"/>
                  </a:cubicBezTo>
                  <a:cubicBezTo>
                    <a:pt x="2040" y="909"/>
                    <a:pt x="2108" y="840"/>
                    <a:pt x="2085" y="787"/>
                  </a:cubicBezTo>
                  <a:cubicBezTo>
                    <a:pt x="2070" y="734"/>
                    <a:pt x="2047" y="757"/>
                    <a:pt x="2101" y="779"/>
                  </a:cubicBezTo>
                  <a:cubicBezTo>
                    <a:pt x="2131" y="787"/>
                    <a:pt x="2131" y="772"/>
                    <a:pt x="2131" y="749"/>
                  </a:cubicBezTo>
                  <a:cubicBezTo>
                    <a:pt x="2116" y="588"/>
                    <a:pt x="1810" y="512"/>
                    <a:pt x="1681" y="482"/>
                  </a:cubicBezTo>
                  <a:cubicBezTo>
                    <a:pt x="1612" y="474"/>
                    <a:pt x="1619" y="405"/>
                    <a:pt x="1596" y="344"/>
                  </a:cubicBezTo>
                  <a:cubicBezTo>
                    <a:pt x="1574" y="283"/>
                    <a:pt x="1497" y="260"/>
                    <a:pt x="1482" y="191"/>
                  </a:cubicBezTo>
                  <a:cubicBezTo>
                    <a:pt x="1474" y="138"/>
                    <a:pt x="1360" y="115"/>
                    <a:pt x="1314" y="153"/>
                  </a:cubicBezTo>
                  <a:cubicBezTo>
                    <a:pt x="1238" y="214"/>
                    <a:pt x="1161" y="153"/>
                    <a:pt x="1230" y="283"/>
                  </a:cubicBezTo>
                  <a:cubicBezTo>
                    <a:pt x="1230" y="283"/>
                    <a:pt x="1131" y="229"/>
                    <a:pt x="1077" y="252"/>
                  </a:cubicBezTo>
                  <a:cubicBezTo>
                    <a:pt x="1062" y="260"/>
                    <a:pt x="1054" y="306"/>
                    <a:pt x="1069" y="313"/>
                  </a:cubicBezTo>
                  <a:cubicBezTo>
                    <a:pt x="1085" y="329"/>
                    <a:pt x="1100" y="321"/>
                    <a:pt x="1115" y="321"/>
                  </a:cubicBezTo>
                  <a:cubicBezTo>
                    <a:pt x="1138" y="336"/>
                    <a:pt x="1085" y="390"/>
                    <a:pt x="1069" y="398"/>
                  </a:cubicBezTo>
                  <a:cubicBezTo>
                    <a:pt x="1062" y="405"/>
                    <a:pt x="1016" y="413"/>
                    <a:pt x="1016" y="428"/>
                  </a:cubicBezTo>
                  <a:cubicBezTo>
                    <a:pt x="1024" y="451"/>
                    <a:pt x="1085" y="459"/>
                    <a:pt x="1100" y="466"/>
                  </a:cubicBezTo>
                  <a:cubicBezTo>
                    <a:pt x="1131" y="482"/>
                    <a:pt x="1169" y="482"/>
                    <a:pt x="1207" y="482"/>
                  </a:cubicBezTo>
                  <a:cubicBezTo>
                    <a:pt x="1253" y="482"/>
                    <a:pt x="1276" y="520"/>
                    <a:pt x="1306" y="543"/>
                  </a:cubicBezTo>
                  <a:cubicBezTo>
                    <a:pt x="1321" y="550"/>
                    <a:pt x="1337" y="565"/>
                    <a:pt x="1352" y="565"/>
                  </a:cubicBezTo>
                  <a:cubicBezTo>
                    <a:pt x="1352" y="573"/>
                    <a:pt x="1352" y="573"/>
                    <a:pt x="1352" y="573"/>
                  </a:cubicBezTo>
                  <a:cubicBezTo>
                    <a:pt x="1344" y="573"/>
                    <a:pt x="1337" y="581"/>
                    <a:pt x="1337" y="581"/>
                  </a:cubicBezTo>
                  <a:lnTo>
                    <a:pt x="1337" y="581"/>
                  </a:lnTo>
                  <a:cubicBezTo>
                    <a:pt x="1383" y="596"/>
                    <a:pt x="1352" y="642"/>
                    <a:pt x="1421" y="611"/>
                  </a:cubicBezTo>
                  <a:cubicBezTo>
                    <a:pt x="1451" y="596"/>
                    <a:pt x="1520" y="558"/>
                    <a:pt x="1558" y="558"/>
                  </a:cubicBezTo>
                  <a:cubicBezTo>
                    <a:pt x="1596" y="734"/>
                    <a:pt x="1375" y="680"/>
                    <a:pt x="1367" y="726"/>
                  </a:cubicBezTo>
                  <a:cubicBezTo>
                    <a:pt x="1367" y="810"/>
                    <a:pt x="1260" y="840"/>
                    <a:pt x="1268" y="925"/>
                  </a:cubicBezTo>
                  <a:cubicBezTo>
                    <a:pt x="1268" y="993"/>
                    <a:pt x="1413" y="909"/>
                    <a:pt x="1444" y="894"/>
                  </a:cubicBezTo>
                  <a:cubicBezTo>
                    <a:pt x="1459" y="886"/>
                    <a:pt x="1558" y="848"/>
                    <a:pt x="1558" y="863"/>
                  </a:cubicBezTo>
                  <a:cubicBezTo>
                    <a:pt x="1551" y="940"/>
                    <a:pt x="1474" y="978"/>
                    <a:pt x="1398" y="978"/>
                  </a:cubicBezTo>
                  <a:cubicBezTo>
                    <a:pt x="1344" y="986"/>
                    <a:pt x="1276" y="1093"/>
                    <a:pt x="1222" y="993"/>
                  </a:cubicBezTo>
                  <a:lnTo>
                    <a:pt x="1222" y="993"/>
                  </a:lnTo>
                  <a:cubicBezTo>
                    <a:pt x="1222" y="1077"/>
                    <a:pt x="1192" y="1077"/>
                    <a:pt x="1138" y="1024"/>
                  </a:cubicBezTo>
                  <a:cubicBezTo>
                    <a:pt x="1085" y="970"/>
                    <a:pt x="1046" y="978"/>
                    <a:pt x="1001" y="1024"/>
                  </a:cubicBezTo>
                  <a:cubicBezTo>
                    <a:pt x="955" y="1100"/>
                    <a:pt x="1008" y="1115"/>
                    <a:pt x="1046" y="1169"/>
                  </a:cubicBezTo>
                  <a:cubicBezTo>
                    <a:pt x="1077" y="1215"/>
                    <a:pt x="1085" y="1222"/>
                    <a:pt x="1138" y="1200"/>
                  </a:cubicBezTo>
                  <a:cubicBezTo>
                    <a:pt x="1177" y="1184"/>
                    <a:pt x="1192" y="1161"/>
                    <a:pt x="1245" y="1154"/>
                  </a:cubicBezTo>
                  <a:cubicBezTo>
                    <a:pt x="1268" y="1154"/>
                    <a:pt x="1299" y="1154"/>
                    <a:pt x="1321" y="1161"/>
                  </a:cubicBezTo>
                  <a:cubicBezTo>
                    <a:pt x="1360" y="1169"/>
                    <a:pt x="1390" y="1123"/>
                    <a:pt x="1429" y="1123"/>
                  </a:cubicBezTo>
                  <a:cubicBezTo>
                    <a:pt x="1474" y="1123"/>
                    <a:pt x="1482" y="1161"/>
                    <a:pt x="1520" y="1115"/>
                  </a:cubicBezTo>
                  <a:cubicBezTo>
                    <a:pt x="1551" y="1093"/>
                    <a:pt x="1551" y="1093"/>
                    <a:pt x="1551" y="1093"/>
                  </a:cubicBezTo>
                  <a:close/>
                  <a:moveTo>
                    <a:pt x="947" y="986"/>
                  </a:moveTo>
                  <a:lnTo>
                    <a:pt x="947" y="986"/>
                  </a:lnTo>
                  <a:cubicBezTo>
                    <a:pt x="955" y="1009"/>
                    <a:pt x="955" y="1009"/>
                    <a:pt x="955" y="1009"/>
                  </a:cubicBezTo>
                  <a:cubicBezTo>
                    <a:pt x="955" y="1024"/>
                    <a:pt x="947" y="1039"/>
                    <a:pt x="940" y="1054"/>
                  </a:cubicBezTo>
                  <a:cubicBezTo>
                    <a:pt x="940" y="1062"/>
                    <a:pt x="940" y="1070"/>
                    <a:pt x="932" y="1077"/>
                  </a:cubicBezTo>
                  <a:cubicBezTo>
                    <a:pt x="932" y="1085"/>
                    <a:pt x="924" y="1093"/>
                    <a:pt x="917" y="1093"/>
                  </a:cubicBezTo>
                  <a:cubicBezTo>
                    <a:pt x="879" y="1108"/>
                    <a:pt x="871" y="1077"/>
                    <a:pt x="902" y="1054"/>
                  </a:cubicBezTo>
                  <a:cubicBezTo>
                    <a:pt x="909" y="1047"/>
                    <a:pt x="917" y="1039"/>
                    <a:pt x="917" y="1024"/>
                  </a:cubicBezTo>
                  <a:cubicBezTo>
                    <a:pt x="917" y="1001"/>
                    <a:pt x="940" y="1001"/>
                    <a:pt x="947" y="986"/>
                  </a:cubicBezTo>
                  <a:close/>
                  <a:moveTo>
                    <a:pt x="1268" y="573"/>
                  </a:moveTo>
                  <a:lnTo>
                    <a:pt x="1268" y="573"/>
                  </a:lnTo>
                  <a:cubicBezTo>
                    <a:pt x="1283" y="588"/>
                    <a:pt x="1283" y="588"/>
                    <a:pt x="1283" y="588"/>
                  </a:cubicBezTo>
                  <a:cubicBezTo>
                    <a:pt x="1299" y="596"/>
                    <a:pt x="1337" y="627"/>
                    <a:pt x="1329" y="642"/>
                  </a:cubicBezTo>
                  <a:cubicBezTo>
                    <a:pt x="1321" y="642"/>
                    <a:pt x="1314" y="650"/>
                    <a:pt x="1299" y="642"/>
                  </a:cubicBezTo>
                  <a:cubicBezTo>
                    <a:pt x="1283" y="642"/>
                    <a:pt x="1260" y="642"/>
                    <a:pt x="1245" y="634"/>
                  </a:cubicBezTo>
                  <a:cubicBezTo>
                    <a:pt x="1207" y="634"/>
                    <a:pt x="1177" y="619"/>
                    <a:pt x="1138" y="611"/>
                  </a:cubicBezTo>
                  <a:cubicBezTo>
                    <a:pt x="1123" y="604"/>
                    <a:pt x="1077" y="596"/>
                    <a:pt x="1077" y="581"/>
                  </a:cubicBezTo>
                  <a:cubicBezTo>
                    <a:pt x="1085" y="543"/>
                    <a:pt x="1146" y="573"/>
                    <a:pt x="1161" y="573"/>
                  </a:cubicBezTo>
                  <a:cubicBezTo>
                    <a:pt x="1184" y="573"/>
                    <a:pt x="1199" y="565"/>
                    <a:pt x="1215" y="558"/>
                  </a:cubicBezTo>
                  <a:cubicBezTo>
                    <a:pt x="1238" y="550"/>
                    <a:pt x="1245" y="581"/>
                    <a:pt x="1268" y="573"/>
                  </a:cubicBezTo>
                  <a:close/>
                  <a:moveTo>
                    <a:pt x="2223" y="650"/>
                  </a:moveTo>
                  <a:lnTo>
                    <a:pt x="2223" y="650"/>
                  </a:lnTo>
                  <a:cubicBezTo>
                    <a:pt x="2223" y="627"/>
                    <a:pt x="2230" y="588"/>
                    <a:pt x="2253" y="573"/>
                  </a:cubicBezTo>
                  <a:cubicBezTo>
                    <a:pt x="2269" y="558"/>
                    <a:pt x="2292" y="543"/>
                    <a:pt x="2307" y="527"/>
                  </a:cubicBezTo>
                  <a:cubicBezTo>
                    <a:pt x="2330" y="504"/>
                    <a:pt x="2345" y="466"/>
                    <a:pt x="2368" y="451"/>
                  </a:cubicBezTo>
                  <a:cubicBezTo>
                    <a:pt x="2383" y="436"/>
                    <a:pt x="2429" y="398"/>
                    <a:pt x="2452" y="390"/>
                  </a:cubicBezTo>
                  <a:cubicBezTo>
                    <a:pt x="2452" y="421"/>
                    <a:pt x="2414" y="443"/>
                    <a:pt x="2399" y="466"/>
                  </a:cubicBezTo>
                  <a:cubicBezTo>
                    <a:pt x="2376" y="497"/>
                    <a:pt x="2345" y="535"/>
                    <a:pt x="2315" y="565"/>
                  </a:cubicBezTo>
                  <a:cubicBezTo>
                    <a:pt x="2292" y="588"/>
                    <a:pt x="2284" y="611"/>
                    <a:pt x="2261" y="627"/>
                  </a:cubicBezTo>
                  <a:cubicBezTo>
                    <a:pt x="2223" y="650"/>
                    <a:pt x="2223" y="650"/>
                    <a:pt x="2223" y="650"/>
                  </a:cubicBezTo>
                  <a:close/>
                  <a:moveTo>
                    <a:pt x="2643" y="199"/>
                  </a:moveTo>
                  <a:lnTo>
                    <a:pt x="2643" y="199"/>
                  </a:lnTo>
                  <a:cubicBezTo>
                    <a:pt x="2620" y="222"/>
                    <a:pt x="2590" y="245"/>
                    <a:pt x="2574" y="252"/>
                  </a:cubicBezTo>
                  <a:cubicBezTo>
                    <a:pt x="2528" y="275"/>
                    <a:pt x="2544" y="313"/>
                    <a:pt x="2513" y="352"/>
                  </a:cubicBezTo>
                  <a:cubicBezTo>
                    <a:pt x="2490" y="413"/>
                    <a:pt x="2498" y="497"/>
                    <a:pt x="2574" y="459"/>
                  </a:cubicBezTo>
                  <a:cubicBezTo>
                    <a:pt x="2643" y="428"/>
                    <a:pt x="2559" y="543"/>
                    <a:pt x="2505" y="482"/>
                  </a:cubicBezTo>
                  <a:cubicBezTo>
                    <a:pt x="2467" y="443"/>
                    <a:pt x="2460" y="489"/>
                    <a:pt x="2437" y="543"/>
                  </a:cubicBezTo>
                  <a:cubicBezTo>
                    <a:pt x="2429" y="550"/>
                    <a:pt x="2376" y="611"/>
                    <a:pt x="2406" y="611"/>
                  </a:cubicBezTo>
                  <a:cubicBezTo>
                    <a:pt x="2452" y="611"/>
                    <a:pt x="2475" y="550"/>
                    <a:pt x="2475" y="627"/>
                  </a:cubicBezTo>
                  <a:cubicBezTo>
                    <a:pt x="2475" y="673"/>
                    <a:pt x="2521" y="665"/>
                    <a:pt x="2551" y="657"/>
                  </a:cubicBezTo>
                  <a:cubicBezTo>
                    <a:pt x="2528" y="680"/>
                    <a:pt x="2498" y="688"/>
                    <a:pt x="2460" y="688"/>
                  </a:cubicBezTo>
                  <a:cubicBezTo>
                    <a:pt x="2452" y="688"/>
                    <a:pt x="2315" y="802"/>
                    <a:pt x="2276" y="818"/>
                  </a:cubicBezTo>
                  <a:cubicBezTo>
                    <a:pt x="2238" y="833"/>
                    <a:pt x="2177" y="894"/>
                    <a:pt x="2246" y="902"/>
                  </a:cubicBezTo>
                  <a:cubicBezTo>
                    <a:pt x="2315" y="917"/>
                    <a:pt x="2269" y="909"/>
                    <a:pt x="2284" y="955"/>
                  </a:cubicBezTo>
                  <a:cubicBezTo>
                    <a:pt x="2292" y="986"/>
                    <a:pt x="2230" y="1070"/>
                    <a:pt x="2200" y="1077"/>
                  </a:cubicBezTo>
                  <a:cubicBezTo>
                    <a:pt x="2093" y="1093"/>
                    <a:pt x="2146" y="1123"/>
                    <a:pt x="2131" y="1200"/>
                  </a:cubicBezTo>
                  <a:cubicBezTo>
                    <a:pt x="2101" y="1253"/>
                    <a:pt x="2108" y="1307"/>
                    <a:pt x="2116" y="1352"/>
                  </a:cubicBezTo>
                  <a:cubicBezTo>
                    <a:pt x="2124" y="1368"/>
                    <a:pt x="2116" y="1452"/>
                    <a:pt x="2131" y="1429"/>
                  </a:cubicBezTo>
                  <a:cubicBezTo>
                    <a:pt x="2162" y="1390"/>
                    <a:pt x="2154" y="1291"/>
                    <a:pt x="2177" y="1245"/>
                  </a:cubicBezTo>
                  <a:cubicBezTo>
                    <a:pt x="2200" y="1184"/>
                    <a:pt x="2185" y="1253"/>
                    <a:pt x="2207" y="1261"/>
                  </a:cubicBezTo>
                  <a:cubicBezTo>
                    <a:pt x="2223" y="1268"/>
                    <a:pt x="2299" y="1245"/>
                    <a:pt x="2315" y="1230"/>
                  </a:cubicBezTo>
                  <a:cubicBezTo>
                    <a:pt x="2315" y="1268"/>
                    <a:pt x="2246" y="1329"/>
                    <a:pt x="2246" y="1375"/>
                  </a:cubicBezTo>
                  <a:cubicBezTo>
                    <a:pt x="2246" y="1429"/>
                    <a:pt x="2207" y="1513"/>
                    <a:pt x="2185" y="1559"/>
                  </a:cubicBezTo>
                  <a:cubicBezTo>
                    <a:pt x="2169" y="1582"/>
                    <a:pt x="2154" y="1627"/>
                    <a:pt x="2200" y="1597"/>
                  </a:cubicBezTo>
                  <a:cubicBezTo>
                    <a:pt x="2223" y="1574"/>
                    <a:pt x="2246" y="1505"/>
                    <a:pt x="2276" y="1505"/>
                  </a:cubicBezTo>
                  <a:cubicBezTo>
                    <a:pt x="2261" y="1536"/>
                    <a:pt x="2238" y="1589"/>
                    <a:pt x="2238" y="1627"/>
                  </a:cubicBezTo>
                  <a:cubicBezTo>
                    <a:pt x="2238" y="1650"/>
                    <a:pt x="2269" y="1688"/>
                    <a:pt x="2253" y="1711"/>
                  </a:cubicBezTo>
                  <a:cubicBezTo>
                    <a:pt x="2238" y="1727"/>
                    <a:pt x="2207" y="1727"/>
                    <a:pt x="2200" y="1749"/>
                  </a:cubicBezTo>
                  <a:cubicBezTo>
                    <a:pt x="2055" y="2017"/>
                    <a:pt x="2055" y="2017"/>
                    <a:pt x="2055" y="2017"/>
                  </a:cubicBezTo>
                  <a:cubicBezTo>
                    <a:pt x="2055" y="2047"/>
                    <a:pt x="2017" y="2116"/>
                    <a:pt x="2040" y="2139"/>
                  </a:cubicBezTo>
                  <a:cubicBezTo>
                    <a:pt x="2063" y="2162"/>
                    <a:pt x="2078" y="2307"/>
                    <a:pt x="2093" y="2284"/>
                  </a:cubicBezTo>
                  <a:cubicBezTo>
                    <a:pt x="2101" y="2269"/>
                    <a:pt x="2185" y="2147"/>
                    <a:pt x="2177" y="2215"/>
                  </a:cubicBezTo>
                  <a:cubicBezTo>
                    <a:pt x="2162" y="2269"/>
                    <a:pt x="2154" y="2299"/>
                    <a:pt x="2131" y="2345"/>
                  </a:cubicBezTo>
                  <a:cubicBezTo>
                    <a:pt x="2093" y="2422"/>
                    <a:pt x="2070" y="2468"/>
                    <a:pt x="2108" y="2544"/>
                  </a:cubicBezTo>
                  <a:cubicBezTo>
                    <a:pt x="2131" y="2590"/>
                    <a:pt x="2154" y="2636"/>
                    <a:pt x="2200" y="2636"/>
                  </a:cubicBezTo>
                  <a:cubicBezTo>
                    <a:pt x="2200" y="2674"/>
                    <a:pt x="2185" y="2804"/>
                    <a:pt x="2139" y="2811"/>
                  </a:cubicBezTo>
                  <a:cubicBezTo>
                    <a:pt x="2009" y="2834"/>
                    <a:pt x="2124" y="2903"/>
                    <a:pt x="2070" y="2979"/>
                  </a:cubicBezTo>
                  <a:cubicBezTo>
                    <a:pt x="2063" y="3010"/>
                    <a:pt x="2063" y="3033"/>
                    <a:pt x="2063" y="3063"/>
                  </a:cubicBezTo>
                  <a:cubicBezTo>
                    <a:pt x="1978" y="3170"/>
                    <a:pt x="2032" y="3346"/>
                    <a:pt x="2017" y="3476"/>
                  </a:cubicBezTo>
                  <a:cubicBezTo>
                    <a:pt x="2001" y="3583"/>
                    <a:pt x="1917" y="3575"/>
                    <a:pt x="1887" y="3659"/>
                  </a:cubicBezTo>
                  <a:cubicBezTo>
                    <a:pt x="1864" y="3720"/>
                    <a:pt x="1879" y="3843"/>
                    <a:pt x="1879" y="3904"/>
                  </a:cubicBezTo>
                  <a:cubicBezTo>
                    <a:pt x="1925" y="3934"/>
                    <a:pt x="1986" y="3972"/>
                    <a:pt x="2047" y="3934"/>
                  </a:cubicBezTo>
                  <a:cubicBezTo>
                    <a:pt x="2078" y="3911"/>
                    <a:pt x="2124" y="3896"/>
                    <a:pt x="2154" y="3904"/>
                  </a:cubicBezTo>
                  <a:cubicBezTo>
                    <a:pt x="2215" y="3904"/>
                    <a:pt x="2276" y="3835"/>
                    <a:pt x="2307" y="3797"/>
                  </a:cubicBezTo>
                  <a:cubicBezTo>
                    <a:pt x="2353" y="3751"/>
                    <a:pt x="2299" y="3674"/>
                    <a:pt x="2292" y="3621"/>
                  </a:cubicBezTo>
                  <a:cubicBezTo>
                    <a:pt x="2269" y="3598"/>
                    <a:pt x="2238" y="3590"/>
                    <a:pt x="2207" y="3590"/>
                  </a:cubicBezTo>
                  <a:cubicBezTo>
                    <a:pt x="2207" y="3568"/>
                    <a:pt x="2315" y="3575"/>
                    <a:pt x="2299" y="3506"/>
                  </a:cubicBezTo>
                  <a:cubicBezTo>
                    <a:pt x="2292" y="3460"/>
                    <a:pt x="2338" y="3437"/>
                    <a:pt x="2345" y="3392"/>
                  </a:cubicBezTo>
                  <a:cubicBezTo>
                    <a:pt x="2353" y="3315"/>
                    <a:pt x="2376" y="3247"/>
                    <a:pt x="2376" y="3170"/>
                  </a:cubicBezTo>
                  <a:cubicBezTo>
                    <a:pt x="2376" y="3109"/>
                    <a:pt x="2444" y="3201"/>
                    <a:pt x="2414" y="3101"/>
                  </a:cubicBezTo>
                  <a:cubicBezTo>
                    <a:pt x="2391" y="3010"/>
                    <a:pt x="2421" y="2888"/>
                    <a:pt x="2452" y="2804"/>
                  </a:cubicBezTo>
                  <a:cubicBezTo>
                    <a:pt x="2475" y="2750"/>
                    <a:pt x="2498" y="2697"/>
                    <a:pt x="2544" y="2666"/>
                  </a:cubicBezTo>
                  <a:cubicBezTo>
                    <a:pt x="2582" y="2636"/>
                    <a:pt x="2635" y="2636"/>
                    <a:pt x="2651" y="2582"/>
                  </a:cubicBezTo>
                  <a:cubicBezTo>
                    <a:pt x="2651" y="2483"/>
                    <a:pt x="2513" y="2338"/>
                    <a:pt x="2482" y="2246"/>
                  </a:cubicBezTo>
                  <a:cubicBezTo>
                    <a:pt x="2444" y="2124"/>
                    <a:pt x="2437" y="2024"/>
                    <a:pt x="2437" y="1902"/>
                  </a:cubicBezTo>
                  <a:cubicBezTo>
                    <a:pt x="2544" y="1963"/>
                    <a:pt x="2574" y="1948"/>
                    <a:pt x="2620" y="1834"/>
                  </a:cubicBezTo>
                  <a:cubicBezTo>
                    <a:pt x="2635" y="1795"/>
                    <a:pt x="2681" y="1788"/>
                    <a:pt x="2696" y="1734"/>
                  </a:cubicBezTo>
                  <a:cubicBezTo>
                    <a:pt x="2704" y="1704"/>
                    <a:pt x="2750" y="1665"/>
                    <a:pt x="2765" y="1627"/>
                  </a:cubicBezTo>
                  <a:cubicBezTo>
                    <a:pt x="2788" y="1574"/>
                    <a:pt x="2849" y="1551"/>
                    <a:pt x="2895" y="1536"/>
                  </a:cubicBezTo>
                  <a:cubicBezTo>
                    <a:pt x="2964" y="1505"/>
                    <a:pt x="2979" y="1383"/>
                    <a:pt x="3010" y="1329"/>
                  </a:cubicBezTo>
                  <a:cubicBezTo>
                    <a:pt x="3025" y="1299"/>
                    <a:pt x="3162" y="1261"/>
                    <a:pt x="3185" y="1261"/>
                  </a:cubicBezTo>
                  <a:cubicBezTo>
                    <a:pt x="3178" y="1261"/>
                    <a:pt x="3086" y="1337"/>
                    <a:pt x="3071" y="1352"/>
                  </a:cubicBezTo>
                  <a:cubicBezTo>
                    <a:pt x="3010" y="1436"/>
                    <a:pt x="3017" y="1520"/>
                    <a:pt x="2910" y="1574"/>
                  </a:cubicBezTo>
                  <a:cubicBezTo>
                    <a:pt x="2887" y="1582"/>
                    <a:pt x="2849" y="1582"/>
                    <a:pt x="2834" y="1612"/>
                  </a:cubicBezTo>
                  <a:cubicBezTo>
                    <a:pt x="2803" y="1673"/>
                    <a:pt x="2811" y="1688"/>
                    <a:pt x="2750" y="1727"/>
                  </a:cubicBezTo>
                  <a:cubicBezTo>
                    <a:pt x="2704" y="1757"/>
                    <a:pt x="2681" y="1879"/>
                    <a:pt x="2643" y="1925"/>
                  </a:cubicBezTo>
                  <a:cubicBezTo>
                    <a:pt x="2597" y="1986"/>
                    <a:pt x="2590" y="2086"/>
                    <a:pt x="2590" y="2162"/>
                  </a:cubicBezTo>
                  <a:cubicBezTo>
                    <a:pt x="2620" y="2276"/>
                    <a:pt x="2597" y="2345"/>
                    <a:pt x="2719" y="2399"/>
                  </a:cubicBezTo>
                  <a:cubicBezTo>
                    <a:pt x="2750" y="2414"/>
                    <a:pt x="2773" y="2445"/>
                    <a:pt x="2803" y="2452"/>
                  </a:cubicBezTo>
                  <a:cubicBezTo>
                    <a:pt x="2849" y="2468"/>
                    <a:pt x="2811" y="2414"/>
                    <a:pt x="2796" y="2391"/>
                  </a:cubicBezTo>
                  <a:cubicBezTo>
                    <a:pt x="2765" y="2322"/>
                    <a:pt x="2757" y="2276"/>
                    <a:pt x="2803" y="2223"/>
                  </a:cubicBezTo>
                  <a:cubicBezTo>
                    <a:pt x="2826" y="2185"/>
                    <a:pt x="2811" y="2078"/>
                    <a:pt x="2872" y="2154"/>
                  </a:cubicBezTo>
                  <a:cubicBezTo>
                    <a:pt x="2903" y="2185"/>
                    <a:pt x="2941" y="2200"/>
                    <a:pt x="2979" y="2231"/>
                  </a:cubicBezTo>
                  <a:cubicBezTo>
                    <a:pt x="3032" y="2292"/>
                    <a:pt x="3025" y="2208"/>
                    <a:pt x="3010" y="2170"/>
                  </a:cubicBezTo>
                  <a:cubicBezTo>
                    <a:pt x="2994" y="2139"/>
                    <a:pt x="2987" y="2101"/>
                    <a:pt x="2971" y="2070"/>
                  </a:cubicBezTo>
                  <a:cubicBezTo>
                    <a:pt x="2949" y="2032"/>
                    <a:pt x="2941" y="1986"/>
                    <a:pt x="2987" y="2055"/>
                  </a:cubicBezTo>
                  <a:cubicBezTo>
                    <a:pt x="3032" y="2101"/>
                    <a:pt x="3055" y="2185"/>
                    <a:pt x="3071" y="2246"/>
                  </a:cubicBezTo>
                  <a:cubicBezTo>
                    <a:pt x="3086" y="2284"/>
                    <a:pt x="3048" y="2338"/>
                    <a:pt x="3094" y="2338"/>
                  </a:cubicBezTo>
                  <a:cubicBezTo>
                    <a:pt x="3116" y="2338"/>
                    <a:pt x="3162" y="2361"/>
                    <a:pt x="3178" y="2345"/>
                  </a:cubicBezTo>
                  <a:cubicBezTo>
                    <a:pt x="3208" y="2307"/>
                    <a:pt x="3231" y="2193"/>
                    <a:pt x="3254" y="2139"/>
                  </a:cubicBezTo>
                  <a:cubicBezTo>
                    <a:pt x="3269" y="2116"/>
                    <a:pt x="3277" y="2086"/>
                    <a:pt x="3277" y="2055"/>
                  </a:cubicBezTo>
                  <a:cubicBezTo>
                    <a:pt x="3285" y="2032"/>
                    <a:pt x="3239" y="2040"/>
                    <a:pt x="3231" y="2017"/>
                  </a:cubicBezTo>
                  <a:cubicBezTo>
                    <a:pt x="3330" y="2040"/>
                    <a:pt x="3292" y="1986"/>
                    <a:pt x="3285" y="1918"/>
                  </a:cubicBezTo>
                  <a:cubicBezTo>
                    <a:pt x="3300" y="1841"/>
                    <a:pt x="3338" y="1772"/>
                    <a:pt x="3315" y="1704"/>
                  </a:cubicBezTo>
                  <a:cubicBezTo>
                    <a:pt x="3300" y="1650"/>
                    <a:pt x="3292" y="1627"/>
                    <a:pt x="3292" y="1574"/>
                  </a:cubicBezTo>
                  <a:cubicBezTo>
                    <a:pt x="3285" y="1444"/>
                    <a:pt x="3338" y="1643"/>
                    <a:pt x="3353" y="1673"/>
                  </a:cubicBezTo>
                  <a:cubicBezTo>
                    <a:pt x="3353" y="1688"/>
                    <a:pt x="3430" y="1520"/>
                    <a:pt x="3460" y="1490"/>
                  </a:cubicBezTo>
                  <a:cubicBezTo>
                    <a:pt x="3460" y="1551"/>
                    <a:pt x="3399" y="1673"/>
                    <a:pt x="3376" y="1727"/>
                  </a:cubicBezTo>
                  <a:cubicBezTo>
                    <a:pt x="3353" y="1780"/>
                    <a:pt x="3338" y="2032"/>
                    <a:pt x="3399" y="2017"/>
                  </a:cubicBezTo>
                  <a:cubicBezTo>
                    <a:pt x="3445" y="2009"/>
                    <a:pt x="3552" y="2009"/>
                    <a:pt x="3476" y="1956"/>
                  </a:cubicBezTo>
                  <a:cubicBezTo>
                    <a:pt x="3437" y="1925"/>
                    <a:pt x="3407" y="1857"/>
                    <a:pt x="3407" y="1811"/>
                  </a:cubicBezTo>
                  <a:cubicBezTo>
                    <a:pt x="3445" y="1841"/>
                    <a:pt x="3499" y="1933"/>
                    <a:pt x="3537" y="1948"/>
                  </a:cubicBezTo>
                  <a:cubicBezTo>
                    <a:pt x="3590" y="1963"/>
                    <a:pt x="3590" y="1979"/>
                    <a:pt x="3605" y="2024"/>
                  </a:cubicBezTo>
                  <a:cubicBezTo>
                    <a:pt x="3628" y="2086"/>
                    <a:pt x="3720" y="2109"/>
                    <a:pt x="3804" y="2132"/>
                  </a:cubicBezTo>
                  <a:lnTo>
                    <a:pt x="3804" y="2132"/>
                  </a:lnTo>
                  <a:cubicBezTo>
                    <a:pt x="3804" y="2124"/>
                    <a:pt x="3804" y="2124"/>
                    <a:pt x="3804" y="2124"/>
                  </a:cubicBezTo>
                  <a:lnTo>
                    <a:pt x="3804" y="2124"/>
                  </a:lnTo>
                  <a:cubicBezTo>
                    <a:pt x="3819" y="2101"/>
                    <a:pt x="3842" y="2078"/>
                    <a:pt x="3842" y="2055"/>
                  </a:cubicBezTo>
                  <a:cubicBezTo>
                    <a:pt x="3850" y="2040"/>
                    <a:pt x="3842" y="2017"/>
                    <a:pt x="3835" y="2001"/>
                  </a:cubicBezTo>
                  <a:cubicBezTo>
                    <a:pt x="3819" y="1979"/>
                    <a:pt x="3781" y="1963"/>
                    <a:pt x="3781" y="1940"/>
                  </a:cubicBezTo>
                  <a:cubicBezTo>
                    <a:pt x="3781" y="1925"/>
                    <a:pt x="3819" y="1940"/>
                    <a:pt x="3835" y="1933"/>
                  </a:cubicBezTo>
                  <a:cubicBezTo>
                    <a:pt x="3850" y="1925"/>
                    <a:pt x="3865" y="1910"/>
                    <a:pt x="3865" y="1895"/>
                  </a:cubicBezTo>
                  <a:cubicBezTo>
                    <a:pt x="3873" y="1872"/>
                    <a:pt x="3850" y="1849"/>
                    <a:pt x="3842" y="1826"/>
                  </a:cubicBezTo>
                  <a:cubicBezTo>
                    <a:pt x="3842" y="1795"/>
                    <a:pt x="3857" y="1765"/>
                    <a:pt x="3865" y="1734"/>
                  </a:cubicBezTo>
                  <a:lnTo>
                    <a:pt x="3865" y="1734"/>
                  </a:lnTo>
                  <a:cubicBezTo>
                    <a:pt x="3850" y="1704"/>
                    <a:pt x="3842" y="1665"/>
                    <a:pt x="3819" y="1650"/>
                  </a:cubicBezTo>
                  <a:cubicBezTo>
                    <a:pt x="3789" y="1627"/>
                    <a:pt x="3735" y="1658"/>
                    <a:pt x="3705" y="1627"/>
                  </a:cubicBezTo>
                  <a:cubicBezTo>
                    <a:pt x="3674" y="1597"/>
                    <a:pt x="3674" y="1543"/>
                    <a:pt x="3659" y="1505"/>
                  </a:cubicBezTo>
                  <a:cubicBezTo>
                    <a:pt x="3643" y="1475"/>
                    <a:pt x="3621" y="1444"/>
                    <a:pt x="3621" y="1406"/>
                  </a:cubicBezTo>
                  <a:cubicBezTo>
                    <a:pt x="3613" y="1383"/>
                    <a:pt x="3628" y="1352"/>
                    <a:pt x="3628" y="1322"/>
                  </a:cubicBezTo>
                  <a:cubicBezTo>
                    <a:pt x="3628" y="1276"/>
                    <a:pt x="3598" y="1230"/>
                    <a:pt x="3613" y="1184"/>
                  </a:cubicBezTo>
                  <a:cubicBezTo>
                    <a:pt x="3613" y="1169"/>
                    <a:pt x="3659" y="1200"/>
                    <a:pt x="3659" y="1184"/>
                  </a:cubicBezTo>
                  <a:cubicBezTo>
                    <a:pt x="3674" y="1161"/>
                    <a:pt x="3643" y="1138"/>
                    <a:pt x="3643" y="1115"/>
                  </a:cubicBezTo>
                  <a:cubicBezTo>
                    <a:pt x="3643" y="1093"/>
                    <a:pt x="3682" y="1070"/>
                    <a:pt x="3666" y="1054"/>
                  </a:cubicBezTo>
                  <a:cubicBezTo>
                    <a:pt x="3636" y="1032"/>
                    <a:pt x="3590" y="1039"/>
                    <a:pt x="3560" y="1039"/>
                  </a:cubicBezTo>
                  <a:cubicBezTo>
                    <a:pt x="3529" y="1032"/>
                    <a:pt x="3499" y="1054"/>
                    <a:pt x="3476" y="1047"/>
                  </a:cubicBezTo>
                  <a:cubicBezTo>
                    <a:pt x="3460" y="1039"/>
                    <a:pt x="3483" y="1016"/>
                    <a:pt x="3476" y="1009"/>
                  </a:cubicBezTo>
                  <a:cubicBezTo>
                    <a:pt x="3453" y="970"/>
                    <a:pt x="3399" y="955"/>
                    <a:pt x="3384" y="917"/>
                  </a:cubicBezTo>
                  <a:cubicBezTo>
                    <a:pt x="3376" y="894"/>
                    <a:pt x="3407" y="871"/>
                    <a:pt x="3414" y="856"/>
                  </a:cubicBezTo>
                  <a:cubicBezTo>
                    <a:pt x="3445" y="818"/>
                    <a:pt x="3476" y="772"/>
                    <a:pt x="3514" y="741"/>
                  </a:cubicBezTo>
                  <a:cubicBezTo>
                    <a:pt x="3521" y="734"/>
                    <a:pt x="3544" y="757"/>
                    <a:pt x="3552" y="741"/>
                  </a:cubicBezTo>
                  <a:cubicBezTo>
                    <a:pt x="3567" y="726"/>
                    <a:pt x="3552" y="696"/>
                    <a:pt x="3567" y="680"/>
                  </a:cubicBezTo>
                  <a:cubicBezTo>
                    <a:pt x="3575" y="673"/>
                    <a:pt x="3582" y="665"/>
                    <a:pt x="3598" y="665"/>
                  </a:cubicBezTo>
                  <a:cubicBezTo>
                    <a:pt x="3621" y="665"/>
                    <a:pt x="3636" y="688"/>
                    <a:pt x="3651" y="680"/>
                  </a:cubicBezTo>
                  <a:cubicBezTo>
                    <a:pt x="3674" y="680"/>
                    <a:pt x="3682" y="650"/>
                    <a:pt x="3697" y="634"/>
                  </a:cubicBezTo>
                  <a:lnTo>
                    <a:pt x="3697" y="634"/>
                  </a:lnTo>
                  <a:cubicBezTo>
                    <a:pt x="3674" y="627"/>
                    <a:pt x="3636" y="627"/>
                    <a:pt x="3636" y="596"/>
                  </a:cubicBezTo>
                  <a:cubicBezTo>
                    <a:pt x="3628" y="558"/>
                    <a:pt x="3689" y="527"/>
                    <a:pt x="3682" y="482"/>
                  </a:cubicBezTo>
                  <a:cubicBezTo>
                    <a:pt x="3682" y="459"/>
                    <a:pt x="3636" y="466"/>
                    <a:pt x="3621" y="443"/>
                  </a:cubicBezTo>
                  <a:cubicBezTo>
                    <a:pt x="3613" y="436"/>
                    <a:pt x="3613" y="421"/>
                    <a:pt x="3628" y="413"/>
                  </a:cubicBezTo>
                  <a:cubicBezTo>
                    <a:pt x="3674" y="398"/>
                    <a:pt x="3720" y="382"/>
                    <a:pt x="3773" y="367"/>
                  </a:cubicBezTo>
                  <a:cubicBezTo>
                    <a:pt x="3796" y="367"/>
                    <a:pt x="3842" y="398"/>
                    <a:pt x="3842" y="367"/>
                  </a:cubicBezTo>
                  <a:cubicBezTo>
                    <a:pt x="3850" y="336"/>
                    <a:pt x="3812" y="306"/>
                    <a:pt x="3789" y="283"/>
                  </a:cubicBezTo>
                  <a:cubicBezTo>
                    <a:pt x="3773" y="268"/>
                    <a:pt x="3751" y="260"/>
                    <a:pt x="3735" y="245"/>
                  </a:cubicBezTo>
                  <a:lnTo>
                    <a:pt x="3735" y="245"/>
                  </a:lnTo>
                  <a:cubicBezTo>
                    <a:pt x="3697" y="252"/>
                    <a:pt x="3651" y="252"/>
                    <a:pt x="3621" y="268"/>
                  </a:cubicBezTo>
                  <a:cubicBezTo>
                    <a:pt x="3598" y="275"/>
                    <a:pt x="3590" y="313"/>
                    <a:pt x="3567" y="321"/>
                  </a:cubicBezTo>
                  <a:cubicBezTo>
                    <a:pt x="3552" y="329"/>
                    <a:pt x="3521" y="313"/>
                    <a:pt x="3499" y="321"/>
                  </a:cubicBezTo>
                  <a:cubicBezTo>
                    <a:pt x="3476" y="329"/>
                    <a:pt x="3468" y="352"/>
                    <a:pt x="3445" y="359"/>
                  </a:cubicBezTo>
                  <a:cubicBezTo>
                    <a:pt x="3414" y="375"/>
                    <a:pt x="3376" y="375"/>
                    <a:pt x="3346" y="367"/>
                  </a:cubicBezTo>
                  <a:cubicBezTo>
                    <a:pt x="3315" y="367"/>
                    <a:pt x="3277" y="336"/>
                    <a:pt x="3239" y="344"/>
                  </a:cubicBezTo>
                  <a:cubicBezTo>
                    <a:pt x="3216" y="352"/>
                    <a:pt x="3216" y="375"/>
                    <a:pt x="3201" y="390"/>
                  </a:cubicBezTo>
                  <a:cubicBezTo>
                    <a:pt x="3178" y="413"/>
                    <a:pt x="3155" y="443"/>
                    <a:pt x="3132" y="451"/>
                  </a:cubicBezTo>
                  <a:cubicBezTo>
                    <a:pt x="3101" y="466"/>
                    <a:pt x="3071" y="474"/>
                    <a:pt x="3040" y="474"/>
                  </a:cubicBezTo>
                  <a:cubicBezTo>
                    <a:pt x="3025" y="474"/>
                    <a:pt x="3010" y="474"/>
                    <a:pt x="2994" y="466"/>
                  </a:cubicBezTo>
                  <a:cubicBezTo>
                    <a:pt x="2979" y="459"/>
                    <a:pt x="2971" y="436"/>
                    <a:pt x="2971" y="421"/>
                  </a:cubicBezTo>
                  <a:cubicBezTo>
                    <a:pt x="2971" y="405"/>
                    <a:pt x="2994" y="405"/>
                    <a:pt x="2994" y="390"/>
                  </a:cubicBezTo>
                  <a:cubicBezTo>
                    <a:pt x="3002" y="367"/>
                    <a:pt x="2971" y="352"/>
                    <a:pt x="2971" y="329"/>
                  </a:cubicBezTo>
                  <a:cubicBezTo>
                    <a:pt x="2979" y="298"/>
                    <a:pt x="3017" y="283"/>
                    <a:pt x="3017" y="252"/>
                  </a:cubicBezTo>
                  <a:cubicBezTo>
                    <a:pt x="3017" y="237"/>
                    <a:pt x="2994" y="237"/>
                    <a:pt x="2979" y="237"/>
                  </a:cubicBezTo>
                  <a:cubicBezTo>
                    <a:pt x="2956" y="229"/>
                    <a:pt x="2933" y="245"/>
                    <a:pt x="2910" y="229"/>
                  </a:cubicBezTo>
                  <a:cubicBezTo>
                    <a:pt x="2903" y="222"/>
                    <a:pt x="2926" y="199"/>
                    <a:pt x="2910" y="199"/>
                  </a:cubicBezTo>
                  <a:cubicBezTo>
                    <a:pt x="2887" y="184"/>
                    <a:pt x="2849" y="168"/>
                    <a:pt x="2819" y="184"/>
                  </a:cubicBezTo>
                  <a:cubicBezTo>
                    <a:pt x="2803" y="199"/>
                    <a:pt x="2826" y="229"/>
                    <a:pt x="2819" y="252"/>
                  </a:cubicBezTo>
                  <a:cubicBezTo>
                    <a:pt x="2819" y="260"/>
                    <a:pt x="2819" y="283"/>
                    <a:pt x="2803" y="283"/>
                  </a:cubicBezTo>
                  <a:cubicBezTo>
                    <a:pt x="2780" y="283"/>
                    <a:pt x="2757" y="268"/>
                    <a:pt x="2727" y="268"/>
                  </a:cubicBezTo>
                  <a:cubicBezTo>
                    <a:pt x="2719" y="268"/>
                    <a:pt x="2704" y="283"/>
                    <a:pt x="2689" y="275"/>
                  </a:cubicBezTo>
                  <a:cubicBezTo>
                    <a:pt x="2666" y="252"/>
                    <a:pt x="2658" y="222"/>
                    <a:pt x="2643" y="199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69" name="Freeform 191"/>
            <p:cNvSpPr>
              <a:spLocks noChangeArrowheads="1"/>
            </p:cNvSpPr>
            <p:nvPr/>
          </p:nvSpPr>
          <p:spPr bwMode="auto">
            <a:xfrm>
              <a:off x="6043220" y="3697289"/>
              <a:ext cx="547651" cy="530225"/>
            </a:xfrm>
            <a:custGeom>
              <a:avLst/>
              <a:gdLst>
                <a:gd name="T0" fmla="*/ 869 w 1520"/>
                <a:gd name="T1" fmla="*/ 1436 h 1475"/>
                <a:gd name="T2" fmla="*/ 869 w 1520"/>
                <a:gd name="T3" fmla="*/ 1436 h 1475"/>
                <a:gd name="T4" fmla="*/ 801 w 1520"/>
                <a:gd name="T5" fmla="*/ 1336 h 1475"/>
                <a:gd name="T6" fmla="*/ 602 w 1520"/>
                <a:gd name="T7" fmla="*/ 1344 h 1475"/>
                <a:gd name="T8" fmla="*/ 526 w 1520"/>
                <a:gd name="T9" fmla="*/ 1359 h 1475"/>
                <a:gd name="T10" fmla="*/ 449 w 1520"/>
                <a:gd name="T11" fmla="*/ 1390 h 1475"/>
                <a:gd name="T12" fmla="*/ 449 w 1520"/>
                <a:gd name="T13" fmla="*/ 1390 h 1475"/>
                <a:gd name="T14" fmla="*/ 312 w 1520"/>
                <a:gd name="T15" fmla="*/ 1352 h 1475"/>
                <a:gd name="T16" fmla="*/ 296 w 1520"/>
                <a:gd name="T17" fmla="*/ 1291 h 1475"/>
                <a:gd name="T18" fmla="*/ 342 w 1520"/>
                <a:gd name="T19" fmla="*/ 1275 h 1475"/>
                <a:gd name="T20" fmla="*/ 350 w 1520"/>
                <a:gd name="T21" fmla="*/ 1245 h 1475"/>
                <a:gd name="T22" fmla="*/ 327 w 1520"/>
                <a:gd name="T23" fmla="*/ 1169 h 1475"/>
                <a:gd name="T24" fmla="*/ 449 w 1520"/>
                <a:gd name="T25" fmla="*/ 1084 h 1475"/>
                <a:gd name="T26" fmla="*/ 457 w 1520"/>
                <a:gd name="T27" fmla="*/ 1046 h 1475"/>
                <a:gd name="T28" fmla="*/ 358 w 1520"/>
                <a:gd name="T29" fmla="*/ 1077 h 1475"/>
                <a:gd name="T30" fmla="*/ 350 w 1520"/>
                <a:gd name="T31" fmla="*/ 1031 h 1475"/>
                <a:gd name="T32" fmla="*/ 358 w 1520"/>
                <a:gd name="T33" fmla="*/ 993 h 1475"/>
                <a:gd name="T34" fmla="*/ 373 w 1520"/>
                <a:gd name="T35" fmla="*/ 939 h 1475"/>
                <a:gd name="T36" fmla="*/ 175 w 1520"/>
                <a:gd name="T37" fmla="*/ 878 h 1475"/>
                <a:gd name="T38" fmla="*/ 122 w 1520"/>
                <a:gd name="T39" fmla="*/ 779 h 1475"/>
                <a:gd name="T40" fmla="*/ 84 w 1520"/>
                <a:gd name="T41" fmla="*/ 748 h 1475"/>
                <a:gd name="T42" fmla="*/ 45 w 1520"/>
                <a:gd name="T43" fmla="*/ 657 h 1475"/>
                <a:gd name="T44" fmla="*/ 7 w 1520"/>
                <a:gd name="T45" fmla="*/ 611 h 1475"/>
                <a:gd name="T46" fmla="*/ 61 w 1520"/>
                <a:gd name="T47" fmla="*/ 504 h 1475"/>
                <a:gd name="T48" fmla="*/ 45 w 1520"/>
                <a:gd name="T49" fmla="*/ 443 h 1475"/>
                <a:gd name="T50" fmla="*/ 7 w 1520"/>
                <a:gd name="T51" fmla="*/ 405 h 1475"/>
                <a:gd name="T52" fmla="*/ 15 w 1520"/>
                <a:gd name="T53" fmla="*/ 313 h 1475"/>
                <a:gd name="T54" fmla="*/ 15 w 1520"/>
                <a:gd name="T55" fmla="*/ 313 h 1475"/>
                <a:gd name="T56" fmla="*/ 61 w 1520"/>
                <a:gd name="T57" fmla="*/ 252 h 1475"/>
                <a:gd name="T58" fmla="*/ 160 w 1520"/>
                <a:gd name="T59" fmla="*/ 214 h 1475"/>
                <a:gd name="T60" fmla="*/ 153 w 1520"/>
                <a:gd name="T61" fmla="*/ 160 h 1475"/>
                <a:gd name="T62" fmla="*/ 198 w 1520"/>
                <a:gd name="T63" fmla="*/ 175 h 1475"/>
                <a:gd name="T64" fmla="*/ 304 w 1520"/>
                <a:gd name="T65" fmla="*/ 214 h 1475"/>
                <a:gd name="T66" fmla="*/ 365 w 1520"/>
                <a:gd name="T67" fmla="*/ 214 h 1475"/>
                <a:gd name="T68" fmla="*/ 404 w 1520"/>
                <a:gd name="T69" fmla="*/ 267 h 1475"/>
                <a:gd name="T70" fmla="*/ 434 w 1520"/>
                <a:gd name="T71" fmla="*/ 252 h 1475"/>
                <a:gd name="T72" fmla="*/ 449 w 1520"/>
                <a:gd name="T73" fmla="*/ 145 h 1475"/>
                <a:gd name="T74" fmla="*/ 480 w 1520"/>
                <a:gd name="T75" fmla="*/ 76 h 1475"/>
                <a:gd name="T76" fmla="*/ 526 w 1520"/>
                <a:gd name="T77" fmla="*/ 53 h 1475"/>
                <a:gd name="T78" fmla="*/ 717 w 1520"/>
                <a:gd name="T79" fmla="*/ 23 h 1475"/>
                <a:gd name="T80" fmla="*/ 778 w 1520"/>
                <a:gd name="T81" fmla="*/ 0 h 1475"/>
                <a:gd name="T82" fmla="*/ 862 w 1520"/>
                <a:gd name="T83" fmla="*/ 23 h 1475"/>
                <a:gd name="T84" fmla="*/ 915 w 1520"/>
                <a:gd name="T85" fmla="*/ 69 h 1475"/>
                <a:gd name="T86" fmla="*/ 984 w 1520"/>
                <a:gd name="T87" fmla="*/ 69 h 1475"/>
                <a:gd name="T88" fmla="*/ 1038 w 1520"/>
                <a:gd name="T89" fmla="*/ 160 h 1475"/>
                <a:gd name="T90" fmla="*/ 1083 w 1520"/>
                <a:gd name="T91" fmla="*/ 198 h 1475"/>
                <a:gd name="T92" fmla="*/ 1099 w 1520"/>
                <a:gd name="T93" fmla="*/ 260 h 1475"/>
                <a:gd name="T94" fmla="*/ 1129 w 1520"/>
                <a:gd name="T95" fmla="*/ 267 h 1475"/>
                <a:gd name="T96" fmla="*/ 1106 w 1520"/>
                <a:gd name="T97" fmla="*/ 359 h 1475"/>
                <a:gd name="T98" fmla="*/ 1144 w 1520"/>
                <a:gd name="T99" fmla="*/ 481 h 1475"/>
                <a:gd name="T100" fmla="*/ 1190 w 1520"/>
                <a:gd name="T101" fmla="*/ 557 h 1475"/>
                <a:gd name="T102" fmla="*/ 1366 w 1520"/>
                <a:gd name="T103" fmla="*/ 580 h 1475"/>
                <a:gd name="T104" fmla="*/ 1511 w 1520"/>
                <a:gd name="T105" fmla="*/ 672 h 1475"/>
                <a:gd name="T106" fmla="*/ 1511 w 1520"/>
                <a:gd name="T107" fmla="*/ 672 h 1475"/>
                <a:gd name="T108" fmla="*/ 1488 w 1520"/>
                <a:gd name="T109" fmla="*/ 802 h 1475"/>
                <a:gd name="T110" fmla="*/ 1412 w 1520"/>
                <a:gd name="T111" fmla="*/ 939 h 1475"/>
                <a:gd name="T112" fmla="*/ 1182 w 1520"/>
                <a:gd name="T113" fmla="*/ 1237 h 1475"/>
                <a:gd name="T114" fmla="*/ 1022 w 1520"/>
                <a:gd name="T115" fmla="*/ 1413 h 1475"/>
                <a:gd name="T116" fmla="*/ 869 w 1520"/>
                <a:gd name="T117" fmla="*/ 1436 h 1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20" h="1475">
                  <a:moveTo>
                    <a:pt x="869" y="1436"/>
                  </a:moveTo>
                  <a:lnTo>
                    <a:pt x="869" y="1436"/>
                  </a:lnTo>
                  <a:cubicBezTo>
                    <a:pt x="854" y="1413"/>
                    <a:pt x="831" y="1344"/>
                    <a:pt x="801" y="1336"/>
                  </a:cubicBezTo>
                  <a:cubicBezTo>
                    <a:pt x="740" y="1321"/>
                    <a:pt x="671" y="1336"/>
                    <a:pt x="602" y="1344"/>
                  </a:cubicBezTo>
                  <a:cubicBezTo>
                    <a:pt x="571" y="1344"/>
                    <a:pt x="549" y="1352"/>
                    <a:pt x="526" y="1359"/>
                  </a:cubicBezTo>
                  <a:cubicBezTo>
                    <a:pt x="503" y="1367"/>
                    <a:pt x="480" y="1375"/>
                    <a:pt x="449" y="1390"/>
                  </a:cubicBezTo>
                  <a:lnTo>
                    <a:pt x="449" y="1390"/>
                  </a:lnTo>
                  <a:cubicBezTo>
                    <a:pt x="404" y="1375"/>
                    <a:pt x="350" y="1382"/>
                    <a:pt x="312" y="1352"/>
                  </a:cubicBezTo>
                  <a:cubicBezTo>
                    <a:pt x="290" y="1344"/>
                    <a:pt x="282" y="1314"/>
                    <a:pt x="296" y="1291"/>
                  </a:cubicBezTo>
                  <a:cubicBezTo>
                    <a:pt x="296" y="1275"/>
                    <a:pt x="327" y="1291"/>
                    <a:pt x="342" y="1275"/>
                  </a:cubicBezTo>
                  <a:cubicBezTo>
                    <a:pt x="350" y="1275"/>
                    <a:pt x="350" y="1260"/>
                    <a:pt x="350" y="1245"/>
                  </a:cubicBezTo>
                  <a:cubicBezTo>
                    <a:pt x="342" y="1222"/>
                    <a:pt x="312" y="1192"/>
                    <a:pt x="327" y="1169"/>
                  </a:cubicBezTo>
                  <a:cubicBezTo>
                    <a:pt x="350" y="1123"/>
                    <a:pt x="411" y="1115"/>
                    <a:pt x="449" y="1084"/>
                  </a:cubicBezTo>
                  <a:cubicBezTo>
                    <a:pt x="457" y="1077"/>
                    <a:pt x="472" y="1054"/>
                    <a:pt x="457" y="1046"/>
                  </a:cubicBezTo>
                  <a:cubicBezTo>
                    <a:pt x="426" y="1046"/>
                    <a:pt x="388" y="1084"/>
                    <a:pt x="358" y="1077"/>
                  </a:cubicBezTo>
                  <a:cubicBezTo>
                    <a:pt x="342" y="1077"/>
                    <a:pt x="350" y="1046"/>
                    <a:pt x="350" y="1031"/>
                  </a:cubicBezTo>
                  <a:cubicBezTo>
                    <a:pt x="350" y="1016"/>
                    <a:pt x="350" y="1000"/>
                    <a:pt x="358" y="993"/>
                  </a:cubicBezTo>
                  <a:cubicBezTo>
                    <a:pt x="358" y="970"/>
                    <a:pt x="388" y="947"/>
                    <a:pt x="373" y="939"/>
                  </a:cubicBezTo>
                  <a:cubicBezTo>
                    <a:pt x="319" y="901"/>
                    <a:pt x="244" y="901"/>
                    <a:pt x="175" y="878"/>
                  </a:cubicBezTo>
                  <a:cubicBezTo>
                    <a:pt x="114" y="855"/>
                    <a:pt x="122" y="779"/>
                    <a:pt x="122" y="779"/>
                  </a:cubicBezTo>
                  <a:cubicBezTo>
                    <a:pt x="107" y="771"/>
                    <a:pt x="91" y="764"/>
                    <a:pt x="84" y="748"/>
                  </a:cubicBezTo>
                  <a:cubicBezTo>
                    <a:pt x="61" y="725"/>
                    <a:pt x="61" y="687"/>
                    <a:pt x="45" y="657"/>
                  </a:cubicBezTo>
                  <a:cubicBezTo>
                    <a:pt x="38" y="642"/>
                    <a:pt x="7" y="634"/>
                    <a:pt x="7" y="611"/>
                  </a:cubicBezTo>
                  <a:cubicBezTo>
                    <a:pt x="15" y="573"/>
                    <a:pt x="45" y="542"/>
                    <a:pt x="61" y="504"/>
                  </a:cubicBezTo>
                  <a:cubicBezTo>
                    <a:pt x="61" y="481"/>
                    <a:pt x="61" y="458"/>
                    <a:pt x="45" y="443"/>
                  </a:cubicBezTo>
                  <a:cubicBezTo>
                    <a:pt x="38" y="428"/>
                    <a:pt x="7" y="428"/>
                    <a:pt x="7" y="405"/>
                  </a:cubicBezTo>
                  <a:cubicBezTo>
                    <a:pt x="0" y="374"/>
                    <a:pt x="15" y="344"/>
                    <a:pt x="15" y="313"/>
                  </a:cubicBezTo>
                  <a:lnTo>
                    <a:pt x="15" y="313"/>
                  </a:lnTo>
                  <a:cubicBezTo>
                    <a:pt x="30" y="290"/>
                    <a:pt x="45" y="267"/>
                    <a:pt x="61" y="252"/>
                  </a:cubicBezTo>
                  <a:cubicBezTo>
                    <a:pt x="91" y="237"/>
                    <a:pt x="137" y="244"/>
                    <a:pt x="160" y="214"/>
                  </a:cubicBezTo>
                  <a:cubicBezTo>
                    <a:pt x="168" y="198"/>
                    <a:pt x="137" y="168"/>
                    <a:pt x="153" y="160"/>
                  </a:cubicBezTo>
                  <a:cubicBezTo>
                    <a:pt x="160" y="145"/>
                    <a:pt x="183" y="175"/>
                    <a:pt x="198" y="175"/>
                  </a:cubicBezTo>
                  <a:cubicBezTo>
                    <a:pt x="236" y="191"/>
                    <a:pt x="267" y="206"/>
                    <a:pt x="304" y="214"/>
                  </a:cubicBezTo>
                  <a:cubicBezTo>
                    <a:pt x="319" y="214"/>
                    <a:pt x="342" y="206"/>
                    <a:pt x="365" y="214"/>
                  </a:cubicBezTo>
                  <a:cubicBezTo>
                    <a:pt x="381" y="229"/>
                    <a:pt x="381" y="260"/>
                    <a:pt x="404" y="267"/>
                  </a:cubicBezTo>
                  <a:cubicBezTo>
                    <a:pt x="411" y="275"/>
                    <a:pt x="426" y="260"/>
                    <a:pt x="434" y="252"/>
                  </a:cubicBezTo>
                  <a:cubicBezTo>
                    <a:pt x="449" y="214"/>
                    <a:pt x="442" y="175"/>
                    <a:pt x="449" y="145"/>
                  </a:cubicBezTo>
                  <a:cubicBezTo>
                    <a:pt x="457" y="122"/>
                    <a:pt x="465" y="99"/>
                    <a:pt x="480" y="76"/>
                  </a:cubicBezTo>
                  <a:cubicBezTo>
                    <a:pt x="495" y="61"/>
                    <a:pt x="510" y="53"/>
                    <a:pt x="526" y="53"/>
                  </a:cubicBezTo>
                  <a:cubicBezTo>
                    <a:pt x="587" y="38"/>
                    <a:pt x="656" y="31"/>
                    <a:pt x="717" y="23"/>
                  </a:cubicBezTo>
                  <a:cubicBezTo>
                    <a:pt x="740" y="15"/>
                    <a:pt x="755" y="0"/>
                    <a:pt x="778" y="0"/>
                  </a:cubicBezTo>
                  <a:cubicBezTo>
                    <a:pt x="808" y="0"/>
                    <a:pt x="839" y="8"/>
                    <a:pt x="862" y="23"/>
                  </a:cubicBezTo>
                  <a:cubicBezTo>
                    <a:pt x="885" y="31"/>
                    <a:pt x="892" y="61"/>
                    <a:pt x="915" y="69"/>
                  </a:cubicBezTo>
                  <a:cubicBezTo>
                    <a:pt x="930" y="76"/>
                    <a:pt x="961" y="53"/>
                    <a:pt x="984" y="69"/>
                  </a:cubicBezTo>
                  <a:cubicBezTo>
                    <a:pt x="1015" y="92"/>
                    <a:pt x="1015" y="137"/>
                    <a:pt x="1038" y="160"/>
                  </a:cubicBezTo>
                  <a:cubicBezTo>
                    <a:pt x="1045" y="175"/>
                    <a:pt x="1076" y="183"/>
                    <a:pt x="1083" y="198"/>
                  </a:cubicBezTo>
                  <a:cubicBezTo>
                    <a:pt x="1091" y="214"/>
                    <a:pt x="1083" y="244"/>
                    <a:pt x="1099" y="260"/>
                  </a:cubicBezTo>
                  <a:cubicBezTo>
                    <a:pt x="1099" y="275"/>
                    <a:pt x="1129" y="260"/>
                    <a:pt x="1129" y="267"/>
                  </a:cubicBezTo>
                  <a:cubicBezTo>
                    <a:pt x="1129" y="298"/>
                    <a:pt x="1106" y="328"/>
                    <a:pt x="1106" y="359"/>
                  </a:cubicBezTo>
                  <a:cubicBezTo>
                    <a:pt x="1106" y="405"/>
                    <a:pt x="1121" y="443"/>
                    <a:pt x="1144" y="481"/>
                  </a:cubicBezTo>
                  <a:cubicBezTo>
                    <a:pt x="1152" y="512"/>
                    <a:pt x="1167" y="542"/>
                    <a:pt x="1190" y="557"/>
                  </a:cubicBezTo>
                  <a:cubicBezTo>
                    <a:pt x="1244" y="580"/>
                    <a:pt x="1313" y="565"/>
                    <a:pt x="1366" y="580"/>
                  </a:cubicBezTo>
                  <a:cubicBezTo>
                    <a:pt x="1419" y="603"/>
                    <a:pt x="1465" y="642"/>
                    <a:pt x="1511" y="672"/>
                  </a:cubicBezTo>
                  <a:lnTo>
                    <a:pt x="1511" y="672"/>
                  </a:lnTo>
                  <a:cubicBezTo>
                    <a:pt x="1511" y="725"/>
                    <a:pt x="1519" y="771"/>
                    <a:pt x="1488" y="802"/>
                  </a:cubicBezTo>
                  <a:cubicBezTo>
                    <a:pt x="1457" y="825"/>
                    <a:pt x="1358" y="901"/>
                    <a:pt x="1412" y="939"/>
                  </a:cubicBezTo>
                  <a:cubicBezTo>
                    <a:pt x="1496" y="1008"/>
                    <a:pt x="1244" y="1176"/>
                    <a:pt x="1182" y="1237"/>
                  </a:cubicBezTo>
                  <a:cubicBezTo>
                    <a:pt x="1022" y="1413"/>
                    <a:pt x="1022" y="1413"/>
                    <a:pt x="1022" y="1413"/>
                  </a:cubicBezTo>
                  <a:cubicBezTo>
                    <a:pt x="961" y="1474"/>
                    <a:pt x="923" y="1444"/>
                    <a:pt x="869" y="143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70" name="Freeform 192"/>
            <p:cNvSpPr>
              <a:spLocks noChangeArrowheads="1"/>
            </p:cNvSpPr>
            <p:nvPr/>
          </p:nvSpPr>
          <p:spPr bwMode="auto">
            <a:xfrm>
              <a:off x="6205134" y="4173538"/>
              <a:ext cx="150802" cy="55562"/>
            </a:xfrm>
            <a:custGeom>
              <a:avLst/>
              <a:gdLst>
                <a:gd name="T0" fmla="*/ 54 w 421"/>
                <a:gd name="T1" fmla="*/ 153 h 154"/>
                <a:gd name="T2" fmla="*/ 54 w 421"/>
                <a:gd name="T3" fmla="*/ 153 h 154"/>
                <a:gd name="T4" fmla="*/ 145 w 421"/>
                <a:gd name="T5" fmla="*/ 146 h 154"/>
                <a:gd name="T6" fmla="*/ 298 w 421"/>
                <a:gd name="T7" fmla="*/ 100 h 154"/>
                <a:gd name="T8" fmla="*/ 375 w 421"/>
                <a:gd name="T9" fmla="*/ 115 h 154"/>
                <a:gd name="T10" fmla="*/ 420 w 421"/>
                <a:gd name="T11" fmla="*/ 115 h 154"/>
                <a:gd name="T12" fmla="*/ 420 w 421"/>
                <a:gd name="T13" fmla="*/ 115 h 154"/>
                <a:gd name="T14" fmla="*/ 352 w 421"/>
                <a:gd name="T15" fmla="*/ 15 h 154"/>
                <a:gd name="T16" fmla="*/ 153 w 421"/>
                <a:gd name="T17" fmla="*/ 23 h 154"/>
                <a:gd name="T18" fmla="*/ 77 w 421"/>
                <a:gd name="T19" fmla="*/ 38 h 154"/>
                <a:gd name="T20" fmla="*/ 0 w 421"/>
                <a:gd name="T21" fmla="*/ 69 h 154"/>
                <a:gd name="T22" fmla="*/ 0 w 421"/>
                <a:gd name="T23" fmla="*/ 69 h 154"/>
                <a:gd name="T24" fmla="*/ 54 w 421"/>
                <a:gd name="T25" fmla="*/ 15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1" h="154">
                  <a:moveTo>
                    <a:pt x="54" y="153"/>
                  </a:moveTo>
                  <a:lnTo>
                    <a:pt x="54" y="153"/>
                  </a:lnTo>
                  <a:cubicBezTo>
                    <a:pt x="77" y="138"/>
                    <a:pt x="107" y="138"/>
                    <a:pt x="145" y="146"/>
                  </a:cubicBezTo>
                  <a:cubicBezTo>
                    <a:pt x="207" y="146"/>
                    <a:pt x="245" y="115"/>
                    <a:pt x="298" y="100"/>
                  </a:cubicBezTo>
                  <a:cubicBezTo>
                    <a:pt x="321" y="92"/>
                    <a:pt x="359" y="123"/>
                    <a:pt x="375" y="115"/>
                  </a:cubicBezTo>
                  <a:cubicBezTo>
                    <a:pt x="390" y="107"/>
                    <a:pt x="405" y="107"/>
                    <a:pt x="420" y="115"/>
                  </a:cubicBezTo>
                  <a:lnTo>
                    <a:pt x="420" y="115"/>
                  </a:lnTo>
                  <a:cubicBezTo>
                    <a:pt x="405" y="92"/>
                    <a:pt x="382" y="23"/>
                    <a:pt x="352" y="15"/>
                  </a:cubicBezTo>
                  <a:cubicBezTo>
                    <a:pt x="291" y="0"/>
                    <a:pt x="222" y="15"/>
                    <a:pt x="153" y="23"/>
                  </a:cubicBezTo>
                  <a:cubicBezTo>
                    <a:pt x="122" y="23"/>
                    <a:pt x="100" y="31"/>
                    <a:pt x="77" y="38"/>
                  </a:cubicBezTo>
                  <a:cubicBezTo>
                    <a:pt x="54" y="46"/>
                    <a:pt x="31" y="54"/>
                    <a:pt x="0" y="69"/>
                  </a:cubicBezTo>
                  <a:lnTo>
                    <a:pt x="0" y="69"/>
                  </a:lnTo>
                  <a:cubicBezTo>
                    <a:pt x="54" y="153"/>
                    <a:pt x="54" y="153"/>
                    <a:pt x="54" y="15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71" name="Freeform 193"/>
            <p:cNvSpPr>
              <a:spLocks noChangeArrowheads="1"/>
            </p:cNvSpPr>
            <p:nvPr/>
          </p:nvSpPr>
          <p:spPr bwMode="auto">
            <a:xfrm>
              <a:off x="5813047" y="2909888"/>
              <a:ext cx="1160387" cy="1028700"/>
            </a:xfrm>
            <a:custGeom>
              <a:avLst/>
              <a:gdLst>
                <a:gd name="T0" fmla="*/ 2695 w 3223"/>
                <a:gd name="T1" fmla="*/ 1391 h 2858"/>
                <a:gd name="T2" fmla="*/ 2481 w 3223"/>
                <a:gd name="T3" fmla="*/ 1368 h 2858"/>
                <a:gd name="T4" fmla="*/ 2481 w 3223"/>
                <a:gd name="T5" fmla="*/ 1658 h 2858"/>
                <a:gd name="T6" fmla="*/ 2466 w 3223"/>
                <a:gd name="T7" fmla="*/ 1765 h 2858"/>
                <a:gd name="T8" fmla="*/ 2558 w 3223"/>
                <a:gd name="T9" fmla="*/ 1772 h 2858"/>
                <a:gd name="T10" fmla="*/ 2733 w 3223"/>
                <a:gd name="T11" fmla="*/ 1772 h 2858"/>
                <a:gd name="T12" fmla="*/ 2520 w 3223"/>
                <a:gd name="T13" fmla="*/ 2185 h 2858"/>
                <a:gd name="T14" fmla="*/ 2153 w 3223"/>
                <a:gd name="T15" fmla="*/ 2857 h 2858"/>
                <a:gd name="T16" fmla="*/ 1832 w 3223"/>
                <a:gd name="T17" fmla="*/ 2742 h 2858"/>
                <a:gd name="T18" fmla="*/ 1771 w 3223"/>
                <a:gd name="T19" fmla="*/ 2452 h 2858"/>
                <a:gd name="T20" fmla="*/ 1680 w 3223"/>
                <a:gd name="T21" fmla="*/ 2345 h 2858"/>
                <a:gd name="T22" fmla="*/ 1504 w 3223"/>
                <a:gd name="T23" fmla="*/ 2208 h 2858"/>
                <a:gd name="T24" fmla="*/ 1168 w 3223"/>
                <a:gd name="T25" fmla="*/ 2238 h 2858"/>
                <a:gd name="T26" fmla="*/ 1076 w 3223"/>
                <a:gd name="T27" fmla="*/ 2437 h 2858"/>
                <a:gd name="T28" fmla="*/ 946 w 3223"/>
                <a:gd name="T29" fmla="*/ 2399 h 2858"/>
                <a:gd name="T30" fmla="*/ 802 w 3223"/>
                <a:gd name="T31" fmla="*/ 2399 h 2858"/>
                <a:gd name="T32" fmla="*/ 657 w 3223"/>
                <a:gd name="T33" fmla="*/ 2498 h 2858"/>
                <a:gd name="T34" fmla="*/ 420 w 3223"/>
                <a:gd name="T35" fmla="*/ 2452 h 2858"/>
                <a:gd name="T36" fmla="*/ 374 w 3223"/>
                <a:gd name="T37" fmla="*/ 2422 h 2858"/>
                <a:gd name="T38" fmla="*/ 214 w 3223"/>
                <a:gd name="T39" fmla="*/ 2330 h 2858"/>
                <a:gd name="T40" fmla="*/ 107 w 3223"/>
                <a:gd name="T41" fmla="*/ 2322 h 2858"/>
                <a:gd name="T42" fmla="*/ 0 w 3223"/>
                <a:gd name="T43" fmla="*/ 2330 h 2858"/>
                <a:gd name="T44" fmla="*/ 84 w 3223"/>
                <a:gd name="T45" fmla="*/ 2040 h 2858"/>
                <a:gd name="T46" fmla="*/ 153 w 3223"/>
                <a:gd name="T47" fmla="*/ 1902 h 2858"/>
                <a:gd name="T48" fmla="*/ 283 w 3223"/>
                <a:gd name="T49" fmla="*/ 1849 h 2858"/>
                <a:gd name="T50" fmla="*/ 474 w 3223"/>
                <a:gd name="T51" fmla="*/ 1841 h 2858"/>
                <a:gd name="T52" fmla="*/ 764 w 3223"/>
                <a:gd name="T53" fmla="*/ 1788 h 2858"/>
                <a:gd name="T54" fmla="*/ 795 w 3223"/>
                <a:gd name="T55" fmla="*/ 1558 h 2858"/>
                <a:gd name="T56" fmla="*/ 1191 w 3223"/>
                <a:gd name="T57" fmla="*/ 1268 h 2858"/>
                <a:gd name="T58" fmla="*/ 1374 w 3223"/>
                <a:gd name="T59" fmla="*/ 1138 h 2858"/>
                <a:gd name="T60" fmla="*/ 1298 w 3223"/>
                <a:gd name="T61" fmla="*/ 886 h 2858"/>
                <a:gd name="T62" fmla="*/ 1366 w 3223"/>
                <a:gd name="T63" fmla="*/ 642 h 2858"/>
                <a:gd name="T64" fmla="*/ 1588 w 3223"/>
                <a:gd name="T65" fmla="*/ 512 h 2858"/>
                <a:gd name="T66" fmla="*/ 1763 w 3223"/>
                <a:gd name="T67" fmla="*/ 604 h 2858"/>
                <a:gd name="T68" fmla="*/ 1824 w 3223"/>
                <a:gd name="T69" fmla="*/ 497 h 2858"/>
                <a:gd name="T70" fmla="*/ 1710 w 3223"/>
                <a:gd name="T71" fmla="*/ 374 h 2858"/>
                <a:gd name="T72" fmla="*/ 1641 w 3223"/>
                <a:gd name="T73" fmla="*/ 69 h 2858"/>
                <a:gd name="T74" fmla="*/ 2367 w 3223"/>
                <a:gd name="T75" fmla="*/ 38 h 2858"/>
                <a:gd name="T76" fmla="*/ 2642 w 3223"/>
                <a:gd name="T77" fmla="*/ 38 h 2858"/>
                <a:gd name="T78" fmla="*/ 2970 w 3223"/>
                <a:gd name="T79" fmla="*/ 107 h 2858"/>
                <a:gd name="T80" fmla="*/ 3116 w 3223"/>
                <a:gd name="T81" fmla="*/ 283 h 2858"/>
                <a:gd name="T82" fmla="*/ 3131 w 3223"/>
                <a:gd name="T83" fmla="*/ 848 h 2858"/>
                <a:gd name="T84" fmla="*/ 2924 w 3223"/>
                <a:gd name="T85" fmla="*/ 1100 h 2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23" h="2858">
                  <a:moveTo>
                    <a:pt x="2756" y="1398"/>
                  </a:moveTo>
                  <a:lnTo>
                    <a:pt x="2756" y="1398"/>
                  </a:lnTo>
                  <a:cubicBezTo>
                    <a:pt x="2733" y="1391"/>
                    <a:pt x="2718" y="1383"/>
                    <a:pt x="2695" y="1391"/>
                  </a:cubicBezTo>
                  <a:cubicBezTo>
                    <a:pt x="2672" y="1391"/>
                    <a:pt x="2657" y="1436"/>
                    <a:pt x="2627" y="1436"/>
                  </a:cubicBezTo>
                  <a:cubicBezTo>
                    <a:pt x="2596" y="1429"/>
                    <a:pt x="2588" y="1391"/>
                    <a:pt x="2566" y="1375"/>
                  </a:cubicBezTo>
                  <a:cubicBezTo>
                    <a:pt x="2535" y="1368"/>
                    <a:pt x="2504" y="1352"/>
                    <a:pt x="2481" y="1368"/>
                  </a:cubicBezTo>
                  <a:cubicBezTo>
                    <a:pt x="2459" y="1383"/>
                    <a:pt x="2436" y="1421"/>
                    <a:pt x="2443" y="1459"/>
                  </a:cubicBezTo>
                  <a:cubicBezTo>
                    <a:pt x="2451" y="1505"/>
                    <a:pt x="2504" y="1536"/>
                    <a:pt x="2512" y="1581"/>
                  </a:cubicBezTo>
                  <a:cubicBezTo>
                    <a:pt x="2512" y="1612"/>
                    <a:pt x="2504" y="1643"/>
                    <a:pt x="2481" y="1658"/>
                  </a:cubicBezTo>
                  <a:cubicBezTo>
                    <a:pt x="2443" y="1673"/>
                    <a:pt x="2397" y="1627"/>
                    <a:pt x="2367" y="1650"/>
                  </a:cubicBezTo>
                  <a:cubicBezTo>
                    <a:pt x="2336" y="1681"/>
                    <a:pt x="2329" y="1742"/>
                    <a:pt x="2352" y="1772"/>
                  </a:cubicBezTo>
                  <a:cubicBezTo>
                    <a:pt x="2374" y="1803"/>
                    <a:pt x="2428" y="1742"/>
                    <a:pt x="2466" y="1765"/>
                  </a:cubicBezTo>
                  <a:cubicBezTo>
                    <a:pt x="2481" y="1772"/>
                    <a:pt x="2436" y="1803"/>
                    <a:pt x="2451" y="1818"/>
                  </a:cubicBezTo>
                  <a:cubicBezTo>
                    <a:pt x="2459" y="1833"/>
                    <a:pt x="2481" y="1826"/>
                    <a:pt x="2497" y="1818"/>
                  </a:cubicBezTo>
                  <a:cubicBezTo>
                    <a:pt x="2520" y="1810"/>
                    <a:pt x="2535" y="1788"/>
                    <a:pt x="2558" y="1772"/>
                  </a:cubicBezTo>
                  <a:cubicBezTo>
                    <a:pt x="2604" y="1749"/>
                    <a:pt x="2642" y="1704"/>
                    <a:pt x="2695" y="1711"/>
                  </a:cubicBezTo>
                  <a:cubicBezTo>
                    <a:pt x="2726" y="1711"/>
                    <a:pt x="2718" y="1749"/>
                    <a:pt x="2733" y="1772"/>
                  </a:cubicBezTo>
                  <a:lnTo>
                    <a:pt x="2733" y="1772"/>
                  </a:lnTo>
                  <a:cubicBezTo>
                    <a:pt x="2703" y="1864"/>
                    <a:pt x="2657" y="1963"/>
                    <a:pt x="2596" y="2040"/>
                  </a:cubicBezTo>
                  <a:cubicBezTo>
                    <a:pt x="2604" y="2070"/>
                    <a:pt x="2550" y="2170"/>
                    <a:pt x="2520" y="2177"/>
                  </a:cubicBezTo>
                  <a:cubicBezTo>
                    <a:pt x="2520" y="2177"/>
                    <a:pt x="2520" y="2177"/>
                    <a:pt x="2520" y="2185"/>
                  </a:cubicBezTo>
                  <a:cubicBezTo>
                    <a:pt x="2627" y="2208"/>
                    <a:pt x="2405" y="2552"/>
                    <a:pt x="2382" y="2597"/>
                  </a:cubicBezTo>
                  <a:cubicBezTo>
                    <a:pt x="2329" y="2666"/>
                    <a:pt x="2245" y="2689"/>
                    <a:pt x="2191" y="2750"/>
                  </a:cubicBezTo>
                  <a:cubicBezTo>
                    <a:pt x="2161" y="2781"/>
                    <a:pt x="2153" y="2819"/>
                    <a:pt x="2153" y="2857"/>
                  </a:cubicBezTo>
                  <a:lnTo>
                    <a:pt x="2153" y="2857"/>
                  </a:lnTo>
                  <a:cubicBezTo>
                    <a:pt x="2107" y="2827"/>
                    <a:pt x="2061" y="2788"/>
                    <a:pt x="2008" y="2765"/>
                  </a:cubicBezTo>
                  <a:cubicBezTo>
                    <a:pt x="1955" y="2750"/>
                    <a:pt x="1886" y="2765"/>
                    <a:pt x="1832" y="2742"/>
                  </a:cubicBezTo>
                  <a:cubicBezTo>
                    <a:pt x="1809" y="2727"/>
                    <a:pt x="1794" y="2697"/>
                    <a:pt x="1786" y="2666"/>
                  </a:cubicBezTo>
                  <a:cubicBezTo>
                    <a:pt x="1763" y="2628"/>
                    <a:pt x="1748" y="2590"/>
                    <a:pt x="1748" y="2544"/>
                  </a:cubicBezTo>
                  <a:cubicBezTo>
                    <a:pt x="1748" y="2513"/>
                    <a:pt x="1771" y="2483"/>
                    <a:pt x="1771" y="2452"/>
                  </a:cubicBezTo>
                  <a:cubicBezTo>
                    <a:pt x="1771" y="2445"/>
                    <a:pt x="1741" y="2460"/>
                    <a:pt x="1741" y="2445"/>
                  </a:cubicBezTo>
                  <a:cubicBezTo>
                    <a:pt x="1725" y="2429"/>
                    <a:pt x="1733" y="2399"/>
                    <a:pt x="1725" y="2383"/>
                  </a:cubicBezTo>
                  <a:cubicBezTo>
                    <a:pt x="1718" y="2368"/>
                    <a:pt x="1687" y="2360"/>
                    <a:pt x="1680" y="2345"/>
                  </a:cubicBezTo>
                  <a:cubicBezTo>
                    <a:pt x="1657" y="2322"/>
                    <a:pt x="1657" y="2277"/>
                    <a:pt x="1626" y="2254"/>
                  </a:cubicBezTo>
                  <a:cubicBezTo>
                    <a:pt x="1603" y="2238"/>
                    <a:pt x="1572" y="2261"/>
                    <a:pt x="1557" y="2254"/>
                  </a:cubicBezTo>
                  <a:cubicBezTo>
                    <a:pt x="1534" y="2246"/>
                    <a:pt x="1527" y="2216"/>
                    <a:pt x="1504" y="2208"/>
                  </a:cubicBezTo>
                  <a:cubicBezTo>
                    <a:pt x="1481" y="2193"/>
                    <a:pt x="1450" y="2185"/>
                    <a:pt x="1420" y="2185"/>
                  </a:cubicBezTo>
                  <a:cubicBezTo>
                    <a:pt x="1397" y="2185"/>
                    <a:pt x="1382" y="2200"/>
                    <a:pt x="1359" y="2208"/>
                  </a:cubicBezTo>
                  <a:cubicBezTo>
                    <a:pt x="1298" y="2216"/>
                    <a:pt x="1229" y="2223"/>
                    <a:pt x="1168" y="2238"/>
                  </a:cubicBezTo>
                  <a:cubicBezTo>
                    <a:pt x="1152" y="2238"/>
                    <a:pt x="1137" y="2246"/>
                    <a:pt x="1122" y="2261"/>
                  </a:cubicBezTo>
                  <a:cubicBezTo>
                    <a:pt x="1107" y="2284"/>
                    <a:pt x="1099" y="2307"/>
                    <a:pt x="1091" y="2330"/>
                  </a:cubicBezTo>
                  <a:cubicBezTo>
                    <a:pt x="1084" y="2360"/>
                    <a:pt x="1091" y="2399"/>
                    <a:pt x="1076" y="2437"/>
                  </a:cubicBezTo>
                  <a:cubicBezTo>
                    <a:pt x="1068" y="2445"/>
                    <a:pt x="1053" y="2460"/>
                    <a:pt x="1046" y="2452"/>
                  </a:cubicBezTo>
                  <a:cubicBezTo>
                    <a:pt x="1023" y="2445"/>
                    <a:pt x="1023" y="2414"/>
                    <a:pt x="1007" y="2399"/>
                  </a:cubicBezTo>
                  <a:cubicBezTo>
                    <a:pt x="984" y="2391"/>
                    <a:pt x="961" y="2399"/>
                    <a:pt x="946" y="2399"/>
                  </a:cubicBezTo>
                  <a:cubicBezTo>
                    <a:pt x="909" y="2391"/>
                    <a:pt x="878" y="2376"/>
                    <a:pt x="840" y="2360"/>
                  </a:cubicBezTo>
                  <a:cubicBezTo>
                    <a:pt x="825" y="2360"/>
                    <a:pt x="802" y="2330"/>
                    <a:pt x="795" y="2345"/>
                  </a:cubicBezTo>
                  <a:cubicBezTo>
                    <a:pt x="779" y="2353"/>
                    <a:pt x="810" y="2383"/>
                    <a:pt x="802" y="2399"/>
                  </a:cubicBezTo>
                  <a:cubicBezTo>
                    <a:pt x="779" y="2429"/>
                    <a:pt x="733" y="2422"/>
                    <a:pt x="703" y="2437"/>
                  </a:cubicBezTo>
                  <a:cubicBezTo>
                    <a:pt x="687" y="2452"/>
                    <a:pt x="672" y="2475"/>
                    <a:pt x="657" y="2498"/>
                  </a:cubicBezTo>
                  <a:lnTo>
                    <a:pt x="657" y="2498"/>
                  </a:lnTo>
                  <a:cubicBezTo>
                    <a:pt x="626" y="2483"/>
                    <a:pt x="596" y="2460"/>
                    <a:pt x="565" y="2460"/>
                  </a:cubicBezTo>
                  <a:cubicBezTo>
                    <a:pt x="542" y="2460"/>
                    <a:pt x="535" y="2490"/>
                    <a:pt x="520" y="2490"/>
                  </a:cubicBezTo>
                  <a:cubicBezTo>
                    <a:pt x="481" y="2490"/>
                    <a:pt x="451" y="2452"/>
                    <a:pt x="420" y="2452"/>
                  </a:cubicBezTo>
                  <a:cubicBezTo>
                    <a:pt x="405" y="2445"/>
                    <a:pt x="390" y="2460"/>
                    <a:pt x="374" y="2460"/>
                  </a:cubicBezTo>
                  <a:cubicBezTo>
                    <a:pt x="367" y="2460"/>
                    <a:pt x="374" y="2452"/>
                    <a:pt x="374" y="2445"/>
                  </a:cubicBezTo>
                  <a:cubicBezTo>
                    <a:pt x="374" y="2437"/>
                    <a:pt x="382" y="2429"/>
                    <a:pt x="374" y="2422"/>
                  </a:cubicBezTo>
                  <a:cubicBezTo>
                    <a:pt x="374" y="2391"/>
                    <a:pt x="374" y="2353"/>
                    <a:pt x="344" y="2338"/>
                  </a:cubicBezTo>
                  <a:cubicBezTo>
                    <a:pt x="321" y="2322"/>
                    <a:pt x="290" y="2345"/>
                    <a:pt x="260" y="2345"/>
                  </a:cubicBezTo>
                  <a:cubicBezTo>
                    <a:pt x="245" y="2345"/>
                    <a:pt x="229" y="2322"/>
                    <a:pt x="214" y="2330"/>
                  </a:cubicBezTo>
                  <a:cubicBezTo>
                    <a:pt x="199" y="2338"/>
                    <a:pt x="206" y="2368"/>
                    <a:pt x="191" y="2376"/>
                  </a:cubicBezTo>
                  <a:cubicBezTo>
                    <a:pt x="176" y="2383"/>
                    <a:pt x="153" y="2383"/>
                    <a:pt x="138" y="2376"/>
                  </a:cubicBezTo>
                  <a:cubicBezTo>
                    <a:pt x="122" y="2360"/>
                    <a:pt x="122" y="2330"/>
                    <a:pt x="107" y="2322"/>
                  </a:cubicBezTo>
                  <a:cubicBezTo>
                    <a:pt x="76" y="2322"/>
                    <a:pt x="61" y="2360"/>
                    <a:pt x="38" y="2360"/>
                  </a:cubicBezTo>
                  <a:cubicBezTo>
                    <a:pt x="23" y="2360"/>
                    <a:pt x="15" y="2338"/>
                    <a:pt x="0" y="2330"/>
                  </a:cubicBezTo>
                  <a:lnTo>
                    <a:pt x="0" y="2330"/>
                  </a:lnTo>
                  <a:cubicBezTo>
                    <a:pt x="23" y="2284"/>
                    <a:pt x="53" y="2254"/>
                    <a:pt x="69" y="2208"/>
                  </a:cubicBezTo>
                  <a:cubicBezTo>
                    <a:pt x="84" y="2170"/>
                    <a:pt x="84" y="2124"/>
                    <a:pt x="92" y="2085"/>
                  </a:cubicBezTo>
                  <a:cubicBezTo>
                    <a:pt x="92" y="2070"/>
                    <a:pt x="84" y="2055"/>
                    <a:pt x="84" y="2040"/>
                  </a:cubicBezTo>
                  <a:cubicBezTo>
                    <a:pt x="92" y="2024"/>
                    <a:pt x="107" y="2009"/>
                    <a:pt x="99" y="2002"/>
                  </a:cubicBezTo>
                  <a:cubicBezTo>
                    <a:pt x="99" y="1979"/>
                    <a:pt x="69" y="1956"/>
                    <a:pt x="84" y="1933"/>
                  </a:cubicBezTo>
                  <a:cubicBezTo>
                    <a:pt x="92" y="1910"/>
                    <a:pt x="130" y="1910"/>
                    <a:pt x="153" y="1902"/>
                  </a:cubicBezTo>
                  <a:cubicBezTo>
                    <a:pt x="160" y="1895"/>
                    <a:pt x="168" y="1887"/>
                    <a:pt x="176" y="1879"/>
                  </a:cubicBezTo>
                  <a:lnTo>
                    <a:pt x="176" y="1879"/>
                  </a:lnTo>
                  <a:cubicBezTo>
                    <a:pt x="214" y="1872"/>
                    <a:pt x="245" y="1849"/>
                    <a:pt x="283" y="1849"/>
                  </a:cubicBezTo>
                  <a:cubicBezTo>
                    <a:pt x="290" y="1849"/>
                    <a:pt x="298" y="1864"/>
                    <a:pt x="306" y="1864"/>
                  </a:cubicBezTo>
                  <a:cubicBezTo>
                    <a:pt x="359" y="1856"/>
                    <a:pt x="397" y="1826"/>
                    <a:pt x="443" y="1818"/>
                  </a:cubicBezTo>
                  <a:cubicBezTo>
                    <a:pt x="458" y="1818"/>
                    <a:pt x="458" y="1841"/>
                    <a:pt x="474" y="1841"/>
                  </a:cubicBezTo>
                  <a:cubicBezTo>
                    <a:pt x="512" y="1849"/>
                    <a:pt x="550" y="1841"/>
                    <a:pt x="588" y="1833"/>
                  </a:cubicBezTo>
                  <a:cubicBezTo>
                    <a:pt x="619" y="1826"/>
                    <a:pt x="649" y="1795"/>
                    <a:pt x="687" y="1788"/>
                  </a:cubicBezTo>
                  <a:cubicBezTo>
                    <a:pt x="710" y="1780"/>
                    <a:pt x="741" y="1795"/>
                    <a:pt x="764" y="1788"/>
                  </a:cubicBezTo>
                  <a:cubicBezTo>
                    <a:pt x="787" y="1780"/>
                    <a:pt x="817" y="1765"/>
                    <a:pt x="825" y="1742"/>
                  </a:cubicBezTo>
                  <a:cubicBezTo>
                    <a:pt x="840" y="1704"/>
                    <a:pt x="810" y="1666"/>
                    <a:pt x="802" y="1627"/>
                  </a:cubicBezTo>
                  <a:cubicBezTo>
                    <a:pt x="802" y="1604"/>
                    <a:pt x="779" y="1574"/>
                    <a:pt x="795" y="1558"/>
                  </a:cubicBezTo>
                  <a:cubicBezTo>
                    <a:pt x="840" y="1528"/>
                    <a:pt x="909" y="1543"/>
                    <a:pt x="946" y="1497"/>
                  </a:cubicBezTo>
                  <a:cubicBezTo>
                    <a:pt x="992" y="1452"/>
                    <a:pt x="961" y="1368"/>
                    <a:pt x="1007" y="1322"/>
                  </a:cubicBezTo>
                  <a:cubicBezTo>
                    <a:pt x="1053" y="1276"/>
                    <a:pt x="1130" y="1268"/>
                    <a:pt x="1191" y="1268"/>
                  </a:cubicBezTo>
                  <a:cubicBezTo>
                    <a:pt x="1229" y="1261"/>
                    <a:pt x="1267" y="1314"/>
                    <a:pt x="1298" y="1306"/>
                  </a:cubicBezTo>
                  <a:cubicBezTo>
                    <a:pt x="1336" y="1299"/>
                    <a:pt x="1351" y="1253"/>
                    <a:pt x="1374" y="1222"/>
                  </a:cubicBezTo>
                  <a:cubicBezTo>
                    <a:pt x="1374" y="1222"/>
                    <a:pt x="1374" y="1154"/>
                    <a:pt x="1374" y="1138"/>
                  </a:cubicBezTo>
                  <a:cubicBezTo>
                    <a:pt x="1374" y="1123"/>
                    <a:pt x="1374" y="1024"/>
                    <a:pt x="1374" y="1024"/>
                  </a:cubicBezTo>
                  <a:cubicBezTo>
                    <a:pt x="1382" y="1001"/>
                    <a:pt x="1412" y="986"/>
                    <a:pt x="1405" y="970"/>
                  </a:cubicBezTo>
                  <a:cubicBezTo>
                    <a:pt x="1382" y="932"/>
                    <a:pt x="1298" y="932"/>
                    <a:pt x="1298" y="886"/>
                  </a:cubicBezTo>
                  <a:cubicBezTo>
                    <a:pt x="1290" y="841"/>
                    <a:pt x="1389" y="833"/>
                    <a:pt x="1397" y="787"/>
                  </a:cubicBezTo>
                  <a:cubicBezTo>
                    <a:pt x="1397" y="757"/>
                    <a:pt x="1313" y="780"/>
                    <a:pt x="1305" y="749"/>
                  </a:cubicBezTo>
                  <a:cubicBezTo>
                    <a:pt x="1298" y="711"/>
                    <a:pt x="1336" y="672"/>
                    <a:pt x="1366" y="642"/>
                  </a:cubicBezTo>
                  <a:cubicBezTo>
                    <a:pt x="1389" y="627"/>
                    <a:pt x="1427" y="649"/>
                    <a:pt x="1450" y="634"/>
                  </a:cubicBezTo>
                  <a:cubicBezTo>
                    <a:pt x="1481" y="611"/>
                    <a:pt x="1481" y="558"/>
                    <a:pt x="1511" y="535"/>
                  </a:cubicBezTo>
                  <a:cubicBezTo>
                    <a:pt x="1534" y="520"/>
                    <a:pt x="1565" y="505"/>
                    <a:pt x="1588" y="512"/>
                  </a:cubicBezTo>
                  <a:cubicBezTo>
                    <a:pt x="1618" y="527"/>
                    <a:pt x="1618" y="573"/>
                    <a:pt x="1649" y="588"/>
                  </a:cubicBezTo>
                  <a:cubicBezTo>
                    <a:pt x="1664" y="596"/>
                    <a:pt x="1664" y="558"/>
                    <a:pt x="1672" y="558"/>
                  </a:cubicBezTo>
                  <a:cubicBezTo>
                    <a:pt x="1710" y="558"/>
                    <a:pt x="1733" y="604"/>
                    <a:pt x="1763" y="604"/>
                  </a:cubicBezTo>
                  <a:cubicBezTo>
                    <a:pt x="1794" y="604"/>
                    <a:pt x="1809" y="566"/>
                    <a:pt x="1832" y="550"/>
                  </a:cubicBezTo>
                  <a:cubicBezTo>
                    <a:pt x="1840" y="543"/>
                    <a:pt x="1863" y="535"/>
                    <a:pt x="1863" y="520"/>
                  </a:cubicBezTo>
                  <a:cubicBezTo>
                    <a:pt x="1863" y="505"/>
                    <a:pt x="1840" y="497"/>
                    <a:pt x="1824" y="497"/>
                  </a:cubicBezTo>
                  <a:cubicBezTo>
                    <a:pt x="1809" y="489"/>
                    <a:pt x="1786" y="512"/>
                    <a:pt x="1771" y="505"/>
                  </a:cubicBezTo>
                  <a:cubicBezTo>
                    <a:pt x="1748" y="497"/>
                    <a:pt x="1718" y="489"/>
                    <a:pt x="1702" y="466"/>
                  </a:cubicBezTo>
                  <a:cubicBezTo>
                    <a:pt x="1687" y="436"/>
                    <a:pt x="1725" y="405"/>
                    <a:pt x="1710" y="374"/>
                  </a:cubicBezTo>
                  <a:cubicBezTo>
                    <a:pt x="1687" y="336"/>
                    <a:pt x="1626" y="336"/>
                    <a:pt x="1618" y="298"/>
                  </a:cubicBezTo>
                  <a:cubicBezTo>
                    <a:pt x="1603" y="245"/>
                    <a:pt x="1649" y="199"/>
                    <a:pt x="1657" y="153"/>
                  </a:cubicBezTo>
                  <a:cubicBezTo>
                    <a:pt x="1657" y="107"/>
                    <a:pt x="1649" y="115"/>
                    <a:pt x="1641" y="69"/>
                  </a:cubicBezTo>
                  <a:lnTo>
                    <a:pt x="1641" y="69"/>
                  </a:lnTo>
                  <a:cubicBezTo>
                    <a:pt x="1664" y="77"/>
                    <a:pt x="1687" y="77"/>
                    <a:pt x="1702" y="77"/>
                  </a:cubicBezTo>
                  <a:cubicBezTo>
                    <a:pt x="1817" y="54"/>
                    <a:pt x="2321" y="214"/>
                    <a:pt x="2367" y="38"/>
                  </a:cubicBezTo>
                  <a:lnTo>
                    <a:pt x="2367" y="38"/>
                  </a:lnTo>
                  <a:cubicBezTo>
                    <a:pt x="2405" y="38"/>
                    <a:pt x="2451" y="92"/>
                    <a:pt x="2497" y="92"/>
                  </a:cubicBezTo>
                  <a:cubicBezTo>
                    <a:pt x="2558" y="100"/>
                    <a:pt x="2604" y="92"/>
                    <a:pt x="2642" y="38"/>
                  </a:cubicBezTo>
                  <a:cubicBezTo>
                    <a:pt x="2672" y="0"/>
                    <a:pt x="2672" y="0"/>
                    <a:pt x="2672" y="0"/>
                  </a:cubicBezTo>
                  <a:cubicBezTo>
                    <a:pt x="2711" y="0"/>
                    <a:pt x="2756" y="61"/>
                    <a:pt x="2802" y="77"/>
                  </a:cubicBezTo>
                  <a:cubicBezTo>
                    <a:pt x="2863" y="92"/>
                    <a:pt x="2902" y="107"/>
                    <a:pt x="2970" y="107"/>
                  </a:cubicBezTo>
                  <a:cubicBezTo>
                    <a:pt x="2970" y="107"/>
                    <a:pt x="2970" y="107"/>
                    <a:pt x="2970" y="115"/>
                  </a:cubicBezTo>
                  <a:cubicBezTo>
                    <a:pt x="2993" y="168"/>
                    <a:pt x="2993" y="168"/>
                    <a:pt x="2993" y="168"/>
                  </a:cubicBezTo>
                  <a:cubicBezTo>
                    <a:pt x="3008" y="214"/>
                    <a:pt x="3070" y="268"/>
                    <a:pt x="3116" y="283"/>
                  </a:cubicBezTo>
                  <a:cubicBezTo>
                    <a:pt x="3116" y="367"/>
                    <a:pt x="3123" y="382"/>
                    <a:pt x="3146" y="466"/>
                  </a:cubicBezTo>
                  <a:cubicBezTo>
                    <a:pt x="3169" y="535"/>
                    <a:pt x="3161" y="604"/>
                    <a:pt x="3177" y="672"/>
                  </a:cubicBezTo>
                  <a:cubicBezTo>
                    <a:pt x="3222" y="680"/>
                    <a:pt x="3138" y="818"/>
                    <a:pt x="3131" y="848"/>
                  </a:cubicBezTo>
                  <a:cubicBezTo>
                    <a:pt x="3116" y="871"/>
                    <a:pt x="3085" y="879"/>
                    <a:pt x="3062" y="902"/>
                  </a:cubicBezTo>
                  <a:cubicBezTo>
                    <a:pt x="3039" y="932"/>
                    <a:pt x="3062" y="970"/>
                    <a:pt x="3008" y="993"/>
                  </a:cubicBezTo>
                  <a:cubicBezTo>
                    <a:pt x="3001" y="1016"/>
                    <a:pt x="2940" y="1077"/>
                    <a:pt x="2924" y="1100"/>
                  </a:cubicBezTo>
                  <a:cubicBezTo>
                    <a:pt x="2863" y="1184"/>
                    <a:pt x="2802" y="1291"/>
                    <a:pt x="2756" y="1398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72" name="Freeform 194"/>
            <p:cNvSpPr>
              <a:spLocks noChangeArrowheads="1"/>
            </p:cNvSpPr>
            <p:nvPr/>
          </p:nvSpPr>
          <p:spPr bwMode="auto">
            <a:xfrm>
              <a:off x="4119295" y="1876425"/>
              <a:ext cx="2136636" cy="2298700"/>
            </a:xfrm>
            <a:custGeom>
              <a:avLst/>
              <a:gdLst>
                <a:gd name="T0" fmla="*/ 1039 w 5935"/>
                <a:gd name="T1" fmla="*/ 5240 h 6387"/>
                <a:gd name="T2" fmla="*/ 840 w 5935"/>
                <a:gd name="T3" fmla="*/ 5401 h 6387"/>
                <a:gd name="T4" fmla="*/ 817 w 5935"/>
                <a:gd name="T5" fmla="*/ 4835 h 6387"/>
                <a:gd name="T6" fmla="*/ 321 w 5935"/>
                <a:gd name="T7" fmla="*/ 4767 h 6387"/>
                <a:gd name="T8" fmla="*/ 306 w 5935"/>
                <a:gd name="T9" fmla="*/ 4782 h 6387"/>
                <a:gd name="T10" fmla="*/ 1046 w 5935"/>
                <a:gd name="T11" fmla="*/ 3919 h 6387"/>
                <a:gd name="T12" fmla="*/ 710 w 5935"/>
                <a:gd name="T13" fmla="*/ 2910 h 6387"/>
                <a:gd name="T14" fmla="*/ 535 w 5935"/>
                <a:gd name="T15" fmla="*/ 3506 h 6387"/>
                <a:gd name="T16" fmla="*/ 244 w 5935"/>
                <a:gd name="T17" fmla="*/ 3483 h 6387"/>
                <a:gd name="T18" fmla="*/ 374 w 5935"/>
                <a:gd name="T19" fmla="*/ 3926 h 6387"/>
                <a:gd name="T20" fmla="*/ 794 w 5935"/>
                <a:gd name="T21" fmla="*/ 4392 h 6387"/>
                <a:gd name="T22" fmla="*/ 1482 w 5935"/>
                <a:gd name="T23" fmla="*/ 4430 h 6387"/>
                <a:gd name="T24" fmla="*/ 1772 w 5935"/>
                <a:gd name="T25" fmla="*/ 4194 h 6387"/>
                <a:gd name="T26" fmla="*/ 1260 w 5935"/>
                <a:gd name="T27" fmla="*/ 4094 h 6387"/>
                <a:gd name="T28" fmla="*/ 1268 w 5935"/>
                <a:gd name="T29" fmla="*/ 3552 h 6387"/>
                <a:gd name="T30" fmla="*/ 1115 w 5935"/>
                <a:gd name="T31" fmla="*/ 3743 h 6387"/>
                <a:gd name="T32" fmla="*/ 1268 w 5935"/>
                <a:gd name="T33" fmla="*/ 3308 h 6387"/>
                <a:gd name="T34" fmla="*/ 1253 w 5935"/>
                <a:gd name="T35" fmla="*/ 3399 h 6387"/>
                <a:gd name="T36" fmla="*/ 932 w 5935"/>
                <a:gd name="T37" fmla="*/ 4538 h 6387"/>
                <a:gd name="T38" fmla="*/ 4270 w 5935"/>
                <a:gd name="T39" fmla="*/ 3231 h 6387"/>
                <a:gd name="T40" fmla="*/ 4231 w 5935"/>
                <a:gd name="T41" fmla="*/ 3269 h 6387"/>
                <a:gd name="T42" fmla="*/ 3842 w 5935"/>
                <a:gd name="T43" fmla="*/ 3079 h 6387"/>
                <a:gd name="T44" fmla="*/ 4438 w 5935"/>
                <a:gd name="T45" fmla="*/ 2941 h 6387"/>
                <a:gd name="T46" fmla="*/ 3995 w 5935"/>
                <a:gd name="T47" fmla="*/ 2429 h 6387"/>
                <a:gd name="T48" fmla="*/ 4644 w 5935"/>
                <a:gd name="T49" fmla="*/ 1933 h 6387"/>
                <a:gd name="T50" fmla="*/ 5674 w 5935"/>
                <a:gd name="T51" fmla="*/ 1024 h 6387"/>
                <a:gd name="T52" fmla="*/ 5622 w 5935"/>
                <a:gd name="T53" fmla="*/ 54 h 6387"/>
                <a:gd name="T54" fmla="*/ 4682 w 5935"/>
                <a:gd name="T55" fmla="*/ 313 h 6387"/>
                <a:gd name="T56" fmla="*/ 3712 w 5935"/>
                <a:gd name="T57" fmla="*/ 367 h 6387"/>
                <a:gd name="T58" fmla="*/ 3101 w 5935"/>
                <a:gd name="T59" fmla="*/ 451 h 6387"/>
                <a:gd name="T60" fmla="*/ 2704 w 5935"/>
                <a:gd name="T61" fmla="*/ 619 h 6387"/>
                <a:gd name="T62" fmla="*/ 2696 w 5935"/>
                <a:gd name="T63" fmla="*/ 1253 h 6387"/>
                <a:gd name="T64" fmla="*/ 2368 w 5935"/>
                <a:gd name="T65" fmla="*/ 1650 h 6387"/>
                <a:gd name="T66" fmla="*/ 2475 w 5935"/>
                <a:gd name="T67" fmla="*/ 2246 h 6387"/>
                <a:gd name="T68" fmla="*/ 2436 w 5935"/>
                <a:gd name="T69" fmla="*/ 2468 h 6387"/>
                <a:gd name="T70" fmla="*/ 1871 w 5935"/>
                <a:gd name="T71" fmla="*/ 2674 h 6387"/>
                <a:gd name="T72" fmla="*/ 1535 w 5935"/>
                <a:gd name="T73" fmla="*/ 3025 h 6387"/>
                <a:gd name="T74" fmla="*/ 1772 w 5935"/>
                <a:gd name="T75" fmla="*/ 3384 h 6387"/>
                <a:gd name="T76" fmla="*/ 1467 w 5935"/>
                <a:gd name="T77" fmla="*/ 3667 h 6387"/>
                <a:gd name="T78" fmla="*/ 1978 w 5935"/>
                <a:gd name="T79" fmla="*/ 3911 h 6387"/>
                <a:gd name="T80" fmla="*/ 1803 w 5935"/>
                <a:gd name="T81" fmla="*/ 4232 h 6387"/>
                <a:gd name="T82" fmla="*/ 1688 w 5935"/>
                <a:gd name="T83" fmla="*/ 4835 h 6387"/>
                <a:gd name="T84" fmla="*/ 1421 w 5935"/>
                <a:gd name="T85" fmla="*/ 5301 h 6387"/>
                <a:gd name="T86" fmla="*/ 1062 w 5935"/>
                <a:gd name="T87" fmla="*/ 5630 h 6387"/>
                <a:gd name="T88" fmla="*/ 1444 w 5935"/>
                <a:gd name="T89" fmla="*/ 5912 h 6387"/>
                <a:gd name="T90" fmla="*/ 2253 w 5935"/>
                <a:gd name="T91" fmla="*/ 5889 h 6387"/>
                <a:gd name="T92" fmla="*/ 2482 w 5935"/>
                <a:gd name="T93" fmla="*/ 5805 h 6387"/>
                <a:gd name="T94" fmla="*/ 2482 w 5935"/>
                <a:gd name="T95" fmla="*/ 6111 h 6387"/>
                <a:gd name="T96" fmla="*/ 2673 w 5935"/>
                <a:gd name="T97" fmla="*/ 6218 h 6387"/>
                <a:gd name="T98" fmla="*/ 3124 w 5935"/>
                <a:gd name="T99" fmla="*/ 6187 h 6387"/>
                <a:gd name="T100" fmla="*/ 3261 w 5935"/>
                <a:gd name="T101" fmla="*/ 5989 h 6387"/>
                <a:gd name="T102" fmla="*/ 3544 w 5935"/>
                <a:gd name="T103" fmla="*/ 5637 h 6387"/>
                <a:gd name="T104" fmla="*/ 4041 w 5935"/>
                <a:gd name="T105" fmla="*/ 5408 h 6387"/>
                <a:gd name="T106" fmla="*/ 4407 w 5935"/>
                <a:gd name="T107" fmla="*/ 5294 h 6387"/>
                <a:gd name="T108" fmla="*/ 4659 w 5935"/>
                <a:gd name="T109" fmla="*/ 5187 h 6387"/>
                <a:gd name="T110" fmla="*/ 4858 w 5935"/>
                <a:gd name="T111" fmla="*/ 4774 h 6387"/>
                <a:gd name="T112" fmla="*/ 5347 w 5935"/>
                <a:gd name="T113" fmla="*/ 4377 h 6387"/>
                <a:gd name="T114" fmla="*/ 5301 w 5935"/>
                <a:gd name="T115" fmla="*/ 3697 h 6387"/>
                <a:gd name="T116" fmla="*/ 4904 w 5935"/>
                <a:gd name="T117" fmla="*/ 3399 h 6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935" h="6387">
                  <a:moveTo>
                    <a:pt x="955" y="5294"/>
                  </a:moveTo>
                  <a:lnTo>
                    <a:pt x="955" y="5294"/>
                  </a:lnTo>
                  <a:cubicBezTo>
                    <a:pt x="932" y="5294"/>
                    <a:pt x="901" y="5248"/>
                    <a:pt x="909" y="5225"/>
                  </a:cubicBezTo>
                  <a:cubicBezTo>
                    <a:pt x="917" y="5210"/>
                    <a:pt x="939" y="5202"/>
                    <a:pt x="955" y="5202"/>
                  </a:cubicBezTo>
                  <a:cubicBezTo>
                    <a:pt x="993" y="5202"/>
                    <a:pt x="985" y="5171"/>
                    <a:pt x="993" y="5141"/>
                  </a:cubicBezTo>
                  <a:cubicBezTo>
                    <a:pt x="993" y="5133"/>
                    <a:pt x="993" y="5110"/>
                    <a:pt x="1008" y="5110"/>
                  </a:cubicBezTo>
                  <a:cubicBezTo>
                    <a:pt x="1023" y="5110"/>
                    <a:pt x="1039" y="5103"/>
                    <a:pt x="1046" y="5103"/>
                  </a:cubicBezTo>
                  <a:cubicBezTo>
                    <a:pt x="1054" y="5141"/>
                    <a:pt x="1054" y="5210"/>
                    <a:pt x="1039" y="5240"/>
                  </a:cubicBezTo>
                  <a:cubicBezTo>
                    <a:pt x="1039" y="5248"/>
                    <a:pt x="1031" y="5255"/>
                    <a:pt x="1031" y="5271"/>
                  </a:cubicBezTo>
                  <a:cubicBezTo>
                    <a:pt x="1031" y="5286"/>
                    <a:pt x="1046" y="5294"/>
                    <a:pt x="1031" y="5301"/>
                  </a:cubicBezTo>
                  <a:cubicBezTo>
                    <a:pt x="1016" y="5317"/>
                    <a:pt x="993" y="5317"/>
                    <a:pt x="970" y="5309"/>
                  </a:cubicBezTo>
                  <a:cubicBezTo>
                    <a:pt x="955" y="5294"/>
                    <a:pt x="955" y="5294"/>
                    <a:pt x="955" y="5294"/>
                  </a:cubicBezTo>
                  <a:close/>
                  <a:moveTo>
                    <a:pt x="886" y="5393"/>
                  </a:moveTo>
                  <a:lnTo>
                    <a:pt x="886" y="5393"/>
                  </a:lnTo>
                  <a:cubicBezTo>
                    <a:pt x="878" y="5401"/>
                    <a:pt x="871" y="5393"/>
                    <a:pt x="863" y="5393"/>
                  </a:cubicBezTo>
                  <a:cubicBezTo>
                    <a:pt x="856" y="5393"/>
                    <a:pt x="848" y="5401"/>
                    <a:pt x="840" y="5401"/>
                  </a:cubicBezTo>
                  <a:cubicBezTo>
                    <a:pt x="833" y="5408"/>
                    <a:pt x="840" y="5431"/>
                    <a:pt x="848" y="5439"/>
                  </a:cubicBezTo>
                  <a:cubicBezTo>
                    <a:pt x="863" y="5439"/>
                    <a:pt x="863" y="5439"/>
                    <a:pt x="878" y="5439"/>
                  </a:cubicBezTo>
                  <a:cubicBezTo>
                    <a:pt x="894" y="5439"/>
                    <a:pt x="901" y="5416"/>
                    <a:pt x="909" y="5408"/>
                  </a:cubicBezTo>
                  <a:cubicBezTo>
                    <a:pt x="886" y="5393"/>
                    <a:pt x="886" y="5393"/>
                    <a:pt x="886" y="5393"/>
                  </a:cubicBezTo>
                  <a:close/>
                  <a:moveTo>
                    <a:pt x="550" y="4904"/>
                  </a:moveTo>
                  <a:lnTo>
                    <a:pt x="550" y="4904"/>
                  </a:lnTo>
                  <a:cubicBezTo>
                    <a:pt x="603" y="4889"/>
                    <a:pt x="672" y="4751"/>
                    <a:pt x="733" y="4782"/>
                  </a:cubicBezTo>
                  <a:cubicBezTo>
                    <a:pt x="764" y="4790"/>
                    <a:pt x="802" y="4813"/>
                    <a:pt x="817" y="4835"/>
                  </a:cubicBezTo>
                  <a:cubicBezTo>
                    <a:pt x="871" y="4889"/>
                    <a:pt x="817" y="4858"/>
                    <a:pt x="817" y="4904"/>
                  </a:cubicBezTo>
                  <a:cubicBezTo>
                    <a:pt x="886" y="4919"/>
                    <a:pt x="878" y="4942"/>
                    <a:pt x="863" y="5003"/>
                  </a:cubicBezTo>
                  <a:cubicBezTo>
                    <a:pt x="848" y="5049"/>
                    <a:pt x="825" y="5057"/>
                    <a:pt x="802" y="5095"/>
                  </a:cubicBezTo>
                  <a:cubicBezTo>
                    <a:pt x="779" y="5126"/>
                    <a:pt x="779" y="5156"/>
                    <a:pt x="725" y="5133"/>
                  </a:cubicBezTo>
                  <a:cubicBezTo>
                    <a:pt x="680" y="5110"/>
                    <a:pt x="672" y="5034"/>
                    <a:pt x="634" y="5011"/>
                  </a:cubicBezTo>
                  <a:cubicBezTo>
                    <a:pt x="611" y="4988"/>
                    <a:pt x="558" y="4950"/>
                    <a:pt x="535" y="4927"/>
                  </a:cubicBezTo>
                  <a:cubicBezTo>
                    <a:pt x="550" y="4904"/>
                    <a:pt x="550" y="4904"/>
                    <a:pt x="550" y="4904"/>
                  </a:cubicBezTo>
                  <a:close/>
                  <a:moveTo>
                    <a:pt x="321" y="4767"/>
                  </a:moveTo>
                  <a:lnTo>
                    <a:pt x="321" y="4767"/>
                  </a:lnTo>
                  <a:cubicBezTo>
                    <a:pt x="351" y="4767"/>
                    <a:pt x="389" y="4744"/>
                    <a:pt x="420" y="4744"/>
                  </a:cubicBezTo>
                  <a:cubicBezTo>
                    <a:pt x="435" y="4744"/>
                    <a:pt x="451" y="4744"/>
                    <a:pt x="458" y="4744"/>
                  </a:cubicBezTo>
                  <a:cubicBezTo>
                    <a:pt x="473" y="4751"/>
                    <a:pt x="512" y="4774"/>
                    <a:pt x="466" y="4774"/>
                  </a:cubicBezTo>
                  <a:cubicBezTo>
                    <a:pt x="451" y="4774"/>
                    <a:pt x="428" y="4774"/>
                    <a:pt x="412" y="4774"/>
                  </a:cubicBezTo>
                  <a:cubicBezTo>
                    <a:pt x="389" y="4782"/>
                    <a:pt x="374" y="4805"/>
                    <a:pt x="359" y="4813"/>
                  </a:cubicBezTo>
                  <a:cubicBezTo>
                    <a:pt x="351" y="4813"/>
                    <a:pt x="336" y="4820"/>
                    <a:pt x="321" y="4820"/>
                  </a:cubicBezTo>
                  <a:cubicBezTo>
                    <a:pt x="306" y="4820"/>
                    <a:pt x="306" y="4797"/>
                    <a:pt x="306" y="4782"/>
                  </a:cubicBezTo>
                  <a:cubicBezTo>
                    <a:pt x="321" y="4767"/>
                    <a:pt x="321" y="4767"/>
                    <a:pt x="321" y="4767"/>
                  </a:cubicBezTo>
                  <a:close/>
                  <a:moveTo>
                    <a:pt x="1291" y="4163"/>
                  </a:moveTo>
                  <a:lnTo>
                    <a:pt x="1291" y="4163"/>
                  </a:lnTo>
                  <a:cubicBezTo>
                    <a:pt x="1268" y="4148"/>
                    <a:pt x="1268" y="4148"/>
                    <a:pt x="1268" y="4148"/>
                  </a:cubicBezTo>
                  <a:cubicBezTo>
                    <a:pt x="1237" y="4140"/>
                    <a:pt x="1230" y="4125"/>
                    <a:pt x="1207" y="4125"/>
                  </a:cubicBezTo>
                  <a:cubicBezTo>
                    <a:pt x="1184" y="4125"/>
                    <a:pt x="1169" y="4148"/>
                    <a:pt x="1153" y="4148"/>
                  </a:cubicBezTo>
                  <a:cubicBezTo>
                    <a:pt x="1153" y="4110"/>
                    <a:pt x="1184" y="4010"/>
                    <a:pt x="1108" y="4026"/>
                  </a:cubicBezTo>
                  <a:cubicBezTo>
                    <a:pt x="1023" y="4041"/>
                    <a:pt x="1100" y="3965"/>
                    <a:pt x="1046" y="3919"/>
                  </a:cubicBezTo>
                  <a:cubicBezTo>
                    <a:pt x="1008" y="3873"/>
                    <a:pt x="1039" y="3850"/>
                    <a:pt x="1039" y="3804"/>
                  </a:cubicBezTo>
                  <a:cubicBezTo>
                    <a:pt x="1039" y="3758"/>
                    <a:pt x="939" y="3751"/>
                    <a:pt x="978" y="3728"/>
                  </a:cubicBezTo>
                  <a:cubicBezTo>
                    <a:pt x="1008" y="3713"/>
                    <a:pt x="1008" y="3705"/>
                    <a:pt x="1008" y="3674"/>
                  </a:cubicBezTo>
                  <a:cubicBezTo>
                    <a:pt x="1008" y="3514"/>
                    <a:pt x="1054" y="3254"/>
                    <a:pt x="955" y="3117"/>
                  </a:cubicBezTo>
                  <a:cubicBezTo>
                    <a:pt x="932" y="3079"/>
                    <a:pt x="878" y="3124"/>
                    <a:pt x="878" y="3071"/>
                  </a:cubicBezTo>
                  <a:cubicBezTo>
                    <a:pt x="878" y="2987"/>
                    <a:pt x="794" y="2964"/>
                    <a:pt x="787" y="2895"/>
                  </a:cubicBezTo>
                  <a:cubicBezTo>
                    <a:pt x="787" y="2865"/>
                    <a:pt x="733" y="2910"/>
                    <a:pt x="710" y="2910"/>
                  </a:cubicBezTo>
                  <a:lnTo>
                    <a:pt x="710" y="2910"/>
                  </a:lnTo>
                  <a:cubicBezTo>
                    <a:pt x="710" y="3002"/>
                    <a:pt x="672" y="3033"/>
                    <a:pt x="581" y="3056"/>
                  </a:cubicBezTo>
                  <a:cubicBezTo>
                    <a:pt x="581" y="3079"/>
                    <a:pt x="596" y="3102"/>
                    <a:pt x="603" y="3117"/>
                  </a:cubicBezTo>
                  <a:cubicBezTo>
                    <a:pt x="611" y="3147"/>
                    <a:pt x="611" y="3216"/>
                    <a:pt x="619" y="3231"/>
                  </a:cubicBezTo>
                  <a:cubicBezTo>
                    <a:pt x="642" y="3262"/>
                    <a:pt x="703" y="3246"/>
                    <a:pt x="649" y="3292"/>
                  </a:cubicBezTo>
                  <a:cubicBezTo>
                    <a:pt x="565" y="3361"/>
                    <a:pt x="703" y="3438"/>
                    <a:pt x="718" y="3521"/>
                  </a:cubicBezTo>
                  <a:cubicBezTo>
                    <a:pt x="695" y="3521"/>
                    <a:pt x="603" y="3453"/>
                    <a:pt x="603" y="3422"/>
                  </a:cubicBezTo>
                  <a:cubicBezTo>
                    <a:pt x="596" y="3430"/>
                    <a:pt x="603" y="3483"/>
                    <a:pt x="581" y="3491"/>
                  </a:cubicBezTo>
                  <a:cubicBezTo>
                    <a:pt x="565" y="3499"/>
                    <a:pt x="535" y="3521"/>
                    <a:pt x="535" y="3506"/>
                  </a:cubicBezTo>
                  <a:cubicBezTo>
                    <a:pt x="512" y="3453"/>
                    <a:pt x="473" y="3407"/>
                    <a:pt x="428" y="3377"/>
                  </a:cubicBezTo>
                  <a:cubicBezTo>
                    <a:pt x="351" y="3338"/>
                    <a:pt x="389" y="3331"/>
                    <a:pt x="344" y="3269"/>
                  </a:cubicBezTo>
                  <a:cubicBezTo>
                    <a:pt x="313" y="3224"/>
                    <a:pt x="267" y="3124"/>
                    <a:pt x="244" y="3216"/>
                  </a:cubicBezTo>
                  <a:cubicBezTo>
                    <a:pt x="237" y="3262"/>
                    <a:pt x="199" y="3354"/>
                    <a:pt x="260" y="3354"/>
                  </a:cubicBezTo>
                  <a:cubicBezTo>
                    <a:pt x="290" y="3354"/>
                    <a:pt x="298" y="3407"/>
                    <a:pt x="321" y="3422"/>
                  </a:cubicBezTo>
                  <a:cubicBezTo>
                    <a:pt x="374" y="3468"/>
                    <a:pt x="351" y="3460"/>
                    <a:pt x="351" y="3521"/>
                  </a:cubicBezTo>
                  <a:cubicBezTo>
                    <a:pt x="344" y="3521"/>
                    <a:pt x="313" y="3491"/>
                    <a:pt x="306" y="3483"/>
                  </a:cubicBezTo>
                  <a:cubicBezTo>
                    <a:pt x="283" y="3460"/>
                    <a:pt x="275" y="3483"/>
                    <a:pt x="244" y="3483"/>
                  </a:cubicBezTo>
                  <a:cubicBezTo>
                    <a:pt x="244" y="3567"/>
                    <a:pt x="321" y="3590"/>
                    <a:pt x="260" y="3682"/>
                  </a:cubicBezTo>
                  <a:cubicBezTo>
                    <a:pt x="229" y="3652"/>
                    <a:pt x="69" y="3308"/>
                    <a:pt x="69" y="3537"/>
                  </a:cubicBezTo>
                  <a:cubicBezTo>
                    <a:pt x="69" y="3575"/>
                    <a:pt x="99" y="3613"/>
                    <a:pt x="107" y="3644"/>
                  </a:cubicBezTo>
                  <a:cubicBezTo>
                    <a:pt x="76" y="3644"/>
                    <a:pt x="38" y="3613"/>
                    <a:pt x="8" y="3613"/>
                  </a:cubicBezTo>
                  <a:cubicBezTo>
                    <a:pt x="0" y="3613"/>
                    <a:pt x="0" y="3697"/>
                    <a:pt x="0" y="3720"/>
                  </a:cubicBezTo>
                  <a:cubicBezTo>
                    <a:pt x="61" y="3720"/>
                    <a:pt x="99" y="3667"/>
                    <a:pt x="99" y="3781"/>
                  </a:cubicBezTo>
                  <a:cubicBezTo>
                    <a:pt x="99" y="3850"/>
                    <a:pt x="145" y="3926"/>
                    <a:pt x="229" y="3911"/>
                  </a:cubicBezTo>
                  <a:cubicBezTo>
                    <a:pt x="298" y="3957"/>
                    <a:pt x="367" y="4033"/>
                    <a:pt x="374" y="3926"/>
                  </a:cubicBezTo>
                  <a:cubicBezTo>
                    <a:pt x="374" y="3881"/>
                    <a:pt x="351" y="3781"/>
                    <a:pt x="397" y="3781"/>
                  </a:cubicBezTo>
                  <a:cubicBezTo>
                    <a:pt x="428" y="3781"/>
                    <a:pt x="412" y="3873"/>
                    <a:pt x="451" y="3850"/>
                  </a:cubicBezTo>
                  <a:cubicBezTo>
                    <a:pt x="481" y="3835"/>
                    <a:pt x="489" y="3789"/>
                    <a:pt x="496" y="3865"/>
                  </a:cubicBezTo>
                  <a:cubicBezTo>
                    <a:pt x="504" y="3919"/>
                    <a:pt x="519" y="3965"/>
                    <a:pt x="558" y="3934"/>
                  </a:cubicBezTo>
                  <a:cubicBezTo>
                    <a:pt x="588" y="3919"/>
                    <a:pt x="779" y="4117"/>
                    <a:pt x="657" y="4026"/>
                  </a:cubicBezTo>
                  <a:cubicBezTo>
                    <a:pt x="542" y="3942"/>
                    <a:pt x="443" y="4041"/>
                    <a:pt x="535" y="4163"/>
                  </a:cubicBezTo>
                  <a:cubicBezTo>
                    <a:pt x="642" y="4324"/>
                    <a:pt x="642" y="4324"/>
                    <a:pt x="642" y="4324"/>
                  </a:cubicBezTo>
                  <a:cubicBezTo>
                    <a:pt x="710" y="4415"/>
                    <a:pt x="802" y="4362"/>
                    <a:pt x="794" y="4392"/>
                  </a:cubicBezTo>
                  <a:cubicBezTo>
                    <a:pt x="794" y="4408"/>
                    <a:pt x="733" y="4515"/>
                    <a:pt x="771" y="4484"/>
                  </a:cubicBezTo>
                  <a:cubicBezTo>
                    <a:pt x="802" y="4461"/>
                    <a:pt x="848" y="4453"/>
                    <a:pt x="878" y="4438"/>
                  </a:cubicBezTo>
                  <a:cubicBezTo>
                    <a:pt x="932" y="4408"/>
                    <a:pt x="962" y="4446"/>
                    <a:pt x="1008" y="4423"/>
                  </a:cubicBezTo>
                  <a:cubicBezTo>
                    <a:pt x="1023" y="4415"/>
                    <a:pt x="1039" y="4346"/>
                    <a:pt x="1069" y="4423"/>
                  </a:cubicBezTo>
                  <a:cubicBezTo>
                    <a:pt x="1077" y="4461"/>
                    <a:pt x="1062" y="4599"/>
                    <a:pt x="1115" y="4583"/>
                  </a:cubicBezTo>
                  <a:cubicBezTo>
                    <a:pt x="1138" y="4568"/>
                    <a:pt x="1214" y="4308"/>
                    <a:pt x="1214" y="4316"/>
                  </a:cubicBezTo>
                  <a:cubicBezTo>
                    <a:pt x="1245" y="4362"/>
                    <a:pt x="1237" y="4453"/>
                    <a:pt x="1291" y="4453"/>
                  </a:cubicBezTo>
                  <a:cubicBezTo>
                    <a:pt x="1352" y="4453"/>
                    <a:pt x="1428" y="4430"/>
                    <a:pt x="1482" y="4430"/>
                  </a:cubicBezTo>
                  <a:cubicBezTo>
                    <a:pt x="1321" y="4515"/>
                    <a:pt x="1321" y="4515"/>
                    <a:pt x="1321" y="4515"/>
                  </a:cubicBezTo>
                  <a:cubicBezTo>
                    <a:pt x="1222" y="4560"/>
                    <a:pt x="1275" y="4652"/>
                    <a:pt x="1230" y="4728"/>
                  </a:cubicBezTo>
                  <a:cubicBezTo>
                    <a:pt x="1123" y="4896"/>
                    <a:pt x="1275" y="4919"/>
                    <a:pt x="1367" y="4805"/>
                  </a:cubicBezTo>
                  <a:cubicBezTo>
                    <a:pt x="1398" y="4767"/>
                    <a:pt x="1474" y="4621"/>
                    <a:pt x="1505" y="4621"/>
                  </a:cubicBezTo>
                  <a:cubicBezTo>
                    <a:pt x="1535" y="4621"/>
                    <a:pt x="1596" y="4538"/>
                    <a:pt x="1581" y="4507"/>
                  </a:cubicBezTo>
                  <a:cubicBezTo>
                    <a:pt x="1528" y="4408"/>
                    <a:pt x="1581" y="4469"/>
                    <a:pt x="1642" y="4438"/>
                  </a:cubicBezTo>
                  <a:cubicBezTo>
                    <a:pt x="1665" y="4430"/>
                    <a:pt x="1696" y="4392"/>
                    <a:pt x="1719" y="4377"/>
                  </a:cubicBezTo>
                  <a:cubicBezTo>
                    <a:pt x="1787" y="4331"/>
                    <a:pt x="1772" y="4270"/>
                    <a:pt x="1772" y="4194"/>
                  </a:cubicBezTo>
                  <a:cubicBezTo>
                    <a:pt x="1780" y="4171"/>
                    <a:pt x="1619" y="4140"/>
                    <a:pt x="1581" y="4156"/>
                  </a:cubicBezTo>
                  <a:cubicBezTo>
                    <a:pt x="1444" y="4232"/>
                    <a:pt x="1421" y="4263"/>
                    <a:pt x="1291" y="4163"/>
                  </a:cubicBezTo>
                  <a:close/>
                  <a:moveTo>
                    <a:pt x="1329" y="4026"/>
                  </a:moveTo>
                  <a:lnTo>
                    <a:pt x="1329" y="4026"/>
                  </a:lnTo>
                  <a:cubicBezTo>
                    <a:pt x="1360" y="4056"/>
                    <a:pt x="1360" y="4056"/>
                    <a:pt x="1360" y="4056"/>
                  </a:cubicBezTo>
                  <a:cubicBezTo>
                    <a:pt x="1360" y="4079"/>
                    <a:pt x="1367" y="4110"/>
                    <a:pt x="1360" y="4133"/>
                  </a:cubicBezTo>
                  <a:cubicBezTo>
                    <a:pt x="1344" y="4148"/>
                    <a:pt x="1321" y="4140"/>
                    <a:pt x="1306" y="4140"/>
                  </a:cubicBezTo>
                  <a:cubicBezTo>
                    <a:pt x="1306" y="4125"/>
                    <a:pt x="1268" y="4102"/>
                    <a:pt x="1260" y="4094"/>
                  </a:cubicBezTo>
                  <a:cubicBezTo>
                    <a:pt x="1245" y="4079"/>
                    <a:pt x="1207" y="4056"/>
                    <a:pt x="1214" y="4041"/>
                  </a:cubicBezTo>
                  <a:cubicBezTo>
                    <a:pt x="1214" y="4026"/>
                    <a:pt x="1222" y="4018"/>
                    <a:pt x="1237" y="4010"/>
                  </a:cubicBezTo>
                  <a:cubicBezTo>
                    <a:pt x="1253" y="4010"/>
                    <a:pt x="1283" y="4003"/>
                    <a:pt x="1298" y="4010"/>
                  </a:cubicBezTo>
                  <a:cubicBezTo>
                    <a:pt x="1306" y="4010"/>
                    <a:pt x="1321" y="4026"/>
                    <a:pt x="1329" y="4026"/>
                  </a:cubicBezTo>
                  <a:close/>
                  <a:moveTo>
                    <a:pt x="1253" y="3499"/>
                  </a:moveTo>
                  <a:lnTo>
                    <a:pt x="1253" y="3499"/>
                  </a:lnTo>
                  <a:cubicBezTo>
                    <a:pt x="1260" y="3468"/>
                    <a:pt x="1260" y="3468"/>
                    <a:pt x="1260" y="3468"/>
                  </a:cubicBezTo>
                  <a:cubicBezTo>
                    <a:pt x="1314" y="3476"/>
                    <a:pt x="1268" y="3514"/>
                    <a:pt x="1268" y="3552"/>
                  </a:cubicBezTo>
                  <a:cubicBezTo>
                    <a:pt x="1268" y="3613"/>
                    <a:pt x="1222" y="3636"/>
                    <a:pt x="1199" y="3690"/>
                  </a:cubicBezTo>
                  <a:cubicBezTo>
                    <a:pt x="1184" y="3735"/>
                    <a:pt x="1199" y="3774"/>
                    <a:pt x="1214" y="3812"/>
                  </a:cubicBezTo>
                  <a:cubicBezTo>
                    <a:pt x="1214" y="3835"/>
                    <a:pt x="1298" y="3934"/>
                    <a:pt x="1245" y="3957"/>
                  </a:cubicBezTo>
                  <a:cubicBezTo>
                    <a:pt x="1230" y="3957"/>
                    <a:pt x="1184" y="3995"/>
                    <a:pt x="1176" y="3995"/>
                  </a:cubicBezTo>
                  <a:cubicBezTo>
                    <a:pt x="1146" y="3995"/>
                    <a:pt x="1146" y="3957"/>
                    <a:pt x="1138" y="3942"/>
                  </a:cubicBezTo>
                  <a:cubicBezTo>
                    <a:pt x="1130" y="3926"/>
                    <a:pt x="1123" y="3919"/>
                    <a:pt x="1115" y="3911"/>
                  </a:cubicBezTo>
                  <a:cubicBezTo>
                    <a:pt x="1115" y="3896"/>
                    <a:pt x="1123" y="3888"/>
                    <a:pt x="1123" y="3873"/>
                  </a:cubicBezTo>
                  <a:cubicBezTo>
                    <a:pt x="1123" y="3827"/>
                    <a:pt x="1130" y="3781"/>
                    <a:pt x="1115" y="3743"/>
                  </a:cubicBezTo>
                  <a:cubicBezTo>
                    <a:pt x="1108" y="3690"/>
                    <a:pt x="1130" y="3652"/>
                    <a:pt x="1130" y="3613"/>
                  </a:cubicBezTo>
                  <a:cubicBezTo>
                    <a:pt x="1169" y="3606"/>
                    <a:pt x="1161" y="3636"/>
                    <a:pt x="1192" y="3636"/>
                  </a:cubicBezTo>
                  <a:cubicBezTo>
                    <a:pt x="1214" y="3636"/>
                    <a:pt x="1222" y="3583"/>
                    <a:pt x="1222" y="3560"/>
                  </a:cubicBezTo>
                  <a:cubicBezTo>
                    <a:pt x="1222" y="3529"/>
                    <a:pt x="1230" y="3537"/>
                    <a:pt x="1245" y="3521"/>
                  </a:cubicBezTo>
                  <a:cubicBezTo>
                    <a:pt x="1253" y="3514"/>
                    <a:pt x="1245" y="3506"/>
                    <a:pt x="1253" y="3499"/>
                  </a:cubicBezTo>
                  <a:close/>
                  <a:moveTo>
                    <a:pt x="1253" y="3399"/>
                  </a:moveTo>
                  <a:lnTo>
                    <a:pt x="1253" y="3399"/>
                  </a:lnTo>
                  <a:cubicBezTo>
                    <a:pt x="1260" y="3369"/>
                    <a:pt x="1268" y="3338"/>
                    <a:pt x="1268" y="3308"/>
                  </a:cubicBezTo>
                  <a:cubicBezTo>
                    <a:pt x="1275" y="3285"/>
                    <a:pt x="1268" y="3246"/>
                    <a:pt x="1298" y="3246"/>
                  </a:cubicBezTo>
                  <a:cubicBezTo>
                    <a:pt x="1306" y="3254"/>
                    <a:pt x="1306" y="3254"/>
                    <a:pt x="1306" y="3262"/>
                  </a:cubicBezTo>
                  <a:cubicBezTo>
                    <a:pt x="1306" y="3285"/>
                    <a:pt x="1306" y="3308"/>
                    <a:pt x="1306" y="3331"/>
                  </a:cubicBezTo>
                  <a:cubicBezTo>
                    <a:pt x="1298" y="3346"/>
                    <a:pt x="1298" y="3369"/>
                    <a:pt x="1298" y="3392"/>
                  </a:cubicBezTo>
                  <a:cubicBezTo>
                    <a:pt x="1291" y="3407"/>
                    <a:pt x="1291" y="3422"/>
                    <a:pt x="1291" y="3438"/>
                  </a:cubicBezTo>
                  <a:lnTo>
                    <a:pt x="1291" y="3438"/>
                  </a:lnTo>
                  <a:cubicBezTo>
                    <a:pt x="1275" y="3438"/>
                    <a:pt x="1260" y="3445"/>
                    <a:pt x="1253" y="3430"/>
                  </a:cubicBezTo>
                  <a:cubicBezTo>
                    <a:pt x="1253" y="3399"/>
                    <a:pt x="1253" y="3399"/>
                    <a:pt x="1253" y="3399"/>
                  </a:cubicBezTo>
                  <a:close/>
                  <a:moveTo>
                    <a:pt x="871" y="4553"/>
                  </a:moveTo>
                  <a:lnTo>
                    <a:pt x="871" y="4553"/>
                  </a:lnTo>
                  <a:cubicBezTo>
                    <a:pt x="863" y="4538"/>
                    <a:pt x="856" y="4522"/>
                    <a:pt x="863" y="4507"/>
                  </a:cubicBezTo>
                  <a:cubicBezTo>
                    <a:pt x="863" y="4499"/>
                    <a:pt x="871" y="4507"/>
                    <a:pt x="878" y="4507"/>
                  </a:cubicBezTo>
                  <a:cubicBezTo>
                    <a:pt x="894" y="4499"/>
                    <a:pt x="894" y="4492"/>
                    <a:pt x="901" y="4484"/>
                  </a:cubicBezTo>
                  <a:cubicBezTo>
                    <a:pt x="917" y="4469"/>
                    <a:pt x="939" y="4461"/>
                    <a:pt x="955" y="4476"/>
                  </a:cubicBezTo>
                  <a:cubicBezTo>
                    <a:pt x="970" y="4492"/>
                    <a:pt x="962" y="4492"/>
                    <a:pt x="947" y="4492"/>
                  </a:cubicBezTo>
                  <a:cubicBezTo>
                    <a:pt x="917" y="4499"/>
                    <a:pt x="932" y="4522"/>
                    <a:pt x="932" y="4538"/>
                  </a:cubicBezTo>
                  <a:cubicBezTo>
                    <a:pt x="932" y="4545"/>
                    <a:pt x="924" y="4560"/>
                    <a:pt x="917" y="4560"/>
                  </a:cubicBezTo>
                  <a:cubicBezTo>
                    <a:pt x="909" y="4568"/>
                    <a:pt x="894" y="4568"/>
                    <a:pt x="878" y="4560"/>
                  </a:cubicBezTo>
                  <a:cubicBezTo>
                    <a:pt x="871" y="4553"/>
                    <a:pt x="871" y="4553"/>
                    <a:pt x="871" y="4553"/>
                  </a:cubicBezTo>
                  <a:close/>
                  <a:moveTo>
                    <a:pt x="4812" y="3056"/>
                  </a:moveTo>
                  <a:lnTo>
                    <a:pt x="4812" y="3056"/>
                  </a:lnTo>
                  <a:cubicBezTo>
                    <a:pt x="4766" y="3094"/>
                    <a:pt x="4728" y="3147"/>
                    <a:pt x="4682" y="3178"/>
                  </a:cubicBezTo>
                  <a:cubicBezTo>
                    <a:pt x="4552" y="3254"/>
                    <a:pt x="4529" y="3216"/>
                    <a:pt x="4407" y="3193"/>
                  </a:cubicBezTo>
                  <a:cubicBezTo>
                    <a:pt x="4361" y="3185"/>
                    <a:pt x="4331" y="3231"/>
                    <a:pt x="4270" y="3231"/>
                  </a:cubicBezTo>
                  <a:cubicBezTo>
                    <a:pt x="4270" y="3269"/>
                    <a:pt x="4361" y="3277"/>
                    <a:pt x="4323" y="3323"/>
                  </a:cubicBezTo>
                  <a:cubicBezTo>
                    <a:pt x="4208" y="3438"/>
                    <a:pt x="4208" y="3438"/>
                    <a:pt x="4208" y="3438"/>
                  </a:cubicBezTo>
                  <a:cubicBezTo>
                    <a:pt x="4178" y="3468"/>
                    <a:pt x="4147" y="3422"/>
                    <a:pt x="4147" y="3483"/>
                  </a:cubicBezTo>
                  <a:cubicBezTo>
                    <a:pt x="4140" y="3560"/>
                    <a:pt x="4079" y="3506"/>
                    <a:pt x="4048" y="3506"/>
                  </a:cubicBezTo>
                  <a:cubicBezTo>
                    <a:pt x="3979" y="3506"/>
                    <a:pt x="3911" y="3537"/>
                    <a:pt x="3834" y="3537"/>
                  </a:cubicBezTo>
                  <a:cubicBezTo>
                    <a:pt x="3789" y="3537"/>
                    <a:pt x="3781" y="3491"/>
                    <a:pt x="3743" y="3483"/>
                  </a:cubicBezTo>
                  <a:cubicBezTo>
                    <a:pt x="3758" y="3422"/>
                    <a:pt x="3979" y="3514"/>
                    <a:pt x="4041" y="3468"/>
                  </a:cubicBezTo>
                  <a:cubicBezTo>
                    <a:pt x="4125" y="3392"/>
                    <a:pt x="4056" y="3269"/>
                    <a:pt x="4231" y="3269"/>
                  </a:cubicBezTo>
                  <a:cubicBezTo>
                    <a:pt x="4201" y="3178"/>
                    <a:pt x="4293" y="3102"/>
                    <a:pt x="4354" y="3025"/>
                  </a:cubicBezTo>
                  <a:cubicBezTo>
                    <a:pt x="4377" y="3017"/>
                    <a:pt x="4430" y="2979"/>
                    <a:pt x="4392" y="2964"/>
                  </a:cubicBezTo>
                  <a:cubicBezTo>
                    <a:pt x="4346" y="2949"/>
                    <a:pt x="4346" y="2941"/>
                    <a:pt x="4300" y="2964"/>
                  </a:cubicBezTo>
                  <a:cubicBezTo>
                    <a:pt x="4254" y="2994"/>
                    <a:pt x="4186" y="3048"/>
                    <a:pt x="4125" y="2994"/>
                  </a:cubicBezTo>
                  <a:cubicBezTo>
                    <a:pt x="4079" y="2941"/>
                    <a:pt x="3911" y="3102"/>
                    <a:pt x="3872" y="3140"/>
                  </a:cubicBezTo>
                  <a:cubicBezTo>
                    <a:pt x="3827" y="3185"/>
                    <a:pt x="3773" y="3224"/>
                    <a:pt x="3727" y="3269"/>
                  </a:cubicBezTo>
                  <a:cubicBezTo>
                    <a:pt x="3735" y="3231"/>
                    <a:pt x="3743" y="3193"/>
                    <a:pt x="3766" y="3162"/>
                  </a:cubicBezTo>
                  <a:cubicBezTo>
                    <a:pt x="3789" y="3132"/>
                    <a:pt x="3827" y="3117"/>
                    <a:pt x="3842" y="3079"/>
                  </a:cubicBezTo>
                  <a:cubicBezTo>
                    <a:pt x="3857" y="3048"/>
                    <a:pt x="3872" y="3048"/>
                    <a:pt x="3903" y="3025"/>
                  </a:cubicBezTo>
                  <a:cubicBezTo>
                    <a:pt x="3941" y="3002"/>
                    <a:pt x="3926" y="2972"/>
                    <a:pt x="3987" y="2956"/>
                  </a:cubicBezTo>
                  <a:cubicBezTo>
                    <a:pt x="4155" y="2926"/>
                    <a:pt x="4155" y="2926"/>
                    <a:pt x="4155" y="2926"/>
                  </a:cubicBezTo>
                  <a:cubicBezTo>
                    <a:pt x="4224" y="2918"/>
                    <a:pt x="4224" y="2857"/>
                    <a:pt x="4270" y="2827"/>
                  </a:cubicBezTo>
                  <a:cubicBezTo>
                    <a:pt x="4293" y="2811"/>
                    <a:pt x="4323" y="2819"/>
                    <a:pt x="4354" y="2819"/>
                  </a:cubicBezTo>
                  <a:cubicBezTo>
                    <a:pt x="4354" y="2811"/>
                    <a:pt x="4384" y="2788"/>
                    <a:pt x="4384" y="2796"/>
                  </a:cubicBezTo>
                  <a:cubicBezTo>
                    <a:pt x="4384" y="2834"/>
                    <a:pt x="4354" y="2872"/>
                    <a:pt x="4354" y="2903"/>
                  </a:cubicBezTo>
                  <a:cubicBezTo>
                    <a:pt x="4354" y="2918"/>
                    <a:pt x="4438" y="2979"/>
                    <a:pt x="4438" y="2941"/>
                  </a:cubicBezTo>
                  <a:cubicBezTo>
                    <a:pt x="4438" y="2918"/>
                    <a:pt x="4468" y="2888"/>
                    <a:pt x="4476" y="2865"/>
                  </a:cubicBezTo>
                  <a:cubicBezTo>
                    <a:pt x="4514" y="2781"/>
                    <a:pt x="4583" y="2689"/>
                    <a:pt x="4636" y="2613"/>
                  </a:cubicBezTo>
                  <a:cubicBezTo>
                    <a:pt x="4667" y="2567"/>
                    <a:pt x="4843" y="2360"/>
                    <a:pt x="4690" y="2437"/>
                  </a:cubicBezTo>
                  <a:cubicBezTo>
                    <a:pt x="4629" y="2460"/>
                    <a:pt x="4675" y="2529"/>
                    <a:pt x="4568" y="2529"/>
                  </a:cubicBezTo>
                  <a:cubicBezTo>
                    <a:pt x="4476" y="2529"/>
                    <a:pt x="4499" y="2437"/>
                    <a:pt x="4392" y="2513"/>
                  </a:cubicBezTo>
                  <a:cubicBezTo>
                    <a:pt x="4331" y="2559"/>
                    <a:pt x="4331" y="2529"/>
                    <a:pt x="4270" y="2506"/>
                  </a:cubicBezTo>
                  <a:cubicBezTo>
                    <a:pt x="4224" y="2490"/>
                    <a:pt x="4147" y="2506"/>
                    <a:pt x="4117" y="2468"/>
                  </a:cubicBezTo>
                  <a:cubicBezTo>
                    <a:pt x="4071" y="2429"/>
                    <a:pt x="4048" y="2437"/>
                    <a:pt x="3995" y="2429"/>
                  </a:cubicBezTo>
                  <a:cubicBezTo>
                    <a:pt x="3956" y="2422"/>
                    <a:pt x="3842" y="2383"/>
                    <a:pt x="3842" y="2337"/>
                  </a:cubicBezTo>
                  <a:cubicBezTo>
                    <a:pt x="3857" y="2376"/>
                    <a:pt x="4132" y="2422"/>
                    <a:pt x="4186" y="2429"/>
                  </a:cubicBezTo>
                  <a:cubicBezTo>
                    <a:pt x="4231" y="2445"/>
                    <a:pt x="4254" y="2422"/>
                    <a:pt x="4293" y="2406"/>
                  </a:cubicBezTo>
                  <a:cubicBezTo>
                    <a:pt x="4369" y="2383"/>
                    <a:pt x="4377" y="2460"/>
                    <a:pt x="4377" y="2337"/>
                  </a:cubicBezTo>
                  <a:cubicBezTo>
                    <a:pt x="4377" y="2223"/>
                    <a:pt x="4445" y="2261"/>
                    <a:pt x="4331" y="2193"/>
                  </a:cubicBezTo>
                  <a:cubicBezTo>
                    <a:pt x="4262" y="2147"/>
                    <a:pt x="4369" y="2177"/>
                    <a:pt x="4377" y="2185"/>
                  </a:cubicBezTo>
                  <a:cubicBezTo>
                    <a:pt x="4407" y="2215"/>
                    <a:pt x="4415" y="2139"/>
                    <a:pt x="4430" y="2108"/>
                  </a:cubicBezTo>
                  <a:cubicBezTo>
                    <a:pt x="4537" y="2040"/>
                    <a:pt x="4606" y="2070"/>
                    <a:pt x="4644" y="1933"/>
                  </a:cubicBezTo>
                  <a:cubicBezTo>
                    <a:pt x="4659" y="1879"/>
                    <a:pt x="4888" y="1719"/>
                    <a:pt x="4942" y="1696"/>
                  </a:cubicBezTo>
                  <a:cubicBezTo>
                    <a:pt x="4995" y="1666"/>
                    <a:pt x="5072" y="1551"/>
                    <a:pt x="5117" y="1543"/>
                  </a:cubicBezTo>
                  <a:cubicBezTo>
                    <a:pt x="5125" y="1528"/>
                    <a:pt x="5194" y="1490"/>
                    <a:pt x="5209" y="1452"/>
                  </a:cubicBezTo>
                  <a:cubicBezTo>
                    <a:pt x="5263" y="1345"/>
                    <a:pt x="5263" y="1345"/>
                    <a:pt x="5263" y="1345"/>
                  </a:cubicBezTo>
                  <a:cubicBezTo>
                    <a:pt x="5278" y="1306"/>
                    <a:pt x="5415" y="1199"/>
                    <a:pt x="5415" y="1192"/>
                  </a:cubicBezTo>
                  <a:cubicBezTo>
                    <a:pt x="5431" y="1192"/>
                    <a:pt x="5461" y="1177"/>
                    <a:pt x="5477" y="1169"/>
                  </a:cubicBezTo>
                  <a:cubicBezTo>
                    <a:pt x="5515" y="1161"/>
                    <a:pt x="5568" y="1108"/>
                    <a:pt x="5614" y="1100"/>
                  </a:cubicBezTo>
                  <a:cubicBezTo>
                    <a:pt x="5643" y="1100"/>
                    <a:pt x="5659" y="1047"/>
                    <a:pt x="5674" y="1024"/>
                  </a:cubicBezTo>
                  <a:cubicBezTo>
                    <a:pt x="5712" y="993"/>
                    <a:pt x="5804" y="924"/>
                    <a:pt x="5819" y="879"/>
                  </a:cubicBezTo>
                  <a:cubicBezTo>
                    <a:pt x="5827" y="833"/>
                    <a:pt x="5842" y="779"/>
                    <a:pt x="5857" y="734"/>
                  </a:cubicBezTo>
                  <a:cubicBezTo>
                    <a:pt x="5880" y="665"/>
                    <a:pt x="5850" y="657"/>
                    <a:pt x="5827" y="611"/>
                  </a:cubicBezTo>
                  <a:cubicBezTo>
                    <a:pt x="5781" y="543"/>
                    <a:pt x="5743" y="512"/>
                    <a:pt x="5758" y="413"/>
                  </a:cubicBezTo>
                  <a:cubicBezTo>
                    <a:pt x="5857" y="359"/>
                    <a:pt x="5934" y="184"/>
                    <a:pt x="5934" y="69"/>
                  </a:cubicBezTo>
                  <a:cubicBezTo>
                    <a:pt x="5804" y="54"/>
                    <a:pt x="5804" y="54"/>
                    <a:pt x="5804" y="54"/>
                  </a:cubicBezTo>
                  <a:cubicBezTo>
                    <a:pt x="5781" y="46"/>
                    <a:pt x="5758" y="69"/>
                    <a:pt x="5743" y="115"/>
                  </a:cubicBezTo>
                  <a:cubicBezTo>
                    <a:pt x="5697" y="115"/>
                    <a:pt x="5697" y="38"/>
                    <a:pt x="5622" y="54"/>
                  </a:cubicBezTo>
                  <a:cubicBezTo>
                    <a:pt x="5561" y="61"/>
                    <a:pt x="5492" y="84"/>
                    <a:pt x="5431" y="69"/>
                  </a:cubicBezTo>
                  <a:cubicBezTo>
                    <a:pt x="5408" y="61"/>
                    <a:pt x="5362" y="0"/>
                    <a:pt x="5354" y="16"/>
                  </a:cubicBezTo>
                  <a:cubicBezTo>
                    <a:pt x="5331" y="46"/>
                    <a:pt x="5301" y="107"/>
                    <a:pt x="5347" y="122"/>
                  </a:cubicBezTo>
                  <a:cubicBezTo>
                    <a:pt x="5415" y="153"/>
                    <a:pt x="5400" y="199"/>
                    <a:pt x="5385" y="252"/>
                  </a:cubicBezTo>
                  <a:cubicBezTo>
                    <a:pt x="5339" y="245"/>
                    <a:pt x="5270" y="153"/>
                    <a:pt x="5186" y="176"/>
                  </a:cubicBezTo>
                  <a:cubicBezTo>
                    <a:pt x="5049" y="230"/>
                    <a:pt x="5186" y="122"/>
                    <a:pt x="5049" y="153"/>
                  </a:cubicBezTo>
                  <a:cubicBezTo>
                    <a:pt x="5003" y="168"/>
                    <a:pt x="4934" y="161"/>
                    <a:pt x="4896" y="191"/>
                  </a:cubicBezTo>
                  <a:cubicBezTo>
                    <a:pt x="4843" y="245"/>
                    <a:pt x="4758" y="306"/>
                    <a:pt x="4682" y="313"/>
                  </a:cubicBezTo>
                  <a:cubicBezTo>
                    <a:pt x="4636" y="313"/>
                    <a:pt x="4377" y="329"/>
                    <a:pt x="4361" y="260"/>
                  </a:cubicBezTo>
                  <a:cubicBezTo>
                    <a:pt x="4346" y="138"/>
                    <a:pt x="4293" y="374"/>
                    <a:pt x="4231" y="344"/>
                  </a:cubicBezTo>
                  <a:cubicBezTo>
                    <a:pt x="4163" y="306"/>
                    <a:pt x="4155" y="382"/>
                    <a:pt x="4086" y="382"/>
                  </a:cubicBezTo>
                  <a:cubicBezTo>
                    <a:pt x="4033" y="382"/>
                    <a:pt x="4056" y="405"/>
                    <a:pt x="4025" y="436"/>
                  </a:cubicBezTo>
                  <a:cubicBezTo>
                    <a:pt x="3995" y="459"/>
                    <a:pt x="3934" y="413"/>
                    <a:pt x="3911" y="405"/>
                  </a:cubicBezTo>
                  <a:cubicBezTo>
                    <a:pt x="3834" y="359"/>
                    <a:pt x="3674" y="611"/>
                    <a:pt x="3659" y="672"/>
                  </a:cubicBezTo>
                  <a:cubicBezTo>
                    <a:pt x="3659" y="649"/>
                    <a:pt x="3674" y="520"/>
                    <a:pt x="3682" y="505"/>
                  </a:cubicBezTo>
                  <a:cubicBezTo>
                    <a:pt x="3727" y="451"/>
                    <a:pt x="3735" y="436"/>
                    <a:pt x="3712" y="367"/>
                  </a:cubicBezTo>
                  <a:cubicBezTo>
                    <a:pt x="3689" y="306"/>
                    <a:pt x="3628" y="298"/>
                    <a:pt x="3567" y="291"/>
                  </a:cubicBezTo>
                  <a:cubicBezTo>
                    <a:pt x="3338" y="252"/>
                    <a:pt x="3529" y="428"/>
                    <a:pt x="3399" y="474"/>
                  </a:cubicBezTo>
                  <a:cubicBezTo>
                    <a:pt x="3322" y="497"/>
                    <a:pt x="3300" y="634"/>
                    <a:pt x="3216" y="665"/>
                  </a:cubicBezTo>
                  <a:cubicBezTo>
                    <a:pt x="3193" y="672"/>
                    <a:pt x="3216" y="619"/>
                    <a:pt x="3223" y="611"/>
                  </a:cubicBezTo>
                  <a:cubicBezTo>
                    <a:pt x="3254" y="566"/>
                    <a:pt x="3322" y="482"/>
                    <a:pt x="3338" y="428"/>
                  </a:cubicBezTo>
                  <a:cubicBezTo>
                    <a:pt x="3376" y="329"/>
                    <a:pt x="3200" y="313"/>
                    <a:pt x="3170" y="222"/>
                  </a:cubicBezTo>
                  <a:cubicBezTo>
                    <a:pt x="3162" y="222"/>
                    <a:pt x="3162" y="291"/>
                    <a:pt x="3155" y="306"/>
                  </a:cubicBezTo>
                  <a:cubicBezTo>
                    <a:pt x="3101" y="451"/>
                    <a:pt x="3101" y="451"/>
                    <a:pt x="3101" y="451"/>
                  </a:cubicBezTo>
                  <a:cubicBezTo>
                    <a:pt x="3109" y="420"/>
                    <a:pt x="3116" y="382"/>
                    <a:pt x="3116" y="352"/>
                  </a:cubicBezTo>
                  <a:cubicBezTo>
                    <a:pt x="3116" y="336"/>
                    <a:pt x="3086" y="313"/>
                    <a:pt x="3078" y="283"/>
                  </a:cubicBezTo>
                  <a:cubicBezTo>
                    <a:pt x="3070" y="191"/>
                    <a:pt x="3017" y="161"/>
                    <a:pt x="2925" y="161"/>
                  </a:cubicBezTo>
                  <a:cubicBezTo>
                    <a:pt x="2880" y="161"/>
                    <a:pt x="2811" y="107"/>
                    <a:pt x="2811" y="168"/>
                  </a:cubicBezTo>
                  <a:cubicBezTo>
                    <a:pt x="2811" y="230"/>
                    <a:pt x="2803" y="321"/>
                    <a:pt x="2765" y="367"/>
                  </a:cubicBezTo>
                  <a:cubicBezTo>
                    <a:pt x="2742" y="405"/>
                    <a:pt x="2696" y="390"/>
                    <a:pt x="2673" y="420"/>
                  </a:cubicBezTo>
                  <a:cubicBezTo>
                    <a:pt x="2643" y="459"/>
                    <a:pt x="2650" y="505"/>
                    <a:pt x="2628" y="550"/>
                  </a:cubicBezTo>
                  <a:cubicBezTo>
                    <a:pt x="2612" y="573"/>
                    <a:pt x="2681" y="604"/>
                    <a:pt x="2704" y="619"/>
                  </a:cubicBezTo>
                  <a:cubicBezTo>
                    <a:pt x="2788" y="665"/>
                    <a:pt x="2689" y="672"/>
                    <a:pt x="2650" y="703"/>
                  </a:cubicBezTo>
                  <a:cubicBezTo>
                    <a:pt x="2582" y="787"/>
                    <a:pt x="2704" y="795"/>
                    <a:pt x="2719" y="833"/>
                  </a:cubicBezTo>
                  <a:cubicBezTo>
                    <a:pt x="2650" y="833"/>
                    <a:pt x="2643" y="787"/>
                    <a:pt x="2605" y="787"/>
                  </a:cubicBezTo>
                  <a:cubicBezTo>
                    <a:pt x="2566" y="779"/>
                    <a:pt x="2612" y="871"/>
                    <a:pt x="2528" y="863"/>
                  </a:cubicBezTo>
                  <a:cubicBezTo>
                    <a:pt x="2482" y="863"/>
                    <a:pt x="2490" y="902"/>
                    <a:pt x="2528" y="902"/>
                  </a:cubicBezTo>
                  <a:cubicBezTo>
                    <a:pt x="2574" y="902"/>
                    <a:pt x="2543" y="932"/>
                    <a:pt x="2543" y="963"/>
                  </a:cubicBezTo>
                  <a:cubicBezTo>
                    <a:pt x="2543" y="1024"/>
                    <a:pt x="2582" y="1039"/>
                    <a:pt x="2582" y="1093"/>
                  </a:cubicBezTo>
                  <a:cubicBezTo>
                    <a:pt x="2582" y="1192"/>
                    <a:pt x="2673" y="1199"/>
                    <a:pt x="2696" y="1253"/>
                  </a:cubicBezTo>
                  <a:cubicBezTo>
                    <a:pt x="2643" y="1253"/>
                    <a:pt x="2635" y="1207"/>
                    <a:pt x="2582" y="1230"/>
                  </a:cubicBezTo>
                  <a:cubicBezTo>
                    <a:pt x="2543" y="1253"/>
                    <a:pt x="2490" y="1268"/>
                    <a:pt x="2444" y="1245"/>
                  </a:cubicBezTo>
                  <a:cubicBezTo>
                    <a:pt x="2406" y="1230"/>
                    <a:pt x="2375" y="1207"/>
                    <a:pt x="2414" y="1261"/>
                  </a:cubicBezTo>
                  <a:cubicBezTo>
                    <a:pt x="2429" y="1283"/>
                    <a:pt x="2345" y="1314"/>
                    <a:pt x="2322" y="1306"/>
                  </a:cubicBezTo>
                  <a:cubicBezTo>
                    <a:pt x="2253" y="1276"/>
                    <a:pt x="2253" y="1207"/>
                    <a:pt x="2200" y="1276"/>
                  </a:cubicBezTo>
                  <a:cubicBezTo>
                    <a:pt x="2169" y="1322"/>
                    <a:pt x="2192" y="1306"/>
                    <a:pt x="2223" y="1329"/>
                  </a:cubicBezTo>
                  <a:cubicBezTo>
                    <a:pt x="2299" y="1368"/>
                    <a:pt x="2284" y="1536"/>
                    <a:pt x="2345" y="1566"/>
                  </a:cubicBezTo>
                  <a:cubicBezTo>
                    <a:pt x="2436" y="1604"/>
                    <a:pt x="2330" y="1574"/>
                    <a:pt x="2368" y="1650"/>
                  </a:cubicBezTo>
                  <a:cubicBezTo>
                    <a:pt x="2383" y="1673"/>
                    <a:pt x="2398" y="1795"/>
                    <a:pt x="2360" y="1810"/>
                  </a:cubicBezTo>
                  <a:cubicBezTo>
                    <a:pt x="2345" y="1818"/>
                    <a:pt x="2238" y="1795"/>
                    <a:pt x="2223" y="1780"/>
                  </a:cubicBezTo>
                  <a:cubicBezTo>
                    <a:pt x="2200" y="1765"/>
                    <a:pt x="2161" y="1704"/>
                    <a:pt x="2139" y="1696"/>
                  </a:cubicBezTo>
                  <a:cubicBezTo>
                    <a:pt x="2139" y="1734"/>
                    <a:pt x="2078" y="1780"/>
                    <a:pt x="2116" y="1803"/>
                  </a:cubicBezTo>
                  <a:cubicBezTo>
                    <a:pt x="2169" y="1841"/>
                    <a:pt x="2139" y="1856"/>
                    <a:pt x="2139" y="1902"/>
                  </a:cubicBezTo>
                  <a:cubicBezTo>
                    <a:pt x="2223" y="1902"/>
                    <a:pt x="2276" y="1948"/>
                    <a:pt x="2307" y="2017"/>
                  </a:cubicBezTo>
                  <a:cubicBezTo>
                    <a:pt x="2353" y="2124"/>
                    <a:pt x="2421" y="2085"/>
                    <a:pt x="2505" y="2139"/>
                  </a:cubicBezTo>
                  <a:cubicBezTo>
                    <a:pt x="2566" y="2170"/>
                    <a:pt x="2467" y="2238"/>
                    <a:pt x="2475" y="2246"/>
                  </a:cubicBezTo>
                  <a:cubicBezTo>
                    <a:pt x="2543" y="2299"/>
                    <a:pt x="2543" y="2299"/>
                    <a:pt x="2543" y="2299"/>
                  </a:cubicBezTo>
                  <a:cubicBezTo>
                    <a:pt x="2589" y="2345"/>
                    <a:pt x="2696" y="2475"/>
                    <a:pt x="2696" y="2544"/>
                  </a:cubicBezTo>
                  <a:cubicBezTo>
                    <a:pt x="2666" y="2544"/>
                    <a:pt x="2628" y="2399"/>
                    <a:pt x="2589" y="2376"/>
                  </a:cubicBezTo>
                  <a:cubicBezTo>
                    <a:pt x="2414" y="2269"/>
                    <a:pt x="2414" y="2269"/>
                    <a:pt x="2414" y="2269"/>
                  </a:cubicBezTo>
                  <a:cubicBezTo>
                    <a:pt x="2360" y="2238"/>
                    <a:pt x="2307" y="2292"/>
                    <a:pt x="2261" y="2231"/>
                  </a:cubicBezTo>
                  <a:cubicBezTo>
                    <a:pt x="2238" y="2200"/>
                    <a:pt x="2230" y="2215"/>
                    <a:pt x="2192" y="2215"/>
                  </a:cubicBezTo>
                  <a:cubicBezTo>
                    <a:pt x="2192" y="2292"/>
                    <a:pt x="2269" y="2284"/>
                    <a:pt x="2307" y="2337"/>
                  </a:cubicBezTo>
                  <a:cubicBezTo>
                    <a:pt x="2322" y="2360"/>
                    <a:pt x="2490" y="2483"/>
                    <a:pt x="2436" y="2468"/>
                  </a:cubicBezTo>
                  <a:cubicBezTo>
                    <a:pt x="2391" y="2460"/>
                    <a:pt x="2368" y="2422"/>
                    <a:pt x="2322" y="2422"/>
                  </a:cubicBezTo>
                  <a:cubicBezTo>
                    <a:pt x="2291" y="2414"/>
                    <a:pt x="2253" y="2345"/>
                    <a:pt x="2207" y="2322"/>
                  </a:cubicBezTo>
                  <a:cubicBezTo>
                    <a:pt x="2078" y="2269"/>
                    <a:pt x="2177" y="2391"/>
                    <a:pt x="2078" y="2437"/>
                  </a:cubicBezTo>
                  <a:cubicBezTo>
                    <a:pt x="1955" y="2452"/>
                    <a:pt x="1932" y="2360"/>
                    <a:pt x="1932" y="2261"/>
                  </a:cubicBezTo>
                  <a:cubicBezTo>
                    <a:pt x="1894" y="2254"/>
                    <a:pt x="1825" y="2208"/>
                    <a:pt x="1818" y="2269"/>
                  </a:cubicBezTo>
                  <a:cubicBezTo>
                    <a:pt x="1818" y="2307"/>
                    <a:pt x="1780" y="2368"/>
                    <a:pt x="1810" y="2399"/>
                  </a:cubicBezTo>
                  <a:cubicBezTo>
                    <a:pt x="1894" y="2468"/>
                    <a:pt x="1894" y="2513"/>
                    <a:pt x="1864" y="2605"/>
                  </a:cubicBezTo>
                  <a:cubicBezTo>
                    <a:pt x="1856" y="2628"/>
                    <a:pt x="1864" y="2658"/>
                    <a:pt x="1871" y="2674"/>
                  </a:cubicBezTo>
                  <a:cubicBezTo>
                    <a:pt x="1894" y="2727"/>
                    <a:pt x="1787" y="2689"/>
                    <a:pt x="1772" y="2628"/>
                  </a:cubicBezTo>
                  <a:cubicBezTo>
                    <a:pt x="1764" y="2582"/>
                    <a:pt x="1764" y="2559"/>
                    <a:pt x="1749" y="2521"/>
                  </a:cubicBezTo>
                  <a:cubicBezTo>
                    <a:pt x="1734" y="2483"/>
                    <a:pt x="1749" y="2391"/>
                    <a:pt x="1696" y="2406"/>
                  </a:cubicBezTo>
                  <a:cubicBezTo>
                    <a:pt x="1634" y="2422"/>
                    <a:pt x="1604" y="2437"/>
                    <a:pt x="1543" y="2437"/>
                  </a:cubicBezTo>
                  <a:cubicBezTo>
                    <a:pt x="1543" y="2475"/>
                    <a:pt x="1550" y="2742"/>
                    <a:pt x="1566" y="2750"/>
                  </a:cubicBezTo>
                  <a:cubicBezTo>
                    <a:pt x="1642" y="2819"/>
                    <a:pt x="1742" y="2788"/>
                    <a:pt x="1742" y="2910"/>
                  </a:cubicBezTo>
                  <a:cubicBezTo>
                    <a:pt x="1726" y="2910"/>
                    <a:pt x="1703" y="2880"/>
                    <a:pt x="1673" y="2880"/>
                  </a:cubicBezTo>
                  <a:cubicBezTo>
                    <a:pt x="1558" y="2880"/>
                    <a:pt x="1589" y="2949"/>
                    <a:pt x="1535" y="3025"/>
                  </a:cubicBezTo>
                  <a:cubicBezTo>
                    <a:pt x="1489" y="3109"/>
                    <a:pt x="1604" y="3071"/>
                    <a:pt x="1627" y="3140"/>
                  </a:cubicBezTo>
                  <a:cubicBezTo>
                    <a:pt x="1634" y="3162"/>
                    <a:pt x="1657" y="3224"/>
                    <a:pt x="1680" y="3239"/>
                  </a:cubicBezTo>
                  <a:cubicBezTo>
                    <a:pt x="1742" y="3292"/>
                    <a:pt x="1711" y="3338"/>
                    <a:pt x="1803" y="3338"/>
                  </a:cubicBezTo>
                  <a:cubicBezTo>
                    <a:pt x="1894" y="3338"/>
                    <a:pt x="1902" y="3331"/>
                    <a:pt x="1978" y="3369"/>
                  </a:cubicBezTo>
                  <a:cubicBezTo>
                    <a:pt x="1978" y="3384"/>
                    <a:pt x="1978" y="3384"/>
                    <a:pt x="1978" y="3384"/>
                  </a:cubicBezTo>
                  <a:cubicBezTo>
                    <a:pt x="1940" y="3392"/>
                    <a:pt x="1909" y="3377"/>
                    <a:pt x="1864" y="3384"/>
                  </a:cubicBezTo>
                  <a:cubicBezTo>
                    <a:pt x="1848" y="3384"/>
                    <a:pt x="1848" y="3407"/>
                    <a:pt x="1825" y="3392"/>
                  </a:cubicBezTo>
                  <a:cubicBezTo>
                    <a:pt x="1810" y="3377"/>
                    <a:pt x="1787" y="3377"/>
                    <a:pt x="1772" y="3384"/>
                  </a:cubicBezTo>
                  <a:cubicBezTo>
                    <a:pt x="1772" y="3407"/>
                    <a:pt x="1787" y="3415"/>
                    <a:pt x="1787" y="3438"/>
                  </a:cubicBezTo>
                  <a:cubicBezTo>
                    <a:pt x="1787" y="3476"/>
                    <a:pt x="1726" y="3407"/>
                    <a:pt x="1726" y="3399"/>
                  </a:cubicBezTo>
                  <a:cubicBezTo>
                    <a:pt x="1696" y="3377"/>
                    <a:pt x="1719" y="3361"/>
                    <a:pt x="1696" y="3338"/>
                  </a:cubicBezTo>
                  <a:lnTo>
                    <a:pt x="1696" y="3338"/>
                  </a:lnTo>
                  <a:cubicBezTo>
                    <a:pt x="1680" y="3407"/>
                    <a:pt x="1543" y="3254"/>
                    <a:pt x="1512" y="3246"/>
                  </a:cubicBezTo>
                  <a:lnTo>
                    <a:pt x="1497" y="3246"/>
                  </a:lnTo>
                  <a:cubicBezTo>
                    <a:pt x="1497" y="3246"/>
                    <a:pt x="1497" y="3246"/>
                    <a:pt x="1489" y="3246"/>
                  </a:cubicBezTo>
                  <a:cubicBezTo>
                    <a:pt x="1459" y="3369"/>
                    <a:pt x="1444" y="3544"/>
                    <a:pt x="1467" y="3667"/>
                  </a:cubicBezTo>
                  <a:cubicBezTo>
                    <a:pt x="1482" y="3674"/>
                    <a:pt x="1512" y="3667"/>
                    <a:pt x="1520" y="3674"/>
                  </a:cubicBezTo>
                  <a:cubicBezTo>
                    <a:pt x="1528" y="3697"/>
                    <a:pt x="1512" y="3743"/>
                    <a:pt x="1520" y="3774"/>
                  </a:cubicBezTo>
                  <a:cubicBezTo>
                    <a:pt x="1520" y="3781"/>
                    <a:pt x="1558" y="3911"/>
                    <a:pt x="1566" y="3919"/>
                  </a:cubicBezTo>
                  <a:cubicBezTo>
                    <a:pt x="1596" y="3965"/>
                    <a:pt x="1665" y="3904"/>
                    <a:pt x="1696" y="3881"/>
                  </a:cubicBezTo>
                  <a:cubicBezTo>
                    <a:pt x="1726" y="3865"/>
                    <a:pt x="1795" y="3796"/>
                    <a:pt x="1825" y="3796"/>
                  </a:cubicBezTo>
                  <a:cubicBezTo>
                    <a:pt x="1833" y="3796"/>
                    <a:pt x="1818" y="3842"/>
                    <a:pt x="1848" y="3865"/>
                  </a:cubicBezTo>
                  <a:cubicBezTo>
                    <a:pt x="1971" y="3972"/>
                    <a:pt x="1994" y="3789"/>
                    <a:pt x="2078" y="3758"/>
                  </a:cubicBezTo>
                  <a:cubicBezTo>
                    <a:pt x="2039" y="3812"/>
                    <a:pt x="2039" y="3873"/>
                    <a:pt x="1978" y="3911"/>
                  </a:cubicBezTo>
                  <a:cubicBezTo>
                    <a:pt x="1948" y="3934"/>
                    <a:pt x="1856" y="3995"/>
                    <a:pt x="1818" y="3965"/>
                  </a:cubicBezTo>
                  <a:cubicBezTo>
                    <a:pt x="1757" y="3919"/>
                    <a:pt x="1734" y="4003"/>
                    <a:pt x="1703" y="4049"/>
                  </a:cubicBezTo>
                  <a:cubicBezTo>
                    <a:pt x="1642" y="4125"/>
                    <a:pt x="1719" y="4133"/>
                    <a:pt x="1780" y="4125"/>
                  </a:cubicBezTo>
                  <a:cubicBezTo>
                    <a:pt x="1886" y="4110"/>
                    <a:pt x="1978" y="4148"/>
                    <a:pt x="2055" y="4201"/>
                  </a:cubicBezTo>
                  <a:cubicBezTo>
                    <a:pt x="2085" y="4224"/>
                    <a:pt x="2108" y="4255"/>
                    <a:pt x="2139" y="4278"/>
                  </a:cubicBezTo>
                  <a:cubicBezTo>
                    <a:pt x="2184" y="4308"/>
                    <a:pt x="2108" y="4285"/>
                    <a:pt x="2085" y="4270"/>
                  </a:cubicBezTo>
                  <a:cubicBezTo>
                    <a:pt x="2039" y="4247"/>
                    <a:pt x="1994" y="4148"/>
                    <a:pt x="1940" y="4171"/>
                  </a:cubicBezTo>
                  <a:cubicBezTo>
                    <a:pt x="1894" y="4186"/>
                    <a:pt x="1825" y="4194"/>
                    <a:pt x="1803" y="4232"/>
                  </a:cubicBezTo>
                  <a:cubicBezTo>
                    <a:pt x="1772" y="4301"/>
                    <a:pt x="1864" y="4270"/>
                    <a:pt x="1825" y="4339"/>
                  </a:cubicBezTo>
                  <a:cubicBezTo>
                    <a:pt x="1764" y="4446"/>
                    <a:pt x="1657" y="4507"/>
                    <a:pt x="1864" y="4522"/>
                  </a:cubicBezTo>
                  <a:cubicBezTo>
                    <a:pt x="1932" y="4530"/>
                    <a:pt x="1902" y="4637"/>
                    <a:pt x="2024" y="4637"/>
                  </a:cubicBezTo>
                  <a:cubicBezTo>
                    <a:pt x="2093" y="4637"/>
                    <a:pt x="2009" y="4675"/>
                    <a:pt x="1971" y="4667"/>
                  </a:cubicBezTo>
                  <a:cubicBezTo>
                    <a:pt x="1917" y="4660"/>
                    <a:pt x="1902" y="4599"/>
                    <a:pt x="1841" y="4606"/>
                  </a:cubicBezTo>
                  <a:cubicBezTo>
                    <a:pt x="1833" y="4606"/>
                    <a:pt x="1688" y="4568"/>
                    <a:pt x="1680" y="4606"/>
                  </a:cubicBezTo>
                  <a:cubicBezTo>
                    <a:pt x="1680" y="4644"/>
                    <a:pt x="1596" y="4728"/>
                    <a:pt x="1573" y="4751"/>
                  </a:cubicBezTo>
                  <a:cubicBezTo>
                    <a:pt x="1573" y="4805"/>
                    <a:pt x="1642" y="4858"/>
                    <a:pt x="1688" y="4835"/>
                  </a:cubicBezTo>
                  <a:cubicBezTo>
                    <a:pt x="1749" y="4813"/>
                    <a:pt x="1734" y="4866"/>
                    <a:pt x="1749" y="4904"/>
                  </a:cubicBezTo>
                  <a:cubicBezTo>
                    <a:pt x="1757" y="4927"/>
                    <a:pt x="1871" y="5011"/>
                    <a:pt x="1841" y="5011"/>
                  </a:cubicBezTo>
                  <a:cubicBezTo>
                    <a:pt x="1764" y="5019"/>
                    <a:pt x="1696" y="4996"/>
                    <a:pt x="1673" y="4912"/>
                  </a:cubicBezTo>
                  <a:cubicBezTo>
                    <a:pt x="1642" y="4912"/>
                    <a:pt x="1581" y="4919"/>
                    <a:pt x="1550" y="4912"/>
                  </a:cubicBezTo>
                  <a:cubicBezTo>
                    <a:pt x="1497" y="4896"/>
                    <a:pt x="1505" y="5042"/>
                    <a:pt x="1482" y="5088"/>
                  </a:cubicBezTo>
                  <a:cubicBezTo>
                    <a:pt x="1467" y="5110"/>
                    <a:pt x="1451" y="5126"/>
                    <a:pt x="1436" y="5149"/>
                  </a:cubicBezTo>
                  <a:cubicBezTo>
                    <a:pt x="1413" y="5187"/>
                    <a:pt x="1512" y="5202"/>
                    <a:pt x="1428" y="5225"/>
                  </a:cubicBezTo>
                  <a:cubicBezTo>
                    <a:pt x="1390" y="5240"/>
                    <a:pt x="1337" y="5317"/>
                    <a:pt x="1421" y="5301"/>
                  </a:cubicBezTo>
                  <a:cubicBezTo>
                    <a:pt x="1505" y="5286"/>
                    <a:pt x="1566" y="5255"/>
                    <a:pt x="1650" y="5255"/>
                  </a:cubicBezTo>
                  <a:cubicBezTo>
                    <a:pt x="1650" y="5278"/>
                    <a:pt x="1558" y="5317"/>
                    <a:pt x="1581" y="5340"/>
                  </a:cubicBezTo>
                  <a:cubicBezTo>
                    <a:pt x="1589" y="5347"/>
                    <a:pt x="1696" y="5362"/>
                    <a:pt x="1657" y="5378"/>
                  </a:cubicBezTo>
                  <a:cubicBezTo>
                    <a:pt x="1619" y="5393"/>
                    <a:pt x="1474" y="5424"/>
                    <a:pt x="1467" y="5454"/>
                  </a:cubicBezTo>
                  <a:cubicBezTo>
                    <a:pt x="1459" y="5492"/>
                    <a:pt x="1413" y="5546"/>
                    <a:pt x="1421" y="5584"/>
                  </a:cubicBezTo>
                  <a:cubicBezTo>
                    <a:pt x="1421" y="5599"/>
                    <a:pt x="1421" y="5676"/>
                    <a:pt x="1405" y="5676"/>
                  </a:cubicBezTo>
                  <a:cubicBezTo>
                    <a:pt x="1352" y="5676"/>
                    <a:pt x="1352" y="5553"/>
                    <a:pt x="1291" y="5599"/>
                  </a:cubicBezTo>
                  <a:cubicBezTo>
                    <a:pt x="1230" y="5645"/>
                    <a:pt x="1138" y="5630"/>
                    <a:pt x="1062" y="5630"/>
                  </a:cubicBezTo>
                  <a:cubicBezTo>
                    <a:pt x="962" y="5660"/>
                    <a:pt x="840" y="5683"/>
                    <a:pt x="932" y="5821"/>
                  </a:cubicBezTo>
                  <a:cubicBezTo>
                    <a:pt x="970" y="5897"/>
                    <a:pt x="1130" y="5828"/>
                    <a:pt x="1214" y="5859"/>
                  </a:cubicBezTo>
                  <a:cubicBezTo>
                    <a:pt x="1283" y="5882"/>
                    <a:pt x="1344" y="5859"/>
                    <a:pt x="1413" y="5874"/>
                  </a:cubicBezTo>
                  <a:cubicBezTo>
                    <a:pt x="1512" y="5897"/>
                    <a:pt x="1558" y="5782"/>
                    <a:pt x="1673" y="5782"/>
                  </a:cubicBezTo>
                  <a:cubicBezTo>
                    <a:pt x="1742" y="5782"/>
                    <a:pt x="1818" y="5851"/>
                    <a:pt x="1909" y="5851"/>
                  </a:cubicBezTo>
                  <a:lnTo>
                    <a:pt x="1909" y="5851"/>
                  </a:lnTo>
                  <a:cubicBezTo>
                    <a:pt x="1825" y="5874"/>
                    <a:pt x="1787" y="5874"/>
                    <a:pt x="1703" y="5836"/>
                  </a:cubicBezTo>
                  <a:cubicBezTo>
                    <a:pt x="1596" y="5782"/>
                    <a:pt x="1535" y="5966"/>
                    <a:pt x="1444" y="5912"/>
                  </a:cubicBezTo>
                  <a:cubicBezTo>
                    <a:pt x="1382" y="5874"/>
                    <a:pt x="1291" y="5958"/>
                    <a:pt x="1230" y="5958"/>
                  </a:cubicBezTo>
                  <a:lnTo>
                    <a:pt x="1230" y="5958"/>
                  </a:lnTo>
                  <a:cubicBezTo>
                    <a:pt x="1230" y="5966"/>
                    <a:pt x="1230" y="5966"/>
                    <a:pt x="1230" y="5966"/>
                  </a:cubicBezTo>
                  <a:cubicBezTo>
                    <a:pt x="1283" y="5989"/>
                    <a:pt x="1352" y="6180"/>
                    <a:pt x="1421" y="6226"/>
                  </a:cubicBezTo>
                  <a:cubicBezTo>
                    <a:pt x="1482" y="6271"/>
                    <a:pt x="1566" y="6287"/>
                    <a:pt x="1642" y="6310"/>
                  </a:cubicBezTo>
                  <a:cubicBezTo>
                    <a:pt x="1673" y="6317"/>
                    <a:pt x="1726" y="6378"/>
                    <a:pt x="1734" y="6378"/>
                  </a:cubicBezTo>
                  <a:cubicBezTo>
                    <a:pt x="1886" y="6386"/>
                    <a:pt x="2017" y="6126"/>
                    <a:pt x="2093" y="6027"/>
                  </a:cubicBezTo>
                  <a:cubicBezTo>
                    <a:pt x="2146" y="6012"/>
                    <a:pt x="2207" y="5928"/>
                    <a:pt x="2253" y="5889"/>
                  </a:cubicBezTo>
                  <a:cubicBezTo>
                    <a:pt x="2284" y="5859"/>
                    <a:pt x="2291" y="5821"/>
                    <a:pt x="2322" y="5798"/>
                  </a:cubicBezTo>
                  <a:cubicBezTo>
                    <a:pt x="2337" y="5775"/>
                    <a:pt x="2353" y="5821"/>
                    <a:pt x="2391" y="5790"/>
                  </a:cubicBezTo>
                  <a:cubicBezTo>
                    <a:pt x="2406" y="5775"/>
                    <a:pt x="2414" y="5729"/>
                    <a:pt x="2429" y="5706"/>
                  </a:cubicBezTo>
                  <a:cubicBezTo>
                    <a:pt x="2452" y="5660"/>
                    <a:pt x="2658" y="5446"/>
                    <a:pt x="2597" y="5416"/>
                  </a:cubicBezTo>
                  <a:cubicBezTo>
                    <a:pt x="2513" y="5385"/>
                    <a:pt x="2398" y="5401"/>
                    <a:pt x="2299" y="5378"/>
                  </a:cubicBezTo>
                  <a:cubicBezTo>
                    <a:pt x="2345" y="5347"/>
                    <a:pt x="2673" y="5385"/>
                    <a:pt x="2650" y="5431"/>
                  </a:cubicBezTo>
                  <a:cubicBezTo>
                    <a:pt x="2612" y="5523"/>
                    <a:pt x="2551" y="5614"/>
                    <a:pt x="2498" y="5699"/>
                  </a:cubicBezTo>
                  <a:cubicBezTo>
                    <a:pt x="2459" y="5752"/>
                    <a:pt x="2391" y="5798"/>
                    <a:pt x="2482" y="5805"/>
                  </a:cubicBezTo>
                  <a:cubicBezTo>
                    <a:pt x="2521" y="5813"/>
                    <a:pt x="2421" y="5889"/>
                    <a:pt x="2414" y="5897"/>
                  </a:cubicBezTo>
                  <a:cubicBezTo>
                    <a:pt x="2322" y="5951"/>
                    <a:pt x="2322" y="5951"/>
                    <a:pt x="2322" y="5951"/>
                  </a:cubicBezTo>
                  <a:cubicBezTo>
                    <a:pt x="2276" y="5974"/>
                    <a:pt x="2337" y="5958"/>
                    <a:pt x="2345" y="5981"/>
                  </a:cubicBezTo>
                  <a:cubicBezTo>
                    <a:pt x="2345" y="5996"/>
                    <a:pt x="2330" y="6012"/>
                    <a:pt x="2322" y="6027"/>
                  </a:cubicBezTo>
                  <a:lnTo>
                    <a:pt x="2322" y="6027"/>
                  </a:lnTo>
                  <a:cubicBezTo>
                    <a:pt x="2337" y="6050"/>
                    <a:pt x="2345" y="6080"/>
                    <a:pt x="2368" y="6103"/>
                  </a:cubicBezTo>
                  <a:cubicBezTo>
                    <a:pt x="2383" y="6111"/>
                    <a:pt x="2398" y="6096"/>
                    <a:pt x="2406" y="6096"/>
                  </a:cubicBezTo>
                  <a:cubicBezTo>
                    <a:pt x="2436" y="6096"/>
                    <a:pt x="2459" y="6111"/>
                    <a:pt x="2482" y="6111"/>
                  </a:cubicBezTo>
                  <a:cubicBezTo>
                    <a:pt x="2498" y="6111"/>
                    <a:pt x="2498" y="6088"/>
                    <a:pt x="2498" y="6080"/>
                  </a:cubicBezTo>
                  <a:cubicBezTo>
                    <a:pt x="2505" y="6057"/>
                    <a:pt x="2482" y="6027"/>
                    <a:pt x="2498" y="6012"/>
                  </a:cubicBezTo>
                  <a:cubicBezTo>
                    <a:pt x="2528" y="5996"/>
                    <a:pt x="2566" y="6012"/>
                    <a:pt x="2589" y="6027"/>
                  </a:cubicBezTo>
                  <a:cubicBezTo>
                    <a:pt x="2605" y="6027"/>
                    <a:pt x="2582" y="6050"/>
                    <a:pt x="2589" y="6057"/>
                  </a:cubicBezTo>
                  <a:cubicBezTo>
                    <a:pt x="2612" y="6073"/>
                    <a:pt x="2635" y="6057"/>
                    <a:pt x="2658" y="6065"/>
                  </a:cubicBezTo>
                  <a:cubicBezTo>
                    <a:pt x="2673" y="6065"/>
                    <a:pt x="2696" y="6065"/>
                    <a:pt x="2696" y="6080"/>
                  </a:cubicBezTo>
                  <a:cubicBezTo>
                    <a:pt x="2696" y="6111"/>
                    <a:pt x="2658" y="6126"/>
                    <a:pt x="2650" y="6157"/>
                  </a:cubicBezTo>
                  <a:cubicBezTo>
                    <a:pt x="2650" y="6180"/>
                    <a:pt x="2681" y="6195"/>
                    <a:pt x="2673" y="6218"/>
                  </a:cubicBezTo>
                  <a:cubicBezTo>
                    <a:pt x="2673" y="6233"/>
                    <a:pt x="2650" y="6233"/>
                    <a:pt x="2650" y="6249"/>
                  </a:cubicBezTo>
                  <a:cubicBezTo>
                    <a:pt x="2650" y="6264"/>
                    <a:pt x="2658" y="6287"/>
                    <a:pt x="2673" y="6294"/>
                  </a:cubicBezTo>
                  <a:cubicBezTo>
                    <a:pt x="2689" y="6302"/>
                    <a:pt x="2704" y="6302"/>
                    <a:pt x="2719" y="6302"/>
                  </a:cubicBezTo>
                  <a:cubicBezTo>
                    <a:pt x="2750" y="6302"/>
                    <a:pt x="2780" y="6294"/>
                    <a:pt x="2811" y="6279"/>
                  </a:cubicBezTo>
                  <a:cubicBezTo>
                    <a:pt x="2834" y="6271"/>
                    <a:pt x="2857" y="6241"/>
                    <a:pt x="2880" y="6218"/>
                  </a:cubicBezTo>
                  <a:cubicBezTo>
                    <a:pt x="2895" y="6203"/>
                    <a:pt x="2895" y="6180"/>
                    <a:pt x="2918" y="6172"/>
                  </a:cubicBezTo>
                  <a:cubicBezTo>
                    <a:pt x="2956" y="6164"/>
                    <a:pt x="2994" y="6195"/>
                    <a:pt x="3025" y="6195"/>
                  </a:cubicBezTo>
                  <a:cubicBezTo>
                    <a:pt x="3055" y="6203"/>
                    <a:pt x="3093" y="6203"/>
                    <a:pt x="3124" y="6187"/>
                  </a:cubicBezTo>
                  <a:cubicBezTo>
                    <a:pt x="3147" y="6180"/>
                    <a:pt x="3155" y="6157"/>
                    <a:pt x="3178" y="6149"/>
                  </a:cubicBezTo>
                  <a:cubicBezTo>
                    <a:pt x="3200" y="6141"/>
                    <a:pt x="3231" y="6157"/>
                    <a:pt x="3246" y="6149"/>
                  </a:cubicBezTo>
                  <a:cubicBezTo>
                    <a:pt x="3269" y="6141"/>
                    <a:pt x="3277" y="6103"/>
                    <a:pt x="3300" y="6096"/>
                  </a:cubicBezTo>
                  <a:cubicBezTo>
                    <a:pt x="3330" y="6080"/>
                    <a:pt x="3376" y="6080"/>
                    <a:pt x="3414" y="6073"/>
                  </a:cubicBezTo>
                  <a:lnTo>
                    <a:pt x="3414" y="6073"/>
                  </a:lnTo>
                  <a:cubicBezTo>
                    <a:pt x="3414" y="6042"/>
                    <a:pt x="3437" y="5996"/>
                    <a:pt x="3414" y="5966"/>
                  </a:cubicBezTo>
                  <a:cubicBezTo>
                    <a:pt x="3399" y="5951"/>
                    <a:pt x="3368" y="5996"/>
                    <a:pt x="3345" y="6004"/>
                  </a:cubicBezTo>
                  <a:cubicBezTo>
                    <a:pt x="3322" y="6004"/>
                    <a:pt x="3284" y="6012"/>
                    <a:pt x="3261" y="5989"/>
                  </a:cubicBezTo>
                  <a:cubicBezTo>
                    <a:pt x="3246" y="5966"/>
                    <a:pt x="3239" y="5920"/>
                    <a:pt x="3261" y="5905"/>
                  </a:cubicBezTo>
                  <a:cubicBezTo>
                    <a:pt x="3292" y="5882"/>
                    <a:pt x="3338" y="5905"/>
                    <a:pt x="3376" y="5897"/>
                  </a:cubicBezTo>
                  <a:cubicBezTo>
                    <a:pt x="3414" y="5889"/>
                    <a:pt x="3445" y="5882"/>
                    <a:pt x="3475" y="5866"/>
                  </a:cubicBezTo>
                  <a:cubicBezTo>
                    <a:pt x="3483" y="5859"/>
                    <a:pt x="3475" y="5844"/>
                    <a:pt x="3475" y="5828"/>
                  </a:cubicBezTo>
                  <a:cubicBezTo>
                    <a:pt x="3468" y="5821"/>
                    <a:pt x="3445" y="5821"/>
                    <a:pt x="3452" y="5813"/>
                  </a:cubicBezTo>
                  <a:cubicBezTo>
                    <a:pt x="3452" y="5782"/>
                    <a:pt x="3475" y="5767"/>
                    <a:pt x="3483" y="5737"/>
                  </a:cubicBezTo>
                  <a:cubicBezTo>
                    <a:pt x="3491" y="5714"/>
                    <a:pt x="3475" y="5691"/>
                    <a:pt x="3483" y="5668"/>
                  </a:cubicBezTo>
                  <a:cubicBezTo>
                    <a:pt x="3498" y="5645"/>
                    <a:pt x="3529" y="5653"/>
                    <a:pt x="3544" y="5637"/>
                  </a:cubicBezTo>
                  <a:cubicBezTo>
                    <a:pt x="3567" y="5614"/>
                    <a:pt x="3559" y="5561"/>
                    <a:pt x="3590" y="5546"/>
                  </a:cubicBezTo>
                  <a:cubicBezTo>
                    <a:pt x="3613" y="5538"/>
                    <a:pt x="3628" y="5576"/>
                    <a:pt x="3643" y="5592"/>
                  </a:cubicBezTo>
                  <a:cubicBezTo>
                    <a:pt x="3666" y="5607"/>
                    <a:pt x="3682" y="5653"/>
                    <a:pt x="3704" y="5637"/>
                  </a:cubicBezTo>
                  <a:cubicBezTo>
                    <a:pt x="3766" y="5599"/>
                    <a:pt x="3773" y="5515"/>
                    <a:pt x="3827" y="5477"/>
                  </a:cubicBezTo>
                  <a:cubicBezTo>
                    <a:pt x="3842" y="5462"/>
                    <a:pt x="3865" y="5507"/>
                    <a:pt x="3880" y="5500"/>
                  </a:cubicBezTo>
                  <a:cubicBezTo>
                    <a:pt x="3903" y="5485"/>
                    <a:pt x="3903" y="5446"/>
                    <a:pt x="3926" y="5424"/>
                  </a:cubicBezTo>
                  <a:cubicBezTo>
                    <a:pt x="3941" y="5408"/>
                    <a:pt x="3972" y="5408"/>
                    <a:pt x="3987" y="5408"/>
                  </a:cubicBezTo>
                  <a:cubicBezTo>
                    <a:pt x="4010" y="5408"/>
                    <a:pt x="4025" y="5416"/>
                    <a:pt x="4041" y="5408"/>
                  </a:cubicBezTo>
                  <a:cubicBezTo>
                    <a:pt x="4056" y="5401"/>
                    <a:pt x="4064" y="5385"/>
                    <a:pt x="4079" y="5370"/>
                  </a:cubicBezTo>
                  <a:cubicBezTo>
                    <a:pt x="4086" y="5362"/>
                    <a:pt x="4102" y="5362"/>
                    <a:pt x="4109" y="5347"/>
                  </a:cubicBezTo>
                  <a:cubicBezTo>
                    <a:pt x="4109" y="5332"/>
                    <a:pt x="4086" y="5324"/>
                    <a:pt x="4086" y="5309"/>
                  </a:cubicBezTo>
                  <a:cubicBezTo>
                    <a:pt x="4094" y="5294"/>
                    <a:pt x="4102" y="5271"/>
                    <a:pt x="4117" y="5271"/>
                  </a:cubicBezTo>
                  <a:cubicBezTo>
                    <a:pt x="4170" y="5271"/>
                    <a:pt x="4208" y="5309"/>
                    <a:pt x="4254" y="5309"/>
                  </a:cubicBezTo>
                  <a:cubicBezTo>
                    <a:pt x="4285" y="5317"/>
                    <a:pt x="4316" y="5294"/>
                    <a:pt x="4346" y="5294"/>
                  </a:cubicBezTo>
                  <a:cubicBezTo>
                    <a:pt x="4361" y="5294"/>
                    <a:pt x="4361" y="5324"/>
                    <a:pt x="4369" y="5324"/>
                  </a:cubicBezTo>
                  <a:cubicBezTo>
                    <a:pt x="4384" y="5324"/>
                    <a:pt x="4392" y="5301"/>
                    <a:pt x="4407" y="5294"/>
                  </a:cubicBezTo>
                  <a:cubicBezTo>
                    <a:pt x="4415" y="5294"/>
                    <a:pt x="4422" y="5317"/>
                    <a:pt x="4438" y="5309"/>
                  </a:cubicBezTo>
                  <a:cubicBezTo>
                    <a:pt x="4453" y="5301"/>
                    <a:pt x="4453" y="5278"/>
                    <a:pt x="4461" y="5255"/>
                  </a:cubicBezTo>
                  <a:cubicBezTo>
                    <a:pt x="4461" y="5232"/>
                    <a:pt x="4445" y="5210"/>
                    <a:pt x="4453" y="5187"/>
                  </a:cubicBezTo>
                  <a:cubicBezTo>
                    <a:pt x="4461" y="5171"/>
                    <a:pt x="4476" y="5156"/>
                    <a:pt x="4491" y="5156"/>
                  </a:cubicBezTo>
                  <a:cubicBezTo>
                    <a:pt x="4514" y="5164"/>
                    <a:pt x="4529" y="5187"/>
                    <a:pt x="4545" y="5202"/>
                  </a:cubicBezTo>
                  <a:cubicBezTo>
                    <a:pt x="4560" y="5210"/>
                    <a:pt x="4568" y="5225"/>
                    <a:pt x="4583" y="5232"/>
                  </a:cubicBezTo>
                  <a:cubicBezTo>
                    <a:pt x="4598" y="5232"/>
                    <a:pt x="4613" y="5232"/>
                    <a:pt x="4629" y="5225"/>
                  </a:cubicBezTo>
                  <a:cubicBezTo>
                    <a:pt x="4644" y="5217"/>
                    <a:pt x="4644" y="5187"/>
                    <a:pt x="4659" y="5187"/>
                  </a:cubicBezTo>
                  <a:cubicBezTo>
                    <a:pt x="4675" y="5179"/>
                    <a:pt x="4690" y="5194"/>
                    <a:pt x="4705" y="5202"/>
                  </a:cubicBezTo>
                  <a:lnTo>
                    <a:pt x="4705" y="5202"/>
                  </a:lnTo>
                  <a:cubicBezTo>
                    <a:pt x="4728" y="5156"/>
                    <a:pt x="4758" y="5126"/>
                    <a:pt x="4774" y="5080"/>
                  </a:cubicBezTo>
                  <a:cubicBezTo>
                    <a:pt x="4789" y="5042"/>
                    <a:pt x="4789" y="4996"/>
                    <a:pt x="4797" y="4957"/>
                  </a:cubicBezTo>
                  <a:cubicBezTo>
                    <a:pt x="4797" y="4942"/>
                    <a:pt x="4789" y="4927"/>
                    <a:pt x="4789" y="4912"/>
                  </a:cubicBezTo>
                  <a:cubicBezTo>
                    <a:pt x="4797" y="4896"/>
                    <a:pt x="4812" y="4881"/>
                    <a:pt x="4804" y="4874"/>
                  </a:cubicBezTo>
                  <a:cubicBezTo>
                    <a:pt x="4804" y="4851"/>
                    <a:pt x="4774" y="4828"/>
                    <a:pt x="4789" y="4805"/>
                  </a:cubicBezTo>
                  <a:cubicBezTo>
                    <a:pt x="4797" y="4782"/>
                    <a:pt x="4835" y="4782"/>
                    <a:pt x="4858" y="4774"/>
                  </a:cubicBezTo>
                  <a:cubicBezTo>
                    <a:pt x="4865" y="4767"/>
                    <a:pt x="4873" y="4759"/>
                    <a:pt x="4881" y="4751"/>
                  </a:cubicBezTo>
                  <a:lnTo>
                    <a:pt x="4881" y="4751"/>
                  </a:lnTo>
                  <a:cubicBezTo>
                    <a:pt x="4919" y="4705"/>
                    <a:pt x="4957" y="4652"/>
                    <a:pt x="5003" y="4621"/>
                  </a:cubicBezTo>
                  <a:cubicBezTo>
                    <a:pt x="5026" y="4606"/>
                    <a:pt x="5056" y="4629"/>
                    <a:pt x="5087" y="4614"/>
                  </a:cubicBezTo>
                  <a:cubicBezTo>
                    <a:pt x="5117" y="4606"/>
                    <a:pt x="5148" y="4583"/>
                    <a:pt x="5179" y="4553"/>
                  </a:cubicBezTo>
                  <a:cubicBezTo>
                    <a:pt x="5194" y="4530"/>
                    <a:pt x="5179" y="4492"/>
                    <a:pt x="5202" y="4476"/>
                  </a:cubicBezTo>
                  <a:cubicBezTo>
                    <a:pt x="5240" y="4446"/>
                    <a:pt x="5293" y="4476"/>
                    <a:pt x="5324" y="4453"/>
                  </a:cubicBezTo>
                  <a:cubicBezTo>
                    <a:pt x="5347" y="4438"/>
                    <a:pt x="5339" y="4400"/>
                    <a:pt x="5347" y="4377"/>
                  </a:cubicBezTo>
                  <a:cubicBezTo>
                    <a:pt x="5354" y="4346"/>
                    <a:pt x="5369" y="4316"/>
                    <a:pt x="5362" y="4285"/>
                  </a:cubicBezTo>
                  <a:cubicBezTo>
                    <a:pt x="5362" y="4270"/>
                    <a:pt x="5324" y="4285"/>
                    <a:pt x="5316" y="4263"/>
                  </a:cubicBezTo>
                  <a:cubicBezTo>
                    <a:pt x="5308" y="4224"/>
                    <a:pt x="5347" y="4171"/>
                    <a:pt x="5331" y="4125"/>
                  </a:cubicBezTo>
                  <a:cubicBezTo>
                    <a:pt x="5324" y="4102"/>
                    <a:pt x="5263" y="4117"/>
                    <a:pt x="5263" y="4087"/>
                  </a:cubicBezTo>
                  <a:cubicBezTo>
                    <a:pt x="5263" y="4049"/>
                    <a:pt x="5308" y="4026"/>
                    <a:pt x="5331" y="3988"/>
                  </a:cubicBezTo>
                  <a:cubicBezTo>
                    <a:pt x="5362" y="3942"/>
                    <a:pt x="5415" y="3904"/>
                    <a:pt x="5423" y="3850"/>
                  </a:cubicBezTo>
                  <a:cubicBezTo>
                    <a:pt x="5431" y="3804"/>
                    <a:pt x="5408" y="3766"/>
                    <a:pt x="5377" y="3728"/>
                  </a:cubicBezTo>
                  <a:cubicBezTo>
                    <a:pt x="5362" y="3705"/>
                    <a:pt x="5324" y="3713"/>
                    <a:pt x="5301" y="3697"/>
                  </a:cubicBezTo>
                  <a:cubicBezTo>
                    <a:pt x="5278" y="3674"/>
                    <a:pt x="5270" y="3629"/>
                    <a:pt x="5247" y="3621"/>
                  </a:cubicBezTo>
                  <a:cubicBezTo>
                    <a:pt x="5225" y="3613"/>
                    <a:pt x="5217" y="3644"/>
                    <a:pt x="5194" y="3652"/>
                  </a:cubicBezTo>
                  <a:cubicBezTo>
                    <a:pt x="5156" y="3659"/>
                    <a:pt x="5110" y="3644"/>
                    <a:pt x="5072" y="3659"/>
                  </a:cubicBezTo>
                  <a:cubicBezTo>
                    <a:pt x="5049" y="3667"/>
                    <a:pt x="5056" y="3713"/>
                    <a:pt x="5033" y="3713"/>
                  </a:cubicBezTo>
                  <a:cubicBezTo>
                    <a:pt x="5003" y="3720"/>
                    <a:pt x="4957" y="3713"/>
                    <a:pt x="4942" y="3690"/>
                  </a:cubicBezTo>
                  <a:cubicBezTo>
                    <a:pt x="4919" y="3667"/>
                    <a:pt x="4942" y="3636"/>
                    <a:pt x="4942" y="3613"/>
                  </a:cubicBezTo>
                  <a:cubicBezTo>
                    <a:pt x="4942" y="3552"/>
                    <a:pt x="4942" y="3491"/>
                    <a:pt x="4927" y="3438"/>
                  </a:cubicBezTo>
                  <a:cubicBezTo>
                    <a:pt x="4927" y="3422"/>
                    <a:pt x="4904" y="3415"/>
                    <a:pt x="4904" y="3399"/>
                  </a:cubicBezTo>
                  <a:cubicBezTo>
                    <a:pt x="4904" y="3369"/>
                    <a:pt x="4919" y="3331"/>
                    <a:pt x="4911" y="3300"/>
                  </a:cubicBezTo>
                  <a:cubicBezTo>
                    <a:pt x="4904" y="3269"/>
                    <a:pt x="4865" y="3254"/>
                    <a:pt x="4858" y="3231"/>
                  </a:cubicBezTo>
                  <a:cubicBezTo>
                    <a:pt x="4835" y="3178"/>
                    <a:pt x="4827" y="3117"/>
                    <a:pt x="4812" y="3056"/>
                  </a:cubicBezTo>
                  <a:close/>
                </a:path>
              </a:pathLst>
            </a:custGeom>
            <a:solidFill>
              <a:schemeClr val="accent1"/>
            </a:solidFill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73" name="Freeform 195"/>
            <p:cNvSpPr>
              <a:spLocks noChangeArrowheads="1"/>
            </p:cNvSpPr>
            <p:nvPr/>
          </p:nvSpPr>
          <p:spPr bwMode="auto">
            <a:xfrm>
              <a:off x="3624027" y="2027238"/>
              <a:ext cx="866719" cy="1846262"/>
            </a:xfrm>
            <a:custGeom>
              <a:avLst/>
              <a:gdLst>
                <a:gd name="T0" fmla="*/ 764 w 2407"/>
                <a:gd name="T1" fmla="*/ 2368 h 5127"/>
                <a:gd name="T2" fmla="*/ 772 w 2407"/>
                <a:gd name="T3" fmla="*/ 2429 h 5127"/>
                <a:gd name="T4" fmla="*/ 710 w 2407"/>
                <a:gd name="T5" fmla="*/ 2414 h 5127"/>
                <a:gd name="T6" fmla="*/ 191 w 2407"/>
                <a:gd name="T7" fmla="*/ 4645 h 5127"/>
                <a:gd name="T8" fmla="*/ 390 w 2407"/>
                <a:gd name="T9" fmla="*/ 4354 h 5127"/>
                <a:gd name="T10" fmla="*/ 275 w 2407"/>
                <a:gd name="T11" fmla="*/ 4698 h 5127"/>
                <a:gd name="T12" fmla="*/ 61 w 2407"/>
                <a:gd name="T13" fmla="*/ 5072 h 5127"/>
                <a:gd name="T14" fmla="*/ 46 w 2407"/>
                <a:gd name="T15" fmla="*/ 5019 h 5127"/>
                <a:gd name="T16" fmla="*/ 0 w 2407"/>
                <a:gd name="T17" fmla="*/ 5065 h 5127"/>
                <a:gd name="T18" fmla="*/ 53 w 2407"/>
                <a:gd name="T19" fmla="*/ 5110 h 5127"/>
                <a:gd name="T20" fmla="*/ 611 w 2407"/>
                <a:gd name="T21" fmla="*/ 4262 h 5127"/>
                <a:gd name="T22" fmla="*/ 558 w 2407"/>
                <a:gd name="T23" fmla="*/ 4285 h 5127"/>
                <a:gd name="T24" fmla="*/ 581 w 2407"/>
                <a:gd name="T25" fmla="*/ 4370 h 5127"/>
                <a:gd name="T26" fmla="*/ 611 w 2407"/>
                <a:gd name="T27" fmla="*/ 4262 h 5127"/>
                <a:gd name="T28" fmla="*/ 947 w 2407"/>
                <a:gd name="T29" fmla="*/ 2651 h 5127"/>
                <a:gd name="T30" fmla="*/ 833 w 2407"/>
                <a:gd name="T31" fmla="*/ 2926 h 5127"/>
                <a:gd name="T32" fmla="*/ 710 w 2407"/>
                <a:gd name="T33" fmla="*/ 3262 h 5127"/>
                <a:gd name="T34" fmla="*/ 710 w 2407"/>
                <a:gd name="T35" fmla="*/ 3568 h 5127"/>
                <a:gd name="T36" fmla="*/ 619 w 2407"/>
                <a:gd name="T37" fmla="*/ 3850 h 5127"/>
                <a:gd name="T38" fmla="*/ 703 w 2407"/>
                <a:gd name="T39" fmla="*/ 4194 h 5127"/>
                <a:gd name="T40" fmla="*/ 382 w 2407"/>
                <a:gd name="T41" fmla="*/ 3942 h 5127"/>
                <a:gd name="T42" fmla="*/ 390 w 2407"/>
                <a:gd name="T43" fmla="*/ 3476 h 5127"/>
                <a:gd name="T44" fmla="*/ 413 w 2407"/>
                <a:gd name="T45" fmla="*/ 3170 h 5127"/>
                <a:gd name="T46" fmla="*/ 298 w 2407"/>
                <a:gd name="T47" fmla="*/ 2597 h 5127"/>
                <a:gd name="T48" fmla="*/ 611 w 2407"/>
                <a:gd name="T49" fmla="*/ 2559 h 5127"/>
                <a:gd name="T50" fmla="*/ 657 w 2407"/>
                <a:gd name="T51" fmla="*/ 2300 h 5127"/>
                <a:gd name="T52" fmla="*/ 665 w 2407"/>
                <a:gd name="T53" fmla="*/ 2238 h 5127"/>
                <a:gd name="T54" fmla="*/ 718 w 2407"/>
                <a:gd name="T55" fmla="*/ 2300 h 5127"/>
                <a:gd name="T56" fmla="*/ 1031 w 2407"/>
                <a:gd name="T57" fmla="*/ 1834 h 5127"/>
                <a:gd name="T58" fmla="*/ 947 w 2407"/>
                <a:gd name="T59" fmla="*/ 1895 h 5127"/>
                <a:gd name="T60" fmla="*/ 978 w 2407"/>
                <a:gd name="T61" fmla="*/ 1917 h 5127"/>
                <a:gd name="T62" fmla="*/ 1054 w 2407"/>
                <a:gd name="T63" fmla="*/ 1849 h 5127"/>
                <a:gd name="T64" fmla="*/ 2047 w 2407"/>
                <a:gd name="T65" fmla="*/ 1543 h 5127"/>
                <a:gd name="T66" fmla="*/ 2039 w 2407"/>
                <a:gd name="T67" fmla="*/ 1177 h 5127"/>
                <a:gd name="T68" fmla="*/ 2169 w 2407"/>
                <a:gd name="T69" fmla="*/ 986 h 5127"/>
                <a:gd name="T70" fmla="*/ 2406 w 2407"/>
                <a:gd name="T71" fmla="*/ 810 h 5127"/>
                <a:gd name="T72" fmla="*/ 2208 w 2407"/>
                <a:gd name="T73" fmla="*/ 955 h 5127"/>
                <a:gd name="T74" fmla="*/ 2231 w 2407"/>
                <a:gd name="T75" fmla="*/ 718 h 5127"/>
                <a:gd name="T76" fmla="*/ 2337 w 2407"/>
                <a:gd name="T77" fmla="*/ 291 h 5127"/>
                <a:gd name="T78" fmla="*/ 2162 w 2407"/>
                <a:gd name="T79" fmla="*/ 130 h 5127"/>
                <a:gd name="T80" fmla="*/ 1619 w 2407"/>
                <a:gd name="T81" fmla="*/ 566 h 5127"/>
                <a:gd name="T82" fmla="*/ 1444 w 2407"/>
                <a:gd name="T83" fmla="*/ 963 h 5127"/>
                <a:gd name="T84" fmla="*/ 1314 w 2407"/>
                <a:gd name="T85" fmla="*/ 871 h 5127"/>
                <a:gd name="T86" fmla="*/ 1260 w 2407"/>
                <a:gd name="T87" fmla="*/ 963 h 5127"/>
                <a:gd name="T88" fmla="*/ 978 w 2407"/>
                <a:gd name="T89" fmla="*/ 909 h 5127"/>
                <a:gd name="T90" fmla="*/ 886 w 2407"/>
                <a:gd name="T91" fmla="*/ 1138 h 5127"/>
                <a:gd name="T92" fmla="*/ 939 w 2407"/>
                <a:gd name="T93" fmla="*/ 1429 h 5127"/>
                <a:gd name="T94" fmla="*/ 840 w 2407"/>
                <a:gd name="T95" fmla="*/ 1574 h 5127"/>
                <a:gd name="T96" fmla="*/ 1283 w 2407"/>
                <a:gd name="T97" fmla="*/ 1849 h 5127"/>
                <a:gd name="T98" fmla="*/ 886 w 2407"/>
                <a:gd name="T99" fmla="*/ 2093 h 5127"/>
                <a:gd name="T100" fmla="*/ 1085 w 2407"/>
                <a:gd name="T101" fmla="*/ 2391 h 5127"/>
                <a:gd name="T102" fmla="*/ 1360 w 2407"/>
                <a:gd name="T103" fmla="*/ 2162 h 5127"/>
                <a:gd name="T104" fmla="*/ 1398 w 2407"/>
                <a:gd name="T105" fmla="*/ 1979 h 5127"/>
                <a:gd name="T106" fmla="*/ 1551 w 2407"/>
                <a:gd name="T107" fmla="*/ 2017 h 5127"/>
                <a:gd name="T108" fmla="*/ 1658 w 2407"/>
                <a:gd name="T109" fmla="*/ 1811 h 5127"/>
                <a:gd name="T110" fmla="*/ 1902 w 2407"/>
                <a:gd name="T111" fmla="*/ 1612 h 5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07" h="5127">
                  <a:moveTo>
                    <a:pt x="710" y="2414"/>
                  </a:moveTo>
                  <a:lnTo>
                    <a:pt x="710" y="2414"/>
                  </a:lnTo>
                  <a:cubicBezTo>
                    <a:pt x="718" y="2407"/>
                    <a:pt x="749" y="2368"/>
                    <a:pt x="764" y="2368"/>
                  </a:cubicBezTo>
                  <a:cubicBezTo>
                    <a:pt x="779" y="2368"/>
                    <a:pt x="810" y="2368"/>
                    <a:pt x="810" y="2384"/>
                  </a:cubicBezTo>
                  <a:cubicBezTo>
                    <a:pt x="810" y="2399"/>
                    <a:pt x="817" y="2407"/>
                    <a:pt x="802" y="2414"/>
                  </a:cubicBezTo>
                  <a:cubicBezTo>
                    <a:pt x="795" y="2414"/>
                    <a:pt x="779" y="2422"/>
                    <a:pt x="772" y="2429"/>
                  </a:cubicBezTo>
                  <a:cubicBezTo>
                    <a:pt x="764" y="2437"/>
                    <a:pt x="764" y="2445"/>
                    <a:pt x="749" y="2452"/>
                  </a:cubicBezTo>
                  <a:cubicBezTo>
                    <a:pt x="733" y="2460"/>
                    <a:pt x="710" y="2475"/>
                    <a:pt x="695" y="2452"/>
                  </a:cubicBezTo>
                  <a:cubicBezTo>
                    <a:pt x="710" y="2414"/>
                    <a:pt x="710" y="2414"/>
                    <a:pt x="710" y="2414"/>
                  </a:cubicBezTo>
                  <a:close/>
                  <a:moveTo>
                    <a:pt x="191" y="4759"/>
                  </a:moveTo>
                  <a:lnTo>
                    <a:pt x="191" y="4759"/>
                  </a:lnTo>
                  <a:cubicBezTo>
                    <a:pt x="184" y="4721"/>
                    <a:pt x="153" y="4668"/>
                    <a:pt x="191" y="4645"/>
                  </a:cubicBezTo>
                  <a:cubicBezTo>
                    <a:pt x="245" y="4606"/>
                    <a:pt x="267" y="4522"/>
                    <a:pt x="313" y="4476"/>
                  </a:cubicBezTo>
                  <a:cubicBezTo>
                    <a:pt x="328" y="4461"/>
                    <a:pt x="336" y="4423"/>
                    <a:pt x="336" y="4393"/>
                  </a:cubicBezTo>
                  <a:cubicBezTo>
                    <a:pt x="336" y="4362"/>
                    <a:pt x="351" y="4362"/>
                    <a:pt x="390" y="4354"/>
                  </a:cubicBezTo>
                  <a:cubicBezTo>
                    <a:pt x="390" y="4400"/>
                    <a:pt x="336" y="4446"/>
                    <a:pt x="382" y="4484"/>
                  </a:cubicBezTo>
                  <a:cubicBezTo>
                    <a:pt x="481" y="4560"/>
                    <a:pt x="359" y="4583"/>
                    <a:pt x="328" y="4652"/>
                  </a:cubicBezTo>
                  <a:cubicBezTo>
                    <a:pt x="321" y="4683"/>
                    <a:pt x="290" y="4675"/>
                    <a:pt x="275" y="4698"/>
                  </a:cubicBezTo>
                  <a:cubicBezTo>
                    <a:pt x="267" y="4721"/>
                    <a:pt x="260" y="4744"/>
                    <a:pt x="237" y="4767"/>
                  </a:cubicBezTo>
                  <a:cubicBezTo>
                    <a:pt x="191" y="4759"/>
                    <a:pt x="191" y="4759"/>
                    <a:pt x="191" y="4759"/>
                  </a:cubicBezTo>
                  <a:close/>
                  <a:moveTo>
                    <a:pt x="61" y="5072"/>
                  </a:moveTo>
                  <a:lnTo>
                    <a:pt x="61" y="5072"/>
                  </a:lnTo>
                  <a:cubicBezTo>
                    <a:pt x="69" y="5057"/>
                    <a:pt x="69" y="5034"/>
                    <a:pt x="61" y="5011"/>
                  </a:cubicBezTo>
                  <a:cubicBezTo>
                    <a:pt x="61" y="5011"/>
                    <a:pt x="53" y="5019"/>
                    <a:pt x="46" y="5019"/>
                  </a:cubicBezTo>
                  <a:cubicBezTo>
                    <a:pt x="38" y="5019"/>
                    <a:pt x="38" y="5019"/>
                    <a:pt x="31" y="5026"/>
                  </a:cubicBezTo>
                  <a:cubicBezTo>
                    <a:pt x="15" y="5026"/>
                    <a:pt x="0" y="5034"/>
                    <a:pt x="0" y="5042"/>
                  </a:cubicBezTo>
                  <a:cubicBezTo>
                    <a:pt x="0" y="5049"/>
                    <a:pt x="0" y="5057"/>
                    <a:pt x="0" y="5065"/>
                  </a:cubicBezTo>
                  <a:cubicBezTo>
                    <a:pt x="0" y="5072"/>
                    <a:pt x="0" y="5072"/>
                    <a:pt x="8" y="5080"/>
                  </a:cubicBezTo>
                  <a:cubicBezTo>
                    <a:pt x="8" y="5087"/>
                    <a:pt x="8" y="5103"/>
                    <a:pt x="8" y="5110"/>
                  </a:cubicBezTo>
                  <a:cubicBezTo>
                    <a:pt x="15" y="5126"/>
                    <a:pt x="38" y="5110"/>
                    <a:pt x="53" y="5110"/>
                  </a:cubicBezTo>
                  <a:cubicBezTo>
                    <a:pt x="61" y="5072"/>
                    <a:pt x="61" y="5072"/>
                    <a:pt x="61" y="5072"/>
                  </a:cubicBezTo>
                  <a:close/>
                  <a:moveTo>
                    <a:pt x="611" y="4262"/>
                  </a:moveTo>
                  <a:lnTo>
                    <a:pt x="611" y="4262"/>
                  </a:lnTo>
                  <a:cubicBezTo>
                    <a:pt x="603" y="4262"/>
                    <a:pt x="596" y="4262"/>
                    <a:pt x="588" y="4262"/>
                  </a:cubicBezTo>
                  <a:cubicBezTo>
                    <a:pt x="581" y="4262"/>
                    <a:pt x="565" y="4262"/>
                    <a:pt x="558" y="4262"/>
                  </a:cubicBezTo>
                  <a:cubicBezTo>
                    <a:pt x="558" y="4270"/>
                    <a:pt x="558" y="4270"/>
                    <a:pt x="558" y="4285"/>
                  </a:cubicBezTo>
                  <a:cubicBezTo>
                    <a:pt x="558" y="4293"/>
                    <a:pt x="550" y="4293"/>
                    <a:pt x="558" y="4301"/>
                  </a:cubicBezTo>
                  <a:cubicBezTo>
                    <a:pt x="558" y="4316"/>
                    <a:pt x="565" y="4324"/>
                    <a:pt x="565" y="4339"/>
                  </a:cubicBezTo>
                  <a:cubicBezTo>
                    <a:pt x="565" y="4347"/>
                    <a:pt x="565" y="4377"/>
                    <a:pt x="581" y="4370"/>
                  </a:cubicBezTo>
                  <a:cubicBezTo>
                    <a:pt x="596" y="4370"/>
                    <a:pt x="596" y="4354"/>
                    <a:pt x="596" y="4347"/>
                  </a:cubicBezTo>
                  <a:cubicBezTo>
                    <a:pt x="603" y="4331"/>
                    <a:pt x="603" y="4316"/>
                    <a:pt x="611" y="4293"/>
                  </a:cubicBezTo>
                  <a:cubicBezTo>
                    <a:pt x="611" y="4262"/>
                    <a:pt x="611" y="4262"/>
                    <a:pt x="611" y="4262"/>
                  </a:cubicBezTo>
                  <a:close/>
                  <a:moveTo>
                    <a:pt x="833" y="2536"/>
                  </a:moveTo>
                  <a:lnTo>
                    <a:pt x="833" y="2536"/>
                  </a:lnTo>
                  <a:cubicBezTo>
                    <a:pt x="924" y="2582"/>
                    <a:pt x="1008" y="2529"/>
                    <a:pt x="947" y="2651"/>
                  </a:cubicBezTo>
                  <a:cubicBezTo>
                    <a:pt x="894" y="2742"/>
                    <a:pt x="924" y="2727"/>
                    <a:pt x="825" y="2758"/>
                  </a:cubicBezTo>
                  <a:cubicBezTo>
                    <a:pt x="833" y="2788"/>
                    <a:pt x="878" y="2788"/>
                    <a:pt x="871" y="2826"/>
                  </a:cubicBezTo>
                  <a:cubicBezTo>
                    <a:pt x="863" y="2857"/>
                    <a:pt x="856" y="2895"/>
                    <a:pt x="833" y="2926"/>
                  </a:cubicBezTo>
                  <a:cubicBezTo>
                    <a:pt x="810" y="2964"/>
                    <a:pt x="795" y="3094"/>
                    <a:pt x="787" y="3147"/>
                  </a:cubicBezTo>
                  <a:cubicBezTo>
                    <a:pt x="772" y="3216"/>
                    <a:pt x="710" y="3140"/>
                    <a:pt x="726" y="3209"/>
                  </a:cubicBezTo>
                  <a:cubicBezTo>
                    <a:pt x="733" y="3232"/>
                    <a:pt x="703" y="3254"/>
                    <a:pt x="710" y="3262"/>
                  </a:cubicBezTo>
                  <a:cubicBezTo>
                    <a:pt x="733" y="3315"/>
                    <a:pt x="779" y="3384"/>
                    <a:pt x="710" y="3430"/>
                  </a:cubicBezTo>
                  <a:cubicBezTo>
                    <a:pt x="695" y="3445"/>
                    <a:pt x="619" y="3430"/>
                    <a:pt x="634" y="3461"/>
                  </a:cubicBezTo>
                  <a:cubicBezTo>
                    <a:pt x="657" y="3491"/>
                    <a:pt x="703" y="3529"/>
                    <a:pt x="710" y="3568"/>
                  </a:cubicBezTo>
                  <a:cubicBezTo>
                    <a:pt x="687" y="3613"/>
                    <a:pt x="749" y="3636"/>
                    <a:pt x="741" y="3667"/>
                  </a:cubicBezTo>
                  <a:cubicBezTo>
                    <a:pt x="741" y="3690"/>
                    <a:pt x="680" y="3713"/>
                    <a:pt x="665" y="3743"/>
                  </a:cubicBezTo>
                  <a:cubicBezTo>
                    <a:pt x="649" y="3781"/>
                    <a:pt x="642" y="3820"/>
                    <a:pt x="619" y="3850"/>
                  </a:cubicBezTo>
                  <a:cubicBezTo>
                    <a:pt x="588" y="3896"/>
                    <a:pt x="581" y="3873"/>
                    <a:pt x="619" y="3911"/>
                  </a:cubicBezTo>
                  <a:cubicBezTo>
                    <a:pt x="657" y="3942"/>
                    <a:pt x="665" y="4049"/>
                    <a:pt x="642" y="4095"/>
                  </a:cubicBezTo>
                  <a:cubicBezTo>
                    <a:pt x="626" y="4110"/>
                    <a:pt x="695" y="4171"/>
                    <a:pt x="703" y="4194"/>
                  </a:cubicBezTo>
                  <a:cubicBezTo>
                    <a:pt x="726" y="4285"/>
                    <a:pt x="642" y="4217"/>
                    <a:pt x="611" y="4209"/>
                  </a:cubicBezTo>
                  <a:cubicBezTo>
                    <a:pt x="550" y="4194"/>
                    <a:pt x="443" y="4270"/>
                    <a:pt x="420" y="4163"/>
                  </a:cubicBezTo>
                  <a:cubicBezTo>
                    <a:pt x="405" y="4095"/>
                    <a:pt x="405" y="4010"/>
                    <a:pt x="382" y="3942"/>
                  </a:cubicBezTo>
                  <a:cubicBezTo>
                    <a:pt x="374" y="3919"/>
                    <a:pt x="367" y="3888"/>
                    <a:pt x="351" y="3873"/>
                  </a:cubicBezTo>
                  <a:cubicBezTo>
                    <a:pt x="344" y="3865"/>
                    <a:pt x="420" y="3629"/>
                    <a:pt x="428" y="3590"/>
                  </a:cubicBezTo>
                  <a:cubicBezTo>
                    <a:pt x="428" y="3552"/>
                    <a:pt x="413" y="3506"/>
                    <a:pt x="390" y="3476"/>
                  </a:cubicBezTo>
                  <a:cubicBezTo>
                    <a:pt x="336" y="3407"/>
                    <a:pt x="405" y="3438"/>
                    <a:pt x="428" y="3369"/>
                  </a:cubicBezTo>
                  <a:cubicBezTo>
                    <a:pt x="451" y="3346"/>
                    <a:pt x="458" y="3323"/>
                    <a:pt x="451" y="3300"/>
                  </a:cubicBezTo>
                  <a:cubicBezTo>
                    <a:pt x="420" y="3300"/>
                    <a:pt x="390" y="3193"/>
                    <a:pt x="413" y="3170"/>
                  </a:cubicBezTo>
                  <a:cubicBezTo>
                    <a:pt x="504" y="3094"/>
                    <a:pt x="451" y="2964"/>
                    <a:pt x="359" y="2911"/>
                  </a:cubicBezTo>
                  <a:cubicBezTo>
                    <a:pt x="336" y="2895"/>
                    <a:pt x="206" y="2804"/>
                    <a:pt x="214" y="2796"/>
                  </a:cubicBezTo>
                  <a:cubicBezTo>
                    <a:pt x="252" y="2750"/>
                    <a:pt x="260" y="2659"/>
                    <a:pt x="298" y="2597"/>
                  </a:cubicBezTo>
                  <a:cubicBezTo>
                    <a:pt x="344" y="2536"/>
                    <a:pt x="359" y="2590"/>
                    <a:pt x="413" y="2597"/>
                  </a:cubicBezTo>
                  <a:cubicBezTo>
                    <a:pt x="451" y="2605"/>
                    <a:pt x="474" y="2559"/>
                    <a:pt x="497" y="2536"/>
                  </a:cubicBezTo>
                  <a:cubicBezTo>
                    <a:pt x="542" y="2498"/>
                    <a:pt x="565" y="2613"/>
                    <a:pt x="611" y="2559"/>
                  </a:cubicBezTo>
                  <a:cubicBezTo>
                    <a:pt x="642" y="2536"/>
                    <a:pt x="726" y="2483"/>
                    <a:pt x="772" y="2521"/>
                  </a:cubicBezTo>
                  <a:cubicBezTo>
                    <a:pt x="833" y="2536"/>
                    <a:pt x="833" y="2536"/>
                    <a:pt x="833" y="2536"/>
                  </a:cubicBezTo>
                  <a:close/>
                  <a:moveTo>
                    <a:pt x="657" y="2300"/>
                  </a:moveTo>
                  <a:lnTo>
                    <a:pt x="657" y="2300"/>
                  </a:lnTo>
                  <a:cubicBezTo>
                    <a:pt x="649" y="2300"/>
                    <a:pt x="634" y="2277"/>
                    <a:pt x="634" y="2269"/>
                  </a:cubicBezTo>
                  <a:cubicBezTo>
                    <a:pt x="634" y="2246"/>
                    <a:pt x="642" y="2246"/>
                    <a:pt x="665" y="2238"/>
                  </a:cubicBezTo>
                  <a:cubicBezTo>
                    <a:pt x="672" y="2231"/>
                    <a:pt x="695" y="2223"/>
                    <a:pt x="703" y="2223"/>
                  </a:cubicBezTo>
                  <a:cubicBezTo>
                    <a:pt x="726" y="2231"/>
                    <a:pt x="733" y="2261"/>
                    <a:pt x="733" y="2277"/>
                  </a:cubicBezTo>
                  <a:cubicBezTo>
                    <a:pt x="733" y="2292"/>
                    <a:pt x="733" y="2292"/>
                    <a:pt x="718" y="2300"/>
                  </a:cubicBezTo>
                  <a:cubicBezTo>
                    <a:pt x="710" y="2300"/>
                    <a:pt x="687" y="2300"/>
                    <a:pt x="672" y="2300"/>
                  </a:cubicBezTo>
                  <a:cubicBezTo>
                    <a:pt x="657" y="2300"/>
                    <a:pt x="657" y="2300"/>
                    <a:pt x="657" y="2300"/>
                  </a:cubicBezTo>
                  <a:close/>
                  <a:moveTo>
                    <a:pt x="1031" y="1834"/>
                  </a:moveTo>
                  <a:lnTo>
                    <a:pt x="1031" y="1834"/>
                  </a:lnTo>
                  <a:cubicBezTo>
                    <a:pt x="1016" y="1841"/>
                    <a:pt x="993" y="1841"/>
                    <a:pt x="985" y="1864"/>
                  </a:cubicBezTo>
                  <a:cubicBezTo>
                    <a:pt x="978" y="1879"/>
                    <a:pt x="962" y="1887"/>
                    <a:pt x="947" y="1895"/>
                  </a:cubicBezTo>
                  <a:cubicBezTo>
                    <a:pt x="939" y="1902"/>
                    <a:pt x="924" y="1887"/>
                    <a:pt x="924" y="1910"/>
                  </a:cubicBezTo>
                  <a:cubicBezTo>
                    <a:pt x="917" y="1917"/>
                    <a:pt x="909" y="1979"/>
                    <a:pt x="932" y="1956"/>
                  </a:cubicBezTo>
                  <a:cubicBezTo>
                    <a:pt x="939" y="1940"/>
                    <a:pt x="955" y="1917"/>
                    <a:pt x="978" y="1917"/>
                  </a:cubicBezTo>
                  <a:cubicBezTo>
                    <a:pt x="993" y="1917"/>
                    <a:pt x="993" y="1917"/>
                    <a:pt x="1008" y="1933"/>
                  </a:cubicBezTo>
                  <a:cubicBezTo>
                    <a:pt x="1024" y="1956"/>
                    <a:pt x="1047" y="1940"/>
                    <a:pt x="1047" y="1917"/>
                  </a:cubicBezTo>
                  <a:cubicBezTo>
                    <a:pt x="1054" y="1895"/>
                    <a:pt x="1054" y="1879"/>
                    <a:pt x="1054" y="1849"/>
                  </a:cubicBezTo>
                  <a:cubicBezTo>
                    <a:pt x="1031" y="1834"/>
                    <a:pt x="1031" y="1834"/>
                    <a:pt x="1031" y="1834"/>
                  </a:cubicBezTo>
                  <a:close/>
                  <a:moveTo>
                    <a:pt x="2047" y="1543"/>
                  </a:moveTo>
                  <a:lnTo>
                    <a:pt x="2047" y="1543"/>
                  </a:lnTo>
                  <a:cubicBezTo>
                    <a:pt x="2047" y="1505"/>
                    <a:pt x="2047" y="1505"/>
                    <a:pt x="2047" y="1505"/>
                  </a:cubicBezTo>
                  <a:cubicBezTo>
                    <a:pt x="2070" y="1467"/>
                    <a:pt x="2024" y="1253"/>
                    <a:pt x="1986" y="1230"/>
                  </a:cubicBezTo>
                  <a:cubicBezTo>
                    <a:pt x="1978" y="1223"/>
                    <a:pt x="2032" y="1184"/>
                    <a:pt x="2039" y="1177"/>
                  </a:cubicBezTo>
                  <a:cubicBezTo>
                    <a:pt x="2062" y="1146"/>
                    <a:pt x="2039" y="1062"/>
                    <a:pt x="2032" y="1032"/>
                  </a:cubicBezTo>
                  <a:cubicBezTo>
                    <a:pt x="2017" y="963"/>
                    <a:pt x="2123" y="1100"/>
                    <a:pt x="2123" y="1009"/>
                  </a:cubicBezTo>
                  <a:cubicBezTo>
                    <a:pt x="2123" y="971"/>
                    <a:pt x="2139" y="986"/>
                    <a:pt x="2169" y="986"/>
                  </a:cubicBezTo>
                  <a:lnTo>
                    <a:pt x="2169" y="986"/>
                  </a:lnTo>
                  <a:cubicBezTo>
                    <a:pt x="2208" y="1138"/>
                    <a:pt x="2345" y="993"/>
                    <a:pt x="2368" y="909"/>
                  </a:cubicBezTo>
                  <a:cubicBezTo>
                    <a:pt x="2375" y="886"/>
                    <a:pt x="2406" y="825"/>
                    <a:pt x="2406" y="810"/>
                  </a:cubicBezTo>
                  <a:cubicBezTo>
                    <a:pt x="2406" y="802"/>
                    <a:pt x="2375" y="818"/>
                    <a:pt x="2368" y="810"/>
                  </a:cubicBezTo>
                  <a:cubicBezTo>
                    <a:pt x="2353" y="841"/>
                    <a:pt x="2307" y="841"/>
                    <a:pt x="2292" y="879"/>
                  </a:cubicBezTo>
                  <a:cubicBezTo>
                    <a:pt x="2276" y="917"/>
                    <a:pt x="2246" y="948"/>
                    <a:pt x="2208" y="955"/>
                  </a:cubicBezTo>
                  <a:cubicBezTo>
                    <a:pt x="2116" y="993"/>
                    <a:pt x="2085" y="909"/>
                    <a:pt x="2108" y="841"/>
                  </a:cubicBezTo>
                  <a:cubicBezTo>
                    <a:pt x="2108" y="779"/>
                    <a:pt x="2162" y="825"/>
                    <a:pt x="2169" y="779"/>
                  </a:cubicBezTo>
                  <a:cubicBezTo>
                    <a:pt x="2185" y="734"/>
                    <a:pt x="2177" y="734"/>
                    <a:pt x="2231" y="718"/>
                  </a:cubicBezTo>
                  <a:cubicBezTo>
                    <a:pt x="2253" y="718"/>
                    <a:pt x="2299" y="581"/>
                    <a:pt x="2353" y="566"/>
                  </a:cubicBezTo>
                  <a:cubicBezTo>
                    <a:pt x="2353" y="558"/>
                    <a:pt x="2353" y="558"/>
                    <a:pt x="2353" y="558"/>
                  </a:cubicBezTo>
                  <a:cubicBezTo>
                    <a:pt x="2185" y="520"/>
                    <a:pt x="2360" y="367"/>
                    <a:pt x="2337" y="291"/>
                  </a:cubicBezTo>
                  <a:cubicBezTo>
                    <a:pt x="2314" y="245"/>
                    <a:pt x="2337" y="252"/>
                    <a:pt x="2337" y="207"/>
                  </a:cubicBezTo>
                  <a:cubicBezTo>
                    <a:pt x="2330" y="176"/>
                    <a:pt x="2261" y="130"/>
                    <a:pt x="2246" y="92"/>
                  </a:cubicBezTo>
                  <a:cubicBezTo>
                    <a:pt x="2200" y="0"/>
                    <a:pt x="2192" y="92"/>
                    <a:pt x="2162" y="130"/>
                  </a:cubicBezTo>
                  <a:cubicBezTo>
                    <a:pt x="2100" y="207"/>
                    <a:pt x="1978" y="237"/>
                    <a:pt x="1910" y="306"/>
                  </a:cubicBezTo>
                  <a:cubicBezTo>
                    <a:pt x="1871" y="344"/>
                    <a:pt x="1803" y="459"/>
                    <a:pt x="1764" y="482"/>
                  </a:cubicBezTo>
                  <a:cubicBezTo>
                    <a:pt x="1742" y="512"/>
                    <a:pt x="1665" y="573"/>
                    <a:pt x="1619" y="566"/>
                  </a:cubicBezTo>
                  <a:cubicBezTo>
                    <a:pt x="1543" y="566"/>
                    <a:pt x="1566" y="573"/>
                    <a:pt x="1497" y="611"/>
                  </a:cubicBezTo>
                  <a:cubicBezTo>
                    <a:pt x="1398" y="665"/>
                    <a:pt x="1299" y="680"/>
                    <a:pt x="1345" y="818"/>
                  </a:cubicBezTo>
                  <a:cubicBezTo>
                    <a:pt x="1360" y="848"/>
                    <a:pt x="1444" y="955"/>
                    <a:pt x="1444" y="963"/>
                  </a:cubicBezTo>
                  <a:cubicBezTo>
                    <a:pt x="1428" y="963"/>
                    <a:pt x="1406" y="963"/>
                    <a:pt x="1390" y="963"/>
                  </a:cubicBezTo>
                  <a:cubicBezTo>
                    <a:pt x="1390" y="963"/>
                    <a:pt x="1390" y="963"/>
                    <a:pt x="1383" y="963"/>
                  </a:cubicBezTo>
                  <a:cubicBezTo>
                    <a:pt x="1383" y="940"/>
                    <a:pt x="1329" y="886"/>
                    <a:pt x="1314" y="871"/>
                  </a:cubicBezTo>
                  <a:cubicBezTo>
                    <a:pt x="1299" y="856"/>
                    <a:pt x="1245" y="764"/>
                    <a:pt x="1230" y="779"/>
                  </a:cubicBezTo>
                  <a:cubicBezTo>
                    <a:pt x="1222" y="787"/>
                    <a:pt x="1207" y="833"/>
                    <a:pt x="1214" y="848"/>
                  </a:cubicBezTo>
                  <a:cubicBezTo>
                    <a:pt x="1237" y="879"/>
                    <a:pt x="1260" y="925"/>
                    <a:pt x="1260" y="963"/>
                  </a:cubicBezTo>
                  <a:cubicBezTo>
                    <a:pt x="1237" y="963"/>
                    <a:pt x="1199" y="986"/>
                    <a:pt x="1192" y="986"/>
                  </a:cubicBezTo>
                  <a:cubicBezTo>
                    <a:pt x="1176" y="940"/>
                    <a:pt x="1153" y="902"/>
                    <a:pt x="1100" y="909"/>
                  </a:cubicBezTo>
                  <a:cubicBezTo>
                    <a:pt x="1024" y="925"/>
                    <a:pt x="1008" y="833"/>
                    <a:pt x="978" y="909"/>
                  </a:cubicBezTo>
                  <a:cubicBezTo>
                    <a:pt x="970" y="932"/>
                    <a:pt x="939" y="971"/>
                    <a:pt x="955" y="1001"/>
                  </a:cubicBezTo>
                  <a:cubicBezTo>
                    <a:pt x="993" y="1070"/>
                    <a:pt x="909" y="1024"/>
                    <a:pt x="894" y="1047"/>
                  </a:cubicBezTo>
                  <a:cubicBezTo>
                    <a:pt x="886" y="1070"/>
                    <a:pt x="894" y="1116"/>
                    <a:pt x="886" y="1138"/>
                  </a:cubicBezTo>
                  <a:cubicBezTo>
                    <a:pt x="878" y="1161"/>
                    <a:pt x="848" y="1192"/>
                    <a:pt x="848" y="1215"/>
                  </a:cubicBezTo>
                  <a:cubicBezTo>
                    <a:pt x="848" y="1246"/>
                    <a:pt x="886" y="1268"/>
                    <a:pt x="863" y="1307"/>
                  </a:cubicBezTo>
                  <a:cubicBezTo>
                    <a:pt x="833" y="1375"/>
                    <a:pt x="924" y="1398"/>
                    <a:pt x="939" y="1429"/>
                  </a:cubicBezTo>
                  <a:cubicBezTo>
                    <a:pt x="939" y="1429"/>
                    <a:pt x="978" y="1513"/>
                    <a:pt x="978" y="1536"/>
                  </a:cubicBezTo>
                  <a:cubicBezTo>
                    <a:pt x="978" y="1566"/>
                    <a:pt x="917" y="1528"/>
                    <a:pt x="901" y="1528"/>
                  </a:cubicBezTo>
                  <a:cubicBezTo>
                    <a:pt x="817" y="1490"/>
                    <a:pt x="733" y="1528"/>
                    <a:pt x="840" y="1574"/>
                  </a:cubicBezTo>
                  <a:cubicBezTo>
                    <a:pt x="901" y="1597"/>
                    <a:pt x="886" y="1589"/>
                    <a:pt x="917" y="1643"/>
                  </a:cubicBezTo>
                  <a:cubicBezTo>
                    <a:pt x="947" y="1711"/>
                    <a:pt x="1008" y="1734"/>
                    <a:pt x="1077" y="1750"/>
                  </a:cubicBezTo>
                  <a:cubicBezTo>
                    <a:pt x="1138" y="1757"/>
                    <a:pt x="1283" y="1765"/>
                    <a:pt x="1283" y="1849"/>
                  </a:cubicBezTo>
                  <a:cubicBezTo>
                    <a:pt x="1276" y="1917"/>
                    <a:pt x="1146" y="1788"/>
                    <a:pt x="1115" y="1948"/>
                  </a:cubicBezTo>
                  <a:cubicBezTo>
                    <a:pt x="1108" y="1986"/>
                    <a:pt x="1054" y="2025"/>
                    <a:pt x="1031" y="2055"/>
                  </a:cubicBezTo>
                  <a:cubicBezTo>
                    <a:pt x="993" y="2109"/>
                    <a:pt x="939" y="2147"/>
                    <a:pt x="886" y="2093"/>
                  </a:cubicBezTo>
                  <a:cubicBezTo>
                    <a:pt x="825" y="2032"/>
                    <a:pt x="863" y="2131"/>
                    <a:pt x="894" y="2170"/>
                  </a:cubicBezTo>
                  <a:cubicBezTo>
                    <a:pt x="1031" y="2330"/>
                    <a:pt x="1031" y="2330"/>
                    <a:pt x="1031" y="2330"/>
                  </a:cubicBezTo>
                  <a:cubicBezTo>
                    <a:pt x="1047" y="2345"/>
                    <a:pt x="1077" y="2376"/>
                    <a:pt x="1085" y="2391"/>
                  </a:cubicBezTo>
                  <a:cubicBezTo>
                    <a:pt x="1085" y="2391"/>
                    <a:pt x="1085" y="2399"/>
                    <a:pt x="1092" y="2399"/>
                  </a:cubicBezTo>
                  <a:cubicBezTo>
                    <a:pt x="1161" y="2399"/>
                    <a:pt x="1253" y="2185"/>
                    <a:pt x="1299" y="2147"/>
                  </a:cubicBezTo>
                  <a:cubicBezTo>
                    <a:pt x="1322" y="2131"/>
                    <a:pt x="1345" y="2170"/>
                    <a:pt x="1360" y="2162"/>
                  </a:cubicBezTo>
                  <a:cubicBezTo>
                    <a:pt x="1367" y="2147"/>
                    <a:pt x="1375" y="2131"/>
                    <a:pt x="1398" y="2116"/>
                  </a:cubicBezTo>
                  <a:cubicBezTo>
                    <a:pt x="1421" y="2101"/>
                    <a:pt x="1482" y="2124"/>
                    <a:pt x="1444" y="2078"/>
                  </a:cubicBezTo>
                  <a:cubicBezTo>
                    <a:pt x="1428" y="2063"/>
                    <a:pt x="1398" y="2002"/>
                    <a:pt x="1398" y="1979"/>
                  </a:cubicBezTo>
                  <a:cubicBezTo>
                    <a:pt x="1337" y="1971"/>
                    <a:pt x="1390" y="1925"/>
                    <a:pt x="1398" y="1902"/>
                  </a:cubicBezTo>
                  <a:cubicBezTo>
                    <a:pt x="1436" y="1902"/>
                    <a:pt x="1482" y="1940"/>
                    <a:pt x="1520" y="1940"/>
                  </a:cubicBezTo>
                  <a:cubicBezTo>
                    <a:pt x="1528" y="1971"/>
                    <a:pt x="1512" y="2002"/>
                    <a:pt x="1551" y="2017"/>
                  </a:cubicBezTo>
                  <a:cubicBezTo>
                    <a:pt x="1635" y="2055"/>
                    <a:pt x="1596" y="1956"/>
                    <a:pt x="1574" y="1902"/>
                  </a:cubicBezTo>
                  <a:cubicBezTo>
                    <a:pt x="1535" y="1795"/>
                    <a:pt x="1635" y="1887"/>
                    <a:pt x="1658" y="1811"/>
                  </a:cubicBezTo>
                  <a:lnTo>
                    <a:pt x="1658" y="1811"/>
                  </a:lnTo>
                  <a:cubicBezTo>
                    <a:pt x="1665" y="1818"/>
                    <a:pt x="1688" y="1834"/>
                    <a:pt x="1688" y="1849"/>
                  </a:cubicBezTo>
                  <a:cubicBezTo>
                    <a:pt x="1742" y="1849"/>
                    <a:pt x="1772" y="1895"/>
                    <a:pt x="1795" y="1811"/>
                  </a:cubicBezTo>
                  <a:cubicBezTo>
                    <a:pt x="1933" y="1788"/>
                    <a:pt x="1887" y="1696"/>
                    <a:pt x="1902" y="1612"/>
                  </a:cubicBezTo>
                  <a:cubicBezTo>
                    <a:pt x="1994" y="1589"/>
                    <a:pt x="1956" y="1658"/>
                    <a:pt x="2047" y="1543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74" name="Freeform 196"/>
            <p:cNvSpPr>
              <a:spLocks noChangeArrowheads="1"/>
            </p:cNvSpPr>
            <p:nvPr/>
          </p:nvSpPr>
          <p:spPr bwMode="auto">
            <a:xfrm>
              <a:off x="6024171" y="1084264"/>
              <a:ext cx="593686" cy="727075"/>
            </a:xfrm>
            <a:custGeom>
              <a:avLst/>
              <a:gdLst>
                <a:gd name="T0" fmla="*/ 207 w 1650"/>
                <a:gd name="T1" fmla="*/ 1482 h 2018"/>
                <a:gd name="T2" fmla="*/ 84 w 1650"/>
                <a:gd name="T3" fmla="*/ 1612 h 2018"/>
                <a:gd name="T4" fmla="*/ 321 w 1650"/>
                <a:gd name="T5" fmla="*/ 1887 h 2018"/>
                <a:gd name="T6" fmla="*/ 358 w 1650"/>
                <a:gd name="T7" fmla="*/ 1627 h 2018"/>
                <a:gd name="T8" fmla="*/ 442 w 1650"/>
                <a:gd name="T9" fmla="*/ 1857 h 2018"/>
                <a:gd name="T10" fmla="*/ 344 w 1650"/>
                <a:gd name="T11" fmla="*/ 1818 h 2018"/>
                <a:gd name="T12" fmla="*/ 534 w 1650"/>
                <a:gd name="T13" fmla="*/ 1666 h 2018"/>
                <a:gd name="T14" fmla="*/ 473 w 1650"/>
                <a:gd name="T15" fmla="*/ 1765 h 2018"/>
                <a:gd name="T16" fmla="*/ 534 w 1650"/>
                <a:gd name="T17" fmla="*/ 1734 h 2018"/>
                <a:gd name="T18" fmla="*/ 534 w 1650"/>
                <a:gd name="T19" fmla="*/ 1666 h 2018"/>
                <a:gd name="T20" fmla="*/ 763 w 1650"/>
                <a:gd name="T21" fmla="*/ 1742 h 2018"/>
                <a:gd name="T22" fmla="*/ 702 w 1650"/>
                <a:gd name="T23" fmla="*/ 1887 h 2018"/>
                <a:gd name="T24" fmla="*/ 809 w 1650"/>
                <a:gd name="T25" fmla="*/ 1941 h 2018"/>
                <a:gd name="T26" fmla="*/ 855 w 1650"/>
                <a:gd name="T27" fmla="*/ 1711 h 2018"/>
                <a:gd name="T28" fmla="*/ 801 w 1650"/>
                <a:gd name="T29" fmla="*/ 1612 h 2018"/>
                <a:gd name="T30" fmla="*/ 824 w 1650"/>
                <a:gd name="T31" fmla="*/ 1666 h 2018"/>
                <a:gd name="T32" fmla="*/ 855 w 1650"/>
                <a:gd name="T33" fmla="*/ 1589 h 2018"/>
                <a:gd name="T34" fmla="*/ 595 w 1650"/>
                <a:gd name="T35" fmla="*/ 1085 h 2018"/>
                <a:gd name="T36" fmla="*/ 824 w 1650"/>
                <a:gd name="T37" fmla="*/ 1291 h 2018"/>
                <a:gd name="T38" fmla="*/ 984 w 1650"/>
                <a:gd name="T39" fmla="*/ 1429 h 2018"/>
                <a:gd name="T40" fmla="*/ 641 w 1650"/>
                <a:gd name="T41" fmla="*/ 1406 h 2018"/>
                <a:gd name="T42" fmla="*/ 329 w 1650"/>
                <a:gd name="T43" fmla="*/ 1253 h 2018"/>
                <a:gd name="T44" fmla="*/ 229 w 1650"/>
                <a:gd name="T45" fmla="*/ 1146 h 2018"/>
                <a:gd name="T46" fmla="*/ 130 w 1650"/>
                <a:gd name="T47" fmla="*/ 1116 h 2018"/>
                <a:gd name="T48" fmla="*/ 321 w 1650"/>
                <a:gd name="T49" fmla="*/ 749 h 2018"/>
                <a:gd name="T50" fmla="*/ 618 w 1650"/>
                <a:gd name="T51" fmla="*/ 894 h 2018"/>
                <a:gd name="T52" fmla="*/ 1000 w 1650"/>
                <a:gd name="T53" fmla="*/ 1368 h 2018"/>
                <a:gd name="T54" fmla="*/ 1137 w 1650"/>
                <a:gd name="T55" fmla="*/ 1444 h 2018"/>
                <a:gd name="T56" fmla="*/ 1137 w 1650"/>
                <a:gd name="T57" fmla="*/ 1299 h 2018"/>
                <a:gd name="T58" fmla="*/ 954 w 1650"/>
                <a:gd name="T59" fmla="*/ 978 h 2018"/>
                <a:gd name="T60" fmla="*/ 817 w 1650"/>
                <a:gd name="T61" fmla="*/ 1032 h 2018"/>
                <a:gd name="T62" fmla="*/ 977 w 1650"/>
                <a:gd name="T63" fmla="*/ 1116 h 2018"/>
                <a:gd name="T64" fmla="*/ 992 w 1650"/>
                <a:gd name="T65" fmla="*/ 940 h 2018"/>
                <a:gd name="T66" fmla="*/ 1328 w 1650"/>
                <a:gd name="T67" fmla="*/ 787 h 2018"/>
                <a:gd name="T68" fmla="*/ 1259 w 1650"/>
                <a:gd name="T69" fmla="*/ 818 h 2018"/>
                <a:gd name="T70" fmla="*/ 1275 w 1650"/>
                <a:gd name="T71" fmla="*/ 894 h 2018"/>
                <a:gd name="T72" fmla="*/ 1389 w 1650"/>
                <a:gd name="T73" fmla="*/ 863 h 2018"/>
                <a:gd name="T74" fmla="*/ 610 w 1650"/>
                <a:gd name="T75" fmla="*/ 642 h 2018"/>
                <a:gd name="T76" fmla="*/ 580 w 1650"/>
                <a:gd name="T77" fmla="*/ 795 h 2018"/>
                <a:gd name="T78" fmla="*/ 740 w 1650"/>
                <a:gd name="T79" fmla="*/ 634 h 2018"/>
                <a:gd name="T80" fmla="*/ 824 w 1650"/>
                <a:gd name="T81" fmla="*/ 711 h 2018"/>
                <a:gd name="T82" fmla="*/ 786 w 1650"/>
                <a:gd name="T83" fmla="*/ 749 h 2018"/>
                <a:gd name="T84" fmla="*/ 832 w 1650"/>
                <a:gd name="T85" fmla="*/ 741 h 2018"/>
                <a:gd name="T86" fmla="*/ 1084 w 1650"/>
                <a:gd name="T87" fmla="*/ 505 h 2018"/>
                <a:gd name="T88" fmla="*/ 969 w 1650"/>
                <a:gd name="T89" fmla="*/ 619 h 2018"/>
                <a:gd name="T90" fmla="*/ 1069 w 1650"/>
                <a:gd name="T91" fmla="*/ 764 h 2018"/>
                <a:gd name="T92" fmla="*/ 809 w 1650"/>
                <a:gd name="T93" fmla="*/ 275 h 2018"/>
                <a:gd name="T94" fmla="*/ 679 w 1650"/>
                <a:gd name="T95" fmla="*/ 191 h 2018"/>
                <a:gd name="T96" fmla="*/ 717 w 1650"/>
                <a:gd name="T97" fmla="*/ 375 h 2018"/>
                <a:gd name="T98" fmla="*/ 900 w 1650"/>
                <a:gd name="T99" fmla="*/ 367 h 2018"/>
                <a:gd name="T100" fmla="*/ 878 w 1650"/>
                <a:gd name="T101" fmla="*/ 153 h 2018"/>
                <a:gd name="T102" fmla="*/ 839 w 1650"/>
                <a:gd name="T103" fmla="*/ 77 h 2018"/>
                <a:gd name="T104" fmla="*/ 878 w 1650"/>
                <a:gd name="T105" fmla="*/ 153 h 2018"/>
                <a:gd name="T106" fmla="*/ 1397 w 1650"/>
                <a:gd name="T107" fmla="*/ 283 h 2018"/>
                <a:gd name="T108" fmla="*/ 1214 w 1650"/>
                <a:gd name="T109" fmla="*/ 482 h 2018"/>
                <a:gd name="T110" fmla="*/ 1344 w 1650"/>
                <a:gd name="T111" fmla="*/ 466 h 2018"/>
                <a:gd name="T112" fmla="*/ 1588 w 1650"/>
                <a:gd name="T113" fmla="*/ 291 h 2018"/>
                <a:gd name="T114" fmla="*/ 1565 w 1650"/>
                <a:gd name="T115" fmla="*/ 62 h 2018"/>
                <a:gd name="T116" fmla="*/ 1634 w 1650"/>
                <a:gd name="T117" fmla="*/ 23 h 2018"/>
                <a:gd name="T118" fmla="*/ 1557 w 1650"/>
                <a:gd name="T119" fmla="*/ 77 h 2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0" h="2018">
                  <a:moveTo>
                    <a:pt x="358" y="1627"/>
                  </a:moveTo>
                  <a:lnTo>
                    <a:pt x="358" y="1627"/>
                  </a:lnTo>
                  <a:cubicBezTo>
                    <a:pt x="306" y="1597"/>
                    <a:pt x="344" y="1521"/>
                    <a:pt x="268" y="1498"/>
                  </a:cubicBezTo>
                  <a:cubicBezTo>
                    <a:pt x="252" y="1498"/>
                    <a:pt x="214" y="1498"/>
                    <a:pt x="207" y="1482"/>
                  </a:cubicBezTo>
                  <a:cubicBezTo>
                    <a:pt x="176" y="1467"/>
                    <a:pt x="168" y="1398"/>
                    <a:pt x="130" y="1413"/>
                  </a:cubicBezTo>
                  <a:cubicBezTo>
                    <a:pt x="99" y="1429"/>
                    <a:pt x="46" y="1444"/>
                    <a:pt x="31" y="1467"/>
                  </a:cubicBezTo>
                  <a:cubicBezTo>
                    <a:pt x="15" y="1490"/>
                    <a:pt x="0" y="1543"/>
                    <a:pt x="0" y="1574"/>
                  </a:cubicBezTo>
                  <a:cubicBezTo>
                    <a:pt x="0" y="1597"/>
                    <a:pt x="61" y="1589"/>
                    <a:pt x="84" y="1612"/>
                  </a:cubicBezTo>
                  <a:cubicBezTo>
                    <a:pt x="92" y="1627"/>
                    <a:pt x="92" y="1673"/>
                    <a:pt x="99" y="1696"/>
                  </a:cubicBezTo>
                  <a:cubicBezTo>
                    <a:pt x="107" y="1734"/>
                    <a:pt x="168" y="1765"/>
                    <a:pt x="191" y="1803"/>
                  </a:cubicBezTo>
                  <a:cubicBezTo>
                    <a:pt x="207" y="1826"/>
                    <a:pt x="214" y="1872"/>
                    <a:pt x="245" y="1872"/>
                  </a:cubicBezTo>
                  <a:cubicBezTo>
                    <a:pt x="260" y="1864"/>
                    <a:pt x="313" y="1895"/>
                    <a:pt x="321" y="1887"/>
                  </a:cubicBezTo>
                  <a:cubicBezTo>
                    <a:pt x="321" y="1857"/>
                    <a:pt x="290" y="1849"/>
                    <a:pt x="313" y="1811"/>
                  </a:cubicBezTo>
                  <a:cubicBezTo>
                    <a:pt x="329" y="1795"/>
                    <a:pt x="366" y="1788"/>
                    <a:pt x="381" y="1765"/>
                  </a:cubicBezTo>
                  <a:cubicBezTo>
                    <a:pt x="389" y="1734"/>
                    <a:pt x="366" y="1696"/>
                    <a:pt x="366" y="1666"/>
                  </a:cubicBezTo>
                  <a:cubicBezTo>
                    <a:pt x="358" y="1627"/>
                    <a:pt x="358" y="1627"/>
                    <a:pt x="358" y="1627"/>
                  </a:cubicBezTo>
                  <a:close/>
                  <a:moveTo>
                    <a:pt x="458" y="1795"/>
                  </a:moveTo>
                  <a:lnTo>
                    <a:pt x="458" y="1795"/>
                  </a:lnTo>
                  <a:cubicBezTo>
                    <a:pt x="465" y="1818"/>
                    <a:pt x="465" y="1818"/>
                    <a:pt x="465" y="1818"/>
                  </a:cubicBezTo>
                  <a:cubicBezTo>
                    <a:pt x="465" y="1834"/>
                    <a:pt x="458" y="1849"/>
                    <a:pt x="442" y="1857"/>
                  </a:cubicBezTo>
                  <a:cubicBezTo>
                    <a:pt x="427" y="1864"/>
                    <a:pt x="404" y="1857"/>
                    <a:pt x="396" y="1864"/>
                  </a:cubicBezTo>
                  <a:cubicBezTo>
                    <a:pt x="381" y="1872"/>
                    <a:pt x="373" y="1887"/>
                    <a:pt x="366" y="1872"/>
                  </a:cubicBezTo>
                  <a:cubicBezTo>
                    <a:pt x="358" y="1872"/>
                    <a:pt x="336" y="1849"/>
                    <a:pt x="336" y="1841"/>
                  </a:cubicBezTo>
                  <a:cubicBezTo>
                    <a:pt x="336" y="1834"/>
                    <a:pt x="344" y="1818"/>
                    <a:pt x="344" y="1818"/>
                  </a:cubicBezTo>
                  <a:cubicBezTo>
                    <a:pt x="358" y="1803"/>
                    <a:pt x="381" y="1811"/>
                    <a:pt x="404" y="1811"/>
                  </a:cubicBezTo>
                  <a:cubicBezTo>
                    <a:pt x="419" y="1811"/>
                    <a:pt x="427" y="1803"/>
                    <a:pt x="442" y="1803"/>
                  </a:cubicBezTo>
                  <a:cubicBezTo>
                    <a:pt x="450" y="1803"/>
                    <a:pt x="450" y="1803"/>
                    <a:pt x="458" y="1795"/>
                  </a:cubicBezTo>
                  <a:close/>
                  <a:moveTo>
                    <a:pt x="534" y="1666"/>
                  </a:moveTo>
                  <a:lnTo>
                    <a:pt x="534" y="1666"/>
                  </a:lnTo>
                  <a:cubicBezTo>
                    <a:pt x="519" y="1666"/>
                    <a:pt x="511" y="1673"/>
                    <a:pt x="503" y="1673"/>
                  </a:cubicBezTo>
                  <a:cubicBezTo>
                    <a:pt x="480" y="1681"/>
                    <a:pt x="465" y="1696"/>
                    <a:pt x="458" y="1719"/>
                  </a:cubicBezTo>
                  <a:cubicBezTo>
                    <a:pt x="450" y="1734"/>
                    <a:pt x="465" y="1750"/>
                    <a:pt x="473" y="1765"/>
                  </a:cubicBezTo>
                  <a:cubicBezTo>
                    <a:pt x="480" y="1773"/>
                    <a:pt x="503" y="1765"/>
                    <a:pt x="511" y="1773"/>
                  </a:cubicBezTo>
                  <a:cubicBezTo>
                    <a:pt x="519" y="1773"/>
                    <a:pt x="534" y="1773"/>
                    <a:pt x="542" y="1765"/>
                  </a:cubicBezTo>
                  <a:cubicBezTo>
                    <a:pt x="549" y="1765"/>
                    <a:pt x="549" y="1757"/>
                    <a:pt x="549" y="1750"/>
                  </a:cubicBezTo>
                  <a:cubicBezTo>
                    <a:pt x="557" y="1742"/>
                    <a:pt x="542" y="1734"/>
                    <a:pt x="534" y="1734"/>
                  </a:cubicBezTo>
                  <a:cubicBezTo>
                    <a:pt x="526" y="1734"/>
                    <a:pt x="519" y="1719"/>
                    <a:pt x="511" y="1719"/>
                  </a:cubicBezTo>
                  <a:cubicBezTo>
                    <a:pt x="511" y="1711"/>
                    <a:pt x="503" y="1711"/>
                    <a:pt x="511" y="1704"/>
                  </a:cubicBezTo>
                  <a:cubicBezTo>
                    <a:pt x="519" y="1696"/>
                    <a:pt x="526" y="1688"/>
                    <a:pt x="534" y="1681"/>
                  </a:cubicBezTo>
                  <a:cubicBezTo>
                    <a:pt x="534" y="1666"/>
                    <a:pt x="534" y="1666"/>
                    <a:pt x="534" y="1666"/>
                  </a:cubicBezTo>
                  <a:close/>
                  <a:moveTo>
                    <a:pt x="855" y="1711"/>
                  </a:moveTo>
                  <a:lnTo>
                    <a:pt x="855" y="1711"/>
                  </a:lnTo>
                  <a:cubicBezTo>
                    <a:pt x="839" y="1719"/>
                    <a:pt x="839" y="1704"/>
                    <a:pt x="824" y="1704"/>
                  </a:cubicBezTo>
                  <a:cubicBezTo>
                    <a:pt x="801" y="1711"/>
                    <a:pt x="794" y="1742"/>
                    <a:pt x="763" y="1742"/>
                  </a:cubicBezTo>
                  <a:cubicBezTo>
                    <a:pt x="755" y="1742"/>
                    <a:pt x="740" y="1727"/>
                    <a:pt x="732" y="1719"/>
                  </a:cubicBezTo>
                  <a:cubicBezTo>
                    <a:pt x="725" y="1719"/>
                    <a:pt x="679" y="1727"/>
                    <a:pt x="664" y="1727"/>
                  </a:cubicBezTo>
                  <a:cubicBezTo>
                    <a:pt x="648" y="1727"/>
                    <a:pt x="694" y="1765"/>
                    <a:pt x="694" y="1780"/>
                  </a:cubicBezTo>
                  <a:cubicBezTo>
                    <a:pt x="618" y="1803"/>
                    <a:pt x="702" y="1834"/>
                    <a:pt x="702" y="1887"/>
                  </a:cubicBezTo>
                  <a:cubicBezTo>
                    <a:pt x="702" y="1902"/>
                    <a:pt x="694" y="1910"/>
                    <a:pt x="702" y="1933"/>
                  </a:cubicBezTo>
                  <a:cubicBezTo>
                    <a:pt x="702" y="1948"/>
                    <a:pt x="717" y="1956"/>
                    <a:pt x="732" y="1963"/>
                  </a:cubicBezTo>
                  <a:cubicBezTo>
                    <a:pt x="755" y="1986"/>
                    <a:pt x="740" y="2017"/>
                    <a:pt x="786" y="2009"/>
                  </a:cubicBezTo>
                  <a:cubicBezTo>
                    <a:pt x="817" y="2009"/>
                    <a:pt x="809" y="1956"/>
                    <a:pt x="809" y="1941"/>
                  </a:cubicBezTo>
                  <a:cubicBezTo>
                    <a:pt x="809" y="1910"/>
                    <a:pt x="801" y="1902"/>
                    <a:pt x="794" y="1880"/>
                  </a:cubicBezTo>
                  <a:cubicBezTo>
                    <a:pt x="786" y="1857"/>
                    <a:pt x="809" y="1834"/>
                    <a:pt x="824" y="1811"/>
                  </a:cubicBezTo>
                  <a:cubicBezTo>
                    <a:pt x="839" y="1795"/>
                    <a:pt x="847" y="1773"/>
                    <a:pt x="855" y="1742"/>
                  </a:cubicBezTo>
                  <a:cubicBezTo>
                    <a:pt x="855" y="1711"/>
                    <a:pt x="855" y="1711"/>
                    <a:pt x="855" y="1711"/>
                  </a:cubicBezTo>
                  <a:close/>
                  <a:moveTo>
                    <a:pt x="855" y="1589"/>
                  </a:moveTo>
                  <a:lnTo>
                    <a:pt x="855" y="1589"/>
                  </a:lnTo>
                  <a:cubicBezTo>
                    <a:pt x="847" y="1597"/>
                    <a:pt x="839" y="1597"/>
                    <a:pt x="824" y="1605"/>
                  </a:cubicBezTo>
                  <a:cubicBezTo>
                    <a:pt x="817" y="1605"/>
                    <a:pt x="809" y="1605"/>
                    <a:pt x="801" y="1612"/>
                  </a:cubicBezTo>
                  <a:cubicBezTo>
                    <a:pt x="786" y="1627"/>
                    <a:pt x="763" y="1627"/>
                    <a:pt x="748" y="1643"/>
                  </a:cubicBezTo>
                  <a:cubicBezTo>
                    <a:pt x="748" y="1643"/>
                    <a:pt x="748" y="1650"/>
                    <a:pt x="748" y="1658"/>
                  </a:cubicBezTo>
                  <a:cubicBezTo>
                    <a:pt x="763" y="1666"/>
                    <a:pt x="778" y="1673"/>
                    <a:pt x="794" y="1673"/>
                  </a:cubicBezTo>
                  <a:cubicBezTo>
                    <a:pt x="801" y="1666"/>
                    <a:pt x="817" y="1666"/>
                    <a:pt x="824" y="1666"/>
                  </a:cubicBezTo>
                  <a:cubicBezTo>
                    <a:pt x="839" y="1666"/>
                    <a:pt x="847" y="1681"/>
                    <a:pt x="862" y="1673"/>
                  </a:cubicBezTo>
                  <a:cubicBezTo>
                    <a:pt x="870" y="1666"/>
                    <a:pt x="862" y="1658"/>
                    <a:pt x="862" y="1650"/>
                  </a:cubicBezTo>
                  <a:cubicBezTo>
                    <a:pt x="862" y="1635"/>
                    <a:pt x="862" y="1627"/>
                    <a:pt x="870" y="1627"/>
                  </a:cubicBezTo>
                  <a:cubicBezTo>
                    <a:pt x="855" y="1589"/>
                    <a:pt x="855" y="1589"/>
                    <a:pt x="855" y="1589"/>
                  </a:cubicBezTo>
                  <a:close/>
                  <a:moveTo>
                    <a:pt x="618" y="894"/>
                  </a:moveTo>
                  <a:lnTo>
                    <a:pt x="618" y="894"/>
                  </a:lnTo>
                  <a:cubicBezTo>
                    <a:pt x="641" y="948"/>
                    <a:pt x="679" y="971"/>
                    <a:pt x="664" y="1039"/>
                  </a:cubicBezTo>
                  <a:cubicBezTo>
                    <a:pt x="648" y="1131"/>
                    <a:pt x="587" y="1001"/>
                    <a:pt x="595" y="1085"/>
                  </a:cubicBezTo>
                  <a:cubicBezTo>
                    <a:pt x="595" y="1123"/>
                    <a:pt x="549" y="1138"/>
                    <a:pt x="519" y="1146"/>
                  </a:cubicBezTo>
                  <a:cubicBezTo>
                    <a:pt x="519" y="1184"/>
                    <a:pt x="641" y="1200"/>
                    <a:pt x="671" y="1192"/>
                  </a:cubicBezTo>
                  <a:cubicBezTo>
                    <a:pt x="732" y="1169"/>
                    <a:pt x="771" y="1161"/>
                    <a:pt x="832" y="1215"/>
                  </a:cubicBezTo>
                  <a:cubicBezTo>
                    <a:pt x="855" y="1238"/>
                    <a:pt x="817" y="1253"/>
                    <a:pt x="824" y="1291"/>
                  </a:cubicBezTo>
                  <a:cubicBezTo>
                    <a:pt x="824" y="1383"/>
                    <a:pt x="923" y="1261"/>
                    <a:pt x="939" y="1261"/>
                  </a:cubicBezTo>
                  <a:cubicBezTo>
                    <a:pt x="962" y="1261"/>
                    <a:pt x="1000" y="1238"/>
                    <a:pt x="992" y="1276"/>
                  </a:cubicBezTo>
                  <a:cubicBezTo>
                    <a:pt x="984" y="1314"/>
                    <a:pt x="946" y="1299"/>
                    <a:pt x="946" y="1345"/>
                  </a:cubicBezTo>
                  <a:cubicBezTo>
                    <a:pt x="946" y="1391"/>
                    <a:pt x="939" y="1413"/>
                    <a:pt x="984" y="1429"/>
                  </a:cubicBezTo>
                  <a:cubicBezTo>
                    <a:pt x="1030" y="1444"/>
                    <a:pt x="984" y="1658"/>
                    <a:pt x="916" y="1543"/>
                  </a:cubicBezTo>
                  <a:cubicBezTo>
                    <a:pt x="878" y="1475"/>
                    <a:pt x="817" y="1521"/>
                    <a:pt x="786" y="1490"/>
                  </a:cubicBezTo>
                  <a:cubicBezTo>
                    <a:pt x="732" y="1429"/>
                    <a:pt x="740" y="1375"/>
                    <a:pt x="725" y="1307"/>
                  </a:cubicBezTo>
                  <a:cubicBezTo>
                    <a:pt x="710" y="1314"/>
                    <a:pt x="671" y="1391"/>
                    <a:pt x="641" y="1406"/>
                  </a:cubicBezTo>
                  <a:cubicBezTo>
                    <a:pt x="595" y="1421"/>
                    <a:pt x="564" y="1406"/>
                    <a:pt x="519" y="1436"/>
                  </a:cubicBezTo>
                  <a:cubicBezTo>
                    <a:pt x="488" y="1459"/>
                    <a:pt x="458" y="1444"/>
                    <a:pt x="419" y="1444"/>
                  </a:cubicBezTo>
                  <a:cubicBezTo>
                    <a:pt x="343" y="1452"/>
                    <a:pt x="373" y="1452"/>
                    <a:pt x="336" y="1391"/>
                  </a:cubicBezTo>
                  <a:cubicBezTo>
                    <a:pt x="306" y="1352"/>
                    <a:pt x="298" y="1299"/>
                    <a:pt x="329" y="1253"/>
                  </a:cubicBezTo>
                  <a:cubicBezTo>
                    <a:pt x="350" y="1223"/>
                    <a:pt x="344" y="1200"/>
                    <a:pt x="358" y="1161"/>
                  </a:cubicBezTo>
                  <a:cubicBezTo>
                    <a:pt x="358" y="1146"/>
                    <a:pt x="321" y="1039"/>
                    <a:pt x="298" y="1055"/>
                  </a:cubicBezTo>
                  <a:cubicBezTo>
                    <a:pt x="275" y="1062"/>
                    <a:pt x="313" y="1169"/>
                    <a:pt x="313" y="1184"/>
                  </a:cubicBezTo>
                  <a:cubicBezTo>
                    <a:pt x="290" y="1184"/>
                    <a:pt x="245" y="1123"/>
                    <a:pt x="229" y="1146"/>
                  </a:cubicBezTo>
                  <a:cubicBezTo>
                    <a:pt x="222" y="1169"/>
                    <a:pt x="290" y="1261"/>
                    <a:pt x="268" y="1291"/>
                  </a:cubicBezTo>
                  <a:cubicBezTo>
                    <a:pt x="252" y="1322"/>
                    <a:pt x="207" y="1337"/>
                    <a:pt x="176" y="1337"/>
                  </a:cubicBezTo>
                  <a:cubicBezTo>
                    <a:pt x="115" y="1337"/>
                    <a:pt x="130" y="1314"/>
                    <a:pt x="122" y="1269"/>
                  </a:cubicBezTo>
                  <a:cubicBezTo>
                    <a:pt x="107" y="1207"/>
                    <a:pt x="122" y="1177"/>
                    <a:pt x="130" y="1116"/>
                  </a:cubicBezTo>
                  <a:cubicBezTo>
                    <a:pt x="138" y="1093"/>
                    <a:pt x="145" y="1070"/>
                    <a:pt x="145" y="1039"/>
                  </a:cubicBezTo>
                  <a:cubicBezTo>
                    <a:pt x="153" y="994"/>
                    <a:pt x="138" y="948"/>
                    <a:pt x="138" y="902"/>
                  </a:cubicBezTo>
                  <a:cubicBezTo>
                    <a:pt x="161" y="848"/>
                    <a:pt x="145" y="825"/>
                    <a:pt x="214" y="787"/>
                  </a:cubicBezTo>
                  <a:cubicBezTo>
                    <a:pt x="245" y="772"/>
                    <a:pt x="290" y="757"/>
                    <a:pt x="321" y="749"/>
                  </a:cubicBezTo>
                  <a:cubicBezTo>
                    <a:pt x="389" y="726"/>
                    <a:pt x="404" y="772"/>
                    <a:pt x="458" y="795"/>
                  </a:cubicBezTo>
                  <a:cubicBezTo>
                    <a:pt x="480" y="810"/>
                    <a:pt x="503" y="810"/>
                    <a:pt x="526" y="818"/>
                  </a:cubicBezTo>
                  <a:cubicBezTo>
                    <a:pt x="549" y="833"/>
                    <a:pt x="572" y="848"/>
                    <a:pt x="595" y="863"/>
                  </a:cubicBezTo>
                  <a:cubicBezTo>
                    <a:pt x="618" y="894"/>
                    <a:pt x="618" y="894"/>
                    <a:pt x="618" y="894"/>
                  </a:cubicBezTo>
                  <a:close/>
                  <a:moveTo>
                    <a:pt x="1122" y="1299"/>
                  </a:moveTo>
                  <a:lnTo>
                    <a:pt x="1122" y="1299"/>
                  </a:lnTo>
                  <a:cubicBezTo>
                    <a:pt x="1107" y="1314"/>
                    <a:pt x="1084" y="1322"/>
                    <a:pt x="1069" y="1337"/>
                  </a:cubicBezTo>
                  <a:cubicBezTo>
                    <a:pt x="1053" y="1345"/>
                    <a:pt x="984" y="1337"/>
                    <a:pt x="1000" y="1368"/>
                  </a:cubicBezTo>
                  <a:cubicBezTo>
                    <a:pt x="1023" y="1391"/>
                    <a:pt x="1030" y="1421"/>
                    <a:pt x="1038" y="1459"/>
                  </a:cubicBezTo>
                  <a:lnTo>
                    <a:pt x="1038" y="1459"/>
                  </a:lnTo>
                  <a:cubicBezTo>
                    <a:pt x="1046" y="1459"/>
                    <a:pt x="1053" y="1452"/>
                    <a:pt x="1061" y="1444"/>
                  </a:cubicBezTo>
                  <a:cubicBezTo>
                    <a:pt x="1084" y="1436"/>
                    <a:pt x="1114" y="1444"/>
                    <a:pt x="1137" y="1444"/>
                  </a:cubicBezTo>
                  <a:cubicBezTo>
                    <a:pt x="1137" y="1436"/>
                    <a:pt x="1137" y="1429"/>
                    <a:pt x="1137" y="1429"/>
                  </a:cubicBezTo>
                  <a:cubicBezTo>
                    <a:pt x="1145" y="1406"/>
                    <a:pt x="1130" y="1383"/>
                    <a:pt x="1130" y="1360"/>
                  </a:cubicBezTo>
                  <a:cubicBezTo>
                    <a:pt x="1130" y="1352"/>
                    <a:pt x="1137" y="1337"/>
                    <a:pt x="1137" y="1330"/>
                  </a:cubicBezTo>
                  <a:cubicBezTo>
                    <a:pt x="1145" y="1314"/>
                    <a:pt x="1137" y="1314"/>
                    <a:pt x="1137" y="1299"/>
                  </a:cubicBezTo>
                  <a:cubicBezTo>
                    <a:pt x="1122" y="1299"/>
                    <a:pt x="1122" y="1299"/>
                    <a:pt x="1122" y="1299"/>
                  </a:cubicBezTo>
                  <a:close/>
                  <a:moveTo>
                    <a:pt x="992" y="940"/>
                  </a:moveTo>
                  <a:lnTo>
                    <a:pt x="992" y="940"/>
                  </a:lnTo>
                  <a:cubicBezTo>
                    <a:pt x="969" y="940"/>
                    <a:pt x="969" y="963"/>
                    <a:pt x="954" y="978"/>
                  </a:cubicBezTo>
                  <a:cubicBezTo>
                    <a:pt x="946" y="1001"/>
                    <a:pt x="931" y="1024"/>
                    <a:pt x="900" y="1024"/>
                  </a:cubicBezTo>
                  <a:cubicBezTo>
                    <a:pt x="878" y="1024"/>
                    <a:pt x="839" y="1001"/>
                    <a:pt x="832" y="978"/>
                  </a:cubicBezTo>
                  <a:lnTo>
                    <a:pt x="832" y="978"/>
                  </a:lnTo>
                  <a:cubicBezTo>
                    <a:pt x="832" y="1001"/>
                    <a:pt x="824" y="1009"/>
                    <a:pt x="817" y="1032"/>
                  </a:cubicBezTo>
                  <a:cubicBezTo>
                    <a:pt x="809" y="1039"/>
                    <a:pt x="794" y="1062"/>
                    <a:pt x="809" y="1077"/>
                  </a:cubicBezTo>
                  <a:cubicBezTo>
                    <a:pt x="824" y="1085"/>
                    <a:pt x="839" y="1085"/>
                    <a:pt x="855" y="1093"/>
                  </a:cubicBezTo>
                  <a:cubicBezTo>
                    <a:pt x="885" y="1100"/>
                    <a:pt x="900" y="1108"/>
                    <a:pt x="923" y="1131"/>
                  </a:cubicBezTo>
                  <a:cubicBezTo>
                    <a:pt x="946" y="1146"/>
                    <a:pt x="962" y="1138"/>
                    <a:pt x="977" y="1116"/>
                  </a:cubicBezTo>
                  <a:cubicBezTo>
                    <a:pt x="992" y="1093"/>
                    <a:pt x="969" y="1062"/>
                    <a:pt x="969" y="1039"/>
                  </a:cubicBezTo>
                  <a:cubicBezTo>
                    <a:pt x="969" y="1024"/>
                    <a:pt x="977" y="1016"/>
                    <a:pt x="977" y="1009"/>
                  </a:cubicBezTo>
                  <a:cubicBezTo>
                    <a:pt x="984" y="1001"/>
                    <a:pt x="992" y="986"/>
                    <a:pt x="1000" y="971"/>
                  </a:cubicBezTo>
                  <a:cubicBezTo>
                    <a:pt x="992" y="940"/>
                    <a:pt x="992" y="940"/>
                    <a:pt x="992" y="940"/>
                  </a:cubicBezTo>
                  <a:close/>
                  <a:moveTo>
                    <a:pt x="1389" y="841"/>
                  </a:moveTo>
                  <a:lnTo>
                    <a:pt x="1389" y="841"/>
                  </a:lnTo>
                  <a:cubicBezTo>
                    <a:pt x="1367" y="856"/>
                    <a:pt x="1282" y="856"/>
                    <a:pt x="1298" y="818"/>
                  </a:cubicBezTo>
                  <a:cubicBezTo>
                    <a:pt x="1305" y="795"/>
                    <a:pt x="1305" y="802"/>
                    <a:pt x="1328" y="787"/>
                  </a:cubicBezTo>
                  <a:cubicBezTo>
                    <a:pt x="1336" y="780"/>
                    <a:pt x="1328" y="764"/>
                    <a:pt x="1321" y="764"/>
                  </a:cubicBezTo>
                  <a:cubicBezTo>
                    <a:pt x="1305" y="764"/>
                    <a:pt x="1282" y="772"/>
                    <a:pt x="1282" y="757"/>
                  </a:cubicBezTo>
                  <a:cubicBezTo>
                    <a:pt x="1282" y="734"/>
                    <a:pt x="1252" y="688"/>
                    <a:pt x="1244" y="734"/>
                  </a:cubicBezTo>
                  <a:cubicBezTo>
                    <a:pt x="1244" y="757"/>
                    <a:pt x="1252" y="795"/>
                    <a:pt x="1259" y="818"/>
                  </a:cubicBezTo>
                  <a:cubicBezTo>
                    <a:pt x="1275" y="879"/>
                    <a:pt x="1236" y="833"/>
                    <a:pt x="1206" y="871"/>
                  </a:cubicBezTo>
                  <a:cubicBezTo>
                    <a:pt x="1198" y="879"/>
                    <a:pt x="1175" y="932"/>
                    <a:pt x="1168" y="948"/>
                  </a:cubicBezTo>
                  <a:cubicBezTo>
                    <a:pt x="1168" y="971"/>
                    <a:pt x="1198" y="971"/>
                    <a:pt x="1206" y="948"/>
                  </a:cubicBezTo>
                  <a:cubicBezTo>
                    <a:pt x="1214" y="917"/>
                    <a:pt x="1236" y="886"/>
                    <a:pt x="1275" y="894"/>
                  </a:cubicBezTo>
                  <a:cubicBezTo>
                    <a:pt x="1321" y="894"/>
                    <a:pt x="1321" y="940"/>
                    <a:pt x="1313" y="971"/>
                  </a:cubicBezTo>
                  <a:cubicBezTo>
                    <a:pt x="1328" y="971"/>
                    <a:pt x="1336" y="955"/>
                    <a:pt x="1359" y="948"/>
                  </a:cubicBezTo>
                  <a:cubicBezTo>
                    <a:pt x="1367" y="948"/>
                    <a:pt x="1428" y="948"/>
                    <a:pt x="1405" y="932"/>
                  </a:cubicBezTo>
                  <a:cubicBezTo>
                    <a:pt x="1397" y="917"/>
                    <a:pt x="1367" y="879"/>
                    <a:pt x="1389" y="863"/>
                  </a:cubicBezTo>
                  <a:cubicBezTo>
                    <a:pt x="1389" y="841"/>
                    <a:pt x="1389" y="841"/>
                    <a:pt x="1389" y="841"/>
                  </a:cubicBezTo>
                  <a:close/>
                  <a:moveTo>
                    <a:pt x="710" y="642"/>
                  </a:moveTo>
                  <a:lnTo>
                    <a:pt x="710" y="642"/>
                  </a:lnTo>
                  <a:cubicBezTo>
                    <a:pt x="679" y="665"/>
                    <a:pt x="641" y="673"/>
                    <a:pt x="610" y="642"/>
                  </a:cubicBezTo>
                  <a:cubicBezTo>
                    <a:pt x="587" y="611"/>
                    <a:pt x="618" y="596"/>
                    <a:pt x="572" y="581"/>
                  </a:cubicBezTo>
                  <a:cubicBezTo>
                    <a:pt x="534" y="573"/>
                    <a:pt x="542" y="589"/>
                    <a:pt x="534" y="619"/>
                  </a:cubicBezTo>
                  <a:cubicBezTo>
                    <a:pt x="519" y="642"/>
                    <a:pt x="496" y="650"/>
                    <a:pt x="496" y="688"/>
                  </a:cubicBezTo>
                  <a:cubicBezTo>
                    <a:pt x="503" y="719"/>
                    <a:pt x="557" y="772"/>
                    <a:pt x="580" y="795"/>
                  </a:cubicBezTo>
                  <a:cubicBezTo>
                    <a:pt x="610" y="818"/>
                    <a:pt x="633" y="818"/>
                    <a:pt x="664" y="810"/>
                  </a:cubicBezTo>
                  <a:cubicBezTo>
                    <a:pt x="687" y="810"/>
                    <a:pt x="717" y="810"/>
                    <a:pt x="717" y="795"/>
                  </a:cubicBezTo>
                  <a:cubicBezTo>
                    <a:pt x="732" y="764"/>
                    <a:pt x="710" y="726"/>
                    <a:pt x="725" y="703"/>
                  </a:cubicBezTo>
                  <a:cubicBezTo>
                    <a:pt x="732" y="688"/>
                    <a:pt x="763" y="657"/>
                    <a:pt x="740" y="634"/>
                  </a:cubicBezTo>
                  <a:cubicBezTo>
                    <a:pt x="710" y="642"/>
                    <a:pt x="710" y="642"/>
                    <a:pt x="710" y="642"/>
                  </a:cubicBezTo>
                  <a:close/>
                  <a:moveTo>
                    <a:pt x="832" y="741"/>
                  </a:moveTo>
                  <a:lnTo>
                    <a:pt x="832" y="741"/>
                  </a:lnTo>
                  <a:cubicBezTo>
                    <a:pt x="832" y="734"/>
                    <a:pt x="824" y="719"/>
                    <a:pt x="824" y="711"/>
                  </a:cubicBezTo>
                  <a:cubicBezTo>
                    <a:pt x="817" y="703"/>
                    <a:pt x="824" y="696"/>
                    <a:pt x="817" y="688"/>
                  </a:cubicBezTo>
                  <a:cubicBezTo>
                    <a:pt x="809" y="680"/>
                    <a:pt x="794" y="673"/>
                    <a:pt x="778" y="680"/>
                  </a:cubicBezTo>
                  <a:cubicBezTo>
                    <a:pt x="771" y="688"/>
                    <a:pt x="763" y="711"/>
                    <a:pt x="771" y="719"/>
                  </a:cubicBezTo>
                  <a:cubicBezTo>
                    <a:pt x="771" y="734"/>
                    <a:pt x="778" y="741"/>
                    <a:pt x="786" y="749"/>
                  </a:cubicBezTo>
                  <a:cubicBezTo>
                    <a:pt x="786" y="764"/>
                    <a:pt x="794" y="780"/>
                    <a:pt x="794" y="787"/>
                  </a:cubicBezTo>
                  <a:cubicBezTo>
                    <a:pt x="794" y="795"/>
                    <a:pt x="794" y="802"/>
                    <a:pt x="801" y="802"/>
                  </a:cubicBezTo>
                  <a:cubicBezTo>
                    <a:pt x="809" y="802"/>
                    <a:pt x="824" y="787"/>
                    <a:pt x="824" y="780"/>
                  </a:cubicBezTo>
                  <a:cubicBezTo>
                    <a:pt x="832" y="741"/>
                    <a:pt x="832" y="741"/>
                    <a:pt x="832" y="741"/>
                  </a:cubicBezTo>
                  <a:close/>
                  <a:moveTo>
                    <a:pt x="1069" y="657"/>
                  </a:moveTo>
                  <a:lnTo>
                    <a:pt x="1069" y="657"/>
                  </a:lnTo>
                  <a:cubicBezTo>
                    <a:pt x="1053" y="611"/>
                    <a:pt x="1076" y="581"/>
                    <a:pt x="1084" y="543"/>
                  </a:cubicBezTo>
                  <a:cubicBezTo>
                    <a:pt x="1092" y="520"/>
                    <a:pt x="1107" y="520"/>
                    <a:pt x="1084" y="505"/>
                  </a:cubicBezTo>
                  <a:cubicBezTo>
                    <a:pt x="1076" y="489"/>
                    <a:pt x="1061" y="466"/>
                    <a:pt x="1061" y="451"/>
                  </a:cubicBezTo>
                  <a:cubicBezTo>
                    <a:pt x="1023" y="451"/>
                    <a:pt x="1038" y="535"/>
                    <a:pt x="1038" y="558"/>
                  </a:cubicBezTo>
                  <a:cubicBezTo>
                    <a:pt x="1030" y="573"/>
                    <a:pt x="1023" y="627"/>
                    <a:pt x="1023" y="634"/>
                  </a:cubicBezTo>
                  <a:cubicBezTo>
                    <a:pt x="1007" y="650"/>
                    <a:pt x="977" y="634"/>
                    <a:pt x="969" y="619"/>
                  </a:cubicBezTo>
                  <a:cubicBezTo>
                    <a:pt x="954" y="596"/>
                    <a:pt x="962" y="634"/>
                    <a:pt x="962" y="642"/>
                  </a:cubicBezTo>
                  <a:cubicBezTo>
                    <a:pt x="969" y="665"/>
                    <a:pt x="984" y="680"/>
                    <a:pt x="992" y="696"/>
                  </a:cubicBezTo>
                  <a:cubicBezTo>
                    <a:pt x="1000" y="711"/>
                    <a:pt x="1000" y="741"/>
                    <a:pt x="1000" y="757"/>
                  </a:cubicBezTo>
                  <a:cubicBezTo>
                    <a:pt x="1023" y="757"/>
                    <a:pt x="1046" y="764"/>
                    <a:pt x="1069" y="764"/>
                  </a:cubicBezTo>
                  <a:cubicBezTo>
                    <a:pt x="1069" y="734"/>
                    <a:pt x="1061" y="711"/>
                    <a:pt x="1061" y="680"/>
                  </a:cubicBezTo>
                  <a:cubicBezTo>
                    <a:pt x="1069" y="657"/>
                    <a:pt x="1069" y="657"/>
                    <a:pt x="1069" y="657"/>
                  </a:cubicBezTo>
                  <a:close/>
                  <a:moveTo>
                    <a:pt x="809" y="275"/>
                  </a:moveTo>
                  <a:lnTo>
                    <a:pt x="809" y="275"/>
                  </a:lnTo>
                  <a:cubicBezTo>
                    <a:pt x="786" y="260"/>
                    <a:pt x="732" y="237"/>
                    <a:pt x="717" y="214"/>
                  </a:cubicBezTo>
                  <a:cubicBezTo>
                    <a:pt x="710" y="207"/>
                    <a:pt x="732" y="199"/>
                    <a:pt x="740" y="184"/>
                  </a:cubicBezTo>
                  <a:cubicBezTo>
                    <a:pt x="740" y="169"/>
                    <a:pt x="740" y="146"/>
                    <a:pt x="740" y="130"/>
                  </a:cubicBezTo>
                  <a:cubicBezTo>
                    <a:pt x="725" y="130"/>
                    <a:pt x="694" y="184"/>
                    <a:pt x="679" y="191"/>
                  </a:cubicBezTo>
                  <a:cubicBezTo>
                    <a:pt x="641" y="207"/>
                    <a:pt x="618" y="184"/>
                    <a:pt x="580" y="184"/>
                  </a:cubicBezTo>
                  <a:cubicBezTo>
                    <a:pt x="580" y="199"/>
                    <a:pt x="625" y="230"/>
                    <a:pt x="625" y="252"/>
                  </a:cubicBezTo>
                  <a:cubicBezTo>
                    <a:pt x="641" y="298"/>
                    <a:pt x="610" y="321"/>
                    <a:pt x="656" y="352"/>
                  </a:cubicBezTo>
                  <a:cubicBezTo>
                    <a:pt x="687" y="367"/>
                    <a:pt x="710" y="428"/>
                    <a:pt x="717" y="375"/>
                  </a:cubicBezTo>
                  <a:cubicBezTo>
                    <a:pt x="732" y="306"/>
                    <a:pt x="786" y="329"/>
                    <a:pt x="824" y="359"/>
                  </a:cubicBezTo>
                  <a:cubicBezTo>
                    <a:pt x="862" y="390"/>
                    <a:pt x="855" y="428"/>
                    <a:pt x="870" y="474"/>
                  </a:cubicBezTo>
                  <a:cubicBezTo>
                    <a:pt x="878" y="474"/>
                    <a:pt x="885" y="436"/>
                    <a:pt x="893" y="428"/>
                  </a:cubicBezTo>
                  <a:cubicBezTo>
                    <a:pt x="908" y="413"/>
                    <a:pt x="939" y="390"/>
                    <a:pt x="900" y="367"/>
                  </a:cubicBezTo>
                  <a:cubicBezTo>
                    <a:pt x="878" y="352"/>
                    <a:pt x="855" y="321"/>
                    <a:pt x="847" y="291"/>
                  </a:cubicBezTo>
                  <a:cubicBezTo>
                    <a:pt x="809" y="275"/>
                    <a:pt x="809" y="275"/>
                    <a:pt x="809" y="275"/>
                  </a:cubicBezTo>
                  <a:close/>
                  <a:moveTo>
                    <a:pt x="878" y="153"/>
                  </a:moveTo>
                  <a:lnTo>
                    <a:pt x="878" y="153"/>
                  </a:lnTo>
                  <a:cubicBezTo>
                    <a:pt x="870" y="184"/>
                    <a:pt x="870" y="184"/>
                    <a:pt x="870" y="184"/>
                  </a:cubicBezTo>
                  <a:cubicBezTo>
                    <a:pt x="839" y="230"/>
                    <a:pt x="847" y="138"/>
                    <a:pt x="817" y="130"/>
                  </a:cubicBezTo>
                  <a:cubicBezTo>
                    <a:pt x="817" y="123"/>
                    <a:pt x="809" y="115"/>
                    <a:pt x="817" y="107"/>
                  </a:cubicBezTo>
                  <a:cubicBezTo>
                    <a:pt x="824" y="92"/>
                    <a:pt x="832" y="85"/>
                    <a:pt x="839" y="77"/>
                  </a:cubicBezTo>
                  <a:cubicBezTo>
                    <a:pt x="847" y="62"/>
                    <a:pt x="855" y="31"/>
                    <a:pt x="878" y="31"/>
                  </a:cubicBezTo>
                  <a:lnTo>
                    <a:pt x="878" y="31"/>
                  </a:lnTo>
                  <a:cubicBezTo>
                    <a:pt x="885" y="54"/>
                    <a:pt x="885" y="69"/>
                    <a:pt x="870" y="85"/>
                  </a:cubicBezTo>
                  <a:cubicBezTo>
                    <a:pt x="862" y="100"/>
                    <a:pt x="862" y="138"/>
                    <a:pt x="878" y="153"/>
                  </a:cubicBezTo>
                  <a:close/>
                  <a:moveTo>
                    <a:pt x="1580" y="260"/>
                  </a:moveTo>
                  <a:lnTo>
                    <a:pt x="1580" y="260"/>
                  </a:lnTo>
                  <a:cubicBezTo>
                    <a:pt x="1527" y="275"/>
                    <a:pt x="1450" y="405"/>
                    <a:pt x="1397" y="405"/>
                  </a:cubicBezTo>
                  <a:cubicBezTo>
                    <a:pt x="1290" y="405"/>
                    <a:pt x="1397" y="344"/>
                    <a:pt x="1397" y="283"/>
                  </a:cubicBezTo>
                  <a:cubicBezTo>
                    <a:pt x="1374" y="291"/>
                    <a:pt x="1367" y="314"/>
                    <a:pt x="1328" y="314"/>
                  </a:cubicBezTo>
                  <a:cubicBezTo>
                    <a:pt x="1313" y="314"/>
                    <a:pt x="1328" y="344"/>
                    <a:pt x="1328" y="359"/>
                  </a:cubicBezTo>
                  <a:cubicBezTo>
                    <a:pt x="1321" y="390"/>
                    <a:pt x="1305" y="390"/>
                    <a:pt x="1282" y="398"/>
                  </a:cubicBezTo>
                  <a:cubicBezTo>
                    <a:pt x="1236" y="421"/>
                    <a:pt x="1229" y="451"/>
                    <a:pt x="1214" y="482"/>
                  </a:cubicBezTo>
                  <a:cubicBezTo>
                    <a:pt x="1206" y="512"/>
                    <a:pt x="1160" y="520"/>
                    <a:pt x="1160" y="535"/>
                  </a:cubicBezTo>
                  <a:cubicBezTo>
                    <a:pt x="1160" y="550"/>
                    <a:pt x="1160" y="627"/>
                    <a:pt x="1175" y="604"/>
                  </a:cubicBezTo>
                  <a:cubicBezTo>
                    <a:pt x="1191" y="566"/>
                    <a:pt x="1244" y="466"/>
                    <a:pt x="1298" y="482"/>
                  </a:cubicBezTo>
                  <a:cubicBezTo>
                    <a:pt x="1321" y="489"/>
                    <a:pt x="1328" y="474"/>
                    <a:pt x="1344" y="466"/>
                  </a:cubicBezTo>
                  <a:cubicBezTo>
                    <a:pt x="1382" y="444"/>
                    <a:pt x="1389" y="497"/>
                    <a:pt x="1420" y="444"/>
                  </a:cubicBezTo>
                  <a:cubicBezTo>
                    <a:pt x="1443" y="413"/>
                    <a:pt x="1450" y="413"/>
                    <a:pt x="1481" y="398"/>
                  </a:cubicBezTo>
                  <a:cubicBezTo>
                    <a:pt x="1519" y="375"/>
                    <a:pt x="1519" y="344"/>
                    <a:pt x="1565" y="344"/>
                  </a:cubicBezTo>
                  <a:cubicBezTo>
                    <a:pt x="1641" y="344"/>
                    <a:pt x="1603" y="337"/>
                    <a:pt x="1588" y="291"/>
                  </a:cubicBezTo>
                  <a:cubicBezTo>
                    <a:pt x="1580" y="260"/>
                    <a:pt x="1580" y="260"/>
                    <a:pt x="1580" y="260"/>
                  </a:cubicBezTo>
                  <a:close/>
                  <a:moveTo>
                    <a:pt x="1557" y="77"/>
                  </a:moveTo>
                  <a:lnTo>
                    <a:pt x="1557" y="77"/>
                  </a:lnTo>
                  <a:cubicBezTo>
                    <a:pt x="1565" y="77"/>
                    <a:pt x="1565" y="69"/>
                    <a:pt x="1565" y="62"/>
                  </a:cubicBezTo>
                  <a:cubicBezTo>
                    <a:pt x="1573" y="54"/>
                    <a:pt x="1573" y="16"/>
                    <a:pt x="1588" y="16"/>
                  </a:cubicBezTo>
                  <a:cubicBezTo>
                    <a:pt x="1603" y="16"/>
                    <a:pt x="1611" y="16"/>
                    <a:pt x="1626" y="8"/>
                  </a:cubicBezTo>
                  <a:cubicBezTo>
                    <a:pt x="1626" y="8"/>
                    <a:pt x="1649" y="0"/>
                    <a:pt x="1649" y="8"/>
                  </a:cubicBezTo>
                  <a:cubicBezTo>
                    <a:pt x="1649" y="8"/>
                    <a:pt x="1641" y="16"/>
                    <a:pt x="1634" y="23"/>
                  </a:cubicBezTo>
                  <a:cubicBezTo>
                    <a:pt x="1626" y="31"/>
                    <a:pt x="1611" y="39"/>
                    <a:pt x="1611" y="46"/>
                  </a:cubicBezTo>
                  <a:cubicBezTo>
                    <a:pt x="1611" y="62"/>
                    <a:pt x="1634" y="85"/>
                    <a:pt x="1619" y="100"/>
                  </a:cubicBezTo>
                  <a:cubicBezTo>
                    <a:pt x="1603" y="123"/>
                    <a:pt x="1588" y="92"/>
                    <a:pt x="1565" y="100"/>
                  </a:cubicBezTo>
                  <a:lnTo>
                    <a:pt x="1557" y="77"/>
                  </a:lnTo>
                  <a:close/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75" name="Freeform 197"/>
            <p:cNvSpPr>
              <a:spLocks noChangeArrowheads="1"/>
            </p:cNvSpPr>
            <p:nvPr/>
          </p:nvSpPr>
          <p:spPr bwMode="auto">
            <a:xfrm>
              <a:off x="8000479" y="1116013"/>
              <a:ext cx="773063" cy="1122362"/>
            </a:xfrm>
            <a:custGeom>
              <a:avLst/>
              <a:gdLst>
                <a:gd name="T0" fmla="*/ 8 w 2147"/>
                <a:gd name="T1" fmla="*/ 2260 h 3117"/>
                <a:gd name="T2" fmla="*/ 107 w 2147"/>
                <a:gd name="T3" fmla="*/ 2306 h 3117"/>
                <a:gd name="T4" fmla="*/ 1971 w 2147"/>
                <a:gd name="T5" fmla="*/ 442 h 3117"/>
                <a:gd name="T6" fmla="*/ 2055 w 2147"/>
                <a:gd name="T7" fmla="*/ 259 h 3117"/>
                <a:gd name="T8" fmla="*/ 2100 w 2147"/>
                <a:gd name="T9" fmla="*/ 61 h 3117"/>
                <a:gd name="T10" fmla="*/ 1948 w 2147"/>
                <a:gd name="T11" fmla="*/ 7 h 3117"/>
                <a:gd name="T12" fmla="*/ 1856 w 2147"/>
                <a:gd name="T13" fmla="*/ 267 h 3117"/>
                <a:gd name="T14" fmla="*/ 1803 w 2147"/>
                <a:gd name="T15" fmla="*/ 504 h 3117"/>
                <a:gd name="T16" fmla="*/ 2017 w 2147"/>
                <a:gd name="T17" fmla="*/ 511 h 3117"/>
                <a:gd name="T18" fmla="*/ 1742 w 2147"/>
                <a:gd name="T19" fmla="*/ 909 h 3117"/>
                <a:gd name="T20" fmla="*/ 1665 w 2147"/>
                <a:gd name="T21" fmla="*/ 1138 h 3117"/>
                <a:gd name="T22" fmla="*/ 1489 w 2147"/>
                <a:gd name="T23" fmla="*/ 1031 h 3117"/>
                <a:gd name="T24" fmla="*/ 1497 w 2147"/>
                <a:gd name="T25" fmla="*/ 626 h 3117"/>
                <a:gd name="T26" fmla="*/ 1688 w 2147"/>
                <a:gd name="T27" fmla="*/ 366 h 3117"/>
                <a:gd name="T28" fmla="*/ 1719 w 2147"/>
                <a:gd name="T29" fmla="*/ 649 h 3117"/>
                <a:gd name="T30" fmla="*/ 1726 w 2147"/>
                <a:gd name="T31" fmla="*/ 748 h 3117"/>
                <a:gd name="T32" fmla="*/ 1902 w 2147"/>
                <a:gd name="T33" fmla="*/ 870 h 3117"/>
                <a:gd name="T34" fmla="*/ 1887 w 2147"/>
                <a:gd name="T35" fmla="*/ 702 h 3117"/>
                <a:gd name="T36" fmla="*/ 2062 w 2147"/>
                <a:gd name="T37" fmla="*/ 786 h 3117"/>
                <a:gd name="T38" fmla="*/ 2093 w 2147"/>
                <a:gd name="T39" fmla="*/ 855 h 3117"/>
                <a:gd name="T40" fmla="*/ 1978 w 2147"/>
                <a:gd name="T41" fmla="*/ 878 h 3117"/>
                <a:gd name="T42" fmla="*/ 932 w 2147"/>
                <a:gd name="T43" fmla="*/ 1168 h 3117"/>
                <a:gd name="T44" fmla="*/ 1054 w 2147"/>
                <a:gd name="T45" fmla="*/ 1260 h 3117"/>
                <a:gd name="T46" fmla="*/ 1100 w 2147"/>
                <a:gd name="T47" fmla="*/ 1474 h 3117"/>
                <a:gd name="T48" fmla="*/ 1153 w 2147"/>
                <a:gd name="T49" fmla="*/ 1405 h 3117"/>
                <a:gd name="T50" fmla="*/ 1230 w 2147"/>
                <a:gd name="T51" fmla="*/ 1145 h 3117"/>
                <a:gd name="T52" fmla="*/ 1253 w 2147"/>
                <a:gd name="T53" fmla="*/ 824 h 3117"/>
                <a:gd name="T54" fmla="*/ 1123 w 2147"/>
                <a:gd name="T55" fmla="*/ 748 h 3117"/>
                <a:gd name="T56" fmla="*/ 1046 w 2147"/>
                <a:gd name="T57" fmla="*/ 1084 h 3117"/>
                <a:gd name="T58" fmla="*/ 856 w 2147"/>
                <a:gd name="T59" fmla="*/ 1092 h 3117"/>
                <a:gd name="T60" fmla="*/ 856 w 2147"/>
                <a:gd name="T61" fmla="*/ 1153 h 3117"/>
                <a:gd name="T62" fmla="*/ 1436 w 2147"/>
                <a:gd name="T63" fmla="*/ 2719 h 3117"/>
                <a:gd name="T64" fmla="*/ 1436 w 2147"/>
                <a:gd name="T65" fmla="*/ 2482 h 3117"/>
                <a:gd name="T66" fmla="*/ 1505 w 2147"/>
                <a:gd name="T67" fmla="*/ 2222 h 3117"/>
                <a:gd name="T68" fmla="*/ 1428 w 2147"/>
                <a:gd name="T69" fmla="*/ 1985 h 3117"/>
                <a:gd name="T70" fmla="*/ 1535 w 2147"/>
                <a:gd name="T71" fmla="*/ 1901 h 3117"/>
                <a:gd name="T72" fmla="*/ 1619 w 2147"/>
                <a:gd name="T73" fmla="*/ 1680 h 3117"/>
                <a:gd name="T74" fmla="*/ 1627 w 2147"/>
                <a:gd name="T75" fmla="*/ 1565 h 3117"/>
                <a:gd name="T76" fmla="*/ 1680 w 2147"/>
                <a:gd name="T77" fmla="*/ 1275 h 3117"/>
                <a:gd name="T78" fmla="*/ 1428 w 2147"/>
                <a:gd name="T79" fmla="*/ 1328 h 3117"/>
                <a:gd name="T80" fmla="*/ 1329 w 2147"/>
                <a:gd name="T81" fmla="*/ 1168 h 3117"/>
                <a:gd name="T82" fmla="*/ 1245 w 2147"/>
                <a:gd name="T83" fmla="*/ 1527 h 3117"/>
                <a:gd name="T84" fmla="*/ 1023 w 2147"/>
                <a:gd name="T85" fmla="*/ 1703 h 3117"/>
                <a:gd name="T86" fmla="*/ 672 w 2147"/>
                <a:gd name="T87" fmla="*/ 1787 h 3117"/>
                <a:gd name="T88" fmla="*/ 856 w 2147"/>
                <a:gd name="T89" fmla="*/ 2039 h 3117"/>
                <a:gd name="T90" fmla="*/ 901 w 2147"/>
                <a:gd name="T91" fmla="*/ 2054 h 3117"/>
                <a:gd name="T92" fmla="*/ 1046 w 2147"/>
                <a:gd name="T93" fmla="*/ 2222 h 3117"/>
                <a:gd name="T94" fmla="*/ 1138 w 2147"/>
                <a:gd name="T95" fmla="*/ 2085 h 3117"/>
                <a:gd name="T96" fmla="*/ 1306 w 2147"/>
                <a:gd name="T97" fmla="*/ 2123 h 3117"/>
                <a:gd name="T98" fmla="*/ 1298 w 2147"/>
                <a:gd name="T99" fmla="*/ 2482 h 3117"/>
                <a:gd name="T100" fmla="*/ 1199 w 2147"/>
                <a:gd name="T101" fmla="*/ 2864 h 3117"/>
                <a:gd name="T102" fmla="*/ 1291 w 2147"/>
                <a:gd name="T103" fmla="*/ 3085 h 3117"/>
                <a:gd name="T104" fmla="*/ 1329 w 2147"/>
                <a:gd name="T105" fmla="*/ 2910 h 3117"/>
                <a:gd name="T106" fmla="*/ 1581 w 2147"/>
                <a:gd name="T107" fmla="*/ 2245 h 3117"/>
                <a:gd name="T108" fmla="*/ 1612 w 2147"/>
                <a:gd name="T109" fmla="*/ 2146 h 3117"/>
                <a:gd name="T110" fmla="*/ 1749 w 2147"/>
                <a:gd name="T111" fmla="*/ 2237 h 3117"/>
                <a:gd name="T112" fmla="*/ 1612 w 2147"/>
                <a:gd name="T113" fmla="*/ 2345 h 3117"/>
                <a:gd name="T114" fmla="*/ 1787 w 2147"/>
                <a:gd name="T115" fmla="*/ 1649 h 3117"/>
                <a:gd name="T116" fmla="*/ 1764 w 2147"/>
                <a:gd name="T117" fmla="*/ 1542 h 3117"/>
                <a:gd name="T118" fmla="*/ 1879 w 2147"/>
                <a:gd name="T119" fmla="*/ 1481 h 3117"/>
                <a:gd name="T120" fmla="*/ 1787 w 2147"/>
                <a:gd name="T121" fmla="*/ 1649 h 3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47" h="3117">
                  <a:moveTo>
                    <a:pt x="53" y="2329"/>
                  </a:moveTo>
                  <a:lnTo>
                    <a:pt x="53" y="2329"/>
                  </a:lnTo>
                  <a:cubicBezTo>
                    <a:pt x="53" y="2314"/>
                    <a:pt x="38" y="2299"/>
                    <a:pt x="31" y="2291"/>
                  </a:cubicBezTo>
                  <a:cubicBezTo>
                    <a:pt x="23" y="2283"/>
                    <a:pt x="0" y="2276"/>
                    <a:pt x="8" y="2260"/>
                  </a:cubicBezTo>
                  <a:cubicBezTo>
                    <a:pt x="15" y="2253"/>
                    <a:pt x="23" y="2245"/>
                    <a:pt x="31" y="2237"/>
                  </a:cubicBezTo>
                  <a:cubicBezTo>
                    <a:pt x="38" y="2222"/>
                    <a:pt x="38" y="2222"/>
                    <a:pt x="46" y="2214"/>
                  </a:cubicBezTo>
                  <a:cubicBezTo>
                    <a:pt x="61" y="2199"/>
                    <a:pt x="84" y="2207"/>
                    <a:pt x="92" y="2222"/>
                  </a:cubicBezTo>
                  <a:cubicBezTo>
                    <a:pt x="114" y="2253"/>
                    <a:pt x="107" y="2276"/>
                    <a:pt x="107" y="2306"/>
                  </a:cubicBezTo>
                  <a:cubicBezTo>
                    <a:pt x="107" y="2322"/>
                    <a:pt x="107" y="2329"/>
                    <a:pt x="107" y="2337"/>
                  </a:cubicBezTo>
                  <a:cubicBezTo>
                    <a:pt x="107" y="2360"/>
                    <a:pt x="76" y="2345"/>
                    <a:pt x="69" y="2345"/>
                  </a:cubicBezTo>
                  <a:cubicBezTo>
                    <a:pt x="53" y="2329"/>
                    <a:pt x="53" y="2329"/>
                    <a:pt x="53" y="2329"/>
                  </a:cubicBezTo>
                  <a:close/>
                  <a:moveTo>
                    <a:pt x="1971" y="442"/>
                  </a:moveTo>
                  <a:lnTo>
                    <a:pt x="1971" y="442"/>
                  </a:lnTo>
                  <a:cubicBezTo>
                    <a:pt x="1986" y="397"/>
                    <a:pt x="2032" y="374"/>
                    <a:pt x="2055" y="336"/>
                  </a:cubicBezTo>
                  <a:cubicBezTo>
                    <a:pt x="2078" y="282"/>
                    <a:pt x="1986" y="290"/>
                    <a:pt x="1994" y="282"/>
                  </a:cubicBezTo>
                  <a:cubicBezTo>
                    <a:pt x="2001" y="274"/>
                    <a:pt x="2039" y="267"/>
                    <a:pt x="2055" y="259"/>
                  </a:cubicBezTo>
                  <a:cubicBezTo>
                    <a:pt x="2085" y="252"/>
                    <a:pt x="2047" y="206"/>
                    <a:pt x="2032" y="198"/>
                  </a:cubicBezTo>
                  <a:cubicBezTo>
                    <a:pt x="2032" y="190"/>
                    <a:pt x="2146" y="221"/>
                    <a:pt x="2100" y="145"/>
                  </a:cubicBezTo>
                  <a:cubicBezTo>
                    <a:pt x="2093" y="122"/>
                    <a:pt x="2039" y="106"/>
                    <a:pt x="2100" y="91"/>
                  </a:cubicBezTo>
                  <a:cubicBezTo>
                    <a:pt x="2139" y="91"/>
                    <a:pt x="2131" y="76"/>
                    <a:pt x="2100" y="61"/>
                  </a:cubicBezTo>
                  <a:cubicBezTo>
                    <a:pt x="2024" y="22"/>
                    <a:pt x="2024" y="22"/>
                    <a:pt x="2024" y="22"/>
                  </a:cubicBezTo>
                  <a:cubicBezTo>
                    <a:pt x="1986" y="7"/>
                    <a:pt x="1986" y="114"/>
                    <a:pt x="1963" y="122"/>
                  </a:cubicBezTo>
                  <a:cubicBezTo>
                    <a:pt x="1963" y="99"/>
                    <a:pt x="1963" y="76"/>
                    <a:pt x="1963" y="61"/>
                  </a:cubicBezTo>
                  <a:cubicBezTo>
                    <a:pt x="1963" y="53"/>
                    <a:pt x="1963" y="0"/>
                    <a:pt x="1948" y="7"/>
                  </a:cubicBezTo>
                  <a:cubicBezTo>
                    <a:pt x="1925" y="15"/>
                    <a:pt x="1902" y="68"/>
                    <a:pt x="1894" y="91"/>
                  </a:cubicBezTo>
                  <a:cubicBezTo>
                    <a:pt x="1879" y="114"/>
                    <a:pt x="1841" y="152"/>
                    <a:pt x="1841" y="167"/>
                  </a:cubicBezTo>
                  <a:cubicBezTo>
                    <a:pt x="1841" y="175"/>
                    <a:pt x="1856" y="198"/>
                    <a:pt x="1856" y="213"/>
                  </a:cubicBezTo>
                  <a:cubicBezTo>
                    <a:pt x="1864" y="229"/>
                    <a:pt x="1864" y="252"/>
                    <a:pt x="1856" y="267"/>
                  </a:cubicBezTo>
                  <a:cubicBezTo>
                    <a:pt x="1856" y="320"/>
                    <a:pt x="1810" y="351"/>
                    <a:pt x="1825" y="404"/>
                  </a:cubicBezTo>
                  <a:cubicBezTo>
                    <a:pt x="1833" y="427"/>
                    <a:pt x="1803" y="404"/>
                    <a:pt x="1810" y="427"/>
                  </a:cubicBezTo>
                  <a:cubicBezTo>
                    <a:pt x="1810" y="442"/>
                    <a:pt x="1818" y="458"/>
                    <a:pt x="1810" y="473"/>
                  </a:cubicBezTo>
                  <a:cubicBezTo>
                    <a:pt x="1803" y="488"/>
                    <a:pt x="1795" y="488"/>
                    <a:pt x="1803" y="504"/>
                  </a:cubicBezTo>
                  <a:cubicBezTo>
                    <a:pt x="1818" y="542"/>
                    <a:pt x="1825" y="542"/>
                    <a:pt x="1864" y="519"/>
                  </a:cubicBezTo>
                  <a:cubicBezTo>
                    <a:pt x="1879" y="511"/>
                    <a:pt x="1902" y="511"/>
                    <a:pt x="1925" y="519"/>
                  </a:cubicBezTo>
                  <a:cubicBezTo>
                    <a:pt x="1932" y="526"/>
                    <a:pt x="1948" y="534"/>
                    <a:pt x="1955" y="534"/>
                  </a:cubicBezTo>
                  <a:cubicBezTo>
                    <a:pt x="1971" y="534"/>
                    <a:pt x="2009" y="526"/>
                    <a:pt x="2017" y="511"/>
                  </a:cubicBezTo>
                  <a:cubicBezTo>
                    <a:pt x="2024" y="504"/>
                    <a:pt x="1971" y="481"/>
                    <a:pt x="1971" y="465"/>
                  </a:cubicBezTo>
                  <a:cubicBezTo>
                    <a:pt x="1971" y="442"/>
                    <a:pt x="1971" y="442"/>
                    <a:pt x="1971" y="442"/>
                  </a:cubicBezTo>
                  <a:close/>
                  <a:moveTo>
                    <a:pt x="1742" y="909"/>
                  </a:moveTo>
                  <a:lnTo>
                    <a:pt x="1742" y="909"/>
                  </a:lnTo>
                  <a:cubicBezTo>
                    <a:pt x="1742" y="924"/>
                    <a:pt x="1742" y="924"/>
                    <a:pt x="1742" y="924"/>
                  </a:cubicBezTo>
                  <a:cubicBezTo>
                    <a:pt x="1742" y="947"/>
                    <a:pt x="1719" y="962"/>
                    <a:pt x="1696" y="970"/>
                  </a:cubicBezTo>
                  <a:cubicBezTo>
                    <a:pt x="1680" y="985"/>
                    <a:pt x="1711" y="1023"/>
                    <a:pt x="1719" y="1038"/>
                  </a:cubicBezTo>
                  <a:cubicBezTo>
                    <a:pt x="1734" y="1069"/>
                    <a:pt x="1711" y="1138"/>
                    <a:pt x="1665" y="1138"/>
                  </a:cubicBezTo>
                  <a:cubicBezTo>
                    <a:pt x="1650" y="1138"/>
                    <a:pt x="1604" y="1115"/>
                    <a:pt x="1596" y="1122"/>
                  </a:cubicBezTo>
                  <a:cubicBezTo>
                    <a:pt x="1581" y="1130"/>
                    <a:pt x="1604" y="1145"/>
                    <a:pt x="1596" y="1161"/>
                  </a:cubicBezTo>
                  <a:lnTo>
                    <a:pt x="1596" y="1161"/>
                  </a:lnTo>
                  <a:cubicBezTo>
                    <a:pt x="1535" y="1122"/>
                    <a:pt x="1497" y="1115"/>
                    <a:pt x="1489" y="1031"/>
                  </a:cubicBezTo>
                  <a:cubicBezTo>
                    <a:pt x="1489" y="1015"/>
                    <a:pt x="1474" y="1000"/>
                    <a:pt x="1474" y="977"/>
                  </a:cubicBezTo>
                  <a:cubicBezTo>
                    <a:pt x="1467" y="954"/>
                    <a:pt x="1467" y="924"/>
                    <a:pt x="1467" y="893"/>
                  </a:cubicBezTo>
                  <a:cubicBezTo>
                    <a:pt x="1467" y="832"/>
                    <a:pt x="1428" y="817"/>
                    <a:pt x="1444" y="748"/>
                  </a:cubicBezTo>
                  <a:cubicBezTo>
                    <a:pt x="1459" y="710"/>
                    <a:pt x="1489" y="664"/>
                    <a:pt x="1497" y="626"/>
                  </a:cubicBezTo>
                  <a:cubicBezTo>
                    <a:pt x="1505" y="588"/>
                    <a:pt x="1535" y="618"/>
                    <a:pt x="1543" y="595"/>
                  </a:cubicBezTo>
                  <a:cubicBezTo>
                    <a:pt x="1558" y="557"/>
                    <a:pt x="1550" y="504"/>
                    <a:pt x="1558" y="465"/>
                  </a:cubicBezTo>
                  <a:cubicBezTo>
                    <a:pt x="1581" y="404"/>
                    <a:pt x="1558" y="366"/>
                    <a:pt x="1635" y="381"/>
                  </a:cubicBezTo>
                  <a:cubicBezTo>
                    <a:pt x="1658" y="381"/>
                    <a:pt x="1673" y="366"/>
                    <a:pt x="1688" y="366"/>
                  </a:cubicBezTo>
                  <a:cubicBezTo>
                    <a:pt x="1787" y="389"/>
                    <a:pt x="1734" y="465"/>
                    <a:pt x="1764" y="526"/>
                  </a:cubicBezTo>
                  <a:cubicBezTo>
                    <a:pt x="1772" y="549"/>
                    <a:pt x="1772" y="572"/>
                    <a:pt x="1772" y="595"/>
                  </a:cubicBezTo>
                  <a:cubicBezTo>
                    <a:pt x="1772" y="618"/>
                    <a:pt x="1772" y="641"/>
                    <a:pt x="1780" y="656"/>
                  </a:cubicBezTo>
                  <a:cubicBezTo>
                    <a:pt x="1795" y="695"/>
                    <a:pt x="1734" y="664"/>
                    <a:pt x="1719" y="649"/>
                  </a:cubicBezTo>
                  <a:cubicBezTo>
                    <a:pt x="1703" y="641"/>
                    <a:pt x="1688" y="595"/>
                    <a:pt x="1673" y="595"/>
                  </a:cubicBezTo>
                  <a:cubicBezTo>
                    <a:pt x="1665" y="595"/>
                    <a:pt x="1665" y="595"/>
                    <a:pt x="1665" y="595"/>
                  </a:cubicBezTo>
                  <a:cubicBezTo>
                    <a:pt x="1665" y="611"/>
                    <a:pt x="1703" y="687"/>
                    <a:pt x="1711" y="695"/>
                  </a:cubicBezTo>
                  <a:cubicBezTo>
                    <a:pt x="1726" y="710"/>
                    <a:pt x="1749" y="725"/>
                    <a:pt x="1726" y="748"/>
                  </a:cubicBezTo>
                  <a:cubicBezTo>
                    <a:pt x="1719" y="763"/>
                    <a:pt x="1688" y="763"/>
                    <a:pt x="1680" y="771"/>
                  </a:cubicBezTo>
                  <a:cubicBezTo>
                    <a:pt x="1665" y="786"/>
                    <a:pt x="1719" y="817"/>
                    <a:pt x="1734" y="824"/>
                  </a:cubicBezTo>
                  <a:cubicBezTo>
                    <a:pt x="1757" y="855"/>
                    <a:pt x="1757" y="878"/>
                    <a:pt x="1742" y="909"/>
                  </a:cubicBezTo>
                  <a:close/>
                  <a:moveTo>
                    <a:pt x="1902" y="870"/>
                  </a:moveTo>
                  <a:lnTo>
                    <a:pt x="1902" y="870"/>
                  </a:lnTo>
                  <a:cubicBezTo>
                    <a:pt x="1894" y="840"/>
                    <a:pt x="1879" y="817"/>
                    <a:pt x="1871" y="786"/>
                  </a:cubicBezTo>
                  <a:cubicBezTo>
                    <a:pt x="1871" y="771"/>
                    <a:pt x="1848" y="740"/>
                    <a:pt x="1848" y="733"/>
                  </a:cubicBezTo>
                  <a:cubicBezTo>
                    <a:pt x="1856" y="725"/>
                    <a:pt x="1879" y="702"/>
                    <a:pt x="1887" y="702"/>
                  </a:cubicBezTo>
                  <a:cubicBezTo>
                    <a:pt x="1917" y="702"/>
                    <a:pt x="1925" y="740"/>
                    <a:pt x="1955" y="695"/>
                  </a:cubicBezTo>
                  <a:cubicBezTo>
                    <a:pt x="1971" y="679"/>
                    <a:pt x="2017" y="695"/>
                    <a:pt x="2032" y="702"/>
                  </a:cubicBezTo>
                  <a:cubicBezTo>
                    <a:pt x="2032" y="717"/>
                    <a:pt x="2039" y="733"/>
                    <a:pt x="2039" y="748"/>
                  </a:cubicBezTo>
                  <a:cubicBezTo>
                    <a:pt x="2047" y="763"/>
                    <a:pt x="2062" y="771"/>
                    <a:pt x="2062" y="786"/>
                  </a:cubicBezTo>
                  <a:cubicBezTo>
                    <a:pt x="2070" y="786"/>
                    <a:pt x="2078" y="763"/>
                    <a:pt x="2093" y="756"/>
                  </a:cubicBezTo>
                  <a:cubicBezTo>
                    <a:pt x="2100" y="748"/>
                    <a:pt x="2116" y="740"/>
                    <a:pt x="2123" y="740"/>
                  </a:cubicBezTo>
                  <a:lnTo>
                    <a:pt x="2123" y="740"/>
                  </a:lnTo>
                  <a:cubicBezTo>
                    <a:pt x="2123" y="786"/>
                    <a:pt x="2093" y="817"/>
                    <a:pt x="2093" y="855"/>
                  </a:cubicBezTo>
                  <a:cubicBezTo>
                    <a:pt x="2093" y="916"/>
                    <a:pt x="2039" y="863"/>
                    <a:pt x="2024" y="840"/>
                  </a:cubicBezTo>
                  <a:cubicBezTo>
                    <a:pt x="2001" y="824"/>
                    <a:pt x="1994" y="832"/>
                    <a:pt x="1971" y="824"/>
                  </a:cubicBezTo>
                  <a:cubicBezTo>
                    <a:pt x="1948" y="809"/>
                    <a:pt x="1948" y="809"/>
                    <a:pt x="1948" y="809"/>
                  </a:cubicBezTo>
                  <a:cubicBezTo>
                    <a:pt x="1910" y="801"/>
                    <a:pt x="1978" y="870"/>
                    <a:pt x="1978" y="878"/>
                  </a:cubicBezTo>
                  <a:cubicBezTo>
                    <a:pt x="1986" y="893"/>
                    <a:pt x="1925" y="924"/>
                    <a:pt x="1910" y="886"/>
                  </a:cubicBezTo>
                  <a:cubicBezTo>
                    <a:pt x="1902" y="870"/>
                    <a:pt x="1902" y="870"/>
                    <a:pt x="1902" y="870"/>
                  </a:cubicBezTo>
                  <a:close/>
                  <a:moveTo>
                    <a:pt x="932" y="1168"/>
                  </a:moveTo>
                  <a:lnTo>
                    <a:pt x="932" y="1168"/>
                  </a:lnTo>
                  <a:cubicBezTo>
                    <a:pt x="1001" y="1168"/>
                    <a:pt x="970" y="1184"/>
                    <a:pt x="970" y="1229"/>
                  </a:cubicBezTo>
                  <a:cubicBezTo>
                    <a:pt x="970" y="1283"/>
                    <a:pt x="1008" y="1222"/>
                    <a:pt x="1016" y="1206"/>
                  </a:cubicBezTo>
                  <a:cubicBezTo>
                    <a:pt x="1016" y="1199"/>
                    <a:pt x="1023" y="1145"/>
                    <a:pt x="1031" y="1153"/>
                  </a:cubicBezTo>
                  <a:cubicBezTo>
                    <a:pt x="1031" y="1168"/>
                    <a:pt x="1046" y="1252"/>
                    <a:pt x="1054" y="1260"/>
                  </a:cubicBezTo>
                  <a:cubicBezTo>
                    <a:pt x="1077" y="1290"/>
                    <a:pt x="1031" y="1328"/>
                    <a:pt x="1062" y="1367"/>
                  </a:cubicBezTo>
                  <a:cubicBezTo>
                    <a:pt x="1085" y="1397"/>
                    <a:pt x="1092" y="1382"/>
                    <a:pt x="1123" y="1390"/>
                  </a:cubicBezTo>
                  <a:cubicBezTo>
                    <a:pt x="1123" y="1405"/>
                    <a:pt x="1108" y="1420"/>
                    <a:pt x="1108" y="1443"/>
                  </a:cubicBezTo>
                  <a:cubicBezTo>
                    <a:pt x="1115" y="1458"/>
                    <a:pt x="1123" y="1481"/>
                    <a:pt x="1100" y="1474"/>
                  </a:cubicBezTo>
                  <a:cubicBezTo>
                    <a:pt x="1054" y="1466"/>
                    <a:pt x="1031" y="1497"/>
                    <a:pt x="1039" y="1542"/>
                  </a:cubicBezTo>
                  <a:cubicBezTo>
                    <a:pt x="1039" y="1611"/>
                    <a:pt x="1161" y="1619"/>
                    <a:pt x="1161" y="1550"/>
                  </a:cubicBezTo>
                  <a:cubicBezTo>
                    <a:pt x="1161" y="1520"/>
                    <a:pt x="1184" y="1458"/>
                    <a:pt x="1161" y="1443"/>
                  </a:cubicBezTo>
                  <a:cubicBezTo>
                    <a:pt x="1161" y="1436"/>
                    <a:pt x="1146" y="1413"/>
                    <a:pt x="1153" y="1405"/>
                  </a:cubicBezTo>
                  <a:cubicBezTo>
                    <a:pt x="1169" y="1397"/>
                    <a:pt x="1184" y="1390"/>
                    <a:pt x="1192" y="1374"/>
                  </a:cubicBezTo>
                  <a:cubicBezTo>
                    <a:pt x="1214" y="1344"/>
                    <a:pt x="1207" y="1290"/>
                    <a:pt x="1230" y="1252"/>
                  </a:cubicBezTo>
                  <a:cubicBezTo>
                    <a:pt x="1245" y="1222"/>
                    <a:pt x="1268" y="1222"/>
                    <a:pt x="1245" y="1184"/>
                  </a:cubicBezTo>
                  <a:cubicBezTo>
                    <a:pt x="1222" y="1168"/>
                    <a:pt x="1230" y="1168"/>
                    <a:pt x="1230" y="1145"/>
                  </a:cubicBezTo>
                  <a:cubicBezTo>
                    <a:pt x="1230" y="1122"/>
                    <a:pt x="1253" y="1061"/>
                    <a:pt x="1237" y="1046"/>
                  </a:cubicBezTo>
                  <a:cubicBezTo>
                    <a:pt x="1230" y="1031"/>
                    <a:pt x="1192" y="1008"/>
                    <a:pt x="1222" y="992"/>
                  </a:cubicBezTo>
                  <a:cubicBezTo>
                    <a:pt x="1268" y="962"/>
                    <a:pt x="1268" y="977"/>
                    <a:pt x="1268" y="924"/>
                  </a:cubicBezTo>
                  <a:cubicBezTo>
                    <a:pt x="1268" y="870"/>
                    <a:pt x="1199" y="847"/>
                    <a:pt x="1253" y="824"/>
                  </a:cubicBezTo>
                  <a:cubicBezTo>
                    <a:pt x="1283" y="817"/>
                    <a:pt x="1275" y="786"/>
                    <a:pt x="1283" y="763"/>
                  </a:cubicBezTo>
                  <a:cubicBezTo>
                    <a:pt x="1283" y="740"/>
                    <a:pt x="1291" y="679"/>
                    <a:pt x="1268" y="695"/>
                  </a:cubicBezTo>
                  <a:cubicBezTo>
                    <a:pt x="1199" y="725"/>
                    <a:pt x="1237" y="717"/>
                    <a:pt x="1230" y="771"/>
                  </a:cubicBezTo>
                  <a:cubicBezTo>
                    <a:pt x="1199" y="771"/>
                    <a:pt x="1153" y="748"/>
                    <a:pt x="1123" y="748"/>
                  </a:cubicBezTo>
                  <a:cubicBezTo>
                    <a:pt x="1108" y="740"/>
                    <a:pt x="1062" y="801"/>
                    <a:pt x="1069" y="817"/>
                  </a:cubicBezTo>
                  <a:cubicBezTo>
                    <a:pt x="1069" y="855"/>
                    <a:pt x="1077" y="855"/>
                    <a:pt x="1054" y="893"/>
                  </a:cubicBezTo>
                  <a:cubicBezTo>
                    <a:pt x="1031" y="909"/>
                    <a:pt x="993" y="947"/>
                    <a:pt x="993" y="970"/>
                  </a:cubicBezTo>
                  <a:cubicBezTo>
                    <a:pt x="993" y="1008"/>
                    <a:pt x="1046" y="1061"/>
                    <a:pt x="1046" y="1084"/>
                  </a:cubicBezTo>
                  <a:cubicBezTo>
                    <a:pt x="1031" y="1084"/>
                    <a:pt x="947" y="992"/>
                    <a:pt x="939" y="985"/>
                  </a:cubicBezTo>
                  <a:cubicBezTo>
                    <a:pt x="939" y="970"/>
                    <a:pt x="939" y="931"/>
                    <a:pt x="924" y="931"/>
                  </a:cubicBezTo>
                  <a:cubicBezTo>
                    <a:pt x="909" y="931"/>
                    <a:pt x="878" y="977"/>
                    <a:pt x="871" y="992"/>
                  </a:cubicBezTo>
                  <a:cubicBezTo>
                    <a:pt x="863" y="1015"/>
                    <a:pt x="856" y="1061"/>
                    <a:pt x="856" y="1092"/>
                  </a:cubicBezTo>
                  <a:cubicBezTo>
                    <a:pt x="833" y="1099"/>
                    <a:pt x="825" y="1061"/>
                    <a:pt x="802" y="1084"/>
                  </a:cubicBezTo>
                  <a:cubicBezTo>
                    <a:pt x="787" y="1099"/>
                    <a:pt x="787" y="1107"/>
                    <a:pt x="787" y="1130"/>
                  </a:cubicBezTo>
                  <a:cubicBezTo>
                    <a:pt x="779" y="1153"/>
                    <a:pt x="771" y="1161"/>
                    <a:pt x="794" y="1176"/>
                  </a:cubicBezTo>
                  <a:cubicBezTo>
                    <a:pt x="817" y="1191"/>
                    <a:pt x="840" y="1161"/>
                    <a:pt x="856" y="1153"/>
                  </a:cubicBezTo>
                  <a:cubicBezTo>
                    <a:pt x="878" y="1145"/>
                    <a:pt x="901" y="1153"/>
                    <a:pt x="917" y="1161"/>
                  </a:cubicBezTo>
                  <a:cubicBezTo>
                    <a:pt x="932" y="1168"/>
                    <a:pt x="932" y="1168"/>
                    <a:pt x="932" y="1168"/>
                  </a:cubicBezTo>
                  <a:close/>
                  <a:moveTo>
                    <a:pt x="1436" y="2719"/>
                  </a:moveTo>
                  <a:lnTo>
                    <a:pt x="1436" y="2719"/>
                  </a:lnTo>
                  <a:cubicBezTo>
                    <a:pt x="1459" y="2681"/>
                    <a:pt x="1352" y="2627"/>
                    <a:pt x="1413" y="2574"/>
                  </a:cubicBezTo>
                  <a:cubicBezTo>
                    <a:pt x="1428" y="2566"/>
                    <a:pt x="1451" y="2566"/>
                    <a:pt x="1467" y="2558"/>
                  </a:cubicBezTo>
                  <a:cubicBezTo>
                    <a:pt x="1467" y="2551"/>
                    <a:pt x="1451" y="2528"/>
                    <a:pt x="1444" y="2520"/>
                  </a:cubicBezTo>
                  <a:cubicBezTo>
                    <a:pt x="1436" y="2512"/>
                    <a:pt x="1436" y="2489"/>
                    <a:pt x="1436" y="2482"/>
                  </a:cubicBezTo>
                  <a:cubicBezTo>
                    <a:pt x="1436" y="2444"/>
                    <a:pt x="1421" y="2413"/>
                    <a:pt x="1421" y="2367"/>
                  </a:cubicBezTo>
                  <a:cubicBezTo>
                    <a:pt x="1428" y="2360"/>
                    <a:pt x="1444" y="2337"/>
                    <a:pt x="1444" y="2329"/>
                  </a:cubicBezTo>
                  <a:cubicBezTo>
                    <a:pt x="1451" y="2314"/>
                    <a:pt x="1436" y="2306"/>
                    <a:pt x="1444" y="2291"/>
                  </a:cubicBezTo>
                  <a:cubicBezTo>
                    <a:pt x="1467" y="2260"/>
                    <a:pt x="1505" y="2268"/>
                    <a:pt x="1505" y="2222"/>
                  </a:cubicBezTo>
                  <a:cubicBezTo>
                    <a:pt x="1505" y="2199"/>
                    <a:pt x="1512" y="2176"/>
                    <a:pt x="1505" y="2153"/>
                  </a:cubicBezTo>
                  <a:cubicBezTo>
                    <a:pt x="1505" y="2131"/>
                    <a:pt x="1467" y="2123"/>
                    <a:pt x="1474" y="2100"/>
                  </a:cubicBezTo>
                  <a:cubicBezTo>
                    <a:pt x="1489" y="2062"/>
                    <a:pt x="1505" y="2054"/>
                    <a:pt x="1467" y="2024"/>
                  </a:cubicBezTo>
                  <a:cubicBezTo>
                    <a:pt x="1451" y="2008"/>
                    <a:pt x="1444" y="2008"/>
                    <a:pt x="1428" y="1985"/>
                  </a:cubicBezTo>
                  <a:cubicBezTo>
                    <a:pt x="1428" y="1970"/>
                    <a:pt x="1406" y="1955"/>
                    <a:pt x="1421" y="1940"/>
                  </a:cubicBezTo>
                  <a:cubicBezTo>
                    <a:pt x="1428" y="1924"/>
                    <a:pt x="1444" y="1917"/>
                    <a:pt x="1451" y="1901"/>
                  </a:cubicBezTo>
                  <a:cubicBezTo>
                    <a:pt x="1474" y="1863"/>
                    <a:pt x="1467" y="1917"/>
                    <a:pt x="1497" y="1932"/>
                  </a:cubicBezTo>
                  <a:cubicBezTo>
                    <a:pt x="1512" y="1932"/>
                    <a:pt x="1528" y="1909"/>
                    <a:pt x="1535" y="1901"/>
                  </a:cubicBezTo>
                  <a:cubicBezTo>
                    <a:pt x="1535" y="1863"/>
                    <a:pt x="1581" y="1871"/>
                    <a:pt x="1581" y="1856"/>
                  </a:cubicBezTo>
                  <a:cubicBezTo>
                    <a:pt x="1596" y="1817"/>
                    <a:pt x="1550" y="1833"/>
                    <a:pt x="1528" y="1810"/>
                  </a:cubicBezTo>
                  <a:cubicBezTo>
                    <a:pt x="1505" y="1787"/>
                    <a:pt x="1589" y="1733"/>
                    <a:pt x="1612" y="1733"/>
                  </a:cubicBezTo>
                  <a:cubicBezTo>
                    <a:pt x="1635" y="1733"/>
                    <a:pt x="1619" y="1695"/>
                    <a:pt x="1619" y="1680"/>
                  </a:cubicBezTo>
                  <a:cubicBezTo>
                    <a:pt x="1627" y="1649"/>
                    <a:pt x="1581" y="1672"/>
                    <a:pt x="1558" y="1665"/>
                  </a:cubicBezTo>
                  <a:cubicBezTo>
                    <a:pt x="1520" y="1649"/>
                    <a:pt x="1528" y="1642"/>
                    <a:pt x="1482" y="1642"/>
                  </a:cubicBezTo>
                  <a:cubicBezTo>
                    <a:pt x="1482" y="1626"/>
                    <a:pt x="1489" y="1596"/>
                    <a:pt x="1505" y="1588"/>
                  </a:cubicBezTo>
                  <a:cubicBezTo>
                    <a:pt x="1535" y="1581"/>
                    <a:pt x="1612" y="1611"/>
                    <a:pt x="1627" y="1565"/>
                  </a:cubicBezTo>
                  <a:cubicBezTo>
                    <a:pt x="1635" y="1542"/>
                    <a:pt x="1635" y="1489"/>
                    <a:pt x="1635" y="1466"/>
                  </a:cubicBezTo>
                  <a:cubicBezTo>
                    <a:pt x="1604" y="1466"/>
                    <a:pt x="1589" y="1474"/>
                    <a:pt x="1566" y="1497"/>
                  </a:cubicBezTo>
                  <a:cubicBezTo>
                    <a:pt x="1535" y="1535"/>
                    <a:pt x="1573" y="1458"/>
                    <a:pt x="1573" y="1451"/>
                  </a:cubicBezTo>
                  <a:cubicBezTo>
                    <a:pt x="1596" y="1420"/>
                    <a:pt x="1680" y="1298"/>
                    <a:pt x="1680" y="1275"/>
                  </a:cubicBezTo>
                  <a:cubicBezTo>
                    <a:pt x="1642" y="1275"/>
                    <a:pt x="1589" y="1351"/>
                    <a:pt x="1581" y="1382"/>
                  </a:cubicBezTo>
                  <a:cubicBezTo>
                    <a:pt x="1573" y="1413"/>
                    <a:pt x="1489" y="1512"/>
                    <a:pt x="1489" y="1420"/>
                  </a:cubicBezTo>
                  <a:cubicBezTo>
                    <a:pt x="1489" y="1367"/>
                    <a:pt x="1451" y="1390"/>
                    <a:pt x="1413" y="1374"/>
                  </a:cubicBezTo>
                  <a:cubicBezTo>
                    <a:pt x="1406" y="1374"/>
                    <a:pt x="1428" y="1336"/>
                    <a:pt x="1428" y="1328"/>
                  </a:cubicBezTo>
                  <a:cubicBezTo>
                    <a:pt x="1451" y="1306"/>
                    <a:pt x="1489" y="1245"/>
                    <a:pt x="1459" y="1222"/>
                  </a:cubicBezTo>
                  <a:cubicBezTo>
                    <a:pt x="1421" y="1199"/>
                    <a:pt x="1436" y="1184"/>
                    <a:pt x="1428" y="1153"/>
                  </a:cubicBezTo>
                  <a:cubicBezTo>
                    <a:pt x="1413" y="1092"/>
                    <a:pt x="1383" y="1145"/>
                    <a:pt x="1360" y="1168"/>
                  </a:cubicBezTo>
                  <a:cubicBezTo>
                    <a:pt x="1352" y="1184"/>
                    <a:pt x="1344" y="1168"/>
                    <a:pt x="1329" y="1168"/>
                  </a:cubicBezTo>
                  <a:cubicBezTo>
                    <a:pt x="1314" y="1168"/>
                    <a:pt x="1314" y="1199"/>
                    <a:pt x="1306" y="1206"/>
                  </a:cubicBezTo>
                  <a:cubicBezTo>
                    <a:pt x="1268" y="1252"/>
                    <a:pt x="1360" y="1260"/>
                    <a:pt x="1337" y="1283"/>
                  </a:cubicBezTo>
                  <a:cubicBezTo>
                    <a:pt x="1291" y="1321"/>
                    <a:pt x="1245" y="1275"/>
                    <a:pt x="1237" y="1367"/>
                  </a:cubicBezTo>
                  <a:cubicBezTo>
                    <a:pt x="1222" y="1420"/>
                    <a:pt x="1184" y="1489"/>
                    <a:pt x="1245" y="1527"/>
                  </a:cubicBezTo>
                  <a:cubicBezTo>
                    <a:pt x="1291" y="1558"/>
                    <a:pt x="1268" y="1542"/>
                    <a:pt x="1245" y="1565"/>
                  </a:cubicBezTo>
                  <a:cubicBezTo>
                    <a:pt x="1214" y="1596"/>
                    <a:pt x="1214" y="1642"/>
                    <a:pt x="1169" y="1672"/>
                  </a:cubicBezTo>
                  <a:cubicBezTo>
                    <a:pt x="1115" y="1703"/>
                    <a:pt x="1077" y="1634"/>
                    <a:pt x="1039" y="1634"/>
                  </a:cubicBezTo>
                  <a:cubicBezTo>
                    <a:pt x="1039" y="1649"/>
                    <a:pt x="1054" y="1695"/>
                    <a:pt x="1023" y="1703"/>
                  </a:cubicBezTo>
                  <a:cubicBezTo>
                    <a:pt x="1008" y="1703"/>
                    <a:pt x="985" y="1688"/>
                    <a:pt x="962" y="1688"/>
                  </a:cubicBezTo>
                  <a:cubicBezTo>
                    <a:pt x="947" y="1688"/>
                    <a:pt x="924" y="1733"/>
                    <a:pt x="901" y="1741"/>
                  </a:cubicBezTo>
                  <a:cubicBezTo>
                    <a:pt x="856" y="1779"/>
                    <a:pt x="833" y="1726"/>
                    <a:pt x="787" y="1718"/>
                  </a:cubicBezTo>
                  <a:cubicBezTo>
                    <a:pt x="764" y="1726"/>
                    <a:pt x="611" y="1733"/>
                    <a:pt x="672" y="1787"/>
                  </a:cubicBezTo>
                  <a:cubicBezTo>
                    <a:pt x="695" y="1810"/>
                    <a:pt x="687" y="1817"/>
                    <a:pt x="672" y="1848"/>
                  </a:cubicBezTo>
                  <a:cubicBezTo>
                    <a:pt x="664" y="1886"/>
                    <a:pt x="672" y="1947"/>
                    <a:pt x="710" y="1962"/>
                  </a:cubicBezTo>
                  <a:cubicBezTo>
                    <a:pt x="726" y="1970"/>
                    <a:pt x="749" y="1970"/>
                    <a:pt x="756" y="1985"/>
                  </a:cubicBezTo>
                  <a:cubicBezTo>
                    <a:pt x="794" y="2077"/>
                    <a:pt x="833" y="1962"/>
                    <a:pt x="856" y="2039"/>
                  </a:cubicBezTo>
                  <a:cubicBezTo>
                    <a:pt x="863" y="2070"/>
                    <a:pt x="886" y="2054"/>
                    <a:pt x="901" y="2031"/>
                  </a:cubicBezTo>
                  <a:cubicBezTo>
                    <a:pt x="917" y="2016"/>
                    <a:pt x="939" y="2001"/>
                    <a:pt x="955" y="1978"/>
                  </a:cubicBezTo>
                  <a:cubicBezTo>
                    <a:pt x="955" y="1978"/>
                    <a:pt x="955" y="1978"/>
                    <a:pt x="962" y="1978"/>
                  </a:cubicBezTo>
                  <a:cubicBezTo>
                    <a:pt x="962" y="2024"/>
                    <a:pt x="932" y="2031"/>
                    <a:pt x="901" y="2054"/>
                  </a:cubicBezTo>
                  <a:cubicBezTo>
                    <a:pt x="894" y="2070"/>
                    <a:pt x="886" y="2092"/>
                    <a:pt x="894" y="2100"/>
                  </a:cubicBezTo>
                  <a:cubicBezTo>
                    <a:pt x="901" y="2131"/>
                    <a:pt x="924" y="2115"/>
                    <a:pt x="947" y="2123"/>
                  </a:cubicBezTo>
                  <a:cubicBezTo>
                    <a:pt x="978" y="2153"/>
                    <a:pt x="955" y="2161"/>
                    <a:pt x="1001" y="2176"/>
                  </a:cubicBezTo>
                  <a:cubicBezTo>
                    <a:pt x="1008" y="2176"/>
                    <a:pt x="1046" y="2214"/>
                    <a:pt x="1046" y="2222"/>
                  </a:cubicBezTo>
                  <a:lnTo>
                    <a:pt x="1046" y="2222"/>
                  </a:lnTo>
                  <a:cubicBezTo>
                    <a:pt x="1046" y="2214"/>
                    <a:pt x="1039" y="2138"/>
                    <a:pt x="1062" y="2138"/>
                  </a:cubicBezTo>
                  <a:cubicBezTo>
                    <a:pt x="1077" y="2146"/>
                    <a:pt x="1108" y="2192"/>
                    <a:pt x="1115" y="2161"/>
                  </a:cubicBezTo>
                  <a:cubicBezTo>
                    <a:pt x="1123" y="2131"/>
                    <a:pt x="1115" y="2100"/>
                    <a:pt x="1138" y="2085"/>
                  </a:cubicBezTo>
                  <a:cubicBezTo>
                    <a:pt x="1153" y="2062"/>
                    <a:pt x="1169" y="2085"/>
                    <a:pt x="1192" y="2077"/>
                  </a:cubicBezTo>
                  <a:cubicBezTo>
                    <a:pt x="1222" y="2062"/>
                    <a:pt x="1253" y="2008"/>
                    <a:pt x="1275" y="1978"/>
                  </a:cubicBezTo>
                  <a:cubicBezTo>
                    <a:pt x="1298" y="1940"/>
                    <a:pt x="1291" y="1993"/>
                    <a:pt x="1291" y="2008"/>
                  </a:cubicBezTo>
                  <a:cubicBezTo>
                    <a:pt x="1291" y="2054"/>
                    <a:pt x="1306" y="2085"/>
                    <a:pt x="1306" y="2123"/>
                  </a:cubicBezTo>
                  <a:cubicBezTo>
                    <a:pt x="1306" y="2169"/>
                    <a:pt x="1291" y="2222"/>
                    <a:pt x="1298" y="2268"/>
                  </a:cubicBezTo>
                  <a:cubicBezTo>
                    <a:pt x="1298" y="2283"/>
                    <a:pt x="1283" y="2322"/>
                    <a:pt x="1283" y="2337"/>
                  </a:cubicBezTo>
                  <a:cubicBezTo>
                    <a:pt x="1329" y="2306"/>
                    <a:pt x="1329" y="2306"/>
                    <a:pt x="1329" y="2306"/>
                  </a:cubicBezTo>
                  <a:cubicBezTo>
                    <a:pt x="1344" y="2329"/>
                    <a:pt x="1314" y="2451"/>
                    <a:pt x="1298" y="2482"/>
                  </a:cubicBezTo>
                  <a:cubicBezTo>
                    <a:pt x="1275" y="2589"/>
                    <a:pt x="1275" y="2589"/>
                    <a:pt x="1275" y="2589"/>
                  </a:cubicBezTo>
                  <a:cubicBezTo>
                    <a:pt x="1260" y="2627"/>
                    <a:pt x="1237" y="2658"/>
                    <a:pt x="1230" y="2696"/>
                  </a:cubicBezTo>
                  <a:cubicBezTo>
                    <a:pt x="1222" y="2749"/>
                    <a:pt x="1245" y="2787"/>
                    <a:pt x="1245" y="2841"/>
                  </a:cubicBezTo>
                  <a:cubicBezTo>
                    <a:pt x="1245" y="2864"/>
                    <a:pt x="1214" y="2856"/>
                    <a:pt x="1199" y="2864"/>
                  </a:cubicBezTo>
                  <a:cubicBezTo>
                    <a:pt x="1176" y="2872"/>
                    <a:pt x="1207" y="2933"/>
                    <a:pt x="1169" y="2948"/>
                  </a:cubicBezTo>
                  <a:cubicBezTo>
                    <a:pt x="1153" y="2956"/>
                    <a:pt x="1138" y="2948"/>
                    <a:pt x="1153" y="2971"/>
                  </a:cubicBezTo>
                  <a:cubicBezTo>
                    <a:pt x="1169" y="2994"/>
                    <a:pt x="1169" y="3062"/>
                    <a:pt x="1199" y="3039"/>
                  </a:cubicBezTo>
                  <a:cubicBezTo>
                    <a:pt x="1253" y="2994"/>
                    <a:pt x="1268" y="3039"/>
                    <a:pt x="1291" y="3085"/>
                  </a:cubicBezTo>
                  <a:cubicBezTo>
                    <a:pt x="1291" y="3093"/>
                    <a:pt x="1306" y="3116"/>
                    <a:pt x="1321" y="3116"/>
                  </a:cubicBezTo>
                  <a:cubicBezTo>
                    <a:pt x="1321" y="3116"/>
                    <a:pt x="1314" y="3078"/>
                    <a:pt x="1314" y="3070"/>
                  </a:cubicBezTo>
                  <a:cubicBezTo>
                    <a:pt x="1314" y="3062"/>
                    <a:pt x="1329" y="3039"/>
                    <a:pt x="1337" y="3024"/>
                  </a:cubicBezTo>
                  <a:cubicBezTo>
                    <a:pt x="1344" y="2986"/>
                    <a:pt x="1321" y="2940"/>
                    <a:pt x="1329" y="2910"/>
                  </a:cubicBezTo>
                  <a:cubicBezTo>
                    <a:pt x="1352" y="2841"/>
                    <a:pt x="1344" y="2818"/>
                    <a:pt x="1344" y="2757"/>
                  </a:cubicBezTo>
                  <a:cubicBezTo>
                    <a:pt x="1344" y="2688"/>
                    <a:pt x="1398" y="2742"/>
                    <a:pt x="1428" y="2734"/>
                  </a:cubicBezTo>
                  <a:cubicBezTo>
                    <a:pt x="1436" y="2719"/>
                    <a:pt x="1436" y="2719"/>
                    <a:pt x="1436" y="2719"/>
                  </a:cubicBezTo>
                  <a:close/>
                  <a:moveTo>
                    <a:pt x="1581" y="2245"/>
                  </a:moveTo>
                  <a:lnTo>
                    <a:pt x="1581" y="2245"/>
                  </a:lnTo>
                  <a:cubicBezTo>
                    <a:pt x="1596" y="2222"/>
                    <a:pt x="1550" y="2176"/>
                    <a:pt x="1550" y="2146"/>
                  </a:cubicBezTo>
                  <a:cubicBezTo>
                    <a:pt x="1550" y="2138"/>
                    <a:pt x="1550" y="2108"/>
                    <a:pt x="1566" y="2115"/>
                  </a:cubicBezTo>
                  <a:cubicBezTo>
                    <a:pt x="1581" y="2131"/>
                    <a:pt x="1596" y="2146"/>
                    <a:pt x="1612" y="2146"/>
                  </a:cubicBezTo>
                  <a:cubicBezTo>
                    <a:pt x="1627" y="2146"/>
                    <a:pt x="1665" y="2100"/>
                    <a:pt x="1658" y="2146"/>
                  </a:cubicBezTo>
                  <a:cubicBezTo>
                    <a:pt x="1658" y="2184"/>
                    <a:pt x="1650" y="2184"/>
                    <a:pt x="1688" y="2192"/>
                  </a:cubicBezTo>
                  <a:cubicBezTo>
                    <a:pt x="1703" y="2199"/>
                    <a:pt x="1703" y="2214"/>
                    <a:pt x="1726" y="2214"/>
                  </a:cubicBezTo>
                  <a:cubicBezTo>
                    <a:pt x="1749" y="2214"/>
                    <a:pt x="1749" y="2214"/>
                    <a:pt x="1749" y="2237"/>
                  </a:cubicBezTo>
                  <a:cubicBezTo>
                    <a:pt x="1749" y="2253"/>
                    <a:pt x="1749" y="2283"/>
                    <a:pt x="1726" y="2268"/>
                  </a:cubicBezTo>
                  <a:cubicBezTo>
                    <a:pt x="1703" y="2245"/>
                    <a:pt x="1696" y="2199"/>
                    <a:pt x="1673" y="2245"/>
                  </a:cubicBezTo>
                  <a:cubicBezTo>
                    <a:pt x="1665" y="2268"/>
                    <a:pt x="1650" y="2283"/>
                    <a:pt x="1658" y="2306"/>
                  </a:cubicBezTo>
                  <a:cubicBezTo>
                    <a:pt x="1658" y="2337"/>
                    <a:pt x="1642" y="2390"/>
                    <a:pt x="1612" y="2345"/>
                  </a:cubicBezTo>
                  <a:cubicBezTo>
                    <a:pt x="1604" y="2329"/>
                    <a:pt x="1604" y="2314"/>
                    <a:pt x="1589" y="2306"/>
                  </a:cubicBezTo>
                  <a:cubicBezTo>
                    <a:pt x="1573" y="2299"/>
                    <a:pt x="1558" y="2283"/>
                    <a:pt x="1573" y="2260"/>
                  </a:cubicBezTo>
                  <a:cubicBezTo>
                    <a:pt x="1581" y="2245"/>
                    <a:pt x="1581" y="2245"/>
                    <a:pt x="1581" y="2245"/>
                  </a:cubicBezTo>
                  <a:close/>
                  <a:moveTo>
                    <a:pt x="1787" y="1649"/>
                  </a:moveTo>
                  <a:lnTo>
                    <a:pt x="1787" y="1649"/>
                  </a:lnTo>
                  <a:cubicBezTo>
                    <a:pt x="1772" y="1665"/>
                    <a:pt x="1742" y="1657"/>
                    <a:pt x="1726" y="1642"/>
                  </a:cubicBezTo>
                  <a:cubicBezTo>
                    <a:pt x="1711" y="1619"/>
                    <a:pt x="1742" y="1611"/>
                    <a:pt x="1742" y="1596"/>
                  </a:cubicBezTo>
                  <a:cubicBezTo>
                    <a:pt x="1749" y="1581"/>
                    <a:pt x="1757" y="1558"/>
                    <a:pt x="1764" y="1542"/>
                  </a:cubicBezTo>
                  <a:cubicBezTo>
                    <a:pt x="1780" y="1535"/>
                    <a:pt x="1787" y="1535"/>
                    <a:pt x="1803" y="1520"/>
                  </a:cubicBezTo>
                  <a:cubicBezTo>
                    <a:pt x="1810" y="1512"/>
                    <a:pt x="1818" y="1497"/>
                    <a:pt x="1825" y="1489"/>
                  </a:cubicBezTo>
                  <a:cubicBezTo>
                    <a:pt x="1833" y="1481"/>
                    <a:pt x="1841" y="1489"/>
                    <a:pt x="1848" y="1489"/>
                  </a:cubicBezTo>
                  <a:cubicBezTo>
                    <a:pt x="1864" y="1489"/>
                    <a:pt x="1871" y="1481"/>
                    <a:pt x="1879" y="1481"/>
                  </a:cubicBezTo>
                  <a:cubicBezTo>
                    <a:pt x="1910" y="1474"/>
                    <a:pt x="1917" y="1474"/>
                    <a:pt x="1894" y="1497"/>
                  </a:cubicBezTo>
                  <a:cubicBezTo>
                    <a:pt x="1879" y="1520"/>
                    <a:pt x="1856" y="1542"/>
                    <a:pt x="1841" y="1565"/>
                  </a:cubicBezTo>
                  <a:cubicBezTo>
                    <a:pt x="1825" y="1588"/>
                    <a:pt x="1810" y="1611"/>
                    <a:pt x="1795" y="1634"/>
                  </a:cubicBezTo>
                  <a:lnTo>
                    <a:pt x="1787" y="1649"/>
                  </a:lnTo>
                  <a:close/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  <p:sp>
          <p:nvSpPr>
            <p:cNvPr id="276" name="Freeform 198"/>
            <p:cNvSpPr>
              <a:spLocks noChangeArrowheads="1"/>
            </p:cNvSpPr>
            <p:nvPr/>
          </p:nvSpPr>
          <p:spPr bwMode="auto">
            <a:xfrm>
              <a:off x="5851144" y="2886076"/>
              <a:ext cx="631784" cy="701675"/>
            </a:xfrm>
            <a:custGeom>
              <a:avLst/>
              <a:gdLst>
                <a:gd name="T0" fmla="*/ 69 w 1757"/>
                <a:gd name="T1" fmla="*/ 1947 h 1948"/>
                <a:gd name="T2" fmla="*/ 199 w 1757"/>
                <a:gd name="T3" fmla="*/ 1932 h 1948"/>
                <a:gd name="T4" fmla="*/ 367 w 1757"/>
                <a:gd name="T5" fmla="*/ 1909 h 1948"/>
                <a:gd name="T6" fmla="*/ 580 w 1757"/>
                <a:gd name="T7" fmla="*/ 1856 h 1948"/>
                <a:gd name="T8" fmla="*/ 718 w 1757"/>
                <a:gd name="T9" fmla="*/ 1810 h 1948"/>
                <a:gd name="T10" fmla="*/ 688 w 1757"/>
                <a:gd name="T11" fmla="*/ 1626 h 1948"/>
                <a:gd name="T12" fmla="*/ 900 w 1757"/>
                <a:gd name="T13" fmla="*/ 1390 h 1948"/>
                <a:gd name="T14" fmla="*/ 1191 w 1757"/>
                <a:gd name="T15" fmla="*/ 1374 h 1948"/>
                <a:gd name="T16" fmla="*/ 1267 w 1757"/>
                <a:gd name="T17" fmla="*/ 1206 h 1948"/>
                <a:gd name="T18" fmla="*/ 1298 w 1757"/>
                <a:gd name="T19" fmla="*/ 1038 h 1948"/>
                <a:gd name="T20" fmla="*/ 1290 w 1757"/>
                <a:gd name="T21" fmla="*/ 855 h 1948"/>
                <a:gd name="T22" fmla="*/ 1259 w 1757"/>
                <a:gd name="T23" fmla="*/ 710 h 1948"/>
                <a:gd name="T24" fmla="*/ 1404 w 1757"/>
                <a:gd name="T25" fmla="*/ 603 h 1948"/>
                <a:gd name="T26" fmla="*/ 1542 w 1757"/>
                <a:gd name="T27" fmla="*/ 656 h 1948"/>
                <a:gd name="T28" fmla="*/ 1656 w 1757"/>
                <a:gd name="T29" fmla="*/ 672 h 1948"/>
                <a:gd name="T30" fmla="*/ 1756 w 1757"/>
                <a:gd name="T31" fmla="*/ 588 h 1948"/>
                <a:gd name="T32" fmla="*/ 1664 w 1757"/>
                <a:gd name="T33" fmla="*/ 573 h 1948"/>
                <a:gd name="T34" fmla="*/ 1603 w 1757"/>
                <a:gd name="T35" fmla="*/ 442 h 1948"/>
                <a:gd name="T36" fmla="*/ 1550 w 1757"/>
                <a:gd name="T37" fmla="*/ 221 h 1948"/>
                <a:gd name="T38" fmla="*/ 1534 w 1757"/>
                <a:gd name="T39" fmla="*/ 137 h 1948"/>
                <a:gd name="T40" fmla="*/ 1175 w 1757"/>
                <a:gd name="T41" fmla="*/ 183 h 1948"/>
                <a:gd name="T42" fmla="*/ 611 w 1757"/>
                <a:gd name="T43" fmla="*/ 23 h 1948"/>
                <a:gd name="T44" fmla="*/ 290 w 1757"/>
                <a:gd name="T45" fmla="*/ 213 h 1948"/>
                <a:gd name="T46" fmla="*/ 145 w 1757"/>
                <a:gd name="T47" fmla="*/ 213 h 1948"/>
                <a:gd name="T48" fmla="*/ 0 w 1757"/>
                <a:gd name="T49" fmla="*/ 252 h 1948"/>
                <a:gd name="T50" fmla="*/ 46 w 1757"/>
                <a:gd name="T51" fmla="*/ 427 h 1948"/>
                <a:gd name="T52" fmla="*/ 92 w 1757"/>
                <a:gd name="T53" fmla="*/ 595 h 1948"/>
                <a:gd name="T54" fmla="*/ 130 w 1757"/>
                <a:gd name="T55" fmla="*/ 809 h 1948"/>
                <a:gd name="T56" fmla="*/ 221 w 1757"/>
                <a:gd name="T57" fmla="*/ 909 h 1948"/>
                <a:gd name="T58" fmla="*/ 382 w 1757"/>
                <a:gd name="T59" fmla="*/ 848 h 1948"/>
                <a:gd name="T60" fmla="*/ 489 w 1757"/>
                <a:gd name="T61" fmla="*/ 893 h 1948"/>
                <a:gd name="T62" fmla="*/ 611 w 1757"/>
                <a:gd name="T63" fmla="*/ 1046 h 1948"/>
                <a:gd name="T64" fmla="*/ 451 w 1757"/>
                <a:gd name="T65" fmla="*/ 1283 h 1948"/>
                <a:gd name="T66" fmla="*/ 504 w 1757"/>
                <a:gd name="T67" fmla="*/ 1459 h 1948"/>
                <a:gd name="T68" fmla="*/ 535 w 1757"/>
                <a:gd name="T69" fmla="*/ 1573 h 1948"/>
                <a:gd name="T70" fmla="*/ 390 w 1757"/>
                <a:gd name="T71" fmla="*/ 1672 h 1948"/>
                <a:gd name="T72" fmla="*/ 275 w 1757"/>
                <a:gd name="T73" fmla="*/ 1810 h 1948"/>
                <a:gd name="T74" fmla="*/ 69 w 1757"/>
                <a:gd name="T75" fmla="*/ 1947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57" h="1948">
                  <a:moveTo>
                    <a:pt x="69" y="1947"/>
                  </a:moveTo>
                  <a:lnTo>
                    <a:pt x="69" y="1947"/>
                  </a:lnTo>
                  <a:cubicBezTo>
                    <a:pt x="107" y="1940"/>
                    <a:pt x="138" y="1917"/>
                    <a:pt x="176" y="1917"/>
                  </a:cubicBezTo>
                  <a:cubicBezTo>
                    <a:pt x="183" y="1917"/>
                    <a:pt x="191" y="1932"/>
                    <a:pt x="199" y="1932"/>
                  </a:cubicBezTo>
                  <a:cubicBezTo>
                    <a:pt x="252" y="1924"/>
                    <a:pt x="290" y="1894"/>
                    <a:pt x="336" y="1886"/>
                  </a:cubicBezTo>
                  <a:cubicBezTo>
                    <a:pt x="351" y="1886"/>
                    <a:pt x="351" y="1909"/>
                    <a:pt x="367" y="1909"/>
                  </a:cubicBezTo>
                  <a:cubicBezTo>
                    <a:pt x="405" y="1917"/>
                    <a:pt x="443" y="1909"/>
                    <a:pt x="481" y="1901"/>
                  </a:cubicBezTo>
                  <a:cubicBezTo>
                    <a:pt x="512" y="1894"/>
                    <a:pt x="542" y="1863"/>
                    <a:pt x="580" y="1856"/>
                  </a:cubicBezTo>
                  <a:cubicBezTo>
                    <a:pt x="603" y="1848"/>
                    <a:pt x="634" y="1863"/>
                    <a:pt x="657" y="1856"/>
                  </a:cubicBezTo>
                  <a:cubicBezTo>
                    <a:pt x="680" y="1848"/>
                    <a:pt x="710" y="1833"/>
                    <a:pt x="718" y="1810"/>
                  </a:cubicBezTo>
                  <a:cubicBezTo>
                    <a:pt x="733" y="1772"/>
                    <a:pt x="703" y="1734"/>
                    <a:pt x="695" y="1695"/>
                  </a:cubicBezTo>
                  <a:cubicBezTo>
                    <a:pt x="695" y="1672"/>
                    <a:pt x="672" y="1642"/>
                    <a:pt x="688" y="1626"/>
                  </a:cubicBezTo>
                  <a:cubicBezTo>
                    <a:pt x="733" y="1596"/>
                    <a:pt x="802" y="1611"/>
                    <a:pt x="839" y="1565"/>
                  </a:cubicBezTo>
                  <a:cubicBezTo>
                    <a:pt x="885" y="1520"/>
                    <a:pt x="854" y="1436"/>
                    <a:pt x="900" y="1390"/>
                  </a:cubicBezTo>
                  <a:cubicBezTo>
                    <a:pt x="946" y="1344"/>
                    <a:pt x="1023" y="1336"/>
                    <a:pt x="1084" y="1336"/>
                  </a:cubicBezTo>
                  <a:cubicBezTo>
                    <a:pt x="1122" y="1329"/>
                    <a:pt x="1160" y="1382"/>
                    <a:pt x="1191" y="1374"/>
                  </a:cubicBezTo>
                  <a:cubicBezTo>
                    <a:pt x="1229" y="1367"/>
                    <a:pt x="1244" y="1321"/>
                    <a:pt x="1267" y="1290"/>
                  </a:cubicBezTo>
                  <a:cubicBezTo>
                    <a:pt x="1267" y="1290"/>
                    <a:pt x="1267" y="1222"/>
                    <a:pt x="1267" y="1206"/>
                  </a:cubicBezTo>
                  <a:cubicBezTo>
                    <a:pt x="1267" y="1191"/>
                    <a:pt x="1267" y="1092"/>
                    <a:pt x="1267" y="1092"/>
                  </a:cubicBezTo>
                  <a:cubicBezTo>
                    <a:pt x="1275" y="1069"/>
                    <a:pt x="1305" y="1054"/>
                    <a:pt x="1298" y="1038"/>
                  </a:cubicBezTo>
                  <a:cubicBezTo>
                    <a:pt x="1275" y="1000"/>
                    <a:pt x="1191" y="1000"/>
                    <a:pt x="1191" y="954"/>
                  </a:cubicBezTo>
                  <a:cubicBezTo>
                    <a:pt x="1183" y="909"/>
                    <a:pt x="1282" y="901"/>
                    <a:pt x="1290" y="855"/>
                  </a:cubicBezTo>
                  <a:cubicBezTo>
                    <a:pt x="1290" y="825"/>
                    <a:pt x="1206" y="848"/>
                    <a:pt x="1198" y="817"/>
                  </a:cubicBezTo>
                  <a:cubicBezTo>
                    <a:pt x="1191" y="779"/>
                    <a:pt x="1229" y="740"/>
                    <a:pt x="1259" y="710"/>
                  </a:cubicBezTo>
                  <a:cubicBezTo>
                    <a:pt x="1282" y="695"/>
                    <a:pt x="1320" y="717"/>
                    <a:pt x="1343" y="702"/>
                  </a:cubicBezTo>
                  <a:cubicBezTo>
                    <a:pt x="1374" y="679"/>
                    <a:pt x="1374" y="626"/>
                    <a:pt x="1404" y="603"/>
                  </a:cubicBezTo>
                  <a:cubicBezTo>
                    <a:pt x="1427" y="588"/>
                    <a:pt x="1458" y="573"/>
                    <a:pt x="1481" y="580"/>
                  </a:cubicBezTo>
                  <a:cubicBezTo>
                    <a:pt x="1511" y="595"/>
                    <a:pt x="1511" y="641"/>
                    <a:pt x="1542" y="656"/>
                  </a:cubicBezTo>
                  <a:cubicBezTo>
                    <a:pt x="1557" y="664"/>
                    <a:pt x="1557" y="626"/>
                    <a:pt x="1565" y="626"/>
                  </a:cubicBezTo>
                  <a:cubicBezTo>
                    <a:pt x="1603" y="626"/>
                    <a:pt x="1626" y="672"/>
                    <a:pt x="1656" y="672"/>
                  </a:cubicBezTo>
                  <a:cubicBezTo>
                    <a:pt x="1687" y="672"/>
                    <a:pt x="1702" y="634"/>
                    <a:pt x="1725" y="618"/>
                  </a:cubicBezTo>
                  <a:cubicBezTo>
                    <a:pt x="1733" y="611"/>
                    <a:pt x="1756" y="603"/>
                    <a:pt x="1756" y="588"/>
                  </a:cubicBezTo>
                  <a:cubicBezTo>
                    <a:pt x="1756" y="573"/>
                    <a:pt x="1733" y="565"/>
                    <a:pt x="1717" y="565"/>
                  </a:cubicBezTo>
                  <a:cubicBezTo>
                    <a:pt x="1702" y="557"/>
                    <a:pt x="1679" y="580"/>
                    <a:pt x="1664" y="573"/>
                  </a:cubicBezTo>
                  <a:cubicBezTo>
                    <a:pt x="1641" y="565"/>
                    <a:pt x="1611" y="557"/>
                    <a:pt x="1595" y="534"/>
                  </a:cubicBezTo>
                  <a:cubicBezTo>
                    <a:pt x="1580" y="504"/>
                    <a:pt x="1618" y="473"/>
                    <a:pt x="1603" y="442"/>
                  </a:cubicBezTo>
                  <a:cubicBezTo>
                    <a:pt x="1580" y="404"/>
                    <a:pt x="1519" y="404"/>
                    <a:pt x="1511" y="366"/>
                  </a:cubicBezTo>
                  <a:cubicBezTo>
                    <a:pt x="1496" y="313"/>
                    <a:pt x="1542" y="267"/>
                    <a:pt x="1550" y="221"/>
                  </a:cubicBezTo>
                  <a:cubicBezTo>
                    <a:pt x="1550" y="175"/>
                    <a:pt x="1542" y="183"/>
                    <a:pt x="1534" y="137"/>
                  </a:cubicBezTo>
                  <a:lnTo>
                    <a:pt x="1534" y="137"/>
                  </a:lnTo>
                  <a:cubicBezTo>
                    <a:pt x="1481" y="122"/>
                    <a:pt x="1420" y="91"/>
                    <a:pt x="1374" y="91"/>
                  </a:cubicBezTo>
                  <a:cubicBezTo>
                    <a:pt x="1290" y="122"/>
                    <a:pt x="1252" y="122"/>
                    <a:pt x="1175" y="183"/>
                  </a:cubicBezTo>
                  <a:cubicBezTo>
                    <a:pt x="1114" y="229"/>
                    <a:pt x="1015" y="175"/>
                    <a:pt x="954" y="152"/>
                  </a:cubicBezTo>
                  <a:cubicBezTo>
                    <a:pt x="877" y="129"/>
                    <a:pt x="672" y="0"/>
                    <a:pt x="611" y="23"/>
                  </a:cubicBezTo>
                  <a:cubicBezTo>
                    <a:pt x="535" y="61"/>
                    <a:pt x="443" y="91"/>
                    <a:pt x="367" y="91"/>
                  </a:cubicBezTo>
                  <a:cubicBezTo>
                    <a:pt x="382" y="145"/>
                    <a:pt x="367" y="213"/>
                    <a:pt x="290" y="213"/>
                  </a:cubicBezTo>
                  <a:cubicBezTo>
                    <a:pt x="206" y="213"/>
                    <a:pt x="183" y="183"/>
                    <a:pt x="183" y="275"/>
                  </a:cubicBezTo>
                  <a:cubicBezTo>
                    <a:pt x="168" y="275"/>
                    <a:pt x="168" y="213"/>
                    <a:pt x="145" y="213"/>
                  </a:cubicBezTo>
                  <a:cubicBezTo>
                    <a:pt x="99" y="213"/>
                    <a:pt x="61" y="221"/>
                    <a:pt x="15" y="244"/>
                  </a:cubicBezTo>
                  <a:cubicBezTo>
                    <a:pt x="15" y="244"/>
                    <a:pt x="8" y="252"/>
                    <a:pt x="0" y="252"/>
                  </a:cubicBezTo>
                  <a:lnTo>
                    <a:pt x="0" y="252"/>
                  </a:lnTo>
                  <a:cubicBezTo>
                    <a:pt x="15" y="313"/>
                    <a:pt x="23" y="374"/>
                    <a:pt x="46" y="427"/>
                  </a:cubicBezTo>
                  <a:cubicBezTo>
                    <a:pt x="53" y="450"/>
                    <a:pt x="92" y="465"/>
                    <a:pt x="99" y="496"/>
                  </a:cubicBezTo>
                  <a:cubicBezTo>
                    <a:pt x="107" y="527"/>
                    <a:pt x="92" y="565"/>
                    <a:pt x="92" y="595"/>
                  </a:cubicBezTo>
                  <a:cubicBezTo>
                    <a:pt x="92" y="611"/>
                    <a:pt x="115" y="618"/>
                    <a:pt x="115" y="634"/>
                  </a:cubicBezTo>
                  <a:cubicBezTo>
                    <a:pt x="130" y="687"/>
                    <a:pt x="130" y="748"/>
                    <a:pt x="130" y="809"/>
                  </a:cubicBezTo>
                  <a:cubicBezTo>
                    <a:pt x="130" y="832"/>
                    <a:pt x="107" y="863"/>
                    <a:pt x="130" y="886"/>
                  </a:cubicBezTo>
                  <a:cubicBezTo>
                    <a:pt x="145" y="909"/>
                    <a:pt x="191" y="916"/>
                    <a:pt x="221" y="909"/>
                  </a:cubicBezTo>
                  <a:cubicBezTo>
                    <a:pt x="244" y="909"/>
                    <a:pt x="237" y="863"/>
                    <a:pt x="260" y="855"/>
                  </a:cubicBezTo>
                  <a:cubicBezTo>
                    <a:pt x="298" y="840"/>
                    <a:pt x="344" y="855"/>
                    <a:pt x="382" y="848"/>
                  </a:cubicBezTo>
                  <a:cubicBezTo>
                    <a:pt x="405" y="840"/>
                    <a:pt x="413" y="809"/>
                    <a:pt x="435" y="817"/>
                  </a:cubicBezTo>
                  <a:cubicBezTo>
                    <a:pt x="458" y="825"/>
                    <a:pt x="466" y="870"/>
                    <a:pt x="489" y="893"/>
                  </a:cubicBezTo>
                  <a:cubicBezTo>
                    <a:pt x="512" y="909"/>
                    <a:pt x="550" y="901"/>
                    <a:pt x="565" y="924"/>
                  </a:cubicBezTo>
                  <a:cubicBezTo>
                    <a:pt x="596" y="962"/>
                    <a:pt x="619" y="1000"/>
                    <a:pt x="611" y="1046"/>
                  </a:cubicBezTo>
                  <a:cubicBezTo>
                    <a:pt x="603" y="1100"/>
                    <a:pt x="550" y="1138"/>
                    <a:pt x="519" y="1184"/>
                  </a:cubicBezTo>
                  <a:cubicBezTo>
                    <a:pt x="496" y="1222"/>
                    <a:pt x="451" y="1245"/>
                    <a:pt x="451" y="1283"/>
                  </a:cubicBezTo>
                  <a:cubicBezTo>
                    <a:pt x="451" y="1313"/>
                    <a:pt x="512" y="1298"/>
                    <a:pt x="519" y="1321"/>
                  </a:cubicBezTo>
                  <a:cubicBezTo>
                    <a:pt x="535" y="1367"/>
                    <a:pt x="496" y="1420"/>
                    <a:pt x="504" y="1459"/>
                  </a:cubicBezTo>
                  <a:cubicBezTo>
                    <a:pt x="512" y="1481"/>
                    <a:pt x="550" y="1466"/>
                    <a:pt x="550" y="1481"/>
                  </a:cubicBezTo>
                  <a:cubicBezTo>
                    <a:pt x="557" y="1512"/>
                    <a:pt x="542" y="1542"/>
                    <a:pt x="535" y="1573"/>
                  </a:cubicBezTo>
                  <a:cubicBezTo>
                    <a:pt x="527" y="1596"/>
                    <a:pt x="535" y="1634"/>
                    <a:pt x="512" y="1649"/>
                  </a:cubicBezTo>
                  <a:cubicBezTo>
                    <a:pt x="481" y="1672"/>
                    <a:pt x="428" y="1642"/>
                    <a:pt x="390" y="1672"/>
                  </a:cubicBezTo>
                  <a:cubicBezTo>
                    <a:pt x="367" y="1688"/>
                    <a:pt x="382" y="1726"/>
                    <a:pt x="367" y="1749"/>
                  </a:cubicBezTo>
                  <a:cubicBezTo>
                    <a:pt x="336" y="1779"/>
                    <a:pt x="305" y="1802"/>
                    <a:pt x="275" y="1810"/>
                  </a:cubicBezTo>
                  <a:cubicBezTo>
                    <a:pt x="244" y="1825"/>
                    <a:pt x="214" y="1802"/>
                    <a:pt x="191" y="1817"/>
                  </a:cubicBezTo>
                  <a:cubicBezTo>
                    <a:pt x="145" y="1848"/>
                    <a:pt x="107" y="1901"/>
                    <a:pt x="69" y="1947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</a:endParaRPr>
            </a:p>
          </p:txBody>
        </p:sp>
      </p:grpSp>
      <p:grpSp>
        <p:nvGrpSpPr>
          <p:cNvPr id="277" name="Group 276"/>
          <p:cNvGrpSpPr/>
          <p:nvPr/>
        </p:nvGrpSpPr>
        <p:grpSpPr>
          <a:xfrm>
            <a:off x="12453398" y="3488845"/>
            <a:ext cx="1176690" cy="2936522"/>
            <a:chOff x="2774052" y="6143913"/>
            <a:chExt cx="401841" cy="1002827"/>
          </a:xfrm>
        </p:grpSpPr>
        <p:sp>
          <p:nvSpPr>
            <p:cNvPr id="278" name="Freeform 355"/>
            <p:cNvSpPr>
              <a:spLocks noChangeArrowheads="1"/>
            </p:cNvSpPr>
            <p:nvPr/>
          </p:nvSpPr>
          <p:spPr bwMode="auto">
            <a:xfrm>
              <a:off x="2774052" y="6313509"/>
              <a:ext cx="401841" cy="833231"/>
            </a:xfrm>
            <a:custGeom>
              <a:avLst/>
              <a:gdLst>
                <a:gd name="T0" fmla="*/ 249 w 483"/>
                <a:gd name="T1" fmla="*/ 0 h 1002"/>
                <a:gd name="T2" fmla="*/ 249 w 483"/>
                <a:gd name="T3" fmla="*/ 0 h 1002"/>
                <a:gd name="T4" fmla="*/ 113 w 483"/>
                <a:gd name="T5" fmla="*/ 0 h 1002"/>
                <a:gd name="T6" fmla="*/ 0 w 483"/>
                <a:gd name="T7" fmla="*/ 113 h 1002"/>
                <a:gd name="T8" fmla="*/ 0 w 483"/>
                <a:gd name="T9" fmla="*/ 437 h 1002"/>
                <a:gd name="T10" fmla="*/ 45 w 483"/>
                <a:gd name="T11" fmla="*/ 482 h 1002"/>
                <a:gd name="T12" fmla="*/ 91 w 483"/>
                <a:gd name="T13" fmla="*/ 437 h 1002"/>
                <a:gd name="T14" fmla="*/ 91 w 483"/>
                <a:gd name="T15" fmla="*/ 151 h 1002"/>
                <a:gd name="T16" fmla="*/ 99 w 483"/>
                <a:gd name="T17" fmla="*/ 151 h 1002"/>
                <a:gd name="T18" fmla="*/ 107 w 483"/>
                <a:gd name="T19" fmla="*/ 151 h 1002"/>
                <a:gd name="T20" fmla="*/ 113 w 483"/>
                <a:gd name="T21" fmla="*/ 151 h 1002"/>
                <a:gd name="T22" fmla="*/ 113 w 483"/>
                <a:gd name="T23" fmla="*/ 949 h 1002"/>
                <a:gd name="T24" fmla="*/ 173 w 483"/>
                <a:gd name="T25" fmla="*/ 1001 h 1002"/>
                <a:gd name="T26" fmla="*/ 234 w 483"/>
                <a:gd name="T27" fmla="*/ 949 h 1002"/>
                <a:gd name="T28" fmla="*/ 234 w 483"/>
                <a:gd name="T29" fmla="*/ 482 h 1002"/>
                <a:gd name="T30" fmla="*/ 234 w 483"/>
                <a:gd name="T31" fmla="*/ 474 h 1002"/>
                <a:gd name="T32" fmla="*/ 249 w 483"/>
                <a:gd name="T33" fmla="*/ 474 h 1002"/>
                <a:gd name="T34" fmla="*/ 249 w 483"/>
                <a:gd name="T35" fmla="*/ 482 h 1002"/>
                <a:gd name="T36" fmla="*/ 249 w 483"/>
                <a:gd name="T37" fmla="*/ 949 h 1002"/>
                <a:gd name="T38" fmla="*/ 309 w 483"/>
                <a:gd name="T39" fmla="*/ 1001 h 1002"/>
                <a:gd name="T40" fmla="*/ 369 w 483"/>
                <a:gd name="T41" fmla="*/ 949 h 1002"/>
                <a:gd name="T42" fmla="*/ 369 w 483"/>
                <a:gd name="T43" fmla="*/ 151 h 1002"/>
                <a:gd name="T44" fmla="*/ 377 w 483"/>
                <a:gd name="T45" fmla="*/ 151 h 1002"/>
                <a:gd name="T46" fmla="*/ 385 w 483"/>
                <a:gd name="T47" fmla="*/ 151 h 1002"/>
                <a:gd name="T48" fmla="*/ 392 w 483"/>
                <a:gd name="T49" fmla="*/ 151 h 1002"/>
                <a:gd name="T50" fmla="*/ 392 w 483"/>
                <a:gd name="T51" fmla="*/ 437 h 1002"/>
                <a:gd name="T52" fmla="*/ 437 w 483"/>
                <a:gd name="T53" fmla="*/ 482 h 1002"/>
                <a:gd name="T54" fmla="*/ 482 w 483"/>
                <a:gd name="T55" fmla="*/ 437 h 1002"/>
                <a:gd name="T56" fmla="*/ 482 w 483"/>
                <a:gd name="T57" fmla="*/ 113 h 1002"/>
                <a:gd name="T58" fmla="*/ 377 w 483"/>
                <a:gd name="T59" fmla="*/ 0 h 1002"/>
                <a:gd name="T60" fmla="*/ 249 w 483"/>
                <a:gd name="T61" fmla="*/ 0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83" h="1002">
                  <a:moveTo>
                    <a:pt x="249" y="0"/>
                  </a:moveTo>
                  <a:lnTo>
                    <a:pt x="249" y="0"/>
                  </a:lnTo>
                  <a:cubicBezTo>
                    <a:pt x="113" y="0"/>
                    <a:pt x="113" y="0"/>
                    <a:pt x="113" y="0"/>
                  </a:cubicBezTo>
                  <a:cubicBezTo>
                    <a:pt x="53" y="0"/>
                    <a:pt x="0" y="52"/>
                    <a:pt x="0" y="113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60"/>
                    <a:pt x="23" y="482"/>
                    <a:pt x="45" y="482"/>
                  </a:cubicBezTo>
                  <a:cubicBezTo>
                    <a:pt x="76" y="482"/>
                    <a:pt x="91" y="460"/>
                    <a:pt x="91" y="437"/>
                  </a:cubicBezTo>
                  <a:lnTo>
                    <a:pt x="91" y="151"/>
                  </a:lnTo>
                  <a:lnTo>
                    <a:pt x="99" y="151"/>
                  </a:lnTo>
                  <a:cubicBezTo>
                    <a:pt x="107" y="151"/>
                    <a:pt x="107" y="151"/>
                    <a:pt x="107" y="151"/>
                  </a:cubicBezTo>
                  <a:cubicBezTo>
                    <a:pt x="113" y="151"/>
                    <a:pt x="113" y="151"/>
                    <a:pt x="113" y="151"/>
                  </a:cubicBezTo>
                  <a:cubicBezTo>
                    <a:pt x="113" y="949"/>
                    <a:pt x="113" y="949"/>
                    <a:pt x="113" y="949"/>
                  </a:cubicBezTo>
                  <a:cubicBezTo>
                    <a:pt x="113" y="978"/>
                    <a:pt x="136" y="1001"/>
                    <a:pt x="173" y="1001"/>
                  </a:cubicBezTo>
                  <a:cubicBezTo>
                    <a:pt x="204" y="1001"/>
                    <a:pt x="234" y="978"/>
                    <a:pt x="234" y="949"/>
                  </a:cubicBezTo>
                  <a:cubicBezTo>
                    <a:pt x="234" y="482"/>
                    <a:pt x="234" y="482"/>
                    <a:pt x="234" y="482"/>
                  </a:cubicBezTo>
                  <a:cubicBezTo>
                    <a:pt x="234" y="474"/>
                    <a:pt x="234" y="474"/>
                    <a:pt x="234" y="474"/>
                  </a:cubicBezTo>
                  <a:cubicBezTo>
                    <a:pt x="249" y="474"/>
                    <a:pt x="249" y="474"/>
                    <a:pt x="249" y="474"/>
                  </a:cubicBezTo>
                  <a:cubicBezTo>
                    <a:pt x="249" y="474"/>
                    <a:pt x="249" y="474"/>
                    <a:pt x="249" y="482"/>
                  </a:cubicBezTo>
                  <a:cubicBezTo>
                    <a:pt x="249" y="949"/>
                    <a:pt x="249" y="949"/>
                    <a:pt x="249" y="949"/>
                  </a:cubicBezTo>
                  <a:cubicBezTo>
                    <a:pt x="249" y="978"/>
                    <a:pt x="280" y="1001"/>
                    <a:pt x="309" y="1001"/>
                  </a:cubicBezTo>
                  <a:cubicBezTo>
                    <a:pt x="346" y="1001"/>
                    <a:pt x="369" y="978"/>
                    <a:pt x="369" y="949"/>
                  </a:cubicBezTo>
                  <a:cubicBezTo>
                    <a:pt x="369" y="151"/>
                    <a:pt x="369" y="151"/>
                    <a:pt x="369" y="151"/>
                  </a:cubicBezTo>
                  <a:cubicBezTo>
                    <a:pt x="369" y="151"/>
                    <a:pt x="369" y="151"/>
                    <a:pt x="377" y="151"/>
                  </a:cubicBezTo>
                  <a:cubicBezTo>
                    <a:pt x="385" y="151"/>
                    <a:pt x="385" y="151"/>
                    <a:pt x="385" y="151"/>
                  </a:cubicBezTo>
                  <a:lnTo>
                    <a:pt x="392" y="151"/>
                  </a:lnTo>
                  <a:lnTo>
                    <a:pt x="392" y="437"/>
                  </a:lnTo>
                  <a:cubicBezTo>
                    <a:pt x="392" y="460"/>
                    <a:pt x="414" y="482"/>
                    <a:pt x="437" y="482"/>
                  </a:cubicBezTo>
                  <a:cubicBezTo>
                    <a:pt x="460" y="482"/>
                    <a:pt x="482" y="460"/>
                    <a:pt x="482" y="437"/>
                  </a:cubicBezTo>
                  <a:cubicBezTo>
                    <a:pt x="482" y="113"/>
                    <a:pt x="482" y="113"/>
                    <a:pt x="482" y="113"/>
                  </a:cubicBezTo>
                  <a:cubicBezTo>
                    <a:pt x="482" y="52"/>
                    <a:pt x="437" y="0"/>
                    <a:pt x="377" y="0"/>
                  </a:cubicBezTo>
                  <a:lnTo>
                    <a:pt x="249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8000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279" name="Freeform 356"/>
            <p:cNvSpPr>
              <a:spLocks noChangeArrowheads="1"/>
            </p:cNvSpPr>
            <p:nvPr/>
          </p:nvSpPr>
          <p:spPr bwMode="auto">
            <a:xfrm>
              <a:off x="2899398" y="6143913"/>
              <a:ext cx="147465" cy="147475"/>
            </a:xfrm>
            <a:custGeom>
              <a:avLst/>
              <a:gdLst>
                <a:gd name="T0" fmla="*/ 91 w 183"/>
                <a:gd name="T1" fmla="*/ 0 h 183"/>
                <a:gd name="T2" fmla="*/ 91 w 183"/>
                <a:gd name="T3" fmla="*/ 0 h 183"/>
                <a:gd name="T4" fmla="*/ 182 w 183"/>
                <a:gd name="T5" fmla="*/ 91 h 183"/>
                <a:gd name="T6" fmla="*/ 91 w 183"/>
                <a:gd name="T7" fmla="*/ 182 h 183"/>
                <a:gd name="T8" fmla="*/ 0 w 183"/>
                <a:gd name="T9" fmla="*/ 91 h 183"/>
                <a:gd name="T10" fmla="*/ 91 w 183"/>
                <a:gd name="T11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3" h="183">
                  <a:moveTo>
                    <a:pt x="91" y="0"/>
                  </a:moveTo>
                  <a:lnTo>
                    <a:pt x="91" y="0"/>
                  </a:lnTo>
                  <a:cubicBezTo>
                    <a:pt x="144" y="0"/>
                    <a:pt x="182" y="46"/>
                    <a:pt x="182" y="91"/>
                  </a:cubicBezTo>
                  <a:cubicBezTo>
                    <a:pt x="182" y="144"/>
                    <a:pt x="144" y="182"/>
                    <a:pt x="91" y="182"/>
                  </a:cubicBezTo>
                  <a:cubicBezTo>
                    <a:pt x="46" y="182"/>
                    <a:pt x="0" y="144"/>
                    <a:pt x="0" y="91"/>
                  </a:cubicBezTo>
                  <a:cubicBezTo>
                    <a:pt x="0" y="46"/>
                    <a:pt x="46" y="0"/>
                    <a:pt x="91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8000" dirty="0"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280" name="Group 18"/>
          <p:cNvGrpSpPr>
            <a:grpSpLocks noChangeAspect="1"/>
          </p:cNvGrpSpPr>
          <p:nvPr/>
        </p:nvGrpSpPr>
        <p:grpSpPr bwMode="auto">
          <a:xfrm flipH="1">
            <a:off x="12289455" y="7641825"/>
            <a:ext cx="1493788" cy="2807354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281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282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sp>
        <p:nvSpPr>
          <p:cNvPr id="283" name="Rectangle 282"/>
          <p:cNvSpPr>
            <a:spLocks/>
          </p:cNvSpPr>
          <p:nvPr/>
        </p:nvSpPr>
        <p:spPr bwMode="auto">
          <a:xfrm>
            <a:off x="14532244" y="8372905"/>
            <a:ext cx="5298695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6400" spc="300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  <a:sym typeface="Bebas Neue" charset="0"/>
              </a:rPr>
              <a:t>8,591 Females</a:t>
            </a:r>
          </a:p>
        </p:txBody>
      </p:sp>
      <p:sp>
        <p:nvSpPr>
          <p:cNvPr id="284" name="TextBox 283"/>
          <p:cNvSpPr txBox="1"/>
          <p:nvPr/>
        </p:nvSpPr>
        <p:spPr>
          <a:xfrm>
            <a:off x="14593533" y="9344088"/>
            <a:ext cx="3575146" cy="4506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3733"/>
              </a:lnSpc>
              <a:spcAft>
                <a:spcPts val="3199"/>
              </a:spcAft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Your great headline here</a:t>
            </a:r>
          </a:p>
        </p:txBody>
      </p:sp>
      <p:sp>
        <p:nvSpPr>
          <p:cNvPr id="285" name="Rectangle 284"/>
          <p:cNvSpPr>
            <a:spLocks/>
          </p:cNvSpPr>
          <p:nvPr/>
        </p:nvSpPr>
        <p:spPr bwMode="auto">
          <a:xfrm>
            <a:off x="14532244" y="4218955"/>
            <a:ext cx="4494820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6400" spc="300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  <a:sym typeface="Bebas Neue" charset="0"/>
              </a:rPr>
              <a:t>3,734 Males</a:t>
            </a:r>
          </a:p>
        </p:txBody>
      </p:sp>
      <p:sp>
        <p:nvSpPr>
          <p:cNvPr id="286" name="TextBox 285"/>
          <p:cNvSpPr txBox="1"/>
          <p:nvPr/>
        </p:nvSpPr>
        <p:spPr>
          <a:xfrm>
            <a:off x="14593533" y="5190138"/>
            <a:ext cx="3575146" cy="4506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3733"/>
              </a:lnSpc>
              <a:spcAft>
                <a:spcPts val="3199"/>
              </a:spcAft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Your great headline he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A273BA-0CBE-4A52-9174-8FDAA1523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Great Britain Ma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62871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" name="Group 61"/>
          <p:cNvGrpSpPr/>
          <p:nvPr/>
        </p:nvGrpSpPr>
        <p:grpSpPr>
          <a:xfrm>
            <a:off x="13406875" y="3866744"/>
            <a:ext cx="8617982" cy="8129603"/>
            <a:chOff x="12898875" y="3276917"/>
            <a:chExt cx="8617982" cy="8129603"/>
          </a:xfrm>
          <a:solidFill>
            <a:schemeClr val="bg1">
              <a:lumMod val="85000"/>
            </a:schemeClr>
          </a:solidFill>
        </p:grpSpPr>
        <p:sp>
          <p:nvSpPr>
            <p:cNvPr id="63" name="Freeform 62"/>
            <p:cNvSpPr>
              <a:spLocks noChangeArrowheads="1"/>
            </p:cNvSpPr>
            <p:nvPr/>
          </p:nvSpPr>
          <p:spPr bwMode="auto">
            <a:xfrm>
              <a:off x="12898875" y="4054954"/>
              <a:ext cx="3404899" cy="5007757"/>
            </a:xfrm>
            <a:custGeom>
              <a:avLst/>
              <a:gdLst>
                <a:gd name="T0" fmla="*/ 7481 w 7738"/>
                <a:gd name="T1" fmla="*/ 599 h 11380"/>
                <a:gd name="T2" fmla="*/ 7405 w 7738"/>
                <a:gd name="T3" fmla="*/ 652 h 11380"/>
                <a:gd name="T4" fmla="*/ 7259 w 7738"/>
                <a:gd name="T5" fmla="*/ 785 h 11380"/>
                <a:gd name="T6" fmla="*/ 7155 w 7738"/>
                <a:gd name="T7" fmla="*/ 337 h 11380"/>
                <a:gd name="T8" fmla="*/ 6858 w 7738"/>
                <a:gd name="T9" fmla="*/ 104 h 11380"/>
                <a:gd name="T10" fmla="*/ 6654 w 7738"/>
                <a:gd name="T11" fmla="*/ 116 h 11380"/>
                <a:gd name="T12" fmla="*/ 6392 w 7738"/>
                <a:gd name="T13" fmla="*/ 250 h 11380"/>
                <a:gd name="T14" fmla="*/ 6235 w 7738"/>
                <a:gd name="T15" fmla="*/ 436 h 11380"/>
                <a:gd name="T16" fmla="*/ 6072 w 7738"/>
                <a:gd name="T17" fmla="*/ 407 h 11380"/>
                <a:gd name="T18" fmla="*/ 5880 w 7738"/>
                <a:gd name="T19" fmla="*/ 494 h 11380"/>
                <a:gd name="T20" fmla="*/ 5979 w 7738"/>
                <a:gd name="T21" fmla="*/ 622 h 11380"/>
                <a:gd name="T22" fmla="*/ 5810 w 7738"/>
                <a:gd name="T23" fmla="*/ 687 h 11380"/>
                <a:gd name="T24" fmla="*/ 5845 w 7738"/>
                <a:gd name="T25" fmla="*/ 756 h 11380"/>
                <a:gd name="T26" fmla="*/ 5711 w 7738"/>
                <a:gd name="T27" fmla="*/ 797 h 11380"/>
                <a:gd name="T28" fmla="*/ 5530 w 7738"/>
                <a:gd name="T29" fmla="*/ 925 h 11380"/>
                <a:gd name="T30" fmla="*/ 5676 w 7738"/>
                <a:gd name="T31" fmla="*/ 1013 h 11380"/>
                <a:gd name="T32" fmla="*/ 5513 w 7738"/>
                <a:gd name="T33" fmla="*/ 1274 h 11380"/>
                <a:gd name="T34" fmla="*/ 5524 w 7738"/>
                <a:gd name="T35" fmla="*/ 1350 h 11380"/>
                <a:gd name="T36" fmla="*/ 5315 w 7738"/>
                <a:gd name="T37" fmla="*/ 1309 h 11380"/>
                <a:gd name="T38" fmla="*/ 5158 w 7738"/>
                <a:gd name="T39" fmla="*/ 1211 h 11380"/>
                <a:gd name="T40" fmla="*/ 5134 w 7738"/>
                <a:gd name="T41" fmla="*/ 1350 h 11380"/>
                <a:gd name="T42" fmla="*/ 5222 w 7738"/>
                <a:gd name="T43" fmla="*/ 1600 h 11380"/>
                <a:gd name="T44" fmla="*/ 5164 w 7738"/>
                <a:gd name="T45" fmla="*/ 1746 h 11380"/>
                <a:gd name="T46" fmla="*/ 4977 w 7738"/>
                <a:gd name="T47" fmla="*/ 1665 h 11380"/>
                <a:gd name="T48" fmla="*/ 4832 w 7738"/>
                <a:gd name="T49" fmla="*/ 1333 h 11380"/>
                <a:gd name="T50" fmla="*/ 4622 w 7738"/>
                <a:gd name="T51" fmla="*/ 1502 h 11380"/>
                <a:gd name="T52" fmla="*/ 4552 w 7738"/>
                <a:gd name="T53" fmla="*/ 2130 h 11380"/>
                <a:gd name="T54" fmla="*/ 4191 w 7738"/>
                <a:gd name="T55" fmla="*/ 2520 h 11380"/>
                <a:gd name="T56" fmla="*/ 3010 w 7738"/>
                <a:gd name="T57" fmla="*/ 3126 h 11380"/>
                <a:gd name="T58" fmla="*/ 2433 w 7738"/>
                <a:gd name="T59" fmla="*/ 3376 h 11380"/>
                <a:gd name="T60" fmla="*/ 1607 w 7738"/>
                <a:gd name="T61" fmla="*/ 3603 h 11380"/>
                <a:gd name="T62" fmla="*/ 844 w 7738"/>
                <a:gd name="T63" fmla="*/ 4075 h 11380"/>
                <a:gd name="T64" fmla="*/ 593 w 7738"/>
                <a:gd name="T65" fmla="*/ 4342 h 11380"/>
                <a:gd name="T66" fmla="*/ 442 w 7738"/>
                <a:gd name="T67" fmla="*/ 4278 h 11380"/>
                <a:gd name="T68" fmla="*/ 233 w 7738"/>
                <a:gd name="T69" fmla="*/ 5379 h 11380"/>
                <a:gd name="T70" fmla="*/ 646 w 7738"/>
                <a:gd name="T71" fmla="*/ 6246 h 11380"/>
                <a:gd name="T72" fmla="*/ 512 w 7738"/>
                <a:gd name="T73" fmla="*/ 6444 h 11380"/>
                <a:gd name="T74" fmla="*/ 250 w 7738"/>
                <a:gd name="T75" fmla="*/ 6060 h 11380"/>
                <a:gd name="T76" fmla="*/ 436 w 7738"/>
                <a:gd name="T77" fmla="*/ 6595 h 11380"/>
                <a:gd name="T78" fmla="*/ 233 w 7738"/>
                <a:gd name="T79" fmla="*/ 6392 h 11380"/>
                <a:gd name="T80" fmla="*/ 180 w 7738"/>
                <a:gd name="T81" fmla="*/ 6461 h 11380"/>
                <a:gd name="T82" fmla="*/ 576 w 7738"/>
                <a:gd name="T83" fmla="*/ 7276 h 11380"/>
                <a:gd name="T84" fmla="*/ 995 w 7738"/>
                <a:gd name="T85" fmla="*/ 8207 h 11380"/>
                <a:gd name="T86" fmla="*/ 1281 w 7738"/>
                <a:gd name="T87" fmla="*/ 9295 h 11380"/>
                <a:gd name="T88" fmla="*/ 1345 w 7738"/>
                <a:gd name="T89" fmla="*/ 9872 h 11380"/>
                <a:gd name="T90" fmla="*/ 1013 w 7738"/>
                <a:gd name="T91" fmla="*/ 10518 h 11380"/>
                <a:gd name="T92" fmla="*/ 1461 w 7738"/>
                <a:gd name="T93" fmla="*/ 11158 h 11380"/>
                <a:gd name="T94" fmla="*/ 2014 w 7738"/>
                <a:gd name="T95" fmla="*/ 11327 h 11380"/>
                <a:gd name="T96" fmla="*/ 2305 w 7738"/>
                <a:gd name="T97" fmla="*/ 11333 h 11380"/>
                <a:gd name="T98" fmla="*/ 2817 w 7738"/>
                <a:gd name="T99" fmla="*/ 11042 h 11380"/>
                <a:gd name="T100" fmla="*/ 3627 w 7738"/>
                <a:gd name="T101" fmla="*/ 10704 h 11380"/>
                <a:gd name="T102" fmla="*/ 4418 w 7738"/>
                <a:gd name="T103" fmla="*/ 10681 h 11380"/>
                <a:gd name="T104" fmla="*/ 4855 w 7738"/>
                <a:gd name="T105" fmla="*/ 10658 h 11380"/>
                <a:gd name="T106" fmla="*/ 5356 w 7738"/>
                <a:gd name="T107" fmla="*/ 10314 h 11380"/>
                <a:gd name="T108" fmla="*/ 6345 w 7738"/>
                <a:gd name="T109" fmla="*/ 9732 h 11380"/>
                <a:gd name="T110" fmla="*/ 7737 w 7738"/>
                <a:gd name="T111" fmla="*/ 9406 h 11380"/>
                <a:gd name="T112" fmla="*/ 1147 w 7738"/>
                <a:gd name="T113" fmla="*/ 3586 h 11380"/>
                <a:gd name="T114" fmla="*/ 122 w 7738"/>
                <a:gd name="T115" fmla="*/ 6339 h 1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738" h="11380">
                  <a:moveTo>
                    <a:pt x="7713" y="576"/>
                  </a:moveTo>
                  <a:lnTo>
                    <a:pt x="7713" y="576"/>
                  </a:lnTo>
                  <a:cubicBezTo>
                    <a:pt x="7684" y="559"/>
                    <a:pt x="7649" y="553"/>
                    <a:pt x="7614" y="541"/>
                  </a:cubicBezTo>
                  <a:cubicBezTo>
                    <a:pt x="7574" y="535"/>
                    <a:pt x="7556" y="512"/>
                    <a:pt x="7516" y="512"/>
                  </a:cubicBezTo>
                  <a:cubicBezTo>
                    <a:pt x="7498" y="512"/>
                    <a:pt x="7486" y="518"/>
                    <a:pt x="7463" y="518"/>
                  </a:cubicBezTo>
                  <a:cubicBezTo>
                    <a:pt x="7463" y="547"/>
                    <a:pt x="7469" y="570"/>
                    <a:pt x="7486" y="593"/>
                  </a:cubicBezTo>
                  <a:cubicBezTo>
                    <a:pt x="7481" y="599"/>
                    <a:pt x="7481" y="599"/>
                    <a:pt x="7481" y="599"/>
                  </a:cubicBezTo>
                  <a:cubicBezTo>
                    <a:pt x="7469" y="599"/>
                    <a:pt x="7463" y="593"/>
                    <a:pt x="7451" y="588"/>
                  </a:cubicBezTo>
                  <a:cubicBezTo>
                    <a:pt x="7440" y="593"/>
                    <a:pt x="7440" y="593"/>
                    <a:pt x="7440" y="593"/>
                  </a:cubicBezTo>
                  <a:cubicBezTo>
                    <a:pt x="7440" y="599"/>
                    <a:pt x="7446" y="605"/>
                    <a:pt x="7451" y="611"/>
                  </a:cubicBezTo>
                  <a:cubicBezTo>
                    <a:pt x="7446" y="622"/>
                    <a:pt x="7446" y="622"/>
                    <a:pt x="7446" y="622"/>
                  </a:cubicBezTo>
                  <a:cubicBezTo>
                    <a:pt x="7428" y="617"/>
                    <a:pt x="7416" y="605"/>
                    <a:pt x="7405" y="593"/>
                  </a:cubicBezTo>
                  <a:cubicBezTo>
                    <a:pt x="7393" y="599"/>
                    <a:pt x="7393" y="599"/>
                    <a:pt x="7393" y="599"/>
                  </a:cubicBezTo>
                  <a:cubicBezTo>
                    <a:pt x="7393" y="622"/>
                    <a:pt x="7405" y="628"/>
                    <a:pt x="7405" y="652"/>
                  </a:cubicBezTo>
                  <a:cubicBezTo>
                    <a:pt x="7405" y="657"/>
                    <a:pt x="7399" y="657"/>
                    <a:pt x="7393" y="657"/>
                  </a:cubicBezTo>
                  <a:cubicBezTo>
                    <a:pt x="7364" y="617"/>
                    <a:pt x="7364" y="617"/>
                    <a:pt x="7364" y="617"/>
                  </a:cubicBezTo>
                  <a:cubicBezTo>
                    <a:pt x="7347" y="640"/>
                    <a:pt x="7335" y="652"/>
                    <a:pt x="7335" y="681"/>
                  </a:cubicBezTo>
                  <a:cubicBezTo>
                    <a:pt x="7335" y="722"/>
                    <a:pt x="7376" y="826"/>
                    <a:pt x="7312" y="722"/>
                  </a:cubicBezTo>
                  <a:cubicBezTo>
                    <a:pt x="7300" y="751"/>
                    <a:pt x="7288" y="791"/>
                    <a:pt x="7288" y="815"/>
                  </a:cubicBezTo>
                  <a:cubicBezTo>
                    <a:pt x="7288" y="826"/>
                    <a:pt x="7300" y="855"/>
                    <a:pt x="7288" y="832"/>
                  </a:cubicBezTo>
                  <a:cubicBezTo>
                    <a:pt x="7259" y="785"/>
                    <a:pt x="7259" y="785"/>
                    <a:pt x="7259" y="785"/>
                  </a:cubicBezTo>
                  <a:cubicBezTo>
                    <a:pt x="7224" y="780"/>
                    <a:pt x="7195" y="756"/>
                    <a:pt x="7253" y="756"/>
                  </a:cubicBezTo>
                  <a:cubicBezTo>
                    <a:pt x="7277" y="756"/>
                    <a:pt x="7294" y="739"/>
                    <a:pt x="7294" y="716"/>
                  </a:cubicBezTo>
                  <a:cubicBezTo>
                    <a:pt x="7294" y="681"/>
                    <a:pt x="7277" y="663"/>
                    <a:pt x="7277" y="622"/>
                  </a:cubicBezTo>
                  <a:cubicBezTo>
                    <a:pt x="7277" y="593"/>
                    <a:pt x="7271" y="576"/>
                    <a:pt x="7283" y="553"/>
                  </a:cubicBezTo>
                  <a:cubicBezTo>
                    <a:pt x="7294" y="535"/>
                    <a:pt x="7318" y="529"/>
                    <a:pt x="7318" y="506"/>
                  </a:cubicBezTo>
                  <a:cubicBezTo>
                    <a:pt x="7318" y="454"/>
                    <a:pt x="7271" y="436"/>
                    <a:pt x="7230" y="413"/>
                  </a:cubicBezTo>
                  <a:cubicBezTo>
                    <a:pt x="7190" y="390"/>
                    <a:pt x="7178" y="372"/>
                    <a:pt x="7155" y="337"/>
                  </a:cubicBezTo>
                  <a:cubicBezTo>
                    <a:pt x="7149" y="320"/>
                    <a:pt x="7125" y="320"/>
                    <a:pt x="7125" y="308"/>
                  </a:cubicBezTo>
                  <a:cubicBezTo>
                    <a:pt x="7125" y="296"/>
                    <a:pt x="7131" y="296"/>
                    <a:pt x="7131" y="291"/>
                  </a:cubicBezTo>
                  <a:cubicBezTo>
                    <a:pt x="7131" y="250"/>
                    <a:pt x="7090" y="244"/>
                    <a:pt x="7056" y="221"/>
                  </a:cubicBezTo>
                  <a:cubicBezTo>
                    <a:pt x="7038" y="209"/>
                    <a:pt x="7027" y="198"/>
                    <a:pt x="7003" y="186"/>
                  </a:cubicBezTo>
                  <a:cubicBezTo>
                    <a:pt x="6986" y="174"/>
                    <a:pt x="6957" y="174"/>
                    <a:pt x="6957" y="157"/>
                  </a:cubicBezTo>
                  <a:cubicBezTo>
                    <a:pt x="6957" y="128"/>
                    <a:pt x="6957" y="99"/>
                    <a:pt x="6933" y="99"/>
                  </a:cubicBezTo>
                  <a:cubicBezTo>
                    <a:pt x="6904" y="99"/>
                    <a:pt x="6887" y="104"/>
                    <a:pt x="6858" y="104"/>
                  </a:cubicBezTo>
                  <a:cubicBezTo>
                    <a:pt x="6799" y="104"/>
                    <a:pt x="6764" y="58"/>
                    <a:pt x="6747" y="0"/>
                  </a:cubicBezTo>
                  <a:cubicBezTo>
                    <a:pt x="6724" y="11"/>
                    <a:pt x="6712" y="23"/>
                    <a:pt x="6695" y="35"/>
                  </a:cubicBezTo>
                  <a:cubicBezTo>
                    <a:pt x="6648" y="17"/>
                    <a:pt x="6648" y="17"/>
                    <a:pt x="6648" y="17"/>
                  </a:cubicBezTo>
                  <a:cubicBezTo>
                    <a:pt x="6636" y="17"/>
                    <a:pt x="6636" y="17"/>
                    <a:pt x="6636" y="17"/>
                  </a:cubicBezTo>
                  <a:cubicBezTo>
                    <a:pt x="6666" y="58"/>
                    <a:pt x="6677" y="87"/>
                    <a:pt x="6712" y="104"/>
                  </a:cubicBezTo>
                  <a:cubicBezTo>
                    <a:pt x="6706" y="116"/>
                    <a:pt x="6706" y="116"/>
                    <a:pt x="6706" y="116"/>
                  </a:cubicBezTo>
                  <a:cubicBezTo>
                    <a:pt x="6689" y="116"/>
                    <a:pt x="6677" y="116"/>
                    <a:pt x="6654" y="116"/>
                  </a:cubicBezTo>
                  <a:cubicBezTo>
                    <a:pt x="6654" y="163"/>
                    <a:pt x="6631" y="192"/>
                    <a:pt x="6590" y="221"/>
                  </a:cubicBezTo>
                  <a:cubicBezTo>
                    <a:pt x="6572" y="227"/>
                    <a:pt x="6572" y="250"/>
                    <a:pt x="6555" y="250"/>
                  </a:cubicBezTo>
                  <a:cubicBezTo>
                    <a:pt x="6508" y="250"/>
                    <a:pt x="6508" y="192"/>
                    <a:pt x="6508" y="145"/>
                  </a:cubicBezTo>
                  <a:cubicBezTo>
                    <a:pt x="6508" y="81"/>
                    <a:pt x="6514" y="133"/>
                    <a:pt x="6468" y="157"/>
                  </a:cubicBezTo>
                  <a:cubicBezTo>
                    <a:pt x="6450" y="168"/>
                    <a:pt x="6421" y="163"/>
                    <a:pt x="6421" y="186"/>
                  </a:cubicBezTo>
                  <a:cubicBezTo>
                    <a:pt x="6421" y="203"/>
                    <a:pt x="6450" y="203"/>
                    <a:pt x="6456" y="221"/>
                  </a:cubicBezTo>
                  <a:cubicBezTo>
                    <a:pt x="6427" y="227"/>
                    <a:pt x="6415" y="250"/>
                    <a:pt x="6392" y="250"/>
                  </a:cubicBezTo>
                  <a:cubicBezTo>
                    <a:pt x="6322" y="250"/>
                    <a:pt x="6386" y="168"/>
                    <a:pt x="6305" y="256"/>
                  </a:cubicBezTo>
                  <a:cubicBezTo>
                    <a:pt x="6310" y="279"/>
                    <a:pt x="6310" y="279"/>
                    <a:pt x="6310" y="279"/>
                  </a:cubicBezTo>
                  <a:cubicBezTo>
                    <a:pt x="6299" y="296"/>
                    <a:pt x="6275" y="308"/>
                    <a:pt x="6275" y="331"/>
                  </a:cubicBezTo>
                  <a:cubicBezTo>
                    <a:pt x="6275" y="349"/>
                    <a:pt x="6287" y="355"/>
                    <a:pt x="6287" y="372"/>
                  </a:cubicBezTo>
                  <a:cubicBezTo>
                    <a:pt x="6287" y="396"/>
                    <a:pt x="6252" y="390"/>
                    <a:pt x="6229" y="396"/>
                  </a:cubicBezTo>
                  <a:cubicBezTo>
                    <a:pt x="6235" y="413"/>
                    <a:pt x="6235" y="425"/>
                    <a:pt x="6241" y="442"/>
                  </a:cubicBezTo>
                  <a:cubicBezTo>
                    <a:pt x="6235" y="436"/>
                    <a:pt x="6235" y="436"/>
                    <a:pt x="6235" y="436"/>
                  </a:cubicBezTo>
                  <a:cubicBezTo>
                    <a:pt x="6223" y="419"/>
                    <a:pt x="6206" y="419"/>
                    <a:pt x="6200" y="401"/>
                  </a:cubicBezTo>
                  <a:cubicBezTo>
                    <a:pt x="6188" y="390"/>
                    <a:pt x="6194" y="361"/>
                    <a:pt x="6171" y="361"/>
                  </a:cubicBezTo>
                  <a:cubicBezTo>
                    <a:pt x="6095" y="361"/>
                    <a:pt x="6112" y="483"/>
                    <a:pt x="6112" y="285"/>
                  </a:cubicBezTo>
                  <a:lnTo>
                    <a:pt x="6118" y="279"/>
                  </a:lnTo>
                  <a:cubicBezTo>
                    <a:pt x="6118" y="256"/>
                    <a:pt x="6095" y="256"/>
                    <a:pt x="6078" y="244"/>
                  </a:cubicBezTo>
                  <a:cubicBezTo>
                    <a:pt x="6078" y="349"/>
                    <a:pt x="6078" y="349"/>
                    <a:pt x="6078" y="349"/>
                  </a:cubicBezTo>
                  <a:cubicBezTo>
                    <a:pt x="6078" y="372"/>
                    <a:pt x="6078" y="384"/>
                    <a:pt x="6072" y="407"/>
                  </a:cubicBezTo>
                  <a:cubicBezTo>
                    <a:pt x="6037" y="407"/>
                    <a:pt x="6008" y="407"/>
                    <a:pt x="5990" y="442"/>
                  </a:cubicBezTo>
                  <a:cubicBezTo>
                    <a:pt x="5984" y="436"/>
                    <a:pt x="5984" y="430"/>
                    <a:pt x="5979" y="430"/>
                  </a:cubicBezTo>
                  <a:cubicBezTo>
                    <a:pt x="5979" y="419"/>
                    <a:pt x="5979" y="419"/>
                    <a:pt x="5979" y="419"/>
                  </a:cubicBezTo>
                  <a:cubicBezTo>
                    <a:pt x="5955" y="419"/>
                    <a:pt x="5955" y="419"/>
                    <a:pt x="5955" y="419"/>
                  </a:cubicBezTo>
                  <a:cubicBezTo>
                    <a:pt x="5949" y="419"/>
                    <a:pt x="5944" y="413"/>
                    <a:pt x="5938" y="413"/>
                  </a:cubicBezTo>
                  <a:cubicBezTo>
                    <a:pt x="5932" y="413"/>
                    <a:pt x="5932" y="419"/>
                    <a:pt x="5926" y="419"/>
                  </a:cubicBezTo>
                  <a:cubicBezTo>
                    <a:pt x="5932" y="454"/>
                    <a:pt x="5880" y="459"/>
                    <a:pt x="5880" y="494"/>
                  </a:cubicBezTo>
                  <a:cubicBezTo>
                    <a:pt x="5880" y="529"/>
                    <a:pt x="5915" y="547"/>
                    <a:pt x="5944" y="547"/>
                  </a:cubicBezTo>
                  <a:cubicBezTo>
                    <a:pt x="5944" y="553"/>
                    <a:pt x="5949" y="553"/>
                    <a:pt x="5949" y="559"/>
                  </a:cubicBezTo>
                  <a:cubicBezTo>
                    <a:pt x="5949" y="576"/>
                    <a:pt x="5938" y="588"/>
                    <a:pt x="5926" y="599"/>
                  </a:cubicBezTo>
                  <a:cubicBezTo>
                    <a:pt x="5932" y="611"/>
                    <a:pt x="5932" y="611"/>
                    <a:pt x="5932" y="611"/>
                  </a:cubicBezTo>
                  <a:cubicBezTo>
                    <a:pt x="5938" y="611"/>
                    <a:pt x="5938" y="617"/>
                    <a:pt x="5944" y="617"/>
                  </a:cubicBezTo>
                  <a:cubicBezTo>
                    <a:pt x="5949" y="617"/>
                    <a:pt x="5955" y="611"/>
                    <a:pt x="5961" y="605"/>
                  </a:cubicBezTo>
                  <a:cubicBezTo>
                    <a:pt x="5967" y="611"/>
                    <a:pt x="5973" y="622"/>
                    <a:pt x="5979" y="622"/>
                  </a:cubicBezTo>
                  <a:cubicBezTo>
                    <a:pt x="5990" y="622"/>
                    <a:pt x="5996" y="628"/>
                    <a:pt x="6002" y="628"/>
                  </a:cubicBezTo>
                  <a:cubicBezTo>
                    <a:pt x="5990" y="634"/>
                    <a:pt x="5984" y="640"/>
                    <a:pt x="5984" y="652"/>
                  </a:cubicBezTo>
                  <a:cubicBezTo>
                    <a:pt x="5984" y="669"/>
                    <a:pt x="6008" y="675"/>
                    <a:pt x="6025" y="692"/>
                  </a:cubicBezTo>
                  <a:cubicBezTo>
                    <a:pt x="6002" y="698"/>
                    <a:pt x="5990" y="710"/>
                    <a:pt x="5967" y="710"/>
                  </a:cubicBezTo>
                  <a:cubicBezTo>
                    <a:pt x="5932" y="710"/>
                    <a:pt x="5915" y="687"/>
                    <a:pt x="5886" y="675"/>
                  </a:cubicBezTo>
                  <a:cubicBezTo>
                    <a:pt x="5886" y="687"/>
                    <a:pt x="5880" y="692"/>
                    <a:pt x="5874" y="704"/>
                  </a:cubicBezTo>
                  <a:cubicBezTo>
                    <a:pt x="5816" y="675"/>
                    <a:pt x="5816" y="570"/>
                    <a:pt x="5810" y="687"/>
                  </a:cubicBezTo>
                  <a:cubicBezTo>
                    <a:pt x="5786" y="687"/>
                    <a:pt x="5769" y="687"/>
                    <a:pt x="5746" y="687"/>
                  </a:cubicBezTo>
                  <a:cubicBezTo>
                    <a:pt x="5746" y="698"/>
                    <a:pt x="5746" y="704"/>
                    <a:pt x="5746" y="716"/>
                  </a:cubicBezTo>
                  <a:cubicBezTo>
                    <a:pt x="5769" y="716"/>
                    <a:pt x="5769" y="716"/>
                    <a:pt x="5769" y="716"/>
                  </a:cubicBezTo>
                  <a:cubicBezTo>
                    <a:pt x="5786" y="716"/>
                    <a:pt x="5798" y="704"/>
                    <a:pt x="5821" y="704"/>
                  </a:cubicBezTo>
                  <a:cubicBezTo>
                    <a:pt x="5798" y="722"/>
                    <a:pt x="5786" y="733"/>
                    <a:pt x="5763" y="739"/>
                  </a:cubicBezTo>
                  <a:cubicBezTo>
                    <a:pt x="5769" y="762"/>
                    <a:pt x="5786" y="768"/>
                    <a:pt x="5810" y="768"/>
                  </a:cubicBezTo>
                  <a:cubicBezTo>
                    <a:pt x="5821" y="768"/>
                    <a:pt x="5833" y="756"/>
                    <a:pt x="5845" y="756"/>
                  </a:cubicBezTo>
                  <a:cubicBezTo>
                    <a:pt x="5839" y="774"/>
                    <a:pt x="5839" y="785"/>
                    <a:pt x="5839" y="809"/>
                  </a:cubicBezTo>
                  <a:cubicBezTo>
                    <a:pt x="5839" y="838"/>
                    <a:pt x="5932" y="919"/>
                    <a:pt x="5909" y="914"/>
                  </a:cubicBezTo>
                  <a:cubicBezTo>
                    <a:pt x="5862" y="896"/>
                    <a:pt x="5874" y="867"/>
                    <a:pt x="5839" y="867"/>
                  </a:cubicBezTo>
                  <a:cubicBezTo>
                    <a:pt x="5827" y="867"/>
                    <a:pt x="5821" y="879"/>
                    <a:pt x="5816" y="885"/>
                  </a:cubicBezTo>
                  <a:cubicBezTo>
                    <a:pt x="5792" y="873"/>
                    <a:pt x="5775" y="873"/>
                    <a:pt x="5769" y="855"/>
                  </a:cubicBezTo>
                  <a:cubicBezTo>
                    <a:pt x="5757" y="838"/>
                    <a:pt x="5775" y="815"/>
                    <a:pt x="5763" y="797"/>
                  </a:cubicBezTo>
                  <a:cubicBezTo>
                    <a:pt x="5746" y="785"/>
                    <a:pt x="5728" y="803"/>
                    <a:pt x="5711" y="797"/>
                  </a:cubicBezTo>
                  <a:cubicBezTo>
                    <a:pt x="5699" y="791"/>
                    <a:pt x="5699" y="780"/>
                    <a:pt x="5687" y="780"/>
                  </a:cubicBezTo>
                  <a:cubicBezTo>
                    <a:pt x="5658" y="780"/>
                    <a:pt x="5653" y="815"/>
                    <a:pt x="5629" y="826"/>
                  </a:cubicBezTo>
                  <a:cubicBezTo>
                    <a:pt x="5641" y="850"/>
                    <a:pt x="5641" y="850"/>
                    <a:pt x="5641" y="850"/>
                  </a:cubicBezTo>
                  <a:cubicBezTo>
                    <a:pt x="5629" y="867"/>
                    <a:pt x="5618" y="879"/>
                    <a:pt x="5594" y="879"/>
                  </a:cubicBezTo>
                  <a:cubicBezTo>
                    <a:pt x="5583" y="879"/>
                    <a:pt x="5571" y="867"/>
                    <a:pt x="5565" y="855"/>
                  </a:cubicBezTo>
                  <a:cubicBezTo>
                    <a:pt x="5554" y="879"/>
                    <a:pt x="5519" y="879"/>
                    <a:pt x="5519" y="908"/>
                  </a:cubicBezTo>
                  <a:cubicBezTo>
                    <a:pt x="5519" y="914"/>
                    <a:pt x="5524" y="919"/>
                    <a:pt x="5530" y="925"/>
                  </a:cubicBezTo>
                  <a:cubicBezTo>
                    <a:pt x="5507" y="943"/>
                    <a:pt x="5501" y="972"/>
                    <a:pt x="5501" y="1001"/>
                  </a:cubicBezTo>
                  <a:cubicBezTo>
                    <a:pt x="5501" y="1018"/>
                    <a:pt x="5513" y="1030"/>
                    <a:pt x="5530" y="1030"/>
                  </a:cubicBezTo>
                  <a:cubicBezTo>
                    <a:pt x="5530" y="1030"/>
                    <a:pt x="5536" y="1030"/>
                    <a:pt x="5542" y="1030"/>
                  </a:cubicBezTo>
                  <a:cubicBezTo>
                    <a:pt x="5554" y="1030"/>
                    <a:pt x="5554" y="1030"/>
                    <a:pt x="5554" y="1030"/>
                  </a:cubicBezTo>
                  <a:cubicBezTo>
                    <a:pt x="5554" y="1042"/>
                    <a:pt x="5554" y="1053"/>
                    <a:pt x="5554" y="1071"/>
                  </a:cubicBezTo>
                  <a:cubicBezTo>
                    <a:pt x="5618" y="1042"/>
                    <a:pt x="5629" y="1001"/>
                    <a:pt x="5676" y="954"/>
                  </a:cubicBezTo>
                  <a:cubicBezTo>
                    <a:pt x="5676" y="1013"/>
                    <a:pt x="5676" y="1013"/>
                    <a:pt x="5676" y="1013"/>
                  </a:cubicBezTo>
                  <a:cubicBezTo>
                    <a:pt x="5676" y="1048"/>
                    <a:pt x="5612" y="1048"/>
                    <a:pt x="5612" y="1088"/>
                  </a:cubicBezTo>
                  <a:cubicBezTo>
                    <a:pt x="5612" y="1094"/>
                    <a:pt x="5618" y="1100"/>
                    <a:pt x="5618" y="1111"/>
                  </a:cubicBezTo>
                  <a:cubicBezTo>
                    <a:pt x="5606" y="1117"/>
                    <a:pt x="5594" y="1123"/>
                    <a:pt x="5594" y="1135"/>
                  </a:cubicBezTo>
                  <a:cubicBezTo>
                    <a:pt x="5594" y="1152"/>
                    <a:pt x="5606" y="1158"/>
                    <a:pt x="5606" y="1176"/>
                  </a:cubicBezTo>
                  <a:cubicBezTo>
                    <a:pt x="5606" y="1193"/>
                    <a:pt x="5583" y="1193"/>
                    <a:pt x="5571" y="1211"/>
                  </a:cubicBezTo>
                  <a:cubicBezTo>
                    <a:pt x="5554" y="1205"/>
                    <a:pt x="5548" y="1199"/>
                    <a:pt x="5530" y="1193"/>
                  </a:cubicBezTo>
                  <a:cubicBezTo>
                    <a:pt x="5524" y="1228"/>
                    <a:pt x="5524" y="1245"/>
                    <a:pt x="5513" y="1274"/>
                  </a:cubicBezTo>
                  <a:cubicBezTo>
                    <a:pt x="5524" y="1280"/>
                    <a:pt x="5530" y="1286"/>
                    <a:pt x="5542" y="1286"/>
                  </a:cubicBezTo>
                  <a:cubicBezTo>
                    <a:pt x="5554" y="1286"/>
                    <a:pt x="5559" y="1280"/>
                    <a:pt x="5571" y="1280"/>
                  </a:cubicBezTo>
                  <a:cubicBezTo>
                    <a:pt x="5589" y="1280"/>
                    <a:pt x="5757" y="1333"/>
                    <a:pt x="5723" y="1344"/>
                  </a:cubicBezTo>
                  <a:cubicBezTo>
                    <a:pt x="5658" y="1327"/>
                    <a:pt x="5623" y="1344"/>
                    <a:pt x="5565" y="1333"/>
                  </a:cubicBezTo>
                  <a:cubicBezTo>
                    <a:pt x="5536" y="1327"/>
                    <a:pt x="5519" y="1304"/>
                    <a:pt x="5490" y="1304"/>
                  </a:cubicBezTo>
                  <a:lnTo>
                    <a:pt x="5484" y="1309"/>
                  </a:lnTo>
                  <a:cubicBezTo>
                    <a:pt x="5484" y="1333"/>
                    <a:pt x="5501" y="1350"/>
                    <a:pt x="5524" y="1350"/>
                  </a:cubicBezTo>
                  <a:cubicBezTo>
                    <a:pt x="5524" y="1368"/>
                    <a:pt x="5519" y="1374"/>
                    <a:pt x="5513" y="1385"/>
                  </a:cubicBezTo>
                  <a:cubicBezTo>
                    <a:pt x="5495" y="1374"/>
                    <a:pt x="5490" y="1356"/>
                    <a:pt x="5466" y="1356"/>
                  </a:cubicBezTo>
                  <a:cubicBezTo>
                    <a:pt x="5460" y="1356"/>
                    <a:pt x="5455" y="1362"/>
                    <a:pt x="5449" y="1362"/>
                  </a:cubicBezTo>
                  <a:cubicBezTo>
                    <a:pt x="5408" y="1362"/>
                    <a:pt x="5408" y="1315"/>
                    <a:pt x="5385" y="1286"/>
                  </a:cubicBezTo>
                  <a:cubicBezTo>
                    <a:pt x="5361" y="1257"/>
                    <a:pt x="5332" y="1263"/>
                    <a:pt x="5297" y="1263"/>
                  </a:cubicBezTo>
                  <a:cubicBezTo>
                    <a:pt x="5292" y="1263"/>
                    <a:pt x="5292" y="1263"/>
                    <a:pt x="5286" y="1263"/>
                  </a:cubicBezTo>
                  <a:cubicBezTo>
                    <a:pt x="5297" y="1286"/>
                    <a:pt x="5315" y="1286"/>
                    <a:pt x="5315" y="1309"/>
                  </a:cubicBezTo>
                  <a:cubicBezTo>
                    <a:pt x="5315" y="1315"/>
                    <a:pt x="5309" y="1315"/>
                    <a:pt x="5309" y="1321"/>
                  </a:cubicBezTo>
                  <a:cubicBezTo>
                    <a:pt x="5286" y="1321"/>
                    <a:pt x="5286" y="1321"/>
                    <a:pt x="5286" y="1321"/>
                  </a:cubicBezTo>
                  <a:cubicBezTo>
                    <a:pt x="5274" y="1321"/>
                    <a:pt x="5268" y="1333"/>
                    <a:pt x="5257" y="1333"/>
                  </a:cubicBezTo>
                  <a:cubicBezTo>
                    <a:pt x="5245" y="1333"/>
                    <a:pt x="5239" y="1315"/>
                    <a:pt x="5228" y="1309"/>
                  </a:cubicBezTo>
                  <a:cubicBezTo>
                    <a:pt x="5204" y="1280"/>
                    <a:pt x="5175" y="1269"/>
                    <a:pt x="5175" y="1228"/>
                  </a:cubicBezTo>
                  <a:cubicBezTo>
                    <a:pt x="5175" y="1222"/>
                    <a:pt x="5181" y="1216"/>
                    <a:pt x="5181" y="1205"/>
                  </a:cubicBezTo>
                  <a:cubicBezTo>
                    <a:pt x="5158" y="1211"/>
                    <a:pt x="5158" y="1211"/>
                    <a:pt x="5158" y="1211"/>
                  </a:cubicBezTo>
                  <a:cubicBezTo>
                    <a:pt x="5152" y="1211"/>
                    <a:pt x="5152" y="1205"/>
                    <a:pt x="5146" y="1205"/>
                  </a:cubicBezTo>
                  <a:cubicBezTo>
                    <a:pt x="5140" y="1205"/>
                    <a:pt x="5140" y="1211"/>
                    <a:pt x="5134" y="1211"/>
                  </a:cubicBezTo>
                  <a:cubicBezTo>
                    <a:pt x="5134" y="1228"/>
                    <a:pt x="5129" y="1234"/>
                    <a:pt x="5129" y="1251"/>
                  </a:cubicBezTo>
                  <a:cubicBezTo>
                    <a:pt x="5129" y="1257"/>
                    <a:pt x="5134" y="1257"/>
                    <a:pt x="5134" y="1263"/>
                  </a:cubicBezTo>
                  <a:cubicBezTo>
                    <a:pt x="5169" y="1263"/>
                    <a:pt x="5169" y="1263"/>
                    <a:pt x="5169" y="1263"/>
                  </a:cubicBezTo>
                  <a:cubicBezTo>
                    <a:pt x="5169" y="1327"/>
                    <a:pt x="5169" y="1327"/>
                    <a:pt x="5169" y="1327"/>
                  </a:cubicBezTo>
                  <a:cubicBezTo>
                    <a:pt x="5158" y="1339"/>
                    <a:pt x="5134" y="1339"/>
                    <a:pt x="5134" y="1350"/>
                  </a:cubicBezTo>
                  <a:cubicBezTo>
                    <a:pt x="5134" y="1368"/>
                    <a:pt x="5146" y="1374"/>
                    <a:pt x="5146" y="1385"/>
                  </a:cubicBezTo>
                  <a:cubicBezTo>
                    <a:pt x="5146" y="1408"/>
                    <a:pt x="5111" y="1414"/>
                    <a:pt x="5111" y="1437"/>
                  </a:cubicBezTo>
                  <a:cubicBezTo>
                    <a:pt x="5111" y="1472"/>
                    <a:pt x="5158" y="1455"/>
                    <a:pt x="5181" y="1472"/>
                  </a:cubicBezTo>
                  <a:cubicBezTo>
                    <a:pt x="5204" y="1502"/>
                    <a:pt x="5198" y="1537"/>
                    <a:pt x="5210" y="1571"/>
                  </a:cubicBezTo>
                  <a:cubicBezTo>
                    <a:pt x="5228" y="1566"/>
                    <a:pt x="5245" y="1571"/>
                    <a:pt x="5263" y="1560"/>
                  </a:cubicBezTo>
                  <a:cubicBezTo>
                    <a:pt x="5274" y="1566"/>
                    <a:pt x="5274" y="1566"/>
                    <a:pt x="5274" y="1566"/>
                  </a:cubicBezTo>
                  <a:cubicBezTo>
                    <a:pt x="5257" y="1583"/>
                    <a:pt x="5245" y="1589"/>
                    <a:pt x="5222" y="1600"/>
                  </a:cubicBezTo>
                  <a:cubicBezTo>
                    <a:pt x="5251" y="1641"/>
                    <a:pt x="5280" y="1665"/>
                    <a:pt x="5216" y="1624"/>
                  </a:cubicBezTo>
                  <a:cubicBezTo>
                    <a:pt x="5233" y="1670"/>
                    <a:pt x="5245" y="1700"/>
                    <a:pt x="5274" y="1740"/>
                  </a:cubicBezTo>
                  <a:cubicBezTo>
                    <a:pt x="5268" y="1752"/>
                    <a:pt x="5268" y="1752"/>
                    <a:pt x="5268" y="1752"/>
                  </a:cubicBezTo>
                  <a:cubicBezTo>
                    <a:pt x="5233" y="1729"/>
                    <a:pt x="5210" y="1717"/>
                    <a:pt x="5181" y="1694"/>
                  </a:cubicBezTo>
                  <a:cubicBezTo>
                    <a:pt x="5158" y="1670"/>
                    <a:pt x="5164" y="1630"/>
                    <a:pt x="5134" y="1630"/>
                  </a:cubicBezTo>
                  <a:cubicBezTo>
                    <a:pt x="5117" y="1630"/>
                    <a:pt x="5129" y="1659"/>
                    <a:pt x="5129" y="1676"/>
                  </a:cubicBezTo>
                  <a:cubicBezTo>
                    <a:pt x="5129" y="1705"/>
                    <a:pt x="5152" y="1717"/>
                    <a:pt x="5164" y="1746"/>
                  </a:cubicBezTo>
                  <a:cubicBezTo>
                    <a:pt x="5158" y="1752"/>
                    <a:pt x="5146" y="1758"/>
                    <a:pt x="5134" y="1758"/>
                  </a:cubicBezTo>
                  <a:cubicBezTo>
                    <a:pt x="5134" y="1787"/>
                    <a:pt x="5105" y="1793"/>
                    <a:pt x="5105" y="1822"/>
                  </a:cubicBezTo>
                  <a:cubicBezTo>
                    <a:pt x="5105" y="1833"/>
                    <a:pt x="5111" y="1839"/>
                    <a:pt x="5111" y="1851"/>
                  </a:cubicBezTo>
                  <a:cubicBezTo>
                    <a:pt x="5111" y="1886"/>
                    <a:pt x="5094" y="2031"/>
                    <a:pt x="5094" y="1926"/>
                  </a:cubicBezTo>
                  <a:cubicBezTo>
                    <a:pt x="5094" y="1909"/>
                    <a:pt x="5100" y="1897"/>
                    <a:pt x="5100" y="1880"/>
                  </a:cubicBezTo>
                  <a:cubicBezTo>
                    <a:pt x="5100" y="1839"/>
                    <a:pt x="5065" y="1828"/>
                    <a:pt x="5030" y="1804"/>
                  </a:cubicBezTo>
                  <a:cubicBezTo>
                    <a:pt x="4989" y="1763"/>
                    <a:pt x="5006" y="1717"/>
                    <a:pt x="4977" y="1665"/>
                  </a:cubicBezTo>
                  <a:cubicBezTo>
                    <a:pt x="4954" y="1624"/>
                    <a:pt x="4902" y="1618"/>
                    <a:pt x="4902" y="1571"/>
                  </a:cubicBezTo>
                  <a:cubicBezTo>
                    <a:pt x="4902" y="1554"/>
                    <a:pt x="4907" y="1548"/>
                    <a:pt x="4907" y="1531"/>
                  </a:cubicBezTo>
                  <a:cubicBezTo>
                    <a:pt x="4907" y="1513"/>
                    <a:pt x="4907" y="1513"/>
                    <a:pt x="4907" y="1513"/>
                  </a:cubicBezTo>
                  <a:cubicBezTo>
                    <a:pt x="4896" y="1507"/>
                    <a:pt x="4890" y="1507"/>
                    <a:pt x="4872" y="1502"/>
                  </a:cubicBezTo>
                  <a:cubicBezTo>
                    <a:pt x="4878" y="1478"/>
                    <a:pt x="4878" y="1478"/>
                    <a:pt x="4878" y="1478"/>
                  </a:cubicBezTo>
                  <a:cubicBezTo>
                    <a:pt x="4855" y="1449"/>
                    <a:pt x="4808" y="1443"/>
                    <a:pt x="4808" y="1403"/>
                  </a:cubicBezTo>
                  <a:cubicBezTo>
                    <a:pt x="4808" y="1374"/>
                    <a:pt x="4826" y="1362"/>
                    <a:pt x="4832" y="1333"/>
                  </a:cubicBezTo>
                  <a:cubicBezTo>
                    <a:pt x="4814" y="1333"/>
                    <a:pt x="4808" y="1333"/>
                    <a:pt x="4791" y="1333"/>
                  </a:cubicBezTo>
                  <a:cubicBezTo>
                    <a:pt x="4779" y="1374"/>
                    <a:pt x="4756" y="1391"/>
                    <a:pt x="4715" y="1397"/>
                  </a:cubicBezTo>
                  <a:cubicBezTo>
                    <a:pt x="4721" y="1420"/>
                    <a:pt x="4715" y="1432"/>
                    <a:pt x="4715" y="1455"/>
                  </a:cubicBezTo>
                  <a:cubicBezTo>
                    <a:pt x="4715" y="1478"/>
                    <a:pt x="4733" y="1490"/>
                    <a:pt x="4756" y="1496"/>
                  </a:cubicBezTo>
                  <a:cubicBezTo>
                    <a:pt x="4750" y="1502"/>
                    <a:pt x="4750" y="1507"/>
                    <a:pt x="4750" y="1513"/>
                  </a:cubicBezTo>
                  <a:cubicBezTo>
                    <a:pt x="4715" y="1513"/>
                    <a:pt x="4692" y="1525"/>
                    <a:pt x="4657" y="1525"/>
                  </a:cubicBezTo>
                  <a:cubicBezTo>
                    <a:pt x="4640" y="1525"/>
                    <a:pt x="4634" y="1507"/>
                    <a:pt x="4622" y="1502"/>
                  </a:cubicBezTo>
                  <a:cubicBezTo>
                    <a:pt x="4616" y="1542"/>
                    <a:pt x="4622" y="1560"/>
                    <a:pt x="4622" y="1600"/>
                  </a:cubicBezTo>
                  <a:cubicBezTo>
                    <a:pt x="4611" y="1600"/>
                    <a:pt x="4611" y="1600"/>
                    <a:pt x="4611" y="1600"/>
                  </a:cubicBezTo>
                  <a:cubicBezTo>
                    <a:pt x="4552" y="1612"/>
                    <a:pt x="4535" y="1647"/>
                    <a:pt x="4500" y="1694"/>
                  </a:cubicBezTo>
                  <a:cubicBezTo>
                    <a:pt x="4471" y="1740"/>
                    <a:pt x="4436" y="1763"/>
                    <a:pt x="4436" y="1816"/>
                  </a:cubicBezTo>
                  <a:cubicBezTo>
                    <a:pt x="4436" y="1886"/>
                    <a:pt x="4453" y="1926"/>
                    <a:pt x="4459" y="1991"/>
                  </a:cubicBezTo>
                  <a:cubicBezTo>
                    <a:pt x="4459" y="2031"/>
                    <a:pt x="4442" y="2060"/>
                    <a:pt x="4471" y="2089"/>
                  </a:cubicBezTo>
                  <a:cubicBezTo>
                    <a:pt x="4488" y="2113"/>
                    <a:pt x="4552" y="2095"/>
                    <a:pt x="4552" y="2130"/>
                  </a:cubicBezTo>
                  <a:cubicBezTo>
                    <a:pt x="4552" y="2206"/>
                    <a:pt x="4482" y="2241"/>
                    <a:pt x="4412" y="2282"/>
                  </a:cubicBezTo>
                  <a:cubicBezTo>
                    <a:pt x="4360" y="2311"/>
                    <a:pt x="4337" y="2346"/>
                    <a:pt x="4273" y="2357"/>
                  </a:cubicBezTo>
                  <a:cubicBezTo>
                    <a:pt x="4249" y="2363"/>
                    <a:pt x="4255" y="2392"/>
                    <a:pt x="4238" y="2404"/>
                  </a:cubicBezTo>
                  <a:cubicBezTo>
                    <a:pt x="4244" y="2421"/>
                    <a:pt x="4255" y="2427"/>
                    <a:pt x="4255" y="2450"/>
                  </a:cubicBezTo>
                  <a:cubicBezTo>
                    <a:pt x="4255" y="2474"/>
                    <a:pt x="4232" y="2491"/>
                    <a:pt x="4209" y="2491"/>
                  </a:cubicBezTo>
                  <a:cubicBezTo>
                    <a:pt x="4203" y="2491"/>
                    <a:pt x="4197" y="2497"/>
                    <a:pt x="4186" y="2497"/>
                  </a:cubicBezTo>
                  <a:cubicBezTo>
                    <a:pt x="4191" y="2509"/>
                    <a:pt x="4191" y="2509"/>
                    <a:pt x="4191" y="2520"/>
                  </a:cubicBezTo>
                  <a:cubicBezTo>
                    <a:pt x="4191" y="2619"/>
                    <a:pt x="4139" y="2666"/>
                    <a:pt x="4086" y="2741"/>
                  </a:cubicBezTo>
                  <a:cubicBezTo>
                    <a:pt x="4023" y="2817"/>
                    <a:pt x="3988" y="2870"/>
                    <a:pt x="3906" y="2928"/>
                  </a:cubicBezTo>
                  <a:cubicBezTo>
                    <a:pt x="3825" y="2980"/>
                    <a:pt x="3766" y="2998"/>
                    <a:pt x="3673" y="3033"/>
                  </a:cubicBezTo>
                  <a:cubicBezTo>
                    <a:pt x="3592" y="3067"/>
                    <a:pt x="3551" y="3108"/>
                    <a:pt x="3464" y="3108"/>
                  </a:cubicBezTo>
                  <a:cubicBezTo>
                    <a:pt x="3400" y="3108"/>
                    <a:pt x="3400" y="3108"/>
                    <a:pt x="3400" y="3108"/>
                  </a:cubicBezTo>
                  <a:cubicBezTo>
                    <a:pt x="3306" y="3108"/>
                    <a:pt x="3260" y="3178"/>
                    <a:pt x="3167" y="3178"/>
                  </a:cubicBezTo>
                  <a:cubicBezTo>
                    <a:pt x="3103" y="3178"/>
                    <a:pt x="3074" y="3126"/>
                    <a:pt x="3010" y="3126"/>
                  </a:cubicBezTo>
                  <a:cubicBezTo>
                    <a:pt x="2998" y="3126"/>
                    <a:pt x="2998" y="3132"/>
                    <a:pt x="2992" y="3132"/>
                  </a:cubicBezTo>
                  <a:cubicBezTo>
                    <a:pt x="2992" y="3143"/>
                    <a:pt x="2992" y="3149"/>
                    <a:pt x="2992" y="3161"/>
                  </a:cubicBezTo>
                  <a:cubicBezTo>
                    <a:pt x="2975" y="3161"/>
                    <a:pt x="2969" y="3149"/>
                    <a:pt x="2957" y="3149"/>
                  </a:cubicBezTo>
                  <a:cubicBezTo>
                    <a:pt x="2887" y="3149"/>
                    <a:pt x="2882" y="3225"/>
                    <a:pt x="2829" y="3271"/>
                  </a:cubicBezTo>
                  <a:cubicBezTo>
                    <a:pt x="2777" y="3312"/>
                    <a:pt x="2730" y="3324"/>
                    <a:pt x="2666" y="3324"/>
                  </a:cubicBezTo>
                  <a:cubicBezTo>
                    <a:pt x="2619" y="3324"/>
                    <a:pt x="2619" y="3324"/>
                    <a:pt x="2619" y="3324"/>
                  </a:cubicBezTo>
                  <a:cubicBezTo>
                    <a:pt x="2550" y="3341"/>
                    <a:pt x="2497" y="3341"/>
                    <a:pt x="2433" y="3376"/>
                  </a:cubicBezTo>
                  <a:cubicBezTo>
                    <a:pt x="2387" y="3405"/>
                    <a:pt x="2375" y="3440"/>
                    <a:pt x="2334" y="3469"/>
                  </a:cubicBezTo>
                  <a:cubicBezTo>
                    <a:pt x="2264" y="3522"/>
                    <a:pt x="2206" y="3539"/>
                    <a:pt x="2119" y="3539"/>
                  </a:cubicBezTo>
                  <a:cubicBezTo>
                    <a:pt x="2072" y="3539"/>
                    <a:pt x="2055" y="3481"/>
                    <a:pt x="2002" y="3481"/>
                  </a:cubicBezTo>
                  <a:cubicBezTo>
                    <a:pt x="1944" y="3481"/>
                    <a:pt x="1915" y="3527"/>
                    <a:pt x="1863" y="3527"/>
                  </a:cubicBezTo>
                  <a:cubicBezTo>
                    <a:pt x="1845" y="3527"/>
                    <a:pt x="1839" y="3522"/>
                    <a:pt x="1828" y="3522"/>
                  </a:cubicBezTo>
                  <a:cubicBezTo>
                    <a:pt x="1828" y="3516"/>
                    <a:pt x="1857" y="3411"/>
                    <a:pt x="1839" y="3446"/>
                  </a:cubicBezTo>
                  <a:cubicBezTo>
                    <a:pt x="1775" y="3533"/>
                    <a:pt x="1705" y="3556"/>
                    <a:pt x="1607" y="3603"/>
                  </a:cubicBezTo>
                  <a:cubicBezTo>
                    <a:pt x="1589" y="3591"/>
                    <a:pt x="1589" y="3591"/>
                    <a:pt x="1589" y="3591"/>
                  </a:cubicBezTo>
                  <a:cubicBezTo>
                    <a:pt x="1572" y="3615"/>
                    <a:pt x="1577" y="3644"/>
                    <a:pt x="1554" y="3656"/>
                  </a:cubicBezTo>
                  <a:cubicBezTo>
                    <a:pt x="1508" y="3685"/>
                    <a:pt x="1455" y="3679"/>
                    <a:pt x="1420" y="3719"/>
                  </a:cubicBezTo>
                  <a:cubicBezTo>
                    <a:pt x="1356" y="3784"/>
                    <a:pt x="1333" y="3830"/>
                    <a:pt x="1263" y="3888"/>
                  </a:cubicBezTo>
                  <a:cubicBezTo>
                    <a:pt x="1164" y="3976"/>
                    <a:pt x="1088" y="3999"/>
                    <a:pt x="960" y="4028"/>
                  </a:cubicBezTo>
                  <a:cubicBezTo>
                    <a:pt x="925" y="4040"/>
                    <a:pt x="914" y="4075"/>
                    <a:pt x="879" y="4075"/>
                  </a:cubicBezTo>
                  <a:cubicBezTo>
                    <a:pt x="867" y="4075"/>
                    <a:pt x="856" y="4075"/>
                    <a:pt x="844" y="4075"/>
                  </a:cubicBezTo>
                  <a:cubicBezTo>
                    <a:pt x="821" y="4110"/>
                    <a:pt x="826" y="4145"/>
                    <a:pt x="803" y="4179"/>
                  </a:cubicBezTo>
                  <a:cubicBezTo>
                    <a:pt x="780" y="4220"/>
                    <a:pt x="751" y="4238"/>
                    <a:pt x="739" y="4284"/>
                  </a:cubicBezTo>
                  <a:cubicBezTo>
                    <a:pt x="727" y="4342"/>
                    <a:pt x="733" y="4389"/>
                    <a:pt x="687" y="4424"/>
                  </a:cubicBezTo>
                  <a:cubicBezTo>
                    <a:pt x="681" y="4412"/>
                    <a:pt x="669" y="4406"/>
                    <a:pt x="658" y="4401"/>
                  </a:cubicBezTo>
                  <a:cubicBezTo>
                    <a:pt x="646" y="4430"/>
                    <a:pt x="623" y="4436"/>
                    <a:pt x="593" y="4447"/>
                  </a:cubicBezTo>
                  <a:cubicBezTo>
                    <a:pt x="588" y="4436"/>
                    <a:pt x="582" y="4424"/>
                    <a:pt x="582" y="4406"/>
                  </a:cubicBezTo>
                  <a:cubicBezTo>
                    <a:pt x="582" y="4383"/>
                    <a:pt x="593" y="4371"/>
                    <a:pt x="593" y="4342"/>
                  </a:cubicBezTo>
                  <a:cubicBezTo>
                    <a:pt x="559" y="4249"/>
                    <a:pt x="559" y="4249"/>
                    <a:pt x="559" y="4249"/>
                  </a:cubicBezTo>
                  <a:cubicBezTo>
                    <a:pt x="564" y="4232"/>
                    <a:pt x="564" y="4226"/>
                    <a:pt x="564" y="4208"/>
                  </a:cubicBezTo>
                  <a:cubicBezTo>
                    <a:pt x="553" y="4139"/>
                    <a:pt x="553" y="4139"/>
                    <a:pt x="553" y="4139"/>
                  </a:cubicBezTo>
                  <a:cubicBezTo>
                    <a:pt x="559" y="4121"/>
                    <a:pt x="582" y="4110"/>
                    <a:pt x="582" y="4086"/>
                  </a:cubicBezTo>
                  <a:cubicBezTo>
                    <a:pt x="582" y="4080"/>
                    <a:pt x="576" y="4069"/>
                    <a:pt x="570" y="4069"/>
                  </a:cubicBezTo>
                  <a:cubicBezTo>
                    <a:pt x="524" y="4069"/>
                    <a:pt x="512" y="4121"/>
                    <a:pt x="495" y="4162"/>
                  </a:cubicBezTo>
                  <a:cubicBezTo>
                    <a:pt x="477" y="4208"/>
                    <a:pt x="466" y="4238"/>
                    <a:pt x="442" y="4278"/>
                  </a:cubicBezTo>
                  <a:cubicBezTo>
                    <a:pt x="425" y="4319"/>
                    <a:pt x="425" y="4342"/>
                    <a:pt x="413" y="4377"/>
                  </a:cubicBezTo>
                  <a:cubicBezTo>
                    <a:pt x="396" y="4424"/>
                    <a:pt x="372" y="4447"/>
                    <a:pt x="372" y="4494"/>
                  </a:cubicBezTo>
                  <a:cubicBezTo>
                    <a:pt x="372" y="4581"/>
                    <a:pt x="442" y="4622"/>
                    <a:pt x="442" y="4709"/>
                  </a:cubicBezTo>
                  <a:cubicBezTo>
                    <a:pt x="442" y="4732"/>
                    <a:pt x="419" y="4738"/>
                    <a:pt x="419" y="4762"/>
                  </a:cubicBezTo>
                  <a:cubicBezTo>
                    <a:pt x="419" y="4797"/>
                    <a:pt x="425" y="4814"/>
                    <a:pt x="425" y="4843"/>
                  </a:cubicBezTo>
                  <a:cubicBezTo>
                    <a:pt x="425" y="4925"/>
                    <a:pt x="372" y="4960"/>
                    <a:pt x="332" y="5035"/>
                  </a:cubicBezTo>
                  <a:cubicBezTo>
                    <a:pt x="267" y="5157"/>
                    <a:pt x="233" y="5239"/>
                    <a:pt x="233" y="5379"/>
                  </a:cubicBezTo>
                  <a:cubicBezTo>
                    <a:pt x="233" y="5524"/>
                    <a:pt x="384" y="5582"/>
                    <a:pt x="361" y="5728"/>
                  </a:cubicBezTo>
                  <a:cubicBezTo>
                    <a:pt x="361" y="5757"/>
                    <a:pt x="361" y="5786"/>
                    <a:pt x="390" y="5804"/>
                  </a:cubicBezTo>
                  <a:cubicBezTo>
                    <a:pt x="413" y="5815"/>
                    <a:pt x="436" y="5821"/>
                    <a:pt x="448" y="5844"/>
                  </a:cubicBezTo>
                  <a:cubicBezTo>
                    <a:pt x="477" y="5926"/>
                    <a:pt x="477" y="5984"/>
                    <a:pt x="530" y="6054"/>
                  </a:cubicBezTo>
                  <a:cubicBezTo>
                    <a:pt x="564" y="6095"/>
                    <a:pt x="576" y="6124"/>
                    <a:pt x="611" y="6159"/>
                  </a:cubicBezTo>
                  <a:cubicBezTo>
                    <a:pt x="629" y="6188"/>
                    <a:pt x="658" y="6199"/>
                    <a:pt x="658" y="6229"/>
                  </a:cubicBezTo>
                  <a:cubicBezTo>
                    <a:pt x="658" y="6234"/>
                    <a:pt x="646" y="6240"/>
                    <a:pt x="646" y="6246"/>
                  </a:cubicBezTo>
                  <a:cubicBezTo>
                    <a:pt x="646" y="6258"/>
                    <a:pt x="652" y="6264"/>
                    <a:pt x="652" y="6275"/>
                  </a:cubicBezTo>
                  <a:cubicBezTo>
                    <a:pt x="652" y="6281"/>
                    <a:pt x="634" y="6281"/>
                    <a:pt x="634" y="6287"/>
                  </a:cubicBezTo>
                  <a:cubicBezTo>
                    <a:pt x="629" y="6310"/>
                    <a:pt x="634" y="6322"/>
                    <a:pt x="634" y="6339"/>
                  </a:cubicBezTo>
                  <a:cubicBezTo>
                    <a:pt x="629" y="6357"/>
                    <a:pt x="611" y="6362"/>
                    <a:pt x="611" y="6386"/>
                  </a:cubicBezTo>
                  <a:cubicBezTo>
                    <a:pt x="611" y="6409"/>
                    <a:pt x="629" y="6421"/>
                    <a:pt x="629" y="6444"/>
                  </a:cubicBezTo>
                  <a:cubicBezTo>
                    <a:pt x="629" y="6479"/>
                    <a:pt x="599" y="6520"/>
                    <a:pt x="559" y="6520"/>
                  </a:cubicBezTo>
                  <a:cubicBezTo>
                    <a:pt x="524" y="6520"/>
                    <a:pt x="530" y="6473"/>
                    <a:pt x="512" y="6444"/>
                  </a:cubicBezTo>
                  <a:cubicBezTo>
                    <a:pt x="495" y="6409"/>
                    <a:pt x="471" y="6397"/>
                    <a:pt x="460" y="6362"/>
                  </a:cubicBezTo>
                  <a:cubicBezTo>
                    <a:pt x="448" y="6362"/>
                    <a:pt x="448" y="6362"/>
                    <a:pt x="448" y="6362"/>
                  </a:cubicBezTo>
                  <a:cubicBezTo>
                    <a:pt x="425" y="6386"/>
                    <a:pt x="396" y="6397"/>
                    <a:pt x="355" y="6351"/>
                  </a:cubicBezTo>
                  <a:cubicBezTo>
                    <a:pt x="355" y="6304"/>
                    <a:pt x="384" y="6275"/>
                    <a:pt x="384" y="6229"/>
                  </a:cubicBezTo>
                  <a:cubicBezTo>
                    <a:pt x="384" y="6194"/>
                    <a:pt x="355" y="6182"/>
                    <a:pt x="337" y="6153"/>
                  </a:cubicBezTo>
                  <a:cubicBezTo>
                    <a:pt x="308" y="6112"/>
                    <a:pt x="303" y="6089"/>
                    <a:pt x="267" y="6054"/>
                  </a:cubicBezTo>
                  <a:cubicBezTo>
                    <a:pt x="250" y="6060"/>
                    <a:pt x="250" y="6060"/>
                    <a:pt x="250" y="6060"/>
                  </a:cubicBezTo>
                  <a:cubicBezTo>
                    <a:pt x="244" y="6077"/>
                    <a:pt x="244" y="6083"/>
                    <a:pt x="244" y="6101"/>
                  </a:cubicBezTo>
                  <a:cubicBezTo>
                    <a:pt x="244" y="6135"/>
                    <a:pt x="244" y="6135"/>
                    <a:pt x="244" y="6135"/>
                  </a:cubicBezTo>
                  <a:cubicBezTo>
                    <a:pt x="244" y="6176"/>
                    <a:pt x="273" y="6188"/>
                    <a:pt x="291" y="6229"/>
                  </a:cubicBezTo>
                  <a:cubicBezTo>
                    <a:pt x="308" y="6281"/>
                    <a:pt x="308" y="6316"/>
                    <a:pt x="343" y="6362"/>
                  </a:cubicBezTo>
                  <a:cubicBezTo>
                    <a:pt x="367" y="6403"/>
                    <a:pt x="401" y="6409"/>
                    <a:pt x="442" y="6438"/>
                  </a:cubicBezTo>
                  <a:cubicBezTo>
                    <a:pt x="471" y="6461"/>
                    <a:pt x="466" y="6502"/>
                    <a:pt x="466" y="6543"/>
                  </a:cubicBezTo>
                  <a:cubicBezTo>
                    <a:pt x="466" y="6566"/>
                    <a:pt x="448" y="6578"/>
                    <a:pt x="436" y="6595"/>
                  </a:cubicBezTo>
                  <a:cubicBezTo>
                    <a:pt x="413" y="6619"/>
                    <a:pt x="407" y="6648"/>
                    <a:pt x="378" y="6648"/>
                  </a:cubicBezTo>
                  <a:cubicBezTo>
                    <a:pt x="361" y="6648"/>
                    <a:pt x="355" y="6630"/>
                    <a:pt x="343" y="6624"/>
                  </a:cubicBezTo>
                  <a:cubicBezTo>
                    <a:pt x="320" y="6613"/>
                    <a:pt x="291" y="6607"/>
                    <a:pt x="291" y="6584"/>
                  </a:cubicBezTo>
                  <a:cubicBezTo>
                    <a:pt x="291" y="6560"/>
                    <a:pt x="297" y="6549"/>
                    <a:pt x="297" y="6525"/>
                  </a:cubicBezTo>
                  <a:cubicBezTo>
                    <a:pt x="279" y="6514"/>
                    <a:pt x="262" y="6508"/>
                    <a:pt x="250" y="6490"/>
                  </a:cubicBezTo>
                  <a:cubicBezTo>
                    <a:pt x="256" y="6473"/>
                    <a:pt x="262" y="6461"/>
                    <a:pt x="262" y="6444"/>
                  </a:cubicBezTo>
                  <a:cubicBezTo>
                    <a:pt x="262" y="6421"/>
                    <a:pt x="250" y="6403"/>
                    <a:pt x="233" y="6392"/>
                  </a:cubicBezTo>
                  <a:cubicBezTo>
                    <a:pt x="215" y="6392"/>
                    <a:pt x="215" y="6392"/>
                    <a:pt x="215" y="6392"/>
                  </a:cubicBezTo>
                  <a:cubicBezTo>
                    <a:pt x="215" y="6421"/>
                    <a:pt x="215" y="6421"/>
                    <a:pt x="215" y="6421"/>
                  </a:cubicBezTo>
                  <a:cubicBezTo>
                    <a:pt x="227" y="6461"/>
                    <a:pt x="227" y="6461"/>
                    <a:pt x="227" y="6461"/>
                  </a:cubicBezTo>
                  <a:cubicBezTo>
                    <a:pt x="227" y="6502"/>
                    <a:pt x="227" y="6502"/>
                    <a:pt x="227" y="6502"/>
                  </a:cubicBezTo>
                  <a:cubicBezTo>
                    <a:pt x="215" y="6508"/>
                    <a:pt x="215" y="6508"/>
                    <a:pt x="215" y="6508"/>
                  </a:cubicBezTo>
                  <a:cubicBezTo>
                    <a:pt x="209" y="6490"/>
                    <a:pt x="204" y="6473"/>
                    <a:pt x="186" y="6461"/>
                  </a:cubicBezTo>
                  <a:cubicBezTo>
                    <a:pt x="180" y="6461"/>
                    <a:pt x="180" y="6461"/>
                    <a:pt x="180" y="6461"/>
                  </a:cubicBezTo>
                  <a:cubicBezTo>
                    <a:pt x="186" y="6496"/>
                    <a:pt x="215" y="6502"/>
                    <a:pt x="238" y="6537"/>
                  </a:cubicBezTo>
                  <a:cubicBezTo>
                    <a:pt x="273" y="6601"/>
                    <a:pt x="308" y="6630"/>
                    <a:pt x="355" y="6688"/>
                  </a:cubicBezTo>
                  <a:cubicBezTo>
                    <a:pt x="407" y="6747"/>
                    <a:pt x="419" y="6787"/>
                    <a:pt x="454" y="6851"/>
                  </a:cubicBezTo>
                  <a:cubicBezTo>
                    <a:pt x="524" y="6956"/>
                    <a:pt x="570" y="7020"/>
                    <a:pt x="582" y="7148"/>
                  </a:cubicBezTo>
                  <a:cubicBezTo>
                    <a:pt x="588" y="7148"/>
                    <a:pt x="593" y="7148"/>
                    <a:pt x="599" y="7148"/>
                  </a:cubicBezTo>
                  <a:cubicBezTo>
                    <a:pt x="605" y="7160"/>
                    <a:pt x="605" y="7160"/>
                    <a:pt x="605" y="7160"/>
                  </a:cubicBezTo>
                  <a:cubicBezTo>
                    <a:pt x="570" y="7195"/>
                    <a:pt x="576" y="7230"/>
                    <a:pt x="576" y="7276"/>
                  </a:cubicBezTo>
                  <a:cubicBezTo>
                    <a:pt x="576" y="7335"/>
                    <a:pt x="570" y="7375"/>
                    <a:pt x="599" y="7428"/>
                  </a:cubicBezTo>
                  <a:cubicBezTo>
                    <a:pt x="611" y="7445"/>
                    <a:pt x="634" y="7439"/>
                    <a:pt x="646" y="7457"/>
                  </a:cubicBezTo>
                  <a:cubicBezTo>
                    <a:pt x="669" y="7479"/>
                    <a:pt x="669" y="7497"/>
                    <a:pt x="687" y="7520"/>
                  </a:cubicBezTo>
                  <a:cubicBezTo>
                    <a:pt x="733" y="7578"/>
                    <a:pt x="768" y="7607"/>
                    <a:pt x="786" y="7677"/>
                  </a:cubicBezTo>
                  <a:cubicBezTo>
                    <a:pt x="815" y="7747"/>
                    <a:pt x="803" y="7793"/>
                    <a:pt x="838" y="7858"/>
                  </a:cubicBezTo>
                  <a:cubicBezTo>
                    <a:pt x="861" y="7898"/>
                    <a:pt x="896" y="7904"/>
                    <a:pt x="925" y="7939"/>
                  </a:cubicBezTo>
                  <a:cubicBezTo>
                    <a:pt x="989" y="8026"/>
                    <a:pt x="995" y="8096"/>
                    <a:pt x="995" y="8207"/>
                  </a:cubicBezTo>
                  <a:cubicBezTo>
                    <a:pt x="995" y="8242"/>
                    <a:pt x="978" y="8265"/>
                    <a:pt x="978" y="8306"/>
                  </a:cubicBezTo>
                  <a:cubicBezTo>
                    <a:pt x="978" y="8393"/>
                    <a:pt x="978" y="8393"/>
                    <a:pt x="978" y="8393"/>
                  </a:cubicBezTo>
                  <a:cubicBezTo>
                    <a:pt x="978" y="8416"/>
                    <a:pt x="972" y="8434"/>
                    <a:pt x="972" y="8463"/>
                  </a:cubicBezTo>
                  <a:cubicBezTo>
                    <a:pt x="972" y="8498"/>
                    <a:pt x="995" y="8510"/>
                    <a:pt x="1001" y="8539"/>
                  </a:cubicBezTo>
                  <a:cubicBezTo>
                    <a:pt x="1024" y="8608"/>
                    <a:pt x="1013" y="8649"/>
                    <a:pt x="1024" y="8719"/>
                  </a:cubicBezTo>
                  <a:cubicBezTo>
                    <a:pt x="1042" y="8824"/>
                    <a:pt x="1083" y="8876"/>
                    <a:pt x="1129" y="8969"/>
                  </a:cubicBezTo>
                  <a:cubicBezTo>
                    <a:pt x="1199" y="9092"/>
                    <a:pt x="1228" y="9167"/>
                    <a:pt x="1281" y="9295"/>
                  </a:cubicBezTo>
                  <a:cubicBezTo>
                    <a:pt x="1310" y="9360"/>
                    <a:pt x="1356" y="9389"/>
                    <a:pt x="1356" y="9458"/>
                  </a:cubicBezTo>
                  <a:cubicBezTo>
                    <a:pt x="1356" y="9534"/>
                    <a:pt x="1356" y="9534"/>
                    <a:pt x="1356" y="9534"/>
                  </a:cubicBezTo>
                  <a:cubicBezTo>
                    <a:pt x="1356" y="9546"/>
                    <a:pt x="1350" y="9552"/>
                    <a:pt x="1350" y="9563"/>
                  </a:cubicBezTo>
                  <a:cubicBezTo>
                    <a:pt x="1350" y="9604"/>
                    <a:pt x="1368" y="9627"/>
                    <a:pt x="1368" y="9674"/>
                  </a:cubicBezTo>
                  <a:cubicBezTo>
                    <a:pt x="1368" y="9703"/>
                    <a:pt x="1362" y="9720"/>
                    <a:pt x="1350" y="9744"/>
                  </a:cubicBezTo>
                  <a:cubicBezTo>
                    <a:pt x="1362" y="9784"/>
                    <a:pt x="1362" y="9784"/>
                    <a:pt x="1362" y="9784"/>
                  </a:cubicBezTo>
                  <a:cubicBezTo>
                    <a:pt x="1350" y="9819"/>
                    <a:pt x="1356" y="9843"/>
                    <a:pt x="1345" y="9872"/>
                  </a:cubicBezTo>
                  <a:cubicBezTo>
                    <a:pt x="1339" y="9883"/>
                    <a:pt x="1321" y="9883"/>
                    <a:pt x="1310" y="9889"/>
                  </a:cubicBezTo>
                  <a:cubicBezTo>
                    <a:pt x="1292" y="9907"/>
                    <a:pt x="1292" y="9930"/>
                    <a:pt x="1286" y="9959"/>
                  </a:cubicBezTo>
                  <a:cubicBezTo>
                    <a:pt x="1327" y="10209"/>
                    <a:pt x="1327" y="10209"/>
                    <a:pt x="1327" y="10209"/>
                  </a:cubicBezTo>
                  <a:cubicBezTo>
                    <a:pt x="1327" y="10291"/>
                    <a:pt x="1304" y="10338"/>
                    <a:pt x="1263" y="10413"/>
                  </a:cubicBezTo>
                  <a:cubicBezTo>
                    <a:pt x="1228" y="10483"/>
                    <a:pt x="1187" y="10535"/>
                    <a:pt x="1106" y="10535"/>
                  </a:cubicBezTo>
                  <a:cubicBezTo>
                    <a:pt x="1065" y="10535"/>
                    <a:pt x="1053" y="10495"/>
                    <a:pt x="1013" y="10471"/>
                  </a:cubicBezTo>
                  <a:cubicBezTo>
                    <a:pt x="1013" y="10518"/>
                    <a:pt x="1013" y="10518"/>
                    <a:pt x="1013" y="10518"/>
                  </a:cubicBezTo>
                  <a:cubicBezTo>
                    <a:pt x="1013" y="10541"/>
                    <a:pt x="1001" y="10547"/>
                    <a:pt x="1001" y="10564"/>
                  </a:cubicBezTo>
                  <a:cubicBezTo>
                    <a:pt x="1001" y="10704"/>
                    <a:pt x="1001" y="10704"/>
                    <a:pt x="1001" y="10704"/>
                  </a:cubicBezTo>
                  <a:cubicBezTo>
                    <a:pt x="1001" y="10751"/>
                    <a:pt x="1013" y="10780"/>
                    <a:pt x="1024" y="10827"/>
                  </a:cubicBezTo>
                  <a:cubicBezTo>
                    <a:pt x="1036" y="10873"/>
                    <a:pt x="1036" y="10902"/>
                    <a:pt x="1071" y="10931"/>
                  </a:cubicBezTo>
                  <a:cubicBezTo>
                    <a:pt x="1077" y="10914"/>
                    <a:pt x="1083" y="10902"/>
                    <a:pt x="1094" y="10885"/>
                  </a:cubicBezTo>
                  <a:cubicBezTo>
                    <a:pt x="1199" y="10925"/>
                    <a:pt x="1263" y="10954"/>
                    <a:pt x="1345" y="11036"/>
                  </a:cubicBezTo>
                  <a:cubicBezTo>
                    <a:pt x="1391" y="11083"/>
                    <a:pt x="1438" y="11100"/>
                    <a:pt x="1461" y="11158"/>
                  </a:cubicBezTo>
                  <a:cubicBezTo>
                    <a:pt x="1478" y="11187"/>
                    <a:pt x="1461" y="11211"/>
                    <a:pt x="1484" y="11228"/>
                  </a:cubicBezTo>
                  <a:cubicBezTo>
                    <a:pt x="1519" y="11251"/>
                    <a:pt x="1548" y="11234"/>
                    <a:pt x="1583" y="11246"/>
                  </a:cubicBezTo>
                  <a:cubicBezTo>
                    <a:pt x="1671" y="11275"/>
                    <a:pt x="1717" y="11298"/>
                    <a:pt x="1793" y="11345"/>
                  </a:cubicBezTo>
                  <a:cubicBezTo>
                    <a:pt x="1799" y="11327"/>
                    <a:pt x="1804" y="11316"/>
                    <a:pt x="1810" y="11298"/>
                  </a:cubicBezTo>
                  <a:cubicBezTo>
                    <a:pt x="1909" y="11345"/>
                    <a:pt x="1909" y="11345"/>
                    <a:pt x="1909" y="11345"/>
                  </a:cubicBezTo>
                  <a:cubicBezTo>
                    <a:pt x="1927" y="11333"/>
                    <a:pt x="1933" y="11316"/>
                    <a:pt x="1944" y="11298"/>
                  </a:cubicBezTo>
                  <a:cubicBezTo>
                    <a:pt x="1967" y="11316"/>
                    <a:pt x="1985" y="11327"/>
                    <a:pt x="2014" y="11327"/>
                  </a:cubicBezTo>
                  <a:cubicBezTo>
                    <a:pt x="2043" y="11327"/>
                    <a:pt x="2061" y="11333"/>
                    <a:pt x="2090" y="11333"/>
                  </a:cubicBezTo>
                  <a:cubicBezTo>
                    <a:pt x="2107" y="11333"/>
                    <a:pt x="2113" y="11310"/>
                    <a:pt x="2136" y="11310"/>
                  </a:cubicBezTo>
                  <a:cubicBezTo>
                    <a:pt x="2154" y="11310"/>
                    <a:pt x="2165" y="11316"/>
                    <a:pt x="2183" y="11310"/>
                  </a:cubicBezTo>
                  <a:cubicBezTo>
                    <a:pt x="2183" y="11321"/>
                    <a:pt x="2177" y="11327"/>
                    <a:pt x="2177" y="11339"/>
                  </a:cubicBezTo>
                  <a:cubicBezTo>
                    <a:pt x="2177" y="11350"/>
                    <a:pt x="2194" y="11345"/>
                    <a:pt x="2206" y="11350"/>
                  </a:cubicBezTo>
                  <a:cubicBezTo>
                    <a:pt x="2224" y="11356"/>
                    <a:pt x="2235" y="11374"/>
                    <a:pt x="2259" y="11374"/>
                  </a:cubicBezTo>
                  <a:cubicBezTo>
                    <a:pt x="2282" y="11374"/>
                    <a:pt x="2282" y="11333"/>
                    <a:pt x="2305" y="11333"/>
                  </a:cubicBezTo>
                  <a:cubicBezTo>
                    <a:pt x="2346" y="11333"/>
                    <a:pt x="2363" y="11374"/>
                    <a:pt x="2404" y="11379"/>
                  </a:cubicBezTo>
                  <a:cubicBezTo>
                    <a:pt x="2404" y="11316"/>
                    <a:pt x="2474" y="11304"/>
                    <a:pt x="2532" y="11269"/>
                  </a:cubicBezTo>
                  <a:cubicBezTo>
                    <a:pt x="2567" y="11251"/>
                    <a:pt x="2590" y="11251"/>
                    <a:pt x="2625" y="11228"/>
                  </a:cubicBezTo>
                  <a:cubicBezTo>
                    <a:pt x="2649" y="11211"/>
                    <a:pt x="2643" y="11182"/>
                    <a:pt x="2672" y="11170"/>
                  </a:cubicBezTo>
                  <a:cubicBezTo>
                    <a:pt x="2695" y="11153"/>
                    <a:pt x="2701" y="11135"/>
                    <a:pt x="2730" y="11123"/>
                  </a:cubicBezTo>
                  <a:cubicBezTo>
                    <a:pt x="2759" y="11112"/>
                    <a:pt x="2782" y="11117"/>
                    <a:pt x="2806" y="11094"/>
                  </a:cubicBezTo>
                  <a:cubicBezTo>
                    <a:pt x="2817" y="11083"/>
                    <a:pt x="2806" y="11059"/>
                    <a:pt x="2817" y="11042"/>
                  </a:cubicBezTo>
                  <a:cubicBezTo>
                    <a:pt x="2847" y="10995"/>
                    <a:pt x="2899" y="10995"/>
                    <a:pt x="2951" y="10995"/>
                  </a:cubicBezTo>
                  <a:cubicBezTo>
                    <a:pt x="2992" y="10995"/>
                    <a:pt x="3010" y="11013"/>
                    <a:pt x="3050" y="11019"/>
                  </a:cubicBezTo>
                  <a:cubicBezTo>
                    <a:pt x="3056" y="10995"/>
                    <a:pt x="3079" y="10995"/>
                    <a:pt x="3103" y="10990"/>
                  </a:cubicBezTo>
                  <a:cubicBezTo>
                    <a:pt x="3184" y="10827"/>
                    <a:pt x="3271" y="10687"/>
                    <a:pt x="3452" y="10687"/>
                  </a:cubicBezTo>
                  <a:cubicBezTo>
                    <a:pt x="3469" y="10687"/>
                    <a:pt x="3475" y="10698"/>
                    <a:pt x="3487" y="10698"/>
                  </a:cubicBezTo>
                  <a:cubicBezTo>
                    <a:pt x="3510" y="10698"/>
                    <a:pt x="3516" y="10687"/>
                    <a:pt x="3539" y="10687"/>
                  </a:cubicBezTo>
                  <a:cubicBezTo>
                    <a:pt x="3574" y="10687"/>
                    <a:pt x="3592" y="10704"/>
                    <a:pt x="3627" y="10704"/>
                  </a:cubicBezTo>
                  <a:cubicBezTo>
                    <a:pt x="3656" y="10704"/>
                    <a:pt x="3650" y="10664"/>
                    <a:pt x="3679" y="10658"/>
                  </a:cubicBezTo>
                  <a:cubicBezTo>
                    <a:pt x="3731" y="10646"/>
                    <a:pt x="3766" y="10646"/>
                    <a:pt x="3825" y="10646"/>
                  </a:cubicBezTo>
                  <a:cubicBezTo>
                    <a:pt x="3918" y="10646"/>
                    <a:pt x="3918" y="10646"/>
                    <a:pt x="3918" y="10646"/>
                  </a:cubicBezTo>
                  <a:cubicBezTo>
                    <a:pt x="3982" y="10646"/>
                    <a:pt x="4017" y="10617"/>
                    <a:pt x="4081" y="10617"/>
                  </a:cubicBezTo>
                  <a:cubicBezTo>
                    <a:pt x="4162" y="10617"/>
                    <a:pt x="4203" y="10664"/>
                    <a:pt x="4285" y="10664"/>
                  </a:cubicBezTo>
                  <a:cubicBezTo>
                    <a:pt x="4314" y="10664"/>
                    <a:pt x="4325" y="10640"/>
                    <a:pt x="4354" y="10640"/>
                  </a:cubicBezTo>
                  <a:cubicBezTo>
                    <a:pt x="4383" y="10640"/>
                    <a:pt x="4401" y="10652"/>
                    <a:pt x="4418" y="10681"/>
                  </a:cubicBezTo>
                  <a:cubicBezTo>
                    <a:pt x="4424" y="10698"/>
                    <a:pt x="4424" y="10722"/>
                    <a:pt x="4442" y="10722"/>
                  </a:cubicBezTo>
                  <a:cubicBezTo>
                    <a:pt x="4465" y="10722"/>
                    <a:pt x="4482" y="10727"/>
                    <a:pt x="4500" y="10716"/>
                  </a:cubicBezTo>
                  <a:cubicBezTo>
                    <a:pt x="4523" y="10704"/>
                    <a:pt x="4523" y="10664"/>
                    <a:pt x="4552" y="10664"/>
                  </a:cubicBezTo>
                  <a:cubicBezTo>
                    <a:pt x="4581" y="10664"/>
                    <a:pt x="4593" y="10687"/>
                    <a:pt x="4622" y="10687"/>
                  </a:cubicBezTo>
                  <a:cubicBezTo>
                    <a:pt x="4640" y="10687"/>
                    <a:pt x="4645" y="10675"/>
                    <a:pt x="4657" y="10669"/>
                  </a:cubicBezTo>
                  <a:cubicBezTo>
                    <a:pt x="4709" y="10669"/>
                    <a:pt x="4709" y="10669"/>
                    <a:pt x="4709" y="10669"/>
                  </a:cubicBezTo>
                  <a:cubicBezTo>
                    <a:pt x="4768" y="10669"/>
                    <a:pt x="4797" y="10658"/>
                    <a:pt x="4855" y="10658"/>
                  </a:cubicBezTo>
                  <a:cubicBezTo>
                    <a:pt x="4902" y="10658"/>
                    <a:pt x="4907" y="10722"/>
                    <a:pt x="4954" y="10722"/>
                  </a:cubicBezTo>
                  <a:cubicBezTo>
                    <a:pt x="5012" y="10722"/>
                    <a:pt x="5041" y="10693"/>
                    <a:pt x="5094" y="10664"/>
                  </a:cubicBezTo>
                  <a:cubicBezTo>
                    <a:pt x="5117" y="10652"/>
                    <a:pt x="5134" y="10652"/>
                    <a:pt x="5164" y="10646"/>
                  </a:cubicBezTo>
                  <a:cubicBezTo>
                    <a:pt x="5187" y="10640"/>
                    <a:pt x="5210" y="10640"/>
                    <a:pt x="5210" y="10623"/>
                  </a:cubicBezTo>
                  <a:cubicBezTo>
                    <a:pt x="5210" y="10605"/>
                    <a:pt x="5198" y="10599"/>
                    <a:pt x="5198" y="10582"/>
                  </a:cubicBezTo>
                  <a:cubicBezTo>
                    <a:pt x="5198" y="10518"/>
                    <a:pt x="5280" y="10518"/>
                    <a:pt x="5315" y="10465"/>
                  </a:cubicBezTo>
                  <a:cubicBezTo>
                    <a:pt x="5350" y="10413"/>
                    <a:pt x="5344" y="10372"/>
                    <a:pt x="5356" y="10314"/>
                  </a:cubicBezTo>
                  <a:cubicBezTo>
                    <a:pt x="5373" y="10244"/>
                    <a:pt x="5396" y="10204"/>
                    <a:pt x="5455" y="10169"/>
                  </a:cubicBezTo>
                  <a:cubicBezTo>
                    <a:pt x="5507" y="10139"/>
                    <a:pt x="5530" y="10105"/>
                    <a:pt x="5583" y="10105"/>
                  </a:cubicBezTo>
                  <a:cubicBezTo>
                    <a:pt x="5635" y="10105"/>
                    <a:pt x="5635" y="10105"/>
                    <a:pt x="5635" y="10105"/>
                  </a:cubicBezTo>
                  <a:cubicBezTo>
                    <a:pt x="5693" y="10105"/>
                    <a:pt x="5717" y="10070"/>
                    <a:pt x="5763" y="10041"/>
                  </a:cubicBezTo>
                  <a:cubicBezTo>
                    <a:pt x="5856" y="9982"/>
                    <a:pt x="5909" y="9942"/>
                    <a:pt x="6013" y="9918"/>
                  </a:cubicBezTo>
                  <a:cubicBezTo>
                    <a:pt x="6153" y="9907"/>
                    <a:pt x="6188" y="9761"/>
                    <a:pt x="6322" y="9726"/>
                  </a:cubicBezTo>
                  <a:cubicBezTo>
                    <a:pt x="6345" y="9732"/>
                    <a:pt x="6345" y="9732"/>
                    <a:pt x="6345" y="9732"/>
                  </a:cubicBezTo>
                  <a:cubicBezTo>
                    <a:pt x="6363" y="9720"/>
                    <a:pt x="6375" y="9709"/>
                    <a:pt x="6398" y="9709"/>
                  </a:cubicBezTo>
                  <a:cubicBezTo>
                    <a:pt x="6485" y="9709"/>
                    <a:pt x="6526" y="9761"/>
                    <a:pt x="6607" y="9761"/>
                  </a:cubicBezTo>
                  <a:cubicBezTo>
                    <a:pt x="6764" y="9761"/>
                    <a:pt x="6852" y="9744"/>
                    <a:pt x="7009" y="9709"/>
                  </a:cubicBezTo>
                  <a:cubicBezTo>
                    <a:pt x="7079" y="9691"/>
                    <a:pt x="7108" y="9656"/>
                    <a:pt x="7178" y="9639"/>
                  </a:cubicBezTo>
                  <a:cubicBezTo>
                    <a:pt x="7300" y="9610"/>
                    <a:pt x="7364" y="9581"/>
                    <a:pt x="7481" y="9528"/>
                  </a:cubicBezTo>
                  <a:cubicBezTo>
                    <a:pt x="7585" y="9487"/>
                    <a:pt x="7626" y="9406"/>
                    <a:pt x="7737" y="9406"/>
                  </a:cubicBezTo>
                  <a:lnTo>
                    <a:pt x="7737" y="9406"/>
                  </a:lnTo>
                  <a:cubicBezTo>
                    <a:pt x="7737" y="6258"/>
                    <a:pt x="7737" y="6258"/>
                    <a:pt x="7737" y="6258"/>
                  </a:cubicBezTo>
                  <a:lnTo>
                    <a:pt x="7737" y="6258"/>
                  </a:lnTo>
                  <a:cubicBezTo>
                    <a:pt x="7713" y="576"/>
                    <a:pt x="7713" y="576"/>
                    <a:pt x="7713" y="576"/>
                  </a:cubicBezTo>
                  <a:close/>
                  <a:moveTo>
                    <a:pt x="1123" y="3580"/>
                  </a:moveTo>
                  <a:lnTo>
                    <a:pt x="1123" y="3580"/>
                  </a:lnTo>
                  <a:cubicBezTo>
                    <a:pt x="1141" y="3539"/>
                    <a:pt x="1164" y="3510"/>
                    <a:pt x="1205" y="3498"/>
                  </a:cubicBezTo>
                  <a:cubicBezTo>
                    <a:pt x="1205" y="3539"/>
                    <a:pt x="1187" y="3586"/>
                    <a:pt x="1147" y="3586"/>
                  </a:cubicBezTo>
                  <a:cubicBezTo>
                    <a:pt x="1135" y="3586"/>
                    <a:pt x="1129" y="3586"/>
                    <a:pt x="1123" y="3580"/>
                  </a:cubicBezTo>
                  <a:close/>
                  <a:moveTo>
                    <a:pt x="29" y="6019"/>
                  </a:moveTo>
                  <a:lnTo>
                    <a:pt x="29" y="6019"/>
                  </a:lnTo>
                  <a:cubicBezTo>
                    <a:pt x="23" y="6019"/>
                    <a:pt x="17" y="6013"/>
                    <a:pt x="6" y="6013"/>
                  </a:cubicBezTo>
                  <a:cubicBezTo>
                    <a:pt x="6" y="6019"/>
                    <a:pt x="0" y="6025"/>
                    <a:pt x="0" y="6036"/>
                  </a:cubicBezTo>
                  <a:cubicBezTo>
                    <a:pt x="0" y="6118"/>
                    <a:pt x="29" y="6164"/>
                    <a:pt x="70" y="6234"/>
                  </a:cubicBezTo>
                  <a:cubicBezTo>
                    <a:pt x="93" y="6275"/>
                    <a:pt x="99" y="6304"/>
                    <a:pt x="122" y="6339"/>
                  </a:cubicBezTo>
                  <a:cubicBezTo>
                    <a:pt x="116" y="6223"/>
                    <a:pt x="29" y="6170"/>
                    <a:pt x="29" y="6054"/>
                  </a:cubicBezTo>
                  <a:lnTo>
                    <a:pt x="29" y="6019"/>
                  </a:lnTo>
                  <a:close/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4" name="Freeform 63"/>
            <p:cNvSpPr>
              <a:spLocks noChangeArrowheads="1"/>
            </p:cNvSpPr>
            <p:nvPr/>
          </p:nvSpPr>
          <p:spPr bwMode="auto">
            <a:xfrm>
              <a:off x="16292133" y="3470940"/>
              <a:ext cx="1916832" cy="3344973"/>
            </a:xfrm>
            <a:custGeom>
              <a:avLst/>
              <a:gdLst>
                <a:gd name="T0" fmla="*/ 984 w 4355"/>
                <a:gd name="T1" fmla="*/ 157 h 7604"/>
                <a:gd name="T2" fmla="*/ 874 w 4355"/>
                <a:gd name="T3" fmla="*/ 227 h 7604"/>
                <a:gd name="T4" fmla="*/ 676 w 4355"/>
                <a:gd name="T5" fmla="*/ 59 h 7604"/>
                <a:gd name="T6" fmla="*/ 897 w 4355"/>
                <a:gd name="T7" fmla="*/ 379 h 7604"/>
                <a:gd name="T8" fmla="*/ 1171 w 4355"/>
                <a:gd name="T9" fmla="*/ 268 h 7604"/>
                <a:gd name="T10" fmla="*/ 664 w 4355"/>
                <a:gd name="T11" fmla="*/ 169 h 7604"/>
                <a:gd name="T12" fmla="*/ 781 w 4355"/>
                <a:gd name="T13" fmla="*/ 361 h 7604"/>
                <a:gd name="T14" fmla="*/ 554 w 4355"/>
                <a:gd name="T15" fmla="*/ 315 h 7604"/>
                <a:gd name="T16" fmla="*/ 571 w 4355"/>
                <a:gd name="T17" fmla="*/ 204 h 7604"/>
                <a:gd name="T18" fmla="*/ 3591 w 4355"/>
                <a:gd name="T19" fmla="*/ 1374 h 7604"/>
                <a:gd name="T20" fmla="*/ 3824 w 4355"/>
                <a:gd name="T21" fmla="*/ 1549 h 7604"/>
                <a:gd name="T22" fmla="*/ 3708 w 4355"/>
                <a:gd name="T23" fmla="*/ 1520 h 7604"/>
                <a:gd name="T24" fmla="*/ 3754 w 4355"/>
                <a:gd name="T25" fmla="*/ 1386 h 7604"/>
                <a:gd name="T26" fmla="*/ 3498 w 4355"/>
                <a:gd name="T27" fmla="*/ 1298 h 7604"/>
                <a:gd name="T28" fmla="*/ 3498 w 4355"/>
                <a:gd name="T29" fmla="*/ 1298 h 7604"/>
                <a:gd name="T30" fmla="*/ 3894 w 4355"/>
                <a:gd name="T31" fmla="*/ 2352 h 7604"/>
                <a:gd name="T32" fmla="*/ 4348 w 4355"/>
                <a:gd name="T33" fmla="*/ 2742 h 7604"/>
                <a:gd name="T34" fmla="*/ 0 w 4355"/>
                <a:gd name="T35" fmla="*/ 1904 h 7604"/>
                <a:gd name="T36" fmla="*/ 117 w 4355"/>
                <a:gd name="T37" fmla="*/ 1898 h 7604"/>
                <a:gd name="T38" fmla="*/ 292 w 4355"/>
                <a:gd name="T39" fmla="*/ 1997 h 7604"/>
                <a:gd name="T40" fmla="*/ 297 w 4355"/>
                <a:gd name="T41" fmla="*/ 1881 h 7604"/>
                <a:gd name="T42" fmla="*/ 449 w 4355"/>
                <a:gd name="T43" fmla="*/ 1828 h 7604"/>
                <a:gd name="T44" fmla="*/ 361 w 4355"/>
                <a:gd name="T45" fmla="*/ 1724 h 7604"/>
                <a:gd name="T46" fmla="*/ 268 w 4355"/>
                <a:gd name="T47" fmla="*/ 1531 h 7604"/>
                <a:gd name="T48" fmla="*/ 466 w 4355"/>
                <a:gd name="T49" fmla="*/ 1217 h 7604"/>
                <a:gd name="T50" fmla="*/ 629 w 4355"/>
                <a:gd name="T51" fmla="*/ 1112 h 7604"/>
                <a:gd name="T52" fmla="*/ 664 w 4355"/>
                <a:gd name="T53" fmla="*/ 815 h 7604"/>
                <a:gd name="T54" fmla="*/ 781 w 4355"/>
                <a:gd name="T55" fmla="*/ 763 h 7604"/>
                <a:gd name="T56" fmla="*/ 880 w 4355"/>
                <a:gd name="T57" fmla="*/ 740 h 7604"/>
                <a:gd name="T58" fmla="*/ 949 w 4355"/>
                <a:gd name="T59" fmla="*/ 751 h 7604"/>
                <a:gd name="T60" fmla="*/ 1060 w 4355"/>
                <a:gd name="T61" fmla="*/ 588 h 7604"/>
                <a:gd name="T62" fmla="*/ 1369 w 4355"/>
                <a:gd name="T63" fmla="*/ 588 h 7604"/>
                <a:gd name="T64" fmla="*/ 1753 w 4355"/>
                <a:gd name="T65" fmla="*/ 425 h 7604"/>
                <a:gd name="T66" fmla="*/ 1718 w 4355"/>
                <a:gd name="T67" fmla="*/ 297 h 7604"/>
                <a:gd name="T68" fmla="*/ 1374 w 4355"/>
                <a:gd name="T69" fmla="*/ 94 h 7604"/>
                <a:gd name="T70" fmla="*/ 1526 w 4355"/>
                <a:gd name="T71" fmla="*/ 128 h 7604"/>
                <a:gd name="T72" fmla="*/ 1613 w 4355"/>
                <a:gd name="T73" fmla="*/ 41 h 7604"/>
                <a:gd name="T74" fmla="*/ 1712 w 4355"/>
                <a:gd name="T75" fmla="*/ 0 h 7604"/>
                <a:gd name="T76" fmla="*/ 1840 w 4355"/>
                <a:gd name="T77" fmla="*/ 204 h 7604"/>
                <a:gd name="T78" fmla="*/ 2235 w 4355"/>
                <a:gd name="T79" fmla="*/ 385 h 7604"/>
                <a:gd name="T80" fmla="*/ 2375 w 4355"/>
                <a:gd name="T81" fmla="*/ 437 h 7604"/>
                <a:gd name="T82" fmla="*/ 2631 w 4355"/>
                <a:gd name="T83" fmla="*/ 507 h 7604"/>
                <a:gd name="T84" fmla="*/ 2957 w 4355"/>
                <a:gd name="T85" fmla="*/ 583 h 7604"/>
                <a:gd name="T86" fmla="*/ 3097 w 4355"/>
                <a:gd name="T87" fmla="*/ 536 h 7604"/>
                <a:gd name="T88" fmla="*/ 3295 w 4355"/>
                <a:gd name="T89" fmla="*/ 425 h 7604"/>
                <a:gd name="T90" fmla="*/ 3242 w 4355"/>
                <a:gd name="T91" fmla="*/ 594 h 7604"/>
                <a:gd name="T92" fmla="*/ 3358 w 4355"/>
                <a:gd name="T93" fmla="*/ 693 h 7604"/>
                <a:gd name="T94" fmla="*/ 3469 w 4355"/>
                <a:gd name="T95" fmla="*/ 542 h 7604"/>
                <a:gd name="T96" fmla="*/ 3737 w 4355"/>
                <a:gd name="T97" fmla="*/ 583 h 7604"/>
                <a:gd name="T98" fmla="*/ 3743 w 4355"/>
                <a:gd name="T99" fmla="*/ 681 h 7604"/>
                <a:gd name="T100" fmla="*/ 3650 w 4355"/>
                <a:gd name="T101" fmla="*/ 932 h 7604"/>
                <a:gd name="T102" fmla="*/ 3539 w 4355"/>
                <a:gd name="T103" fmla="*/ 978 h 7604"/>
                <a:gd name="T104" fmla="*/ 3428 w 4355"/>
                <a:gd name="T105" fmla="*/ 1007 h 7604"/>
                <a:gd name="T106" fmla="*/ 3329 w 4355"/>
                <a:gd name="T107" fmla="*/ 1165 h 7604"/>
                <a:gd name="T108" fmla="*/ 3230 w 4355"/>
                <a:gd name="T109" fmla="*/ 1601 h 7604"/>
                <a:gd name="T110" fmla="*/ 3242 w 4355"/>
                <a:gd name="T111" fmla="*/ 2015 h 7604"/>
                <a:gd name="T112" fmla="*/ 3725 w 4355"/>
                <a:gd name="T113" fmla="*/ 2410 h 7604"/>
                <a:gd name="T114" fmla="*/ 3964 w 4355"/>
                <a:gd name="T115" fmla="*/ 2474 h 7604"/>
                <a:gd name="T116" fmla="*/ 4226 w 4355"/>
                <a:gd name="T117" fmla="*/ 2626 h 7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355" h="7604">
                  <a:moveTo>
                    <a:pt x="1089" y="59"/>
                  </a:moveTo>
                  <a:lnTo>
                    <a:pt x="1089" y="59"/>
                  </a:lnTo>
                  <a:cubicBezTo>
                    <a:pt x="1083" y="105"/>
                    <a:pt x="1089" y="128"/>
                    <a:pt x="1089" y="175"/>
                  </a:cubicBezTo>
                  <a:cubicBezTo>
                    <a:pt x="1077" y="146"/>
                    <a:pt x="1072" y="117"/>
                    <a:pt x="1043" y="117"/>
                  </a:cubicBezTo>
                  <a:cubicBezTo>
                    <a:pt x="1013" y="117"/>
                    <a:pt x="984" y="128"/>
                    <a:pt x="984" y="157"/>
                  </a:cubicBezTo>
                  <a:cubicBezTo>
                    <a:pt x="984" y="181"/>
                    <a:pt x="984" y="192"/>
                    <a:pt x="984" y="210"/>
                  </a:cubicBezTo>
                  <a:cubicBezTo>
                    <a:pt x="967" y="181"/>
                    <a:pt x="978" y="128"/>
                    <a:pt x="944" y="128"/>
                  </a:cubicBezTo>
                  <a:cubicBezTo>
                    <a:pt x="909" y="128"/>
                    <a:pt x="891" y="157"/>
                    <a:pt x="856" y="163"/>
                  </a:cubicBezTo>
                  <a:cubicBezTo>
                    <a:pt x="862" y="187"/>
                    <a:pt x="874" y="198"/>
                    <a:pt x="885" y="227"/>
                  </a:cubicBezTo>
                  <a:cubicBezTo>
                    <a:pt x="874" y="227"/>
                    <a:pt x="874" y="227"/>
                    <a:pt x="874" y="227"/>
                  </a:cubicBezTo>
                  <a:cubicBezTo>
                    <a:pt x="845" y="210"/>
                    <a:pt x="833" y="187"/>
                    <a:pt x="798" y="169"/>
                  </a:cubicBezTo>
                  <a:cubicBezTo>
                    <a:pt x="775" y="163"/>
                    <a:pt x="751" y="157"/>
                    <a:pt x="746" y="128"/>
                  </a:cubicBezTo>
                  <a:cubicBezTo>
                    <a:pt x="769" y="128"/>
                    <a:pt x="769" y="128"/>
                    <a:pt x="769" y="128"/>
                  </a:cubicBezTo>
                  <a:cubicBezTo>
                    <a:pt x="769" y="123"/>
                    <a:pt x="769" y="117"/>
                    <a:pt x="775" y="111"/>
                  </a:cubicBezTo>
                  <a:cubicBezTo>
                    <a:pt x="734" y="105"/>
                    <a:pt x="717" y="76"/>
                    <a:pt x="676" y="59"/>
                  </a:cubicBezTo>
                  <a:cubicBezTo>
                    <a:pt x="676" y="59"/>
                    <a:pt x="670" y="64"/>
                    <a:pt x="670" y="70"/>
                  </a:cubicBezTo>
                  <a:cubicBezTo>
                    <a:pt x="670" y="157"/>
                    <a:pt x="722" y="198"/>
                    <a:pt x="722" y="291"/>
                  </a:cubicBezTo>
                  <a:cubicBezTo>
                    <a:pt x="751" y="291"/>
                    <a:pt x="769" y="297"/>
                    <a:pt x="786" y="309"/>
                  </a:cubicBezTo>
                  <a:cubicBezTo>
                    <a:pt x="815" y="320"/>
                    <a:pt x="804" y="355"/>
                    <a:pt x="827" y="373"/>
                  </a:cubicBezTo>
                  <a:cubicBezTo>
                    <a:pt x="850" y="385"/>
                    <a:pt x="868" y="373"/>
                    <a:pt x="897" y="379"/>
                  </a:cubicBezTo>
                  <a:cubicBezTo>
                    <a:pt x="920" y="390"/>
                    <a:pt x="932" y="408"/>
                    <a:pt x="949" y="431"/>
                  </a:cubicBezTo>
                  <a:cubicBezTo>
                    <a:pt x="967" y="420"/>
                    <a:pt x="967" y="396"/>
                    <a:pt x="984" y="385"/>
                  </a:cubicBezTo>
                  <a:cubicBezTo>
                    <a:pt x="1008" y="367"/>
                    <a:pt x="1037" y="373"/>
                    <a:pt x="1060" y="350"/>
                  </a:cubicBezTo>
                  <a:cubicBezTo>
                    <a:pt x="1095" y="320"/>
                    <a:pt x="1095" y="262"/>
                    <a:pt x="1141" y="262"/>
                  </a:cubicBezTo>
                  <a:cubicBezTo>
                    <a:pt x="1153" y="262"/>
                    <a:pt x="1159" y="268"/>
                    <a:pt x="1171" y="268"/>
                  </a:cubicBezTo>
                  <a:cubicBezTo>
                    <a:pt x="1188" y="233"/>
                    <a:pt x="1217" y="216"/>
                    <a:pt x="1217" y="181"/>
                  </a:cubicBezTo>
                  <a:cubicBezTo>
                    <a:pt x="1217" y="152"/>
                    <a:pt x="1182" y="157"/>
                    <a:pt x="1171" y="134"/>
                  </a:cubicBezTo>
                  <a:cubicBezTo>
                    <a:pt x="1141" y="99"/>
                    <a:pt x="1130" y="76"/>
                    <a:pt x="1089" y="59"/>
                  </a:cubicBezTo>
                  <a:close/>
                  <a:moveTo>
                    <a:pt x="664" y="169"/>
                  </a:moveTo>
                  <a:lnTo>
                    <a:pt x="664" y="169"/>
                  </a:lnTo>
                  <a:cubicBezTo>
                    <a:pt x="676" y="210"/>
                    <a:pt x="652" y="227"/>
                    <a:pt x="647" y="268"/>
                  </a:cubicBezTo>
                  <a:cubicBezTo>
                    <a:pt x="664" y="268"/>
                    <a:pt x="682" y="262"/>
                    <a:pt x="693" y="274"/>
                  </a:cubicBezTo>
                  <a:cubicBezTo>
                    <a:pt x="687" y="297"/>
                    <a:pt x="687" y="297"/>
                    <a:pt x="687" y="297"/>
                  </a:cubicBezTo>
                  <a:cubicBezTo>
                    <a:pt x="687" y="303"/>
                    <a:pt x="687" y="309"/>
                    <a:pt x="687" y="315"/>
                  </a:cubicBezTo>
                  <a:cubicBezTo>
                    <a:pt x="728" y="320"/>
                    <a:pt x="751" y="332"/>
                    <a:pt x="781" y="361"/>
                  </a:cubicBezTo>
                  <a:cubicBezTo>
                    <a:pt x="769" y="367"/>
                    <a:pt x="757" y="379"/>
                    <a:pt x="740" y="379"/>
                  </a:cubicBezTo>
                  <a:cubicBezTo>
                    <a:pt x="687" y="379"/>
                    <a:pt x="658" y="350"/>
                    <a:pt x="606" y="350"/>
                  </a:cubicBezTo>
                  <a:cubicBezTo>
                    <a:pt x="571" y="350"/>
                    <a:pt x="554" y="361"/>
                    <a:pt x="524" y="367"/>
                  </a:cubicBezTo>
                  <a:cubicBezTo>
                    <a:pt x="530" y="350"/>
                    <a:pt x="530" y="332"/>
                    <a:pt x="536" y="315"/>
                  </a:cubicBezTo>
                  <a:cubicBezTo>
                    <a:pt x="554" y="315"/>
                    <a:pt x="554" y="315"/>
                    <a:pt x="554" y="315"/>
                  </a:cubicBezTo>
                  <a:cubicBezTo>
                    <a:pt x="559" y="315"/>
                    <a:pt x="565" y="320"/>
                    <a:pt x="571" y="320"/>
                  </a:cubicBezTo>
                  <a:cubicBezTo>
                    <a:pt x="594" y="320"/>
                    <a:pt x="623" y="326"/>
                    <a:pt x="623" y="303"/>
                  </a:cubicBezTo>
                  <a:cubicBezTo>
                    <a:pt x="623" y="268"/>
                    <a:pt x="594" y="262"/>
                    <a:pt x="583" y="233"/>
                  </a:cubicBezTo>
                  <a:cubicBezTo>
                    <a:pt x="594" y="210"/>
                    <a:pt x="594" y="210"/>
                    <a:pt x="594" y="210"/>
                  </a:cubicBezTo>
                  <a:cubicBezTo>
                    <a:pt x="583" y="210"/>
                    <a:pt x="577" y="204"/>
                    <a:pt x="571" y="204"/>
                  </a:cubicBezTo>
                  <a:cubicBezTo>
                    <a:pt x="577" y="192"/>
                    <a:pt x="577" y="192"/>
                    <a:pt x="577" y="192"/>
                  </a:cubicBezTo>
                  <a:cubicBezTo>
                    <a:pt x="612" y="175"/>
                    <a:pt x="623" y="152"/>
                    <a:pt x="647" y="128"/>
                  </a:cubicBezTo>
                  <a:cubicBezTo>
                    <a:pt x="658" y="140"/>
                    <a:pt x="664" y="152"/>
                    <a:pt x="664" y="169"/>
                  </a:cubicBezTo>
                  <a:close/>
                  <a:moveTo>
                    <a:pt x="3591" y="1374"/>
                  </a:moveTo>
                  <a:lnTo>
                    <a:pt x="3591" y="1374"/>
                  </a:lnTo>
                  <a:cubicBezTo>
                    <a:pt x="3591" y="1392"/>
                    <a:pt x="3597" y="1403"/>
                    <a:pt x="3597" y="1421"/>
                  </a:cubicBezTo>
                  <a:cubicBezTo>
                    <a:pt x="3597" y="1467"/>
                    <a:pt x="3591" y="1496"/>
                    <a:pt x="3586" y="1549"/>
                  </a:cubicBezTo>
                  <a:cubicBezTo>
                    <a:pt x="3667" y="1549"/>
                    <a:pt x="3708" y="1595"/>
                    <a:pt x="3789" y="1595"/>
                  </a:cubicBezTo>
                  <a:cubicBezTo>
                    <a:pt x="3801" y="1595"/>
                    <a:pt x="3813" y="1590"/>
                    <a:pt x="3824" y="1595"/>
                  </a:cubicBezTo>
                  <a:cubicBezTo>
                    <a:pt x="3824" y="1578"/>
                    <a:pt x="3824" y="1566"/>
                    <a:pt x="3824" y="1549"/>
                  </a:cubicBezTo>
                  <a:cubicBezTo>
                    <a:pt x="3818" y="1543"/>
                    <a:pt x="3818" y="1543"/>
                    <a:pt x="3818" y="1543"/>
                  </a:cubicBezTo>
                  <a:cubicBezTo>
                    <a:pt x="3807" y="1555"/>
                    <a:pt x="3801" y="1566"/>
                    <a:pt x="3784" y="1566"/>
                  </a:cubicBezTo>
                  <a:cubicBezTo>
                    <a:pt x="3772" y="1566"/>
                    <a:pt x="3772" y="1549"/>
                    <a:pt x="3766" y="1549"/>
                  </a:cubicBezTo>
                  <a:cubicBezTo>
                    <a:pt x="3754" y="1549"/>
                    <a:pt x="3749" y="1555"/>
                    <a:pt x="3743" y="1555"/>
                  </a:cubicBezTo>
                  <a:cubicBezTo>
                    <a:pt x="3720" y="1555"/>
                    <a:pt x="3708" y="1537"/>
                    <a:pt x="3708" y="1520"/>
                  </a:cubicBezTo>
                  <a:cubicBezTo>
                    <a:pt x="3708" y="1491"/>
                    <a:pt x="3731" y="1491"/>
                    <a:pt x="3743" y="1467"/>
                  </a:cubicBezTo>
                  <a:cubicBezTo>
                    <a:pt x="3725" y="1461"/>
                    <a:pt x="3708" y="1450"/>
                    <a:pt x="3708" y="1432"/>
                  </a:cubicBezTo>
                  <a:cubicBezTo>
                    <a:pt x="3708" y="1421"/>
                    <a:pt x="3714" y="1415"/>
                    <a:pt x="3714" y="1403"/>
                  </a:cubicBezTo>
                  <a:cubicBezTo>
                    <a:pt x="3725" y="1403"/>
                    <a:pt x="3731" y="1403"/>
                    <a:pt x="3743" y="1403"/>
                  </a:cubicBezTo>
                  <a:cubicBezTo>
                    <a:pt x="3778" y="1403"/>
                    <a:pt x="3824" y="1386"/>
                    <a:pt x="3754" y="1386"/>
                  </a:cubicBezTo>
                  <a:cubicBezTo>
                    <a:pt x="3731" y="1386"/>
                    <a:pt x="3708" y="1368"/>
                    <a:pt x="3708" y="1345"/>
                  </a:cubicBezTo>
                  <a:cubicBezTo>
                    <a:pt x="3708" y="1328"/>
                    <a:pt x="3720" y="1322"/>
                    <a:pt x="3720" y="1304"/>
                  </a:cubicBezTo>
                  <a:cubicBezTo>
                    <a:pt x="3720" y="1281"/>
                    <a:pt x="3690" y="1328"/>
                    <a:pt x="3679" y="1345"/>
                  </a:cubicBezTo>
                  <a:cubicBezTo>
                    <a:pt x="3661" y="1374"/>
                    <a:pt x="3626" y="1374"/>
                    <a:pt x="3591" y="1374"/>
                  </a:cubicBezTo>
                  <a:close/>
                  <a:moveTo>
                    <a:pt x="3498" y="1298"/>
                  </a:moveTo>
                  <a:lnTo>
                    <a:pt x="3498" y="1298"/>
                  </a:lnTo>
                  <a:cubicBezTo>
                    <a:pt x="3487" y="1293"/>
                    <a:pt x="3481" y="1293"/>
                    <a:pt x="3469" y="1287"/>
                  </a:cubicBezTo>
                  <a:cubicBezTo>
                    <a:pt x="3463" y="1298"/>
                    <a:pt x="3463" y="1304"/>
                    <a:pt x="3463" y="1310"/>
                  </a:cubicBezTo>
                  <a:cubicBezTo>
                    <a:pt x="3463" y="1339"/>
                    <a:pt x="3475" y="1351"/>
                    <a:pt x="3492" y="1374"/>
                  </a:cubicBezTo>
                  <a:cubicBezTo>
                    <a:pt x="3492" y="1345"/>
                    <a:pt x="3504" y="1328"/>
                    <a:pt x="3498" y="1298"/>
                  </a:cubicBezTo>
                  <a:close/>
                  <a:moveTo>
                    <a:pt x="3894" y="2306"/>
                  </a:moveTo>
                  <a:lnTo>
                    <a:pt x="3894" y="2306"/>
                  </a:lnTo>
                  <a:cubicBezTo>
                    <a:pt x="3883" y="2288"/>
                    <a:pt x="3883" y="2265"/>
                    <a:pt x="3859" y="2265"/>
                  </a:cubicBezTo>
                  <a:cubicBezTo>
                    <a:pt x="3847" y="2265"/>
                    <a:pt x="3836" y="2271"/>
                    <a:pt x="3824" y="2282"/>
                  </a:cubicBezTo>
                  <a:cubicBezTo>
                    <a:pt x="3847" y="2317"/>
                    <a:pt x="3865" y="2329"/>
                    <a:pt x="3894" y="2352"/>
                  </a:cubicBezTo>
                  <a:cubicBezTo>
                    <a:pt x="3894" y="2346"/>
                    <a:pt x="3900" y="2341"/>
                    <a:pt x="3900" y="2335"/>
                  </a:cubicBezTo>
                  <a:cubicBezTo>
                    <a:pt x="3900" y="2329"/>
                    <a:pt x="3894" y="2311"/>
                    <a:pt x="3894" y="2306"/>
                  </a:cubicBezTo>
                  <a:close/>
                  <a:moveTo>
                    <a:pt x="4348" y="2742"/>
                  </a:moveTo>
                  <a:lnTo>
                    <a:pt x="4348" y="2742"/>
                  </a:lnTo>
                  <a:lnTo>
                    <a:pt x="4348" y="2742"/>
                  </a:lnTo>
                  <a:cubicBezTo>
                    <a:pt x="4354" y="7603"/>
                    <a:pt x="4354" y="7603"/>
                    <a:pt x="4354" y="7603"/>
                  </a:cubicBezTo>
                  <a:lnTo>
                    <a:pt x="4354" y="7603"/>
                  </a:lnTo>
                  <a:cubicBezTo>
                    <a:pt x="24" y="7586"/>
                    <a:pt x="24" y="7586"/>
                    <a:pt x="24" y="7586"/>
                  </a:cubicBezTo>
                  <a:lnTo>
                    <a:pt x="24" y="7586"/>
                  </a:lnTo>
                  <a:cubicBezTo>
                    <a:pt x="0" y="1904"/>
                    <a:pt x="0" y="1904"/>
                    <a:pt x="0" y="1904"/>
                  </a:cubicBezTo>
                  <a:lnTo>
                    <a:pt x="0" y="1904"/>
                  </a:lnTo>
                  <a:cubicBezTo>
                    <a:pt x="53" y="1921"/>
                    <a:pt x="88" y="1956"/>
                    <a:pt x="88" y="2015"/>
                  </a:cubicBezTo>
                  <a:cubicBezTo>
                    <a:pt x="88" y="2137"/>
                    <a:pt x="88" y="2015"/>
                    <a:pt x="146" y="2015"/>
                  </a:cubicBezTo>
                  <a:cubicBezTo>
                    <a:pt x="140" y="1980"/>
                    <a:pt x="117" y="1962"/>
                    <a:pt x="117" y="1927"/>
                  </a:cubicBezTo>
                  <a:cubicBezTo>
                    <a:pt x="117" y="1916"/>
                    <a:pt x="117" y="1910"/>
                    <a:pt x="117" y="1898"/>
                  </a:cubicBezTo>
                  <a:cubicBezTo>
                    <a:pt x="123" y="1892"/>
                    <a:pt x="129" y="1892"/>
                    <a:pt x="134" y="1892"/>
                  </a:cubicBezTo>
                  <a:cubicBezTo>
                    <a:pt x="140" y="1892"/>
                    <a:pt x="146" y="1898"/>
                    <a:pt x="152" y="1898"/>
                  </a:cubicBezTo>
                  <a:cubicBezTo>
                    <a:pt x="175" y="1892"/>
                    <a:pt x="175" y="1892"/>
                    <a:pt x="175" y="1892"/>
                  </a:cubicBezTo>
                  <a:cubicBezTo>
                    <a:pt x="192" y="1921"/>
                    <a:pt x="210" y="1933"/>
                    <a:pt x="245" y="1945"/>
                  </a:cubicBezTo>
                  <a:cubicBezTo>
                    <a:pt x="268" y="1956"/>
                    <a:pt x="268" y="1985"/>
                    <a:pt x="292" y="1997"/>
                  </a:cubicBezTo>
                  <a:cubicBezTo>
                    <a:pt x="338" y="2038"/>
                    <a:pt x="402" y="2050"/>
                    <a:pt x="379" y="2044"/>
                  </a:cubicBezTo>
                  <a:cubicBezTo>
                    <a:pt x="379" y="2026"/>
                    <a:pt x="355" y="2032"/>
                    <a:pt x="344" y="2015"/>
                  </a:cubicBezTo>
                  <a:cubicBezTo>
                    <a:pt x="321" y="1997"/>
                    <a:pt x="326" y="1974"/>
                    <a:pt x="321" y="1945"/>
                  </a:cubicBezTo>
                  <a:cubicBezTo>
                    <a:pt x="315" y="1927"/>
                    <a:pt x="297" y="1916"/>
                    <a:pt x="297" y="1898"/>
                  </a:cubicBezTo>
                  <a:cubicBezTo>
                    <a:pt x="297" y="1881"/>
                    <a:pt x="297" y="1881"/>
                    <a:pt x="297" y="1881"/>
                  </a:cubicBezTo>
                  <a:cubicBezTo>
                    <a:pt x="367" y="1881"/>
                    <a:pt x="367" y="1881"/>
                    <a:pt x="367" y="1881"/>
                  </a:cubicBezTo>
                  <a:cubicBezTo>
                    <a:pt x="379" y="1881"/>
                    <a:pt x="385" y="1869"/>
                    <a:pt x="391" y="1869"/>
                  </a:cubicBezTo>
                  <a:cubicBezTo>
                    <a:pt x="396" y="1869"/>
                    <a:pt x="402" y="1875"/>
                    <a:pt x="408" y="1875"/>
                  </a:cubicBezTo>
                  <a:cubicBezTo>
                    <a:pt x="431" y="1875"/>
                    <a:pt x="443" y="1846"/>
                    <a:pt x="466" y="1846"/>
                  </a:cubicBezTo>
                  <a:cubicBezTo>
                    <a:pt x="460" y="1840"/>
                    <a:pt x="460" y="1828"/>
                    <a:pt x="449" y="1828"/>
                  </a:cubicBezTo>
                  <a:cubicBezTo>
                    <a:pt x="420" y="1828"/>
                    <a:pt x="408" y="1840"/>
                    <a:pt x="379" y="1840"/>
                  </a:cubicBezTo>
                  <a:cubicBezTo>
                    <a:pt x="361" y="1840"/>
                    <a:pt x="350" y="1840"/>
                    <a:pt x="332" y="1840"/>
                  </a:cubicBezTo>
                  <a:cubicBezTo>
                    <a:pt x="332" y="1822"/>
                    <a:pt x="332" y="1811"/>
                    <a:pt x="332" y="1793"/>
                  </a:cubicBezTo>
                  <a:cubicBezTo>
                    <a:pt x="332" y="1758"/>
                    <a:pt x="367" y="1758"/>
                    <a:pt x="379" y="1729"/>
                  </a:cubicBezTo>
                  <a:cubicBezTo>
                    <a:pt x="373" y="1729"/>
                    <a:pt x="367" y="1724"/>
                    <a:pt x="361" y="1724"/>
                  </a:cubicBezTo>
                  <a:cubicBezTo>
                    <a:pt x="350" y="1724"/>
                    <a:pt x="338" y="1729"/>
                    <a:pt x="326" y="1735"/>
                  </a:cubicBezTo>
                  <a:cubicBezTo>
                    <a:pt x="309" y="1706"/>
                    <a:pt x="280" y="1712"/>
                    <a:pt x="251" y="1694"/>
                  </a:cubicBezTo>
                  <a:cubicBezTo>
                    <a:pt x="216" y="1671"/>
                    <a:pt x="198" y="1636"/>
                    <a:pt x="198" y="1590"/>
                  </a:cubicBezTo>
                  <a:cubicBezTo>
                    <a:pt x="198" y="1561"/>
                    <a:pt x="216" y="1537"/>
                    <a:pt x="245" y="1520"/>
                  </a:cubicBezTo>
                  <a:cubicBezTo>
                    <a:pt x="268" y="1531"/>
                    <a:pt x="268" y="1531"/>
                    <a:pt x="268" y="1531"/>
                  </a:cubicBezTo>
                  <a:cubicBezTo>
                    <a:pt x="292" y="1479"/>
                    <a:pt x="367" y="1473"/>
                    <a:pt x="367" y="1415"/>
                  </a:cubicBezTo>
                  <a:cubicBezTo>
                    <a:pt x="367" y="1386"/>
                    <a:pt x="385" y="1374"/>
                    <a:pt x="396" y="1351"/>
                  </a:cubicBezTo>
                  <a:cubicBezTo>
                    <a:pt x="408" y="1310"/>
                    <a:pt x="396" y="1287"/>
                    <a:pt x="396" y="1246"/>
                  </a:cubicBezTo>
                  <a:cubicBezTo>
                    <a:pt x="396" y="1223"/>
                    <a:pt x="402" y="1205"/>
                    <a:pt x="420" y="1194"/>
                  </a:cubicBezTo>
                  <a:cubicBezTo>
                    <a:pt x="437" y="1205"/>
                    <a:pt x="449" y="1217"/>
                    <a:pt x="466" y="1217"/>
                  </a:cubicBezTo>
                  <a:cubicBezTo>
                    <a:pt x="524" y="1217"/>
                    <a:pt x="542" y="1159"/>
                    <a:pt x="594" y="1141"/>
                  </a:cubicBezTo>
                  <a:cubicBezTo>
                    <a:pt x="606" y="1159"/>
                    <a:pt x="612" y="1165"/>
                    <a:pt x="623" y="1182"/>
                  </a:cubicBezTo>
                  <a:cubicBezTo>
                    <a:pt x="635" y="1182"/>
                    <a:pt x="635" y="1182"/>
                    <a:pt x="635" y="1182"/>
                  </a:cubicBezTo>
                  <a:cubicBezTo>
                    <a:pt x="629" y="1170"/>
                    <a:pt x="618" y="1159"/>
                    <a:pt x="618" y="1141"/>
                  </a:cubicBezTo>
                  <a:cubicBezTo>
                    <a:pt x="618" y="1130"/>
                    <a:pt x="629" y="1124"/>
                    <a:pt x="629" y="1112"/>
                  </a:cubicBezTo>
                  <a:cubicBezTo>
                    <a:pt x="629" y="1054"/>
                    <a:pt x="554" y="1042"/>
                    <a:pt x="554" y="984"/>
                  </a:cubicBezTo>
                  <a:cubicBezTo>
                    <a:pt x="554" y="961"/>
                    <a:pt x="565" y="943"/>
                    <a:pt x="565" y="920"/>
                  </a:cubicBezTo>
                  <a:lnTo>
                    <a:pt x="571" y="914"/>
                  </a:lnTo>
                  <a:cubicBezTo>
                    <a:pt x="588" y="914"/>
                    <a:pt x="594" y="926"/>
                    <a:pt x="606" y="926"/>
                  </a:cubicBezTo>
                  <a:cubicBezTo>
                    <a:pt x="658" y="926"/>
                    <a:pt x="664" y="862"/>
                    <a:pt x="664" y="815"/>
                  </a:cubicBezTo>
                  <a:cubicBezTo>
                    <a:pt x="676" y="804"/>
                    <a:pt x="682" y="786"/>
                    <a:pt x="693" y="786"/>
                  </a:cubicBezTo>
                  <a:cubicBezTo>
                    <a:pt x="740" y="786"/>
                    <a:pt x="751" y="833"/>
                    <a:pt x="792" y="833"/>
                  </a:cubicBezTo>
                  <a:cubicBezTo>
                    <a:pt x="810" y="833"/>
                    <a:pt x="821" y="833"/>
                    <a:pt x="839" y="833"/>
                  </a:cubicBezTo>
                  <a:cubicBezTo>
                    <a:pt x="845" y="827"/>
                    <a:pt x="845" y="821"/>
                    <a:pt x="850" y="821"/>
                  </a:cubicBezTo>
                  <a:cubicBezTo>
                    <a:pt x="827" y="792"/>
                    <a:pt x="781" y="798"/>
                    <a:pt x="781" y="763"/>
                  </a:cubicBezTo>
                  <a:cubicBezTo>
                    <a:pt x="781" y="751"/>
                    <a:pt x="763" y="751"/>
                    <a:pt x="763" y="740"/>
                  </a:cubicBezTo>
                  <a:cubicBezTo>
                    <a:pt x="763" y="711"/>
                    <a:pt x="781" y="699"/>
                    <a:pt x="781" y="670"/>
                  </a:cubicBezTo>
                  <a:cubicBezTo>
                    <a:pt x="821" y="681"/>
                    <a:pt x="850" y="705"/>
                    <a:pt x="868" y="746"/>
                  </a:cubicBezTo>
                  <a:cubicBezTo>
                    <a:pt x="874" y="746"/>
                    <a:pt x="874" y="746"/>
                    <a:pt x="874" y="746"/>
                  </a:cubicBezTo>
                  <a:cubicBezTo>
                    <a:pt x="880" y="740"/>
                    <a:pt x="880" y="740"/>
                    <a:pt x="880" y="740"/>
                  </a:cubicBezTo>
                  <a:cubicBezTo>
                    <a:pt x="891" y="746"/>
                    <a:pt x="897" y="751"/>
                    <a:pt x="909" y="763"/>
                  </a:cubicBezTo>
                  <a:cubicBezTo>
                    <a:pt x="920" y="769"/>
                    <a:pt x="920" y="769"/>
                    <a:pt x="920" y="769"/>
                  </a:cubicBezTo>
                  <a:cubicBezTo>
                    <a:pt x="920" y="757"/>
                    <a:pt x="920" y="751"/>
                    <a:pt x="920" y="746"/>
                  </a:cubicBezTo>
                  <a:cubicBezTo>
                    <a:pt x="926" y="740"/>
                    <a:pt x="926" y="740"/>
                    <a:pt x="926" y="740"/>
                  </a:cubicBezTo>
                  <a:cubicBezTo>
                    <a:pt x="938" y="746"/>
                    <a:pt x="944" y="746"/>
                    <a:pt x="949" y="751"/>
                  </a:cubicBezTo>
                  <a:cubicBezTo>
                    <a:pt x="955" y="746"/>
                    <a:pt x="955" y="740"/>
                    <a:pt x="955" y="734"/>
                  </a:cubicBezTo>
                  <a:cubicBezTo>
                    <a:pt x="955" y="693"/>
                    <a:pt x="920" y="681"/>
                    <a:pt x="920" y="641"/>
                  </a:cubicBezTo>
                  <a:cubicBezTo>
                    <a:pt x="920" y="623"/>
                    <a:pt x="920" y="623"/>
                    <a:pt x="920" y="623"/>
                  </a:cubicBezTo>
                  <a:cubicBezTo>
                    <a:pt x="955" y="617"/>
                    <a:pt x="973" y="606"/>
                    <a:pt x="1008" y="600"/>
                  </a:cubicBezTo>
                  <a:cubicBezTo>
                    <a:pt x="1025" y="600"/>
                    <a:pt x="1043" y="606"/>
                    <a:pt x="1060" y="588"/>
                  </a:cubicBezTo>
                  <a:cubicBezTo>
                    <a:pt x="1077" y="565"/>
                    <a:pt x="1072" y="542"/>
                    <a:pt x="1095" y="518"/>
                  </a:cubicBezTo>
                  <a:cubicBezTo>
                    <a:pt x="1095" y="577"/>
                    <a:pt x="1159" y="594"/>
                    <a:pt x="1217" y="594"/>
                  </a:cubicBezTo>
                  <a:cubicBezTo>
                    <a:pt x="1270" y="594"/>
                    <a:pt x="1270" y="594"/>
                    <a:pt x="1270" y="594"/>
                  </a:cubicBezTo>
                  <a:cubicBezTo>
                    <a:pt x="1281" y="594"/>
                    <a:pt x="1287" y="600"/>
                    <a:pt x="1304" y="600"/>
                  </a:cubicBezTo>
                  <a:cubicBezTo>
                    <a:pt x="1334" y="600"/>
                    <a:pt x="1345" y="588"/>
                    <a:pt x="1369" y="588"/>
                  </a:cubicBezTo>
                  <a:cubicBezTo>
                    <a:pt x="1403" y="588"/>
                    <a:pt x="1415" y="617"/>
                    <a:pt x="1444" y="617"/>
                  </a:cubicBezTo>
                  <a:cubicBezTo>
                    <a:pt x="1497" y="617"/>
                    <a:pt x="1520" y="571"/>
                    <a:pt x="1572" y="559"/>
                  </a:cubicBezTo>
                  <a:cubicBezTo>
                    <a:pt x="1613" y="548"/>
                    <a:pt x="1636" y="536"/>
                    <a:pt x="1677" y="530"/>
                  </a:cubicBezTo>
                  <a:cubicBezTo>
                    <a:pt x="1706" y="524"/>
                    <a:pt x="1741" y="530"/>
                    <a:pt x="1753" y="507"/>
                  </a:cubicBezTo>
                  <a:cubicBezTo>
                    <a:pt x="1758" y="478"/>
                    <a:pt x="1753" y="454"/>
                    <a:pt x="1753" y="425"/>
                  </a:cubicBezTo>
                  <a:cubicBezTo>
                    <a:pt x="1753" y="344"/>
                    <a:pt x="1753" y="344"/>
                    <a:pt x="1753" y="344"/>
                  </a:cubicBezTo>
                  <a:cubicBezTo>
                    <a:pt x="1753" y="315"/>
                    <a:pt x="1776" y="303"/>
                    <a:pt x="1799" y="280"/>
                  </a:cubicBezTo>
                  <a:cubicBezTo>
                    <a:pt x="1793" y="280"/>
                    <a:pt x="1793" y="274"/>
                    <a:pt x="1788" y="274"/>
                  </a:cubicBezTo>
                  <a:cubicBezTo>
                    <a:pt x="1758" y="274"/>
                    <a:pt x="1747" y="297"/>
                    <a:pt x="1724" y="303"/>
                  </a:cubicBezTo>
                  <a:lnTo>
                    <a:pt x="1718" y="297"/>
                  </a:lnTo>
                  <a:cubicBezTo>
                    <a:pt x="1718" y="274"/>
                    <a:pt x="1735" y="262"/>
                    <a:pt x="1735" y="245"/>
                  </a:cubicBezTo>
                  <a:cubicBezTo>
                    <a:pt x="1735" y="192"/>
                    <a:pt x="1677" y="181"/>
                    <a:pt x="1630" y="181"/>
                  </a:cubicBezTo>
                  <a:cubicBezTo>
                    <a:pt x="1572" y="181"/>
                    <a:pt x="1543" y="210"/>
                    <a:pt x="1485" y="239"/>
                  </a:cubicBezTo>
                  <a:cubicBezTo>
                    <a:pt x="1479" y="192"/>
                    <a:pt x="1456" y="169"/>
                    <a:pt x="1421" y="140"/>
                  </a:cubicBezTo>
                  <a:cubicBezTo>
                    <a:pt x="1403" y="123"/>
                    <a:pt x="1374" y="117"/>
                    <a:pt x="1374" y="94"/>
                  </a:cubicBezTo>
                  <a:cubicBezTo>
                    <a:pt x="1374" y="82"/>
                    <a:pt x="1374" y="76"/>
                    <a:pt x="1374" y="64"/>
                  </a:cubicBezTo>
                  <a:cubicBezTo>
                    <a:pt x="1398" y="64"/>
                    <a:pt x="1398" y="64"/>
                    <a:pt x="1398" y="64"/>
                  </a:cubicBezTo>
                  <a:cubicBezTo>
                    <a:pt x="1409" y="64"/>
                    <a:pt x="1415" y="70"/>
                    <a:pt x="1421" y="70"/>
                  </a:cubicBezTo>
                  <a:cubicBezTo>
                    <a:pt x="1438" y="70"/>
                    <a:pt x="1438" y="47"/>
                    <a:pt x="1456" y="47"/>
                  </a:cubicBezTo>
                  <a:cubicBezTo>
                    <a:pt x="1497" y="47"/>
                    <a:pt x="1497" y="99"/>
                    <a:pt x="1526" y="128"/>
                  </a:cubicBezTo>
                  <a:lnTo>
                    <a:pt x="1532" y="123"/>
                  </a:lnTo>
                  <a:cubicBezTo>
                    <a:pt x="1532" y="111"/>
                    <a:pt x="1526" y="105"/>
                    <a:pt x="1526" y="94"/>
                  </a:cubicBezTo>
                  <a:cubicBezTo>
                    <a:pt x="1526" y="70"/>
                    <a:pt x="1532" y="53"/>
                    <a:pt x="1549" y="35"/>
                  </a:cubicBezTo>
                  <a:cubicBezTo>
                    <a:pt x="1561" y="47"/>
                    <a:pt x="1566" y="53"/>
                    <a:pt x="1578" y="53"/>
                  </a:cubicBezTo>
                  <a:cubicBezTo>
                    <a:pt x="1590" y="53"/>
                    <a:pt x="1601" y="41"/>
                    <a:pt x="1613" y="41"/>
                  </a:cubicBezTo>
                  <a:cubicBezTo>
                    <a:pt x="1636" y="41"/>
                    <a:pt x="1630" y="64"/>
                    <a:pt x="1642" y="82"/>
                  </a:cubicBezTo>
                  <a:cubicBezTo>
                    <a:pt x="1660" y="99"/>
                    <a:pt x="1677" y="94"/>
                    <a:pt x="1695" y="105"/>
                  </a:cubicBezTo>
                  <a:cubicBezTo>
                    <a:pt x="1695" y="99"/>
                    <a:pt x="1700" y="99"/>
                    <a:pt x="1700" y="94"/>
                  </a:cubicBezTo>
                  <a:cubicBezTo>
                    <a:pt x="1700" y="70"/>
                    <a:pt x="1683" y="59"/>
                    <a:pt x="1683" y="29"/>
                  </a:cubicBezTo>
                  <a:cubicBezTo>
                    <a:pt x="1683" y="18"/>
                    <a:pt x="1700" y="12"/>
                    <a:pt x="1712" y="0"/>
                  </a:cubicBezTo>
                  <a:cubicBezTo>
                    <a:pt x="1729" y="18"/>
                    <a:pt x="1724" y="35"/>
                    <a:pt x="1724" y="53"/>
                  </a:cubicBezTo>
                  <a:cubicBezTo>
                    <a:pt x="1724" y="117"/>
                    <a:pt x="1724" y="117"/>
                    <a:pt x="1724" y="117"/>
                  </a:cubicBezTo>
                  <a:cubicBezTo>
                    <a:pt x="1724" y="140"/>
                    <a:pt x="1729" y="157"/>
                    <a:pt x="1747" y="169"/>
                  </a:cubicBezTo>
                  <a:cubicBezTo>
                    <a:pt x="1770" y="181"/>
                    <a:pt x="1753" y="216"/>
                    <a:pt x="1776" y="216"/>
                  </a:cubicBezTo>
                  <a:cubicBezTo>
                    <a:pt x="1805" y="216"/>
                    <a:pt x="1823" y="222"/>
                    <a:pt x="1840" y="204"/>
                  </a:cubicBezTo>
                  <a:cubicBezTo>
                    <a:pt x="1858" y="192"/>
                    <a:pt x="1846" y="157"/>
                    <a:pt x="1869" y="157"/>
                  </a:cubicBezTo>
                  <a:cubicBezTo>
                    <a:pt x="1968" y="157"/>
                    <a:pt x="1945" y="332"/>
                    <a:pt x="2044" y="332"/>
                  </a:cubicBezTo>
                  <a:cubicBezTo>
                    <a:pt x="2061" y="332"/>
                    <a:pt x="2073" y="332"/>
                    <a:pt x="2089" y="332"/>
                  </a:cubicBezTo>
                  <a:cubicBezTo>
                    <a:pt x="2107" y="332"/>
                    <a:pt x="2118" y="350"/>
                    <a:pt x="2136" y="361"/>
                  </a:cubicBezTo>
                  <a:cubicBezTo>
                    <a:pt x="2171" y="379"/>
                    <a:pt x="2194" y="385"/>
                    <a:pt x="2235" y="385"/>
                  </a:cubicBezTo>
                  <a:cubicBezTo>
                    <a:pt x="2252" y="385"/>
                    <a:pt x="2252" y="373"/>
                    <a:pt x="2264" y="361"/>
                  </a:cubicBezTo>
                  <a:cubicBezTo>
                    <a:pt x="2282" y="332"/>
                    <a:pt x="2305" y="338"/>
                    <a:pt x="2340" y="332"/>
                  </a:cubicBezTo>
                  <a:cubicBezTo>
                    <a:pt x="2340" y="338"/>
                    <a:pt x="2346" y="338"/>
                    <a:pt x="2346" y="344"/>
                  </a:cubicBezTo>
                  <a:cubicBezTo>
                    <a:pt x="2346" y="361"/>
                    <a:pt x="2317" y="367"/>
                    <a:pt x="2317" y="390"/>
                  </a:cubicBezTo>
                  <a:cubicBezTo>
                    <a:pt x="2317" y="420"/>
                    <a:pt x="2346" y="437"/>
                    <a:pt x="2375" y="437"/>
                  </a:cubicBezTo>
                  <a:cubicBezTo>
                    <a:pt x="2398" y="437"/>
                    <a:pt x="2404" y="414"/>
                    <a:pt x="2421" y="414"/>
                  </a:cubicBezTo>
                  <a:cubicBezTo>
                    <a:pt x="2462" y="414"/>
                    <a:pt x="2485" y="460"/>
                    <a:pt x="2485" y="507"/>
                  </a:cubicBezTo>
                  <a:cubicBezTo>
                    <a:pt x="2485" y="507"/>
                    <a:pt x="2491" y="513"/>
                    <a:pt x="2497" y="513"/>
                  </a:cubicBezTo>
                  <a:cubicBezTo>
                    <a:pt x="2503" y="495"/>
                    <a:pt x="2503" y="466"/>
                    <a:pt x="2526" y="466"/>
                  </a:cubicBezTo>
                  <a:cubicBezTo>
                    <a:pt x="2567" y="466"/>
                    <a:pt x="2584" y="507"/>
                    <a:pt x="2631" y="507"/>
                  </a:cubicBezTo>
                  <a:cubicBezTo>
                    <a:pt x="2683" y="507"/>
                    <a:pt x="2683" y="507"/>
                    <a:pt x="2683" y="507"/>
                  </a:cubicBezTo>
                  <a:cubicBezTo>
                    <a:pt x="2718" y="507"/>
                    <a:pt x="2724" y="466"/>
                    <a:pt x="2759" y="449"/>
                  </a:cubicBezTo>
                  <a:cubicBezTo>
                    <a:pt x="2794" y="507"/>
                    <a:pt x="2840" y="518"/>
                    <a:pt x="2887" y="553"/>
                  </a:cubicBezTo>
                  <a:cubicBezTo>
                    <a:pt x="2904" y="565"/>
                    <a:pt x="2899" y="594"/>
                    <a:pt x="2922" y="594"/>
                  </a:cubicBezTo>
                  <a:cubicBezTo>
                    <a:pt x="2934" y="594"/>
                    <a:pt x="2939" y="583"/>
                    <a:pt x="2957" y="583"/>
                  </a:cubicBezTo>
                  <a:cubicBezTo>
                    <a:pt x="2980" y="583"/>
                    <a:pt x="2992" y="612"/>
                    <a:pt x="3015" y="612"/>
                  </a:cubicBezTo>
                  <a:cubicBezTo>
                    <a:pt x="3038" y="612"/>
                    <a:pt x="3044" y="588"/>
                    <a:pt x="3062" y="577"/>
                  </a:cubicBezTo>
                  <a:cubicBezTo>
                    <a:pt x="3050" y="571"/>
                    <a:pt x="3038" y="571"/>
                    <a:pt x="3027" y="577"/>
                  </a:cubicBezTo>
                  <a:cubicBezTo>
                    <a:pt x="3032" y="548"/>
                    <a:pt x="3056" y="548"/>
                    <a:pt x="3067" y="524"/>
                  </a:cubicBezTo>
                  <a:cubicBezTo>
                    <a:pt x="3079" y="530"/>
                    <a:pt x="3085" y="536"/>
                    <a:pt x="3097" y="536"/>
                  </a:cubicBezTo>
                  <a:cubicBezTo>
                    <a:pt x="3120" y="536"/>
                    <a:pt x="3120" y="489"/>
                    <a:pt x="3143" y="489"/>
                  </a:cubicBezTo>
                  <a:cubicBezTo>
                    <a:pt x="3155" y="489"/>
                    <a:pt x="3155" y="495"/>
                    <a:pt x="3166" y="495"/>
                  </a:cubicBezTo>
                  <a:cubicBezTo>
                    <a:pt x="3184" y="495"/>
                    <a:pt x="3195" y="483"/>
                    <a:pt x="3207" y="478"/>
                  </a:cubicBezTo>
                  <a:cubicBezTo>
                    <a:pt x="3201" y="472"/>
                    <a:pt x="3195" y="472"/>
                    <a:pt x="3184" y="466"/>
                  </a:cubicBezTo>
                  <a:cubicBezTo>
                    <a:pt x="3230" y="449"/>
                    <a:pt x="3254" y="443"/>
                    <a:pt x="3295" y="425"/>
                  </a:cubicBezTo>
                  <a:cubicBezTo>
                    <a:pt x="3300" y="425"/>
                    <a:pt x="3300" y="425"/>
                    <a:pt x="3300" y="425"/>
                  </a:cubicBezTo>
                  <a:cubicBezTo>
                    <a:pt x="3283" y="472"/>
                    <a:pt x="3283" y="507"/>
                    <a:pt x="3242" y="536"/>
                  </a:cubicBezTo>
                  <a:cubicBezTo>
                    <a:pt x="3230" y="548"/>
                    <a:pt x="3225" y="553"/>
                    <a:pt x="3225" y="571"/>
                  </a:cubicBezTo>
                  <a:cubicBezTo>
                    <a:pt x="3225" y="594"/>
                    <a:pt x="3225" y="594"/>
                    <a:pt x="3225" y="594"/>
                  </a:cubicBezTo>
                  <a:cubicBezTo>
                    <a:pt x="3230" y="594"/>
                    <a:pt x="3236" y="594"/>
                    <a:pt x="3242" y="594"/>
                  </a:cubicBezTo>
                  <a:cubicBezTo>
                    <a:pt x="3271" y="594"/>
                    <a:pt x="3277" y="553"/>
                    <a:pt x="3306" y="553"/>
                  </a:cubicBezTo>
                  <a:cubicBezTo>
                    <a:pt x="3318" y="553"/>
                    <a:pt x="3312" y="571"/>
                    <a:pt x="3324" y="571"/>
                  </a:cubicBezTo>
                  <a:cubicBezTo>
                    <a:pt x="3347" y="583"/>
                    <a:pt x="3382" y="583"/>
                    <a:pt x="3382" y="612"/>
                  </a:cubicBezTo>
                  <a:cubicBezTo>
                    <a:pt x="3382" y="635"/>
                    <a:pt x="3358" y="641"/>
                    <a:pt x="3358" y="670"/>
                  </a:cubicBezTo>
                  <a:cubicBezTo>
                    <a:pt x="3358" y="676"/>
                    <a:pt x="3358" y="681"/>
                    <a:pt x="3358" y="693"/>
                  </a:cubicBezTo>
                  <a:cubicBezTo>
                    <a:pt x="3446" y="693"/>
                    <a:pt x="3446" y="693"/>
                    <a:pt x="3446" y="693"/>
                  </a:cubicBezTo>
                  <a:cubicBezTo>
                    <a:pt x="3452" y="693"/>
                    <a:pt x="3458" y="699"/>
                    <a:pt x="3463" y="699"/>
                  </a:cubicBezTo>
                  <a:cubicBezTo>
                    <a:pt x="3498" y="699"/>
                    <a:pt x="3510" y="664"/>
                    <a:pt x="3527" y="629"/>
                  </a:cubicBezTo>
                  <a:cubicBezTo>
                    <a:pt x="3533" y="612"/>
                    <a:pt x="3556" y="600"/>
                    <a:pt x="3556" y="577"/>
                  </a:cubicBezTo>
                  <a:cubicBezTo>
                    <a:pt x="3556" y="542"/>
                    <a:pt x="3504" y="553"/>
                    <a:pt x="3469" y="542"/>
                  </a:cubicBezTo>
                  <a:cubicBezTo>
                    <a:pt x="3481" y="513"/>
                    <a:pt x="3504" y="501"/>
                    <a:pt x="3533" y="495"/>
                  </a:cubicBezTo>
                  <a:cubicBezTo>
                    <a:pt x="3568" y="483"/>
                    <a:pt x="3580" y="460"/>
                    <a:pt x="3609" y="449"/>
                  </a:cubicBezTo>
                  <a:cubicBezTo>
                    <a:pt x="3615" y="507"/>
                    <a:pt x="3638" y="542"/>
                    <a:pt x="3679" y="571"/>
                  </a:cubicBezTo>
                  <a:cubicBezTo>
                    <a:pt x="3702" y="583"/>
                    <a:pt x="3702" y="606"/>
                    <a:pt x="3725" y="606"/>
                  </a:cubicBezTo>
                  <a:cubicBezTo>
                    <a:pt x="3737" y="606"/>
                    <a:pt x="3737" y="594"/>
                    <a:pt x="3737" y="583"/>
                  </a:cubicBezTo>
                  <a:cubicBezTo>
                    <a:pt x="3737" y="571"/>
                    <a:pt x="3731" y="559"/>
                    <a:pt x="3731" y="548"/>
                  </a:cubicBezTo>
                  <a:cubicBezTo>
                    <a:pt x="3737" y="548"/>
                    <a:pt x="3737" y="542"/>
                    <a:pt x="3743" y="542"/>
                  </a:cubicBezTo>
                  <a:cubicBezTo>
                    <a:pt x="3778" y="542"/>
                    <a:pt x="3801" y="571"/>
                    <a:pt x="3801" y="606"/>
                  </a:cubicBezTo>
                  <a:cubicBezTo>
                    <a:pt x="3801" y="641"/>
                    <a:pt x="3801" y="693"/>
                    <a:pt x="3766" y="693"/>
                  </a:cubicBezTo>
                  <a:cubicBezTo>
                    <a:pt x="3754" y="693"/>
                    <a:pt x="3749" y="681"/>
                    <a:pt x="3743" y="681"/>
                  </a:cubicBezTo>
                  <a:cubicBezTo>
                    <a:pt x="3720" y="681"/>
                    <a:pt x="3720" y="681"/>
                    <a:pt x="3720" y="681"/>
                  </a:cubicBezTo>
                  <a:cubicBezTo>
                    <a:pt x="3714" y="746"/>
                    <a:pt x="3702" y="786"/>
                    <a:pt x="3661" y="833"/>
                  </a:cubicBezTo>
                  <a:cubicBezTo>
                    <a:pt x="3638" y="827"/>
                    <a:pt x="3638" y="827"/>
                    <a:pt x="3638" y="827"/>
                  </a:cubicBezTo>
                  <a:cubicBezTo>
                    <a:pt x="3626" y="839"/>
                    <a:pt x="3615" y="844"/>
                    <a:pt x="3597" y="850"/>
                  </a:cubicBezTo>
                  <a:cubicBezTo>
                    <a:pt x="3615" y="885"/>
                    <a:pt x="3638" y="897"/>
                    <a:pt x="3650" y="932"/>
                  </a:cubicBezTo>
                  <a:cubicBezTo>
                    <a:pt x="3620" y="938"/>
                    <a:pt x="3603" y="938"/>
                    <a:pt x="3586" y="949"/>
                  </a:cubicBezTo>
                  <a:cubicBezTo>
                    <a:pt x="3603" y="967"/>
                    <a:pt x="3615" y="978"/>
                    <a:pt x="3626" y="996"/>
                  </a:cubicBezTo>
                  <a:cubicBezTo>
                    <a:pt x="3597" y="1013"/>
                    <a:pt x="3597" y="1037"/>
                    <a:pt x="3574" y="1060"/>
                  </a:cubicBezTo>
                  <a:cubicBezTo>
                    <a:pt x="3556" y="1037"/>
                    <a:pt x="3562" y="1013"/>
                    <a:pt x="3551" y="978"/>
                  </a:cubicBezTo>
                  <a:cubicBezTo>
                    <a:pt x="3539" y="978"/>
                    <a:pt x="3539" y="978"/>
                    <a:pt x="3539" y="978"/>
                  </a:cubicBezTo>
                  <a:cubicBezTo>
                    <a:pt x="3533" y="1002"/>
                    <a:pt x="3516" y="1019"/>
                    <a:pt x="3492" y="1019"/>
                  </a:cubicBezTo>
                  <a:cubicBezTo>
                    <a:pt x="3492" y="1025"/>
                    <a:pt x="3492" y="1025"/>
                    <a:pt x="3492" y="1025"/>
                  </a:cubicBezTo>
                  <a:cubicBezTo>
                    <a:pt x="3492" y="1031"/>
                    <a:pt x="3498" y="1037"/>
                    <a:pt x="3498" y="1037"/>
                  </a:cubicBezTo>
                  <a:cubicBezTo>
                    <a:pt x="3498" y="1060"/>
                    <a:pt x="3469" y="1060"/>
                    <a:pt x="3446" y="1077"/>
                  </a:cubicBezTo>
                  <a:cubicBezTo>
                    <a:pt x="3440" y="1048"/>
                    <a:pt x="3452" y="1031"/>
                    <a:pt x="3428" y="1007"/>
                  </a:cubicBezTo>
                  <a:cubicBezTo>
                    <a:pt x="3417" y="1037"/>
                    <a:pt x="3417" y="1054"/>
                    <a:pt x="3393" y="1066"/>
                  </a:cubicBezTo>
                  <a:cubicBezTo>
                    <a:pt x="3388" y="1066"/>
                    <a:pt x="3388" y="1054"/>
                    <a:pt x="3382" y="1054"/>
                  </a:cubicBezTo>
                  <a:cubicBezTo>
                    <a:pt x="3347" y="1054"/>
                    <a:pt x="3312" y="1083"/>
                    <a:pt x="3312" y="1118"/>
                  </a:cubicBezTo>
                  <a:cubicBezTo>
                    <a:pt x="3312" y="1141"/>
                    <a:pt x="3329" y="1147"/>
                    <a:pt x="3341" y="1165"/>
                  </a:cubicBezTo>
                  <a:cubicBezTo>
                    <a:pt x="3329" y="1165"/>
                    <a:pt x="3329" y="1165"/>
                    <a:pt x="3329" y="1165"/>
                  </a:cubicBezTo>
                  <a:cubicBezTo>
                    <a:pt x="3312" y="1159"/>
                    <a:pt x="3312" y="1159"/>
                    <a:pt x="3312" y="1159"/>
                  </a:cubicBezTo>
                  <a:cubicBezTo>
                    <a:pt x="3306" y="1188"/>
                    <a:pt x="3300" y="1211"/>
                    <a:pt x="3300" y="1240"/>
                  </a:cubicBezTo>
                  <a:cubicBezTo>
                    <a:pt x="3300" y="1281"/>
                    <a:pt x="3318" y="1322"/>
                    <a:pt x="3358" y="1322"/>
                  </a:cubicBezTo>
                  <a:cubicBezTo>
                    <a:pt x="3411" y="1322"/>
                    <a:pt x="3364" y="1438"/>
                    <a:pt x="3329" y="1508"/>
                  </a:cubicBezTo>
                  <a:cubicBezTo>
                    <a:pt x="3306" y="1555"/>
                    <a:pt x="3254" y="1555"/>
                    <a:pt x="3230" y="1601"/>
                  </a:cubicBezTo>
                  <a:cubicBezTo>
                    <a:pt x="3195" y="1671"/>
                    <a:pt x="3184" y="1712"/>
                    <a:pt x="3137" y="1770"/>
                  </a:cubicBezTo>
                  <a:cubicBezTo>
                    <a:pt x="3120" y="1793"/>
                    <a:pt x="3097" y="1799"/>
                    <a:pt x="3085" y="1828"/>
                  </a:cubicBezTo>
                  <a:cubicBezTo>
                    <a:pt x="3085" y="1892"/>
                    <a:pt x="3085" y="1892"/>
                    <a:pt x="3085" y="1892"/>
                  </a:cubicBezTo>
                  <a:cubicBezTo>
                    <a:pt x="3085" y="1916"/>
                    <a:pt x="3108" y="1910"/>
                    <a:pt x="3126" y="1927"/>
                  </a:cubicBezTo>
                  <a:cubicBezTo>
                    <a:pt x="3230" y="1991"/>
                    <a:pt x="3166" y="2015"/>
                    <a:pt x="3242" y="2015"/>
                  </a:cubicBezTo>
                  <a:cubicBezTo>
                    <a:pt x="3277" y="2015"/>
                    <a:pt x="3283" y="2050"/>
                    <a:pt x="3312" y="2067"/>
                  </a:cubicBezTo>
                  <a:cubicBezTo>
                    <a:pt x="3382" y="2102"/>
                    <a:pt x="3434" y="2108"/>
                    <a:pt x="3492" y="2166"/>
                  </a:cubicBezTo>
                  <a:cubicBezTo>
                    <a:pt x="3510" y="2189"/>
                    <a:pt x="3504" y="2213"/>
                    <a:pt x="3527" y="2242"/>
                  </a:cubicBezTo>
                  <a:cubicBezTo>
                    <a:pt x="3603" y="2329"/>
                    <a:pt x="3720" y="2271"/>
                    <a:pt x="3679" y="2358"/>
                  </a:cubicBezTo>
                  <a:cubicBezTo>
                    <a:pt x="3702" y="2364"/>
                    <a:pt x="3708" y="2387"/>
                    <a:pt x="3725" y="2410"/>
                  </a:cubicBezTo>
                  <a:cubicBezTo>
                    <a:pt x="3737" y="2405"/>
                    <a:pt x="3743" y="2399"/>
                    <a:pt x="3754" y="2399"/>
                  </a:cubicBezTo>
                  <a:cubicBezTo>
                    <a:pt x="3772" y="2399"/>
                    <a:pt x="3784" y="2410"/>
                    <a:pt x="3801" y="2410"/>
                  </a:cubicBezTo>
                  <a:cubicBezTo>
                    <a:pt x="3813" y="2410"/>
                    <a:pt x="3818" y="2405"/>
                    <a:pt x="3824" y="2399"/>
                  </a:cubicBezTo>
                  <a:cubicBezTo>
                    <a:pt x="3836" y="2399"/>
                    <a:pt x="3842" y="2399"/>
                    <a:pt x="3853" y="2399"/>
                  </a:cubicBezTo>
                  <a:cubicBezTo>
                    <a:pt x="3906" y="2399"/>
                    <a:pt x="3935" y="2428"/>
                    <a:pt x="3964" y="2474"/>
                  </a:cubicBezTo>
                  <a:cubicBezTo>
                    <a:pt x="3981" y="2504"/>
                    <a:pt x="4016" y="2492"/>
                    <a:pt x="4046" y="2515"/>
                  </a:cubicBezTo>
                  <a:cubicBezTo>
                    <a:pt x="4104" y="2556"/>
                    <a:pt x="4139" y="2591"/>
                    <a:pt x="4209" y="2591"/>
                  </a:cubicBezTo>
                  <a:cubicBezTo>
                    <a:pt x="4209" y="2591"/>
                    <a:pt x="4209" y="2597"/>
                    <a:pt x="4209" y="2602"/>
                  </a:cubicBezTo>
                  <a:cubicBezTo>
                    <a:pt x="4209" y="2608"/>
                    <a:pt x="4203" y="2608"/>
                    <a:pt x="4203" y="2614"/>
                  </a:cubicBezTo>
                  <a:cubicBezTo>
                    <a:pt x="4203" y="2620"/>
                    <a:pt x="4220" y="2620"/>
                    <a:pt x="4226" y="2626"/>
                  </a:cubicBezTo>
                  <a:cubicBezTo>
                    <a:pt x="4249" y="2643"/>
                    <a:pt x="4261" y="2649"/>
                    <a:pt x="4278" y="2672"/>
                  </a:cubicBezTo>
                  <a:cubicBezTo>
                    <a:pt x="4302" y="2702"/>
                    <a:pt x="4325" y="2725"/>
                    <a:pt x="4348" y="2742"/>
                  </a:cubicBezTo>
                  <a:close/>
                </a:path>
              </a:pathLst>
            </a:custGeom>
            <a:solidFill>
              <a:schemeClr val="accent1"/>
            </a:solidFill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5" name="Freeform 64"/>
            <p:cNvSpPr>
              <a:spLocks noChangeArrowheads="1"/>
            </p:cNvSpPr>
            <p:nvPr/>
          </p:nvSpPr>
          <p:spPr bwMode="auto">
            <a:xfrm>
              <a:off x="18205085" y="3276917"/>
              <a:ext cx="3300131" cy="4305392"/>
            </a:xfrm>
            <a:custGeom>
              <a:avLst/>
              <a:gdLst>
                <a:gd name="T0" fmla="*/ 740 w 7500"/>
                <a:gd name="T1" fmla="*/ 3126 h 9786"/>
                <a:gd name="T2" fmla="*/ 716 w 7500"/>
                <a:gd name="T3" fmla="*/ 3394 h 9786"/>
                <a:gd name="T4" fmla="*/ 2009 w 7500"/>
                <a:gd name="T5" fmla="*/ 279 h 9786"/>
                <a:gd name="T6" fmla="*/ 2049 w 7500"/>
                <a:gd name="T7" fmla="*/ 17 h 9786"/>
                <a:gd name="T8" fmla="*/ 6427 w 7500"/>
                <a:gd name="T9" fmla="*/ 6898 h 9786"/>
                <a:gd name="T10" fmla="*/ 7353 w 7500"/>
                <a:gd name="T11" fmla="*/ 7428 h 9786"/>
                <a:gd name="T12" fmla="*/ 7213 w 7500"/>
                <a:gd name="T13" fmla="*/ 7824 h 9786"/>
                <a:gd name="T14" fmla="*/ 7359 w 7500"/>
                <a:gd name="T15" fmla="*/ 7434 h 9786"/>
                <a:gd name="T16" fmla="*/ 7289 w 7500"/>
                <a:gd name="T17" fmla="*/ 9331 h 9786"/>
                <a:gd name="T18" fmla="*/ 6742 w 7500"/>
                <a:gd name="T19" fmla="*/ 9435 h 9786"/>
                <a:gd name="T20" fmla="*/ 6497 w 7500"/>
                <a:gd name="T21" fmla="*/ 9744 h 9786"/>
                <a:gd name="T22" fmla="*/ 6066 w 7500"/>
                <a:gd name="T23" fmla="*/ 9494 h 9786"/>
                <a:gd name="T24" fmla="*/ 5577 w 7500"/>
                <a:gd name="T25" fmla="*/ 9453 h 9786"/>
                <a:gd name="T26" fmla="*/ 1467 w 7500"/>
                <a:gd name="T27" fmla="*/ 8051 h 9786"/>
                <a:gd name="T28" fmla="*/ 402 w 7500"/>
                <a:gd name="T29" fmla="*/ 3341 h 9786"/>
                <a:gd name="T30" fmla="*/ 1002 w 7500"/>
                <a:gd name="T31" fmla="*/ 3761 h 9786"/>
                <a:gd name="T32" fmla="*/ 1345 w 7500"/>
                <a:gd name="T33" fmla="*/ 3656 h 9786"/>
                <a:gd name="T34" fmla="*/ 1531 w 7500"/>
                <a:gd name="T35" fmla="*/ 3307 h 9786"/>
                <a:gd name="T36" fmla="*/ 1595 w 7500"/>
                <a:gd name="T37" fmla="*/ 3184 h 9786"/>
                <a:gd name="T38" fmla="*/ 1753 w 7500"/>
                <a:gd name="T39" fmla="*/ 2497 h 9786"/>
                <a:gd name="T40" fmla="*/ 1683 w 7500"/>
                <a:gd name="T41" fmla="*/ 1863 h 9786"/>
                <a:gd name="T42" fmla="*/ 1828 w 7500"/>
                <a:gd name="T43" fmla="*/ 1577 h 9786"/>
                <a:gd name="T44" fmla="*/ 1875 w 7500"/>
                <a:gd name="T45" fmla="*/ 1240 h 9786"/>
                <a:gd name="T46" fmla="*/ 1910 w 7500"/>
                <a:gd name="T47" fmla="*/ 1007 h 9786"/>
                <a:gd name="T48" fmla="*/ 1910 w 7500"/>
                <a:gd name="T49" fmla="*/ 879 h 9786"/>
                <a:gd name="T50" fmla="*/ 2009 w 7500"/>
                <a:gd name="T51" fmla="*/ 402 h 9786"/>
                <a:gd name="T52" fmla="*/ 2172 w 7500"/>
                <a:gd name="T53" fmla="*/ 396 h 9786"/>
                <a:gd name="T54" fmla="*/ 2335 w 7500"/>
                <a:gd name="T55" fmla="*/ 576 h 9786"/>
                <a:gd name="T56" fmla="*/ 2451 w 7500"/>
                <a:gd name="T57" fmla="*/ 1013 h 9786"/>
                <a:gd name="T58" fmla="*/ 2591 w 7500"/>
                <a:gd name="T59" fmla="*/ 1356 h 9786"/>
                <a:gd name="T60" fmla="*/ 2713 w 7500"/>
                <a:gd name="T61" fmla="*/ 1857 h 9786"/>
                <a:gd name="T62" fmla="*/ 3173 w 7500"/>
                <a:gd name="T63" fmla="*/ 2043 h 9786"/>
                <a:gd name="T64" fmla="*/ 3476 w 7500"/>
                <a:gd name="T65" fmla="*/ 2340 h 9786"/>
                <a:gd name="T66" fmla="*/ 3557 w 7500"/>
                <a:gd name="T67" fmla="*/ 2835 h 9786"/>
                <a:gd name="T68" fmla="*/ 3802 w 7500"/>
                <a:gd name="T69" fmla="*/ 3376 h 9786"/>
                <a:gd name="T70" fmla="*/ 3907 w 7500"/>
                <a:gd name="T71" fmla="*/ 3871 h 9786"/>
                <a:gd name="T72" fmla="*/ 4035 w 7500"/>
                <a:gd name="T73" fmla="*/ 4407 h 9786"/>
                <a:gd name="T74" fmla="*/ 4489 w 7500"/>
                <a:gd name="T75" fmla="*/ 4634 h 9786"/>
                <a:gd name="T76" fmla="*/ 4751 w 7500"/>
                <a:gd name="T77" fmla="*/ 4785 h 9786"/>
                <a:gd name="T78" fmla="*/ 5100 w 7500"/>
                <a:gd name="T79" fmla="*/ 5030 h 9786"/>
                <a:gd name="T80" fmla="*/ 5147 w 7500"/>
                <a:gd name="T81" fmla="*/ 5158 h 9786"/>
                <a:gd name="T82" fmla="*/ 5321 w 7500"/>
                <a:gd name="T83" fmla="*/ 5437 h 9786"/>
                <a:gd name="T84" fmla="*/ 5414 w 7500"/>
                <a:gd name="T85" fmla="*/ 5565 h 9786"/>
                <a:gd name="T86" fmla="*/ 5595 w 7500"/>
                <a:gd name="T87" fmla="*/ 6089 h 9786"/>
                <a:gd name="T88" fmla="*/ 5775 w 7500"/>
                <a:gd name="T89" fmla="*/ 6124 h 9786"/>
                <a:gd name="T90" fmla="*/ 6072 w 7500"/>
                <a:gd name="T91" fmla="*/ 6223 h 9786"/>
                <a:gd name="T92" fmla="*/ 6177 w 7500"/>
                <a:gd name="T93" fmla="*/ 6357 h 9786"/>
                <a:gd name="T94" fmla="*/ 6165 w 7500"/>
                <a:gd name="T95" fmla="*/ 6700 h 9786"/>
                <a:gd name="T96" fmla="*/ 6439 w 7500"/>
                <a:gd name="T97" fmla="*/ 6962 h 9786"/>
                <a:gd name="T98" fmla="*/ 6759 w 7500"/>
                <a:gd name="T99" fmla="*/ 7259 h 9786"/>
                <a:gd name="T100" fmla="*/ 7056 w 7500"/>
                <a:gd name="T101" fmla="*/ 7638 h 9786"/>
                <a:gd name="T102" fmla="*/ 7260 w 7500"/>
                <a:gd name="T103" fmla="*/ 8226 h 9786"/>
                <a:gd name="T104" fmla="*/ 7336 w 7500"/>
                <a:gd name="T105" fmla="*/ 8447 h 9786"/>
                <a:gd name="T106" fmla="*/ 7399 w 7500"/>
                <a:gd name="T107" fmla="*/ 8901 h 9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500" h="9786">
                  <a:moveTo>
                    <a:pt x="559" y="3219"/>
                  </a:moveTo>
                  <a:lnTo>
                    <a:pt x="559" y="3219"/>
                  </a:lnTo>
                  <a:cubicBezTo>
                    <a:pt x="559" y="3242"/>
                    <a:pt x="588" y="3248"/>
                    <a:pt x="611" y="3248"/>
                  </a:cubicBezTo>
                  <a:cubicBezTo>
                    <a:pt x="629" y="3248"/>
                    <a:pt x="629" y="3225"/>
                    <a:pt x="641" y="3213"/>
                  </a:cubicBezTo>
                  <a:cubicBezTo>
                    <a:pt x="658" y="3202"/>
                    <a:pt x="670" y="3207"/>
                    <a:pt x="687" y="3207"/>
                  </a:cubicBezTo>
                  <a:cubicBezTo>
                    <a:pt x="687" y="3173"/>
                    <a:pt x="705" y="3126"/>
                    <a:pt x="740" y="3126"/>
                  </a:cubicBezTo>
                  <a:cubicBezTo>
                    <a:pt x="757" y="3126"/>
                    <a:pt x="763" y="3149"/>
                    <a:pt x="780" y="3149"/>
                  </a:cubicBezTo>
                  <a:cubicBezTo>
                    <a:pt x="786" y="3149"/>
                    <a:pt x="798" y="3138"/>
                    <a:pt x="798" y="3126"/>
                  </a:cubicBezTo>
                  <a:cubicBezTo>
                    <a:pt x="798" y="3091"/>
                    <a:pt x="740" y="3097"/>
                    <a:pt x="705" y="3109"/>
                  </a:cubicBezTo>
                  <a:cubicBezTo>
                    <a:pt x="641" y="3138"/>
                    <a:pt x="559" y="3149"/>
                    <a:pt x="559" y="3219"/>
                  </a:cubicBezTo>
                  <a:close/>
                  <a:moveTo>
                    <a:pt x="716" y="3394"/>
                  </a:moveTo>
                  <a:lnTo>
                    <a:pt x="716" y="3394"/>
                  </a:lnTo>
                  <a:cubicBezTo>
                    <a:pt x="705" y="3411"/>
                    <a:pt x="693" y="3417"/>
                    <a:pt x="681" y="3435"/>
                  </a:cubicBezTo>
                  <a:cubicBezTo>
                    <a:pt x="699" y="3440"/>
                    <a:pt x="710" y="3440"/>
                    <a:pt x="734" y="3440"/>
                  </a:cubicBezTo>
                  <a:cubicBezTo>
                    <a:pt x="734" y="3423"/>
                    <a:pt x="728" y="3405"/>
                    <a:pt x="716" y="3394"/>
                  </a:cubicBezTo>
                  <a:close/>
                  <a:moveTo>
                    <a:pt x="2038" y="233"/>
                  </a:moveTo>
                  <a:lnTo>
                    <a:pt x="2038" y="233"/>
                  </a:lnTo>
                  <a:cubicBezTo>
                    <a:pt x="2020" y="244"/>
                    <a:pt x="2009" y="256"/>
                    <a:pt x="2009" y="279"/>
                  </a:cubicBezTo>
                  <a:cubicBezTo>
                    <a:pt x="2009" y="291"/>
                    <a:pt x="2014" y="291"/>
                    <a:pt x="2014" y="303"/>
                  </a:cubicBezTo>
                  <a:cubicBezTo>
                    <a:pt x="2020" y="285"/>
                    <a:pt x="2038" y="279"/>
                    <a:pt x="2055" y="279"/>
                  </a:cubicBezTo>
                  <a:cubicBezTo>
                    <a:pt x="2055" y="273"/>
                    <a:pt x="2055" y="273"/>
                    <a:pt x="2055" y="268"/>
                  </a:cubicBezTo>
                  <a:cubicBezTo>
                    <a:pt x="2055" y="250"/>
                    <a:pt x="2049" y="244"/>
                    <a:pt x="2038" y="233"/>
                  </a:cubicBezTo>
                  <a:close/>
                  <a:moveTo>
                    <a:pt x="2049" y="17"/>
                  </a:moveTo>
                  <a:lnTo>
                    <a:pt x="2049" y="17"/>
                  </a:lnTo>
                  <a:cubicBezTo>
                    <a:pt x="2049" y="35"/>
                    <a:pt x="2067" y="41"/>
                    <a:pt x="2073" y="52"/>
                  </a:cubicBezTo>
                  <a:cubicBezTo>
                    <a:pt x="2090" y="41"/>
                    <a:pt x="2096" y="29"/>
                    <a:pt x="2102" y="12"/>
                  </a:cubicBezTo>
                  <a:cubicBezTo>
                    <a:pt x="2084" y="0"/>
                    <a:pt x="2049" y="0"/>
                    <a:pt x="2049" y="17"/>
                  </a:cubicBezTo>
                  <a:close/>
                  <a:moveTo>
                    <a:pt x="6293" y="6718"/>
                  </a:moveTo>
                  <a:lnTo>
                    <a:pt x="6293" y="6718"/>
                  </a:lnTo>
                  <a:cubicBezTo>
                    <a:pt x="6305" y="6805"/>
                    <a:pt x="6363" y="6840"/>
                    <a:pt x="6427" y="6898"/>
                  </a:cubicBezTo>
                  <a:cubicBezTo>
                    <a:pt x="6427" y="6893"/>
                    <a:pt x="6433" y="6893"/>
                    <a:pt x="6433" y="6887"/>
                  </a:cubicBezTo>
                  <a:cubicBezTo>
                    <a:pt x="6433" y="6852"/>
                    <a:pt x="6404" y="6840"/>
                    <a:pt x="6381" y="6811"/>
                  </a:cubicBezTo>
                  <a:cubicBezTo>
                    <a:pt x="6352" y="6770"/>
                    <a:pt x="6340" y="6724"/>
                    <a:pt x="6293" y="6718"/>
                  </a:cubicBezTo>
                  <a:close/>
                  <a:moveTo>
                    <a:pt x="7359" y="7434"/>
                  </a:moveTo>
                  <a:lnTo>
                    <a:pt x="7359" y="7434"/>
                  </a:lnTo>
                  <a:cubicBezTo>
                    <a:pt x="7353" y="7428"/>
                    <a:pt x="7353" y="7428"/>
                    <a:pt x="7353" y="7428"/>
                  </a:cubicBezTo>
                  <a:cubicBezTo>
                    <a:pt x="7353" y="7451"/>
                    <a:pt x="7359" y="7463"/>
                    <a:pt x="7359" y="7486"/>
                  </a:cubicBezTo>
                  <a:cubicBezTo>
                    <a:pt x="7359" y="7533"/>
                    <a:pt x="7336" y="7562"/>
                    <a:pt x="7300" y="7591"/>
                  </a:cubicBezTo>
                  <a:cubicBezTo>
                    <a:pt x="7283" y="7597"/>
                    <a:pt x="7266" y="7603"/>
                    <a:pt x="7266" y="7614"/>
                  </a:cubicBezTo>
                  <a:cubicBezTo>
                    <a:pt x="7266" y="7632"/>
                    <a:pt x="7271" y="7643"/>
                    <a:pt x="7271" y="7661"/>
                  </a:cubicBezTo>
                  <a:cubicBezTo>
                    <a:pt x="7271" y="7731"/>
                    <a:pt x="7271" y="7731"/>
                    <a:pt x="7271" y="7731"/>
                  </a:cubicBezTo>
                  <a:cubicBezTo>
                    <a:pt x="7271" y="7771"/>
                    <a:pt x="7242" y="7789"/>
                    <a:pt x="7213" y="7824"/>
                  </a:cubicBezTo>
                  <a:cubicBezTo>
                    <a:pt x="7248" y="7836"/>
                    <a:pt x="7237" y="7871"/>
                    <a:pt x="7248" y="7900"/>
                  </a:cubicBezTo>
                  <a:cubicBezTo>
                    <a:pt x="7254" y="7917"/>
                    <a:pt x="7271" y="7923"/>
                    <a:pt x="7283" y="7934"/>
                  </a:cubicBezTo>
                  <a:cubicBezTo>
                    <a:pt x="7318" y="7894"/>
                    <a:pt x="7283" y="7847"/>
                    <a:pt x="7312" y="7795"/>
                  </a:cubicBezTo>
                  <a:cubicBezTo>
                    <a:pt x="7336" y="7742"/>
                    <a:pt x="7341" y="7708"/>
                    <a:pt x="7359" y="7655"/>
                  </a:cubicBezTo>
                  <a:cubicBezTo>
                    <a:pt x="7382" y="7603"/>
                    <a:pt x="7411" y="7579"/>
                    <a:pt x="7411" y="7527"/>
                  </a:cubicBezTo>
                  <a:cubicBezTo>
                    <a:pt x="7411" y="7486"/>
                    <a:pt x="7376" y="7469"/>
                    <a:pt x="7359" y="7434"/>
                  </a:cubicBezTo>
                  <a:close/>
                  <a:moveTo>
                    <a:pt x="7499" y="9221"/>
                  </a:moveTo>
                  <a:lnTo>
                    <a:pt x="7499" y="9221"/>
                  </a:lnTo>
                  <a:lnTo>
                    <a:pt x="7499" y="9221"/>
                  </a:lnTo>
                  <a:cubicBezTo>
                    <a:pt x="7464" y="9243"/>
                    <a:pt x="7446" y="9255"/>
                    <a:pt x="7411" y="9267"/>
                  </a:cubicBezTo>
                  <a:cubicBezTo>
                    <a:pt x="7388" y="9272"/>
                    <a:pt x="7365" y="9261"/>
                    <a:pt x="7347" y="9272"/>
                  </a:cubicBezTo>
                  <a:cubicBezTo>
                    <a:pt x="7318" y="9284"/>
                    <a:pt x="7318" y="9331"/>
                    <a:pt x="7289" y="9331"/>
                  </a:cubicBezTo>
                  <a:cubicBezTo>
                    <a:pt x="7271" y="9331"/>
                    <a:pt x="7266" y="9319"/>
                    <a:pt x="7248" y="9319"/>
                  </a:cubicBezTo>
                  <a:cubicBezTo>
                    <a:pt x="7213" y="9313"/>
                    <a:pt x="7184" y="9325"/>
                    <a:pt x="7149" y="9325"/>
                  </a:cubicBezTo>
                  <a:cubicBezTo>
                    <a:pt x="7091" y="9325"/>
                    <a:pt x="7068" y="9278"/>
                    <a:pt x="7010" y="9278"/>
                  </a:cubicBezTo>
                  <a:cubicBezTo>
                    <a:pt x="6963" y="9278"/>
                    <a:pt x="6957" y="9325"/>
                    <a:pt x="6922" y="9354"/>
                  </a:cubicBezTo>
                  <a:cubicBezTo>
                    <a:pt x="6905" y="9366"/>
                    <a:pt x="6887" y="9354"/>
                    <a:pt x="6864" y="9366"/>
                  </a:cubicBezTo>
                  <a:cubicBezTo>
                    <a:pt x="6811" y="9383"/>
                    <a:pt x="6794" y="9418"/>
                    <a:pt x="6742" y="9435"/>
                  </a:cubicBezTo>
                  <a:cubicBezTo>
                    <a:pt x="6753" y="9465"/>
                    <a:pt x="6759" y="9482"/>
                    <a:pt x="6777" y="9500"/>
                  </a:cubicBezTo>
                  <a:cubicBezTo>
                    <a:pt x="6782" y="9505"/>
                    <a:pt x="6800" y="9505"/>
                    <a:pt x="6800" y="9517"/>
                  </a:cubicBezTo>
                  <a:cubicBezTo>
                    <a:pt x="6800" y="9581"/>
                    <a:pt x="6753" y="9639"/>
                    <a:pt x="6689" y="9639"/>
                  </a:cubicBezTo>
                  <a:cubicBezTo>
                    <a:pt x="6689" y="9651"/>
                    <a:pt x="6689" y="9657"/>
                    <a:pt x="6683" y="9668"/>
                  </a:cubicBezTo>
                  <a:cubicBezTo>
                    <a:pt x="6654" y="9668"/>
                    <a:pt x="6643" y="9628"/>
                    <a:pt x="6614" y="9628"/>
                  </a:cubicBezTo>
                  <a:cubicBezTo>
                    <a:pt x="6550" y="9628"/>
                    <a:pt x="6526" y="9686"/>
                    <a:pt x="6497" y="9744"/>
                  </a:cubicBezTo>
                  <a:cubicBezTo>
                    <a:pt x="6485" y="9761"/>
                    <a:pt x="6491" y="9785"/>
                    <a:pt x="6474" y="9785"/>
                  </a:cubicBezTo>
                  <a:cubicBezTo>
                    <a:pt x="6392" y="9785"/>
                    <a:pt x="6439" y="9645"/>
                    <a:pt x="6369" y="9610"/>
                  </a:cubicBezTo>
                  <a:cubicBezTo>
                    <a:pt x="6305" y="9581"/>
                    <a:pt x="6282" y="9546"/>
                    <a:pt x="6224" y="9511"/>
                  </a:cubicBezTo>
                  <a:cubicBezTo>
                    <a:pt x="6206" y="9500"/>
                    <a:pt x="6206" y="9476"/>
                    <a:pt x="6183" y="9476"/>
                  </a:cubicBezTo>
                  <a:cubicBezTo>
                    <a:pt x="6159" y="9476"/>
                    <a:pt x="6148" y="9494"/>
                    <a:pt x="6119" y="9494"/>
                  </a:cubicBezTo>
                  <a:cubicBezTo>
                    <a:pt x="6066" y="9494"/>
                    <a:pt x="6066" y="9494"/>
                    <a:pt x="6066" y="9494"/>
                  </a:cubicBezTo>
                  <a:cubicBezTo>
                    <a:pt x="6061" y="9494"/>
                    <a:pt x="6055" y="9500"/>
                    <a:pt x="6043" y="9500"/>
                  </a:cubicBezTo>
                  <a:cubicBezTo>
                    <a:pt x="5996" y="9500"/>
                    <a:pt x="5991" y="9435"/>
                    <a:pt x="5944" y="9435"/>
                  </a:cubicBezTo>
                  <a:cubicBezTo>
                    <a:pt x="5868" y="9435"/>
                    <a:pt x="5833" y="9482"/>
                    <a:pt x="5758" y="9482"/>
                  </a:cubicBezTo>
                  <a:cubicBezTo>
                    <a:pt x="5740" y="9482"/>
                    <a:pt x="5735" y="9476"/>
                    <a:pt x="5717" y="9476"/>
                  </a:cubicBezTo>
                  <a:cubicBezTo>
                    <a:pt x="5665" y="9476"/>
                    <a:pt x="5665" y="9476"/>
                    <a:pt x="5665" y="9476"/>
                  </a:cubicBezTo>
                  <a:cubicBezTo>
                    <a:pt x="5630" y="9476"/>
                    <a:pt x="5612" y="9453"/>
                    <a:pt x="5577" y="9453"/>
                  </a:cubicBezTo>
                  <a:cubicBezTo>
                    <a:pt x="5531" y="9453"/>
                    <a:pt x="5513" y="9500"/>
                    <a:pt x="5473" y="9529"/>
                  </a:cubicBezTo>
                  <a:cubicBezTo>
                    <a:pt x="5426" y="9563"/>
                    <a:pt x="5385" y="9563"/>
                    <a:pt x="5350" y="9610"/>
                  </a:cubicBezTo>
                  <a:cubicBezTo>
                    <a:pt x="5333" y="9628"/>
                    <a:pt x="5344" y="9663"/>
                    <a:pt x="5321" y="9668"/>
                  </a:cubicBezTo>
                  <a:cubicBezTo>
                    <a:pt x="1467" y="9680"/>
                    <a:pt x="1467" y="9680"/>
                    <a:pt x="1467" y="9680"/>
                  </a:cubicBezTo>
                  <a:lnTo>
                    <a:pt x="1467" y="9680"/>
                  </a:lnTo>
                  <a:cubicBezTo>
                    <a:pt x="1467" y="8051"/>
                    <a:pt x="1467" y="8051"/>
                    <a:pt x="1467" y="8051"/>
                  </a:cubicBezTo>
                  <a:cubicBezTo>
                    <a:pt x="6" y="8045"/>
                    <a:pt x="6" y="8045"/>
                    <a:pt x="6" y="8045"/>
                  </a:cubicBezTo>
                  <a:lnTo>
                    <a:pt x="6" y="8045"/>
                  </a:lnTo>
                  <a:cubicBezTo>
                    <a:pt x="0" y="3184"/>
                    <a:pt x="0" y="3184"/>
                    <a:pt x="0" y="3184"/>
                  </a:cubicBezTo>
                  <a:lnTo>
                    <a:pt x="0" y="3184"/>
                  </a:lnTo>
                  <a:cubicBezTo>
                    <a:pt x="35" y="3219"/>
                    <a:pt x="70" y="3237"/>
                    <a:pt x="128" y="3254"/>
                  </a:cubicBezTo>
                  <a:cubicBezTo>
                    <a:pt x="233" y="3289"/>
                    <a:pt x="291" y="3307"/>
                    <a:pt x="402" y="3341"/>
                  </a:cubicBezTo>
                  <a:cubicBezTo>
                    <a:pt x="454" y="3353"/>
                    <a:pt x="501" y="3359"/>
                    <a:pt x="530" y="3405"/>
                  </a:cubicBezTo>
                  <a:cubicBezTo>
                    <a:pt x="565" y="3464"/>
                    <a:pt x="536" y="3522"/>
                    <a:pt x="582" y="3568"/>
                  </a:cubicBezTo>
                  <a:cubicBezTo>
                    <a:pt x="617" y="3603"/>
                    <a:pt x="664" y="3580"/>
                    <a:pt x="710" y="3598"/>
                  </a:cubicBezTo>
                  <a:cubicBezTo>
                    <a:pt x="740" y="3603"/>
                    <a:pt x="745" y="3627"/>
                    <a:pt x="769" y="3644"/>
                  </a:cubicBezTo>
                  <a:cubicBezTo>
                    <a:pt x="844" y="3708"/>
                    <a:pt x="792" y="3691"/>
                    <a:pt x="856" y="3691"/>
                  </a:cubicBezTo>
                  <a:cubicBezTo>
                    <a:pt x="920" y="3691"/>
                    <a:pt x="937" y="3761"/>
                    <a:pt x="1002" y="3761"/>
                  </a:cubicBezTo>
                  <a:cubicBezTo>
                    <a:pt x="1054" y="3761"/>
                    <a:pt x="1054" y="3761"/>
                    <a:pt x="1054" y="3761"/>
                  </a:cubicBezTo>
                  <a:cubicBezTo>
                    <a:pt x="1153" y="3761"/>
                    <a:pt x="1194" y="3679"/>
                    <a:pt x="1293" y="3679"/>
                  </a:cubicBezTo>
                  <a:cubicBezTo>
                    <a:pt x="1299" y="3679"/>
                    <a:pt x="1304" y="3691"/>
                    <a:pt x="1310" y="3696"/>
                  </a:cubicBezTo>
                  <a:cubicBezTo>
                    <a:pt x="1310" y="3656"/>
                    <a:pt x="1310" y="3656"/>
                    <a:pt x="1310" y="3656"/>
                  </a:cubicBezTo>
                  <a:cubicBezTo>
                    <a:pt x="1316" y="3656"/>
                    <a:pt x="1316" y="3650"/>
                    <a:pt x="1322" y="3650"/>
                  </a:cubicBezTo>
                  <a:cubicBezTo>
                    <a:pt x="1328" y="3650"/>
                    <a:pt x="1333" y="3656"/>
                    <a:pt x="1345" y="3656"/>
                  </a:cubicBezTo>
                  <a:cubicBezTo>
                    <a:pt x="1345" y="3603"/>
                    <a:pt x="1380" y="3586"/>
                    <a:pt x="1403" y="3539"/>
                  </a:cubicBezTo>
                  <a:cubicBezTo>
                    <a:pt x="1415" y="3551"/>
                    <a:pt x="1415" y="3551"/>
                    <a:pt x="1415" y="3551"/>
                  </a:cubicBezTo>
                  <a:cubicBezTo>
                    <a:pt x="1444" y="3487"/>
                    <a:pt x="1467" y="3446"/>
                    <a:pt x="1456" y="3382"/>
                  </a:cubicBezTo>
                  <a:cubicBezTo>
                    <a:pt x="1479" y="3370"/>
                    <a:pt x="1491" y="3353"/>
                    <a:pt x="1502" y="3330"/>
                  </a:cubicBezTo>
                  <a:cubicBezTo>
                    <a:pt x="1508" y="3318"/>
                    <a:pt x="1508" y="3295"/>
                    <a:pt x="1520" y="3295"/>
                  </a:cubicBezTo>
                  <a:cubicBezTo>
                    <a:pt x="1525" y="3295"/>
                    <a:pt x="1525" y="3307"/>
                    <a:pt x="1531" y="3307"/>
                  </a:cubicBezTo>
                  <a:cubicBezTo>
                    <a:pt x="1531" y="3295"/>
                    <a:pt x="1531" y="3283"/>
                    <a:pt x="1531" y="3266"/>
                  </a:cubicBezTo>
                  <a:cubicBezTo>
                    <a:pt x="1549" y="3266"/>
                    <a:pt x="1560" y="3266"/>
                    <a:pt x="1584" y="3266"/>
                  </a:cubicBezTo>
                  <a:cubicBezTo>
                    <a:pt x="1572" y="3260"/>
                    <a:pt x="1566" y="3254"/>
                    <a:pt x="1566" y="3237"/>
                  </a:cubicBezTo>
                  <a:cubicBezTo>
                    <a:pt x="1566" y="3225"/>
                    <a:pt x="1572" y="3213"/>
                    <a:pt x="1584" y="3213"/>
                  </a:cubicBezTo>
                  <a:cubicBezTo>
                    <a:pt x="1590" y="3213"/>
                    <a:pt x="1590" y="3219"/>
                    <a:pt x="1595" y="3219"/>
                  </a:cubicBezTo>
                  <a:cubicBezTo>
                    <a:pt x="1595" y="3184"/>
                    <a:pt x="1595" y="3184"/>
                    <a:pt x="1595" y="3184"/>
                  </a:cubicBezTo>
                  <a:cubicBezTo>
                    <a:pt x="1595" y="3074"/>
                    <a:pt x="1665" y="3021"/>
                    <a:pt x="1665" y="2916"/>
                  </a:cubicBezTo>
                  <a:cubicBezTo>
                    <a:pt x="1665" y="2899"/>
                    <a:pt x="1654" y="2887"/>
                    <a:pt x="1654" y="2870"/>
                  </a:cubicBezTo>
                  <a:cubicBezTo>
                    <a:pt x="1654" y="2841"/>
                    <a:pt x="1665" y="2829"/>
                    <a:pt x="1665" y="2800"/>
                  </a:cubicBezTo>
                  <a:cubicBezTo>
                    <a:pt x="1665" y="2730"/>
                    <a:pt x="1688" y="2689"/>
                    <a:pt x="1712" y="2620"/>
                  </a:cubicBezTo>
                  <a:cubicBezTo>
                    <a:pt x="1723" y="2585"/>
                    <a:pt x="1718" y="2544"/>
                    <a:pt x="1753" y="2521"/>
                  </a:cubicBezTo>
                  <a:cubicBezTo>
                    <a:pt x="1805" y="2521"/>
                    <a:pt x="1753" y="2526"/>
                    <a:pt x="1753" y="2497"/>
                  </a:cubicBezTo>
                  <a:cubicBezTo>
                    <a:pt x="1753" y="2486"/>
                    <a:pt x="1764" y="2480"/>
                    <a:pt x="1770" y="2474"/>
                  </a:cubicBezTo>
                  <a:cubicBezTo>
                    <a:pt x="1788" y="2451"/>
                    <a:pt x="1782" y="2433"/>
                    <a:pt x="1788" y="2410"/>
                  </a:cubicBezTo>
                  <a:cubicBezTo>
                    <a:pt x="1729" y="2317"/>
                    <a:pt x="1712" y="2253"/>
                    <a:pt x="1712" y="2142"/>
                  </a:cubicBezTo>
                  <a:cubicBezTo>
                    <a:pt x="1712" y="2090"/>
                    <a:pt x="1753" y="2061"/>
                    <a:pt x="1753" y="2008"/>
                  </a:cubicBezTo>
                  <a:cubicBezTo>
                    <a:pt x="1753" y="1956"/>
                    <a:pt x="1753" y="1956"/>
                    <a:pt x="1753" y="1956"/>
                  </a:cubicBezTo>
                  <a:cubicBezTo>
                    <a:pt x="1753" y="1909"/>
                    <a:pt x="1683" y="1909"/>
                    <a:pt x="1683" y="1863"/>
                  </a:cubicBezTo>
                  <a:cubicBezTo>
                    <a:pt x="1683" y="1834"/>
                    <a:pt x="1700" y="1822"/>
                    <a:pt x="1700" y="1793"/>
                  </a:cubicBezTo>
                  <a:cubicBezTo>
                    <a:pt x="1706" y="1752"/>
                    <a:pt x="1706" y="1723"/>
                    <a:pt x="1729" y="1688"/>
                  </a:cubicBezTo>
                  <a:cubicBezTo>
                    <a:pt x="1753" y="1659"/>
                    <a:pt x="1735" y="1624"/>
                    <a:pt x="1758" y="1595"/>
                  </a:cubicBezTo>
                  <a:cubicBezTo>
                    <a:pt x="1776" y="1601"/>
                    <a:pt x="1776" y="1618"/>
                    <a:pt x="1793" y="1636"/>
                  </a:cubicBezTo>
                  <a:cubicBezTo>
                    <a:pt x="1799" y="1642"/>
                    <a:pt x="1799" y="1642"/>
                    <a:pt x="1799" y="1642"/>
                  </a:cubicBezTo>
                  <a:cubicBezTo>
                    <a:pt x="1799" y="1612"/>
                    <a:pt x="1817" y="1601"/>
                    <a:pt x="1828" y="1577"/>
                  </a:cubicBezTo>
                  <a:cubicBezTo>
                    <a:pt x="1793" y="1566"/>
                    <a:pt x="1788" y="1525"/>
                    <a:pt x="1776" y="1496"/>
                  </a:cubicBezTo>
                  <a:cubicBezTo>
                    <a:pt x="1758" y="1455"/>
                    <a:pt x="1747" y="1438"/>
                    <a:pt x="1747" y="1397"/>
                  </a:cubicBezTo>
                  <a:cubicBezTo>
                    <a:pt x="1747" y="1362"/>
                    <a:pt x="1782" y="1362"/>
                    <a:pt x="1811" y="1339"/>
                  </a:cubicBezTo>
                  <a:cubicBezTo>
                    <a:pt x="1834" y="1321"/>
                    <a:pt x="1834" y="1292"/>
                    <a:pt x="1851" y="1263"/>
                  </a:cubicBezTo>
                  <a:cubicBezTo>
                    <a:pt x="1910" y="1310"/>
                    <a:pt x="1933" y="1414"/>
                    <a:pt x="1904" y="1275"/>
                  </a:cubicBezTo>
                  <a:cubicBezTo>
                    <a:pt x="1985" y="1281"/>
                    <a:pt x="1904" y="1257"/>
                    <a:pt x="1875" y="1240"/>
                  </a:cubicBezTo>
                  <a:cubicBezTo>
                    <a:pt x="2020" y="1164"/>
                    <a:pt x="1793" y="1240"/>
                    <a:pt x="1793" y="1094"/>
                  </a:cubicBezTo>
                  <a:cubicBezTo>
                    <a:pt x="1793" y="1065"/>
                    <a:pt x="1793" y="1048"/>
                    <a:pt x="1817" y="1036"/>
                  </a:cubicBezTo>
                  <a:cubicBezTo>
                    <a:pt x="1834" y="1036"/>
                    <a:pt x="1834" y="1036"/>
                    <a:pt x="1834" y="1036"/>
                  </a:cubicBezTo>
                  <a:cubicBezTo>
                    <a:pt x="1828" y="1025"/>
                    <a:pt x="1828" y="1019"/>
                    <a:pt x="1828" y="1007"/>
                  </a:cubicBezTo>
                  <a:cubicBezTo>
                    <a:pt x="1828" y="972"/>
                    <a:pt x="1851" y="960"/>
                    <a:pt x="1881" y="937"/>
                  </a:cubicBezTo>
                  <a:cubicBezTo>
                    <a:pt x="1892" y="960"/>
                    <a:pt x="1904" y="978"/>
                    <a:pt x="1910" y="1007"/>
                  </a:cubicBezTo>
                  <a:cubicBezTo>
                    <a:pt x="1910" y="1013"/>
                    <a:pt x="1916" y="1025"/>
                    <a:pt x="1916" y="1007"/>
                  </a:cubicBezTo>
                  <a:cubicBezTo>
                    <a:pt x="1916" y="990"/>
                    <a:pt x="1910" y="978"/>
                    <a:pt x="1910" y="960"/>
                  </a:cubicBezTo>
                  <a:cubicBezTo>
                    <a:pt x="1910" y="949"/>
                    <a:pt x="1910" y="949"/>
                    <a:pt x="1910" y="949"/>
                  </a:cubicBezTo>
                  <a:cubicBezTo>
                    <a:pt x="1956" y="949"/>
                    <a:pt x="1956" y="949"/>
                    <a:pt x="1956" y="949"/>
                  </a:cubicBezTo>
                  <a:cubicBezTo>
                    <a:pt x="1956" y="937"/>
                    <a:pt x="1956" y="937"/>
                    <a:pt x="1956" y="925"/>
                  </a:cubicBezTo>
                  <a:cubicBezTo>
                    <a:pt x="1956" y="902"/>
                    <a:pt x="1910" y="908"/>
                    <a:pt x="1910" y="879"/>
                  </a:cubicBezTo>
                  <a:cubicBezTo>
                    <a:pt x="1910" y="832"/>
                    <a:pt x="1945" y="815"/>
                    <a:pt x="1974" y="780"/>
                  </a:cubicBezTo>
                  <a:cubicBezTo>
                    <a:pt x="1968" y="774"/>
                    <a:pt x="1962" y="762"/>
                    <a:pt x="1962" y="751"/>
                  </a:cubicBezTo>
                  <a:cubicBezTo>
                    <a:pt x="1962" y="687"/>
                    <a:pt x="2003" y="658"/>
                    <a:pt x="2003" y="594"/>
                  </a:cubicBezTo>
                  <a:cubicBezTo>
                    <a:pt x="2003" y="530"/>
                    <a:pt x="2003" y="530"/>
                    <a:pt x="2003" y="530"/>
                  </a:cubicBezTo>
                  <a:cubicBezTo>
                    <a:pt x="2003" y="501"/>
                    <a:pt x="2009" y="483"/>
                    <a:pt x="2009" y="448"/>
                  </a:cubicBezTo>
                  <a:cubicBezTo>
                    <a:pt x="2009" y="431"/>
                    <a:pt x="2009" y="419"/>
                    <a:pt x="2009" y="402"/>
                  </a:cubicBezTo>
                  <a:cubicBezTo>
                    <a:pt x="2020" y="402"/>
                    <a:pt x="2032" y="402"/>
                    <a:pt x="2044" y="402"/>
                  </a:cubicBezTo>
                  <a:cubicBezTo>
                    <a:pt x="2084" y="402"/>
                    <a:pt x="2114" y="373"/>
                    <a:pt x="2131" y="338"/>
                  </a:cubicBezTo>
                  <a:cubicBezTo>
                    <a:pt x="2137" y="320"/>
                    <a:pt x="2131" y="285"/>
                    <a:pt x="2154" y="285"/>
                  </a:cubicBezTo>
                  <a:cubicBezTo>
                    <a:pt x="2172" y="285"/>
                    <a:pt x="2177" y="291"/>
                    <a:pt x="2195" y="285"/>
                  </a:cubicBezTo>
                  <a:cubicBezTo>
                    <a:pt x="2195" y="291"/>
                    <a:pt x="2201" y="297"/>
                    <a:pt x="2201" y="303"/>
                  </a:cubicBezTo>
                  <a:cubicBezTo>
                    <a:pt x="2201" y="338"/>
                    <a:pt x="2177" y="361"/>
                    <a:pt x="2172" y="396"/>
                  </a:cubicBezTo>
                  <a:cubicBezTo>
                    <a:pt x="2177" y="396"/>
                    <a:pt x="2177" y="396"/>
                    <a:pt x="2183" y="396"/>
                  </a:cubicBezTo>
                  <a:cubicBezTo>
                    <a:pt x="2207" y="396"/>
                    <a:pt x="2218" y="390"/>
                    <a:pt x="2236" y="390"/>
                  </a:cubicBezTo>
                  <a:cubicBezTo>
                    <a:pt x="2247" y="390"/>
                    <a:pt x="2247" y="407"/>
                    <a:pt x="2259" y="413"/>
                  </a:cubicBezTo>
                  <a:cubicBezTo>
                    <a:pt x="2282" y="413"/>
                    <a:pt x="2311" y="413"/>
                    <a:pt x="2311" y="436"/>
                  </a:cubicBezTo>
                  <a:cubicBezTo>
                    <a:pt x="2311" y="460"/>
                    <a:pt x="2300" y="471"/>
                    <a:pt x="2300" y="495"/>
                  </a:cubicBezTo>
                  <a:cubicBezTo>
                    <a:pt x="2300" y="530"/>
                    <a:pt x="2323" y="541"/>
                    <a:pt x="2335" y="576"/>
                  </a:cubicBezTo>
                  <a:cubicBezTo>
                    <a:pt x="2358" y="640"/>
                    <a:pt x="2358" y="687"/>
                    <a:pt x="2358" y="757"/>
                  </a:cubicBezTo>
                  <a:cubicBezTo>
                    <a:pt x="2358" y="780"/>
                    <a:pt x="2346" y="792"/>
                    <a:pt x="2346" y="821"/>
                  </a:cubicBezTo>
                  <a:cubicBezTo>
                    <a:pt x="2346" y="856"/>
                    <a:pt x="2375" y="891"/>
                    <a:pt x="2410" y="891"/>
                  </a:cubicBezTo>
                  <a:cubicBezTo>
                    <a:pt x="2434" y="891"/>
                    <a:pt x="2445" y="873"/>
                    <a:pt x="2469" y="873"/>
                  </a:cubicBezTo>
                  <a:cubicBezTo>
                    <a:pt x="2486" y="873"/>
                    <a:pt x="2492" y="896"/>
                    <a:pt x="2492" y="920"/>
                  </a:cubicBezTo>
                  <a:cubicBezTo>
                    <a:pt x="2492" y="955"/>
                    <a:pt x="2451" y="972"/>
                    <a:pt x="2451" y="1013"/>
                  </a:cubicBezTo>
                  <a:cubicBezTo>
                    <a:pt x="2451" y="1042"/>
                    <a:pt x="2451" y="1071"/>
                    <a:pt x="2474" y="1088"/>
                  </a:cubicBezTo>
                  <a:cubicBezTo>
                    <a:pt x="2498" y="1100"/>
                    <a:pt x="2521" y="1088"/>
                    <a:pt x="2538" y="1112"/>
                  </a:cubicBezTo>
                  <a:cubicBezTo>
                    <a:pt x="2550" y="1135"/>
                    <a:pt x="2538" y="1158"/>
                    <a:pt x="2556" y="1176"/>
                  </a:cubicBezTo>
                  <a:cubicBezTo>
                    <a:pt x="2579" y="1199"/>
                    <a:pt x="2620" y="1188"/>
                    <a:pt x="2620" y="1217"/>
                  </a:cubicBezTo>
                  <a:cubicBezTo>
                    <a:pt x="2620" y="1263"/>
                    <a:pt x="2579" y="1286"/>
                    <a:pt x="2579" y="1333"/>
                  </a:cubicBezTo>
                  <a:cubicBezTo>
                    <a:pt x="2579" y="1345"/>
                    <a:pt x="2585" y="1356"/>
                    <a:pt x="2591" y="1356"/>
                  </a:cubicBezTo>
                  <a:cubicBezTo>
                    <a:pt x="2608" y="1356"/>
                    <a:pt x="2620" y="1351"/>
                    <a:pt x="2632" y="1333"/>
                  </a:cubicBezTo>
                  <a:cubicBezTo>
                    <a:pt x="2655" y="1339"/>
                    <a:pt x="2655" y="1339"/>
                    <a:pt x="2655" y="1339"/>
                  </a:cubicBezTo>
                  <a:cubicBezTo>
                    <a:pt x="2655" y="1374"/>
                    <a:pt x="2649" y="1391"/>
                    <a:pt x="2649" y="1432"/>
                  </a:cubicBezTo>
                  <a:cubicBezTo>
                    <a:pt x="2649" y="1519"/>
                    <a:pt x="2701" y="1560"/>
                    <a:pt x="2701" y="1653"/>
                  </a:cubicBezTo>
                  <a:cubicBezTo>
                    <a:pt x="2701" y="1700"/>
                    <a:pt x="2661" y="1717"/>
                    <a:pt x="2661" y="1758"/>
                  </a:cubicBezTo>
                  <a:cubicBezTo>
                    <a:pt x="2661" y="1805"/>
                    <a:pt x="2690" y="1822"/>
                    <a:pt x="2713" y="1857"/>
                  </a:cubicBezTo>
                  <a:cubicBezTo>
                    <a:pt x="2736" y="1915"/>
                    <a:pt x="2725" y="1962"/>
                    <a:pt x="2748" y="2026"/>
                  </a:cubicBezTo>
                  <a:cubicBezTo>
                    <a:pt x="2777" y="2090"/>
                    <a:pt x="2818" y="2113"/>
                    <a:pt x="2864" y="2166"/>
                  </a:cubicBezTo>
                  <a:cubicBezTo>
                    <a:pt x="2923" y="2119"/>
                    <a:pt x="2940" y="2043"/>
                    <a:pt x="3010" y="2043"/>
                  </a:cubicBezTo>
                  <a:cubicBezTo>
                    <a:pt x="3027" y="2043"/>
                    <a:pt x="3033" y="2055"/>
                    <a:pt x="3051" y="2055"/>
                  </a:cubicBezTo>
                  <a:cubicBezTo>
                    <a:pt x="3092" y="2055"/>
                    <a:pt x="3097" y="2008"/>
                    <a:pt x="3132" y="1997"/>
                  </a:cubicBezTo>
                  <a:cubicBezTo>
                    <a:pt x="3144" y="2020"/>
                    <a:pt x="3173" y="2020"/>
                    <a:pt x="3173" y="2043"/>
                  </a:cubicBezTo>
                  <a:cubicBezTo>
                    <a:pt x="3173" y="2049"/>
                    <a:pt x="3167" y="2049"/>
                    <a:pt x="3167" y="2055"/>
                  </a:cubicBezTo>
                  <a:cubicBezTo>
                    <a:pt x="3167" y="2066"/>
                    <a:pt x="3185" y="2066"/>
                    <a:pt x="3191" y="2078"/>
                  </a:cubicBezTo>
                  <a:cubicBezTo>
                    <a:pt x="3214" y="2119"/>
                    <a:pt x="3202" y="2166"/>
                    <a:pt x="3243" y="2189"/>
                  </a:cubicBezTo>
                  <a:cubicBezTo>
                    <a:pt x="3284" y="2206"/>
                    <a:pt x="3330" y="2189"/>
                    <a:pt x="3348" y="2224"/>
                  </a:cubicBezTo>
                  <a:cubicBezTo>
                    <a:pt x="3354" y="2247"/>
                    <a:pt x="3348" y="2264"/>
                    <a:pt x="3365" y="2282"/>
                  </a:cubicBezTo>
                  <a:cubicBezTo>
                    <a:pt x="3400" y="2317"/>
                    <a:pt x="3441" y="2311"/>
                    <a:pt x="3476" y="2340"/>
                  </a:cubicBezTo>
                  <a:cubicBezTo>
                    <a:pt x="3499" y="2358"/>
                    <a:pt x="3534" y="2358"/>
                    <a:pt x="3534" y="2387"/>
                  </a:cubicBezTo>
                  <a:cubicBezTo>
                    <a:pt x="3534" y="2422"/>
                    <a:pt x="3499" y="2433"/>
                    <a:pt x="3499" y="2474"/>
                  </a:cubicBezTo>
                  <a:cubicBezTo>
                    <a:pt x="3499" y="2503"/>
                    <a:pt x="3511" y="2526"/>
                    <a:pt x="3534" y="2550"/>
                  </a:cubicBezTo>
                  <a:cubicBezTo>
                    <a:pt x="3511" y="2573"/>
                    <a:pt x="3493" y="2596"/>
                    <a:pt x="3493" y="2625"/>
                  </a:cubicBezTo>
                  <a:cubicBezTo>
                    <a:pt x="3493" y="2695"/>
                    <a:pt x="3563" y="2718"/>
                    <a:pt x="3563" y="2788"/>
                  </a:cubicBezTo>
                  <a:cubicBezTo>
                    <a:pt x="3563" y="2806"/>
                    <a:pt x="3557" y="2818"/>
                    <a:pt x="3557" y="2835"/>
                  </a:cubicBezTo>
                  <a:cubicBezTo>
                    <a:pt x="3557" y="2870"/>
                    <a:pt x="3610" y="2876"/>
                    <a:pt x="3610" y="2911"/>
                  </a:cubicBezTo>
                  <a:cubicBezTo>
                    <a:pt x="3610" y="2940"/>
                    <a:pt x="3592" y="2957"/>
                    <a:pt x="3592" y="2992"/>
                  </a:cubicBezTo>
                  <a:cubicBezTo>
                    <a:pt x="3592" y="3004"/>
                    <a:pt x="3598" y="3010"/>
                    <a:pt x="3598" y="3027"/>
                  </a:cubicBezTo>
                  <a:cubicBezTo>
                    <a:pt x="3598" y="3050"/>
                    <a:pt x="3569" y="3056"/>
                    <a:pt x="3569" y="3085"/>
                  </a:cubicBezTo>
                  <a:cubicBezTo>
                    <a:pt x="3569" y="3138"/>
                    <a:pt x="3621" y="3155"/>
                    <a:pt x="3650" y="3196"/>
                  </a:cubicBezTo>
                  <a:cubicBezTo>
                    <a:pt x="3703" y="3272"/>
                    <a:pt x="3726" y="3324"/>
                    <a:pt x="3802" y="3376"/>
                  </a:cubicBezTo>
                  <a:cubicBezTo>
                    <a:pt x="3819" y="3370"/>
                    <a:pt x="3819" y="3370"/>
                    <a:pt x="3819" y="3370"/>
                  </a:cubicBezTo>
                  <a:cubicBezTo>
                    <a:pt x="3819" y="3382"/>
                    <a:pt x="3813" y="3394"/>
                    <a:pt x="3813" y="3405"/>
                  </a:cubicBezTo>
                  <a:cubicBezTo>
                    <a:pt x="3813" y="3429"/>
                    <a:pt x="3831" y="3440"/>
                    <a:pt x="3837" y="3464"/>
                  </a:cubicBezTo>
                  <a:cubicBezTo>
                    <a:pt x="3866" y="3539"/>
                    <a:pt x="3877" y="3586"/>
                    <a:pt x="3895" y="3673"/>
                  </a:cubicBezTo>
                  <a:cubicBezTo>
                    <a:pt x="3901" y="3685"/>
                    <a:pt x="3907" y="3691"/>
                    <a:pt x="3907" y="3702"/>
                  </a:cubicBezTo>
                  <a:cubicBezTo>
                    <a:pt x="3907" y="3766"/>
                    <a:pt x="3907" y="3807"/>
                    <a:pt x="3907" y="3871"/>
                  </a:cubicBezTo>
                  <a:cubicBezTo>
                    <a:pt x="3860" y="3982"/>
                    <a:pt x="3860" y="3982"/>
                    <a:pt x="3860" y="3982"/>
                  </a:cubicBezTo>
                  <a:cubicBezTo>
                    <a:pt x="3866" y="4034"/>
                    <a:pt x="3877" y="4069"/>
                    <a:pt x="3912" y="4104"/>
                  </a:cubicBezTo>
                  <a:cubicBezTo>
                    <a:pt x="3947" y="4133"/>
                    <a:pt x="3959" y="4151"/>
                    <a:pt x="3988" y="4180"/>
                  </a:cubicBezTo>
                  <a:cubicBezTo>
                    <a:pt x="4000" y="4185"/>
                    <a:pt x="4011" y="4191"/>
                    <a:pt x="4011" y="4203"/>
                  </a:cubicBezTo>
                  <a:cubicBezTo>
                    <a:pt x="4011" y="4244"/>
                    <a:pt x="3994" y="4267"/>
                    <a:pt x="3994" y="4308"/>
                  </a:cubicBezTo>
                  <a:cubicBezTo>
                    <a:pt x="3994" y="4348"/>
                    <a:pt x="4011" y="4372"/>
                    <a:pt x="4035" y="4407"/>
                  </a:cubicBezTo>
                  <a:cubicBezTo>
                    <a:pt x="4104" y="4465"/>
                    <a:pt x="4157" y="4488"/>
                    <a:pt x="4238" y="4529"/>
                  </a:cubicBezTo>
                  <a:cubicBezTo>
                    <a:pt x="4279" y="4546"/>
                    <a:pt x="4285" y="4581"/>
                    <a:pt x="4326" y="4599"/>
                  </a:cubicBezTo>
                  <a:cubicBezTo>
                    <a:pt x="4332" y="4564"/>
                    <a:pt x="4343" y="4546"/>
                    <a:pt x="4372" y="4529"/>
                  </a:cubicBezTo>
                  <a:cubicBezTo>
                    <a:pt x="4372" y="4541"/>
                    <a:pt x="4372" y="4541"/>
                    <a:pt x="4372" y="4541"/>
                  </a:cubicBezTo>
                  <a:cubicBezTo>
                    <a:pt x="4361" y="4558"/>
                    <a:pt x="4361" y="4558"/>
                    <a:pt x="4361" y="4558"/>
                  </a:cubicBezTo>
                  <a:cubicBezTo>
                    <a:pt x="4378" y="4611"/>
                    <a:pt x="4430" y="4634"/>
                    <a:pt x="4489" y="4634"/>
                  </a:cubicBezTo>
                  <a:cubicBezTo>
                    <a:pt x="4518" y="4634"/>
                    <a:pt x="4535" y="4622"/>
                    <a:pt x="4570" y="4616"/>
                  </a:cubicBezTo>
                  <a:cubicBezTo>
                    <a:pt x="4588" y="4651"/>
                    <a:pt x="4611" y="4663"/>
                    <a:pt x="4611" y="4704"/>
                  </a:cubicBezTo>
                  <a:cubicBezTo>
                    <a:pt x="4611" y="4715"/>
                    <a:pt x="4605" y="4721"/>
                    <a:pt x="4605" y="4739"/>
                  </a:cubicBezTo>
                  <a:cubicBezTo>
                    <a:pt x="4605" y="4797"/>
                    <a:pt x="4658" y="4814"/>
                    <a:pt x="4698" y="4855"/>
                  </a:cubicBezTo>
                  <a:cubicBezTo>
                    <a:pt x="4710" y="4826"/>
                    <a:pt x="4710" y="4808"/>
                    <a:pt x="4727" y="4779"/>
                  </a:cubicBezTo>
                  <a:cubicBezTo>
                    <a:pt x="4751" y="4785"/>
                    <a:pt x="4751" y="4785"/>
                    <a:pt x="4751" y="4785"/>
                  </a:cubicBezTo>
                  <a:cubicBezTo>
                    <a:pt x="4751" y="4837"/>
                    <a:pt x="4774" y="4902"/>
                    <a:pt x="4826" y="4902"/>
                  </a:cubicBezTo>
                  <a:cubicBezTo>
                    <a:pt x="4844" y="4902"/>
                    <a:pt x="4844" y="4867"/>
                    <a:pt x="4861" y="4867"/>
                  </a:cubicBezTo>
                  <a:cubicBezTo>
                    <a:pt x="4896" y="4867"/>
                    <a:pt x="4902" y="4902"/>
                    <a:pt x="4925" y="4925"/>
                  </a:cubicBezTo>
                  <a:cubicBezTo>
                    <a:pt x="4972" y="4960"/>
                    <a:pt x="4989" y="4995"/>
                    <a:pt x="5048" y="5012"/>
                  </a:cubicBezTo>
                  <a:cubicBezTo>
                    <a:pt x="5048" y="4995"/>
                    <a:pt x="5059" y="4983"/>
                    <a:pt x="5071" y="4977"/>
                  </a:cubicBezTo>
                  <a:cubicBezTo>
                    <a:pt x="5082" y="5000"/>
                    <a:pt x="5082" y="5018"/>
                    <a:pt x="5100" y="5030"/>
                  </a:cubicBezTo>
                  <a:cubicBezTo>
                    <a:pt x="5118" y="5041"/>
                    <a:pt x="5135" y="5035"/>
                    <a:pt x="5147" y="5053"/>
                  </a:cubicBezTo>
                  <a:cubicBezTo>
                    <a:pt x="5152" y="5059"/>
                    <a:pt x="5147" y="5076"/>
                    <a:pt x="5158" y="5082"/>
                  </a:cubicBezTo>
                  <a:cubicBezTo>
                    <a:pt x="5187" y="5100"/>
                    <a:pt x="5222" y="5100"/>
                    <a:pt x="5222" y="5129"/>
                  </a:cubicBezTo>
                  <a:cubicBezTo>
                    <a:pt x="5222" y="5146"/>
                    <a:pt x="5205" y="5163"/>
                    <a:pt x="5181" y="5163"/>
                  </a:cubicBezTo>
                  <a:cubicBezTo>
                    <a:pt x="5170" y="5163"/>
                    <a:pt x="5164" y="5152"/>
                    <a:pt x="5152" y="5146"/>
                  </a:cubicBezTo>
                  <a:cubicBezTo>
                    <a:pt x="5152" y="5152"/>
                    <a:pt x="5147" y="5158"/>
                    <a:pt x="5147" y="5158"/>
                  </a:cubicBezTo>
                  <a:cubicBezTo>
                    <a:pt x="5147" y="5169"/>
                    <a:pt x="5158" y="5169"/>
                    <a:pt x="5158" y="5181"/>
                  </a:cubicBezTo>
                  <a:cubicBezTo>
                    <a:pt x="5158" y="5193"/>
                    <a:pt x="5141" y="5198"/>
                    <a:pt x="5141" y="5210"/>
                  </a:cubicBezTo>
                  <a:cubicBezTo>
                    <a:pt x="5141" y="5233"/>
                    <a:pt x="5158" y="5245"/>
                    <a:pt x="5170" y="5268"/>
                  </a:cubicBezTo>
                  <a:cubicBezTo>
                    <a:pt x="5222" y="5321"/>
                    <a:pt x="5234" y="5402"/>
                    <a:pt x="5310" y="5391"/>
                  </a:cubicBezTo>
                  <a:cubicBezTo>
                    <a:pt x="5310" y="5408"/>
                    <a:pt x="5310" y="5414"/>
                    <a:pt x="5310" y="5431"/>
                  </a:cubicBezTo>
                  <a:cubicBezTo>
                    <a:pt x="5321" y="5437"/>
                    <a:pt x="5321" y="5437"/>
                    <a:pt x="5321" y="5437"/>
                  </a:cubicBezTo>
                  <a:cubicBezTo>
                    <a:pt x="5327" y="5431"/>
                    <a:pt x="5327" y="5431"/>
                    <a:pt x="5333" y="5431"/>
                  </a:cubicBezTo>
                  <a:cubicBezTo>
                    <a:pt x="5350" y="5431"/>
                    <a:pt x="5350" y="5449"/>
                    <a:pt x="5362" y="5466"/>
                  </a:cubicBezTo>
                  <a:cubicBezTo>
                    <a:pt x="5374" y="5484"/>
                    <a:pt x="5403" y="5484"/>
                    <a:pt x="5403" y="5501"/>
                  </a:cubicBezTo>
                  <a:cubicBezTo>
                    <a:pt x="5403" y="5524"/>
                    <a:pt x="5385" y="5530"/>
                    <a:pt x="5385" y="5548"/>
                  </a:cubicBezTo>
                  <a:cubicBezTo>
                    <a:pt x="5385" y="5559"/>
                    <a:pt x="5391" y="5565"/>
                    <a:pt x="5391" y="5571"/>
                  </a:cubicBezTo>
                  <a:cubicBezTo>
                    <a:pt x="5397" y="5571"/>
                    <a:pt x="5403" y="5565"/>
                    <a:pt x="5414" y="5565"/>
                  </a:cubicBezTo>
                  <a:cubicBezTo>
                    <a:pt x="5432" y="5565"/>
                    <a:pt x="5432" y="5594"/>
                    <a:pt x="5432" y="5618"/>
                  </a:cubicBezTo>
                  <a:cubicBezTo>
                    <a:pt x="5438" y="5658"/>
                    <a:pt x="5432" y="5717"/>
                    <a:pt x="5473" y="5717"/>
                  </a:cubicBezTo>
                  <a:cubicBezTo>
                    <a:pt x="5478" y="5717"/>
                    <a:pt x="5484" y="5717"/>
                    <a:pt x="5490" y="5711"/>
                  </a:cubicBezTo>
                  <a:cubicBezTo>
                    <a:pt x="5496" y="5728"/>
                    <a:pt x="5519" y="5734"/>
                    <a:pt x="5519" y="5757"/>
                  </a:cubicBezTo>
                  <a:cubicBezTo>
                    <a:pt x="5519" y="5781"/>
                    <a:pt x="5507" y="5792"/>
                    <a:pt x="5507" y="5815"/>
                  </a:cubicBezTo>
                  <a:cubicBezTo>
                    <a:pt x="5507" y="5926"/>
                    <a:pt x="5595" y="5973"/>
                    <a:pt x="5595" y="6089"/>
                  </a:cubicBezTo>
                  <a:cubicBezTo>
                    <a:pt x="5595" y="6101"/>
                    <a:pt x="5583" y="6107"/>
                    <a:pt x="5583" y="6118"/>
                  </a:cubicBezTo>
                  <a:cubicBezTo>
                    <a:pt x="5583" y="6136"/>
                    <a:pt x="5601" y="6136"/>
                    <a:pt x="5607" y="6141"/>
                  </a:cubicBezTo>
                  <a:cubicBezTo>
                    <a:pt x="5624" y="6159"/>
                    <a:pt x="5624" y="6188"/>
                    <a:pt x="5647" y="6188"/>
                  </a:cubicBezTo>
                  <a:cubicBezTo>
                    <a:pt x="5659" y="6188"/>
                    <a:pt x="5659" y="6171"/>
                    <a:pt x="5670" y="6171"/>
                  </a:cubicBezTo>
                  <a:cubicBezTo>
                    <a:pt x="5781" y="6171"/>
                    <a:pt x="5822" y="6380"/>
                    <a:pt x="5764" y="6141"/>
                  </a:cubicBezTo>
                  <a:cubicBezTo>
                    <a:pt x="5775" y="6124"/>
                    <a:pt x="5775" y="6124"/>
                    <a:pt x="5775" y="6124"/>
                  </a:cubicBezTo>
                  <a:cubicBezTo>
                    <a:pt x="5770" y="6112"/>
                    <a:pt x="5764" y="6107"/>
                    <a:pt x="5764" y="6095"/>
                  </a:cubicBezTo>
                  <a:cubicBezTo>
                    <a:pt x="5764" y="6066"/>
                    <a:pt x="5770" y="6037"/>
                    <a:pt x="5793" y="6037"/>
                  </a:cubicBezTo>
                  <a:cubicBezTo>
                    <a:pt x="5833" y="6037"/>
                    <a:pt x="5822" y="6083"/>
                    <a:pt x="5851" y="6112"/>
                  </a:cubicBezTo>
                  <a:cubicBezTo>
                    <a:pt x="5892" y="6159"/>
                    <a:pt x="5927" y="6182"/>
                    <a:pt x="5973" y="6229"/>
                  </a:cubicBezTo>
                  <a:cubicBezTo>
                    <a:pt x="6008" y="6258"/>
                    <a:pt x="6026" y="6281"/>
                    <a:pt x="6072" y="6287"/>
                  </a:cubicBezTo>
                  <a:cubicBezTo>
                    <a:pt x="6072" y="6223"/>
                    <a:pt x="6072" y="6223"/>
                    <a:pt x="6072" y="6223"/>
                  </a:cubicBezTo>
                  <a:cubicBezTo>
                    <a:pt x="6072" y="6194"/>
                    <a:pt x="6055" y="6176"/>
                    <a:pt x="6055" y="6147"/>
                  </a:cubicBezTo>
                  <a:cubicBezTo>
                    <a:pt x="6055" y="6130"/>
                    <a:pt x="6055" y="6130"/>
                    <a:pt x="6055" y="6130"/>
                  </a:cubicBezTo>
                  <a:cubicBezTo>
                    <a:pt x="6061" y="6130"/>
                    <a:pt x="6061" y="6124"/>
                    <a:pt x="6066" y="6124"/>
                  </a:cubicBezTo>
                  <a:cubicBezTo>
                    <a:pt x="6090" y="6124"/>
                    <a:pt x="6084" y="6165"/>
                    <a:pt x="6101" y="6182"/>
                  </a:cubicBezTo>
                  <a:cubicBezTo>
                    <a:pt x="6130" y="6217"/>
                    <a:pt x="6125" y="6246"/>
                    <a:pt x="6142" y="6281"/>
                  </a:cubicBezTo>
                  <a:cubicBezTo>
                    <a:pt x="6154" y="6310"/>
                    <a:pt x="6177" y="6328"/>
                    <a:pt x="6177" y="6357"/>
                  </a:cubicBezTo>
                  <a:cubicBezTo>
                    <a:pt x="6177" y="6380"/>
                    <a:pt x="6154" y="6392"/>
                    <a:pt x="6154" y="6415"/>
                  </a:cubicBezTo>
                  <a:cubicBezTo>
                    <a:pt x="6154" y="6438"/>
                    <a:pt x="6171" y="6456"/>
                    <a:pt x="6177" y="6479"/>
                  </a:cubicBezTo>
                  <a:cubicBezTo>
                    <a:pt x="6189" y="6561"/>
                    <a:pt x="6194" y="6601"/>
                    <a:pt x="6194" y="6683"/>
                  </a:cubicBezTo>
                  <a:cubicBezTo>
                    <a:pt x="6194" y="6706"/>
                    <a:pt x="6194" y="6706"/>
                    <a:pt x="6194" y="6706"/>
                  </a:cubicBezTo>
                  <a:cubicBezTo>
                    <a:pt x="6189" y="6706"/>
                    <a:pt x="6189" y="6706"/>
                    <a:pt x="6183" y="6706"/>
                  </a:cubicBezTo>
                  <a:cubicBezTo>
                    <a:pt x="6177" y="6706"/>
                    <a:pt x="6171" y="6700"/>
                    <a:pt x="6165" y="6700"/>
                  </a:cubicBezTo>
                  <a:cubicBezTo>
                    <a:pt x="6148" y="6700"/>
                    <a:pt x="6119" y="6706"/>
                    <a:pt x="6119" y="6724"/>
                  </a:cubicBezTo>
                  <a:cubicBezTo>
                    <a:pt x="6119" y="6747"/>
                    <a:pt x="6142" y="6747"/>
                    <a:pt x="6154" y="6764"/>
                  </a:cubicBezTo>
                  <a:cubicBezTo>
                    <a:pt x="6183" y="6793"/>
                    <a:pt x="6212" y="6793"/>
                    <a:pt x="6241" y="6823"/>
                  </a:cubicBezTo>
                  <a:cubicBezTo>
                    <a:pt x="6259" y="6811"/>
                    <a:pt x="6253" y="6793"/>
                    <a:pt x="6264" y="6776"/>
                  </a:cubicBezTo>
                  <a:cubicBezTo>
                    <a:pt x="6322" y="6805"/>
                    <a:pt x="6328" y="6858"/>
                    <a:pt x="6363" y="6916"/>
                  </a:cubicBezTo>
                  <a:cubicBezTo>
                    <a:pt x="6381" y="6939"/>
                    <a:pt x="6410" y="6939"/>
                    <a:pt x="6439" y="6962"/>
                  </a:cubicBezTo>
                  <a:cubicBezTo>
                    <a:pt x="6456" y="6974"/>
                    <a:pt x="6462" y="6991"/>
                    <a:pt x="6474" y="7015"/>
                  </a:cubicBezTo>
                  <a:cubicBezTo>
                    <a:pt x="6491" y="7044"/>
                    <a:pt x="6520" y="7044"/>
                    <a:pt x="6555" y="7056"/>
                  </a:cubicBezTo>
                  <a:cubicBezTo>
                    <a:pt x="6567" y="7044"/>
                    <a:pt x="6573" y="7032"/>
                    <a:pt x="6585" y="7032"/>
                  </a:cubicBezTo>
                  <a:cubicBezTo>
                    <a:pt x="6602" y="7032"/>
                    <a:pt x="6608" y="7044"/>
                    <a:pt x="6625" y="7056"/>
                  </a:cubicBezTo>
                  <a:cubicBezTo>
                    <a:pt x="6678" y="7073"/>
                    <a:pt x="6713" y="7090"/>
                    <a:pt x="6736" y="7143"/>
                  </a:cubicBezTo>
                  <a:cubicBezTo>
                    <a:pt x="6753" y="7184"/>
                    <a:pt x="6765" y="7213"/>
                    <a:pt x="6759" y="7259"/>
                  </a:cubicBezTo>
                  <a:cubicBezTo>
                    <a:pt x="6771" y="7259"/>
                    <a:pt x="6771" y="7259"/>
                    <a:pt x="6771" y="7259"/>
                  </a:cubicBezTo>
                  <a:cubicBezTo>
                    <a:pt x="6806" y="7288"/>
                    <a:pt x="6800" y="7329"/>
                    <a:pt x="6835" y="7358"/>
                  </a:cubicBezTo>
                  <a:cubicBezTo>
                    <a:pt x="6870" y="7393"/>
                    <a:pt x="6916" y="7376"/>
                    <a:pt x="6951" y="7411"/>
                  </a:cubicBezTo>
                  <a:cubicBezTo>
                    <a:pt x="6974" y="7434"/>
                    <a:pt x="6957" y="7463"/>
                    <a:pt x="6963" y="7492"/>
                  </a:cubicBezTo>
                  <a:cubicBezTo>
                    <a:pt x="6974" y="7533"/>
                    <a:pt x="7010" y="7545"/>
                    <a:pt x="7021" y="7579"/>
                  </a:cubicBezTo>
                  <a:cubicBezTo>
                    <a:pt x="7027" y="7608"/>
                    <a:pt x="7033" y="7626"/>
                    <a:pt x="7056" y="7638"/>
                  </a:cubicBezTo>
                  <a:cubicBezTo>
                    <a:pt x="7091" y="7655"/>
                    <a:pt x="7108" y="7667"/>
                    <a:pt x="7143" y="7673"/>
                  </a:cubicBezTo>
                  <a:cubicBezTo>
                    <a:pt x="7161" y="7678"/>
                    <a:pt x="7190" y="7678"/>
                    <a:pt x="7190" y="7696"/>
                  </a:cubicBezTo>
                  <a:cubicBezTo>
                    <a:pt x="7190" y="7754"/>
                    <a:pt x="7161" y="7777"/>
                    <a:pt x="7161" y="7830"/>
                  </a:cubicBezTo>
                  <a:cubicBezTo>
                    <a:pt x="7161" y="7905"/>
                    <a:pt x="7207" y="7940"/>
                    <a:pt x="7260" y="7987"/>
                  </a:cubicBezTo>
                  <a:cubicBezTo>
                    <a:pt x="7277" y="8010"/>
                    <a:pt x="7312" y="8010"/>
                    <a:pt x="7312" y="8039"/>
                  </a:cubicBezTo>
                  <a:cubicBezTo>
                    <a:pt x="7312" y="8115"/>
                    <a:pt x="7260" y="8150"/>
                    <a:pt x="7260" y="8226"/>
                  </a:cubicBezTo>
                  <a:cubicBezTo>
                    <a:pt x="7260" y="8249"/>
                    <a:pt x="7271" y="8260"/>
                    <a:pt x="7271" y="8284"/>
                  </a:cubicBezTo>
                  <a:cubicBezTo>
                    <a:pt x="7277" y="8284"/>
                    <a:pt x="7277" y="8284"/>
                    <a:pt x="7283" y="8284"/>
                  </a:cubicBezTo>
                  <a:cubicBezTo>
                    <a:pt x="7289" y="8284"/>
                    <a:pt x="7289" y="8278"/>
                    <a:pt x="7295" y="8278"/>
                  </a:cubicBezTo>
                  <a:cubicBezTo>
                    <a:pt x="7306" y="8301"/>
                    <a:pt x="7306" y="8319"/>
                    <a:pt x="7306" y="8342"/>
                  </a:cubicBezTo>
                  <a:cubicBezTo>
                    <a:pt x="7306" y="8377"/>
                    <a:pt x="7306" y="8377"/>
                    <a:pt x="7306" y="8377"/>
                  </a:cubicBezTo>
                  <a:cubicBezTo>
                    <a:pt x="7306" y="8406"/>
                    <a:pt x="7318" y="8423"/>
                    <a:pt x="7336" y="8447"/>
                  </a:cubicBezTo>
                  <a:cubicBezTo>
                    <a:pt x="7289" y="8482"/>
                    <a:pt x="7266" y="8523"/>
                    <a:pt x="7266" y="8581"/>
                  </a:cubicBezTo>
                  <a:cubicBezTo>
                    <a:pt x="7266" y="8604"/>
                    <a:pt x="7289" y="8610"/>
                    <a:pt x="7306" y="8627"/>
                  </a:cubicBezTo>
                  <a:cubicBezTo>
                    <a:pt x="7295" y="8645"/>
                    <a:pt x="7266" y="8645"/>
                    <a:pt x="7266" y="8668"/>
                  </a:cubicBezTo>
                  <a:cubicBezTo>
                    <a:pt x="7266" y="8697"/>
                    <a:pt x="7300" y="8703"/>
                    <a:pt x="7312" y="8738"/>
                  </a:cubicBezTo>
                  <a:cubicBezTo>
                    <a:pt x="7324" y="8761"/>
                    <a:pt x="7318" y="8784"/>
                    <a:pt x="7330" y="8808"/>
                  </a:cubicBezTo>
                  <a:cubicBezTo>
                    <a:pt x="7341" y="8854"/>
                    <a:pt x="7376" y="8860"/>
                    <a:pt x="7399" y="8901"/>
                  </a:cubicBezTo>
                  <a:cubicBezTo>
                    <a:pt x="7394" y="8924"/>
                    <a:pt x="7388" y="8936"/>
                    <a:pt x="7388" y="8965"/>
                  </a:cubicBezTo>
                  <a:cubicBezTo>
                    <a:pt x="7388" y="9075"/>
                    <a:pt x="7469" y="9134"/>
                    <a:pt x="7499" y="9221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6" name="Freeform 65"/>
            <p:cNvSpPr>
              <a:spLocks noChangeArrowheads="1"/>
            </p:cNvSpPr>
            <p:nvPr/>
          </p:nvSpPr>
          <p:spPr bwMode="auto">
            <a:xfrm>
              <a:off x="16303774" y="6808151"/>
              <a:ext cx="2547367" cy="3044236"/>
            </a:xfrm>
            <a:custGeom>
              <a:avLst/>
              <a:gdLst>
                <a:gd name="T0" fmla="*/ 4254 w 5792"/>
                <a:gd name="T1" fmla="*/ 5564 h 6921"/>
                <a:gd name="T2" fmla="*/ 4336 w 5792"/>
                <a:gd name="T3" fmla="*/ 5506 h 6921"/>
                <a:gd name="T4" fmla="*/ 3696 w 5792"/>
                <a:gd name="T5" fmla="*/ 5640 h 6921"/>
                <a:gd name="T6" fmla="*/ 3853 w 5792"/>
                <a:gd name="T7" fmla="*/ 5686 h 6921"/>
                <a:gd name="T8" fmla="*/ 3957 w 5792"/>
                <a:gd name="T9" fmla="*/ 5651 h 6921"/>
                <a:gd name="T10" fmla="*/ 4109 w 5792"/>
                <a:gd name="T11" fmla="*/ 5715 h 6921"/>
                <a:gd name="T12" fmla="*/ 4219 w 5792"/>
                <a:gd name="T13" fmla="*/ 5523 h 6921"/>
                <a:gd name="T14" fmla="*/ 4149 w 5792"/>
                <a:gd name="T15" fmla="*/ 5453 h 6921"/>
                <a:gd name="T16" fmla="*/ 3672 w 5792"/>
                <a:gd name="T17" fmla="*/ 5517 h 6921"/>
                <a:gd name="T18" fmla="*/ 0 w 5792"/>
                <a:gd name="T19" fmla="*/ 3148 h 6921"/>
                <a:gd name="T20" fmla="*/ 0 w 5792"/>
                <a:gd name="T21" fmla="*/ 0 h 6921"/>
                <a:gd name="T22" fmla="*/ 5791 w 5792"/>
                <a:gd name="T23" fmla="*/ 23 h 6921"/>
                <a:gd name="T24" fmla="*/ 5780 w 5792"/>
                <a:gd name="T25" fmla="*/ 4504 h 6921"/>
                <a:gd name="T26" fmla="*/ 5774 w 5792"/>
                <a:gd name="T27" fmla="*/ 6914 h 6921"/>
                <a:gd name="T28" fmla="*/ 5553 w 5792"/>
                <a:gd name="T29" fmla="*/ 6856 h 6921"/>
                <a:gd name="T30" fmla="*/ 5337 w 5792"/>
                <a:gd name="T31" fmla="*/ 6554 h 6921"/>
                <a:gd name="T32" fmla="*/ 5215 w 5792"/>
                <a:gd name="T33" fmla="*/ 6350 h 6921"/>
                <a:gd name="T34" fmla="*/ 5250 w 5792"/>
                <a:gd name="T35" fmla="*/ 6036 h 6921"/>
                <a:gd name="T36" fmla="*/ 4895 w 5792"/>
                <a:gd name="T37" fmla="*/ 5442 h 6921"/>
                <a:gd name="T38" fmla="*/ 4924 w 5792"/>
                <a:gd name="T39" fmla="*/ 5366 h 6921"/>
                <a:gd name="T40" fmla="*/ 4953 w 5792"/>
                <a:gd name="T41" fmla="*/ 5500 h 6921"/>
                <a:gd name="T42" fmla="*/ 4825 w 5792"/>
                <a:gd name="T43" fmla="*/ 5319 h 6921"/>
                <a:gd name="T44" fmla="*/ 4493 w 5792"/>
                <a:gd name="T45" fmla="*/ 5459 h 6921"/>
                <a:gd name="T46" fmla="*/ 4481 w 5792"/>
                <a:gd name="T47" fmla="*/ 5366 h 6921"/>
                <a:gd name="T48" fmla="*/ 4505 w 5792"/>
                <a:gd name="T49" fmla="*/ 4801 h 6921"/>
                <a:gd name="T50" fmla="*/ 4342 w 5792"/>
                <a:gd name="T51" fmla="*/ 4662 h 6921"/>
                <a:gd name="T52" fmla="*/ 4225 w 5792"/>
                <a:gd name="T53" fmla="*/ 5063 h 6921"/>
                <a:gd name="T54" fmla="*/ 3800 w 5792"/>
                <a:gd name="T55" fmla="*/ 5232 h 6921"/>
                <a:gd name="T56" fmla="*/ 3818 w 5792"/>
                <a:gd name="T57" fmla="*/ 5127 h 6921"/>
                <a:gd name="T58" fmla="*/ 4010 w 5792"/>
                <a:gd name="T59" fmla="*/ 5017 h 6921"/>
                <a:gd name="T60" fmla="*/ 4103 w 5792"/>
                <a:gd name="T61" fmla="*/ 4609 h 6921"/>
                <a:gd name="T62" fmla="*/ 4120 w 5792"/>
                <a:gd name="T63" fmla="*/ 4469 h 6921"/>
                <a:gd name="T64" fmla="*/ 4231 w 5792"/>
                <a:gd name="T65" fmla="*/ 4312 h 6921"/>
                <a:gd name="T66" fmla="*/ 4260 w 5792"/>
                <a:gd name="T67" fmla="*/ 4062 h 6921"/>
                <a:gd name="T68" fmla="*/ 4266 w 5792"/>
                <a:gd name="T69" fmla="*/ 4004 h 6921"/>
                <a:gd name="T70" fmla="*/ 4359 w 5792"/>
                <a:gd name="T71" fmla="*/ 3986 h 6921"/>
                <a:gd name="T72" fmla="*/ 4225 w 5792"/>
                <a:gd name="T73" fmla="*/ 3608 h 6921"/>
                <a:gd name="T74" fmla="*/ 4202 w 5792"/>
                <a:gd name="T75" fmla="*/ 3870 h 6921"/>
                <a:gd name="T76" fmla="*/ 4062 w 5792"/>
                <a:gd name="T77" fmla="*/ 3957 h 6921"/>
                <a:gd name="T78" fmla="*/ 4033 w 5792"/>
                <a:gd name="T79" fmla="*/ 4132 h 6921"/>
                <a:gd name="T80" fmla="*/ 3812 w 5792"/>
                <a:gd name="T81" fmla="*/ 4301 h 6921"/>
                <a:gd name="T82" fmla="*/ 3666 w 5792"/>
                <a:gd name="T83" fmla="*/ 4406 h 6921"/>
                <a:gd name="T84" fmla="*/ 3416 w 5792"/>
                <a:gd name="T85" fmla="*/ 4714 h 6921"/>
                <a:gd name="T86" fmla="*/ 3300 w 5792"/>
                <a:gd name="T87" fmla="*/ 4889 h 6921"/>
                <a:gd name="T88" fmla="*/ 3288 w 5792"/>
                <a:gd name="T89" fmla="*/ 4964 h 6921"/>
                <a:gd name="T90" fmla="*/ 3218 w 5792"/>
                <a:gd name="T91" fmla="*/ 4970 h 6921"/>
                <a:gd name="T92" fmla="*/ 3131 w 5792"/>
                <a:gd name="T93" fmla="*/ 4906 h 6921"/>
                <a:gd name="T94" fmla="*/ 3119 w 5792"/>
                <a:gd name="T95" fmla="*/ 4825 h 6921"/>
                <a:gd name="T96" fmla="*/ 3026 w 5792"/>
                <a:gd name="T97" fmla="*/ 4557 h 6921"/>
                <a:gd name="T98" fmla="*/ 2968 w 5792"/>
                <a:gd name="T99" fmla="*/ 4388 h 6921"/>
                <a:gd name="T100" fmla="*/ 2805 w 5792"/>
                <a:gd name="T101" fmla="*/ 4080 h 6921"/>
                <a:gd name="T102" fmla="*/ 2619 w 5792"/>
                <a:gd name="T103" fmla="*/ 3969 h 6921"/>
                <a:gd name="T104" fmla="*/ 2502 w 5792"/>
                <a:gd name="T105" fmla="*/ 3847 h 6921"/>
                <a:gd name="T106" fmla="*/ 2514 w 5792"/>
                <a:gd name="T107" fmla="*/ 3783 h 6921"/>
                <a:gd name="T108" fmla="*/ 2345 w 5792"/>
                <a:gd name="T109" fmla="*/ 3625 h 6921"/>
                <a:gd name="T110" fmla="*/ 2345 w 5792"/>
                <a:gd name="T111" fmla="*/ 3561 h 6921"/>
                <a:gd name="T112" fmla="*/ 2269 w 5792"/>
                <a:gd name="T113" fmla="*/ 3428 h 6921"/>
                <a:gd name="T114" fmla="*/ 2153 w 5792"/>
                <a:gd name="T115" fmla="*/ 3381 h 6921"/>
                <a:gd name="T116" fmla="*/ 1903 w 5792"/>
                <a:gd name="T117" fmla="*/ 3358 h 6921"/>
                <a:gd name="T118" fmla="*/ 1531 w 5792"/>
                <a:gd name="T119" fmla="*/ 3334 h 6921"/>
                <a:gd name="T120" fmla="*/ 1053 w 5792"/>
                <a:gd name="T121" fmla="*/ 3008 h 6921"/>
                <a:gd name="T122" fmla="*/ 693 w 5792"/>
                <a:gd name="T123" fmla="*/ 3084 h 6921"/>
                <a:gd name="T124" fmla="*/ 64 w 5792"/>
                <a:gd name="T125" fmla="*/ 3148 h 6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92" h="6921">
                  <a:moveTo>
                    <a:pt x="4336" y="5506"/>
                  </a:moveTo>
                  <a:lnTo>
                    <a:pt x="4336" y="5506"/>
                  </a:lnTo>
                  <a:cubicBezTo>
                    <a:pt x="4295" y="5511"/>
                    <a:pt x="4278" y="5535"/>
                    <a:pt x="4254" y="5564"/>
                  </a:cubicBezTo>
                  <a:cubicBezTo>
                    <a:pt x="4283" y="5599"/>
                    <a:pt x="4318" y="5599"/>
                    <a:pt x="4365" y="5599"/>
                  </a:cubicBezTo>
                  <a:cubicBezTo>
                    <a:pt x="4377" y="5599"/>
                    <a:pt x="4382" y="5581"/>
                    <a:pt x="4400" y="5576"/>
                  </a:cubicBezTo>
                  <a:cubicBezTo>
                    <a:pt x="4382" y="5547"/>
                    <a:pt x="4365" y="5523"/>
                    <a:pt x="4336" y="5506"/>
                  </a:cubicBezTo>
                  <a:close/>
                  <a:moveTo>
                    <a:pt x="3643" y="5605"/>
                  </a:moveTo>
                  <a:lnTo>
                    <a:pt x="3643" y="5605"/>
                  </a:lnTo>
                  <a:cubicBezTo>
                    <a:pt x="3643" y="5634"/>
                    <a:pt x="3678" y="5628"/>
                    <a:pt x="3696" y="5640"/>
                  </a:cubicBezTo>
                  <a:cubicBezTo>
                    <a:pt x="3713" y="5651"/>
                    <a:pt x="3719" y="5674"/>
                    <a:pt x="3736" y="5674"/>
                  </a:cubicBezTo>
                  <a:cubicBezTo>
                    <a:pt x="3800" y="5674"/>
                    <a:pt x="3800" y="5674"/>
                    <a:pt x="3800" y="5674"/>
                  </a:cubicBezTo>
                  <a:cubicBezTo>
                    <a:pt x="3853" y="5686"/>
                    <a:pt x="3853" y="5686"/>
                    <a:pt x="3853" y="5686"/>
                  </a:cubicBezTo>
                  <a:cubicBezTo>
                    <a:pt x="3893" y="5686"/>
                    <a:pt x="3917" y="5686"/>
                    <a:pt x="3957" y="5680"/>
                  </a:cubicBezTo>
                  <a:cubicBezTo>
                    <a:pt x="3957" y="5674"/>
                    <a:pt x="3963" y="5669"/>
                    <a:pt x="3963" y="5663"/>
                  </a:cubicBezTo>
                  <a:cubicBezTo>
                    <a:pt x="3963" y="5657"/>
                    <a:pt x="3957" y="5657"/>
                    <a:pt x="3957" y="5651"/>
                  </a:cubicBezTo>
                  <a:cubicBezTo>
                    <a:pt x="3969" y="5645"/>
                    <a:pt x="3969" y="5645"/>
                    <a:pt x="3969" y="5645"/>
                  </a:cubicBezTo>
                  <a:cubicBezTo>
                    <a:pt x="4033" y="5645"/>
                    <a:pt x="4033" y="5645"/>
                    <a:pt x="4033" y="5645"/>
                  </a:cubicBezTo>
                  <a:cubicBezTo>
                    <a:pt x="4056" y="5674"/>
                    <a:pt x="4074" y="5692"/>
                    <a:pt x="4109" y="5715"/>
                  </a:cubicBezTo>
                  <a:cubicBezTo>
                    <a:pt x="4126" y="5674"/>
                    <a:pt x="4149" y="5657"/>
                    <a:pt x="4149" y="5616"/>
                  </a:cubicBezTo>
                  <a:cubicBezTo>
                    <a:pt x="4149" y="5593"/>
                    <a:pt x="4185" y="5605"/>
                    <a:pt x="4202" y="5593"/>
                  </a:cubicBezTo>
                  <a:cubicBezTo>
                    <a:pt x="4225" y="5576"/>
                    <a:pt x="4214" y="5552"/>
                    <a:pt x="4219" y="5523"/>
                  </a:cubicBezTo>
                  <a:cubicBezTo>
                    <a:pt x="4208" y="5523"/>
                    <a:pt x="4202" y="5523"/>
                    <a:pt x="4190" y="5523"/>
                  </a:cubicBezTo>
                  <a:cubicBezTo>
                    <a:pt x="4167" y="5523"/>
                    <a:pt x="4132" y="5523"/>
                    <a:pt x="4132" y="5494"/>
                  </a:cubicBezTo>
                  <a:cubicBezTo>
                    <a:pt x="4132" y="5477"/>
                    <a:pt x="4149" y="5471"/>
                    <a:pt x="4149" y="5453"/>
                  </a:cubicBezTo>
                  <a:cubicBezTo>
                    <a:pt x="4149" y="5436"/>
                    <a:pt x="4126" y="5424"/>
                    <a:pt x="4109" y="5424"/>
                  </a:cubicBezTo>
                  <a:cubicBezTo>
                    <a:pt x="3992" y="5424"/>
                    <a:pt x="3923" y="5442"/>
                    <a:pt x="3812" y="5482"/>
                  </a:cubicBezTo>
                  <a:cubicBezTo>
                    <a:pt x="3760" y="5506"/>
                    <a:pt x="3713" y="5482"/>
                    <a:pt x="3672" y="5517"/>
                  </a:cubicBezTo>
                  <a:cubicBezTo>
                    <a:pt x="3649" y="5541"/>
                    <a:pt x="3643" y="5570"/>
                    <a:pt x="3643" y="5605"/>
                  </a:cubicBezTo>
                  <a:close/>
                  <a:moveTo>
                    <a:pt x="0" y="3148"/>
                  </a:moveTo>
                  <a:lnTo>
                    <a:pt x="0" y="3148"/>
                  </a:lnTo>
                  <a:lnTo>
                    <a:pt x="0" y="3148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4330" y="17"/>
                    <a:pt x="4330" y="17"/>
                    <a:pt x="4330" y="17"/>
                  </a:cubicBezTo>
                  <a:lnTo>
                    <a:pt x="4330" y="17"/>
                  </a:lnTo>
                  <a:cubicBezTo>
                    <a:pt x="5791" y="23"/>
                    <a:pt x="5791" y="23"/>
                    <a:pt x="5791" y="23"/>
                  </a:cubicBezTo>
                  <a:cubicBezTo>
                    <a:pt x="5791" y="1652"/>
                    <a:pt x="5791" y="1652"/>
                    <a:pt x="5791" y="1652"/>
                  </a:cubicBezTo>
                  <a:lnTo>
                    <a:pt x="5791" y="1652"/>
                  </a:lnTo>
                  <a:cubicBezTo>
                    <a:pt x="5780" y="4504"/>
                    <a:pt x="5780" y="4504"/>
                    <a:pt x="5780" y="4504"/>
                  </a:cubicBezTo>
                  <a:lnTo>
                    <a:pt x="5780" y="4504"/>
                  </a:lnTo>
                  <a:cubicBezTo>
                    <a:pt x="5774" y="6914"/>
                    <a:pt x="5774" y="6914"/>
                    <a:pt x="5774" y="6914"/>
                  </a:cubicBezTo>
                  <a:lnTo>
                    <a:pt x="5774" y="6914"/>
                  </a:lnTo>
                  <a:cubicBezTo>
                    <a:pt x="5756" y="6909"/>
                    <a:pt x="5739" y="6909"/>
                    <a:pt x="5716" y="6909"/>
                  </a:cubicBezTo>
                  <a:cubicBezTo>
                    <a:pt x="5686" y="6909"/>
                    <a:pt x="5669" y="6920"/>
                    <a:pt x="5634" y="6920"/>
                  </a:cubicBezTo>
                  <a:cubicBezTo>
                    <a:pt x="5593" y="6920"/>
                    <a:pt x="5582" y="6880"/>
                    <a:pt x="5553" y="6856"/>
                  </a:cubicBezTo>
                  <a:cubicBezTo>
                    <a:pt x="5477" y="6798"/>
                    <a:pt x="5454" y="6746"/>
                    <a:pt x="5413" y="6658"/>
                  </a:cubicBezTo>
                  <a:cubicBezTo>
                    <a:pt x="5401" y="6635"/>
                    <a:pt x="5384" y="6618"/>
                    <a:pt x="5366" y="6594"/>
                  </a:cubicBezTo>
                  <a:cubicBezTo>
                    <a:pt x="5355" y="6577"/>
                    <a:pt x="5355" y="6559"/>
                    <a:pt x="5337" y="6554"/>
                  </a:cubicBezTo>
                  <a:cubicBezTo>
                    <a:pt x="5314" y="6548"/>
                    <a:pt x="5297" y="6559"/>
                    <a:pt x="5279" y="6548"/>
                  </a:cubicBezTo>
                  <a:cubicBezTo>
                    <a:pt x="5232" y="6495"/>
                    <a:pt x="5250" y="6431"/>
                    <a:pt x="5192" y="6385"/>
                  </a:cubicBezTo>
                  <a:cubicBezTo>
                    <a:pt x="5197" y="6367"/>
                    <a:pt x="5215" y="6367"/>
                    <a:pt x="5215" y="6350"/>
                  </a:cubicBezTo>
                  <a:cubicBezTo>
                    <a:pt x="5215" y="6297"/>
                    <a:pt x="5192" y="6257"/>
                    <a:pt x="5139" y="6245"/>
                  </a:cubicBezTo>
                  <a:cubicBezTo>
                    <a:pt x="5203" y="6216"/>
                    <a:pt x="5250" y="6181"/>
                    <a:pt x="5250" y="6111"/>
                  </a:cubicBezTo>
                  <a:cubicBezTo>
                    <a:pt x="5250" y="6036"/>
                    <a:pt x="5250" y="6036"/>
                    <a:pt x="5250" y="6036"/>
                  </a:cubicBezTo>
                  <a:cubicBezTo>
                    <a:pt x="5250" y="5890"/>
                    <a:pt x="5168" y="5820"/>
                    <a:pt x="5110" y="5680"/>
                  </a:cubicBezTo>
                  <a:cubicBezTo>
                    <a:pt x="5081" y="5645"/>
                    <a:pt x="5046" y="5645"/>
                    <a:pt x="5017" y="5605"/>
                  </a:cubicBezTo>
                  <a:cubicBezTo>
                    <a:pt x="4976" y="5541"/>
                    <a:pt x="4935" y="5511"/>
                    <a:pt x="4895" y="5442"/>
                  </a:cubicBezTo>
                  <a:cubicBezTo>
                    <a:pt x="4889" y="5430"/>
                    <a:pt x="4866" y="5424"/>
                    <a:pt x="4866" y="5407"/>
                  </a:cubicBezTo>
                  <a:cubicBezTo>
                    <a:pt x="4866" y="5395"/>
                    <a:pt x="4866" y="5389"/>
                    <a:pt x="4871" y="5384"/>
                  </a:cubicBezTo>
                  <a:cubicBezTo>
                    <a:pt x="4889" y="5378"/>
                    <a:pt x="4901" y="5366"/>
                    <a:pt x="4924" y="5366"/>
                  </a:cubicBezTo>
                  <a:cubicBezTo>
                    <a:pt x="4941" y="5366"/>
                    <a:pt x="4959" y="5378"/>
                    <a:pt x="4959" y="5395"/>
                  </a:cubicBezTo>
                  <a:cubicBezTo>
                    <a:pt x="4959" y="5424"/>
                    <a:pt x="4930" y="5442"/>
                    <a:pt x="4930" y="5471"/>
                  </a:cubicBezTo>
                  <a:cubicBezTo>
                    <a:pt x="4930" y="5482"/>
                    <a:pt x="4947" y="5488"/>
                    <a:pt x="4953" y="5500"/>
                  </a:cubicBezTo>
                  <a:cubicBezTo>
                    <a:pt x="5011" y="5488"/>
                    <a:pt x="5005" y="5418"/>
                    <a:pt x="5005" y="5354"/>
                  </a:cubicBezTo>
                  <a:cubicBezTo>
                    <a:pt x="5005" y="5308"/>
                    <a:pt x="4976" y="5261"/>
                    <a:pt x="4930" y="5261"/>
                  </a:cubicBezTo>
                  <a:cubicBezTo>
                    <a:pt x="4883" y="5261"/>
                    <a:pt x="4866" y="5302"/>
                    <a:pt x="4825" y="5319"/>
                  </a:cubicBezTo>
                  <a:cubicBezTo>
                    <a:pt x="4802" y="5325"/>
                    <a:pt x="4784" y="5319"/>
                    <a:pt x="4761" y="5319"/>
                  </a:cubicBezTo>
                  <a:cubicBezTo>
                    <a:pt x="4720" y="5325"/>
                    <a:pt x="4714" y="5366"/>
                    <a:pt x="4674" y="5384"/>
                  </a:cubicBezTo>
                  <a:cubicBezTo>
                    <a:pt x="4609" y="5424"/>
                    <a:pt x="4569" y="5442"/>
                    <a:pt x="4493" y="5459"/>
                  </a:cubicBezTo>
                  <a:cubicBezTo>
                    <a:pt x="4412" y="5447"/>
                    <a:pt x="4412" y="5447"/>
                    <a:pt x="4412" y="5447"/>
                  </a:cubicBezTo>
                  <a:cubicBezTo>
                    <a:pt x="4406" y="5436"/>
                    <a:pt x="4406" y="5436"/>
                    <a:pt x="4406" y="5436"/>
                  </a:cubicBezTo>
                  <a:cubicBezTo>
                    <a:pt x="4423" y="5401"/>
                    <a:pt x="4464" y="5401"/>
                    <a:pt x="4481" y="5366"/>
                  </a:cubicBezTo>
                  <a:cubicBezTo>
                    <a:pt x="4534" y="5273"/>
                    <a:pt x="4557" y="5209"/>
                    <a:pt x="4592" y="5110"/>
                  </a:cubicBezTo>
                  <a:cubicBezTo>
                    <a:pt x="4609" y="5058"/>
                    <a:pt x="4633" y="5034"/>
                    <a:pt x="4633" y="4982"/>
                  </a:cubicBezTo>
                  <a:cubicBezTo>
                    <a:pt x="4633" y="4895"/>
                    <a:pt x="4551" y="4871"/>
                    <a:pt x="4505" y="4801"/>
                  </a:cubicBezTo>
                  <a:cubicBezTo>
                    <a:pt x="4470" y="4749"/>
                    <a:pt x="4470" y="4708"/>
                    <a:pt x="4452" y="4650"/>
                  </a:cubicBezTo>
                  <a:cubicBezTo>
                    <a:pt x="4441" y="4615"/>
                    <a:pt x="4417" y="4598"/>
                    <a:pt x="4412" y="4557"/>
                  </a:cubicBezTo>
                  <a:cubicBezTo>
                    <a:pt x="4377" y="4592"/>
                    <a:pt x="4371" y="4621"/>
                    <a:pt x="4342" y="4662"/>
                  </a:cubicBezTo>
                  <a:cubicBezTo>
                    <a:pt x="4295" y="4720"/>
                    <a:pt x="4278" y="4766"/>
                    <a:pt x="4272" y="4842"/>
                  </a:cubicBezTo>
                  <a:cubicBezTo>
                    <a:pt x="4272" y="4906"/>
                    <a:pt x="4249" y="4941"/>
                    <a:pt x="4237" y="4999"/>
                  </a:cubicBezTo>
                  <a:cubicBezTo>
                    <a:pt x="4237" y="5028"/>
                    <a:pt x="4225" y="5040"/>
                    <a:pt x="4225" y="5063"/>
                  </a:cubicBezTo>
                  <a:cubicBezTo>
                    <a:pt x="4219" y="5098"/>
                    <a:pt x="4214" y="5133"/>
                    <a:pt x="4179" y="5133"/>
                  </a:cubicBezTo>
                  <a:cubicBezTo>
                    <a:pt x="4144" y="5133"/>
                    <a:pt x="4126" y="5116"/>
                    <a:pt x="4091" y="5116"/>
                  </a:cubicBezTo>
                  <a:cubicBezTo>
                    <a:pt x="3969" y="5116"/>
                    <a:pt x="3923" y="5232"/>
                    <a:pt x="3800" y="5232"/>
                  </a:cubicBezTo>
                  <a:cubicBezTo>
                    <a:pt x="3783" y="5232"/>
                    <a:pt x="3783" y="5232"/>
                    <a:pt x="3783" y="5232"/>
                  </a:cubicBezTo>
                  <a:cubicBezTo>
                    <a:pt x="3783" y="5209"/>
                    <a:pt x="3783" y="5209"/>
                    <a:pt x="3783" y="5209"/>
                  </a:cubicBezTo>
                  <a:cubicBezTo>
                    <a:pt x="3783" y="5174"/>
                    <a:pt x="3806" y="5156"/>
                    <a:pt x="3818" y="5127"/>
                  </a:cubicBezTo>
                  <a:cubicBezTo>
                    <a:pt x="3835" y="5087"/>
                    <a:pt x="3823" y="5046"/>
                    <a:pt x="3864" y="5028"/>
                  </a:cubicBezTo>
                  <a:cubicBezTo>
                    <a:pt x="3888" y="5017"/>
                    <a:pt x="3911" y="5017"/>
                    <a:pt x="3940" y="5017"/>
                  </a:cubicBezTo>
                  <a:cubicBezTo>
                    <a:pt x="4010" y="5017"/>
                    <a:pt x="4010" y="5017"/>
                    <a:pt x="4010" y="5017"/>
                  </a:cubicBezTo>
                  <a:cubicBezTo>
                    <a:pt x="4086" y="5017"/>
                    <a:pt x="4097" y="4924"/>
                    <a:pt x="4097" y="4848"/>
                  </a:cubicBezTo>
                  <a:cubicBezTo>
                    <a:pt x="4097" y="4801"/>
                    <a:pt x="4086" y="4772"/>
                    <a:pt x="4074" y="4726"/>
                  </a:cubicBezTo>
                  <a:cubicBezTo>
                    <a:pt x="4103" y="4609"/>
                    <a:pt x="4103" y="4609"/>
                    <a:pt x="4103" y="4609"/>
                  </a:cubicBezTo>
                  <a:cubicBezTo>
                    <a:pt x="4103" y="4598"/>
                    <a:pt x="4091" y="4586"/>
                    <a:pt x="4091" y="4574"/>
                  </a:cubicBezTo>
                  <a:cubicBezTo>
                    <a:pt x="4091" y="4533"/>
                    <a:pt x="4132" y="4528"/>
                    <a:pt x="4132" y="4487"/>
                  </a:cubicBezTo>
                  <a:cubicBezTo>
                    <a:pt x="4132" y="4481"/>
                    <a:pt x="4120" y="4481"/>
                    <a:pt x="4120" y="4469"/>
                  </a:cubicBezTo>
                  <a:cubicBezTo>
                    <a:pt x="4120" y="4440"/>
                    <a:pt x="4167" y="4435"/>
                    <a:pt x="4167" y="4406"/>
                  </a:cubicBezTo>
                  <a:cubicBezTo>
                    <a:pt x="4167" y="4394"/>
                    <a:pt x="4155" y="4394"/>
                    <a:pt x="4144" y="4388"/>
                  </a:cubicBezTo>
                  <a:cubicBezTo>
                    <a:pt x="4167" y="4353"/>
                    <a:pt x="4196" y="4341"/>
                    <a:pt x="4231" y="4312"/>
                  </a:cubicBezTo>
                  <a:cubicBezTo>
                    <a:pt x="4254" y="4295"/>
                    <a:pt x="4254" y="4266"/>
                    <a:pt x="4278" y="4254"/>
                  </a:cubicBezTo>
                  <a:cubicBezTo>
                    <a:pt x="4295" y="4248"/>
                    <a:pt x="4318" y="4237"/>
                    <a:pt x="4318" y="4219"/>
                  </a:cubicBezTo>
                  <a:cubicBezTo>
                    <a:pt x="4318" y="4155"/>
                    <a:pt x="4260" y="4126"/>
                    <a:pt x="4260" y="4062"/>
                  </a:cubicBezTo>
                  <a:cubicBezTo>
                    <a:pt x="4260" y="4044"/>
                    <a:pt x="4266" y="4044"/>
                    <a:pt x="4266" y="4027"/>
                  </a:cubicBezTo>
                  <a:cubicBezTo>
                    <a:pt x="4266" y="4021"/>
                    <a:pt x="4260" y="4021"/>
                    <a:pt x="4260" y="4015"/>
                  </a:cubicBezTo>
                  <a:cubicBezTo>
                    <a:pt x="4260" y="4010"/>
                    <a:pt x="4260" y="4010"/>
                    <a:pt x="4266" y="4004"/>
                  </a:cubicBezTo>
                  <a:cubicBezTo>
                    <a:pt x="4289" y="4004"/>
                    <a:pt x="4301" y="3980"/>
                    <a:pt x="4330" y="3980"/>
                  </a:cubicBezTo>
                  <a:cubicBezTo>
                    <a:pt x="4336" y="3980"/>
                    <a:pt x="4342" y="3992"/>
                    <a:pt x="4348" y="3992"/>
                  </a:cubicBezTo>
                  <a:cubicBezTo>
                    <a:pt x="4353" y="3992"/>
                    <a:pt x="4359" y="3986"/>
                    <a:pt x="4359" y="3986"/>
                  </a:cubicBezTo>
                  <a:cubicBezTo>
                    <a:pt x="4359" y="3963"/>
                    <a:pt x="4359" y="3963"/>
                    <a:pt x="4359" y="3963"/>
                  </a:cubicBezTo>
                  <a:cubicBezTo>
                    <a:pt x="4359" y="3928"/>
                    <a:pt x="4324" y="3917"/>
                    <a:pt x="4313" y="3881"/>
                  </a:cubicBezTo>
                  <a:cubicBezTo>
                    <a:pt x="4272" y="3777"/>
                    <a:pt x="4301" y="3689"/>
                    <a:pt x="4225" y="3608"/>
                  </a:cubicBezTo>
                  <a:cubicBezTo>
                    <a:pt x="4219" y="3643"/>
                    <a:pt x="4214" y="3666"/>
                    <a:pt x="4214" y="3701"/>
                  </a:cubicBezTo>
                  <a:cubicBezTo>
                    <a:pt x="4214" y="3736"/>
                    <a:pt x="4225" y="3754"/>
                    <a:pt x="4225" y="3783"/>
                  </a:cubicBezTo>
                  <a:cubicBezTo>
                    <a:pt x="4225" y="3817"/>
                    <a:pt x="4231" y="3852"/>
                    <a:pt x="4202" y="3870"/>
                  </a:cubicBezTo>
                  <a:cubicBezTo>
                    <a:pt x="4185" y="3887"/>
                    <a:pt x="4161" y="3870"/>
                    <a:pt x="4138" y="3876"/>
                  </a:cubicBezTo>
                  <a:cubicBezTo>
                    <a:pt x="4115" y="3893"/>
                    <a:pt x="4126" y="3928"/>
                    <a:pt x="4103" y="3946"/>
                  </a:cubicBezTo>
                  <a:cubicBezTo>
                    <a:pt x="4091" y="3951"/>
                    <a:pt x="4074" y="3946"/>
                    <a:pt x="4062" y="3957"/>
                  </a:cubicBezTo>
                  <a:cubicBezTo>
                    <a:pt x="4051" y="3975"/>
                    <a:pt x="4056" y="3992"/>
                    <a:pt x="4056" y="4015"/>
                  </a:cubicBezTo>
                  <a:cubicBezTo>
                    <a:pt x="4051" y="4027"/>
                    <a:pt x="4039" y="4039"/>
                    <a:pt x="4033" y="4050"/>
                  </a:cubicBezTo>
                  <a:cubicBezTo>
                    <a:pt x="4027" y="4085"/>
                    <a:pt x="4045" y="4103"/>
                    <a:pt x="4033" y="4132"/>
                  </a:cubicBezTo>
                  <a:cubicBezTo>
                    <a:pt x="4016" y="4155"/>
                    <a:pt x="3998" y="4161"/>
                    <a:pt x="3992" y="4184"/>
                  </a:cubicBezTo>
                  <a:cubicBezTo>
                    <a:pt x="3969" y="4243"/>
                    <a:pt x="3957" y="4306"/>
                    <a:pt x="3893" y="4306"/>
                  </a:cubicBezTo>
                  <a:cubicBezTo>
                    <a:pt x="3864" y="4306"/>
                    <a:pt x="3847" y="4301"/>
                    <a:pt x="3812" y="4301"/>
                  </a:cubicBezTo>
                  <a:cubicBezTo>
                    <a:pt x="3794" y="4301"/>
                    <a:pt x="3794" y="4318"/>
                    <a:pt x="3783" y="4336"/>
                  </a:cubicBezTo>
                  <a:cubicBezTo>
                    <a:pt x="3771" y="4353"/>
                    <a:pt x="3754" y="4365"/>
                    <a:pt x="3736" y="4382"/>
                  </a:cubicBezTo>
                  <a:cubicBezTo>
                    <a:pt x="3713" y="4400"/>
                    <a:pt x="3696" y="4394"/>
                    <a:pt x="3666" y="4406"/>
                  </a:cubicBezTo>
                  <a:cubicBezTo>
                    <a:pt x="3626" y="4423"/>
                    <a:pt x="3614" y="4452"/>
                    <a:pt x="3573" y="4481"/>
                  </a:cubicBezTo>
                  <a:cubicBezTo>
                    <a:pt x="3527" y="4522"/>
                    <a:pt x="3527" y="4569"/>
                    <a:pt x="3492" y="4627"/>
                  </a:cubicBezTo>
                  <a:cubicBezTo>
                    <a:pt x="3474" y="4667"/>
                    <a:pt x="3416" y="4667"/>
                    <a:pt x="3416" y="4714"/>
                  </a:cubicBezTo>
                  <a:cubicBezTo>
                    <a:pt x="3416" y="4726"/>
                    <a:pt x="3422" y="4732"/>
                    <a:pt x="3422" y="4743"/>
                  </a:cubicBezTo>
                  <a:cubicBezTo>
                    <a:pt x="3422" y="4778"/>
                    <a:pt x="3381" y="4772"/>
                    <a:pt x="3358" y="4790"/>
                  </a:cubicBezTo>
                  <a:cubicBezTo>
                    <a:pt x="3317" y="4813"/>
                    <a:pt x="3300" y="4848"/>
                    <a:pt x="3300" y="4889"/>
                  </a:cubicBezTo>
                  <a:cubicBezTo>
                    <a:pt x="3300" y="4895"/>
                    <a:pt x="3305" y="4895"/>
                    <a:pt x="3305" y="4900"/>
                  </a:cubicBezTo>
                  <a:cubicBezTo>
                    <a:pt x="3305" y="4918"/>
                    <a:pt x="3282" y="4924"/>
                    <a:pt x="3282" y="4941"/>
                  </a:cubicBezTo>
                  <a:cubicBezTo>
                    <a:pt x="3282" y="4953"/>
                    <a:pt x="3288" y="4953"/>
                    <a:pt x="3288" y="4964"/>
                  </a:cubicBezTo>
                  <a:cubicBezTo>
                    <a:pt x="3311" y="4958"/>
                    <a:pt x="3329" y="4958"/>
                    <a:pt x="3346" y="4941"/>
                  </a:cubicBezTo>
                  <a:cubicBezTo>
                    <a:pt x="3340" y="4976"/>
                    <a:pt x="3334" y="4999"/>
                    <a:pt x="3334" y="5028"/>
                  </a:cubicBezTo>
                  <a:cubicBezTo>
                    <a:pt x="3294" y="4999"/>
                    <a:pt x="3271" y="4970"/>
                    <a:pt x="3218" y="4970"/>
                  </a:cubicBezTo>
                  <a:cubicBezTo>
                    <a:pt x="3201" y="4970"/>
                    <a:pt x="3201" y="5005"/>
                    <a:pt x="3195" y="5028"/>
                  </a:cubicBezTo>
                  <a:cubicBezTo>
                    <a:pt x="3189" y="5022"/>
                    <a:pt x="3189" y="5022"/>
                    <a:pt x="3189" y="5022"/>
                  </a:cubicBezTo>
                  <a:cubicBezTo>
                    <a:pt x="3166" y="4976"/>
                    <a:pt x="3166" y="4941"/>
                    <a:pt x="3131" y="4906"/>
                  </a:cubicBezTo>
                  <a:cubicBezTo>
                    <a:pt x="2985" y="4761"/>
                    <a:pt x="3049" y="4854"/>
                    <a:pt x="3108" y="4854"/>
                  </a:cubicBezTo>
                  <a:cubicBezTo>
                    <a:pt x="3119" y="4854"/>
                    <a:pt x="3119" y="4854"/>
                    <a:pt x="3119" y="4854"/>
                  </a:cubicBezTo>
                  <a:cubicBezTo>
                    <a:pt x="3119" y="4825"/>
                    <a:pt x="3119" y="4825"/>
                    <a:pt x="3119" y="4825"/>
                  </a:cubicBezTo>
                  <a:cubicBezTo>
                    <a:pt x="3073" y="4702"/>
                    <a:pt x="3073" y="4702"/>
                    <a:pt x="3073" y="4702"/>
                  </a:cubicBezTo>
                  <a:cubicBezTo>
                    <a:pt x="3073" y="4667"/>
                    <a:pt x="3078" y="4644"/>
                    <a:pt x="3061" y="4615"/>
                  </a:cubicBezTo>
                  <a:cubicBezTo>
                    <a:pt x="3049" y="4592"/>
                    <a:pt x="3026" y="4586"/>
                    <a:pt x="3026" y="4557"/>
                  </a:cubicBezTo>
                  <a:cubicBezTo>
                    <a:pt x="3026" y="4551"/>
                    <a:pt x="3032" y="4545"/>
                    <a:pt x="3032" y="4533"/>
                  </a:cubicBezTo>
                  <a:cubicBezTo>
                    <a:pt x="3032" y="4504"/>
                    <a:pt x="3014" y="4493"/>
                    <a:pt x="3008" y="4464"/>
                  </a:cubicBezTo>
                  <a:cubicBezTo>
                    <a:pt x="2997" y="4435"/>
                    <a:pt x="2997" y="4406"/>
                    <a:pt x="2968" y="4388"/>
                  </a:cubicBezTo>
                  <a:cubicBezTo>
                    <a:pt x="2933" y="4370"/>
                    <a:pt x="2910" y="4359"/>
                    <a:pt x="2892" y="4324"/>
                  </a:cubicBezTo>
                  <a:cubicBezTo>
                    <a:pt x="2869" y="4289"/>
                    <a:pt x="2845" y="4277"/>
                    <a:pt x="2834" y="4243"/>
                  </a:cubicBezTo>
                  <a:cubicBezTo>
                    <a:pt x="2811" y="4178"/>
                    <a:pt x="2828" y="4138"/>
                    <a:pt x="2805" y="4080"/>
                  </a:cubicBezTo>
                  <a:cubicBezTo>
                    <a:pt x="2793" y="4050"/>
                    <a:pt x="2752" y="4050"/>
                    <a:pt x="2752" y="4021"/>
                  </a:cubicBezTo>
                  <a:cubicBezTo>
                    <a:pt x="2752" y="4015"/>
                    <a:pt x="2758" y="4010"/>
                    <a:pt x="2758" y="4004"/>
                  </a:cubicBezTo>
                  <a:cubicBezTo>
                    <a:pt x="2758" y="3951"/>
                    <a:pt x="2671" y="3980"/>
                    <a:pt x="2619" y="3969"/>
                  </a:cubicBezTo>
                  <a:cubicBezTo>
                    <a:pt x="2560" y="3963"/>
                    <a:pt x="2549" y="3893"/>
                    <a:pt x="2496" y="3893"/>
                  </a:cubicBezTo>
                  <a:cubicBezTo>
                    <a:pt x="2496" y="3870"/>
                    <a:pt x="2496" y="3870"/>
                    <a:pt x="2496" y="3870"/>
                  </a:cubicBezTo>
                  <a:cubicBezTo>
                    <a:pt x="2496" y="3864"/>
                    <a:pt x="2502" y="3858"/>
                    <a:pt x="2502" y="3847"/>
                  </a:cubicBezTo>
                  <a:cubicBezTo>
                    <a:pt x="2502" y="3823"/>
                    <a:pt x="2473" y="3829"/>
                    <a:pt x="2450" y="3817"/>
                  </a:cubicBezTo>
                  <a:cubicBezTo>
                    <a:pt x="2479" y="3800"/>
                    <a:pt x="2473" y="3777"/>
                    <a:pt x="2490" y="3748"/>
                  </a:cubicBezTo>
                  <a:cubicBezTo>
                    <a:pt x="2508" y="3754"/>
                    <a:pt x="2508" y="3765"/>
                    <a:pt x="2514" y="3783"/>
                  </a:cubicBezTo>
                  <a:cubicBezTo>
                    <a:pt x="2531" y="3754"/>
                    <a:pt x="2554" y="3742"/>
                    <a:pt x="2554" y="3707"/>
                  </a:cubicBezTo>
                  <a:cubicBezTo>
                    <a:pt x="2554" y="3643"/>
                    <a:pt x="2537" y="3573"/>
                    <a:pt x="2473" y="3573"/>
                  </a:cubicBezTo>
                  <a:cubicBezTo>
                    <a:pt x="2415" y="3573"/>
                    <a:pt x="2397" y="3614"/>
                    <a:pt x="2345" y="3625"/>
                  </a:cubicBezTo>
                  <a:cubicBezTo>
                    <a:pt x="2339" y="3620"/>
                    <a:pt x="2333" y="3620"/>
                    <a:pt x="2333" y="3614"/>
                  </a:cubicBezTo>
                  <a:cubicBezTo>
                    <a:pt x="2333" y="3602"/>
                    <a:pt x="2351" y="3596"/>
                    <a:pt x="2351" y="3585"/>
                  </a:cubicBezTo>
                  <a:cubicBezTo>
                    <a:pt x="2351" y="3573"/>
                    <a:pt x="2345" y="3573"/>
                    <a:pt x="2345" y="3561"/>
                  </a:cubicBezTo>
                  <a:cubicBezTo>
                    <a:pt x="2356" y="3567"/>
                    <a:pt x="2362" y="3573"/>
                    <a:pt x="2374" y="3579"/>
                  </a:cubicBezTo>
                  <a:cubicBezTo>
                    <a:pt x="2385" y="3573"/>
                    <a:pt x="2385" y="3573"/>
                    <a:pt x="2385" y="3573"/>
                  </a:cubicBezTo>
                  <a:cubicBezTo>
                    <a:pt x="2368" y="3503"/>
                    <a:pt x="2310" y="3486"/>
                    <a:pt x="2269" y="3428"/>
                  </a:cubicBezTo>
                  <a:cubicBezTo>
                    <a:pt x="2252" y="3404"/>
                    <a:pt x="2246" y="3369"/>
                    <a:pt x="2217" y="3369"/>
                  </a:cubicBezTo>
                  <a:cubicBezTo>
                    <a:pt x="2199" y="3369"/>
                    <a:pt x="2199" y="3398"/>
                    <a:pt x="2182" y="3398"/>
                  </a:cubicBezTo>
                  <a:cubicBezTo>
                    <a:pt x="2170" y="3398"/>
                    <a:pt x="2164" y="3392"/>
                    <a:pt x="2153" y="3381"/>
                  </a:cubicBezTo>
                  <a:cubicBezTo>
                    <a:pt x="2124" y="3398"/>
                    <a:pt x="2112" y="3433"/>
                    <a:pt x="2077" y="3433"/>
                  </a:cubicBezTo>
                  <a:cubicBezTo>
                    <a:pt x="2026" y="3433"/>
                    <a:pt x="2002" y="3404"/>
                    <a:pt x="1956" y="3375"/>
                  </a:cubicBezTo>
                  <a:cubicBezTo>
                    <a:pt x="1938" y="3363"/>
                    <a:pt x="1921" y="3369"/>
                    <a:pt x="1903" y="3358"/>
                  </a:cubicBezTo>
                  <a:cubicBezTo>
                    <a:pt x="1828" y="3311"/>
                    <a:pt x="1781" y="3270"/>
                    <a:pt x="1694" y="3270"/>
                  </a:cubicBezTo>
                  <a:cubicBezTo>
                    <a:pt x="1665" y="3270"/>
                    <a:pt x="1653" y="3299"/>
                    <a:pt x="1630" y="3317"/>
                  </a:cubicBezTo>
                  <a:cubicBezTo>
                    <a:pt x="1595" y="3328"/>
                    <a:pt x="1566" y="3328"/>
                    <a:pt x="1531" y="3334"/>
                  </a:cubicBezTo>
                  <a:cubicBezTo>
                    <a:pt x="1525" y="3247"/>
                    <a:pt x="1432" y="3241"/>
                    <a:pt x="1368" y="3177"/>
                  </a:cubicBezTo>
                  <a:cubicBezTo>
                    <a:pt x="1304" y="3131"/>
                    <a:pt x="1257" y="3113"/>
                    <a:pt x="1187" y="3072"/>
                  </a:cubicBezTo>
                  <a:cubicBezTo>
                    <a:pt x="1135" y="3043"/>
                    <a:pt x="1112" y="3008"/>
                    <a:pt x="1053" y="3008"/>
                  </a:cubicBezTo>
                  <a:cubicBezTo>
                    <a:pt x="1019" y="3008"/>
                    <a:pt x="1001" y="3037"/>
                    <a:pt x="972" y="3055"/>
                  </a:cubicBezTo>
                  <a:cubicBezTo>
                    <a:pt x="925" y="3078"/>
                    <a:pt x="890" y="3090"/>
                    <a:pt x="832" y="3090"/>
                  </a:cubicBezTo>
                  <a:cubicBezTo>
                    <a:pt x="780" y="3090"/>
                    <a:pt x="751" y="3084"/>
                    <a:pt x="693" y="3084"/>
                  </a:cubicBezTo>
                  <a:cubicBezTo>
                    <a:pt x="646" y="3084"/>
                    <a:pt x="623" y="3090"/>
                    <a:pt x="576" y="3090"/>
                  </a:cubicBezTo>
                  <a:cubicBezTo>
                    <a:pt x="361" y="3090"/>
                    <a:pt x="361" y="3090"/>
                    <a:pt x="361" y="3090"/>
                  </a:cubicBezTo>
                  <a:cubicBezTo>
                    <a:pt x="64" y="3148"/>
                    <a:pt x="64" y="3148"/>
                    <a:pt x="64" y="3148"/>
                  </a:cubicBezTo>
                  <a:cubicBezTo>
                    <a:pt x="5" y="3148"/>
                    <a:pt x="5" y="3148"/>
                    <a:pt x="5" y="3148"/>
                  </a:cubicBezTo>
                  <a:lnTo>
                    <a:pt x="0" y="3148"/>
                  </a:lnTo>
                  <a:close/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7" name="Freeform 66"/>
            <p:cNvSpPr>
              <a:spLocks noChangeArrowheads="1"/>
            </p:cNvSpPr>
            <p:nvPr/>
          </p:nvSpPr>
          <p:spPr bwMode="auto">
            <a:xfrm>
              <a:off x="18843382" y="8789138"/>
              <a:ext cx="1905190" cy="1352346"/>
            </a:xfrm>
            <a:custGeom>
              <a:avLst/>
              <a:gdLst>
                <a:gd name="T0" fmla="*/ 2026 w 4332"/>
                <a:gd name="T1" fmla="*/ 2683 h 3074"/>
                <a:gd name="T2" fmla="*/ 0 w 4332"/>
                <a:gd name="T3" fmla="*/ 2415 h 3074"/>
                <a:gd name="T4" fmla="*/ 6 w 4332"/>
                <a:gd name="T5" fmla="*/ 5 h 3074"/>
                <a:gd name="T6" fmla="*/ 145 w 4332"/>
                <a:gd name="T7" fmla="*/ 34 h 3074"/>
                <a:gd name="T8" fmla="*/ 442 w 4332"/>
                <a:gd name="T9" fmla="*/ 58 h 3074"/>
                <a:gd name="T10" fmla="*/ 623 w 4332"/>
                <a:gd name="T11" fmla="*/ 168 h 3074"/>
                <a:gd name="T12" fmla="*/ 716 w 4332"/>
                <a:gd name="T13" fmla="*/ 331 h 3074"/>
                <a:gd name="T14" fmla="*/ 879 w 4332"/>
                <a:gd name="T15" fmla="*/ 296 h 3074"/>
                <a:gd name="T16" fmla="*/ 1129 w 4332"/>
                <a:gd name="T17" fmla="*/ 518 h 3074"/>
                <a:gd name="T18" fmla="*/ 1257 w 4332"/>
                <a:gd name="T19" fmla="*/ 768 h 3074"/>
                <a:gd name="T20" fmla="*/ 1560 w 4332"/>
                <a:gd name="T21" fmla="*/ 983 h 3074"/>
                <a:gd name="T22" fmla="*/ 1845 w 4332"/>
                <a:gd name="T23" fmla="*/ 1240 h 3074"/>
                <a:gd name="T24" fmla="*/ 1915 w 4332"/>
                <a:gd name="T25" fmla="*/ 1164 h 3074"/>
                <a:gd name="T26" fmla="*/ 2171 w 4332"/>
                <a:gd name="T27" fmla="*/ 1071 h 3074"/>
                <a:gd name="T28" fmla="*/ 2427 w 4332"/>
                <a:gd name="T29" fmla="*/ 1170 h 3074"/>
                <a:gd name="T30" fmla="*/ 2596 w 4332"/>
                <a:gd name="T31" fmla="*/ 1193 h 3074"/>
                <a:gd name="T32" fmla="*/ 2637 w 4332"/>
                <a:gd name="T33" fmla="*/ 1158 h 3074"/>
                <a:gd name="T34" fmla="*/ 2753 w 4332"/>
                <a:gd name="T35" fmla="*/ 1193 h 3074"/>
                <a:gd name="T36" fmla="*/ 3184 w 4332"/>
                <a:gd name="T37" fmla="*/ 1135 h 3074"/>
                <a:gd name="T38" fmla="*/ 3405 w 4332"/>
                <a:gd name="T39" fmla="*/ 1385 h 3074"/>
                <a:gd name="T40" fmla="*/ 3522 w 4332"/>
                <a:gd name="T41" fmla="*/ 1664 h 3074"/>
                <a:gd name="T42" fmla="*/ 4331 w 4332"/>
                <a:gd name="T43" fmla="*/ 2072 h 3074"/>
                <a:gd name="T44" fmla="*/ 4226 w 4332"/>
                <a:gd name="T45" fmla="*/ 2066 h 3074"/>
                <a:gd name="T46" fmla="*/ 4063 w 4332"/>
                <a:gd name="T47" fmla="*/ 2223 h 3074"/>
                <a:gd name="T48" fmla="*/ 3894 w 4332"/>
                <a:gd name="T49" fmla="*/ 2235 h 3074"/>
                <a:gd name="T50" fmla="*/ 3621 w 4332"/>
                <a:gd name="T51" fmla="*/ 2235 h 3074"/>
                <a:gd name="T52" fmla="*/ 3446 w 4332"/>
                <a:gd name="T53" fmla="*/ 2247 h 3074"/>
                <a:gd name="T54" fmla="*/ 3208 w 4332"/>
                <a:gd name="T55" fmla="*/ 2276 h 3074"/>
                <a:gd name="T56" fmla="*/ 3126 w 4332"/>
                <a:gd name="T57" fmla="*/ 2421 h 3074"/>
                <a:gd name="T58" fmla="*/ 3068 w 4332"/>
                <a:gd name="T59" fmla="*/ 2555 h 3074"/>
                <a:gd name="T60" fmla="*/ 2719 w 4332"/>
                <a:gd name="T61" fmla="*/ 2759 h 3074"/>
                <a:gd name="T62" fmla="*/ 2556 w 4332"/>
                <a:gd name="T63" fmla="*/ 2881 h 3074"/>
                <a:gd name="T64" fmla="*/ 2643 w 4332"/>
                <a:gd name="T65" fmla="*/ 2916 h 3074"/>
                <a:gd name="T66" fmla="*/ 2532 w 4332"/>
                <a:gd name="T67" fmla="*/ 2887 h 3074"/>
                <a:gd name="T68" fmla="*/ 2369 w 4332"/>
                <a:gd name="T69" fmla="*/ 2846 h 3074"/>
                <a:gd name="T70" fmla="*/ 2340 w 4332"/>
                <a:gd name="T71" fmla="*/ 2753 h 3074"/>
                <a:gd name="T72" fmla="*/ 2189 w 4332"/>
                <a:gd name="T73" fmla="*/ 2730 h 3074"/>
                <a:gd name="T74" fmla="*/ 2142 w 4332"/>
                <a:gd name="T75" fmla="*/ 2613 h 3074"/>
                <a:gd name="T76" fmla="*/ 2043 w 4332"/>
                <a:gd name="T77" fmla="*/ 2613 h 3074"/>
                <a:gd name="T78" fmla="*/ 1851 w 4332"/>
                <a:gd name="T79" fmla="*/ 2613 h 3074"/>
                <a:gd name="T80" fmla="*/ 1944 w 4332"/>
                <a:gd name="T81" fmla="*/ 2334 h 3074"/>
                <a:gd name="T82" fmla="*/ 1746 w 4332"/>
                <a:gd name="T83" fmla="*/ 2381 h 3074"/>
                <a:gd name="T84" fmla="*/ 1705 w 4332"/>
                <a:gd name="T85" fmla="*/ 2491 h 3074"/>
                <a:gd name="T86" fmla="*/ 1711 w 4332"/>
                <a:gd name="T87" fmla="*/ 2538 h 3074"/>
                <a:gd name="T88" fmla="*/ 1304 w 4332"/>
                <a:gd name="T89" fmla="*/ 2817 h 3074"/>
                <a:gd name="T90" fmla="*/ 1106 w 4332"/>
                <a:gd name="T91" fmla="*/ 2841 h 3074"/>
                <a:gd name="T92" fmla="*/ 681 w 4332"/>
                <a:gd name="T93" fmla="*/ 2596 h 3074"/>
                <a:gd name="T94" fmla="*/ 401 w 4332"/>
                <a:gd name="T95" fmla="*/ 2532 h 3074"/>
                <a:gd name="T96" fmla="*/ 308 w 4332"/>
                <a:gd name="T97" fmla="*/ 2602 h 3074"/>
                <a:gd name="T98" fmla="*/ 169 w 4332"/>
                <a:gd name="T99" fmla="*/ 2515 h 3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32" h="3074">
                  <a:moveTo>
                    <a:pt x="2072" y="2642"/>
                  </a:moveTo>
                  <a:lnTo>
                    <a:pt x="2072" y="2642"/>
                  </a:lnTo>
                  <a:cubicBezTo>
                    <a:pt x="2049" y="2648"/>
                    <a:pt x="2037" y="2666"/>
                    <a:pt x="2026" y="2683"/>
                  </a:cubicBezTo>
                  <a:cubicBezTo>
                    <a:pt x="2043" y="2683"/>
                    <a:pt x="2055" y="2683"/>
                    <a:pt x="2078" y="2683"/>
                  </a:cubicBezTo>
                  <a:cubicBezTo>
                    <a:pt x="2078" y="2672"/>
                    <a:pt x="2072" y="2660"/>
                    <a:pt x="2072" y="2642"/>
                  </a:cubicBezTo>
                  <a:close/>
                  <a:moveTo>
                    <a:pt x="0" y="2415"/>
                  </a:moveTo>
                  <a:lnTo>
                    <a:pt x="0" y="2415"/>
                  </a:lnTo>
                  <a:lnTo>
                    <a:pt x="0" y="2415"/>
                  </a:lnTo>
                  <a:cubicBezTo>
                    <a:pt x="6" y="5"/>
                    <a:pt x="6" y="5"/>
                    <a:pt x="6" y="5"/>
                  </a:cubicBezTo>
                  <a:lnTo>
                    <a:pt x="6" y="5"/>
                  </a:lnTo>
                  <a:cubicBezTo>
                    <a:pt x="29" y="0"/>
                    <a:pt x="29" y="0"/>
                    <a:pt x="29" y="0"/>
                  </a:cubicBezTo>
                  <a:cubicBezTo>
                    <a:pt x="70" y="23"/>
                    <a:pt x="99" y="17"/>
                    <a:pt x="145" y="34"/>
                  </a:cubicBezTo>
                  <a:cubicBezTo>
                    <a:pt x="204" y="58"/>
                    <a:pt x="221" y="104"/>
                    <a:pt x="285" y="104"/>
                  </a:cubicBezTo>
                  <a:cubicBezTo>
                    <a:pt x="320" y="104"/>
                    <a:pt x="314" y="40"/>
                    <a:pt x="349" y="40"/>
                  </a:cubicBezTo>
                  <a:cubicBezTo>
                    <a:pt x="384" y="40"/>
                    <a:pt x="407" y="58"/>
                    <a:pt x="442" y="58"/>
                  </a:cubicBezTo>
                  <a:cubicBezTo>
                    <a:pt x="466" y="58"/>
                    <a:pt x="477" y="52"/>
                    <a:pt x="501" y="52"/>
                  </a:cubicBezTo>
                  <a:cubicBezTo>
                    <a:pt x="547" y="52"/>
                    <a:pt x="570" y="93"/>
                    <a:pt x="599" y="133"/>
                  </a:cubicBezTo>
                  <a:cubicBezTo>
                    <a:pt x="605" y="145"/>
                    <a:pt x="611" y="157"/>
                    <a:pt x="623" y="168"/>
                  </a:cubicBezTo>
                  <a:cubicBezTo>
                    <a:pt x="646" y="186"/>
                    <a:pt x="693" y="168"/>
                    <a:pt x="693" y="197"/>
                  </a:cubicBezTo>
                  <a:cubicBezTo>
                    <a:pt x="693" y="221"/>
                    <a:pt x="681" y="238"/>
                    <a:pt x="681" y="267"/>
                  </a:cubicBezTo>
                  <a:cubicBezTo>
                    <a:pt x="681" y="296"/>
                    <a:pt x="704" y="308"/>
                    <a:pt x="716" y="331"/>
                  </a:cubicBezTo>
                  <a:cubicBezTo>
                    <a:pt x="739" y="384"/>
                    <a:pt x="745" y="442"/>
                    <a:pt x="797" y="442"/>
                  </a:cubicBezTo>
                  <a:cubicBezTo>
                    <a:pt x="832" y="442"/>
                    <a:pt x="838" y="396"/>
                    <a:pt x="838" y="360"/>
                  </a:cubicBezTo>
                  <a:cubicBezTo>
                    <a:pt x="844" y="331"/>
                    <a:pt x="873" y="326"/>
                    <a:pt x="879" y="296"/>
                  </a:cubicBezTo>
                  <a:cubicBezTo>
                    <a:pt x="902" y="366"/>
                    <a:pt x="972" y="372"/>
                    <a:pt x="1036" y="390"/>
                  </a:cubicBezTo>
                  <a:cubicBezTo>
                    <a:pt x="1088" y="401"/>
                    <a:pt x="1106" y="430"/>
                    <a:pt x="1153" y="448"/>
                  </a:cubicBezTo>
                  <a:cubicBezTo>
                    <a:pt x="1147" y="477"/>
                    <a:pt x="1129" y="489"/>
                    <a:pt x="1129" y="518"/>
                  </a:cubicBezTo>
                  <a:cubicBezTo>
                    <a:pt x="1129" y="576"/>
                    <a:pt x="1129" y="622"/>
                    <a:pt x="1170" y="663"/>
                  </a:cubicBezTo>
                  <a:cubicBezTo>
                    <a:pt x="1199" y="692"/>
                    <a:pt x="1257" y="686"/>
                    <a:pt x="1257" y="727"/>
                  </a:cubicBezTo>
                  <a:cubicBezTo>
                    <a:pt x="1257" y="768"/>
                    <a:pt x="1257" y="768"/>
                    <a:pt x="1257" y="768"/>
                  </a:cubicBezTo>
                  <a:cubicBezTo>
                    <a:pt x="1257" y="797"/>
                    <a:pt x="1298" y="791"/>
                    <a:pt x="1321" y="797"/>
                  </a:cubicBezTo>
                  <a:cubicBezTo>
                    <a:pt x="1362" y="809"/>
                    <a:pt x="1379" y="838"/>
                    <a:pt x="1414" y="861"/>
                  </a:cubicBezTo>
                  <a:cubicBezTo>
                    <a:pt x="1479" y="902"/>
                    <a:pt x="1525" y="919"/>
                    <a:pt x="1560" y="983"/>
                  </a:cubicBezTo>
                  <a:cubicBezTo>
                    <a:pt x="1572" y="1007"/>
                    <a:pt x="1595" y="1007"/>
                    <a:pt x="1612" y="1024"/>
                  </a:cubicBezTo>
                  <a:cubicBezTo>
                    <a:pt x="1647" y="1082"/>
                    <a:pt x="1665" y="1123"/>
                    <a:pt x="1723" y="1164"/>
                  </a:cubicBezTo>
                  <a:cubicBezTo>
                    <a:pt x="1764" y="1199"/>
                    <a:pt x="1787" y="1240"/>
                    <a:pt x="1845" y="1240"/>
                  </a:cubicBezTo>
                  <a:cubicBezTo>
                    <a:pt x="1857" y="1240"/>
                    <a:pt x="1857" y="1228"/>
                    <a:pt x="1868" y="1222"/>
                  </a:cubicBezTo>
                  <a:cubicBezTo>
                    <a:pt x="1892" y="1216"/>
                    <a:pt x="1909" y="1222"/>
                    <a:pt x="1933" y="1216"/>
                  </a:cubicBezTo>
                  <a:cubicBezTo>
                    <a:pt x="1927" y="1193"/>
                    <a:pt x="1915" y="1187"/>
                    <a:pt x="1915" y="1164"/>
                  </a:cubicBezTo>
                  <a:cubicBezTo>
                    <a:pt x="1915" y="1117"/>
                    <a:pt x="1962" y="1082"/>
                    <a:pt x="2008" y="1082"/>
                  </a:cubicBezTo>
                  <a:cubicBezTo>
                    <a:pt x="2049" y="1082"/>
                    <a:pt x="2072" y="1094"/>
                    <a:pt x="2113" y="1094"/>
                  </a:cubicBezTo>
                  <a:cubicBezTo>
                    <a:pt x="2142" y="1094"/>
                    <a:pt x="2148" y="1071"/>
                    <a:pt x="2171" y="1071"/>
                  </a:cubicBezTo>
                  <a:cubicBezTo>
                    <a:pt x="2253" y="1071"/>
                    <a:pt x="2270" y="1164"/>
                    <a:pt x="2346" y="1164"/>
                  </a:cubicBezTo>
                  <a:cubicBezTo>
                    <a:pt x="2358" y="1164"/>
                    <a:pt x="2358" y="1152"/>
                    <a:pt x="2369" y="1152"/>
                  </a:cubicBezTo>
                  <a:cubicBezTo>
                    <a:pt x="2393" y="1152"/>
                    <a:pt x="2398" y="1170"/>
                    <a:pt x="2427" y="1170"/>
                  </a:cubicBezTo>
                  <a:cubicBezTo>
                    <a:pt x="2439" y="1170"/>
                    <a:pt x="2445" y="1164"/>
                    <a:pt x="2462" y="1164"/>
                  </a:cubicBezTo>
                  <a:cubicBezTo>
                    <a:pt x="2480" y="1164"/>
                    <a:pt x="2486" y="1181"/>
                    <a:pt x="2497" y="1187"/>
                  </a:cubicBezTo>
                  <a:cubicBezTo>
                    <a:pt x="2532" y="1199"/>
                    <a:pt x="2561" y="1193"/>
                    <a:pt x="2596" y="1193"/>
                  </a:cubicBezTo>
                  <a:cubicBezTo>
                    <a:pt x="2620" y="1193"/>
                    <a:pt x="2620" y="1193"/>
                    <a:pt x="2620" y="1193"/>
                  </a:cubicBezTo>
                  <a:cubicBezTo>
                    <a:pt x="2620" y="1170"/>
                    <a:pt x="2620" y="1170"/>
                    <a:pt x="2620" y="1170"/>
                  </a:cubicBezTo>
                  <a:cubicBezTo>
                    <a:pt x="2625" y="1164"/>
                    <a:pt x="2631" y="1158"/>
                    <a:pt x="2637" y="1158"/>
                  </a:cubicBezTo>
                  <a:cubicBezTo>
                    <a:pt x="2649" y="1158"/>
                    <a:pt x="2654" y="1164"/>
                    <a:pt x="2666" y="1164"/>
                  </a:cubicBezTo>
                  <a:cubicBezTo>
                    <a:pt x="2678" y="1164"/>
                    <a:pt x="2684" y="1164"/>
                    <a:pt x="2695" y="1164"/>
                  </a:cubicBezTo>
                  <a:cubicBezTo>
                    <a:pt x="2719" y="1164"/>
                    <a:pt x="2730" y="1187"/>
                    <a:pt x="2753" y="1193"/>
                  </a:cubicBezTo>
                  <a:cubicBezTo>
                    <a:pt x="2812" y="1216"/>
                    <a:pt x="2847" y="1240"/>
                    <a:pt x="2911" y="1240"/>
                  </a:cubicBezTo>
                  <a:cubicBezTo>
                    <a:pt x="2940" y="1240"/>
                    <a:pt x="2934" y="1187"/>
                    <a:pt x="2963" y="1181"/>
                  </a:cubicBezTo>
                  <a:cubicBezTo>
                    <a:pt x="3050" y="1158"/>
                    <a:pt x="3097" y="1135"/>
                    <a:pt x="3184" y="1135"/>
                  </a:cubicBezTo>
                  <a:cubicBezTo>
                    <a:pt x="3260" y="1135"/>
                    <a:pt x="3306" y="1146"/>
                    <a:pt x="3365" y="1193"/>
                  </a:cubicBezTo>
                  <a:cubicBezTo>
                    <a:pt x="3411" y="1222"/>
                    <a:pt x="3405" y="1274"/>
                    <a:pt x="3405" y="1333"/>
                  </a:cubicBezTo>
                  <a:cubicBezTo>
                    <a:pt x="3405" y="1385"/>
                    <a:pt x="3405" y="1385"/>
                    <a:pt x="3405" y="1385"/>
                  </a:cubicBezTo>
                  <a:cubicBezTo>
                    <a:pt x="3405" y="1467"/>
                    <a:pt x="3469" y="1496"/>
                    <a:pt x="3469" y="1577"/>
                  </a:cubicBezTo>
                  <a:cubicBezTo>
                    <a:pt x="3469" y="1595"/>
                    <a:pt x="3464" y="1600"/>
                    <a:pt x="3464" y="1618"/>
                  </a:cubicBezTo>
                  <a:cubicBezTo>
                    <a:pt x="3464" y="1647"/>
                    <a:pt x="3493" y="1653"/>
                    <a:pt x="3522" y="1664"/>
                  </a:cubicBezTo>
                  <a:cubicBezTo>
                    <a:pt x="3568" y="1682"/>
                    <a:pt x="3592" y="1705"/>
                    <a:pt x="3638" y="1723"/>
                  </a:cubicBezTo>
                  <a:cubicBezTo>
                    <a:pt x="4331" y="2072"/>
                    <a:pt x="4331" y="2072"/>
                    <a:pt x="4331" y="2072"/>
                  </a:cubicBezTo>
                  <a:lnTo>
                    <a:pt x="4331" y="2072"/>
                  </a:lnTo>
                  <a:cubicBezTo>
                    <a:pt x="4331" y="2084"/>
                    <a:pt x="4320" y="2101"/>
                    <a:pt x="4302" y="2101"/>
                  </a:cubicBezTo>
                  <a:cubicBezTo>
                    <a:pt x="4273" y="2101"/>
                    <a:pt x="4261" y="2078"/>
                    <a:pt x="4255" y="2055"/>
                  </a:cubicBezTo>
                  <a:cubicBezTo>
                    <a:pt x="4244" y="2060"/>
                    <a:pt x="4238" y="2066"/>
                    <a:pt x="4226" y="2066"/>
                  </a:cubicBezTo>
                  <a:cubicBezTo>
                    <a:pt x="4186" y="2031"/>
                    <a:pt x="4191" y="2037"/>
                    <a:pt x="4226" y="2107"/>
                  </a:cubicBezTo>
                  <a:cubicBezTo>
                    <a:pt x="4226" y="2183"/>
                    <a:pt x="4145" y="2194"/>
                    <a:pt x="4081" y="2223"/>
                  </a:cubicBezTo>
                  <a:cubicBezTo>
                    <a:pt x="4063" y="2223"/>
                    <a:pt x="4063" y="2223"/>
                    <a:pt x="4063" y="2223"/>
                  </a:cubicBezTo>
                  <a:cubicBezTo>
                    <a:pt x="4034" y="2229"/>
                    <a:pt x="4017" y="2235"/>
                    <a:pt x="3982" y="2235"/>
                  </a:cubicBezTo>
                  <a:cubicBezTo>
                    <a:pt x="3959" y="2235"/>
                    <a:pt x="3947" y="2223"/>
                    <a:pt x="3924" y="2223"/>
                  </a:cubicBezTo>
                  <a:cubicBezTo>
                    <a:pt x="3912" y="2223"/>
                    <a:pt x="3906" y="2235"/>
                    <a:pt x="3894" y="2235"/>
                  </a:cubicBezTo>
                  <a:cubicBezTo>
                    <a:pt x="3877" y="2235"/>
                    <a:pt x="3877" y="2223"/>
                    <a:pt x="3860" y="2223"/>
                  </a:cubicBezTo>
                  <a:cubicBezTo>
                    <a:pt x="3790" y="2223"/>
                    <a:pt x="3749" y="2252"/>
                    <a:pt x="3673" y="2252"/>
                  </a:cubicBezTo>
                  <a:cubicBezTo>
                    <a:pt x="3650" y="2252"/>
                    <a:pt x="3632" y="2252"/>
                    <a:pt x="3621" y="2235"/>
                  </a:cubicBezTo>
                  <a:cubicBezTo>
                    <a:pt x="3603" y="2258"/>
                    <a:pt x="3574" y="2252"/>
                    <a:pt x="3539" y="2258"/>
                  </a:cubicBezTo>
                  <a:cubicBezTo>
                    <a:pt x="3510" y="2264"/>
                    <a:pt x="3493" y="2276"/>
                    <a:pt x="3464" y="2276"/>
                  </a:cubicBezTo>
                  <a:cubicBezTo>
                    <a:pt x="3452" y="2276"/>
                    <a:pt x="3452" y="2258"/>
                    <a:pt x="3446" y="2247"/>
                  </a:cubicBezTo>
                  <a:cubicBezTo>
                    <a:pt x="3429" y="2287"/>
                    <a:pt x="3382" y="2293"/>
                    <a:pt x="3336" y="2293"/>
                  </a:cubicBezTo>
                  <a:cubicBezTo>
                    <a:pt x="3318" y="2293"/>
                    <a:pt x="3312" y="2264"/>
                    <a:pt x="3295" y="2264"/>
                  </a:cubicBezTo>
                  <a:cubicBezTo>
                    <a:pt x="3260" y="2264"/>
                    <a:pt x="3242" y="2270"/>
                    <a:pt x="3208" y="2276"/>
                  </a:cubicBezTo>
                  <a:cubicBezTo>
                    <a:pt x="3208" y="2282"/>
                    <a:pt x="3208" y="2287"/>
                    <a:pt x="3208" y="2293"/>
                  </a:cubicBezTo>
                  <a:cubicBezTo>
                    <a:pt x="3208" y="2316"/>
                    <a:pt x="3213" y="2334"/>
                    <a:pt x="3225" y="2352"/>
                  </a:cubicBezTo>
                  <a:cubicBezTo>
                    <a:pt x="3184" y="2375"/>
                    <a:pt x="3126" y="2375"/>
                    <a:pt x="3126" y="2421"/>
                  </a:cubicBezTo>
                  <a:cubicBezTo>
                    <a:pt x="3126" y="2427"/>
                    <a:pt x="3126" y="2427"/>
                    <a:pt x="3126" y="2433"/>
                  </a:cubicBezTo>
                  <a:cubicBezTo>
                    <a:pt x="3155" y="2415"/>
                    <a:pt x="3167" y="2404"/>
                    <a:pt x="3202" y="2398"/>
                  </a:cubicBezTo>
                  <a:cubicBezTo>
                    <a:pt x="3143" y="2456"/>
                    <a:pt x="3126" y="2497"/>
                    <a:pt x="3068" y="2555"/>
                  </a:cubicBezTo>
                  <a:cubicBezTo>
                    <a:pt x="3015" y="2608"/>
                    <a:pt x="2986" y="2637"/>
                    <a:pt x="2928" y="2683"/>
                  </a:cubicBezTo>
                  <a:cubicBezTo>
                    <a:pt x="2899" y="2707"/>
                    <a:pt x="2887" y="2724"/>
                    <a:pt x="2852" y="2736"/>
                  </a:cubicBezTo>
                  <a:cubicBezTo>
                    <a:pt x="2800" y="2753"/>
                    <a:pt x="2765" y="2741"/>
                    <a:pt x="2719" y="2759"/>
                  </a:cubicBezTo>
                  <a:cubicBezTo>
                    <a:pt x="2660" y="2782"/>
                    <a:pt x="2625" y="2805"/>
                    <a:pt x="2567" y="2805"/>
                  </a:cubicBezTo>
                  <a:cubicBezTo>
                    <a:pt x="2550" y="2805"/>
                    <a:pt x="2538" y="2805"/>
                    <a:pt x="2521" y="2805"/>
                  </a:cubicBezTo>
                  <a:cubicBezTo>
                    <a:pt x="2526" y="2835"/>
                    <a:pt x="2538" y="2852"/>
                    <a:pt x="2556" y="2881"/>
                  </a:cubicBezTo>
                  <a:cubicBezTo>
                    <a:pt x="2561" y="2899"/>
                    <a:pt x="2567" y="2922"/>
                    <a:pt x="2585" y="2922"/>
                  </a:cubicBezTo>
                  <a:cubicBezTo>
                    <a:pt x="2608" y="2922"/>
                    <a:pt x="2625" y="2910"/>
                    <a:pt x="2643" y="2899"/>
                  </a:cubicBezTo>
                  <a:cubicBezTo>
                    <a:pt x="2643" y="2904"/>
                    <a:pt x="2643" y="2910"/>
                    <a:pt x="2643" y="2916"/>
                  </a:cubicBezTo>
                  <a:cubicBezTo>
                    <a:pt x="2643" y="2980"/>
                    <a:pt x="2637" y="3015"/>
                    <a:pt x="2631" y="3073"/>
                  </a:cubicBezTo>
                  <a:cubicBezTo>
                    <a:pt x="2590" y="3062"/>
                    <a:pt x="2590" y="3021"/>
                    <a:pt x="2573" y="2980"/>
                  </a:cubicBezTo>
                  <a:cubicBezTo>
                    <a:pt x="2556" y="2945"/>
                    <a:pt x="2532" y="2928"/>
                    <a:pt x="2532" y="2887"/>
                  </a:cubicBezTo>
                  <a:cubicBezTo>
                    <a:pt x="2497" y="2881"/>
                    <a:pt x="2480" y="2864"/>
                    <a:pt x="2445" y="2864"/>
                  </a:cubicBezTo>
                  <a:cubicBezTo>
                    <a:pt x="2416" y="2864"/>
                    <a:pt x="2422" y="2904"/>
                    <a:pt x="2416" y="2934"/>
                  </a:cubicBezTo>
                  <a:cubicBezTo>
                    <a:pt x="2387" y="2904"/>
                    <a:pt x="2387" y="2881"/>
                    <a:pt x="2369" y="2846"/>
                  </a:cubicBezTo>
                  <a:cubicBezTo>
                    <a:pt x="2358" y="2835"/>
                    <a:pt x="2340" y="2829"/>
                    <a:pt x="2340" y="2811"/>
                  </a:cubicBezTo>
                  <a:cubicBezTo>
                    <a:pt x="2340" y="2800"/>
                    <a:pt x="2352" y="2800"/>
                    <a:pt x="2358" y="2794"/>
                  </a:cubicBezTo>
                  <a:cubicBezTo>
                    <a:pt x="2352" y="2776"/>
                    <a:pt x="2358" y="2753"/>
                    <a:pt x="2340" y="2753"/>
                  </a:cubicBezTo>
                  <a:cubicBezTo>
                    <a:pt x="2311" y="2753"/>
                    <a:pt x="2299" y="2776"/>
                    <a:pt x="2276" y="2782"/>
                  </a:cubicBezTo>
                  <a:cubicBezTo>
                    <a:pt x="2259" y="2788"/>
                    <a:pt x="2253" y="2788"/>
                    <a:pt x="2235" y="2788"/>
                  </a:cubicBezTo>
                  <a:cubicBezTo>
                    <a:pt x="2206" y="2788"/>
                    <a:pt x="2206" y="2759"/>
                    <a:pt x="2189" y="2730"/>
                  </a:cubicBezTo>
                  <a:cubicBezTo>
                    <a:pt x="2165" y="2707"/>
                    <a:pt x="2136" y="2695"/>
                    <a:pt x="2136" y="2660"/>
                  </a:cubicBezTo>
                  <a:cubicBezTo>
                    <a:pt x="2136" y="2648"/>
                    <a:pt x="2148" y="2637"/>
                    <a:pt x="2148" y="2625"/>
                  </a:cubicBezTo>
                  <a:cubicBezTo>
                    <a:pt x="2148" y="2619"/>
                    <a:pt x="2142" y="2619"/>
                    <a:pt x="2142" y="2613"/>
                  </a:cubicBezTo>
                  <a:cubicBezTo>
                    <a:pt x="2136" y="2613"/>
                    <a:pt x="2136" y="2613"/>
                    <a:pt x="2136" y="2613"/>
                  </a:cubicBezTo>
                  <a:cubicBezTo>
                    <a:pt x="2119" y="2613"/>
                    <a:pt x="2113" y="2619"/>
                    <a:pt x="2096" y="2619"/>
                  </a:cubicBezTo>
                  <a:cubicBezTo>
                    <a:pt x="2043" y="2613"/>
                    <a:pt x="2043" y="2613"/>
                    <a:pt x="2043" y="2613"/>
                  </a:cubicBezTo>
                  <a:cubicBezTo>
                    <a:pt x="2008" y="2613"/>
                    <a:pt x="1985" y="2613"/>
                    <a:pt x="1956" y="2637"/>
                  </a:cubicBezTo>
                  <a:cubicBezTo>
                    <a:pt x="1933" y="2648"/>
                    <a:pt x="1927" y="2672"/>
                    <a:pt x="1904" y="2672"/>
                  </a:cubicBezTo>
                  <a:cubicBezTo>
                    <a:pt x="1868" y="2672"/>
                    <a:pt x="1851" y="2642"/>
                    <a:pt x="1851" y="2613"/>
                  </a:cubicBezTo>
                  <a:cubicBezTo>
                    <a:pt x="1851" y="2578"/>
                    <a:pt x="1898" y="2590"/>
                    <a:pt x="1921" y="2567"/>
                  </a:cubicBezTo>
                  <a:cubicBezTo>
                    <a:pt x="1962" y="2526"/>
                    <a:pt x="1991" y="2497"/>
                    <a:pt x="1991" y="2439"/>
                  </a:cubicBezTo>
                  <a:cubicBezTo>
                    <a:pt x="1991" y="2392"/>
                    <a:pt x="1973" y="2369"/>
                    <a:pt x="1944" y="2334"/>
                  </a:cubicBezTo>
                  <a:cubicBezTo>
                    <a:pt x="1927" y="2311"/>
                    <a:pt x="1927" y="2282"/>
                    <a:pt x="1898" y="2282"/>
                  </a:cubicBezTo>
                  <a:cubicBezTo>
                    <a:pt x="1874" y="2282"/>
                    <a:pt x="1868" y="2305"/>
                    <a:pt x="1851" y="2322"/>
                  </a:cubicBezTo>
                  <a:cubicBezTo>
                    <a:pt x="1816" y="2346"/>
                    <a:pt x="1787" y="2352"/>
                    <a:pt x="1746" y="2381"/>
                  </a:cubicBezTo>
                  <a:cubicBezTo>
                    <a:pt x="1723" y="2392"/>
                    <a:pt x="1705" y="2404"/>
                    <a:pt x="1688" y="2421"/>
                  </a:cubicBezTo>
                  <a:cubicBezTo>
                    <a:pt x="1676" y="2439"/>
                    <a:pt x="1653" y="2439"/>
                    <a:pt x="1653" y="2456"/>
                  </a:cubicBezTo>
                  <a:cubicBezTo>
                    <a:pt x="1653" y="2479"/>
                    <a:pt x="1682" y="2491"/>
                    <a:pt x="1705" y="2491"/>
                  </a:cubicBezTo>
                  <a:cubicBezTo>
                    <a:pt x="1741" y="2491"/>
                    <a:pt x="1758" y="2468"/>
                    <a:pt x="1787" y="2450"/>
                  </a:cubicBezTo>
                  <a:cubicBezTo>
                    <a:pt x="1793" y="2456"/>
                    <a:pt x="1799" y="2462"/>
                    <a:pt x="1799" y="2468"/>
                  </a:cubicBezTo>
                  <a:cubicBezTo>
                    <a:pt x="1799" y="2515"/>
                    <a:pt x="1752" y="2520"/>
                    <a:pt x="1711" y="2538"/>
                  </a:cubicBezTo>
                  <a:cubicBezTo>
                    <a:pt x="1642" y="2578"/>
                    <a:pt x="1601" y="2608"/>
                    <a:pt x="1525" y="2642"/>
                  </a:cubicBezTo>
                  <a:cubicBezTo>
                    <a:pt x="1444" y="2683"/>
                    <a:pt x="1426" y="2741"/>
                    <a:pt x="1356" y="2794"/>
                  </a:cubicBezTo>
                  <a:cubicBezTo>
                    <a:pt x="1339" y="2805"/>
                    <a:pt x="1321" y="2805"/>
                    <a:pt x="1304" y="2817"/>
                  </a:cubicBezTo>
                  <a:cubicBezTo>
                    <a:pt x="1281" y="2841"/>
                    <a:pt x="1286" y="2893"/>
                    <a:pt x="1251" y="2893"/>
                  </a:cubicBezTo>
                  <a:cubicBezTo>
                    <a:pt x="1193" y="2893"/>
                    <a:pt x="1176" y="2829"/>
                    <a:pt x="1123" y="2829"/>
                  </a:cubicBezTo>
                  <a:cubicBezTo>
                    <a:pt x="1118" y="2829"/>
                    <a:pt x="1112" y="2841"/>
                    <a:pt x="1106" y="2841"/>
                  </a:cubicBezTo>
                  <a:cubicBezTo>
                    <a:pt x="1059" y="2841"/>
                    <a:pt x="1048" y="2794"/>
                    <a:pt x="1001" y="2771"/>
                  </a:cubicBezTo>
                  <a:cubicBezTo>
                    <a:pt x="960" y="2753"/>
                    <a:pt x="925" y="2759"/>
                    <a:pt x="885" y="2730"/>
                  </a:cubicBezTo>
                  <a:cubicBezTo>
                    <a:pt x="809" y="2672"/>
                    <a:pt x="780" y="2596"/>
                    <a:pt x="681" y="2596"/>
                  </a:cubicBezTo>
                  <a:cubicBezTo>
                    <a:pt x="646" y="2596"/>
                    <a:pt x="629" y="2619"/>
                    <a:pt x="588" y="2619"/>
                  </a:cubicBezTo>
                  <a:cubicBezTo>
                    <a:pt x="570" y="2619"/>
                    <a:pt x="564" y="2602"/>
                    <a:pt x="547" y="2590"/>
                  </a:cubicBezTo>
                  <a:cubicBezTo>
                    <a:pt x="501" y="2555"/>
                    <a:pt x="466" y="2532"/>
                    <a:pt x="401" y="2532"/>
                  </a:cubicBezTo>
                  <a:cubicBezTo>
                    <a:pt x="384" y="2532"/>
                    <a:pt x="378" y="2544"/>
                    <a:pt x="361" y="2549"/>
                  </a:cubicBezTo>
                  <a:cubicBezTo>
                    <a:pt x="338" y="2555"/>
                    <a:pt x="303" y="2549"/>
                    <a:pt x="303" y="2573"/>
                  </a:cubicBezTo>
                  <a:cubicBezTo>
                    <a:pt x="303" y="2584"/>
                    <a:pt x="308" y="2590"/>
                    <a:pt x="308" y="2602"/>
                  </a:cubicBezTo>
                  <a:cubicBezTo>
                    <a:pt x="308" y="2619"/>
                    <a:pt x="308" y="2619"/>
                    <a:pt x="308" y="2619"/>
                  </a:cubicBezTo>
                  <a:cubicBezTo>
                    <a:pt x="291" y="2619"/>
                    <a:pt x="291" y="2619"/>
                    <a:pt x="291" y="2619"/>
                  </a:cubicBezTo>
                  <a:cubicBezTo>
                    <a:pt x="233" y="2596"/>
                    <a:pt x="215" y="2561"/>
                    <a:pt x="169" y="2515"/>
                  </a:cubicBezTo>
                  <a:cubicBezTo>
                    <a:pt x="116" y="2456"/>
                    <a:pt x="70" y="2427"/>
                    <a:pt x="0" y="2415"/>
                  </a:cubicBezTo>
                  <a:close/>
                </a:path>
              </a:pathLst>
            </a:custGeom>
            <a:solidFill>
              <a:schemeClr val="accent2"/>
            </a:solidFill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8" name="Freeform 67"/>
            <p:cNvSpPr>
              <a:spLocks noChangeArrowheads="1"/>
            </p:cNvSpPr>
            <p:nvPr/>
          </p:nvSpPr>
          <p:spPr bwMode="auto">
            <a:xfrm>
              <a:off x="18847261" y="7333957"/>
              <a:ext cx="2669596" cy="2367092"/>
            </a:xfrm>
            <a:custGeom>
              <a:avLst/>
              <a:gdLst>
                <a:gd name="T0" fmla="*/ 4331 w 6067"/>
                <a:gd name="T1" fmla="*/ 5314 h 5379"/>
                <a:gd name="T2" fmla="*/ 4290 w 6067"/>
                <a:gd name="T3" fmla="*/ 5145 h 5379"/>
                <a:gd name="T4" fmla="*/ 4343 w 6067"/>
                <a:gd name="T5" fmla="*/ 4912 h 5379"/>
                <a:gd name="T6" fmla="*/ 4412 w 6067"/>
                <a:gd name="T7" fmla="*/ 4615 h 5379"/>
                <a:gd name="T8" fmla="*/ 4453 w 6067"/>
                <a:gd name="T9" fmla="*/ 4307 h 5379"/>
                <a:gd name="T10" fmla="*/ 4605 w 6067"/>
                <a:gd name="T11" fmla="*/ 3992 h 5379"/>
                <a:gd name="T12" fmla="*/ 4651 w 6067"/>
                <a:gd name="T13" fmla="*/ 3969 h 5379"/>
                <a:gd name="T14" fmla="*/ 4674 w 6067"/>
                <a:gd name="T15" fmla="*/ 3894 h 5379"/>
                <a:gd name="T16" fmla="*/ 4762 w 6067"/>
                <a:gd name="T17" fmla="*/ 3666 h 5379"/>
                <a:gd name="T18" fmla="*/ 4866 w 6067"/>
                <a:gd name="T19" fmla="*/ 3387 h 5379"/>
                <a:gd name="T20" fmla="*/ 4901 w 6067"/>
                <a:gd name="T21" fmla="*/ 3038 h 5379"/>
                <a:gd name="T22" fmla="*/ 4948 w 6067"/>
                <a:gd name="T23" fmla="*/ 2974 h 5379"/>
                <a:gd name="T24" fmla="*/ 5082 w 6067"/>
                <a:gd name="T25" fmla="*/ 2828 h 5379"/>
                <a:gd name="T26" fmla="*/ 5123 w 6067"/>
                <a:gd name="T27" fmla="*/ 2799 h 5379"/>
                <a:gd name="T28" fmla="*/ 5414 w 6067"/>
                <a:gd name="T29" fmla="*/ 2496 h 5379"/>
                <a:gd name="T30" fmla="*/ 5501 w 6067"/>
                <a:gd name="T31" fmla="*/ 2310 h 5379"/>
                <a:gd name="T32" fmla="*/ 5670 w 6067"/>
                <a:gd name="T33" fmla="*/ 2031 h 5379"/>
                <a:gd name="T34" fmla="*/ 5821 w 6067"/>
                <a:gd name="T35" fmla="*/ 1583 h 5379"/>
                <a:gd name="T36" fmla="*/ 5862 w 6067"/>
                <a:gd name="T37" fmla="*/ 1140 h 5379"/>
                <a:gd name="T38" fmla="*/ 5914 w 6067"/>
                <a:gd name="T39" fmla="*/ 936 h 5379"/>
                <a:gd name="T40" fmla="*/ 5868 w 6067"/>
                <a:gd name="T41" fmla="*/ 703 h 5379"/>
                <a:gd name="T42" fmla="*/ 6043 w 6067"/>
                <a:gd name="T43" fmla="*/ 174 h 5379"/>
                <a:gd name="T44" fmla="*/ 5955 w 6067"/>
                <a:gd name="T45" fmla="*/ 46 h 5379"/>
                <a:gd name="T46" fmla="*/ 5693 w 6067"/>
                <a:gd name="T47" fmla="*/ 104 h 5379"/>
                <a:gd name="T48" fmla="*/ 5286 w 6067"/>
                <a:gd name="T49" fmla="*/ 214 h 5379"/>
                <a:gd name="T50" fmla="*/ 5227 w 6067"/>
                <a:gd name="T51" fmla="*/ 447 h 5379"/>
                <a:gd name="T52" fmla="*/ 4913 w 6067"/>
                <a:gd name="T53" fmla="*/ 389 h 5379"/>
                <a:gd name="T54" fmla="*/ 4610 w 6067"/>
                <a:gd name="T55" fmla="*/ 273 h 5379"/>
                <a:gd name="T56" fmla="*/ 4261 w 6067"/>
                <a:gd name="T57" fmla="*/ 255 h 5379"/>
                <a:gd name="T58" fmla="*/ 3894 w 6067"/>
                <a:gd name="T59" fmla="*/ 389 h 5379"/>
                <a:gd name="T60" fmla="*/ 0 w 6067"/>
                <a:gd name="T61" fmla="*/ 3311 h 5379"/>
                <a:gd name="T62" fmla="*/ 279 w 6067"/>
                <a:gd name="T63" fmla="*/ 3410 h 5379"/>
                <a:gd name="T64" fmla="*/ 593 w 6067"/>
                <a:gd name="T65" fmla="*/ 3439 h 5379"/>
                <a:gd name="T66" fmla="*/ 710 w 6067"/>
                <a:gd name="T67" fmla="*/ 3637 h 5379"/>
                <a:gd name="T68" fmla="*/ 1030 w 6067"/>
                <a:gd name="T69" fmla="*/ 3696 h 5379"/>
                <a:gd name="T70" fmla="*/ 1251 w 6067"/>
                <a:gd name="T71" fmla="*/ 4033 h 5379"/>
                <a:gd name="T72" fmla="*/ 1554 w 6067"/>
                <a:gd name="T73" fmla="*/ 4289 h 5379"/>
                <a:gd name="T74" fmla="*/ 1862 w 6067"/>
                <a:gd name="T75" fmla="*/ 4528 h 5379"/>
                <a:gd name="T76" fmla="*/ 2107 w 6067"/>
                <a:gd name="T77" fmla="*/ 4400 h 5379"/>
                <a:gd name="T78" fmla="*/ 2421 w 6067"/>
                <a:gd name="T79" fmla="*/ 4476 h 5379"/>
                <a:gd name="T80" fmla="*/ 2614 w 6067"/>
                <a:gd name="T81" fmla="*/ 4499 h 5379"/>
                <a:gd name="T82" fmla="*/ 2689 w 6067"/>
                <a:gd name="T83" fmla="*/ 4470 h 5379"/>
                <a:gd name="T84" fmla="*/ 3178 w 6067"/>
                <a:gd name="T85" fmla="*/ 4441 h 5379"/>
                <a:gd name="T86" fmla="*/ 3463 w 6067"/>
                <a:gd name="T87" fmla="*/ 4883 h 5379"/>
                <a:gd name="T88" fmla="*/ 4325 w 6067"/>
                <a:gd name="T89" fmla="*/ 5378 h 5379"/>
                <a:gd name="T90" fmla="*/ 4046 w 6067"/>
                <a:gd name="T91" fmla="*/ 4068 h 5379"/>
                <a:gd name="T92" fmla="*/ 3912 w 6067"/>
                <a:gd name="T93" fmla="*/ 4348 h 5379"/>
                <a:gd name="T94" fmla="*/ 3731 w 6067"/>
                <a:gd name="T95" fmla="*/ 4220 h 5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067" h="5379">
                  <a:moveTo>
                    <a:pt x="4325" y="5378"/>
                  </a:moveTo>
                  <a:lnTo>
                    <a:pt x="4325" y="5378"/>
                  </a:lnTo>
                  <a:cubicBezTo>
                    <a:pt x="4331" y="5372"/>
                    <a:pt x="4331" y="5366"/>
                    <a:pt x="4331" y="5361"/>
                  </a:cubicBezTo>
                  <a:cubicBezTo>
                    <a:pt x="4331" y="5314"/>
                    <a:pt x="4331" y="5314"/>
                    <a:pt x="4331" y="5314"/>
                  </a:cubicBezTo>
                  <a:cubicBezTo>
                    <a:pt x="4331" y="5273"/>
                    <a:pt x="4343" y="5250"/>
                    <a:pt x="4343" y="5215"/>
                  </a:cubicBezTo>
                  <a:cubicBezTo>
                    <a:pt x="4343" y="5180"/>
                    <a:pt x="4337" y="5163"/>
                    <a:pt x="4337" y="5133"/>
                  </a:cubicBezTo>
                  <a:cubicBezTo>
                    <a:pt x="4314" y="5133"/>
                    <a:pt x="4314" y="5133"/>
                    <a:pt x="4314" y="5133"/>
                  </a:cubicBezTo>
                  <a:cubicBezTo>
                    <a:pt x="4302" y="5133"/>
                    <a:pt x="4302" y="5139"/>
                    <a:pt x="4290" y="5145"/>
                  </a:cubicBezTo>
                  <a:cubicBezTo>
                    <a:pt x="4290" y="5122"/>
                    <a:pt x="4290" y="5122"/>
                    <a:pt x="4290" y="5122"/>
                  </a:cubicBezTo>
                  <a:cubicBezTo>
                    <a:pt x="4308" y="5064"/>
                    <a:pt x="4308" y="5064"/>
                    <a:pt x="4308" y="5064"/>
                  </a:cubicBezTo>
                  <a:cubicBezTo>
                    <a:pt x="4302" y="5052"/>
                    <a:pt x="4296" y="5046"/>
                    <a:pt x="4296" y="5035"/>
                  </a:cubicBezTo>
                  <a:cubicBezTo>
                    <a:pt x="4296" y="4988"/>
                    <a:pt x="4343" y="4965"/>
                    <a:pt x="4343" y="4912"/>
                  </a:cubicBezTo>
                  <a:cubicBezTo>
                    <a:pt x="4343" y="4906"/>
                    <a:pt x="4337" y="4906"/>
                    <a:pt x="4337" y="4906"/>
                  </a:cubicBezTo>
                  <a:cubicBezTo>
                    <a:pt x="4337" y="4854"/>
                    <a:pt x="4377" y="4831"/>
                    <a:pt x="4377" y="4784"/>
                  </a:cubicBezTo>
                  <a:cubicBezTo>
                    <a:pt x="4377" y="4703"/>
                    <a:pt x="4377" y="4703"/>
                    <a:pt x="4377" y="4703"/>
                  </a:cubicBezTo>
                  <a:cubicBezTo>
                    <a:pt x="4377" y="4668"/>
                    <a:pt x="4412" y="4650"/>
                    <a:pt x="4412" y="4615"/>
                  </a:cubicBezTo>
                  <a:cubicBezTo>
                    <a:pt x="4412" y="4569"/>
                    <a:pt x="4389" y="4551"/>
                    <a:pt x="4389" y="4505"/>
                  </a:cubicBezTo>
                  <a:cubicBezTo>
                    <a:pt x="4389" y="4476"/>
                    <a:pt x="4424" y="4470"/>
                    <a:pt x="4424" y="4441"/>
                  </a:cubicBezTo>
                  <a:cubicBezTo>
                    <a:pt x="4424" y="4435"/>
                    <a:pt x="4412" y="4441"/>
                    <a:pt x="4412" y="4435"/>
                  </a:cubicBezTo>
                  <a:cubicBezTo>
                    <a:pt x="4412" y="4383"/>
                    <a:pt x="4453" y="4359"/>
                    <a:pt x="4453" y="4307"/>
                  </a:cubicBezTo>
                  <a:cubicBezTo>
                    <a:pt x="4471" y="4313"/>
                    <a:pt x="4482" y="4295"/>
                    <a:pt x="4488" y="4272"/>
                  </a:cubicBezTo>
                  <a:cubicBezTo>
                    <a:pt x="4500" y="4249"/>
                    <a:pt x="4523" y="4237"/>
                    <a:pt x="4523" y="4208"/>
                  </a:cubicBezTo>
                  <a:cubicBezTo>
                    <a:pt x="4523" y="4150"/>
                    <a:pt x="4558" y="4126"/>
                    <a:pt x="4570" y="4074"/>
                  </a:cubicBezTo>
                  <a:cubicBezTo>
                    <a:pt x="4575" y="4045"/>
                    <a:pt x="4587" y="4016"/>
                    <a:pt x="4605" y="3992"/>
                  </a:cubicBezTo>
                  <a:lnTo>
                    <a:pt x="4605" y="3992"/>
                  </a:lnTo>
                  <a:cubicBezTo>
                    <a:pt x="4599" y="3987"/>
                    <a:pt x="4593" y="3987"/>
                    <a:pt x="4593" y="3975"/>
                  </a:cubicBezTo>
                  <a:cubicBezTo>
                    <a:pt x="4593" y="3958"/>
                    <a:pt x="4634" y="3934"/>
                    <a:pt x="4651" y="3969"/>
                  </a:cubicBezTo>
                  <a:lnTo>
                    <a:pt x="4651" y="3969"/>
                  </a:lnTo>
                  <a:cubicBezTo>
                    <a:pt x="4657" y="3969"/>
                    <a:pt x="4657" y="3969"/>
                    <a:pt x="4663" y="3969"/>
                  </a:cubicBezTo>
                  <a:cubicBezTo>
                    <a:pt x="4669" y="3969"/>
                    <a:pt x="4674" y="3975"/>
                    <a:pt x="4680" y="3975"/>
                  </a:cubicBezTo>
                  <a:cubicBezTo>
                    <a:pt x="4686" y="3975"/>
                    <a:pt x="4692" y="3969"/>
                    <a:pt x="4692" y="3969"/>
                  </a:cubicBezTo>
                  <a:cubicBezTo>
                    <a:pt x="4680" y="3946"/>
                    <a:pt x="4674" y="3928"/>
                    <a:pt x="4674" y="3894"/>
                  </a:cubicBezTo>
                  <a:cubicBezTo>
                    <a:pt x="4674" y="3882"/>
                    <a:pt x="4692" y="3876"/>
                    <a:pt x="4703" y="3876"/>
                  </a:cubicBezTo>
                  <a:cubicBezTo>
                    <a:pt x="4733" y="3894"/>
                    <a:pt x="4738" y="3940"/>
                    <a:pt x="4709" y="3818"/>
                  </a:cubicBezTo>
                  <a:cubicBezTo>
                    <a:pt x="4703" y="3812"/>
                    <a:pt x="4703" y="3800"/>
                    <a:pt x="4698" y="3789"/>
                  </a:cubicBezTo>
                  <a:cubicBezTo>
                    <a:pt x="4738" y="3754"/>
                    <a:pt x="4762" y="3719"/>
                    <a:pt x="4762" y="3666"/>
                  </a:cubicBezTo>
                  <a:cubicBezTo>
                    <a:pt x="4762" y="3608"/>
                    <a:pt x="4762" y="3608"/>
                    <a:pt x="4762" y="3608"/>
                  </a:cubicBezTo>
                  <a:cubicBezTo>
                    <a:pt x="4762" y="3597"/>
                    <a:pt x="4744" y="3591"/>
                    <a:pt x="4744" y="3579"/>
                  </a:cubicBezTo>
                  <a:cubicBezTo>
                    <a:pt x="4744" y="3550"/>
                    <a:pt x="4768" y="3539"/>
                    <a:pt x="4779" y="3515"/>
                  </a:cubicBezTo>
                  <a:cubicBezTo>
                    <a:pt x="4803" y="3463"/>
                    <a:pt x="4832" y="3434"/>
                    <a:pt x="4866" y="3387"/>
                  </a:cubicBezTo>
                  <a:cubicBezTo>
                    <a:pt x="4936" y="3288"/>
                    <a:pt x="4971" y="3213"/>
                    <a:pt x="4971" y="3090"/>
                  </a:cubicBezTo>
                  <a:cubicBezTo>
                    <a:pt x="4971" y="3079"/>
                    <a:pt x="4966" y="3067"/>
                    <a:pt x="4954" y="3067"/>
                  </a:cubicBezTo>
                  <a:cubicBezTo>
                    <a:pt x="4931" y="3067"/>
                    <a:pt x="4925" y="3084"/>
                    <a:pt x="4901" y="3090"/>
                  </a:cubicBezTo>
                  <a:cubicBezTo>
                    <a:pt x="4901" y="3067"/>
                    <a:pt x="4901" y="3055"/>
                    <a:pt x="4901" y="3038"/>
                  </a:cubicBezTo>
                  <a:cubicBezTo>
                    <a:pt x="4901" y="3014"/>
                    <a:pt x="4884" y="3003"/>
                    <a:pt x="4884" y="2985"/>
                  </a:cubicBezTo>
                  <a:cubicBezTo>
                    <a:pt x="4884" y="2980"/>
                    <a:pt x="4890" y="2980"/>
                    <a:pt x="4890" y="2974"/>
                  </a:cubicBezTo>
                  <a:cubicBezTo>
                    <a:pt x="4901" y="2980"/>
                    <a:pt x="4907" y="2991"/>
                    <a:pt x="4919" y="2991"/>
                  </a:cubicBezTo>
                  <a:cubicBezTo>
                    <a:pt x="4931" y="2991"/>
                    <a:pt x="4936" y="2974"/>
                    <a:pt x="4948" y="2974"/>
                  </a:cubicBezTo>
                  <a:cubicBezTo>
                    <a:pt x="4960" y="2974"/>
                    <a:pt x="4966" y="2991"/>
                    <a:pt x="4983" y="2991"/>
                  </a:cubicBezTo>
                  <a:cubicBezTo>
                    <a:pt x="5006" y="2991"/>
                    <a:pt x="5035" y="2980"/>
                    <a:pt x="5035" y="2950"/>
                  </a:cubicBezTo>
                  <a:cubicBezTo>
                    <a:pt x="5035" y="2939"/>
                    <a:pt x="5029" y="2939"/>
                    <a:pt x="5029" y="2927"/>
                  </a:cubicBezTo>
                  <a:cubicBezTo>
                    <a:pt x="5029" y="2881"/>
                    <a:pt x="5082" y="2875"/>
                    <a:pt x="5082" y="2828"/>
                  </a:cubicBezTo>
                  <a:cubicBezTo>
                    <a:pt x="5082" y="2758"/>
                    <a:pt x="5082" y="2758"/>
                    <a:pt x="5082" y="2758"/>
                  </a:cubicBezTo>
                  <a:cubicBezTo>
                    <a:pt x="5082" y="2741"/>
                    <a:pt x="5094" y="2735"/>
                    <a:pt x="5105" y="2735"/>
                  </a:cubicBezTo>
                  <a:cubicBezTo>
                    <a:pt x="5123" y="2735"/>
                    <a:pt x="5123" y="2735"/>
                    <a:pt x="5123" y="2735"/>
                  </a:cubicBezTo>
                  <a:cubicBezTo>
                    <a:pt x="5123" y="2758"/>
                    <a:pt x="5117" y="2776"/>
                    <a:pt x="5123" y="2799"/>
                  </a:cubicBezTo>
                  <a:cubicBezTo>
                    <a:pt x="5140" y="2764"/>
                    <a:pt x="5140" y="2741"/>
                    <a:pt x="5163" y="2706"/>
                  </a:cubicBezTo>
                  <a:cubicBezTo>
                    <a:pt x="5198" y="2648"/>
                    <a:pt x="5251" y="2642"/>
                    <a:pt x="5286" y="2584"/>
                  </a:cubicBezTo>
                  <a:cubicBezTo>
                    <a:pt x="5292" y="2566"/>
                    <a:pt x="5286" y="2555"/>
                    <a:pt x="5297" y="2537"/>
                  </a:cubicBezTo>
                  <a:cubicBezTo>
                    <a:pt x="5321" y="2496"/>
                    <a:pt x="5367" y="2514"/>
                    <a:pt x="5414" y="2496"/>
                  </a:cubicBezTo>
                  <a:cubicBezTo>
                    <a:pt x="5455" y="2479"/>
                    <a:pt x="5466" y="2444"/>
                    <a:pt x="5507" y="2421"/>
                  </a:cubicBezTo>
                  <a:cubicBezTo>
                    <a:pt x="5524" y="2409"/>
                    <a:pt x="5548" y="2398"/>
                    <a:pt x="5548" y="2374"/>
                  </a:cubicBezTo>
                  <a:cubicBezTo>
                    <a:pt x="5548" y="2345"/>
                    <a:pt x="5542" y="2304"/>
                    <a:pt x="5513" y="2304"/>
                  </a:cubicBezTo>
                  <a:cubicBezTo>
                    <a:pt x="5507" y="2304"/>
                    <a:pt x="5507" y="2310"/>
                    <a:pt x="5501" y="2310"/>
                  </a:cubicBezTo>
                  <a:cubicBezTo>
                    <a:pt x="5501" y="2287"/>
                    <a:pt x="5489" y="2275"/>
                    <a:pt x="5489" y="2246"/>
                  </a:cubicBezTo>
                  <a:cubicBezTo>
                    <a:pt x="5489" y="2217"/>
                    <a:pt x="5542" y="2229"/>
                    <a:pt x="5554" y="2205"/>
                  </a:cubicBezTo>
                  <a:cubicBezTo>
                    <a:pt x="5565" y="2182"/>
                    <a:pt x="5559" y="2170"/>
                    <a:pt x="5571" y="2153"/>
                  </a:cubicBezTo>
                  <a:cubicBezTo>
                    <a:pt x="5600" y="2101"/>
                    <a:pt x="5647" y="2089"/>
                    <a:pt x="5670" y="2031"/>
                  </a:cubicBezTo>
                  <a:cubicBezTo>
                    <a:pt x="5687" y="1978"/>
                    <a:pt x="5699" y="1949"/>
                    <a:pt x="5705" y="1891"/>
                  </a:cubicBezTo>
                  <a:cubicBezTo>
                    <a:pt x="5711" y="1879"/>
                    <a:pt x="5722" y="1874"/>
                    <a:pt x="5734" y="1862"/>
                  </a:cubicBezTo>
                  <a:cubicBezTo>
                    <a:pt x="5757" y="1827"/>
                    <a:pt x="5763" y="1804"/>
                    <a:pt x="5769" y="1763"/>
                  </a:cubicBezTo>
                  <a:cubicBezTo>
                    <a:pt x="5781" y="1693"/>
                    <a:pt x="5821" y="1652"/>
                    <a:pt x="5821" y="1583"/>
                  </a:cubicBezTo>
                  <a:cubicBezTo>
                    <a:pt x="5821" y="1559"/>
                    <a:pt x="5821" y="1548"/>
                    <a:pt x="5821" y="1530"/>
                  </a:cubicBezTo>
                  <a:cubicBezTo>
                    <a:pt x="5781" y="1524"/>
                    <a:pt x="5792" y="1478"/>
                    <a:pt x="5792" y="1437"/>
                  </a:cubicBezTo>
                  <a:cubicBezTo>
                    <a:pt x="5792" y="1396"/>
                    <a:pt x="5810" y="1373"/>
                    <a:pt x="5815" y="1332"/>
                  </a:cubicBezTo>
                  <a:cubicBezTo>
                    <a:pt x="5839" y="1257"/>
                    <a:pt x="5839" y="1216"/>
                    <a:pt x="5862" y="1140"/>
                  </a:cubicBezTo>
                  <a:cubicBezTo>
                    <a:pt x="5868" y="1111"/>
                    <a:pt x="5897" y="1099"/>
                    <a:pt x="5897" y="1059"/>
                  </a:cubicBezTo>
                  <a:cubicBezTo>
                    <a:pt x="5897" y="1047"/>
                    <a:pt x="5897" y="1041"/>
                    <a:pt x="5897" y="1029"/>
                  </a:cubicBezTo>
                  <a:cubicBezTo>
                    <a:pt x="5897" y="1000"/>
                    <a:pt x="5926" y="989"/>
                    <a:pt x="5926" y="960"/>
                  </a:cubicBezTo>
                  <a:cubicBezTo>
                    <a:pt x="5926" y="948"/>
                    <a:pt x="5914" y="942"/>
                    <a:pt x="5914" y="936"/>
                  </a:cubicBezTo>
                  <a:cubicBezTo>
                    <a:pt x="5914" y="860"/>
                    <a:pt x="5961" y="826"/>
                    <a:pt x="5961" y="756"/>
                  </a:cubicBezTo>
                  <a:cubicBezTo>
                    <a:pt x="5961" y="721"/>
                    <a:pt x="5932" y="703"/>
                    <a:pt x="5897" y="703"/>
                  </a:cubicBezTo>
                  <a:cubicBezTo>
                    <a:pt x="5885" y="703"/>
                    <a:pt x="5874" y="709"/>
                    <a:pt x="5862" y="715"/>
                  </a:cubicBezTo>
                  <a:cubicBezTo>
                    <a:pt x="5868" y="703"/>
                    <a:pt x="5868" y="703"/>
                    <a:pt x="5868" y="703"/>
                  </a:cubicBezTo>
                  <a:cubicBezTo>
                    <a:pt x="5885" y="663"/>
                    <a:pt x="5938" y="668"/>
                    <a:pt x="5967" y="634"/>
                  </a:cubicBezTo>
                  <a:cubicBezTo>
                    <a:pt x="6008" y="581"/>
                    <a:pt x="5984" y="529"/>
                    <a:pt x="6008" y="465"/>
                  </a:cubicBezTo>
                  <a:cubicBezTo>
                    <a:pt x="6025" y="418"/>
                    <a:pt x="6066" y="395"/>
                    <a:pt x="6066" y="348"/>
                  </a:cubicBezTo>
                  <a:cubicBezTo>
                    <a:pt x="6066" y="279"/>
                    <a:pt x="6043" y="238"/>
                    <a:pt x="6043" y="174"/>
                  </a:cubicBezTo>
                  <a:cubicBezTo>
                    <a:pt x="6043" y="133"/>
                    <a:pt x="6054" y="110"/>
                    <a:pt x="6054" y="69"/>
                  </a:cubicBezTo>
                  <a:cubicBezTo>
                    <a:pt x="6054" y="46"/>
                    <a:pt x="6048" y="22"/>
                    <a:pt x="6043" y="0"/>
                  </a:cubicBezTo>
                  <a:lnTo>
                    <a:pt x="6043" y="0"/>
                  </a:lnTo>
                  <a:cubicBezTo>
                    <a:pt x="6008" y="22"/>
                    <a:pt x="5990" y="34"/>
                    <a:pt x="5955" y="46"/>
                  </a:cubicBezTo>
                  <a:cubicBezTo>
                    <a:pt x="5932" y="51"/>
                    <a:pt x="5909" y="40"/>
                    <a:pt x="5891" y="51"/>
                  </a:cubicBezTo>
                  <a:cubicBezTo>
                    <a:pt x="5862" y="63"/>
                    <a:pt x="5862" y="110"/>
                    <a:pt x="5833" y="110"/>
                  </a:cubicBezTo>
                  <a:cubicBezTo>
                    <a:pt x="5815" y="110"/>
                    <a:pt x="5810" y="98"/>
                    <a:pt x="5792" y="98"/>
                  </a:cubicBezTo>
                  <a:cubicBezTo>
                    <a:pt x="5757" y="92"/>
                    <a:pt x="5728" y="104"/>
                    <a:pt x="5693" y="104"/>
                  </a:cubicBezTo>
                  <a:cubicBezTo>
                    <a:pt x="5635" y="104"/>
                    <a:pt x="5612" y="57"/>
                    <a:pt x="5554" y="57"/>
                  </a:cubicBezTo>
                  <a:cubicBezTo>
                    <a:pt x="5507" y="57"/>
                    <a:pt x="5501" y="104"/>
                    <a:pt x="5466" y="133"/>
                  </a:cubicBezTo>
                  <a:cubicBezTo>
                    <a:pt x="5449" y="145"/>
                    <a:pt x="5431" y="133"/>
                    <a:pt x="5408" y="145"/>
                  </a:cubicBezTo>
                  <a:cubicBezTo>
                    <a:pt x="5355" y="162"/>
                    <a:pt x="5338" y="197"/>
                    <a:pt x="5286" y="214"/>
                  </a:cubicBezTo>
                  <a:cubicBezTo>
                    <a:pt x="5297" y="244"/>
                    <a:pt x="5303" y="261"/>
                    <a:pt x="5321" y="279"/>
                  </a:cubicBezTo>
                  <a:cubicBezTo>
                    <a:pt x="5326" y="284"/>
                    <a:pt x="5344" y="284"/>
                    <a:pt x="5344" y="296"/>
                  </a:cubicBezTo>
                  <a:cubicBezTo>
                    <a:pt x="5344" y="360"/>
                    <a:pt x="5297" y="418"/>
                    <a:pt x="5233" y="418"/>
                  </a:cubicBezTo>
                  <a:cubicBezTo>
                    <a:pt x="5233" y="430"/>
                    <a:pt x="5233" y="436"/>
                    <a:pt x="5227" y="447"/>
                  </a:cubicBezTo>
                  <a:cubicBezTo>
                    <a:pt x="5198" y="447"/>
                    <a:pt x="5187" y="407"/>
                    <a:pt x="5158" y="407"/>
                  </a:cubicBezTo>
                  <a:cubicBezTo>
                    <a:pt x="5094" y="407"/>
                    <a:pt x="5070" y="465"/>
                    <a:pt x="5041" y="523"/>
                  </a:cubicBezTo>
                  <a:cubicBezTo>
                    <a:pt x="5029" y="540"/>
                    <a:pt x="5035" y="564"/>
                    <a:pt x="5018" y="564"/>
                  </a:cubicBezTo>
                  <a:cubicBezTo>
                    <a:pt x="4936" y="564"/>
                    <a:pt x="4983" y="424"/>
                    <a:pt x="4913" y="389"/>
                  </a:cubicBezTo>
                  <a:cubicBezTo>
                    <a:pt x="4849" y="360"/>
                    <a:pt x="4826" y="325"/>
                    <a:pt x="4768" y="290"/>
                  </a:cubicBezTo>
                  <a:cubicBezTo>
                    <a:pt x="4750" y="279"/>
                    <a:pt x="4750" y="255"/>
                    <a:pt x="4727" y="255"/>
                  </a:cubicBezTo>
                  <a:cubicBezTo>
                    <a:pt x="4703" y="255"/>
                    <a:pt x="4692" y="273"/>
                    <a:pt x="4663" y="273"/>
                  </a:cubicBezTo>
                  <a:cubicBezTo>
                    <a:pt x="4610" y="273"/>
                    <a:pt x="4610" y="273"/>
                    <a:pt x="4610" y="273"/>
                  </a:cubicBezTo>
                  <a:cubicBezTo>
                    <a:pt x="4605" y="273"/>
                    <a:pt x="4599" y="279"/>
                    <a:pt x="4587" y="279"/>
                  </a:cubicBezTo>
                  <a:cubicBezTo>
                    <a:pt x="4540" y="279"/>
                    <a:pt x="4535" y="214"/>
                    <a:pt x="4488" y="214"/>
                  </a:cubicBezTo>
                  <a:cubicBezTo>
                    <a:pt x="4412" y="214"/>
                    <a:pt x="4377" y="261"/>
                    <a:pt x="4302" y="261"/>
                  </a:cubicBezTo>
                  <a:cubicBezTo>
                    <a:pt x="4284" y="261"/>
                    <a:pt x="4279" y="255"/>
                    <a:pt x="4261" y="255"/>
                  </a:cubicBezTo>
                  <a:cubicBezTo>
                    <a:pt x="4209" y="255"/>
                    <a:pt x="4209" y="255"/>
                    <a:pt x="4209" y="255"/>
                  </a:cubicBezTo>
                  <a:cubicBezTo>
                    <a:pt x="4174" y="255"/>
                    <a:pt x="4156" y="232"/>
                    <a:pt x="4121" y="232"/>
                  </a:cubicBezTo>
                  <a:cubicBezTo>
                    <a:pt x="4075" y="232"/>
                    <a:pt x="4057" y="279"/>
                    <a:pt x="4017" y="308"/>
                  </a:cubicBezTo>
                  <a:cubicBezTo>
                    <a:pt x="3970" y="342"/>
                    <a:pt x="3929" y="342"/>
                    <a:pt x="3894" y="389"/>
                  </a:cubicBezTo>
                  <a:cubicBezTo>
                    <a:pt x="3877" y="407"/>
                    <a:pt x="3888" y="442"/>
                    <a:pt x="3865" y="447"/>
                  </a:cubicBezTo>
                  <a:cubicBezTo>
                    <a:pt x="11" y="459"/>
                    <a:pt x="11" y="459"/>
                    <a:pt x="11" y="459"/>
                  </a:cubicBezTo>
                  <a:lnTo>
                    <a:pt x="11" y="459"/>
                  </a:lnTo>
                  <a:cubicBezTo>
                    <a:pt x="0" y="3311"/>
                    <a:pt x="0" y="3311"/>
                    <a:pt x="0" y="3311"/>
                  </a:cubicBezTo>
                  <a:lnTo>
                    <a:pt x="0" y="3311"/>
                  </a:lnTo>
                  <a:cubicBezTo>
                    <a:pt x="23" y="3306"/>
                    <a:pt x="23" y="3306"/>
                    <a:pt x="23" y="3306"/>
                  </a:cubicBezTo>
                  <a:cubicBezTo>
                    <a:pt x="64" y="3329"/>
                    <a:pt x="93" y="3323"/>
                    <a:pt x="139" y="3340"/>
                  </a:cubicBezTo>
                  <a:cubicBezTo>
                    <a:pt x="198" y="3364"/>
                    <a:pt x="215" y="3410"/>
                    <a:pt x="279" y="3410"/>
                  </a:cubicBezTo>
                  <a:cubicBezTo>
                    <a:pt x="314" y="3410"/>
                    <a:pt x="308" y="3346"/>
                    <a:pt x="343" y="3346"/>
                  </a:cubicBezTo>
                  <a:cubicBezTo>
                    <a:pt x="378" y="3346"/>
                    <a:pt x="401" y="3364"/>
                    <a:pt x="436" y="3364"/>
                  </a:cubicBezTo>
                  <a:cubicBezTo>
                    <a:pt x="460" y="3364"/>
                    <a:pt x="471" y="3358"/>
                    <a:pt x="495" y="3358"/>
                  </a:cubicBezTo>
                  <a:cubicBezTo>
                    <a:pt x="541" y="3358"/>
                    <a:pt x="564" y="3399"/>
                    <a:pt x="593" y="3439"/>
                  </a:cubicBezTo>
                  <a:cubicBezTo>
                    <a:pt x="599" y="3451"/>
                    <a:pt x="605" y="3463"/>
                    <a:pt x="617" y="3474"/>
                  </a:cubicBezTo>
                  <a:cubicBezTo>
                    <a:pt x="640" y="3492"/>
                    <a:pt x="687" y="3474"/>
                    <a:pt x="687" y="3503"/>
                  </a:cubicBezTo>
                  <a:cubicBezTo>
                    <a:pt x="687" y="3527"/>
                    <a:pt x="675" y="3544"/>
                    <a:pt x="675" y="3573"/>
                  </a:cubicBezTo>
                  <a:cubicBezTo>
                    <a:pt x="675" y="3602"/>
                    <a:pt x="698" y="3614"/>
                    <a:pt x="710" y="3637"/>
                  </a:cubicBezTo>
                  <a:cubicBezTo>
                    <a:pt x="733" y="3690"/>
                    <a:pt x="739" y="3748"/>
                    <a:pt x="791" y="3748"/>
                  </a:cubicBezTo>
                  <a:cubicBezTo>
                    <a:pt x="826" y="3748"/>
                    <a:pt x="832" y="3702"/>
                    <a:pt x="832" y="3666"/>
                  </a:cubicBezTo>
                  <a:cubicBezTo>
                    <a:pt x="838" y="3637"/>
                    <a:pt x="867" y="3632"/>
                    <a:pt x="873" y="3602"/>
                  </a:cubicBezTo>
                  <a:cubicBezTo>
                    <a:pt x="896" y="3672"/>
                    <a:pt x="966" y="3678"/>
                    <a:pt x="1030" y="3696"/>
                  </a:cubicBezTo>
                  <a:cubicBezTo>
                    <a:pt x="1082" y="3707"/>
                    <a:pt x="1100" y="3736"/>
                    <a:pt x="1147" y="3754"/>
                  </a:cubicBezTo>
                  <a:cubicBezTo>
                    <a:pt x="1141" y="3783"/>
                    <a:pt x="1123" y="3795"/>
                    <a:pt x="1123" y="3824"/>
                  </a:cubicBezTo>
                  <a:cubicBezTo>
                    <a:pt x="1123" y="3882"/>
                    <a:pt x="1123" y="3928"/>
                    <a:pt x="1164" y="3969"/>
                  </a:cubicBezTo>
                  <a:cubicBezTo>
                    <a:pt x="1193" y="3998"/>
                    <a:pt x="1251" y="3992"/>
                    <a:pt x="1251" y="4033"/>
                  </a:cubicBezTo>
                  <a:cubicBezTo>
                    <a:pt x="1251" y="4074"/>
                    <a:pt x="1251" y="4074"/>
                    <a:pt x="1251" y="4074"/>
                  </a:cubicBezTo>
                  <a:cubicBezTo>
                    <a:pt x="1251" y="4103"/>
                    <a:pt x="1292" y="4097"/>
                    <a:pt x="1315" y="4103"/>
                  </a:cubicBezTo>
                  <a:cubicBezTo>
                    <a:pt x="1356" y="4115"/>
                    <a:pt x="1373" y="4144"/>
                    <a:pt x="1408" y="4167"/>
                  </a:cubicBezTo>
                  <a:cubicBezTo>
                    <a:pt x="1473" y="4208"/>
                    <a:pt x="1519" y="4225"/>
                    <a:pt x="1554" y="4289"/>
                  </a:cubicBezTo>
                  <a:cubicBezTo>
                    <a:pt x="1566" y="4313"/>
                    <a:pt x="1589" y="4313"/>
                    <a:pt x="1606" y="4330"/>
                  </a:cubicBezTo>
                  <a:cubicBezTo>
                    <a:pt x="1641" y="4388"/>
                    <a:pt x="1659" y="4429"/>
                    <a:pt x="1717" y="4470"/>
                  </a:cubicBezTo>
                  <a:cubicBezTo>
                    <a:pt x="1758" y="4505"/>
                    <a:pt x="1781" y="4546"/>
                    <a:pt x="1839" y="4546"/>
                  </a:cubicBezTo>
                  <a:cubicBezTo>
                    <a:pt x="1851" y="4546"/>
                    <a:pt x="1851" y="4534"/>
                    <a:pt x="1862" y="4528"/>
                  </a:cubicBezTo>
                  <a:cubicBezTo>
                    <a:pt x="1886" y="4522"/>
                    <a:pt x="1903" y="4528"/>
                    <a:pt x="1927" y="4522"/>
                  </a:cubicBezTo>
                  <a:cubicBezTo>
                    <a:pt x="1921" y="4499"/>
                    <a:pt x="1909" y="4493"/>
                    <a:pt x="1909" y="4470"/>
                  </a:cubicBezTo>
                  <a:cubicBezTo>
                    <a:pt x="1909" y="4423"/>
                    <a:pt x="1956" y="4388"/>
                    <a:pt x="2002" y="4388"/>
                  </a:cubicBezTo>
                  <a:cubicBezTo>
                    <a:pt x="2043" y="4388"/>
                    <a:pt x="2066" y="4400"/>
                    <a:pt x="2107" y="4400"/>
                  </a:cubicBezTo>
                  <a:cubicBezTo>
                    <a:pt x="2136" y="4400"/>
                    <a:pt x="2142" y="4377"/>
                    <a:pt x="2165" y="4377"/>
                  </a:cubicBezTo>
                  <a:cubicBezTo>
                    <a:pt x="2247" y="4377"/>
                    <a:pt x="2264" y="4470"/>
                    <a:pt x="2340" y="4470"/>
                  </a:cubicBezTo>
                  <a:cubicBezTo>
                    <a:pt x="2352" y="4470"/>
                    <a:pt x="2352" y="4458"/>
                    <a:pt x="2363" y="4458"/>
                  </a:cubicBezTo>
                  <a:cubicBezTo>
                    <a:pt x="2387" y="4458"/>
                    <a:pt x="2392" y="4476"/>
                    <a:pt x="2421" y="4476"/>
                  </a:cubicBezTo>
                  <a:cubicBezTo>
                    <a:pt x="2433" y="4476"/>
                    <a:pt x="2439" y="4470"/>
                    <a:pt x="2456" y="4470"/>
                  </a:cubicBezTo>
                  <a:cubicBezTo>
                    <a:pt x="2474" y="4470"/>
                    <a:pt x="2480" y="4487"/>
                    <a:pt x="2491" y="4493"/>
                  </a:cubicBezTo>
                  <a:cubicBezTo>
                    <a:pt x="2526" y="4505"/>
                    <a:pt x="2555" y="4499"/>
                    <a:pt x="2590" y="4499"/>
                  </a:cubicBezTo>
                  <a:cubicBezTo>
                    <a:pt x="2614" y="4499"/>
                    <a:pt x="2614" y="4499"/>
                    <a:pt x="2614" y="4499"/>
                  </a:cubicBezTo>
                  <a:cubicBezTo>
                    <a:pt x="2614" y="4476"/>
                    <a:pt x="2614" y="4476"/>
                    <a:pt x="2614" y="4476"/>
                  </a:cubicBezTo>
                  <a:cubicBezTo>
                    <a:pt x="2619" y="4470"/>
                    <a:pt x="2625" y="4464"/>
                    <a:pt x="2631" y="4464"/>
                  </a:cubicBezTo>
                  <a:cubicBezTo>
                    <a:pt x="2643" y="4464"/>
                    <a:pt x="2648" y="4470"/>
                    <a:pt x="2660" y="4470"/>
                  </a:cubicBezTo>
                  <a:cubicBezTo>
                    <a:pt x="2672" y="4470"/>
                    <a:pt x="2678" y="4470"/>
                    <a:pt x="2689" y="4470"/>
                  </a:cubicBezTo>
                  <a:cubicBezTo>
                    <a:pt x="2713" y="4470"/>
                    <a:pt x="2724" y="4493"/>
                    <a:pt x="2747" y="4499"/>
                  </a:cubicBezTo>
                  <a:cubicBezTo>
                    <a:pt x="2806" y="4522"/>
                    <a:pt x="2841" y="4546"/>
                    <a:pt x="2905" y="4546"/>
                  </a:cubicBezTo>
                  <a:cubicBezTo>
                    <a:pt x="2934" y="4546"/>
                    <a:pt x="2928" y="4493"/>
                    <a:pt x="2957" y="4487"/>
                  </a:cubicBezTo>
                  <a:cubicBezTo>
                    <a:pt x="3044" y="4464"/>
                    <a:pt x="3091" y="4441"/>
                    <a:pt x="3178" y="4441"/>
                  </a:cubicBezTo>
                  <a:cubicBezTo>
                    <a:pt x="3254" y="4441"/>
                    <a:pt x="3300" y="4452"/>
                    <a:pt x="3359" y="4499"/>
                  </a:cubicBezTo>
                  <a:cubicBezTo>
                    <a:pt x="3405" y="4528"/>
                    <a:pt x="3399" y="4580"/>
                    <a:pt x="3399" y="4639"/>
                  </a:cubicBezTo>
                  <a:cubicBezTo>
                    <a:pt x="3399" y="4691"/>
                    <a:pt x="3399" y="4691"/>
                    <a:pt x="3399" y="4691"/>
                  </a:cubicBezTo>
                  <a:cubicBezTo>
                    <a:pt x="3399" y="4773"/>
                    <a:pt x="3463" y="4802"/>
                    <a:pt x="3463" y="4883"/>
                  </a:cubicBezTo>
                  <a:cubicBezTo>
                    <a:pt x="3463" y="4901"/>
                    <a:pt x="3458" y="4906"/>
                    <a:pt x="3458" y="4924"/>
                  </a:cubicBezTo>
                  <a:cubicBezTo>
                    <a:pt x="3458" y="4953"/>
                    <a:pt x="3487" y="4959"/>
                    <a:pt x="3516" y="4970"/>
                  </a:cubicBezTo>
                  <a:cubicBezTo>
                    <a:pt x="3562" y="4988"/>
                    <a:pt x="3586" y="5011"/>
                    <a:pt x="3632" y="5029"/>
                  </a:cubicBezTo>
                  <a:cubicBezTo>
                    <a:pt x="4325" y="5378"/>
                    <a:pt x="4325" y="5378"/>
                    <a:pt x="4325" y="5378"/>
                  </a:cubicBezTo>
                  <a:close/>
                  <a:moveTo>
                    <a:pt x="3859" y="3987"/>
                  </a:moveTo>
                  <a:lnTo>
                    <a:pt x="3859" y="3987"/>
                  </a:lnTo>
                  <a:cubicBezTo>
                    <a:pt x="3883" y="3969"/>
                    <a:pt x="3900" y="3952"/>
                    <a:pt x="3929" y="3952"/>
                  </a:cubicBezTo>
                  <a:cubicBezTo>
                    <a:pt x="3993" y="3952"/>
                    <a:pt x="3988" y="4039"/>
                    <a:pt x="4046" y="4068"/>
                  </a:cubicBezTo>
                  <a:cubicBezTo>
                    <a:pt x="4011" y="4097"/>
                    <a:pt x="3970" y="4074"/>
                    <a:pt x="3935" y="4103"/>
                  </a:cubicBezTo>
                  <a:cubicBezTo>
                    <a:pt x="3918" y="4115"/>
                    <a:pt x="3923" y="4144"/>
                    <a:pt x="3918" y="4167"/>
                  </a:cubicBezTo>
                  <a:cubicBezTo>
                    <a:pt x="3912" y="4196"/>
                    <a:pt x="3900" y="4220"/>
                    <a:pt x="3900" y="4249"/>
                  </a:cubicBezTo>
                  <a:cubicBezTo>
                    <a:pt x="3900" y="4289"/>
                    <a:pt x="3912" y="4307"/>
                    <a:pt x="3912" y="4348"/>
                  </a:cubicBezTo>
                  <a:cubicBezTo>
                    <a:pt x="3912" y="4365"/>
                    <a:pt x="3906" y="4377"/>
                    <a:pt x="3906" y="4394"/>
                  </a:cubicBezTo>
                  <a:cubicBezTo>
                    <a:pt x="3906" y="4412"/>
                    <a:pt x="3918" y="4435"/>
                    <a:pt x="3900" y="4435"/>
                  </a:cubicBezTo>
                  <a:cubicBezTo>
                    <a:pt x="3848" y="4435"/>
                    <a:pt x="3830" y="4388"/>
                    <a:pt x="3801" y="4348"/>
                  </a:cubicBezTo>
                  <a:cubicBezTo>
                    <a:pt x="3766" y="4301"/>
                    <a:pt x="3731" y="4278"/>
                    <a:pt x="3731" y="4220"/>
                  </a:cubicBezTo>
                  <a:cubicBezTo>
                    <a:pt x="3731" y="4173"/>
                    <a:pt x="3766" y="4155"/>
                    <a:pt x="3766" y="4109"/>
                  </a:cubicBezTo>
                  <a:cubicBezTo>
                    <a:pt x="3766" y="4068"/>
                    <a:pt x="3766" y="4068"/>
                    <a:pt x="3766" y="4068"/>
                  </a:cubicBezTo>
                  <a:cubicBezTo>
                    <a:pt x="3766" y="4022"/>
                    <a:pt x="3848" y="4039"/>
                    <a:pt x="3859" y="3987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  <p:sp>
          <p:nvSpPr>
            <p:cNvPr id="69" name="Freeform 68"/>
            <p:cNvSpPr>
              <a:spLocks noChangeArrowheads="1"/>
            </p:cNvSpPr>
            <p:nvPr/>
          </p:nvSpPr>
          <p:spPr bwMode="auto">
            <a:xfrm>
              <a:off x="19452577" y="10263720"/>
              <a:ext cx="973937" cy="1142800"/>
            </a:xfrm>
            <a:custGeom>
              <a:avLst/>
              <a:gdLst>
                <a:gd name="T0" fmla="*/ 1945 w 2214"/>
                <a:gd name="T1" fmla="*/ 1915 h 2597"/>
                <a:gd name="T2" fmla="*/ 1997 w 2214"/>
                <a:gd name="T3" fmla="*/ 2154 h 2597"/>
                <a:gd name="T4" fmla="*/ 1968 w 2214"/>
                <a:gd name="T5" fmla="*/ 2305 h 2597"/>
                <a:gd name="T6" fmla="*/ 1869 w 2214"/>
                <a:gd name="T7" fmla="*/ 2288 h 2597"/>
                <a:gd name="T8" fmla="*/ 1834 w 2214"/>
                <a:gd name="T9" fmla="*/ 2183 h 2597"/>
                <a:gd name="T10" fmla="*/ 1939 w 2214"/>
                <a:gd name="T11" fmla="*/ 2206 h 2597"/>
                <a:gd name="T12" fmla="*/ 1724 w 2214"/>
                <a:gd name="T13" fmla="*/ 2136 h 2597"/>
                <a:gd name="T14" fmla="*/ 1636 w 2214"/>
                <a:gd name="T15" fmla="*/ 2212 h 2597"/>
                <a:gd name="T16" fmla="*/ 1561 w 2214"/>
                <a:gd name="T17" fmla="*/ 2328 h 2597"/>
                <a:gd name="T18" fmla="*/ 1537 w 2214"/>
                <a:gd name="T19" fmla="*/ 2386 h 2597"/>
                <a:gd name="T20" fmla="*/ 1479 w 2214"/>
                <a:gd name="T21" fmla="*/ 2491 h 2597"/>
                <a:gd name="T22" fmla="*/ 1194 w 2214"/>
                <a:gd name="T23" fmla="*/ 2538 h 2597"/>
                <a:gd name="T24" fmla="*/ 1031 w 2214"/>
                <a:gd name="T25" fmla="*/ 2456 h 2597"/>
                <a:gd name="T26" fmla="*/ 751 w 2214"/>
                <a:gd name="T27" fmla="*/ 1996 h 2597"/>
                <a:gd name="T28" fmla="*/ 664 w 2214"/>
                <a:gd name="T29" fmla="*/ 1700 h 2597"/>
                <a:gd name="T30" fmla="*/ 780 w 2214"/>
                <a:gd name="T31" fmla="*/ 1828 h 2597"/>
                <a:gd name="T32" fmla="*/ 746 w 2214"/>
                <a:gd name="T33" fmla="*/ 1694 h 2597"/>
                <a:gd name="T34" fmla="*/ 449 w 2214"/>
                <a:gd name="T35" fmla="*/ 1158 h 2597"/>
                <a:gd name="T36" fmla="*/ 379 w 2214"/>
                <a:gd name="T37" fmla="*/ 890 h 2597"/>
                <a:gd name="T38" fmla="*/ 425 w 2214"/>
                <a:gd name="T39" fmla="*/ 698 h 2597"/>
                <a:gd name="T40" fmla="*/ 600 w 2214"/>
                <a:gd name="T41" fmla="*/ 774 h 2597"/>
                <a:gd name="T42" fmla="*/ 1042 w 2214"/>
                <a:gd name="T43" fmla="*/ 937 h 2597"/>
                <a:gd name="T44" fmla="*/ 1322 w 2214"/>
                <a:gd name="T45" fmla="*/ 1030 h 2597"/>
                <a:gd name="T46" fmla="*/ 1514 w 2214"/>
                <a:gd name="T47" fmla="*/ 1065 h 2597"/>
                <a:gd name="T48" fmla="*/ 1473 w 2214"/>
                <a:gd name="T49" fmla="*/ 890 h 2597"/>
                <a:gd name="T50" fmla="*/ 1694 w 2214"/>
                <a:gd name="T51" fmla="*/ 908 h 2597"/>
                <a:gd name="T52" fmla="*/ 1986 w 2214"/>
                <a:gd name="T53" fmla="*/ 751 h 2597"/>
                <a:gd name="T54" fmla="*/ 2125 w 2214"/>
                <a:gd name="T55" fmla="*/ 943 h 2597"/>
                <a:gd name="T56" fmla="*/ 2131 w 2214"/>
                <a:gd name="T57" fmla="*/ 1141 h 2597"/>
                <a:gd name="T58" fmla="*/ 2137 w 2214"/>
                <a:gd name="T59" fmla="*/ 1385 h 2597"/>
                <a:gd name="T60" fmla="*/ 2149 w 2214"/>
                <a:gd name="T61" fmla="*/ 1595 h 2597"/>
                <a:gd name="T62" fmla="*/ 2108 w 2214"/>
                <a:gd name="T63" fmla="*/ 1531 h 2597"/>
                <a:gd name="T64" fmla="*/ 2009 w 2214"/>
                <a:gd name="T65" fmla="*/ 1769 h 2597"/>
                <a:gd name="T66" fmla="*/ 1665 w 2214"/>
                <a:gd name="T67" fmla="*/ 2381 h 2597"/>
                <a:gd name="T68" fmla="*/ 1683 w 2214"/>
                <a:gd name="T69" fmla="*/ 2451 h 2597"/>
                <a:gd name="T70" fmla="*/ 2055 w 2214"/>
                <a:gd name="T71" fmla="*/ 1932 h 2597"/>
                <a:gd name="T72" fmla="*/ 2044 w 2214"/>
                <a:gd name="T73" fmla="*/ 1921 h 2597"/>
                <a:gd name="T74" fmla="*/ 2061 w 2214"/>
                <a:gd name="T75" fmla="*/ 1973 h 2597"/>
                <a:gd name="T76" fmla="*/ 513 w 2214"/>
                <a:gd name="T77" fmla="*/ 669 h 2597"/>
                <a:gd name="T78" fmla="*/ 559 w 2214"/>
                <a:gd name="T79" fmla="*/ 687 h 2597"/>
                <a:gd name="T80" fmla="*/ 1916 w 2214"/>
                <a:gd name="T81" fmla="*/ 169 h 2597"/>
                <a:gd name="T82" fmla="*/ 1951 w 2214"/>
                <a:gd name="T83" fmla="*/ 273 h 2597"/>
                <a:gd name="T84" fmla="*/ 2096 w 2214"/>
                <a:gd name="T85" fmla="*/ 390 h 2597"/>
                <a:gd name="T86" fmla="*/ 2143 w 2214"/>
                <a:gd name="T87" fmla="*/ 343 h 2597"/>
                <a:gd name="T88" fmla="*/ 2131 w 2214"/>
                <a:gd name="T89" fmla="*/ 297 h 2597"/>
                <a:gd name="T90" fmla="*/ 1916 w 2214"/>
                <a:gd name="T91" fmla="*/ 169 h 2597"/>
                <a:gd name="T92" fmla="*/ 2050 w 2214"/>
                <a:gd name="T93" fmla="*/ 477 h 2597"/>
                <a:gd name="T94" fmla="*/ 2137 w 2214"/>
                <a:gd name="T95" fmla="*/ 518 h 2597"/>
                <a:gd name="T96" fmla="*/ 2172 w 2214"/>
                <a:gd name="T97" fmla="*/ 454 h 2597"/>
                <a:gd name="T98" fmla="*/ 2067 w 2214"/>
                <a:gd name="T99" fmla="*/ 599 h 2597"/>
                <a:gd name="T100" fmla="*/ 2114 w 2214"/>
                <a:gd name="T101" fmla="*/ 582 h 2597"/>
                <a:gd name="T102" fmla="*/ 483 w 2214"/>
                <a:gd name="T103" fmla="*/ 541 h 2597"/>
                <a:gd name="T104" fmla="*/ 483 w 2214"/>
                <a:gd name="T105" fmla="*/ 541 h 2597"/>
                <a:gd name="T106" fmla="*/ 59 w 2214"/>
                <a:gd name="T107" fmla="*/ 6 h 2597"/>
                <a:gd name="T108" fmla="*/ 12 w 2214"/>
                <a:gd name="T109" fmla="*/ 75 h 2597"/>
                <a:gd name="T110" fmla="*/ 0 w 2214"/>
                <a:gd name="T111" fmla="*/ 209 h 2597"/>
                <a:gd name="T112" fmla="*/ 41 w 2214"/>
                <a:gd name="T113" fmla="*/ 332 h 2597"/>
                <a:gd name="T114" fmla="*/ 117 w 2214"/>
                <a:gd name="T115" fmla="*/ 128 h 2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14" h="2597">
                  <a:moveTo>
                    <a:pt x="2009" y="1769"/>
                  </a:moveTo>
                  <a:lnTo>
                    <a:pt x="2009" y="1769"/>
                  </a:lnTo>
                  <a:cubicBezTo>
                    <a:pt x="2009" y="1828"/>
                    <a:pt x="1991" y="1868"/>
                    <a:pt x="1945" y="1915"/>
                  </a:cubicBezTo>
                  <a:cubicBezTo>
                    <a:pt x="1974" y="1985"/>
                    <a:pt x="1974" y="1985"/>
                    <a:pt x="1974" y="1985"/>
                  </a:cubicBezTo>
                  <a:cubicBezTo>
                    <a:pt x="1968" y="2031"/>
                    <a:pt x="1927" y="2055"/>
                    <a:pt x="1927" y="2101"/>
                  </a:cubicBezTo>
                  <a:cubicBezTo>
                    <a:pt x="1927" y="2136"/>
                    <a:pt x="1997" y="2119"/>
                    <a:pt x="1997" y="2154"/>
                  </a:cubicBezTo>
                  <a:cubicBezTo>
                    <a:pt x="1997" y="2177"/>
                    <a:pt x="1980" y="2183"/>
                    <a:pt x="1968" y="2200"/>
                  </a:cubicBezTo>
                  <a:cubicBezTo>
                    <a:pt x="1980" y="2282"/>
                    <a:pt x="1980" y="2282"/>
                    <a:pt x="1980" y="2282"/>
                  </a:cubicBezTo>
                  <a:cubicBezTo>
                    <a:pt x="1980" y="2293"/>
                    <a:pt x="1974" y="2299"/>
                    <a:pt x="1968" y="2305"/>
                  </a:cubicBezTo>
                  <a:cubicBezTo>
                    <a:pt x="1951" y="2293"/>
                    <a:pt x="1945" y="2276"/>
                    <a:pt x="1939" y="2258"/>
                  </a:cubicBezTo>
                  <a:cubicBezTo>
                    <a:pt x="1927" y="2282"/>
                    <a:pt x="1921" y="2311"/>
                    <a:pt x="1898" y="2311"/>
                  </a:cubicBezTo>
                  <a:cubicBezTo>
                    <a:pt x="1887" y="2311"/>
                    <a:pt x="1869" y="2299"/>
                    <a:pt x="1869" y="2288"/>
                  </a:cubicBezTo>
                  <a:cubicBezTo>
                    <a:pt x="1869" y="2264"/>
                    <a:pt x="1869" y="2258"/>
                    <a:pt x="1869" y="2235"/>
                  </a:cubicBezTo>
                  <a:cubicBezTo>
                    <a:pt x="1852" y="2235"/>
                    <a:pt x="1840" y="2235"/>
                    <a:pt x="1823" y="2223"/>
                  </a:cubicBezTo>
                  <a:cubicBezTo>
                    <a:pt x="1834" y="2212"/>
                    <a:pt x="1834" y="2200"/>
                    <a:pt x="1834" y="2183"/>
                  </a:cubicBezTo>
                  <a:cubicBezTo>
                    <a:pt x="1846" y="2183"/>
                    <a:pt x="1846" y="2183"/>
                    <a:pt x="1846" y="2183"/>
                  </a:cubicBezTo>
                  <a:cubicBezTo>
                    <a:pt x="1863" y="2200"/>
                    <a:pt x="1869" y="2229"/>
                    <a:pt x="1898" y="2229"/>
                  </a:cubicBezTo>
                  <a:cubicBezTo>
                    <a:pt x="1916" y="2229"/>
                    <a:pt x="1939" y="2223"/>
                    <a:pt x="1939" y="2206"/>
                  </a:cubicBezTo>
                  <a:cubicBezTo>
                    <a:pt x="1939" y="2130"/>
                    <a:pt x="1863" y="2078"/>
                    <a:pt x="1788" y="2078"/>
                  </a:cubicBezTo>
                  <a:cubicBezTo>
                    <a:pt x="1747" y="2078"/>
                    <a:pt x="1747" y="2276"/>
                    <a:pt x="1747" y="2171"/>
                  </a:cubicBezTo>
                  <a:cubicBezTo>
                    <a:pt x="1747" y="2159"/>
                    <a:pt x="1741" y="2136"/>
                    <a:pt x="1724" y="2136"/>
                  </a:cubicBezTo>
                  <a:cubicBezTo>
                    <a:pt x="1689" y="2136"/>
                    <a:pt x="1665" y="2165"/>
                    <a:pt x="1665" y="2200"/>
                  </a:cubicBezTo>
                  <a:cubicBezTo>
                    <a:pt x="1665" y="2223"/>
                    <a:pt x="1665" y="2223"/>
                    <a:pt x="1665" y="2223"/>
                  </a:cubicBezTo>
                  <a:cubicBezTo>
                    <a:pt x="1654" y="2218"/>
                    <a:pt x="1648" y="2218"/>
                    <a:pt x="1636" y="2212"/>
                  </a:cubicBezTo>
                  <a:cubicBezTo>
                    <a:pt x="1642" y="2241"/>
                    <a:pt x="1654" y="2258"/>
                    <a:pt x="1654" y="2288"/>
                  </a:cubicBezTo>
                  <a:cubicBezTo>
                    <a:pt x="1654" y="2322"/>
                    <a:pt x="1660" y="2369"/>
                    <a:pt x="1625" y="2369"/>
                  </a:cubicBezTo>
                  <a:cubicBezTo>
                    <a:pt x="1595" y="2369"/>
                    <a:pt x="1572" y="2357"/>
                    <a:pt x="1561" y="2328"/>
                  </a:cubicBezTo>
                  <a:cubicBezTo>
                    <a:pt x="1561" y="2317"/>
                    <a:pt x="1561" y="2317"/>
                    <a:pt x="1561" y="2317"/>
                  </a:cubicBezTo>
                  <a:cubicBezTo>
                    <a:pt x="1537" y="2322"/>
                    <a:pt x="1520" y="2311"/>
                    <a:pt x="1497" y="2305"/>
                  </a:cubicBezTo>
                  <a:cubicBezTo>
                    <a:pt x="1520" y="2334"/>
                    <a:pt x="1537" y="2352"/>
                    <a:pt x="1537" y="2386"/>
                  </a:cubicBezTo>
                  <a:cubicBezTo>
                    <a:pt x="1537" y="2398"/>
                    <a:pt x="1531" y="2404"/>
                    <a:pt x="1520" y="2410"/>
                  </a:cubicBezTo>
                  <a:cubicBezTo>
                    <a:pt x="1520" y="2416"/>
                    <a:pt x="1531" y="2421"/>
                    <a:pt x="1531" y="2427"/>
                  </a:cubicBezTo>
                  <a:cubicBezTo>
                    <a:pt x="1531" y="2456"/>
                    <a:pt x="1502" y="2468"/>
                    <a:pt x="1479" y="2491"/>
                  </a:cubicBezTo>
                  <a:cubicBezTo>
                    <a:pt x="1456" y="2526"/>
                    <a:pt x="1473" y="2596"/>
                    <a:pt x="1427" y="2596"/>
                  </a:cubicBezTo>
                  <a:cubicBezTo>
                    <a:pt x="1368" y="2596"/>
                    <a:pt x="1351" y="2538"/>
                    <a:pt x="1293" y="2538"/>
                  </a:cubicBezTo>
                  <a:cubicBezTo>
                    <a:pt x="1252" y="2538"/>
                    <a:pt x="1235" y="2538"/>
                    <a:pt x="1194" y="2538"/>
                  </a:cubicBezTo>
                  <a:cubicBezTo>
                    <a:pt x="1176" y="2538"/>
                    <a:pt x="1171" y="2526"/>
                    <a:pt x="1153" y="2526"/>
                  </a:cubicBezTo>
                  <a:cubicBezTo>
                    <a:pt x="1124" y="2526"/>
                    <a:pt x="1118" y="2567"/>
                    <a:pt x="1083" y="2567"/>
                  </a:cubicBezTo>
                  <a:cubicBezTo>
                    <a:pt x="1037" y="2567"/>
                    <a:pt x="1060" y="2497"/>
                    <a:pt x="1031" y="2456"/>
                  </a:cubicBezTo>
                  <a:cubicBezTo>
                    <a:pt x="1002" y="2416"/>
                    <a:pt x="978" y="2386"/>
                    <a:pt x="943" y="2346"/>
                  </a:cubicBezTo>
                  <a:cubicBezTo>
                    <a:pt x="909" y="2264"/>
                    <a:pt x="845" y="2247"/>
                    <a:pt x="804" y="2165"/>
                  </a:cubicBezTo>
                  <a:cubicBezTo>
                    <a:pt x="769" y="2101"/>
                    <a:pt x="769" y="2060"/>
                    <a:pt x="751" y="1996"/>
                  </a:cubicBezTo>
                  <a:cubicBezTo>
                    <a:pt x="740" y="1967"/>
                    <a:pt x="722" y="1956"/>
                    <a:pt x="711" y="1927"/>
                  </a:cubicBezTo>
                  <a:cubicBezTo>
                    <a:pt x="699" y="1897"/>
                    <a:pt x="711" y="1880"/>
                    <a:pt x="705" y="1845"/>
                  </a:cubicBezTo>
                  <a:cubicBezTo>
                    <a:pt x="699" y="1787"/>
                    <a:pt x="670" y="1758"/>
                    <a:pt x="664" y="1700"/>
                  </a:cubicBezTo>
                  <a:cubicBezTo>
                    <a:pt x="670" y="1705"/>
                    <a:pt x="670" y="1705"/>
                    <a:pt x="670" y="1705"/>
                  </a:cubicBezTo>
                  <a:cubicBezTo>
                    <a:pt x="693" y="1746"/>
                    <a:pt x="722" y="1758"/>
                    <a:pt x="757" y="1787"/>
                  </a:cubicBezTo>
                  <a:cubicBezTo>
                    <a:pt x="786" y="1810"/>
                    <a:pt x="763" y="1880"/>
                    <a:pt x="780" y="1828"/>
                  </a:cubicBezTo>
                  <a:cubicBezTo>
                    <a:pt x="798" y="1833"/>
                    <a:pt x="804" y="1839"/>
                    <a:pt x="821" y="1851"/>
                  </a:cubicBezTo>
                  <a:cubicBezTo>
                    <a:pt x="821" y="1828"/>
                    <a:pt x="821" y="1828"/>
                    <a:pt x="821" y="1828"/>
                  </a:cubicBezTo>
                  <a:cubicBezTo>
                    <a:pt x="821" y="1769"/>
                    <a:pt x="769" y="1746"/>
                    <a:pt x="746" y="1694"/>
                  </a:cubicBezTo>
                  <a:cubicBezTo>
                    <a:pt x="734" y="1659"/>
                    <a:pt x="722" y="1624"/>
                    <a:pt x="687" y="1624"/>
                  </a:cubicBezTo>
                  <a:cubicBezTo>
                    <a:pt x="687" y="1478"/>
                    <a:pt x="583" y="1420"/>
                    <a:pt x="519" y="1286"/>
                  </a:cubicBezTo>
                  <a:cubicBezTo>
                    <a:pt x="489" y="1234"/>
                    <a:pt x="449" y="1216"/>
                    <a:pt x="449" y="1158"/>
                  </a:cubicBezTo>
                  <a:cubicBezTo>
                    <a:pt x="449" y="1152"/>
                    <a:pt x="460" y="1152"/>
                    <a:pt x="460" y="1147"/>
                  </a:cubicBezTo>
                  <a:cubicBezTo>
                    <a:pt x="460" y="1059"/>
                    <a:pt x="420" y="1007"/>
                    <a:pt x="396" y="919"/>
                  </a:cubicBezTo>
                  <a:cubicBezTo>
                    <a:pt x="396" y="908"/>
                    <a:pt x="379" y="908"/>
                    <a:pt x="379" y="890"/>
                  </a:cubicBezTo>
                  <a:cubicBezTo>
                    <a:pt x="379" y="838"/>
                    <a:pt x="420" y="821"/>
                    <a:pt x="425" y="768"/>
                  </a:cubicBezTo>
                  <a:cubicBezTo>
                    <a:pt x="414" y="698"/>
                    <a:pt x="414" y="698"/>
                    <a:pt x="414" y="698"/>
                  </a:cubicBezTo>
                  <a:cubicBezTo>
                    <a:pt x="425" y="698"/>
                    <a:pt x="425" y="698"/>
                    <a:pt x="425" y="698"/>
                  </a:cubicBezTo>
                  <a:cubicBezTo>
                    <a:pt x="431" y="704"/>
                    <a:pt x="437" y="710"/>
                    <a:pt x="443" y="716"/>
                  </a:cubicBezTo>
                  <a:cubicBezTo>
                    <a:pt x="478" y="733"/>
                    <a:pt x="501" y="733"/>
                    <a:pt x="536" y="739"/>
                  </a:cubicBezTo>
                  <a:cubicBezTo>
                    <a:pt x="565" y="751"/>
                    <a:pt x="571" y="774"/>
                    <a:pt x="600" y="774"/>
                  </a:cubicBezTo>
                  <a:cubicBezTo>
                    <a:pt x="617" y="774"/>
                    <a:pt x="623" y="762"/>
                    <a:pt x="641" y="762"/>
                  </a:cubicBezTo>
                  <a:cubicBezTo>
                    <a:pt x="699" y="762"/>
                    <a:pt x="722" y="797"/>
                    <a:pt x="775" y="815"/>
                  </a:cubicBezTo>
                  <a:cubicBezTo>
                    <a:pt x="879" y="861"/>
                    <a:pt x="938" y="890"/>
                    <a:pt x="1042" y="937"/>
                  </a:cubicBezTo>
                  <a:cubicBezTo>
                    <a:pt x="1095" y="954"/>
                    <a:pt x="1130" y="984"/>
                    <a:pt x="1188" y="984"/>
                  </a:cubicBezTo>
                  <a:cubicBezTo>
                    <a:pt x="1240" y="984"/>
                    <a:pt x="1240" y="984"/>
                    <a:pt x="1240" y="984"/>
                  </a:cubicBezTo>
                  <a:cubicBezTo>
                    <a:pt x="1275" y="984"/>
                    <a:pt x="1287" y="1013"/>
                    <a:pt x="1322" y="1030"/>
                  </a:cubicBezTo>
                  <a:cubicBezTo>
                    <a:pt x="1328" y="989"/>
                    <a:pt x="1328" y="937"/>
                    <a:pt x="1368" y="937"/>
                  </a:cubicBezTo>
                  <a:cubicBezTo>
                    <a:pt x="1398" y="937"/>
                    <a:pt x="1415" y="960"/>
                    <a:pt x="1438" y="978"/>
                  </a:cubicBezTo>
                  <a:cubicBezTo>
                    <a:pt x="1473" y="1007"/>
                    <a:pt x="1485" y="1030"/>
                    <a:pt x="1514" y="1065"/>
                  </a:cubicBezTo>
                  <a:cubicBezTo>
                    <a:pt x="1526" y="1094"/>
                    <a:pt x="1462" y="937"/>
                    <a:pt x="1462" y="914"/>
                  </a:cubicBezTo>
                  <a:cubicBezTo>
                    <a:pt x="1462" y="890"/>
                    <a:pt x="1462" y="890"/>
                    <a:pt x="1462" y="890"/>
                  </a:cubicBezTo>
                  <a:cubicBezTo>
                    <a:pt x="1467" y="890"/>
                    <a:pt x="1473" y="890"/>
                    <a:pt x="1473" y="890"/>
                  </a:cubicBezTo>
                  <a:cubicBezTo>
                    <a:pt x="1508" y="890"/>
                    <a:pt x="1526" y="914"/>
                    <a:pt x="1561" y="914"/>
                  </a:cubicBezTo>
                  <a:cubicBezTo>
                    <a:pt x="1595" y="914"/>
                    <a:pt x="1607" y="873"/>
                    <a:pt x="1636" y="873"/>
                  </a:cubicBezTo>
                  <a:cubicBezTo>
                    <a:pt x="1660" y="873"/>
                    <a:pt x="1671" y="908"/>
                    <a:pt x="1694" y="908"/>
                  </a:cubicBezTo>
                  <a:cubicBezTo>
                    <a:pt x="1758" y="908"/>
                    <a:pt x="1788" y="850"/>
                    <a:pt x="1817" y="791"/>
                  </a:cubicBezTo>
                  <a:cubicBezTo>
                    <a:pt x="1852" y="809"/>
                    <a:pt x="1863" y="832"/>
                    <a:pt x="1904" y="832"/>
                  </a:cubicBezTo>
                  <a:cubicBezTo>
                    <a:pt x="1951" y="832"/>
                    <a:pt x="1986" y="797"/>
                    <a:pt x="1986" y="751"/>
                  </a:cubicBezTo>
                  <a:cubicBezTo>
                    <a:pt x="1986" y="704"/>
                    <a:pt x="2160" y="844"/>
                    <a:pt x="2160" y="885"/>
                  </a:cubicBezTo>
                  <a:cubicBezTo>
                    <a:pt x="2160" y="908"/>
                    <a:pt x="2120" y="908"/>
                    <a:pt x="2120" y="931"/>
                  </a:cubicBezTo>
                  <a:cubicBezTo>
                    <a:pt x="2120" y="937"/>
                    <a:pt x="2125" y="937"/>
                    <a:pt x="2125" y="943"/>
                  </a:cubicBezTo>
                  <a:cubicBezTo>
                    <a:pt x="2125" y="1018"/>
                    <a:pt x="2125" y="1018"/>
                    <a:pt x="2125" y="1018"/>
                  </a:cubicBezTo>
                  <a:cubicBezTo>
                    <a:pt x="2125" y="1042"/>
                    <a:pt x="2143" y="1053"/>
                    <a:pt x="2143" y="1077"/>
                  </a:cubicBezTo>
                  <a:cubicBezTo>
                    <a:pt x="2143" y="1100"/>
                    <a:pt x="2131" y="1117"/>
                    <a:pt x="2131" y="1141"/>
                  </a:cubicBezTo>
                  <a:cubicBezTo>
                    <a:pt x="2131" y="1199"/>
                    <a:pt x="2131" y="1199"/>
                    <a:pt x="2131" y="1199"/>
                  </a:cubicBezTo>
                  <a:cubicBezTo>
                    <a:pt x="2131" y="1234"/>
                    <a:pt x="2160" y="1251"/>
                    <a:pt x="2160" y="1292"/>
                  </a:cubicBezTo>
                  <a:cubicBezTo>
                    <a:pt x="2160" y="1327"/>
                    <a:pt x="2137" y="1350"/>
                    <a:pt x="2137" y="1385"/>
                  </a:cubicBezTo>
                  <a:cubicBezTo>
                    <a:pt x="2137" y="1420"/>
                    <a:pt x="2143" y="1438"/>
                    <a:pt x="2143" y="1473"/>
                  </a:cubicBezTo>
                  <a:cubicBezTo>
                    <a:pt x="2143" y="1502"/>
                    <a:pt x="2125" y="1519"/>
                    <a:pt x="2125" y="1548"/>
                  </a:cubicBezTo>
                  <a:cubicBezTo>
                    <a:pt x="2125" y="1566"/>
                    <a:pt x="2143" y="1577"/>
                    <a:pt x="2149" y="1595"/>
                  </a:cubicBezTo>
                  <a:cubicBezTo>
                    <a:pt x="2131" y="1595"/>
                    <a:pt x="2125" y="1577"/>
                    <a:pt x="2102" y="1577"/>
                  </a:cubicBezTo>
                  <a:cubicBezTo>
                    <a:pt x="2102" y="1571"/>
                    <a:pt x="2102" y="1571"/>
                    <a:pt x="2102" y="1566"/>
                  </a:cubicBezTo>
                  <a:cubicBezTo>
                    <a:pt x="2102" y="1554"/>
                    <a:pt x="2108" y="1548"/>
                    <a:pt x="2108" y="1531"/>
                  </a:cubicBezTo>
                  <a:cubicBezTo>
                    <a:pt x="2061" y="1554"/>
                    <a:pt x="2050" y="1601"/>
                    <a:pt x="2038" y="1653"/>
                  </a:cubicBezTo>
                  <a:cubicBezTo>
                    <a:pt x="2026" y="1694"/>
                    <a:pt x="2003" y="1711"/>
                    <a:pt x="2003" y="1758"/>
                  </a:cubicBezTo>
                  <a:cubicBezTo>
                    <a:pt x="2003" y="1764"/>
                    <a:pt x="2009" y="1764"/>
                    <a:pt x="2009" y="1769"/>
                  </a:cubicBezTo>
                  <a:close/>
                  <a:moveTo>
                    <a:pt x="1677" y="2386"/>
                  </a:moveTo>
                  <a:lnTo>
                    <a:pt x="1677" y="2386"/>
                  </a:lnTo>
                  <a:cubicBezTo>
                    <a:pt x="1671" y="2381"/>
                    <a:pt x="1671" y="2381"/>
                    <a:pt x="1665" y="2381"/>
                  </a:cubicBezTo>
                  <a:cubicBezTo>
                    <a:pt x="1630" y="2381"/>
                    <a:pt x="1636" y="2427"/>
                    <a:pt x="1619" y="2456"/>
                  </a:cubicBezTo>
                  <a:cubicBezTo>
                    <a:pt x="1636" y="2474"/>
                    <a:pt x="1636" y="2497"/>
                    <a:pt x="1654" y="2515"/>
                  </a:cubicBezTo>
                  <a:cubicBezTo>
                    <a:pt x="1677" y="2491"/>
                    <a:pt x="1671" y="2468"/>
                    <a:pt x="1683" y="2451"/>
                  </a:cubicBezTo>
                  <a:cubicBezTo>
                    <a:pt x="1677" y="2427"/>
                    <a:pt x="1677" y="2427"/>
                    <a:pt x="1677" y="2427"/>
                  </a:cubicBezTo>
                  <a:cubicBezTo>
                    <a:pt x="1677" y="2386"/>
                    <a:pt x="1677" y="2386"/>
                    <a:pt x="1677" y="2386"/>
                  </a:cubicBezTo>
                  <a:close/>
                  <a:moveTo>
                    <a:pt x="2055" y="1932"/>
                  </a:moveTo>
                  <a:lnTo>
                    <a:pt x="2055" y="1932"/>
                  </a:lnTo>
                  <a:cubicBezTo>
                    <a:pt x="2055" y="1927"/>
                    <a:pt x="2055" y="1927"/>
                    <a:pt x="2055" y="1927"/>
                  </a:cubicBezTo>
                  <a:cubicBezTo>
                    <a:pt x="2044" y="1921"/>
                    <a:pt x="2044" y="1921"/>
                    <a:pt x="2044" y="1921"/>
                  </a:cubicBezTo>
                  <a:cubicBezTo>
                    <a:pt x="2032" y="1944"/>
                    <a:pt x="2032" y="1956"/>
                    <a:pt x="2026" y="1973"/>
                  </a:cubicBezTo>
                  <a:cubicBezTo>
                    <a:pt x="2032" y="1973"/>
                    <a:pt x="2038" y="1979"/>
                    <a:pt x="2044" y="1979"/>
                  </a:cubicBezTo>
                  <a:cubicBezTo>
                    <a:pt x="2050" y="1979"/>
                    <a:pt x="2055" y="1973"/>
                    <a:pt x="2061" y="1973"/>
                  </a:cubicBezTo>
                  <a:cubicBezTo>
                    <a:pt x="2055" y="1932"/>
                    <a:pt x="2055" y="1932"/>
                    <a:pt x="2055" y="1932"/>
                  </a:cubicBezTo>
                  <a:close/>
                  <a:moveTo>
                    <a:pt x="513" y="669"/>
                  </a:moveTo>
                  <a:lnTo>
                    <a:pt x="513" y="669"/>
                  </a:lnTo>
                  <a:cubicBezTo>
                    <a:pt x="507" y="687"/>
                    <a:pt x="507" y="698"/>
                    <a:pt x="501" y="710"/>
                  </a:cubicBezTo>
                  <a:cubicBezTo>
                    <a:pt x="513" y="716"/>
                    <a:pt x="513" y="716"/>
                    <a:pt x="513" y="716"/>
                  </a:cubicBezTo>
                  <a:cubicBezTo>
                    <a:pt x="536" y="710"/>
                    <a:pt x="548" y="704"/>
                    <a:pt x="559" y="687"/>
                  </a:cubicBezTo>
                  <a:cubicBezTo>
                    <a:pt x="542" y="681"/>
                    <a:pt x="530" y="675"/>
                    <a:pt x="513" y="669"/>
                  </a:cubicBezTo>
                  <a:close/>
                  <a:moveTo>
                    <a:pt x="1916" y="169"/>
                  </a:moveTo>
                  <a:lnTo>
                    <a:pt x="1916" y="169"/>
                  </a:lnTo>
                  <a:cubicBezTo>
                    <a:pt x="1945" y="186"/>
                    <a:pt x="1957" y="215"/>
                    <a:pt x="1957" y="250"/>
                  </a:cubicBezTo>
                  <a:cubicBezTo>
                    <a:pt x="1957" y="256"/>
                    <a:pt x="1951" y="256"/>
                    <a:pt x="1945" y="262"/>
                  </a:cubicBezTo>
                  <a:cubicBezTo>
                    <a:pt x="1951" y="273"/>
                    <a:pt x="1951" y="273"/>
                    <a:pt x="1951" y="273"/>
                  </a:cubicBezTo>
                  <a:cubicBezTo>
                    <a:pt x="1991" y="273"/>
                    <a:pt x="1997" y="314"/>
                    <a:pt x="2015" y="355"/>
                  </a:cubicBezTo>
                  <a:cubicBezTo>
                    <a:pt x="2026" y="384"/>
                    <a:pt x="2038" y="396"/>
                    <a:pt x="2050" y="425"/>
                  </a:cubicBezTo>
                  <a:cubicBezTo>
                    <a:pt x="2073" y="419"/>
                    <a:pt x="2073" y="390"/>
                    <a:pt x="2096" y="390"/>
                  </a:cubicBezTo>
                  <a:cubicBezTo>
                    <a:pt x="2114" y="390"/>
                    <a:pt x="2125" y="396"/>
                    <a:pt x="2143" y="401"/>
                  </a:cubicBezTo>
                  <a:cubicBezTo>
                    <a:pt x="2143" y="396"/>
                    <a:pt x="2143" y="396"/>
                    <a:pt x="2143" y="384"/>
                  </a:cubicBezTo>
                  <a:cubicBezTo>
                    <a:pt x="2143" y="372"/>
                    <a:pt x="2143" y="361"/>
                    <a:pt x="2143" y="343"/>
                  </a:cubicBezTo>
                  <a:cubicBezTo>
                    <a:pt x="2137" y="343"/>
                    <a:pt x="2131" y="343"/>
                    <a:pt x="2120" y="343"/>
                  </a:cubicBezTo>
                  <a:cubicBezTo>
                    <a:pt x="2114" y="343"/>
                    <a:pt x="2114" y="337"/>
                    <a:pt x="2108" y="337"/>
                  </a:cubicBezTo>
                  <a:cubicBezTo>
                    <a:pt x="2120" y="320"/>
                    <a:pt x="2131" y="314"/>
                    <a:pt x="2131" y="297"/>
                  </a:cubicBezTo>
                  <a:cubicBezTo>
                    <a:pt x="2131" y="238"/>
                    <a:pt x="2131" y="238"/>
                    <a:pt x="2131" y="238"/>
                  </a:cubicBezTo>
                  <a:cubicBezTo>
                    <a:pt x="2044" y="238"/>
                    <a:pt x="2032" y="151"/>
                    <a:pt x="1968" y="93"/>
                  </a:cubicBezTo>
                  <a:cubicBezTo>
                    <a:pt x="1957" y="128"/>
                    <a:pt x="1945" y="151"/>
                    <a:pt x="1916" y="169"/>
                  </a:cubicBezTo>
                  <a:close/>
                  <a:moveTo>
                    <a:pt x="2084" y="483"/>
                  </a:moveTo>
                  <a:lnTo>
                    <a:pt x="2084" y="483"/>
                  </a:lnTo>
                  <a:cubicBezTo>
                    <a:pt x="2073" y="483"/>
                    <a:pt x="2061" y="477"/>
                    <a:pt x="2050" y="477"/>
                  </a:cubicBezTo>
                  <a:cubicBezTo>
                    <a:pt x="2026" y="477"/>
                    <a:pt x="2003" y="495"/>
                    <a:pt x="2003" y="512"/>
                  </a:cubicBezTo>
                  <a:cubicBezTo>
                    <a:pt x="2026" y="529"/>
                    <a:pt x="2044" y="535"/>
                    <a:pt x="2073" y="535"/>
                  </a:cubicBezTo>
                  <a:cubicBezTo>
                    <a:pt x="2096" y="535"/>
                    <a:pt x="2114" y="529"/>
                    <a:pt x="2137" y="518"/>
                  </a:cubicBezTo>
                  <a:cubicBezTo>
                    <a:pt x="2149" y="529"/>
                    <a:pt x="2154" y="541"/>
                    <a:pt x="2166" y="559"/>
                  </a:cubicBezTo>
                  <a:cubicBezTo>
                    <a:pt x="2183" y="547"/>
                    <a:pt x="2195" y="541"/>
                    <a:pt x="2213" y="524"/>
                  </a:cubicBezTo>
                  <a:cubicBezTo>
                    <a:pt x="2195" y="500"/>
                    <a:pt x="2183" y="483"/>
                    <a:pt x="2172" y="454"/>
                  </a:cubicBezTo>
                  <a:cubicBezTo>
                    <a:pt x="2160" y="448"/>
                    <a:pt x="2160" y="448"/>
                    <a:pt x="2160" y="448"/>
                  </a:cubicBezTo>
                  <a:cubicBezTo>
                    <a:pt x="2143" y="477"/>
                    <a:pt x="2114" y="483"/>
                    <a:pt x="2084" y="483"/>
                  </a:cubicBezTo>
                  <a:close/>
                  <a:moveTo>
                    <a:pt x="2067" y="599"/>
                  </a:moveTo>
                  <a:lnTo>
                    <a:pt x="2067" y="599"/>
                  </a:lnTo>
                  <a:cubicBezTo>
                    <a:pt x="2067" y="605"/>
                    <a:pt x="2067" y="611"/>
                    <a:pt x="2067" y="617"/>
                  </a:cubicBezTo>
                  <a:cubicBezTo>
                    <a:pt x="2090" y="611"/>
                    <a:pt x="2102" y="599"/>
                    <a:pt x="2114" y="582"/>
                  </a:cubicBezTo>
                  <a:cubicBezTo>
                    <a:pt x="2096" y="576"/>
                    <a:pt x="2067" y="582"/>
                    <a:pt x="2067" y="599"/>
                  </a:cubicBezTo>
                  <a:close/>
                  <a:moveTo>
                    <a:pt x="483" y="541"/>
                  </a:moveTo>
                  <a:lnTo>
                    <a:pt x="483" y="541"/>
                  </a:lnTo>
                  <a:cubicBezTo>
                    <a:pt x="536" y="541"/>
                    <a:pt x="536" y="541"/>
                    <a:pt x="536" y="541"/>
                  </a:cubicBezTo>
                  <a:cubicBezTo>
                    <a:pt x="536" y="529"/>
                    <a:pt x="536" y="524"/>
                    <a:pt x="536" y="506"/>
                  </a:cubicBezTo>
                  <a:cubicBezTo>
                    <a:pt x="513" y="512"/>
                    <a:pt x="501" y="529"/>
                    <a:pt x="483" y="541"/>
                  </a:cubicBezTo>
                  <a:close/>
                  <a:moveTo>
                    <a:pt x="82" y="23"/>
                  </a:moveTo>
                  <a:lnTo>
                    <a:pt x="82" y="23"/>
                  </a:lnTo>
                  <a:cubicBezTo>
                    <a:pt x="76" y="17"/>
                    <a:pt x="70" y="11"/>
                    <a:pt x="59" y="6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17"/>
                    <a:pt x="59" y="29"/>
                    <a:pt x="53" y="46"/>
                  </a:cubicBezTo>
                  <a:cubicBezTo>
                    <a:pt x="41" y="64"/>
                    <a:pt x="12" y="58"/>
                    <a:pt x="12" y="75"/>
                  </a:cubicBezTo>
                  <a:cubicBezTo>
                    <a:pt x="12" y="93"/>
                    <a:pt x="24" y="99"/>
                    <a:pt x="24" y="116"/>
                  </a:cubicBezTo>
                  <a:cubicBezTo>
                    <a:pt x="24" y="145"/>
                    <a:pt x="0" y="157"/>
                    <a:pt x="0" y="186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12" y="209"/>
                    <a:pt x="18" y="209"/>
                    <a:pt x="29" y="209"/>
                  </a:cubicBezTo>
                  <a:cubicBezTo>
                    <a:pt x="29" y="326"/>
                    <a:pt x="29" y="326"/>
                    <a:pt x="29" y="326"/>
                  </a:cubicBezTo>
                  <a:cubicBezTo>
                    <a:pt x="29" y="326"/>
                    <a:pt x="35" y="332"/>
                    <a:pt x="41" y="332"/>
                  </a:cubicBezTo>
                  <a:cubicBezTo>
                    <a:pt x="59" y="332"/>
                    <a:pt x="59" y="314"/>
                    <a:pt x="70" y="302"/>
                  </a:cubicBezTo>
                  <a:cubicBezTo>
                    <a:pt x="105" y="285"/>
                    <a:pt x="134" y="262"/>
                    <a:pt x="134" y="221"/>
                  </a:cubicBezTo>
                  <a:cubicBezTo>
                    <a:pt x="134" y="180"/>
                    <a:pt x="117" y="163"/>
                    <a:pt x="117" y="128"/>
                  </a:cubicBezTo>
                  <a:cubicBezTo>
                    <a:pt x="117" y="99"/>
                    <a:pt x="128" y="81"/>
                    <a:pt x="128" y="46"/>
                  </a:cubicBezTo>
                  <a:cubicBezTo>
                    <a:pt x="128" y="29"/>
                    <a:pt x="99" y="29"/>
                    <a:pt x="82" y="23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2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venir Medium"/>
              </a:endParaRPr>
            </a:p>
          </p:txBody>
        </p:sp>
      </p:grpSp>
      <p:sp>
        <p:nvSpPr>
          <p:cNvPr id="18" name="Shape 2540"/>
          <p:cNvSpPr/>
          <p:nvPr/>
        </p:nvSpPr>
        <p:spPr>
          <a:xfrm>
            <a:off x="1054385" y="5942740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0" name="Shape 2540"/>
          <p:cNvSpPr/>
          <p:nvPr/>
        </p:nvSpPr>
        <p:spPr>
          <a:xfrm>
            <a:off x="1054385" y="7577751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967619" y="5709503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967619" y="7360519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3" name="Shape 2540"/>
          <p:cNvSpPr/>
          <p:nvPr/>
        </p:nvSpPr>
        <p:spPr>
          <a:xfrm>
            <a:off x="1054385" y="9228767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967619" y="9011535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2D4FA1-53EB-4AC7-9B7E-63965CFBA3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Australia Ma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634037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azil Map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8814" y="5898138"/>
            <a:ext cx="2025491" cy="47775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3733"/>
              </a:lnSpc>
              <a:spcAft>
                <a:spcPts val="3199"/>
              </a:spcAft>
            </a:pPr>
            <a:r>
              <a:rPr lang="en-US" dirty="0">
                <a:latin typeface="Avenir Medium"/>
                <a:ea typeface="Avenir Book" charset="0"/>
                <a:cs typeface="Avenir Book" charset="0"/>
              </a:rPr>
              <a:t>Population</a:t>
            </a:r>
          </a:p>
        </p:txBody>
      </p:sp>
      <p:sp>
        <p:nvSpPr>
          <p:cNvPr id="4" name="Text Box 353"/>
          <p:cNvSpPr txBox="1">
            <a:spLocks noChangeArrowheads="1"/>
          </p:cNvSpPr>
          <p:nvPr/>
        </p:nvSpPr>
        <p:spPr bwMode="auto">
          <a:xfrm>
            <a:off x="9606306" y="6936100"/>
            <a:ext cx="88646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5pPr>
            <a:lvl6pPr marL="2514600" indent="-2286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6pPr>
            <a:lvl7pPr marL="2971800" indent="-2286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7pPr>
            <a:lvl8pPr marL="3429000" indent="-2286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8pPr>
            <a:lvl9pPr marL="3886200" indent="-2286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9pPr>
          </a:lstStyle>
          <a:p>
            <a:r>
              <a:rPr lang="en-US" sz="400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60%</a:t>
            </a:r>
          </a:p>
        </p:txBody>
      </p:sp>
      <p:sp>
        <p:nvSpPr>
          <p:cNvPr id="5" name="Text Box 354"/>
          <p:cNvSpPr txBox="1">
            <a:spLocks noChangeArrowheads="1"/>
          </p:cNvSpPr>
          <p:nvPr/>
        </p:nvSpPr>
        <p:spPr bwMode="auto">
          <a:xfrm>
            <a:off x="9606306" y="8414532"/>
            <a:ext cx="88646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5pPr>
            <a:lvl6pPr marL="2514600" indent="-2286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6pPr>
            <a:lvl7pPr marL="2971800" indent="-2286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7pPr>
            <a:lvl8pPr marL="3429000" indent="-2286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8pPr>
            <a:lvl9pPr marL="3886200" indent="-2286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rgbClr val="000000"/>
                </a:solidFill>
                <a:latin typeface="Arial" charset="0"/>
                <a:ea typeface="SimSun" charset="0"/>
                <a:cs typeface="SimSun" charset="0"/>
              </a:defRPr>
            </a:lvl9pPr>
          </a:lstStyle>
          <a:p>
            <a:r>
              <a:rPr lang="en-US" sz="4000">
                <a:solidFill>
                  <a:schemeClr val="tx1"/>
                </a:solidFill>
                <a:latin typeface="Avenir Medium"/>
                <a:ea typeface="Avenir Book" charset="0"/>
                <a:cs typeface="Avenir Book" charset="0"/>
              </a:rPr>
              <a:t>80%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557483" y="6769555"/>
            <a:ext cx="401841" cy="1002827"/>
            <a:chOff x="2774052" y="6143913"/>
            <a:chExt cx="401841" cy="1002827"/>
          </a:xfrm>
        </p:grpSpPr>
        <p:sp>
          <p:nvSpPr>
            <p:cNvPr id="7" name="Freeform 355"/>
            <p:cNvSpPr>
              <a:spLocks noChangeArrowheads="1"/>
            </p:cNvSpPr>
            <p:nvPr/>
          </p:nvSpPr>
          <p:spPr bwMode="auto">
            <a:xfrm>
              <a:off x="2774052" y="6313509"/>
              <a:ext cx="401841" cy="833231"/>
            </a:xfrm>
            <a:custGeom>
              <a:avLst/>
              <a:gdLst>
                <a:gd name="T0" fmla="*/ 249 w 483"/>
                <a:gd name="T1" fmla="*/ 0 h 1002"/>
                <a:gd name="T2" fmla="*/ 249 w 483"/>
                <a:gd name="T3" fmla="*/ 0 h 1002"/>
                <a:gd name="T4" fmla="*/ 113 w 483"/>
                <a:gd name="T5" fmla="*/ 0 h 1002"/>
                <a:gd name="T6" fmla="*/ 0 w 483"/>
                <a:gd name="T7" fmla="*/ 113 h 1002"/>
                <a:gd name="T8" fmla="*/ 0 w 483"/>
                <a:gd name="T9" fmla="*/ 437 h 1002"/>
                <a:gd name="T10" fmla="*/ 45 w 483"/>
                <a:gd name="T11" fmla="*/ 482 h 1002"/>
                <a:gd name="T12" fmla="*/ 91 w 483"/>
                <a:gd name="T13" fmla="*/ 437 h 1002"/>
                <a:gd name="T14" fmla="*/ 91 w 483"/>
                <a:gd name="T15" fmla="*/ 151 h 1002"/>
                <a:gd name="T16" fmla="*/ 99 w 483"/>
                <a:gd name="T17" fmla="*/ 151 h 1002"/>
                <a:gd name="T18" fmla="*/ 107 w 483"/>
                <a:gd name="T19" fmla="*/ 151 h 1002"/>
                <a:gd name="T20" fmla="*/ 113 w 483"/>
                <a:gd name="T21" fmla="*/ 151 h 1002"/>
                <a:gd name="T22" fmla="*/ 113 w 483"/>
                <a:gd name="T23" fmla="*/ 949 h 1002"/>
                <a:gd name="T24" fmla="*/ 173 w 483"/>
                <a:gd name="T25" fmla="*/ 1001 h 1002"/>
                <a:gd name="T26" fmla="*/ 234 w 483"/>
                <a:gd name="T27" fmla="*/ 949 h 1002"/>
                <a:gd name="T28" fmla="*/ 234 w 483"/>
                <a:gd name="T29" fmla="*/ 482 h 1002"/>
                <a:gd name="T30" fmla="*/ 234 w 483"/>
                <a:gd name="T31" fmla="*/ 474 h 1002"/>
                <a:gd name="T32" fmla="*/ 249 w 483"/>
                <a:gd name="T33" fmla="*/ 474 h 1002"/>
                <a:gd name="T34" fmla="*/ 249 w 483"/>
                <a:gd name="T35" fmla="*/ 482 h 1002"/>
                <a:gd name="T36" fmla="*/ 249 w 483"/>
                <a:gd name="T37" fmla="*/ 949 h 1002"/>
                <a:gd name="T38" fmla="*/ 309 w 483"/>
                <a:gd name="T39" fmla="*/ 1001 h 1002"/>
                <a:gd name="T40" fmla="*/ 369 w 483"/>
                <a:gd name="T41" fmla="*/ 949 h 1002"/>
                <a:gd name="T42" fmla="*/ 369 w 483"/>
                <a:gd name="T43" fmla="*/ 151 h 1002"/>
                <a:gd name="T44" fmla="*/ 377 w 483"/>
                <a:gd name="T45" fmla="*/ 151 h 1002"/>
                <a:gd name="T46" fmla="*/ 385 w 483"/>
                <a:gd name="T47" fmla="*/ 151 h 1002"/>
                <a:gd name="T48" fmla="*/ 392 w 483"/>
                <a:gd name="T49" fmla="*/ 151 h 1002"/>
                <a:gd name="T50" fmla="*/ 392 w 483"/>
                <a:gd name="T51" fmla="*/ 437 h 1002"/>
                <a:gd name="T52" fmla="*/ 437 w 483"/>
                <a:gd name="T53" fmla="*/ 482 h 1002"/>
                <a:gd name="T54" fmla="*/ 482 w 483"/>
                <a:gd name="T55" fmla="*/ 437 h 1002"/>
                <a:gd name="T56" fmla="*/ 482 w 483"/>
                <a:gd name="T57" fmla="*/ 113 h 1002"/>
                <a:gd name="T58" fmla="*/ 377 w 483"/>
                <a:gd name="T59" fmla="*/ 0 h 1002"/>
                <a:gd name="T60" fmla="*/ 249 w 483"/>
                <a:gd name="T61" fmla="*/ 0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83" h="1002">
                  <a:moveTo>
                    <a:pt x="249" y="0"/>
                  </a:moveTo>
                  <a:lnTo>
                    <a:pt x="249" y="0"/>
                  </a:lnTo>
                  <a:cubicBezTo>
                    <a:pt x="113" y="0"/>
                    <a:pt x="113" y="0"/>
                    <a:pt x="113" y="0"/>
                  </a:cubicBezTo>
                  <a:cubicBezTo>
                    <a:pt x="53" y="0"/>
                    <a:pt x="0" y="52"/>
                    <a:pt x="0" y="113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60"/>
                    <a:pt x="23" y="482"/>
                    <a:pt x="45" y="482"/>
                  </a:cubicBezTo>
                  <a:cubicBezTo>
                    <a:pt x="76" y="482"/>
                    <a:pt x="91" y="460"/>
                    <a:pt x="91" y="437"/>
                  </a:cubicBezTo>
                  <a:lnTo>
                    <a:pt x="91" y="151"/>
                  </a:lnTo>
                  <a:lnTo>
                    <a:pt x="99" y="151"/>
                  </a:lnTo>
                  <a:cubicBezTo>
                    <a:pt x="107" y="151"/>
                    <a:pt x="107" y="151"/>
                    <a:pt x="107" y="151"/>
                  </a:cubicBezTo>
                  <a:cubicBezTo>
                    <a:pt x="113" y="151"/>
                    <a:pt x="113" y="151"/>
                    <a:pt x="113" y="151"/>
                  </a:cubicBezTo>
                  <a:cubicBezTo>
                    <a:pt x="113" y="949"/>
                    <a:pt x="113" y="949"/>
                    <a:pt x="113" y="949"/>
                  </a:cubicBezTo>
                  <a:cubicBezTo>
                    <a:pt x="113" y="978"/>
                    <a:pt x="136" y="1001"/>
                    <a:pt x="173" y="1001"/>
                  </a:cubicBezTo>
                  <a:cubicBezTo>
                    <a:pt x="204" y="1001"/>
                    <a:pt x="234" y="978"/>
                    <a:pt x="234" y="949"/>
                  </a:cubicBezTo>
                  <a:cubicBezTo>
                    <a:pt x="234" y="482"/>
                    <a:pt x="234" y="482"/>
                    <a:pt x="234" y="482"/>
                  </a:cubicBezTo>
                  <a:cubicBezTo>
                    <a:pt x="234" y="474"/>
                    <a:pt x="234" y="474"/>
                    <a:pt x="234" y="474"/>
                  </a:cubicBezTo>
                  <a:cubicBezTo>
                    <a:pt x="249" y="474"/>
                    <a:pt x="249" y="474"/>
                    <a:pt x="249" y="474"/>
                  </a:cubicBezTo>
                  <a:cubicBezTo>
                    <a:pt x="249" y="474"/>
                    <a:pt x="249" y="474"/>
                    <a:pt x="249" y="482"/>
                  </a:cubicBezTo>
                  <a:cubicBezTo>
                    <a:pt x="249" y="949"/>
                    <a:pt x="249" y="949"/>
                    <a:pt x="249" y="949"/>
                  </a:cubicBezTo>
                  <a:cubicBezTo>
                    <a:pt x="249" y="978"/>
                    <a:pt x="280" y="1001"/>
                    <a:pt x="309" y="1001"/>
                  </a:cubicBezTo>
                  <a:cubicBezTo>
                    <a:pt x="346" y="1001"/>
                    <a:pt x="369" y="978"/>
                    <a:pt x="369" y="949"/>
                  </a:cubicBezTo>
                  <a:cubicBezTo>
                    <a:pt x="369" y="151"/>
                    <a:pt x="369" y="151"/>
                    <a:pt x="369" y="151"/>
                  </a:cubicBezTo>
                  <a:cubicBezTo>
                    <a:pt x="369" y="151"/>
                    <a:pt x="369" y="151"/>
                    <a:pt x="377" y="151"/>
                  </a:cubicBezTo>
                  <a:cubicBezTo>
                    <a:pt x="385" y="151"/>
                    <a:pt x="385" y="151"/>
                    <a:pt x="385" y="151"/>
                  </a:cubicBezTo>
                  <a:lnTo>
                    <a:pt x="392" y="151"/>
                  </a:lnTo>
                  <a:lnTo>
                    <a:pt x="392" y="437"/>
                  </a:lnTo>
                  <a:cubicBezTo>
                    <a:pt x="392" y="460"/>
                    <a:pt x="414" y="482"/>
                    <a:pt x="437" y="482"/>
                  </a:cubicBezTo>
                  <a:cubicBezTo>
                    <a:pt x="460" y="482"/>
                    <a:pt x="482" y="460"/>
                    <a:pt x="482" y="437"/>
                  </a:cubicBezTo>
                  <a:cubicBezTo>
                    <a:pt x="482" y="113"/>
                    <a:pt x="482" y="113"/>
                    <a:pt x="482" y="113"/>
                  </a:cubicBezTo>
                  <a:cubicBezTo>
                    <a:pt x="482" y="52"/>
                    <a:pt x="437" y="0"/>
                    <a:pt x="377" y="0"/>
                  </a:cubicBezTo>
                  <a:lnTo>
                    <a:pt x="249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8000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" name="Freeform 356"/>
            <p:cNvSpPr>
              <a:spLocks noChangeArrowheads="1"/>
            </p:cNvSpPr>
            <p:nvPr/>
          </p:nvSpPr>
          <p:spPr bwMode="auto">
            <a:xfrm>
              <a:off x="2899398" y="6143913"/>
              <a:ext cx="147465" cy="147475"/>
            </a:xfrm>
            <a:custGeom>
              <a:avLst/>
              <a:gdLst>
                <a:gd name="T0" fmla="*/ 91 w 183"/>
                <a:gd name="T1" fmla="*/ 0 h 183"/>
                <a:gd name="T2" fmla="*/ 91 w 183"/>
                <a:gd name="T3" fmla="*/ 0 h 183"/>
                <a:gd name="T4" fmla="*/ 182 w 183"/>
                <a:gd name="T5" fmla="*/ 91 h 183"/>
                <a:gd name="T6" fmla="*/ 91 w 183"/>
                <a:gd name="T7" fmla="*/ 182 h 183"/>
                <a:gd name="T8" fmla="*/ 0 w 183"/>
                <a:gd name="T9" fmla="*/ 91 h 183"/>
                <a:gd name="T10" fmla="*/ 91 w 183"/>
                <a:gd name="T11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3" h="183">
                  <a:moveTo>
                    <a:pt x="91" y="0"/>
                  </a:moveTo>
                  <a:lnTo>
                    <a:pt x="91" y="0"/>
                  </a:lnTo>
                  <a:cubicBezTo>
                    <a:pt x="144" y="0"/>
                    <a:pt x="182" y="46"/>
                    <a:pt x="182" y="91"/>
                  </a:cubicBezTo>
                  <a:cubicBezTo>
                    <a:pt x="182" y="144"/>
                    <a:pt x="144" y="182"/>
                    <a:pt x="91" y="182"/>
                  </a:cubicBezTo>
                  <a:cubicBezTo>
                    <a:pt x="46" y="182"/>
                    <a:pt x="0" y="144"/>
                    <a:pt x="0" y="91"/>
                  </a:cubicBezTo>
                  <a:cubicBezTo>
                    <a:pt x="0" y="46"/>
                    <a:pt x="46" y="0"/>
                    <a:pt x="91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8000" dirty="0"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  <p:sp>
        <p:nvSpPr>
          <p:cNvPr id="9" name="Freeform 357"/>
          <p:cNvSpPr>
            <a:spLocks noChangeArrowheads="1"/>
          </p:cNvSpPr>
          <p:nvPr/>
        </p:nvSpPr>
        <p:spPr bwMode="auto">
          <a:xfrm>
            <a:off x="3250569" y="6939151"/>
            <a:ext cx="401841" cy="833231"/>
          </a:xfrm>
          <a:custGeom>
            <a:avLst/>
            <a:gdLst>
              <a:gd name="T0" fmla="*/ 247 w 483"/>
              <a:gd name="T1" fmla="*/ 0 h 1002"/>
              <a:gd name="T2" fmla="*/ 247 w 483"/>
              <a:gd name="T3" fmla="*/ 0 h 1002"/>
              <a:gd name="T4" fmla="*/ 105 w 483"/>
              <a:gd name="T5" fmla="*/ 0 h 1002"/>
              <a:gd name="T6" fmla="*/ 0 w 483"/>
              <a:gd name="T7" fmla="*/ 113 h 1002"/>
              <a:gd name="T8" fmla="*/ 0 w 483"/>
              <a:gd name="T9" fmla="*/ 437 h 1002"/>
              <a:gd name="T10" fmla="*/ 45 w 483"/>
              <a:gd name="T11" fmla="*/ 482 h 1002"/>
              <a:gd name="T12" fmla="*/ 90 w 483"/>
              <a:gd name="T13" fmla="*/ 437 h 1002"/>
              <a:gd name="T14" fmla="*/ 90 w 483"/>
              <a:gd name="T15" fmla="*/ 151 h 1002"/>
              <a:gd name="T16" fmla="*/ 97 w 483"/>
              <a:gd name="T17" fmla="*/ 151 h 1002"/>
              <a:gd name="T18" fmla="*/ 105 w 483"/>
              <a:gd name="T19" fmla="*/ 151 h 1002"/>
              <a:gd name="T20" fmla="*/ 113 w 483"/>
              <a:gd name="T21" fmla="*/ 151 h 1002"/>
              <a:gd name="T22" fmla="*/ 113 w 483"/>
              <a:gd name="T23" fmla="*/ 949 h 1002"/>
              <a:gd name="T24" fmla="*/ 173 w 483"/>
              <a:gd name="T25" fmla="*/ 1001 h 1002"/>
              <a:gd name="T26" fmla="*/ 226 w 483"/>
              <a:gd name="T27" fmla="*/ 949 h 1002"/>
              <a:gd name="T28" fmla="*/ 226 w 483"/>
              <a:gd name="T29" fmla="*/ 482 h 1002"/>
              <a:gd name="T30" fmla="*/ 233 w 483"/>
              <a:gd name="T31" fmla="*/ 474 h 1002"/>
              <a:gd name="T32" fmla="*/ 241 w 483"/>
              <a:gd name="T33" fmla="*/ 474 h 1002"/>
              <a:gd name="T34" fmla="*/ 247 w 483"/>
              <a:gd name="T35" fmla="*/ 482 h 1002"/>
              <a:gd name="T36" fmla="*/ 247 w 483"/>
              <a:gd name="T37" fmla="*/ 949 h 1002"/>
              <a:gd name="T38" fmla="*/ 309 w 483"/>
              <a:gd name="T39" fmla="*/ 1001 h 1002"/>
              <a:gd name="T40" fmla="*/ 369 w 483"/>
              <a:gd name="T41" fmla="*/ 949 h 1002"/>
              <a:gd name="T42" fmla="*/ 369 w 483"/>
              <a:gd name="T43" fmla="*/ 151 h 1002"/>
              <a:gd name="T44" fmla="*/ 377 w 483"/>
              <a:gd name="T45" fmla="*/ 151 h 1002"/>
              <a:gd name="T46" fmla="*/ 383 w 483"/>
              <a:gd name="T47" fmla="*/ 151 h 1002"/>
              <a:gd name="T48" fmla="*/ 383 w 483"/>
              <a:gd name="T49" fmla="*/ 151 h 1002"/>
              <a:gd name="T50" fmla="*/ 383 w 483"/>
              <a:gd name="T51" fmla="*/ 437 h 1002"/>
              <a:gd name="T52" fmla="*/ 436 w 483"/>
              <a:gd name="T53" fmla="*/ 482 h 1002"/>
              <a:gd name="T54" fmla="*/ 482 w 483"/>
              <a:gd name="T55" fmla="*/ 437 h 1002"/>
              <a:gd name="T56" fmla="*/ 482 w 483"/>
              <a:gd name="T57" fmla="*/ 113 h 1002"/>
              <a:gd name="T58" fmla="*/ 369 w 483"/>
              <a:gd name="T59" fmla="*/ 0 h 1002"/>
              <a:gd name="T60" fmla="*/ 247 w 483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3" h="1002">
                <a:moveTo>
                  <a:pt x="247" y="0"/>
                </a:moveTo>
                <a:lnTo>
                  <a:pt x="247" y="0"/>
                </a:lnTo>
                <a:cubicBezTo>
                  <a:pt x="105" y="0"/>
                  <a:pt x="105" y="0"/>
                  <a:pt x="105" y="0"/>
                </a:cubicBezTo>
                <a:cubicBezTo>
                  <a:pt x="45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22" y="482"/>
                  <a:pt x="45" y="482"/>
                </a:cubicBezTo>
                <a:cubicBezTo>
                  <a:pt x="67" y="482"/>
                  <a:pt x="90" y="460"/>
                  <a:pt x="90" y="437"/>
                </a:cubicBezTo>
                <a:lnTo>
                  <a:pt x="90" y="151"/>
                </a:lnTo>
                <a:cubicBezTo>
                  <a:pt x="90" y="151"/>
                  <a:pt x="90" y="151"/>
                  <a:pt x="97" y="151"/>
                </a:cubicBezTo>
                <a:cubicBezTo>
                  <a:pt x="105" y="151"/>
                  <a:pt x="105" y="151"/>
                  <a:pt x="105" y="151"/>
                </a:cubicBezTo>
                <a:lnTo>
                  <a:pt x="113" y="151"/>
                </a:lnTo>
                <a:cubicBezTo>
                  <a:pt x="113" y="949"/>
                  <a:pt x="113" y="949"/>
                  <a:pt x="113" y="949"/>
                </a:cubicBezTo>
                <a:cubicBezTo>
                  <a:pt x="113" y="978"/>
                  <a:pt x="135" y="1001"/>
                  <a:pt x="173" y="1001"/>
                </a:cubicBezTo>
                <a:cubicBezTo>
                  <a:pt x="203" y="1001"/>
                  <a:pt x="226" y="978"/>
                  <a:pt x="226" y="949"/>
                </a:cubicBezTo>
                <a:cubicBezTo>
                  <a:pt x="226" y="482"/>
                  <a:pt x="226" y="482"/>
                  <a:pt x="226" y="482"/>
                </a:cubicBezTo>
                <a:cubicBezTo>
                  <a:pt x="226" y="474"/>
                  <a:pt x="233" y="474"/>
                  <a:pt x="233" y="474"/>
                </a:cubicBezTo>
                <a:cubicBezTo>
                  <a:pt x="241" y="474"/>
                  <a:pt x="241" y="474"/>
                  <a:pt x="241" y="474"/>
                </a:cubicBezTo>
                <a:cubicBezTo>
                  <a:pt x="247" y="474"/>
                  <a:pt x="247" y="474"/>
                  <a:pt x="247" y="482"/>
                </a:cubicBezTo>
                <a:cubicBezTo>
                  <a:pt x="247" y="949"/>
                  <a:pt x="247" y="949"/>
                  <a:pt x="247" y="949"/>
                </a:cubicBezTo>
                <a:cubicBezTo>
                  <a:pt x="247" y="978"/>
                  <a:pt x="278" y="1001"/>
                  <a:pt x="309" y="1001"/>
                </a:cubicBezTo>
                <a:cubicBezTo>
                  <a:pt x="338" y="1001"/>
                  <a:pt x="369" y="978"/>
                  <a:pt x="369" y="949"/>
                </a:cubicBezTo>
                <a:cubicBezTo>
                  <a:pt x="369" y="151"/>
                  <a:pt x="369" y="151"/>
                  <a:pt x="369" y="151"/>
                </a:cubicBezTo>
                <a:cubicBezTo>
                  <a:pt x="369" y="151"/>
                  <a:pt x="369" y="151"/>
                  <a:pt x="377" y="151"/>
                </a:cubicBezTo>
                <a:cubicBezTo>
                  <a:pt x="383" y="151"/>
                  <a:pt x="383" y="151"/>
                  <a:pt x="383" y="151"/>
                </a:cubicBezTo>
                <a:lnTo>
                  <a:pt x="383" y="151"/>
                </a:lnTo>
                <a:lnTo>
                  <a:pt x="383" y="437"/>
                </a:lnTo>
                <a:cubicBezTo>
                  <a:pt x="383" y="460"/>
                  <a:pt x="406" y="482"/>
                  <a:pt x="436" y="482"/>
                </a:cubicBezTo>
                <a:cubicBezTo>
                  <a:pt x="459" y="482"/>
                  <a:pt x="482" y="460"/>
                  <a:pt x="482" y="437"/>
                </a:cubicBezTo>
                <a:cubicBezTo>
                  <a:pt x="482" y="113"/>
                  <a:pt x="482" y="113"/>
                  <a:pt x="482" y="113"/>
                </a:cubicBezTo>
                <a:cubicBezTo>
                  <a:pt x="482" y="52"/>
                  <a:pt x="428" y="0"/>
                  <a:pt x="369" y="0"/>
                </a:cubicBezTo>
                <a:lnTo>
                  <a:pt x="247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0" name="Freeform 358"/>
          <p:cNvSpPr>
            <a:spLocks noChangeArrowheads="1"/>
          </p:cNvSpPr>
          <p:nvPr/>
        </p:nvSpPr>
        <p:spPr bwMode="auto">
          <a:xfrm>
            <a:off x="3375913" y="6769555"/>
            <a:ext cx="147465" cy="147475"/>
          </a:xfrm>
          <a:custGeom>
            <a:avLst/>
            <a:gdLst>
              <a:gd name="T0" fmla="*/ 91 w 182"/>
              <a:gd name="T1" fmla="*/ 0 h 183"/>
              <a:gd name="T2" fmla="*/ 91 w 182"/>
              <a:gd name="T3" fmla="*/ 0 h 183"/>
              <a:gd name="T4" fmla="*/ 181 w 182"/>
              <a:gd name="T5" fmla="*/ 91 h 183"/>
              <a:gd name="T6" fmla="*/ 91 w 182"/>
              <a:gd name="T7" fmla="*/ 182 h 183"/>
              <a:gd name="T8" fmla="*/ 0 w 182"/>
              <a:gd name="T9" fmla="*/ 91 h 183"/>
              <a:gd name="T10" fmla="*/ 91 w 182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2" h="183">
                <a:moveTo>
                  <a:pt x="91" y="0"/>
                </a:moveTo>
                <a:lnTo>
                  <a:pt x="91" y="0"/>
                </a:lnTo>
                <a:cubicBezTo>
                  <a:pt x="136" y="0"/>
                  <a:pt x="181" y="46"/>
                  <a:pt x="181" y="91"/>
                </a:cubicBezTo>
                <a:cubicBezTo>
                  <a:pt x="181" y="144"/>
                  <a:pt x="136" y="182"/>
                  <a:pt x="91" y="182"/>
                </a:cubicBezTo>
                <a:cubicBezTo>
                  <a:pt x="37" y="182"/>
                  <a:pt x="0" y="144"/>
                  <a:pt x="0" y="91"/>
                </a:cubicBezTo>
                <a:cubicBezTo>
                  <a:pt x="0" y="46"/>
                  <a:pt x="37" y="0"/>
                  <a:pt x="91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1" name="Freeform 359"/>
          <p:cNvSpPr>
            <a:spLocks noChangeArrowheads="1"/>
          </p:cNvSpPr>
          <p:nvPr/>
        </p:nvSpPr>
        <p:spPr bwMode="auto">
          <a:xfrm>
            <a:off x="3939967" y="6939151"/>
            <a:ext cx="390782" cy="833231"/>
          </a:xfrm>
          <a:custGeom>
            <a:avLst/>
            <a:gdLst>
              <a:gd name="T0" fmla="*/ 248 w 474"/>
              <a:gd name="T1" fmla="*/ 0 h 1002"/>
              <a:gd name="T2" fmla="*/ 248 w 474"/>
              <a:gd name="T3" fmla="*/ 0 h 1002"/>
              <a:gd name="T4" fmla="*/ 105 w 474"/>
              <a:gd name="T5" fmla="*/ 0 h 1002"/>
              <a:gd name="T6" fmla="*/ 0 w 474"/>
              <a:gd name="T7" fmla="*/ 113 h 1002"/>
              <a:gd name="T8" fmla="*/ 0 w 474"/>
              <a:gd name="T9" fmla="*/ 437 h 1002"/>
              <a:gd name="T10" fmla="*/ 44 w 474"/>
              <a:gd name="T11" fmla="*/ 482 h 1002"/>
              <a:gd name="T12" fmla="*/ 89 w 474"/>
              <a:gd name="T13" fmla="*/ 437 h 1002"/>
              <a:gd name="T14" fmla="*/ 89 w 474"/>
              <a:gd name="T15" fmla="*/ 151 h 1002"/>
              <a:gd name="T16" fmla="*/ 89 w 474"/>
              <a:gd name="T17" fmla="*/ 151 h 1002"/>
              <a:gd name="T18" fmla="*/ 105 w 474"/>
              <a:gd name="T19" fmla="*/ 151 h 1002"/>
              <a:gd name="T20" fmla="*/ 105 w 474"/>
              <a:gd name="T21" fmla="*/ 151 h 1002"/>
              <a:gd name="T22" fmla="*/ 105 w 474"/>
              <a:gd name="T23" fmla="*/ 949 h 1002"/>
              <a:gd name="T24" fmla="*/ 165 w 474"/>
              <a:gd name="T25" fmla="*/ 1001 h 1002"/>
              <a:gd name="T26" fmla="*/ 225 w 474"/>
              <a:gd name="T27" fmla="*/ 949 h 1002"/>
              <a:gd name="T28" fmla="*/ 225 w 474"/>
              <a:gd name="T29" fmla="*/ 482 h 1002"/>
              <a:gd name="T30" fmla="*/ 233 w 474"/>
              <a:gd name="T31" fmla="*/ 474 h 1002"/>
              <a:gd name="T32" fmla="*/ 240 w 474"/>
              <a:gd name="T33" fmla="*/ 474 h 1002"/>
              <a:gd name="T34" fmla="*/ 248 w 474"/>
              <a:gd name="T35" fmla="*/ 482 h 1002"/>
              <a:gd name="T36" fmla="*/ 248 w 474"/>
              <a:gd name="T37" fmla="*/ 949 h 1002"/>
              <a:gd name="T38" fmla="*/ 308 w 474"/>
              <a:gd name="T39" fmla="*/ 1001 h 1002"/>
              <a:gd name="T40" fmla="*/ 368 w 474"/>
              <a:gd name="T41" fmla="*/ 949 h 1002"/>
              <a:gd name="T42" fmla="*/ 368 w 474"/>
              <a:gd name="T43" fmla="*/ 151 h 1002"/>
              <a:gd name="T44" fmla="*/ 368 w 474"/>
              <a:gd name="T45" fmla="*/ 151 h 1002"/>
              <a:gd name="T46" fmla="*/ 384 w 474"/>
              <a:gd name="T47" fmla="*/ 151 h 1002"/>
              <a:gd name="T48" fmla="*/ 384 w 474"/>
              <a:gd name="T49" fmla="*/ 151 h 1002"/>
              <a:gd name="T50" fmla="*/ 384 w 474"/>
              <a:gd name="T51" fmla="*/ 437 h 1002"/>
              <a:gd name="T52" fmla="*/ 429 w 474"/>
              <a:gd name="T53" fmla="*/ 482 h 1002"/>
              <a:gd name="T54" fmla="*/ 473 w 474"/>
              <a:gd name="T55" fmla="*/ 437 h 1002"/>
              <a:gd name="T56" fmla="*/ 473 w 474"/>
              <a:gd name="T57" fmla="*/ 113 h 1002"/>
              <a:gd name="T58" fmla="*/ 368 w 474"/>
              <a:gd name="T59" fmla="*/ 0 h 1002"/>
              <a:gd name="T60" fmla="*/ 248 w 474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74" h="1002">
                <a:moveTo>
                  <a:pt x="248" y="0"/>
                </a:moveTo>
                <a:lnTo>
                  <a:pt x="248" y="0"/>
                </a:lnTo>
                <a:cubicBezTo>
                  <a:pt x="105" y="0"/>
                  <a:pt x="105" y="0"/>
                  <a:pt x="105" y="0"/>
                </a:cubicBezTo>
                <a:cubicBezTo>
                  <a:pt x="44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15" y="482"/>
                  <a:pt x="44" y="482"/>
                </a:cubicBezTo>
                <a:cubicBezTo>
                  <a:pt x="67" y="482"/>
                  <a:pt x="89" y="460"/>
                  <a:pt x="89" y="437"/>
                </a:cubicBezTo>
                <a:lnTo>
                  <a:pt x="89" y="151"/>
                </a:lnTo>
                <a:lnTo>
                  <a:pt x="89" y="151"/>
                </a:lnTo>
                <a:cubicBezTo>
                  <a:pt x="105" y="151"/>
                  <a:pt x="105" y="151"/>
                  <a:pt x="105" y="151"/>
                </a:cubicBezTo>
                <a:lnTo>
                  <a:pt x="105" y="151"/>
                </a:lnTo>
                <a:cubicBezTo>
                  <a:pt x="105" y="949"/>
                  <a:pt x="105" y="949"/>
                  <a:pt x="105" y="949"/>
                </a:cubicBezTo>
                <a:cubicBezTo>
                  <a:pt x="105" y="978"/>
                  <a:pt x="135" y="1001"/>
                  <a:pt x="165" y="1001"/>
                </a:cubicBezTo>
                <a:cubicBezTo>
                  <a:pt x="203" y="1001"/>
                  <a:pt x="225" y="978"/>
                  <a:pt x="225" y="949"/>
                </a:cubicBezTo>
                <a:cubicBezTo>
                  <a:pt x="225" y="482"/>
                  <a:pt x="225" y="482"/>
                  <a:pt x="225" y="482"/>
                </a:cubicBezTo>
                <a:cubicBezTo>
                  <a:pt x="225" y="474"/>
                  <a:pt x="225" y="474"/>
                  <a:pt x="233" y="474"/>
                </a:cubicBezTo>
                <a:cubicBezTo>
                  <a:pt x="240" y="474"/>
                  <a:pt x="240" y="474"/>
                  <a:pt x="240" y="474"/>
                </a:cubicBezTo>
                <a:cubicBezTo>
                  <a:pt x="248" y="474"/>
                  <a:pt x="248" y="474"/>
                  <a:pt x="248" y="482"/>
                </a:cubicBezTo>
                <a:cubicBezTo>
                  <a:pt x="248" y="949"/>
                  <a:pt x="248" y="949"/>
                  <a:pt x="248" y="949"/>
                </a:cubicBezTo>
                <a:cubicBezTo>
                  <a:pt x="248" y="978"/>
                  <a:pt x="271" y="1001"/>
                  <a:pt x="308" y="1001"/>
                </a:cubicBezTo>
                <a:cubicBezTo>
                  <a:pt x="338" y="1001"/>
                  <a:pt x="368" y="978"/>
                  <a:pt x="368" y="949"/>
                </a:cubicBezTo>
                <a:cubicBezTo>
                  <a:pt x="368" y="151"/>
                  <a:pt x="368" y="151"/>
                  <a:pt x="368" y="151"/>
                </a:cubicBezTo>
                <a:lnTo>
                  <a:pt x="368" y="151"/>
                </a:lnTo>
                <a:cubicBezTo>
                  <a:pt x="384" y="151"/>
                  <a:pt x="384" y="151"/>
                  <a:pt x="384" y="151"/>
                </a:cubicBezTo>
                <a:lnTo>
                  <a:pt x="384" y="151"/>
                </a:lnTo>
                <a:lnTo>
                  <a:pt x="384" y="437"/>
                </a:lnTo>
                <a:cubicBezTo>
                  <a:pt x="384" y="460"/>
                  <a:pt x="406" y="482"/>
                  <a:pt x="429" y="482"/>
                </a:cubicBezTo>
                <a:cubicBezTo>
                  <a:pt x="458" y="482"/>
                  <a:pt x="473" y="460"/>
                  <a:pt x="473" y="437"/>
                </a:cubicBezTo>
                <a:cubicBezTo>
                  <a:pt x="473" y="113"/>
                  <a:pt x="473" y="113"/>
                  <a:pt x="473" y="113"/>
                </a:cubicBezTo>
                <a:cubicBezTo>
                  <a:pt x="473" y="52"/>
                  <a:pt x="429" y="0"/>
                  <a:pt x="368" y="0"/>
                </a:cubicBezTo>
                <a:lnTo>
                  <a:pt x="248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2" name="Freeform 360"/>
          <p:cNvSpPr>
            <a:spLocks noChangeArrowheads="1"/>
          </p:cNvSpPr>
          <p:nvPr/>
        </p:nvSpPr>
        <p:spPr bwMode="auto">
          <a:xfrm>
            <a:off x="4068999" y="6769555"/>
            <a:ext cx="140092" cy="147475"/>
          </a:xfrm>
          <a:custGeom>
            <a:avLst/>
            <a:gdLst>
              <a:gd name="T0" fmla="*/ 82 w 173"/>
              <a:gd name="T1" fmla="*/ 0 h 183"/>
              <a:gd name="T2" fmla="*/ 82 w 173"/>
              <a:gd name="T3" fmla="*/ 0 h 183"/>
              <a:gd name="T4" fmla="*/ 172 w 173"/>
              <a:gd name="T5" fmla="*/ 91 h 183"/>
              <a:gd name="T6" fmla="*/ 82 w 173"/>
              <a:gd name="T7" fmla="*/ 182 h 183"/>
              <a:gd name="T8" fmla="*/ 0 w 173"/>
              <a:gd name="T9" fmla="*/ 91 h 183"/>
              <a:gd name="T10" fmla="*/ 82 w 173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3" h="183">
                <a:moveTo>
                  <a:pt x="82" y="0"/>
                </a:moveTo>
                <a:lnTo>
                  <a:pt x="82" y="0"/>
                </a:lnTo>
                <a:cubicBezTo>
                  <a:pt x="134" y="0"/>
                  <a:pt x="172" y="46"/>
                  <a:pt x="172" y="91"/>
                </a:cubicBezTo>
                <a:cubicBezTo>
                  <a:pt x="172" y="144"/>
                  <a:pt x="134" y="182"/>
                  <a:pt x="82" y="182"/>
                </a:cubicBezTo>
                <a:cubicBezTo>
                  <a:pt x="37" y="182"/>
                  <a:pt x="0" y="144"/>
                  <a:pt x="0" y="91"/>
                </a:cubicBezTo>
                <a:cubicBezTo>
                  <a:pt x="0" y="46"/>
                  <a:pt x="37" y="0"/>
                  <a:pt x="82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3" name="Freeform 361"/>
          <p:cNvSpPr>
            <a:spLocks noChangeArrowheads="1"/>
          </p:cNvSpPr>
          <p:nvPr/>
        </p:nvSpPr>
        <p:spPr bwMode="auto">
          <a:xfrm>
            <a:off x="4625680" y="6939151"/>
            <a:ext cx="401841" cy="833231"/>
          </a:xfrm>
          <a:custGeom>
            <a:avLst/>
            <a:gdLst>
              <a:gd name="T0" fmla="*/ 250 w 484"/>
              <a:gd name="T1" fmla="*/ 0 h 1002"/>
              <a:gd name="T2" fmla="*/ 250 w 484"/>
              <a:gd name="T3" fmla="*/ 0 h 1002"/>
              <a:gd name="T4" fmla="*/ 114 w 484"/>
              <a:gd name="T5" fmla="*/ 0 h 1002"/>
              <a:gd name="T6" fmla="*/ 0 w 484"/>
              <a:gd name="T7" fmla="*/ 113 h 1002"/>
              <a:gd name="T8" fmla="*/ 0 w 484"/>
              <a:gd name="T9" fmla="*/ 437 h 1002"/>
              <a:gd name="T10" fmla="*/ 46 w 484"/>
              <a:gd name="T11" fmla="*/ 482 h 1002"/>
              <a:gd name="T12" fmla="*/ 99 w 484"/>
              <a:gd name="T13" fmla="*/ 437 h 1002"/>
              <a:gd name="T14" fmla="*/ 99 w 484"/>
              <a:gd name="T15" fmla="*/ 151 h 1002"/>
              <a:gd name="T16" fmla="*/ 99 w 484"/>
              <a:gd name="T17" fmla="*/ 151 h 1002"/>
              <a:gd name="T18" fmla="*/ 106 w 484"/>
              <a:gd name="T19" fmla="*/ 151 h 1002"/>
              <a:gd name="T20" fmla="*/ 114 w 484"/>
              <a:gd name="T21" fmla="*/ 151 h 1002"/>
              <a:gd name="T22" fmla="*/ 114 w 484"/>
              <a:gd name="T23" fmla="*/ 949 h 1002"/>
              <a:gd name="T24" fmla="*/ 174 w 484"/>
              <a:gd name="T25" fmla="*/ 1001 h 1002"/>
              <a:gd name="T26" fmla="*/ 235 w 484"/>
              <a:gd name="T27" fmla="*/ 949 h 1002"/>
              <a:gd name="T28" fmla="*/ 235 w 484"/>
              <a:gd name="T29" fmla="*/ 482 h 1002"/>
              <a:gd name="T30" fmla="*/ 242 w 484"/>
              <a:gd name="T31" fmla="*/ 474 h 1002"/>
              <a:gd name="T32" fmla="*/ 250 w 484"/>
              <a:gd name="T33" fmla="*/ 474 h 1002"/>
              <a:gd name="T34" fmla="*/ 250 w 484"/>
              <a:gd name="T35" fmla="*/ 482 h 1002"/>
              <a:gd name="T36" fmla="*/ 250 w 484"/>
              <a:gd name="T37" fmla="*/ 949 h 1002"/>
              <a:gd name="T38" fmla="*/ 309 w 484"/>
              <a:gd name="T39" fmla="*/ 1001 h 1002"/>
              <a:gd name="T40" fmla="*/ 369 w 484"/>
              <a:gd name="T41" fmla="*/ 949 h 1002"/>
              <a:gd name="T42" fmla="*/ 369 w 484"/>
              <a:gd name="T43" fmla="*/ 151 h 1002"/>
              <a:gd name="T44" fmla="*/ 377 w 484"/>
              <a:gd name="T45" fmla="*/ 151 h 1002"/>
              <a:gd name="T46" fmla="*/ 384 w 484"/>
              <a:gd name="T47" fmla="*/ 151 h 1002"/>
              <a:gd name="T48" fmla="*/ 392 w 484"/>
              <a:gd name="T49" fmla="*/ 151 h 1002"/>
              <a:gd name="T50" fmla="*/ 392 w 484"/>
              <a:gd name="T51" fmla="*/ 437 h 1002"/>
              <a:gd name="T52" fmla="*/ 437 w 484"/>
              <a:gd name="T53" fmla="*/ 482 h 1002"/>
              <a:gd name="T54" fmla="*/ 483 w 484"/>
              <a:gd name="T55" fmla="*/ 437 h 1002"/>
              <a:gd name="T56" fmla="*/ 483 w 484"/>
              <a:gd name="T57" fmla="*/ 113 h 1002"/>
              <a:gd name="T58" fmla="*/ 377 w 484"/>
              <a:gd name="T59" fmla="*/ 0 h 1002"/>
              <a:gd name="T60" fmla="*/ 250 w 484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4" h="1002">
                <a:moveTo>
                  <a:pt x="250" y="0"/>
                </a:moveTo>
                <a:lnTo>
                  <a:pt x="250" y="0"/>
                </a:lnTo>
                <a:cubicBezTo>
                  <a:pt x="114" y="0"/>
                  <a:pt x="114" y="0"/>
                  <a:pt x="114" y="0"/>
                </a:cubicBezTo>
                <a:cubicBezTo>
                  <a:pt x="54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23" y="482"/>
                  <a:pt x="46" y="482"/>
                </a:cubicBezTo>
                <a:cubicBezTo>
                  <a:pt x="76" y="482"/>
                  <a:pt x="91" y="460"/>
                  <a:pt x="99" y="437"/>
                </a:cubicBezTo>
                <a:lnTo>
                  <a:pt x="99" y="151"/>
                </a:lnTo>
                <a:lnTo>
                  <a:pt x="99" y="151"/>
                </a:lnTo>
                <a:cubicBezTo>
                  <a:pt x="106" y="151"/>
                  <a:pt x="106" y="151"/>
                  <a:pt x="106" y="151"/>
                </a:cubicBezTo>
                <a:cubicBezTo>
                  <a:pt x="114" y="151"/>
                  <a:pt x="114" y="151"/>
                  <a:pt x="114" y="151"/>
                </a:cubicBezTo>
                <a:cubicBezTo>
                  <a:pt x="114" y="949"/>
                  <a:pt x="114" y="949"/>
                  <a:pt x="114" y="949"/>
                </a:cubicBezTo>
                <a:cubicBezTo>
                  <a:pt x="114" y="978"/>
                  <a:pt x="144" y="1001"/>
                  <a:pt x="174" y="1001"/>
                </a:cubicBezTo>
                <a:cubicBezTo>
                  <a:pt x="204" y="1001"/>
                  <a:pt x="235" y="978"/>
                  <a:pt x="235" y="949"/>
                </a:cubicBezTo>
                <a:cubicBezTo>
                  <a:pt x="235" y="482"/>
                  <a:pt x="235" y="482"/>
                  <a:pt x="235" y="482"/>
                </a:cubicBezTo>
                <a:cubicBezTo>
                  <a:pt x="235" y="474"/>
                  <a:pt x="235" y="474"/>
                  <a:pt x="242" y="474"/>
                </a:cubicBezTo>
                <a:cubicBezTo>
                  <a:pt x="250" y="474"/>
                  <a:pt x="250" y="474"/>
                  <a:pt x="250" y="474"/>
                </a:cubicBezTo>
                <a:cubicBezTo>
                  <a:pt x="250" y="474"/>
                  <a:pt x="250" y="474"/>
                  <a:pt x="250" y="482"/>
                </a:cubicBezTo>
                <a:cubicBezTo>
                  <a:pt x="250" y="949"/>
                  <a:pt x="250" y="949"/>
                  <a:pt x="250" y="949"/>
                </a:cubicBezTo>
                <a:cubicBezTo>
                  <a:pt x="250" y="978"/>
                  <a:pt x="279" y="1001"/>
                  <a:pt x="309" y="1001"/>
                </a:cubicBezTo>
                <a:cubicBezTo>
                  <a:pt x="347" y="1001"/>
                  <a:pt x="369" y="978"/>
                  <a:pt x="369" y="949"/>
                </a:cubicBezTo>
                <a:cubicBezTo>
                  <a:pt x="369" y="151"/>
                  <a:pt x="369" y="151"/>
                  <a:pt x="369" y="151"/>
                </a:cubicBezTo>
                <a:lnTo>
                  <a:pt x="377" y="151"/>
                </a:lnTo>
                <a:cubicBezTo>
                  <a:pt x="384" y="151"/>
                  <a:pt x="384" y="151"/>
                  <a:pt x="384" y="151"/>
                </a:cubicBezTo>
                <a:cubicBezTo>
                  <a:pt x="392" y="151"/>
                  <a:pt x="392" y="151"/>
                  <a:pt x="392" y="151"/>
                </a:cubicBezTo>
                <a:lnTo>
                  <a:pt x="392" y="437"/>
                </a:lnTo>
                <a:cubicBezTo>
                  <a:pt x="392" y="460"/>
                  <a:pt x="415" y="482"/>
                  <a:pt x="437" y="482"/>
                </a:cubicBezTo>
                <a:cubicBezTo>
                  <a:pt x="460" y="482"/>
                  <a:pt x="483" y="460"/>
                  <a:pt x="483" y="437"/>
                </a:cubicBezTo>
                <a:cubicBezTo>
                  <a:pt x="483" y="113"/>
                  <a:pt x="483" y="113"/>
                  <a:pt x="483" y="113"/>
                </a:cubicBezTo>
                <a:cubicBezTo>
                  <a:pt x="483" y="52"/>
                  <a:pt x="437" y="0"/>
                  <a:pt x="377" y="0"/>
                </a:cubicBezTo>
                <a:lnTo>
                  <a:pt x="25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4" name="Freeform 362"/>
          <p:cNvSpPr>
            <a:spLocks noChangeArrowheads="1"/>
          </p:cNvSpPr>
          <p:nvPr/>
        </p:nvSpPr>
        <p:spPr bwMode="auto">
          <a:xfrm>
            <a:off x="4751024" y="6769555"/>
            <a:ext cx="147465" cy="147475"/>
          </a:xfrm>
          <a:custGeom>
            <a:avLst/>
            <a:gdLst>
              <a:gd name="T0" fmla="*/ 91 w 182"/>
              <a:gd name="T1" fmla="*/ 0 h 183"/>
              <a:gd name="T2" fmla="*/ 91 w 182"/>
              <a:gd name="T3" fmla="*/ 0 h 183"/>
              <a:gd name="T4" fmla="*/ 181 w 182"/>
              <a:gd name="T5" fmla="*/ 91 h 183"/>
              <a:gd name="T6" fmla="*/ 91 w 182"/>
              <a:gd name="T7" fmla="*/ 182 h 183"/>
              <a:gd name="T8" fmla="*/ 0 w 182"/>
              <a:gd name="T9" fmla="*/ 91 h 183"/>
              <a:gd name="T10" fmla="*/ 91 w 182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2" h="183">
                <a:moveTo>
                  <a:pt x="91" y="0"/>
                </a:moveTo>
                <a:lnTo>
                  <a:pt x="91" y="0"/>
                </a:lnTo>
                <a:cubicBezTo>
                  <a:pt x="144" y="0"/>
                  <a:pt x="181" y="46"/>
                  <a:pt x="181" y="91"/>
                </a:cubicBezTo>
                <a:cubicBezTo>
                  <a:pt x="181" y="144"/>
                  <a:pt x="144" y="182"/>
                  <a:pt x="91" y="182"/>
                </a:cubicBezTo>
                <a:cubicBezTo>
                  <a:pt x="45" y="182"/>
                  <a:pt x="0" y="144"/>
                  <a:pt x="0" y="91"/>
                </a:cubicBezTo>
                <a:cubicBezTo>
                  <a:pt x="0" y="46"/>
                  <a:pt x="45" y="0"/>
                  <a:pt x="91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5" name="Freeform 363"/>
          <p:cNvSpPr>
            <a:spLocks noChangeArrowheads="1"/>
          </p:cNvSpPr>
          <p:nvPr/>
        </p:nvSpPr>
        <p:spPr bwMode="auto">
          <a:xfrm>
            <a:off x="5318763" y="6939151"/>
            <a:ext cx="398156" cy="833231"/>
          </a:xfrm>
          <a:custGeom>
            <a:avLst/>
            <a:gdLst>
              <a:gd name="T0" fmla="*/ 248 w 482"/>
              <a:gd name="T1" fmla="*/ 0 h 1002"/>
              <a:gd name="T2" fmla="*/ 248 w 482"/>
              <a:gd name="T3" fmla="*/ 0 h 1002"/>
              <a:gd name="T4" fmla="*/ 105 w 482"/>
              <a:gd name="T5" fmla="*/ 0 h 1002"/>
              <a:gd name="T6" fmla="*/ 0 w 482"/>
              <a:gd name="T7" fmla="*/ 113 h 1002"/>
              <a:gd name="T8" fmla="*/ 0 w 482"/>
              <a:gd name="T9" fmla="*/ 437 h 1002"/>
              <a:gd name="T10" fmla="*/ 45 w 482"/>
              <a:gd name="T11" fmla="*/ 482 h 1002"/>
              <a:gd name="T12" fmla="*/ 91 w 482"/>
              <a:gd name="T13" fmla="*/ 437 h 1002"/>
              <a:gd name="T14" fmla="*/ 91 w 482"/>
              <a:gd name="T15" fmla="*/ 151 h 1002"/>
              <a:gd name="T16" fmla="*/ 97 w 482"/>
              <a:gd name="T17" fmla="*/ 151 h 1002"/>
              <a:gd name="T18" fmla="*/ 105 w 482"/>
              <a:gd name="T19" fmla="*/ 151 h 1002"/>
              <a:gd name="T20" fmla="*/ 113 w 482"/>
              <a:gd name="T21" fmla="*/ 151 h 1002"/>
              <a:gd name="T22" fmla="*/ 113 w 482"/>
              <a:gd name="T23" fmla="*/ 949 h 1002"/>
              <a:gd name="T24" fmla="*/ 173 w 482"/>
              <a:gd name="T25" fmla="*/ 1001 h 1002"/>
              <a:gd name="T26" fmla="*/ 233 w 482"/>
              <a:gd name="T27" fmla="*/ 949 h 1002"/>
              <a:gd name="T28" fmla="*/ 233 w 482"/>
              <a:gd name="T29" fmla="*/ 482 h 1002"/>
              <a:gd name="T30" fmla="*/ 233 w 482"/>
              <a:gd name="T31" fmla="*/ 474 h 1002"/>
              <a:gd name="T32" fmla="*/ 248 w 482"/>
              <a:gd name="T33" fmla="*/ 474 h 1002"/>
              <a:gd name="T34" fmla="*/ 248 w 482"/>
              <a:gd name="T35" fmla="*/ 482 h 1002"/>
              <a:gd name="T36" fmla="*/ 248 w 482"/>
              <a:gd name="T37" fmla="*/ 949 h 1002"/>
              <a:gd name="T38" fmla="*/ 309 w 482"/>
              <a:gd name="T39" fmla="*/ 1001 h 1002"/>
              <a:gd name="T40" fmla="*/ 369 w 482"/>
              <a:gd name="T41" fmla="*/ 949 h 1002"/>
              <a:gd name="T42" fmla="*/ 369 w 482"/>
              <a:gd name="T43" fmla="*/ 151 h 1002"/>
              <a:gd name="T44" fmla="*/ 376 w 482"/>
              <a:gd name="T45" fmla="*/ 151 h 1002"/>
              <a:gd name="T46" fmla="*/ 384 w 482"/>
              <a:gd name="T47" fmla="*/ 151 h 1002"/>
              <a:gd name="T48" fmla="*/ 392 w 482"/>
              <a:gd name="T49" fmla="*/ 151 h 1002"/>
              <a:gd name="T50" fmla="*/ 392 w 482"/>
              <a:gd name="T51" fmla="*/ 437 h 1002"/>
              <a:gd name="T52" fmla="*/ 437 w 482"/>
              <a:gd name="T53" fmla="*/ 482 h 1002"/>
              <a:gd name="T54" fmla="*/ 481 w 482"/>
              <a:gd name="T55" fmla="*/ 437 h 1002"/>
              <a:gd name="T56" fmla="*/ 481 w 482"/>
              <a:gd name="T57" fmla="*/ 113 h 1002"/>
              <a:gd name="T58" fmla="*/ 369 w 482"/>
              <a:gd name="T59" fmla="*/ 0 h 1002"/>
              <a:gd name="T60" fmla="*/ 248 w 482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2" h="1002">
                <a:moveTo>
                  <a:pt x="248" y="0"/>
                </a:moveTo>
                <a:lnTo>
                  <a:pt x="248" y="0"/>
                </a:lnTo>
                <a:cubicBezTo>
                  <a:pt x="105" y="0"/>
                  <a:pt x="105" y="0"/>
                  <a:pt x="105" y="0"/>
                </a:cubicBezTo>
                <a:cubicBezTo>
                  <a:pt x="45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23" y="482"/>
                  <a:pt x="45" y="482"/>
                </a:cubicBezTo>
                <a:cubicBezTo>
                  <a:pt x="68" y="482"/>
                  <a:pt x="91" y="460"/>
                  <a:pt x="91" y="437"/>
                </a:cubicBezTo>
                <a:lnTo>
                  <a:pt x="91" y="151"/>
                </a:lnTo>
                <a:lnTo>
                  <a:pt x="97" y="151"/>
                </a:lnTo>
                <a:cubicBezTo>
                  <a:pt x="105" y="151"/>
                  <a:pt x="105" y="151"/>
                  <a:pt x="105" y="151"/>
                </a:cubicBezTo>
                <a:cubicBezTo>
                  <a:pt x="113" y="151"/>
                  <a:pt x="113" y="151"/>
                  <a:pt x="113" y="151"/>
                </a:cubicBezTo>
                <a:cubicBezTo>
                  <a:pt x="113" y="949"/>
                  <a:pt x="113" y="949"/>
                  <a:pt x="113" y="949"/>
                </a:cubicBezTo>
                <a:cubicBezTo>
                  <a:pt x="113" y="978"/>
                  <a:pt x="136" y="1001"/>
                  <a:pt x="173" y="1001"/>
                </a:cubicBezTo>
                <a:cubicBezTo>
                  <a:pt x="202" y="1001"/>
                  <a:pt x="233" y="978"/>
                  <a:pt x="233" y="949"/>
                </a:cubicBezTo>
                <a:cubicBezTo>
                  <a:pt x="233" y="482"/>
                  <a:pt x="233" y="482"/>
                  <a:pt x="233" y="482"/>
                </a:cubicBezTo>
                <a:cubicBezTo>
                  <a:pt x="233" y="474"/>
                  <a:pt x="233" y="474"/>
                  <a:pt x="233" y="474"/>
                </a:cubicBezTo>
                <a:cubicBezTo>
                  <a:pt x="248" y="474"/>
                  <a:pt x="248" y="474"/>
                  <a:pt x="248" y="474"/>
                </a:cubicBezTo>
                <a:cubicBezTo>
                  <a:pt x="248" y="474"/>
                  <a:pt x="248" y="474"/>
                  <a:pt x="248" y="482"/>
                </a:cubicBezTo>
                <a:cubicBezTo>
                  <a:pt x="248" y="949"/>
                  <a:pt x="248" y="949"/>
                  <a:pt x="248" y="949"/>
                </a:cubicBezTo>
                <a:cubicBezTo>
                  <a:pt x="248" y="978"/>
                  <a:pt x="278" y="1001"/>
                  <a:pt x="309" y="1001"/>
                </a:cubicBezTo>
                <a:cubicBezTo>
                  <a:pt x="338" y="1001"/>
                  <a:pt x="369" y="978"/>
                  <a:pt x="369" y="949"/>
                </a:cubicBezTo>
                <a:cubicBezTo>
                  <a:pt x="369" y="151"/>
                  <a:pt x="369" y="151"/>
                  <a:pt x="369" y="151"/>
                </a:cubicBezTo>
                <a:cubicBezTo>
                  <a:pt x="369" y="151"/>
                  <a:pt x="369" y="151"/>
                  <a:pt x="376" y="151"/>
                </a:cubicBezTo>
                <a:cubicBezTo>
                  <a:pt x="384" y="151"/>
                  <a:pt x="384" y="151"/>
                  <a:pt x="384" y="151"/>
                </a:cubicBezTo>
                <a:lnTo>
                  <a:pt x="392" y="151"/>
                </a:lnTo>
                <a:lnTo>
                  <a:pt x="392" y="437"/>
                </a:lnTo>
                <a:cubicBezTo>
                  <a:pt x="392" y="460"/>
                  <a:pt x="406" y="482"/>
                  <a:pt x="437" y="482"/>
                </a:cubicBezTo>
                <a:cubicBezTo>
                  <a:pt x="460" y="482"/>
                  <a:pt x="481" y="460"/>
                  <a:pt x="481" y="437"/>
                </a:cubicBezTo>
                <a:cubicBezTo>
                  <a:pt x="481" y="113"/>
                  <a:pt x="481" y="113"/>
                  <a:pt x="481" y="113"/>
                </a:cubicBezTo>
                <a:cubicBezTo>
                  <a:pt x="481" y="52"/>
                  <a:pt x="429" y="0"/>
                  <a:pt x="369" y="0"/>
                </a:cubicBezTo>
                <a:lnTo>
                  <a:pt x="248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6" name="Freeform 364"/>
          <p:cNvSpPr>
            <a:spLocks noChangeArrowheads="1"/>
          </p:cNvSpPr>
          <p:nvPr/>
        </p:nvSpPr>
        <p:spPr bwMode="auto">
          <a:xfrm>
            <a:off x="5444110" y="6769555"/>
            <a:ext cx="147465" cy="147475"/>
          </a:xfrm>
          <a:custGeom>
            <a:avLst/>
            <a:gdLst>
              <a:gd name="T0" fmla="*/ 90 w 180"/>
              <a:gd name="T1" fmla="*/ 0 h 183"/>
              <a:gd name="T2" fmla="*/ 90 w 180"/>
              <a:gd name="T3" fmla="*/ 0 h 183"/>
              <a:gd name="T4" fmla="*/ 179 w 180"/>
              <a:gd name="T5" fmla="*/ 91 h 183"/>
              <a:gd name="T6" fmla="*/ 90 w 180"/>
              <a:gd name="T7" fmla="*/ 182 h 183"/>
              <a:gd name="T8" fmla="*/ 0 w 180"/>
              <a:gd name="T9" fmla="*/ 91 h 183"/>
              <a:gd name="T10" fmla="*/ 90 w 180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0" h="183">
                <a:moveTo>
                  <a:pt x="90" y="0"/>
                </a:moveTo>
                <a:lnTo>
                  <a:pt x="90" y="0"/>
                </a:lnTo>
                <a:cubicBezTo>
                  <a:pt x="135" y="0"/>
                  <a:pt x="179" y="46"/>
                  <a:pt x="179" y="91"/>
                </a:cubicBezTo>
                <a:cubicBezTo>
                  <a:pt x="179" y="144"/>
                  <a:pt x="135" y="182"/>
                  <a:pt x="90" y="182"/>
                </a:cubicBezTo>
                <a:cubicBezTo>
                  <a:pt x="37" y="182"/>
                  <a:pt x="0" y="144"/>
                  <a:pt x="0" y="91"/>
                </a:cubicBezTo>
                <a:cubicBezTo>
                  <a:pt x="0" y="46"/>
                  <a:pt x="37" y="0"/>
                  <a:pt x="90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7" name="Freeform 365"/>
          <p:cNvSpPr>
            <a:spLocks noChangeArrowheads="1"/>
          </p:cNvSpPr>
          <p:nvPr/>
        </p:nvSpPr>
        <p:spPr bwMode="auto">
          <a:xfrm>
            <a:off x="6011850" y="6939151"/>
            <a:ext cx="401841" cy="833231"/>
          </a:xfrm>
          <a:custGeom>
            <a:avLst/>
            <a:gdLst>
              <a:gd name="T0" fmla="*/ 249 w 484"/>
              <a:gd name="T1" fmla="*/ 0 h 1002"/>
              <a:gd name="T2" fmla="*/ 249 w 484"/>
              <a:gd name="T3" fmla="*/ 0 h 1002"/>
              <a:gd name="T4" fmla="*/ 106 w 484"/>
              <a:gd name="T5" fmla="*/ 0 h 1002"/>
              <a:gd name="T6" fmla="*/ 0 w 484"/>
              <a:gd name="T7" fmla="*/ 113 h 1002"/>
              <a:gd name="T8" fmla="*/ 0 w 484"/>
              <a:gd name="T9" fmla="*/ 437 h 1002"/>
              <a:gd name="T10" fmla="*/ 46 w 484"/>
              <a:gd name="T11" fmla="*/ 482 h 1002"/>
              <a:gd name="T12" fmla="*/ 91 w 484"/>
              <a:gd name="T13" fmla="*/ 437 h 1002"/>
              <a:gd name="T14" fmla="*/ 91 w 484"/>
              <a:gd name="T15" fmla="*/ 151 h 1002"/>
              <a:gd name="T16" fmla="*/ 99 w 484"/>
              <a:gd name="T17" fmla="*/ 151 h 1002"/>
              <a:gd name="T18" fmla="*/ 106 w 484"/>
              <a:gd name="T19" fmla="*/ 151 h 1002"/>
              <a:gd name="T20" fmla="*/ 113 w 484"/>
              <a:gd name="T21" fmla="*/ 151 h 1002"/>
              <a:gd name="T22" fmla="*/ 113 w 484"/>
              <a:gd name="T23" fmla="*/ 949 h 1002"/>
              <a:gd name="T24" fmla="*/ 167 w 484"/>
              <a:gd name="T25" fmla="*/ 1001 h 1002"/>
              <a:gd name="T26" fmla="*/ 227 w 484"/>
              <a:gd name="T27" fmla="*/ 949 h 1002"/>
              <a:gd name="T28" fmla="*/ 227 w 484"/>
              <a:gd name="T29" fmla="*/ 482 h 1002"/>
              <a:gd name="T30" fmla="*/ 235 w 484"/>
              <a:gd name="T31" fmla="*/ 474 h 1002"/>
              <a:gd name="T32" fmla="*/ 241 w 484"/>
              <a:gd name="T33" fmla="*/ 474 h 1002"/>
              <a:gd name="T34" fmla="*/ 249 w 484"/>
              <a:gd name="T35" fmla="*/ 482 h 1002"/>
              <a:gd name="T36" fmla="*/ 249 w 484"/>
              <a:gd name="T37" fmla="*/ 949 h 1002"/>
              <a:gd name="T38" fmla="*/ 309 w 484"/>
              <a:gd name="T39" fmla="*/ 1001 h 1002"/>
              <a:gd name="T40" fmla="*/ 369 w 484"/>
              <a:gd name="T41" fmla="*/ 949 h 1002"/>
              <a:gd name="T42" fmla="*/ 369 w 484"/>
              <a:gd name="T43" fmla="*/ 151 h 1002"/>
              <a:gd name="T44" fmla="*/ 369 w 484"/>
              <a:gd name="T45" fmla="*/ 151 h 1002"/>
              <a:gd name="T46" fmla="*/ 385 w 484"/>
              <a:gd name="T47" fmla="*/ 151 h 1002"/>
              <a:gd name="T48" fmla="*/ 385 w 484"/>
              <a:gd name="T49" fmla="*/ 151 h 1002"/>
              <a:gd name="T50" fmla="*/ 385 w 484"/>
              <a:gd name="T51" fmla="*/ 437 h 1002"/>
              <a:gd name="T52" fmla="*/ 431 w 484"/>
              <a:gd name="T53" fmla="*/ 482 h 1002"/>
              <a:gd name="T54" fmla="*/ 483 w 484"/>
              <a:gd name="T55" fmla="*/ 437 h 1002"/>
              <a:gd name="T56" fmla="*/ 483 w 484"/>
              <a:gd name="T57" fmla="*/ 113 h 1002"/>
              <a:gd name="T58" fmla="*/ 369 w 484"/>
              <a:gd name="T59" fmla="*/ 0 h 1002"/>
              <a:gd name="T60" fmla="*/ 249 w 484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4" h="1002">
                <a:moveTo>
                  <a:pt x="249" y="0"/>
                </a:moveTo>
                <a:lnTo>
                  <a:pt x="249" y="0"/>
                </a:lnTo>
                <a:cubicBezTo>
                  <a:pt x="106" y="0"/>
                  <a:pt x="106" y="0"/>
                  <a:pt x="106" y="0"/>
                </a:cubicBezTo>
                <a:cubicBezTo>
                  <a:pt x="46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16" y="482"/>
                  <a:pt x="46" y="482"/>
                </a:cubicBezTo>
                <a:cubicBezTo>
                  <a:pt x="68" y="482"/>
                  <a:pt x="91" y="460"/>
                  <a:pt x="91" y="437"/>
                </a:cubicBezTo>
                <a:lnTo>
                  <a:pt x="91" y="151"/>
                </a:lnTo>
                <a:cubicBezTo>
                  <a:pt x="91" y="151"/>
                  <a:pt x="91" y="151"/>
                  <a:pt x="99" y="151"/>
                </a:cubicBezTo>
                <a:cubicBezTo>
                  <a:pt x="106" y="151"/>
                  <a:pt x="106" y="151"/>
                  <a:pt x="106" y="151"/>
                </a:cubicBezTo>
                <a:lnTo>
                  <a:pt x="113" y="151"/>
                </a:lnTo>
                <a:cubicBezTo>
                  <a:pt x="113" y="949"/>
                  <a:pt x="113" y="949"/>
                  <a:pt x="113" y="949"/>
                </a:cubicBezTo>
                <a:cubicBezTo>
                  <a:pt x="113" y="978"/>
                  <a:pt x="136" y="1001"/>
                  <a:pt x="167" y="1001"/>
                </a:cubicBezTo>
                <a:cubicBezTo>
                  <a:pt x="204" y="1001"/>
                  <a:pt x="227" y="978"/>
                  <a:pt x="227" y="949"/>
                </a:cubicBezTo>
                <a:cubicBezTo>
                  <a:pt x="227" y="482"/>
                  <a:pt x="227" y="482"/>
                  <a:pt x="227" y="482"/>
                </a:cubicBezTo>
                <a:cubicBezTo>
                  <a:pt x="227" y="474"/>
                  <a:pt x="235" y="474"/>
                  <a:pt x="235" y="474"/>
                </a:cubicBezTo>
                <a:cubicBezTo>
                  <a:pt x="241" y="474"/>
                  <a:pt x="241" y="474"/>
                  <a:pt x="241" y="474"/>
                </a:cubicBezTo>
                <a:cubicBezTo>
                  <a:pt x="249" y="474"/>
                  <a:pt x="249" y="474"/>
                  <a:pt x="249" y="482"/>
                </a:cubicBezTo>
                <a:cubicBezTo>
                  <a:pt x="249" y="949"/>
                  <a:pt x="249" y="949"/>
                  <a:pt x="249" y="949"/>
                </a:cubicBezTo>
                <a:cubicBezTo>
                  <a:pt x="249" y="978"/>
                  <a:pt x="272" y="1001"/>
                  <a:pt x="309" y="1001"/>
                </a:cubicBezTo>
                <a:cubicBezTo>
                  <a:pt x="340" y="1001"/>
                  <a:pt x="369" y="978"/>
                  <a:pt x="369" y="949"/>
                </a:cubicBezTo>
                <a:cubicBezTo>
                  <a:pt x="369" y="151"/>
                  <a:pt x="369" y="151"/>
                  <a:pt x="369" y="151"/>
                </a:cubicBezTo>
                <a:lnTo>
                  <a:pt x="369" y="151"/>
                </a:lnTo>
                <a:cubicBezTo>
                  <a:pt x="385" y="151"/>
                  <a:pt x="385" y="151"/>
                  <a:pt x="385" y="151"/>
                </a:cubicBezTo>
                <a:lnTo>
                  <a:pt x="385" y="151"/>
                </a:lnTo>
                <a:lnTo>
                  <a:pt x="385" y="437"/>
                </a:lnTo>
                <a:cubicBezTo>
                  <a:pt x="385" y="460"/>
                  <a:pt x="408" y="482"/>
                  <a:pt x="431" y="482"/>
                </a:cubicBezTo>
                <a:cubicBezTo>
                  <a:pt x="460" y="482"/>
                  <a:pt x="483" y="460"/>
                  <a:pt x="483" y="437"/>
                </a:cubicBezTo>
                <a:cubicBezTo>
                  <a:pt x="483" y="113"/>
                  <a:pt x="483" y="113"/>
                  <a:pt x="483" y="113"/>
                </a:cubicBezTo>
                <a:cubicBezTo>
                  <a:pt x="483" y="52"/>
                  <a:pt x="431" y="0"/>
                  <a:pt x="369" y="0"/>
                </a:cubicBezTo>
                <a:lnTo>
                  <a:pt x="249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8" name="Freeform 366"/>
          <p:cNvSpPr>
            <a:spLocks noChangeArrowheads="1"/>
          </p:cNvSpPr>
          <p:nvPr/>
        </p:nvSpPr>
        <p:spPr bwMode="auto">
          <a:xfrm>
            <a:off x="6137194" y="6769555"/>
            <a:ext cx="140092" cy="147475"/>
          </a:xfrm>
          <a:custGeom>
            <a:avLst/>
            <a:gdLst>
              <a:gd name="T0" fmla="*/ 90 w 174"/>
              <a:gd name="T1" fmla="*/ 0 h 183"/>
              <a:gd name="T2" fmla="*/ 90 w 174"/>
              <a:gd name="T3" fmla="*/ 0 h 183"/>
              <a:gd name="T4" fmla="*/ 173 w 174"/>
              <a:gd name="T5" fmla="*/ 91 h 183"/>
              <a:gd name="T6" fmla="*/ 90 w 174"/>
              <a:gd name="T7" fmla="*/ 182 h 183"/>
              <a:gd name="T8" fmla="*/ 0 w 174"/>
              <a:gd name="T9" fmla="*/ 91 h 183"/>
              <a:gd name="T10" fmla="*/ 90 w 174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4" h="183">
                <a:moveTo>
                  <a:pt x="90" y="0"/>
                </a:moveTo>
                <a:lnTo>
                  <a:pt x="90" y="0"/>
                </a:lnTo>
                <a:cubicBezTo>
                  <a:pt x="136" y="0"/>
                  <a:pt x="173" y="46"/>
                  <a:pt x="173" y="91"/>
                </a:cubicBezTo>
                <a:cubicBezTo>
                  <a:pt x="173" y="144"/>
                  <a:pt x="136" y="182"/>
                  <a:pt x="90" y="182"/>
                </a:cubicBezTo>
                <a:cubicBezTo>
                  <a:pt x="38" y="182"/>
                  <a:pt x="0" y="144"/>
                  <a:pt x="0" y="91"/>
                </a:cubicBezTo>
                <a:cubicBezTo>
                  <a:pt x="0" y="46"/>
                  <a:pt x="38" y="0"/>
                  <a:pt x="90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9" name="Freeform 367"/>
          <p:cNvSpPr>
            <a:spLocks noChangeArrowheads="1"/>
          </p:cNvSpPr>
          <p:nvPr/>
        </p:nvSpPr>
        <p:spPr bwMode="auto">
          <a:xfrm>
            <a:off x="6697560" y="6939151"/>
            <a:ext cx="401841" cy="833231"/>
          </a:xfrm>
          <a:custGeom>
            <a:avLst/>
            <a:gdLst>
              <a:gd name="T0" fmla="*/ 257 w 483"/>
              <a:gd name="T1" fmla="*/ 0 h 1002"/>
              <a:gd name="T2" fmla="*/ 257 w 483"/>
              <a:gd name="T3" fmla="*/ 0 h 1002"/>
              <a:gd name="T4" fmla="*/ 113 w 483"/>
              <a:gd name="T5" fmla="*/ 0 h 1002"/>
              <a:gd name="T6" fmla="*/ 0 w 483"/>
              <a:gd name="T7" fmla="*/ 113 h 1002"/>
              <a:gd name="T8" fmla="*/ 0 w 483"/>
              <a:gd name="T9" fmla="*/ 437 h 1002"/>
              <a:gd name="T10" fmla="*/ 45 w 483"/>
              <a:gd name="T11" fmla="*/ 482 h 1002"/>
              <a:gd name="T12" fmla="*/ 98 w 483"/>
              <a:gd name="T13" fmla="*/ 437 h 1002"/>
              <a:gd name="T14" fmla="*/ 98 w 483"/>
              <a:gd name="T15" fmla="*/ 151 h 1002"/>
              <a:gd name="T16" fmla="*/ 98 w 483"/>
              <a:gd name="T17" fmla="*/ 151 h 1002"/>
              <a:gd name="T18" fmla="*/ 113 w 483"/>
              <a:gd name="T19" fmla="*/ 151 h 1002"/>
              <a:gd name="T20" fmla="*/ 113 w 483"/>
              <a:gd name="T21" fmla="*/ 151 h 1002"/>
              <a:gd name="T22" fmla="*/ 113 w 483"/>
              <a:gd name="T23" fmla="*/ 949 h 1002"/>
              <a:gd name="T24" fmla="*/ 173 w 483"/>
              <a:gd name="T25" fmla="*/ 1001 h 1002"/>
              <a:gd name="T26" fmla="*/ 234 w 483"/>
              <a:gd name="T27" fmla="*/ 949 h 1002"/>
              <a:gd name="T28" fmla="*/ 234 w 483"/>
              <a:gd name="T29" fmla="*/ 482 h 1002"/>
              <a:gd name="T30" fmla="*/ 241 w 483"/>
              <a:gd name="T31" fmla="*/ 474 h 1002"/>
              <a:gd name="T32" fmla="*/ 249 w 483"/>
              <a:gd name="T33" fmla="*/ 474 h 1002"/>
              <a:gd name="T34" fmla="*/ 257 w 483"/>
              <a:gd name="T35" fmla="*/ 482 h 1002"/>
              <a:gd name="T36" fmla="*/ 257 w 483"/>
              <a:gd name="T37" fmla="*/ 949 h 1002"/>
              <a:gd name="T38" fmla="*/ 317 w 483"/>
              <a:gd name="T39" fmla="*/ 1001 h 1002"/>
              <a:gd name="T40" fmla="*/ 369 w 483"/>
              <a:gd name="T41" fmla="*/ 949 h 1002"/>
              <a:gd name="T42" fmla="*/ 369 w 483"/>
              <a:gd name="T43" fmla="*/ 151 h 1002"/>
              <a:gd name="T44" fmla="*/ 377 w 483"/>
              <a:gd name="T45" fmla="*/ 151 h 1002"/>
              <a:gd name="T46" fmla="*/ 385 w 483"/>
              <a:gd name="T47" fmla="*/ 151 h 1002"/>
              <a:gd name="T48" fmla="*/ 392 w 483"/>
              <a:gd name="T49" fmla="*/ 151 h 1002"/>
              <a:gd name="T50" fmla="*/ 392 w 483"/>
              <a:gd name="T51" fmla="*/ 437 h 1002"/>
              <a:gd name="T52" fmla="*/ 437 w 483"/>
              <a:gd name="T53" fmla="*/ 482 h 1002"/>
              <a:gd name="T54" fmla="*/ 482 w 483"/>
              <a:gd name="T55" fmla="*/ 437 h 1002"/>
              <a:gd name="T56" fmla="*/ 482 w 483"/>
              <a:gd name="T57" fmla="*/ 113 h 1002"/>
              <a:gd name="T58" fmla="*/ 377 w 483"/>
              <a:gd name="T59" fmla="*/ 0 h 1002"/>
              <a:gd name="T60" fmla="*/ 257 w 483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3" h="1002">
                <a:moveTo>
                  <a:pt x="257" y="0"/>
                </a:moveTo>
                <a:lnTo>
                  <a:pt x="257" y="0"/>
                </a:lnTo>
                <a:cubicBezTo>
                  <a:pt x="113" y="0"/>
                  <a:pt x="113" y="0"/>
                  <a:pt x="113" y="0"/>
                </a:cubicBezTo>
                <a:cubicBezTo>
                  <a:pt x="53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23" y="482"/>
                  <a:pt x="45" y="482"/>
                </a:cubicBezTo>
                <a:cubicBezTo>
                  <a:pt x="76" y="482"/>
                  <a:pt x="98" y="460"/>
                  <a:pt x="98" y="437"/>
                </a:cubicBezTo>
                <a:lnTo>
                  <a:pt x="98" y="151"/>
                </a:lnTo>
                <a:lnTo>
                  <a:pt x="98" y="151"/>
                </a:lnTo>
                <a:cubicBezTo>
                  <a:pt x="113" y="151"/>
                  <a:pt x="113" y="151"/>
                  <a:pt x="113" y="151"/>
                </a:cubicBezTo>
                <a:lnTo>
                  <a:pt x="113" y="151"/>
                </a:lnTo>
                <a:cubicBezTo>
                  <a:pt x="113" y="949"/>
                  <a:pt x="113" y="949"/>
                  <a:pt x="113" y="949"/>
                </a:cubicBezTo>
                <a:cubicBezTo>
                  <a:pt x="113" y="978"/>
                  <a:pt x="144" y="1001"/>
                  <a:pt x="173" y="1001"/>
                </a:cubicBezTo>
                <a:cubicBezTo>
                  <a:pt x="204" y="1001"/>
                  <a:pt x="234" y="978"/>
                  <a:pt x="234" y="949"/>
                </a:cubicBezTo>
                <a:cubicBezTo>
                  <a:pt x="234" y="482"/>
                  <a:pt x="234" y="482"/>
                  <a:pt x="234" y="482"/>
                </a:cubicBezTo>
                <a:cubicBezTo>
                  <a:pt x="234" y="474"/>
                  <a:pt x="234" y="474"/>
                  <a:pt x="241" y="474"/>
                </a:cubicBezTo>
                <a:cubicBezTo>
                  <a:pt x="249" y="474"/>
                  <a:pt x="249" y="474"/>
                  <a:pt x="249" y="474"/>
                </a:cubicBezTo>
                <a:cubicBezTo>
                  <a:pt x="249" y="474"/>
                  <a:pt x="257" y="474"/>
                  <a:pt x="257" y="482"/>
                </a:cubicBezTo>
                <a:cubicBezTo>
                  <a:pt x="257" y="949"/>
                  <a:pt x="257" y="949"/>
                  <a:pt x="257" y="949"/>
                </a:cubicBezTo>
                <a:cubicBezTo>
                  <a:pt x="257" y="978"/>
                  <a:pt x="278" y="1001"/>
                  <a:pt x="317" y="1001"/>
                </a:cubicBezTo>
                <a:cubicBezTo>
                  <a:pt x="346" y="1001"/>
                  <a:pt x="369" y="978"/>
                  <a:pt x="369" y="949"/>
                </a:cubicBezTo>
                <a:cubicBezTo>
                  <a:pt x="369" y="151"/>
                  <a:pt x="369" y="151"/>
                  <a:pt x="369" y="151"/>
                </a:cubicBezTo>
                <a:lnTo>
                  <a:pt x="377" y="151"/>
                </a:lnTo>
                <a:cubicBezTo>
                  <a:pt x="385" y="151"/>
                  <a:pt x="385" y="151"/>
                  <a:pt x="385" y="151"/>
                </a:cubicBezTo>
                <a:cubicBezTo>
                  <a:pt x="392" y="151"/>
                  <a:pt x="392" y="151"/>
                  <a:pt x="392" y="151"/>
                </a:cubicBezTo>
                <a:lnTo>
                  <a:pt x="392" y="437"/>
                </a:lnTo>
                <a:cubicBezTo>
                  <a:pt x="392" y="460"/>
                  <a:pt x="414" y="482"/>
                  <a:pt x="437" y="482"/>
                </a:cubicBezTo>
                <a:cubicBezTo>
                  <a:pt x="467" y="482"/>
                  <a:pt x="482" y="460"/>
                  <a:pt x="482" y="437"/>
                </a:cubicBezTo>
                <a:cubicBezTo>
                  <a:pt x="482" y="113"/>
                  <a:pt x="482" y="113"/>
                  <a:pt x="482" y="113"/>
                </a:cubicBezTo>
                <a:cubicBezTo>
                  <a:pt x="482" y="52"/>
                  <a:pt x="437" y="0"/>
                  <a:pt x="377" y="0"/>
                </a:cubicBezTo>
                <a:lnTo>
                  <a:pt x="257" y="0"/>
                </a:ln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0" name="Freeform 368"/>
          <p:cNvSpPr>
            <a:spLocks noChangeArrowheads="1"/>
          </p:cNvSpPr>
          <p:nvPr/>
        </p:nvSpPr>
        <p:spPr bwMode="auto">
          <a:xfrm>
            <a:off x="6807821" y="6769555"/>
            <a:ext cx="143777" cy="147475"/>
          </a:xfrm>
          <a:custGeom>
            <a:avLst/>
            <a:gdLst>
              <a:gd name="T0" fmla="*/ 83 w 175"/>
              <a:gd name="T1" fmla="*/ 0 h 183"/>
              <a:gd name="T2" fmla="*/ 83 w 175"/>
              <a:gd name="T3" fmla="*/ 0 h 183"/>
              <a:gd name="T4" fmla="*/ 174 w 175"/>
              <a:gd name="T5" fmla="*/ 91 h 183"/>
              <a:gd name="T6" fmla="*/ 83 w 175"/>
              <a:gd name="T7" fmla="*/ 182 h 183"/>
              <a:gd name="T8" fmla="*/ 0 w 175"/>
              <a:gd name="T9" fmla="*/ 91 h 183"/>
              <a:gd name="T10" fmla="*/ 83 w 175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5" h="183">
                <a:moveTo>
                  <a:pt x="83" y="0"/>
                </a:moveTo>
                <a:lnTo>
                  <a:pt x="83" y="0"/>
                </a:lnTo>
                <a:cubicBezTo>
                  <a:pt x="136" y="0"/>
                  <a:pt x="174" y="46"/>
                  <a:pt x="174" y="91"/>
                </a:cubicBezTo>
                <a:cubicBezTo>
                  <a:pt x="174" y="144"/>
                  <a:pt x="136" y="182"/>
                  <a:pt x="83" y="182"/>
                </a:cubicBezTo>
                <a:cubicBezTo>
                  <a:pt x="38" y="182"/>
                  <a:pt x="0" y="144"/>
                  <a:pt x="0" y="91"/>
                </a:cubicBezTo>
                <a:cubicBezTo>
                  <a:pt x="0" y="46"/>
                  <a:pt x="38" y="0"/>
                  <a:pt x="83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1" name="Freeform 369"/>
          <p:cNvSpPr>
            <a:spLocks noChangeArrowheads="1"/>
          </p:cNvSpPr>
          <p:nvPr/>
        </p:nvSpPr>
        <p:spPr bwMode="auto">
          <a:xfrm>
            <a:off x="7390646" y="6939151"/>
            <a:ext cx="401841" cy="833231"/>
          </a:xfrm>
          <a:custGeom>
            <a:avLst/>
            <a:gdLst>
              <a:gd name="T0" fmla="*/ 248 w 484"/>
              <a:gd name="T1" fmla="*/ 0 h 1002"/>
              <a:gd name="T2" fmla="*/ 248 w 484"/>
              <a:gd name="T3" fmla="*/ 0 h 1002"/>
              <a:gd name="T4" fmla="*/ 114 w 484"/>
              <a:gd name="T5" fmla="*/ 0 h 1002"/>
              <a:gd name="T6" fmla="*/ 0 w 484"/>
              <a:gd name="T7" fmla="*/ 113 h 1002"/>
              <a:gd name="T8" fmla="*/ 0 w 484"/>
              <a:gd name="T9" fmla="*/ 437 h 1002"/>
              <a:gd name="T10" fmla="*/ 46 w 484"/>
              <a:gd name="T11" fmla="*/ 482 h 1002"/>
              <a:gd name="T12" fmla="*/ 91 w 484"/>
              <a:gd name="T13" fmla="*/ 437 h 1002"/>
              <a:gd name="T14" fmla="*/ 91 w 484"/>
              <a:gd name="T15" fmla="*/ 151 h 1002"/>
              <a:gd name="T16" fmla="*/ 98 w 484"/>
              <a:gd name="T17" fmla="*/ 151 h 1002"/>
              <a:gd name="T18" fmla="*/ 106 w 484"/>
              <a:gd name="T19" fmla="*/ 151 h 1002"/>
              <a:gd name="T20" fmla="*/ 114 w 484"/>
              <a:gd name="T21" fmla="*/ 151 h 1002"/>
              <a:gd name="T22" fmla="*/ 114 w 484"/>
              <a:gd name="T23" fmla="*/ 949 h 1002"/>
              <a:gd name="T24" fmla="*/ 174 w 484"/>
              <a:gd name="T25" fmla="*/ 1001 h 1002"/>
              <a:gd name="T26" fmla="*/ 234 w 484"/>
              <a:gd name="T27" fmla="*/ 949 h 1002"/>
              <a:gd name="T28" fmla="*/ 234 w 484"/>
              <a:gd name="T29" fmla="*/ 482 h 1002"/>
              <a:gd name="T30" fmla="*/ 234 w 484"/>
              <a:gd name="T31" fmla="*/ 474 h 1002"/>
              <a:gd name="T32" fmla="*/ 248 w 484"/>
              <a:gd name="T33" fmla="*/ 474 h 1002"/>
              <a:gd name="T34" fmla="*/ 248 w 484"/>
              <a:gd name="T35" fmla="*/ 482 h 1002"/>
              <a:gd name="T36" fmla="*/ 248 w 484"/>
              <a:gd name="T37" fmla="*/ 949 h 1002"/>
              <a:gd name="T38" fmla="*/ 310 w 484"/>
              <a:gd name="T39" fmla="*/ 1001 h 1002"/>
              <a:gd name="T40" fmla="*/ 369 w 484"/>
              <a:gd name="T41" fmla="*/ 949 h 1002"/>
              <a:gd name="T42" fmla="*/ 369 w 484"/>
              <a:gd name="T43" fmla="*/ 151 h 1002"/>
              <a:gd name="T44" fmla="*/ 376 w 484"/>
              <a:gd name="T45" fmla="*/ 151 h 1002"/>
              <a:gd name="T46" fmla="*/ 384 w 484"/>
              <a:gd name="T47" fmla="*/ 151 h 1002"/>
              <a:gd name="T48" fmla="*/ 392 w 484"/>
              <a:gd name="T49" fmla="*/ 151 h 1002"/>
              <a:gd name="T50" fmla="*/ 392 w 484"/>
              <a:gd name="T51" fmla="*/ 437 h 1002"/>
              <a:gd name="T52" fmla="*/ 437 w 484"/>
              <a:gd name="T53" fmla="*/ 482 h 1002"/>
              <a:gd name="T54" fmla="*/ 483 w 484"/>
              <a:gd name="T55" fmla="*/ 437 h 1002"/>
              <a:gd name="T56" fmla="*/ 483 w 484"/>
              <a:gd name="T57" fmla="*/ 113 h 1002"/>
              <a:gd name="T58" fmla="*/ 369 w 484"/>
              <a:gd name="T59" fmla="*/ 0 h 1002"/>
              <a:gd name="T60" fmla="*/ 248 w 484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4" h="1002">
                <a:moveTo>
                  <a:pt x="248" y="0"/>
                </a:moveTo>
                <a:lnTo>
                  <a:pt x="248" y="0"/>
                </a:lnTo>
                <a:cubicBezTo>
                  <a:pt x="114" y="0"/>
                  <a:pt x="114" y="0"/>
                  <a:pt x="114" y="0"/>
                </a:cubicBezTo>
                <a:cubicBezTo>
                  <a:pt x="52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23" y="482"/>
                  <a:pt x="46" y="482"/>
                </a:cubicBezTo>
                <a:cubicBezTo>
                  <a:pt x="75" y="482"/>
                  <a:pt x="91" y="460"/>
                  <a:pt x="91" y="437"/>
                </a:cubicBezTo>
                <a:lnTo>
                  <a:pt x="91" y="151"/>
                </a:lnTo>
                <a:lnTo>
                  <a:pt x="98" y="151"/>
                </a:lnTo>
                <a:cubicBezTo>
                  <a:pt x="106" y="151"/>
                  <a:pt x="106" y="151"/>
                  <a:pt x="106" y="151"/>
                </a:cubicBezTo>
                <a:cubicBezTo>
                  <a:pt x="114" y="151"/>
                  <a:pt x="114" y="151"/>
                  <a:pt x="114" y="151"/>
                </a:cubicBezTo>
                <a:cubicBezTo>
                  <a:pt x="114" y="949"/>
                  <a:pt x="114" y="949"/>
                  <a:pt x="114" y="949"/>
                </a:cubicBezTo>
                <a:cubicBezTo>
                  <a:pt x="114" y="978"/>
                  <a:pt x="136" y="1001"/>
                  <a:pt x="174" y="1001"/>
                </a:cubicBezTo>
                <a:cubicBezTo>
                  <a:pt x="203" y="1001"/>
                  <a:pt x="234" y="978"/>
                  <a:pt x="234" y="949"/>
                </a:cubicBezTo>
                <a:cubicBezTo>
                  <a:pt x="234" y="482"/>
                  <a:pt x="234" y="482"/>
                  <a:pt x="234" y="482"/>
                </a:cubicBezTo>
                <a:cubicBezTo>
                  <a:pt x="234" y="474"/>
                  <a:pt x="234" y="474"/>
                  <a:pt x="234" y="474"/>
                </a:cubicBezTo>
                <a:cubicBezTo>
                  <a:pt x="248" y="474"/>
                  <a:pt x="248" y="474"/>
                  <a:pt x="248" y="474"/>
                </a:cubicBezTo>
                <a:cubicBezTo>
                  <a:pt x="248" y="474"/>
                  <a:pt x="248" y="474"/>
                  <a:pt x="248" y="482"/>
                </a:cubicBezTo>
                <a:cubicBezTo>
                  <a:pt x="248" y="949"/>
                  <a:pt x="248" y="949"/>
                  <a:pt x="248" y="949"/>
                </a:cubicBezTo>
                <a:cubicBezTo>
                  <a:pt x="248" y="978"/>
                  <a:pt x="279" y="1001"/>
                  <a:pt x="310" y="1001"/>
                </a:cubicBezTo>
                <a:cubicBezTo>
                  <a:pt x="347" y="1001"/>
                  <a:pt x="369" y="978"/>
                  <a:pt x="369" y="949"/>
                </a:cubicBezTo>
                <a:cubicBezTo>
                  <a:pt x="369" y="151"/>
                  <a:pt x="369" y="151"/>
                  <a:pt x="369" y="151"/>
                </a:cubicBezTo>
                <a:cubicBezTo>
                  <a:pt x="369" y="151"/>
                  <a:pt x="369" y="151"/>
                  <a:pt x="376" y="151"/>
                </a:cubicBezTo>
                <a:cubicBezTo>
                  <a:pt x="384" y="151"/>
                  <a:pt x="384" y="151"/>
                  <a:pt x="384" y="151"/>
                </a:cubicBezTo>
                <a:lnTo>
                  <a:pt x="392" y="151"/>
                </a:lnTo>
                <a:lnTo>
                  <a:pt x="392" y="437"/>
                </a:lnTo>
                <a:cubicBezTo>
                  <a:pt x="392" y="460"/>
                  <a:pt x="407" y="482"/>
                  <a:pt x="437" y="482"/>
                </a:cubicBezTo>
                <a:cubicBezTo>
                  <a:pt x="460" y="482"/>
                  <a:pt x="483" y="460"/>
                  <a:pt x="483" y="437"/>
                </a:cubicBezTo>
                <a:cubicBezTo>
                  <a:pt x="483" y="113"/>
                  <a:pt x="483" y="113"/>
                  <a:pt x="483" y="113"/>
                </a:cubicBezTo>
                <a:cubicBezTo>
                  <a:pt x="483" y="52"/>
                  <a:pt x="437" y="0"/>
                  <a:pt x="369" y="0"/>
                </a:cubicBezTo>
                <a:lnTo>
                  <a:pt x="248" y="0"/>
                </a:ln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2" name="Freeform 370"/>
          <p:cNvSpPr>
            <a:spLocks noChangeArrowheads="1"/>
          </p:cNvSpPr>
          <p:nvPr/>
        </p:nvSpPr>
        <p:spPr bwMode="auto">
          <a:xfrm>
            <a:off x="7515992" y="6769555"/>
            <a:ext cx="147465" cy="147475"/>
          </a:xfrm>
          <a:custGeom>
            <a:avLst/>
            <a:gdLst>
              <a:gd name="T0" fmla="*/ 91 w 182"/>
              <a:gd name="T1" fmla="*/ 0 h 183"/>
              <a:gd name="T2" fmla="*/ 91 w 182"/>
              <a:gd name="T3" fmla="*/ 0 h 183"/>
              <a:gd name="T4" fmla="*/ 181 w 182"/>
              <a:gd name="T5" fmla="*/ 91 h 183"/>
              <a:gd name="T6" fmla="*/ 91 w 182"/>
              <a:gd name="T7" fmla="*/ 182 h 183"/>
              <a:gd name="T8" fmla="*/ 0 w 182"/>
              <a:gd name="T9" fmla="*/ 91 h 183"/>
              <a:gd name="T10" fmla="*/ 91 w 182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2" h="183">
                <a:moveTo>
                  <a:pt x="91" y="0"/>
                </a:moveTo>
                <a:lnTo>
                  <a:pt x="91" y="0"/>
                </a:lnTo>
                <a:cubicBezTo>
                  <a:pt x="143" y="0"/>
                  <a:pt x="181" y="46"/>
                  <a:pt x="181" y="91"/>
                </a:cubicBezTo>
                <a:cubicBezTo>
                  <a:pt x="181" y="144"/>
                  <a:pt x="143" y="182"/>
                  <a:pt x="91" y="182"/>
                </a:cubicBezTo>
                <a:cubicBezTo>
                  <a:pt x="45" y="182"/>
                  <a:pt x="0" y="144"/>
                  <a:pt x="0" y="91"/>
                </a:cubicBezTo>
                <a:cubicBezTo>
                  <a:pt x="0" y="46"/>
                  <a:pt x="45" y="0"/>
                  <a:pt x="91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3" name="Freeform 371"/>
          <p:cNvSpPr>
            <a:spLocks noChangeArrowheads="1"/>
          </p:cNvSpPr>
          <p:nvPr/>
        </p:nvSpPr>
        <p:spPr bwMode="auto">
          <a:xfrm>
            <a:off x="8080044" y="6939151"/>
            <a:ext cx="401841" cy="833231"/>
          </a:xfrm>
          <a:custGeom>
            <a:avLst/>
            <a:gdLst>
              <a:gd name="T0" fmla="*/ 249 w 483"/>
              <a:gd name="T1" fmla="*/ 0 h 1002"/>
              <a:gd name="T2" fmla="*/ 249 w 483"/>
              <a:gd name="T3" fmla="*/ 0 h 1002"/>
              <a:gd name="T4" fmla="*/ 106 w 483"/>
              <a:gd name="T5" fmla="*/ 0 h 1002"/>
              <a:gd name="T6" fmla="*/ 0 w 483"/>
              <a:gd name="T7" fmla="*/ 113 h 1002"/>
              <a:gd name="T8" fmla="*/ 0 w 483"/>
              <a:gd name="T9" fmla="*/ 437 h 1002"/>
              <a:gd name="T10" fmla="*/ 45 w 483"/>
              <a:gd name="T11" fmla="*/ 482 h 1002"/>
              <a:gd name="T12" fmla="*/ 90 w 483"/>
              <a:gd name="T13" fmla="*/ 437 h 1002"/>
              <a:gd name="T14" fmla="*/ 90 w 483"/>
              <a:gd name="T15" fmla="*/ 151 h 1002"/>
              <a:gd name="T16" fmla="*/ 98 w 483"/>
              <a:gd name="T17" fmla="*/ 151 h 1002"/>
              <a:gd name="T18" fmla="*/ 106 w 483"/>
              <a:gd name="T19" fmla="*/ 151 h 1002"/>
              <a:gd name="T20" fmla="*/ 113 w 483"/>
              <a:gd name="T21" fmla="*/ 151 h 1002"/>
              <a:gd name="T22" fmla="*/ 113 w 483"/>
              <a:gd name="T23" fmla="*/ 949 h 1002"/>
              <a:gd name="T24" fmla="*/ 173 w 483"/>
              <a:gd name="T25" fmla="*/ 1001 h 1002"/>
              <a:gd name="T26" fmla="*/ 226 w 483"/>
              <a:gd name="T27" fmla="*/ 949 h 1002"/>
              <a:gd name="T28" fmla="*/ 226 w 483"/>
              <a:gd name="T29" fmla="*/ 482 h 1002"/>
              <a:gd name="T30" fmla="*/ 234 w 483"/>
              <a:gd name="T31" fmla="*/ 474 h 1002"/>
              <a:gd name="T32" fmla="*/ 241 w 483"/>
              <a:gd name="T33" fmla="*/ 474 h 1002"/>
              <a:gd name="T34" fmla="*/ 249 w 483"/>
              <a:gd name="T35" fmla="*/ 482 h 1002"/>
              <a:gd name="T36" fmla="*/ 249 w 483"/>
              <a:gd name="T37" fmla="*/ 949 h 1002"/>
              <a:gd name="T38" fmla="*/ 309 w 483"/>
              <a:gd name="T39" fmla="*/ 1001 h 1002"/>
              <a:gd name="T40" fmla="*/ 369 w 483"/>
              <a:gd name="T41" fmla="*/ 949 h 1002"/>
              <a:gd name="T42" fmla="*/ 369 w 483"/>
              <a:gd name="T43" fmla="*/ 151 h 1002"/>
              <a:gd name="T44" fmla="*/ 377 w 483"/>
              <a:gd name="T45" fmla="*/ 151 h 1002"/>
              <a:gd name="T46" fmla="*/ 385 w 483"/>
              <a:gd name="T47" fmla="*/ 151 h 1002"/>
              <a:gd name="T48" fmla="*/ 385 w 483"/>
              <a:gd name="T49" fmla="*/ 151 h 1002"/>
              <a:gd name="T50" fmla="*/ 385 w 483"/>
              <a:gd name="T51" fmla="*/ 437 h 1002"/>
              <a:gd name="T52" fmla="*/ 437 w 483"/>
              <a:gd name="T53" fmla="*/ 482 h 1002"/>
              <a:gd name="T54" fmla="*/ 482 w 483"/>
              <a:gd name="T55" fmla="*/ 437 h 1002"/>
              <a:gd name="T56" fmla="*/ 482 w 483"/>
              <a:gd name="T57" fmla="*/ 113 h 1002"/>
              <a:gd name="T58" fmla="*/ 369 w 483"/>
              <a:gd name="T59" fmla="*/ 0 h 1002"/>
              <a:gd name="T60" fmla="*/ 249 w 483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3" h="1002">
                <a:moveTo>
                  <a:pt x="249" y="0"/>
                </a:moveTo>
                <a:lnTo>
                  <a:pt x="249" y="0"/>
                </a:lnTo>
                <a:cubicBezTo>
                  <a:pt x="106" y="0"/>
                  <a:pt x="106" y="0"/>
                  <a:pt x="106" y="0"/>
                </a:cubicBezTo>
                <a:cubicBezTo>
                  <a:pt x="45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22" y="482"/>
                  <a:pt x="45" y="482"/>
                </a:cubicBezTo>
                <a:cubicBezTo>
                  <a:pt x="68" y="482"/>
                  <a:pt x="90" y="460"/>
                  <a:pt x="90" y="437"/>
                </a:cubicBezTo>
                <a:lnTo>
                  <a:pt x="90" y="151"/>
                </a:lnTo>
                <a:cubicBezTo>
                  <a:pt x="90" y="151"/>
                  <a:pt x="90" y="151"/>
                  <a:pt x="98" y="151"/>
                </a:cubicBezTo>
                <a:cubicBezTo>
                  <a:pt x="106" y="151"/>
                  <a:pt x="106" y="151"/>
                  <a:pt x="106" y="151"/>
                </a:cubicBezTo>
                <a:lnTo>
                  <a:pt x="113" y="151"/>
                </a:lnTo>
                <a:cubicBezTo>
                  <a:pt x="113" y="949"/>
                  <a:pt x="113" y="949"/>
                  <a:pt x="113" y="949"/>
                </a:cubicBezTo>
                <a:cubicBezTo>
                  <a:pt x="113" y="978"/>
                  <a:pt x="136" y="1001"/>
                  <a:pt x="173" y="1001"/>
                </a:cubicBezTo>
                <a:cubicBezTo>
                  <a:pt x="204" y="1001"/>
                  <a:pt x="226" y="978"/>
                  <a:pt x="226" y="949"/>
                </a:cubicBezTo>
                <a:cubicBezTo>
                  <a:pt x="226" y="482"/>
                  <a:pt x="226" y="482"/>
                  <a:pt x="226" y="482"/>
                </a:cubicBezTo>
                <a:cubicBezTo>
                  <a:pt x="226" y="474"/>
                  <a:pt x="234" y="474"/>
                  <a:pt x="234" y="474"/>
                </a:cubicBezTo>
                <a:cubicBezTo>
                  <a:pt x="241" y="474"/>
                  <a:pt x="241" y="474"/>
                  <a:pt x="241" y="474"/>
                </a:cubicBezTo>
                <a:cubicBezTo>
                  <a:pt x="249" y="474"/>
                  <a:pt x="249" y="474"/>
                  <a:pt x="249" y="482"/>
                </a:cubicBezTo>
                <a:cubicBezTo>
                  <a:pt x="249" y="949"/>
                  <a:pt x="249" y="949"/>
                  <a:pt x="249" y="949"/>
                </a:cubicBezTo>
                <a:cubicBezTo>
                  <a:pt x="249" y="978"/>
                  <a:pt x="278" y="1001"/>
                  <a:pt x="309" y="1001"/>
                </a:cubicBezTo>
                <a:cubicBezTo>
                  <a:pt x="339" y="1001"/>
                  <a:pt x="369" y="978"/>
                  <a:pt x="369" y="949"/>
                </a:cubicBezTo>
                <a:cubicBezTo>
                  <a:pt x="369" y="151"/>
                  <a:pt x="369" y="151"/>
                  <a:pt x="369" y="151"/>
                </a:cubicBezTo>
                <a:cubicBezTo>
                  <a:pt x="369" y="151"/>
                  <a:pt x="369" y="151"/>
                  <a:pt x="377" y="151"/>
                </a:cubicBezTo>
                <a:cubicBezTo>
                  <a:pt x="385" y="151"/>
                  <a:pt x="385" y="151"/>
                  <a:pt x="385" y="151"/>
                </a:cubicBezTo>
                <a:lnTo>
                  <a:pt x="385" y="151"/>
                </a:lnTo>
                <a:lnTo>
                  <a:pt x="385" y="437"/>
                </a:lnTo>
                <a:cubicBezTo>
                  <a:pt x="385" y="460"/>
                  <a:pt x="407" y="482"/>
                  <a:pt x="437" y="482"/>
                </a:cubicBezTo>
                <a:cubicBezTo>
                  <a:pt x="459" y="482"/>
                  <a:pt x="482" y="460"/>
                  <a:pt x="482" y="437"/>
                </a:cubicBezTo>
                <a:cubicBezTo>
                  <a:pt x="482" y="113"/>
                  <a:pt x="482" y="113"/>
                  <a:pt x="482" y="113"/>
                </a:cubicBezTo>
                <a:cubicBezTo>
                  <a:pt x="482" y="52"/>
                  <a:pt x="429" y="0"/>
                  <a:pt x="369" y="0"/>
                </a:cubicBezTo>
                <a:lnTo>
                  <a:pt x="249" y="0"/>
                </a:ln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4" name="Freeform 372"/>
          <p:cNvSpPr>
            <a:spLocks noChangeArrowheads="1"/>
          </p:cNvSpPr>
          <p:nvPr/>
        </p:nvSpPr>
        <p:spPr bwMode="auto">
          <a:xfrm>
            <a:off x="8205391" y="6769555"/>
            <a:ext cx="147465" cy="147475"/>
          </a:xfrm>
          <a:custGeom>
            <a:avLst/>
            <a:gdLst>
              <a:gd name="T0" fmla="*/ 91 w 182"/>
              <a:gd name="T1" fmla="*/ 0 h 183"/>
              <a:gd name="T2" fmla="*/ 91 w 182"/>
              <a:gd name="T3" fmla="*/ 0 h 183"/>
              <a:gd name="T4" fmla="*/ 181 w 182"/>
              <a:gd name="T5" fmla="*/ 91 h 183"/>
              <a:gd name="T6" fmla="*/ 91 w 182"/>
              <a:gd name="T7" fmla="*/ 182 h 183"/>
              <a:gd name="T8" fmla="*/ 0 w 182"/>
              <a:gd name="T9" fmla="*/ 91 h 183"/>
              <a:gd name="T10" fmla="*/ 91 w 182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2" h="183">
                <a:moveTo>
                  <a:pt x="91" y="0"/>
                </a:moveTo>
                <a:lnTo>
                  <a:pt x="91" y="0"/>
                </a:lnTo>
                <a:cubicBezTo>
                  <a:pt x="136" y="0"/>
                  <a:pt x="181" y="46"/>
                  <a:pt x="181" y="91"/>
                </a:cubicBezTo>
                <a:cubicBezTo>
                  <a:pt x="181" y="144"/>
                  <a:pt x="136" y="182"/>
                  <a:pt x="91" y="182"/>
                </a:cubicBezTo>
                <a:cubicBezTo>
                  <a:pt x="39" y="182"/>
                  <a:pt x="0" y="144"/>
                  <a:pt x="0" y="91"/>
                </a:cubicBezTo>
                <a:cubicBezTo>
                  <a:pt x="0" y="46"/>
                  <a:pt x="39" y="0"/>
                  <a:pt x="91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5" name="Freeform 373"/>
          <p:cNvSpPr>
            <a:spLocks noChangeArrowheads="1"/>
          </p:cNvSpPr>
          <p:nvPr/>
        </p:nvSpPr>
        <p:spPr bwMode="auto">
          <a:xfrm>
            <a:off x="8765757" y="6939151"/>
            <a:ext cx="401841" cy="833231"/>
          </a:xfrm>
          <a:custGeom>
            <a:avLst/>
            <a:gdLst>
              <a:gd name="T0" fmla="*/ 256 w 484"/>
              <a:gd name="T1" fmla="*/ 0 h 1002"/>
              <a:gd name="T2" fmla="*/ 256 w 484"/>
              <a:gd name="T3" fmla="*/ 0 h 1002"/>
              <a:gd name="T4" fmla="*/ 114 w 484"/>
              <a:gd name="T5" fmla="*/ 0 h 1002"/>
              <a:gd name="T6" fmla="*/ 0 w 484"/>
              <a:gd name="T7" fmla="*/ 113 h 1002"/>
              <a:gd name="T8" fmla="*/ 0 w 484"/>
              <a:gd name="T9" fmla="*/ 437 h 1002"/>
              <a:gd name="T10" fmla="*/ 54 w 484"/>
              <a:gd name="T11" fmla="*/ 482 h 1002"/>
              <a:gd name="T12" fmla="*/ 99 w 484"/>
              <a:gd name="T13" fmla="*/ 437 h 1002"/>
              <a:gd name="T14" fmla="*/ 99 w 484"/>
              <a:gd name="T15" fmla="*/ 151 h 1002"/>
              <a:gd name="T16" fmla="*/ 99 w 484"/>
              <a:gd name="T17" fmla="*/ 151 h 1002"/>
              <a:gd name="T18" fmla="*/ 114 w 484"/>
              <a:gd name="T19" fmla="*/ 151 h 1002"/>
              <a:gd name="T20" fmla="*/ 114 w 484"/>
              <a:gd name="T21" fmla="*/ 151 h 1002"/>
              <a:gd name="T22" fmla="*/ 114 w 484"/>
              <a:gd name="T23" fmla="*/ 949 h 1002"/>
              <a:gd name="T24" fmla="*/ 174 w 484"/>
              <a:gd name="T25" fmla="*/ 1001 h 1002"/>
              <a:gd name="T26" fmla="*/ 233 w 484"/>
              <a:gd name="T27" fmla="*/ 949 h 1002"/>
              <a:gd name="T28" fmla="*/ 233 w 484"/>
              <a:gd name="T29" fmla="*/ 482 h 1002"/>
              <a:gd name="T30" fmla="*/ 241 w 484"/>
              <a:gd name="T31" fmla="*/ 474 h 1002"/>
              <a:gd name="T32" fmla="*/ 249 w 484"/>
              <a:gd name="T33" fmla="*/ 474 h 1002"/>
              <a:gd name="T34" fmla="*/ 256 w 484"/>
              <a:gd name="T35" fmla="*/ 482 h 1002"/>
              <a:gd name="T36" fmla="*/ 256 w 484"/>
              <a:gd name="T37" fmla="*/ 949 h 1002"/>
              <a:gd name="T38" fmla="*/ 317 w 484"/>
              <a:gd name="T39" fmla="*/ 1001 h 1002"/>
              <a:gd name="T40" fmla="*/ 377 w 484"/>
              <a:gd name="T41" fmla="*/ 949 h 1002"/>
              <a:gd name="T42" fmla="*/ 377 w 484"/>
              <a:gd name="T43" fmla="*/ 151 h 1002"/>
              <a:gd name="T44" fmla="*/ 377 w 484"/>
              <a:gd name="T45" fmla="*/ 151 h 1002"/>
              <a:gd name="T46" fmla="*/ 392 w 484"/>
              <a:gd name="T47" fmla="*/ 151 h 1002"/>
              <a:gd name="T48" fmla="*/ 392 w 484"/>
              <a:gd name="T49" fmla="*/ 151 h 1002"/>
              <a:gd name="T50" fmla="*/ 392 w 484"/>
              <a:gd name="T51" fmla="*/ 437 h 1002"/>
              <a:gd name="T52" fmla="*/ 437 w 484"/>
              <a:gd name="T53" fmla="*/ 482 h 1002"/>
              <a:gd name="T54" fmla="*/ 483 w 484"/>
              <a:gd name="T55" fmla="*/ 437 h 1002"/>
              <a:gd name="T56" fmla="*/ 483 w 484"/>
              <a:gd name="T57" fmla="*/ 113 h 1002"/>
              <a:gd name="T58" fmla="*/ 377 w 484"/>
              <a:gd name="T59" fmla="*/ 0 h 1002"/>
              <a:gd name="T60" fmla="*/ 256 w 484"/>
              <a:gd name="T61" fmla="*/ 0 h 10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84" h="1002">
                <a:moveTo>
                  <a:pt x="256" y="0"/>
                </a:moveTo>
                <a:lnTo>
                  <a:pt x="256" y="0"/>
                </a:lnTo>
                <a:cubicBezTo>
                  <a:pt x="114" y="0"/>
                  <a:pt x="114" y="0"/>
                  <a:pt x="114" y="0"/>
                </a:cubicBezTo>
                <a:cubicBezTo>
                  <a:pt x="54" y="0"/>
                  <a:pt x="0" y="52"/>
                  <a:pt x="0" y="113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60"/>
                  <a:pt x="23" y="482"/>
                  <a:pt x="54" y="482"/>
                </a:cubicBezTo>
                <a:cubicBezTo>
                  <a:pt x="76" y="482"/>
                  <a:pt x="99" y="460"/>
                  <a:pt x="99" y="437"/>
                </a:cubicBezTo>
                <a:lnTo>
                  <a:pt x="99" y="151"/>
                </a:lnTo>
                <a:lnTo>
                  <a:pt x="99" y="151"/>
                </a:lnTo>
                <a:cubicBezTo>
                  <a:pt x="114" y="151"/>
                  <a:pt x="114" y="151"/>
                  <a:pt x="114" y="151"/>
                </a:cubicBezTo>
                <a:lnTo>
                  <a:pt x="114" y="151"/>
                </a:lnTo>
                <a:cubicBezTo>
                  <a:pt x="114" y="949"/>
                  <a:pt x="114" y="949"/>
                  <a:pt x="114" y="949"/>
                </a:cubicBezTo>
                <a:cubicBezTo>
                  <a:pt x="114" y="978"/>
                  <a:pt x="144" y="1001"/>
                  <a:pt x="174" y="1001"/>
                </a:cubicBezTo>
                <a:cubicBezTo>
                  <a:pt x="211" y="1001"/>
                  <a:pt x="233" y="978"/>
                  <a:pt x="233" y="949"/>
                </a:cubicBezTo>
                <a:cubicBezTo>
                  <a:pt x="233" y="482"/>
                  <a:pt x="233" y="482"/>
                  <a:pt x="233" y="482"/>
                </a:cubicBezTo>
                <a:cubicBezTo>
                  <a:pt x="233" y="474"/>
                  <a:pt x="233" y="474"/>
                  <a:pt x="241" y="474"/>
                </a:cubicBezTo>
                <a:cubicBezTo>
                  <a:pt x="249" y="474"/>
                  <a:pt x="249" y="474"/>
                  <a:pt x="249" y="474"/>
                </a:cubicBezTo>
                <a:cubicBezTo>
                  <a:pt x="256" y="474"/>
                  <a:pt x="256" y="474"/>
                  <a:pt x="256" y="482"/>
                </a:cubicBezTo>
                <a:cubicBezTo>
                  <a:pt x="256" y="949"/>
                  <a:pt x="256" y="949"/>
                  <a:pt x="256" y="949"/>
                </a:cubicBezTo>
                <a:cubicBezTo>
                  <a:pt x="256" y="978"/>
                  <a:pt x="279" y="1001"/>
                  <a:pt x="317" y="1001"/>
                </a:cubicBezTo>
                <a:cubicBezTo>
                  <a:pt x="347" y="1001"/>
                  <a:pt x="377" y="978"/>
                  <a:pt x="377" y="949"/>
                </a:cubicBezTo>
                <a:cubicBezTo>
                  <a:pt x="377" y="151"/>
                  <a:pt x="377" y="151"/>
                  <a:pt x="377" y="151"/>
                </a:cubicBezTo>
                <a:lnTo>
                  <a:pt x="377" y="151"/>
                </a:lnTo>
                <a:cubicBezTo>
                  <a:pt x="392" y="151"/>
                  <a:pt x="392" y="151"/>
                  <a:pt x="392" y="151"/>
                </a:cubicBezTo>
                <a:lnTo>
                  <a:pt x="392" y="151"/>
                </a:lnTo>
                <a:lnTo>
                  <a:pt x="392" y="437"/>
                </a:lnTo>
                <a:cubicBezTo>
                  <a:pt x="392" y="460"/>
                  <a:pt x="415" y="482"/>
                  <a:pt x="437" y="482"/>
                </a:cubicBezTo>
                <a:cubicBezTo>
                  <a:pt x="468" y="482"/>
                  <a:pt x="483" y="460"/>
                  <a:pt x="483" y="437"/>
                </a:cubicBezTo>
                <a:cubicBezTo>
                  <a:pt x="483" y="113"/>
                  <a:pt x="483" y="113"/>
                  <a:pt x="483" y="113"/>
                </a:cubicBezTo>
                <a:cubicBezTo>
                  <a:pt x="483" y="52"/>
                  <a:pt x="437" y="0"/>
                  <a:pt x="377" y="0"/>
                </a:cubicBezTo>
                <a:lnTo>
                  <a:pt x="256" y="0"/>
                </a:ln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6" name="Freeform 374"/>
          <p:cNvSpPr>
            <a:spLocks noChangeArrowheads="1"/>
          </p:cNvSpPr>
          <p:nvPr/>
        </p:nvSpPr>
        <p:spPr bwMode="auto">
          <a:xfrm>
            <a:off x="8898475" y="6769555"/>
            <a:ext cx="140092" cy="147475"/>
          </a:xfrm>
          <a:custGeom>
            <a:avLst/>
            <a:gdLst>
              <a:gd name="T0" fmla="*/ 82 w 174"/>
              <a:gd name="T1" fmla="*/ 0 h 183"/>
              <a:gd name="T2" fmla="*/ 82 w 174"/>
              <a:gd name="T3" fmla="*/ 0 h 183"/>
              <a:gd name="T4" fmla="*/ 173 w 174"/>
              <a:gd name="T5" fmla="*/ 91 h 183"/>
              <a:gd name="T6" fmla="*/ 82 w 174"/>
              <a:gd name="T7" fmla="*/ 182 h 183"/>
              <a:gd name="T8" fmla="*/ 0 w 174"/>
              <a:gd name="T9" fmla="*/ 91 h 183"/>
              <a:gd name="T10" fmla="*/ 82 w 174"/>
              <a:gd name="T11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4" h="183">
                <a:moveTo>
                  <a:pt x="82" y="0"/>
                </a:moveTo>
                <a:lnTo>
                  <a:pt x="82" y="0"/>
                </a:lnTo>
                <a:cubicBezTo>
                  <a:pt x="136" y="0"/>
                  <a:pt x="173" y="46"/>
                  <a:pt x="173" y="91"/>
                </a:cubicBezTo>
                <a:cubicBezTo>
                  <a:pt x="173" y="144"/>
                  <a:pt x="136" y="182"/>
                  <a:pt x="82" y="182"/>
                </a:cubicBezTo>
                <a:cubicBezTo>
                  <a:pt x="37" y="182"/>
                  <a:pt x="0" y="144"/>
                  <a:pt x="0" y="91"/>
                </a:cubicBezTo>
                <a:cubicBezTo>
                  <a:pt x="0" y="46"/>
                  <a:pt x="37" y="0"/>
                  <a:pt x="82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8000" dirty="0">
              <a:latin typeface="Avenir Medium"/>
              <a:ea typeface="Avenir Book" charset="0"/>
              <a:cs typeface="Avenir Book" charset="0"/>
            </a:endParaRPr>
          </a:p>
        </p:txBody>
      </p:sp>
      <p:grpSp>
        <p:nvGrpSpPr>
          <p:cNvPr id="27" name="Group 18"/>
          <p:cNvGrpSpPr>
            <a:grpSpLocks noChangeAspect="1"/>
          </p:cNvGrpSpPr>
          <p:nvPr/>
        </p:nvGrpSpPr>
        <p:grpSpPr bwMode="auto">
          <a:xfrm flipH="1">
            <a:off x="4565569" y="8277354"/>
            <a:ext cx="510131" cy="958713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28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29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30" name="Group 18"/>
          <p:cNvGrpSpPr>
            <a:grpSpLocks noChangeAspect="1"/>
          </p:cNvGrpSpPr>
          <p:nvPr/>
        </p:nvGrpSpPr>
        <p:grpSpPr bwMode="auto">
          <a:xfrm flipH="1">
            <a:off x="3880905" y="8277354"/>
            <a:ext cx="510131" cy="958713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31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32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33" name="Group 18"/>
          <p:cNvGrpSpPr>
            <a:grpSpLocks noChangeAspect="1"/>
          </p:cNvGrpSpPr>
          <p:nvPr/>
        </p:nvGrpSpPr>
        <p:grpSpPr bwMode="auto">
          <a:xfrm flipH="1">
            <a:off x="3187302" y="8277354"/>
            <a:ext cx="510131" cy="958713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34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35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36" name="Group 18"/>
          <p:cNvGrpSpPr>
            <a:grpSpLocks noChangeAspect="1"/>
          </p:cNvGrpSpPr>
          <p:nvPr/>
        </p:nvGrpSpPr>
        <p:grpSpPr bwMode="auto">
          <a:xfrm flipH="1">
            <a:off x="2502638" y="8277354"/>
            <a:ext cx="510131" cy="958713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37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38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39" name="Group 18"/>
          <p:cNvGrpSpPr>
            <a:grpSpLocks noChangeAspect="1"/>
          </p:cNvGrpSpPr>
          <p:nvPr/>
        </p:nvGrpSpPr>
        <p:grpSpPr bwMode="auto">
          <a:xfrm flipH="1">
            <a:off x="5954197" y="8277354"/>
            <a:ext cx="510131" cy="958713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40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41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42" name="Group 18"/>
          <p:cNvGrpSpPr>
            <a:grpSpLocks noChangeAspect="1"/>
          </p:cNvGrpSpPr>
          <p:nvPr/>
        </p:nvGrpSpPr>
        <p:grpSpPr bwMode="auto">
          <a:xfrm flipH="1">
            <a:off x="5269533" y="8277354"/>
            <a:ext cx="510131" cy="958713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43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44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45" name="Group 18"/>
          <p:cNvGrpSpPr>
            <a:grpSpLocks noChangeAspect="1"/>
          </p:cNvGrpSpPr>
          <p:nvPr/>
        </p:nvGrpSpPr>
        <p:grpSpPr bwMode="auto">
          <a:xfrm flipH="1">
            <a:off x="7332464" y="8277354"/>
            <a:ext cx="510131" cy="958713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46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47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48" name="Group 18"/>
          <p:cNvGrpSpPr>
            <a:grpSpLocks noChangeAspect="1"/>
          </p:cNvGrpSpPr>
          <p:nvPr/>
        </p:nvGrpSpPr>
        <p:grpSpPr bwMode="auto">
          <a:xfrm flipH="1">
            <a:off x="6647800" y="8277354"/>
            <a:ext cx="510131" cy="958713"/>
            <a:chOff x="3241" y="1291"/>
            <a:chExt cx="421" cy="791"/>
          </a:xfrm>
          <a:solidFill>
            <a:schemeClr val="accent3">
              <a:lumMod val="75000"/>
            </a:schemeClr>
          </a:solidFill>
        </p:grpSpPr>
        <p:sp>
          <p:nvSpPr>
            <p:cNvPr id="49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50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51" name="Group 18"/>
          <p:cNvGrpSpPr>
            <a:grpSpLocks noChangeAspect="1"/>
          </p:cNvGrpSpPr>
          <p:nvPr/>
        </p:nvGrpSpPr>
        <p:grpSpPr bwMode="auto">
          <a:xfrm flipH="1">
            <a:off x="8740960" y="8277354"/>
            <a:ext cx="510131" cy="958713"/>
            <a:chOff x="3241" y="1291"/>
            <a:chExt cx="421" cy="791"/>
          </a:xfrm>
          <a:solidFill>
            <a:schemeClr val="bg1">
              <a:lumMod val="85000"/>
            </a:schemeClr>
          </a:solidFill>
        </p:grpSpPr>
        <p:sp>
          <p:nvSpPr>
            <p:cNvPr id="52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53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54" name="Group 18"/>
          <p:cNvGrpSpPr>
            <a:grpSpLocks noChangeAspect="1"/>
          </p:cNvGrpSpPr>
          <p:nvPr/>
        </p:nvGrpSpPr>
        <p:grpSpPr bwMode="auto">
          <a:xfrm flipH="1">
            <a:off x="8056296" y="8277354"/>
            <a:ext cx="510131" cy="958713"/>
            <a:chOff x="3241" y="1291"/>
            <a:chExt cx="421" cy="791"/>
          </a:xfrm>
          <a:solidFill>
            <a:schemeClr val="bg1">
              <a:lumMod val="85000"/>
            </a:schemeClr>
          </a:solidFill>
        </p:grpSpPr>
        <p:sp>
          <p:nvSpPr>
            <p:cNvPr id="55" name="Freeform 19"/>
            <p:cNvSpPr>
              <a:spLocks/>
            </p:cNvSpPr>
            <p:nvPr/>
          </p:nvSpPr>
          <p:spPr bwMode="auto">
            <a:xfrm>
              <a:off x="3241" y="1432"/>
              <a:ext cx="421" cy="650"/>
            </a:xfrm>
            <a:custGeom>
              <a:avLst/>
              <a:gdLst>
                <a:gd name="T0" fmla="*/ 113 w 175"/>
                <a:gd name="T1" fmla="*/ 0 h 273"/>
                <a:gd name="T2" fmla="*/ 148 w 175"/>
                <a:gd name="T3" fmla="*/ 24 h 273"/>
                <a:gd name="T4" fmla="*/ 171 w 175"/>
                <a:gd name="T5" fmla="*/ 99 h 273"/>
                <a:gd name="T6" fmla="*/ 150 w 175"/>
                <a:gd name="T7" fmla="*/ 106 h 273"/>
                <a:gd name="T8" fmla="*/ 129 w 175"/>
                <a:gd name="T9" fmla="*/ 37 h 273"/>
                <a:gd name="T10" fmla="*/ 117 w 175"/>
                <a:gd name="T11" fmla="*/ 37 h 273"/>
                <a:gd name="T12" fmla="*/ 152 w 175"/>
                <a:gd name="T13" fmla="*/ 160 h 273"/>
                <a:gd name="T14" fmla="*/ 119 w 175"/>
                <a:gd name="T15" fmla="*/ 160 h 273"/>
                <a:gd name="T16" fmla="*/ 119 w 175"/>
                <a:gd name="T17" fmla="*/ 256 h 273"/>
                <a:gd name="T18" fmla="*/ 94 w 175"/>
                <a:gd name="T19" fmla="*/ 256 h 273"/>
                <a:gd name="T20" fmla="*/ 94 w 175"/>
                <a:gd name="T21" fmla="*/ 160 h 273"/>
                <a:gd name="T22" fmla="*/ 81 w 175"/>
                <a:gd name="T23" fmla="*/ 160 h 273"/>
                <a:gd name="T24" fmla="*/ 81 w 175"/>
                <a:gd name="T25" fmla="*/ 256 h 273"/>
                <a:gd name="T26" fmla="*/ 57 w 175"/>
                <a:gd name="T27" fmla="*/ 256 h 273"/>
                <a:gd name="T28" fmla="*/ 57 w 175"/>
                <a:gd name="T29" fmla="*/ 160 h 273"/>
                <a:gd name="T30" fmla="*/ 23 w 175"/>
                <a:gd name="T31" fmla="*/ 160 h 273"/>
                <a:gd name="T32" fmla="*/ 58 w 175"/>
                <a:gd name="T33" fmla="*/ 37 h 273"/>
                <a:gd name="T34" fmla="*/ 46 w 175"/>
                <a:gd name="T35" fmla="*/ 37 h 273"/>
                <a:gd name="T36" fmla="*/ 26 w 175"/>
                <a:gd name="T37" fmla="*/ 107 h 273"/>
                <a:gd name="T38" fmla="*/ 5 w 175"/>
                <a:gd name="T39" fmla="*/ 99 h 273"/>
                <a:gd name="T40" fmla="*/ 28 w 175"/>
                <a:gd name="T41" fmla="*/ 24 h 273"/>
                <a:gd name="T42" fmla="*/ 60 w 175"/>
                <a:gd name="T43" fmla="*/ 0 h 273"/>
                <a:gd name="T44" fmla="*/ 113 w 175"/>
                <a:gd name="T4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5" h="273">
                  <a:moveTo>
                    <a:pt x="113" y="0"/>
                  </a:moveTo>
                  <a:cubicBezTo>
                    <a:pt x="131" y="0"/>
                    <a:pt x="145" y="15"/>
                    <a:pt x="148" y="24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5" y="115"/>
                    <a:pt x="154" y="122"/>
                    <a:pt x="150" y="10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256"/>
                    <a:pt x="119" y="256"/>
                    <a:pt x="119" y="256"/>
                  </a:cubicBezTo>
                  <a:cubicBezTo>
                    <a:pt x="119" y="273"/>
                    <a:pt x="94" y="273"/>
                    <a:pt x="94" y="256"/>
                  </a:cubicBezTo>
                  <a:cubicBezTo>
                    <a:pt x="94" y="160"/>
                    <a:pt x="94" y="160"/>
                    <a:pt x="94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256"/>
                    <a:pt x="81" y="256"/>
                    <a:pt x="81" y="256"/>
                  </a:cubicBezTo>
                  <a:cubicBezTo>
                    <a:pt x="81" y="273"/>
                    <a:pt x="57" y="273"/>
                    <a:pt x="57" y="256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1" y="122"/>
                    <a:pt x="0" y="116"/>
                    <a:pt x="5" y="99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0" y="15"/>
                    <a:pt x="41" y="0"/>
                    <a:pt x="60" y="0"/>
                  </a:cubicBezTo>
                  <a:cubicBezTo>
                    <a:pt x="113" y="0"/>
                    <a:pt x="113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  <p:sp>
          <p:nvSpPr>
            <p:cNvPr id="56" name="Oval 20"/>
            <p:cNvSpPr>
              <a:spLocks noChangeArrowheads="1"/>
            </p:cNvSpPr>
            <p:nvPr/>
          </p:nvSpPr>
          <p:spPr bwMode="auto">
            <a:xfrm>
              <a:off x="3388" y="1291"/>
              <a:ext cx="127" cy="1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Avenir Book" charset="0"/>
                <a:ea typeface="Avenir Book" charset="0"/>
                <a:cs typeface="Avenir Book" charset="0"/>
              </a:endParaRP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12862338" y="3243017"/>
            <a:ext cx="8769252" cy="8917798"/>
            <a:chOff x="3342265" y="3367081"/>
            <a:chExt cx="7055977" cy="7175501"/>
          </a:xfrm>
          <a:solidFill>
            <a:schemeClr val="bg1">
              <a:lumMod val="75000"/>
            </a:schemeClr>
          </a:solidFill>
        </p:grpSpPr>
        <p:sp>
          <p:nvSpPr>
            <p:cNvPr id="58" name="Freeform 18"/>
            <p:cNvSpPr>
              <a:spLocks noChangeArrowheads="1"/>
            </p:cNvSpPr>
            <p:nvPr/>
          </p:nvSpPr>
          <p:spPr bwMode="auto">
            <a:xfrm>
              <a:off x="8299704" y="6091233"/>
              <a:ext cx="1588984" cy="1825625"/>
            </a:xfrm>
            <a:custGeom>
              <a:avLst/>
              <a:gdLst>
                <a:gd name="T0" fmla="*/ 4327 w 4414"/>
                <a:gd name="T1" fmla="*/ 1702 h 5072"/>
                <a:gd name="T2" fmla="*/ 4070 w 4414"/>
                <a:gd name="T3" fmla="*/ 2078 h 5072"/>
                <a:gd name="T4" fmla="*/ 3760 w 4414"/>
                <a:gd name="T5" fmla="*/ 2328 h 5072"/>
                <a:gd name="T6" fmla="*/ 3766 w 4414"/>
                <a:gd name="T7" fmla="*/ 2177 h 5072"/>
                <a:gd name="T8" fmla="*/ 3628 w 4414"/>
                <a:gd name="T9" fmla="*/ 2164 h 5072"/>
                <a:gd name="T10" fmla="*/ 3542 w 4414"/>
                <a:gd name="T11" fmla="*/ 2420 h 5072"/>
                <a:gd name="T12" fmla="*/ 3417 w 4414"/>
                <a:gd name="T13" fmla="*/ 2743 h 5072"/>
                <a:gd name="T14" fmla="*/ 3502 w 4414"/>
                <a:gd name="T15" fmla="*/ 2862 h 5072"/>
                <a:gd name="T16" fmla="*/ 3450 w 4414"/>
                <a:gd name="T17" fmla="*/ 3218 h 5072"/>
                <a:gd name="T18" fmla="*/ 3403 w 4414"/>
                <a:gd name="T19" fmla="*/ 3811 h 5072"/>
                <a:gd name="T20" fmla="*/ 3291 w 4414"/>
                <a:gd name="T21" fmla="*/ 4201 h 5072"/>
                <a:gd name="T22" fmla="*/ 3192 w 4414"/>
                <a:gd name="T23" fmla="*/ 4544 h 5072"/>
                <a:gd name="T24" fmla="*/ 3159 w 4414"/>
                <a:gd name="T25" fmla="*/ 4834 h 5072"/>
                <a:gd name="T26" fmla="*/ 2902 w 4414"/>
                <a:gd name="T27" fmla="*/ 5071 h 5072"/>
                <a:gd name="T28" fmla="*/ 2678 w 4414"/>
                <a:gd name="T29" fmla="*/ 4966 h 5072"/>
                <a:gd name="T30" fmla="*/ 2638 w 4414"/>
                <a:gd name="T31" fmla="*/ 4840 h 5072"/>
                <a:gd name="T32" fmla="*/ 2757 w 4414"/>
                <a:gd name="T33" fmla="*/ 4484 h 5072"/>
                <a:gd name="T34" fmla="*/ 2784 w 4414"/>
                <a:gd name="T35" fmla="*/ 3798 h 5072"/>
                <a:gd name="T36" fmla="*/ 2454 w 4414"/>
                <a:gd name="T37" fmla="*/ 3666 h 5072"/>
                <a:gd name="T38" fmla="*/ 2282 w 4414"/>
                <a:gd name="T39" fmla="*/ 3580 h 5072"/>
                <a:gd name="T40" fmla="*/ 1913 w 4414"/>
                <a:gd name="T41" fmla="*/ 3343 h 5072"/>
                <a:gd name="T42" fmla="*/ 1741 w 4414"/>
                <a:gd name="T43" fmla="*/ 3191 h 5072"/>
                <a:gd name="T44" fmla="*/ 1280 w 4414"/>
                <a:gd name="T45" fmla="*/ 3033 h 5072"/>
                <a:gd name="T46" fmla="*/ 1134 w 4414"/>
                <a:gd name="T47" fmla="*/ 2835 h 5072"/>
                <a:gd name="T48" fmla="*/ 1049 w 4414"/>
                <a:gd name="T49" fmla="*/ 2717 h 5072"/>
                <a:gd name="T50" fmla="*/ 825 w 4414"/>
                <a:gd name="T51" fmla="*/ 2736 h 5072"/>
                <a:gd name="T52" fmla="*/ 482 w 4414"/>
                <a:gd name="T53" fmla="*/ 2947 h 5072"/>
                <a:gd name="T54" fmla="*/ 0 w 4414"/>
                <a:gd name="T55" fmla="*/ 2974 h 5072"/>
                <a:gd name="T56" fmla="*/ 7 w 4414"/>
                <a:gd name="T57" fmla="*/ 2453 h 5072"/>
                <a:gd name="T58" fmla="*/ 73 w 4414"/>
                <a:gd name="T59" fmla="*/ 2038 h 5072"/>
                <a:gd name="T60" fmla="*/ 99 w 4414"/>
                <a:gd name="T61" fmla="*/ 1840 h 5072"/>
                <a:gd name="T62" fmla="*/ 132 w 4414"/>
                <a:gd name="T63" fmla="*/ 1451 h 5072"/>
                <a:gd name="T64" fmla="*/ 86 w 4414"/>
                <a:gd name="T65" fmla="*/ 1194 h 5072"/>
                <a:gd name="T66" fmla="*/ 198 w 4414"/>
                <a:gd name="T67" fmla="*/ 877 h 5072"/>
                <a:gd name="T68" fmla="*/ 383 w 4414"/>
                <a:gd name="T69" fmla="*/ 594 h 5072"/>
                <a:gd name="T70" fmla="*/ 455 w 4414"/>
                <a:gd name="T71" fmla="*/ 620 h 5072"/>
                <a:gd name="T72" fmla="*/ 983 w 4414"/>
                <a:gd name="T73" fmla="*/ 818 h 5072"/>
                <a:gd name="T74" fmla="*/ 1372 w 4414"/>
                <a:gd name="T75" fmla="*/ 462 h 5072"/>
                <a:gd name="T76" fmla="*/ 1365 w 4414"/>
                <a:gd name="T77" fmla="*/ 198 h 5072"/>
                <a:gd name="T78" fmla="*/ 1695 w 4414"/>
                <a:gd name="T79" fmla="*/ 264 h 5072"/>
                <a:gd name="T80" fmla="*/ 2137 w 4414"/>
                <a:gd name="T81" fmla="*/ 264 h 5072"/>
                <a:gd name="T82" fmla="*/ 2467 w 4414"/>
                <a:gd name="T83" fmla="*/ 145 h 5072"/>
                <a:gd name="T84" fmla="*/ 2638 w 4414"/>
                <a:gd name="T85" fmla="*/ 0 h 5072"/>
                <a:gd name="T86" fmla="*/ 2790 w 4414"/>
                <a:gd name="T87" fmla="*/ 244 h 5072"/>
                <a:gd name="T88" fmla="*/ 2962 w 4414"/>
                <a:gd name="T89" fmla="*/ 429 h 5072"/>
                <a:gd name="T90" fmla="*/ 3153 w 4414"/>
                <a:gd name="T91" fmla="*/ 310 h 5072"/>
                <a:gd name="T92" fmla="*/ 3529 w 4414"/>
                <a:gd name="T93" fmla="*/ 46 h 5072"/>
                <a:gd name="T94" fmla="*/ 4096 w 4414"/>
                <a:gd name="T95" fmla="*/ 370 h 5072"/>
                <a:gd name="T96" fmla="*/ 4182 w 4414"/>
                <a:gd name="T97" fmla="*/ 581 h 5072"/>
                <a:gd name="T98" fmla="*/ 4261 w 4414"/>
                <a:gd name="T99" fmla="*/ 930 h 5072"/>
                <a:gd name="T100" fmla="*/ 4096 w 4414"/>
                <a:gd name="T101" fmla="*/ 1451 h 5072"/>
                <a:gd name="T102" fmla="*/ 4261 w 4414"/>
                <a:gd name="T103" fmla="*/ 1596 h 5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414" h="5072">
                  <a:moveTo>
                    <a:pt x="4413" y="1603"/>
                  </a:moveTo>
                  <a:lnTo>
                    <a:pt x="4413" y="1603"/>
                  </a:lnTo>
                  <a:cubicBezTo>
                    <a:pt x="4386" y="1629"/>
                    <a:pt x="4360" y="1662"/>
                    <a:pt x="4327" y="1702"/>
                  </a:cubicBezTo>
                  <a:cubicBezTo>
                    <a:pt x="4274" y="1774"/>
                    <a:pt x="4287" y="1840"/>
                    <a:pt x="4248" y="1926"/>
                  </a:cubicBezTo>
                  <a:cubicBezTo>
                    <a:pt x="4221" y="1972"/>
                    <a:pt x="4175" y="1972"/>
                    <a:pt x="4142" y="2012"/>
                  </a:cubicBezTo>
                  <a:cubicBezTo>
                    <a:pt x="4123" y="2045"/>
                    <a:pt x="4096" y="2051"/>
                    <a:pt x="4070" y="2078"/>
                  </a:cubicBezTo>
                  <a:cubicBezTo>
                    <a:pt x="4024" y="2124"/>
                    <a:pt x="3991" y="2144"/>
                    <a:pt x="3944" y="2190"/>
                  </a:cubicBezTo>
                  <a:cubicBezTo>
                    <a:pt x="3905" y="2229"/>
                    <a:pt x="3878" y="2243"/>
                    <a:pt x="3832" y="2282"/>
                  </a:cubicBezTo>
                  <a:cubicBezTo>
                    <a:pt x="3806" y="2302"/>
                    <a:pt x="3793" y="2328"/>
                    <a:pt x="3760" y="2328"/>
                  </a:cubicBezTo>
                  <a:cubicBezTo>
                    <a:pt x="3753" y="2328"/>
                    <a:pt x="3746" y="2328"/>
                    <a:pt x="3733" y="2328"/>
                  </a:cubicBezTo>
                  <a:cubicBezTo>
                    <a:pt x="3740" y="2295"/>
                    <a:pt x="3766" y="2282"/>
                    <a:pt x="3766" y="2243"/>
                  </a:cubicBezTo>
                  <a:cubicBezTo>
                    <a:pt x="3766" y="2216"/>
                    <a:pt x="3766" y="2203"/>
                    <a:pt x="3766" y="2177"/>
                  </a:cubicBezTo>
                  <a:cubicBezTo>
                    <a:pt x="3760" y="2170"/>
                    <a:pt x="3753" y="2157"/>
                    <a:pt x="3740" y="2157"/>
                  </a:cubicBezTo>
                  <a:cubicBezTo>
                    <a:pt x="3733" y="2157"/>
                    <a:pt x="3733" y="2164"/>
                    <a:pt x="3727" y="2164"/>
                  </a:cubicBezTo>
                  <a:cubicBezTo>
                    <a:pt x="3687" y="2164"/>
                    <a:pt x="3667" y="2164"/>
                    <a:pt x="3628" y="2164"/>
                  </a:cubicBezTo>
                  <a:cubicBezTo>
                    <a:pt x="3615" y="2164"/>
                    <a:pt x="3601" y="2170"/>
                    <a:pt x="3582" y="2177"/>
                  </a:cubicBezTo>
                  <a:cubicBezTo>
                    <a:pt x="3615" y="2223"/>
                    <a:pt x="3661" y="2243"/>
                    <a:pt x="3661" y="2302"/>
                  </a:cubicBezTo>
                  <a:cubicBezTo>
                    <a:pt x="3661" y="2368"/>
                    <a:pt x="3569" y="2361"/>
                    <a:pt x="3542" y="2420"/>
                  </a:cubicBezTo>
                  <a:cubicBezTo>
                    <a:pt x="3516" y="2472"/>
                    <a:pt x="3509" y="2506"/>
                    <a:pt x="3509" y="2565"/>
                  </a:cubicBezTo>
                  <a:cubicBezTo>
                    <a:pt x="3509" y="2585"/>
                    <a:pt x="3509" y="2598"/>
                    <a:pt x="3509" y="2618"/>
                  </a:cubicBezTo>
                  <a:cubicBezTo>
                    <a:pt x="3509" y="2677"/>
                    <a:pt x="3437" y="2690"/>
                    <a:pt x="3417" y="2743"/>
                  </a:cubicBezTo>
                  <a:cubicBezTo>
                    <a:pt x="3397" y="2802"/>
                    <a:pt x="3403" y="2835"/>
                    <a:pt x="3397" y="2895"/>
                  </a:cubicBezTo>
                  <a:cubicBezTo>
                    <a:pt x="3423" y="2901"/>
                    <a:pt x="3423" y="2901"/>
                    <a:pt x="3423" y="2901"/>
                  </a:cubicBezTo>
                  <a:cubicBezTo>
                    <a:pt x="3450" y="2888"/>
                    <a:pt x="3470" y="2875"/>
                    <a:pt x="3502" y="2862"/>
                  </a:cubicBezTo>
                  <a:cubicBezTo>
                    <a:pt x="3463" y="2934"/>
                    <a:pt x="3450" y="2987"/>
                    <a:pt x="3450" y="3066"/>
                  </a:cubicBezTo>
                  <a:cubicBezTo>
                    <a:pt x="3450" y="3125"/>
                    <a:pt x="3450" y="3158"/>
                    <a:pt x="3450" y="3218"/>
                  </a:cubicBezTo>
                  <a:lnTo>
                    <a:pt x="3450" y="3218"/>
                  </a:lnTo>
                  <a:cubicBezTo>
                    <a:pt x="3403" y="3587"/>
                    <a:pt x="3403" y="3587"/>
                    <a:pt x="3403" y="3587"/>
                  </a:cubicBezTo>
                  <a:lnTo>
                    <a:pt x="3403" y="3587"/>
                  </a:lnTo>
                  <a:cubicBezTo>
                    <a:pt x="3403" y="3673"/>
                    <a:pt x="3403" y="3719"/>
                    <a:pt x="3403" y="3811"/>
                  </a:cubicBezTo>
                  <a:cubicBezTo>
                    <a:pt x="3403" y="3831"/>
                    <a:pt x="3384" y="3844"/>
                    <a:pt x="3377" y="3864"/>
                  </a:cubicBezTo>
                  <a:cubicBezTo>
                    <a:pt x="3364" y="3897"/>
                    <a:pt x="3357" y="3923"/>
                    <a:pt x="3351" y="3957"/>
                  </a:cubicBezTo>
                  <a:cubicBezTo>
                    <a:pt x="3318" y="4049"/>
                    <a:pt x="3324" y="4108"/>
                    <a:pt x="3291" y="4201"/>
                  </a:cubicBezTo>
                  <a:cubicBezTo>
                    <a:pt x="3252" y="4286"/>
                    <a:pt x="3232" y="4339"/>
                    <a:pt x="3212" y="4438"/>
                  </a:cubicBezTo>
                  <a:cubicBezTo>
                    <a:pt x="3206" y="4464"/>
                    <a:pt x="3199" y="4477"/>
                    <a:pt x="3199" y="4504"/>
                  </a:cubicBezTo>
                  <a:cubicBezTo>
                    <a:pt x="3199" y="4517"/>
                    <a:pt x="3192" y="4530"/>
                    <a:pt x="3192" y="4544"/>
                  </a:cubicBezTo>
                  <a:cubicBezTo>
                    <a:pt x="3192" y="4570"/>
                    <a:pt x="3192" y="4583"/>
                    <a:pt x="3192" y="4609"/>
                  </a:cubicBezTo>
                  <a:cubicBezTo>
                    <a:pt x="3192" y="4662"/>
                    <a:pt x="3186" y="4689"/>
                    <a:pt x="3179" y="4741"/>
                  </a:cubicBezTo>
                  <a:cubicBezTo>
                    <a:pt x="3179" y="4781"/>
                    <a:pt x="3186" y="4807"/>
                    <a:pt x="3159" y="4834"/>
                  </a:cubicBezTo>
                  <a:cubicBezTo>
                    <a:pt x="3153" y="4847"/>
                    <a:pt x="3140" y="4847"/>
                    <a:pt x="3133" y="4847"/>
                  </a:cubicBezTo>
                  <a:cubicBezTo>
                    <a:pt x="3113" y="4860"/>
                    <a:pt x="3107" y="4873"/>
                    <a:pt x="3087" y="4886"/>
                  </a:cubicBezTo>
                  <a:cubicBezTo>
                    <a:pt x="2995" y="4933"/>
                    <a:pt x="2929" y="4985"/>
                    <a:pt x="2902" y="5071"/>
                  </a:cubicBezTo>
                  <a:lnTo>
                    <a:pt x="2902" y="5071"/>
                  </a:lnTo>
                  <a:cubicBezTo>
                    <a:pt x="2830" y="5045"/>
                    <a:pt x="2790" y="5005"/>
                    <a:pt x="2718" y="4979"/>
                  </a:cubicBezTo>
                  <a:cubicBezTo>
                    <a:pt x="2704" y="4972"/>
                    <a:pt x="2685" y="4972"/>
                    <a:pt x="2678" y="4966"/>
                  </a:cubicBezTo>
                  <a:cubicBezTo>
                    <a:pt x="2638" y="4939"/>
                    <a:pt x="2645" y="4900"/>
                    <a:pt x="2645" y="4860"/>
                  </a:cubicBezTo>
                  <a:lnTo>
                    <a:pt x="2645" y="4860"/>
                  </a:lnTo>
                  <a:cubicBezTo>
                    <a:pt x="2645" y="4847"/>
                    <a:pt x="2638" y="4854"/>
                    <a:pt x="2638" y="4840"/>
                  </a:cubicBezTo>
                  <a:cubicBezTo>
                    <a:pt x="2638" y="4768"/>
                    <a:pt x="2711" y="4735"/>
                    <a:pt x="2711" y="4656"/>
                  </a:cubicBezTo>
                  <a:cubicBezTo>
                    <a:pt x="2711" y="4629"/>
                    <a:pt x="2698" y="4616"/>
                    <a:pt x="2698" y="4596"/>
                  </a:cubicBezTo>
                  <a:cubicBezTo>
                    <a:pt x="2698" y="4544"/>
                    <a:pt x="2744" y="4530"/>
                    <a:pt x="2757" y="4484"/>
                  </a:cubicBezTo>
                  <a:cubicBezTo>
                    <a:pt x="2790" y="4385"/>
                    <a:pt x="2784" y="4326"/>
                    <a:pt x="2823" y="4233"/>
                  </a:cubicBezTo>
                  <a:cubicBezTo>
                    <a:pt x="2863" y="4141"/>
                    <a:pt x="2922" y="4095"/>
                    <a:pt x="2922" y="3996"/>
                  </a:cubicBezTo>
                  <a:cubicBezTo>
                    <a:pt x="2922" y="3904"/>
                    <a:pt x="2843" y="3871"/>
                    <a:pt x="2784" y="3798"/>
                  </a:cubicBezTo>
                  <a:cubicBezTo>
                    <a:pt x="2751" y="3765"/>
                    <a:pt x="2737" y="3726"/>
                    <a:pt x="2685" y="3719"/>
                  </a:cubicBezTo>
                  <a:cubicBezTo>
                    <a:pt x="2632" y="3706"/>
                    <a:pt x="2599" y="3726"/>
                    <a:pt x="2546" y="3699"/>
                  </a:cubicBezTo>
                  <a:cubicBezTo>
                    <a:pt x="2513" y="3686"/>
                    <a:pt x="2493" y="3666"/>
                    <a:pt x="2454" y="3666"/>
                  </a:cubicBezTo>
                  <a:cubicBezTo>
                    <a:pt x="2408" y="3666"/>
                    <a:pt x="2388" y="3693"/>
                    <a:pt x="2342" y="3693"/>
                  </a:cubicBezTo>
                  <a:cubicBezTo>
                    <a:pt x="2329" y="3693"/>
                    <a:pt x="2329" y="3673"/>
                    <a:pt x="2322" y="3653"/>
                  </a:cubicBezTo>
                  <a:cubicBezTo>
                    <a:pt x="2315" y="3620"/>
                    <a:pt x="2302" y="3607"/>
                    <a:pt x="2282" y="3580"/>
                  </a:cubicBezTo>
                  <a:cubicBezTo>
                    <a:pt x="2249" y="3528"/>
                    <a:pt x="2230" y="3488"/>
                    <a:pt x="2183" y="3442"/>
                  </a:cubicBezTo>
                  <a:cubicBezTo>
                    <a:pt x="2137" y="3389"/>
                    <a:pt x="2078" y="3409"/>
                    <a:pt x="2012" y="3383"/>
                  </a:cubicBezTo>
                  <a:cubicBezTo>
                    <a:pt x="1972" y="3369"/>
                    <a:pt x="1952" y="3356"/>
                    <a:pt x="1913" y="3343"/>
                  </a:cubicBezTo>
                  <a:cubicBezTo>
                    <a:pt x="1887" y="3330"/>
                    <a:pt x="1867" y="3310"/>
                    <a:pt x="1840" y="3304"/>
                  </a:cubicBezTo>
                  <a:cubicBezTo>
                    <a:pt x="1820" y="3290"/>
                    <a:pt x="1801" y="3290"/>
                    <a:pt x="1788" y="3271"/>
                  </a:cubicBezTo>
                  <a:cubicBezTo>
                    <a:pt x="1768" y="3244"/>
                    <a:pt x="1768" y="3218"/>
                    <a:pt x="1741" y="3191"/>
                  </a:cubicBezTo>
                  <a:cubicBezTo>
                    <a:pt x="1662" y="3112"/>
                    <a:pt x="1603" y="3086"/>
                    <a:pt x="1511" y="3046"/>
                  </a:cubicBezTo>
                  <a:cubicBezTo>
                    <a:pt x="1471" y="3026"/>
                    <a:pt x="1458" y="2987"/>
                    <a:pt x="1418" y="2987"/>
                  </a:cubicBezTo>
                  <a:cubicBezTo>
                    <a:pt x="1359" y="2987"/>
                    <a:pt x="1332" y="3033"/>
                    <a:pt x="1280" y="3033"/>
                  </a:cubicBezTo>
                  <a:cubicBezTo>
                    <a:pt x="1240" y="3033"/>
                    <a:pt x="1227" y="2993"/>
                    <a:pt x="1187" y="2974"/>
                  </a:cubicBezTo>
                  <a:cubicBezTo>
                    <a:pt x="1161" y="2954"/>
                    <a:pt x="1115" y="2954"/>
                    <a:pt x="1115" y="2921"/>
                  </a:cubicBezTo>
                  <a:cubicBezTo>
                    <a:pt x="1115" y="2888"/>
                    <a:pt x="1121" y="2862"/>
                    <a:pt x="1134" y="2835"/>
                  </a:cubicBezTo>
                  <a:cubicBezTo>
                    <a:pt x="1141" y="2809"/>
                    <a:pt x="1161" y="2802"/>
                    <a:pt x="1161" y="2776"/>
                  </a:cubicBezTo>
                  <a:cubicBezTo>
                    <a:pt x="1161" y="2750"/>
                    <a:pt x="1128" y="2750"/>
                    <a:pt x="1102" y="2743"/>
                  </a:cubicBezTo>
                  <a:cubicBezTo>
                    <a:pt x="1082" y="2736"/>
                    <a:pt x="1069" y="2717"/>
                    <a:pt x="1049" y="2717"/>
                  </a:cubicBezTo>
                  <a:cubicBezTo>
                    <a:pt x="1016" y="2717"/>
                    <a:pt x="996" y="2717"/>
                    <a:pt x="963" y="2717"/>
                  </a:cubicBezTo>
                  <a:cubicBezTo>
                    <a:pt x="937" y="2717"/>
                    <a:pt x="923" y="2736"/>
                    <a:pt x="890" y="2736"/>
                  </a:cubicBezTo>
                  <a:cubicBezTo>
                    <a:pt x="864" y="2736"/>
                    <a:pt x="851" y="2736"/>
                    <a:pt x="825" y="2736"/>
                  </a:cubicBezTo>
                  <a:cubicBezTo>
                    <a:pt x="798" y="2736"/>
                    <a:pt x="785" y="2756"/>
                    <a:pt x="759" y="2776"/>
                  </a:cubicBezTo>
                  <a:cubicBezTo>
                    <a:pt x="719" y="2802"/>
                    <a:pt x="699" y="2822"/>
                    <a:pt x="666" y="2849"/>
                  </a:cubicBezTo>
                  <a:cubicBezTo>
                    <a:pt x="600" y="2908"/>
                    <a:pt x="554" y="2914"/>
                    <a:pt x="482" y="2947"/>
                  </a:cubicBezTo>
                  <a:cubicBezTo>
                    <a:pt x="363" y="2993"/>
                    <a:pt x="310" y="3060"/>
                    <a:pt x="191" y="3086"/>
                  </a:cubicBezTo>
                  <a:cubicBezTo>
                    <a:pt x="158" y="3092"/>
                    <a:pt x="145" y="3119"/>
                    <a:pt x="112" y="3119"/>
                  </a:cubicBezTo>
                  <a:cubicBezTo>
                    <a:pt x="40" y="3119"/>
                    <a:pt x="26" y="3046"/>
                    <a:pt x="0" y="2974"/>
                  </a:cubicBezTo>
                  <a:lnTo>
                    <a:pt x="0" y="2974"/>
                  </a:lnTo>
                  <a:cubicBezTo>
                    <a:pt x="40" y="2868"/>
                    <a:pt x="73" y="2809"/>
                    <a:pt x="73" y="2697"/>
                  </a:cubicBezTo>
                  <a:cubicBezTo>
                    <a:pt x="73" y="2598"/>
                    <a:pt x="7" y="2552"/>
                    <a:pt x="7" y="2453"/>
                  </a:cubicBezTo>
                  <a:cubicBezTo>
                    <a:pt x="7" y="2394"/>
                    <a:pt x="7" y="2361"/>
                    <a:pt x="7" y="2302"/>
                  </a:cubicBezTo>
                  <a:cubicBezTo>
                    <a:pt x="7" y="2229"/>
                    <a:pt x="73" y="2196"/>
                    <a:pt x="73" y="2124"/>
                  </a:cubicBezTo>
                  <a:cubicBezTo>
                    <a:pt x="73" y="2091"/>
                    <a:pt x="73" y="2071"/>
                    <a:pt x="73" y="2038"/>
                  </a:cubicBezTo>
                  <a:cubicBezTo>
                    <a:pt x="73" y="1999"/>
                    <a:pt x="112" y="1979"/>
                    <a:pt x="112" y="1939"/>
                  </a:cubicBezTo>
                  <a:lnTo>
                    <a:pt x="112" y="1939"/>
                  </a:lnTo>
                  <a:cubicBezTo>
                    <a:pt x="99" y="1906"/>
                    <a:pt x="99" y="1880"/>
                    <a:pt x="99" y="1840"/>
                  </a:cubicBezTo>
                  <a:cubicBezTo>
                    <a:pt x="99" y="1774"/>
                    <a:pt x="112" y="1735"/>
                    <a:pt x="112" y="1669"/>
                  </a:cubicBezTo>
                  <a:cubicBezTo>
                    <a:pt x="112" y="1616"/>
                    <a:pt x="86" y="1596"/>
                    <a:pt x="86" y="1543"/>
                  </a:cubicBezTo>
                  <a:cubicBezTo>
                    <a:pt x="86" y="1504"/>
                    <a:pt x="132" y="1491"/>
                    <a:pt x="132" y="1451"/>
                  </a:cubicBezTo>
                  <a:cubicBezTo>
                    <a:pt x="132" y="1412"/>
                    <a:pt x="92" y="1398"/>
                    <a:pt x="92" y="1359"/>
                  </a:cubicBezTo>
                  <a:cubicBezTo>
                    <a:pt x="92" y="1313"/>
                    <a:pt x="145" y="1299"/>
                    <a:pt x="145" y="1253"/>
                  </a:cubicBezTo>
                  <a:cubicBezTo>
                    <a:pt x="145" y="1220"/>
                    <a:pt x="86" y="1227"/>
                    <a:pt x="86" y="1194"/>
                  </a:cubicBezTo>
                  <a:cubicBezTo>
                    <a:pt x="86" y="1148"/>
                    <a:pt x="112" y="1128"/>
                    <a:pt x="125" y="1088"/>
                  </a:cubicBezTo>
                  <a:cubicBezTo>
                    <a:pt x="145" y="1042"/>
                    <a:pt x="139" y="1016"/>
                    <a:pt x="152" y="970"/>
                  </a:cubicBezTo>
                  <a:cubicBezTo>
                    <a:pt x="165" y="937"/>
                    <a:pt x="185" y="917"/>
                    <a:pt x="198" y="877"/>
                  </a:cubicBezTo>
                  <a:cubicBezTo>
                    <a:pt x="218" y="818"/>
                    <a:pt x="218" y="785"/>
                    <a:pt x="244" y="726"/>
                  </a:cubicBezTo>
                  <a:cubicBezTo>
                    <a:pt x="257" y="686"/>
                    <a:pt x="277" y="660"/>
                    <a:pt x="317" y="640"/>
                  </a:cubicBezTo>
                  <a:cubicBezTo>
                    <a:pt x="343" y="620"/>
                    <a:pt x="383" y="627"/>
                    <a:pt x="383" y="594"/>
                  </a:cubicBezTo>
                  <a:cubicBezTo>
                    <a:pt x="383" y="567"/>
                    <a:pt x="356" y="561"/>
                    <a:pt x="356" y="534"/>
                  </a:cubicBezTo>
                  <a:lnTo>
                    <a:pt x="356" y="534"/>
                  </a:lnTo>
                  <a:cubicBezTo>
                    <a:pt x="396" y="561"/>
                    <a:pt x="416" y="594"/>
                    <a:pt x="455" y="620"/>
                  </a:cubicBezTo>
                  <a:cubicBezTo>
                    <a:pt x="521" y="660"/>
                    <a:pt x="567" y="660"/>
                    <a:pt x="633" y="679"/>
                  </a:cubicBezTo>
                  <a:cubicBezTo>
                    <a:pt x="745" y="719"/>
                    <a:pt x="765" y="851"/>
                    <a:pt x="884" y="851"/>
                  </a:cubicBezTo>
                  <a:cubicBezTo>
                    <a:pt x="923" y="851"/>
                    <a:pt x="943" y="831"/>
                    <a:pt x="983" y="818"/>
                  </a:cubicBezTo>
                  <a:cubicBezTo>
                    <a:pt x="1049" y="792"/>
                    <a:pt x="1082" y="785"/>
                    <a:pt x="1148" y="752"/>
                  </a:cubicBezTo>
                  <a:cubicBezTo>
                    <a:pt x="1181" y="739"/>
                    <a:pt x="1194" y="713"/>
                    <a:pt x="1227" y="693"/>
                  </a:cubicBezTo>
                  <a:cubicBezTo>
                    <a:pt x="1313" y="627"/>
                    <a:pt x="1372" y="567"/>
                    <a:pt x="1372" y="462"/>
                  </a:cubicBezTo>
                  <a:cubicBezTo>
                    <a:pt x="1372" y="383"/>
                    <a:pt x="1293" y="356"/>
                    <a:pt x="1293" y="277"/>
                  </a:cubicBezTo>
                  <a:cubicBezTo>
                    <a:pt x="1293" y="251"/>
                    <a:pt x="1286" y="224"/>
                    <a:pt x="1306" y="205"/>
                  </a:cubicBezTo>
                  <a:cubicBezTo>
                    <a:pt x="1326" y="191"/>
                    <a:pt x="1346" y="198"/>
                    <a:pt x="1365" y="198"/>
                  </a:cubicBezTo>
                  <a:cubicBezTo>
                    <a:pt x="1425" y="178"/>
                    <a:pt x="1458" y="158"/>
                    <a:pt x="1524" y="158"/>
                  </a:cubicBezTo>
                  <a:cubicBezTo>
                    <a:pt x="1557" y="158"/>
                    <a:pt x="1570" y="198"/>
                    <a:pt x="1596" y="218"/>
                  </a:cubicBezTo>
                  <a:cubicBezTo>
                    <a:pt x="1629" y="244"/>
                    <a:pt x="1656" y="244"/>
                    <a:pt x="1695" y="264"/>
                  </a:cubicBezTo>
                  <a:cubicBezTo>
                    <a:pt x="1761" y="290"/>
                    <a:pt x="1801" y="303"/>
                    <a:pt x="1867" y="303"/>
                  </a:cubicBezTo>
                  <a:cubicBezTo>
                    <a:pt x="1913" y="303"/>
                    <a:pt x="1926" y="264"/>
                    <a:pt x="1972" y="264"/>
                  </a:cubicBezTo>
                  <a:cubicBezTo>
                    <a:pt x="2038" y="264"/>
                    <a:pt x="2071" y="264"/>
                    <a:pt x="2137" y="264"/>
                  </a:cubicBezTo>
                  <a:cubicBezTo>
                    <a:pt x="2197" y="264"/>
                    <a:pt x="2216" y="211"/>
                    <a:pt x="2249" y="165"/>
                  </a:cubicBezTo>
                  <a:cubicBezTo>
                    <a:pt x="2295" y="165"/>
                    <a:pt x="2322" y="165"/>
                    <a:pt x="2368" y="165"/>
                  </a:cubicBezTo>
                  <a:cubicBezTo>
                    <a:pt x="2408" y="165"/>
                    <a:pt x="2434" y="172"/>
                    <a:pt x="2467" y="145"/>
                  </a:cubicBezTo>
                  <a:cubicBezTo>
                    <a:pt x="2500" y="125"/>
                    <a:pt x="2500" y="86"/>
                    <a:pt x="2526" y="60"/>
                  </a:cubicBezTo>
                  <a:cubicBezTo>
                    <a:pt x="2559" y="27"/>
                    <a:pt x="2592" y="20"/>
                    <a:pt x="2638" y="0"/>
                  </a:cubicBezTo>
                  <a:lnTo>
                    <a:pt x="2638" y="0"/>
                  </a:lnTo>
                  <a:cubicBezTo>
                    <a:pt x="2685" y="46"/>
                    <a:pt x="2724" y="53"/>
                    <a:pt x="2770" y="92"/>
                  </a:cubicBezTo>
                  <a:cubicBezTo>
                    <a:pt x="2803" y="119"/>
                    <a:pt x="2810" y="158"/>
                    <a:pt x="2810" y="205"/>
                  </a:cubicBezTo>
                  <a:cubicBezTo>
                    <a:pt x="2810" y="224"/>
                    <a:pt x="2797" y="231"/>
                    <a:pt x="2790" y="244"/>
                  </a:cubicBezTo>
                  <a:cubicBezTo>
                    <a:pt x="2830" y="271"/>
                    <a:pt x="2843" y="317"/>
                    <a:pt x="2856" y="356"/>
                  </a:cubicBezTo>
                  <a:cubicBezTo>
                    <a:pt x="2863" y="376"/>
                    <a:pt x="2883" y="396"/>
                    <a:pt x="2889" y="409"/>
                  </a:cubicBezTo>
                  <a:cubicBezTo>
                    <a:pt x="2915" y="422"/>
                    <a:pt x="2935" y="429"/>
                    <a:pt x="2962" y="429"/>
                  </a:cubicBezTo>
                  <a:cubicBezTo>
                    <a:pt x="3028" y="429"/>
                    <a:pt x="3041" y="350"/>
                    <a:pt x="3041" y="284"/>
                  </a:cubicBezTo>
                  <a:cubicBezTo>
                    <a:pt x="3047" y="284"/>
                    <a:pt x="3054" y="277"/>
                    <a:pt x="3061" y="271"/>
                  </a:cubicBezTo>
                  <a:cubicBezTo>
                    <a:pt x="3087" y="297"/>
                    <a:pt x="3113" y="310"/>
                    <a:pt x="3153" y="310"/>
                  </a:cubicBezTo>
                  <a:cubicBezTo>
                    <a:pt x="3199" y="310"/>
                    <a:pt x="3219" y="277"/>
                    <a:pt x="3252" y="244"/>
                  </a:cubicBezTo>
                  <a:cubicBezTo>
                    <a:pt x="3298" y="205"/>
                    <a:pt x="3331" y="185"/>
                    <a:pt x="3371" y="139"/>
                  </a:cubicBezTo>
                  <a:cubicBezTo>
                    <a:pt x="3423" y="92"/>
                    <a:pt x="3456" y="46"/>
                    <a:pt x="3529" y="46"/>
                  </a:cubicBezTo>
                  <a:cubicBezTo>
                    <a:pt x="3569" y="46"/>
                    <a:pt x="3588" y="60"/>
                    <a:pt x="3621" y="79"/>
                  </a:cubicBezTo>
                  <a:cubicBezTo>
                    <a:pt x="3687" y="119"/>
                    <a:pt x="3733" y="119"/>
                    <a:pt x="3813" y="139"/>
                  </a:cubicBezTo>
                  <a:cubicBezTo>
                    <a:pt x="4096" y="370"/>
                    <a:pt x="4096" y="370"/>
                    <a:pt x="4096" y="370"/>
                  </a:cubicBezTo>
                  <a:lnTo>
                    <a:pt x="4096" y="370"/>
                  </a:lnTo>
                  <a:cubicBezTo>
                    <a:pt x="4096" y="389"/>
                    <a:pt x="4089" y="409"/>
                    <a:pt x="4089" y="429"/>
                  </a:cubicBezTo>
                  <a:cubicBezTo>
                    <a:pt x="4089" y="501"/>
                    <a:pt x="4123" y="547"/>
                    <a:pt x="4182" y="581"/>
                  </a:cubicBezTo>
                  <a:lnTo>
                    <a:pt x="4182" y="581"/>
                  </a:lnTo>
                  <a:cubicBezTo>
                    <a:pt x="4182" y="660"/>
                    <a:pt x="4188" y="706"/>
                    <a:pt x="4208" y="785"/>
                  </a:cubicBezTo>
                  <a:cubicBezTo>
                    <a:pt x="4221" y="844"/>
                    <a:pt x="4255" y="871"/>
                    <a:pt x="4261" y="930"/>
                  </a:cubicBezTo>
                  <a:cubicBezTo>
                    <a:pt x="4228" y="1154"/>
                    <a:pt x="4228" y="1154"/>
                    <a:pt x="4228" y="1154"/>
                  </a:cubicBezTo>
                  <a:cubicBezTo>
                    <a:pt x="4142" y="1168"/>
                    <a:pt x="4037" y="1181"/>
                    <a:pt x="4037" y="1273"/>
                  </a:cubicBezTo>
                  <a:cubicBezTo>
                    <a:pt x="4037" y="1345"/>
                    <a:pt x="4096" y="1379"/>
                    <a:pt x="4096" y="1451"/>
                  </a:cubicBezTo>
                  <a:cubicBezTo>
                    <a:pt x="4103" y="1504"/>
                    <a:pt x="4109" y="1530"/>
                    <a:pt x="4129" y="1576"/>
                  </a:cubicBezTo>
                  <a:cubicBezTo>
                    <a:pt x="4142" y="1596"/>
                    <a:pt x="4149" y="1616"/>
                    <a:pt x="4175" y="1616"/>
                  </a:cubicBezTo>
                  <a:cubicBezTo>
                    <a:pt x="4208" y="1616"/>
                    <a:pt x="4228" y="1596"/>
                    <a:pt x="4261" y="1596"/>
                  </a:cubicBezTo>
                  <a:cubicBezTo>
                    <a:pt x="4327" y="1596"/>
                    <a:pt x="4353" y="1603"/>
                    <a:pt x="4413" y="1603"/>
                  </a:cubicBezTo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59" name="Freeform 19"/>
            <p:cNvSpPr>
              <a:spLocks noChangeArrowheads="1"/>
            </p:cNvSpPr>
            <p:nvPr/>
          </p:nvSpPr>
          <p:spPr bwMode="auto">
            <a:xfrm>
              <a:off x="9752172" y="6299195"/>
              <a:ext cx="323829" cy="373063"/>
            </a:xfrm>
            <a:custGeom>
              <a:avLst/>
              <a:gdLst>
                <a:gd name="T0" fmla="*/ 376 w 898"/>
                <a:gd name="T1" fmla="*/ 1022 h 1036"/>
                <a:gd name="T2" fmla="*/ 376 w 898"/>
                <a:gd name="T3" fmla="*/ 1022 h 1036"/>
                <a:gd name="T4" fmla="*/ 224 w 898"/>
                <a:gd name="T5" fmla="*/ 1015 h 1036"/>
                <a:gd name="T6" fmla="*/ 138 w 898"/>
                <a:gd name="T7" fmla="*/ 1035 h 1036"/>
                <a:gd name="T8" fmla="*/ 92 w 898"/>
                <a:gd name="T9" fmla="*/ 995 h 1036"/>
                <a:gd name="T10" fmla="*/ 59 w 898"/>
                <a:gd name="T11" fmla="*/ 870 h 1036"/>
                <a:gd name="T12" fmla="*/ 0 w 898"/>
                <a:gd name="T13" fmla="*/ 692 h 1036"/>
                <a:gd name="T14" fmla="*/ 191 w 898"/>
                <a:gd name="T15" fmla="*/ 573 h 1036"/>
                <a:gd name="T16" fmla="*/ 224 w 898"/>
                <a:gd name="T17" fmla="*/ 349 h 1036"/>
                <a:gd name="T18" fmla="*/ 171 w 898"/>
                <a:gd name="T19" fmla="*/ 204 h 1036"/>
                <a:gd name="T20" fmla="*/ 145 w 898"/>
                <a:gd name="T21" fmla="*/ 0 h 1036"/>
                <a:gd name="T22" fmla="*/ 145 w 898"/>
                <a:gd name="T23" fmla="*/ 0 h 1036"/>
                <a:gd name="T24" fmla="*/ 184 w 898"/>
                <a:gd name="T25" fmla="*/ 19 h 1036"/>
                <a:gd name="T26" fmla="*/ 297 w 898"/>
                <a:gd name="T27" fmla="*/ 59 h 1036"/>
                <a:gd name="T28" fmla="*/ 422 w 898"/>
                <a:gd name="T29" fmla="*/ 164 h 1036"/>
                <a:gd name="T30" fmla="*/ 534 w 898"/>
                <a:gd name="T31" fmla="*/ 224 h 1036"/>
                <a:gd name="T32" fmla="*/ 666 w 898"/>
                <a:gd name="T33" fmla="*/ 408 h 1036"/>
                <a:gd name="T34" fmla="*/ 897 w 898"/>
                <a:gd name="T35" fmla="*/ 600 h 1036"/>
                <a:gd name="T36" fmla="*/ 897 w 898"/>
                <a:gd name="T37" fmla="*/ 600 h 1036"/>
                <a:gd name="T38" fmla="*/ 666 w 898"/>
                <a:gd name="T39" fmla="*/ 718 h 1036"/>
                <a:gd name="T40" fmla="*/ 534 w 898"/>
                <a:gd name="T41" fmla="*/ 844 h 1036"/>
                <a:gd name="T42" fmla="*/ 462 w 898"/>
                <a:gd name="T43" fmla="*/ 910 h 1036"/>
                <a:gd name="T44" fmla="*/ 376 w 898"/>
                <a:gd name="T45" fmla="*/ 1022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98" h="1036">
                  <a:moveTo>
                    <a:pt x="376" y="1022"/>
                  </a:moveTo>
                  <a:lnTo>
                    <a:pt x="376" y="1022"/>
                  </a:lnTo>
                  <a:cubicBezTo>
                    <a:pt x="316" y="1022"/>
                    <a:pt x="290" y="1015"/>
                    <a:pt x="224" y="1015"/>
                  </a:cubicBezTo>
                  <a:cubicBezTo>
                    <a:pt x="191" y="1015"/>
                    <a:pt x="171" y="1035"/>
                    <a:pt x="138" y="1035"/>
                  </a:cubicBezTo>
                  <a:cubicBezTo>
                    <a:pt x="112" y="1035"/>
                    <a:pt x="105" y="1015"/>
                    <a:pt x="92" y="995"/>
                  </a:cubicBezTo>
                  <a:cubicBezTo>
                    <a:pt x="72" y="949"/>
                    <a:pt x="66" y="923"/>
                    <a:pt x="59" y="870"/>
                  </a:cubicBezTo>
                  <a:cubicBezTo>
                    <a:pt x="59" y="798"/>
                    <a:pt x="0" y="764"/>
                    <a:pt x="0" y="692"/>
                  </a:cubicBezTo>
                  <a:cubicBezTo>
                    <a:pt x="0" y="600"/>
                    <a:pt x="105" y="587"/>
                    <a:pt x="191" y="573"/>
                  </a:cubicBezTo>
                  <a:cubicBezTo>
                    <a:pt x="224" y="349"/>
                    <a:pt x="224" y="349"/>
                    <a:pt x="224" y="349"/>
                  </a:cubicBezTo>
                  <a:cubicBezTo>
                    <a:pt x="218" y="290"/>
                    <a:pt x="184" y="263"/>
                    <a:pt x="171" y="204"/>
                  </a:cubicBezTo>
                  <a:cubicBezTo>
                    <a:pt x="151" y="125"/>
                    <a:pt x="145" y="79"/>
                    <a:pt x="145" y="0"/>
                  </a:cubicBezTo>
                  <a:lnTo>
                    <a:pt x="145" y="0"/>
                  </a:lnTo>
                  <a:cubicBezTo>
                    <a:pt x="151" y="6"/>
                    <a:pt x="165" y="13"/>
                    <a:pt x="184" y="19"/>
                  </a:cubicBezTo>
                  <a:cubicBezTo>
                    <a:pt x="224" y="39"/>
                    <a:pt x="257" y="33"/>
                    <a:pt x="297" y="59"/>
                  </a:cubicBezTo>
                  <a:cubicBezTo>
                    <a:pt x="343" y="105"/>
                    <a:pt x="363" y="138"/>
                    <a:pt x="422" y="164"/>
                  </a:cubicBezTo>
                  <a:cubicBezTo>
                    <a:pt x="468" y="191"/>
                    <a:pt x="501" y="184"/>
                    <a:pt x="534" y="224"/>
                  </a:cubicBezTo>
                  <a:cubicBezTo>
                    <a:pt x="600" y="283"/>
                    <a:pt x="607" y="349"/>
                    <a:pt x="666" y="408"/>
                  </a:cubicBezTo>
                  <a:cubicBezTo>
                    <a:pt x="752" y="494"/>
                    <a:pt x="818" y="514"/>
                    <a:pt x="897" y="600"/>
                  </a:cubicBezTo>
                  <a:lnTo>
                    <a:pt x="897" y="600"/>
                  </a:lnTo>
                  <a:cubicBezTo>
                    <a:pt x="831" y="652"/>
                    <a:pt x="758" y="679"/>
                    <a:pt x="666" y="718"/>
                  </a:cubicBezTo>
                  <a:cubicBezTo>
                    <a:pt x="607" y="745"/>
                    <a:pt x="587" y="791"/>
                    <a:pt x="534" y="844"/>
                  </a:cubicBezTo>
                  <a:cubicBezTo>
                    <a:pt x="508" y="870"/>
                    <a:pt x="488" y="877"/>
                    <a:pt x="462" y="910"/>
                  </a:cubicBezTo>
                  <a:cubicBezTo>
                    <a:pt x="435" y="956"/>
                    <a:pt x="402" y="989"/>
                    <a:pt x="376" y="102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0" name="Freeform 20"/>
            <p:cNvSpPr>
              <a:spLocks noChangeArrowheads="1"/>
            </p:cNvSpPr>
            <p:nvPr/>
          </p:nvSpPr>
          <p:spPr bwMode="auto">
            <a:xfrm>
              <a:off x="9771221" y="6202358"/>
              <a:ext cx="544477" cy="314325"/>
            </a:xfrm>
            <a:custGeom>
              <a:avLst/>
              <a:gdLst>
                <a:gd name="T0" fmla="*/ 7 w 1512"/>
                <a:gd name="T1" fmla="*/ 60 h 872"/>
                <a:gd name="T2" fmla="*/ 7 w 1512"/>
                <a:gd name="T3" fmla="*/ 60 h 872"/>
                <a:gd name="T4" fmla="*/ 0 w 1512"/>
                <a:gd name="T5" fmla="*/ 119 h 872"/>
                <a:gd name="T6" fmla="*/ 93 w 1512"/>
                <a:gd name="T7" fmla="*/ 271 h 872"/>
                <a:gd name="T8" fmla="*/ 93 w 1512"/>
                <a:gd name="T9" fmla="*/ 271 h 872"/>
                <a:gd name="T10" fmla="*/ 132 w 1512"/>
                <a:gd name="T11" fmla="*/ 290 h 872"/>
                <a:gd name="T12" fmla="*/ 245 w 1512"/>
                <a:gd name="T13" fmla="*/ 330 h 872"/>
                <a:gd name="T14" fmla="*/ 370 w 1512"/>
                <a:gd name="T15" fmla="*/ 435 h 872"/>
                <a:gd name="T16" fmla="*/ 482 w 1512"/>
                <a:gd name="T17" fmla="*/ 495 h 872"/>
                <a:gd name="T18" fmla="*/ 614 w 1512"/>
                <a:gd name="T19" fmla="*/ 679 h 872"/>
                <a:gd name="T20" fmla="*/ 845 w 1512"/>
                <a:gd name="T21" fmla="*/ 871 h 872"/>
                <a:gd name="T22" fmla="*/ 845 w 1512"/>
                <a:gd name="T23" fmla="*/ 871 h 872"/>
                <a:gd name="T24" fmla="*/ 911 w 1512"/>
                <a:gd name="T25" fmla="*/ 805 h 872"/>
                <a:gd name="T26" fmla="*/ 1023 w 1512"/>
                <a:gd name="T27" fmla="*/ 706 h 872"/>
                <a:gd name="T28" fmla="*/ 1128 w 1512"/>
                <a:gd name="T29" fmla="*/ 594 h 872"/>
                <a:gd name="T30" fmla="*/ 1234 w 1512"/>
                <a:gd name="T31" fmla="*/ 501 h 872"/>
                <a:gd name="T32" fmla="*/ 1406 w 1512"/>
                <a:gd name="T33" fmla="*/ 297 h 872"/>
                <a:gd name="T34" fmla="*/ 1511 w 1512"/>
                <a:gd name="T35" fmla="*/ 165 h 872"/>
                <a:gd name="T36" fmla="*/ 1511 w 1512"/>
                <a:gd name="T37" fmla="*/ 165 h 872"/>
                <a:gd name="T38" fmla="*/ 1379 w 1512"/>
                <a:gd name="T39" fmla="*/ 125 h 872"/>
                <a:gd name="T40" fmla="*/ 1293 w 1512"/>
                <a:gd name="T41" fmla="*/ 145 h 872"/>
                <a:gd name="T42" fmla="*/ 1181 w 1512"/>
                <a:gd name="T43" fmla="*/ 125 h 872"/>
                <a:gd name="T44" fmla="*/ 1168 w 1512"/>
                <a:gd name="T45" fmla="*/ 112 h 872"/>
                <a:gd name="T46" fmla="*/ 1102 w 1512"/>
                <a:gd name="T47" fmla="*/ 165 h 872"/>
                <a:gd name="T48" fmla="*/ 911 w 1512"/>
                <a:gd name="T49" fmla="*/ 224 h 872"/>
                <a:gd name="T50" fmla="*/ 838 w 1512"/>
                <a:gd name="T51" fmla="*/ 224 h 872"/>
                <a:gd name="T52" fmla="*/ 785 w 1512"/>
                <a:gd name="T53" fmla="*/ 251 h 872"/>
                <a:gd name="T54" fmla="*/ 706 w 1512"/>
                <a:gd name="T55" fmla="*/ 231 h 872"/>
                <a:gd name="T56" fmla="*/ 515 w 1512"/>
                <a:gd name="T57" fmla="*/ 165 h 872"/>
                <a:gd name="T58" fmla="*/ 271 w 1512"/>
                <a:gd name="T59" fmla="*/ 0 h 872"/>
                <a:gd name="T60" fmla="*/ 60 w 1512"/>
                <a:gd name="T61" fmla="*/ 112 h 872"/>
                <a:gd name="T62" fmla="*/ 7 w 1512"/>
                <a:gd name="T63" fmla="*/ 60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2" h="872">
                  <a:moveTo>
                    <a:pt x="7" y="60"/>
                  </a:moveTo>
                  <a:lnTo>
                    <a:pt x="7" y="60"/>
                  </a:lnTo>
                  <a:cubicBezTo>
                    <a:pt x="7" y="79"/>
                    <a:pt x="0" y="99"/>
                    <a:pt x="0" y="119"/>
                  </a:cubicBezTo>
                  <a:cubicBezTo>
                    <a:pt x="0" y="191"/>
                    <a:pt x="34" y="237"/>
                    <a:pt x="93" y="271"/>
                  </a:cubicBezTo>
                  <a:lnTo>
                    <a:pt x="93" y="271"/>
                  </a:lnTo>
                  <a:cubicBezTo>
                    <a:pt x="99" y="277"/>
                    <a:pt x="113" y="284"/>
                    <a:pt x="132" y="290"/>
                  </a:cubicBezTo>
                  <a:cubicBezTo>
                    <a:pt x="172" y="310"/>
                    <a:pt x="205" y="304"/>
                    <a:pt x="245" y="330"/>
                  </a:cubicBezTo>
                  <a:cubicBezTo>
                    <a:pt x="291" y="376"/>
                    <a:pt x="311" y="409"/>
                    <a:pt x="370" y="435"/>
                  </a:cubicBezTo>
                  <a:cubicBezTo>
                    <a:pt x="416" y="462"/>
                    <a:pt x="449" y="455"/>
                    <a:pt x="482" y="495"/>
                  </a:cubicBezTo>
                  <a:cubicBezTo>
                    <a:pt x="548" y="554"/>
                    <a:pt x="555" y="620"/>
                    <a:pt x="614" y="679"/>
                  </a:cubicBezTo>
                  <a:cubicBezTo>
                    <a:pt x="700" y="765"/>
                    <a:pt x="766" y="785"/>
                    <a:pt x="845" y="871"/>
                  </a:cubicBezTo>
                  <a:lnTo>
                    <a:pt x="845" y="871"/>
                  </a:lnTo>
                  <a:cubicBezTo>
                    <a:pt x="871" y="851"/>
                    <a:pt x="891" y="831"/>
                    <a:pt x="911" y="805"/>
                  </a:cubicBezTo>
                  <a:cubicBezTo>
                    <a:pt x="950" y="759"/>
                    <a:pt x="977" y="739"/>
                    <a:pt x="1023" y="706"/>
                  </a:cubicBezTo>
                  <a:cubicBezTo>
                    <a:pt x="1069" y="660"/>
                    <a:pt x="1082" y="633"/>
                    <a:pt x="1128" y="594"/>
                  </a:cubicBezTo>
                  <a:cubicBezTo>
                    <a:pt x="1168" y="554"/>
                    <a:pt x="1194" y="541"/>
                    <a:pt x="1234" y="501"/>
                  </a:cubicBezTo>
                  <a:cubicBezTo>
                    <a:pt x="1300" y="422"/>
                    <a:pt x="1320" y="363"/>
                    <a:pt x="1406" y="297"/>
                  </a:cubicBezTo>
                  <a:cubicBezTo>
                    <a:pt x="1458" y="257"/>
                    <a:pt x="1478" y="218"/>
                    <a:pt x="1511" y="165"/>
                  </a:cubicBezTo>
                  <a:lnTo>
                    <a:pt x="1511" y="165"/>
                  </a:lnTo>
                  <a:cubicBezTo>
                    <a:pt x="1465" y="145"/>
                    <a:pt x="1432" y="125"/>
                    <a:pt x="1379" y="125"/>
                  </a:cubicBezTo>
                  <a:cubicBezTo>
                    <a:pt x="1346" y="125"/>
                    <a:pt x="1326" y="145"/>
                    <a:pt x="1293" y="145"/>
                  </a:cubicBezTo>
                  <a:cubicBezTo>
                    <a:pt x="1247" y="145"/>
                    <a:pt x="1221" y="139"/>
                    <a:pt x="1181" y="125"/>
                  </a:cubicBezTo>
                  <a:cubicBezTo>
                    <a:pt x="1175" y="125"/>
                    <a:pt x="1175" y="112"/>
                    <a:pt x="1168" y="112"/>
                  </a:cubicBezTo>
                  <a:cubicBezTo>
                    <a:pt x="1135" y="112"/>
                    <a:pt x="1128" y="152"/>
                    <a:pt x="1102" y="165"/>
                  </a:cubicBezTo>
                  <a:cubicBezTo>
                    <a:pt x="1036" y="211"/>
                    <a:pt x="990" y="224"/>
                    <a:pt x="911" y="224"/>
                  </a:cubicBezTo>
                  <a:cubicBezTo>
                    <a:pt x="878" y="224"/>
                    <a:pt x="865" y="224"/>
                    <a:pt x="838" y="224"/>
                  </a:cubicBezTo>
                  <a:cubicBezTo>
                    <a:pt x="818" y="224"/>
                    <a:pt x="805" y="251"/>
                    <a:pt x="785" y="251"/>
                  </a:cubicBezTo>
                  <a:cubicBezTo>
                    <a:pt x="753" y="251"/>
                    <a:pt x="733" y="237"/>
                    <a:pt x="706" y="231"/>
                  </a:cubicBezTo>
                  <a:cubicBezTo>
                    <a:pt x="627" y="218"/>
                    <a:pt x="581" y="211"/>
                    <a:pt x="515" y="165"/>
                  </a:cubicBezTo>
                  <a:cubicBezTo>
                    <a:pt x="429" y="92"/>
                    <a:pt x="390" y="0"/>
                    <a:pt x="271" y="0"/>
                  </a:cubicBezTo>
                  <a:cubicBezTo>
                    <a:pt x="179" y="0"/>
                    <a:pt x="152" y="112"/>
                    <a:pt x="60" y="112"/>
                  </a:cubicBezTo>
                  <a:cubicBezTo>
                    <a:pt x="27" y="112"/>
                    <a:pt x="14" y="86"/>
                    <a:pt x="7" y="6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1" name="Freeform 21"/>
            <p:cNvSpPr>
              <a:spLocks noChangeArrowheads="1"/>
            </p:cNvSpPr>
            <p:nvPr/>
          </p:nvSpPr>
          <p:spPr bwMode="auto">
            <a:xfrm>
              <a:off x="9248967" y="5851520"/>
              <a:ext cx="1142926" cy="441325"/>
            </a:xfrm>
            <a:custGeom>
              <a:avLst/>
              <a:gdLst>
                <a:gd name="T0" fmla="*/ 1458 w 3174"/>
                <a:gd name="T1" fmla="*/ 1036 h 1228"/>
                <a:gd name="T2" fmla="*/ 983 w 3174"/>
                <a:gd name="T3" fmla="*/ 745 h 1228"/>
                <a:gd name="T4" fmla="*/ 733 w 3174"/>
                <a:gd name="T5" fmla="*/ 805 h 1228"/>
                <a:gd name="T6" fmla="*/ 515 w 3174"/>
                <a:gd name="T7" fmla="*/ 976 h 1228"/>
                <a:gd name="T8" fmla="*/ 403 w 3174"/>
                <a:gd name="T9" fmla="*/ 950 h 1228"/>
                <a:gd name="T10" fmla="*/ 251 w 3174"/>
                <a:gd name="T11" fmla="*/ 1075 h 1228"/>
                <a:gd name="T12" fmla="*/ 152 w 3174"/>
                <a:gd name="T13" fmla="*/ 910 h 1228"/>
                <a:gd name="T14" fmla="*/ 132 w 3174"/>
                <a:gd name="T15" fmla="*/ 758 h 1228"/>
                <a:gd name="T16" fmla="*/ 0 w 3174"/>
                <a:gd name="T17" fmla="*/ 666 h 1228"/>
                <a:gd name="T18" fmla="*/ 264 w 3174"/>
                <a:gd name="T19" fmla="*/ 455 h 1228"/>
                <a:gd name="T20" fmla="*/ 350 w 3174"/>
                <a:gd name="T21" fmla="*/ 336 h 1228"/>
                <a:gd name="T22" fmla="*/ 330 w 3174"/>
                <a:gd name="T23" fmla="*/ 244 h 1228"/>
                <a:gd name="T24" fmla="*/ 304 w 3174"/>
                <a:gd name="T25" fmla="*/ 46 h 1228"/>
                <a:gd name="T26" fmla="*/ 442 w 3174"/>
                <a:gd name="T27" fmla="*/ 33 h 1228"/>
                <a:gd name="T28" fmla="*/ 752 w 3174"/>
                <a:gd name="T29" fmla="*/ 7 h 1228"/>
                <a:gd name="T30" fmla="*/ 924 w 3174"/>
                <a:gd name="T31" fmla="*/ 59 h 1228"/>
                <a:gd name="T32" fmla="*/ 1069 w 3174"/>
                <a:gd name="T33" fmla="*/ 251 h 1228"/>
                <a:gd name="T34" fmla="*/ 1188 w 3174"/>
                <a:gd name="T35" fmla="*/ 284 h 1228"/>
                <a:gd name="T36" fmla="*/ 1359 w 3174"/>
                <a:gd name="T37" fmla="*/ 198 h 1228"/>
                <a:gd name="T38" fmla="*/ 1583 w 3174"/>
                <a:gd name="T39" fmla="*/ 336 h 1228"/>
                <a:gd name="T40" fmla="*/ 1775 w 3174"/>
                <a:gd name="T41" fmla="*/ 237 h 1228"/>
                <a:gd name="T42" fmla="*/ 2006 w 3174"/>
                <a:gd name="T43" fmla="*/ 191 h 1228"/>
                <a:gd name="T44" fmla="*/ 2052 w 3174"/>
                <a:gd name="T45" fmla="*/ 455 h 1228"/>
                <a:gd name="T46" fmla="*/ 2164 w 3174"/>
                <a:gd name="T47" fmla="*/ 706 h 1228"/>
                <a:gd name="T48" fmla="*/ 2316 w 3174"/>
                <a:gd name="T49" fmla="*/ 554 h 1228"/>
                <a:gd name="T50" fmla="*/ 2612 w 3174"/>
                <a:gd name="T51" fmla="*/ 448 h 1228"/>
                <a:gd name="T52" fmla="*/ 2837 w 3174"/>
                <a:gd name="T53" fmla="*/ 402 h 1228"/>
                <a:gd name="T54" fmla="*/ 3166 w 3174"/>
                <a:gd name="T55" fmla="*/ 389 h 1228"/>
                <a:gd name="T56" fmla="*/ 3166 w 3174"/>
                <a:gd name="T57" fmla="*/ 462 h 1228"/>
                <a:gd name="T58" fmla="*/ 3160 w 3174"/>
                <a:gd name="T59" fmla="*/ 712 h 1228"/>
                <a:gd name="T60" fmla="*/ 3054 w 3174"/>
                <a:gd name="T61" fmla="*/ 1016 h 1228"/>
                <a:gd name="T62" fmla="*/ 2962 w 3174"/>
                <a:gd name="T63" fmla="*/ 1141 h 1228"/>
                <a:gd name="T64" fmla="*/ 2830 w 3174"/>
                <a:gd name="T65" fmla="*/ 1101 h 1228"/>
                <a:gd name="T66" fmla="*/ 2632 w 3174"/>
                <a:gd name="T67" fmla="*/ 1101 h 1228"/>
                <a:gd name="T68" fmla="*/ 2553 w 3174"/>
                <a:gd name="T69" fmla="*/ 1141 h 1228"/>
                <a:gd name="T70" fmla="*/ 2289 w 3174"/>
                <a:gd name="T71" fmla="*/ 1200 h 1228"/>
                <a:gd name="T72" fmla="*/ 2157 w 3174"/>
                <a:gd name="T73" fmla="*/ 1207 h 1228"/>
                <a:gd name="T74" fmla="*/ 1722 w 3174"/>
                <a:gd name="T75" fmla="*/ 976 h 1228"/>
                <a:gd name="T76" fmla="*/ 1458 w 3174"/>
                <a:gd name="T77" fmla="*/ 1036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174" h="1228">
                  <a:moveTo>
                    <a:pt x="1458" y="1036"/>
                  </a:moveTo>
                  <a:lnTo>
                    <a:pt x="1458" y="1036"/>
                  </a:lnTo>
                  <a:cubicBezTo>
                    <a:pt x="1175" y="805"/>
                    <a:pt x="1175" y="805"/>
                    <a:pt x="1175" y="805"/>
                  </a:cubicBezTo>
                  <a:cubicBezTo>
                    <a:pt x="1095" y="785"/>
                    <a:pt x="1049" y="785"/>
                    <a:pt x="983" y="745"/>
                  </a:cubicBezTo>
                  <a:cubicBezTo>
                    <a:pt x="950" y="726"/>
                    <a:pt x="931" y="712"/>
                    <a:pt x="891" y="712"/>
                  </a:cubicBezTo>
                  <a:cubicBezTo>
                    <a:pt x="818" y="712"/>
                    <a:pt x="785" y="758"/>
                    <a:pt x="733" y="805"/>
                  </a:cubicBezTo>
                  <a:cubicBezTo>
                    <a:pt x="693" y="851"/>
                    <a:pt x="660" y="871"/>
                    <a:pt x="614" y="910"/>
                  </a:cubicBezTo>
                  <a:cubicBezTo>
                    <a:pt x="581" y="943"/>
                    <a:pt x="561" y="976"/>
                    <a:pt x="515" y="976"/>
                  </a:cubicBezTo>
                  <a:cubicBezTo>
                    <a:pt x="475" y="976"/>
                    <a:pt x="449" y="963"/>
                    <a:pt x="423" y="937"/>
                  </a:cubicBezTo>
                  <a:cubicBezTo>
                    <a:pt x="416" y="943"/>
                    <a:pt x="409" y="950"/>
                    <a:pt x="403" y="950"/>
                  </a:cubicBezTo>
                  <a:cubicBezTo>
                    <a:pt x="403" y="1016"/>
                    <a:pt x="390" y="1095"/>
                    <a:pt x="324" y="1095"/>
                  </a:cubicBezTo>
                  <a:cubicBezTo>
                    <a:pt x="297" y="1095"/>
                    <a:pt x="277" y="1088"/>
                    <a:pt x="251" y="1075"/>
                  </a:cubicBezTo>
                  <a:cubicBezTo>
                    <a:pt x="245" y="1062"/>
                    <a:pt x="225" y="1042"/>
                    <a:pt x="218" y="1022"/>
                  </a:cubicBezTo>
                  <a:cubicBezTo>
                    <a:pt x="205" y="983"/>
                    <a:pt x="192" y="937"/>
                    <a:pt x="152" y="910"/>
                  </a:cubicBezTo>
                  <a:cubicBezTo>
                    <a:pt x="159" y="897"/>
                    <a:pt x="172" y="890"/>
                    <a:pt x="172" y="871"/>
                  </a:cubicBezTo>
                  <a:cubicBezTo>
                    <a:pt x="172" y="824"/>
                    <a:pt x="165" y="785"/>
                    <a:pt x="132" y="758"/>
                  </a:cubicBezTo>
                  <a:cubicBezTo>
                    <a:pt x="86" y="719"/>
                    <a:pt x="47" y="712"/>
                    <a:pt x="0" y="666"/>
                  </a:cubicBezTo>
                  <a:lnTo>
                    <a:pt x="0" y="666"/>
                  </a:lnTo>
                  <a:cubicBezTo>
                    <a:pt x="33" y="613"/>
                    <a:pt x="80" y="613"/>
                    <a:pt x="139" y="580"/>
                  </a:cubicBezTo>
                  <a:cubicBezTo>
                    <a:pt x="198" y="554"/>
                    <a:pt x="218" y="501"/>
                    <a:pt x="264" y="455"/>
                  </a:cubicBezTo>
                  <a:cubicBezTo>
                    <a:pt x="284" y="429"/>
                    <a:pt x="297" y="415"/>
                    <a:pt x="317" y="389"/>
                  </a:cubicBezTo>
                  <a:cubicBezTo>
                    <a:pt x="330" y="369"/>
                    <a:pt x="350" y="363"/>
                    <a:pt x="350" y="336"/>
                  </a:cubicBezTo>
                  <a:cubicBezTo>
                    <a:pt x="350" y="310"/>
                    <a:pt x="350" y="297"/>
                    <a:pt x="350" y="270"/>
                  </a:cubicBezTo>
                  <a:cubicBezTo>
                    <a:pt x="350" y="257"/>
                    <a:pt x="337" y="251"/>
                    <a:pt x="330" y="244"/>
                  </a:cubicBezTo>
                  <a:cubicBezTo>
                    <a:pt x="317" y="198"/>
                    <a:pt x="304" y="171"/>
                    <a:pt x="304" y="125"/>
                  </a:cubicBezTo>
                  <a:cubicBezTo>
                    <a:pt x="304" y="92"/>
                    <a:pt x="304" y="72"/>
                    <a:pt x="304" y="46"/>
                  </a:cubicBezTo>
                  <a:cubicBezTo>
                    <a:pt x="357" y="46"/>
                    <a:pt x="390" y="46"/>
                    <a:pt x="442" y="33"/>
                  </a:cubicBezTo>
                  <a:lnTo>
                    <a:pt x="442" y="33"/>
                  </a:lnTo>
                  <a:cubicBezTo>
                    <a:pt x="686" y="7"/>
                    <a:pt x="686" y="7"/>
                    <a:pt x="686" y="7"/>
                  </a:cubicBezTo>
                  <a:cubicBezTo>
                    <a:pt x="713" y="7"/>
                    <a:pt x="726" y="7"/>
                    <a:pt x="752" y="7"/>
                  </a:cubicBezTo>
                  <a:cubicBezTo>
                    <a:pt x="765" y="7"/>
                    <a:pt x="772" y="0"/>
                    <a:pt x="785" y="0"/>
                  </a:cubicBezTo>
                  <a:cubicBezTo>
                    <a:pt x="845" y="0"/>
                    <a:pt x="871" y="26"/>
                    <a:pt x="924" y="59"/>
                  </a:cubicBezTo>
                  <a:cubicBezTo>
                    <a:pt x="963" y="79"/>
                    <a:pt x="990" y="99"/>
                    <a:pt x="1010" y="139"/>
                  </a:cubicBezTo>
                  <a:cubicBezTo>
                    <a:pt x="1036" y="178"/>
                    <a:pt x="1049" y="204"/>
                    <a:pt x="1069" y="251"/>
                  </a:cubicBezTo>
                  <a:cubicBezTo>
                    <a:pt x="1082" y="284"/>
                    <a:pt x="1095" y="330"/>
                    <a:pt x="1135" y="330"/>
                  </a:cubicBezTo>
                  <a:cubicBezTo>
                    <a:pt x="1161" y="330"/>
                    <a:pt x="1168" y="303"/>
                    <a:pt x="1188" y="284"/>
                  </a:cubicBezTo>
                  <a:cubicBezTo>
                    <a:pt x="1240" y="231"/>
                    <a:pt x="1287" y="211"/>
                    <a:pt x="1359" y="198"/>
                  </a:cubicBezTo>
                  <a:lnTo>
                    <a:pt x="1359" y="198"/>
                  </a:lnTo>
                  <a:cubicBezTo>
                    <a:pt x="1412" y="237"/>
                    <a:pt x="1465" y="244"/>
                    <a:pt x="1524" y="284"/>
                  </a:cubicBezTo>
                  <a:cubicBezTo>
                    <a:pt x="1544" y="303"/>
                    <a:pt x="1550" y="336"/>
                    <a:pt x="1583" y="336"/>
                  </a:cubicBezTo>
                  <a:cubicBezTo>
                    <a:pt x="1617" y="336"/>
                    <a:pt x="1630" y="303"/>
                    <a:pt x="1663" y="284"/>
                  </a:cubicBezTo>
                  <a:cubicBezTo>
                    <a:pt x="1702" y="257"/>
                    <a:pt x="1729" y="251"/>
                    <a:pt x="1775" y="237"/>
                  </a:cubicBezTo>
                  <a:cubicBezTo>
                    <a:pt x="1834" y="224"/>
                    <a:pt x="1861" y="191"/>
                    <a:pt x="1920" y="191"/>
                  </a:cubicBezTo>
                  <a:cubicBezTo>
                    <a:pt x="1953" y="191"/>
                    <a:pt x="1973" y="191"/>
                    <a:pt x="2006" y="191"/>
                  </a:cubicBezTo>
                  <a:cubicBezTo>
                    <a:pt x="2058" y="191"/>
                    <a:pt x="2124" y="211"/>
                    <a:pt x="2124" y="264"/>
                  </a:cubicBezTo>
                  <a:cubicBezTo>
                    <a:pt x="2124" y="343"/>
                    <a:pt x="2091" y="383"/>
                    <a:pt x="2052" y="455"/>
                  </a:cubicBezTo>
                  <a:cubicBezTo>
                    <a:pt x="2032" y="495"/>
                    <a:pt x="2006" y="508"/>
                    <a:pt x="2006" y="554"/>
                  </a:cubicBezTo>
                  <a:cubicBezTo>
                    <a:pt x="2006" y="633"/>
                    <a:pt x="2078" y="706"/>
                    <a:pt x="2164" y="706"/>
                  </a:cubicBezTo>
                  <a:cubicBezTo>
                    <a:pt x="2210" y="706"/>
                    <a:pt x="2223" y="666"/>
                    <a:pt x="2256" y="633"/>
                  </a:cubicBezTo>
                  <a:cubicBezTo>
                    <a:pt x="2276" y="600"/>
                    <a:pt x="2296" y="587"/>
                    <a:pt x="2316" y="554"/>
                  </a:cubicBezTo>
                  <a:cubicBezTo>
                    <a:pt x="2329" y="528"/>
                    <a:pt x="2335" y="501"/>
                    <a:pt x="2362" y="495"/>
                  </a:cubicBezTo>
                  <a:cubicBezTo>
                    <a:pt x="2461" y="468"/>
                    <a:pt x="2514" y="448"/>
                    <a:pt x="2612" y="448"/>
                  </a:cubicBezTo>
                  <a:cubicBezTo>
                    <a:pt x="2652" y="448"/>
                    <a:pt x="2678" y="482"/>
                    <a:pt x="2718" y="482"/>
                  </a:cubicBezTo>
                  <a:cubicBezTo>
                    <a:pt x="2771" y="482"/>
                    <a:pt x="2790" y="429"/>
                    <a:pt x="2837" y="402"/>
                  </a:cubicBezTo>
                  <a:cubicBezTo>
                    <a:pt x="2896" y="369"/>
                    <a:pt x="2942" y="350"/>
                    <a:pt x="3015" y="343"/>
                  </a:cubicBezTo>
                  <a:cubicBezTo>
                    <a:pt x="3166" y="389"/>
                    <a:pt x="3166" y="389"/>
                    <a:pt x="3166" y="389"/>
                  </a:cubicBezTo>
                  <a:lnTo>
                    <a:pt x="3166" y="389"/>
                  </a:lnTo>
                  <a:cubicBezTo>
                    <a:pt x="3166" y="415"/>
                    <a:pt x="3173" y="435"/>
                    <a:pt x="3166" y="462"/>
                  </a:cubicBezTo>
                  <a:cubicBezTo>
                    <a:pt x="3147" y="488"/>
                    <a:pt x="3114" y="501"/>
                    <a:pt x="3114" y="541"/>
                  </a:cubicBezTo>
                  <a:cubicBezTo>
                    <a:pt x="3114" y="607"/>
                    <a:pt x="3160" y="646"/>
                    <a:pt x="3160" y="712"/>
                  </a:cubicBezTo>
                  <a:cubicBezTo>
                    <a:pt x="3160" y="791"/>
                    <a:pt x="3127" y="831"/>
                    <a:pt x="3101" y="897"/>
                  </a:cubicBezTo>
                  <a:cubicBezTo>
                    <a:pt x="3081" y="943"/>
                    <a:pt x="3081" y="976"/>
                    <a:pt x="3054" y="1016"/>
                  </a:cubicBezTo>
                  <a:cubicBezTo>
                    <a:pt x="3034" y="1042"/>
                    <a:pt x="3008" y="1055"/>
                    <a:pt x="2988" y="1088"/>
                  </a:cubicBezTo>
                  <a:cubicBezTo>
                    <a:pt x="2975" y="1108"/>
                    <a:pt x="2969" y="1128"/>
                    <a:pt x="2962" y="1141"/>
                  </a:cubicBezTo>
                  <a:lnTo>
                    <a:pt x="2962" y="1141"/>
                  </a:lnTo>
                  <a:cubicBezTo>
                    <a:pt x="2916" y="1121"/>
                    <a:pt x="2883" y="1101"/>
                    <a:pt x="2830" y="1101"/>
                  </a:cubicBezTo>
                  <a:cubicBezTo>
                    <a:pt x="2797" y="1101"/>
                    <a:pt x="2777" y="1121"/>
                    <a:pt x="2744" y="1121"/>
                  </a:cubicBezTo>
                  <a:cubicBezTo>
                    <a:pt x="2698" y="1121"/>
                    <a:pt x="2672" y="1115"/>
                    <a:pt x="2632" y="1101"/>
                  </a:cubicBezTo>
                  <a:cubicBezTo>
                    <a:pt x="2626" y="1101"/>
                    <a:pt x="2626" y="1088"/>
                    <a:pt x="2619" y="1088"/>
                  </a:cubicBezTo>
                  <a:cubicBezTo>
                    <a:pt x="2586" y="1088"/>
                    <a:pt x="2579" y="1128"/>
                    <a:pt x="2553" y="1141"/>
                  </a:cubicBezTo>
                  <a:cubicBezTo>
                    <a:pt x="2487" y="1187"/>
                    <a:pt x="2441" y="1200"/>
                    <a:pt x="2362" y="1200"/>
                  </a:cubicBezTo>
                  <a:cubicBezTo>
                    <a:pt x="2329" y="1200"/>
                    <a:pt x="2316" y="1200"/>
                    <a:pt x="2289" y="1200"/>
                  </a:cubicBezTo>
                  <a:cubicBezTo>
                    <a:pt x="2269" y="1200"/>
                    <a:pt x="2256" y="1227"/>
                    <a:pt x="2236" y="1227"/>
                  </a:cubicBezTo>
                  <a:cubicBezTo>
                    <a:pt x="2204" y="1227"/>
                    <a:pt x="2184" y="1213"/>
                    <a:pt x="2157" y="1207"/>
                  </a:cubicBezTo>
                  <a:cubicBezTo>
                    <a:pt x="2078" y="1194"/>
                    <a:pt x="2032" y="1187"/>
                    <a:pt x="1966" y="1141"/>
                  </a:cubicBezTo>
                  <a:cubicBezTo>
                    <a:pt x="1880" y="1068"/>
                    <a:pt x="1841" y="976"/>
                    <a:pt x="1722" y="976"/>
                  </a:cubicBezTo>
                  <a:cubicBezTo>
                    <a:pt x="1630" y="976"/>
                    <a:pt x="1603" y="1088"/>
                    <a:pt x="1511" y="1088"/>
                  </a:cubicBezTo>
                  <a:cubicBezTo>
                    <a:pt x="1478" y="1088"/>
                    <a:pt x="1465" y="1062"/>
                    <a:pt x="1458" y="103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2" name="Freeform 22"/>
            <p:cNvSpPr>
              <a:spLocks noChangeArrowheads="1"/>
            </p:cNvSpPr>
            <p:nvPr/>
          </p:nvSpPr>
          <p:spPr bwMode="auto">
            <a:xfrm>
              <a:off x="9737885" y="5694357"/>
              <a:ext cx="660357" cy="411162"/>
            </a:xfrm>
            <a:custGeom>
              <a:avLst/>
              <a:gdLst>
                <a:gd name="T0" fmla="*/ 1807 w 1835"/>
                <a:gd name="T1" fmla="*/ 824 h 1142"/>
                <a:gd name="T2" fmla="*/ 1807 w 1835"/>
                <a:gd name="T3" fmla="*/ 824 h 1142"/>
                <a:gd name="T4" fmla="*/ 1656 w 1835"/>
                <a:gd name="T5" fmla="*/ 778 h 1142"/>
                <a:gd name="T6" fmla="*/ 1478 w 1835"/>
                <a:gd name="T7" fmla="*/ 837 h 1142"/>
                <a:gd name="T8" fmla="*/ 1359 w 1835"/>
                <a:gd name="T9" fmla="*/ 917 h 1142"/>
                <a:gd name="T10" fmla="*/ 1253 w 1835"/>
                <a:gd name="T11" fmla="*/ 883 h 1142"/>
                <a:gd name="T12" fmla="*/ 1003 w 1835"/>
                <a:gd name="T13" fmla="*/ 930 h 1142"/>
                <a:gd name="T14" fmla="*/ 957 w 1835"/>
                <a:gd name="T15" fmla="*/ 989 h 1142"/>
                <a:gd name="T16" fmla="*/ 897 w 1835"/>
                <a:gd name="T17" fmla="*/ 1068 h 1142"/>
                <a:gd name="T18" fmla="*/ 805 w 1835"/>
                <a:gd name="T19" fmla="*/ 1141 h 1142"/>
                <a:gd name="T20" fmla="*/ 647 w 1835"/>
                <a:gd name="T21" fmla="*/ 989 h 1142"/>
                <a:gd name="T22" fmla="*/ 693 w 1835"/>
                <a:gd name="T23" fmla="*/ 890 h 1142"/>
                <a:gd name="T24" fmla="*/ 765 w 1835"/>
                <a:gd name="T25" fmla="*/ 699 h 1142"/>
                <a:gd name="T26" fmla="*/ 647 w 1835"/>
                <a:gd name="T27" fmla="*/ 626 h 1142"/>
                <a:gd name="T28" fmla="*/ 561 w 1835"/>
                <a:gd name="T29" fmla="*/ 626 h 1142"/>
                <a:gd name="T30" fmla="*/ 416 w 1835"/>
                <a:gd name="T31" fmla="*/ 672 h 1142"/>
                <a:gd name="T32" fmla="*/ 304 w 1835"/>
                <a:gd name="T33" fmla="*/ 719 h 1142"/>
                <a:gd name="T34" fmla="*/ 224 w 1835"/>
                <a:gd name="T35" fmla="*/ 771 h 1142"/>
                <a:gd name="T36" fmla="*/ 165 w 1835"/>
                <a:gd name="T37" fmla="*/ 719 h 1142"/>
                <a:gd name="T38" fmla="*/ 0 w 1835"/>
                <a:gd name="T39" fmla="*/ 633 h 1142"/>
                <a:gd name="T40" fmla="*/ 0 w 1835"/>
                <a:gd name="T41" fmla="*/ 633 h 1142"/>
                <a:gd name="T42" fmla="*/ 27 w 1835"/>
                <a:gd name="T43" fmla="*/ 587 h 1142"/>
                <a:gd name="T44" fmla="*/ 73 w 1835"/>
                <a:gd name="T45" fmla="*/ 507 h 1142"/>
                <a:gd name="T46" fmla="*/ 0 w 1835"/>
                <a:gd name="T47" fmla="*/ 310 h 1142"/>
                <a:gd name="T48" fmla="*/ 53 w 1835"/>
                <a:gd name="T49" fmla="*/ 184 h 1142"/>
                <a:gd name="T50" fmla="*/ 53 w 1835"/>
                <a:gd name="T51" fmla="*/ 118 h 1142"/>
                <a:gd name="T52" fmla="*/ 66 w 1835"/>
                <a:gd name="T53" fmla="*/ 59 h 1142"/>
                <a:gd name="T54" fmla="*/ 66 w 1835"/>
                <a:gd name="T55" fmla="*/ 59 h 1142"/>
                <a:gd name="T56" fmla="*/ 178 w 1835"/>
                <a:gd name="T57" fmla="*/ 99 h 1142"/>
                <a:gd name="T58" fmla="*/ 290 w 1835"/>
                <a:gd name="T59" fmla="*/ 79 h 1142"/>
                <a:gd name="T60" fmla="*/ 403 w 1835"/>
                <a:gd name="T61" fmla="*/ 85 h 1142"/>
                <a:gd name="T62" fmla="*/ 594 w 1835"/>
                <a:gd name="T63" fmla="*/ 33 h 1142"/>
                <a:gd name="T64" fmla="*/ 732 w 1835"/>
                <a:gd name="T65" fmla="*/ 0 h 1142"/>
                <a:gd name="T66" fmla="*/ 673 w 1835"/>
                <a:gd name="T67" fmla="*/ 145 h 1142"/>
                <a:gd name="T68" fmla="*/ 640 w 1835"/>
                <a:gd name="T69" fmla="*/ 250 h 1142"/>
                <a:gd name="T70" fmla="*/ 713 w 1835"/>
                <a:gd name="T71" fmla="*/ 310 h 1142"/>
                <a:gd name="T72" fmla="*/ 805 w 1835"/>
                <a:gd name="T73" fmla="*/ 356 h 1142"/>
                <a:gd name="T74" fmla="*/ 884 w 1835"/>
                <a:gd name="T75" fmla="*/ 316 h 1142"/>
                <a:gd name="T76" fmla="*/ 910 w 1835"/>
                <a:gd name="T77" fmla="*/ 343 h 1142"/>
                <a:gd name="T78" fmla="*/ 963 w 1835"/>
                <a:gd name="T79" fmla="*/ 376 h 1142"/>
                <a:gd name="T80" fmla="*/ 1016 w 1835"/>
                <a:gd name="T81" fmla="*/ 422 h 1142"/>
                <a:gd name="T82" fmla="*/ 1069 w 1835"/>
                <a:gd name="T83" fmla="*/ 369 h 1142"/>
                <a:gd name="T84" fmla="*/ 1049 w 1835"/>
                <a:gd name="T85" fmla="*/ 290 h 1142"/>
                <a:gd name="T86" fmla="*/ 1095 w 1835"/>
                <a:gd name="T87" fmla="*/ 270 h 1142"/>
                <a:gd name="T88" fmla="*/ 1128 w 1835"/>
                <a:gd name="T89" fmla="*/ 197 h 1142"/>
                <a:gd name="T90" fmla="*/ 1161 w 1835"/>
                <a:gd name="T91" fmla="*/ 125 h 1142"/>
                <a:gd name="T92" fmla="*/ 1234 w 1835"/>
                <a:gd name="T93" fmla="*/ 184 h 1142"/>
                <a:gd name="T94" fmla="*/ 1412 w 1835"/>
                <a:gd name="T95" fmla="*/ 257 h 1142"/>
                <a:gd name="T96" fmla="*/ 1484 w 1835"/>
                <a:gd name="T97" fmla="*/ 257 h 1142"/>
                <a:gd name="T98" fmla="*/ 1570 w 1835"/>
                <a:gd name="T99" fmla="*/ 250 h 1142"/>
                <a:gd name="T100" fmla="*/ 1643 w 1835"/>
                <a:gd name="T101" fmla="*/ 270 h 1142"/>
                <a:gd name="T102" fmla="*/ 1794 w 1835"/>
                <a:gd name="T103" fmla="*/ 290 h 1142"/>
                <a:gd name="T104" fmla="*/ 1794 w 1835"/>
                <a:gd name="T105" fmla="*/ 290 h 1142"/>
                <a:gd name="T106" fmla="*/ 1801 w 1835"/>
                <a:gd name="T107" fmla="*/ 323 h 1142"/>
                <a:gd name="T108" fmla="*/ 1801 w 1835"/>
                <a:gd name="T109" fmla="*/ 382 h 1142"/>
                <a:gd name="T110" fmla="*/ 1821 w 1835"/>
                <a:gd name="T111" fmla="*/ 567 h 1142"/>
                <a:gd name="T112" fmla="*/ 1821 w 1835"/>
                <a:gd name="T113" fmla="*/ 620 h 1142"/>
                <a:gd name="T114" fmla="*/ 1834 w 1835"/>
                <a:gd name="T115" fmla="*/ 666 h 1142"/>
                <a:gd name="T116" fmla="*/ 1807 w 1835"/>
                <a:gd name="T117" fmla="*/ 804 h 1142"/>
                <a:gd name="T118" fmla="*/ 1807 w 1835"/>
                <a:gd name="T119" fmla="*/ 824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35" h="1142">
                  <a:moveTo>
                    <a:pt x="1807" y="824"/>
                  </a:moveTo>
                  <a:lnTo>
                    <a:pt x="1807" y="824"/>
                  </a:lnTo>
                  <a:cubicBezTo>
                    <a:pt x="1656" y="778"/>
                    <a:pt x="1656" y="778"/>
                    <a:pt x="1656" y="778"/>
                  </a:cubicBezTo>
                  <a:cubicBezTo>
                    <a:pt x="1583" y="785"/>
                    <a:pt x="1537" y="804"/>
                    <a:pt x="1478" y="837"/>
                  </a:cubicBezTo>
                  <a:cubicBezTo>
                    <a:pt x="1431" y="864"/>
                    <a:pt x="1412" y="917"/>
                    <a:pt x="1359" y="917"/>
                  </a:cubicBezTo>
                  <a:cubicBezTo>
                    <a:pt x="1319" y="917"/>
                    <a:pt x="1293" y="883"/>
                    <a:pt x="1253" y="883"/>
                  </a:cubicBezTo>
                  <a:cubicBezTo>
                    <a:pt x="1155" y="883"/>
                    <a:pt x="1102" y="903"/>
                    <a:pt x="1003" y="930"/>
                  </a:cubicBezTo>
                  <a:cubicBezTo>
                    <a:pt x="976" y="936"/>
                    <a:pt x="970" y="963"/>
                    <a:pt x="957" y="989"/>
                  </a:cubicBezTo>
                  <a:cubicBezTo>
                    <a:pt x="937" y="1022"/>
                    <a:pt x="917" y="1035"/>
                    <a:pt x="897" y="1068"/>
                  </a:cubicBezTo>
                  <a:cubicBezTo>
                    <a:pt x="864" y="1101"/>
                    <a:pt x="851" y="1141"/>
                    <a:pt x="805" y="1141"/>
                  </a:cubicBezTo>
                  <a:cubicBezTo>
                    <a:pt x="719" y="1141"/>
                    <a:pt x="647" y="1068"/>
                    <a:pt x="647" y="989"/>
                  </a:cubicBezTo>
                  <a:cubicBezTo>
                    <a:pt x="647" y="943"/>
                    <a:pt x="673" y="930"/>
                    <a:pt x="693" y="890"/>
                  </a:cubicBezTo>
                  <a:cubicBezTo>
                    <a:pt x="732" y="818"/>
                    <a:pt x="765" y="778"/>
                    <a:pt x="765" y="699"/>
                  </a:cubicBezTo>
                  <a:cubicBezTo>
                    <a:pt x="765" y="646"/>
                    <a:pt x="699" y="626"/>
                    <a:pt x="647" y="626"/>
                  </a:cubicBezTo>
                  <a:cubicBezTo>
                    <a:pt x="614" y="626"/>
                    <a:pt x="594" y="626"/>
                    <a:pt x="561" y="626"/>
                  </a:cubicBezTo>
                  <a:cubicBezTo>
                    <a:pt x="502" y="626"/>
                    <a:pt x="475" y="659"/>
                    <a:pt x="416" y="672"/>
                  </a:cubicBezTo>
                  <a:cubicBezTo>
                    <a:pt x="370" y="686"/>
                    <a:pt x="343" y="692"/>
                    <a:pt x="304" y="719"/>
                  </a:cubicBezTo>
                  <a:cubicBezTo>
                    <a:pt x="271" y="738"/>
                    <a:pt x="258" y="771"/>
                    <a:pt x="224" y="771"/>
                  </a:cubicBezTo>
                  <a:cubicBezTo>
                    <a:pt x="191" y="771"/>
                    <a:pt x="185" y="738"/>
                    <a:pt x="165" y="719"/>
                  </a:cubicBezTo>
                  <a:cubicBezTo>
                    <a:pt x="106" y="679"/>
                    <a:pt x="53" y="672"/>
                    <a:pt x="0" y="633"/>
                  </a:cubicBezTo>
                  <a:lnTo>
                    <a:pt x="0" y="633"/>
                  </a:lnTo>
                  <a:cubicBezTo>
                    <a:pt x="20" y="620"/>
                    <a:pt x="20" y="606"/>
                    <a:pt x="27" y="587"/>
                  </a:cubicBezTo>
                  <a:cubicBezTo>
                    <a:pt x="40" y="554"/>
                    <a:pt x="73" y="540"/>
                    <a:pt x="73" y="507"/>
                  </a:cubicBezTo>
                  <a:cubicBezTo>
                    <a:pt x="73" y="422"/>
                    <a:pt x="0" y="389"/>
                    <a:pt x="0" y="310"/>
                  </a:cubicBezTo>
                  <a:cubicBezTo>
                    <a:pt x="0" y="257"/>
                    <a:pt x="53" y="237"/>
                    <a:pt x="53" y="184"/>
                  </a:cubicBezTo>
                  <a:cubicBezTo>
                    <a:pt x="53" y="158"/>
                    <a:pt x="53" y="138"/>
                    <a:pt x="53" y="118"/>
                  </a:cubicBezTo>
                  <a:cubicBezTo>
                    <a:pt x="53" y="92"/>
                    <a:pt x="60" y="85"/>
                    <a:pt x="66" y="59"/>
                  </a:cubicBezTo>
                  <a:lnTo>
                    <a:pt x="66" y="59"/>
                  </a:lnTo>
                  <a:cubicBezTo>
                    <a:pt x="106" y="72"/>
                    <a:pt x="132" y="99"/>
                    <a:pt x="178" y="99"/>
                  </a:cubicBezTo>
                  <a:cubicBezTo>
                    <a:pt x="218" y="99"/>
                    <a:pt x="244" y="79"/>
                    <a:pt x="290" y="79"/>
                  </a:cubicBezTo>
                  <a:cubicBezTo>
                    <a:pt x="337" y="79"/>
                    <a:pt x="363" y="85"/>
                    <a:pt x="403" y="85"/>
                  </a:cubicBezTo>
                  <a:cubicBezTo>
                    <a:pt x="482" y="85"/>
                    <a:pt x="521" y="52"/>
                    <a:pt x="594" y="33"/>
                  </a:cubicBezTo>
                  <a:cubicBezTo>
                    <a:pt x="647" y="20"/>
                    <a:pt x="686" y="26"/>
                    <a:pt x="732" y="0"/>
                  </a:cubicBezTo>
                  <a:cubicBezTo>
                    <a:pt x="699" y="52"/>
                    <a:pt x="693" y="85"/>
                    <a:pt x="673" y="145"/>
                  </a:cubicBezTo>
                  <a:cubicBezTo>
                    <a:pt x="660" y="184"/>
                    <a:pt x="640" y="204"/>
                    <a:pt x="640" y="250"/>
                  </a:cubicBezTo>
                  <a:cubicBezTo>
                    <a:pt x="640" y="290"/>
                    <a:pt x="679" y="296"/>
                    <a:pt x="713" y="310"/>
                  </a:cubicBezTo>
                  <a:cubicBezTo>
                    <a:pt x="752" y="323"/>
                    <a:pt x="765" y="356"/>
                    <a:pt x="805" y="356"/>
                  </a:cubicBezTo>
                  <a:cubicBezTo>
                    <a:pt x="838" y="356"/>
                    <a:pt x="851" y="316"/>
                    <a:pt x="884" y="316"/>
                  </a:cubicBezTo>
                  <a:cubicBezTo>
                    <a:pt x="897" y="316"/>
                    <a:pt x="897" y="329"/>
                    <a:pt x="910" y="343"/>
                  </a:cubicBezTo>
                  <a:cubicBezTo>
                    <a:pt x="930" y="356"/>
                    <a:pt x="943" y="362"/>
                    <a:pt x="963" y="376"/>
                  </a:cubicBezTo>
                  <a:cubicBezTo>
                    <a:pt x="983" y="395"/>
                    <a:pt x="990" y="422"/>
                    <a:pt x="1016" y="422"/>
                  </a:cubicBezTo>
                  <a:cubicBezTo>
                    <a:pt x="1049" y="422"/>
                    <a:pt x="1069" y="395"/>
                    <a:pt x="1069" y="369"/>
                  </a:cubicBezTo>
                  <a:cubicBezTo>
                    <a:pt x="1069" y="336"/>
                    <a:pt x="1049" y="323"/>
                    <a:pt x="1049" y="290"/>
                  </a:cubicBezTo>
                  <a:cubicBezTo>
                    <a:pt x="1049" y="270"/>
                    <a:pt x="1082" y="283"/>
                    <a:pt x="1095" y="270"/>
                  </a:cubicBezTo>
                  <a:cubicBezTo>
                    <a:pt x="1121" y="250"/>
                    <a:pt x="1128" y="230"/>
                    <a:pt x="1128" y="197"/>
                  </a:cubicBezTo>
                  <a:cubicBezTo>
                    <a:pt x="1135" y="171"/>
                    <a:pt x="1128" y="125"/>
                    <a:pt x="1161" y="125"/>
                  </a:cubicBezTo>
                  <a:cubicBezTo>
                    <a:pt x="1201" y="125"/>
                    <a:pt x="1201" y="171"/>
                    <a:pt x="1234" y="184"/>
                  </a:cubicBezTo>
                  <a:cubicBezTo>
                    <a:pt x="1300" y="224"/>
                    <a:pt x="1339" y="257"/>
                    <a:pt x="1412" y="257"/>
                  </a:cubicBezTo>
                  <a:cubicBezTo>
                    <a:pt x="1445" y="257"/>
                    <a:pt x="1458" y="257"/>
                    <a:pt x="1484" y="257"/>
                  </a:cubicBezTo>
                  <a:cubicBezTo>
                    <a:pt x="1517" y="257"/>
                    <a:pt x="1537" y="250"/>
                    <a:pt x="1570" y="250"/>
                  </a:cubicBezTo>
                  <a:cubicBezTo>
                    <a:pt x="1596" y="250"/>
                    <a:pt x="1616" y="264"/>
                    <a:pt x="1643" y="270"/>
                  </a:cubicBezTo>
                  <a:cubicBezTo>
                    <a:pt x="1702" y="283"/>
                    <a:pt x="1735" y="277"/>
                    <a:pt x="1794" y="290"/>
                  </a:cubicBezTo>
                  <a:lnTo>
                    <a:pt x="1794" y="290"/>
                  </a:lnTo>
                  <a:cubicBezTo>
                    <a:pt x="1794" y="303"/>
                    <a:pt x="1801" y="310"/>
                    <a:pt x="1801" y="323"/>
                  </a:cubicBezTo>
                  <a:cubicBezTo>
                    <a:pt x="1801" y="349"/>
                    <a:pt x="1801" y="356"/>
                    <a:pt x="1801" y="382"/>
                  </a:cubicBezTo>
                  <a:cubicBezTo>
                    <a:pt x="1801" y="455"/>
                    <a:pt x="1821" y="494"/>
                    <a:pt x="1821" y="567"/>
                  </a:cubicBezTo>
                  <a:cubicBezTo>
                    <a:pt x="1821" y="587"/>
                    <a:pt x="1821" y="600"/>
                    <a:pt x="1821" y="620"/>
                  </a:cubicBezTo>
                  <a:cubicBezTo>
                    <a:pt x="1821" y="639"/>
                    <a:pt x="1827" y="646"/>
                    <a:pt x="1834" y="666"/>
                  </a:cubicBezTo>
                  <a:cubicBezTo>
                    <a:pt x="1834" y="719"/>
                    <a:pt x="1814" y="751"/>
                    <a:pt x="1807" y="804"/>
                  </a:cubicBezTo>
                  <a:cubicBezTo>
                    <a:pt x="1807" y="811"/>
                    <a:pt x="1807" y="818"/>
                    <a:pt x="1807" y="824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3" name="Freeform 23"/>
            <p:cNvSpPr>
              <a:spLocks noChangeArrowheads="1"/>
            </p:cNvSpPr>
            <p:nvPr/>
          </p:nvSpPr>
          <p:spPr bwMode="auto">
            <a:xfrm>
              <a:off x="9761697" y="5449883"/>
              <a:ext cx="622259" cy="396875"/>
            </a:xfrm>
            <a:custGeom>
              <a:avLst/>
              <a:gdLst>
                <a:gd name="T0" fmla="*/ 0 w 1729"/>
                <a:gd name="T1" fmla="*/ 739 h 1103"/>
                <a:gd name="T2" fmla="*/ 0 w 1729"/>
                <a:gd name="T3" fmla="*/ 739 h 1103"/>
                <a:gd name="T4" fmla="*/ 112 w 1729"/>
                <a:gd name="T5" fmla="*/ 779 h 1103"/>
                <a:gd name="T6" fmla="*/ 224 w 1729"/>
                <a:gd name="T7" fmla="*/ 759 h 1103"/>
                <a:gd name="T8" fmla="*/ 337 w 1729"/>
                <a:gd name="T9" fmla="*/ 765 h 1103"/>
                <a:gd name="T10" fmla="*/ 528 w 1729"/>
                <a:gd name="T11" fmla="*/ 713 h 1103"/>
                <a:gd name="T12" fmla="*/ 666 w 1729"/>
                <a:gd name="T13" fmla="*/ 680 h 1103"/>
                <a:gd name="T14" fmla="*/ 607 w 1729"/>
                <a:gd name="T15" fmla="*/ 825 h 1103"/>
                <a:gd name="T16" fmla="*/ 574 w 1729"/>
                <a:gd name="T17" fmla="*/ 930 h 1103"/>
                <a:gd name="T18" fmla="*/ 647 w 1729"/>
                <a:gd name="T19" fmla="*/ 990 h 1103"/>
                <a:gd name="T20" fmla="*/ 739 w 1729"/>
                <a:gd name="T21" fmla="*/ 1036 h 1103"/>
                <a:gd name="T22" fmla="*/ 818 w 1729"/>
                <a:gd name="T23" fmla="*/ 996 h 1103"/>
                <a:gd name="T24" fmla="*/ 844 w 1729"/>
                <a:gd name="T25" fmla="*/ 1023 h 1103"/>
                <a:gd name="T26" fmla="*/ 897 w 1729"/>
                <a:gd name="T27" fmla="*/ 1056 h 1103"/>
                <a:gd name="T28" fmla="*/ 950 w 1729"/>
                <a:gd name="T29" fmla="*/ 1102 h 1103"/>
                <a:gd name="T30" fmla="*/ 1003 w 1729"/>
                <a:gd name="T31" fmla="*/ 1049 h 1103"/>
                <a:gd name="T32" fmla="*/ 983 w 1729"/>
                <a:gd name="T33" fmla="*/ 970 h 1103"/>
                <a:gd name="T34" fmla="*/ 1029 w 1729"/>
                <a:gd name="T35" fmla="*/ 950 h 1103"/>
                <a:gd name="T36" fmla="*/ 1062 w 1729"/>
                <a:gd name="T37" fmla="*/ 877 h 1103"/>
                <a:gd name="T38" fmla="*/ 1095 w 1729"/>
                <a:gd name="T39" fmla="*/ 805 h 1103"/>
                <a:gd name="T40" fmla="*/ 1168 w 1729"/>
                <a:gd name="T41" fmla="*/ 864 h 1103"/>
                <a:gd name="T42" fmla="*/ 1346 w 1729"/>
                <a:gd name="T43" fmla="*/ 937 h 1103"/>
                <a:gd name="T44" fmla="*/ 1418 w 1729"/>
                <a:gd name="T45" fmla="*/ 937 h 1103"/>
                <a:gd name="T46" fmla="*/ 1504 w 1729"/>
                <a:gd name="T47" fmla="*/ 930 h 1103"/>
                <a:gd name="T48" fmla="*/ 1577 w 1729"/>
                <a:gd name="T49" fmla="*/ 950 h 1103"/>
                <a:gd name="T50" fmla="*/ 1728 w 1729"/>
                <a:gd name="T51" fmla="*/ 970 h 1103"/>
                <a:gd name="T52" fmla="*/ 1728 w 1729"/>
                <a:gd name="T53" fmla="*/ 970 h 1103"/>
                <a:gd name="T54" fmla="*/ 1689 w 1729"/>
                <a:gd name="T55" fmla="*/ 792 h 1103"/>
                <a:gd name="T56" fmla="*/ 1689 w 1729"/>
                <a:gd name="T57" fmla="*/ 633 h 1103"/>
                <a:gd name="T58" fmla="*/ 1656 w 1729"/>
                <a:gd name="T59" fmla="*/ 502 h 1103"/>
                <a:gd name="T60" fmla="*/ 1616 w 1729"/>
                <a:gd name="T61" fmla="*/ 389 h 1103"/>
                <a:gd name="T62" fmla="*/ 1583 w 1729"/>
                <a:gd name="T63" fmla="*/ 337 h 1103"/>
                <a:gd name="T64" fmla="*/ 1412 w 1729"/>
                <a:gd name="T65" fmla="*/ 264 h 1103"/>
                <a:gd name="T66" fmla="*/ 1313 w 1729"/>
                <a:gd name="T67" fmla="*/ 225 h 1103"/>
                <a:gd name="T68" fmla="*/ 1174 w 1729"/>
                <a:gd name="T69" fmla="*/ 225 h 1103"/>
                <a:gd name="T70" fmla="*/ 1009 w 1729"/>
                <a:gd name="T71" fmla="*/ 165 h 1103"/>
                <a:gd name="T72" fmla="*/ 957 w 1729"/>
                <a:gd name="T73" fmla="*/ 172 h 1103"/>
                <a:gd name="T74" fmla="*/ 825 w 1729"/>
                <a:gd name="T75" fmla="*/ 79 h 1103"/>
                <a:gd name="T76" fmla="*/ 647 w 1729"/>
                <a:gd name="T77" fmla="*/ 7 h 1103"/>
                <a:gd name="T78" fmla="*/ 633 w 1729"/>
                <a:gd name="T79" fmla="*/ 0 h 1103"/>
                <a:gd name="T80" fmla="*/ 633 w 1729"/>
                <a:gd name="T81" fmla="*/ 0 h 1103"/>
                <a:gd name="T82" fmla="*/ 442 w 1729"/>
                <a:gd name="T83" fmla="*/ 93 h 1103"/>
                <a:gd name="T84" fmla="*/ 396 w 1729"/>
                <a:gd name="T85" fmla="*/ 93 h 1103"/>
                <a:gd name="T86" fmla="*/ 350 w 1729"/>
                <a:gd name="T87" fmla="*/ 165 h 1103"/>
                <a:gd name="T88" fmla="*/ 317 w 1729"/>
                <a:gd name="T89" fmla="*/ 258 h 1103"/>
                <a:gd name="T90" fmla="*/ 257 w 1729"/>
                <a:gd name="T91" fmla="*/ 436 h 1103"/>
                <a:gd name="T92" fmla="*/ 139 w 1729"/>
                <a:gd name="T93" fmla="*/ 574 h 1103"/>
                <a:gd name="T94" fmla="*/ 33 w 1729"/>
                <a:gd name="T95" fmla="*/ 633 h 1103"/>
                <a:gd name="T96" fmla="*/ 0 w 1729"/>
                <a:gd name="T97" fmla="*/ 739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729" h="1103">
                  <a:moveTo>
                    <a:pt x="0" y="739"/>
                  </a:moveTo>
                  <a:lnTo>
                    <a:pt x="0" y="739"/>
                  </a:lnTo>
                  <a:cubicBezTo>
                    <a:pt x="40" y="752"/>
                    <a:pt x="66" y="779"/>
                    <a:pt x="112" y="779"/>
                  </a:cubicBezTo>
                  <a:cubicBezTo>
                    <a:pt x="152" y="779"/>
                    <a:pt x="178" y="759"/>
                    <a:pt x="224" y="759"/>
                  </a:cubicBezTo>
                  <a:cubicBezTo>
                    <a:pt x="271" y="759"/>
                    <a:pt x="297" y="765"/>
                    <a:pt x="337" y="765"/>
                  </a:cubicBezTo>
                  <a:cubicBezTo>
                    <a:pt x="416" y="765"/>
                    <a:pt x="455" y="732"/>
                    <a:pt x="528" y="713"/>
                  </a:cubicBezTo>
                  <a:cubicBezTo>
                    <a:pt x="581" y="700"/>
                    <a:pt x="620" y="706"/>
                    <a:pt x="666" y="680"/>
                  </a:cubicBezTo>
                  <a:cubicBezTo>
                    <a:pt x="633" y="732"/>
                    <a:pt x="627" y="765"/>
                    <a:pt x="607" y="825"/>
                  </a:cubicBezTo>
                  <a:cubicBezTo>
                    <a:pt x="594" y="864"/>
                    <a:pt x="574" y="884"/>
                    <a:pt x="574" y="930"/>
                  </a:cubicBezTo>
                  <a:cubicBezTo>
                    <a:pt x="574" y="970"/>
                    <a:pt x="613" y="976"/>
                    <a:pt x="647" y="990"/>
                  </a:cubicBezTo>
                  <a:cubicBezTo>
                    <a:pt x="686" y="1003"/>
                    <a:pt x="699" y="1036"/>
                    <a:pt x="739" y="1036"/>
                  </a:cubicBezTo>
                  <a:cubicBezTo>
                    <a:pt x="772" y="1036"/>
                    <a:pt x="785" y="996"/>
                    <a:pt x="818" y="996"/>
                  </a:cubicBezTo>
                  <a:cubicBezTo>
                    <a:pt x="831" y="996"/>
                    <a:pt x="831" y="1009"/>
                    <a:pt x="844" y="1023"/>
                  </a:cubicBezTo>
                  <a:cubicBezTo>
                    <a:pt x="864" y="1036"/>
                    <a:pt x="877" y="1042"/>
                    <a:pt x="897" y="1056"/>
                  </a:cubicBezTo>
                  <a:cubicBezTo>
                    <a:pt x="917" y="1075"/>
                    <a:pt x="924" y="1102"/>
                    <a:pt x="950" y="1102"/>
                  </a:cubicBezTo>
                  <a:cubicBezTo>
                    <a:pt x="983" y="1102"/>
                    <a:pt x="1003" y="1075"/>
                    <a:pt x="1003" y="1049"/>
                  </a:cubicBezTo>
                  <a:cubicBezTo>
                    <a:pt x="1003" y="1016"/>
                    <a:pt x="983" y="1003"/>
                    <a:pt x="983" y="970"/>
                  </a:cubicBezTo>
                  <a:cubicBezTo>
                    <a:pt x="983" y="950"/>
                    <a:pt x="1016" y="963"/>
                    <a:pt x="1029" y="950"/>
                  </a:cubicBezTo>
                  <a:cubicBezTo>
                    <a:pt x="1055" y="930"/>
                    <a:pt x="1062" y="910"/>
                    <a:pt x="1062" y="877"/>
                  </a:cubicBezTo>
                  <a:cubicBezTo>
                    <a:pt x="1069" y="851"/>
                    <a:pt x="1062" y="805"/>
                    <a:pt x="1095" y="805"/>
                  </a:cubicBezTo>
                  <a:cubicBezTo>
                    <a:pt x="1135" y="805"/>
                    <a:pt x="1135" y="851"/>
                    <a:pt x="1168" y="864"/>
                  </a:cubicBezTo>
                  <a:cubicBezTo>
                    <a:pt x="1234" y="904"/>
                    <a:pt x="1273" y="937"/>
                    <a:pt x="1346" y="937"/>
                  </a:cubicBezTo>
                  <a:cubicBezTo>
                    <a:pt x="1379" y="937"/>
                    <a:pt x="1392" y="937"/>
                    <a:pt x="1418" y="937"/>
                  </a:cubicBezTo>
                  <a:cubicBezTo>
                    <a:pt x="1451" y="937"/>
                    <a:pt x="1471" y="930"/>
                    <a:pt x="1504" y="930"/>
                  </a:cubicBezTo>
                  <a:cubicBezTo>
                    <a:pt x="1530" y="930"/>
                    <a:pt x="1550" y="944"/>
                    <a:pt x="1577" y="950"/>
                  </a:cubicBezTo>
                  <a:cubicBezTo>
                    <a:pt x="1636" y="963"/>
                    <a:pt x="1669" y="957"/>
                    <a:pt x="1728" y="970"/>
                  </a:cubicBezTo>
                  <a:lnTo>
                    <a:pt x="1728" y="970"/>
                  </a:lnTo>
                  <a:cubicBezTo>
                    <a:pt x="1722" y="904"/>
                    <a:pt x="1689" y="864"/>
                    <a:pt x="1689" y="792"/>
                  </a:cubicBezTo>
                  <a:cubicBezTo>
                    <a:pt x="1689" y="726"/>
                    <a:pt x="1689" y="693"/>
                    <a:pt x="1689" y="633"/>
                  </a:cubicBezTo>
                  <a:cubicBezTo>
                    <a:pt x="1689" y="581"/>
                    <a:pt x="1662" y="554"/>
                    <a:pt x="1656" y="502"/>
                  </a:cubicBezTo>
                  <a:cubicBezTo>
                    <a:pt x="1649" y="455"/>
                    <a:pt x="1636" y="429"/>
                    <a:pt x="1616" y="389"/>
                  </a:cubicBezTo>
                  <a:cubicBezTo>
                    <a:pt x="1603" y="370"/>
                    <a:pt x="1603" y="350"/>
                    <a:pt x="1583" y="337"/>
                  </a:cubicBezTo>
                  <a:cubicBezTo>
                    <a:pt x="1524" y="297"/>
                    <a:pt x="1478" y="284"/>
                    <a:pt x="1412" y="264"/>
                  </a:cubicBezTo>
                  <a:cubicBezTo>
                    <a:pt x="1372" y="251"/>
                    <a:pt x="1352" y="225"/>
                    <a:pt x="1313" y="225"/>
                  </a:cubicBezTo>
                  <a:cubicBezTo>
                    <a:pt x="1260" y="225"/>
                    <a:pt x="1227" y="225"/>
                    <a:pt x="1174" y="225"/>
                  </a:cubicBezTo>
                  <a:cubicBezTo>
                    <a:pt x="1102" y="225"/>
                    <a:pt x="1075" y="165"/>
                    <a:pt x="1009" y="165"/>
                  </a:cubicBezTo>
                  <a:cubicBezTo>
                    <a:pt x="990" y="165"/>
                    <a:pt x="976" y="172"/>
                    <a:pt x="957" y="172"/>
                  </a:cubicBezTo>
                  <a:cubicBezTo>
                    <a:pt x="897" y="172"/>
                    <a:pt x="851" y="139"/>
                    <a:pt x="825" y="79"/>
                  </a:cubicBezTo>
                  <a:cubicBezTo>
                    <a:pt x="792" y="14"/>
                    <a:pt x="712" y="47"/>
                    <a:pt x="647" y="7"/>
                  </a:cubicBezTo>
                  <a:cubicBezTo>
                    <a:pt x="640" y="0"/>
                    <a:pt x="633" y="0"/>
                    <a:pt x="633" y="0"/>
                  </a:cubicBezTo>
                  <a:lnTo>
                    <a:pt x="633" y="0"/>
                  </a:lnTo>
                  <a:cubicBezTo>
                    <a:pt x="574" y="47"/>
                    <a:pt x="521" y="93"/>
                    <a:pt x="442" y="93"/>
                  </a:cubicBezTo>
                  <a:cubicBezTo>
                    <a:pt x="422" y="93"/>
                    <a:pt x="416" y="93"/>
                    <a:pt x="396" y="93"/>
                  </a:cubicBezTo>
                  <a:cubicBezTo>
                    <a:pt x="356" y="93"/>
                    <a:pt x="356" y="132"/>
                    <a:pt x="350" y="165"/>
                  </a:cubicBezTo>
                  <a:cubicBezTo>
                    <a:pt x="343" y="205"/>
                    <a:pt x="323" y="225"/>
                    <a:pt x="317" y="258"/>
                  </a:cubicBezTo>
                  <a:cubicBezTo>
                    <a:pt x="297" y="330"/>
                    <a:pt x="277" y="370"/>
                    <a:pt x="257" y="436"/>
                  </a:cubicBezTo>
                  <a:cubicBezTo>
                    <a:pt x="238" y="502"/>
                    <a:pt x="198" y="534"/>
                    <a:pt x="139" y="574"/>
                  </a:cubicBezTo>
                  <a:cubicBezTo>
                    <a:pt x="106" y="601"/>
                    <a:pt x="66" y="594"/>
                    <a:pt x="33" y="633"/>
                  </a:cubicBezTo>
                  <a:cubicBezTo>
                    <a:pt x="0" y="666"/>
                    <a:pt x="13" y="700"/>
                    <a:pt x="0" y="739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4" name="Freeform 24"/>
            <p:cNvSpPr>
              <a:spLocks noChangeArrowheads="1"/>
            </p:cNvSpPr>
            <p:nvPr/>
          </p:nvSpPr>
          <p:spPr bwMode="auto">
            <a:xfrm>
              <a:off x="9282303" y="5014907"/>
              <a:ext cx="707979" cy="955675"/>
            </a:xfrm>
            <a:custGeom>
              <a:avLst/>
              <a:gdLst>
                <a:gd name="T0" fmla="*/ 1266 w 1966"/>
                <a:gd name="T1" fmla="*/ 2520 h 2653"/>
                <a:gd name="T2" fmla="*/ 1339 w 1966"/>
                <a:gd name="T3" fmla="*/ 2394 h 2653"/>
                <a:gd name="T4" fmla="*/ 1319 w 1966"/>
                <a:gd name="T5" fmla="*/ 2071 h 2653"/>
                <a:gd name="T6" fmla="*/ 1332 w 1966"/>
                <a:gd name="T7" fmla="*/ 1946 h 2653"/>
                <a:gd name="T8" fmla="*/ 1365 w 1966"/>
                <a:gd name="T9" fmla="*/ 1840 h 2653"/>
                <a:gd name="T10" fmla="*/ 1589 w 1966"/>
                <a:gd name="T11" fmla="*/ 1643 h 2653"/>
                <a:gd name="T12" fmla="*/ 1682 w 1966"/>
                <a:gd name="T13" fmla="*/ 1372 h 2653"/>
                <a:gd name="T14" fmla="*/ 1774 w 1966"/>
                <a:gd name="T15" fmla="*/ 1300 h 2653"/>
                <a:gd name="T16" fmla="*/ 1965 w 1966"/>
                <a:gd name="T17" fmla="*/ 1207 h 2653"/>
                <a:gd name="T18" fmla="*/ 1932 w 1966"/>
                <a:gd name="T19" fmla="*/ 1128 h 2653"/>
                <a:gd name="T20" fmla="*/ 1721 w 1966"/>
                <a:gd name="T21" fmla="*/ 937 h 2653"/>
                <a:gd name="T22" fmla="*/ 1392 w 1966"/>
                <a:gd name="T23" fmla="*/ 515 h 2653"/>
                <a:gd name="T24" fmla="*/ 1154 w 1966"/>
                <a:gd name="T25" fmla="*/ 363 h 2653"/>
                <a:gd name="T26" fmla="*/ 983 w 1966"/>
                <a:gd name="T27" fmla="*/ 244 h 2653"/>
                <a:gd name="T28" fmla="*/ 844 w 1966"/>
                <a:gd name="T29" fmla="*/ 198 h 2653"/>
                <a:gd name="T30" fmla="*/ 692 w 1966"/>
                <a:gd name="T31" fmla="*/ 99 h 2653"/>
                <a:gd name="T32" fmla="*/ 475 w 1966"/>
                <a:gd name="T33" fmla="*/ 0 h 2653"/>
                <a:gd name="T34" fmla="*/ 72 w 1966"/>
                <a:gd name="T35" fmla="*/ 20 h 2653"/>
                <a:gd name="T36" fmla="*/ 72 w 1966"/>
                <a:gd name="T37" fmla="*/ 99 h 2653"/>
                <a:gd name="T38" fmla="*/ 86 w 1966"/>
                <a:gd name="T39" fmla="*/ 304 h 2653"/>
                <a:gd name="T40" fmla="*/ 231 w 1966"/>
                <a:gd name="T41" fmla="*/ 475 h 2653"/>
                <a:gd name="T42" fmla="*/ 198 w 1966"/>
                <a:gd name="T43" fmla="*/ 653 h 2653"/>
                <a:gd name="T44" fmla="*/ 86 w 1966"/>
                <a:gd name="T45" fmla="*/ 924 h 2653"/>
                <a:gd name="T46" fmla="*/ 86 w 1966"/>
                <a:gd name="T47" fmla="*/ 1122 h 2653"/>
                <a:gd name="T48" fmla="*/ 0 w 1966"/>
                <a:gd name="T49" fmla="*/ 1530 h 2653"/>
                <a:gd name="T50" fmla="*/ 79 w 1966"/>
                <a:gd name="T51" fmla="*/ 1794 h 2653"/>
                <a:gd name="T52" fmla="*/ 112 w 1966"/>
                <a:gd name="T53" fmla="*/ 1986 h 2653"/>
                <a:gd name="T54" fmla="*/ 323 w 1966"/>
                <a:gd name="T55" fmla="*/ 2091 h 2653"/>
                <a:gd name="T56" fmla="*/ 349 w 1966"/>
                <a:gd name="T57" fmla="*/ 2355 h 2653"/>
                <a:gd name="T58" fmla="*/ 593 w 1966"/>
                <a:gd name="T59" fmla="*/ 2329 h 2653"/>
                <a:gd name="T60" fmla="*/ 692 w 1966"/>
                <a:gd name="T61" fmla="*/ 2322 h 2653"/>
                <a:gd name="T62" fmla="*/ 917 w 1966"/>
                <a:gd name="T63" fmla="*/ 2461 h 2653"/>
                <a:gd name="T64" fmla="*/ 1042 w 1966"/>
                <a:gd name="T65" fmla="*/ 2652 h 2653"/>
                <a:gd name="T66" fmla="*/ 1266 w 1966"/>
                <a:gd name="T67" fmla="*/ 252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66" h="2653">
                  <a:moveTo>
                    <a:pt x="1266" y="2520"/>
                  </a:moveTo>
                  <a:lnTo>
                    <a:pt x="1266" y="2520"/>
                  </a:lnTo>
                  <a:cubicBezTo>
                    <a:pt x="1286" y="2507"/>
                    <a:pt x="1286" y="2493"/>
                    <a:pt x="1293" y="2474"/>
                  </a:cubicBezTo>
                  <a:cubicBezTo>
                    <a:pt x="1306" y="2441"/>
                    <a:pt x="1339" y="2427"/>
                    <a:pt x="1339" y="2394"/>
                  </a:cubicBezTo>
                  <a:cubicBezTo>
                    <a:pt x="1339" y="2309"/>
                    <a:pt x="1266" y="2276"/>
                    <a:pt x="1266" y="2197"/>
                  </a:cubicBezTo>
                  <a:cubicBezTo>
                    <a:pt x="1266" y="2144"/>
                    <a:pt x="1319" y="2124"/>
                    <a:pt x="1319" y="2071"/>
                  </a:cubicBezTo>
                  <a:cubicBezTo>
                    <a:pt x="1319" y="2045"/>
                    <a:pt x="1319" y="2025"/>
                    <a:pt x="1319" y="2005"/>
                  </a:cubicBezTo>
                  <a:cubicBezTo>
                    <a:pt x="1319" y="1979"/>
                    <a:pt x="1326" y="1972"/>
                    <a:pt x="1332" y="1946"/>
                  </a:cubicBezTo>
                  <a:lnTo>
                    <a:pt x="1332" y="1946"/>
                  </a:lnTo>
                  <a:cubicBezTo>
                    <a:pt x="1345" y="1907"/>
                    <a:pt x="1332" y="1873"/>
                    <a:pt x="1365" y="1840"/>
                  </a:cubicBezTo>
                  <a:cubicBezTo>
                    <a:pt x="1398" y="1801"/>
                    <a:pt x="1438" y="1808"/>
                    <a:pt x="1471" y="1781"/>
                  </a:cubicBezTo>
                  <a:cubicBezTo>
                    <a:pt x="1530" y="1741"/>
                    <a:pt x="1570" y="1709"/>
                    <a:pt x="1589" y="1643"/>
                  </a:cubicBezTo>
                  <a:cubicBezTo>
                    <a:pt x="1609" y="1577"/>
                    <a:pt x="1629" y="1537"/>
                    <a:pt x="1649" y="1465"/>
                  </a:cubicBezTo>
                  <a:cubicBezTo>
                    <a:pt x="1655" y="1432"/>
                    <a:pt x="1675" y="1412"/>
                    <a:pt x="1682" y="1372"/>
                  </a:cubicBezTo>
                  <a:cubicBezTo>
                    <a:pt x="1688" y="1339"/>
                    <a:pt x="1688" y="1300"/>
                    <a:pt x="1728" y="1300"/>
                  </a:cubicBezTo>
                  <a:cubicBezTo>
                    <a:pt x="1748" y="1300"/>
                    <a:pt x="1754" y="1300"/>
                    <a:pt x="1774" y="1300"/>
                  </a:cubicBezTo>
                  <a:cubicBezTo>
                    <a:pt x="1853" y="1300"/>
                    <a:pt x="1906" y="1254"/>
                    <a:pt x="1965" y="1207"/>
                  </a:cubicBezTo>
                  <a:lnTo>
                    <a:pt x="1965" y="1207"/>
                  </a:lnTo>
                  <a:cubicBezTo>
                    <a:pt x="1952" y="1201"/>
                    <a:pt x="1945" y="1194"/>
                    <a:pt x="1939" y="1181"/>
                  </a:cubicBezTo>
                  <a:cubicBezTo>
                    <a:pt x="1926" y="1168"/>
                    <a:pt x="1939" y="1148"/>
                    <a:pt x="1932" y="1128"/>
                  </a:cubicBezTo>
                  <a:cubicBezTo>
                    <a:pt x="1926" y="1095"/>
                    <a:pt x="1919" y="1082"/>
                    <a:pt x="1899" y="1056"/>
                  </a:cubicBezTo>
                  <a:cubicBezTo>
                    <a:pt x="1840" y="996"/>
                    <a:pt x="1787" y="990"/>
                    <a:pt x="1721" y="937"/>
                  </a:cubicBezTo>
                  <a:cubicBezTo>
                    <a:pt x="1589" y="844"/>
                    <a:pt x="1576" y="726"/>
                    <a:pt x="1464" y="607"/>
                  </a:cubicBezTo>
                  <a:cubicBezTo>
                    <a:pt x="1438" y="574"/>
                    <a:pt x="1425" y="541"/>
                    <a:pt x="1392" y="515"/>
                  </a:cubicBezTo>
                  <a:cubicBezTo>
                    <a:pt x="1358" y="495"/>
                    <a:pt x="1339" y="502"/>
                    <a:pt x="1306" y="482"/>
                  </a:cubicBezTo>
                  <a:cubicBezTo>
                    <a:pt x="1240" y="442"/>
                    <a:pt x="1200" y="422"/>
                    <a:pt x="1154" y="363"/>
                  </a:cubicBezTo>
                  <a:cubicBezTo>
                    <a:pt x="1134" y="317"/>
                    <a:pt x="1075" y="330"/>
                    <a:pt x="1042" y="297"/>
                  </a:cubicBezTo>
                  <a:cubicBezTo>
                    <a:pt x="1022" y="271"/>
                    <a:pt x="1009" y="264"/>
                    <a:pt x="983" y="244"/>
                  </a:cubicBezTo>
                  <a:cubicBezTo>
                    <a:pt x="956" y="225"/>
                    <a:pt x="950" y="198"/>
                    <a:pt x="917" y="198"/>
                  </a:cubicBezTo>
                  <a:cubicBezTo>
                    <a:pt x="884" y="198"/>
                    <a:pt x="870" y="198"/>
                    <a:pt x="844" y="198"/>
                  </a:cubicBezTo>
                  <a:cubicBezTo>
                    <a:pt x="791" y="198"/>
                    <a:pt x="752" y="198"/>
                    <a:pt x="719" y="159"/>
                  </a:cubicBezTo>
                  <a:cubicBezTo>
                    <a:pt x="706" y="139"/>
                    <a:pt x="706" y="119"/>
                    <a:pt x="692" y="99"/>
                  </a:cubicBezTo>
                  <a:cubicBezTo>
                    <a:pt x="659" y="73"/>
                    <a:pt x="626" y="73"/>
                    <a:pt x="587" y="53"/>
                  </a:cubicBezTo>
                  <a:cubicBezTo>
                    <a:pt x="541" y="33"/>
                    <a:pt x="521" y="0"/>
                    <a:pt x="475" y="0"/>
                  </a:cubicBezTo>
                  <a:cubicBezTo>
                    <a:pt x="382" y="0"/>
                    <a:pt x="330" y="27"/>
                    <a:pt x="237" y="27"/>
                  </a:cubicBezTo>
                  <a:cubicBezTo>
                    <a:pt x="171" y="27"/>
                    <a:pt x="138" y="20"/>
                    <a:pt x="72" y="20"/>
                  </a:cubicBezTo>
                  <a:lnTo>
                    <a:pt x="72" y="20"/>
                  </a:lnTo>
                  <a:cubicBezTo>
                    <a:pt x="79" y="46"/>
                    <a:pt x="72" y="73"/>
                    <a:pt x="72" y="99"/>
                  </a:cubicBezTo>
                  <a:cubicBezTo>
                    <a:pt x="72" y="165"/>
                    <a:pt x="59" y="205"/>
                    <a:pt x="59" y="271"/>
                  </a:cubicBezTo>
                  <a:cubicBezTo>
                    <a:pt x="59" y="284"/>
                    <a:pt x="79" y="290"/>
                    <a:pt x="86" y="304"/>
                  </a:cubicBezTo>
                  <a:cubicBezTo>
                    <a:pt x="112" y="357"/>
                    <a:pt x="145" y="383"/>
                    <a:pt x="191" y="416"/>
                  </a:cubicBezTo>
                  <a:cubicBezTo>
                    <a:pt x="211" y="436"/>
                    <a:pt x="231" y="449"/>
                    <a:pt x="231" y="475"/>
                  </a:cubicBezTo>
                  <a:cubicBezTo>
                    <a:pt x="231" y="508"/>
                    <a:pt x="217" y="528"/>
                    <a:pt x="211" y="561"/>
                  </a:cubicBezTo>
                  <a:cubicBezTo>
                    <a:pt x="211" y="600"/>
                    <a:pt x="224" y="627"/>
                    <a:pt x="198" y="653"/>
                  </a:cubicBezTo>
                  <a:cubicBezTo>
                    <a:pt x="171" y="680"/>
                    <a:pt x="138" y="686"/>
                    <a:pt x="125" y="719"/>
                  </a:cubicBezTo>
                  <a:cubicBezTo>
                    <a:pt x="99" y="798"/>
                    <a:pt x="99" y="844"/>
                    <a:pt x="86" y="924"/>
                  </a:cubicBezTo>
                  <a:cubicBezTo>
                    <a:pt x="79" y="976"/>
                    <a:pt x="59" y="1003"/>
                    <a:pt x="59" y="1049"/>
                  </a:cubicBezTo>
                  <a:cubicBezTo>
                    <a:pt x="59" y="1075"/>
                    <a:pt x="86" y="1089"/>
                    <a:pt x="86" y="1122"/>
                  </a:cubicBezTo>
                  <a:cubicBezTo>
                    <a:pt x="86" y="1155"/>
                    <a:pt x="86" y="1174"/>
                    <a:pt x="86" y="1207"/>
                  </a:cubicBezTo>
                  <a:cubicBezTo>
                    <a:pt x="86" y="1333"/>
                    <a:pt x="0" y="1399"/>
                    <a:pt x="0" y="1530"/>
                  </a:cubicBezTo>
                  <a:cubicBezTo>
                    <a:pt x="0" y="1610"/>
                    <a:pt x="86" y="1636"/>
                    <a:pt x="86" y="1715"/>
                  </a:cubicBezTo>
                  <a:cubicBezTo>
                    <a:pt x="86" y="1748"/>
                    <a:pt x="79" y="1768"/>
                    <a:pt x="79" y="1794"/>
                  </a:cubicBezTo>
                  <a:cubicBezTo>
                    <a:pt x="79" y="1834"/>
                    <a:pt x="79" y="1854"/>
                    <a:pt x="79" y="1893"/>
                  </a:cubicBezTo>
                  <a:cubicBezTo>
                    <a:pt x="79" y="1926"/>
                    <a:pt x="72" y="1972"/>
                    <a:pt x="112" y="1986"/>
                  </a:cubicBezTo>
                  <a:cubicBezTo>
                    <a:pt x="158" y="2005"/>
                    <a:pt x="191" y="2005"/>
                    <a:pt x="244" y="2019"/>
                  </a:cubicBezTo>
                  <a:cubicBezTo>
                    <a:pt x="283" y="2032"/>
                    <a:pt x="323" y="2045"/>
                    <a:pt x="323" y="2091"/>
                  </a:cubicBezTo>
                  <a:cubicBezTo>
                    <a:pt x="323" y="2144"/>
                    <a:pt x="323" y="2177"/>
                    <a:pt x="323" y="2230"/>
                  </a:cubicBezTo>
                  <a:cubicBezTo>
                    <a:pt x="323" y="2276"/>
                    <a:pt x="336" y="2302"/>
                    <a:pt x="349" y="2355"/>
                  </a:cubicBezTo>
                  <a:lnTo>
                    <a:pt x="349" y="2355"/>
                  </a:lnTo>
                  <a:cubicBezTo>
                    <a:pt x="593" y="2329"/>
                    <a:pt x="593" y="2329"/>
                    <a:pt x="593" y="2329"/>
                  </a:cubicBezTo>
                  <a:cubicBezTo>
                    <a:pt x="620" y="2329"/>
                    <a:pt x="633" y="2329"/>
                    <a:pt x="659" y="2329"/>
                  </a:cubicBezTo>
                  <a:cubicBezTo>
                    <a:pt x="672" y="2329"/>
                    <a:pt x="679" y="2322"/>
                    <a:pt x="692" y="2322"/>
                  </a:cubicBezTo>
                  <a:cubicBezTo>
                    <a:pt x="752" y="2322"/>
                    <a:pt x="778" y="2348"/>
                    <a:pt x="831" y="2381"/>
                  </a:cubicBezTo>
                  <a:cubicBezTo>
                    <a:pt x="870" y="2401"/>
                    <a:pt x="897" y="2421"/>
                    <a:pt x="917" y="2461"/>
                  </a:cubicBezTo>
                  <a:cubicBezTo>
                    <a:pt x="943" y="2500"/>
                    <a:pt x="956" y="2526"/>
                    <a:pt x="976" y="2573"/>
                  </a:cubicBezTo>
                  <a:cubicBezTo>
                    <a:pt x="989" y="2606"/>
                    <a:pt x="1002" y="2652"/>
                    <a:pt x="1042" y="2652"/>
                  </a:cubicBezTo>
                  <a:cubicBezTo>
                    <a:pt x="1068" y="2652"/>
                    <a:pt x="1075" y="2625"/>
                    <a:pt x="1095" y="2606"/>
                  </a:cubicBezTo>
                  <a:cubicBezTo>
                    <a:pt x="1147" y="2553"/>
                    <a:pt x="1194" y="2533"/>
                    <a:pt x="1266" y="252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5" name="Freeform 25"/>
            <p:cNvSpPr>
              <a:spLocks noChangeArrowheads="1"/>
            </p:cNvSpPr>
            <p:nvPr/>
          </p:nvSpPr>
          <p:spPr bwMode="auto">
            <a:xfrm>
              <a:off x="7975875" y="4602157"/>
              <a:ext cx="1238169" cy="1681162"/>
            </a:xfrm>
            <a:custGeom>
              <a:avLst/>
              <a:gdLst>
                <a:gd name="T0" fmla="*/ 1392 w 3438"/>
                <a:gd name="T1" fmla="*/ 39 h 4670"/>
                <a:gd name="T2" fmla="*/ 1623 w 3438"/>
                <a:gd name="T3" fmla="*/ 138 h 4670"/>
                <a:gd name="T4" fmla="*/ 1695 w 3438"/>
                <a:gd name="T5" fmla="*/ 264 h 4670"/>
                <a:gd name="T6" fmla="*/ 1933 w 3438"/>
                <a:gd name="T7" fmla="*/ 310 h 4670"/>
                <a:gd name="T8" fmla="*/ 2078 w 3438"/>
                <a:gd name="T9" fmla="*/ 514 h 4670"/>
                <a:gd name="T10" fmla="*/ 2051 w 3438"/>
                <a:gd name="T11" fmla="*/ 613 h 4670"/>
                <a:gd name="T12" fmla="*/ 1992 w 3438"/>
                <a:gd name="T13" fmla="*/ 963 h 4670"/>
                <a:gd name="T14" fmla="*/ 2098 w 3438"/>
                <a:gd name="T15" fmla="*/ 969 h 4670"/>
                <a:gd name="T16" fmla="*/ 2256 w 3438"/>
                <a:gd name="T17" fmla="*/ 758 h 4670"/>
                <a:gd name="T18" fmla="*/ 2322 w 3438"/>
                <a:gd name="T19" fmla="*/ 824 h 4670"/>
                <a:gd name="T20" fmla="*/ 2658 w 3438"/>
                <a:gd name="T21" fmla="*/ 824 h 4670"/>
                <a:gd name="T22" fmla="*/ 2955 w 3438"/>
                <a:gd name="T23" fmla="*/ 943 h 4670"/>
                <a:gd name="T24" fmla="*/ 3239 w 3438"/>
                <a:gd name="T25" fmla="*/ 1029 h 4670"/>
                <a:gd name="T26" fmla="*/ 3403 w 3438"/>
                <a:gd name="T27" fmla="*/ 1042 h 4670"/>
                <a:gd name="T28" fmla="*/ 3371 w 3438"/>
                <a:gd name="T29" fmla="*/ 1233 h 4670"/>
                <a:gd name="T30" fmla="*/ 3080 w 3438"/>
                <a:gd name="T31" fmla="*/ 1391 h 4670"/>
                <a:gd name="T32" fmla="*/ 2935 w 3438"/>
                <a:gd name="T33" fmla="*/ 1563 h 4670"/>
                <a:gd name="T34" fmla="*/ 2810 w 3438"/>
                <a:gd name="T35" fmla="*/ 1767 h 4670"/>
                <a:gd name="T36" fmla="*/ 2836 w 3438"/>
                <a:gd name="T37" fmla="*/ 1991 h 4670"/>
                <a:gd name="T38" fmla="*/ 2797 w 3438"/>
                <a:gd name="T39" fmla="*/ 2381 h 4670"/>
                <a:gd name="T40" fmla="*/ 2685 w 3438"/>
                <a:gd name="T41" fmla="*/ 2592 h 4670"/>
                <a:gd name="T42" fmla="*/ 2784 w 3438"/>
                <a:gd name="T43" fmla="*/ 2816 h 4670"/>
                <a:gd name="T44" fmla="*/ 2658 w 3438"/>
                <a:gd name="T45" fmla="*/ 3113 h 4670"/>
                <a:gd name="T46" fmla="*/ 2295 w 3438"/>
                <a:gd name="T47" fmla="*/ 2994 h 4670"/>
                <a:gd name="T48" fmla="*/ 2078 w 3438"/>
                <a:gd name="T49" fmla="*/ 3166 h 4670"/>
                <a:gd name="T50" fmla="*/ 1834 w 3438"/>
                <a:gd name="T51" fmla="*/ 3311 h 4670"/>
                <a:gd name="T52" fmla="*/ 1557 w 3438"/>
                <a:gd name="T53" fmla="*/ 3344 h 4670"/>
                <a:gd name="T54" fmla="*/ 1385 w 3438"/>
                <a:gd name="T55" fmla="*/ 3581 h 4670"/>
                <a:gd name="T56" fmla="*/ 1253 w 3438"/>
                <a:gd name="T57" fmla="*/ 3951 h 4670"/>
                <a:gd name="T58" fmla="*/ 1194 w 3438"/>
                <a:gd name="T59" fmla="*/ 4115 h 4670"/>
                <a:gd name="T60" fmla="*/ 1187 w 3438"/>
                <a:gd name="T61" fmla="*/ 4465 h 4670"/>
                <a:gd name="T62" fmla="*/ 1168 w 3438"/>
                <a:gd name="T63" fmla="*/ 4663 h 4670"/>
                <a:gd name="T64" fmla="*/ 844 w 3438"/>
                <a:gd name="T65" fmla="*/ 4162 h 4670"/>
                <a:gd name="T66" fmla="*/ 772 w 3438"/>
                <a:gd name="T67" fmla="*/ 3904 h 4670"/>
                <a:gd name="T68" fmla="*/ 910 w 3438"/>
                <a:gd name="T69" fmla="*/ 3726 h 4670"/>
                <a:gd name="T70" fmla="*/ 699 w 3438"/>
                <a:gd name="T71" fmla="*/ 3568 h 4670"/>
                <a:gd name="T72" fmla="*/ 435 w 3438"/>
                <a:gd name="T73" fmla="*/ 3185 h 4670"/>
                <a:gd name="T74" fmla="*/ 350 w 3438"/>
                <a:gd name="T75" fmla="*/ 3054 h 4670"/>
                <a:gd name="T76" fmla="*/ 521 w 3438"/>
                <a:gd name="T77" fmla="*/ 2743 h 4670"/>
                <a:gd name="T78" fmla="*/ 561 w 3438"/>
                <a:gd name="T79" fmla="*/ 2216 h 4670"/>
                <a:gd name="T80" fmla="*/ 416 w 3438"/>
                <a:gd name="T81" fmla="*/ 2018 h 4670"/>
                <a:gd name="T82" fmla="*/ 152 w 3438"/>
                <a:gd name="T83" fmla="*/ 2025 h 4670"/>
                <a:gd name="T84" fmla="*/ 0 w 3438"/>
                <a:gd name="T85" fmla="*/ 2104 h 4670"/>
                <a:gd name="T86" fmla="*/ 409 w 3438"/>
                <a:gd name="T87" fmla="*/ 1734 h 4670"/>
                <a:gd name="T88" fmla="*/ 567 w 3438"/>
                <a:gd name="T89" fmla="*/ 1609 h 4670"/>
                <a:gd name="T90" fmla="*/ 778 w 3438"/>
                <a:gd name="T91" fmla="*/ 1365 h 4670"/>
                <a:gd name="T92" fmla="*/ 884 w 3438"/>
                <a:gd name="T93" fmla="*/ 1161 h 4670"/>
                <a:gd name="T94" fmla="*/ 983 w 3438"/>
                <a:gd name="T95" fmla="*/ 917 h 4670"/>
                <a:gd name="T96" fmla="*/ 1187 w 3438"/>
                <a:gd name="T97" fmla="*/ 580 h 4670"/>
                <a:gd name="T98" fmla="*/ 1201 w 3438"/>
                <a:gd name="T99" fmla="*/ 343 h 4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38" h="4670">
                  <a:moveTo>
                    <a:pt x="1332" y="0"/>
                  </a:moveTo>
                  <a:lnTo>
                    <a:pt x="1332" y="0"/>
                  </a:lnTo>
                  <a:cubicBezTo>
                    <a:pt x="1352" y="20"/>
                    <a:pt x="1372" y="26"/>
                    <a:pt x="1392" y="39"/>
                  </a:cubicBezTo>
                  <a:cubicBezTo>
                    <a:pt x="1431" y="72"/>
                    <a:pt x="1451" y="112"/>
                    <a:pt x="1504" y="112"/>
                  </a:cubicBezTo>
                  <a:cubicBezTo>
                    <a:pt x="1524" y="112"/>
                    <a:pt x="1537" y="99"/>
                    <a:pt x="1557" y="99"/>
                  </a:cubicBezTo>
                  <a:cubicBezTo>
                    <a:pt x="1583" y="99"/>
                    <a:pt x="1596" y="125"/>
                    <a:pt x="1623" y="138"/>
                  </a:cubicBezTo>
                  <a:cubicBezTo>
                    <a:pt x="1656" y="158"/>
                    <a:pt x="1708" y="158"/>
                    <a:pt x="1708" y="197"/>
                  </a:cubicBezTo>
                  <a:cubicBezTo>
                    <a:pt x="1708" y="224"/>
                    <a:pt x="1682" y="231"/>
                    <a:pt x="1682" y="257"/>
                  </a:cubicBezTo>
                  <a:cubicBezTo>
                    <a:pt x="1695" y="264"/>
                    <a:pt x="1695" y="264"/>
                    <a:pt x="1695" y="264"/>
                  </a:cubicBezTo>
                  <a:cubicBezTo>
                    <a:pt x="1722" y="264"/>
                    <a:pt x="1741" y="264"/>
                    <a:pt x="1768" y="264"/>
                  </a:cubicBezTo>
                  <a:cubicBezTo>
                    <a:pt x="1801" y="264"/>
                    <a:pt x="1814" y="244"/>
                    <a:pt x="1854" y="244"/>
                  </a:cubicBezTo>
                  <a:cubicBezTo>
                    <a:pt x="1893" y="244"/>
                    <a:pt x="1900" y="283"/>
                    <a:pt x="1933" y="310"/>
                  </a:cubicBezTo>
                  <a:cubicBezTo>
                    <a:pt x="1952" y="329"/>
                    <a:pt x="1972" y="343"/>
                    <a:pt x="1992" y="363"/>
                  </a:cubicBezTo>
                  <a:cubicBezTo>
                    <a:pt x="2031" y="389"/>
                    <a:pt x="2045" y="415"/>
                    <a:pt x="2058" y="455"/>
                  </a:cubicBezTo>
                  <a:cubicBezTo>
                    <a:pt x="2065" y="481"/>
                    <a:pt x="2078" y="494"/>
                    <a:pt x="2078" y="514"/>
                  </a:cubicBezTo>
                  <a:cubicBezTo>
                    <a:pt x="2078" y="527"/>
                    <a:pt x="2078" y="534"/>
                    <a:pt x="2078" y="540"/>
                  </a:cubicBezTo>
                  <a:cubicBezTo>
                    <a:pt x="2012" y="554"/>
                    <a:pt x="1959" y="534"/>
                    <a:pt x="1919" y="587"/>
                  </a:cubicBezTo>
                  <a:cubicBezTo>
                    <a:pt x="1972" y="593"/>
                    <a:pt x="1999" y="600"/>
                    <a:pt x="2051" y="613"/>
                  </a:cubicBezTo>
                  <a:cubicBezTo>
                    <a:pt x="2078" y="620"/>
                    <a:pt x="2124" y="607"/>
                    <a:pt x="2124" y="639"/>
                  </a:cubicBezTo>
                  <a:cubicBezTo>
                    <a:pt x="2124" y="672"/>
                    <a:pt x="2084" y="686"/>
                    <a:pt x="2065" y="719"/>
                  </a:cubicBezTo>
                  <a:cubicBezTo>
                    <a:pt x="2018" y="804"/>
                    <a:pt x="1992" y="864"/>
                    <a:pt x="1992" y="963"/>
                  </a:cubicBezTo>
                  <a:cubicBezTo>
                    <a:pt x="1992" y="1002"/>
                    <a:pt x="2012" y="1022"/>
                    <a:pt x="2038" y="1055"/>
                  </a:cubicBezTo>
                  <a:cubicBezTo>
                    <a:pt x="2045" y="1068"/>
                    <a:pt x="2051" y="1088"/>
                    <a:pt x="2071" y="1088"/>
                  </a:cubicBezTo>
                  <a:cubicBezTo>
                    <a:pt x="2117" y="1088"/>
                    <a:pt x="2104" y="1022"/>
                    <a:pt x="2098" y="969"/>
                  </a:cubicBezTo>
                  <a:cubicBezTo>
                    <a:pt x="2098" y="930"/>
                    <a:pt x="2130" y="917"/>
                    <a:pt x="2137" y="870"/>
                  </a:cubicBezTo>
                  <a:cubicBezTo>
                    <a:pt x="2150" y="818"/>
                    <a:pt x="2137" y="745"/>
                    <a:pt x="2190" y="745"/>
                  </a:cubicBezTo>
                  <a:cubicBezTo>
                    <a:pt x="2216" y="745"/>
                    <a:pt x="2229" y="758"/>
                    <a:pt x="2256" y="758"/>
                  </a:cubicBezTo>
                  <a:cubicBezTo>
                    <a:pt x="2256" y="765"/>
                    <a:pt x="2256" y="765"/>
                    <a:pt x="2256" y="771"/>
                  </a:cubicBezTo>
                  <a:cubicBezTo>
                    <a:pt x="2256" y="837"/>
                    <a:pt x="2249" y="870"/>
                    <a:pt x="2223" y="930"/>
                  </a:cubicBezTo>
                  <a:cubicBezTo>
                    <a:pt x="2276" y="910"/>
                    <a:pt x="2289" y="870"/>
                    <a:pt x="2322" y="824"/>
                  </a:cubicBezTo>
                  <a:cubicBezTo>
                    <a:pt x="2348" y="778"/>
                    <a:pt x="2368" y="752"/>
                    <a:pt x="2401" y="705"/>
                  </a:cubicBezTo>
                  <a:cubicBezTo>
                    <a:pt x="2434" y="725"/>
                    <a:pt x="2447" y="752"/>
                    <a:pt x="2480" y="765"/>
                  </a:cubicBezTo>
                  <a:cubicBezTo>
                    <a:pt x="2546" y="804"/>
                    <a:pt x="2592" y="804"/>
                    <a:pt x="2658" y="824"/>
                  </a:cubicBezTo>
                  <a:cubicBezTo>
                    <a:pt x="2678" y="831"/>
                    <a:pt x="2685" y="844"/>
                    <a:pt x="2698" y="857"/>
                  </a:cubicBezTo>
                  <a:cubicBezTo>
                    <a:pt x="2744" y="883"/>
                    <a:pt x="2770" y="897"/>
                    <a:pt x="2810" y="917"/>
                  </a:cubicBezTo>
                  <a:cubicBezTo>
                    <a:pt x="2863" y="943"/>
                    <a:pt x="2896" y="930"/>
                    <a:pt x="2955" y="943"/>
                  </a:cubicBezTo>
                  <a:cubicBezTo>
                    <a:pt x="3034" y="963"/>
                    <a:pt x="3074" y="996"/>
                    <a:pt x="3153" y="1022"/>
                  </a:cubicBezTo>
                  <a:cubicBezTo>
                    <a:pt x="3179" y="1035"/>
                    <a:pt x="3192" y="1048"/>
                    <a:pt x="3226" y="1048"/>
                  </a:cubicBezTo>
                  <a:cubicBezTo>
                    <a:pt x="3232" y="1048"/>
                    <a:pt x="3232" y="1035"/>
                    <a:pt x="3239" y="1029"/>
                  </a:cubicBezTo>
                  <a:cubicBezTo>
                    <a:pt x="3252" y="1022"/>
                    <a:pt x="3265" y="1022"/>
                    <a:pt x="3285" y="1015"/>
                  </a:cubicBezTo>
                  <a:cubicBezTo>
                    <a:pt x="3305" y="1002"/>
                    <a:pt x="3318" y="982"/>
                    <a:pt x="3344" y="982"/>
                  </a:cubicBezTo>
                  <a:cubicBezTo>
                    <a:pt x="3377" y="982"/>
                    <a:pt x="3384" y="1015"/>
                    <a:pt x="3403" y="1042"/>
                  </a:cubicBezTo>
                  <a:cubicBezTo>
                    <a:pt x="3417" y="1055"/>
                    <a:pt x="3430" y="1062"/>
                    <a:pt x="3437" y="1075"/>
                  </a:cubicBezTo>
                  <a:lnTo>
                    <a:pt x="3437" y="1075"/>
                  </a:lnTo>
                  <a:cubicBezTo>
                    <a:pt x="3410" y="1134"/>
                    <a:pt x="3417" y="1193"/>
                    <a:pt x="3371" y="1233"/>
                  </a:cubicBezTo>
                  <a:cubicBezTo>
                    <a:pt x="3344" y="1253"/>
                    <a:pt x="3318" y="1253"/>
                    <a:pt x="3285" y="1253"/>
                  </a:cubicBezTo>
                  <a:cubicBezTo>
                    <a:pt x="3239" y="1260"/>
                    <a:pt x="3199" y="1266"/>
                    <a:pt x="3173" y="1306"/>
                  </a:cubicBezTo>
                  <a:cubicBezTo>
                    <a:pt x="3146" y="1339"/>
                    <a:pt x="3133" y="1391"/>
                    <a:pt x="3080" y="1391"/>
                  </a:cubicBezTo>
                  <a:cubicBezTo>
                    <a:pt x="3060" y="1391"/>
                    <a:pt x="3054" y="1372"/>
                    <a:pt x="3028" y="1372"/>
                  </a:cubicBezTo>
                  <a:cubicBezTo>
                    <a:pt x="2995" y="1372"/>
                    <a:pt x="2981" y="1411"/>
                    <a:pt x="2968" y="1444"/>
                  </a:cubicBezTo>
                  <a:cubicBezTo>
                    <a:pt x="2955" y="1490"/>
                    <a:pt x="2948" y="1517"/>
                    <a:pt x="2935" y="1563"/>
                  </a:cubicBezTo>
                  <a:cubicBezTo>
                    <a:pt x="2922" y="1609"/>
                    <a:pt x="2902" y="1629"/>
                    <a:pt x="2869" y="1662"/>
                  </a:cubicBezTo>
                  <a:cubicBezTo>
                    <a:pt x="2836" y="1688"/>
                    <a:pt x="2790" y="1701"/>
                    <a:pt x="2790" y="1747"/>
                  </a:cubicBezTo>
                  <a:cubicBezTo>
                    <a:pt x="2790" y="1754"/>
                    <a:pt x="2810" y="1754"/>
                    <a:pt x="2810" y="1767"/>
                  </a:cubicBezTo>
                  <a:cubicBezTo>
                    <a:pt x="2836" y="1794"/>
                    <a:pt x="2843" y="1814"/>
                    <a:pt x="2843" y="1846"/>
                  </a:cubicBezTo>
                  <a:cubicBezTo>
                    <a:pt x="2843" y="1893"/>
                    <a:pt x="2810" y="1919"/>
                    <a:pt x="2810" y="1959"/>
                  </a:cubicBezTo>
                  <a:cubicBezTo>
                    <a:pt x="2810" y="1978"/>
                    <a:pt x="2830" y="1978"/>
                    <a:pt x="2836" y="1991"/>
                  </a:cubicBezTo>
                  <a:cubicBezTo>
                    <a:pt x="2863" y="2031"/>
                    <a:pt x="2876" y="2064"/>
                    <a:pt x="2876" y="2117"/>
                  </a:cubicBezTo>
                  <a:cubicBezTo>
                    <a:pt x="2876" y="2209"/>
                    <a:pt x="2849" y="2255"/>
                    <a:pt x="2823" y="2334"/>
                  </a:cubicBezTo>
                  <a:cubicBezTo>
                    <a:pt x="2816" y="2354"/>
                    <a:pt x="2803" y="2361"/>
                    <a:pt x="2797" y="2381"/>
                  </a:cubicBezTo>
                  <a:cubicBezTo>
                    <a:pt x="2790" y="2401"/>
                    <a:pt x="2784" y="2420"/>
                    <a:pt x="2764" y="2440"/>
                  </a:cubicBezTo>
                  <a:cubicBezTo>
                    <a:pt x="2731" y="2460"/>
                    <a:pt x="2691" y="2480"/>
                    <a:pt x="2691" y="2526"/>
                  </a:cubicBezTo>
                  <a:cubicBezTo>
                    <a:pt x="2691" y="2552"/>
                    <a:pt x="2685" y="2565"/>
                    <a:pt x="2685" y="2592"/>
                  </a:cubicBezTo>
                  <a:cubicBezTo>
                    <a:pt x="2685" y="2612"/>
                    <a:pt x="2685" y="2618"/>
                    <a:pt x="2685" y="2638"/>
                  </a:cubicBezTo>
                  <a:cubicBezTo>
                    <a:pt x="2685" y="2658"/>
                    <a:pt x="2678" y="2677"/>
                    <a:pt x="2691" y="2691"/>
                  </a:cubicBezTo>
                  <a:cubicBezTo>
                    <a:pt x="2717" y="2743"/>
                    <a:pt x="2784" y="2757"/>
                    <a:pt x="2784" y="2816"/>
                  </a:cubicBezTo>
                  <a:cubicBezTo>
                    <a:pt x="2784" y="2842"/>
                    <a:pt x="2784" y="2862"/>
                    <a:pt x="2784" y="2888"/>
                  </a:cubicBezTo>
                  <a:cubicBezTo>
                    <a:pt x="2784" y="2915"/>
                    <a:pt x="2770" y="2928"/>
                    <a:pt x="2770" y="2961"/>
                  </a:cubicBezTo>
                  <a:cubicBezTo>
                    <a:pt x="2757" y="3034"/>
                    <a:pt x="2731" y="3113"/>
                    <a:pt x="2658" y="3113"/>
                  </a:cubicBezTo>
                  <a:cubicBezTo>
                    <a:pt x="2619" y="3113"/>
                    <a:pt x="2605" y="3086"/>
                    <a:pt x="2572" y="3073"/>
                  </a:cubicBezTo>
                  <a:cubicBezTo>
                    <a:pt x="2526" y="3047"/>
                    <a:pt x="2493" y="3047"/>
                    <a:pt x="2447" y="3034"/>
                  </a:cubicBezTo>
                  <a:cubicBezTo>
                    <a:pt x="2388" y="3014"/>
                    <a:pt x="2355" y="2994"/>
                    <a:pt x="2295" y="2994"/>
                  </a:cubicBezTo>
                  <a:cubicBezTo>
                    <a:pt x="2269" y="2994"/>
                    <a:pt x="2256" y="3027"/>
                    <a:pt x="2223" y="3034"/>
                  </a:cubicBezTo>
                  <a:cubicBezTo>
                    <a:pt x="2170" y="3047"/>
                    <a:pt x="2137" y="3054"/>
                    <a:pt x="2104" y="3093"/>
                  </a:cubicBezTo>
                  <a:cubicBezTo>
                    <a:pt x="2084" y="3119"/>
                    <a:pt x="2098" y="3139"/>
                    <a:pt x="2078" y="3166"/>
                  </a:cubicBezTo>
                  <a:cubicBezTo>
                    <a:pt x="2058" y="3192"/>
                    <a:pt x="2025" y="3179"/>
                    <a:pt x="1992" y="3192"/>
                  </a:cubicBezTo>
                  <a:cubicBezTo>
                    <a:pt x="1966" y="3199"/>
                    <a:pt x="1959" y="3212"/>
                    <a:pt x="1939" y="3225"/>
                  </a:cubicBezTo>
                  <a:cubicBezTo>
                    <a:pt x="1893" y="3258"/>
                    <a:pt x="1880" y="3278"/>
                    <a:pt x="1834" y="3311"/>
                  </a:cubicBezTo>
                  <a:cubicBezTo>
                    <a:pt x="1820" y="3311"/>
                    <a:pt x="1814" y="3311"/>
                    <a:pt x="1807" y="3311"/>
                  </a:cubicBezTo>
                  <a:cubicBezTo>
                    <a:pt x="1741" y="3311"/>
                    <a:pt x="1708" y="3357"/>
                    <a:pt x="1642" y="3357"/>
                  </a:cubicBezTo>
                  <a:cubicBezTo>
                    <a:pt x="1609" y="3357"/>
                    <a:pt x="1590" y="3344"/>
                    <a:pt x="1557" y="3344"/>
                  </a:cubicBezTo>
                  <a:cubicBezTo>
                    <a:pt x="1511" y="3344"/>
                    <a:pt x="1471" y="3350"/>
                    <a:pt x="1438" y="3383"/>
                  </a:cubicBezTo>
                  <a:cubicBezTo>
                    <a:pt x="1418" y="3403"/>
                    <a:pt x="1385" y="3416"/>
                    <a:pt x="1385" y="3449"/>
                  </a:cubicBezTo>
                  <a:cubicBezTo>
                    <a:pt x="1385" y="3495"/>
                    <a:pt x="1379" y="3528"/>
                    <a:pt x="1385" y="3581"/>
                  </a:cubicBezTo>
                  <a:cubicBezTo>
                    <a:pt x="1385" y="3594"/>
                    <a:pt x="1372" y="3601"/>
                    <a:pt x="1365" y="3621"/>
                  </a:cubicBezTo>
                  <a:cubicBezTo>
                    <a:pt x="1286" y="3951"/>
                    <a:pt x="1286" y="3951"/>
                    <a:pt x="1286" y="3951"/>
                  </a:cubicBezTo>
                  <a:cubicBezTo>
                    <a:pt x="1273" y="3951"/>
                    <a:pt x="1266" y="3951"/>
                    <a:pt x="1253" y="3951"/>
                  </a:cubicBezTo>
                  <a:cubicBezTo>
                    <a:pt x="1227" y="3951"/>
                    <a:pt x="1220" y="3964"/>
                    <a:pt x="1201" y="3970"/>
                  </a:cubicBezTo>
                  <a:cubicBezTo>
                    <a:pt x="1194" y="3977"/>
                    <a:pt x="1181" y="3977"/>
                    <a:pt x="1181" y="3990"/>
                  </a:cubicBezTo>
                  <a:cubicBezTo>
                    <a:pt x="1181" y="4036"/>
                    <a:pt x="1194" y="4069"/>
                    <a:pt x="1194" y="4115"/>
                  </a:cubicBezTo>
                  <a:cubicBezTo>
                    <a:pt x="1194" y="4128"/>
                    <a:pt x="1187" y="4135"/>
                    <a:pt x="1187" y="4148"/>
                  </a:cubicBezTo>
                  <a:cubicBezTo>
                    <a:pt x="1187" y="4201"/>
                    <a:pt x="1233" y="4227"/>
                    <a:pt x="1233" y="4280"/>
                  </a:cubicBezTo>
                  <a:cubicBezTo>
                    <a:pt x="1233" y="4353"/>
                    <a:pt x="1207" y="4392"/>
                    <a:pt x="1187" y="4465"/>
                  </a:cubicBezTo>
                  <a:cubicBezTo>
                    <a:pt x="1253" y="4669"/>
                    <a:pt x="1253" y="4669"/>
                    <a:pt x="1253" y="4669"/>
                  </a:cubicBezTo>
                  <a:lnTo>
                    <a:pt x="1253" y="4669"/>
                  </a:lnTo>
                  <a:cubicBezTo>
                    <a:pt x="1220" y="4669"/>
                    <a:pt x="1207" y="4663"/>
                    <a:pt x="1168" y="4663"/>
                  </a:cubicBezTo>
                  <a:cubicBezTo>
                    <a:pt x="1082" y="4663"/>
                    <a:pt x="1029" y="4584"/>
                    <a:pt x="1009" y="4491"/>
                  </a:cubicBezTo>
                  <a:cubicBezTo>
                    <a:pt x="996" y="4432"/>
                    <a:pt x="996" y="4392"/>
                    <a:pt x="963" y="4333"/>
                  </a:cubicBezTo>
                  <a:cubicBezTo>
                    <a:pt x="923" y="4260"/>
                    <a:pt x="897" y="4227"/>
                    <a:pt x="844" y="4162"/>
                  </a:cubicBezTo>
                  <a:cubicBezTo>
                    <a:pt x="818" y="4135"/>
                    <a:pt x="805" y="4109"/>
                    <a:pt x="772" y="4082"/>
                  </a:cubicBezTo>
                  <a:cubicBezTo>
                    <a:pt x="739" y="4056"/>
                    <a:pt x="699" y="4049"/>
                    <a:pt x="699" y="4010"/>
                  </a:cubicBezTo>
                  <a:cubicBezTo>
                    <a:pt x="699" y="3957"/>
                    <a:pt x="739" y="3944"/>
                    <a:pt x="772" y="3904"/>
                  </a:cubicBezTo>
                  <a:cubicBezTo>
                    <a:pt x="798" y="3878"/>
                    <a:pt x="798" y="3852"/>
                    <a:pt x="805" y="3819"/>
                  </a:cubicBezTo>
                  <a:cubicBezTo>
                    <a:pt x="805" y="3792"/>
                    <a:pt x="805" y="3779"/>
                    <a:pt x="818" y="3759"/>
                  </a:cubicBezTo>
                  <a:cubicBezTo>
                    <a:pt x="844" y="3733"/>
                    <a:pt x="884" y="3753"/>
                    <a:pt x="910" y="3726"/>
                  </a:cubicBezTo>
                  <a:cubicBezTo>
                    <a:pt x="923" y="3706"/>
                    <a:pt x="930" y="3687"/>
                    <a:pt x="930" y="3660"/>
                  </a:cubicBezTo>
                  <a:cubicBezTo>
                    <a:pt x="930" y="3608"/>
                    <a:pt x="910" y="3548"/>
                    <a:pt x="864" y="3548"/>
                  </a:cubicBezTo>
                  <a:cubicBezTo>
                    <a:pt x="798" y="3548"/>
                    <a:pt x="765" y="3568"/>
                    <a:pt x="699" y="3568"/>
                  </a:cubicBezTo>
                  <a:cubicBezTo>
                    <a:pt x="653" y="3568"/>
                    <a:pt x="640" y="3522"/>
                    <a:pt x="627" y="3482"/>
                  </a:cubicBezTo>
                  <a:cubicBezTo>
                    <a:pt x="607" y="3410"/>
                    <a:pt x="594" y="3363"/>
                    <a:pt x="547" y="3311"/>
                  </a:cubicBezTo>
                  <a:cubicBezTo>
                    <a:pt x="508" y="3264"/>
                    <a:pt x="488" y="3218"/>
                    <a:pt x="435" y="3185"/>
                  </a:cubicBezTo>
                  <a:cubicBezTo>
                    <a:pt x="416" y="3172"/>
                    <a:pt x="429" y="3146"/>
                    <a:pt x="416" y="3126"/>
                  </a:cubicBezTo>
                  <a:cubicBezTo>
                    <a:pt x="409" y="3100"/>
                    <a:pt x="383" y="3080"/>
                    <a:pt x="356" y="3080"/>
                  </a:cubicBezTo>
                  <a:cubicBezTo>
                    <a:pt x="350" y="3067"/>
                    <a:pt x="350" y="3067"/>
                    <a:pt x="350" y="3054"/>
                  </a:cubicBezTo>
                  <a:cubicBezTo>
                    <a:pt x="350" y="3007"/>
                    <a:pt x="389" y="2994"/>
                    <a:pt x="416" y="2955"/>
                  </a:cubicBezTo>
                  <a:cubicBezTo>
                    <a:pt x="435" y="2922"/>
                    <a:pt x="435" y="2895"/>
                    <a:pt x="455" y="2869"/>
                  </a:cubicBezTo>
                  <a:cubicBezTo>
                    <a:pt x="488" y="2823"/>
                    <a:pt x="521" y="2796"/>
                    <a:pt x="521" y="2743"/>
                  </a:cubicBezTo>
                  <a:cubicBezTo>
                    <a:pt x="521" y="2691"/>
                    <a:pt x="521" y="2658"/>
                    <a:pt x="521" y="2605"/>
                  </a:cubicBezTo>
                  <a:cubicBezTo>
                    <a:pt x="521" y="2532"/>
                    <a:pt x="561" y="2493"/>
                    <a:pt x="561" y="2420"/>
                  </a:cubicBezTo>
                  <a:cubicBezTo>
                    <a:pt x="561" y="2341"/>
                    <a:pt x="561" y="2295"/>
                    <a:pt x="561" y="2216"/>
                  </a:cubicBezTo>
                  <a:cubicBezTo>
                    <a:pt x="561" y="2150"/>
                    <a:pt x="482" y="2157"/>
                    <a:pt x="422" y="2117"/>
                  </a:cubicBezTo>
                  <a:cubicBezTo>
                    <a:pt x="422" y="2044"/>
                    <a:pt x="422" y="2044"/>
                    <a:pt x="422" y="2044"/>
                  </a:cubicBezTo>
                  <a:cubicBezTo>
                    <a:pt x="416" y="2018"/>
                    <a:pt x="416" y="2018"/>
                    <a:pt x="416" y="2018"/>
                  </a:cubicBezTo>
                  <a:cubicBezTo>
                    <a:pt x="363" y="2031"/>
                    <a:pt x="336" y="2058"/>
                    <a:pt x="284" y="2058"/>
                  </a:cubicBezTo>
                  <a:cubicBezTo>
                    <a:pt x="251" y="2058"/>
                    <a:pt x="231" y="2058"/>
                    <a:pt x="198" y="2044"/>
                  </a:cubicBezTo>
                  <a:cubicBezTo>
                    <a:pt x="185" y="2038"/>
                    <a:pt x="172" y="2025"/>
                    <a:pt x="152" y="2025"/>
                  </a:cubicBezTo>
                  <a:cubicBezTo>
                    <a:pt x="119" y="2025"/>
                    <a:pt x="105" y="2044"/>
                    <a:pt x="79" y="2058"/>
                  </a:cubicBezTo>
                  <a:cubicBezTo>
                    <a:pt x="53" y="2077"/>
                    <a:pt x="26" y="2090"/>
                    <a:pt x="0" y="2104"/>
                  </a:cubicBezTo>
                  <a:lnTo>
                    <a:pt x="0" y="2104"/>
                  </a:lnTo>
                  <a:cubicBezTo>
                    <a:pt x="26" y="2025"/>
                    <a:pt x="59" y="1985"/>
                    <a:pt x="99" y="1919"/>
                  </a:cubicBezTo>
                  <a:cubicBezTo>
                    <a:pt x="172" y="1807"/>
                    <a:pt x="244" y="1728"/>
                    <a:pt x="369" y="1728"/>
                  </a:cubicBezTo>
                  <a:cubicBezTo>
                    <a:pt x="389" y="1728"/>
                    <a:pt x="396" y="1734"/>
                    <a:pt x="409" y="1734"/>
                  </a:cubicBezTo>
                  <a:cubicBezTo>
                    <a:pt x="435" y="1734"/>
                    <a:pt x="442" y="1715"/>
                    <a:pt x="462" y="1708"/>
                  </a:cubicBezTo>
                  <a:cubicBezTo>
                    <a:pt x="501" y="1695"/>
                    <a:pt x="515" y="1682"/>
                    <a:pt x="541" y="1655"/>
                  </a:cubicBezTo>
                  <a:cubicBezTo>
                    <a:pt x="554" y="1642"/>
                    <a:pt x="547" y="1622"/>
                    <a:pt x="567" y="1609"/>
                  </a:cubicBezTo>
                  <a:cubicBezTo>
                    <a:pt x="594" y="1583"/>
                    <a:pt x="600" y="1550"/>
                    <a:pt x="640" y="1530"/>
                  </a:cubicBezTo>
                  <a:cubicBezTo>
                    <a:pt x="660" y="1523"/>
                    <a:pt x="673" y="1523"/>
                    <a:pt x="693" y="1517"/>
                  </a:cubicBezTo>
                  <a:cubicBezTo>
                    <a:pt x="752" y="1477"/>
                    <a:pt x="745" y="1424"/>
                    <a:pt x="778" y="1365"/>
                  </a:cubicBezTo>
                  <a:cubicBezTo>
                    <a:pt x="791" y="1332"/>
                    <a:pt x="798" y="1312"/>
                    <a:pt x="818" y="1286"/>
                  </a:cubicBezTo>
                  <a:cubicBezTo>
                    <a:pt x="844" y="1253"/>
                    <a:pt x="890" y="1240"/>
                    <a:pt x="890" y="1200"/>
                  </a:cubicBezTo>
                  <a:cubicBezTo>
                    <a:pt x="890" y="1180"/>
                    <a:pt x="884" y="1174"/>
                    <a:pt x="884" y="1161"/>
                  </a:cubicBezTo>
                  <a:cubicBezTo>
                    <a:pt x="884" y="1134"/>
                    <a:pt x="904" y="1128"/>
                    <a:pt x="917" y="1101"/>
                  </a:cubicBezTo>
                  <a:cubicBezTo>
                    <a:pt x="930" y="1068"/>
                    <a:pt x="930" y="1048"/>
                    <a:pt x="943" y="1015"/>
                  </a:cubicBezTo>
                  <a:cubicBezTo>
                    <a:pt x="957" y="976"/>
                    <a:pt x="963" y="949"/>
                    <a:pt x="983" y="917"/>
                  </a:cubicBezTo>
                  <a:cubicBezTo>
                    <a:pt x="996" y="883"/>
                    <a:pt x="989" y="857"/>
                    <a:pt x="1016" y="837"/>
                  </a:cubicBezTo>
                  <a:cubicBezTo>
                    <a:pt x="1049" y="811"/>
                    <a:pt x="1082" y="811"/>
                    <a:pt x="1108" y="778"/>
                  </a:cubicBezTo>
                  <a:cubicBezTo>
                    <a:pt x="1154" y="712"/>
                    <a:pt x="1148" y="653"/>
                    <a:pt x="1187" y="580"/>
                  </a:cubicBezTo>
                  <a:cubicBezTo>
                    <a:pt x="1207" y="527"/>
                    <a:pt x="1247" y="508"/>
                    <a:pt x="1247" y="448"/>
                  </a:cubicBezTo>
                  <a:cubicBezTo>
                    <a:pt x="1247" y="428"/>
                    <a:pt x="1253" y="415"/>
                    <a:pt x="1240" y="395"/>
                  </a:cubicBezTo>
                  <a:cubicBezTo>
                    <a:pt x="1233" y="369"/>
                    <a:pt x="1201" y="369"/>
                    <a:pt x="1201" y="343"/>
                  </a:cubicBezTo>
                  <a:cubicBezTo>
                    <a:pt x="1201" y="296"/>
                    <a:pt x="1240" y="283"/>
                    <a:pt x="1260" y="244"/>
                  </a:cubicBezTo>
                  <a:cubicBezTo>
                    <a:pt x="1293" y="151"/>
                    <a:pt x="1300" y="99"/>
                    <a:pt x="1332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6" name="Freeform 26"/>
            <p:cNvSpPr>
              <a:spLocks noChangeArrowheads="1"/>
            </p:cNvSpPr>
            <p:nvPr/>
          </p:nvSpPr>
          <p:spPr bwMode="auto">
            <a:xfrm>
              <a:off x="8401298" y="4989507"/>
              <a:ext cx="1006409" cy="1408112"/>
            </a:xfrm>
            <a:custGeom>
              <a:avLst/>
              <a:gdLst>
                <a:gd name="T0" fmla="*/ 2256 w 2797"/>
                <a:gd name="T1" fmla="*/ 0 h 3912"/>
                <a:gd name="T2" fmla="*/ 2480 w 2797"/>
                <a:gd name="T3" fmla="*/ 105 h 3912"/>
                <a:gd name="T4" fmla="*/ 2519 w 2797"/>
                <a:gd name="T5" fmla="*/ 92 h 3912"/>
                <a:gd name="T6" fmla="*/ 2506 w 2797"/>
                <a:gd name="T7" fmla="*/ 343 h 3912"/>
                <a:gd name="T8" fmla="*/ 2638 w 2797"/>
                <a:gd name="T9" fmla="*/ 488 h 3912"/>
                <a:gd name="T10" fmla="*/ 2658 w 2797"/>
                <a:gd name="T11" fmla="*/ 633 h 3912"/>
                <a:gd name="T12" fmla="*/ 2572 w 2797"/>
                <a:gd name="T13" fmla="*/ 791 h 3912"/>
                <a:gd name="T14" fmla="*/ 2506 w 2797"/>
                <a:gd name="T15" fmla="*/ 1121 h 3912"/>
                <a:gd name="T16" fmla="*/ 2533 w 2797"/>
                <a:gd name="T17" fmla="*/ 1279 h 3912"/>
                <a:gd name="T18" fmla="*/ 2533 w 2797"/>
                <a:gd name="T19" fmla="*/ 1787 h 3912"/>
                <a:gd name="T20" fmla="*/ 2526 w 2797"/>
                <a:gd name="T21" fmla="*/ 1965 h 3912"/>
                <a:gd name="T22" fmla="*/ 2691 w 2797"/>
                <a:gd name="T23" fmla="*/ 2091 h 3912"/>
                <a:gd name="T24" fmla="*/ 2770 w 2797"/>
                <a:gd name="T25" fmla="*/ 2302 h 3912"/>
                <a:gd name="T26" fmla="*/ 2796 w 2797"/>
                <a:gd name="T27" fmla="*/ 2427 h 3912"/>
                <a:gd name="T28" fmla="*/ 2658 w 2797"/>
                <a:gd name="T29" fmla="*/ 2519 h 3912"/>
                <a:gd name="T30" fmla="*/ 2704 w 2797"/>
                <a:gd name="T31" fmla="*/ 2664 h 3912"/>
                <a:gd name="T32" fmla="*/ 2671 w 2797"/>
                <a:gd name="T33" fmla="*/ 2783 h 3912"/>
                <a:gd name="T34" fmla="*/ 2493 w 2797"/>
                <a:gd name="T35" fmla="*/ 2974 h 3912"/>
                <a:gd name="T36" fmla="*/ 2354 w 2797"/>
                <a:gd name="T37" fmla="*/ 3060 h 3912"/>
                <a:gd name="T38" fmla="*/ 2183 w 2797"/>
                <a:gd name="T39" fmla="*/ 3205 h 3912"/>
                <a:gd name="T40" fmla="*/ 1965 w 2797"/>
                <a:gd name="T41" fmla="*/ 3225 h 3912"/>
                <a:gd name="T42" fmla="*/ 1688 w 2797"/>
                <a:gd name="T43" fmla="*/ 3324 h 3912"/>
                <a:gd name="T44" fmla="*/ 1411 w 2797"/>
                <a:gd name="T45" fmla="*/ 3324 h 3912"/>
                <a:gd name="T46" fmla="*/ 1240 w 2797"/>
                <a:gd name="T47" fmla="*/ 3218 h 3912"/>
                <a:gd name="T48" fmla="*/ 1022 w 2797"/>
                <a:gd name="T49" fmla="*/ 3265 h 3912"/>
                <a:gd name="T50" fmla="*/ 1088 w 2797"/>
                <a:gd name="T51" fmla="*/ 3522 h 3912"/>
                <a:gd name="T52" fmla="*/ 864 w 2797"/>
                <a:gd name="T53" fmla="*/ 3812 h 3912"/>
                <a:gd name="T54" fmla="*/ 600 w 2797"/>
                <a:gd name="T55" fmla="*/ 3911 h 3912"/>
                <a:gd name="T56" fmla="*/ 171 w 2797"/>
                <a:gd name="T57" fmla="*/ 3680 h 3912"/>
                <a:gd name="T58" fmla="*/ 72 w 2797"/>
                <a:gd name="T59" fmla="*/ 3594 h 3912"/>
                <a:gd name="T60" fmla="*/ 52 w 2797"/>
                <a:gd name="T61" fmla="*/ 3205 h 3912"/>
                <a:gd name="T62" fmla="*/ 13 w 2797"/>
                <a:gd name="T63" fmla="*/ 3040 h 3912"/>
                <a:gd name="T64" fmla="*/ 20 w 2797"/>
                <a:gd name="T65" fmla="*/ 2895 h 3912"/>
                <a:gd name="T66" fmla="*/ 105 w 2797"/>
                <a:gd name="T67" fmla="*/ 2876 h 3912"/>
                <a:gd name="T68" fmla="*/ 204 w 2797"/>
                <a:gd name="T69" fmla="*/ 2506 h 3912"/>
                <a:gd name="T70" fmla="*/ 257 w 2797"/>
                <a:gd name="T71" fmla="*/ 2308 h 3912"/>
                <a:gd name="T72" fmla="*/ 461 w 2797"/>
                <a:gd name="T73" fmla="*/ 2282 h 3912"/>
                <a:gd name="T74" fmla="*/ 653 w 2797"/>
                <a:gd name="T75" fmla="*/ 2236 h 3912"/>
                <a:gd name="T76" fmla="*/ 811 w 2797"/>
                <a:gd name="T77" fmla="*/ 2117 h 3912"/>
                <a:gd name="T78" fmla="*/ 923 w 2797"/>
                <a:gd name="T79" fmla="*/ 2018 h 3912"/>
                <a:gd name="T80" fmla="*/ 1114 w 2797"/>
                <a:gd name="T81" fmla="*/ 1919 h 3912"/>
                <a:gd name="T82" fmla="*/ 1391 w 2797"/>
                <a:gd name="T83" fmla="*/ 1998 h 3912"/>
                <a:gd name="T84" fmla="*/ 1589 w 2797"/>
                <a:gd name="T85" fmla="*/ 1886 h 3912"/>
                <a:gd name="T86" fmla="*/ 1603 w 2797"/>
                <a:gd name="T87" fmla="*/ 1741 h 3912"/>
                <a:gd name="T88" fmla="*/ 1504 w 2797"/>
                <a:gd name="T89" fmla="*/ 1563 h 3912"/>
                <a:gd name="T90" fmla="*/ 1510 w 2797"/>
                <a:gd name="T91" fmla="*/ 1451 h 3912"/>
                <a:gd name="T92" fmla="*/ 1616 w 2797"/>
                <a:gd name="T93" fmla="*/ 1306 h 3912"/>
                <a:gd name="T94" fmla="*/ 1695 w 2797"/>
                <a:gd name="T95" fmla="*/ 1042 h 3912"/>
                <a:gd name="T96" fmla="*/ 1629 w 2797"/>
                <a:gd name="T97" fmla="*/ 884 h 3912"/>
                <a:gd name="T98" fmla="*/ 1629 w 2797"/>
                <a:gd name="T99" fmla="*/ 692 h 3912"/>
                <a:gd name="T100" fmla="*/ 1688 w 2797"/>
                <a:gd name="T101" fmla="*/ 587 h 3912"/>
                <a:gd name="T102" fmla="*/ 1787 w 2797"/>
                <a:gd name="T103" fmla="*/ 369 h 3912"/>
                <a:gd name="T104" fmla="*/ 1899 w 2797"/>
                <a:gd name="T105" fmla="*/ 316 h 3912"/>
                <a:gd name="T106" fmla="*/ 2104 w 2797"/>
                <a:gd name="T107" fmla="*/ 178 h 3912"/>
                <a:gd name="T108" fmla="*/ 2256 w 2797"/>
                <a:gd name="T109" fmla="*/ 0 h 3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7" h="3912">
                  <a:moveTo>
                    <a:pt x="2256" y="0"/>
                  </a:moveTo>
                  <a:lnTo>
                    <a:pt x="2256" y="0"/>
                  </a:lnTo>
                  <a:cubicBezTo>
                    <a:pt x="2275" y="13"/>
                    <a:pt x="2295" y="26"/>
                    <a:pt x="2321" y="39"/>
                  </a:cubicBezTo>
                  <a:cubicBezTo>
                    <a:pt x="2381" y="72"/>
                    <a:pt x="2414" y="105"/>
                    <a:pt x="2480" y="105"/>
                  </a:cubicBezTo>
                  <a:cubicBezTo>
                    <a:pt x="2493" y="105"/>
                    <a:pt x="2500" y="92"/>
                    <a:pt x="2519" y="92"/>
                  </a:cubicBezTo>
                  <a:lnTo>
                    <a:pt x="2519" y="92"/>
                  </a:lnTo>
                  <a:cubicBezTo>
                    <a:pt x="2526" y="118"/>
                    <a:pt x="2519" y="145"/>
                    <a:pt x="2519" y="171"/>
                  </a:cubicBezTo>
                  <a:cubicBezTo>
                    <a:pt x="2519" y="237"/>
                    <a:pt x="2506" y="277"/>
                    <a:pt x="2506" y="343"/>
                  </a:cubicBezTo>
                  <a:cubicBezTo>
                    <a:pt x="2506" y="356"/>
                    <a:pt x="2526" y="362"/>
                    <a:pt x="2533" y="376"/>
                  </a:cubicBezTo>
                  <a:cubicBezTo>
                    <a:pt x="2559" y="429"/>
                    <a:pt x="2592" y="455"/>
                    <a:pt x="2638" y="488"/>
                  </a:cubicBezTo>
                  <a:cubicBezTo>
                    <a:pt x="2658" y="508"/>
                    <a:pt x="2678" y="521"/>
                    <a:pt x="2678" y="547"/>
                  </a:cubicBezTo>
                  <a:cubicBezTo>
                    <a:pt x="2678" y="580"/>
                    <a:pt x="2664" y="600"/>
                    <a:pt x="2658" y="633"/>
                  </a:cubicBezTo>
                  <a:cubicBezTo>
                    <a:pt x="2658" y="672"/>
                    <a:pt x="2671" y="699"/>
                    <a:pt x="2645" y="725"/>
                  </a:cubicBezTo>
                  <a:cubicBezTo>
                    <a:pt x="2618" y="752"/>
                    <a:pt x="2585" y="758"/>
                    <a:pt x="2572" y="791"/>
                  </a:cubicBezTo>
                  <a:cubicBezTo>
                    <a:pt x="2546" y="870"/>
                    <a:pt x="2546" y="916"/>
                    <a:pt x="2533" y="996"/>
                  </a:cubicBezTo>
                  <a:cubicBezTo>
                    <a:pt x="2526" y="1048"/>
                    <a:pt x="2506" y="1075"/>
                    <a:pt x="2506" y="1121"/>
                  </a:cubicBezTo>
                  <a:cubicBezTo>
                    <a:pt x="2506" y="1147"/>
                    <a:pt x="2533" y="1161"/>
                    <a:pt x="2533" y="1194"/>
                  </a:cubicBezTo>
                  <a:cubicBezTo>
                    <a:pt x="2533" y="1227"/>
                    <a:pt x="2533" y="1246"/>
                    <a:pt x="2533" y="1279"/>
                  </a:cubicBezTo>
                  <a:cubicBezTo>
                    <a:pt x="2533" y="1405"/>
                    <a:pt x="2447" y="1471"/>
                    <a:pt x="2447" y="1602"/>
                  </a:cubicBezTo>
                  <a:cubicBezTo>
                    <a:pt x="2447" y="1682"/>
                    <a:pt x="2533" y="1708"/>
                    <a:pt x="2533" y="1787"/>
                  </a:cubicBezTo>
                  <a:cubicBezTo>
                    <a:pt x="2533" y="1820"/>
                    <a:pt x="2526" y="1840"/>
                    <a:pt x="2526" y="1866"/>
                  </a:cubicBezTo>
                  <a:cubicBezTo>
                    <a:pt x="2526" y="1906"/>
                    <a:pt x="2526" y="1926"/>
                    <a:pt x="2526" y="1965"/>
                  </a:cubicBezTo>
                  <a:cubicBezTo>
                    <a:pt x="2526" y="1998"/>
                    <a:pt x="2519" y="2044"/>
                    <a:pt x="2559" y="2058"/>
                  </a:cubicBezTo>
                  <a:cubicBezTo>
                    <a:pt x="2605" y="2077"/>
                    <a:pt x="2638" y="2077"/>
                    <a:pt x="2691" y="2091"/>
                  </a:cubicBezTo>
                  <a:cubicBezTo>
                    <a:pt x="2730" y="2104"/>
                    <a:pt x="2770" y="2117"/>
                    <a:pt x="2770" y="2163"/>
                  </a:cubicBezTo>
                  <a:cubicBezTo>
                    <a:pt x="2770" y="2216"/>
                    <a:pt x="2770" y="2249"/>
                    <a:pt x="2770" y="2302"/>
                  </a:cubicBezTo>
                  <a:cubicBezTo>
                    <a:pt x="2770" y="2348"/>
                    <a:pt x="2783" y="2374"/>
                    <a:pt x="2796" y="2427"/>
                  </a:cubicBezTo>
                  <a:lnTo>
                    <a:pt x="2796" y="2427"/>
                  </a:lnTo>
                  <a:cubicBezTo>
                    <a:pt x="2744" y="2440"/>
                    <a:pt x="2711" y="2440"/>
                    <a:pt x="2658" y="2440"/>
                  </a:cubicBezTo>
                  <a:cubicBezTo>
                    <a:pt x="2658" y="2466"/>
                    <a:pt x="2658" y="2486"/>
                    <a:pt x="2658" y="2519"/>
                  </a:cubicBezTo>
                  <a:cubicBezTo>
                    <a:pt x="2658" y="2565"/>
                    <a:pt x="2671" y="2592"/>
                    <a:pt x="2684" y="2638"/>
                  </a:cubicBezTo>
                  <a:cubicBezTo>
                    <a:pt x="2691" y="2645"/>
                    <a:pt x="2704" y="2651"/>
                    <a:pt x="2704" y="2664"/>
                  </a:cubicBezTo>
                  <a:cubicBezTo>
                    <a:pt x="2704" y="2691"/>
                    <a:pt x="2704" y="2704"/>
                    <a:pt x="2704" y="2730"/>
                  </a:cubicBezTo>
                  <a:cubicBezTo>
                    <a:pt x="2704" y="2757"/>
                    <a:pt x="2684" y="2763"/>
                    <a:pt x="2671" y="2783"/>
                  </a:cubicBezTo>
                  <a:cubicBezTo>
                    <a:pt x="2651" y="2809"/>
                    <a:pt x="2638" y="2823"/>
                    <a:pt x="2618" y="2849"/>
                  </a:cubicBezTo>
                  <a:cubicBezTo>
                    <a:pt x="2572" y="2895"/>
                    <a:pt x="2552" y="2948"/>
                    <a:pt x="2493" y="2974"/>
                  </a:cubicBezTo>
                  <a:cubicBezTo>
                    <a:pt x="2434" y="3007"/>
                    <a:pt x="2387" y="3007"/>
                    <a:pt x="2354" y="3060"/>
                  </a:cubicBezTo>
                  <a:lnTo>
                    <a:pt x="2354" y="3060"/>
                  </a:lnTo>
                  <a:cubicBezTo>
                    <a:pt x="2308" y="3080"/>
                    <a:pt x="2275" y="3087"/>
                    <a:pt x="2242" y="3120"/>
                  </a:cubicBezTo>
                  <a:cubicBezTo>
                    <a:pt x="2216" y="3146"/>
                    <a:pt x="2216" y="3185"/>
                    <a:pt x="2183" y="3205"/>
                  </a:cubicBezTo>
                  <a:cubicBezTo>
                    <a:pt x="2150" y="3232"/>
                    <a:pt x="2124" y="3225"/>
                    <a:pt x="2084" y="3225"/>
                  </a:cubicBezTo>
                  <a:cubicBezTo>
                    <a:pt x="2038" y="3225"/>
                    <a:pt x="2011" y="3225"/>
                    <a:pt x="1965" y="3225"/>
                  </a:cubicBezTo>
                  <a:cubicBezTo>
                    <a:pt x="1932" y="3271"/>
                    <a:pt x="1913" y="3324"/>
                    <a:pt x="1853" y="3324"/>
                  </a:cubicBezTo>
                  <a:cubicBezTo>
                    <a:pt x="1787" y="3324"/>
                    <a:pt x="1754" y="3324"/>
                    <a:pt x="1688" y="3324"/>
                  </a:cubicBezTo>
                  <a:cubicBezTo>
                    <a:pt x="1642" y="3324"/>
                    <a:pt x="1629" y="3363"/>
                    <a:pt x="1583" y="3363"/>
                  </a:cubicBezTo>
                  <a:cubicBezTo>
                    <a:pt x="1517" y="3363"/>
                    <a:pt x="1477" y="3350"/>
                    <a:pt x="1411" y="3324"/>
                  </a:cubicBezTo>
                  <a:cubicBezTo>
                    <a:pt x="1372" y="3304"/>
                    <a:pt x="1345" y="3304"/>
                    <a:pt x="1312" y="3278"/>
                  </a:cubicBezTo>
                  <a:cubicBezTo>
                    <a:pt x="1286" y="3258"/>
                    <a:pt x="1273" y="3218"/>
                    <a:pt x="1240" y="3218"/>
                  </a:cubicBezTo>
                  <a:cubicBezTo>
                    <a:pt x="1174" y="3218"/>
                    <a:pt x="1141" y="3238"/>
                    <a:pt x="1081" y="3258"/>
                  </a:cubicBezTo>
                  <a:cubicBezTo>
                    <a:pt x="1062" y="3258"/>
                    <a:pt x="1042" y="3251"/>
                    <a:pt x="1022" y="3265"/>
                  </a:cubicBezTo>
                  <a:cubicBezTo>
                    <a:pt x="1002" y="3284"/>
                    <a:pt x="1009" y="3311"/>
                    <a:pt x="1009" y="3337"/>
                  </a:cubicBezTo>
                  <a:cubicBezTo>
                    <a:pt x="1009" y="3416"/>
                    <a:pt x="1088" y="3443"/>
                    <a:pt x="1088" y="3522"/>
                  </a:cubicBezTo>
                  <a:cubicBezTo>
                    <a:pt x="1088" y="3627"/>
                    <a:pt x="1029" y="3687"/>
                    <a:pt x="943" y="3753"/>
                  </a:cubicBezTo>
                  <a:cubicBezTo>
                    <a:pt x="910" y="3773"/>
                    <a:pt x="897" y="3799"/>
                    <a:pt x="864" y="3812"/>
                  </a:cubicBezTo>
                  <a:cubicBezTo>
                    <a:pt x="798" y="3845"/>
                    <a:pt x="765" y="3852"/>
                    <a:pt x="699" y="3878"/>
                  </a:cubicBezTo>
                  <a:cubicBezTo>
                    <a:pt x="659" y="3891"/>
                    <a:pt x="639" y="3911"/>
                    <a:pt x="600" y="3911"/>
                  </a:cubicBezTo>
                  <a:cubicBezTo>
                    <a:pt x="481" y="3911"/>
                    <a:pt x="461" y="3779"/>
                    <a:pt x="349" y="3739"/>
                  </a:cubicBezTo>
                  <a:cubicBezTo>
                    <a:pt x="283" y="3720"/>
                    <a:pt x="237" y="3720"/>
                    <a:pt x="171" y="3680"/>
                  </a:cubicBezTo>
                  <a:cubicBezTo>
                    <a:pt x="132" y="3654"/>
                    <a:pt x="112" y="3621"/>
                    <a:pt x="72" y="3594"/>
                  </a:cubicBezTo>
                  <a:lnTo>
                    <a:pt x="72" y="3594"/>
                  </a:lnTo>
                  <a:cubicBezTo>
                    <a:pt x="6" y="3390"/>
                    <a:pt x="6" y="3390"/>
                    <a:pt x="6" y="3390"/>
                  </a:cubicBezTo>
                  <a:cubicBezTo>
                    <a:pt x="26" y="3317"/>
                    <a:pt x="52" y="3278"/>
                    <a:pt x="52" y="3205"/>
                  </a:cubicBezTo>
                  <a:cubicBezTo>
                    <a:pt x="52" y="3152"/>
                    <a:pt x="6" y="3126"/>
                    <a:pt x="6" y="3073"/>
                  </a:cubicBezTo>
                  <a:cubicBezTo>
                    <a:pt x="6" y="3060"/>
                    <a:pt x="13" y="3053"/>
                    <a:pt x="13" y="3040"/>
                  </a:cubicBezTo>
                  <a:cubicBezTo>
                    <a:pt x="13" y="2994"/>
                    <a:pt x="0" y="2961"/>
                    <a:pt x="0" y="2915"/>
                  </a:cubicBezTo>
                  <a:cubicBezTo>
                    <a:pt x="0" y="2902"/>
                    <a:pt x="13" y="2902"/>
                    <a:pt x="20" y="2895"/>
                  </a:cubicBezTo>
                  <a:cubicBezTo>
                    <a:pt x="39" y="2889"/>
                    <a:pt x="46" y="2876"/>
                    <a:pt x="72" y="2876"/>
                  </a:cubicBezTo>
                  <a:cubicBezTo>
                    <a:pt x="85" y="2876"/>
                    <a:pt x="92" y="2876"/>
                    <a:pt x="105" y="2876"/>
                  </a:cubicBezTo>
                  <a:cubicBezTo>
                    <a:pt x="184" y="2546"/>
                    <a:pt x="184" y="2546"/>
                    <a:pt x="184" y="2546"/>
                  </a:cubicBezTo>
                  <a:cubicBezTo>
                    <a:pt x="191" y="2526"/>
                    <a:pt x="204" y="2519"/>
                    <a:pt x="204" y="2506"/>
                  </a:cubicBezTo>
                  <a:cubicBezTo>
                    <a:pt x="198" y="2453"/>
                    <a:pt x="204" y="2420"/>
                    <a:pt x="204" y="2374"/>
                  </a:cubicBezTo>
                  <a:cubicBezTo>
                    <a:pt x="204" y="2341"/>
                    <a:pt x="237" y="2328"/>
                    <a:pt x="257" y="2308"/>
                  </a:cubicBezTo>
                  <a:cubicBezTo>
                    <a:pt x="290" y="2275"/>
                    <a:pt x="330" y="2269"/>
                    <a:pt x="376" y="2269"/>
                  </a:cubicBezTo>
                  <a:cubicBezTo>
                    <a:pt x="409" y="2269"/>
                    <a:pt x="428" y="2282"/>
                    <a:pt x="461" y="2282"/>
                  </a:cubicBezTo>
                  <a:cubicBezTo>
                    <a:pt x="527" y="2282"/>
                    <a:pt x="560" y="2236"/>
                    <a:pt x="626" y="2236"/>
                  </a:cubicBezTo>
                  <a:cubicBezTo>
                    <a:pt x="633" y="2236"/>
                    <a:pt x="639" y="2236"/>
                    <a:pt x="653" y="2236"/>
                  </a:cubicBezTo>
                  <a:cubicBezTo>
                    <a:pt x="699" y="2203"/>
                    <a:pt x="712" y="2183"/>
                    <a:pt x="758" y="2150"/>
                  </a:cubicBezTo>
                  <a:cubicBezTo>
                    <a:pt x="778" y="2137"/>
                    <a:pt x="785" y="2124"/>
                    <a:pt x="811" y="2117"/>
                  </a:cubicBezTo>
                  <a:cubicBezTo>
                    <a:pt x="844" y="2104"/>
                    <a:pt x="877" y="2117"/>
                    <a:pt x="897" y="2091"/>
                  </a:cubicBezTo>
                  <a:cubicBezTo>
                    <a:pt x="917" y="2064"/>
                    <a:pt x="903" y="2044"/>
                    <a:pt x="923" y="2018"/>
                  </a:cubicBezTo>
                  <a:cubicBezTo>
                    <a:pt x="956" y="1979"/>
                    <a:pt x="989" y="1972"/>
                    <a:pt x="1042" y="1959"/>
                  </a:cubicBezTo>
                  <a:cubicBezTo>
                    <a:pt x="1075" y="1952"/>
                    <a:pt x="1088" y="1919"/>
                    <a:pt x="1114" y="1919"/>
                  </a:cubicBezTo>
                  <a:cubicBezTo>
                    <a:pt x="1174" y="1919"/>
                    <a:pt x="1207" y="1939"/>
                    <a:pt x="1266" y="1959"/>
                  </a:cubicBezTo>
                  <a:cubicBezTo>
                    <a:pt x="1312" y="1972"/>
                    <a:pt x="1345" y="1972"/>
                    <a:pt x="1391" y="1998"/>
                  </a:cubicBezTo>
                  <a:cubicBezTo>
                    <a:pt x="1424" y="2011"/>
                    <a:pt x="1438" y="2038"/>
                    <a:pt x="1477" y="2038"/>
                  </a:cubicBezTo>
                  <a:cubicBezTo>
                    <a:pt x="1550" y="2038"/>
                    <a:pt x="1576" y="1959"/>
                    <a:pt x="1589" y="1886"/>
                  </a:cubicBezTo>
                  <a:cubicBezTo>
                    <a:pt x="1589" y="1853"/>
                    <a:pt x="1603" y="1840"/>
                    <a:pt x="1603" y="1813"/>
                  </a:cubicBezTo>
                  <a:cubicBezTo>
                    <a:pt x="1603" y="1787"/>
                    <a:pt x="1603" y="1767"/>
                    <a:pt x="1603" y="1741"/>
                  </a:cubicBezTo>
                  <a:cubicBezTo>
                    <a:pt x="1603" y="1682"/>
                    <a:pt x="1536" y="1668"/>
                    <a:pt x="1510" y="1616"/>
                  </a:cubicBezTo>
                  <a:cubicBezTo>
                    <a:pt x="1497" y="1602"/>
                    <a:pt x="1504" y="1583"/>
                    <a:pt x="1504" y="1563"/>
                  </a:cubicBezTo>
                  <a:cubicBezTo>
                    <a:pt x="1504" y="1543"/>
                    <a:pt x="1504" y="1537"/>
                    <a:pt x="1504" y="1517"/>
                  </a:cubicBezTo>
                  <a:cubicBezTo>
                    <a:pt x="1504" y="1490"/>
                    <a:pt x="1510" y="1477"/>
                    <a:pt x="1510" y="1451"/>
                  </a:cubicBezTo>
                  <a:cubicBezTo>
                    <a:pt x="1510" y="1405"/>
                    <a:pt x="1550" y="1385"/>
                    <a:pt x="1583" y="1365"/>
                  </a:cubicBezTo>
                  <a:cubicBezTo>
                    <a:pt x="1603" y="1345"/>
                    <a:pt x="1609" y="1326"/>
                    <a:pt x="1616" y="1306"/>
                  </a:cubicBezTo>
                  <a:cubicBezTo>
                    <a:pt x="1622" y="1286"/>
                    <a:pt x="1635" y="1279"/>
                    <a:pt x="1642" y="1259"/>
                  </a:cubicBezTo>
                  <a:cubicBezTo>
                    <a:pt x="1668" y="1180"/>
                    <a:pt x="1695" y="1134"/>
                    <a:pt x="1695" y="1042"/>
                  </a:cubicBezTo>
                  <a:cubicBezTo>
                    <a:pt x="1695" y="989"/>
                    <a:pt x="1682" y="956"/>
                    <a:pt x="1655" y="916"/>
                  </a:cubicBezTo>
                  <a:cubicBezTo>
                    <a:pt x="1649" y="903"/>
                    <a:pt x="1629" y="903"/>
                    <a:pt x="1629" y="884"/>
                  </a:cubicBezTo>
                  <a:cubicBezTo>
                    <a:pt x="1629" y="844"/>
                    <a:pt x="1662" y="818"/>
                    <a:pt x="1662" y="771"/>
                  </a:cubicBezTo>
                  <a:cubicBezTo>
                    <a:pt x="1662" y="739"/>
                    <a:pt x="1655" y="719"/>
                    <a:pt x="1629" y="692"/>
                  </a:cubicBezTo>
                  <a:cubicBezTo>
                    <a:pt x="1629" y="679"/>
                    <a:pt x="1609" y="679"/>
                    <a:pt x="1609" y="672"/>
                  </a:cubicBezTo>
                  <a:cubicBezTo>
                    <a:pt x="1609" y="626"/>
                    <a:pt x="1655" y="613"/>
                    <a:pt x="1688" y="587"/>
                  </a:cubicBezTo>
                  <a:cubicBezTo>
                    <a:pt x="1721" y="554"/>
                    <a:pt x="1741" y="534"/>
                    <a:pt x="1754" y="488"/>
                  </a:cubicBezTo>
                  <a:cubicBezTo>
                    <a:pt x="1767" y="442"/>
                    <a:pt x="1774" y="415"/>
                    <a:pt x="1787" y="369"/>
                  </a:cubicBezTo>
                  <a:cubicBezTo>
                    <a:pt x="1800" y="336"/>
                    <a:pt x="1814" y="297"/>
                    <a:pt x="1847" y="297"/>
                  </a:cubicBezTo>
                  <a:cubicBezTo>
                    <a:pt x="1873" y="297"/>
                    <a:pt x="1879" y="316"/>
                    <a:pt x="1899" y="316"/>
                  </a:cubicBezTo>
                  <a:cubicBezTo>
                    <a:pt x="1952" y="316"/>
                    <a:pt x="1965" y="264"/>
                    <a:pt x="1992" y="231"/>
                  </a:cubicBezTo>
                  <a:cubicBezTo>
                    <a:pt x="2018" y="191"/>
                    <a:pt x="2058" y="185"/>
                    <a:pt x="2104" y="178"/>
                  </a:cubicBezTo>
                  <a:cubicBezTo>
                    <a:pt x="2137" y="178"/>
                    <a:pt x="2163" y="178"/>
                    <a:pt x="2190" y="158"/>
                  </a:cubicBezTo>
                  <a:cubicBezTo>
                    <a:pt x="2236" y="118"/>
                    <a:pt x="2229" y="59"/>
                    <a:pt x="2256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7" name="Freeform 27"/>
            <p:cNvSpPr>
              <a:spLocks noChangeArrowheads="1"/>
            </p:cNvSpPr>
            <p:nvPr/>
          </p:nvSpPr>
          <p:spPr bwMode="auto">
            <a:xfrm>
              <a:off x="5553507" y="5675307"/>
              <a:ext cx="2108063" cy="1935162"/>
            </a:xfrm>
            <a:custGeom>
              <a:avLst/>
              <a:gdLst>
                <a:gd name="T0" fmla="*/ 5777 w 5857"/>
                <a:gd name="T1" fmla="*/ 1385 h 5375"/>
                <a:gd name="T2" fmla="*/ 5829 w 5857"/>
                <a:gd name="T3" fmla="*/ 1675 h 5375"/>
                <a:gd name="T4" fmla="*/ 5777 w 5857"/>
                <a:gd name="T5" fmla="*/ 1972 h 5375"/>
                <a:gd name="T6" fmla="*/ 5803 w 5857"/>
                <a:gd name="T7" fmla="*/ 2216 h 5375"/>
                <a:gd name="T8" fmla="*/ 5750 w 5857"/>
                <a:gd name="T9" fmla="*/ 2440 h 5375"/>
                <a:gd name="T10" fmla="*/ 5678 w 5857"/>
                <a:gd name="T11" fmla="*/ 2665 h 5375"/>
                <a:gd name="T12" fmla="*/ 5473 w 5857"/>
                <a:gd name="T13" fmla="*/ 3073 h 5375"/>
                <a:gd name="T14" fmla="*/ 5387 w 5857"/>
                <a:gd name="T15" fmla="*/ 3324 h 5375"/>
                <a:gd name="T16" fmla="*/ 5328 w 5857"/>
                <a:gd name="T17" fmla="*/ 3555 h 5375"/>
                <a:gd name="T18" fmla="*/ 5262 w 5857"/>
                <a:gd name="T19" fmla="*/ 3824 h 5375"/>
                <a:gd name="T20" fmla="*/ 5091 w 5857"/>
                <a:gd name="T21" fmla="*/ 4055 h 5375"/>
                <a:gd name="T22" fmla="*/ 4946 w 5857"/>
                <a:gd name="T23" fmla="*/ 4101 h 5375"/>
                <a:gd name="T24" fmla="*/ 4873 w 5857"/>
                <a:gd name="T25" fmla="*/ 4293 h 5375"/>
                <a:gd name="T26" fmla="*/ 4662 w 5857"/>
                <a:gd name="T27" fmla="*/ 4458 h 5375"/>
                <a:gd name="T28" fmla="*/ 4530 w 5857"/>
                <a:gd name="T29" fmla="*/ 4517 h 5375"/>
                <a:gd name="T30" fmla="*/ 4405 w 5857"/>
                <a:gd name="T31" fmla="*/ 4596 h 5375"/>
                <a:gd name="T32" fmla="*/ 4365 w 5857"/>
                <a:gd name="T33" fmla="*/ 4781 h 5375"/>
                <a:gd name="T34" fmla="*/ 4121 w 5857"/>
                <a:gd name="T35" fmla="*/ 5012 h 5375"/>
                <a:gd name="T36" fmla="*/ 4088 w 5857"/>
                <a:gd name="T37" fmla="*/ 5183 h 5375"/>
                <a:gd name="T38" fmla="*/ 4128 w 5857"/>
                <a:gd name="T39" fmla="*/ 5328 h 5375"/>
                <a:gd name="T40" fmla="*/ 3982 w 5857"/>
                <a:gd name="T41" fmla="*/ 5262 h 5375"/>
                <a:gd name="T42" fmla="*/ 3877 w 5857"/>
                <a:gd name="T43" fmla="*/ 5150 h 5375"/>
                <a:gd name="T44" fmla="*/ 3515 w 5857"/>
                <a:gd name="T45" fmla="*/ 5111 h 5375"/>
                <a:gd name="T46" fmla="*/ 3284 w 5857"/>
                <a:gd name="T47" fmla="*/ 5117 h 5375"/>
                <a:gd name="T48" fmla="*/ 3040 w 5857"/>
                <a:gd name="T49" fmla="*/ 5256 h 5375"/>
                <a:gd name="T50" fmla="*/ 2790 w 5857"/>
                <a:gd name="T51" fmla="*/ 5183 h 5375"/>
                <a:gd name="T52" fmla="*/ 2750 w 5857"/>
                <a:gd name="T53" fmla="*/ 5124 h 5375"/>
                <a:gd name="T54" fmla="*/ 2486 w 5857"/>
                <a:gd name="T55" fmla="*/ 5209 h 5375"/>
                <a:gd name="T56" fmla="*/ 2308 w 5857"/>
                <a:gd name="T57" fmla="*/ 5308 h 5375"/>
                <a:gd name="T58" fmla="*/ 2051 w 5857"/>
                <a:gd name="T59" fmla="*/ 5328 h 5375"/>
                <a:gd name="T60" fmla="*/ 1932 w 5857"/>
                <a:gd name="T61" fmla="*/ 5176 h 5375"/>
                <a:gd name="T62" fmla="*/ 1879 w 5857"/>
                <a:gd name="T63" fmla="*/ 5190 h 5375"/>
                <a:gd name="T64" fmla="*/ 1827 w 5857"/>
                <a:gd name="T65" fmla="*/ 5091 h 5375"/>
                <a:gd name="T66" fmla="*/ 1616 w 5857"/>
                <a:gd name="T67" fmla="*/ 4919 h 5375"/>
                <a:gd name="T68" fmla="*/ 1589 w 5857"/>
                <a:gd name="T69" fmla="*/ 4787 h 5375"/>
                <a:gd name="T70" fmla="*/ 1655 w 5857"/>
                <a:gd name="T71" fmla="*/ 4458 h 5375"/>
                <a:gd name="T72" fmla="*/ 1404 w 5857"/>
                <a:gd name="T73" fmla="*/ 4477 h 5375"/>
                <a:gd name="T74" fmla="*/ 521 w 5857"/>
                <a:gd name="T75" fmla="*/ 3884 h 5375"/>
                <a:gd name="T76" fmla="*/ 699 w 5857"/>
                <a:gd name="T77" fmla="*/ 3877 h 5375"/>
                <a:gd name="T78" fmla="*/ 732 w 5857"/>
                <a:gd name="T79" fmla="*/ 3528 h 5375"/>
                <a:gd name="T80" fmla="*/ 633 w 5857"/>
                <a:gd name="T81" fmla="*/ 3245 h 5375"/>
                <a:gd name="T82" fmla="*/ 455 w 5857"/>
                <a:gd name="T83" fmla="*/ 3080 h 5375"/>
                <a:gd name="T84" fmla="*/ 541 w 5857"/>
                <a:gd name="T85" fmla="*/ 2968 h 5375"/>
                <a:gd name="T86" fmla="*/ 837 w 5857"/>
                <a:gd name="T87" fmla="*/ 2533 h 5375"/>
                <a:gd name="T88" fmla="*/ 930 w 5857"/>
                <a:gd name="T89" fmla="*/ 2328 h 5375"/>
                <a:gd name="T90" fmla="*/ 857 w 5857"/>
                <a:gd name="T91" fmla="*/ 2137 h 5375"/>
                <a:gd name="T92" fmla="*/ 778 w 5857"/>
                <a:gd name="T93" fmla="*/ 1833 h 5375"/>
                <a:gd name="T94" fmla="*/ 560 w 5857"/>
                <a:gd name="T95" fmla="*/ 1781 h 5375"/>
                <a:gd name="T96" fmla="*/ 277 w 5857"/>
                <a:gd name="T97" fmla="*/ 1524 h 5375"/>
                <a:gd name="T98" fmla="*/ 171 w 5857"/>
                <a:gd name="T99" fmla="*/ 844 h 5375"/>
                <a:gd name="T100" fmla="*/ 1919 w 5857"/>
                <a:gd name="T101" fmla="*/ 659 h 5375"/>
                <a:gd name="T102" fmla="*/ 1985 w 5857"/>
                <a:gd name="T103" fmla="*/ 429 h 5375"/>
                <a:gd name="T104" fmla="*/ 2018 w 5857"/>
                <a:gd name="T105" fmla="*/ 283 h 5375"/>
                <a:gd name="T106" fmla="*/ 2236 w 5857"/>
                <a:gd name="T107" fmla="*/ 125 h 5375"/>
                <a:gd name="T108" fmla="*/ 2255 w 5857"/>
                <a:gd name="T109" fmla="*/ 409 h 5375"/>
                <a:gd name="T110" fmla="*/ 2335 w 5857"/>
                <a:gd name="T111" fmla="*/ 607 h 5375"/>
                <a:gd name="T112" fmla="*/ 2605 w 5857"/>
                <a:gd name="T113" fmla="*/ 897 h 5375"/>
                <a:gd name="T114" fmla="*/ 2724 w 5857"/>
                <a:gd name="T115" fmla="*/ 1029 h 5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857" h="5375">
                  <a:moveTo>
                    <a:pt x="5777" y="1385"/>
                  </a:moveTo>
                  <a:lnTo>
                    <a:pt x="5777" y="1385"/>
                  </a:lnTo>
                  <a:cubicBezTo>
                    <a:pt x="5816" y="1444"/>
                    <a:pt x="5856" y="1490"/>
                    <a:pt x="5856" y="1556"/>
                  </a:cubicBezTo>
                  <a:cubicBezTo>
                    <a:pt x="5856" y="1603"/>
                    <a:pt x="5836" y="1629"/>
                    <a:pt x="5829" y="1675"/>
                  </a:cubicBezTo>
                  <a:cubicBezTo>
                    <a:pt x="5816" y="1748"/>
                    <a:pt x="5829" y="1794"/>
                    <a:pt x="5803" y="1860"/>
                  </a:cubicBezTo>
                  <a:cubicBezTo>
                    <a:pt x="5790" y="1906"/>
                    <a:pt x="5777" y="1932"/>
                    <a:pt x="5777" y="1972"/>
                  </a:cubicBezTo>
                  <a:cubicBezTo>
                    <a:pt x="5777" y="2038"/>
                    <a:pt x="5803" y="2071"/>
                    <a:pt x="5803" y="2130"/>
                  </a:cubicBezTo>
                  <a:cubicBezTo>
                    <a:pt x="5803" y="2163"/>
                    <a:pt x="5803" y="2183"/>
                    <a:pt x="5803" y="2216"/>
                  </a:cubicBezTo>
                  <a:cubicBezTo>
                    <a:pt x="5803" y="2262"/>
                    <a:pt x="5790" y="2289"/>
                    <a:pt x="5777" y="2328"/>
                  </a:cubicBezTo>
                  <a:cubicBezTo>
                    <a:pt x="5757" y="2374"/>
                    <a:pt x="5764" y="2401"/>
                    <a:pt x="5750" y="2440"/>
                  </a:cubicBezTo>
                  <a:cubicBezTo>
                    <a:pt x="5717" y="2533"/>
                    <a:pt x="5697" y="2572"/>
                    <a:pt x="5678" y="2665"/>
                  </a:cubicBezTo>
                  <a:lnTo>
                    <a:pt x="5678" y="2665"/>
                  </a:lnTo>
                  <a:cubicBezTo>
                    <a:pt x="5598" y="2737"/>
                    <a:pt x="5592" y="2803"/>
                    <a:pt x="5559" y="2909"/>
                  </a:cubicBezTo>
                  <a:cubicBezTo>
                    <a:pt x="5539" y="2975"/>
                    <a:pt x="5500" y="3008"/>
                    <a:pt x="5473" y="3073"/>
                  </a:cubicBezTo>
                  <a:cubicBezTo>
                    <a:pt x="5460" y="3120"/>
                    <a:pt x="5460" y="3153"/>
                    <a:pt x="5434" y="3199"/>
                  </a:cubicBezTo>
                  <a:cubicBezTo>
                    <a:pt x="5407" y="3245"/>
                    <a:pt x="5407" y="3278"/>
                    <a:pt x="5387" y="3324"/>
                  </a:cubicBezTo>
                  <a:cubicBezTo>
                    <a:pt x="5374" y="3364"/>
                    <a:pt x="5341" y="3383"/>
                    <a:pt x="5335" y="3430"/>
                  </a:cubicBezTo>
                  <a:cubicBezTo>
                    <a:pt x="5328" y="3476"/>
                    <a:pt x="5335" y="3509"/>
                    <a:pt x="5328" y="3555"/>
                  </a:cubicBezTo>
                  <a:cubicBezTo>
                    <a:pt x="5308" y="3626"/>
                    <a:pt x="5262" y="3660"/>
                    <a:pt x="5262" y="3732"/>
                  </a:cubicBezTo>
                  <a:cubicBezTo>
                    <a:pt x="5262" y="3772"/>
                    <a:pt x="5262" y="3791"/>
                    <a:pt x="5262" y="3824"/>
                  </a:cubicBezTo>
                  <a:cubicBezTo>
                    <a:pt x="5262" y="3890"/>
                    <a:pt x="5196" y="3897"/>
                    <a:pt x="5176" y="3956"/>
                  </a:cubicBezTo>
                  <a:cubicBezTo>
                    <a:pt x="5157" y="4003"/>
                    <a:pt x="5143" y="4055"/>
                    <a:pt x="5091" y="4055"/>
                  </a:cubicBezTo>
                  <a:cubicBezTo>
                    <a:pt x="5058" y="4055"/>
                    <a:pt x="5044" y="4042"/>
                    <a:pt x="5018" y="4042"/>
                  </a:cubicBezTo>
                  <a:cubicBezTo>
                    <a:pt x="4979" y="4042"/>
                    <a:pt x="4965" y="4075"/>
                    <a:pt x="4946" y="4101"/>
                  </a:cubicBezTo>
                  <a:cubicBezTo>
                    <a:pt x="4899" y="4147"/>
                    <a:pt x="4860" y="4180"/>
                    <a:pt x="4860" y="4246"/>
                  </a:cubicBezTo>
                  <a:cubicBezTo>
                    <a:pt x="4860" y="4266"/>
                    <a:pt x="4873" y="4273"/>
                    <a:pt x="4873" y="4293"/>
                  </a:cubicBezTo>
                  <a:cubicBezTo>
                    <a:pt x="4873" y="4359"/>
                    <a:pt x="4853" y="4411"/>
                    <a:pt x="4800" y="4451"/>
                  </a:cubicBezTo>
                  <a:cubicBezTo>
                    <a:pt x="4761" y="4477"/>
                    <a:pt x="4715" y="4458"/>
                    <a:pt x="4662" y="4458"/>
                  </a:cubicBezTo>
                  <a:cubicBezTo>
                    <a:pt x="4629" y="4458"/>
                    <a:pt x="4609" y="4458"/>
                    <a:pt x="4576" y="4464"/>
                  </a:cubicBezTo>
                  <a:cubicBezTo>
                    <a:pt x="4550" y="4471"/>
                    <a:pt x="4550" y="4504"/>
                    <a:pt x="4530" y="4517"/>
                  </a:cubicBezTo>
                  <a:cubicBezTo>
                    <a:pt x="4510" y="4530"/>
                    <a:pt x="4497" y="4543"/>
                    <a:pt x="4477" y="4550"/>
                  </a:cubicBezTo>
                  <a:cubicBezTo>
                    <a:pt x="4444" y="4557"/>
                    <a:pt x="4405" y="4563"/>
                    <a:pt x="4405" y="4596"/>
                  </a:cubicBezTo>
                  <a:cubicBezTo>
                    <a:pt x="4405" y="4622"/>
                    <a:pt x="4405" y="4642"/>
                    <a:pt x="4405" y="4669"/>
                  </a:cubicBezTo>
                  <a:cubicBezTo>
                    <a:pt x="4405" y="4715"/>
                    <a:pt x="4385" y="4734"/>
                    <a:pt x="4365" y="4781"/>
                  </a:cubicBezTo>
                  <a:cubicBezTo>
                    <a:pt x="4352" y="4820"/>
                    <a:pt x="4345" y="4847"/>
                    <a:pt x="4312" y="4873"/>
                  </a:cubicBezTo>
                  <a:cubicBezTo>
                    <a:pt x="4240" y="4919"/>
                    <a:pt x="4174" y="4939"/>
                    <a:pt x="4121" y="5012"/>
                  </a:cubicBezTo>
                  <a:cubicBezTo>
                    <a:pt x="4095" y="5051"/>
                    <a:pt x="4062" y="5071"/>
                    <a:pt x="4062" y="5124"/>
                  </a:cubicBezTo>
                  <a:cubicBezTo>
                    <a:pt x="4062" y="5143"/>
                    <a:pt x="4075" y="5163"/>
                    <a:pt x="4088" y="5183"/>
                  </a:cubicBezTo>
                  <a:cubicBezTo>
                    <a:pt x="4108" y="5229"/>
                    <a:pt x="4121" y="5269"/>
                    <a:pt x="4128" y="5328"/>
                  </a:cubicBezTo>
                  <a:lnTo>
                    <a:pt x="4128" y="5328"/>
                  </a:lnTo>
                  <a:cubicBezTo>
                    <a:pt x="4088" y="5328"/>
                    <a:pt x="4075" y="5302"/>
                    <a:pt x="4035" y="5288"/>
                  </a:cubicBezTo>
                  <a:cubicBezTo>
                    <a:pt x="4015" y="5275"/>
                    <a:pt x="3996" y="5282"/>
                    <a:pt x="3982" y="5262"/>
                  </a:cubicBezTo>
                  <a:cubicBezTo>
                    <a:pt x="3956" y="5236"/>
                    <a:pt x="3969" y="5203"/>
                    <a:pt x="3956" y="5176"/>
                  </a:cubicBezTo>
                  <a:cubicBezTo>
                    <a:pt x="3943" y="5143"/>
                    <a:pt x="3910" y="5150"/>
                    <a:pt x="3877" y="5150"/>
                  </a:cubicBezTo>
                  <a:cubicBezTo>
                    <a:pt x="3778" y="5150"/>
                    <a:pt x="3725" y="5183"/>
                    <a:pt x="3621" y="5183"/>
                  </a:cubicBezTo>
                  <a:cubicBezTo>
                    <a:pt x="3575" y="5183"/>
                    <a:pt x="3528" y="5157"/>
                    <a:pt x="3515" y="5111"/>
                  </a:cubicBezTo>
                  <a:cubicBezTo>
                    <a:pt x="3449" y="5111"/>
                    <a:pt x="3416" y="5111"/>
                    <a:pt x="3350" y="5111"/>
                  </a:cubicBezTo>
                  <a:cubicBezTo>
                    <a:pt x="3324" y="5111"/>
                    <a:pt x="3311" y="5117"/>
                    <a:pt x="3284" y="5117"/>
                  </a:cubicBezTo>
                  <a:cubicBezTo>
                    <a:pt x="3245" y="5117"/>
                    <a:pt x="3218" y="5104"/>
                    <a:pt x="3179" y="5117"/>
                  </a:cubicBezTo>
                  <a:cubicBezTo>
                    <a:pt x="3106" y="5143"/>
                    <a:pt x="3113" y="5256"/>
                    <a:pt x="3040" y="5256"/>
                  </a:cubicBezTo>
                  <a:cubicBezTo>
                    <a:pt x="3014" y="5256"/>
                    <a:pt x="2994" y="5256"/>
                    <a:pt x="2968" y="5256"/>
                  </a:cubicBezTo>
                  <a:cubicBezTo>
                    <a:pt x="2895" y="5256"/>
                    <a:pt x="2849" y="5223"/>
                    <a:pt x="2790" y="5183"/>
                  </a:cubicBezTo>
                  <a:cubicBezTo>
                    <a:pt x="2783" y="5170"/>
                    <a:pt x="2770" y="5163"/>
                    <a:pt x="2763" y="5150"/>
                  </a:cubicBezTo>
                  <a:cubicBezTo>
                    <a:pt x="2757" y="5143"/>
                    <a:pt x="2763" y="5124"/>
                    <a:pt x="2750" y="5124"/>
                  </a:cubicBezTo>
                  <a:cubicBezTo>
                    <a:pt x="2684" y="5124"/>
                    <a:pt x="2651" y="5143"/>
                    <a:pt x="2592" y="5170"/>
                  </a:cubicBezTo>
                  <a:cubicBezTo>
                    <a:pt x="2552" y="5190"/>
                    <a:pt x="2513" y="5176"/>
                    <a:pt x="2486" y="5209"/>
                  </a:cubicBezTo>
                  <a:cubicBezTo>
                    <a:pt x="2466" y="5229"/>
                    <a:pt x="2480" y="5256"/>
                    <a:pt x="2453" y="5269"/>
                  </a:cubicBezTo>
                  <a:cubicBezTo>
                    <a:pt x="2407" y="5308"/>
                    <a:pt x="2361" y="5295"/>
                    <a:pt x="2308" y="5308"/>
                  </a:cubicBezTo>
                  <a:cubicBezTo>
                    <a:pt x="2262" y="5322"/>
                    <a:pt x="2249" y="5374"/>
                    <a:pt x="2196" y="5374"/>
                  </a:cubicBezTo>
                  <a:cubicBezTo>
                    <a:pt x="2137" y="5374"/>
                    <a:pt x="2097" y="5368"/>
                    <a:pt x="2051" y="5328"/>
                  </a:cubicBezTo>
                  <a:cubicBezTo>
                    <a:pt x="2011" y="5295"/>
                    <a:pt x="1998" y="5269"/>
                    <a:pt x="1972" y="5223"/>
                  </a:cubicBezTo>
                  <a:cubicBezTo>
                    <a:pt x="1965" y="5203"/>
                    <a:pt x="1952" y="5176"/>
                    <a:pt x="1932" y="5176"/>
                  </a:cubicBezTo>
                  <a:cubicBezTo>
                    <a:pt x="1912" y="5176"/>
                    <a:pt x="1899" y="5190"/>
                    <a:pt x="1879" y="5190"/>
                  </a:cubicBezTo>
                  <a:lnTo>
                    <a:pt x="1879" y="5190"/>
                  </a:lnTo>
                  <a:cubicBezTo>
                    <a:pt x="1873" y="5163"/>
                    <a:pt x="1873" y="5143"/>
                    <a:pt x="1860" y="5117"/>
                  </a:cubicBezTo>
                  <a:cubicBezTo>
                    <a:pt x="1853" y="5104"/>
                    <a:pt x="1840" y="5097"/>
                    <a:pt x="1827" y="5091"/>
                  </a:cubicBezTo>
                  <a:cubicBezTo>
                    <a:pt x="1774" y="5064"/>
                    <a:pt x="1741" y="5044"/>
                    <a:pt x="1688" y="5018"/>
                  </a:cubicBezTo>
                  <a:cubicBezTo>
                    <a:pt x="1642" y="4998"/>
                    <a:pt x="1635" y="4965"/>
                    <a:pt x="1616" y="4919"/>
                  </a:cubicBezTo>
                  <a:cubicBezTo>
                    <a:pt x="1609" y="4893"/>
                    <a:pt x="1589" y="4880"/>
                    <a:pt x="1589" y="4853"/>
                  </a:cubicBezTo>
                  <a:cubicBezTo>
                    <a:pt x="1589" y="4827"/>
                    <a:pt x="1589" y="4807"/>
                    <a:pt x="1589" y="4787"/>
                  </a:cubicBezTo>
                  <a:cubicBezTo>
                    <a:pt x="1589" y="4669"/>
                    <a:pt x="1688" y="4622"/>
                    <a:pt x="1688" y="4504"/>
                  </a:cubicBezTo>
                  <a:cubicBezTo>
                    <a:pt x="1688" y="4484"/>
                    <a:pt x="1682" y="4458"/>
                    <a:pt x="1655" y="4458"/>
                  </a:cubicBezTo>
                  <a:cubicBezTo>
                    <a:pt x="1589" y="4458"/>
                    <a:pt x="1556" y="4504"/>
                    <a:pt x="1484" y="4504"/>
                  </a:cubicBezTo>
                  <a:cubicBezTo>
                    <a:pt x="1451" y="4504"/>
                    <a:pt x="1438" y="4490"/>
                    <a:pt x="1404" y="4477"/>
                  </a:cubicBezTo>
                  <a:cubicBezTo>
                    <a:pt x="778" y="4464"/>
                    <a:pt x="778" y="4464"/>
                    <a:pt x="778" y="4464"/>
                  </a:cubicBezTo>
                  <a:cubicBezTo>
                    <a:pt x="521" y="3884"/>
                    <a:pt x="521" y="3884"/>
                    <a:pt x="521" y="3884"/>
                  </a:cubicBezTo>
                  <a:cubicBezTo>
                    <a:pt x="547" y="3884"/>
                    <a:pt x="560" y="3877"/>
                    <a:pt x="580" y="3877"/>
                  </a:cubicBezTo>
                  <a:cubicBezTo>
                    <a:pt x="626" y="3877"/>
                    <a:pt x="653" y="3877"/>
                    <a:pt x="699" y="3877"/>
                  </a:cubicBezTo>
                  <a:cubicBezTo>
                    <a:pt x="699" y="3831"/>
                    <a:pt x="699" y="3811"/>
                    <a:pt x="699" y="3765"/>
                  </a:cubicBezTo>
                  <a:cubicBezTo>
                    <a:pt x="699" y="3673"/>
                    <a:pt x="732" y="3620"/>
                    <a:pt x="732" y="3528"/>
                  </a:cubicBezTo>
                  <a:cubicBezTo>
                    <a:pt x="732" y="3469"/>
                    <a:pt x="679" y="3449"/>
                    <a:pt x="666" y="3397"/>
                  </a:cubicBezTo>
                  <a:cubicBezTo>
                    <a:pt x="646" y="3337"/>
                    <a:pt x="646" y="3304"/>
                    <a:pt x="633" y="3245"/>
                  </a:cubicBezTo>
                  <a:cubicBezTo>
                    <a:pt x="613" y="3186"/>
                    <a:pt x="573" y="3159"/>
                    <a:pt x="514" y="3126"/>
                  </a:cubicBezTo>
                  <a:cubicBezTo>
                    <a:pt x="494" y="3113"/>
                    <a:pt x="474" y="3093"/>
                    <a:pt x="455" y="3080"/>
                  </a:cubicBezTo>
                  <a:lnTo>
                    <a:pt x="455" y="3080"/>
                  </a:lnTo>
                  <a:cubicBezTo>
                    <a:pt x="474" y="3027"/>
                    <a:pt x="501" y="3014"/>
                    <a:pt x="541" y="2968"/>
                  </a:cubicBezTo>
                  <a:cubicBezTo>
                    <a:pt x="613" y="2869"/>
                    <a:pt x="659" y="2823"/>
                    <a:pt x="752" y="2730"/>
                  </a:cubicBezTo>
                  <a:cubicBezTo>
                    <a:pt x="811" y="2671"/>
                    <a:pt x="817" y="2618"/>
                    <a:pt x="837" y="2533"/>
                  </a:cubicBezTo>
                  <a:cubicBezTo>
                    <a:pt x="850" y="2480"/>
                    <a:pt x="864" y="2447"/>
                    <a:pt x="890" y="2394"/>
                  </a:cubicBezTo>
                  <a:cubicBezTo>
                    <a:pt x="903" y="2368"/>
                    <a:pt x="930" y="2354"/>
                    <a:pt x="930" y="2328"/>
                  </a:cubicBezTo>
                  <a:cubicBezTo>
                    <a:pt x="930" y="2295"/>
                    <a:pt x="916" y="2282"/>
                    <a:pt x="916" y="2249"/>
                  </a:cubicBezTo>
                  <a:cubicBezTo>
                    <a:pt x="897" y="2209"/>
                    <a:pt x="857" y="2190"/>
                    <a:pt x="857" y="2137"/>
                  </a:cubicBezTo>
                  <a:cubicBezTo>
                    <a:pt x="857" y="2078"/>
                    <a:pt x="923" y="2058"/>
                    <a:pt x="923" y="1992"/>
                  </a:cubicBezTo>
                  <a:cubicBezTo>
                    <a:pt x="923" y="1906"/>
                    <a:pt x="857" y="1867"/>
                    <a:pt x="778" y="1833"/>
                  </a:cubicBezTo>
                  <a:cubicBezTo>
                    <a:pt x="725" y="1807"/>
                    <a:pt x="692" y="1781"/>
                    <a:pt x="633" y="1781"/>
                  </a:cubicBezTo>
                  <a:cubicBezTo>
                    <a:pt x="606" y="1781"/>
                    <a:pt x="587" y="1781"/>
                    <a:pt x="560" y="1781"/>
                  </a:cubicBezTo>
                  <a:cubicBezTo>
                    <a:pt x="481" y="1781"/>
                    <a:pt x="428" y="1761"/>
                    <a:pt x="369" y="1701"/>
                  </a:cubicBezTo>
                  <a:cubicBezTo>
                    <a:pt x="316" y="1649"/>
                    <a:pt x="310" y="1596"/>
                    <a:pt x="277" y="1524"/>
                  </a:cubicBezTo>
                  <a:cubicBezTo>
                    <a:pt x="211" y="1378"/>
                    <a:pt x="171" y="1286"/>
                    <a:pt x="171" y="1128"/>
                  </a:cubicBezTo>
                  <a:cubicBezTo>
                    <a:pt x="171" y="1016"/>
                    <a:pt x="171" y="956"/>
                    <a:pt x="171" y="844"/>
                  </a:cubicBezTo>
                  <a:cubicBezTo>
                    <a:pt x="118" y="752"/>
                    <a:pt x="66" y="712"/>
                    <a:pt x="0" y="640"/>
                  </a:cubicBezTo>
                  <a:cubicBezTo>
                    <a:pt x="1919" y="659"/>
                    <a:pt x="1919" y="659"/>
                    <a:pt x="1919" y="659"/>
                  </a:cubicBezTo>
                  <a:cubicBezTo>
                    <a:pt x="1919" y="653"/>
                    <a:pt x="1919" y="646"/>
                    <a:pt x="1919" y="633"/>
                  </a:cubicBezTo>
                  <a:cubicBezTo>
                    <a:pt x="1919" y="547"/>
                    <a:pt x="1952" y="508"/>
                    <a:pt x="1985" y="429"/>
                  </a:cubicBezTo>
                  <a:cubicBezTo>
                    <a:pt x="1998" y="396"/>
                    <a:pt x="2031" y="382"/>
                    <a:pt x="2031" y="349"/>
                  </a:cubicBezTo>
                  <a:cubicBezTo>
                    <a:pt x="2031" y="323"/>
                    <a:pt x="2018" y="310"/>
                    <a:pt x="2018" y="283"/>
                  </a:cubicBezTo>
                  <a:cubicBezTo>
                    <a:pt x="2018" y="165"/>
                    <a:pt x="2064" y="99"/>
                    <a:pt x="2130" y="0"/>
                  </a:cubicBezTo>
                  <a:cubicBezTo>
                    <a:pt x="2170" y="46"/>
                    <a:pt x="2203" y="73"/>
                    <a:pt x="2236" y="125"/>
                  </a:cubicBezTo>
                  <a:cubicBezTo>
                    <a:pt x="2269" y="185"/>
                    <a:pt x="2308" y="218"/>
                    <a:pt x="2308" y="283"/>
                  </a:cubicBezTo>
                  <a:cubicBezTo>
                    <a:pt x="2308" y="336"/>
                    <a:pt x="2255" y="356"/>
                    <a:pt x="2255" y="409"/>
                  </a:cubicBezTo>
                  <a:cubicBezTo>
                    <a:pt x="2255" y="435"/>
                    <a:pt x="2275" y="448"/>
                    <a:pt x="2282" y="475"/>
                  </a:cubicBezTo>
                  <a:cubicBezTo>
                    <a:pt x="2301" y="528"/>
                    <a:pt x="2308" y="554"/>
                    <a:pt x="2335" y="607"/>
                  </a:cubicBezTo>
                  <a:cubicBezTo>
                    <a:pt x="2368" y="673"/>
                    <a:pt x="2381" y="745"/>
                    <a:pt x="2460" y="758"/>
                  </a:cubicBezTo>
                  <a:cubicBezTo>
                    <a:pt x="2532" y="772"/>
                    <a:pt x="2559" y="831"/>
                    <a:pt x="2605" y="897"/>
                  </a:cubicBezTo>
                  <a:cubicBezTo>
                    <a:pt x="2631" y="930"/>
                    <a:pt x="2664" y="936"/>
                    <a:pt x="2684" y="970"/>
                  </a:cubicBezTo>
                  <a:cubicBezTo>
                    <a:pt x="2704" y="989"/>
                    <a:pt x="2697" y="1022"/>
                    <a:pt x="2724" y="1029"/>
                  </a:cubicBezTo>
                  <a:cubicBezTo>
                    <a:pt x="5777" y="1385"/>
                    <a:pt x="5777" y="1385"/>
                    <a:pt x="5777" y="1385"/>
                  </a:cubicBezTo>
                </a:path>
              </a:pathLst>
            </a:custGeom>
            <a:solidFill>
              <a:schemeClr val="accent1"/>
            </a:solidFill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8" name="Freeform 28"/>
            <p:cNvSpPr>
              <a:spLocks noChangeArrowheads="1"/>
            </p:cNvSpPr>
            <p:nvPr/>
          </p:nvSpPr>
          <p:spPr bwMode="auto">
            <a:xfrm>
              <a:off x="7596488" y="5327645"/>
              <a:ext cx="841320" cy="1546225"/>
            </a:xfrm>
            <a:custGeom>
              <a:avLst/>
              <a:gdLst>
                <a:gd name="T0" fmla="*/ 1055 w 2336"/>
                <a:gd name="T1" fmla="*/ 86 h 4295"/>
                <a:gd name="T2" fmla="*/ 1088 w 2336"/>
                <a:gd name="T3" fmla="*/ 171 h 4295"/>
                <a:gd name="T4" fmla="*/ 1134 w 2336"/>
                <a:gd name="T5" fmla="*/ 396 h 4295"/>
                <a:gd name="T6" fmla="*/ 1095 w 2336"/>
                <a:gd name="T7" fmla="*/ 574 h 4295"/>
                <a:gd name="T8" fmla="*/ 996 w 2336"/>
                <a:gd name="T9" fmla="*/ 778 h 4295"/>
                <a:gd name="T10" fmla="*/ 916 w 2336"/>
                <a:gd name="T11" fmla="*/ 838 h 4295"/>
                <a:gd name="T12" fmla="*/ 837 w 2336"/>
                <a:gd name="T13" fmla="*/ 963 h 4295"/>
                <a:gd name="T14" fmla="*/ 633 w 2336"/>
                <a:gd name="T15" fmla="*/ 1174 h 4295"/>
                <a:gd name="T16" fmla="*/ 646 w 2336"/>
                <a:gd name="T17" fmla="*/ 1484 h 4295"/>
                <a:gd name="T18" fmla="*/ 573 w 2336"/>
                <a:gd name="T19" fmla="*/ 1649 h 4295"/>
                <a:gd name="T20" fmla="*/ 521 w 2336"/>
                <a:gd name="T21" fmla="*/ 1787 h 4295"/>
                <a:gd name="T22" fmla="*/ 198 w 2336"/>
                <a:gd name="T23" fmla="*/ 2177 h 4295"/>
                <a:gd name="T24" fmla="*/ 99 w 2336"/>
                <a:gd name="T25" fmla="*/ 2348 h 4295"/>
                <a:gd name="T26" fmla="*/ 178 w 2336"/>
                <a:gd name="T27" fmla="*/ 2519 h 4295"/>
                <a:gd name="T28" fmla="*/ 125 w 2336"/>
                <a:gd name="T29" fmla="*/ 2823 h 4295"/>
                <a:gd name="T30" fmla="*/ 125 w 2336"/>
                <a:gd name="T31" fmla="*/ 3093 h 4295"/>
                <a:gd name="T32" fmla="*/ 99 w 2336"/>
                <a:gd name="T33" fmla="*/ 3291 h 4295"/>
                <a:gd name="T34" fmla="*/ 0 w 2336"/>
                <a:gd name="T35" fmla="*/ 3628 h 4295"/>
                <a:gd name="T36" fmla="*/ 125 w 2336"/>
                <a:gd name="T37" fmla="*/ 3687 h 4295"/>
                <a:gd name="T38" fmla="*/ 125 w 2336"/>
                <a:gd name="T39" fmla="*/ 3990 h 4295"/>
                <a:gd name="T40" fmla="*/ 514 w 2336"/>
                <a:gd name="T41" fmla="*/ 3839 h 4295"/>
                <a:gd name="T42" fmla="*/ 600 w 2336"/>
                <a:gd name="T43" fmla="*/ 4122 h 4295"/>
                <a:gd name="T44" fmla="*/ 672 w 2336"/>
                <a:gd name="T45" fmla="*/ 4142 h 4295"/>
                <a:gd name="T46" fmla="*/ 817 w 2336"/>
                <a:gd name="T47" fmla="*/ 4135 h 4295"/>
                <a:gd name="T48" fmla="*/ 956 w 2336"/>
                <a:gd name="T49" fmla="*/ 4149 h 4295"/>
                <a:gd name="T50" fmla="*/ 1180 w 2336"/>
                <a:gd name="T51" fmla="*/ 4294 h 4295"/>
                <a:gd name="T52" fmla="*/ 1279 w 2336"/>
                <a:gd name="T53" fmla="*/ 4201 h 4295"/>
                <a:gd name="T54" fmla="*/ 1457 w 2336"/>
                <a:gd name="T55" fmla="*/ 4267 h 4295"/>
                <a:gd name="T56" fmla="*/ 1748 w 2336"/>
                <a:gd name="T57" fmla="*/ 4175 h 4295"/>
                <a:gd name="T58" fmla="*/ 1906 w 2336"/>
                <a:gd name="T59" fmla="*/ 4063 h 4295"/>
                <a:gd name="T60" fmla="*/ 2064 w 2336"/>
                <a:gd name="T61" fmla="*/ 4056 h 4295"/>
                <a:gd name="T62" fmla="*/ 2064 w 2336"/>
                <a:gd name="T63" fmla="*/ 3786 h 4295"/>
                <a:gd name="T64" fmla="*/ 2084 w 2336"/>
                <a:gd name="T65" fmla="*/ 3568 h 4295"/>
                <a:gd name="T66" fmla="*/ 2097 w 2336"/>
                <a:gd name="T67" fmla="*/ 3370 h 4295"/>
                <a:gd name="T68" fmla="*/ 2077 w 2336"/>
                <a:gd name="T69" fmla="*/ 3205 h 4295"/>
                <a:gd name="T70" fmla="*/ 2150 w 2336"/>
                <a:gd name="T71" fmla="*/ 2994 h 4295"/>
                <a:gd name="T72" fmla="*/ 2269 w 2336"/>
                <a:gd name="T73" fmla="*/ 2757 h 4295"/>
                <a:gd name="T74" fmla="*/ 2308 w 2336"/>
                <a:gd name="T75" fmla="*/ 2651 h 4295"/>
                <a:gd name="T76" fmla="*/ 2223 w 2336"/>
                <a:gd name="T77" fmla="*/ 2645 h 4295"/>
                <a:gd name="T78" fmla="*/ 2018 w 2336"/>
                <a:gd name="T79" fmla="*/ 2315 h 4295"/>
                <a:gd name="T80" fmla="*/ 1827 w 2336"/>
                <a:gd name="T81" fmla="*/ 2064 h 4295"/>
                <a:gd name="T82" fmla="*/ 1827 w 2336"/>
                <a:gd name="T83" fmla="*/ 1886 h 4295"/>
                <a:gd name="T84" fmla="*/ 1873 w 2336"/>
                <a:gd name="T85" fmla="*/ 1741 h 4295"/>
                <a:gd name="T86" fmla="*/ 1985 w 2336"/>
                <a:gd name="T87" fmla="*/ 1642 h 4295"/>
                <a:gd name="T88" fmla="*/ 1754 w 2336"/>
                <a:gd name="T89" fmla="*/ 1550 h 4295"/>
                <a:gd name="T90" fmla="*/ 1602 w 2336"/>
                <a:gd name="T91" fmla="*/ 1293 h 4295"/>
                <a:gd name="T92" fmla="*/ 1471 w 2336"/>
                <a:gd name="T93" fmla="*/ 1108 h 4295"/>
                <a:gd name="T94" fmla="*/ 1405 w 2336"/>
                <a:gd name="T95" fmla="*/ 1036 h 4295"/>
                <a:gd name="T96" fmla="*/ 1510 w 2336"/>
                <a:gd name="T97" fmla="*/ 851 h 4295"/>
                <a:gd name="T98" fmla="*/ 1576 w 2336"/>
                <a:gd name="T99" fmla="*/ 587 h 4295"/>
                <a:gd name="T100" fmla="*/ 1616 w 2336"/>
                <a:gd name="T101" fmla="*/ 198 h 4295"/>
                <a:gd name="T102" fmla="*/ 1477 w 2336"/>
                <a:gd name="T103" fmla="*/ 26 h 4295"/>
                <a:gd name="T104" fmla="*/ 1339 w 2336"/>
                <a:gd name="T105" fmla="*/ 40 h 4295"/>
                <a:gd name="T106" fmla="*/ 1207 w 2336"/>
                <a:gd name="T107" fmla="*/ 7 h 4295"/>
                <a:gd name="T108" fmla="*/ 1055 w 2336"/>
                <a:gd name="T109" fmla="*/ 86 h 4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36" h="4295">
                  <a:moveTo>
                    <a:pt x="1055" y="86"/>
                  </a:moveTo>
                  <a:lnTo>
                    <a:pt x="1055" y="86"/>
                  </a:lnTo>
                  <a:cubicBezTo>
                    <a:pt x="1055" y="99"/>
                    <a:pt x="1042" y="112"/>
                    <a:pt x="1042" y="125"/>
                  </a:cubicBezTo>
                  <a:cubicBezTo>
                    <a:pt x="1042" y="145"/>
                    <a:pt x="1075" y="152"/>
                    <a:pt x="1088" y="171"/>
                  </a:cubicBezTo>
                  <a:cubicBezTo>
                    <a:pt x="1134" y="224"/>
                    <a:pt x="1180" y="264"/>
                    <a:pt x="1180" y="336"/>
                  </a:cubicBezTo>
                  <a:cubicBezTo>
                    <a:pt x="1180" y="363"/>
                    <a:pt x="1147" y="369"/>
                    <a:pt x="1134" y="396"/>
                  </a:cubicBezTo>
                  <a:cubicBezTo>
                    <a:pt x="1121" y="429"/>
                    <a:pt x="1134" y="455"/>
                    <a:pt x="1128" y="488"/>
                  </a:cubicBezTo>
                  <a:cubicBezTo>
                    <a:pt x="1121" y="528"/>
                    <a:pt x="1101" y="541"/>
                    <a:pt x="1095" y="574"/>
                  </a:cubicBezTo>
                  <a:cubicBezTo>
                    <a:pt x="1088" y="626"/>
                    <a:pt x="1081" y="666"/>
                    <a:pt x="1055" y="712"/>
                  </a:cubicBezTo>
                  <a:cubicBezTo>
                    <a:pt x="1042" y="745"/>
                    <a:pt x="1029" y="778"/>
                    <a:pt x="996" y="778"/>
                  </a:cubicBezTo>
                  <a:cubicBezTo>
                    <a:pt x="983" y="778"/>
                    <a:pt x="976" y="758"/>
                    <a:pt x="963" y="758"/>
                  </a:cubicBezTo>
                  <a:cubicBezTo>
                    <a:pt x="923" y="758"/>
                    <a:pt x="923" y="805"/>
                    <a:pt x="916" y="838"/>
                  </a:cubicBezTo>
                  <a:cubicBezTo>
                    <a:pt x="910" y="870"/>
                    <a:pt x="897" y="884"/>
                    <a:pt x="877" y="910"/>
                  </a:cubicBezTo>
                  <a:cubicBezTo>
                    <a:pt x="864" y="930"/>
                    <a:pt x="864" y="950"/>
                    <a:pt x="837" y="963"/>
                  </a:cubicBezTo>
                  <a:cubicBezTo>
                    <a:pt x="791" y="983"/>
                    <a:pt x="758" y="989"/>
                    <a:pt x="712" y="1016"/>
                  </a:cubicBezTo>
                  <a:cubicBezTo>
                    <a:pt x="659" y="1062"/>
                    <a:pt x="659" y="1108"/>
                    <a:pt x="633" y="1174"/>
                  </a:cubicBezTo>
                  <a:cubicBezTo>
                    <a:pt x="606" y="1240"/>
                    <a:pt x="541" y="1266"/>
                    <a:pt x="541" y="1339"/>
                  </a:cubicBezTo>
                  <a:cubicBezTo>
                    <a:pt x="541" y="1411"/>
                    <a:pt x="646" y="1411"/>
                    <a:pt x="646" y="1484"/>
                  </a:cubicBezTo>
                  <a:cubicBezTo>
                    <a:pt x="646" y="1530"/>
                    <a:pt x="646" y="1570"/>
                    <a:pt x="606" y="1603"/>
                  </a:cubicBezTo>
                  <a:cubicBezTo>
                    <a:pt x="593" y="1616"/>
                    <a:pt x="573" y="1629"/>
                    <a:pt x="573" y="1649"/>
                  </a:cubicBezTo>
                  <a:cubicBezTo>
                    <a:pt x="573" y="1675"/>
                    <a:pt x="573" y="1688"/>
                    <a:pt x="573" y="1715"/>
                  </a:cubicBezTo>
                  <a:cubicBezTo>
                    <a:pt x="573" y="1754"/>
                    <a:pt x="541" y="1761"/>
                    <a:pt x="521" y="1787"/>
                  </a:cubicBezTo>
                  <a:cubicBezTo>
                    <a:pt x="448" y="1886"/>
                    <a:pt x="356" y="1893"/>
                    <a:pt x="290" y="1998"/>
                  </a:cubicBezTo>
                  <a:cubicBezTo>
                    <a:pt x="250" y="2064"/>
                    <a:pt x="231" y="2104"/>
                    <a:pt x="198" y="2177"/>
                  </a:cubicBezTo>
                  <a:cubicBezTo>
                    <a:pt x="178" y="2209"/>
                    <a:pt x="158" y="2223"/>
                    <a:pt x="145" y="2262"/>
                  </a:cubicBezTo>
                  <a:cubicBezTo>
                    <a:pt x="132" y="2295"/>
                    <a:pt x="125" y="2322"/>
                    <a:pt x="99" y="2348"/>
                  </a:cubicBezTo>
                  <a:lnTo>
                    <a:pt x="99" y="2348"/>
                  </a:lnTo>
                  <a:cubicBezTo>
                    <a:pt x="138" y="2407"/>
                    <a:pt x="178" y="2453"/>
                    <a:pt x="178" y="2519"/>
                  </a:cubicBezTo>
                  <a:cubicBezTo>
                    <a:pt x="178" y="2566"/>
                    <a:pt x="158" y="2592"/>
                    <a:pt x="151" y="2638"/>
                  </a:cubicBezTo>
                  <a:cubicBezTo>
                    <a:pt x="138" y="2711"/>
                    <a:pt x="151" y="2757"/>
                    <a:pt x="125" y="2823"/>
                  </a:cubicBezTo>
                  <a:cubicBezTo>
                    <a:pt x="112" y="2869"/>
                    <a:pt x="99" y="2895"/>
                    <a:pt x="99" y="2935"/>
                  </a:cubicBezTo>
                  <a:cubicBezTo>
                    <a:pt x="99" y="3001"/>
                    <a:pt x="125" y="3034"/>
                    <a:pt x="125" y="3093"/>
                  </a:cubicBezTo>
                  <a:cubicBezTo>
                    <a:pt x="125" y="3126"/>
                    <a:pt x="125" y="3146"/>
                    <a:pt x="125" y="3179"/>
                  </a:cubicBezTo>
                  <a:cubicBezTo>
                    <a:pt x="125" y="3225"/>
                    <a:pt x="112" y="3252"/>
                    <a:pt x="99" y="3291"/>
                  </a:cubicBezTo>
                  <a:cubicBezTo>
                    <a:pt x="79" y="3337"/>
                    <a:pt x="86" y="3364"/>
                    <a:pt x="72" y="3403"/>
                  </a:cubicBezTo>
                  <a:cubicBezTo>
                    <a:pt x="39" y="3496"/>
                    <a:pt x="19" y="3535"/>
                    <a:pt x="0" y="3628"/>
                  </a:cubicBezTo>
                  <a:lnTo>
                    <a:pt x="0" y="3628"/>
                  </a:lnTo>
                  <a:cubicBezTo>
                    <a:pt x="125" y="3687"/>
                    <a:pt x="125" y="3687"/>
                    <a:pt x="125" y="3687"/>
                  </a:cubicBezTo>
                  <a:cubicBezTo>
                    <a:pt x="112" y="3773"/>
                    <a:pt x="26" y="3799"/>
                    <a:pt x="26" y="3891"/>
                  </a:cubicBezTo>
                  <a:cubicBezTo>
                    <a:pt x="26" y="3944"/>
                    <a:pt x="79" y="3971"/>
                    <a:pt x="125" y="3990"/>
                  </a:cubicBezTo>
                  <a:cubicBezTo>
                    <a:pt x="198" y="4017"/>
                    <a:pt x="237" y="4036"/>
                    <a:pt x="310" y="4036"/>
                  </a:cubicBezTo>
                  <a:cubicBezTo>
                    <a:pt x="422" y="4036"/>
                    <a:pt x="402" y="3839"/>
                    <a:pt x="514" y="3839"/>
                  </a:cubicBezTo>
                  <a:cubicBezTo>
                    <a:pt x="587" y="3839"/>
                    <a:pt x="626" y="3911"/>
                    <a:pt x="626" y="3977"/>
                  </a:cubicBezTo>
                  <a:cubicBezTo>
                    <a:pt x="626" y="4036"/>
                    <a:pt x="600" y="4063"/>
                    <a:pt x="600" y="4122"/>
                  </a:cubicBezTo>
                  <a:cubicBezTo>
                    <a:pt x="600" y="4149"/>
                    <a:pt x="606" y="4188"/>
                    <a:pt x="640" y="4188"/>
                  </a:cubicBezTo>
                  <a:cubicBezTo>
                    <a:pt x="659" y="4188"/>
                    <a:pt x="666" y="4162"/>
                    <a:pt x="672" y="4142"/>
                  </a:cubicBezTo>
                  <a:cubicBezTo>
                    <a:pt x="686" y="4116"/>
                    <a:pt x="699" y="4102"/>
                    <a:pt x="705" y="4076"/>
                  </a:cubicBezTo>
                  <a:cubicBezTo>
                    <a:pt x="752" y="4089"/>
                    <a:pt x="771" y="4135"/>
                    <a:pt x="817" y="4135"/>
                  </a:cubicBezTo>
                  <a:cubicBezTo>
                    <a:pt x="851" y="4135"/>
                    <a:pt x="851" y="4096"/>
                    <a:pt x="884" y="4096"/>
                  </a:cubicBezTo>
                  <a:cubicBezTo>
                    <a:pt x="916" y="4096"/>
                    <a:pt x="930" y="4122"/>
                    <a:pt x="956" y="4149"/>
                  </a:cubicBezTo>
                  <a:cubicBezTo>
                    <a:pt x="1002" y="4195"/>
                    <a:pt x="1042" y="4208"/>
                    <a:pt x="1095" y="4247"/>
                  </a:cubicBezTo>
                  <a:cubicBezTo>
                    <a:pt x="1121" y="4274"/>
                    <a:pt x="1141" y="4294"/>
                    <a:pt x="1180" y="4294"/>
                  </a:cubicBezTo>
                  <a:cubicBezTo>
                    <a:pt x="1200" y="4294"/>
                    <a:pt x="1200" y="4274"/>
                    <a:pt x="1207" y="4254"/>
                  </a:cubicBezTo>
                  <a:cubicBezTo>
                    <a:pt x="1227" y="4228"/>
                    <a:pt x="1246" y="4201"/>
                    <a:pt x="1279" y="4201"/>
                  </a:cubicBezTo>
                  <a:cubicBezTo>
                    <a:pt x="1332" y="4201"/>
                    <a:pt x="1345" y="4267"/>
                    <a:pt x="1398" y="4267"/>
                  </a:cubicBezTo>
                  <a:cubicBezTo>
                    <a:pt x="1418" y="4267"/>
                    <a:pt x="1431" y="4267"/>
                    <a:pt x="1457" y="4267"/>
                  </a:cubicBezTo>
                  <a:cubicBezTo>
                    <a:pt x="1517" y="4267"/>
                    <a:pt x="1543" y="4247"/>
                    <a:pt x="1596" y="4228"/>
                  </a:cubicBezTo>
                  <a:cubicBezTo>
                    <a:pt x="1655" y="4208"/>
                    <a:pt x="1701" y="4214"/>
                    <a:pt x="1748" y="4175"/>
                  </a:cubicBezTo>
                  <a:cubicBezTo>
                    <a:pt x="1781" y="4149"/>
                    <a:pt x="1767" y="4109"/>
                    <a:pt x="1794" y="4089"/>
                  </a:cubicBezTo>
                  <a:cubicBezTo>
                    <a:pt x="1827" y="4056"/>
                    <a:pt x="1860" y="4069"/>
                    <a:pt x="1906" y="4063"/>
                  </a:cubicBezTo>
                  <a:cubicBezTo>
                    <a:pt x="2064" y="4056"/>
                    <a:pt x="2064" y="4056"/>
                    <a:pt x="2064" y="4056"/>
                  </a:cubicBezTo>
                  <a:lnTo>
                    <a:pt x="2064" y="4056"/>
                  </a:lnTo>
                  <a:cubicBezTo>
                    <a:pt x="2051" y="4023"/>
                    <a:pt x="2051" y="3997"/>
                    <a:pt x="2051" y="3957"/>
                  </a:cubicBezTo>
                  <a:cubicBezTo>
                    <a:pt x="2051" y="3891"/>
                    <a:pt x="2064" y="3852"/>
                    <a:pt x="2064" y="3786"/>
                  </a:cubicBezTo>
                  <a:cubicBezTo>
                    <a:pt x="2064" y="3733"/>
                    <a:pt x="2038" y="3713"/>
                    <a:pt x="2038" y="3660"/>
                  </a:cubicBezTo>
                  <a:cubicBezTo>
                    <a:pt x="2038" y="3621"/>
                    <a:pt x="2084" y="3608"/>
                    <a:pt x="2084" y="3568"/>
                  </a:cubicBezTo>
                  <a:cubicBezTo>
                    <a:pt x="2084" y="3529"/>
                    <a:pt x="2044" y="3515"/>
                    <a:pt x="2044" y="3476"/>
                  </a:cubicBezTo>
                  <a:cubicBezTo>
                    <a:pt x="2044" y="3430"/>
                    <a:pt x="2097" y="3416"/>
                    <a:pt x="2097" y="3370"/>
                  </a:cubicBezTo>
                  <a:cubicBezTo>
                    <a:pt x="2097" y="3337"/>
                    <a:pt x="2038" y="3344"/>
                    <a:pt x="2038" y="3311"/>
                  </a:cubicBezTo>
                  <a:cubicBezTo>
                    <a:pt x="2038" y="3265"/>
                    <a:pt x="2064" y="3245"/>
                    <a:pt x="2077" y="3205"/>
                  </a:cubicBezTo>
                  <a:cubicBezTo>
                    <a:pt x="2097" y="3159"/>
                    <a:pt x="2091" y="3133"/>
                    <a:pt x="2104" y="3087"/>
                  </a:cubicBezTo>
                  <a:cubicBezTo>
                    <a:pt x="2117" y="3054"/>
                    <a:pt x="2137" y="3034"/>
                    <a:pt x="2150" y="2994"/>
                  </a:cubicBezTo>
                  <a:cubicBezTo>
                    <a:pt x="2170" y="2935"/>
                    <a:pt x="2170" y="2902"/>
                    <a:pt x="2196" y="2843"/>
                  </a:cubicBezTo>
                  <a:cubicBezTo>
                    <a:pt x="2209" y="2803"/>
                    <a:pt x="2229" y="2777"/>
                    <a:pt x="2269" y="2757"/>
                  </a:cubicBezTo>
                  <a:cubicBezTo>
                    <a:pt x="2295" y="2737"/>
                    <a:pt x="2335" y="2744"/>
                    <a:pt x="2335" y="2711"/>
                  </a:cubicBezTo>
                  <a:cubicBezTo>
                    <a:pt x="2335" y="2684"/>
                    <a:pt x="2308" y="2678"/>
                    <a:pt x="2308" y="2651"/>
                  </a:cubicBezTo>
                  <a:lnTo>
                    <a:pt x="2308" y="2651"/>
                  </a:lnTo>
                  <a:cubicBezTo>
                    <a:pt x="2275" y="2651"/>
                    <a:pt x="2262" y="2645"/>
                    <a:pt x="2223" y="2645"/>
                  </a:cubicBezTo>
                  <a:cubicBezTo>
                    <a:pt x="2137" y="2645"/>
                    <a:pt x="2084" y="2566"/>
                    <a:pt x="2064" y="2473"/>
                  </a:cubicBezTo>
                  <a:cubicBezTo>
                    <a:pt x="2051" y="2414"/>
                    <a:pt x="2051" y="2374"/>
                    <a:pt x="2018" y="2315"/>
                  </a:cubicBezTo>
                  <a:cubicBezTo>
                    <a:pt x="1978" y="2242"/>
                    <a:pt x="1952" y="2209"/>
                    <a:pt x="1899" y="2144"/>
                  </a:cubicBezTo>
                  <a:cubicBezTo>
                    <a:pt x="1873" y="2117"/>
                    <a:pt x="1860" y="2091"/>
                    <a:pt x="1827" y="2064"/>
                  </a:cubicBezTo>
                  <a:cubicBezTo>
                    <a:pt x="1794" y="2038"/>
                    <a:pt x="1754" y="2031"/>
                    <a:pt x="1754" y="1992"/>
                  </a:cubicBezTo>
                  <a:cubicBezTo>
                    <a:pt x="1754" y="1939"/>
                    <a:pt x="1794" y="1926"/>
                    <a:pt x="1827" y="1886"/>
                  </a:cubicBezTo>
                  <a:cubicBezTo>
                    <a:pt x="1853" y="1860"/>
                    <a:pt x="1853" y="1834"/>
                    <a:pt x="1860" y="1801"/>
                  </a:cubicBezTo>
                  <a:cubicBezTo>
                    <a:pt x="1860" y="1774"/>
                    <a:pt x="1860" y="1761"/>
                    <a:pt x="1873" y="1741"/>
                  </a:cubicBezTo>
                  <a:cubicBezTo>
                    <a:pt x="1899" y="1715"/>
                    <a:pt x="1939" y="1735"/>
                    <a:pt x="1965" y="1708"/>
                  </a:cubicBezTo>
                  <a:cubicBezTo>
                    <a:pt x="1978" y="1688"/>
                    <a:pt x="1985" y="1669"/>
                    <a:pt x="1985" y="1642"/>
                  </a:cubicBezTo>
                  <a:cubicBezTo>
                    <a:pt x="1985" y="1590"/>
                    <a:pt x="1965" y="1530"/>
                    <a:pt x="1919" y="1530"/>
                  </a:cubicBezTo>
                  <a:cubicBezTo>
                    <a:pt x="1853" y="1530"/>
                    <a:pt x="1820" y="1550"/>
                    <a:pt x="1754" y="1550"/>
                  </a:cubicBezTo>
                  <a:cubicBezTo>
                    <a:pt x="1708" y="1550"/>
                    <a:pt x="1695" y="1504"/>
                    <a:pt x="1682" y="1464"/>
                  </a:cubicBezTo>
                  <a:cubicBezTo>
                    <a:pt x="1662" y="1392"/>
                    <a:pt x="1649" y="1345"/>
                    <a:pt x="1602" y="1293"/>
                  </a:cubicBezTo>
                  <a:cubicBezTo>
                    <a:pt x="1563" y="1246"/>
                    <a:pt x="1543" y="1200"/>
                    <a:pt x="1490" y="1167"/>
                  </a:cubicBezTo>
                  <a:cubicBezTo>
                    <a:pt x="1471" y="1154"/>
                    <a:pt x="1484" y="1128"/>
                    <a:pt x="1471" y="1108"/>
                  </a:cubicBezTo>
                  <a:cubicBezTo>
                    <a:pt x="1464" y="1082"/>
                    <a:pt x="1438" y="1062"/>
                    <a:pt x="1411" y="1062"/>
                  </a:cubicBezTo>
                  <a:cubicBezTo>
                    <a:pt x="1405" y="1049"/>
                    <a:pt x="1405" y="1049"/>
                    <a:pt x="1405" y="1036"/>
                  </a:cubicBezTo>
                  <a:cubicBezTo>
                    <a:pt x="1405" y="989"/>
                    <a:pt x="1444" y="976"/>
                    <a:pt x="1471" y="937"/>
                  </a:cubicBezTo>
                  <a:cubicBezTo>
                    <a:pt x="1490" y="904"/>
                    <a:pt x="1490" y="877"/>
                    <a:pt x="1510" y="851"/>
                  </a:cubicBezTo>
                  <a:cubicBezTo>
                    <a:pt x="1543" y="805"/>
                    <a:pt x="1576" y="778"/>
                    <a:pt x="1576" y="725"/>
                  </a:cubicBezTo>
                  <a:cubicBezTo>
                    <a:pt x="1576" y="673"/>
                    <a:pt x="1576" y="640"/>
                    <a:pt x="1576" y="587"/>
                  </a:cubicBezTo>
                  <a:cubicBezTo>
                    <a:pt x="1576" y="514"/>
                    <a:pt x="1616" y="475"/>
                    <a:pt x="1616" y="402"/>
                  </a:cubicBezTo>
                  <a:cubicBezTo>
                    <a:pt x="1616" y="323"/>
                    <a:pt x="1616" y="277"/>
                    <a:pt x="1616" y="198"/>
                  </a:cubicBezTo>
                  <a:cubicBezTo>
                    <a:pt x="1616" y="132"/>
                    <a:pt x="1537" y="139"/>
                    <a:pt x="1477" y="99"/>
                  </a:cubicBezTo>
                  <a:cubicBezTo>
                    <a:pt x="1477" y="26"/>
                    <a:pt x="1477" y="26"/>
                    <a:pt x="1477" y="26"/>
                  </a:cubicBezTo>
                  <a:cubicBezTo>
                    <a:pt x="1471" y="0"/>
                    <a:pt x="1471" y="0"/>
                    <a:pt x="1471" y="0"/>
                  </a:cubicBezTo>
                  <a:cubicBezTo>
                    <a:pt x="1418" y="13"/>
                    <a:pt x="1391" y="40"/>
                    <a:pt x="1339" y="40"/>
                  </a:cubicBezTo>
                  <a:cubicBezTo>
                    <a:pt x="1306" y="40"/>
                    <a:pt x="1286" y="40"/>
                    <a:pt x="1253" y="26"/>
                  </a:cubicBezTo>
                  <a:cubicBezTo>
                    <a:pt x="1240" y="20"/>
                    <a:pt x="1227" y="7"/>
                    <a:pt x="1207" y="7"/>
                  </a:cubicBezTo>
                  <a:cubicBezTo>
                    <a:pt x="1174" y="7"/>
                    <a:pt x="1160" y="26"/>
                    <a:pt x="1134" y="40"/>
                  </a:cubicBezTo>
                  <a:cubicBezTo>
                    <a:pt x="1108" y="59"/>
                    <a:pt x="1081" y="72"/>
                    <a:pt x="1055" y="86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69" name="Freeform 29"/>
            <p:cNvSpPr>
              <a:spLocks noChangeArrowheads="1"/>
            </p:cNvSpPr>
            <p:nvPr/>
          </p:nvSpPr>
          <p:spPr bwMode="auto">
            <a:xfrm>
              <a:off x="5013793" y="3367081"/>
              <a:ext cx="1027046" cy="1189038"/>
            </a:xfrm>
            <a:custGeom>
              <a:avLst/>
              <a:gdLst>
                <a:gd name="T0" fmla="*/ 574 w 2851"/>
                <a:gd name="T1" fmla="*/ 1510 h 3305"/>
                <a:gd name="T2" fmla="*/ 772 w 2851"/>
                <a:gd name="T3" fmla="*/ 1603 h 3305"/>
                <a:gd name="T4" fmla="*/ 944 w 2851"/>
                <a:gd name="T5" fmla="*/ 1932 h 3305"/>
                <a:gd name="T6" fmla="*/ 1135 w 2851"/>
                <a:gd name="T7" fmla="*/ 2163 h 3305"/>
                <a:gd name="T8" fmla="*/ 1148 w 2851"/>
                <a:gd name="T9" fmla="*/ 2315 h 3305"/>
                <a:gd name="T10" fmla="*/ 1181 w 2851"/>
                <a:gd name="T11" fmla="*/ 2553 h 3305"/>
                <a:gd name="T12" fmla="*/ 1280 w 2851"/>
                <a:gd name="T13" fmla="*/ 2797 h 3305"/>
                <a:gd name="T14" fmla="*/ 1359 w 2851"/>
                <a:gd name="T15" fmla="*/ 3140 h 3305"/>
                <a:gd name="T16" fmla="*/ 1570 w 2851"/>
                <a:gd name="T17" fmla="*/ 3285 h 3305"/>
                <a:gd name="T18" fmla="*/ 1669 w 2851"/>
                <a:gd name="T19" fmla="*/ 3140 h 3305"/>
                <a:gd name="T20" fmla="*/ 1775 w 2851"/>
                <a:gd name="T21" fmla="*/ 2935 h 3305"/>
                <a:gd name="T22" fmla="*/ 2098 w 2851"/>
                <a:gd name="T23" fmla="*/ 3001 h 3305"/>
                <a:gd name="T24" fmla="*/ 2210 w 2851"/>
                <a:gd name="T25" fmla="*/ 2849 h 3305"/>
                <a:gd name="T26" fmla="*/ 2388 w 2851"/>
                <a:gd name="T27" fmla="*/ 2730 h 3305"/>
                <a:gd name="T28" fmla="*/ 2645 w 2851"/>
                <a:gd name="T29" fmla="*/ 2546 h 3305"/>
                <a:gd name="T30" fmla="*/ 2850 w 2851"/>
                <a:gd name="T31" fmla="*/ 2559 h 3305"/>
                <a:gd name="T32" fmla="*/ 2790 w 2851"/>
                <a:gd name="T33" fmla="*/ 1893 h 3305"/>
                <a:gd name="T34" fmla="*/ 2639 w 2851"/>
                <a:gd name="T35" fmla="*/ 1695 h 3305"/>
                <a:gd name="T36" fmla="*/ 2586 w 2851"/>
                <a:gd name="T37" fmla="*/ 1477 h 3305"/>
                <a:gd name="T38" fmla="*/ 2461 w 2851"/>
                <a:gd name="T39" fmla="*/ 1286 h 3305"/>
                <a:gd name="T40" fmla="*/ 2474 w 2851"/>
                <a:gd name="T41" fmla="*/ 1022 h 3305"/>
                <a:gd name="T42" fmla="*/ 2494 w 2851"/>
                <a:gd name="T43" fmla="*/ 897 h 3305"/>
                <a:gd name="T44" fmla="*/ 2639 w 2851"/>
                <a:gd name="T45" fmla="*/ 640 h 3305"/>
                <a:gd name="T46" fmla="*/ 2513 w 2851"/>
                <a:gd name="T47" fmla="*/ 396 h 3305"/>
                <a:gd name="T48" fmla="*/ 2395 w 2851"/>
                <a:gd name="T49" fmla="*/ 165 h 3305"/>
                <a:gd name="T50" fmla="*/ 2368 w 2851"/>
                <a:gd name="T51" fmla="*/ 0 h 3305"/>
                <a:gd name="T52" fmla="*/ 2104 w 2851"/>
                <a:gd name="T53" fmla="*/ 13 h 3305"/>
                <a:gd name="T54" fmla="*/ 2078 w 2851"/>
                <a:gd name="T55" fmla="*/ 178 h 3305"/>
                <a:gd name="T56" fmla="*/ 1946 w 2851"/>
                <a:gd name="T57" fmla="*/ 297 h 3305"/>
                <a:gd name="T58" fmla="*/ 1735 w 2851"/>
                <a:gd name="T59" fmla="*/ 396 h 3305"/>
                <a:gd name="T60" fmla="*/ 1544 w 2851"/>
                <a:gd name="T61" fmla="*/ 488 h 3305"/>
                <a:gd name="T62" fmla="*/ 1227 w 2851"/>
                <a:gd name="T63" fmla="*/ 488 h 3305"/>
                <a:gd name="T64" fmla="*/ 858 w 2851"/>
                <a:gd name="T65" fmla="*/ 607 h 3305"/>
                <a:gd name="T66" fmla="*/ 495 w 2851"/>
                <a:gd name="T67" fmla="*/ 554 h 3305"/>
                <a:gd name="T68" fmla="*/ 198 w 2851"/>
                <a:gd name="T69" fmla="*/ 462 h 3305"/>
                <a:gd name="T70" fmla="*/ 0 w 2851"/>
                <a:gd name="T71" fmla="*/ 521 h 3305"/>
                <a:gd name="T72" fmla="*/ 139 w 2851"/>
                <a:gd name="T73" fmla="*/ 640 h 3305"/>
                <a:gd name="T74" fmla="*/ 310 w 2851"/>
                <a:gd name="T75" fmla="*/ 699 h 3305"/>
                <a:gd name="T76" fmla="*/ 244 w 2851"/>
                <a:gd name="T77" fmla="*/ 1022 h 3305"/>
                <a:gd name="T78" fmla="*/ 350 w 2851"/>
                <a:gd name="T79" fmla="*/ 1346 h 3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851" h="3305">
                  <a:moveTo>
                    <a:pt x="574" y="1510"/>
                  </a:moveTo>
                  <a:lnTo>
                    <a:pt x="574" y="1510"/>
                  </a:lnTo>
                  <a:cubicBezTo>
                    <a:pt x="627" y="1510"/>
                    <a:pt x="667" y="1517"/>
                    <a:pt x="706" y="1543"/>
                  </a:cubicBezTo>
                  <a:cubicBezTo>
                    <a:pt x="732" y="1563"/>
                    <a:pt x="765" y="1570"/>
                    <a:pt x="772" y="1603"/>
                  </a:cubicBezTo>
                  <a:cubicBezTo>
                    <a:pt x="798" y="1688"/>
                    <a:pt x="818" y="1728"/>
                    <a:pt x="845" y="1814"/>
                  </a:cubicBezTo>
                  <a:cubicBezTo>
                    <a:pt x="864" y="1867"/>
                    <a:pt x="897" y="1900"/>
                    <a:pt x="944" y="1932"/>
                  </a:cubicBezTo>
                  <a:cubicBezTo>
                    <a:pt x="983" y="1952"/>
                    <a:pt x="996" y="1979"/>
                    <a:pt x="1036" y="2005"/>
                  </a:cubicBezTo>
                  <a:cubicBezTo>
                    <a:pt x="1089" y="2051"/>
                    <a:pt x="1135" y="2091"/>
                    <a:pt x="1135" y="2163"/>
                  </a:cubicBezTo>
                  <a:cubicBezTo>
                    <a:pt x="1135" y="2190"/>
                    <a:pt x="1135" y="2210"/>
                    <a:pt x="1135" y="2236"/>
                  </a:cubicBezTo>
                  <a:cubicBezTo>
                    <a:pt x="1148" y="2315"/>
                    <a:pt x="1148" y="2315"/>
                    <a:pt x="1148" y="2315"/>
                  </a:cubicBezTo>
                  <a:cubicBezTo>
                    <a:pt x="1148" y="2355"/>
                    <a:pt x="1148" y="2374"/>
                    <a:pt x="1148" y="2414"/>
                  </a:cubicBezTo>
                  <a:cubicBezTo>
                    <a:pt x="1148" y="2473"/>
                    <a:pt x="1155" y="2506"/>
                    <a:pt x="1181" y="2553"/>
                  </a:cubicBezTo>
                  <a:cubicBezTo>
                    <a:pt x="1227" y="2612"/>
                    <a:pt x="1280" y="2645"/>
                    <a:pt x="1280" y="2724"/>
                  </a:cubicBezTo>
                  <a:cubicBezTo>
                    <a:pt x="1280" y="2750"/>
                    <a:pt x="1280" y="2764"/>
                    <a:pt x="1280" y="2797"/>
                  </a:cubicBezTo>
                  <a:cubicBezTo>
                    <a:pt x="1280" y="2896"/>
                    <a:pt x="1333" y="2942"/>
                    <a:pt x="1353" y="3041"/>
                  </a:cubicBezTo>
                  <a:cubicBezTo>
                    <a:pt x="1366" y="3080"/>
                    <a:pt x="1359" y="3100"/>
                    <a:pt x="1359" y="3140"/>
                  </a:cubicBezTo>
                  <a:cubicBezTo>
                    <a:pt x="1372" y="3205"/>
                    <a:pt x="1405" y="3258"/>
                    <a:pt x="1471" y="3265"/>
                  </a:cubicBezTo>
                  <a:cubicBezTo>
                    <a:pt x="1511" y="3271"/>
                    <a:pt x="1530" y="3278"/>
                    <a:pt x="1570" y="3285"/>
                  </a:cubicBezTo>
                  <a:cubicBezTo>
                    <a:pt x="1590" y="3291"/>
                    <a:pt x="1623" y="3304"/>
                    <a:pt x="1629" y="3285"/>
                  </a:cubicBezTo>
                  <a:cubicBezTo>
                    <a:pt x="1649" y="3232"/>
                    <a:pt x="1649" y="3192"/>
                    <a:pt x="1669" y="3140"/>
                  </a:cubicBezTo>
                  <a:cubicBezTo>
                    <a:pt x="1682" y="3093"/>
                    <a:pt x="1709" y="3067"/>
                    <a:pt x="1728" y="3021"/>
                  </a:cubicBezTo>
                  <a:cubicBezTo>
                    <a:pt x="1742" y="2988"/>
                    <a:pt x="1748" y="2961"/>
                    <a:pt x="1775" y="2935"/>
                  </a:cubicBezTo>
                  <a:cubicBezTo>
                    <a:pt x="1827" y="2882"/>
                    <a:pt x="1900" y="2882"/>
                    <a:pt x="1966" y="2915"/>
                  </a:cubicBezTo>
                  <a:cubicBezTo>
                    <a:pt x="2019" y="2935"/>
                    <a:pt x="2039" y="3001"/>
                    <a:pt x="2098" y="3001"/>
                  </a:cubicBezTo>
                  <a:cubicBezTo>
                    <a:pt x="2151" y="3001"/>
                    <a:pt x="2210" y="2981"/>
                    <a:pt x="2210" y="2928"/>
                  </a:cubicBezTo>
                  <a:cubicBezTo>
                    <a:pt x="2210" y="2896"/>
                    <a:pt x="2210" y="2882"/>
                    <a:pt x="2210" y="2849"/>
                  </a:cubicBezTo>
                  <a:cubicBezTo>
                    <a:pt x="2210" y="2816"/>
                    <a:pt x="2243" y="2803"/>
                    <a:pt x="2269" y="2790"/>
                  </a:cubicBezTo>
                  <a:cubicBezTo>
                    <a:pt x="2315" y="2777"/>
                    <a:pt x="2342" y="2750"/>
                    <a:pt x="2388" y="2730"/>
                  </a:cubicBezTo>
                  <a:cubicBezTo>
                    <a:pt x="2467" y="2691"/>
                    <a:pt x="2487" y="2651"/>
                    <a:pt x="2566" y="2599"/>
                  </a:cubicBezTo>
                  <a:cubicBezTo>
                    <a:pt x="2586" y="2572"/>
                    <a:pt x="2606" y="2546"/>
                    <a:pt x="2645" y="2546"/>
                  </a:cubicBezTo>
                  <a:cubicBezTo>
                    <a:pt x="2678" y="2546"/>
                    <a:pt x="2698" y="2546"/>
                    <a:pt x="2731" y="2546"/>
                  </a:cubicBezTo>
                  <a:cubicBezTo>
                    <a:pt x="2777" y="2546"/>
                    <a:pt x="2804" y="2546"/>
                    <a:pt x="2850" y="2559"/>
                  </a:cubicBezTo>
                  <a:cubicBezTo>
                    <a:pt x="2823" y="1952"/>
                    <a:pt x="2823" y="1952"/>
                    <a:pt x="2823" y="1952"/>
                  </a:cubicBezTo>
                  <a:cubicBezTo>
                    <a:pt x="2810" y="1939"/>
                    <a:pt x="2810" y="1913"/>
                    <a:pt x="2790" y="1893"/>
                  </a:cubicBezTo>
                  <a:cubicBezTo>
                    <a:pt x="2757" y="1873"/>
                    <a:pt x="2725" y="1873"/>
                    <a:pt x="2705" y="1847"/>
                  </a:cubicBezTo>
                  <a:cubicBezTo>
                    <a:pt x="2672" y="1794"/>
                    <a:pt x="2672" y="1754"/>
                    <a:pt x="2639" y="1695"/>
                  </a:cubicBezTo>
                  <a:cubicBezTo>
                    <a:pt x="2619" y="1649"/>
                    <a:pt x="2586" y="1622"/>
                    <a:pt x="2586" y="1570"/>
                  </a:cubicBezTo>
                  <a:cubicBezTo>
                    <a:pt x="2586" y="1537"/>
                    <a:pt x="2586" y="1517"/>
                    <a:pt x="2586" y="1477"/>
                  </a:cubicBezTo>
                  <a:cubicBezTo>
                    <a:pt x="2586" y="1431"/>
                    <a:pt x="2573" y="1398"/>
                    <a:pt x="2533" y="1372"/>
                  </a:cubicBezTo>
                  <a:cubicBezTo>
                    <a:pt x="2494" y="1352"/>
                    <a:pt x="2461" y="1332"/>
                    <a:pt x="2461" y="1286"/>
                  </a:cubicBezTo>
                  <a:cubicBezTo>
                    <a:pt x="2461" y="1260"/>
                    <a:pt x="2461" y="1240"/>
                    <a:pt x="2461" y="1214"/>
                  </a:cubicBezTo>
                  <a:cubicBezTo>
                    <a:pt x="2461" y="1141"/>
                    <a:pt x="2461" y="1095"/>
                    <a:pt x="2474" y="1022"/>
                  </a:cubicBezTo>
                  <a:cubicBezTo>
                    <a:pt x="2480" y="1003"/>
                    <a:pt x="2494" y="996"/>
                    <a:pt x="2494" y="983"/>
                  </a:cubicBezTo>
                  <a:cubicBezTo>
                    <a:pt x="2494" y="950"/>
                    <a:pt x="2494" y="930"/>
                    <a:pt x="2494" y="897"/>
                  </a:cubicBezTo>
                  <a:cubicBezTo>
                    <a:pt x="2494" y="831"/>
                    <a:pt x="2533" y="791"/>
                    <a:pt x="2533" y="725"/>
                  </a:cubicBezTo>
                  <a:cubicBezTo>
                    <a:pt x="2559" y="679"/>
                    <a:pt x="2593" y="646"/>
                    <a:pt x="2639" y="640"/>
                  </a:cubicBezTo>
                  <a:cubicBezTo>
                    <a:pt x="2639" y="593"/>
                    <a:pt x="2639" y="567"/>
                    <a:pt x="2639" y="514"/>
                  </a:cubicBezTo>
                  <a:cubicBezTo>
                    <a:pt x="2639" y="449"/>
                    <a:pt x="2559" y="449"/>
                    <a:pt x="2513" y="396"/>
                  </a:cubicBezTo>
                  <a:cubicBezTo>
                    <a:pt x="2467" y="343"/>
                    <a:pt x="2421" y="317"/>
                    <a:pt x="2355" y="310"/>
                  </a:cubicBezTo>
                  <a:cubicBezTo>
                    <a:pt x="2355" y="251"/>
                    <a:pt x="2368" y="218"/>
                    <a:pt x="2395" y="165"/>
                  </a:cubicBezTo>
                  <a:cubicBezTo>
                    <a:pt x="2408" y="125"/>
                    <a:pt x="2441" y="106"/>
                    <a:pt x="2441" y="59"/>
                  </a:cubicBezTo>
                  <a:cubicBezTo>
                    <a:pt x="2441" y="26"/>
                    <a:pt x="2401" y="0"/>
                    <a:pt x="2368" y="0"/>
                  </a:cubicBezTo>
                  <a:cubicBezTo>
                    <a:pt x="2269" y="0"/>
                    <a:pt x="2203" y="13"/>
                    <a:pt x="2104" y="13"/>
                  </a:cubicBezTo>
                  <a:lnTo>
                    <a:pt x="2104" y="13"/>
                  </a:lnTo>
                  <a:cubicBezTo>
                    <a:pt x="2118" y="53"/>
                    <a:pt x="2137" y="59"/>
                    <a:pt x="2137" y="92"/>
                  </a:cubicBezTo>
                  <a:cubicBezTo>
                    <a:pt x="2137" y="132"/>
                    <a:pt x="2111" y="152"/>
                    <a:pt x="2078" y="178"/>
                  </a:cubicBezTo>
                  <a:cubicBezTo>
                    <a:pt x="2045" y="218"/>
                    <a:pt x="2032" y="237"/>
                    <a:pt x="1992" y="270"/>
                  </a:cubicBezTo>
                  <a:cubicBezTo>
                    <a:pt x="1972" y="277"/>
                    <a:pt x="1966" y="297"/>
                    <a:pt x="1946" y="297"/>
                  </a:cubicBezTo>
                  <a:cubicBezTo>
                    <a:pt x="1893" y="297"/>
                    <a:pt x="1860" y="297"/>
                    <a:pt x="1801" y="297"/>
                  </a:cubicBezTo>
                  <a:cubicBezTo>
                    <a:pt x="1781" y="336"/>
                    <a:pt x="1761" y="356"/>
                    <a:pt x="1735" y="396"/>
                  </a:cubicBezTo>
                  <a:cubicBezTo>
                    <a:pt x="1709" y="435"/>
                    <a:pt x="1702" y="468"/>
                    <a:pt x="1656" y="488"/>
                  </a:cubicBezTo>
                  <a:cubicBezTo>
                    <a:pt x="1616" y="501"/>
                    <a:pt x="1590" y="488"/>
                    <a:pt x="1544" y="488"/>
                  </a:cubicBezTo>
                  <a:cubicBezTo>
                    <a:pt x="1491" y="488"/>
                    <a:pt x="1465" y="481"/>
                    <a:pt x="1405" y="481"/>
                  </a:cubicBezTo>
                  <a:cubicBezTo>
                    <a:pt x="1339" y="481"/>
                    <a:pt x="1293" y="488"/>
                    <a:pt x="1227" y="488"/>
                  </a:cubicBezTo>
                  <a:cubicBezTo>
                    <a:pt x="1122" y="488"/>
                    <a:pt x="1056" y="495"/>
                    <a:pt x="957" y="534"/>
                  </a:cubicBezTo>
                  <a:cubicBezTo>
                    <a:pt x="924" y="567"/>
                    <a:pt x="911" y="607"/>
                    <a:pt x="858" y="607"/>
                  </a:cubicBezTo>
                  <a:cubicBezTo>
                    <a:pt x="798" y="607"/>
                    <a:pt x="772" y="554"/>
                    <a:pt x="719" y="554"/>
                  </a:cubicBezTo>
                  <a:cubicBezTo>
                    <a:pt x="633" y="554"/>
                    <a:pt x="581" y="554"/>
                    <a:pt x="495" y="554"/>
                  </a:cubicBezTo>
                  <a:cubicBezTo>
                    <a:pt x="409" y="554"/>
                    <a:pt x="363" y="528"/>
                    <a:pt x="284" y="495"/>
                  </a:cubicBezTo>
                  <a:cubicBezTo>
                    <a:pt x="251" y="481"/>
                    <a:pt x="231" y="462"/>
                    <a:pt x="198" y="462"/>
                  </a:cubicBezTo>
                  <a:cubicBezTo>
                    <a:pt x="119" y="462"/>
                    <a:pt x="79" y="462"/>
                    <a:pt x="0" y="462"/>
                  </a:cubicBezTo>
                  <a:cubicBezTo>
                    <a:pt x="0" y="488"/>
                    <a:pt x="0" y="501"/>
                    <a:pt x="0" y="521"/>
                  </a:cubicBezTo>
                  <a:cubicBezTo>
                    <a:pt x="0" y="554"/>
                    <a:pt x="7" y="574"/>
                    <a:pt x="20" y="600"/>
                  </a:cubicBezTo>
                  <a:cubicBezTo>
                    <a:pt x="53" y="633"/>
                    <a:pt x="93" y="620"/>
                    <a:pt x="139" y="640"/>
                  </a:cubicBezTo>
                  <a:cubicBezTo>
                    <a:pt x="178" y="653"/>
                    <a:pt x="198" y="666"/>
                    <a:pt x="238" y="686"/>
                  </a:cubicBezTo>
                  <a:cubicBezTo>
                    <a:pt x="264" y="692"/>
                    <a:pt x="290" y="679"/>
                    <a:pt x="310" y="699"/>
                  </a:cubicBezTo>
                  <a:cubicBezTo>
                    <a:pt x="317" y="706"/>
                    <a:pt x="310" y="719"/>
                    <a:pt x="310" y="739"/>
                  </a:cubicBezTo>
                  <a:cubicBezTo>
                    <a:pt x="310" y="851"/>
                    <a:pt x="244" y="910"/>
                    <a:pt x="244" y="1022"/>
                  </a:cubicBezTo>
                  <a:cubicBezTo>
                    <a:pt x="244" y="1134"/>
                    <a:pt x="238" y="1214"/>
                    <a:pt x="304" y="1306"/>
                  </a:cubicBezTo>
                  <a:cubicBezTo>
                    <a:pt x="317" y="1326"/>
                    <a:pt x="337" y="1332"/>
                    <a:pt x="350" y="1346"/>
                  </a:cubicBezTo>
                  <a:cubicBezTo>
                    <a:pt x="429" y="1425"/>
                    <a:pt x="475" y="1464"/>
                    <a:pt x="574" y="151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0" name="Freeform 30"/>
            <p:cNvSpPr>
              <a:spLocks noChangeArrowheads="1"/>
            </p:cNvSpPr>
            <p:nvPr/>
          </p:nvSpPr>
          <p:spPr bwMode="auto">
            <a:xfrm>
              <a:off x="6029727" y="3832220"/>
              <a:ext cx="2427130" cy="2341563"/>
            </a:xfrm>
            <a:custGeom>
              <a:avLst/>
              <a:gdLst>
                <a:gd name="T0" fmla="*/ 4340 w 6741"/>
                <a:gd name="T1" fmla="*/ 1609 h 6504"/>
                <a:gd name="T2" fmla="*/ 4260 w 6741"/>
                <a:gd name="T3" fmla="*/ 1629 h 6504"/>
                <a:gd name="T4" fmla="*/ 4379 w 6741"/>
                <a:gd name="T5" fmla="*/ 1457 h 6504"/>
                <a:gd name="T6" fmla="*/ 4333 w 6741"/>
                <a:gd name="T7" fmla="*/ 1536 h 6504"/>
                <a:gd name="T8" fmla="*/ 4260 w 6741"/>
                <a:gd name="T9" fmla="*/ 1504 h 6504"/>
                <a:gd name="T10" fmla="*/ 4874 w 6741"/>
                <a:gd name="T11" fmla="*/ 1504 h 6504"/>
                <a:gd name="T12" fmla="*/ 4999 w 6741"/>
                <a:gd name="T13" fmla="*/ 1523 h 6504"/>
                <a:gd name="T14" fmla="*/ 4801 w 6741"/>
                <a:gd name="T15" fmla="*/ 1444 h 6504"/>
                <a:gd name="T16" fmla="*/ 4610 w 6741"/>
                <a:gd name="T17" fmla="*/ 1273 h 6504"/>
                <a:gd name="T18" fmla="*/ 4524 w 6741"/>
                <a:gd name="T19" fmla="*/ 1398 h 6504"/>
                <a:gd name="T20" fmla="*/ 4801 w 6741"/>
                <a:gd name="T21" fmla="*/ 1523 h 6504"/>
                <a:gd name="T22" fmla="*/ 4775 w 6741"/>
                <a:gd name="T23" fmla="*/ 1523 h 6504"/>
                <a:gd name="T24" fmla="*/ 6609 w 6741"/>
                <a:gd name="T25" fmla="*/ 2480 h 6504"/>
                <a:gd name="T26" fmla="*/ 6516 w 6741"/>
                <a:gd name="T27" fmla="*/ 2915 h 6504"/>
                <a:gd name="T28" fmla="*/ 6325 w 6741"/>
                <a:gd name="T29" fmla="*/ 3238 h 6504"/>
                <a:gd name="T30" fmla="*/ 6186 w 6741"/>
                <a:gd name="T31" fmla="*/ 3502 h 6504"/>
                <a:gd name="T32" fmla="*/ 5949 w 6741"/>
                <a:gd name="T33" fmla="*/ 3792 h 6504"/>
                <a:gd name="T34" fmla="*/ 5507 w 6741"/>
                <a:gd name="T35" fmla="*/ 4056 h 6504"/>
                <a:gd name="T36" fmla="*/ 5441 w 6741"/>
                <a:gd name="T37" fmla="*/ 4326 h 6504"/>
                <a:gd name="T38" fmla="*/ 5448 w 6741"/>
                <a:gd name="T39" fmla="*/ 4729 h 6504"/>
                <a:gd name="T40" fmla="*/ 5269 w 6741"/>
                <a:gd name="T41" fmla="*/ 4993 h 6504"/>
                <a:gd name="T42" fmla="*/ 4986 w 6741"/>
                <a:gd name="T43" fmla="*/ 5329 h 6504"/>
                <a:gd name="T44" fmla="*/ 4926 w 6741"/>
                <a:gd name="T45" fmla="*/ 5804 h 6504"/>
                <a:gd name="T46" fmla="*/ 4551 w 6741"/>
                <a:gd name="T47" fmla="*/ 6332 h 6504"/>
                <a:gd name="T48" fmla="*/ 1399 w 6741"/>
                <a:gd name="T49" fmla="*/ 6147 h 6504"/>
                <a:gd name="T50" fmla="*/ 1010 w 6741"/>
                <a:gd name="T51" fmla="*/ 5725 h 6504"/>
                <a:gd name="T52" fmla="*/ 911 w 6741"/>
                <a:gd name="T53" fmla="*/ 5243 h 6504"/>
                <a:gd name="T54" fmla="*/ 812 w 6741"/>
                <a:gd name="T55" fmla="*/ 4999 h 6504"/>
                <a:gd name="T56" fmla="*/ 884 w 6741"/>
                <a:gd name="T57" fmla="*/ 4722 h 6504"/>
                <a:gd name="T58" fmla="*/ 1379 w 6741"/>
                <a:gd name="T59" fmla="*/ 2381 h 6504"/>
                <a:gd name="T60" fmla="*/ 990 w 6741"/>
                <a:gd name="T61" fmla="*/ 2176 h 6504"/>
                <a:gd name="T62" fmla="*/ 607 w 6741"/>
                <a:gd name="T63" fmla="*/ 2117 h 6504"/>
                <a:gd name="T64" fmla="*/ 370 w 6741"/>
                <a:gd name="T65" fmla="*/ 1833 h 6504"/>
                <a:gd name="T66" fmla="*/ 79 w 6741"/>
                <a:gd name="T67" fmla="*/ 1563 h 6504"/>
                <a:gd name="T68" fmla="*/ 0 w 6741"/>
                <a:gd name="T69" fmla="*/ 659 h 6504"/>
                <a:gd name="T70" fmla="*/ 271 w 6741"/>
                <a:gd name="T71" fmla="*/ 712 h 6504"/>
                <a:gd name="T72" fmla="*/ 660 w 6741"/>
                <a:gd name="T73" fmla="*/ 593 h 6504"/>
                <a:gd name="T74" fmla="*/ 1102 w 6741"/>
                <a:gd name="T75" fmla="*/ 369 h 6504"/>
                <a:gd name="T76" fmla="*/ 1353 w 6741"/>
                <a:gd name="T77" fmla="*/ 389 h 6504"/>
                <a:gd name="T78" fmla="*/ 1669 w 6741"/>
                <a:gd name="T79" fmla="*/ 409 h 6504"/>
                <a:gd name="T80" fmla="*/ 1662 w 6741"/>
                <a:gd name="T81" fmla="*/ 112 h 6504"/>
                <a:gd name="T82" fmla="*/ 2243 w 6741"/>
                <a:gd name="T83" fmla="*/ 46 h 6504"/>
                <a:gd name="T84" fmla="*/ 2342 w 6741"/>
                <a:gd name="T85" fmla="*/ 283 h 6504"/>
                <a:gd name="T86" fmla="*/ 2545 w 6741"/>
                <a:gd name="T87" fmla="*/ 738 h 6504"/>
                <a:gd name="T88" fmla="*/ 2789 w 6741"/>
                <a:gd name="T89" fmla="*/ 930 h 6504"/>
                <a:gd name="T90" fmla="*/ 3119 w 6741"/>
                <a:gd name="T91" fmla="*/ 1312 h 6504"/>
                <a:gd name="T92" fmla="*/ 3390 w 6741"/>
                <a:gd name="T93" fmla="*/ 1748 h 6504"/>
                <a:gd name="T94" fmla="*/ 3753 w 6741"/>
                <a:gd name="T95" fmla="*/ 2051 h 6504"/>
                <a:gd name="T96" fmla="*/ 3627 w 6741"/>
                <a:gd name="T97" fmla="*/ 2183 h 6504"/>
                <a:gd name="T98" fmla="*/ 3983 w 6741"/>
                <a:gd name="T99" fmla="*/ 2110 h 6504"/>
                <a:gd name="T100" fmla="*/ 4287 w 6741"/>
                <a:gd name="T101" fmla="*/ 2025 h 6504"/>
                <a:gd name="T102" fmla="*/ 4445 w 6741"/>
                <a:gd name="T103" fmla="*/ 1748 h 6504"/>
                <a:gd name="T104" fmla="*/ 5144 w 6741"/>
                <a:gd name="T105" fmla="*/ 1569 h 6504"/>
                <a:gd name="T106" fmla="*/ 5507 w 6741"/>
                <a:gd name="T107" fmla="*/ 1715 h 6504"/>
                <a:gd name="T108" fmla="*/ 5401 w 6741"/>
                <a:gd name="T109" fmla="*/ 2051 h 6504"/>
                <a:gd name="T110" fmla="*/ 4445 w 6741"/>
                <a:gd name="T111" fmla="*/ 2354 h 6504"/>
                <a:gd name="T112" fmla="*/ 4597 w 6741"/>
                <a:gd name="T113" fmla="*/ 2440 h 6504"/>
                <a:gd name="T114" fmla="*/ 5045 w 6741"/>
                <a:gd name="T115" fmla="*/ 2420 h 6504"/>
                <a:gd name="T116" fmla="*/ 4993 w 6741"/>
                <a:gd name="T117" fmla="*/ 2697 h 6504"/>
                <a:gd name="T118" fmla="*/ 5382 w 6741"/>
                <a:gd name="T119" fmla="*/ 2328 h 6504"/>
                <a:gd name="T120" fmla="*/ 5573 w 6741"/>
                <a:gd name="T121" fmla="*/ 2123 h 6504"/>
                <a:gd name="T122" fmla="*/ 5725 w 6741"/>
                <a:gd name="T123" fmla="*/ 1899 h 6504"/>
                <a:gd name="T124" fmla="*/ 6285 w 6741"/>
                <a:gd name="T125" fmla="*/ 1965 h 6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741" h="6504">
                  <a:moveTo>
                    <a:pt x="4353" y="1655"/>
                  </a:moveTo>
                  <a:lnTo>
                    <a:pt x="4353" y="1655"/>
                  </a:lnTo>
                  <a:cubicBezTo>
                    <a:pt x="4353" y="1616"/>
                    <a:pt x="4353" y="1616"/>
                    <a:pt x="4353" y="1616"/>
                  </a:cubicBezTo>
                  <a:cubicBezTo>
                    <a:pt x="4340" y="1609"/>
                    <a:pt x="4340" y="1609"/>
                    <a:pt x="4340" y="1609"/>
                  </a:cubicBezTo>
                  <a:cubicBezTo>
                    <a:pt x="4333" y="1596"/>
                    <a:pt x="4333" y="1596"/>
                    <a:pt x="4333" y="1596"/>
                  </a:cubicBezTo>
                  <a:lnTo>
                    <a:pt x="4333" y="1596"/>
                  </a:lnTo>
                  <a:cubicBezTo>
                    <a:pt x="4326" y="1596"/>
                    <a:pt x="4320" y="1589"/>
                    <a:pt x="4313" y="1589"/>
                  </a:cubicBezTo>
                  <a:cubicBezTo>
                    <a:pt x="4287" y="1589"/>
                    <a:pt x="4280" y="1616"/>
                    <a:pt x="4260" y="1629"/>
                  </a:cubicBezTo>
                  <a:cubicBezTo>
                    <a:pt x="4227" y="1655"/>
                    <a:pt x="4208" y="1668"/>
                    <a:pt x="4188" y="1708"/>
                  </a:cubicBezTo>
                  <a:cubicBezTo>
                    <a:pt x="4194" y="1708"/>
                    <a:pt x="4201" y="1708"/>
                    <a:pt x="4208" y="1708"/>
                  </a:cubicBezTo>
                  <a:cubicBezTo>
                    <a:pt x="4267" y="1708"/>
                    <a:pt x="4300" y="1688"/>
                    <a:pt x="4353" y="1655"/>
                  </a:cubicBezTo>
                  <a:close/>
                  <a:moveTo>
                    <a:pt x="4379" y="1457"/>
                  </a:moveTo>
                  <a:lnTo>
                    <a:pt x="4379" y="1457"/>
                  </a:lnTo>
                  <a:lnTo>
                    <a:pt x="4379" y="1457"/>
                  </a:lnTo>
                  <a:cubicBezTo>
                    <a:pt x="4399" y="1457"/>
                    <a:pt x="4432" y="1464"/>
                    <a:pt x="4432" y="1484"/>
                  </a:cubicBezTo>
                  <a:cubicBezTo>
                    <a:pt x="4432" y="1530"/>
                    <a:pt x="4372" y="1523"/>
                    <a:pt x="4333" y="1536"/>
                  </a:cubicBezTo>
                  <a:cubicBezTo>
                    <a:pt x="4293" y="1550"/>
                    <a:pt x="4273" y="1563"/>
                    <a:pt x="4241" y="1596"/>
                  </a:cubicBezTo>
                  <a:cubicBezTo>
                    <a:pt x="4227" y="1609"/>
                    <a:pt x="4227" y="1629"/>
                    <a:pt x="4208" y="1629"/>
                  </a:cubicBezTo>
                  <a:cubicBezTo>
                    <a:pt x="4188" y="1629"/>
                    <a:pt x="4175" y="1622"/>
                    <a:pt x="4175" y="1609"/>
                  </a:cubicBezTo>
                  <a:cubicBezTo>
                    <a:pt x="4175" y="1556"/>
                    <a:pt x="4221" y="1536"/>
                    <a:pt x="4260" y="1504"/>
                  </a:cubicBezTo>
                  <a:cubicBezTo>
                    <a:pt x="4307" y="1471"/>
                    <a:pt x="4333" y="1457"/>
                    <a:pt x="4379" y="1457"/>
                  </a:cubicBezTo>
                  <a:close/>
                  <a:moveTo>
                    <a:pt x="4920" y="1471"/>
                  </a:moveTo>
                  <a:lnTo>
                    <a:pt x="4920" y="1471"/>
                  </a:lnTo>
                  <a:cubicBezTo>
                    <a:pt x="4894" y="1471"/>
                    <a:pt x="4887" y="1490"/>
                    <a:pt x="4874" y="1504"/>
                  </a:cubicBezTo>
                  <a:cubicBezTo>
                    <a:pt x="4867" y="1510"/>
                    <a:pt x="4854" y="1517"/>
                    <a:pt x="4854" y="1523"/>
                  </a:cubicBezTo>
                  <a:cubicBezTo>
                    <a:pt x="4854" y="1556"/>
                    <a:pt x="4887" y="1583"/>
                    <a:pt x="4920" y="1583"/>
                  </a:cubicBezTo>
                  <a:cubicBezTo>
                    <a:pt x="4940" y="1583"/>
                    <a:pt x="4953" y="1563"/>
                    <a:pt x="4973" y="1550"/>
                  </a:cubicBezTo>
                  <a:cubicBezTo>
                    <a:pt x="4986" y="1550"/>
                    <a:pt x="4999" y="1543"/>
                    <a:pt x="4999" y="1523"/>
                  </a:cubicBezTo>
                  <a:cubicBezTo>
                    <a:pt x="4999" y="1484"/>
                    <a:pt x="4959" y="1471"/>
                    <a:pt x="4920" y="1471"/>
                  </a:cubicBezTo>
                  <a:close/>
                  <a:moveTo>
                    <a:pt x="4801" y="1523"/>
                  </a:moveTo>
                  <a:lnTo>
                    <a:pt x="4801" y="1523"/>
                  </a:lnTo>
                  <a:cubicBezTo>
                    <a:pt x="4801" y="1490"/>
                    <a:pt x="4801" y="1471"/>
                    <a:pt x="4801" y="1444"/>
                  </a:cubicBezTo>
                  <a:cubicBezTo>
                    <a:pt x="4801" y="1418"/>
                    <a:pt x="4808" y="1398"/>
                    <a:pt x="4788" y="1378"/>
                  </a:cubicBezTo>
                  <a:cubicBezTo>
                    <a:pt x="4768" y="1352"/>
                    <a:pt x="4742" y="1358"/>
                    <a:pt x="4709" y="1345"/>
                  </a:cubicBezTo>
                  <a:cubicBezTo>
                    <a:pt x="4669" y="1325"/>
                    <a:pt x="4650" y="1292"/>
                    <a:pt x="4610" y="1273"/>
                  </a:cubicBezTo>
                  <a:lnTo>
                    <a:pt x="4610" y="1273"/>
                  </a:lnTo>
                  <a:cubicBezTo>
                    <a:pt x="4590" y="1260"/>
                    <a:pt x="4577" y="1240"/>
                    <a:pt x="4551" y="1240"/>
                  </a:cubicBezTo>
                  <a:cubicBezTo>
                    <a:pt x="4531" y="1240"/>
                    <a:pt x="4531" y="1260"/>
                    <a:pt x="4524" y="1279"/>
                  </a:cubicBezTo>
                  <a:cubicBezTo>
                    <a:pt x="4511" y="1299"/>
                    <a:pt x="4485" y="1306"/>
                    <a:pt x="4485" y="1325"/>
                  </a:cubicBezTo>
                  <a:cubicBezTo>
                    <a:pt x="4485" y="1358"/>
                    <a:pt x="4518" y="1372"/>
                    <a:pt x="4524" y="1398"/>
                  </a:cubicBezTo>
                  <a:cubicBezTo>
                    <a:pt x="4537" y="1424"/>
                    <a:pt x="4537" y="1451"/>
                    <a:pt x="4557" y="1477"/>
                  </a:cubicBezTo>
                  <a:cubicBezTo>
                    <a:pt x="4590" y="1504"/>
                    <a:pt x="4623" y="1490"/>
                    <a:pt x="4669" y="1504"/>
                  </a:cubicBezTo>
                  <a:cubicBezTo>
                    <a:pt x="4709" y="1510"/>
                    <a:pt x="4735" y="1517"/>
                    <a:pt x="4775" y="1523"/>
                  </a:cubicBezTo>
                  <a:cubicBezTo>
                    <a:pt x="4801" y="1523"/>
                    <a:pt x="4801" y="1523"/>
                    <a:pt x="4801" y="1523"/>
                  </a:cubicBezTo>
                  <a:close/>
                  <a:moveTo>
                    <a:pt x="4775" y="1523"/>
                  </a:moveTo>
                  <a:lnTo>
                    <a:pt x="4775" y="1523"/>
                  </a:lnTo>
                  <a:cubicBezTo>
                    <a:pt x="4801" y="1523"/>
                    <a:pt x="4801" y="1523"/>
                    <a:pt x="4801" y="1523"/>
                  </a:cubicBezTo>
                  <a:cubicBezTo>
                    <a:pt x="4775" y="1523"/>
                    <a:pt x="4775" y="1523"/>
                    <a:pt x="4775" y="1523"/>
                  </a:cubicBezTo>
                  <a:close/>
                  <a:moveTo>
                    <a:pt x="6740" y="2137"/>
                  </a:moveTo>
                  <a:lnTo>
                    <a:pt x="6740" y="2137"/>
                  </a:lnTo>
                  <a:cubicBezTo>
                    <a:pt x="6708" y="2236"/>
                    <a:pt x="6701" y="2288"/>
                    <a:pt x="6668" y="2381"/>
                  </a:cubicBezTo>
                  <a:cubicBezTo>
                    <a:pt x="6648" y="2420"/>
                    <a:pt x="6609" y="2433"/>
                    <a:pt x="6609" y="2480"/>
                  </a:cubicBezTo>
                  <a:cubicBezTo>
                    <a:pt x="6609" y="2506"/>
                    <a:pt x="6641" y="2506"/>
                    <a:pt x="6648" y="2532"/>
                  </a:cubicBezTo>
                  <a:cubicBezTo>
                    <a:pt x="6661" y="2552"/>
                    <a:pt x="6655" y="2565"/>
                    <a:pt x="6655" y="2585"/>
                  </a:cubicBezTo>
                  <a:cubicBezTo>
                    <a:pt x="6655" y="2645"/>
                    <a:pt x="6615" y="2664"/>
                    <a:pt x="6595" y="2717"/>
                  </a:cubicBezTo>
                  <a:cubicBezTo>
                    <a:pt x="6556" y="2790"/>
                    <a:pt x="6562" y="2849"/>
                    <a:pt x="6516" y="2915"/>
                  </a:cubicBezTo>
                  <a:cubicBezTo>
                    <a:pt x="6490" y="2948"/>
                    <a:pt x="6457" y="2948"/>
                    <a:pt x="6424" y="2974"/>
                  </a:cubicBezTo>
                  <a:cubicBezTo>
                    <a:pt x="6397" y="2994"/>
                    <a:pt x="6404" y="3020"/>
                    <a:pt x="6391" y="3054"/>
                  </a:cubicBezTo>
                  <a:cubicBezTo>
                    <a:pt x="6371" y="3086"/>
                    <a:pt x="6365" y="3113"/>
                    <a:pt x="6351" y="3152"/>
                  </a:cubicBezTo>
                  <a:cubicBezTo>
                    <a:pt x="6338" y="3185"/>
                    <a:pt x="6338" y="3205"/>
                    <a:pt x="6325" y="3238"/>
                  </a:cubicBezTo>
                  <a:cubicBezTo>
                    <a:pt x="6312" y="3265"/>
                    <a:pt x="6292" y="3271"/>
                    <a:pt x="6292" y="3298"/>
                  </a:cubicBezTo>
                  <a:cubicBezTo>
                    <a:pt x="6292" y="3311"/>
                    <a:pt x="6298" y="3317"/>
                    <a:pt x="6298" y="3337"/>
                  </a:cubicBezTo>
                  <a:cubicBezTo>
                    <a:pt x="6298" y="3377"/>
                    <a:pt x="6252" y="3390"/>
                    <a:pt x="6226" y="3423"/>
                  </a:cubicBezTo>
                  <a:cubicBezTo>
                    <a:pt x="6206" y="3449"/>
                    <a:pt x="6199" y="3469"/>
                    <a:pt x="6186" y="3502"/>
                  </a:cubicBezTo>
                  <a:cubicBezTo>
                    <a:pt x="6153" y="3561"/>
                    <a:pt x="6160" y="3614"/>
                    <a:pt x="6101" y="3654"/>
                  </a:cubicBezTo>
                  <a:cubicBezTo>
                    <a:pt x="6081" y="3660"/>
                    <a:pt x="6068" y="3660"/>
                    <a:pt x="6048" y="3667"/>
                  </a:cubicBezTo>
                  <a:cubicBezTo>
                    <a:pt x="6008" y="3687"/>
                    <a:pt x="6002" y="3720"/>
                    <a:pt x="5975" y="3746"/>
                  </a:cubicBezTo>
                  <a:cubicBezTo>
                    <a:pt x="5955" y="3759"/>
                    <a:pt x="5962" y="3779"/>
                    <a:pt x="5949" y="3792"/>
                  </a:cubicBezTo>
                  <a:cubicBezTo>
                    <a:pt x="5923" y="3819"/>
                    <a:pt x="5909" y="3832"/>
                    <a:pt x="5870" y="3845"/>
                  </a:cubicBezTo>
                  <a:cubicBezTo>
                    <a:pt x="5850" y="3852"/>
                    <a:pt x="5843" y="3871"/>
                    <a:pt x="5817" y="3871"/>
                  </a:cubicBezTo>
                  <a:cubicBezTo>
                    <a:pt x="5804" y="3871"/>
                    <a:pt x="5797" y="3865"/>
                    <a:pt x="5777" y="3865"/>
                  </a:cubicBezTo>
                  <a:cubicBezTo>
                    <a:pt x="5652" y="3865"/>
                    <a:pt x="5580" y="3944"/>
                    <a:pt x="5507" y="4056"/>
                  </a:cubicBezTo>
                  <a:cubicBezTo>
                    <a:pt x="5467" y="4122"/>
                    <a:pt x="5434" y="4162"/>
                    <a:pt x="5408" y="4241"/>
                  </a:cubicBezTo>
                  <a:lnTo>
                    <a:pt x="5408" y="4241"/>
                  </a:lnTo>
                  <a:cubicBezTo>
                    <a:pt x="5408" y="4254"/>
                    <a:pt x="5395" y="4267"/>
                    <a:pt x="5395" y="4280"/>
                  </a:cubicBezTo>
                  <a:cubicBezTo>
                    <a:pt x="5395" y="4300"/>
                    <a:pt x="5428" y="4307"/>
                    <a:pt x="5441" y="4326"/>
                  </a:cubicBezTo>
                  <a:cubicBezTo>
                    <a:pt x="5487" y="4379"/>
                    <a:pt x="5533" y="4419"/>
                    <a:pt x="5533" y="4491"/>
                  </a:cubicBezTo>
                  <a:cubicBezTo>
                    <a:pt x="5533" y="4518"/>
                    <a:pt x="5500" y="4524"/>
                    <a:pt x="5487" y="4551"/>
                  </a:cubicBezTo>
                  <a:cubicBezTo>
                    <a:pt x="5474" y="4584"/>
                    <a:pt x="5487" y="4610"/>
                    <a:pt x="5481" y="4643"/>
                  </a:cubicBezTo>
                  <a:cubicBezTo>
                    <a:pt x="5474" y="4683"/>
                    <a:pt x="5454" y="4696"/>
                    <a:pt x="5448" y="4729"/>
                  </a:cubicBezTo>
                  <a:cubicBezTo>
                    <a:pt x="5441" y="4781"/>
                    <a:pt x="5434" y="4821"/>
                    <a:pt x="5408" y="4867"/>
                  </a:cubicBezTo>
                  <a:cubicBezTo>
                    <a:pt x="5395" y="4900"/>
                    <a:pt x="5382" y="4933"/>
                    <a:pt x="5349" y="4933"/>
                  </a:cubicBezTo>
                  <a:cubicBezTo>
                    <a:pt x="5336" y="4933"/>
                    <a:pt x="5329" y="4913"/>
                    <a:pt x="5316" y="4913"/>
                  </a:cubicBezTo>
                  <a:cubicBezTo>
                    <a:pt x="5276" y="4913"/>
                    <a:pt x="5276" y="4960"/>
                    <a:pt x="5269" y="4993"/>
                  </a:cubicBezTo>
                  <a:cubicBezTo>
                    <a:pt x="5263" y="5025"/>
                    <a:pt x="5250" y="5039"/>
                    <a:pt x="5230" y="5065"/>
                  </a:cubicBezTo>
                  <a:cubicBezTo>
                    <a:pt x="5217" y="5085"/>
                    <a:pt x="5217" y="5105"/>
                    <a:pt x="5190" y="5118"/>
                  </a:cubicBezTo>
                  <a:cubicBezTo>
                    <a:pt x="5144" y="5138"/>
                    <a:pt x="5111" y="5144"/>
                    <a:pt x="5065" y="5171"/>
                  </a:cubicBezTo>
                  <a:cubicBezTo>
                    <a:pt x="5012" y="5217"/>
                    <a:pt x="5012" y="5263"/>
                    <a:pt x="4986" y="5329"/>
                  </a:cubicBezTo>
                  <a:cubicBezTo>
                    <a:pt x="4959" y="5395"/>
                    <a:pt x="4894" y="5421"/>
                    <a:pt x="4894" y="5494"/>
                  </a:cubicBezTo>
                  <a:cubicBezTo>
                    <a:pt x="4894" y="5566"/>
                    <a:pt x="4999" y="5566"/>
                    <a:pt x="4999" y="5639"/>
                  </a:cubicBezTo>
                  <a:cubicBezTo>
                    <a:pt x="4999" y="5685"/>
                    <a:pt x="4999" y="5725"/>
                    <a:pt x="4959" y="5758"/>
                  </a:cubicBezTo>
                  <a:cubicBezTo>
                    <a:pt x="4946" y="5771"/>
                    <a:pt x="4926" y="5784"/>
                    <a:pt x="4926" y="5804"/>
                  </a:cubicBezTo>
                  <a:cubicBezTo>
                    <a:pt x="4926" y="5830"/>
                    <a:pt x="4926" y="5843"/>
                    <a:pt x="4926" y="5870"/>
                  </a:cubicBezTo>
                  <a:cubicBezTo>
                    <a:pt x="4926" y="5909"/>
                    <a:pt x="4894" y="5916"/>
                    <a:pt x="4874" y="5942"/>
                  </a:cubicBezTo>
                  <a:cubicBezTo>
                    <a:pt x="4801" y="6041"/>
                    <a:pt x="4709" y="6048"/>
                    <a:pt x="4643" y="6153"/>
                  </a:cubicBezTo>
                  <a:cubicBezTo>
                    <a:pt x="4603" y="6219"/>
                    <a:pt x="4584" y="6259"/>
                    <a:pt x="4551" y="6332"/>
                  </a:cubicBezTo>
                  <a:cubicBezTo>
                    <a:pt x="4531" y="6364"/>
                    <a:pt x="4511" y="6378"/>
                    <a:pt x="4498" y="6417"/>
                  </a:cubicBezTo>
                  <a:cubicBezTo>
                    <a:pt x="4485" y="6450"/>
                    <a:pt x="4478" y="6477"/>
                    <a:pt x="4452" y="6503"/>
                  </a:cubicBezTo>
                  <a:lnTo>
                    <a:pt x="4452" y="6503"/>
                  </a:lnTo>
                  <a:cubicBezTo>
                    <a:pt x="1399" y="6147"/>
                    <a:pt x="1399" y="6147"/>
                    <a:pt x="1399" y="6147"/>
                  </a:cubicBezTo>
                  <a:cubicBezTo>
                    <a:pt x="1372" y="6140"/>
                    <a:pt x="1379" y="6107"/>
                    <a:pt x="1359" y="6088"/>
                  </a:cubicBezTo>
                  <a:cubicBezTo>
                    <a:pt x="1339" y="6054"/>
                    <a:pt x="1306" y="6048"/>
                    <a:pt x="1280" y="6015"/>
                  </a:cubicBezTo>
                  <a:cubicBezTo>
                    <a:pt x="1234" y="5949"/>
                    <a:pt x="1207" y="5890"/>
                    <a:pt x="1135" y="5876"/>
                  </a:cubicBezTo>
                  <a:cubicBezTo>
                    <a:pt x="1056" y="5863"/>
                    <a:pt x="1043" y="5791"/>
                    <a:pt x="1010" y="5725"/>
                  </a:cubicBezTo>
                  <a:cubicBezTo>
                    <a:pt x="983" y="5672"/>
                    <a:pt x="976" y="5646"/>
                    <a:pt x="957" y="5593"/>
                  </a:cubicBezTo>
                  <a:cubicBezTo>
                    <a:pt x="950" y="5566"/>
                    <a:pt x="930" y="5553"/>
                    <a:pt x="930" y="5527"/>
                  </a:cubicBezTo>
                  <a:cubicBezTo>
                    <a:pt x="930" y="5474"/>
                    <a:pt x="983" y="5454"/>
                    <a:pt x="983" y="5401"/>
                  </a:cubicBezTo>
                  <a:cubicBezTo>
                    <a:pt x="983" y="5336"/>
                    <a:pt x="944" y="5303"/>
                    <a:pt x="911" y="5243"/>
                  </a:cubicBezTo>
                  <a:cubicBezTo>
                    <a:pt x="878" y="5191"/>
                    <a:pt x="845" y="5164"/>
                    <a:pt x="805" y="5118"/>
                  </a:cubicBezTo>
                  <a:lnTo>
                    <a:pt x="805" y="5118"/>
                  </a:lnTo>
                  <a:cubicBezTo>
                    <a:pt x="805" y="5092"/>
                    <a:pt x="799" y="5078"/>
                    <a:pt x="799" y="5052"/>
                  </a:cubicBezTo>
                  <a:cubicBezTo>
                    <a:pt x="799" y="5032"/>
                    <a:pt x="812" y="5019"/>
                    <a:pt x="812" y="4999"/>
                  </a:cubicBezTo>
                  <a:cubicBezTo>
                    <a:pt x="812" y="4973"/>
                    <a:pt x="785" y="4966"/>
                    <a:pt x="785" y="4933"/>
                  </a:cubicBezTo>
                  <a:cubicBezTo>
                    <a:pt x="785" y="4894"/>
                    <a:pt x="785" y="4867"/>
                    <a:pt x="785" y="4828"/>
                  </a:cubicBezTo>
                  <a:cubicBezTo>
                    <a:pt x="785" y="4781"/>
                    <a:pt x="825" y="4768"/>
                    <a:pt x="851" y="4742"/>
                  </a:cubicBezTo>
                  <a:cubicBezTo>
                    <a:pt x="864" y="4735"/>
                    <a:pt x="878" y="4735"/>
                    <a:pt x="884" y="4722"/>
                  </a:cubicBezTo>
                  <a:cubicBezTo>
                    <a:pt x="904" y="4696"/>
                    <a:pt x="897" y="4656"/>
                    <a:pt x="930" y="4656"/>
                  </a:cubicBezTo>
                  <a:cubicBezTo>
                    <a:pt x="944" y="4656"/>
                    <a:pt x="950" y="4663"/>
                    <a:pt x="957" y="4663"/>
                  </a:cubicBezTo>
                  <a:cubicBezTo>
                    <a:pt x="1517" y="2427"/>
                    <a:pt x="1517" y="2427"/>
                    <a:pt x="1517" y="2427"/>
                  </a:cubicBezTo>
                  <a:cubicBezTo>
                    <a:pt x="1465" y="2407"/>
                    <a:pt x="1432" y="2394"/>
                    <a:pt x="1379" y="2381"/>
                  </a:cubicBezTo>
                  <a:cubicBezTo>
                    <a:pt x="1339" y="2381"/>
                    <a:pt x="1319" y="2394"/>
                    <a:pt x="1287" y="2374"/>
                  </a:cubicBezTo>
                  <a:cubicBezTo>
                    <a:pt x="1247" y="2354"/>
                    <a:pt x="1247" y="2321"/>
                    <a:pt x="1207" y="2308"/>
                  </a:cubicBezTo>
                  <a:cubicBezTo>
                    <a:pt x="1161" y="2288"/>
                    <a:pt x="1128" y="2288"/>
                    <a:pt x="1095" y="2255"/>
                  </a:cubicBezTo>
                  <a:cubicBezTo>
                    <a:pt x="1049" y="2229"/>
                    <a:pt x="1036" y="2196"/>
                    <a:pt x="990" y="2176"/>
                  </a:cubicBezTo>
                  <a:cubicBezTo>
                    <a:pt x="944" y="2163"/>
                    <a:pt x="917" y="2183"/>
                    <a:pt x="871" y="2176"/>
                  </a:cubicBezTo>
                  <a:cubicBezTo>
                    <a:pt x="825" y="2176"/>
                    <a:pt x="805" y="2170"/>
                    <a:pt x="759" y="2170"/>
                  </a:cubicBezTo>
                  <a:cubicBezTo>
                    <a:pt x="732" y="2170"/>
                    <a:pt x="719" y="2176"/>
                    <a:pt x="693" y="2176"/>
                  </a:cubicBezTo>
                  <a:cubicBezTo>
                    <a:pt x="647" y="2176"/>
                    <a:pt x="640" y="2137"/>
                    <a:pt x="607" y="2117"/>
                  </a:cubicBezTo>
                  <a:cubicBezTo>
                    <a:pt x="561" y="2077"/>
                    <a:pt x="521" y="2071"/>
                    <a:pt x="475" y="2031"/>
                  </a:cubicBezTo>
                  <a:cubicBezTo>
                    <a:pt x="449" y="2011"/>
                    <a:pt x="422" y="2005"/>
                    <a:pt x="396" y="1978"/>
                  </a:cubicBezTo>
                  <a:cubicBezTo>
                    <a:pt x="383" y="1952"/>
                    <a:pt x="390" y="1932"/>
                    <a:pt x="383" y="1906"/>
                  </a:cubicBezTo>
                  <a:cubicBezTo>
                    <a:pt x="376" y="1879"/>
                    <a:pt x="370" y="1866"/>
                    <a:pt x="370" y="1833"/>
                  </a:cubicBezTo>
                  <a:cubicBezTo>
                    <a:pt x="363" y="1800"/>
                    <a:pt x="324" y="1794"/>
                    <a:pt x="284" y="1787"/>
                  </a:cubicBezTo>
                  <a:cubicBezTo>
                    <a:pt x="238" y="1774"/>
                    <a:pt x="231" y="1734"/>
                    <a:pt x="198" y="1695"/>
                  </a:cubicBezTo>
                  <a:cubicBezTo>
                    <a:pt x="185" y="1675"/>
                    <a:pt x="172" y="1675"/>
                    <a:pt x="159" y="1655"/>
                  </a:cubicBezTo>
                  <a:cubicBezTo>
                    <a:pt x="119" y="1629"/>
                    <a:pt x="113" y="1596"/>
                    <a:pt x="79" y="1563"/>
                  </a:cubicBezTo>
                  <a:cubicBezTo>
                    <a:pt x="53" y="1536"/>
                    <a:pt x="40" y="1523"/>
                    <a:pt x="40" y="1490"/>
                  </a:cubicBezTo>
                  <a:cubicBezTo>
                    <a:pt x="40" y="1444"/>
                    <a:pt x="40" y="1418"/>
                    <a:pt x="40" y="1372"/>
                  </a:cubicBezTo>
                  <a:cubicBezTo>
                    <a:pt x="40" y="1332"/>
                    <a:pt x="27" y="1306"/>
                    <a:pt x="27" y="1266"/>
                  </a:cubicBezTo>
                  <a:cubicBezTo>
                    <a:pt x="0" y="659"/>
                    <a:pt x="0" y="659"/>
                    <a:pt x="0" y="659"/>
                  </a:cubicBezTo>
                  <a:lnTo>
                    <a:pt x="0" y="659"/>
                  </a:lnTo>
                  <a:cubicBezTo>
                    <a:pt x="0" y="666"/>
                    <a:pt x="7" y="666"/>
                    <a:pt x="7" y="666"/>
                  </a:cubicBezTo>
                  <a:cubicBezTo>
                    <a:pt x="40" y="686"/>
                    <a:pt x="60" y="672"/>
                    <a:pt x="93" y="679"/>
                  </a:cubicBezTo>
                  <a:cubicBezTo>
                    <a:pt x="159" y="699"/>
                    <a:pt x="198" y="712"/>
                    <a:pt x="271" y="712"/>
                  </a:cubicBezTo>
                  <a:cubicBezTo>
                    <a:pt x="310" y="712"/>
                    <a:pt x="324" y="679"/>
                    <a:pt x="357" y="653"/>
                  </a:cubicBezTo>
                  <a:cubicBezTo>
                    <a:pt x="409" y="607"/>
                    <a:pt x="456" y="600"/>
                    <a:pt x="528" y="587"/>
                  </a:cubicBezTo>
                  <a:cubicBezTo>
                    <a:pt x="607" y="593"/>
                    <a:pt x="607" y="593"/>
                    <a:pt x="607" y="593"/>
                  </a:cubicBezTo>
                  <a:cubicBezTo>
                    <a:pt x="660" y="593"/>
                    <a:pt x="660" y="593"/>
                    <a:pt x="660" y="593"/>
                  </a:cubicBezTo>
                  <a:cubicBezTo>
                    <a:pt x="660" y="560"/>
                    <a:pt x="667" y="534"/>
                    <a:pt x="700" y="514"/>
                  </a:cubicBezTo>
                  <a:cubicBezTo>
                    <a:pt x="746" y="481"/>
                    <a:pt x="785" y="501"/>
                    <a:pt x="845" y="488"/>
                  </a:cubicBezTo>
                  <a:cubicBezTo>
                    <a:pt x="930" y="468"/>
                    <a:pt x="944" y="356"/>
                    <a:pt x="1036" y="356"/>
                  </a:cubicBezTo>
                  <a:cubicBezTo>
                    <a:pt x="1062" y="356"/>
                    <a:pt x="1082" y="356"/>
                    <a:pt x="1102" y="369"/>
                  </a:cubicBezTo>
                  <a:cubicBezTo>
                    <a:pt x="1115" y="376"/>
                    <a:pt x="1115" y="389"/>
                    <a:pt x="1128" y="395"/>
                  </a:cubicBezTo>
                  <a:cubicBezTo>
                    <a:pt x="1174" y="409"/>
                    <a:pt x="1201" y="415"/>
                    <a:pt x="1247" y="415"/>
                  </a:cubicBezTo>
                  <a:cubicBezTo>
                    <a:pt x="1280" y="415"/>
                    <a:pt x="1293" y="415"/>
                    <a:pt x="1326" y="415"/>
                  </a:cubicBezTo>
                  <a:cubicBezTo>
                    <a:pt x="1339" y="415"/>
                    <a:pt x="1339" y="395"/>
                    <a:pt x="1353" y="389"/>
                  </a:cubicBezTo>
                  <a:cubicBezTo>
                    <a:pt x="1379" y="369"/>
                    <a:pt x="1405" y="363"/>
                    <a:pt x="1432" y="343"/>
                  </a:cubicBezTo>
                  <a:lnTo>
                    <a:pt x="1432" y="343"/>
                  </a:lnTo>
                  <a:cubicBezTo>
                    <a:pt x="1471" y="363"/>
                    <a:pt x="1504" y="369"/>
                    <a:pt x="1550" y="382"/>
                  </a:cubicBezTo>
                  <a:cubicBezTo>
                    <a:pt x="1597" y="395"/>
                    <a:pt x="1623" y="409"/>
                    <a:pt x="1669" y="409"/>
                  </a:cubicBezTo>
                  <a:cubicBezTo>
                    <a:pt x="1702" y="409"/>
                    <a:pt x="1729" y="382"/>
                    <a:pt x="1729" y="349"/>
                  </a:cubicBezTo>
                  <a:cubicBezTo>
                    <a:pt x="1729" y="336"/>
                    <a:pt x="1709" y="336"/>
                    <a:pt x="1702" y="323"/>
                  </a:cubicBezTo>
                  <a:cubicBezTo>
                    <a:pt x="1662" y="270"/>
                    <a:pt x="1603" y="257"/>
                    <a:pt x="1603" y="191"/>
                  </a:cubicBezTo>
                  <a:cubicBezTo>
                    <a:pt x="1603" y="151"/>
                    <a:pt x="1643" y="145"/>
                    <a:pt x="1662" y="112"/>
                  </a:cubicBezTo>
                  <a:cubicBezTo>
                    <a:pt x="1689" y="72"/>
                    <a:pt x="1676" y="39"/>
                    <a:pt x="1709" y="13"/>
                  </a:cubicBezTo>
                  <a:cubicBezTo>
                    <a:pt x="1794" y="46"/>
                    <a:pt x="1847" y="66"/>
                    <a:pt x="1940" y="66"/>
                  </a:cubicBezTo>
                  <a:cubicBezTo>
                    <a:pt x="2025" y="66"/>
                    <a:pt x="2065" y="0"/>
                    <a:pt x="2151" y="0"/>
                  </a:cubicBezTo>
                  <a:cubicBezTo>
                    <a:pt x="2190" y="0"/>
                    <a:pt x="2217" y="20"/>
                    <a:pt x="2243" y="46"/>
                  </a:cubicBezTo>
                  <a:cubicBezTo>
                    <a:pt x="2269" y="66"/>
                    <a:pt x="2296" y="66"/>
                    <a:pt x="2316" y="85"/>
                  </a:cubicBezTo>
                  <a:cubicBezTo>
                    <a:pt x="2335" y="105"/>
                    <a:pt x="2347" y="118"/>
                    <a:pt x="2367" y="138"/>
                  </a:cubicBezTo>
                  <a:lnTo>
                    <a:pt x="2367" y="138"/>
                  </a:lnTo>
                  <a:cubicBezTo>
                    <a:pt x="2361" y="197"/>
                    <a:pt x="2361" y="231"/>
                    <a:pt x="2342" y="283"/>
                  </a:cubicBezTo>
                  <a:cubicBezTo>
                    <a:pt x="2329" y="323"/>
                    <a:pt x="2309" y="343"/>
                    <a:pt x="2309" y="376"/>
                  </a:cubicBezTo>
                  <a:cubicBezTo>
                    <a:pt x="2309" y="395"/>
                    <a:pt x="2329" y="402"/>
                    <a:pt x="2347" y="409"/>
                  </a:cubicBezTo>
                  <a:cubicBezTo>
                    <a:pt x="2400" y="448"/>
                    <a:pt x="2433" y="468"/>
                    <a:pt x="2479" y="521"/>
                  </a:cubicBezTo>
                  <a:cubicBezTo>
                    <a:pt x="2532" y="587"/>
                    <a:pt x="2532" y="653"/>
                    <a:pt x="2545" y="738"/>
                  </a:cubicBezTo>
                  <a:cubicBezTo>
                    <a:pt x="2552" y="778"/>
                    <a:pt x="2572" y="798"/>
                    <a:pt x="2611" y="818"/>
                  </a:cubicBezTo>
                  <a:cubicBezTo>
                    <a:pt x="2651" y="837"/>
                    <a:pt x="2664" y="864"/>
                    <a:pt x="2710" y="870"/>
                  </a:cubicBezTo>
                  <a:cubicBezTo>
                    <a:pt x="2730" y="877"/>
                    <a:pt x="2743" y="864"/>
                    <a:pt x="2763" y="877"/>
                  </a:cubicBezTo>
                  <a:cubicBezTo>
                    <a:pt x="2783" y="883"/>
                    <a:pt x="2776" y="910"/>
                    <a:pt x="2789" y="930"/>
                  </a:cubicBezTo>
                  <a:cubicBezTo>
                    <a:pt x="2803" y="963"/>
                    <a:pt x="2822" y="976"/>
                    <a:pt x="2855" y="989"/>
                  </a:cubicBezTo>
                  <a:cubicBezTo>
                    <a:pt x="2921" y="1035"/>
                    <a:pt x="2974" y="1042"/>
                    <a:pt x="3027" y="1101"/>
                  </a:cubicBezTo>
                  <a:cubicBezTo>
                    <a:pt x="3053" y="1128"/>
                    <a:pt x="3053" y="1154"/>
                    <a:pt x="3060" y="1187"/>
                  </a:cubicBezTo>
                  <a:cubicBezTo>
                    <a:pt x="3067" y="1240"/>
                    <a:pt x="3099" y="1266"/>
                    <a:pt x="3119" y="1312"/>
                  </a:cubicBezTo>
                  <a:cubicBezTo>
                    <a:pt x="3159" y="1391"/>
                    <a:pt x="3165" y="1451"/>
                    <a:pt x="3231" y="1510"/>
                  </a:cubicBezTo>
                  <a:cubicBezTo>
                    <a:pt x="3264" y="1536"/>
                    <a:pt x="3278" y="1556"/>
                    <a:pt x="3311" y="1583"/>
                  </a:cubicBezTo>
                  <a:cubicBezTo>
                    <a:pt x="3343" y="1603"/>
                    <a:pt x="3390" y="1616"/>
                    <a:pt x="3390" y="1662"/>
                  </a:cubicBezTo>
                  <a:cubicBezTo>
                    <a:pt x="3390" y="1695"/>
                    <a:pt x="3390" y="1715"/>
                    <a:pt x="3390" y="1748"/>
                  </a:cubicBezTo>
                  <a:cubicBezTo>
                    <a:pt x="3390" y="1800"/>
                    <a:pt x="3456" y="1787"/>
                    <a:pt x="3508" y="1800"/>
                  </a:cubicBezTo>
                  <a:cubicBezTo>
                    <a:pt x="3555" y="1807"/>
                    <a:pt x="3548" y="1860"/>
                    <a:pt x="3555" y="1906"/>
                  </a:cubicBezTo>
                  <a:cubicBezTo>
                    <a:pt x="3574" y="1965"/>
                    <a:pt x="3614" y="1985"/>
                    <a:pt x="3667" y="2011"/>
                  </a:cubicBezTo>
                  <a:cubicBezTo>
                    <a:pt x="3700" y="2031"/>
                    <a:pt x="3719" y="2038"/>
                    <a:pt x="3753" y="2051"/>
                  </a:cubicBezTo>
                  <a:cubicBezTo>
                    <a:pt x="3719" y="2084"/>
                    <a:pt x="3733" y="2110"/>
                    <a:pt x="3713" y="2150"/>
                  </a:cubicBezTo>
                  <a:lnTo>
                    <a:pt x="3713" y="2150"/>
                  </a:lnTo>
                  <a:cubicBezTo>
                    <a:pt x="3713" y="2150"/>
                    <a:pt x="3713" y="2150"/>
                    <a:pt x="3706" y="2150"/>
                  </a:cubicBezTo>
                  <a:cubicBezTo>
                    <a:pt x="3673" y="2150"/>
                    <a:pt x="3660" y="2176"/>
                    <a:pt x="3627" y="2183"/>
                  </a:cubicBezTo>
                  <a:cubicBezTo>
                    <a:pt x="3607" y="2189"/>
                    <a:pt x="3581" y="2196"/>
                    <a:pt x="3581" y="2216"/>
                  </a:cubicBezTo>
                  <a:cubicBezTo>
                    <a:pt x="3581" y="2255"/>
                    <a:pt x="3601" y="2275"/>
                    <a:pt x="3601" y="2321"/>
                  </a:cubicBezTo>
                  <a:cubicBezTo>
                    <a:pt x="3673" y="2275"/>
                    <a:pt x="3726" y="2262"/>
                    <a:pt x="3799" y="2222"/>
                  </a:cubicBezTo>
                  <a:cubicBezTo>
                    <a:pt x="3871" y="2189"/>
                    <a:pt x="3898" y="2117"/>
                    <a:pt x="3983" y="2110"/>
                  </a:cubicBezTo>
                  <a:cubicBezTo>
                    <a:pt x="4062" y="2110"/>
                    <a:pt x="4115" y="2064"/>
                    <a:pt x="4161" y="1998"/>
                  </a:cubicBezTo>
                  <a:cubicBezTo>
                    <a:pt x="4201" y="1932"/>
                    <a:pt x="4194" y="1827"/>
                    <a:pt x="4267" y="1827"/>
                  </a:cubicBezTo>
                  <a:cubicBezTo>
                    <a:pt x="4293" y="1827"/>
                    <a:pt x="4287" y="1860"/>
                    <a:pt x="4287" y="1879"/>
                  </a:cubicBezTo>
                  <a:cubicBezTo>
                    <a:pt x="4287" y="1939"/>
                    <a:pt x="4287" y="1972"/>
                    <a:pt x="4287" y="2025"/>
                  </a:cubicBezTo>
                  <a:cubicBezTo>
                    <a:pt x="4320" y="2031"/>
                    <a:pt x="4340" y="2038"/>
                    <a:pt x="4372" y="2038"/>
                  </a:cubicBezTo>
                  <a:cubicBezTo>
                    <a:pt x="4392" y="2038"/>
                    <a:pt x="4392" y="2011"/>
                    <a:pt x="4399" y="1998"/>
                  </a:cubicBezTo>
                  <a:cubicBezTo>
                    <a:pt x="4405" y="1959"/>
                    <a:pt x="4412" y="1939"/>
                    <a:pt x="4419" y="1899"/>
                  </a:cubicBezTo>
                  <a:cubicBezTo>
                    <a:pt x="4425" y="1840"/>
                    <a:pt x="4425" y="1800"/>
                    <a:pt x="4445" y="1748"/>
                  </a:cubicBezTo>
                  <a:cubicBezTo>
                    <a:pt x="4458" y="1715"/>
                    <a:pt x="4458" y="1688"/>
                    <a:pt x="4485" y="1668"/>
                  </a:cubicBezTo>
                  <a:cubicBezTo>
                    <a:pt x="4551" y="1616"/>
                    <a:pt x="4603" y="1616"/>
                    <a:pt x="4683" y="1616"/>
                  </a:cubicBezTo>
                  <a:cubicBezTo>
                    <a:pt x="4755" y="1616"/>
                    <a:pt x="4795" y="1649"/>
                    <a:pt x="4867" y="1649"/>
                  </a:cubicBezTo>
                  <a:cubicBezTo>
                    <a:pt x="4979" y="1649"/>
                    <a:pt x="5025" y="1569"/>
                    <a:pt x="5144" y="1569"/>
                  </a:cubicBezTo>
                  <a:cubicBezTo>
                    <a:pt x="5190" y="1569"/>
                    <a:pt x="5217" y="1596"/>
                    <a:pt x="5263" y="1616"/>
                  </a:cubicBezTo>
                  <a:cubicBezTo>
                    <a:pt x="5296" y="1629"/>
                    <a:pt x="5316" y="1629"/>
                    <a:pt x="5355" y="1635"/>
                  </a:cubicBezTo>
                  <a:cubicBezTo>
                    <a:pt x="5382" y="1642"/>
                    <a:pt x="5395" y="1649"/>
                    <a:pt x="5421" y="1655"/>
                  </a:cubicBezTo>
                  <a:cubicBezTo>
                    <a:pt x="5461" y="1662"/>
                    <a:pt x="5507" y="1675"/>
                    <a:pt x="5507" y="1715"/>
                  </a:cubicBezTo>
                  <a:cubicBezTo>
                    <a:pt x="5507" y="1741"/>
                    <a:pt x="5481" y="1748"/>
                    <a:pt x="5474" y="1774"/>
                  </a:cubicBezTo>
                  <a:cubicBezTo>
                    <a:pt x="5454" y="1807"/>
                    <a:pt x="5448" y="1827"/>
                    <a:pt x="5448" y="1866"/>
                  </a:cubicBezTo>
                  <a:cubicBezTo>
                    <a:pt x="5448" y="1906"/>
                    <a:pt x="5448" y="1932"/>
                    <a:pt x="5448" y="1972"/>
                  </a:cubicBezTo>
                  <a:cubicBezTo>
                    <a:pt x="5421" y="1998"/>
                    <a:pt x="5415" y="2025"/>
                    <a:pt x="5401" y="2051"/>
                  </a:cubicBezTo>
                  <a:cubicBezTo>
                    <a:pt x="5342" y="2163"/>
                    <a:pt x="5289" y="2262"/>
                    <a:pt x="5164" y="2269"/>
                  </a:cubicBezTo>
                  <a:cubicBezTo>
                    <a:pt x="4999" y="2282"/>
                    <a:pt x="4913" y="2354"/>
                    <a:pt x="4748" y="2354"/>
                  </a:cubicBezTo>
                  <a:cubicBezTo>
                    <a:pt x="4683" y="2354"/>
                    <a:pt x="4650" y="2334"/>
                    <a:pt x="4584" y="2334"/>
                  </a:cubicBezTo>
                  <a:cubicBezTo>
                    <a:pt x="4531" y="2334"/>
                    <a:pt x="4498" y="2348"/>
                    <a:pt x="4445" y="2354"/>
                  </a:cubicBezTo>
                  <a:cubicBezTo>
                    <a:pt x="4399" y="2361"/>
                    <a:pt x="4372" y="2348"/>
                    <a:pt x="4333" y="2361"/>
                  </a:cubicBezTo>
                  <a:cubicBezTo>
                    <a:pt x="4346" y="2387"/>
                    <a:pt x="4372" y="2394"/>
                    <a:pt x="4405" y="2401"/>
                  </a:cubicBezTo>
                  <a:cubicBezTo>
                    <a:pt x="4452" y="2420"/>
                    <a:pt x="4478" y="2440"/>
                    <a:pt x="4531" y="2440"/>
                  </a:cubicBezTo>
                  <a:cubicBezTo>
                    <a:pt x="4557" y="2440"/>
                    <a:pt x="4570" y="2440"/>
                    <a:pt x="4597" y="2440"/>
                  </a:cubicBezTo>
                  <a:lnTo>
                    <a:pt x="4597" y="2440"/>
                  </a:lnTo>
                  <a:cubicBezTo>
                    <a:pt x="5045" y="2374"/>
                    <a:pt x="5045" y="2374"/>
                    <a:pt x="5045" y="2374"/>
                  </a:cubicBezTo>
                  <a:lnTo>
                    <a:pt x="5045" y="2374"/>
                  </a:lnTo>
                  <a:cubicBezTo>
                    <a:pt x="5045" y="2394"/>
                    <a:pt x="5045" y="2401"/>
                    <a:pt x="5045" y="2420"/>
                  </a:cubicBezTo>
                  <a:cubicBezTo>
                    <a:pt x="5045" y="2493"/>
                    <a:pt x="5006" y="2526"/>
                    <a:pt x="4973" y="2592"/>
                  </a:cubicBezTo>
                  <a:cubicBezTo>
                    <a:pt x="4946" y="2645"/>
                    <a:pt x="4946" y="2684"/>
                    <a:pt x="4946" y="2744"/>
                  </a:cubicBezTo>
                  <a:cubicBezTo>
                    <a:pt x="4946" y="2757"/>
                    <a:pt x="4953" y="2763"/>
                    <a:pt x="4959" y="2776"/>
                  </a:cubicBezTo>
                  <a:cubicBezTo>
                    <a:pt x="4979" y="2750"/>
                    <a:pt x="4979" y="2724"/>
                    <a:pt x="4993" y="2697"/>
                  </a:cubicBezTo>
                  <a:cubicBezTo>
                    <a:pt x="5012" y="2658"/>
                    <a:pt x="5025" y="2631"/>
                    <a:pt x="5052" y="2598"/>
                  </a:cubicBezTo>
                  <a:cubicBezTo>
                    <a:pt x="5078" y="2552"/>
                    <a:pt x="5091" y="2526"/>
                    <a:pt x="5118" y="2473"/>
                  </a:cubicBezTo>
                  <a:cubicBezTo>
                    <a:pt x="5184" y="2381"/>
                    <a:pt x="5243" y="2348"/>
                    <a:pt x="5336" y="2275"/>
                  </a:cubicBezTo>
                  <a:cubicBezTo>
                    <a:pt x="5355" y="2295"/>
                    <a:pt x="5355" y="2321"/>
                    <a:pt x="5382" y="2328"/>
                  </a:cubicBezTo>
                  <a:cubicBezTo>
                    <a:pt x="5434" y="2341"/>
                    <a:pt x="5467" y="2348"/>
                    <a:pt x="5520" y="2348"/>
                  </a:cubicBezTo>
                  <a:cubicBezTo>
                    <a:pt x="5540" y="2348"/>
                    <a:pt x="5540" y="2321"/>
                    <a:pt x="5540" y="2302"/>
                  </a:cubicBezTo>
                  <a:cubicBezTo>
                    <a:pt x="5540" y="2269"/>
                    <a:pt x="5540" y="2249"/>
                    <a:pt x="5540" y="2216"/>
                  </a:cubicBezTo>
                  <a:cubicBezTo>
                    <a:pt x="5540" y="2176"/>
                    <a:pt x="5573" y="2163"/>
                    <a:pt x="5573" y="2123"/>
                  </a:cubicBezTo>
                  <a:cubicBezTo>
                    <a:pt x="5573" y="2084"/>
                    <a:pt x="5573" y="2058"/>
                    <a:pt x="5573" y="2018"/>
                  </a:cubicBezTo>
                  <a:cubicBezTo>
                    <a:pt x="5573" y="1992"/>
                    <a:pt x="5599" y="1985"/>
                    <a:pt x="5619" y="1978"/>
                  </a:cubicBezTo>
                  <a:cubicBezTo>
                    <a:pt x="5659" y="1952"/>
                    <a:pt x="5679" y="1932"/>
                    <a:pt x="5711" y="1893"/>
                  </a:cubicBezTo>
                  <a:cubicBezTo>
                    <a:pt x="5718" y="1893"/>
                    <a:pt x="5718" y="1899"/>
                    <a:pt x="5725" y="1899"/>
                  </a:cubicBezTo>
                  <a:cubicBezTo>
                    <a:pt x="5791" y="1899"/>
                    <a:pt x="5830" y="1879"/>
                    <a:pt x="5896" y="1879"/>
                  </a:cubicBezTo>
                  <a:cubicBezTo>
                    <a:pt x="5942" y="1879"/>
                    <a:pt x="5962" y="1879"/>
                    <a:pt x="6008" y="1886"/>
                  </a:cubicBezTo>
                  <a:cubicBezTo>
                    <a:pt x="6041" y="1893"/>
                    <a:pt x="6048" y="1919"/>
                    <a:pt x="6081" y="1932"/>
                  </a:cubicBezTo>
                  <a:cubicBezTo>
                    <a:pt x="6153" y="1959"/>
                    <a:pt x="6206" y="1959"/>
                    <a:pt x="6285" y="1965"/>
                  </a:cubicBezTo>
                  <a:cubicBezTo>
                    <a:pt x="6378" y="1978"/>
                    <a:pt x="6424" y="2018"/>
                    <a:pt x="6516" y="2025"/>
                  </a:cubicBezTo>
                  <a:cubicBezTo>
                    <a:pt x="6595" y="2064"/>
                    <a:pt x="6648" y="2077"/>
                    <a:pt x="6721" y="2130"/>
                  </a:cubicBezTo>
                  <a:cubicBezTo>
                    <a:pt x="6727" y="2130"/>
                    <a:pt x="6734" y="2137"/>
                    <a:pt x="6740" y="2137"/>
                  </a:cubicBezTo>
                  <a:close/>
                </a:path>
              </a:pathLst>
            </a:custGeom>
            <a:grpFill/>
            <a:ln w="28575" cap="flat" cmpd="sng">
              <a:solidFill>
                <a:srgbClr val="000000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1" name="Freeform 31"/>
            <p:cNvSpPr>
              <a:spLocks noChangeArrowheads="1"/>
            </p:cNvSpPr>
            <p:nvPr/>
          </p:nvSpPr>
          <p:spPr bwMode="auto">
            <a:xfrm>
              <a:off x="6029727" y="3832220"/>
              <a:ext cx="2427130" cy="2341563"/>
            </a:xfrm>
            <a:custGeom>
              <a:avLst/>
              <a:gdLst>
                <a:gd name="T0" fmla="*/ 4340 w 6741"/>
                <a:gd name="T1" fmla="*/ 1609 h 6504"/>
                <a:gd name="T2" fmla="*/ 4260 w 6741"/>
                <a:gd name="T3" fmla="*/ 1629 h 6504"/>
                <a:gd name="T4" fmla="*/ 4379 w 6741"/>
                <a:gd name="T5" fmla="*/ 1457 h 6504"/>
                <a:gd name="T6" fmla="*/ 4208 w 6741"/>
                <a:gd name="T7" fmla="*/ 1629 h 6504"/>
                <a:gd name="T8" fmla="*/ 4379 w 6741"/>
                <a:gd name="T9" fmla="*/ 1457 h 6504"/>
                <a:gd name="T10" fmla="*/ 4854 w 6741"/>
                <a:gd name="T11" fmla="*/ 1523 h 6504"/>
                <a:gd name="T12" fmla="*/ 4920 w 6741"/>
                <a:gd name="T13" fmla="*/ 1471 h 6504"/>
                <a:gd name="T14" fmla="*/ 4788 w 6741"/>
                <a:gd name="T15" fmla="*/ 1378 h 6504"/>
                <a:gd name="T16" fmla="*/ 4551 w 6741"/>
                <a:gd name="T17" fmla="*/ 1240 h 6504"/>
                <a:gd name="T18" fmla="*/ 4557 w 6741"/>
                <a:gd name="T19" fmla="*/ 1477 h 6504"/>
                <a:gd name="T20" fmla="*/ 4775 w 6741"/>
                <a:gd name="T21" fmla="*/ 1523 h 6504"/>
                <a:gd name="T22" fmla="*/ 6740 w 6741"/>
                <a:gd name="T23" fmla="*/ 2137 h 6504"/>
                <a:gd name="T24" fmla="*/ 6655 w 6741"/>
                <a:gd name="T25" fmla="*/ 2585 h 6504"/>
                <a:gd name="T26" fmla="*/ 6391 w 6741"/>
                <a:gd name="T27" fmla="*/ 3054 h 6504"/>
                <a:gd name="T28" fmla="*/ 6298 w 6741"/>
                <a:gd name="T29" fmla="*/ 3337 h 6504"/>
                <a:gd name="T30" fmla="*/ 6048 w 6741"/>
                <a:gd name="T31" fmla="*/ 3667 h 6504"/>
                <a:gd name="T32" fmla="*/ 5817 w 6741"/>
                <a:gd name="T33" fmla="*/ 3871 h 6504"/>
                <a:gd name="T34" fmla="*/ 5408 w 6741"/>
                <a:gd name="T35" fmla="*/ 4241 h 6504"/>
                <a:gd name="T36" fmla="*/ 5487 w 6741"/>
                <a:gd name="T37" fmla="*/ 4551 h 6504"/>
                <a:gd name="T38" fmla="*/ 5349 w 6741"/>
                <a:gd name="T39" fmla="*/ 4933 h 6504"/>
                <a:gd name="T40" fmla="*/ 5190 w 6741"/>
                <a:gd name="T41" fmla="*/ 5118 h 6504"/>
                <a:gd name="T42" fmla="*/ 4999 w 6741"/>
                <a:gd name="T43" fmla="*/ 5639 h 6504"/>
                <a:gd name="T44" fmla="*/ 4874 w 6741"/>
                <a:gd name="T45" fmla="*/ 5942 h 6504"/>
                <a:gd name="T46" fmla="*/ 4452 w 6741"/>
                <a:gd name="T47" fmla="*/ 6503 h 6504"/>
                <a:gd name="T48" fmla="*/ 1280 w 6741"/>
                <a:gd name="T49" fmla="*/ 6015 h 6504"/>
                <a:gd name="T50" fmla="*/ 930 w 6741"/>
                <a:gd name="T51" fmla="*/ 5527 h 6504"/>
                <a:gd name="T52" fmla="*/ 805 w 6741"/>
                <a:gd name="T53" fmla="*/ 5118 h 6504"/>
                <a:gd name="T54" fmla="*/ 785 w 6741"/>
                <a:gd name="T55" fmla="*/ 4828 h 6504"/>
                <a:gd name="T56" fmla="*/ 957 w 6741"/>
                <a:gd name="T57" fmla="*/ 4663 h 6504"/>
                <a:gd name="T58" fmla="*/ 1207 w 6741"/>
                <a:gd name="T59" fmla="*/ 2308 h 6504"/>
                <a:gd name="T60" fmla="*/ 759 w 6741"/>
                <a:gd name="T61" fmla="*/ 2170 h 6504"/>
                <a:gd name="T62" fmla="*/ 396 w 6741"/>
                <a:gd name="T63" fmla="*/ 1978 h 6504"/>
                <a:gd name="T64" fmla="*/ 198 w 6741"/>
                <a:gd name="T65" fmla="*/ 1695 h 6504"/>
                <a:gd name="T66" fmla="*/ 40 w 6741"/>
                <a:gd name="T67" fmla="*/ 1372 h 6504"/>
                <a:gd name="T68" fmla="*/ 7 w 6741"/>
                <a:gd name="T69" fmla="*/ 666 h 6504"/>
                <a:gd name="T70" fmla="*/ 528 w 6741"/>
                <a:gd name="T71" fmla="*/ 587 h 6504"/>
                <a:gd name="T72" fmla="*/ 845 w 6741"/>
                <a:gd name="T73" fmla="*/ 488 h 6504"/>
                <a:gd name="T74" fmla="*/ 1247 w 6741"/>
                <a:gd name="T75" fmla="*/ 415 h 6504"/>
                <a:gd name="T76" fmla="*/ 1432 w 6741"/>
                <a:gd name="T77" fmla="*/ 343 h 6504"/>
                <a:gd name="T78" fmla="*/ 1702 w 6741"/>
                <a:gd name="T79" fmla="*/ 323 h 6504"/>
                <a:gd name="T80" fmla="*/ 1940 w 6741"/>
                <a:gd name="T81" fmla="*/ 66 h 6504"/>
                <a:gd name="T82" fmla="*/ 2367 w 6741"/>
                <a:gd name="T83" fmla="*/ 138 h 6504"/>
                <a:gd name="T84" fmla="*/ 2347 w 6741"/>
                <a:gd name="T85" fmla="*/ 409 h 6504"/>
                <a:gd name="T86" fmla="*/ 2710 w 6741"/>
                <a:gd name="T87" fmla="*/ 870 h 6504"/>
                <a:gd name="T88" fmla="*/ 3027 w 6741"/>
                <a:gd name="T89" fmla="*/ 1101 h 6504"/>
                <a:gd name="T90" fmla="*/ 3311 w 6741"/>
                <a:gd name="T91" fmla="*/ 1583 h 6504"/>
                <a:gd name="T92" fmla="*/ 3555 w 6741"/>
                <a:gd name="T93" fmla="*/ 1906 h 6504"/>
                <a:gd name="T94" fmla="*/ 3713 w 6741"/>
                <a:gd name="T95" fmla="*/ 2150 h 6504"/>
                <a:gd name="T96" fmla="*/ 3601 w 6741"/>
                <a:gd name="T97" fmla="*/ 2321 h 6504"/>
                <a:gd name="T98" fmla="*/ 4267 w 6741"/>
                <a:gd name="T99" fmla="*/ 1827 h 6504"/>
                <a:gd name="T100" fmla="*/ 4399 w 6741"/>
                <a:gd name="T101" fmla="*/ 1998 h 6504"/>
                <a:gd name="T102" fmla="*/ 4683 w 6741"/>
                <a:gd name="T103" fmla="*/ 1616 h 6504"/>
                <a:gd name="T104" fmla="*/ 5355 w 6741"/>
                <a:gd name="T105" fmla="*/ 1635 h 6504"/>
                <a:gd name="T106" fmla="*/ 5448 w 6741"/>
                <a:gd name="T107" fmla="*/ 1866 h 6504"/>
                <a:gd name="T108" fmla="*/ 4748 w 6741"/>
                <a:gd name="T109" fmla="*/ 2354 h 6504"/>
                <a:gd name="T110" fmla="*/ 4405 w 6741"/>
                <a:gd name="T111" fmla="*/ 2401 h 6504"/>
                <a:gd name="T112" fmla="*/ 5045 w 6741"/>
                <a:gd name="T113" fmla="*/ 2374 h 6504"/>
                <a:gd name="T114" fmla="*/ 4946 w 6741"/>
                <a:gd name="T115" fmla="*/ 2744 h 6504"/>
                <a:gd name="T116" fmla="*/ 5118 w 6741"/>
                <a:gd name="T117" fmla="*/ 2473 h 6504"/>
                <a:gd name="T118" fmla="*/ 5540 w 6741"/>
                <a:gd name="T119" fmla="*/ 2302 h 6504"/>
                <a:gd name="T120" fmla="*/ 5619 w 6741"/>
                <a:gd name="T121" fmla="*/ 1978 h 6504"/>
                <a:gd name="T122" fmla="*/ 6008 w 6741"/>
                <a:gd name="T123" fmla="*/ 1886 h 6504"/>
                <a:gd name="T124" fmla="*/ 6721 w 6741"/>
                <a:gd name="T125" fmla="*/ 2130 h 6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741" h="6504">
                  <a:moveTo>
                    <a:pt x="4353" y="1655"/>
                  </a:moveTo>
                  <a:lnTo>
                    <a:pt x="4353" y="1655"/>
                  </a:lnTo>
                  <a:cubicBezTo>
                    <a:pt x="4353" y="1616"/>
                    <a:pt x="4353" y="1616"/>
                    <a:pt x="4353" y="1616"/>
                  </a:cubicBezTo>
                  <a:cubicBezTo>
                    <a:pt x="4340" y="1609"/>
                    <a:pt x="4340" y="1609"/>
                    <a:pt x="4340" y="1609"/>
                  </a:cubicBezTo>
                  <a:cubicBezTo>
                    <a:pt x="4333" y="1596"/>
                    <a:pt x="4333" y="1596"/>
                    <a:pt x="4333" y="1596"/>
                  </a:cubicBezTo>
                  <a:lnTo>
                    <a:pt x="4333" y="1596"/>
                  </a:lnTo>
                  <a:cubicBezTo>
                    <a:pt x="4326" y="1596"/>
                    <a:pt x="4320" y="1589"/>
                    <a:pt x="4313" y="1589"/>
                  </a:cubicBezTo>
                  <a:cubicBezTo>
                    <a:pt x="4287" y="1589"/>
                    <a:pt x="4280" y="1616"/>
                    <a:pt x="4260" y="1629"/>
                  </a:cubicBezTo>
                  <a:cubicBezTo>
                    <a:pt x="4227" y="1655"/>
                    <a:pt x="4208" y="1668"/>
                    <a:pt x="4188" y="1708"/>
                  </a:cubicBezTo>
                  <a:cubicBezTo>
                    <a:pt x="4194" y="1708"/>
                    <a:pt x="4201" y="1708"/>
                    <a:pt x="4208" y="1708"/>
                  </a:cubicBezTo>
                  <a:cubicBezTo>
                    <a:pt x="4267" y="1708"/>
                    <a:pt x="4300" y="1688"/>
                    <a:pt x="4353" y="1655"/>
                  </a:cubicBezTo>
                  <a:close/>
                  <a:moveTo>
                    <a:pt x="4379" y="1457"/>
                  </a:moveTo>
                  <a:lnTo>
                    <a:pt x="4379" y="1457"/>
                  </a:lnTo>
                  <a:cubicBezTo>
                    <a:pt x="4333" y="1457"/>
                    <a:pt x="4307" y="1471"/>
                    <a:pt x="4260" y="1504"/>
                  </a:cubicBezTo>
                  <a:cubicBezTo>
                    <a:pt x="4221" y="1536"/>
                    <a:pt x="4175" y="1556"/>
                    <a:pt x="4175" y="1609"/>
                  </a:cubicBezTo>
                  <a:cubicBezTo>
                    <a:pt x="4175" y="1622"/>
                    <a:pt x="4188" y="1629"/>
                    <a:pt x="4208" y="1629"/>
                  </a:cubicBezTo>
                  <a:cubicBezTo>
                    <a:pt x="4227" y="1629"/>
                    <a:pt x="4227" y="1609"/>
                    <a:pt x="4241" y="1596"/>
                  </a:cubicBezTo>
                  <a:cubicBezTo>
                    <a:pt x="4273" y="1563"/>
                    <a:pt x="4293" y="1550"/>
                    <a:pt x="4333" y="1536"/>
                  </a:cubicBezTo>
                  <a:cubicBezTo>
                    <a:pt x="4372" y="1523"/>
                    <a:pt x="4432" y="1530"/>
                    <a:pt x="4432" y="1484"/>
                  </a:cubicBezTo>
                  <a:cubicBezTo>
                    <a:pt x="4432" y="1464"/>
                    <a:pt x="4399" y="1457"/>
                    <a:pt x="4379" y="1457"/>
                  </a:cubicBezTo>
                  <a:close/>
                  <a:moveTo>
                    <a:pt x="4920" y="1471"/>
                  </a:moveTo>
                  <a:lnTo>
                    <a:pt x="4920" y="1471"/>
                  </a:lnTo>
                  <a:cubicBezTo>
                    <a:pt x="4894" y="1471"/>
                    <a:pt x="4887" y="1490"/>
                    <a:pt x="4874" y="1504"/>
                  </a:cubicBezTo>
                  <a:cubicBezTo>
                    <a:pt x="4867" y="1510"/>
                    <a:pt x="4854" y="1517"/>
                    <a:pt x="4854" y="1523"/>
                  </a:cubicBezTo>
                  <a:cubicBezTo>
                    <a:pt x="4854" y="1556"/>
                    <a:pt x="4887" y="1583"/>
                    <a:pt x="4920" y="1583"/>
                  </a:cubicBezTo>
                  <a:cubicBezTo>
                    <a:pt x="4940" y="1583"/>
                    <a:pt x="4953" y="1563"/>
                    <a:pt x="4973" y="1550"/>
                  </a:cubicBezTo>
                  <a:cubicBezTo>
                    <a:pt x="4986" y="1550"/>
                    <a:pt x="4999" y="1543"/>
                    <a:pt x="4999" y="1523"/>
                  </a:cubicBezTo>
                  <a:cubicBezTo>
                    <a:pt x="4999" y="1484"/>
                    <a:pt x="4959" y="1471"/>
                    <a:pt x="4920" y="1471"/>
                  </a:cubicBezTo>
                  <a:close/>
                  <a:moveTo>
                    <a:pt x="4801" y="1523"/>
                  </a:moveTo>
                  <a:lnTo>
                    <a:pt x="4801" y="1523"/>
                  </a:lnTo>
                  <a:cubicBezTo>
                    <a:pt x="4801" y="1490"/>
                    <a:pt x="4801" y="1471"/>
                    <a:pt x="4801" y="1444"/>
                  </a:cubicBezTo>
                  <a:cubicBezTo>
                    <a:pt x="4801" y="1418"/>
                    <a:pt x="4808" y="1398"/>
                    <a:pt x="4788" y="1378"/>
                  </a:cubicBezTo>
                  <a:cubicBezTo>
                    <a:pt x="4768" y="1352"/>
                    <a:pt x="4742" y="1358"/>
                    <a:pt x="4709" y="1345"/>
                  </a:cubicBezTo>
                  <a:cubicBezTo>
                    <a:pt x="4669" y="1325"/>
                    <a:pt x="4650" y="1292"/>
                    <a:pt x="4610" y="1273"/>
                  </a:cubicBezTo>
                  <a:lnTo>
                    <a:pt x="4610" y="1273"/>
                  </a:lnTo>
                  <a:cubicBezTo>
                    <a:pt x="4590" y="1260"/>
                    <a:pt x="4577" y="1240"/>
                    <a:pt x="4551" y="1240"/>
                  </a:cubicBezTo>
                  <a:cubicBezTo>
                    <a:pt x="4531" y="1240"/>
                    <a:pt x="4531" y="1260"/>
                    <a:pt x="4524" y="1279"/>
                  </a:cubicBezTo>
                  <a:cubicBezTo>
                    <a:pt x="4511" y="1299"/>
                    <a:pt x="4485" y="1306"/>
                    <a:pt x="4485" y="1325"/>
                  </a:cubicBezTo>
                  <a:cubicBezTo>
                    <a:pt x="4485" y="1358"/>
                    <a:pt x="4518" y="1372"/>
                    <a:pt x="4524" y="1398"/>
                  </a:cubicBezTo>
                  <a:cubicBezTo>
                    <a:pt x="4537" y="1424"/>
                    <a:pt x="4537" y="1451"/>
                    <a:pt x="4557" y="1477"/>
                  </a:cubicBezTo>
                  <a:cubicBezTo>
                    <a:pt x="4590" y="1504"/>
                    <a:pt x="4623" y="1490"/>
                    <a:pt x="4669" y="1504"/>
                  </a:cubicBezTo>
                  <a:cubicBezTo>
                    <a:pt x="4709" y="1510"/>
                    <a:pt x="4735" y="1517"/>
                    <a:pt x="4775" y="1523"/>
                  </a:cubicBezTo>
                  <a:cubicBezTo>
                    <a:pt x="4801" y="1523"/>
                    <a:pt x="4801" y="1523"/>
                    <a:pt x="4801" y="1523"/>
                  </a:cubicBezTo>
                  <a:close/>
                  <a:moveTo>
                    <a:pt x="4775" y="1523"/>
                  </a:moveTo>
                  <a:lnTo>
                    <a:pt x="4775" y="1523"/>
                  </a:lnTo>
                  <a:cubicBezTo>
                    <a:pt x="4801" y="1523"/>
                    <a:pt x="4801" y="1523"/>
                    <a:pt x="4801" y="1523"/>
                  </a:cubicBezTo>
                  <a:lnTo>
                    <a:pt x="6740" y="2137"/>
                  </a:lnTo>
                  <a:lnTo>
                    <a:pt x="6740" y="2137"/>
                  </a:lnTo>
                  <a:cubicBezTo>
                    <a:pt x="6708" y="2236"/>
                    <a:pt x="6701" y="2288"/>
                    <a:pt x="6668" y="2381"/>
                  </a:cubicBezTo>
                  <a:cubicBezTo>
                    <a:pt x="6648" y="2420"/>
                    <a:pt x="6609" y="2433"/>
                    <a:pt x="6609" y="2480"/>
                  </a:cubicBezTo>
                  <a:cubicBezTo>
                    <a:pt x="6609" y="2506"/>
                    <a:pt x="6641" y="2506"/>
                    <a:pt x="6648" y="2532"/>
                  </a:cubicBezTo>
                  <a:cubicBezTo>
                    <a:pt x="6661" y="2552"/>
                    <a:pt x="6655" y="2565"/>
                    <a:pt x="6655" y="2585"/>
                  </a:cubicBezTo>
                  <a:cubicBezTo>
                    <a:pt x="6655" y="2645"/>
                    <a:pt x="6615" y="2664"/>
                    <a:pt x="6595" y="2717"/>
                  </a:cubicBezTo>
                  <a:cubicBezTo>
                    <a:pt x="6556" y="2790"/>
                    <a:pt x="6562" y="2849"/>
                    <a:pt x="6516" y="2915"/>
                  </a:cubicBezTo>
                  <a:cubicBezTo>
                    <a:pt x="6490" y="2948"/>
                    <a:pt x="6457" y="2948"/>
                    <a:pt x="6424" y="2974"/>
                  </a:cubicBezTo>
                  <a:cubicBezTo>
                    <a:pt x="6397" y="2994"/>
                    <a:pt x="6404" y="3020"/>
                    <a:pt x="6391" y="3054"/>
                  </a:cubicBezTo>
                  <a:cubicBezTo>
                    <a:pt x="6371" y="3086"/>
                    <a:pt x="6365" y="3113"/>
                    <a:pt x="6351" y="3152"/>
                  </a:cubicBezTo>
                  <a:cubicBezTo>
                    <a:pt x="6338" y="3185"/>
                    <a:pt x="6338" y="3205"/>
                    <a:pt x="6325" y="3238"/>
                  </a:cubicBezTo>
                  <a:cubicBezTo>
                    <a:pt x="6312" y="3265"/>
                    <a:pt x="6292" y="3271"/>
                    <a:pt x="6292" y="3298"/>
                  </a:cubicBezTo>
                  <a:cubicBezTo>
                    <a:pt x="6292" y="3311"/>
                    <a:pt x="6298" y="3317"/>
                    <a:pt x="6298" y="3337"/>
                  </a:cubicBezTo>
                  <a:cubicBezTo>
                    <a:pt x="6298" y="3377"/>
                    <a:pt x="6252" y="3390"/>
                    <a:pt x="6226" y="3423"/>
                  </a:cubicBezTo>
                  <a:cubicBezTo>
                    <a:pt x="6206" y="3449"/>
                    <a:pt x="6199" y="3469"/>
                    <a:pt x="6186" y="3502"/>
                  </a:cubicBezTo>
                  <a:cubicBezTo>
                    <a:pt x="6153" y="3561"/>
                    <a:pt x="6160" y="3614"/>
                    <a:pt x="6101" y="3654"/>
                  </a:cubicBezTo>
                  <a:cubicBezTo>
                    <a:pt x="6081" y="3660"/>
                    <a:pt x="6068" y="3660"/>
                    <a:pt x="6048" y="3667"/>
                  </a:cubicBezTo>
                  <a:cubicBezTo>
                    <a:pt x="6008" y="3687"/>
                    <a:pt x="6002" y="3720"/>
                    <a:pt x="5975" y="3746"/>
                  </a:cubicBezTo>
                  <a:cubicBezTo>
                    <a:pt x="5955" y="3759"/>
                    <a:pt x="5962" y="3779"/>
                    <a:pt x="5949" y="3792"/>
                  </a:cubicBezTo>
                  <a:cubicBezTo>
                    <a:pt x="5923" y="3819"/>
                    <a:pt x="5909" y="3832"/>
                    <a:pt x="5870" y="3845"/>
                  </a:cubicBezTo>
                  <a:cubicBezTo>
                    <a:pt x="5850" y="3852"/>
                    <a:pt x="5843" y="3871"/>
                    <a:pt x="5817" y="3871"/>
                  </a:cubicBezTo>
                  <a:cubicBezTo>
                    <a:pt x="5804" y="3871"/>
                    <a:pt x="5797" y="3865"/>
                    <a:pt x="5777" y="3865"/>
                  </a:cubicBezTo>
                  <a:cubicBezTo>
                    <a:pt x="5652" y="3865"/>
                    <a:pt x="5580" y="3944"/>
                    <a:pt x="5507" y="4056"/>
                  </a:cubicBezTo>
                  <a:cubicBezTo>
                    <a:pt x="5467" y="4122"/>
                    <a:pt x="5434" y="4162"/>
                    <a:pt x="5408" y="4241"/>
                  </a:cubicBezTo>
                  <a:lnTo>
                    <a:pt x="5408" y="4241"/>
                  </a:lnTo>
                  <a:cubicBezTo>
                    <a:pt x="5408" y="4254"/>
                    <a:pt x="5395" y="4267"/>
                    <a:pt x="5395" y="4280"/>
                  </a:cubicBezTo>
                  <a:cubicBezTo>
                    <a:pt x="5395" y="4300"/>
                    <a:pt x="5428" y="4307"/>
                    <a:pt x="5441" y="4326"/>
                  </a:cubicBezTo>
                  <a:cubicBezTo>
                    <a:pt x="5487" y="4379"/>
                    <a:pt x="5533" y="4419"/>
                    <a:pt x="5533" y="4491"/>
                  </a:cubicBezTo>
                  <a:cubicBezTo>
                    <a:pt x="5533" y="4518"/>
                    <a:pt x="5500" y="4524"/>
                    <a:pt x="5487" y="4551"/>
                  </a:cubicBezTo>
                  <a:cubicBezTo>
                    <a:pt x="5474" y="4584"/>
                    <a:pt x="5487" y="4610"/>
                    <a:pt x="5481" y="4643"/>
                  </a:cubicBezTo>
                  <a:cubicBezTo>
                    <a:pt x="5474" y="4683"/>
                    <a:pt x="5454" y="4696"/>
                    <a:pt x="5448" y="4729"/>
                  </a:cubicBezTo>
                  <a:cubicBezTo>
                    <a:pt x="5441" y="4781"/>
                    <a:pt x="5434" y="4821"/>
                    <a:pt x="5408" y="4867"/>
                  </a:cubicBezTo>
                  <a:cubicBezTo>
                    <a:pt x="5395" y="4900"/>
                    <a:pt x="5382" y="4933"/>
                    <a:pt x="5349" y="4933"/>
                  </a:cubicBezTo>
                  <a:cubicBezTo>
                    <a:pt x="5336" y="4933"/>
                    <a:pt x="5329" y="4913"/>
                    <a:pt x="5316" y="4913"/>
                  </a:cubicBezTo>
                  <a:cubicBezTo>
                    <a:pt x="5276" y="4913"/>
                    <a:pt x="5276" y="4960"/>
                    <a:pt x="5269" y="4993"/>
                  </a:cubicBezTo>
                  <a:cubicBezTo>
                    <a:pt x="5263" y="5025"/>
                    <a:pt x="5250" y="5039"/>
                    <a:pt x="5230" y="5065"/>
                  </a:cubicBezTo>
                  <a:cubicBezTo>
                    <a:pt x="5217" y="5085"/>
                    <a:pt x="5217" y="5105"/>
                    <a:pt x="5190" y="5118"/>
                  </a:cubicBezTo>
                  <a:cubicBezTo>
                    <a:pt x="5144" y="5138"/>
                    <a:pt x="5111" y="5144"/>
                    <a:pt x="5065" y="5171"/>
                  </a:cubicBezTo>
                  <a:cubicBezTo>
                    <a:pt x="5012" y="5217"/>
                    <a:pt x="5012" y="5263"/>
                    <a:pt x="4986" y="5329"/>
                  </a:cubicBezTo>
                  <a:cubicBezTo>
                    <a:pt x="4959" y="5395"/>
                    <a:pt x="4894" y="5421"/>
                    <a:pt x="4894" y="5494"/>
                  </a:cubicBezTo>
                  <a:cubicBezTo>
                    <a:pt x="4894" y="5566"/>
                    <a:pt x="4999" y="5566"/>
                    <a:pt x="4999" y="5639"/>
                  </a:cubicBezTo>
                  <a:cubicBezTo>
                    <a:pt x="4999" y="5685"/>
                    <a:pt x="4999" y="5725"/>
                    <a:pt x="4959" y="5758"/>
                  </a:cubicBezTo>
                  <a:cubicBezTo>
                    <a:pt x="4946" y="5771"/>
                    <a:pt x="4926" y="5784"/>
                    <a:pt x="4926" y="5804"/>
                  </a:cubicBezTo>
                  <a:cubicBezTo>
                    <a:pt x="4926" y="5830"/>
                    <a:pt x="4926" y="5843"/>
                    <a:pt x="4926" y="5870"/>
                  </a:cubicBezTo>
                  <a:cubicBezTo>
                    <a:pt x="4926" y="5909"/>
                    <a:pt x="4894" y="5916"/>
                    <a:pt x="4874" y="5942"/>
                  </a:cubicBezTo>
                  <a:cubicBezTo>
                    <a:pt x="4801" y="6041"/>
                    <a:pt x="4709" y="6048"/>
                    <a:pt x="4643" y="6153"/>
                  </a:cubicBezTo>
                  <a:cubicBezTo>
                    <a:pt x="4603" y="6219"/>
                    <a:pt x="4584" y="6259"/>
                    <a:pt x="4551" y="6332"/>
                  </a:cubicBezTo>
                  <a:cubicBezTo>
                    <a:pt x="4531" y="6364"/>
                    <a:pt x="4511" y="6378"/>
                    <a:pt x="4498" y="6417"/>
                  </a:cubicBezTo>
                  <a:cubicBezTo>
                    <a:pt x="4485" y="6450"/>
                    <a:pt x="4478" y="6477"/>
                    <a:pt x="4452" y="6503"/>
                  </a:cubicBezTo>
                  <a:lnTo>
                    <a:pt x="4452" y="6503"/>
                  </a:lnTo>
                  <a:cubicBezTo>
                    <a:pt x="1399" y="6147"/>
                    <a:pt x="1399" y="6147"/>
                    <a:pt x="1399" y="6147"/>
                  </a:cubicBezTo>
                  <a:cubicBezTo>
                    <a:pt x="1372" y="6140"/>
                    <a:pt x="1379" y="6107"/>
                    <a:pt x="1359" y="6088"/>
                  </a:cubicBezTo>
                  <a:cubicBezTo>
                    <a:pt x="1339" y="6054"/>
                    <a:pt x="1306" y="6048"/>
                    <a:pt x="1280" y="6015"/>
                  </a:cubicBezTo>
                  <a:cubicBezTo>
                    <a:pt x="1234" y="5949"/>
                    <a:pt x="1207" y="5890"/>
                    <a:pt x="1135" y="5876"/>
                  </a:cubicBezTo>
                  <a:cubicBezTo>
                    <a:pt x="1056" y="5863"/>
                    <a:pt x="1043" y="5791"/>
                    <a:pt x="1010" y="5725"/>
                  </a:cubicBezTo>
                  <a:cubicBezTo>
                    <a:pt x="983" y="5672"/>
                    <a:pt x="976" y="5646"/>
                    <a:pt x="957" y="5593"/>
                  </a:cubicBezTo>
                  <a:cubicBezTo>
                    <a:pt x="950" y="5566"/>
                    <a:pt x="930" y="5553"/>
                    <a:pt x="930" y="5527"/>
                  </a:cubicBezTo>
                  <a:cubicBezTo>
                    <a:pt x="930" y="5474"/>
                    <a:pt x="983" y="5454"/>
                    <a:pt x="983" y="5401"/>
                  </a:cubicBezTo>
                  <a:cubicBezTo>
                    <a:pt x="983" y="5336"/>
                    <a:pt x="944" y="5303"/>
                    <a:pt x="911" y="5243"/>
                  </a:cubicBezTo>
                  <a:cubicBezTo>
                    <a:pt x="878" y="5191"/>
                    <a:pt x="845" y="5164"/>
                    <a:pt x="805" y="5118"/>
                  </a:cubicBezTo>
                  <a:lnTo>
                    <a:pt x="805" y="5118"/>
                  </a:lnTo>
                  <a:cubicBezTo>
                    <a:pt x="805" y="5092"/>
                    <a:pt x="799" y="5078"/>
                    <a:pt x="799" y="5052"/>
                  </a:cubicBezTo>
                  <a:cubicBezTo>
                    <a:pt x="799" y="5032"/>
                    <a:pt x="812" y="5019"/>
                    <a:pt x="812" y="4999"/>
                  </a:cubicBezTo>
                  <a:cubicBezTo>
                    <a:pt x="812" y="4973"/>
                    <a:pt x="785" y="4966"/>
                    <a:pt x="785" y="4933"/>
                  </a:cubicBezTo>
                  <a:cubicBezTo>
                    <a:pt x="785" y="4894"/>
                    <a:pt x="785" y="4867"/>
                    <a:pt x="785" y="4828"/>
                  </a:cubicBezTo>
                  <a:cubicBezTo>
                    <a:pt x="785" y="4781"/>
                    <a:pt x="825" y="4768"/>
                    <a:pt x="851" y="4742"/>
                  </a:cubicBezTo>
                  <a:cubicBezTo>
                    <a:pt x="864" y="4735"/>
                    <a:pt x="878" y="4735"/>
                    <a:pt x="884" y="4722"/>
                  </a:cubicBezTo>
                  <a:cubicBezTo>
                    <a:pt x="904" y="4696"/>
                    <a:pt x="897" y="4656"/>
                    <a:pt x="930" y="4656"/>
                  </a:cubicBezTo>
                  <a:cubicBezTo>
                    <a:pt x="944" y="4656"/>
                    <a:pt x="950" y="4663"/>
                    <a:pt x="957" y="4663"/>
                  </a:cubicBezTo>
                  <a:cubicBezTo>
                    <a:pt x="1517" y="2427"/>
                    <a:pt x="1517" y="2427"/>
                    <a:pt x="1517" y="2427"/>
                  </a:cubicBezTo>
                  <a:cubicBezTo>
                    <a:pt x="1465" y="2407"/>
                    <a:pt x="1432" y="2394"/>
                    <a:pt x="1379" y="2381"/>
                  </a:cubicBezTo>
                  <a:cubicBezTo>
                    <a:pt x="1339" y="2381"/>
                    <a:pt x="1319" y="2394"/>
                    <a:pt x="1287" y="2374"/>
                  </a:cubicBezTo>
                  <a:cubicBezTo>
                    <a:pt x="1247" y="2354"/>
                    <a:pt x="1247" y="2321"/>
                    <a:pt x="1207" y="2308"/>
                  </a:cubicBezTo>
                  <a:cubicBezTo>
                    <a:pt x="1161" y="2288"/>
                    <a:pt x="1128" y="2288"/>
                    <a:pt x="1095" y="2255"/>
                  </a:cubicBezTo>
                  <a:cubicBezTo>
                    <a:pt x="1049" y="2229"/>
                    <a:pt x="1036" y="2196"/>
                    <a:pt x="990" y="2176"/>
                  </a:cubicBezTo>
                  <a:cubicBezTo>
                    <a:pt x="944" y="2163"/>
                    <a:pt x="917" y="2183"/>
                    <a:pt x="871" y="2176"/>
                  </a:cubicBezTo>
                  <a:cubicBezTo>
                    <a:pt x="825" y="2176"/>
                    <a:pt x="805" y="2170"/>
                    <a:pt x="759" y="2170"/>
                  </a:cubicBezTo>
                  <a:cubicBezTo>
                    <a:pt x="732" y="2170"/>
                    <a:pt x="719" y="2176"/>
                    <a:pt x="693" y="2176"/>
                  </a:cubicBezTo>
                  <a:cubicBezTo>
                    <a:pt x="647" y="2176"/>
                    <a:pt x="640" y="2137"/>
                    <a:pt x="607" y="2117"/>
                  </a:cubicBezTo>
                  <a:cubicBezTo>
                    <a:pt x="561" y="2077"/>
                    <a:pt x="521" y="2071"/>
                    <a:pt x="475" y="2031"/>
                  </a:cubicBezTo>
                  <a:cubicBezTo>
                    <a:pt x="449" y="2011"/>
                    <a:pt x="422" y="2005"/>
                    <a:pt x="396" y="1978"/>
                  </a:cubicBezTo>
                  <a:cubicBezTo>
                    <a:pt x="383" y="1952"/>
                    <a:pt x="390" y="1932"/>
                    <a:pt x="383" y="1906"/>
                  </a:cubicBezTo>
                  <a:cubicBezTo>
                    <a:pt x="376" y="1879"/>
                    <a:pt x="370" y="1866"/>
                    <a:pt x="370" y="1833"/>
                  </a:cubicBezTo>
                  <a:cubicBezTo>
                    <a:pt x="363" y="1800"/>
                    <a:pt x="324" y="1794"/>
                    <a:pt x="284" y="1787"/>
                  </a:cubicBezTo>
                  <a:cubicBezTo>
                    <a:pt x="238" y="1774"/>
                    <a:pt x="231" y="1734"/>
                    <a:pt x="198" y="1695"/>
                  </a:cubicBezTo>
                  <a:cubicBezTo>
                    <a:pt x="185" y="1675"/>
                    <a:pt x="172" y="1675"/>
                    <a:pt x="159" y="1655"/>
                  </a:cubicBezTo>
                  <a:cubicBezTo>
                    <a:pt x="119" y="1629"/>
                    <a:pt x="113" y="1596"/>
                    <a:pt x="79" y="1563"/>
                  </a:cubicBezTo>
                  <a:cubicBezTo>
                    <a:pt x="53" y="1536"/>
                    <a:pt x="40" y="1523"/>
                    <a:pt x="40" y="1490"/>
                  </a:cubicBezTo>
                  <a:cubicBezTo>
                    <a:pt x="40" y="1444"/>
                    <a:pt x="40" y="1418"/>
                    <a:pt x="40" y="1372"/>
                  </a:cubicBezTo>
                  <a:cubicBezTo>
                    <a:pt x="40" y="1332"/>
                    <a:pt x="27" y="1306"/>
                    <a:pt x="27" y="1266"/>
                  </a:cubicBezTo>
                  <a:cubicBezTo>
                    <a:pt x="0" y="659"/>
                    <a:pt x="0" y="659"/>
                    <a:pt x="0" y="659"/>
                  </a:cubicBezTo>
                  <a:lnTo>
                    <a:pt x="0" y="659"/>
                  </a:lnTo>
                  <a:cubicBezTo>
                    <a:pt x="0" y="666"/>
                    <a:pt x="7" y="666"/>
                    <a:pt x="7" y="666"/>
                  </a:cubicBezTo>
                  <a:cubicBezTo>
                    <a:pt x="40" y="686"/>
                    <a:pt x="60" y="672"/>
                    <a:pt x="93" y="679"/>
                  </a:cubicBezTo>
                  <a:cubicBezTo>
                    <a:pt x="159" y="699"/>
                    <a:pt x="198" y="712"/>
                    <a:pt x="271" y="712"/>
                  </a:cubicBezTo>
                  <a:cubicBezTo>
                    <a:pt x="310" y="712"/>
                    <a:pt x="324" y="679"/>
                    <a:pt x="357" y="653"/>
                  </a:cubicBezTo>
                  <a:cubicBezTo>
                    <a:pt x="409" y="607"/>
                    <a:pt x="456" y="600"/>
                    <a:pt x="528" y="587"/>
                  </a:cubicBezTo>
                  <a:cubicBezTo>
                    <a:pt x="607" y="593"/>
                    <a:pt x="607" y="593"/>
                    <a:pt x="607" y="593"/>
                  </a:cubicBezTo>
                  <a:cubicBezTo>
                    <a:pt x="660" y="593"/>
                    <a:pt x="660" y="593"/>
                    <a:pt x="660" y="593"/>
                  </a:cubicBezTo>
                  <a:cubicBezTo>
                    <a:pt x="660" y="560"/>
                    <a:pt x="667" y="534"/>
                    <a:pt x="700" y="514"/>
                  </a:cubicBezTo>
                  <a:cubicBezTo>
                    <a:pt x="746" y="481"/>
                    <a:pt x="785" y="501"/>
                    <a:pt x="845" y="488"/>
                  </a:cubicBezTo>
                  <a:cubicBezTo>
                    <a:pt x="930" y="468"/>
                    <a:pt x="944" y="356"/>
                    <a:pt x="1036" y="356"/>
                  </a:cubicBezTo>
                  <a:cubicBezTo>
                    <a:pt x="1062" y="356"/>
                    <a:pt x="1082" y="356"/>
                    <a:pt x="1102" y="369"/>
                  </a:cubicBezTo>
                  <a:cubicBezTo>
                    <a:pt x="1115" y="376"/>
                    <a:pt x="1115" y="389"/>
                    <a:pt x="1128" y="395"/>
                  </a:cubicBezTo>
                  <a:cubicBezTo>
                    <a:pt x="1174" y="409"/>
                    <a:pt x="1201" y="415"/>
                    <a:pt x="1247" y="415"/>
                  </a:cubicBezTo>
                  <a:cubicBezTo>
                    <a:pt x="1280" y="415"/>
                    <a:pt x="1293" y="415"/>
                    <a:pt x="1326" y="415"/>
                  </a:cubicBezTo>
                  <a:cubicBezTo>
                    <a:pt x="1339" y="415"/>
                    <a:pt x="1339" y="395"/>
                    <a:pt x="1353" y="389"/>
                  </a:cubicBezTo>
                  <a:cubicBezTo>
                    <a:pt x="1379" y="369"/>
                    <a:pt x="1405" y="363"/>
                    <a:pt x="1432" y="343"/>
                  </a:cubicBezTo>
                  <a:lnTo>
                    <a:pt x="1432" y="343"/>
                  </a:lnTo>
                  <a:cubicBezTo>
                    <a:pt x="1471" y="363"/>
                    <a:pt x="1504" y="369"/>
                    <a:pt x="1550" y="382"/>
                  </a:cubicBezTo>
                  <a:cubicBezTo>
                    <a:pt x="1597" y="395"/>
                    <a:pt x="1623" y="409"/>
                    <a:pt x="1669" y="409"/>
                  </a:cubicBezTo>
                  <a:cubicBezTo>
                    <a:pt x="1702" y="409"/>
                    <a:pt x="1729" y="382"/>
                    <a:pt x="1729" y="349"/>
                  </a:cubicBezTo>
                  <a:cubicBezTo>
                    <a:pt x="1729" y="336"/>
                    <a:pt x="1709" y="336"/>
                    <a:pt x="1702" y="323"/>
                  </a:cubicBezTo>
                  <a:cubicBezTo>
                    <a:pt x="1662" y="270"/>
                    <a:pt x="1603" y="257"/>
                    <a:pt x="1603" y="191"/>
                  </a:cubicBezTo>
                  <a:cubicBezTo>
                    <a:pt x="1603" y="151"/>
                    <a:pt x="1643" y="145"/>
                    <a:pt x="1662" y="112"/>
                  </a:cubicBezTo>
                  <a:cubicBezTo>
                    <a:pt x="1689" y="72"/>
                    <a:pt x="1676" y="39"/>
                    <a:pt x="1709" y="13"/>
                  </a:cubicBezTo>
                  <a:cubicBezTo>
                    <a:pt x="1794" y="46"/>
                    <a:pt x="1847" y="66"/>
                    <a:pt x="1940" y="66"/>
                  </a:cubicBezTo>
                  <a:cubicBezTo>
                    <a:pt x="2025" y="66"/>
                    <a:pt x="2065" y="0"/>
                    <a:pt x="2151" y="0"/>
                  </a:cubicBezTo>
                  <a:cubicBezTo>
                    <a:pt x="2190" y="0"/>
                    <a:pt x="2217" y="20"/>
                    <a:pt x="2243" y="46"/>
                  </a:cubicBezTo>
                  <a:cubicBezTo>
                    <a:pt x="2269" y="66"/>
                    <a:pt x="2296" y="66"/>
                    <a:pt x="2316" y="85"/>
                  </a:cubicBezTo>
                  <a:cubicBezTo>
                    <a:pt x="2335" y="105"/>
                    <a:pt x="2347" y="118"/>
                    <a:pt x="2367" y="138"/>
                  </a:cubicBezTo>
                  <a:lnTo>
                    <a:pt x="2367" y="138"/>
                  </a:lnTo>
                  <a:cubicBezTo>
                    <a:pt x="2361" y="197"/>
                    <a:pt x="2361" y="231"/>
                    <a:pt x="2342" y="283"/>
                  </a:cubicBezTo>
                  <a:cubicBezTo>
                    <a:pt x="2329" y="323"/>
                    <a:pt x="2309" y="343"/>
                    <a:pt x="2309" y="376"/>
                  </a:cubicBezTo>
                  <a:cubicBezTo>
                    <a:pt x="2309" y="395"/>
                    <a:pt x="2329" y="402"/>
                    <a:pt x="2347" y="409"/>
                  </a:cubicBezTo>
                  <a:cubicBezTo>
                    <a:pt x="2400" y="448"/>
                    <a:pt x="2433" y="468"/>
                    <a:pt x="2479" y="521"/>
                  </a:cubicBezTo>
                  <a:cubicBezTo>
                    <a:pt x="2532" y="587"/>
                    <a:pt x="2532" y="653"/>
                    <a:pt x="2545" y="738"/>
                  </a:cubicBezTo>
                  <a:cubicBezTo>
                    <a:pt x="2552" y="778"/>
                    <a:pt x="2572" y="798"/>
                    <a:pt x="2611" y="818"/>
                  </a:cubicBezTo>
                  <a:cubicBezTo>
                    <a:pt x="2651" y="837"/>
                    <a:pt x="2664" y="864"/>
                    <a:pt x="2710" y="870"/>
                  </a:cubicBezTo>
                  <a:cubicBezTo>
                    <a:pt x="2730" y="877"/>
                    <a:pt x="2743" y="864"/>
                    <a:pt x="2763" y="877"/>
                  </a:cubicBezTo>
                  <a:cubicBezTo>
                    <a:pt x="2783" y="883"/>
                    <a:pt x="2776" y="910"/>
                    <a:pt x="2789" y="930"/>
                  </a:cubicBezTo>
                  <a:cubicBezTo>
                    <a:pt x="2803" y="963"/>
                    <a:pt x="2822" y="976"/>
                    <a:pt x="2855" y="989"/>
                  </a:cubicBezTo>
                  <a:cubicBezTo>
                    <a:pt x="2921" y="1035"/>
                    <a:pt x="2974" y="1042"/>
                    <a:pt x="3027" y="1101"/>
                  </a:cubicBezTo>
                  <a:cubicBezTo>
                    <a:pt x="3053" y="1128"/>
                    <a:pt x="3053" y="1154"/>
                    <a:pt x="3060" y="1187"/>
                  </a:cubicBezTo>
                  <a:cubicBezTo>
                    <a:pt x="3067" y="1240"/>
                    <a:pt x="3099" y="1266"/>
                    <a:pt x="3119" y="1312"/>
                  </a:cubicBezTo>
                  <a:cubicBezTo>
                    <a:pt x="3159" y="1391"/>
                    <a:pt x="3165" y="1451"/>
                    <a:pt x="3231" y="1510"/>
                  </a:cubicBezTo>
                  <a:cubicBezTo>
                    <a:pt x="3264" y="1536"/>
                    <a:pt x="3278" y="1556"/>
                    <a:pt x="3311" y="1583"/>
                  </a:cubicBezTo>
                  <a:cubicBezTo>
                    <a:pt x="3343" y="1603"/>
                    <a:pt x="3390" y="1616"/>
                    <a:pt x="3390" y="1662"/>
                  </a:cubicBezTo>
                  <a:cubicBezTo>
                    <a:pt x="3390" y="1695"/>
                    <a:pt x="3390" y="1715"/>
                    <a:pt x="3390" y="1748"/>
                  </a:cubicBezTo>
                  <a:cubicBezTo>
                    <a:pt x="3390" y="1800"/>
                    <a:pt x="3456" y="1787"/>
                    <a:pt x="3508" y="1800"/>
                  </a:cubicBezTo>
                  <a:cubicBezTo>
                    <a:pt x="3555" y="1807"/>
                    <a:pt x="3548" y="1860"/>
                    <a:pt x="3555" y="1906"/>
                  </a:cubicBezTo>
                  <a:cubicBezTo>
                    <a:pt x="3574" y="1965"/>
                    <a:pt x="3614" y="1985"/>
                    <a:pt x="3667" y="2011"/>
                  </a:cubicBezTo>
                  <a:cubicBezTo>
                    <a:pt x="3700" y="2031"/>
                    <a:pt x="3719" y="2038"/>
                    <a:pt x="3753" y="2051"/>
                  </a:cubicBezTo>
                  <a:cubicBezTo>
                    <a:pt x="3719" y="2084"/>
                    <a:pt x="3733" y="2110"/>
                    <a:pt x="3713" y="2150"/>
                  </a:cubicBezTo>
                  <a:lnTo>
                    <a:pt x="3713" y="2150"/>
                  </a:lnTo>
                  <a:cubicBezTo>
                    <a:pt x="3713" y="2150"/>
                    <a:pt x="3713" y="2150"/>
                    <a:pt x="3706" y="2150"/>
                  </a:cubicBezTo>
                  <a:cubicBezTo>
                    <a:pt x="3673" y="2150"/>
                    <a:pt x="3660" y="2176"/>
                    <a:pt x="3627" y="2183"/>
                  </a:cubicBezTo>
                  <a:cubicBezTo>
                    <a:pt x="3607" y="2189"/>
                    <a:pt x="3581" y="2196"/>
                    <a:pt x="3581" y="2216"/>
                  </a:cubicBezTo>
                  <a:cubicBezTo>
                    <a:pt x="3581" y="2255"/>
                    <a:pt x="3601" y="2275"/>
                    <a:pt x="3601" y="2321"/>
                  </a:cubicBezTo>
                  <a:cubicBezTo>
                    <a:pt x="3673" y="2275"/>
                    <a:pt x="3726" y="2262"/>
                    <a:pt x="3799" y="2222"/>
                  </a:cubicBezTo>
                  <a:cubicBezTo>
                    <a:pt x="3871" y="2189"/>
                    <a:pt x="3898" y="2117"/>
                    <a:pt x="3983" y="2110"/>
                  </a:cubicBezTo>
                  <a:cubicBezTo>
                    <a:pt x="4062" y="2110"/>
                    <a:pt x="4115" y="2064"/>
                    <a:pt x="4161" y="1998"/>
                  </a:cubicBezTo>
                  <a:cubicBezTo>
                    <a:pt x="4201" y="1932"/>
                    <a:pt x="4194" y="1827"/>
                    <a:pt x="4267" y="1827"/>
                  </a:cubicBezTo>
                  <a:cubicBezTo>
                    <a:pt x="4293" y="1827"/>
                    <a:pt x="4287" y="1860"/>
                    <a:pt x="4287" y="1879"/>
                  </a:cubicBezTo>
                  <a:cubicBezTo>
                    <a:pt x="4287" y="1939"/>
                    <a:pt x="4287" y="1972"/>
                    <a:pt x="4287" y="2025"/>
                  </a:cubicBezTo>
                  <a:cubicBezTo>
                    <a:pt x="4320" y="2031"/>
                    <a:pt x="4340" y="2038"/>
                    <a:pt x="4372" y="2038"/>
                  </a:cubicBezTo>
                  <a:cubicBezTo>
                    <a:pt x="4392" y="2038"/>
                    <a:pt x="4392" y="2011"/>
                    <a:pt x="4399" y="1998"/>
                  </a:cubicBezTo>
                  <a:cubicBezTo>
                    <a:pt x="4405" y="1959"/>
                    <a:pt x="4412" y="1939"/>
                    <a:pt x="4419" y="1899"/>
                  </a:cubicBezTo>
                  <a:cubicBezTo>
                    <a:pt x="4425" y="1840"/>
                    <a:pt x="4425" y="1800"/>
                    <a:pt x="4445" y="1748"/>
                  </a:cubicBezTo>
                  <a:cubicBezTo>
                    <a:pt x="4458" y="1715"/>
                    <a:pt x="4458" y="1688"/>
                    <a:pt x="4485" y="1668"/>
                  </a:cubicBezTo>
                  <a:cubicBezTo>
                    <a:pt x="4551" y="1616"/>
                    <a:pt x="4603" y="1616"/>
                    <a:pt x="4683" y="1616"/>
                  </a:cubicBezTo>
                  <a:cubicBezTo>
                    <a:pt x="4755" y="1616"/>
                    <a:pt x="4795" y="1649"/>
                    <a:pt x="4867" y="1649"/>
                  </a:cubicBezTo>
                  <a:cubicBezTo>
                    <a:pt x="4979" y="1649"/>
                    <a:pt x="5025" y="1569"/>
                    <a:pt x="5144" y="1569"/>
                  </a:cubicBezTo>
                  <a:cubicBezTo>
                    <a:pt x="5190" y="1569"/>
                    <a:pt x="5217" y="1596"/>
                    <a:pt x="5263" y="1616"/>
                  </a:cubicBezTo>
                  <a:cubicBezTo>
                    <a:pt x="5296" y="1629"/>
                    <a:pt x="5316" y="1629"/>
                    <a:pt x="5355" y="1635"/>
                  </a:cubicBezTo>
                  <a:cubicBezTo>
                    <a:pt x="5382" y="1642"/>
                    <a:pt x="5395" y="1649"/>
                    <a:pt x="5421" y="1655"/>
                  </a:cubicBezTo>
                  <a:cubicBezTo>
                    <a:pt x="5461" y="1662"/>
                    <a:pt x="5507" y="1675"/>
                    <a:pt x="5507" y="1715"/>
                  </a:cubicBezTo>
                  <a:cubicBezTo>
                    <a:pt x="5507" y="1741"/>
                    <a:pt x="5481" y="1748"/>
                    <a:pt x="5474" y="1774"/>
                  </a:cubicBezTo>
                  <a:cubicBezTo>
                    <a:pt x="5454" y="1807"/>
                    <a:pt x="5448" y="1827"/>
                    <a:pt x="5448" y="1866"/>
                  </a:cubicBezTo>
                  <a:cubicBezTo>
                    <a:pt x="5448" y="1906"/>
                    <a:pt x="5448" y="1932"/>
                    <a:pt x="5448" y="1972"/>
                  </a:cubicBezTo>
                  <a:cubicBezTo>
                    <a:pt x="5421" y="1998"/>
                    <a:pt x="5415" y="2025"/>
                    <a:pt x="5401" y="2051"/>
                  </a:cubicBezTo>
                  <a:cubicBezTo>
                    <a:pt x="5342" y="2163"/>
                    <a:pt x="5289" y="2262"/>
                    <a:pt x="5164" y="2269"/>
                  </a:cubicBezTo>
                  <a:cubicBezTo>
                    <a:pt x="4999" y="2282"/>
                    <a:pt x="4913" y="2354"/>
                    <a:pt x="4748" y="2354"/>
                  </a:cubicBezTo>
                  <a:cubicBezTo>
                    <a:pt x="4683" y="2354"/>
                    <a:pt x="4650" y="2334"/>
                    <a:pt x="4584" y="2334"/>
                  </a:cubicBezTo>
                  <a:cubicBezTo>
                    <a:pt x="4531" y="2334"/>
                    <a:pt x="4498" y="2348"/>
                    <a:pt x="4445" y="2354"/>
                  </a:cubicBezTo>
                  <a:cubicBezTo>
                    <a:pt x="4399" y="2361"/>
                    <a:pt x="4372" y="2348"/>
                    <a:pt x="4333" y="2361"/>
                  </a:cubicBezTo>
                  <a:cubicBezTo>
                    <a:pt x="4346" y="2387"/>
                    <a:pt x="4372" y="2394"/>
                    <a:pt x="4405" y="2401"/>
                  </a:cubicBezTo>
                  <a:cubicBezTo>
                    <a:pt x="4452" y="2420"/>
                    <a:pt x="4478" y="2440"/>
                    <a:pt x="4531" y="2440"/>
                  </a:cubicBezTo>
                  <a:cubicBezTo>
                    <a:pt x="4557" y="2440"/>
                    <a:pt x="4570" y="2440"/>
                    <a:pt x="4597" y="2440"/>
                  </a:cubicBezTo>
                  <a:lnTo>
                    <a:pt x="4597" y="2440"/>
                  </a:lnTo>
                  <a:cubicBezTo>
                    <a:pt x="5045" y="2374"/>
                    <a:pt x="5045" y="2374"/>
                    <a:pt x="5045" y="2374"/>
                  </a:cubicBezTo>
                  <a:lnTo>
                    <a:pt x="5045" y="2374"/>
                  </a:lnTo>
                  <a:cubicBezTo>
                    <a:pt x="5045" y="2394"/>
                    <a:pt x="5045" y="2401"/>
                    <a:pt x="5045" y="2420"/>
                  </a:cubicBezTo>
                  <a:cubicBezTo>
                    <a:pt x="5045" y="2493"/>
                    <a:pt x="5006" y="2526"/>
                    <a:pt x="4973" y="2592"/>
                  </a:cubicBezTo>
                  <a:cubicBezTo>
                    <a:pt x="4946" y="2645"/>
                    <a:pt x="4946" y="2684"/>
                    <a:pt x="4946" y="2744"/>
                  </a:cubicBezTo>
                  <a:cubicBezTo>
                    <a:pt x="4946" y="2757"/>
                    <a:pt x="4953" y="2763"/>
                    <a:pt x="4959" y="2776"/>
                  </a:cubicBezTo>
                  <a:cubicBezTo>
                    <a:pt x="4979" y="2750"/>
                    <a:pt x="4979" y="2724"/>
                    <a:pt x="4993" y="2697"/>
                  </a:cubicBezTo>
                  <a:cubicBezTo>
                    <a:pt x="5012" y="2658"/>
                    <a:pt x="5025" y="2631"/>
                    <a:pt x="5052" y="2598"/>
                  </a:cubicBezTo>
                  <a:cubicBezTo>
                    <a:pt x="5078" y="2552"/>
                    <a:pt x="5091" y="2526"/>
                    <a:pt x="5118" y="2473"/>
                  </a:cubicBezTo>
                  <a:cubicBezTo>
                    <a:pt x="5184" y="2381"/>
                    <a:pt x="5243" y="2348"/>
                    <a:pt x="5336" y="2275"/>
                  </a:cubicBezTo>
                  <a:cubicBezTo>
                    <a:pt x="5355" y="2295"/>
                    <a:pt x="5355" y="2321"/>
                    <a:pt x="5382" y="2328"/>
                  </a:cubicBezTo>
                  <a:cubicBezTo>
                    <a:pt x="5434" y="2341"/>
                    <a:pt x="5467" y="2348"/>
                    <a:pt x="5520" y="2348"/>
                  </a:cubicBezTo>
                  <a:cubicBezTo>
                    <a:pt x="5540" y="2348"/>
                    <a:pt x="5540" y="2321"/>
                    <a:pt x="5540" y="2302"/>
                  </a:cubicBezTo>
                  <a:cubicBezTo>
                    <a:pt x="5540" y="2269"/>
                    <a:pt x="5540" y="2249"/>
                    <a:pt x="5540" y="2216"/>
                  </a:cubicBezTo>
                  <a:cubicBezTo>
                    <a:pt x="5540" y="2176"/>
                    <a:pt x="5573" y="2163"/>
                    <a:pt x="5573" y="2123"/>
                  </a:cubicBezTo>
                  <a:cubicBezTo>
                    <a:pt x="5573" y="2084"/>
                    <a:pt x="5573" y="2058"/>
                    <a:pt x="5573" y="2018"/>
                  </a:cubicBezTo>
                  <a:cubicBezTo>
                    <a:pt x="5573" y="1992"/>
                    <a:pt x="5599" y="1985"/>
                    <a:pt x="5619" y="1978"/>
                  </a:cubicBezTo>
                  <a:cubicBezTo>
                    <a:pt x="5659" y="1952"/>
                    <a:pt x="5679" y="1932"/>
                    <a:pt x="5711" y="1893"/>
                  </a:cubicBezTo>
                  <a:cubicBezTo>
                    <a:pt x="5718" y="1893"/>
                    <a:pt x="5718" y="1899"/>
                    <a:pt x="5725" y="1899"/>
                  </a:cubicBezTo>
                  <a:cubicBezTo>
                    <a:pt x="5791" y="1899"/>
                    <a:pt x="5830" y="1879"/>
                    <a:pt x="5896" y="1879"/>
                  </a:cubicBezTo>
                  <a:cubicBezTo>
                    <a:pt x="5942" y="1879"/>
                    <a:pt x="5962" y="1879"/>
                    <a:pt x="6008" y="1886"/>
                  </a:cubicBezTo>
                  <a:cubicBezTo>
                    <a:pt x="6041" y="1893"/>
                    <a:pt x="6048" y="1919"/>
                    <a:pt x="6081" y="1932"/>
                  </a:cubicBezTo>
                  <a:cubicBezTo>
                    <a:pt x="6153" y="1959"/>
                    <a:pt x="6206" y="1959"/>
                    <a:pt x="6285" y="1965"/>
                  </a:cubicBezTo>
                  <a:cubicBezTo>
                    <a:pt x="6378" y="1978"/>
                    <a:pt x="6424" y="2018"/>
                    <a:pt x="6516" y="2025"/>
                  </a:cubicBezTo>
                  <a:cubicBezTo>
                    <a:pt x="6595" y="2064"/>
                    <a:pt x="6648" y="2077"/>
                    <a:pt x="6721" y="2130"/>
                  </a:cubicBezTo>
                  <a:cubicBezTo>
                    <a:pt x="6727" y="2130"/>
                    <a:pt x="6734" y="2137"/>
                    <a:pt x="6740" y="2137"/>
                  </a:cubicBezTo>
                  <a:lnTo>
                    <a:pt x="4775" y="1523"/>
                  </a:lnTo>
                  <a:close/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2" name="Freeform 32"/>
            <p:cNvSpPr>
              <a:spLocks noChangeArrowheads="1"/>
            </p:cNvSpPr>
            <p:nvPr/>
          </p:nvSpPr>
          <p:spPr bwMode="auto">
            <a:xfrm>
              <a:off x="6861522" y="3563932"/>
              <a:ext cx="876243" cy="1047750"/>
            </a:xfrm>
            <a:custGeom>
              <a:avLst/>
              <a:gdLst>
                <a:gd name="T0" fmla="*/ 2222 w 2434"/>
                <a:gd name="T1" fmla="*/ 1016 h 2910"/>
                <a:gd name="T2" fmla="*/ 2149 w 2434"/>
                <a:gd name="T3" fmla="*/ 1029 h 2910"/>
                <a:gd name="T4" fmla="*/ 2195 w 2434"/>
                <a:gd name="T5" fmla="*/ 1247 h 2910"/>
                <a:gd name="T6" fmla="*/ 2301 w 2434"/>
                <a:gd name="T7" fmla="*/ 1135 h 2910"/>
                <a:gd name="T8" fmla="*/ 58 w 2434"/>
                <a:gd name="T9" fmla="*/ 884 h 2910"/>
                <a:gd name="T10" fmla="*/ 118 w 2434"/>
                <a:gd name="T11" fmla="*/ 917 h 2910"/>
                <a:gd name="T12" fmla="*/ 203 w 2434"/>
                <a:gd name="T13" fmla="*/ 1049 h 2910"/>
                <a:gd name="T14" fmla="*/ 368 w 2434"/>
                <a:gd name="T15" fmla="*/ 1109 h 2910"/>
                <a:gd name="T16" fmla="*/ 533 w 2434"/>
                <a:gd name="T17" fmla="*/ 1148 h 2910"/>
                <a:gd name="T18" fmla="*/ 691 w 2434"/>
                <a:gd name="T19" fmla="*/ 1207 h 2910"/>
                <a:gd name="T20" fmla="*/ 711 w 2434"/>
                <a:gd name="T21" fmla="*/ 1069 h 2910"/>
                <a:gd name="T22" fmla="*/ 975 w 2434"/>
                <a:gd name="T23" fmla="*/ 983 h 2910"/>
                <a:gd name="T24" fmla="*/ 1114 w 2434"/>
                <a:gd name="T25" fmla="*/ 911 h 2910"/>
                <a:gd name="T26" fmla="*/ 1206 w 2434"/>
                <a:gd name="T27" fmla="*/ 726 h 2910"/>
                <a:gd name="T28" fmla="*/ 1265 w 2434"/>
                <a:gd name="T29" fmla="*/ 521 h 2910"/>
                <a:gd name="T30" fmla="*/ 1490 w 2434"/>
                <a:gd name="T31" fmla="*/ 218 h 2910"/>
                <a:gd name="T32" fmla="*/ 1602 w 2434"/>
                <a:gd name="T33" fmla="*/ 27 h 2910"/>
                <a:gd name="T34" fmla="*/ 1734 w 2434"/>
                <a:gd name="T35" fmla="*/ 46 h 2910"/>
                <a:gd name="T36" fmla="*/ 1819 w 2434"/>
                <a:gd name="T37" fmla="*/ 238 h 2910"/>
                <a:gd name="T38" fmla="*/ 1899 w 2434"/>
                <a:gd name="T39" fmla="*/ 357 h 2910"/>
                <a:gd name="T40" fmla="*/ 1925 w 2434"/>
                <a:gd name="T41" fmla="*/ 634 h 2910"/>
                <a:gd name="T42" fmla="*/ 2031 w 2434"/>
                <a:gd name="T43" fmla="*/ 1023 h 2910"/>
                <a:gd name="T44" fmla="*/ 2070 w 2434"/>
                <a:gd name="T45" fmla="*/ 1148 h 2910"/>
                <a:gd name="T46" fmla="*/ 2136 w 2434"/>
                <a:gd name="T47" fmla="*/ 1273 h 2910"/>
                <a:gd name="T48" fmla="*/ 2380 w 2434"/>
                <a:gd name="T49" fmla="*/ 1326 h 2910"/>
                <a:gd name="T50" fmla="*/ 2433 w 2434"/>
                <a:gd name="T51" fmla="*/ 1452 h 2910"/>
                <a:gd name="T52" fmla="*/ 2301 w 2434"/>
                <a:gd name="T53" fmla="*/ 1544 h 2910"/>
                <a:gd name="T54" fmla="*/ 2380 w 2434"/>
                <a:gd name="T55" fmla="*/ 1702 h 2910"/>
                <a:gd name="T56" fmla="*/ 1964 w 2434"/>
                <a:gd name="T57" fmla="*/ 2052 h 2910"/>
                <a:gd name="T58" fmla="*/ 1707 w 2434"/>
                <a:gd name="T59" fmla="*/ 2329 h 2910"/>
                <a:gd name="T60" fmla="*/ 1655 w 2434"/>
                <a:gd name="T61" fmla="*/ 2467 h 2910"/>
                <a:gd name="T62" fmla="*/ 1720 w 2434"/>
                <a:gd name="T63" fmla="*/ 2467 h 2910"/>
                <a:gd name="T64" fmla="*/ 1688 w 2434"/>
                <a:gd name="T65" fmla="*/ 2599 h 2910"/>
                <a:gd name="T66" fmla="*/ 1648 w 2434"/>
                <a:gd name="T67" fmla="*/ 2738 h 2910"/>
                <a:gd name="T68" fmla="*/ 1536 w 2434"/>
                <a:gd name="T69" fmla="*/ 2856 h 2910"/>
                <a:gd name="T70" fmla="*/ 1404 w 2434"/>
                <a:gd name="T71" fmla="*/ 2896 h 2910"/>
                <a:gd name="T72" fmla="*/ 1444 w 2434"/>
                <a:gd name="T73" fmla="*/ 2797 h 2910"/>
                <a:gd name="T74" fmla="*/ 1246 w 2434"/>
                <a:gd name="T75" fmla="*/ 2652 h 2910"/>
                <a:gd name="T76" fmla="*/ 1081 w 2434"/>
                <a:gd name="T77" fmla="*/ 2494 h 2910"/>
                <a:gd name="T78" fmla="*/ 1002 w 2434"/>
                <a:gd name="T79" fmla="*/ 2329 h 2910"/>
                <a:gd name="T80" fmla="*/ 810 w 2434"/>
                <a:gd name="T81" fmla="*/ 2058 h 2910"/>
                <a:gd name="T82" fmla="*/ 718 w 2434"/>
                <a:gd name="T83" fmla="*/ 1847 h 2910"/>
                <a:gd name="T84" fmla="*/ 480 w 2434"/>
                <a:gd name="T85" fmla="*/ 1676 h 2910"/>
                <a:gd name="T86" fmla="*/ 401 w 2434"/>
                <a:gd name="T87" fmla="*/ 1616 h 2910"/>
                <a:gd name="T88" fmla="*/ 236 w 2434"/>
                <a:gd name="T89" fmla="*/ 1484 h 2910"/>
                <a:gd name="T90" fmla="*/ 38 w 2434"/>
                <a:gd name="T91" fmla="*/ 1155 h 2910"/>
                <a:gd name="T92" fmla="*/ 33 w 2434"/>
                <a:gd name="T93" fmla="*/ 1029 h 2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34" h="2910">
                  <a:moveTo>
                    <a:pt x="2222" y="1016"/>
                  </a:moveTo>
                  <a:lnTo>
                    <a:pt x="2222" y="1016"/>
                  </a:lnTo>
                  <a:cubicBezTo>
                    <a:pt x="2189" y="1016"/>
                    <a:pt x="2169" y="1010"/>
                    <a:pt x="2136" y="990"/>
                  </a:cubicBezTo>
                  <a:cubicBezTo>
                    <a:pt x="2136" y="1010"/>
                    <a:pt x="2149" y="1016"/>
                    <a:pt x="2149" y="1029"/>
                  </a:cubicBezTo>
                  <a:cubicBezTo>
                    <a:pt x="2149" y="1056"/>
                    <a:pt x="2149" y="1075"/>
                    <a:pt x="2149" y="1102"/>
                  </a:cubicBezTo>
                  <a:cubicBezTo>
                    <a:pt x="2149" y="1161"/>
                    <a:pt x="2195" y="1187"/>
                    <a:pt x="2195" y="1247"/>
                  </a:cubicBezTo>
                  <a:cubicBezTo>
                    <a:pt x="2202" y="1247"/>
                    <a:pt x="2209" y="1247"/>
                    <a:pt x="2222" y="1247"/>
                  </a:cubicBezTo>
                  <a:cubicBezTo>
                    <a:pt x="2275" y="1247"/>
                    <a:pt x="2301" y="1187"/>
                    <a:pt x="2301" y="1135"/>
                  </a:cubicBezTo>
                  <a:cubicBezTo>
                    <a:pt x="2301" y="1082"/>
                    <a:pt x="2275" y="1029"/>
                    <a:pt x="2222" y="1016"/>
                  </a:cubicBezTo>
                  <a:close/>
                  <a:moveTo>
                    <a:pt x="58" y="884"/>
                  </a:moveTo>
                  <a:lnTo>
                    <a:pt x="58" y="884"/>
                  </a:lnTo>
                  <a:cubicBezTo>
                    <a:pt x="71" y="897"/>
                    <a:pt x="91" y="904"/>
                    <a:pt x="118" y="917"/>
                  </a:cubicBezTo>
                  <a:lnTo>
                    <a:pt x="118" y="917"/>
                  </a:lnTo>
                  <a:cubicBezTo>
                    <a:pt x="144" y="977"/>
                    <a:pt x="164" y="1003"/>
                    <a:pt x="203" y="1049"/>
                  </a:cubicBezTo>
                  <a:cubicBezTo>
                    <a:pt x="236" y="1082"/>
                    <a:pt x="256" y="1109"/>
                    <a:pt x="302" y="1109"/>
                  </a:cubicBezTo>
                  <a:cubicBezTo>
                    <a:pt x="322" y="1109"/>
                    <a:pt x="342" y="1109"/>
                    <a:pt x="368" y="1109"/>
                  </a:cubicBezTo>
                  <a:cubicBezTo>
                    <a:pt x="388" y="1109"/>
                    <a:pt x="401" y="1102"/>
                    <a:pt x="428" y="1102"/>
                  </a:cubicBezTo>
                  <a:cubicBezTo>
                    <a:pt x="467" y="1102"/>
                    <a:pt x="487" y="1135"/>
                    <a:pt x="533" y="1148"/>
                  </a:cubicBezTo>
                  <a:cubicBezTo>
                    <a:pt x="592" y="1174"/>
                    <a:pt x="626" y="1194"/>
                    <a:pt x="685" y="1221"/>
                  </a:cubicBezTo>
                  <a:cubicBezTo>
                    <a:pt x="685" y="1221"/>
                    <a:pt x="691" y="1214"/>
                    <a:pt x="691" y="1207"/>
                  </a:cubicBezTo>
                  <a:cubicBezTo>
                    <a:pt x="691" y="1194"/>
                    <a:pt x="685" y="1187"/>
                    <a:pt x="685" y="1174"/>
                  </a:cubicBezTo>
                  <a:cubicBezTo>
                    <a:pt x="685" y="1135"/>
                    <a:pt x="685" y="1102"/>
                    <a:pt x="711" y="1069"/>
                  </a:cubicBezTo>
                  <a:cubicBezTo>
                    <a:pt x="731" y="1049"/>
                    <a:pt x="758" y="1049"/>
                    <a:pt x="790" y="1042"/>
                  </a:cubicBezTo>
                  <a:cubicBezTo>
                    <a:pt x="856" y="1016"/>
                    <a:pt x="903" y="1010"/>
                    <a:pt x="975" y="983"/>
                  </a:cubicBezTo>
                  <a:cubicBezTo>
                    <a:pt x="1008" y="970"/>
                    <a:pt x="1034" y="963"/>
                    <a:pt x="1067" y="937"/>
                  </a:cubicBezTo>
                  <a:cubicBezTo>
                    <a:pt x="1087" y="930"/>
                    <a:pt x="1101" y="930"/>
                    <a:pt x="1114" y="911"/>
                  </a:cubicBezTo>
                  <a:cubicBezTo>
                    <a:pt x="1133" y="878"/>
                    <a:pt x="1127" y="851"/>
                    <a:pt x="1140" y="812"/>
                  </a:cubicBezTo>
                  <a:cubicBezTo>
                    <a:pt x="1160" y="779"/>
                    <a:pt x="1180" y="759"/>
                    <a:pt x="1206" y="726"/>
                  </a:cubicBezTo>
                  <a:cubicBezTo>
                    <a:pt x="1239" y="673"/>
                    <a:pt x="1226" y="627"/>
                    <a:pt x="1239" y="568"/>
                  </a:cubicBezTo>
                  <a:cubicBezTo>
                    <a:pt x="1239" y="548"/>
                    <a:pt x="1252" y="541"/>
                    <a:pt x="1265" y="521"/>
                  </a:cubicBezTo>
                  <a:cubicBezTo>
                    <a:pt x="1292" y="462"/>
                    <a:pt x="1305" y="423"/>
                    <a:pt x="1345" y="370"/>
                  </a:cubicBezTo>
                  <a:cubicBezTo>
                    <a:pt x="1397" y="304"/>
                    <a:pt x="1437" y="284"/>
                    <a:pt x="1490" y="218"/>
                  </a:cubicBezTo>
                  <a:cubicBezTo>
                    <a:pt x="1536" y="152"/>
                    <a:pt x="1562" y="99"/>
                    <a:pt x="1602" y="27"/>
                  </a:cubicBezTo>
                  <a:lnTo>
                    <a:pt x="1602" y="27"/>
                  </a:lnTo>
                  <a:cubicBezTo>
                    <a:pt x="1635" y="27"/>
                    <a:pt x="1655" y="0"/>
                    <a:pt x="1688" y="0"/>
                  </a:cubicBezTo>
                  <a:cubicBezTo>
                    <a:pt x="1714" y="0"/>
                    <a:pt x="1720" y="27"/>
                    <a:pt x="1734" y="46"/>
                  </a:cubicBezTo>
                  <a:cubicBezTo>
                    <a:pt x="1767" y="93"/>
                    <a:pt x="1793" y="119"/>
                    <a:pt x="1806" y="178"/>
                  </a:cubicBezTo>
                  <a:cubicBezTo>
                    <a:pt x="1813" y="198"/>
                    <a:pt x="1806" y="218"/>
                    <a:pt x="1819" y="238"/>
                  </a:cubicBezTo>
                  <a:cubicBezTo>
                    <a:pt x="1826" y="251"/>
                    <a:pt x="1846" y="244"/>
                    <a:pt x="1859" y="251"/>
                  </a:cubicBezTo>
                  <a:cubicBezTo>
                    <a:pt x="1892" y="277"/>
                    <a:pt x="1899" y="317"/>
                    <a:pt x="1899" y="357"/>
                  </a:cubicBezTo>
                  <a:cubicBezTo>
                    <a:pt x="1899" y="389"/>
                    <a:pt x="1885" y="409"/>
                    <a:pt x="1885" y="449"/>
                  </a:cubicBezTo>
                  <a:cubicBezTo>
                    <a:pt x="1885" y="521"/>
                    <a:pt x="1899" y="561"/>
                    <a:pt x="1925" y="634"/>
                  </a:cubicBezTo>
                  <a:cubicBezTo>
                    <a:pt x="1945" y="686"/>
                    <a:pt x="1951" y="719"/>
                    <a:pt x="1964" y="772"/>
                  </a:cubicBezTo>
                  <a:cubicBezTo>
                    <a:pt x="2004" y="864"/>
                    <a:pt x="2031" y="924"/>
                    <a:pt x="2031" y="1023"/>
                  </a:cubicBezTo>
                  <a:cubicBezTo>
                    <a:pt x="2031" y="1049"/>
                    <a:pt x="2011" y="1062"/>
                    <a:pt x="1998" y="1082"/>
                  </a:cubicBezTo>
                  <a:cubicBezTo>
                    <a:pt x="2031" y="1102"/>
                    <a:pt x="2044" y="1122"/>
                    <a:pt x="2070" y="1148"/>
                  </a:cubicBezTo>
                  <a:cubicBezTo>
                    <a:pt x="2090" y="1168"/>
                    <a:pt x="2110" y="1174"/>
                    <a:pt x="2116" y="1201"/>
                  </a:cubicBezTo>
                  <a:cubicBezTo>
                    <a:pt x="2123" y="1227"/>
                    <a:pt x="2116" y="1247"/>
                    <a:pt x="2136" y="1273"/>
                  </a:cubicBezTo>
                  <a:cubicBezTo>
                    <a:pt x="2162" y="1300"/>
                    <a:pt x="2195" y="1293"/>
                    <a:pt x="2235" y="1300"/>
                  </a:cubicBezTo>
                  <a:cubicBezTo>
                    <a:pt x="2288" y="1313"/>
                    <a:pt x="2334" y="1293"/>
                    <a:pt x="2380" y="1326"/>
                  </a:cubicBezTo>
                  <a:cubicBezTo>
                    <a:pt x="2406" y="1346"/>
                    <a:pt x="2406" y="1366"/>
                    <a:pt x="2413" y="1392"/>
                  </a:cubicBezTo>
                  <a:cubicBezTo>
                    <a:pt x="2420" y="1418"/>
                    <a:pt x="2433" y="1432"/>
                    <a:pt x="2433" y="1452"/>
                  </a:cubicBezTo>
                  <a:cubicBezTo>
                    <a:pt x="2433" y="1511"/>
                    <a:pt x="2360" y="1531"/>
                    <a:pt x="2301" y="1531"/>
                  </a:cubicBezTo>
                  <a:cubicBezTo>
                    <a:pt x="2301" y="1537"/>
                    <a:pt x="2301" y="1537"/>
                    <a:pt x="2301" y="1544"/>
                  </a:cubicBezTo>
                  <a:cubicBezTo>
                    <a:pt x="2301" y="1603"/>
                    <a:pt x="2420" y="1577"/>
                    <a:pt x="2420" y="1636"/>
                  </a:cubicBezTo>
                  <a:cubicBezTo>
                    <a:pt x="2420" y="1663"/>
                    <a:pt x="2406" y="1682"/>
                    <a:pt x="2380" y="1702"/>
                  </a:cubicBezTo>
                  <a:cubicBezTo>
                    <a:pt x="2281" y="1742"/>
                    <a:pt x="2281" y="1834"/>
                    <a:pt x="2189" y="1887"/>
                  </a:cubicBezTo>
                  <a:cubicBezTo>
                    <a:pt x="2096" y="1939"/>
                    <a:pt x="2057" y="1992"/>
                    <a:pt x="1964" y="2052"/>
                  </a:cubicBezTo>
                  <a:cubicBezTo>
                    <a:pt x="1925" y="2071"/>
                    <a:pt x="1892" y="2071"/>
                    <a:pt x="1852" y="2104"/>
                  </a:cubicBezTo>
                  <a:cubicBezTo>
                    <a:pt x="1767" y="2164"/>
                    <a:pt x="1740" y="2230"/>
                    <a:pt x="1707" y="2329"/>
                  </a:cubicBezTo>
                  <a:cubicBezTo>
                    <a:pt x="1688" y="2381"/>
                    <a:pt x="1674" y="2414"/>
                    <a:pt x="1655" y="2467"/>
                  </a:cubicBezTo>
                  <a:lnTo>
                    <a:pt x="1655" y="2467"/>
                  </a:lnTo>
                  <a:cubicBezTo>
                    <a:pt x="1720" y="2467"/>
                    <a:pt x="1720" y="2467"/>
                    <a:pt x="1720" y="2467"/>
                  </a:cubicBezTo>
                  <a:lnTo>
                    <a:pt x="1720" y="2467"/>
                  </a:lnTo>
                  <a:cubicBezTo>
                    <a:pt x="1720" y="2474"/>
                    <a:pt x="1720" y="2480"/>
                    <a:pt x="1720" y="2494"/>
                  </a:cubicBezTo>
                  <a:cubicBezTo>
                    <a:pt x="1720" y="2540"/>
                    <a:pt x="1688" y="2560"/>
                    <a:pt x="1688" y="2599"/>
                  </a:cubicBezTo>
                  <a:cubicBezTo>
                    <a:pt x="1688" y="2632"/>
                    <a:pt x="1688" y="2645"/>
                    <a:pt x="1688" y="2672"/>
                  </a:cubicBezTo>
                  <a:cubicBezTo>
                    <a:pt x="1688" y="2705"/>
                    <a:pt x="1674" y="2718"/>
                    <a:pt x="1648" y="2738"/>
                  </a:cubicBezTo>
                  <a:cubicBezTo>
                    <a:pt x="1615" y="2777"/>
                    <a:pt x="1615" y="2777"/>
                    <a:pt x="1615" y="2777"/>
                  </a:cubicBezTo>
                  <a:cubicBezTo>
                    <a:pt x="1595" y="2817"/>
                    <a:pt x="1569" y="2830"/>
                    <a:pt x="1536" y="2856"/>
                  </a:cubicBezTo>
                  <a:cubicBezTo>
                    <a:pt x="1503" y="2883"/>
                    <a:pt x="1483" y="2909"/>
                    <a:pt x="1437" y="2909"/>
                  </a:cubicBezTo>
                  <a:cubicBezTo>
                    <a:pt x="1424" y="2909"/>
                    <a:pt x="1417" y="2903"/>
                    <a:pt x="1404" y="2896"/>
                  </a:cubicBezTo>
                  <a:lnTo>
                    <a:pt x="1404" y="2896"/>
                  </a:lnTo>
                  <a:cubicBezTo>
                    <a:pt x="1424" y="2856"/>
                    <a:pt x="1410" y="2830"/>
                    <a:pt x="1444" y="2797"/>
                  </a:cubicBezTo>
                  <a:cubicBezTo>
                    <a:pt x="1410" y="2784"/>
                    <a:pt x="1391" y="2777"/>
                    <a:pt x="1358" y="2757"/>
                  </a:cubicBezTo>
                  <a:cubicBezTo>
                    <a:pt x="1305" y="2731"/>
                    <a:pt x="1265" y="2711"/>
                    <a:pt x="1246" y="2652"/>
                  </a:cubicBezTo>
                  <a:cubicBezTo>
                    <a:pt x="1239" y="2606"/>
                    <a:pt x="1246" y="2553"/>
                    <a:pt x="1199" y="2546"/>
                  </a:cubicBezTo>
                  <a:cubicBezTo>
                    <a:pt x="1147" y="2533"/>
                    <a:pt x="1081" y="2546"/>
                    <a:pt x="1081" y="2494"/>
                  </a:cubicBezTo>
                  <a:cubicBezTo>
                    <a:pt x="1081" y="2461"/>
                    <a:pt x="1081" y="2441"/>
                    <a:pt x="1081" y="2408"/>
                  </a:cubicBezTo>
                  <a:cubicBezTo>
                    <a:pt x="1081" y="2362"/>
                    <a:pt x="1034" y="2349"/>
                    <a:pt x="1002" y="2329"/>
                  </a:cubicBezTo>
                  <a:cubicBezTo>
                    <a:pt x="969" y="2302"/>
                    <a:pt x="955" y="2282"/>
                    <a:pt x="922" y="2256"/>
                  </a:cubicBezTo>
                  <a:cubicBezTo>
                    <a:pt x="856" y="2197"/>
                    <a:pt x="850" y="2137"/>
                    <a:pt x="810" y="2058"/>
                  </a:cubicBezTo>
                  <a:cubicBezTo>
                    <a:pt x="790" y="2012"/>
                    <a:pt x="758" y="1986"/>
                    <a:pt x="751" y="1933"/>
                  </a:cubicBezTo>
                  <a:cubicBezTo>
                    <a:pt x="744" y="1900"/>
                    <a:pt x="744" y="1874"/>
                    <a:pt x="718" y="1847"/>
                  </a:cubicBezTo>
                  <a:cubicBezTo>
                    <a:pt x="665" y="1788"/>
                    <a:pt x="612" y="1781"/>
                    <a:pt x="546" y="1735"/>
                  </a:cubicBezTo>
                  <a:cubicBezTo>
                    <a:pt x="513" y="1722"/>
                    <a:pt x="494" y="1709"/>
                    <a:pt x="480" y="1676"/>
                  </a:cubicBezTo>
                  <a:cubicBezTo>
                    <a:pt x="467" y="1656"/>
                    <a:pt x="474" y="1629"/>
                    <a:pt x="454" y="1623"/>
                  </a:cubicBezTo>
                  <a:cubicBezTo>
                    <a:pt x="434" y="1610"/>
                    <a:pt x="421" y="1623"/>
                    <a:pt x="401" y="1616"/>
                  </a:cubicBezTo>
                  <a:cubicBezTo>
                    <a:pt x="355" y="1610"/>
                    <a:pt x="342" y="1583"/>
                    <a:pt x="302" y="1564"/>
                  </a:cubicBezTo>
                  <a:cubicBezTo>
                    <a:pt x="263" y="1544"/>
                    <a:pt x="243" y="1524"/>
                    <a:pt x="236" y="1484"/>
                  </a:cubicBezTo>
                  <a:cubicBezTo>
                    <a:pt x="223" y="1399"/>
                    <a:pt x="223" y="1333"/>
                    <a:pt x="170" y="1267"/>
                  </a:cubicBezTo>
                  <a:cubicBezTo>
                    <a:pt x="124" y="1214"/>
                    <a:pt x="91" y="1194"/>
                    <a:pt x="38" y="1155"/>
                  </a:cubicBezTo>
                  <a:cubicBezTo>
                    <a:pt x="20" y="1148"/>
                    <a:pt x="0" y="1141"/>
                    <a:pt x="0" y="1122"/>
                  </a:cubicBezTo>
                  <a:cubicBezTo>
                    <a:pt x="0" y="1089"/>
                    <a:pt x="20" y="1069"/>
                    <a:pt x="33" y="1029"/>
                  </a:cubicBezTo>
                  <a:cubicBezTo>
                    <a:pt x="52" y="977"/>
                    <a:pt x="52" y="943"/>
                    <a:pt x="58" y="884"/>
                  </a:cubicBezTo>
                  <a:close/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3" name="Freeform 33"/>
            <p:cNvSpPr>
              <a:spLocks noChangeArrowheads="1"/>
            </p:cNvSpPr>
            <p:nvPr/>
          </p:nvSpPr>
          <p:spPr bwMode="auto">
            <a:xfrm>
              <a:off x="3342265" y="5618158"/>
              <a:ext cx="1331825" cy="738187"/>
            </a:xfrm>
            <a:custGeom>
              <a:avLst/>
              <a:gdLst>
                <a:gd name="T0" fmla="*/ 3548 w 3701"/>
                <a:gd name="T1" fmla="*/ 1273 h 2052"/>
                <a:gd name="T2" fmla="*/ 3548 w 3701"/>
                <a:gd name="T3" fmla="*/ 1273 h 2052"/>
                <a:gd name="T4" fmla="*/ 3700 w 3701"/>
                <a:gd name="T5" fmla="*/ 1365 h 2052"/>
                <a:gd name="T6" fmla="*/ 3700 w 3701"/>
                <a:gd name="T7" fmla="*/ 1365 h 2052"/>
                <a:gd name="T8" fmla="*/ 3674 w 3701"/>
                <a:gd name="T9" fmla="*/ 1378 h 2052"/>
                <a:gd name="T10" fmla="*/ 3608 w 3701"/>
                <a:gd name="T11" fmla="*/ 1431 h 2052"/>
                <a:gd name="T12" fmla="*/ 3529 w 3701"/>
                <a:gd name="T13" fmla="*/ 1530 h 2052"/>
                <a:gd name="T14" fmla="*/ 3397 w 3701"/>
                <a:gd name="T15" fmla="*/ 1569 h 2052"/>
                <a:gd name="T16" fmla="*/ 3258 w 3701"/>
                <a:gd name="T17" fmla="*/ 1728 h 2052"/>
                <a:gd name="T18" fmla="*/ 3205 w 3701"/>
                <a:gd name="T19" fmla="*/ 1780 h 2052"/>
                <a:gd name="T20" fmla="*/ 3087 w 3701"/>
                <a:gd name="T21" fmla="*/ 1754 h 2052"/>
                <a:gd name="T22" fmla="*/ 3014 w 3701"/>
                <a:gd name="T23" fmla="*/ 1820 h 2052"/>
                <a:gd name="T24" fmla="*/ 2902 w 3701"/>
                <a:gd name="T25" fmla="*/ 1932 h 2052"/>
                <a:gd name="T26" fmla="*/ 2777 w 3701"/>
                <a:gd name="T27" fmla="*/ 2018 h 2052"/>
                <a:gd name="T28" fmla="*/ 2678 w 3701"/>
                <a:gd name="T29" fmla="*/ 1972 h 2052"/>
                <a:gd name="T30" fmla="*/ 2625 w 3701"/>
                <a:gd name="T31" fmla="*/ 1972 h 2052"/>
                <a:gd name="T32" fmla="*/ 2539 w 3701"/>
                <a:gd name="T33" fmla="*/ 1958 h 2052"/>
                <a:gd name="T34" fmla="*/ 2328 w 3701"/>
                <a:gd name="T35" fmla="*/ 2011 h 2052"/>
                <a:gd name="T36" fmla="*/ 2328 w 3701"/>
                <a:gd name="T37" fmla="*/ 2011 h 2052"/>
                <a:gd name="T38" fmla="*/ 2236 w 3701"/>
                <a:gd name="T39" fmla="*/ 1978 h 2052"/>
                <a:gd name="T40" fmla="*/ 2170 w 3701"/>
                <a:gd name="T41" fmla="*/ 1958 h 2052"/>
                <a:gd name="T42" fmla="*/ 2104 w 3701"/>
                <a:gd name="T43" fmla="*/ 1972 h 2052"/>
                <a:gd name="T44" fmla="*/ 1932 w 3701"/>
                <a:gd name="T45" fmla="*/ 2018 h 2052"/>
                <a:gd name="T46" fmla="*/ 1847 w 3701"/>
                <a:gd name="T47" fmla="*/ 2051 h 2052"/>
                <a:gd name="T48" fmla="*/ 1741 w 3701"/>
                <a:gd name="T49" fmla="*/ 1932 h 2052"/>
                <a:gd name="T50" fmla="*/ 1688 w 3701"/>
                <a:gd name="T51" fmla="*/ 1747 h 2052"/>
                <a:gd name="T52" fmla="*/ 1688 w 3701"/>
                <a:gd name="T53" fmla="*/ 1682 h 2052"/>
                <a:gd name="T54" fmla="*/ 1695 w 3701"/>
                <a:gd name="T55" fmla="*/ 1549 h 2052"/>
                <a:gd name="T56" fmla="*/ 1688 w 3701"/>
                <a:gd name="T57" fmla="*/ 1444 h 2052"/>
                <a:gd name="T58" fmla="*/ 1715 w 3701"/>
                <a:gd name="T59" fmla="*/ 1352 h 2052"/>
                <a:gd name="T60" fmla="*/ 1748 w 3701"/>
                <a:gd name="T61" fmla="*/ 1147 h 2052"/>
                <a:gd name="T62" fmla="*/ 1748 w 3701"/>
                <a:gd name="T63" fmla="*/ 1128 h 2052"/>
                <a:gd name="T64" fmla="*/ 1523 w 3701"/>
                <a:gd name="T65" fmla="*/ 1286 h 2052"/>
                <a:gd name="T66" fmla="*/ 1391 w 3701"/>
                <a:gd name="T67" fmla="*/ 1418 h 2052"/>
                <a:gd name="T68" fmla="*/ 1326 w 3701"/>
                <a:gd name="T69" fmla="*/ 1451 h 2052"/>
                <a:gd name="T70" fmla="*/ 1200 w 3701"/>
                <a:gd name="T71" fmla="*/ 1451 h 2052"/>
                <a:gd name="T72" fmla="*/ 956 w 3701"/>
                <a:gd name="T73" fmla="*/ 1464 h 2052"/>
                <a:gd name="T74" fmla="*/ 864 w 3701"/>
                <a:gd name="T75" fmla="*/ 1358 h 2052"/>
                <a:gd name="T76" fmla="*/ 811 w 3701"/>
                <a:gd name="T77" fmla="*/ 1246 h 2052"/>
                <a:gd name="T78" fmla="*/ 732 w 3701"/>
                <a:gd name="T79" fmla="*/ 1200 h 2052"/>
                <a:gd name="T80" fmla="*/ 521 w 3701"/>
                <a:gd name="T81" fmla="*/ 1141 h 2052"/>
                <a:gd name="T82" fmla="*/ 422 w 3701"/>
                <a:gd name="T83" fmla="*/ 1141 h 2052"/>
                <a:gd name="T84" fmla="*/ 455 w 3701"/>
                <a:gd name="T85" fmla="*/ 989 h 2052"/>
                <a:gd name="T86" fmla="*/ 369 w 3701"/>
                <a:gd name="T87" fmla="*/ 804 h 2052"/>
                <a:gd name="T88" fmla="*/ 283 w 3701"/>
                <a:gd name="T89" fmla="*/ 732 h 2052"/>
                <a:gd name="T90" fmla="*/ 257 w 3701"/>
                <a:gd name="T91" fmla="*/ 633 h 2052"/>
                <a:gd name="T92" fmla="*/ 171 w 3701"/>
                <a:gd name="T93" fmla="*/ 475 h 2052"/>
                <a:gd name="T94" fmla="*/ 151 w 3701"/>
                <a:gd name="T95" fmla="*/ 408 h 2052"/>
                <a:gd name="T96" fmla="*/ 151 w 3701"/>
                <a:gd name="T97" fmla="*/ 343 h 2052"/>
                <a:gd name="T98" fmla="*/ 138 w 3701"/>
                <a:gd name="T99" fmla="*/ 290 h 2052"/>
                <a:gd name="T100" fmla="*/ 66 w 3701"/>
                <a:gd name="T101" fmla="*/ 263 h 2052"/>
                <a:gd name="T102" fmla="*/ 52 w 3701"/>
                <a:gd name="T103" fmla="*/ 211 h 2052"/>
                <a:gd name="T104" fmla="*/ 20 w 3701"/>
                <a:gd name="T105" fmla="*/ 138 h 2052"/>
                <a:gd name="T106" fmla="*/ 132 w 3701"/>
                <a:gd name="T107" fmla="*/ 99 h 2052"/>
                <a:gd name="T108" fmla="*/ 132 w 3701"/>
                <a:gd name="T109" fmla="*/ 19 h 2052"/>
                <a:gd name="T110" fmla="*/ 132 w 3701"/>
                <a:gd name="T111" fmla="*/ 0 h 2052"/>
                <a:gd name="T112" fmla="*/ 132 w 3701"/>
                <a:gd name="T113" fmla="*/ 0 h 2052"/>
                <a:gd name="T114" fmla="*/ 2955 w 3701"/>
                <a:gd name="T115" fmla="*/ 1015 h 2052"/>
                <a:gd name="T116" fmla="*/ 3548 w 3701"/>
                <a:gd name="T117" fmla="*/ 1273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701" h="2052">
                  <a:moveTo>
                    <a:pt x="3548" y="1273"/>
                  </a:moveTo>
                  <a:lnTo>
                    <a:pt x="3548" y="1273"/>
                  </a:lnTo>
                  <a:cubicBezTo>
                    <a:pt x="3601" y="1319"/>
                    <a:pt x="3647" y="1325"/>
                    <a:pt x="3700" y="1365"/>
                  </a:cubicBezTo>
                  <a:lnTo>
                    <a:pt x="3700" y="1365"/>
                  </a:lnTo>
                  <a:cubicBezTo>
                    <a:pt x="3693" y="1365"/>
                    <a:pt x="3680" y="1372"/>
                    <a:pt x="3674" y="1378"/>
                  </a:cubicBezTo>
                  <a:cubicBezTo>
                    <a:pt x="3641" y="1398"/>
                    <a:pt x="3634" y="1411"/>
                    <a:pt x="3608" y="1431"/>
                  </a:cubicBezTo>
                  <a:cubicBezTo>
                    <a:pt x="3568" y="1464"/>
                    <a:pt x="3568" y="1503"/>
                    <a:pt x="3529" y="1530"/>
                  </a:cubicBezTo>
                  <a:cubicBezTo>
                    <a:pt x="3482" y="1556"/>
                    <a:pt x="3436" y="1536"/>
                    <a:pt x="3397" y="1569"/>
                  </a:cubicBezTo>
                  <a:cubicBezTo>
                    <a:pt x="3337" y="1629"/>
                    <a:pt x="3318" y="1675"/>
                    <a:pt x="3258" y="1728"/>
                  </a:cubicBezTo>
                  <a:cubicBezTo>
                    <a:pt x="3232" y="1741"/>
                    <a:pt x="3238" y="1780"/>
                    <a:pt x="3205" y="1780"/>
                  </a:cubicBezTo>
                  <a:cubicBezTo>
                    <a:pt x="3159" y="1780"/>
                    <a:pt x="3133" y="1754"/>
                    <a:pt x="3087" y="1754"/>
                  </a:cubicBezTo>
                  <a:cubicBezTo>
                    <a:pt x="3047" y="1754"/>
                    <a:pt x="3041" y="1794"/>
                    <a:pt x="3014" y="1820"/>
                  </a:cubicBezTo>
                  <a:cubicBezTo>
                    <a:pt x="2968" y="1859"/>
                    <a:pt x="2942" y="1886"/>
                    <a:pt x="2902" y="1932"/>
                  </a:cubicBezTo>
                  <a:cubicBezTo>
                    <a:pt x="2856" y="1972"/>
                    <a:pt x="2836" y="2018"/>
                    <a:pt x="2777" y="2018"/>
                  </a:cubicBezTo>
                  <a:cubicBezTo>
                    <a:pt x="2731" y="2018"/>
                    <a:pt x="2717" y="1991"/>
                    <a:pt x="2678" y="1972"/>
                  </a:cubicBezTo>
                  <a:cubicBezTo>
                    <a:pt x="2658" y="1965"/>
                    <a:pt x="2645" y="1978"/>
                    <a:pt x="2625" y="1972"/>
                  </a:cubicBezTo>
                  <a:cubicBezTo>
                    <a:pt x="2592" y="1972"/>
                    <a:pt x="2572" y="1958"/>
                    <a:pt x="2539" y="1958"/>
                  </a:cubicBezTo>
                  <a:cubicBezTo>
                    <a:pt x="2453" y="1958"/>
                    <a:pt x="2407" y="1978"/>
                    <a:pt x="2328" y="2011"/>
                  </a:cubicBezTo>
                  <a:lnTo>
                    <a:pt x="2328" y="2011"/>
                  </a:lnTo>
                  <a:cubicBezTo>
                    <a:pt x="2289" y="1998"/>
                    <a:pt x="2269" y="1991"/>
                    <a:pt x="2236" y="1978"/>
                  </a:cubicBezTo>
                  <a:cubicBezTo>
                    <a:pt x="2209" y="1972"/>
                    <a:pt x="2196" y="1958"/>
                    <a:pt x="2170" y="1958"/>
                  </a:cubicBezTo>
                  <a:cubicBezTo>
                    <a:pt x="2144" y="1958"/>
                    <a:pt x="2130" y="1965"/>
                    <a:pt x="2104" y="1972"/>
                  </a:cubicBezTo>
                  <a:cubicBezTo>
                    <a:pt x="2038" y="1991"/>
                    <a:pt x="1992" y="1985"/>
                    <a:pt x="1932" y="2018"/>
                  </a:cubicBezTo>
                  <a:cubicBezTo>
                    <a:pt x="1899" y="2031"/>
                    <a:pt x="1880" y="2051"/>
                    <a:pt x="1847" y="2051"/>
                  </a:cubicBezTo>
                  <a:cubicBezTo>
                    <a:pt x="1781" y="2051"/>
                    <a:pt x="1754" y="1991"/>
                    <a:pt x="1741" y="1932"/>
                  </a:cubicBezTo>
                  <a:cubicBezTo>
                    <a:pt x="1715" y="1859"/>
                    <a:pt x="1688" y="1827"/>
                    <a:pt x="1688" y="1747"/>
                  </a:cubicBezTo>
                  <a:cubicBezTo>
                    <a:pt x="1688" y="1721"/>
                    <a:pt x="1688" y="1708"/>
                    <a:pt x="1688" y="1682"/>
                  </a:cubicBezTo>
                  <a:cubicBezTo>
                    <a:pt x="1688" y="1629"/>
                    <a:pt x="1695" y="1602"/>
                    <a:pt x="1695" y="1549"/>
                  </a:cubicBezTo>
                  <a:cubicBezTo>
                    <a:pt x="1695" y="1510"/>
                    <a:pt x="1688" y="1490"/>
                    <a:pt x="1688" y="1444"/>
                  </a:cubicBezTo>
                  <a:cubicBezTo>
                    <a:pt x="1688" y="1411"/>
                    <a:pt x="1708" y="1391"/>
                    <a:pt x="1715" y="1352"/>
                  </a:cubicBezTo>
                  <a:cubicBezTo>
                    <a:pt x="1728" y="1273"/>
                    <a:pt x="1748" y="1226"/>
                    <a:pt x="1748" y="1147"/>
                  </a:cubicBezTo>
                  <a:cubicBezTo>
                    <a:pt x="1748" y="1141"/>
                    <a:pt x="1748" y="1134"/>
                    <a:pt x="1748" y="1128"/>
                  </a:cubicBezTo>
                  <a:cubicBezTo>
                    <a:pt x="1669" y="1200"/>
                    <a:pt x="1609" y="1220"/>
                    <a:pt x="1523" y="1286"/>
                  </a:cubicBezTo>
                  <a:cubicBezTo>
                    <a:pt x="1471" y="1325"/>
                    <a:pt x="1451" y="1372"/>
                    <a:pt x="1391" y="1418"/>
                  </a:cubicBezTo>
                  <a:cubicBezTo>
                    <a:pt x="1372" y="1431"/>
                    <a:pt x="1359" y="1451"/>
                    <a:pt x="1326" y="1451"/>
                  </a:cubicBezTo>
                  <a:cubicBezTo>
                    <a:pt x="1279" y="1451"/>
                    <a:pt x="1253" y="1451"/>
                    <a:pt x="1200" y="1451"/>
                  </a:cubicBezTo>
                  <a:cubicBezTo>
                    <a:pt x="1108" y="1457"/>
                    <a:pt x="1055" y="1464"/>
                    <a:pt x="956" y="1464"/>
                  </a:cubicBezTo>
                  <a:cubicBezTo>
                    <a:pt x="904" y="1464"/>
                    <a:pt x="884" y="1411"/>
                    <a:pt x="864" y="1358"/>
                  </a:cubicBezTo>
                  <a:cubicBezTo>
                    <a:pt x="851" y="1312"/>
                    <a:pt x="837" y="1286"/>
                    <a:pt x="811" y="1246"/>
                  </a:cubicBezTo>
                  <a:cubicBezTo>
                    <a:pt x="791" y="1220"/>
                    <a:pt x="765" y="1213"/>
                    <a:pt x="732" y="1200"/>
                  </a:cubicBezTo>
                  <a:cubicBezTo>
                    <a:pt x="666" y="1147"/>
                    <a:pt x="607" y="1141"/>
                    <a:pt x="521" y="1141"/>
                  </a:cubicBezTo>
                  <a:cubicBezTo>
                    <a:pt x="481" y="1141"/>
                    <a:pt x="462" y="1141"/>
                    <a:pt x="422" y="1141"/>
                  </a:cubicBezTo>
                  <a:cubicBezTo>
                    <a:pt x="455" y="989"/>
                    <a:pt x="455" y="989"/>
                    <a:pt x="455" y="989"/>
                  </a:cubicBezTo>
                  <a:cubicBezTo>
                    <a:pt x="448" y="910"/>
                    <a:pt x="415" y="870"/>
                    <a:pt x="369" y="804"/>
                  </a:cubicBezTo>
                  <a:cubicBezTo>
                    <a:pt x="343" y="771"/>
                    <a:pt x="303" y="771"/>
                    <a:pt x="283" y="732"/>
                  </a:cubicBezTo>
                  <a:cubicBezTo>
                    <a:pt x="270" y="699"/>
                    <a:pt x="283" y="666"/>
                    <a:pt x="257" y="633"/>
                  </a:cubicBezTo>
                  <a:cubicBezTo>
                    <a:pt x="211" y="580"/>
                    <a:pt x="171" y="540"/>
                    <a:pt x="171" y="475"/>
                  </a:cubicBezTo>
                  <a:cubicBezTo>
                    <a:pt x="151" y="408"/>
                    <a:pt x="151" y="408"/>
                    <a:pt x="151" y="408"/>
                  </a:cubicBezTo>
                  <a:cubicBezTo>
                    <a:pt x="151" y="382"/>
                    <a:pt x="151" y="369"/>
                    <a:pt x="151" y="343"/>
                  </a:cubicBezTo>
                  <a:cubicBezTo>
                    <a:pt x="151" y="323"/>
                    <a:pt x="151" y="303"/>
                    <a:pt x="138" y="290"/>
                  </a:cubicBezTo>
                  <a:cubicBezTo>
                    <a:pt x="112" y="277"/>
                    <a:pt x="92" y="283"/>
                    <a:pt x="66" y="263"/>
                  </a:cubicBezTo>
                  <a:cubicBezTo>
                    <a:pt x="52" y="250"/>
                    <a:pt x="59" y="231"/>
                    <a:pt x="52" y="211"/>
                  </a:cubicBezTo>
                  <a:cubicBezTo>
                    <a:pt x="46" y="178"/>
                    <a:pt x="0" y="158"/>
                    <a:pt x="20" y="138"/>
                  </a:cubicBezTo>
                  <a:cubicBezTo>
                    <a:pt x="52" y="105"/>
                    <a:pt x="132" y="145"/>
                    <a:pt x="132" y="99"/>
                  </a:cubicBezTo>
                  <a:cubicBezTo>
                    <a:pt x="132" y="65"/>
                    <a:pt x="132" y="46"/>
                    <a:pt x="132" y="19"/>
                  </a:cubicBezTo>
                  <a:cubicBezTo>
                    <a:pt x="132" y="13"/>
                    <a:pt x="132" y="6"/>
                    <a:pt x="132" y="0"/>
                  </a:cubicBezTo>
                  <a:lnTo>
                    <a:pt x="132" y="0"/>
                  </a:lnTo>
                  <a:cubicBezTo>
                    <a:pt x="2955" y="1015"/>
                    <a:pt x="2955" y="1015"/>
                    <a:pt x="2955" y="1015"/>
                  </a:cubicBezTo>
                  <a:cubicBezTo>
                    <a:pt x="3548" y="1273"/>
                    <a:pt x="3548" y="1273"/>
                    <a:pt x="3548" y="127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4" name="Freeform 34"/>
            <p:cNvSpPr>
              <a:spLocks noChangeArrowheads="1"/>
            </p:cNvSpPr>
            <p:nvPr/>
          </p:nvSpPr>
          <p:spPr bwMode="auto">
            <a:xfrm>
              <a:off x="4620119" y="5762620"/>
              <a:ext cx="1268330" cy="1020763"/>
            </a:xfrm>
            <a:custGeom>
              <a:avLst/>
              <a:gdLst>
                <a:gd name="T0" fmla="*/ 0 w 3524"/>
                <a:gd name="T1" fmla="*/ 871 h 2837"/>
                <a:gd name="T2" fmla="*/ 152 w 3524"/>
                <a:gd name="T3" fmla="*/ 963 h 2837"/>
                <a:gd name="T4" fmla="*/ 436 w 3524"/>
                <a:gd name="T5" fmla="*/ 903 h 2837"/>
                <a:gd name="T6" fmla="*/ 561 w 3524"/>
                <a:gd name="T7" fmla="*/ 910 h 2837"/>
                <a:gd name="T8" fmla="*/ 772 w 3524"/>
                <a:gd name="T9" fmla="*/ 877 h 2837"/>
                <a:gd name="T10" fmla="*/ 798 w 3524"/>
                <a:gd name="T11" fmla="*/ 1022 h 2837"/>
                <a:gd name="T12" fmla="*/ 772 w 3524"/>
                <a:gd name="T13" fmla="*/ 1167 h 2837"/>
                <a:gd name="T14" fmla="*/ 851 w 3524"/>
                <a:gd name="T15" fmla="*/ 1471 h 2837"/>
                <a:gd name="T16" fmla="*/ 878 w 3524"/>
                <a:gd name="T17" fmla="*/ 1840 h 2837"/>
                <a:gd name="T18" fmla="*/ 911 w 3524"/>
                <a:gd name="T19" fmla="*/ 2005 h 2837"/>
                <a:gd name="T20" fmla="*/ 957 w 3524"/>
                <a:gd name="T21" fmla="*/ 2012 h 2837"/>
                <a:gd name="T22" fmla="*/ 1174 w 3524"/>
                <a:gd name="T23" fmla="*/ 2150 h 2837"/>
                <a:gd name="T24" fmla="*/ 1359 w 3524"/>
                <a:gd name="T25" fmla="*/ 2315 h 2837"/>
                <a:gd name="T26" fmla="*/ 1517 w 3524"/>
                <a:gd name="T27" fmla="*/ 2328 h 2837"/>
                <a:gd name="T28" fmla="*/ 1649 w 3524"/>
                <a:gd name="T29" fmla="*/ 2295 h 2837"/>
                <a:gd name="T30" fmla="*/ 1874 w 3524"/>
                <a:gd name="T31" fmla="*/ 2348 h 2837"/>
                <a:gd name="T32" fmla="*/ 2111 w 3524"/>
                <a:gd name="T33" fmla="*/ 2533 h 2837"/>
                <a:gd name="T34" fmla="*/ 2335 w 3524"/>
                <a:gd name="T35" fmla="*/ 2579 h 2837"/>
                <a:gd name="T36" fmla="*/ 2520 w 3524"/>
                <a:gd name="T37" fmla="*/ 2704 h 2837"/>
                <a:gd name="T38" fmla="*/ 2645 w 3524"/>
                <a:gd name="T39" fmla="*/ 2783 h 2837"/>
                <a:gd name="T40" fmla="*/ 2883 w 3524"/>
                <a:gd name="T41" fmla="*/ 2829 h 2837"/>
                <a:gd name="T42" fmla="*/ 3048 w 3524"/>
                <a:gd name="T43" fmla="*/ 2836 h 2837"/>
                <a:gd name="T44" fmla="*/ 3134 w 3524"/>
                <a:gd name="T45" fmla="*/ 2724 h 2837"/>
                <a:gd name="T46" fmla="*/ 3430 w 3524"/>
                <a:gd name="T47" fmla="*/ 2289 h 2837"/>
                <a:gd name="T48" fmla="*/ 3523 w 3524"/>
                <a:gd name="T49" fmla="*/ 2084 h 2837"/>
                <a:gd name="T50" fmla="*/ 3450 w 3524"/>
                <a:gd name="T51" fmla="*/ 1893 h 2837"/>
                <a:gd name="T52" fmla="*/ 3371 w 3524"/>
                <a:gd name="T53" fmla="*/ 1589 h 2837"/>
                <a:gd name="T54" fmla="*/ 3153 w 3524"/>
                <a:gd name="T55" fmla="*/ 1537 h 2837"/>
                <a:gd name="T56" fmla="*/ 2870 w 3524"/>
                <a:gd name="T57" fmla="*/ 1280 h 2837"/>
                <a:gd name="T58" fmla="*/ 2764 w 3524"/>
                <a:gd name="T59" fmla="*/ 600 h 2837"/>
                <a:gd name="T60" fmla="*/ 2593 w 3524"/>
                <a:gd name="T61" fmla="*/ 396 h 2837"/>
                <a:gd name="T62" fmla="*/ 2381 w 3524"/>
                <a:gd name="T63" fmla="*/ 396 h 2837"/>
                <a:gd name="T64" fmla="*/ 1669 w 3524"/>
                <a:gd name="T65" fmla="*/ 0 h 2837"/>
                <a:gd name="T66" fmla="*/ 1531 w 3524"/>
                <a:gd name="T67" fmla="*/ 138 h 2837"/>
                <a:gd name="T68" fmla="*/ 1379 w 3524"/>
                <a:gd name="T69" fmla="*/ 323 h 2837"/>
                <a:gd name="T70" fmla="*/ 1102 w 3524"/>
                <a:gd name="T71" fmla="*/ 534 h 2837"/>
                <a:gd name="T72" fmla="*/ 944 w 3524"/>
                <a:gd name="T73" fmla="*/ 627 h 2837"/>
                <a:gd name="T74" fmla="*/ 792 w 3524"/>
                <a:gd name="T75" fmla="*/ 692 h 2837"/>
                <a:gd name="T76" fmla="*/ 667 w 3524"/>
                <a:gd name="T77" fmla="*/ 673 h 2837"/>
                <a:gd name="T78" fmla="*/ 423 w 3524"/>
                <a:gd name="T79" fmla="*/ 699 h 2837"/>
                <a:gd name="T80" fmla="*/ 126 w 3524"/>
                <a:gd name="T81" fmla="*/ 844 h 2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24" h="2837">
                  <a:moveTo>
                    <a:pt x="0" y="871"/>
                  </a:moveTo>
                  <a:lnTo>
                    <a:pt x="0" y="871"/>
                  </a:lnTo>
                  <a:cubicBezTo>
                    <a:pt x="53" y="917"/>
                    <a:pt x="99" y="923"/>
                    <a:pt x="152" y="963"/>
                  </a:cubicBezTo>
                  <a:lnTo>
                    <a:pt x="152" y="963"/>
                  </a:lnTo>
                  <a:cubicBezTo>
                    <a:pt x="198" y="950"/>
                    <a:pt x="238" y="956"/>
                    <a:pt x="284" y="937"/>
                  </a:cubicBezTo>
                  <a:cubicBezTo>
                    <a:pt x="337" y="910"/>
                    <a:pt x="376" y="910"/>
                    <a:pt x="436" y="903"/>
                  </a:cubicBezTo>
                  <a:cubicBezTo>
                    <a:pt x="469" y="897"/>
                    <a:pt x="488" y="884"/>
                    <a:pt x="515" y="884"/>
                  </a:cubicBezTo>
                  <a:cubicBezTo>
                    <a:pt x="535" y="884"/>
                    <a:pt x="541" y="910"/>
                    <a:pt x="561" y="910"/>
                  </a:cubicBezTo>
                  <a:cubicBezTo>
                    <a:pt x="594" y="910"/>
                    <a:pt x="614" y="910"/>
                    <a:pt x="647" y="910"/>
                  </a:cubicBezTo>
                  <a:cubicBezTo>
                    <a:pt x="693" y="910"/>
                    <a:pt x="733" y="903"/>
                    <a:pt x="772" y="877"/>
                  </a:cubicBezTo>
                  <a:cubicBezTo>
                    <a:pt x="772" y="890"/>
                    <a:pt x="772" y="903"/>
                    <a:pt x="772" y="923"/>
                  </a:cubicBezTo>
                  <a:cubicBezTo>
                    <a:pt x="772" y="963"/>
                    <a:pt x="798" y="983"/>
                    <a:pt x="798" y="1022"/>
                  </a:cubicBezTo>
                  <a:cubicBezTo>
                    <a:pt x="798" y="1049"/>
                    <a:pt x="798" y="1062"/>
                    <a:pt x="798" y="1088"/>
                  </a:cubicBezTo>
                  <a:cubicBezTo>
                    <a:pt x="798" y="1121"/>
                    <a:pt x="772" y="1134"/>
                    <a:pt x="772" y="1167"/>
                  </a:cubicBezTo>
                  <a:cubicBezTo>
                    <a:pt x="766" y="1200"/>
                    <a:pt x="779" y="1233"/>
                    <a:pt x="752" y="1260"/>
                  </a:cubicBezTo>
                  <a:cubicBezTo>
                    <a:pt x="752" y="1345"/>
                    <a:pt x="845" y="1385"/>
                    <a:pt x="851" y="1471"/>
                  </a:cubicBezTo>
                  <a:cubicBezTo>
                    <a:pt x="845" y="1543"/>
                    <a:pt x="831" y="1616"/>
                    <a:pt x="825" y="1688"/>
                  </a:cubicBezTo>
                  <a:cubicBezTo>
                    <a:pt x="825" y="1754"/>
                    <a:pt x="831" y="1800"/>
                    <a:pt x="878" y="1840"/>
                  </a:cubicBezTo>
                  <a:cubicBezTo>
                    <a:pt x="897" y="1860"/>
                    <a:pt x="930" y="1867"/>
                    <a:pt x="930" y="1893"/>
                  </a:cubicBezTo>
                  <a:cubicBezTo>
                    <a:pt x="930" y="1939"/>
                    <a:pt x="911" y="1959"/>
                    <a:pt x="911" y="2005"/>
                  </a:cubicBezTo>
                  <a:cubicBezTo>
                    <a:pt x="911" y="2012"/>
                    <a:pt x="911" y="2018"/>
                    <a:pt x="911" y="2025"/>
                  </a:cubicBezTo>
                  <a:cubicBezTo>
                    <a:pt x="924" y="2018"/>
                    <a:pt x="944" y="2012"/>
                    <a:pt x="957" y="2012"/>
                  </a:cubicBezTo>
                  <a:cubicBezTo>
                    <a:pt x="1003" y="2012"/>
                    <a:pt x="1016" y="2051"/>
                    <a:pt x="1062" y="2078"/>
                  </a:cubicBezTo>
                  <a:cubicBezTo>
                    <a:pt x="1102" y="2104"/>
                    <a:pt x="1128" y="2124"/>
                    <a:pt x="1174" y="2150"/>
                  </a:cubicBezTo>
                  <a:cubicBezTo>
                    <a:pt x="1221" y="2170"/>
                    <a:pt x="1214" y="2223"/>
                    <a:pt x="1240" y="2269"/>
                  </a:cubicBezTo>
                  <a:cubicBezTo>
                    <a:pt x="1273" y="2308"/>
                    <a:pt x="1313" y="2308"/>
                    <a:pt x="1359" y="2315"/>
                  </a:cubicBezTo>
                  <a:cubicBezTo>
                    <a:pt x="1392" y="2328"/>
                    <a:pt x="1405" y="2354"/>
                    <a:pt x="1445" y="2354"/>
                  </a:cubicBezTo>
                  <a:cubicBezTo>
                    <a:pt x="1471" y="2354"/>
                    <a:pt x="1491" y="2341"/>
                    <a:pt x="1517" y="2328"/>
                  </a:cubicBezTo>
                  <a:cubicBezTo>
                    <a:pt x="1537" y="2315"/>
                    <a:pt x="1551" y="2322"/>
                    <a:pt x="1577" y="2315"/>
                  </a:cubicBezTo>
                  <a:cubicBezTo>
                    <a:pt x="1603" y="2315"/>
                    <a:pt x="1623" y="2295"/>
                    <a:pt x="1649" y="2295"/>
                  </a:cubicBezTo>
                  <a:cubicBezTo>
                    <a:pt x="1722" y="2295"/>
                    <a:pt x="1748" y="2341"/>
                    <a:pt x="1821" y="2348"/>
                  </a:cubicBezTo>
                  <a:cubicBezTo>
                    <a:pt x="1841" y="2348"/>
                    <a:pt x="1854" y="2348"/>
                    <a:pt x="1874" y="2348"/>
                  </a:cubicBezTo>
                  <a:cubicBezTo>
                    <a:pt x="1907" y="2348"/>
                    <a:pt x="1913" y="2381"/>
                    <a:pt x="1933" y="2407"/>
                  </a:cubicBezTo>
                  <a:cubicBezTo>
                    <a:pt x="1999" y="2467"/>
                    <a:pt x="2039" y="2493"/>
                    <a:pt x="2111" y="2533"/>
                  </a:cubicBezTo>
                  <a:cubicBezTo>
                    <a:pt x="2203" y="2513"/>
                    <a:pt x="2203" y="2513"/>
                    <a:pt x="2203" y="2513"/>
                  </a:cubicBezTo>
                  <a:cubicBezTo>
                    <a:pt x="2256" y="2533"/>
                    <a:pt x="2276" y="2566"/>
                    <a:pt x="2335" y="2579"/>
                  </a:cubicBezTo>
                  <a:cubicBezTo>
                    <a:pt x="2375" y="2592"/>
                    <a:pt x="2408" y="2592"/>
                    <a:pt x="2434" y="2618"/>
                  </a:cubicBezTo>
                  <a:cubicBezTo>
                    <a:pt x="2467" y="2651"/>
                    <a:pt x="2500" y="2665"/>
                    <a:pt x="2520" y="2704"/>
                  </a:cubicBezTo>
                  <a:cubicBezTo>
                    <a:pt x="2533" y="2750"/>
                    <a:pt x="2527" y="2816"/>
                    <a:pt x="2573" y="2816"/>
                  </a:cubicBezTo>
                  <a:cubicBezTo>
                    <a:pt x="2606" y="2816"/>
                    <a:pt x="2612" y="2783"/>
                    <a:pt x="2645" y="2783"/>
                  </a:cubicBezTo>
                  <a:cubicBezTo>
                    <a:pt x="2665" y="2783"/>
                    <a:pt x="2678" y="2790"/>
                    <a:pt x="2698" y="2796"/>
                  </a:cubicBezTo>
                  <a:cubicBezTo>
                    <a:pt x="2771" y="2796"/>
                    <a:pt x="2810" y="2829"/>
                    <a:pt x="2883" y="2829"/>
                  </a:cubicBezTo>
                  <a:cubicBezTo>
                    <a:pt x="2922" y="2829"/>
                    <a:pt x="2949" y="2816"/>
                    <a:pt x="2988" y="2816"/>
                  </a:cubicBezTo>
                  <a:cubicBezTo>
                    <a:pt x="3015" y="2816"/>
                    <a:pt x="3028" y="2829"/>
                    <a:pt x="3048" y="2836"/>
                  </a:cubicBezTo>
                  <a:lnTo>
                    <a:pt x="3048" y="2836"/>
                  </a:lnTo>
                  <a:cubicBezTo>
                    <a:pt x="3067" y="2783"/>
                    <a:pt x="3094" y="2770"/>
                    <a:pt x="3134" y="2724"/>
                  </a:cubicBezTo>
                  <a:cubicBezTo>
                    <a:pt x="3206" y="2625"/>
                    <a:pt x="3252" y="2579"/>
                    <a:pt x="3345" y="2486"/>
                  </a:cubicBezTo>
                  <a:cubicBezTo>
                    <a:pt x="3404" y="2427"/>
                    <a:pt x="3410" y="2374"/>
                    <a:pt x="3430" y="2289"/>
                  </a:cubicBezTo>
                  <a:cubicBezTo>
                    <a:pt x="3443" y="2236"/>
                    <a:pt x="3457" y="2203"/>
                    <a:pt x="3483" y="2150"/>
                  </a:cubicBezTo>
                  <a:cubicBezTo>
                    <a:pt x="3496" y="2124"/>
                    <a:pt x="3523" y="2110"/>
                    <a:pt x="3523" y="2084"/>
                  </a:cubicBezTo>
                  <a:cubicBezTo>
                    <a:pt x="3523" y="2051"/>
                    <a:pt x="3509" y="2038"/>
                    <a:pt x="3509" y="2005"/>
                  </a:cubicBezTo>
                  <a:cubicBezTo>
                    <a:pt x="3490" y="1965"/>
                    <a:pt x="3450" y="1946"/>
                    <a:pt x="3450" y="1893"/>
                  </a:cubicBezTo>
                  <a:cubicBezTo>
                    <a:pt x="3450" y="1834"/>
                    <a:pt x="3516" y="1814"/>
                    <a:pt x="3516" y="1748"/>
                  </a:cubicBezTo>
                  <a:cubicBezTo>
                    <a:pt x="3516" y="1662"/>
                    <a:pt x="3450" y="1623"/>
                    <a:pt x="3371" y="1589"/>
                  </a:cubicBezTo>
                  <a:cubicBezTo>
                    <a:pt x="3318" y="1563"/>
                    <a:pt x="3285" y="1537"/>
                    <a:pt x="3226" y="1537"/>
                  </a:cubicBezTo>
                  <a:cubicBezTo>
                    <a:pt x="3199" y="1537"/>
                    <a:pt x="3180" y="1537"/>
                    <a:pt x="3153" y="1537"/>
                  </a:cubicBezTo>
                  <a:cubicBezTo>
                    <a:pt x="3074" y="1537"/>
                    <a:pt x="3021" y="1517"/>
                    <a:pt x="2962" y="1457"/>
                  </a:cubicBezTo>
                  <a:cubicBezTo>
                    <a:pt x="2909" y="1405"/>
                    <a:pt x="2903" y="1352"/>
                    <a:pt x="2870" y="1280"/>
                  </a:cubicBezTo>
                  <a:cubicBezTo>
                    <a:pt x="2804" y="1134"/>
                    <a:pt x="2764" y="1042"/>
                    <a:pt x="2764" y="884"/>
                  </a:cubicBezTo>
                  <a:cubicBezTo>
                    <a:pt x="2764" y="772"/>
                    <a:pt x="2764" y="712"/>
                    <a:pt x="2764" y="600"/>
                  </a:cubicBezTo>
                  <a:cubicBezTo>
                    <a:pt x="2711" y="508"/>
                    <a:pt x="2659" y="468"/>
                    <a:pt x="2593" y="396"/>
                  </a:cubicBezTo>
                  <a:lnTo>
                    <a:pt x="2593" y="396"/>
                  </a:lnTo>
                  <a:cubicBezTo>
                    <a:pt x="2566" y="396"/>
                    <a:pt x="2553" y="396"/>
                    <a:pt x="2527" y="396"/>
                  </a:cubicBezTo>
                  <a:cubicBezTo>
                    <a:pt x="2474" y="396"/>
                    <a:pt x="2441" y="396"/>
                    <a:pt x="2381" y="396"/>
                  </a:cubicBezTo>
                  <a:cubicBezTo>
                    <a:pt x="2157" y="6"/>
                    <a:pt x="2157" y="6"/>
                    <a:pt x="2157" y="6"/>
                  </a:cubicBezTo>
                  <a:cubicBezTo>
                    <a:pt x="1669" y="0"/>
                    <a:pt x="1669" y="0"/>
                    <a:pt x="1669" y="0"/>
                  </a:cubicBezTo>
                  <a:cubicBezTo>
                    <a:pt x="1630" y="33"/>
                    <a:pt x="1616" y="59"/>
                    <a:pt x="1583" y="99"/>
                  </a:cubicBezTo>
                  <a:cubicBezTo>
                    <a:pt x="1570" y="119"/>
                    <a:pt x="1557" y="145"/>
                    <a:pt x="1531" y="138"/>
                  </a:cubicBezTo>
                  <a:cubicBezTo>
                    <a:pt x="1452" y="138"/>
                    <a:pt x="1372" y="185"/>
                    <a:pt x="1372" y="264"/>
                  </a:cubicBezTo>
                  <a:cubicBezTo>
                    <a:pt x="1372" y="290"/>
                    <a:pt x="1379" y="297"/>
                    <a:pt x="1379" y="323"/>
                  </a:cubicBezTo>
                  <a:cubicBezTo>
                    <a:pt x="1379" y="396"/>
                    <a:pt x="1326" y="429"/>
                    <a:pt x="1267" y="462"/>
                  </a:cubicBezTo>
                  <a:cubicBezTo>
                    <a:pt x="1201" y="495"/>
                    <a:pt x="1168" y="508"/>
                    <a:pt x="1102" y="534"/>
                  </a:cubicBezTo>
                  <a:cubicBezTo>
                    <a:pt x="1042" y="560"/>
                    <a:pt x="983" y="547"/>
                    <a:pt x="950" y="600"/>
                  </a:cubicBezTo>
                  <a:cubicBezTo>
                    <a:pt x="944" y="607"/>
                    <a:pt x="950" y="620"/>
                    <a:pt x="944" y="627"/>
                  </a:cubicBezTo>
                  <a:cubicBezTo>
                    <a:pt x="917" y="653"/>
                    <a:pt x="891" y="659"/>
                    <a:pt x="858" y="666"/>
                  </a:cubicBezTo>
                  <a:cubicBezTo>
                    <a:pt x="831" y="673"/>
                    <a:pt x="818" y="692"/>
                    <a:pt x="792" y="692"/>
                  </a:cubicBezTo>
                  <a:cubicBezTo>
                    <a:pt x="759" y="692"/>
                    <a:pt x="739" y="692"/>
                    <a:pt x="713" y="692"/>
                  </a:cubicBezTo>
                  <a:cubicBezTo>
                    <a:pt x="693" y="692"/>
                    <a:pt x="686" y="679"/>
                    <a:pt x="667" y="673"/>
                  </a:cubicBezTo>
                  <a:cubicBezTo>
                    <a:pt x="607" y="653"/>
                    <a:pt x="568" y="640"/>
                    <a:pt x="495" y="640"/>
                  </a:cubicBezTo>
                  <a:cubicBezTo>
                    <a:pt x="462" y="640"/>
                    <a:pt x="449" y="679"/>
                    <a:pt x="423" y="699"/>
                  </a:cubicBezTo>
                  <a:cubicBezTo>
                    <a:pt x="356" y="739"/>
                    <a:pt x="310" y="752"/>
                    <a:pt x="251" y="798"/>
                  </a:cubicBezTo>
                  <a:cubicBezTo>
                    <a:pt x="211" y="831"/>
                    <a:pt x="179" y="831"/>
                    <a:pt x="126" y="844"/>
                  </a:cubicBezTo>
                  <a:cubicBezTo>
                    <a:pt x="80" y="857"/>
                    <a:pt x="53" y="864"/>
                    <a:pt x="0" y="871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5" name="Freeform 35"/>
            <p:cNvSpPr>
              <a:spLocks noChangeArrowheads="1"/>
            </p:cNvSpPr>
            <p:nvPr/>
          </p:nvSpPr>
          <p:spPr bwMode="auto">
            <a:xfrm>
              <a:off x="3389887" y="3910007"/>
              <a:ext cx="3185904" cy="2165350"/>
            </a:xfrm>
            <a:custGeom>
              <a:avLst/>
              <a:gdLst>
                <a:gd name="T0" fmla="*/ 8027 w 8852"/>
                <a:gd name="T1" fmla="*/ 5184 h 6017"/>
                <a:gd name="T2" fmla="*/ 7928 w 8852"/>
                <a:gd name="T3" fmla="*/ 5534 h 6017"/>
                <a:gd name="T4" fmla="*/ 6009 w 8852"/>
                <a:gd name="T5" fmla="*/ 5541 h 6017"/>
                <a:gd name="T6" fmla="*/ 5573 w 8852"/>
                <a:gd name="T7" fmla="*/ 5151 h 6017"/>
                <a:gd name="T8" fmla="*/ 4947 w 8852"/>
                <a:gd name="T9" fmla="*/ 5283 h 6017"/>
                <a:gd name="T10" fmla="*/ 4683 w 8852"/>
                <a:gd name="T11" fmla="*/ 5607 h 6017"/>
                <a:gd name="T12" fmla="*/ 4360 w 8852"/>
                <a:gd name="T13" fmla="*/ 5772 h 6017"/>
                <a:gd name="T14" fmla="*/ 4129 w 8852"/>
                <a:gd name="T15" fmla="*/ 5837 h 6017"/>
                <a:gd name="T16" fmla="*/ 3839 w 8852"/>
                <a:gd name="T17" fmla="*/ 5844 h 6017"/>
                <a:gd name="T18" fmla="*/ 3416 w 8852"/>
                <a:gd name="T19" fmla="*/ 6016 h 6017"/>
                <a:gd name="T20" fmla="*/ 0 w 8852"/>
                <a:gd name="T21" fmla="*/ 4743 h 6017"/>
                <a:gd name="T22" fmla="*/ 59 w 8852"/>
                <a:gd name="T23" fmla="*/ 4591 h 6017"/>
                <a:gd name="T24" fmla="*/ 290 w 8852"/>
                <a:gd name="T25" fmla="*/ 4380 h 6017"/>
                <a:gd name="T26" fmla="*/ 336 w 8852"/>
                <a:gd name="T27" fmla="*/ 4017 h 6017"/>
                <a:gd name="T28" fmla="*/ 389 w 8852"/>
                <a:gd name="T29" fmla="*/ 3753 h 6017"/>
                <a:gd name="T30" fmla="*/ 712 w 8852"/>
                <a:gd name="T31" fmla="*/ 3516 h 6017"/>
                <a:gd name="T32" fmla="*/ 903 w 8852"/>
                <a:gd name="T33" fmla="*/ 3463 h 6017"/>
                <a:gd name="T34" fmla="*/ 1299 w 8852"/>
                <a:gd name="T35" fmla="*/ 3311 h 6017"/>
                <a:gd name="T36" fmla="*/ 1596 w 8852"/>
                <a:gd name="T37" fmla="*/ 3153 h 6017"/>
                <a:gd name="T38" fmla="*/ 1814 w 8852"/>
                <a:gd name="T39" fmla="*/ 3212 h 6017"/>
                <a:gd name="T40" fmla="*/ 2051 w 8852"/>
                <a:gd name="T41" fmla="*/ 2368 h 6017"/>
                <a:gd name="T42" fmla="*/ 2150 w 8852"/>
                <a:gd name="T43" fmla="*/ 1847 h 6017"/>
                <a:gd name="T44" fmla="*/ 2084 w 8852"/>
                <a:gd name="T45" fmla="*/ 1570 h 6017"/>
                <a:gd name="T46" fmla="*/ 1899 w 8852"/>
                <a:gd name="T47" fmla="*/ 1254 h 6017"/>
                <a:gd name="T48" fmla="*/ 1767 w 8852"/>
                <a:gd name="T49" fmla="*/ 1003 h 6017"/>
                <a:gd name="T50" fmla="*/ 2051 w 8852"/>
                <a:gd name="T51" fmla="*/ 772 h 6017"/>
                <a:gd name="T52" fmla="*/ 2256 w 8852"/>
                <a:gd name="T53" fmla="*/ 666 h 6017"/>
                <a:gd name="T54" fmla="*/ 1952 w 8852"/>
                <a:gd name="T55" fmla="*/ 489 h 6017"/>
                <a:gd name="T56" fmla="*/ 1919 w 8852"/>
                <a:gd name="T57" fmla="*/ 146 h 6017"/>
                <a:gd name="T58" fmla="*/ 2460 w 8852"/>
                <a:gd name="T59" fmla="*/ 146 h 6017"/>
                <a:gd name="T60" fmla="*/ 2783 w 8852"/>
                <a:gd name="T61" fmla="*/ 20 h 6017"/>
                <a:gd name="T62" fmla="*/ 3027 w 8852"/>
                <a:gd name="T63" fmla="*/ 20 h 6017"/>
                <a:gd name="T64" fmla="*/ 3212 w 8852"/>
                <a:gd name="T65" fmla="*/ 93 h 6017"/>
                <a:gd name="T66" fmla="*/ 3370 w 8852"/>
                <a:gd name="T67" fmla="*/ 376 h 6017"/>
                <a:gd name="T68" fmla="*/ 3555 w 8852"/>
                <a:gd name="T69" fmla="*/ 508 h 6017"/>
                <a:gd name="T70" fmla="*/ 4149 w 8852"/>
                <a:gd name="T71" fmla="*/ 528 h 6017"/>
                <a:gd name="T72" fmla="*/ 4755 w 8852"/>
                <a:gd name="T73" fmla="*/ 172 h 6017"/>
                <a:gd name="T74" fmla="*/ 5217 w 8852"/>
                <a:gd name="T75" fmla="*/ 33 h 6017"/>
                <a:gd name="T76" fmla="*/ 5455 w 8852"/>
                <a:gd name="T77" fmla="*/ 422 h 6017"/>
                <a:gd name="T78" fmla="*/ 5646 w 8852"/>
                <a:gd name="T79" fmla="*/ 726 h 6017"/>
                <a:gd name="T80" fmla="*/ 5692 w 8852"/>
                <a:gd name="T81" fmla="*/ 1043 h 6017"/>
                <a:gd name="T82" fmla="*/ 5864 w 8852"/>
                <a:gd name="T83" fmla="*/ 1531 h 6017"/>
                <a:gd name="T84" fmla="*/ 6081 w 8852"/>
                <a:gd name="T85" fmla="*/ 1775 h 6017"/>
                <a:gd name="T86" fmla="*/ 6239 w 8852"/>
                <a:gd name="T87" fmla="*/ 1511 h 6017"/>
                <a:gd name="T88" fmla="*/ 6609 w 8852"/>
                <a:gd name="T89" fmla="*/ 1491 h 6017"/>
                <a:gd name="T90" fmla="*/ 6780 w 8852"/>
                <a:gd name="T91" fmla="*/ 1280 h 6017"/>
                <a:gd name="T92" fmla="*/ 7156 w 8852"/>
                <a:gd name="T93" fmla="*/ 1036 h 6017"/>
                <a:gd name="T94" fmla="*/ 7334 w 8852"/>
                <a:gd name="T95" fmla="*/ 442 h 6017"/>
                <a:gd name="T96" fmla="*/ 7374 w 8852"/>
                <a:gd name="T97" fmla="*/ 1273 h 6017"/>
                <a:gd name="T98" fmla="*/ 7532 w 8852"/>
                <a:gd name="T99" fmla="*/ 1478 h 6017"/>
                <a:gd name="T100" fmla="*/ 7717 w 8852"/>
                <a:gd name="T101" fmla="*/ 1689 h 6017"/>
                <a:gd name="T102" fmla="*/ 7941 w 8852"/>
                <a:gd name="T103" fmla="*/ 1900 h 6017"/>
                <a:gd name="T104" fmla="*/ 8205 w 8852"/>
                <a:gd name="T105" fmla="*/ 1959 h 6017"/>
                <a:gd name="T106" fmla="*/ 8541 w 8852"/>
                <a:gd name="T107" fmla="*/ 2091 h 6017"/>
                <a:gd name="T108" fmla="*/ 8851 w 8852"/>
                <a:gd name="T109" fmla="*/ 2210 h 6017"/>
                <a:gd name="T110" fmla="*/ 8218 w 8852"/>
                <a:gd name="T111" fmla="*/ 4505 h 6017"/>
                <a:gd name="T112" fmla="*/ 8119 w 8852"/>
                <a:gd name="T113" fmla="*/ 4716 h 6017"/>
                <a:gd name="T114" fmla="*/ 8139 w 8852"/>
                <a:gd name="T115" fmla="*/ 4901 h 6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852" h="6017">
                  <a:moveTo>
                    <a:pt x="8139" y="4901"/>
                  </a:moveTo>
                  <a:lnTo>
                    <a:pt x="8139" y="4901"/>
                  </a:lnTo>
                  <a:cubicBezTo>
                    <a:pt x="8073" y="5000"/>
                    <a:pt x="8027" y="5066"/>
                    <a:pt x="8027" y="5184"/>
                  </a:cubicBezTo>
                  <a:cubicBezTo>
                    <a:pt x="8027" y="5211"/>
                    <a:pt x="8040" y="5224"/>
                    <a:pt x="8040" y="5250"/>
                  </a:cubicBezTo>
                  <a:cubicBezTo>
                    <a:pt x="8040" y="5283"/>
                    <a:pt x="8007" y="5297"/>
                    <a:pt x="7994" y="5330"/>
                  </a:cubicBezTo>
                  <a:cubicBezTo>
                    <a:pt x="7961" y="5409"/>
                    <a:pt x="7928" y="5448"/>
                    <a:pt x="7928" y="5534"/>
                  </a:cubicBezTo>
                  <a:cubicBezTo>
                    <a:pt x="7928" y="5547"/>
                    <a:pt x="7928" y="5554"/>
                    <a:pt x="7928" y="5560"/>
                  </a:cubicBezTo>
                  <a:cubicBezTo>
                    <a:pt x="6009" y="5541"/>
                    <a:pt x="6009" y="5541"/>
                    <a:pt x="6009" y="5541"/>
                  </a:cubicBezTo>
                  <a:lnTo>
                    <a:pt x="6009" y="5541"/>
                  </a:lnTo>
                  <a:cubicBezTo>
                    <a:pt x="5982" y="5541"/>
                    <a:pt x="5969" y="5541"/>
                    <a:pt x="5943" y="5541"/>
                  </a:cubicBezTo>
                  <a:cubicBezTo>
                    <a:pt x="5890" y="5541"/>
                    <a:pt x="5857" y="5541"/>
                    <a:pt x="5797" y="5541"/>
                  </a:cubicBezTo>
                  <a:cubicBezTo>
                    <a:pt x="5573" y="5151"/>
                    <a:pt x="5573" y="5151"/>
                    <a:pt x="5573" y="5151"/>
                  </a:cubicBezTo>
                  <a:cubicBezTo>
                    <a:pt x="5085" y="5145"/>
                    <a:pt x="5085" y="5145"/>
                    <a:pt x="5085" y="5145"/>
                  </a:cubicBezTo>
                  <a:cubicBezTo>
                    <a:pt x="5046" y="5178"/>
                    <a:pt x="5032" y="5204"/>
                    <a:pt x="4999" y="5244"/>
                  </a:cubicBezTo>
                  <a:cubicBezTo>
                    <a:pt x="4986" y="5264"/>
                    <a:pt x="4973" y="5290"/>
                    <a:pt x="4947" y="5283"/>
                  </a:cubicBezTo>
                  <a:cubicBezTo>
                    <a:pt x="4868" y="5283"/>
                    <a:pt x="4788" y="5330"/>
                    <a:pt x="4788" y="5409"/>
                  </a:cubicBezTo>
                  <a:cubicBezTo>
                    <a:pt x="4788" y="5435"/>
                    <a:pt x="4795" y="5442"/>
                    <a:pt x="4795" y="5468"/>
                  </a:cubicBezTo>
                  <a:cubicBezTo>
                    <a:pt x="4795" y="5541"/>
                    <a:pt x="4742" y="5574"/>
                    <a:pt x="4683" y="5607"/>
                  </a:cubicBezTo>
                  <a:cubicBezTo>
                    <a:pt x="4617" y="5640"/>
                    <a:pt x="4584" y="5653"/>
                    <a:pt x="4518" y="5679"/>
                  </a:cubicBezTo>
                  <a:cubicBezTo>
                    <a:pt x="4458" y="5705"/>
                    <a:pt x="4399" y="5692"/>
                    <a:pt x="4366" y="5745"/>
                  </a:cubicBezTo>
                  <a:cubicBezTo>
                    <a:pt x="4360" y="5752"/>
                    <a:pt x="4366" y="5765"/>
                    <a:pt x="4360" y="5772"/>
                  </a:cubicBezTo>
                  <a:cubicBezTo>
                    <a:pt x="4333" y="5798"/>
                    <a:pt x="4307" y="5804"/>
                    <a:pt x="4274" y="5811"/>
                  </a:cubicBezTo>
                  <a:cubicBezTo>
                    <a:pt x="4247" y="5818"/>
                    <a:pt x="4234" y="5837"/>
                    <a:pt x="4208" y="5837"/>
                  </a:cubicBezTo>
                  <a:cubicBezTo>
                    <a:pt x="4175" y="5837"/>
                    <a:pt x="4155" y="5837"/>
                    <a:pt x="4129" y="5837"/>
                  </a:cubicBezTo>
                  <a:cubicBezTo>
                    <a:pt x="4109" y="5837"/>
                    <a:pt x="4102" y="5824"/>
                    <a:pt x="4083" y="5818"/>
                  </a:cubicBezTo>
                  <a:cubicBezTo>
                    <a:pt x="4023" y="5798"/>
                    <a:pt x="3984" y="5785"/>
                    <a:pt x="3911" y="5785"/>
                  </a:cubicBezTo>
                  <a:cubicBezTo>
                    <a:pt x="3878" y="5785"/>
                    <a:pt x="3865" y="5824"/>
                    <a:pt x="3839" y="5844"/>
                  </a:cubicBezTo>
                  <a:cubicBezTo>
                    <a:pt x="3772" y="5884"/>
                    <a:pt x="3726" y="5897"/>
                    <a:pt x="3667" y="5943"/>
                  </a:cubicBezTo>
                  <a:cubicBezTo>
                    <a:pt x="3627" y="5976"/>
                    <a:pt x="3595" y="5976"/>
                    <a:pt x="3542" y="5989"/>
                  </a:cubicBezTo>
                  <a:cubicBezTo>
                    <a:pt x="3496" y="6002"/>
                    <a:pt x="3469" y="6009"/>
                    <a:pt x="3416" y="6016"/>
                  </a:cubicBezTo>
                  <a:lnTo>
                    <a:pt x="3416" y="6016"/>
                  </a:lnTo>
                  <a:cubicBezTo>
                    <a:pt x="2823" y="5758"/>
                    <a:pt x="2823" y="5758"/>
                    <a:pt x="2823" y="5758"/>
                  </a:cubicBezTo>
                  <a:cubicBezTo>
                    <a:pt x="0" y="4743"/>
                    <a:pt x="0" y="4743"/>
                    <a:pt x="0" y="4743"/>
                  </a:cubicBezTo>
                  <a:lnTo>
                    <a:pt x="0" y="4743"/>
                  </a:lnTo>
                  <a:cubicBezTo>
                    <a:pt x="6" y="4710"/>
                    <a:pt x="26" y="4690"/>
                    <a:pt x="39" y="4657"/>
                  </a:cubicBezTo>
                  <a:cubicBezTo>
                    <a:pt x="46" y="4637"/>
                    <a:pt x="46" y="4617"/>
                    <a:pt x="59" y="4591"/>
                  </a:cubicBezTo>
                  <a:cubicBezTo>
                    <a:pt x="79" y="4564"/>
                    <a:pt x="99" y="4551"/>
                    <a:pt x="125" y="4532"/>
                  </a:cubicBezTo>
                  <a:cubicBezTo>
                    <a:pt x="184" y="4499"/>
                    <a:pt x="231" y="4499"/>
                    <a:pt x="290" y="4466"/>
                  </a:cubicBezTo>
                  <a:cubicBezTo>
                    <a:pt x="323" y="4452"/>
                    <a:pt x="290" y="4413"/>
                    <a:pt x="290" y="4380"/>
                  </a:cubicBezTo>
                  <a:cubicBezTo>
                    <a:pt x="290" y="4301"/>
                    <a:pt x="231" y="4268"/>
                    <a:pt x="231" y="4189"/>
                  </a:cubicBezTo>
                  <a:cubicBezTo>
                    <a:pt x="231" y="4142"/>
                    <a:pt x="231" y="4109"/>
                    <a:pt x="263" y="4083"/>
                  </a:cubicBezTo>
                  <a:cubicBezTo>
                    <a:pt x="297" y="4063"/>
                    <a:pt x="323" y="4057"/>
                    <a:pt x="336" y="4017"/>
                  </a:cubicBezTo>
                  <a:cubicBezTo>
                    <a:pt x="349" y="3991"/>
                    <a:pt x="343" y="3971"/>
                    <a:pt x="356" y="3938"/>
                  </a:cubicBezTo>
                  <a:cubicBezTo>
                    <a:pt x="369" y="3885"/>
                    <a:pt x="389" y="3852"/>
                    <a:pt x="389" y="3799"/>
                  </a:cubicBezTo>
                  <a:cubicBezTo>
                    <a:pt x="389" y="3780"/>
                    <a:pt x="369" y="3760"/>
                    <a:pt x="389" y="3753"/>
                  </a:cubicBezTo>
                  <a:cubicBezTo>
                    <a:pt x="455" y="3694"/>
                    <a:pt x="527" y="3700"/>
                    <a:pt x="587" y="3641"/>
                  </a:cubicBezTo>
                  <a:cubicBezTo>
                    <a:pt x="600" y="3621"/>
                    <a:pt x="600" y="3608"/>
                    <a:pt x="620" y="3595"/>
                  </a:cubicBezTo>
                  <a:cubicBezTo>
                    <a:pt x="659" y="3575"/>
                    <a:pt x="673" y="3549"/>
                    <a:pt x="712" y="3516"/>
                  </a:cubicBezTo>
                  <a:cubicBezTo>
                    <a:pt x="732" y="3503"/>
                    <a:pt x="752" y="3536"/>
                    <a:pt x="778" y="3536"/>
                  </a:cubicBezTo>
                  <a:cubicBezTo>
                    <a:pt x="798" y="3536"/>
                    <a:pt x="804" y="3522"/>
                    <a:pt x="818" y="3509"/>
                  </a:cubicBezTo>
                  <a:cubicBezTo>
                    <a:pt x="844" y="3483"/>
                    <a:pt x="870" y="3483"/>
                    <a:pt x="903" y="3463"/>
                  </a:cubicBezTo>
                  <a:cubicBezTo>
                    <a:pt x="936" y="3437"/>
                    <a:pt x="956" y="3410"/>
                    <a:pt x="996" y="3404"/>
                  </a:cubicBezTo>
                  <a:cubicBezTo>
                    <a:pt x="1081" y="3391"/>
                    <a:pt x="1128" y="3371"/>
                    <a:pt x="1207" y="3351"/>
                  </a:cubicBezTo>
                  <a:cubicBezTo>
                    <a:pt x="1246" y="3338"/>
                    <a:pt x="1273" y="3331"/>
                    <a:pt x="1299" y="3311"/>
                  </a:cubicBezTo>
                  <a:cubicBezTo>
                    <a:pt x="1319" y="3298"/>
                    <a:pt x="1332" y="3305"/>
                    <a:pt x="1345" y="3285"/>
                  </a:cubicBezTo>
                  <a:cubicBezTo>
                    <a:pt x="1378" y="3245"/>
                    <a:pt x="1385" y="3212"/>
                    <a:pt x="1431" y="3186"/>
                  </a:cubicBezTo>
                  <a:cubicBezTo>
                    <a:pt x="1484" y="3146"/>
                    <a:pt x="1530" y="3153"/>
                    <a:pt x="1596" y="3153"/>
                  </a:cubicBezTo>
                  <a:cubicBezTo>
                    <a:pt x="1662" y="3153"/>
                    <a:pt x="1688" y="3219"/>
                    <a:pt x="1754" y="3219"/>
                  </a:cubicBezTo>
                  <a:cubicBezTo>
                    <a:pt x="1774" y="3219"/>
                    <a:pt x="1794" y="3212"/>
                    <a:pt x="1814" y="3212"/>
                  </a:cubicBezTo>
                  <a:lnTo>
                    <a:pt x="1814" y="3212"/>
                  </a:lnTo>
                  <a:cubicBezTo>
                    <a:pt x="1827" y="3127"/>
                    <a:pt x="1860" y="3107"/>
                    <a:pt x="1886" y="3028"/>
                  </a:cubicBezTo>
                  <a:cubicBezTo>
                    <a:pt x="1945" y="2856"/>
                    <a:pt x="1965" y="2751"/>
                    <a:pt x="2005" y="2566"/>
                  </a:cubicBezTo>
                  <a:cubicBezTo>
                    <a:pt x="2025" y="2494"/>
                    <a:pt x="2051" y="2447"/>
                    <a:pt x="2051" y="2368"/>
                  </a:cubicBezTo>
                  <a:cubicBezTo>
                    <a:pt x="2051" y="2335"/>
                    <a:pt x="2051" y="2315"/>
                    <a:pt x="2051" y="2283"/>
                  </a:cubicBezTo>
                  <a:cubicBezTo>
                    <a:pt x="2130" y="1933"/>
                    <a:pt x="2130" y="1933"/>
                    <a:pt x="2130" y="1933"/>
                  </a:cubicBezTo>
                  <a:cubicBezTo>
                    <a:pt x="2137" y="1900"/>
                    <a:pt x="2150" y="1880"/>
                    <a:pt x="2150" y="1847"/>
                  </a:cubicBezTo>
                  <a:cubicBezTo>
                    <a:pt x="2150" y="1814"/>
                    <a:pt x="2150" y="1801"/>
                    <a:pt x="2150" y="1775"/>
                  </a:cubicBezTo>
                  <a:cubicBezTo>
                    <a:pt x="2150" y="1735"/>
                    <a:pt x="2124" y="1722"/>
                    <a:pt x="2110" y="1689"/>
                  </a:cubicBezTo>
                  <a:cubicBezTo>
                    <a:pt x="2097" y="1643"/>
                    <a:pt x="2110" y="1610"/>
                    <a:pt x="2084" y="1570"/>
                  </a:cubicBezTo>
                  <a:cubicBezTo>
                    <a:pt x="2044" y="1524"/>
                    <a:pt x="1985" y="1517"/>
                    <a:pt x="1985" y="1458"/>
                  </a:cubicBezTo>
                  <a:cubicBezTo>
                    <a:pt x="1985" y="1425"/>
                    <a:pt x="1998" y="1405"/>
                    <a:pt x="1998" y="1366"/>
                  </a:cubicBezTo>
                  <a:cubicBezTo>
                    <a:pt x="1998" y="1306"/>
                    <a:pt x="1945" y="1287"/>
                    <a:pt x="1899" y="1254"/>
                  </a:cubicBezTo>
                  <a:cubicBezTo>
                    <a:pt x="1860" y="1234"/>
                    <a:pt x="1846" y="1214"/>
                    <a:pt x="1814" y="1188"/>
                  </a:cubicBezTo>
                  <a:cubicBezTo>
                    <a:pt x="1781" y="1168"/>
                    <a:pt x="1734" y="1161"/>
                    <a:pt x="1734" y="1115"/>
                  </a:cubicBezTo>
                  <a:cubicBezTo>
                    <a:pt x="1734" y="1075"/>
                    <a:pt x="1761" y="1049"/>
                    <a:pt x="1767" y="1003"/>
                  </a:cubicBezTo>
                  <a:cubicBezTo>
                    <a:pt x="1774" y="963"/>
                    <a:pt x="1774" y="924"/>
                    <a:pt x="1807" y="897"/>
                  </a:cubicBezTo>
                  <a:cubicBezTo>
                    <a:pt x="1860" y="864"/>
                    <a:pt x="1893" y="858"/>
                    <a:pt x="1952" y="838"/>
                  </a:cubicBezTo>
                  <a:cubicBezTo>
                    <a:pt x="1992" y="818"/>
                    <a:pt x="2005" y="772"/>
                    <a:pt x="2051" y="772"/>
                  </a:cubicBezTo>
                  <a:cubicBezTo>
                    <a:pt x="2110" y="772"/>
                    <a:pt x="2143" y="792"/>
                    <a:pt x="2203" y="792"/>
                  </a:cubicBezTo>
                  <a:cubicBezTo>
                    <a:pt x="2223" y="798"/>
                    <a:pt x="2262" y="792"/>
                    <a:pt x="2269" y="779"/>
                  </a:cubicBezTo>
                  <a:cubicBezTo>
                    <a:pt x="2269" y="739"/>
                    <a:pt x="2269" y="713"/>
                    <a:pt x="2256" y="666"/>
                  </a:cubicBezTo>
                  <a:cubicBezTo>
                    <a:pt x="2236" y="607"/>
                    <a:pt x="2209" y="561"/>
                    <a:pt x="2143" y="541"/>
                  </a:cubicBezTo>
                  <a:cubicBezTo>
                    <a:pt x="2117" y="535"/>
                    <a:pt x="2090" y="541"/>
                    <a:pt x="2058" y="535"/>
                  </a:cubicBezTo>
                  <a:cubicBezTo>
                    <a:pt x="2018" y="521"/>
                    <a:pt x="1985" y="495"/>
                    <a:pt x="1952" y="489"/>
                  </a:cubicBezTo>
                  <a:cubicBezTo>
                    <a:pt x="1945" y="436"/>
                    <a:pt x="1945" y="409"/>
                    <a:pt x="1945" y="357"/>
                  </a:cubicBezTo>
                  <a:cubicBezTo>
                    <a:pt x="1945" y="291"/>
                    <a:pt x="1919" y="251"/>
                    <a:pt x="1919" y="185"/>
                  </a:cubicBezTo>
                  <a:cubicBezTo>
                    <a:pt x="1919" y="165"/>
                    <a:pt x="1919" y="159"/>
                    <a:pt x="1919" y="146"/>
                  </a:cubicBezTo>
                  <a:cubicBezTo>
                    <a:pt x="2025" y="132"/>
                    <a:pt x="2084" y="106"/>
                    <a:pt x="2189" y="106"/>
                  </a:cubicBezTo>
                  <a:cubicBezTo>
                    <a:pt x="2249" y="106"/>
                    <a:pt x="2282" y="106"/>
                    <a:pt x="2341" y="106"/>
                  </a:cubicBezTo>
                  <a:cubicBezTo>
                    <a:pt x="2387" y="106"/>
                    <a:pt x="2414" y="132"/>
                    <a:pt x="2460" y="146"/>
                  </a:cubicBezTo>
                  <a:cubicBezTo>
                    <a:pt x="2546" y="165"/>
                    <a:pt x="2599" y="172"/>
                    <a:pt x="2691" y="172"/>
                  </a:cubicBezTo>
                  <a:cubicBezTo>
                    <a:pt x="2711" y="172"/>
                    <a:pt x="2717" y="139"/>
                    <a:pt x="2724" y="119"/>
                  </a:cubicBezTo>
                  <a:cubicBezTo>
                    <a:pt x="2730" y="73"/>
                    <a:pt x="2737" y="20"/>
                    <a:pt x="2783" y="20"/>
                  </a:cubicBezTo>
                  <a:cubicBezTo>
                    <a:pt x="2836" y="20"/>
                    <a:pt x="2843" y="106"/>
                    <a:pt x="2902" y="106"/>
                  </a:cubicBezTo>
                  <a:cubicBezTo>
                    <a:pt x="2928" y="106"/>
                    <a:pt x="2942" y="79"/>
                    <a:pt x="2968" y="60"/>
                  </a:cubicBezTo>
                  <a:cubicBezTo>
                    <a:pt x="2988" y="47"/>
                    <a:pt x="3007" y="40"/>
                    <a:pt x="3027" y="20"/>
                  </a:cubicBezTo>
                  <a:cubicBezTo>
                    <a:pt x="3034" y="7"/>
                    <a:pt x="3041" y="0"/>
                    <a:pt x="3060" y="0"/>
                  </a:cubicBezTo>
                  <a:cubicBezTo>
                    <a:pt x="3080" y="0"/>
                    <a:pt x="3087" y="20"/>
                    <a:pt x="3100" y="27"/>
                  </a:cubicBezTo>
                  <a:cubicBezTo>
                    <a:pt x="3146" y="53"/>
                    <a:pt x="3179" y="60"/>
                    <a:pt x="3212" y="93"/>
                  </a:cubicBezTo>
                  <a:cubicBezTo>
                    <a:pt x="3252" y="132"/>
                    <a:pt x="3245" y="172"/>
                    <a:pt x="3258" y="231"/>
                  </a:cubicBezTo>
                  <a:cubicBezTo>
                    <a:pt x="3271" y="291"/>
                    <a:pt x="3298" y="317"/>
                    <a:pt x="3298" y="383"/>
                  </a:cubicBezTo>
                  <a:cubicBezTo>
                    <a:pt x="3331" y="383"/>
                    <a:pt x="3344" y="376"/>
                    <a:pt x="3370" y="376"/>
                  </a:cubicBezTo>
                  <a:cubicBezTo>
                    <a:pt x="3397" y="376"/>
                    <a:pt x="3403" y="376"/>
                    <a:pt x="3423" y="363"/>
                  </a:cubicBezTo>
                  <a:lnTo>
                    <a:pt x="3423" y="363"/>
                  </a:lnTo>
                  <a:cubicBezTo>
                    <a:pt x="3463" y="429"/>
                    <a:pt x="3496" y="462"/>
                    <a:pt x="3555" y="508"/>
                  </a:cubicBezTo>
                  <a:cubicBezTo>
                    <a:pt x="3568" y="521"/>
                    <a:pt x="3575" y="535"/>
                    <a:pt x="3588" y="548"/>
                  </a:cubicBezTo>
                  <a:cubicBezTo>
                    <a:pt x="3660" y="601"/>
                    <a:pt x="3713" y="620"/>
                    <a:pt x="3799" y="620"/>
                  </a:cubicBezTo>
                  <a:cubicBezTo>
                    <a:pt x="3944" y="620"/>
                    <a:pt x="4017" y="581"/>
                    <a:pt x="4149" y="528"/>
                  </a:cubicBezTo>
                  <a:cubicBezTo>
                    <a:pt x="4214" y="495"/>
                    <a:pt x="4234" y="442"/>
                    <a:pt x="4294" y="409"/>
                  </a:cubicBezTo>
                  <a:cubicBezTo>
                    <a:pt x="4346" y="383"/>
                    <a:pt x="4386" y="390"/>
                    <a:pt x="4445" y="370"/>
                  </a:cubicBezTo>
                  <a:cubicBezTo>
                    <a:pt x="4590" y="337"/>
                    <a:pt x="4637" y="251"/>
                    <a:pt x="4755" y="172"/>
                  </a:cubicBezTo>
                  <a:cubicBezTo>
                    <a:pt x="4881" y="99"/>
                    <a:pt x="4973" y="86"/>
                    <a:pt x="5085" y="0"/>
                  </a:cubicBezTo>
                  <a:lnTo>
                    <a:pt x="5085" y="0"/>
                  </a:lnTo>
                  <a:cubicBezTo>
                    <a:pt x="5138" y="0"/>
                    <a:pt x="5178" y="7"/>
                    <a:pt x="5217" y="33"/>
                  </a:cubicBezTo>
                  <a:cubicBezTo>
                    <a:pt x="5243" y="53"/>
                    <a:pt x="5276" y="60"/>
                    <a:pt x="5283" y="93"/>
                  </a:cubicBezTo>
                  <a:cubicBezTo>
                    <a:pt x="5309" y="178"/>
                    <a:pt x="5329" y="218"/>
                    <a:pt x="5356" y="304"/>
                  </a:cubicBezTo>
                  <a:cubicBezTo>
                    <a:pt x="5375" y="357"/>
                    <a:pt x="5408" y="390"/>
                    <a:pt x="5455" y="422"/>
                  </a:cubicBezTo>
                  <a:cubicBezTo>
                    <a:pt x="5494" y="442"/>
                    <a:pt x="5507" y="469"/>
                    <a:pt x="5547" y="495"/>
                  </a:cubicBezTo>
                  <a:cubicBezTo>
                    <a:pt x="5600" y="541"/>
                    <a:pt x="5646" y="581"/>
                    <a:pt x="5646" y="653"/>
                  </a:cubicBezTo>
                  <a:cubicBezTo>
                    <a:pt x="5646" y="680"/>
                    <a:pt x="5646" y="700"/>
                    <a:pt x="5646" y="726"/>
                  </a:cubicBezTo>
                  <a:cubicBezTo>
                    <a:pt x="5659" y="805"/>
                    <a:pt x="5659" y="805"/>
                    <a:pt x="5659" y="805"/>
                  </a:cubicBezTo>
                  <a:cubicBezTo>
                    <a:pt x="5659" y="845"/>
                    <a:pt x="5659" y="864"/>
                    <a:pt x="5659" y="904"/>
                  </a:cubicBezTo>
                  <a:cubicBezTo>
                    <a:pt x="5659" y="963"/>
                    <a:pt x="5666" y="996"/>
                    <a:pt x="5692" y="1043"/>
                  </a:cubicBezTo>
                  <a:cubicBezTo>
                    <a:pt x="5738" y="1102"/>
                    <a:pt x="5791" y="1135"/>
                    <a:pt x="5791" y="1214"/>
                  </a:cubicBezTo>
                  <a:cubicBezTo>
                    <a:pt x="5791" y="1240"/>
                    <a:pt x="5791" y="1254"/>
                    <a:pt x="5791" y="1287"/>
                  </a:cubicBezTo>
                  <a:cubicBezTo>
                    <a:pt x="5791" y="1386"/>
                    <a:pt x="5844" y="1432"/>
                    <a:pt x="5864" y="1531"/>
                  </a:cubicBezTo>
                  <a:cubicBezTo>
                    <a:pt x="5877" y="1570"/>
                    <a:pt x="5870" y="1590"/>
                    <a:pt x="5870" y="1630"/>
                  </a:cubicBezTo>
                  <a:cubicBezTo>
                    <a:pt x="5883" y="1695"/>
                    <a:pt x="5916" y="1748"/>
                    <a:pt x="5982" y="1755"/>
                  </a:cubicBezTo>
                  <a:cubicBezTo>
                    <a:pt x="6022" y="1761"/>
                    <a:pt x="6041" y="1768"/>
                    <a:pt x="6081" y="1775"/>
                  </a:cubicBezTo>
                  <a:cubicBezTo>
                    <a:pt x="6101" y="1781"/>
                    <a:pt x="6134" y="1794"/>
                    <a:pt x="6140" y="1775"/>
                  </a:cubicBezTo>
                  <a:cubicBezTo>
                    <a:pt x="6160" y="1722"/>
                    <a:pt x="6160" y="1682"/>
                    <a:pt x="6180" y="1630"/>
                  </a:cubicBezTo>
                  <a:cubicBezTo>
                    <a:pt x="6193" y="1583"/>
                    <a:pt x="6220" y="1557"/>
                    <a:pt x="6239" y="1511"/>
                  </a:cubicBezTo>
                  <a:cubicBezTo>
                    <a:pt x="6253" y="1478"/>
                    <a:pt x="6259" y="1451"/>
                    <a:pt x="6286" y="1425"/>
                  </a:cubicBezTo>
                  <a:cubicBezTo>
                    <a:pt x="6338" y="1372"/>
                    <a:pt x="6411" y="1372"/>
                    <a:pt x="6477" y="1405"/>
                  </a:cubicBezTo>
                  <a:cubicBezTo>
                    <a:pt x="6530" y="1425"/>
                    <a:pt x="6550" y="1491"/>
                    <a:pt x="6609" y="1491"/>
                  </a:cubicBezTo>
                  <a:cubicBezTo>
                    <a:pt x="6662" y="1491"/>
                    <a:pt x="6721" y="1471"/>
                    <a:pt x="6721" y="1418"/>
                  </a:cubicBezTo>
                  <a:cubicBezTo>
                    <a:pt x="6721" y="1386"/>
                    <a:pt x="6721" y="1372"/>
                    <a:pt x="6721" y="1339"/>
                  </a:cubicBezTo>
                  <a:cubicBezTo>
                    <a:pt x="6721" y="1306"/>
                    <a:pt x="6754" y="1293"/>
                    <a:pt x="6780" y="1280"/>
                  </a:cubicBezTo>
                  <a:cubicBezTo>
                    <a:pt x="6826" y="1267"/>
                    <a:pt x="6853" y="1240"/>
                    <a:pt x="6899" y="1220"/>
                  </a:cubicBezTo>
                  <a:cubicBezTo>
                    <a:pt x="6978" y="1181"/>
                    <a:pt x="6998" y="1141"/>
                    <a:pt x="7077" y="1089"/>
                  </a:cubicBezTo>
                  <a:cubicBezTo>
                    <a:pt x="7097" y="1062"/>
                    <a:pt x="7117" y="1036"/>
                    <a:pt x="7156" y="1036"/>
                  </a:cubicBezTo>
                  <a:cubicBezTo>
                    <a:pt x="7189" y="1036"/>
                    <a:pt x="7209" y="1036"/>
                    <a:pt x="7242" y="1036"/>
                  </a:cubicBezTo>
                  <a:cubicBezTo>
                    <a:pt x="7288" y="1036"/>
                    <a:pt x="7315" y="1036"/>
                    <a:pt x="7361" y="1049"/>
                  </a:cubicBezTo>
                  <a:cubicBezTo>
                    <a:pt x="7334" y="442"/>
                    <a:pt x="7334" y="442"/>
                    <a:pt x="7334" y="442"/>
                  </a:cubicBezTo>
                  <a:cubicBezTo>
                    <a:pt x="7361" y="1049"/>
                    <a:pt x="7361" y="1049"/>
                    <a:pt x="7361" y="1049"/>
                  </a:cubicBezTo>
                  <a:cubicBezTo>
                    <a:pt x="7361" y="1089"/>
                    <a:pt x="7374" y="1115"/>
                    <a:pt x="7374" y="1155"/>
                  </a:cubicBezTo>
                  <a:cubicBezTo>
                    <a:pt x="7374" y="1201"/>
                    <a:pt x="7374" y="1227"/>
                    <a:pt x="7374" y="1273"/>
                  </a:cubicBezTo>
                  <a:cubicBezTo>
                    <a:pt x="7374" y="1306"/>
                    <a:pt x="7387" y="1319"/>
                    <a:pt x="7413" y="1346"/>
                  </a:cubicBezTo>
                  <a:cubicBezTo>
                    <a:pt x="7447" y="1379"/>
                    <a:pt x="7453" y="1412"/>
                    <a:pt x="7493" y="1438"/>
                  </a:cubicBezTo>
                  <a:cubicBezTo>
                    <a:pt x="7506" y="1458"/>
                    <a:pt x="7519" y="1458"/>
                    <a:pt x="7532" y="1478"/>
                  </a:cubicBezTo>
                  <a:cubicBezTo>
                    <a:pt x="7565" y="1517"/>
                    <a:pt x="7572" y="1557"/>
                    <a:pt x="7618" y="1570"/>
                  </a:cubicBezTo>
                  <a:cubicBezTo>
                    <a:pt x="7658" y="1577"/>
                    <a:pt x="7697" y="1583"/>
                    <a:pt x="7704" y="1616"/>
                  </a:cubicBezTo>
                  <a:cubicBezTo>
                    <a:pt x="7704" y="1649"/>
                    <a:pt x="7710" y="1662"/>
                    <a:pt x="7717" y="1689"/>
                  </a:cubicBezTo>
                  <a:cubicBezTo>
                    <a:pt x="7724" y="1715"/>
                    <a:pt x="7717" y="1735"/>
                    <a:pt x="7730" y="1761"/>
                  </a:cubicBezTo>
                  <a:cubicBezTo>
                    <a:pt x="7756" y="1788"/>
                    <a:pt x="7783" y="1794"/>
                    <a:pt x="7809" y="1814"/>
                  </a:cubicBezTo>
                  <a:cubicBezTo>
                    <a:pt x="7855" y="1854"/>
                    <a:pt x="7895" y="1860"/>
                    <a:pt x="7941" y="1900"/>
                  </a:cubicBezTo>
                  <a:cubicBezTo>
                    <a:pt x="7974" y="1920"/>
                    <a:pt x="7981" y="1959"/>
                    <a:pt x="8027" y="1959"/>
                  </a:cubicBezTo>
                  <a:cubicBezTo>
                    <a:pt x="8053" y="1959"/>
                    <a:pt x="8066" y="1953"/>
                    <a:pt x="8093" y="1953"/>
                  </a:cubicBezTo>
                  <a:cubicBezTo>
                    <a:pt x="8139" y="1953"/>
                    <a:pt x="8159" y="1959"/>
                    <a:pt x="8205" y="1959"/>
                  </a:cubicBezTo>
                  <a:cubicBezTo>
                    <a:pt x="8251" y="1966"/>
                    <a:pt x="8278" y="1946"/>
                    <a:pt x="8324" y="1959"/>
                  </a:cubicBezTo>
                  <a:cubicBezTo>
                    <a:pt x="8370" y="1979"/>
                    <a:pt x="8383" y="2012"/>
                    <a:pt x="8429" y="2038"/>
                  </a:cubicBezTo>
                  <a:cubicBezTo>
                    <a:pt x="8462" y="2071"/>
                    <a:pt x="8495" y="2071"/>
                    <a:pt x="8541" y="2091"/>
                  </a:cubicBezTo>
                  <a:cubicBezTo>
                    <a:pt x="8581" y="2104"/>
                    <a:pt x="8581" y="2137"/>
                    <a:pt x="8621" y="2157"/>
                  </a:cubicBezTo>
                  <a:cubicBezTo>
                    <a:pt x="8653" y="2177"/>
                    <a:pt x="8673" y="2164"/>
                    <a:pt x="8713" y="2164"/>
                  </a:cubicBezTo>
                  <a:cubicBezTo>
                    <a:pt x="8766" y="2177"/>
                    <a:pt x="8799" y="2190"/>
                    <a:pt x="8851" y="2210"/>
                  </a:cubicBezTo>
                  <a:cubicBezTo>
                    <a:pt x="8291" y="4446"/>
                    <a:pt x="8291" y="4446"/>
                    <a:pt x="8291" y="4446"/>
                  </a:cubicBezTo>
                  <a:cubicBezTo>
                    <a:pt x="8284" y="4446"/>
                    <a:pt x="8278" y="4439"/>
                    <a:pt x="8264" y="4439"/>
                  </a:cubicBezTo>
                  <a:cubicBezTo>
                    <a:pt x="8231" y="4439"/>
                    <a:pt x="8238" y="4479"/>
                    <a:pt x="8218" y="4505"/>
                  </a:cubicBezTo>
                  <a:cubicBezTo>
                    <a:pt x="8212" y="4518"/>
                    <a:pt x="8198" y="4518"/>
                    <a:pt x="8185" y="4525"/>
                  </a:cubicBezTo>
                  <a:cubicBezTo>
                    <a:pt x="8159" y="4551"/>
                    <a:pt x="8119" y="4564"/>
                    <a:pt x="8119" y="4611"/>
                  </a:cubicBezTo>
                  <a:cubicBezTo>
                    <a:pt x="8119" y="4650"/>
                    <a:pt x="8119" y="4677"/>
                    <a:pt x="8119" y="4716"/>
                  </a:cubicBezTo>
                  <a:cubicBezTo>
                    <a:pt x="8119" y="4749"/>
                    <a:pt x="8146" y="4756"/>
                    <a:pt x="8146" y="4782"/>
                  </a:cubicBezTo>
                  <a:cubicBezTo>
                    <a:pt x="8146" y="4802"/>
                    <a:pt x="8133" y="4815"/>
                    <a:pt x="8133" y="4835"/>
                  </a:cubicBezTo>
                  <a:cubicBezTo>
                    <a:pt x="8133" y="4861"/>
                    <a:pt x="8139" y="4875"/>
                    <a:pt x="8139" y="4901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6" name="Freeform 36"/>
            <p:cNvSpPr>
              <a:spLocks noChangeArrowheads="1"/>
            </p:cNvSpPr>
            <p:nvPr/>
          </p:nvSpPr>
          <p:spPr bwMode="auto">
            <a:xfrm>
              <a:off x="7015500" y="6634157"/>
              <a:ext cx="1325476" cy="1314450"/>
            </a:xfrm>
            <a:custGeom>
              <a:avLst/>
              <a:gdLst>
                <a:gd name="T0" fmla="*/ 2915 w 3681"/>
                <a:gd name="T1" fmla="*/ 2215 h 3653"/>
                <a:gd name="T2" fmla="*/ 2915 w 3681"/>
                <a:gd name="T3" fmla="*/ 2492 h 3653"/>
                <a:gd name="T4" fmla="*/ 2875 w 3681"/>
                <a:gd name="T5" fmla="*/ 2762 h 3653"/>
                <a:gd name="T6" fmla="*/ 2823 w 3681"/>
                <a:gd name="T7" fmla="*/ 3138 h 3653"/>
                <a:gd name="T8" fmla="*/ 2480 w 3681"/>
                <a:gd name="T9" fmla="*/ 3217 h 3653"/>
                <a:gd name="T10" fmla="*/ 2163 w 3681"/>
                <a:gd name="T11" fmla="*/ 3217 h 3653"/>
                <a:gd name="T12" fmla="*/ 1952 w 3681"/>
                <a:gd name="T13" fmla="*/ 3197 h 3653"/>
                <a:gd name="T14" fmla="*/ 1767 w 3681"/>
                <a:gd name="T15" fmla="*/ 3224 h 3653"/>
                <a:gd name="T16" fmla="*/ 1398 w 3681"/>
                <a:gd name="T17" fmla="*/ 3329 h 3653"/>
                <a:gd name="T18" fmla="*/ 1279 w 3681"/>
                <a:gd name="T19" fmla="*/ 3441 h 3653"/>
                <a:gd name="T20" fmla="*/ 1147 w 3681"/>
                <a:gd name="T21" fmla="*/ 3547 h 3653"/>
                <a:gd name="T22" fmla="*/ 1022 w 3681"/>
                <a:gd name="T23" fmla="*/ 3613 h 3653"/>
                <a:gd name="T24" fmla="*/ 554 w 3681"/>
                <a:gd name="T25" fmla="*/ 3303 h 3653"/>
                <a:gd name="T26" fmla="*/ 125 w 3681"/>
                <a:gd name="T27" fmla="*/ 2960 h 3653"/>
                <a:gd name="T28" fmla="*/ 52 w 3681"/>
                <a:gd name="T29" fmla="*/ 2802 h 3653"/>
                <a:gd name="T30" fmla="*/ 26 w 3681"/>
                <a:gd name="T31" fmla="*/ 2518 h 3653"/>
                <a:gd name="T32" fmla="*/ 250 w 3681"/>
                <a:gd name="T33" fmla="*/ 2208 h 3653"/>
                <a:gd name="T34" fmla="*/ 343 w 3681"/>
                <a:gd name="T35" fmla="*/ 1931 h 3653"/>
                <a:gd name="T36" fmla="*/ 514 w 3681"/>
                <a:gd name="T37" fmla="*/ 1799 h 3653"/>
                <a:gd name="T38" fmla="*/ 811 w 3681"/>
                <a:gd name="T39" fmla="*/ 1628 h 3653"/>
                <a:gd name="T40" fmla="*/ 956 w 3681"/>
                <a:gd name="T41" fmla="*/ 1377 h 3653"/>
                <a:gd name="T42" fmla="*/ 1200 w 3681"/>
                <a:gd name="T43" fmla="*/ 1159 h 3653"/>
                <a:gd name="T44" fmla="*/ 1273 w 3681"/>
                <a:gd name="T45" fmla="*/ 765 h 3653"/>
                <a:gd name="T46" fmla="*/ 1411 w 3681"/>
                <a:gd name="T47" fmla="*/ 408 h 3653"/>
                <a:gd name="T48" fmla="*/ 1616 w 3681"/>
                <a:gd name="T49" fmla="*/ 0 h 3653"/>
                <a:gd name="T50" fmla="*/ 1741 w 3681"/>
                <a:gd name="T51" fmla="*/ 362 h 3653"/>
                <a:gd name="T52" fmla="*/ 2242 w 3681"/>
                <a:gd name="T53" fmla="*/ 349 h 3653"/>
                <a:gd name="T54" fmla="*/ 2288 w 3681"/>
                <a:gd name="T55" fmla="*/ 514 h 3653"/>
                <a:gd name="T56" fmla="*/ 2500 w 3681"/>
                <a:gd name="T57" fmla="*/ 468 h 3653"/>
                <a:gd name="T58" fmla="*/ 2796 w 3681"/>
                <a:gd name="T59" fmla="*/ 666 h 3653"/>
                <a:gd name="T60" fmla="*/ 3014 w 3681"/>
                <a:gd name="T61" fmla="*/ 639 h 3653"/>
                <a:gd name="T62" fmla="*/ 3364 w 3681"/>
                <a:gd name="T63" fmla="*/ 547 h 3653"/>
                <a:gd name="T64" fmla="*/ 3680 w 3681"/>
                <a:gd name="T65" fmla="*/ 428 h 3653"/>
                <a:gd name="T66" fmla="*/ 3641 w 3681"/>
                <a:gd name="T67" fmla="*/ 613 h 3653"/>
                <a:gd name="T68" fmla="*/ 3641 w 3681"/>
                <a:gd name="T69" fmla="*/ 1186 h 3653"/>
                <a:gd name="T70" fmla="*/ 3383 w 3681"/>
                <a:gd name="T71" fmla="*/ 1436 h 3653"/>
                <a:gd name="T72" fmla="*/ 3133 w 3681"/>
                <a:gd name="T73" fmla="*/ 1726 h 3653"/>
                <a:gd name="T74" fmla="*/ 3007 w 3681"/>
                <a:gd name="T75" fmla="*/ 2023 h 3653"/>
                <a:gd name="T76" fmla="*/ 2994 w 3681"/>
                <a:gd name="T77" fmla="*/ 1832 h 3653"/>
                <a:gd name="T78" fmla="*/ 2928 w 3681"/>
                <a:gd name="T79" fmla="*/ 1601 h 3653"/>
                <a:gd name="T80" fmla="*/ 2308 w 3681"/>
                <a:gd name="T81" fmla="*/ 1542 h 3653"/>
                <a:gd name="T82" fmla="*/ 2183 w 3681"/>
                <a:gd name="T83" fmla="*/ 1740 h 3653"/>
                <a:gd name="T84" fmla="*/ 2170 w 3681"/>
                <a:gd name="T85" fmla="*/ 1997 h 3653"/>
                <a:gd name="T86" fmla="*/ 2704 w 3681"/>
                <a:gd name="T87" fmla="*/ 2136 h 3653"/>
                <a:gd name="T88" fmla="*/ 3007 w 3681"/>
                <a:gd name="T89" fmla="*/ 2023 h 3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81" h="3653">
                  <a:moveTo>
                    <a:pt x="3007" y="2023"/>
                  </a:moveTo>
                  <a:lnTo>
                    <a:pt x="3007" y="2023"/>
                  </a:lnTo>
                  <a:cubicBezTo>
                    <a:pt x="3001" y="2103"/>
                    <a:pt x="2915" y="2136"/>
                    <a:pt x="2915" y="2215"/>
                  </a:cubicBezTo>
                  <a:cubicBezTo>
                    <a:pt x="2915" y="2267"/>
                    <a:pt x="2961" y="2294"/>
                    <a:pt x="2961" y="2347"/>
                  </a:cubicBezTo>
                  <a:cubicBezTo>
                    <a:pt x="2961" y="2373"/>
                    <a:pt x="2961" y="2393"/>
                    <a:pt x="2961" y="2419"/>
                  </a:cubicBezTo>
                  <a:cubicBezTo>
                    <a:pt x="2961" y="2452"/>
                    <a:pt x="2928" y="2465"/>
                    <a:pt x="2915" y="2492"/>
                  </a:cubicBezTo>
                  <a:cubicBezTo>
                    <a:pt x="2895" y="2544"/>
                    <a:pt x="2882" y="2571"/>
                    <a:pt x="2862" y="2623"/>
                  </a:cubicBezTo>
                  <a:cubicBezTo>
                    <a:pt x="2849" y="2650"/>
                    <a:pt x="2836" y="2657"/>
                    <a:pt x="2836" y="2690"/>
                  </a:cubicBezTo>
                  <a:cubicBezTo>
                    <a:pt x="2836" y="2722"/>
                    <a:pt x="2856" y="2729"/>
                    <a:pt x="2875" y="2762"/>
                  </a:cubicBezTo>
                  <a:cubicBezTo>
                    <a:pt x="2882" y="2782"/>
                    <a:pt x="2908" y="2795"/>
                    <a:pt x="2908" y="2821"/>
                  </a:cubicBezTo>
                  <a:cubicBezTo>
                    <a:pt x="2908" y="2901"/>
                    <a:pt x="2823" y="2927"/>
                    <a:pt x="2823" y="3006"/>
                  </a:cubicBezTo>
                  <a:cubicBezTo>
                    <a:pt x="2823" y="3059"/>
                    <a:pt x="2823" y="3085"/>
                    <a:pt x="2823" y="3138"/>
                  </a:cubicBezTo>
                  <a:cubicBezTo>
                    <a:pt x="2737" y="3138"/>
                    <a:pt x="2697" y="3171"/>
                    <a:pt x="2625" y="3211"/>
                  </a:cubicBezTo>
                  <a:cubicBezTo>
                    <a:pt x="2592" y="3224"/>
                    <a:pt x="2579" y="3250"/>
                    <a:pt x="2546" y="3250"/>
                  </a:cubicBezTo>
                  <a:cubicBezTo>
                    <a:pt x="2519" y="3250"/>
                    <a:pt x="2506" y="3224"/>
                    <a:pt x="2480" y="3217"/>
                  </a:cubicBezTo>
                  <a:cubicBezTo>
                    <a:pt x="2433" y="3211"/>
                    <a:pt x="2401" y="3211"/>
                    <a:pt x="2348" y="3211"/>
                  </a:cubicBezTo>
                  <a:cubicBezTo>
                    <a:pt x="2308" y="3211"/>
                    <a:pt x="2282" y="3217"/>
                    <a:pt x="2242" y="3217"/>
                  </a:cubicBezTo>
                  <a:cubicBezTo>
                    <a:pt x="2209" y="3217"/>
                    <a:pt x="2189" y="3217"/>
                    <a:pt x="2163" y="3217"/>
                  </a:cubicBezTo>
                  <a:cubicBezTo>
                    <a:pt x="2130" y="3217"/>
                    <a:pt x="2110" y="3217"/>
                    <a:pt x="2084" y="3204"/>
                  </a:cubicBezTo>
                  <a:cubicBezTo>
                    <a:pt x="2058" y="3191"/>
                    <a:pt x="2051" y="3158"/>
                    <a:pt x="2018" y="3158"/>
                  </a:cubicBezTo>
                  <a:cubicBezTo>
                    <a:pt x="1992" y="3158"/>
                    <a:pt x="1978" y="3184"/>
                    <a:pt x="1952" y="3197"/>
                  </a:cubicBezTo>
                  <a:cubicBezTo>
                    <a:pt x="1926" y="3211"/>
                    <a:pt x="1906" y="3217"/>
                    <a:pt x="1873" y="3230"/>
                  </a:cubicBezTo>
                  <a:cubicBezTo>
                    <a:pt x="1847" y="3250"/>
                    <a:pt x="1840" y="3277"/>
                    <a:pt x="1814" y="3296"/>
                  </a:cubicBezTo>
                  <a:cubicBezTo>
                    <a:pt x="1807" y="3263"/>
                    <a:pt x="1800" y="3224"/>
                    <a:pt x="1767" y="3224"/>
                  </a:cubicBezTo>
                  <a:cubicBezTo>
                    <a:pt x="1748" y="3224"/>
                    <a:pt x="1741" y="3250"/>
                    <a:pt x="1721" y="3257"/>
                  </a:cubicBezTo>
                  <a:cubicBezTo>
                    <a:pt x="1655" y="3277"/>
                    <a:pt x="1609" y="3290"/>
                    <a:pt x="1543" y="3316"/>
                  </a:cubicBezTo>
                  <a:cubicBezTo>
                    <a:pt x="1490" y="3316"/>
                    <a:pt x="1457" y="3323"/>
                    <a:pt x="1398" y="3329"/>
                  </a:cubicBezTo>
                  <a:cubicBezTo>
                    <a:pt x="1378" y="3336"/>
                    <a:pt x="1359" y="3336"/>
                    <a:pt x="1339" y="3349"/>
                  </a:cubicBezTo>
                  <a:cubicBezTo>
                    <a:pt x="1325" y="3356"/>
                    <a:pt x="1325" y="3369"/>
                    <a:pt x="1312" y="3389"/>
                  </a:cubicBezTo>
                  <a:cubicBezTo>
                    <a:pt x="1306" y="3408"/>
                    <a:pt x="1292" y="3422"/>
                    <a:pt x="1279" y="3441"/>
                  </a:cubicBezTo>
                  <a:cubicBezTo>
                    <a:pt x="1266" y="3474"/>
                    <a:pt x="1253" y="3488"/>
                    <a:pt x="1227" y="3507"/>
                  </a:cubicBezTo>
                  <a:cubicBezTo>
                    <a:pt x="1207" y="3514"/>
                    <a:pt x="1207" y="3534"/>
                    <a:pt x="1187" y="3540"/>
                  </a:cubicBezTo>
                  <a:cubicBezTo>
                    <a:pt x="1167" y="3547"/>
                    <a:pt x="1154" y="3540"/>
                    <a:pt x="1147" y="3547"/>
                  </a:cubicBezTo>
                  <a:cubicBezTo>
                    <a:pt x="1108" y="3573"/>
                    <a:pt x="1101" y="3606"/>
                    <a:pt x="1095" y="3652"/>
                  </a:cubicBezTo>
                  <a:lnTo>
                    <a:pt x="1095" y="3652"/>
                  </a:lnTo>
                  <a:cubicBezTo>
                    <a:pt x="1068" y="3633"/>
                    <a:pt x="1048" y="3626"/>
                    <a:pt x="1022" y="3613"/>
                  </a:cubicBezTo>
                  <a:cubicBezTo>
                    <a:pt x="943" y="3580"/>
                    <a:pt x="884" y="3567"/>
                    <a:pt x="844" y="3494"/>
                  </a:cubicBezTo>
                  <a:cubicBezTo>
                    <a:pt x="811" y="3441"/>
                    <a:pt x="765" y="3435"/>
                    <a:pt x="712" y="3402"/>
                  </a:cubicBezTo>
                  <a:cubicBezTo>
                    <a:pt x="646" y="3369"/>
                    <a:pt x="620" y="3343"/>
                    <a:pt x="554" y="3303"/>
                  </a:cubicBezTo>
                  <a:cubicBezTo>
                    <a:pt x="461" y="3244"/>
                    <a:pt x="422" y="3197"/>
                    <a:pt x="336" y="3132"/>
                  </a:cubicBezTo>
                  <a:cubicBezTo>
                    <a:pt x="296" y="3105"/>
                    <a:pt x="270" y="3092"/>
                    <a:pt x="244" y="3059"/>
                  </a:cubicBezTo>
                  <a:cubicBezTo>
                    <a:pt x="204" y="3013"/>
                    <a:pt x="184" y="2980"/>
                    <a:pt x="125" y="2960"/>
                  </a:cubicBezTo>
                  <a:cubicBezTo>
                    <a:pt x="92" y="2947"/>
                    <a:pt x="66" y="2953"/>
                    <a:pt x="33" y="2947"/>
                  </a:cubicBezTo>
                  <a:cubicBezTo>
                    <a:pt x="33" y="2934"/>
                    <a:pt x="33" y="2927"/>
                    <a:pt x="33" y="2914"/>
                  </a:cubicBezTo>
                  <a:cubicBezTo>
                    <a:pt x="33" y="2874"/>
                    <a:pt x="52" y="2848"/>
                    <a:pt x="52" y="2802"/>
                  </a:cubicBezTo>
                  <a:cubicBezTo>
                    <a:pt x="59" y="2755"/>
                    <a:pt x="59" y="2709"/>
                    <a:pt x="66" y="2663"/>
                  </a:cubicBezTo>
                  <a:lnTo>
                    <a:pt x="66" y="2663"/>
                  </a:lnTo>
                  <a:cubicBezTo>
                    <a:pt x="59" y="2604"/>
                    <a:pt x="46" y="2564"/>
                    <a:pt x="26" y="2518"/>
                  </a:cubicBezTo>
                  <a:cubicBezTo>
                    <a:pt x="13" y="2498"/>
                    <a:pt x="0" y="2478"/>
                    <a:pt x="0" y="2459"/>
                  </a:cubicBezTo>
                  <a:cubicBezTo>
                    <a:pt x="0" y="2406"/>
                    <a:pt x="33" y="2386"/>
                    <a:pt x="59" y="2347"/>
                  </a:cubicBezTo>
                  <a:cubicBezTo>
                    <a:pt x="112" y="2274"/>
                    <a:pt x="178" y="2254"/>
                    <a:pt x="250" y="2208"/>
                  </a:cubicBezTo>
                  <a:cubicBezTo>
                    <a:pt x="283" y="2182"/>
                    <a:pt x="290" y="2155"/>
                    <a:pt x="303" y="2116"/>
                  </a:cubicBezTo>
                  <a:cubicBezTo>
                    <a:pt x="323" y="2069"/>
                    <a:pt x="343" y="2050"/>
                    <a:pt x="343" y="2004"/>
                  </a:cubicBezTo>
                  <a:cubicBezTo>
                    <a:pt x="343" y="1977"/>
                    <a:pt x="343" y="1957"/>
                    <a:pt x="343" y="1931"/>
                  </a:cubicBezTo>
                  <a:cubicBezTo>
                    <a:pt x="343" y="1898"/>
                    <a:pt x="382" y="1892"/>
                    <a:pt x="415" y="1885"/>
                  </a:cubicBezTo>
                  <a:cubicBezTo>
                    <a:pt x="435" y="1878"/>
                    <a:pt x="448" y="1865"/>
                    <a:pt x="468" y="1852"/>
                  </a:cubicBezTo>
                  <a:cubicBezTo>
                    <a:pt x="488" y="1839"/>
                    <a:pt x="488" y="1806"/>
                    <a:pt x="514" y="1799"/>
                  </a:cubicBezTo>
                  <a:cubicBezTo>
                    <a:pt x="547" y="1793"/>
                    <a:pt x="567" y="1793"/>
                    <a:pt x="600" y="1793"/>
                  </a:cubicBezTo>
                  <a:cubicBezTo>
                    <a:pt x="653" y="1793"/>
                    <a:pt x="699" y="1812"/>
                    <a:pt x="738" y="1786"/>
                  </a:cubicBezTo>
                  <a:cubicBezTo>
                    <a:pt x="791" y="1746"/>
                    <a:pt x="811" y="1694"/>
                    <a:pt x="811" y="1628"/>
                  </a:cubicBezTo>
                  <a:cubicBezTo>
                    <a:pt x="811" y="1608"/>
                    <a:pt x="798" y="1601"/>
                    <a:pt x="798" y="1581"/>
                  </a:cubicBezTo>
                  <a:cubicBezTo>
                    <a:pt x="798" y="1515"/>
                    <a:pt x="837" y="1482"/>
                    <a:pt x="884" y="1436"/>
                  </a:cubicBezTo>
                  <a:cubicBezTo>
                    <a:pt x="903" y="1410"/>
                    <a:pt x="917" y="1377"/>
                    <a:pt x="956" y="1377"/>
                  </a:cubicBezTo>
                  <a:cubicBezTo>
                    <a:pt x="982" y="1377"/>
                    <a:pt x="996" y="1390"/>
                    <a:pt x="1029" y="1390"/>
                  </a:cubicBezTo>
                  <a:cubicBezTo>
                    <a:pt x="1081" y="1390"/>
                    <a:pt x="1095" y="1338"/>
                    <a:pt x="1114" y="1291"/>
                  </a:cubicBezTo>
                  <a:cubicBezTo>
                    <a:pt x="1134" y="1232"/>
                    <a:pt x="1200" y="1225"/>
                    <a:pt x="1200" y="1159"/>
                  </a:cubicBezTo>
                  <a:cubicBezTo>
                    <a:pt x="1200" y="1126"/>
                    <a:pt x="1200" y="1107"/>
                    <a:pt x="1200" y="1067"/>
                  </a:cubicBezTo>
                  <a:cubicBezTo>
                    <a:pt x="1200" y="995"/>
                    <a:pt x="1246" y="961"/>
                    <a:pt x="1266" y="890"/>
                  </a:cubicBezTo>
                  <a:cubicBezTo>
                    <a:pt x="1273" y="844"/>
                    <a:pt x="1266" y="811"/>
                    <a:pt x="1273" y="765"/>
                  </a:cubicBezTo>
                  <a:cubicBezTo>
                    <a:pt x="1279" y="718"/>
                    <a:pt x="1312" y="699"/>
                    <a:pt x="1325" y="659"/>
                  </a:cubicBezTo>
                  <a:cubicBezTo>
                    <a:pt x="1345" y="613"/>
                    <a:pt x="1345" y="580"/>
                    <a:pt x="1372" y="534"/>
                  </a:cubicBezTo>
                  <a:cubicBezTo>
                    <a:pt x="1398" y="488"/>
                    <a:pt x="1398" y="455"/>
                    <a:pt x="1411" y="408"/>
                  </a:cubicBezTo>
                  <a:cubicBezTo>
                    <a:pt x="1438" y="343"/>
                    <a:pt x="1477" y="310"/>
                    <a:pt x="1497" y="244"/>
                  </a:cubicBezTo>
                  <a:cubicBezTo>
                    <a:pt x="1530" y="138"/>
                    <a:pt x="1536" y="72"/>
                    <a:pt x="1616" y="0"/>
                  </a:cubicBezTo>
                  <a:lnTo>
                    <a:pt x="1616" y="0"/>
                  </a:lnTo>
                  <a:cubicBezTo>
                    <a:pt x="1741" y="59"/>
                    <a:pt x="1741" y="59"/>
                    <a:pt x="1741" y="59"/>
                  </a:cubicBezTo>
                  <a:cubicBezTo>
                    <a:pt x="1728" y="145"/>
                    <a:pt x="1642" y="171"/>
                    <a:pt x="1642" y="263"/>
                  </a:cubicBezTo>
                  <a:cubicBezTo>
                    <a:pt x="1642" y="316"/>
                    <a:pt x="1695" y="343"/>
                    <a:pt x="1741" y="362"/>
                  </a:cubicBezTo>
                  <a:cubicBezTo>
                    <a:pt x="1814" y="389"/>
                    <a:pt x="1853" y="408"/>
                    <a:pt x="1926" y="408"/>
                  </a:cubicBezTo>
                  <a:cubicBezTo>
                    <a:pt x="2038" y="408"/>
                    <a:pt x="2018" y="211"/>
                    <a:pt x="2130" y="211"/>
                  </a:cubicBezTo>
                  <a:cubicBezTo>
                    <a:pt x="2203" y="211"/>
                    <a:pt x="2242" y="283"/>
                    <a:pt x="2242" y="349"/>
                  </a:cubicBezTo>
                  <a:cubicBezTo>
                    <a:pt x="2242" y="408"/>
                    <a:pt x="2216" y="435"/>
                    <a:pt x="2216" y="494"/>
                  </a:cubicBezTo>
                  <a:cubicBezTo>
                    <a:pt x="2216" y="521"/>
                    <a:pt x="2222" y="560"/>
                    <a:pt x="2256" y="560"/>
                  </a:cubicBezTo>
                  <a:cubicBezTo>
                    <a:pt x="2275" y="560"/>
                    <a:pt x="2282" y="534"/>
                    <a:pt x="2288" y="514"/>
                  </a:cubicBezTo>
                  <a:cubicBezTo>
                    <a:pt x="2302" y="488"/>
                    <a:pt x="2315" y="474"/>
                    <a:pt x="2321" y="448"/>
                  </a:cubicBezTo>
                  <a:cubicBezTo>
                    <a:pt x="2368" y="461"/>
                    <a:pt x="2387" y="507"/>
                    <a:pt x="2433" y="507"/>
                  </a:cubicBezTo>
                  <a:cubicBezTo>
                    <a:pt x="2467" y="507"/>
                    <a:pt x="2467" y="468"/>
                    <a:pt x="2500" y="468"/>
                  </a:cubicBezTo>
                  <a:cubicBezTo>
                    <a:pt x="2532" y="468"/>
                    <a:pt x="2546" y="494"/>
                    <a:pt x="2572" y="521"/>
                  </a:cubicBezTo>
                  <a:cubicBezTo>
                    <a:pt x="2618" y="567"/>
                    <a:pt x="2658" y="580"/>
                    <a:pt x="2711" y="619"/>
                  </a:cubicBezTo>
                  <a:cubicBezTo>
                    <a:pt x="2737" y="646"/>
                    <a:pt x="2757" y="666"/>
                    <a:pt x="2796" y="666"/>
                  </a:cubicBezTo>
                  <a:cubicBezTo>
                    <a:pt x="2816" y="666"/>
                    <a:pt x="2816" y="646"/>
                    <a:pt x="2823" y="626"/>
                  </a:cubicBezTo>
                  <a:cubicBezTo>
                    <a:pt x="2843" y="600"/>
                    <a:pt x="2862" y="573"/>
                    <a:pt x="2895" y="573"/>
                  </a:cubicBezTo>
                  <a:cubicBezTo>
                    <a:pt x="2948" y="573"/>
                    <a:pt x="2961" y="639"/>
                    <a:pt x="3014" y="639"/>
                  </a:cubicBezTo>
                  <a:cubicBezTo>
                    <a:pt x="3034" y="639"/>
                    <a:pt x="3047" y="639"/>
                    <a:pt x="3073" y="639"/>
                  </a:cubicBezTo>
                  <a:cubicBezTo>
                    <a:pt x="3133" y="639"/>
                    <a:pt x="3159" y="619"/>
                    <a:pt x="3212" y="600"/>
                  </a:cubicBezTo>
                  <a:cubicBezTo>
                    <a:pt x="3271" y="580"/>
                    <a:pt x="3317" y="586"/>
                    <a:pt x="3364" y="547"/>
                  </a:cubicBezTo>
                  <a:cubicBezTo>
                    <a:pt x="3397" y="521"/>
                    <a:pt x="3383" y="481"/>
                    <a:pt x="3410" y="461"/>
                  </a:cubicBezTo>
                  <a:cubicBezTo>
                    <a:pt x="3443" y="428"/>
                    <a:pt x="3476" y="441"/>
                    <a:pt x="3522" y="435"/>
                  </a:cubicBezTo>
                  <a:cubicBezTo>
                    <a:pt x="3680" y="428"/>
                    <a:pt x="3680" y="428"/>
                    <a:pt x="3680" y="428"/>
                  </a:cubicBezTo>
                  <a:lnTo>
                    <a:pt x="3680" y="428"/>
                  </a:lnTo>
                  <a:cubicBezTo>
                    <a:pt x="3680" y="468"/>
                    <a:pt x="3641" y="488"/>
                    <a:pt x="3641" y="527"/>
                  </a:cubicBezTo>
                  <a:cubicBezTo>
                    <a:pt x="3641" y="560"/>
                    <a:pt x="3641" y="580"/>
                    <a:pt x="3641" y="613"/>
                  </a:cubicBezTo>
                  <a:cubicBezTo>
                    <a:pt x="3641" y="685"/>
                    <a:pt x="3575" y="718"/>
                    <a:pt x="3575" y="791"/>
                  </a:cubicBezTo>
                  <a:cubicBezTo>
                    <a:pt x="3575" y="850"/>
                    <a:pt x="3575" y="883"/>
                    <a:pt x="3575" y="942"/>
                  </a:cubicBezTo>
                  <a:cubicBezTo>
                    <a:pt x="3575" y="1041"/>
                    <a:pt x="3641" y="1087"/>
                    <a:pt x="3641" y="1186"/>
                  </a:cubicBezTo>
                  <a:cubicBezTo>
                    <a:pt x="3641" y="1298"/>
                    <a:pt x="3608" y="1357"/>
                    <a:pt x="3568" y="1463"/>
                  </a:cubicBezTo>
                  <a:lnTo>
                    <a:pt x="3568" y="1463"/>
                  </a:lnTo>
                  <a:cubicBezTo>
                    <a:pt x="3496" y="1463"/>
                    <a:pt x="3456" y="1436"/>
                    <a:pt x="3383" y="1436"/>
                  </a:cubicBezTo>
                  <a:cubicBezTo>
                    <a:pt x="3311" y="1436"/>
                    <a:pt x="3271" y="1482"/>
                    <a:pt x="3238" y="1542"/>
                  </a:cubicBezTo>
                  <a:cubicBezTo>
                    <a:pt x="3205" y="1601"/>
                    <a:pt x="3172" y="1634"/>
                    <a:pt x="3153" y="1700"/>
                  </a:cubicBezTo>
                  <a:cubicBezTo>
                    <a:pt x="3153" y="1713"/>
                    <a:pt x="3139" y="1713"/>
                    <a:pt x="3133" y="1726"/>
                  </a:cubicBezTo>
                  <a:cubicBezTo>
                    <a:pt x="3106" y="1799"/>
                    <a:pt x="3113" y="1852"/>
                    <a:pt x="3080" y="1924"/>
                  </a:cubicBezTo>
                  <a:cubicBezTo>
                    <a:pt x="3067" y="1944"/>
                    <a:pt x="3054" y="1957"/>
                    <a:pt x="3040" y="1977"/>
                  </a:cubicBezTo>
                  <a:cubicBezTo>
                    <a:pt x="3027" y="1997"/>
                    <a:pt x="3027" y="2017"/>
                    <a:pt x="3007" y="2023"/>
                  </a:cubicBezTo>
                  <a:lnTo>
                    <a:pt x="3007" y="2023"/>
                  </a:lnTo>
                  <a:cubicBezTo>
                    <a:pt x="2968" y="1990"/>
                    <a:pt x="2974" y="1951"/>
                    <a:pt x="2974" y="1905"/>
                  </a:cubicBezTo>
                  <a:cubicBezTo>
                    <a:pt x="2974" y="1872"/>
                    <a:pt x="2994" y="1858"/>
                    <a:pt x="2994" y="1832"/>
                  </a:cubicBezTo>
                  <a:cubicBezTo>
                    <a:pt x="3007" y="1779"/>
                    <a:pt x="3014" y="1746"/>
                    <a:pt x="3014" y="1687"/>
                  </a:cubicBezTo>
                  <a:cubicBezTo>
                    <a:pt x="3014" y="1661"/>
                    <a:pt x="3014" y="1641"/>
                    <a:pt x="2994" y="1628"/>
                  </a:cubicBezTo>
                  <a:cubicBezTo>
                    <a:pt x="2974" y="1608"/>
                    <a:pt x="2955" y="1614"/>
                    <a:pt x="2928" y="1601"/>
                  </a:cubicBezTo>
                  <a:cubicBezTo>
                    <a:pt x="2862" y="1575"/>
                    <a:pt x="2816" y="1562"/>
                    <a:pt x="2750" y="1562"/>
                  </a:cubicBezTo>
                  <a:cubicBezTo>
                    <a:pt x="2671" y="1562"/>
                    <a:pt x="2631" y="1562"/>
                    <a:pt x="2552" y="1562"/>
                  </a:cubicBezTo>
                  <a:cubicBezTo>
                    <a:pt x="2453" y="1562"/>
                    <a:pt x="2401" y="1542"/>
                    <a:pt x="2308" y="1542"/>
                  </a:cubicBezTo>
                  <a:cubicBezTo>
                    <a:pt x="2275" y="1542"/>
                    <a:pt x="2256" y="1529"/>
                    <a:pt x="2229" y="1542"/>
                  </a:cubicBezTo>
                  <a:cubicBezTo>
                    <a:pt x="2203" y="1555"/>
                    <a:pt x="2209" y="1581"/>
                    <a:pt x="2203" y="1608"/>
                  </a:cubicBezTo>
                  <a:cubicBezTo>
                    <a:pt x="2189" y="1661"/>
                    <a:pt x="2183" y="1687"/>
                    <a:pt x="2183" y="1740"/>
                  </a:cubicBezTo>
                  <a:cubicBezTo>
                    <a:pt x="2183" y="1773"/>
                    <a:pt x="2183" y="1786"/>
                    <a:pt x="2183" y="1812"/>
                  </a:cubicBezTo>
                  <a:cubicBezTo>
                    <a:pt x="2183" y="1825"/>
                    <a:pt x="2170" y="1832"/>
                    <a:pt x="2170" y="1845"/>
                  </a:cubicBezTo>
                  <a:cubicBezTo>
                    <a:pt x="2170" y="1905"/>
                    <a:pt x="2170" y="1938"/>
                    <a:pt x="2170" y="1997"/>
                  </a:cubicBezTo>
                  <a:cubicBezTo>
                    <a:pt x="2170" y="2043"/>
                    <a:pt x="2222" y="2056"/>
                    <a:pt x="2269" y="2063"/>
                  </a:cubicBezTo>
                  <a:cubicBezTo>
                    <a:pt x="2328" y="2069"/>
                    <a:pt x="2361" y="2083"/>
                    <a:pt x="2420" y="2089"/>
                  </a:cubicBezTo>
                  <a:cubicBezTo>
                    <a:pt x="2526" y="2103"/>
                    <a:pt x="2592" y="2136"/>
                    <a:pt x="2704" y="2136"/>
                  </a:cubicBezTo>
                  <a:cubicBezTo>
                    <a:pt x="2750" y="2136"/>
                    <a:pt x="2776" y="2129"/>
                    <a:pt x="2829" y="2122"/>
                  </a:cubicBezTo>
                  <a:cubicBezTo>
                    <a:pt x="2869" y="2122"/>
                    <a:pt x="2908" y="2116"/>
                    <a:pt x="2935" y="2083"/>
                  </a:cubicBezTo>
                  <a:cubicBezTo>
                    <a:pt x="2961" y="2063"/>
                    <a:pt x="2988" y="2050"/>
                    <a:pt x="3007" y="202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7" name="Freeform 37"/>
            <p:cNvSpPr>
              <a:spLocks noChangeArrowheads="1"/>
            </p:cNvSpPr>
            <p:nvPr/>
          </p:nvSpPr>
          <p:spPr bwMode="auto">
            <a:xfrm>
              <a:off x="7796500" y="7185020"/>
              <a:ext cx="304780" cy="219075"/>
            </a:xfrm>
            <a:custGeom>
              <a:avLst/>
              <a:gdLst>
                <a:gd name="T0" fmla="*/ 837 w 845"/>
                <a:gd name="T1" fmla="*/ 494 h 608"/>
                <a:gd name="T2" fmla="*/ 837 w 845"/>
                <a:gd name="T3" fmla="*/ 494 h 608"/>
                <a:gd name="T4" fmla="*/ 804 w 845"/>
                <a:gd name="T5" fmla="*/ 376 h 608"/>
                <a:gd name="T6" fmla="*/ 824 w 845"/>
                <a:gd name="T7" fmla="*/ 303 h 608"/>
                <a:gd name="T8" fmla="*/ 844 w 845"/>
                <a:gd name="T9" fmla="*/ 158 h 608"/>
                <a:gd name="T10" fmla="*/ 824 w 845"/>
                <a:gd name="T11" fmla="*/ 99 h 608"/>
                <a:gd name="T12" fmla="*/ 758 w 845"/>
                <a:gd name="T13" fmla="*/ 72 h 608"/>
                <a:gd name="T14" fmla="*/ 580 w 845"/>
                <a:gd name="T15" fmla="*/ 33 h 608"/>
                <a:gd name="T16" fmla="*/ 382 w 845"/>
                <a:gd name="T17" fmla="*/ 33 h 608"/>
                <a:gd name="T18" fmla="*/ 138 w 845"/>
                <a:gd name="T19" fmla="*/ 13 h 608"/>
                <a:gd name="T20" fmla="*/ 59 w 845"/>
                <a:gd name="T21" fmla="*/ 13 h 608"/>
                <a:gd name="T22" fmla="*/ 33 w 845"/>
                <a:gd name="T23" fmla="*/ 79 h 608"/>
                <a:gd name="T24" fmla="*/ 13 w 845"/>
                <a:gd name="T25" fmla="*/ 211 h 608"/>
                <a:gd name="T26" fmla="*/ 13 w 845"/>
                <a:gd name="T27" fmla="*/ 283 h 608"/>
                <a:gd name="T28" fmla="*/ 0 w 845"/>
                <a:gd name="T29" fmla="*/ 316 h 608"/>
                <a:gd name="T30" fmla="*/ 0 w 845"/>
                <a:gd name="T31" fmla="*/ 468 h 608"/>
                <a:gd name="T32" fmla="*/ 99 w 845"/>
                <a:gd name="T33" fmla="*/ 534 h 608"/>
                <a:gd name="T34" fmla="*/ 250 w 845"/>
                <a:gd name="T35" fmla="*/ 560 h 608"/>
                <a:gd name="T36" fmla="*/ 534 w 845"/>
                <a:gd name="T37" fmla="*/ 607 h 608"/>
                <a:gd name="T38" fmla="*/ 659 w 845"/>
                <a:gd name="T39" fmla="*/ 593 h 608"/>
                <a:gd name="T40" fmla="*/ 765 w 845"/>
                <a:gd name="T41" fmla="*/ 554 h 608"/>
                <a:gd name="T42" fmla="*/ 837 w 845"/>
                <a:gd name="T43" fmla="*/ 494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45" h="608">
                  <a:moveTo>
                    <a:pt x="837" y="494"/>
                  </a:moveTo>
                  <a:lnTo>
                    <a:pt x="837" y="494"/>
                  </a:lnTo>
                  <a:cubicBezTo>
                    <a:pt x="798" y="461"/>
                    <a:pt x="804" y="422"/>
                    <a:pt x="804" y="376"/>
                  </a:cubicBezTo>
                  <a:cubicBezTo>
                    <a:pt x="804" y="343"/>
                    <a:pt x="824" y="329"/>
                    <a:pt x="824" y="303"/>
                  </a:cubicBezTo>
                  <a:cubicBezTo>
                    <a:pt x="837" y="250"/>
                    <a:pt x="844" y="217"/>
                    <a:pt x="844" y="158"/>
                  </a:cubicBezTo>
                  <a:cubicBezTo>
                    <a:pt x="844" y="132"/>
                    <a:pt x="844" y="112"/>
                    <a:pt x="824" y="99"/>
                  </a:cubicBezTo>
                  <a:cubicBezTo>
                    <a:pt x="804" y="79"/>
                    <a:pt x="785" y="85"/>
                    <a:pt x="758" y="72"/>
                  </a:cubicBezTo>
                  <a:cubicBezTo>
                    <a:pt x="692" y="46"/>
                    <a:pt x="646" y="33"/>
                    <a:pt x="580" y="33"/>
                  </a:cubicBezTo>
                  <a:cubicBezTo>
                    <a:pt x="501" y="33"/>
                    <a:pt x="461" y="33"/>
                    <a:pt x="382" y="33"/>
                  </a:cubicBezTo>
                  <a:cubicBezTo>
                    <a:pt x="283" y="33"/>
                    <a:pt x="231" y="13"/>
                    <a:pt x="138" y="13"/>
                  </a:cubicBezTo>
                  <a:cubicBezTo>
                    <a:pt x="105" y="13"/>
                    <a:pt x="86" y="0"/>
                    <a:pt x="59" y="13"/>
                  </a:cubicBezTo>
                  <a:cubicBezTo>
                    <a:pt x="33" y="26"/>
                    <a:pt x="39" y="52"/>
                    <a:pt x="33" y="79"/>
                  </a:cubicBezTo>
                  <a:cubicBezTo>
                    <a:pt x="19" y="132"/>
                    <a:pt x="13" y="158"/>
                    <a:pt x="13" y="211"/>
                  </a:cubicBezTo>
                  <a:cubicBezTo>
                    <a:pt x="13" y="244"/>
                    <a:pt x="13" y="257"/>
                    <a:pt x="13" y="283"/>
                  </a:cubicBezTo>
                  <a:cubicBezTo>
                    <a:pt x="13" y="296"/>
                    <a:pt x="0" y="303"/>
                    <a:pt x="0" y="316"/>
                  </a:cubicBezTo>
                  <a:cubicBezTo>
                    <a:pt x="0" y="376"/>
                    <a:pt x="0" y="409"/>
                    <a:pt x="0" y="468"/>
                  </a:cubicBezTo>
                  <a:cubicBezTo>
                    <a:pt x="0" y="514"/>
                    <a:pt x="52" y="527"/>
                    <a:pt x="99" y="534"/>
                  </a:cubicBezTo>
                  <a:cubicBezTo>
                    <a:pt x="158" y="540"/>
                    <a:pt x="191" y="554"/>
                    <a:pt x="250" y="560"/>
                  </a:cubicBezTo>
                  <a:cubicBezTo>
                    <a:pt x="356" y="574"/>
                    <a:pt x="422" y="607"/>
                    <a:pt x="534" y="607"/>
                  </a:cubicBezTo>
                  <a:cubicBezTo>
                    <a:pt x="580" y="607"/>
                    <a:pt x="606" y="600"/>
                    <a:pt x="659" y="593"/>
                  </a:cubicBezTo>
                  <a:cubicBezTo>
                    <a:pt x="699" y="593"/>
                    <a:pt x="738" y="587"/>
                    <a:pt x="765" y="554"/>
                  </a:cubicBezTo>
                  <a:cubicBezTo>
                    <a:pt x="791" y="534"/>
                    <a:pt x="818" y="521"/>
                    <a:pt x="837" y="494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8" name="Freeform 38"/>
            <p:cNvSpPr>
              <a:spLocks noChangeArrowheads="1"/>
            </p:cNvSpPr>
            <p:nvPr/>
          </p:nvSpPr>
          <p:spPr bwMode="auto">
            <a:xfrm>
              <a:off x="8348914" y="8348658"/>
              <a:ext cx="690517" cy="433387"/>
            </a:xfrm>
            <a:custGeom>
              <a:avLst/>
              <a:gdLst>
                <a:gd name="T0" fmla="*/ 1556 w 1920"/>
                <a:gd name="T1" fmla="*/ 0 h 1202"/>
                <a:gd name="T2" fmla="*/ 1556 w 1920"/>
                <a:gd name="T3" fmla="*/ 0 h 1202"/>
                <a:gd name="T4" fmla="*/ 1609 w 1920"/>
                <a:gd name="T5" fmla="*/ 152 h 1202"/>
                <a:gd name="T6" fmla="*/ 1820 w 1920"/>
                <a:gd name="T7" fmla="*/ 185 h 1202"/>
                <a:gd name="T8" fmla="*/ 1919 w 1920"/>
                <a:gd name="T9" fmla="*/ 297 h 1202"/>
                <a:gd name="T10" fmla="*/ 1919 w 1920"/>
                <a:gd name="T11" fmla="*/ 297 h 1202"/>
                <a:gd name="T12" fmla="*/ 1906 w 1920"/>
                <a:gd name="T13" fmla="*/ 330 h 1202"/>
                <a:gd name="T14" fmla="*/ 1866 w 1920"/>
                <a:gd name="T15" fmla="*/ 396 h 1202"/>
                <a:gd name="T16" fmla="*/ 1860 w 1920"/>
                <a:gd name="T17" fmla="*/ 561 h 1202"/>
                <a:gd name="T18" fmla="*/ 1860 w 1920"/>
                <a:gd name="T19" fmla="*/ 667 h 1202"/>
                <a:gd name="T20" fmla="*/ 1748 w 1920"/>
                <a:gd name="T21" fmla="*/ 713 h 1202"/>
                <a:gd name="T22" fmla="*/ 1622 w 1920"/>
                <a:gd name="T23" fmla="*/ 746 h 1202"/>
                <a:gd name="T24" fmla="*/ 1385 w 1920"/>
                <a:gd name="T25" fmla="*/ 891 h 1202"/>
                <a:gd name="T26" fmla="*/ 1345 w 1920"/>
                <a:gd name="T27" fmla="*/ 1023 h 1202"/>
                <a:gd name="T28" fmla="*/ 1299 w 1920"/>
                <a:gd name="T29" fmla="*/ 1036 h 1202"/>
                <a:gd name="T30" fmla="*/ 1220 w 1920"/>
                <a:gd name="T31" fmla="*/ 1043 h 1202"/>
                <a:gd name="T32" fmla="*/ 1022 w 1920"/>
                <a:gd name="T33" fmla="*/ 1016 h 1202"/>
                <a:gd name="T34" fmla="*/ 864 w 1920"/>
                <a:gd name="T35" fmla="*/ 1036 h 1202"/>
                <a:gd name="T36" fmla="*/ 791 w 1920"/>
                <a:gd name="T37" fmla="*/ 964 h 1202"/>
                <a:gd name="T38" fmla="*/ 666 w 1920"/>
                <a:gd name="T39" fmla="*/ 1043 h 1202"/>
                <a:gd name="T40" fmla="*/ 600 w 1920"/>
                <a:gd name="T41" fmla="*/ 1043 h 1202"/>
                <a:gd name="T42" fmla="*/ 415 w 1920"/>
                <a:gd name="T43" fmla="*/ 970 h 1202"/>
                <a:gd name="T44" fmla="*/ 369 w 1920"/>
                <a:gd name="T45" fmla="*/ 1003 h 1202"/>
                <a:gd name="T46" fmla="*/ 290 w 1920"/>
                <a:gd name="T47" fmla="*/ 1036 h 1202"/>
                <a:gd name="T48" fmla="*/ 204 w 1920"/>
                <a:gd name="T49" fmla="*/ 990 h 1202"/>
                <a:gd name="T50" fmla="*/ 145 w 1920"/>
                <a:gd name="T51" fmla="*/ 1023 h 1202"/>
                <a:gd name="T52" fmla="*/ 105 w 1920"/>
                <a:gd name="T53" fmla="*/ 1049 h 1202"/>
                <a:gd name="T54" fmla="*/ 105 w 1920"/>
                <a:gd name="T55" fmla="*/ 1049 h 1202"/>
                <a:gd name="T56" fmla="*/ 118 w 1920"/>
                <a:gd name="T57" fmla="*/ 1155 h 1202"/>
                <a:gd name="T58" fmla="*/ 118 w 1920"/>
                <a:gd name="T59" fmla="*/ 1201 h 1202"/>
                <a:gd name="T60" fmla="*/ 85 w 1920"/>
                <a:gd name="T61" fmla="*/ 1201 h 1202"/>
                <a:gd name="T62" fmla="*/ 85 w 1920"/>
                <a:gd name="T63" fmla="*/ 1201 h 1202"/>
                <a:gd name="T64" fmla="*/ 6 w 1920"/>
                <a:gd name="T65" fmla="*/ 1161 h 1202"/>
                <a:gd name="T66" fmla="*/ 6 w 1920"/>
                <a:gd name="T67" fmla="*/ 1161 h 1202"/>
                <a:gd name="T68" fmla="*/ 0 w 1920"/>
                <a:gd name="T69" fmla="*/ 1148 h 1202"/>
                <a:gd name="T70" fmla="*/ 19 w 1920"/>
                <a:gd name="T71" fmla="*/ 1056 h 1202"/>
                <a:gd name="T72" fmla="*/ 52 w 1920"/>
                <a:gd name="T73" fmla="*/ 977 h 1202"/>
                <a:gd name="T74" fmla="*/ 296 w 1920"/>
                <a:gd name="T75" fmla="*/ 897 h 1202"/>
                <a:gd name="T76" fmla="*/ 296 w 1920"/>
                <a:gd name="T77" fmla="*/ 865 h 1202"/>
                <a:gd name="T78" fmla="*/ 270 w 1920"/>
                <a:gd name="T79" fmla="*/ 825 h 1202"/>
                <a:gd name="T80" fmla="*/ 230 w 1920"/>
                <a:gd name="T81" fmla="*/ 799 h 1202"/>
                <a:gd name="T82" fmla="*/ 165 w 1920"/>
                <a:gd name="T83" fmla="*/ 799 h 1202"/>
                <a:gd name="T84" fmla="*/ 66 w 1920"/>
                <a:gd name="T85" fmla="*/ 766 h 1202"/>
                <a:gd name="T86" fmla="*/ 98 w 1920"/>
                <a:gd name="T87" fmla="*/ 647 h 1202"/>
                <a:gd name="T88" fmla="*/ 98 w 1920"/>
                <a:gd name="T89" fmla="*/ 647 h 1202"/>
                <a:gd name="T90" fmla="*/ 296 w 1920"/>
                <a:gd name="T91" fmla="*/ 574 h 1202"/>
                <a:gd name="T92" fmla="*/ 646 w 1920"/>
                <a:gd name="T93" fmla="*/ 515 h 1202"/>
                <a:gd name="T94" fmla="*/ 963 w 1920"/>
                <a:gd name="T95" fmla="*/ 515 h 1202"/>
                <a:gd name="T96" fmla="*/ 1088 w 1920"/>
                <a:gd name="T97" fmla="*/ 489 h 1202"/>
                <a:gd name="T98" fmla="*/ 1226 w 1920"/>
                <a:gd name="T99" fmla="*/ 442 h 1202"/>
                <a:gd name="T100" fmla="*/ 1286 w 1920"/>
                <a:gd name="T101" fmla="*/ 291 h 1202"/>
                <a:gd name="T102" fmla="*/ 1338 w 1920"/>
                <a:gd name="T103" fmla="*/ 166 h 1202"/>
                <a:gd name="T104" fmla="*/ 1405 w 1920"/>
                <a:gd name="T105" fmla="*/ 47 h 1202"/>
                <a:gd name="T106" fmla="*/ 1556 w 1920"/>
                <a:gd name="T107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20" h="1202">
                  <a:moveTo>
                    <a:pt x="1556" y="0"/>
                  </a:moveTo>
                  <a:lnTo>
                    <a:pt x="1556" y="0"/>
                  </a:lnTo>
                  <a:cubicBezTo>
                    <a:pt x="1576" y="60"/>
                    <a:pt x="1556" y="126"/>
                    <a:pt x="1609" y="152"/>
                  </a:cubicBezTo>
                  <a:cubicBezTo>
                    <a:pt x="1681" y="185"/>
                    <a:pt x="1734" y="166"/>
                    <a:pt x="1820" y="185"/>
                  </a:cubicBezTo>
                  <a:cubicBezTo>
                    <a:pt x="1873" y="198"/>
                    <a:pt x="1879" y="258"/>
                    <a:pt x="1919" y="297"/>
                  </a:cubicBezTo>
                  <a:lnTo>
                    <a:pt x="1919" y="297"/>
                  </a:lnTo>
                  <a:cubicBezTo>
                    <a:pt x="1912" y="311"/>
                    <a:pt x="1906" y="317"/>
                    <a:pt x="1906" y="330"/>
                  </a:cubicBezTo>
                  <a:cubicBezTo>
                    <a:pt x="1893" y="363"/>
                    <a:pt x="1879" y="377"/>
                    <a:pt x="1866" y="396"/>
                  </a:cubicBezTo>
                  <a:cubicBezTo>
                    <a:pt x="1833" y="449"/>
                    <a:pt x="1860" y="495"/>
                    <a:pt x="1860" y="561"/>
                  </a:cubicBezTo>
                  <a:cubicBezTo>
                    <a:pt x="1860" y="601"/>
                    <a:pt x="1879" y="627"/>
                    <a:pt x="1860" y="667"/>
                  </a:cubicBezTo>
                  <a:cubicBezTo>
                    <a:pt x="1833" y="700"/>
                    <a:pt x="1794" y="700"/>
                    <a:pt x="1748" y="713"/>
                  </a:cubicBezTo>
                  <a:cubicBezTo>
                    <a:pt x="1701" y="726"/>
                    <a:pt x="1675" y="739"/>
                    <a:pt x="1622" y="746"/>
                  </a:cubicBezTo>
                  <a:cubicBezTo>
                    <a:pt x="1523" y="772"/>
                    <a:pt x="1457" y="812"/>
                    <a:pt x="1385" y="891"/>
                  </a:cubicBezTo>
                  <a:cubicBezTo>
                    <a:pt x="1332" y="911"/>
                    <a:pt x="1378" y="977"/>
                    <a:pt x="1345" y="1023"/>
                  </a:cubicBezTo>
                  <a:cubicBezTo>
                    <a:pt x="1332" y="1036"/>
                    <a:pt x="1319" y="1029"/>
                    <a:pt x="1299" y="1036"/>
                  </a:cubicBezTo>
                  <a:cubicBezTo>
                    <a:pt x="1266" y="1043"/>
                    <a:pt x="1253" y="1043"/>
                    <a:pt x="1220" y="1043"/>
                  </a:cubicBezTo>
                  <a:cubicBezTo>
                    <a:pt x="1141" y="1043"/>
                    <a:pt x="1094" y="1016"/>
                    <a:pt x="1022" y="1016"/>
                  </a:cubicBezTo>
                  <a:cubicBezTo>
                    <a:pt x="956" y="1016"/>
                    <a:pt x="923" y="1036"/>
                    <a:pt x="864" y="1036"/>
                  </a:cubicBezTo>
                  <a:cubicBezTo>
                    <a:pt x="824" y="1036"/>
                    <a:pt x="831" y="964"/>
                    <a:pt x="791" y="964"/>
                  </a:cubicBezTo>
                  <a:cubicBezTo>
                    <a:pt x="738" y="964"/>
                    <a:pt x="725" y="1043"/>
                    <a:pt x="666" y="1043"/>
                  </a:cubicBezTo>
                  <a:cubicBezTo>
                    <a:pt x="639" y="1043"/>
                    <a:pt x="626" y="1043"/>
                    <a:pt x="600" y="1043"/>
                  </a:cubicBezTo>
                  <a:cubicBezTo>
                    <a:pt x="521" y="1043"/>
                    <a:pt x="488" y="970"/>
                    <a:pt x="415" y="970"/>
                  </a:cubicBezTo>
                  <a:cubicBezTo>
                    <a:pt x="395" y="970"/>
                    <a:pt x="389" y="990"/>
                    <a:pt x="369" y="1003"/>
                  </a:cubicBezTo>
                  <a:cubicBezTo>
                    <a:pt x="343" y="1023"/>
                    <a:pt x="323" y="1036"/>
                    <a:pt x="290" y="1036"/>
                  </a:cubicBezTo>
                  <a:cubicBezTo>
                    <a:pt x="250" y="1036"/>
                    <a:pt x="244" y="990"/>
                    <a:pt x="204" y="990"/>
                  </a:cubicBezTo>
                  <a:cubicBezTo>
                    <a:pt x="178" y="990"/>
                    <a:pt x="171" y="1010"/>
                    <a:pt x="145" y="1023"/>
                  </a:cubicBezTo>
                  <a:cubicBezTo>
                    <a:pt x="125" y="1029"/>
                    <a:pt x="112" y="1029"/>
                    <a:pt x="105" y="1049"/>
                  </a:cubicBezTo>
                  <a:lnTo>
                    <a:pt x="105" y="1049"/>
                  </a:lnTo>
                  <a:cubicBezTo>
                    <a:pt x="118" y="1155"/>
                    <a:pt x="118" y="1155"/>
                    <a:pt x="118" y="1155"/>
                  </a:cubicBezTo>
                  <a:cubicBezTo>
                    <a:pt x="118" y="1201"/>
                    <a:pt x="118" y="1201"/>
                    <a:pt x="118" y="1201"/>
                  </a:cubicBezTo>
                  <a:cubicBezTo>
                    <a:pt x="85" y="1201"/>
                    <a:pt x="85" y="1201"/>
                    <a:pt x="85" y="1201"/>
                  </a:cubicBezTo>
                  <a:lnTo>
                    <a:pt x="85" y="1201"/>
                  </a:lnTo>
                  <a:cubicBezTo>
                    <a:pt x="59" y="1175"/>
                    <a:pt x="39" y="1161"/>
                    <a:pt x="6" y="1161"/>
                  </a:cubicBezTo>
                  <a:lnTo>
                    <a:pt x="6" y="1161"/>
                  </a:lnTo>
                  <a:cubicBezTo>
                    <a:pt x="6" y="1155"/>
                    <a:pt x="0" y="1155"/>
                    <a:pt x="0" y="1148"/>
                  </a:cubicBezTo>
                  <a:cubicBezTo>
                    <a:pt x="0" y="1115"/>
                    <a:pt x="13" y="1089"/>
                    <a:pt x="19" y="1056"/>
                  </a:cubicBezTo>
                  <a:cubicBezTo>
                    <a:pt x="26" y="1023"/>
                    <a:pt x="26" y="996"/>
                    <a:pt x="52" y="977"/>
                  </a:cubicBezTo>
                  <a:cubicBezTo>
                    <a:pt x="132" y="917"/>
                    <a:pt x="197" y="897"/>
                    <a:pt x="296" y="897"/>
                  </a:cubicBezTo>
                  <a:cubicBezTo>
                    <a:pt x="296" y="884"/>
                    <a:pt x="296" y="878"/>
                    <a:pt x="296" y="865"/>
                  </a:cubicBezTo>
                  <a:cubicBezTo>
                    <a:pt x="296" y="845"/>
                    <a:pt x="283" y="838"/>
                    <a:pt x="270" y="825"/>
                  </a:cubicBezTo>
                  <a:cubicBezTo>
                    <a:pt x="257" y="812"/>
                    <a:pt x="250" y="799"/>
                    <a:pt x="230" y="799"/>
                  </a:cubicBezTo>
                  <a:cubicBezTo>
                    <a:pt x="204" y="799"/>
                    <a:pt x="191" y="799"/>
                    <a:pt x="165" y="799"/>
                  </a:cubicBezTo>
                  <a:cubicBezTo>
                    <a:pt x="125" y="799"/>
                    <a:pt x="66" y="805"/>
                    <a:pt x="66" y="766"/>
                  </a:cubicBezTo>
                  <a:cubicBezTo>
                    <a:pt x="66" y="720"/>
                    <a:pt x="79" y="686"/>
                    <a:pt x="98" y="647"/>
                  </a:cubicBezTo>
                  <a:lnTo>
                    <a:pt x="98" y="647"/>
                  </a:lnTo>
                  <a:cubicBezTo>
                    <a:pt x="171" y="607"/>
                    <a:pt x="217" y="588"/>
                    <a:pt x="296" y="574"/>
                  </a:cubicBezTo>
                  <a:cubicBezTo>
                    <a:pt x="428" y="541"/>
                    <a:pt x="507" y="515"/>
                    <a:pt x="646" y="515"/>
                  </a:cubicBezTo>
                  <a:cubicBezTo>
                    <a:pt x="765" y="515"/>
                    <a:pt x="837" y="515"/>
                    <a:pt x="963" y="515"/>
                  </a:cubicBezTo>
                  <a:cubicBezTo>
                    <a:pt x="1009" y="515"/>
                    <a:pt x="1042" y="502"/>
                    <a:pt x="1088" y="489"/>
                  </a:cubicBezTo>
                  <a:cubicBezTo>
                    <a:pt x="1141" y="475"/>
                    <a:pt x="1187" y="482"/>
                    <a:pt x="1226" y="442"/>
                  </a:cubicBezTo>
                  <a:cubicBezTo>
                    <a:pt x="1266" y="396"/>
                    <a:pt x="1253" y="343"/>
                    <a:pt x="1286" y="291"/>
                  </a:cubicBezTo>
                  <a:cubicBezTo>
                    <a:pt x="1306" y="245"/>
                    <a:pt x="1319" y="212"/>
                    <a:pt x="1338" y="166"/>
                  </a:cubicBezTo>
                  <a:cubicBezTo>
                    <a:pt x="1358" y="113"/>
                    <a:pt x="1358" y="73"/>
                    <a:pt x="1405" y="47"/>
                  </a:cubicBezTo>
                  <a:cubicBezTo>
                    <a:pt x="1457" y="14"/>
                    <a:pt x="1497" y="20"/>
                    <a:pt x="1556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79" name="Freeform 39"/>
            <p:cNvSpPr>
              <a:spLocks noChangeArrowheads="1"/>
            </p:cNvSpPr>
            <p:nvPr/>
          </p:nvSpPr>
          <p:spPr bwMode="auto">
            <a:xfrm>
              <a:off x="8909264" y="7840657"/>
              <a:ext cx="434947" cy="615950"/>
            </a:xfrm>
            <a:custGeom>
              <a:avLst/>
              <a:gdLst>
                <a:gd name="T0" fmla="*/ 950 w 1208"/>
                <a:gd name="T1" fmla="*/ 0 h 1709"/>
                <a:gd name="T2" fmla="*/ 950 w 1208"/>
                <a:gd name="T3" fmla="*/ 0 h 1709"/>
                <a:gd name="T4" fmla="*/ 983 w 1208"/>
                <a:gd name="T5" fmla="*/ 106 h 1709"/>
                <a:gd name="T6" fmla="*/ 1023 w 1208"/>
                <a:gd name="T7" fmla="*/ 119 h 1709"/>
                <a:gd name="T8" fmla="*/ 1207 w 1208"/>
                <a:gd name="T9" fmla="*/ 211 h 1709"/>
                <a:gd name="T10" fmla="*/ 1207 w 1208"/>
                <a:gd name="T11" fmla="*/ 211 h 1709"/>
                <a:gd name="T12" fmla="*/ 1194 w 1208"/>
                <a:gd name="T13" fmla="*/ 284 h 1709"/>
                <a:gd name="T14" fmla="*/ 1194 w 1208"/>
                <a:gd name="T15" fmla="*/ 402 h 1709"/>
                <a:gd name="T16" fmla="*/ 1108 w 1208"/>
                <a:gd name="T17" fmla="*/ 772 h 1709"/>
                <a:gd name="T18" fmla="*/ 1082 w 1208"/>
                <a:gd name="T19" fmla="*/ 831 h 1709"/>
                <a:gd name="T20" fmla="*/ 1023 w 1208"/>
                <a:gd name="T21" fmla="*/ 857 h 1709"/>
                <a:gd name="T22" fmla="*/ 831 w 1208"/>
                <a:gd name="T23" fmla="*/ 1062 h 1709"/>
                <a:gd name="T24" fmla="*/ 726 w 1208"/>
                <a:gd name="T25" fmla="*/ 1220 h 1709"/>
                <a:gd name="T26" fmla="*/ 660 w 1208"/>
                <a:gd name="T27" fmla="*/ 1365 h 1709"/>
                <a:gd name="T28" fmla="*/ 535 w 1208"/>
                <a:gd name="T29" fmla="*/ 1484 h 1709"/>
                <a:gd name="T30" fmla="*/ 363 w 1208"/>
                <a:gd name="T31" fmla="*/ 1708 h 1709"/>
                <a:gd name="T32" fmla="*/ 363 w 1208"/>
                <a:gd name="T33" fmla="*/ 1708 h 1709"/>
                <a:gd name="T34" fmla="*/ 264 w 1208"/>
                <a:gd name="T35" fmla="*/ 1596 h 1709"/>
                <a:gd name="T36" fmla="*/ 53 w 1208"/>
                <a:gd name="T37" fmla="*/ 1563 h 1709"/>
                <a:gd name="T38" fmla="*/ 0 w 1208"/>
                <a:gd name="T39" fmla="*/ 1411 h 1709"/>
                <a:gd name="T40" fmla="*/ 0 w 1208"/>
                <a:gd name="T41" fmla="*/ 1411 h 1709"/>
                <a:gd name="T42" fmla="*/ 40 w 1208"/>
                <a:gd name="T43" fmla="*/ 1273 h 1709"/>
                <a:gd name="T44" fmla="*/ 40 w 1208"/>
                <a:gd name="T45" fmla="*/ 1200 h 1709"/>
                <a:gd name="T46" fmla="*/ 145 w 1208"/>
                <a:gd name="T47" fmla="*/ 1075 h 1709"/>
                <a:gd name="T48" fmla="*/ 238 w 1208"/>
                <a:gd name="T49" fmla="*/ 1003 h 1709"/>
                <a:gd name="T50" fmla="*/ 376 w 1208"/>
                <a:gd name="T51" fmla="*/ 950 h 1709"/>
                <a:gd name="T52" fmla="*/ 455 w 1208"/>
                <a:gd name="T53" fmla="*/ 831 h 1709"/>
                <a:gd name="T54" fmla="*/ 521 w 1208"/>
                <a:gd name="T55" fmla="*/ 673 h 1709"/>
                <a:gd name="T56" fmla="*/ 554 w 1208"/>
                <a:gd name="T57" fmla="*/ 541 h 1709"/>
                <a:gd name="T58" fmla="*/ 541 w 1208"/>
                <a:gd name="T59" fmla="*/ 488 h 1709"/>
                <a:gd name="T60" fmla="*/ 574 w 1208"/>
                <a:gd name="T61" fmla="*/ 462 h 1709"/>
                <a:gd name="T62" fmla="*/ 634 w 1208"/>
                <a:gd name="T63" fmla="*/ 416 h 1709"/>
                <a:gd name="T64" fmla="*/ 594 w 1208"/>
                <a:gd name="T65" fmla="*/ 310 h 1709"/>
                <a:gd name="T66" fmla="*/ 640 w 1208"/>
                <a:gd name="T67" fmla="*/ 264 h 1709"/>
                <a:gd name="T68" fmla="*/ 680 w 1208"/>
                <a:gd name="T69" fmla="*/ 191 h 1709"/>
                <a:gd name="T70" fmla="*/ 739 w 1208"/>
                <a:gd name="T71" fmla="*/ 66 h 1709"/>
                <a:gd name="T72" fmla="*/ 831 w 1208"/>
                <a:gd name="T73" fmla="*/ 26 h 1709"/>
                <a:gd name="T74" fmla="*/ 950 w 1208"/>
                <a:gd name="T75" fmla="*/ 0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08" h="1709">
                  <a:moveTo>
                    <a:pt x="950" y="0"/>
                  </a:moveTo>
                  <a:lnTo>
                    <a:pt x="950" y="0"/>
                  </a:lnTo>
                  <a:cubicBezTo>
                    <a:pt x="950" y="40"/>
                    <a:pt x="943" y="79"/>
                    <a:pt x="983" y="106"/>
                  </a:cubicBezTo>
                  <a:cubicBezTo>
                    <a:pt x="990" y="112"/>
                    <a:pt x="1009" y="112"/>
                    <a:pt x="1023" y="119"/>
                  </a:cubicBezTo>
                  <a:cubicBezTo>
                    <a:pt x="1095" y="145"/>
                    <a:pt x="1135" y="185"/>
                    <a:pt x="1207" y="211"/>
                  </a:cubicBezTo>
                  <a:lnTo>
                    <a:pt x="1207" y="211"/>
                  </a:lnTo>
                  <a:cubicBezTo>
                    <a:pt x="1201" y="231"/>
                    <a:pt x="1194" y="257"/>
                    <a:pt x="1194" y="284"/>
                  </a:cubicBezTo>
                  <a:cubicBezTo>
                    <a:pt x="1194" y="330"/>
                    <a:pt x="1194" y="356"/>
                    <a:pt x="1194" y="402"/>
                  </a:cubicBezTo>
                  <a:cubicBezTo>
                    <a:pt x="1194" y="554"/>
                    <a:pt x="1188" y="646"/>
                    <a:pt x="1108" y="772"/>
                  </a:cubicBezTo>
                  <a:cubicBezTo>
                    <a:pt x="1095" y="792"/>
                    <a:pt x="1089" y="811"/>
                    <a:pt x="1082" y="831"/>
                  </a:cubicBezTo>
                  <a:cubicBezTo>
                    <a:pt x="1069" y="851"/>
                    <a:pt x="1042" y="844"/>
                    <a:pt x="1023" y="857"/>
                  </a:cubicBezTo>
                  <a:cubicBezTo>
                    <a:pt x="930" y="917"/>
                    <a:pt x="864" y="963"/>
                    <a:pt x="831" y="1062"/>
                  </a:cubicBezTo>
                  <a:cubicBezTo>
                    <a:pt x="805" y="1135"/>
                    <a:pt x="765" y="1161"/>
                    <a:pt x="726" y="1220"/>
                  </a:cubicBezTo>
                  <a:cubicBezTo>
                    <a:pt x="693" y="1273"/>
                    <a:pt x="693" y="1313"/>
                    <a:pt x="660" y="1365"/>
                  </a:cubicBezTo>
                  <a:cubicBezTo>
                    <a:pt x="620" y="1418"/>
                    <a:pt x="587" y="1438"/>
                    <a:pt x="535" y="1484"/>
                  </a:cubicBezTo>
                  <a:cubicBezTo>
                    <a:pt x="449" y="1557"/>
                    <a:pt x="409" y="1616"/>
                    <a:pt x="363" y="1708"/>
                  </a:cubicBezTo>
                  <a:lnTo>
                    <a:pt x="363" y="1708"/>
                  </a:lnTo>
                  <a:cubicBezTo>
                    <a:pt x="323" y="1669"/>
                    <a:pt x="317" y="1609"/>
                    <a:pt x="264" y="1596"/>
                  </a:cubicBezTo>
                  <a:cubicBezTo>
                    <a:pt x="178" y="1577"/>
                    <a:pt x="125" y="1596"/>
                    <a:pt x="53" y="1563"/>
                  </a:cubicBezTo>
                  <a:cubicBezTo>
                    <a:pt x="0" y="1537"/>
                    <a:pt x="20" y="1471"/>
                    <a:pt x="0" y="1411"/>
                  </a:cubicBezTo>
                  <a:lnTo>
                    <a:pt x="0" y="1411"/>
                  </a:lnTo>
                  <a:cubicBezTo>
                    <a:pt x="7" y="1365"/>
                    <a:pt x="40" y="1319"/>
                    <a:pt x="40" y="1273"/>
                  </a:cubicBezTo>
                  <a:cubicBezTo>
                    <a:pt x="40" y="1247"/>
                    <a:pt x="40" y="1234"/>
                    <a:pt x="40" y="1200"/>
                  </a:cubicBezTo>
                  <a:cubicBezTo>
                    <a:pt x="40" y="1141"/>
                    <a:pt x="99" y="1115"/>
                    <a:pt x="145" y="1075"/>
                  </a:cubicBezTo>
                  <a:cubicBezTo>
                    <a:pt x="185" y="1049"/>
                    <a:pt x="198" y="1022"/>
                    <a:pt x="238" y="1003"/>
                  </a:cubicBezTo>
                  <a:cubicBezTo>
                    <a:pt x="297" y="983"/>
                    <a:pt x="330" y="983"/>
                    <a:pt x="376" y="950"/>
                  </a:cubicBezTo>
                  <a:cubicBezTo>
                    <a:pt x="422" y="917"/>
                    <a:pt x="422" y="877"/>
                    <a:pt x="455" y="831"/>
                  </a:cubicBezTo>
                  <a:cubicBezTo>
                    <a:pt x="502" y="785"/>
                    <a:pt x="508" y="739"/>
                    <a:pt x="521" y="673"/>
                  </a:cubicBezTo>
                  <a:cubicBezTo>
                    <a:pt x="535" y="620"/>
                    <a:pt x="554" y="594"/>
                    <a:pt x="554" y="541"/>
                  </a:cubicBezTo>
                  <a:cubicBezTo>
                    <a:pt x="554" y="521"/>
                    <a:pt x="548" y="508"/>
                    <a:pt x="541" y="488"/>
                  </a:cubicBezTo>
                  <a:cubicBezTo>
                    <a:pt x="561" y="475"/>
                    <a:pt x="561" y="468"/>
                    <a:pt x="574" y="462"/>
                  </a:cubicBezTo>
                  <a:cubicBezTo>
                    <a:pt x="600" y="449"/>
                    <a:pt x="634" y="442"/>
                    <a:pt x="634" y="416"/>
                  </a:cubicBezTo>
                  <a:cubicBezTo>
                    <a:pt x="634" y="369"/>
                    <a:pt x="594" y="356"/>
                    <a:pt x="594" y="310"/>
                  </a:cubicBezTo>
                  <a:cubicBezTo>
                    <a:pt x="594" y="284"/>
                    <a:pt x="627" y="284"/>
                    <a:pt x="640" y="264"/>
                  </a:cubicBezTo>
                  <a:cubicBezTo>
                    <a:pt x="653" y="238"/>
                    <a:pt x="666" y="224"/>
                    <a:pt x="680" y="191"/>
                  </a:cubicBezTo>
                  <a:cubicBezTo>
                    <a:pt x="693" y="139"/>
                    <a:pt x="706" y="112"/>
                    <a:pt x="739" y="66"/>
                  </a:cubicBezTo>
                  <a:cubicBezTo>
                    <a:pt x="759" y="33"/>
                    <a:pt x="792" y="33"/>
                    <a:pt x="831" y="26"/>
                  </a:cubicBezTo>
                  <a:cubicBezTo>
                    <a:pt x="891" y="13"/>
                    <a:pt x="891" y="7"/>
                    <a:pt x="950" y="0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0" name="Freeform 40"/>
            <p:cNvSpPr>
              <a:spLocks noChangeArrowheads="1"/>
            </p:cNvSpPr>
            <p:nvPr/>
          </p:nvSpPr>
          <p:spPr bwMode="auto">
            <a:xfrm>
              <a:off x="7383776" y="7069132"/>
              <a:ext cx="1968372" cy="1562100"/>
            </a:xfrm>
            <a:custGeom>
              <a:avLst/>
              <a:gdLst>
                <a:gd name="T0" fmla="*/ 1893 w 5469"/>
                <a:gd name="T1" fmla="*/ 1009 h 4340"/>
                <a:gd name="T2" fmla="*/ 1893 w 5469"/>
                <a:gd name="T3" fmla="*/ 1286 h 4340"/>
                <a:gd name="T4" fmla="*/ 1853 w 5469"/>
                <a:gd name="T5" fmla="*/ 1556 h 4340"/>
                <a:gd name="T6" fmla="*/ 1801 w 5469"/>
                <a:gd name="T7" fmla="*/ 1932 h 4340"/>
                <a:gd name="T8" fmla="*/ 1458 w 5469"/>
                <a:gd name="T9" fmla="*/ 2011 h 4340"/>
                <a:gd name="T10" fmla="*/ 1141 w 5469"/>
                <a:gd name="T11" fmla="*/ 2011 h 4340"/>
                <a:gd name="T12" fmla="*/ 930 w 5469"/>
                <a:gd name="T13" fmla="*/ 1991 h 4340"/>
                <a:gd name="T14" fmla="*/ 745 w 5469"/>
                <a:gd name="T15" fmla="*/ 2018 h 4340"/>
                <a:gd name="T16" fmla="*/ 376 w 5469"/>
                <a:gd name="T17" fmla="*/ 2123 h 4340"/>
                <a:gd name="T18" fmla="*/ 257 w 5469"/>
                <a:gd name="T19" fmla="*/ 2235 h 4340"/>
                <a:gd name="T20" fmla="*/ 125 w 5469"/>
                <a:gd name="T21" fmla="*/ 2341 h 4340"/>
                <a:gd name="T22" fmla="*/ 0 w 5469"/>
                <a:gd name="T23" fmla="*/ 2605 h 4340"/>
                <a:gd name="T24" fmla="*/ 132 w 5469"/>
                <a:gd name="T25" fmla="*/ 2638 h 4340"/>
                <a:gd name="T26" fmla="*/ 541 w 5469"/>
                <a:gd name="T27" fmla="*/ 2691 h 4340"/>
                <a:gd name="T28" fmla="*/ 759 w 5469"/>
                <a:gd name="T29" fmla="*/ 2783 h 4340"/>
                <a:gd name="T30" fmla="*/ 792 w 5469"/>
                <a:gd name="T31" fmla="*/ 2948 h 4340"/>
                <a:gd name="T32" fmla="*/ 1247 w 5469"/>
                <a:gd name="T33" fmla="*/ 2882 h 4340"/>
                <a:gd name="T34" fmla="*/ 1524 w 5469"/>
                <a:gd name="T35" fmla="*/ 2862 h 4340"/>
                <a:gd name="T36" fmla="*/ 1741 w 5469"/>
                <a:gd name="T37" fmla="*/ 3073 h 4340"/>
                <a:gd name="T38" fmla="*/ 1761 w 5469"/>
                <a:gd name="T39" fmla="*/ 3449 h 4340"/>
                <a:gd name="T40" fmla="*/ 2025 w 5469"/>
                <a:gd name="T41" fmla="*/ 3693 h 4340"/>
                <a:gd name="T42" fmla="*/ 1999 w 5469"/>
                <a:gd name="T43" fmla="*/ 4161 h 4340"/>
                <a:gd name="T44" fmla="*/ 2309 w 5469"/>
                <a:gd name="T45" fmla="*/ 4201 h 4340"/>
                <a:gd name="T46" fmla="*/ 2553 w 5469"/>
                <a:gd name="T47" fmla="*/ 4188 h 4340"/>
                <a:gd name="T48" fmla="*/ 2783 w 5469"/>
                <a:gd name="T49" fmla="*/ 4201 h 4340"/>
                <a:gd name="T50" fmla="*/ 3648 w 5469"/>
                <a:gd name="T51" fmla="*/ 4069 h 4340"/>
                <a:gd name="T52" fmla="*/ 3971 w 5469"/>
                <a:gd name="T53" fmla="*/ 3845 h 4340"/>
                <a:gd name="T54" fmla="*/ 4241 w 5469"/>
                <a:gd name="T55" fmla="*/ 3554 h 4340"/>
                <a:gd name="T56" fmla="*/ 4281 w 5469"/>
                <a:gd name="T57" fmla="*/ 3343 h 4340"/>
                <a:gd name="T58" fmla="*/ 4617 w 5469"/>
                <a:gd name="T59" fmla="*/ 3093 h 4340"/>
                <a:gd name="T60" fmla="*/ 4795 w 5469"/>
                <a:gd name="T61" fmla="*/ 2684 h 4340"/>
                <a:gd name="T62" fmla="*/ 4875 w 5469"/>
                <a:gd name="T63" fmla="*/ 2559 h 4340"/>
                <a:gd name="T64" fmla="*/ 4921 w 5469"/>
                <a:gd name="T65" fmla="*/ 2334 h 4340"/>
                <a:gd name="T66" fmla="*/ 5191 w 5469"/>
                <a:gd name="T67" fmla="*/ 2143 h 4340"/>
                <a:gd name="T68" fmla="*/ 5257 w 5469"/>
                <a:gd name="T69" fmla="*/ 1939 h 4340"/>
                <a:gd name="T70" fmla="*/ 5369 w 5469"/>
                <a:gd name="T71" fmla="*/ 1516 h 4340"/>
                <a:gd name="T72" fmla="*/ 5231 w 5469"/>
                <a:gd name="T73" fmla="*/ 1002 h 4340"/>
                <a:gd name="T74" fmla="*/ 4888 w 5469"/>
                <a:gd name="T75" fmla="*/ 976 h 4340"/>
                <a:gd name="T76" fmla="*/ 4729 w 5469"/>
                <a:gd name="T77" fmla="*/ 725 h 4340"/>
                <a:gd name="T78" fmla="*/ 4386 w 5469"/>
                <a:gd name="T79" fmla="*/ 587 h 4340"/>
                <a:gd name="T80" fmla="*/ 4057 w 5469"/>
                <a:gd name="T81" fmla="*/ 329 h 4340"/>
                <a:gd name="T82" fmla="*/ 3733 w 5469"/>
                <a:gd name="T83" fmla="*/ 257 h 4340"/>
                <a:gd name="T84" fmla="*/ 3707 w 5469"/>
                <a:gd name="T85" fmla="*/ 59 h 4340"/>
                <a:gd name="T86" fmla="*/ 3509 w 5469"/>
                <a:gd name="T87" fmla="*/ 0 h 4340"/>
                <a:gd name="T88" fmla="*/ 3305 w 5469"/>
                <a:gd name="T89" fmla="*/ 59 h 4340"/>
                <a:gd name="T90" fmla="*/ 2737 w 5469"/>
                <a:gd name="T91" fmla="*/ 369 h 4340"/>
                <a:gd name="T92" fmla="*/ 2546 w 5469"/>
                <a:gd name="T93" fmla="*/ 257 h 4340"/>
                <a:gd name="T94" fmla="*/ 2131 w 5469"/>
                <a:gd name="T95" fmla="*/ 494 h 4340"/>
                <a:gd name="T96" fmla="*/ 2018 w 5469"/>
                <a:gd name="T97" fmla="*/ 771 h 4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69" h="4340">
                  <a:moveTo>
                    <a:pt x="1985" y="817"/>
                  </a:moveTo>
                  <a:lnTo>
                    <a:pt x="1985" y="817"/>
                  </a:lnTo>
                  <a:cubicBezTo>
                    <a:pt x="1979" y="897"/>
                    <a:pt x="1893" y="930"/>
                    <a:pt x="1893" y="1009"/>
                  </a:cubicBezTo>
                  <a:cubicBezTo>
                    <a:pt x="1893" y="1061"/>
                    <a:pt x="1939" y="1088"/>
                    <a:pt x="1939" y="1141"/>
                  </a:cubicBezTo>
                  <a:cubicBezTo>
                    <a:pt x="1939" y="1167"/>
                    <a:pt x="1939" y="1187"/>
                    <a:pt x="1939" y="1213"/>
                  </a:cubicBezTo>
                  <a:cubicBezTo>
                    <a:pt x="1939" y="1246"/>
                    <a:pt x="1906" y="1259"/>
                    <a:pt x="1893" y="1286"/>
                  </a:cubicBezTo>
                  <a:cubicBezTo>
                    <a:pt x="1873" y="1338"/>
                    <a:pt x="1860" y="1365"/>
                    <a:pt x="1840" y="1417"/>
                  </a:cubicBezTo>
                  <a:cubicBezTo>
                    <a:pt x="1827" y="1444"/>
                    <a:pt x="1814" y="1451"/>
                    <a:pt x="1814" y="1484"/>
                  </a:cubicBezTo>
                  <a:cubicBezTo>
                    <a:pt x="1814" y="1516"/>
                    <a:pt x="1834" y="1523"/>
                    <a:pt x="1853" y="1556"/>
                  </a:cubicBezTo>
                  <a:cubicBezTo>
                    <a:pt x="1860" y="1576"/>
                    <a:pt x="1886" y="1589"/>
                    <a:pt x="1886" y="1615"/>
                  </a:cubicBezTo>
                  <a:cubicBezTo>
                    <a:pt x="1886" y="1695"/>
                    <a:pt x="1801" y="1721"/>
                    <a:pt x="1801" y="1800"/>
                  </a:cubicBezTo>
                  <a:cubicBezTo>
                    <a:pt x="1801" y="1853"/>
                    <a:pt x="1801" y="1879"/>
                    <a:pt x="1801" y="1932"/>
                  </a:cubicBezTo>
                  <a:cubicBezTo>
                    <a:pt x="1715" y="1932"/>
                    <a:pt x="1675" y="1965"/>
                    <a:pt x="1603" y="2005"/>
                  </a:cubicBezTo>
                  <a:cubicBezTo>
                    <a:pt x="1570" y="2018"/>
                    <a:pt x="1557" y="2044"/>
                    <a:pt x="1524" y="2044"/>
                  </a:cubicBezTo>
                  <a:cubicBezTo>
                    <a:pt x="1497" y="2044"/>
                    <a:pt x="1484" y="2018"/>
                    <a:pt x="1458" y="2011"/>
                  </a:cubicBezTo>
                  <a:cubicBezTo>
                    <a:pt x="1411" y="2005"/>
                    <a:pt x="1379" y="2005"/>
                    <a:pt x="1326" y="2005"/>
                  </a:cubicBezTo>
                  <a:cubicBezTo>
                    <a:pt x="1286" y="2005"/>
                    <a:pt x="1260" y="2011"/>
                    <a:pt x="1220" y="2011"/>
                  </a:cubicBezTo>
                  <a:cubicBezTo>
                    <a:pt x="1187" y="2011"/>
                    <a:pt x="1167" y="2011"/>
                    <a:pt x="1141" y="2011"/>
                  </a:cubicBezTo>
                  <a:cubicBezTo>
                    <a:pt x="1108" y="2011"/>
                    <a:pt x="1088" y="2011"/>
                    <a:pt x="1062" y="1998"/>
                  </a:cubicBezTo>
                  <a:cubicBezTo>
                    <a:pt x="1036" y="1985"/>
                    <a:pt x="1029" y="1952"/>
                    <a:pt x="996" y="1952"/>
                  </a:cubicBezTo>
                  <a:cubicBezTo>
                    <a:pt x="970" y="1952"/>
                    <a:pt x="956" y="1978"/>
                    <a:pt x="930" y="1991"/>
                  </a:cubicBezTo>
                  <a:cubicBezTo>
                    <a:pt x="904" y="2005"/>
                    <a:pt x="884" y="2011"/>
                    <a:pt x="851" y="2024"/>
                  </a:cubicBezTo>
                  <a:cubicBezTo>
                    <a:pt x="825" y="2044"/>
                    <a:pt x="818" y="2071"/>
                    <a:pt x="792" y="2090"/>
                  </a:cubicBezTo>
                  <a:cubicBezTo>
                    <a:pt x="785" y="2057"/>
                    <a:pt x="778" y="2018"/>
                    <a:pt x="745" y="2018"/>
                  </a:cubicBezTo>
                  <a:cubicBezTo>
                    <a:pt x="726" y="2018"/>
                    <a:pt x="719" y="2044"/>
                    <a:pt x="699" y="2051"/>
                  </a:cubicBezTo>
                  <a:cubicBezTo>
                    <a:pt x="633" y="2071"/>
                    <a:pt x="587" y="2084"/>
                    <a:pt x="521" y="2110"/>
                  </a:cubicBezTo>
                  <a:cubicBezTo>
                    <a:pt x="468" y="2110"/>
                    <a:pt x="435" y="2117"/>
                    <a:pt x="376" y="2123"/>
                  </a:cubicBezTo>
                  <a:cubicBezTo>
                    <a:pt x="356" y="2130"/>
                    <a:pt x="337" y="2130"/>
                    <a:pt x="317" y="2143"/>
                  </a:cubicBezTo>
                  <a:cubicBezTo>
                    <a:pt x="303" y="2150"/>
                    <a:pt x="303" y="2163"/>
                    <a:pt x="290" y="2183"/>
                  </a:cubicBezTo>
                  <a:cubicBezTo>
                    <a:pt x="284" y="2202"/>
                    <a:pt x="270" y="2216"/>
                    <a:pt x="257" y="2235"/>
                  </a:cubicBezTo>
                  <a:cubicBezTo>
                    <a:pt x="244" y="2268"/>
                    <a:pt x="231" y="2282"/>
                    <a:pt x="205" y="2301"/>
                  </a:cubicBezTo>
                  <a:cubicBezTo>
                    <a:pt x="185" y="2308"/>
                    <a:pt x="185" y="2328"/>
                    <a:pt x="165" y="2334"/>
                  </a:cubicBezTo>
                  <a:cubicBezTo>
                    <a:pt x="145" y="2341"/>
                    <a:pt x="132" y="2334"/>
                    <a:pt x="125" y="2341"/>
                  </a:cubicBezTo>
                  <a:cubicBezTo>
                    <a:pt x="86" y="2367"/>
                    <a:pt x="79" y="2400"/>
                    <a:pt x="73" y="2446"/>
                  </a:cubicBezTo>
                  <a:lnTo>
                    <a:pt x="73" y="2446"/>
                  </a:lnTo>
                  <a:cubicBezTo>
                    <a:pt x="20" y="2493"/>
                    <a:pt x="0" y="2539"/>
                    <a:pt x="0" y="2605"/>
                  </a:cubicBezTo>
                  <a:cubicBezTo>
                    <a:pt x="0" y="2644"/>
                    <a:pt x="20" y="2664"/>
                    <a:pt x="13" y="2704"/>
                  </a:cubicBezTo>
                  <a:lnTo>
                    <a:pt x="13" y="2704"/>
                  </a:lnTo>
                  <a:cubicBezTo>
                    <a:pt x="46" y="2664"/>
                    <a:pt x="79" y="2638"/>
                    <a:pt x="132" y="2638"/>
                  </a:cubicBezTo>
                  <a:cubicBezTo>
                    <a:pt x="158" y="2638"/>
                    <a:pt x="178" y="2651"/>
                    <a:pt x="198" y="2664"/>
                  </a:cubicBezTo>
                  <a:cubicBezTo>
                    <a:pt x="257" y="2691"/>
                    <a:pt x="297" y="2691"/>
                    <a:pt x="356" y="2697"/>
                  </a:cubicBezTo>
                  <a:cubicBezTo>
                    <a:pt x="429" y="2697"/>
                    <a:pt x="468" y="2691"/>
                    <a:pt x="541" y="2691"/>
                  </a:cubicBezTo>
                  <a:cubicBezTo>
                    <a:pt x="587" y="2691"/>
                    <a:pt x="613" y="2691"/>
                    <a:pt x="660" y="2697"/>
                  </a:cubicBezTo>
                  <a:cubicBezTo>
                    <a:pt x="680" y="2704"/>
                    <a:pt x="693" y="2710"/>
                    <a:pt x="712" y="2710"/>
                  </a:cubicBezTo>
                  <a:cubicBezTo>
                    <a:pt x="739" y="2724"/>
                    <a:pt x="759" y="2750"/>
                    <a:pt x="759" y="2783"/>
                  </a:cubicBezTo>
                  <a:cubicBezTo>
                    <a:pt x="759" y="2823"/>
                    <a:pt x="739" y="2842"/>
                    <a:pt x="739" y="2882"/>
                  </a:cubicBezTo>
                  <a:cubicBezTo>
                    <a:pt x="739" y="2895"/>
                    <a:pt x="752" y="2902"/>
                    <a:pt x="759" y="2915"/>
                  </a:cubicBezTo>
                  <a:cubicBezTo>
                    <a:pt x="765" y="2928"/>
                    <a:pt x="772" y="2948"/>
                    <a:pt x="792" y="2948"/>
                  </a:cubicBezTo>
                  <a:cubicBezTo>
                    <a:pt x="825" y="2948"/>
                    <a:pt x="838" y="2902"/>
                    <a:pt x="871" y="2902"/>
                  </a:cubicBezTo>
                  <a:cubicBezTo>
                    <a:pt x="910" y="2902"/>
                    <a:pt x="917" y="2941"/>
                    <a:pt x="930" y="2974"/>
                  </a:cubicBezTo>
                  <a:cubicBezTo>
                    <a:pt x="1042" y="2908"/>
                    <a:pt x="1121" y="2882"/>
                    <a:pt x="1247" y="2882"/>
                  </a:cubicBezTo>
                  <a:cubicBezTo>
                    <a:pt x="1286" y="2882"/>
                    <a:pt x="1313" y="2895"/>
                    <a:pt x="1352" y="2895"/>
                  </a:cubicBezTo>
                  <a:cubicBezTo>
                    <a:pt x="1398" y="2895"/>
                    <a:pt x="1411" y="2849"/>
                    <a:pt x="1458" y="2849"/>
                  </a:cubicBezTo>
                  <a:cubicBezTo>
                    <a:pt x="1484" y="2849"/>
                    <a:pt x="1497" y="2862"/>
                    <a:pt x="1524" y="2862"/>
                  </a:cubicBezTo>
                  <a:cubicBezTo>
                    <a:pt x="1563" y="2862"/>
                    <a:pt x="1590" y="2849"/>
                    <a:pt x="1629" y="2849"/>
                  </a:cubicBezTo>
                  <a:cubicBezTo>
                    <a:pt x="1695" y="2849"/>
                    <a:pt x="1741" y="2915"/>
                    <a:pt x="1741" y="2981"/>
                  </a:cubicBezTo>
                  <a:cubicBezTo>
                    <a:pt x="1741" y="3020"/>
                    <a:pt x="1741" y="3034"/>
                    <a:pt x="1741" y="3073"/>
                  </a:cubicBezTo>
                  <a:cubicBezTo>
                    <a:pt x="1741" y="3093"/>
                    <a:pt x="1761" y="3106"/>
                    <a:pt x="1761" y="3126"/>
                  </a:cubicBezTo>
                  <a:cubicBezTo>
                    <a:pt x="1761" y="3198"/>
                    <a:pt x="1735" y="3238"/>
                    <a:pt x="1735" y="3304"/>
                  </a:cubicBezTo>
                  <a:cubicBezTo>
                    <a:pt x="1735" y="3363"/>
                    <a:pt x="1748" y="3396"/>
                    <a:pt x="1761" y="3449"/>
                  </a:cubicBezTo>
                  <a:cubicBezTo>
                    <a:pt x="1788" y="3502"/>
                    <a:pt x="1807" y="3541"/>
                    <a:pt x="1860" y="3548"/>
                  </a:cubicBezTo>
                  <a:cubicBezTo>
                    <a:pt x="1913" y="3554"/>
                    <a:pt x="1959" y="3535"/>
                    <a:pt x="1992" y="3574"/>
                  </a:cubicBezTo>
                  <a:cubicBezTo>
                    <a:pt x="2025" y="3607"/>
                    <a:pt x="2018" y="3647"/>
                    <a:pt x="2025" y="3693"/>
                  </a:cubicBezTo>
                  <a:cubicBezTo>
                    <a:pt x="1893" y="4029"/>
                    <a:pt x="1893" y="4029"/>
                    <a:pt x="1893" y="4029"/>
                  </a:cubicBezTo>
                  <a:cubicBezTo>
                    <a:pt x="1906" y="4056"/>
                    <a:pt x="1933" y="4062"/>
                    <a:pt x="1959" y="4076"/>
                  </a:cubicBezTo>
                  <a:cubicBezTo>
                    <a:pt x="1992" y="4095"/>
                    <a:pt x="1999" y="4128"/>
                    <a:pt x="1999" y="4161"/>
                  </a:cubicBezTo>
                  <a:cubicBezTo>
                    <a:pt x="1999" y="4194"/>
                    <a:pt x="1999" y="4214"/>
                    <a:pt x="1999" y="4247"/>
                  </a:cubicBezTo>
                  <a:cubicBezTo>
                    <a:pt x="1999" y="4320"/>
                    <a:pt x="2097" y="4339"/>
                    <a:pt x="2170" y="4339"/>
                  </a:cubicBezTo>
                  <a:cubicBezTo>
                    <a:pt x="2243" y="4339"/>
                    <a:pt x="2229" y="4201"/>
                    <a:pt x="2309" y="4201"/>
                  </a:cubicBezTo>
                  <a:cubicBezTo>
                    <a:pt x="2315" y="4201"/>
                    <a:pt x="2322" y="4221"/>
                    <a:pt x="2328" y="4227"/>
                  </a:cubicBezTo>
                  <a:cubicBezTo>
                    <a:pt x="2348" y="4234"/>
                    <a:pt x="2361" y="4234"/>
                    <a:pt x="2388" y="4234"/>
                  </a:cubicBezTo>
                  <a:cubicBezTo>
                    <a:pt x="2454" y="4234"/>
                    <a:pt x="2487" y="4188"/>
                    <a:pt x="2553" y="4188"/>
                  </a:cubicBezTo>
                  <a:cubicBezTo>
                    <a:pt x="2592" y="4188"/>
                    <a:pt x="2612" y="4188"/>
                    <a:pt x="2652" y="4188"/>
                  </a:cubicBezTo>
                  <a:cubicBezTo>
                    <a:pt x="2698" y="4188"/>
                    <a:pt x="2737" y="4201"/>
                    <a:pt x="2783" y="4201"/>
                  </a:cubicBezTo>
                  <a:lnTo>
                    <a:pt x="2783" y="4201"/>
                  </a:lnTo>
                  <a:cubicBezTo>
                    <a:pt x="2856" y="4161"/>
                    <a:pt x="2902" y="4142"/>
                    <a:pt x="2981" y="4128"/>
                  </a:cubicBezTo>
                  <a:cubicBezTo>
                    <a:pt x="3113" y="4095"/>
                    <a:pt x="3192" y="4069"/>
                    <a:pt x="3331" y="4069"/>
                  </a:cubicBezTo>
                  <a:cubicBezTo>
                    <a:pt x="3450" y="4069"/>
                    <a:pt x="3522" y="4069"/>
                    <a:pt x="3648" y="4069"/>
                  </a:cubicBezTo>
                  <a:cubicBezTo>
                    <a:pt x="3694" y="4069"/>
                    <a:pt x="3727" y="4056"/>
                    <a:pt x="3773" y="4043"/>
                  </a:cubicBezTo>
                  <a:cubicBezTo>
                    <a:pt x="3826" y="4029"/>
                    <a:pt x="3872" y="4036"/>
                    <a:pt x="3911" y="3996"/>
                  </a:cubicBezTo>
                  <a:cubicBezTo>
                    <a:pt x="3951" y="3950"/>
                    <a:pt x="3938" y="3897"/>
                    <a:pt x="3971" y="3845"/>
                  </a:cubicBezTo>
                  <a:cubicBezTo>
                    <a:pt x="3991" y="3799"/>
                    <a:pt x="4004" y="3766"/>
                    <a:pt x="4023" y="3720"/>
                  </a:cubicBezTo>
                  <a:cubicBezTo>
                    <a:pt x="4043" y="3667"/>
                    <a:pt x="4043" y="3627"/>
                    <a:pt x="4090" y="3601"/>
                  </a:cubicBezTo>
                  <a:cubicBezTo>
                    <a:pt x="4142" y="3568"/>
                    <a:pt x="4182" y="3574"/>
                    <a:pt x="4241" y="3554"/>
                  </a:cubicBezTo>
                  <a:lnTo>
                    <a:pt x="4241" y="3554"/>
                  </a:lnTo>
                  <a:cubicBezTo>
                    <a:pt x="4248" y="3508"/>
                    <a:pt x="4281" y="3462"/>
                    <a:pt x="4281" y="3416"/>
                  </a:cubicBezTo>
                  <a:cubicBezTo>
                    <a:pt x="4281" y="3390"/>
                    <a:pt x="4281" y="3377"/>
                    <a:pt x="4281" y="3343"/>
                  </a:cubicBezTo>
                  <a:cubicBezTo>
                    <a:pt x="4281" y="3284"/>
                    <a:pt x="4340" y="3258"/>
                    <a:pt x="4386" y="3218"/>
                  </a:cubicBezTo>
                  <a:cubicBezTo>
                    <a:pt x="4426" y="3192"/>
                    <a:pt x="4439" y="3165"/>
                    <a:pt x="4479" y="3146"/>
                  </a:cubicBezTo>
                  <a:cubicBezTo>
                    <a:pt x="4538" y="3126"/>
                    <a:pt x="4571" y="3126"/>
                    <a:pt x="4617" y="3093"/>
                  </a:cubicBezTo>
                  <a:cubicBezTo>
                    <a:pt x="4663" y="3060"/>
                    <a:pt x="4663" y="3020"/>
                    <a:pt x="4696" y="2974"/>
                  </a:cubicBezTo>
                  <a:cubicBezTo>
                    <a:pt x="4743" y="2928"/>
                    <a:pt x="4749" y="2882"/>
                    <a:pt x="4762" y="2816"/>
                  </a:cubicBezTo>
                  <a:cubicBezTo>
                    <a:pt x="4776" y="2763"/>
                    <a:pt x="4795" y="2737"/>
                    <a:pt x="4795" y="2684"/>
                  </a:cubicBezTo>
                  <a:cubicBezTo>
                    <a:pt x="4795" y="2664"/>
                    <a:pt x="4789" y="2651"/>
                    <a:pt x="4782" y="2631"/>
                  </a:cubicBezTo>
                  <a:cubicBezTo>
                    <a:pt x="4802" y="2618"/>
                    <a:pt x="4802" y="2611"/>
                    <a:pt x="4815" y="2605"/>
                  </a:cubicBezTo>
                  <a:cubicBezTo>
                    <a:pt x="4841" y="2592"/>
                    <a:pt x="4875" y="2585"/>
                    <a:pt x="4875" y="2559"/>
                  </a:cubicBezTo>
                  <a:cubicBezTo>
                    <a:pt x="4875" y="2512"/>
                    <a:pt x="4835" y="2499"/>
                    <a:pt x="4835" y="2453"/>
                  </a:cubicBezTo>
                  <a:cubicBezTo>
                    <a:pt x="4835" y="2427"/>
                    <a:pt x="4868" y="2427"/>
                    <a:pt x="4881" y="2407"/>
                  </a:cubicBezTo>
                  <a:cubicBezTo>
                    <a:pt x="4894" y="2381"/>
                    <a:pt x="4907" y="2367"/>
                    <a:pt x="4921" y="2334"/>
                  </a:cubicBezTo>
                  <a:cubicBezTo>
                    <a:pt x="4934" y="2282"/>
                    <a:pt x="4947" y="2255"/>
                    <a:pt x="4980" y="2209"/>
                  </a:cubicBezTo>
                  <a:cubicBezTo>
                    <a:pt x="5000" y="2176"/>
                    <a:pt x="5033" y="2176"/>
                    <a:pt x="5072" y="2169"/>
                  </a:cubicBezTo>
                  <a:cubicBezTo>
                    <a:pt x="5132" y="2156"/>
                    <a:pt x="5132" y="2150"/>
                    <a:pt x="5191" y="2143"/>
                  </a:cubicBezTo>
                  <a:lnTo>
                    <a:pt x="5191" y="2143"/>
                  </a:lnTo>
                  <a:cubicBezTo>
                    <a:pt x="5191" y="2130"/>
                    <a:pt x="5184" y="2137"/>
                    <a:pt x="5184" y="2123"/>
                  </a:cubicBezTo>
                  <a:cubicBezTo>
                    <a:pt x="5184" y="2051"/>
                    <a:pt x="5257" y="2018"/>
                    <a:pt x="5257" y="1939"/>
                  </a:cubicBezTo>
                  <a:cubicBezTo>
                    <a:pt x="5257" y="1912"/>
                    <a:pt x="5244" y="1899"/>
                    <a:pt x="5244" y="1879"/>
                  </a:cubicBezTo>
                  <a:cubicBezTo>
                    <a:pt x="5244" y="1827"/>
                    <a:pt x="5290" y="1813"/>
                    <a:pt x="5303" y="1767"/>
                  </a:cubicBezTo>
                  <a:cubicBezTo>
                    <a:pt x="5336" y="1668"/>
                    <a:pt x="5330" y="1609"/>
                    <a:pt x="5369" y="1516"/>
                  </a:cubicBezTo>
                  <a:cubicBezTo>
                    <a:pt x="5409" y="1424"/>
                    <a:pt x="5468" y="1378"/>
                    <a:pt x="5468" y="1279"/>
                  </a:cubicBezTo>
                  <a:cubicBezTo>
                    <a:pt x="5468" y="1187"/>
                    <a:pt x="5389" y="1154"/>
                    <a:pt x="5330" y="1081"/>
                  </a:cubicBezTo>
                  <a:cubicBezTo>
                    <a:pt x="5297" y="1048"/>
                    <a:pt x="5283" y="1009"/>
                    <a:pt x="5231" y="1002"/>
                  </a:cubicBezTo>
                  <a:cubicBezTo>
                    <a:pt x="5178" y="989"/>
                    <a:pt x="5145" y="1009"/>
                    <a:pt x="5092" y="982"/>
                  </a:cubicBezTo>
                  <a:cubicBezTo>
                    <a:pt x="5059" y="969"/>
                    <a:pt x="5039" y="949"/>
                    <a:pt x="5000" y="949"/>
                  </a:cubicBezTo>
                  <a:cubicBezTo>
                    <a:pt x="4954" y="949"/>
                    <a:pt x="4934" y="976"/>
                    <a:pt x="4888" y="976"/>
                  </a:cubicBezTo>
                  <a:cubicBezTo>
                    <a:pt x="4875" y="976"/>
                    <a:pt x="4875" y="956"/>
                    <a:pt x="4868" y="936"/>
                  </a:cubicBezTo>
                  <a:cubicBezTo>
                    <a:pt x="4861" y="903"/>
                    <a:pt x="4848" y="890"/>
                    <a:pt x="4828" y="863"/>
                  </a:cubicBezTo>
                  <a:cubicBezTo>
                    <a:pt x="4795" y="811"/>
                    <a:pt x="4776" y="771"/>
                    <a:pt x="4729" y="725"/>
                  </a:cubicBezTo>
                  <a:cubicBezTo>
                    <a:pt x="4683" y="672"/>
                    <a:pt x="4624" y="692"/>
                    <a:pt x="4558" y="666"/>
                  </a:cubicBezTo>
                  <a:cubicBezTo>
                    <a:pt x="4518" y="652"/>
                    <a:pt x="4498" y="639"/>
                    <a:pt x="4459" y="626"/>
                  </a:cubicBezTo>
                  <a:cubicBezTo>
                    <a:pt x="4433" y="613"/>
                    <a:pt x="4413" y="593"/>
                    <a:pt x="4386" y="587"/>
                  </a:cubicBezTo>
                  <a:cubicBezTo>
                    <a:pt x="4366" y="573"/>
                    <a:pt x="4347" y="573"/>
                    <a:pt x="4334" y="554"/>
                  </a:cubicBezTo>
                  <a:cubicBezTo>
                    <a:pt x="4314" y="527"/>
                    <a:pt x="4314" y="501"/>
                    <a:pt x="4287" y="474"/>
                  </a:cubicBezTo>
                  <a:cubicBezTo>
                    <a:pt x="4208" y="395"/>
                    <a:pt x="4149" y="369"/>
                    <a:pt x="4057" y="329"/>
                  </a:cubicBezTo>
                  <a:cubicBezTo>
                    <a:pt x="4017" y="309"/>
                    <a:pt x="4004" y="270"/>
                    <a:pt x="3964" y="270"/>
                  </a:cubicBezTo>
                  <a:cubicBezTo>
                    <a:pt x="3905" y="270"/>
                    <a:pt x="3878" y="316"/>
                    <a:pt x="3826" y="316"/>
                  </a:cubicBezTo>
                  <a:cubicBezTo>
                    <a:pt x="3786" y="316"/>
                    <a:pt x="3773" y="276"/>
                    <a:pt x="3733" y="257"/>
                  </a:cubicBezTo>
                  <a:cubicBezTo>
                    <a:pt x="3707" y="237"/>
                    <a:pt x="3661" y="237"/>
                    <a:pt x="3661" y="204"/>
                  </a:cubicBezTo>
                  <a:cubicBezTo>
                    <a:pt x="3661" y="171"/>
                    <a:pt x="3667" y="145"/>
                    <a:pt x="3680" y="118"/>
                  </a:cubicBezTo>
                  <a:cubicBezTo>
                    <a:pt x="3687" y="92"/>
                    <a:pt x="3707" y="85"/>
                    <a:pt x="3707" y="59"/>
                  </a:cubicBezTo>
                  <a:cubicBezTo>
                    <a:pt x="3707" y="33"/>
                    <a:pt x="3674" y="33"/>
                    <a:pt x="3648" y="26"/>
                  </a:cubicBezTo>
                  <a:cubicBezTo>
                    <a:pt x="3628" y="19"/>
                    <a:pt x="3615" y="0"/>
                    <a:pt x="3595" y="0"/>
                  </a:cubicBezTo>
                  <a:cubicBezTo>
                    <a:pt x="3562" y="0"/>
                    <a:pt x="3542" y="0"/>
                    <a:pt x="3509" y="0"/>
                  </a:cubicBezTo>
                  <a:cubicBezTo>
                    <a:pt x="3483" y="0"/>
                    <a:pt x="3469" y="19"/>
                    <a:pt x="3436" y="19"/>
                  </a:cubicBezTo>
                  <a:cubicBezTo>
                    <a:pt x="3410" y="19"/>
                    <a:pt x="3397" y="19"/>
                    <a:pt x="3371" y="19"/>
                  </a:cubicBezTo>
                  <a:cubicBezTo>
                    <a:pt x="3344" y="19"/>
                    <a:pt x="3331" y="39"/>
                    <a:pt x="3305" y="59"/>
                  </a:cubicBezTo>
                  <a:cubicBezTo>
                    <a:pt x="3265" y="85"/>
                    <a:pt x="3245" y="105"/>
                    <a:pt x="3212" y="132"/>
                  </a:cubicBezTo>
                  <a:cubicBezTo>
                    <a:pt x="3146" y="191"/>
                    <a:pt x="3100" y="197"/>
                    <a:pt x="3028" y="230"/>
                  </a:cubicBezTo>
                  <a:cubicBezTo>
                    <a:pt x="2909" y="276"/>
                    <a:pt x="2856" y="343"/>
                    <a:pt x="2737" y="369"/>
                  </a:cubicBezTo>
                  <a:cubicBezTo>
                    <a:pt x="2704" y="375"/>
                    <a:pt x="2691" y="402"/>
                    <a:pt x="2658" y="402"/>
                  </a:cubicBezTo>
                  <a:cubicBezTo>
                    <a:pt x="2586" y="402"/>
                    <a:pt x="2572" y="329"/>
                    <a:pt x="2546" y="257"/>
                  </a:cubicBezTo>
                  <a:lnTo>
                    <a:pt x="2546" y="257"/>
                  </a:lnTo>
                  <a:cubicBezTo>
                    <a:pt x="2474" y="257"/>
                    <a:pt x="2434" y="230"/>
                    <a:pt x="2361" y="230"/>
                  </a:cubicBezTo>
                  <a:cubicBezTo>
                    <a:pt x="2289" y="230"/>
                    <a:pt x="2249" y="276"/>
                    <a:pt x="2216" y="336"/>
                  </a:cubicBezTo>
                  <a:cubicBezTo>
                    <a:pt x="2183" y="395"/>
                    <a:pt x="2150" y="428"/>
                    <a:pt x="2131" y="494"/>
                  </a:cubicBezTo>
                  <a:cubicBezTo>
                    <a:pt x="2131" y="507"/>
                    <a:pt x="2117" y="507"/>
                    <a:pt x="2111" y="520"/>
                  </a:cubicBezTo>
                  <a:cubicBezTo>
                    <a:pt x="2084" y="593"/>
                    <a:pt x="2091" y="646"/>
                    <a:pt x="2058" y="718"/>
                  </a:cubicBezTo>
                  <a:cubicBezTo>
                    <a:pt x="2045" y="738"/>
                    <a:pt x="2032" y="751"/>
                    <a:pt x="2018" y="771"/>
                  </a:cubicBezTo>
                  <a:cubicBezTo>
                    <a:pt x="2005" y="791"/>
                    <a:pt x="2005" y="811"/>
                    <a:pt x="1985" y="817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1" name="Freeform 41"/>
            <p:cNvSpPr>
              <a:spLocks noChangeArrowheads="1"/>
            </p:cNvSpPr>
            <p:nvPr/>
          </p:nvSpPr>
          <p:spPr bwMode="auto">
            <a:xfrm>
              <a:off x="6705958" y="8501057"/>
              <a:ext cx="1068318" cy="774700"/>
            </a:xfrm>
            <a:custGeom>
              <a:avLst/>
              <a:gdLst>
                <a:gd name="T0" fmla="*/ 738 w 2968"/>
                <a:gd name="T1" fmla="*/ 6 h 2151"/>
                <a:gd name="T2" fmla="*/ 481 w 2968"/>
                <a:gd name="T3" fmla="*/ 277 h 2151"/>
                <a:gd name="T4" fmla="*/ 310 w 2968"/>
                <a:gd name="T5" fmla="*/ 501 h 2151"/>
                <a:gd name="T6" fmla="*/ 159 w 2968"/>
                <a:gd name="T7" fmla="*/ 712 h 2151"/>
                <a:gd name="T8" fmla="*/ 139 w 2968"/>
                <a:gd name="T9" fmla="*/ 804 h 2151"/>
                <a:gd name="T10" fmla="*/ 33 w 2968"/>
                <a:gd name="T11" fmla="*/ 1391 h 2151"/>
                <a:gd name="T12" fmla="*/ 13 w 2968"/>
                <a:gd name="T13" fmla="*/ 1444 h 2151"/>
                <a:gd name="T14" fmla="*/ 7 w 2968"/>
                <a:gd name="T15" fmla="*/ 1503 h 2151"/>
                <a:gd name="T16" fmla="*/ 86 w 2968"/>
                <a:gd name="T17" fmla="*/ 1510 h 2151"/>
                <a:gd name="T18" fmla="*/ 224 w 2968"/>
                <a:gd name="T19" fmla="*/ 1484 h 2151"/>
                <a:gd name="T20" fmla="*/ 284 w 2968"/>
                <a:gd name="T21" fmla="*/ 1537 h 2151"/>
                <a:gd name="T22" fmla="*/ 363 w 2968"/>
                <a:gd name="T23" fmla="*/ 1741 h 2151"/>
                <a:gd name="T24" fmla="*/ 330 w 2968"/>
                <a:gd name="T25" fmla="*/ 1866 h 2151"/>
                <a:gd name="T26" fmla="*/ 455 w 2968"/>
                <a:gd name="T27" fmla="*/ 1873 h 2151"/>
                <a:gd name="T28" fmla="*/ 632 w 2968"/>
                <a:gd name="T29" fmla="*/ 1893 h 2151"/>
                <a:gd name="T30" fmla="*/ 857 w 2968"/>
                <a:gd name="T31" fmla="*/ 1932 h 2151"/>
                <a:gd name="T32" fmla="*/ 1226 w 2968"/>
                <a:gd name="T33" fmla="*/ 2071 h 2151"/>
                <a:gd name="T34" fmla="*/ 1358 w 2968"/>
                <a:gd name="T35" fmla="*/ 2150 h 2151"/>
                <a:gd name="T36" fmla="*/ 1463 w 2968"/>
                <a:gd name="T37" fmla="*/ 1978 h 2151"/>
                <a:gd name="T38" fmla="*/ 1734 w 2968"/>
                <a:gd name="T39" fmla="*/ 1813 h 2151"/>
                <a:gd name="T40" fmla="*/ 2321 w 2968"/>
                <a:gd name="T41" fmla="*/ 1932 h 2151"/>
                <a:gd name="T42" fmla="*/ 2631 w 2968"/>
                <a:gd name="T43" fmla="*/ 1945 h 2151"/>
                <a:gd name="T44" fmla="*/ 2664 w 2968"/>
                <a:gd name="T45" fmla="*/ 1906 h 2151"/>
                <a:gd name="T46" fmla="*/ 2750 w 2968"/>
                <a:gd name="T47" fmla="*/ 1721 h 2151"/>
                <a:gd name="T48" fmla="*/ 2763 w 2968"/>
                <a:gd name="T49" fmla="*/ 1602 h 2151"/>
                <a:gd name="T50" fmla="*/ 2895 w 2968"/>
                <a:gd name="T51" fmla="*/ 1583 h 2151"/>
                <a:gd name="T52" fmla="*/ 2967 w 2968"/>
                <a:gd name="T53" fmla="*/ 1569 h 2151"/>
                <a:gd name="T54" fmla="*/ 2842 w 2968"/>
                <a:gd name="T55" fmla="*/ 1405 h 2151"/>
                <a:gd name="T56" fmla="*/ 2756 w 2968"/>
                <a:gd name="T57" fmla="*/ 1411 h 2151"/>
                <a:gd name="T58" fmla="*/ 2684 w 2968"/>
                <a:gd name="T59" fmla="*/ 1180 h 2151"/>
                <a:gd name="T60" fmla="*/ 2446 w 2968"/>
                <a:gd name="T61" fmla="*/ 1154 h 2151"/>
                <a:gd name="T62" fmla="*/ 2440 w 2968"/>
                <a:gd name="T63" fmla="*/ 1028 h 2151"/>
                <a:gd name="T64" fmla="*/ 2374 w 2968"/>
                <a:gd name="T65" fmla="*/ 745 h 2151"/>
                <a:gd name="T66" fmla="*/ 2400 w 2968"/>
                <a:gd name="T67" fmla="*/ 633 h 2151"/>
                <a:gd name="T68" fmla="*/ 2387 w 2968"/>
                <a:gd name="T69" fmla="*/ 521 h 2151"/>
                <a:gd name="T70" fmla="*/ 2361 w 2968"/>
                <a:gd name="T71" fmla="*/ 409 h 2151"/>
                <a:gd name="T72" fmla="*/ 2235 w 2968"/>
                <a:gd name="T73" fmla="*/ 303 h 2151"/>
                <a:gd name="T74" fmla="*/ 2018 w 2968"/>
                <a:gd name="T75" fmla="*/ 244 h 2151"/>
                <a:gd name="T76" fmla="*/ 1833 w 2968"/>
                <a:gd name="T77" fmla="*/ 244 h 2151"/>
                <a:gd name="T78" fmla="*/ 1741 w 2968"/>
                <a:gd name="T79" fmla="*/ 125 h 2151"/>
                <a:gd name="T80" fmla="*/ 1411 w 2968"/>
                <a:gd name="T81" fmla="*/ 19 h 2151"/>
                <a:gd name="T82" fmla="*/ 1239 w 2968"/>
                <a:gd name="T83" fmla="*/ 0 h 2151"/>
                <a:gd name="T84" fmla="*/ 1088 w 2968"/>
                <a:gd name="T85" fmla="*/ 46 h 2151"/>
                <a:gd name="T86" fmla="*/ 929 w 2968"/>
                <a:gd name="T87" fmla="*/ 26 h 2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68" h="2151">
                  <a:moveTo>
                    <a:pt x="738" y="6"/>
                  </a:moveTo>
                  <a:lnTo>
                    <a:pt x="738" y="6"/>
                  </a:lnTo>
                  <a:cubicBezTo>
                    <a:pt x="672" y="79"/>
                    <a:pt x="613" y="99"/>
                    <a:pt x="534" y="151"/>
                  </a:cubicBezTo>
                  <a:cubicBezTo>
                    <a:pt x="487" y="178"/>
                    <a:pt x="487" y="224"/>
                    <a:pt x="481" y="277"/>
                  </a:cubicBezTo>
                  <a:cubicBezTo>
                    <a:pt x="474" y="316"/>
                    <a:pt x="462" y="336"/>
                    <a:pt x="449" y="376"/>
                  </a:cubicBezTo>
                  <a:cubicBezTo>
                    <a:pt x="416" y="442"/>
                    <a:pt x="363" y="448"/>
                    <a:pt x="310" y="501"/>
                  </a:cubicBezTo>
                  <a:cubicBezTo>
                    <a:pt x="284" y="534"/>
                    <a:pt x="290" y="560"/>
                    <a:pt x="264" y="593"/>
                  </a:cubicBezTo>
                  <a:cubicBezTo>
                    <a:pt x="218" y="640"/>
                    <a:pt x="178" y="653"/>
                    <a:pt x="159" y="712"/>
                  </a:cubicBezTo>
                  <a:cubicBezTo>
                    <a:pt x="152" y="752"/>
                    <a:pt x="145" y="765"/>
                    <a:pt x="139" y="804"/>
                  </a:cubicBezTo>
                  <a:lnTo>
                    <a:pt x="139" y="804"/>
                  </a:lnTo>
                  <a:cubicBezTo>
                    <a:pt x="33" y="1391"/>
                    <a:pt x="33" y="1391"/>
                    <a:pt x="33" y="1391"/>
                  </a:cubicBezTo>
                  <a:lnTo>
                    <a:pt x="33" y="1391"/>
                  </a:lnTo>
                  <a:cubicBezTo>
                    <a:pt x="33" y="1398"/>
                    <a:pt x="27" y="1405"/>
                    <a:pt x="27" y="1411"/>
                  </a:cubicBezTo>
                  <a:cubicBezTo>
                    <a:pt x="20" y="1424"/>
                    <a:pt x="13" y="1431"/>
                    <a:pt x="13" y="1444"/>
                  </a:cubicBezTo>
                  <a:cubicBezTo>
                    <a:pt x="7" y="1457"/>
                    <a:pt x="0" y="1464"/>
                    <a:pt x="0" y="1470"/>
                  </a:cubicBezTo>
                  <a:cubicBezTo>
                    <a:pt x="0" y="1484"/>
                    <a:pt x="7" y="1497"/>
                    <a:pt x="7" y="1503"/>
                  </a:cubicBezTo>
                  <a:lnTo>
                    <a:pt x="7" y="1503"/>
                  </a:lnTo>
                  <a:cubicBezTo>
                    <a:pt x="33" y="1503"/>
                    <a:pt x="60" y="1510"/>
                    <a:pt x="86" y="1510"/>
                  </a:cubicBezTo>
                  <a:cubicBezTo>
                    <a:pt x="132" y="1497"/>
                    <a:pt x="159" y="1477"/>
                    <a:pt x="205" y="1477"/>
                  </a:cubicBezTo>
                  <a:cubicBezTo>
                    <a:pt x="211" y="1477"/>
                    <a:pt x="218" y="1477"/>
                    <a:pt x="224" y="1484"/>
                  </a:cubicBezTo>
                  <a:cubicBezTo>
                    <a:pt x="231" y="1490"/>
                    <a:pt x="238" y="1497"/>
                    <a:pt x="244" y="1503"/>
                  </a:cubicBezTo>
                  <a:cubicBezTo>
                    <a:pt x="251" y="1523"/>
                    <a:pt x="277" y="1517"/>
                    <a:pt x="284" y="1537"/>
                  </a:cubicBezTo>
                  <a:cubicBezTo>
                    <a:pt x="290" y="1556"/>
                    <a:pt x="290" y="1576"/>
                    <a:pt x="297" y="1602"/>
                  </a:cubicBezTo>
                  <a:cubicBezTo>
                    <a:pt x="317" y="1662"/>
                    <a:pt x="363" y="1682"/>
                    <a:pt x="363" y="1741"/>
                  </a:cubicBezTo>
                  <a:cubicBezTo>
                    <a:pt x="363" y="1794"/>
                    <a:pt x="343" y="1827"/>
                    <a:pt x="330" y="1866"/>
                  </a:cubicBezTo>
                  <a:lnTo>
                    <a:pt x="330" y="1866"/>
                  </a:lnTo>
                  <a:cubicBezTo>
                    <a:pt x="350" y="1866"/>
                    <a:pt x="363" y="1873"/>
                    <a:pt x="376" y="1873"/>
                  </a:cubicBezTo>
                  <a:cubicBezTo>
                    <a:pt x="409" y="1873"/>
                    <a:pt x="422" y="1873"/>
                    <a:pt x="455" y="1873"/>
                  </a:cubicBezTo>
                  <a:cubicBezTo>
                    <a:pt x="494" y="1873"/>
                    <a:pt x="507" y="1840"/>
                    <a:pt x="547" y="1840"/>
                  </a:cubicBezTo>
                  <a:cubicBezTo>
                    <a:pt x="586" y="1840"/>
                    <a:pt x="599" y="1879"/>
                    <a:pt x="632" y="1893"/>
                  </a:cubicBezTo>
                  <a:cubicBezTo>
                    <a:pt x="685" y="1919"/>
                    <a:pt x="718" y="1932"/>
                    <a:pt x="777" y="1932"/>
                  </a:cubicBezTo>
                  <a:cubicBezTo>
                    <a:pt x="810" y="1932"/>
                    <a:pt x="824" y="1932"/>
                    <a:pt x="857" y="1932"/>
                  </a:cubicBezTo>
                  <a:cubicBezTo>
                    <a:pt x="909" y="1932"/>
                    <a:pt x="929" y="1959"/>
                    <a:pt x="982" y="1972"/>
                  </a:cubicBezTo>
                  <a:cubicBezTo>
                    <a:pt x="1081" y="1998"/>
                    <a:pt x="1134" y="2031"/>
                    <a:pt x="1226" y="2071"/>
                  </a:cubicBezTo>
                  <a:cubicBezTo>
                    <a:pt x="1252" y="2084"/>
                    <a:pt x="1272" y="2091"/>
                    <a:pt x="1299" y="2104"/>
                  </a:cubicBezTo>
                  <a:cubicBezTo>
                    <a:pt x="1318" y="2123"/>
                    <a:pt x="1332" y="2150"/>
                    <a:pt x="1358" y="2150"/>
                  </a:cubicBezTo>
                  <a:cubicBezTo>
                    <a:pt x="1404" y="2150"/>
                    <a:pt x="1431" y="2110"/>
                    <a:pt x="1444" y="2064"/>
                  </a:cubicBezTo>
                  <a:cubicBezTo>
                    <a:pt x="1457" y="2038"/>
                    <a:pt x="1444" y="2005"/>
                    <a:pt x="1463" y="1978"/>
                  </a:cubicBezTo>
                  <a:cubicBezTo>
                    <a:pt x="1477" y="1965"/>
                    <a:pt x="1496" y="1965"/>
                    <a:pt x="1516" y="1959"/>
                  </a:cubicBezTo>
                  <a:cubicBezTo>
                    <a:pt x="1615" y="1925"/>
                    <a:pt x="1635" y="1813"/>
                    <a:pt x="1734" y="1813"/>
                  </a:cubicBezTo>
                  <a:cubicBezTo>
                    <a:pt x="1899" y="1813"/>
                    <a:pt x="1985" y="1846"/>
                    <a:pt x="2143" y="1886"/>
                  </a:cubicBezTo>
                  <a:cubicBezTo>
                    <a:pt x="2216" y="1906"/>
                    <a:pt x="2248" y="1932"/>
                    <a:pt x="2321" y="1932"/>
                  </a:cubicBezTo>
                  <a:cubicBezTo>
                    <a:pt x="2354" y="1932"/>
                    <a:pt x="2367" y="1912"/>
                    <a:pt x="2393" y="1912"/>
                  </a:cubicBezTo>
                  <a:cubicBezTo>
                    <a:pt x="2492" y="1912"/>
                    <a:pt x="2532" y="1932"/>
                    <a:pt x="2631" y="1945"/>
                  </a:cubicBezTo>
                  <a:lnTo>
                    <a:pt x="2631" y="1945"/>
                  </a:lnTo>
                  <a:cubicBezTo>
                    <a:pt x="2644" y="1932"/>
                    <a:pt x="2657" y="1925"/>
                    <a:pt x="2664" y="1906"/>
                  </a:cubicBezTo>
                  <a:cubicBezTo>
                    <a:pt x="2684" y="1860"/>
                    <a:pt x="2671" y="1827"/>
                    <a:pt x="2697" y="1780"/>
                  </a:cubicBezTo>
                  <a:cubicBezTo>
                    <a:pt x="2710" y="1754"/>
                    <a:pt x="2750" y="1748"/>
                    <a:pt x="2750" y="1721"/>
                  </a:cubicBezTo>
                  <a:cubicBezTo>
                    <a:pt x="2750" y="1662"/>
                    <a:pt x="2690" y="1655"/>
                    <a:pt x="2651" y="1616"/>
                  </a:cubicBezTo>
                  <a:cubicBezTo>
                    <a:pt x="2690" y="1616"/>
                    <a:pt x="2717" y="1609"/>
                    <a:pt x="2763" y="1602"/>
                  </a:cubicBezTo>
                  <a:cubicBezTo>
                    <a:pt x="2783" y="1596"/>
                    <a:pt x="2789" y="1563"/>
                    <a:pt x="2816" y="1563"/>
                  </a:cubicBezTo>
                  <a:cubicBezTo>
                    <a:pt x="2849" y="1563"/>
                    <a:pt x="2862" y="1583"/>
                    <a:pt x="2895" y="1583"/>
                  </a:cubicBezTo>
                  <a:cubicBezTo>
                    <a:pt x="2921" y="1583"/>
                    <a:pt x="2948" y="1583"/>
                    <a:pt x="2967" y="1569"/>
                  </a:cubicBezTo>
                  <a:lnTo>
                    <a:pt x="2967" y="1569"/>
                  </a:lnTo>
                  <a:cubicBezTo>
                    <a:pt x="2948" y="1510"/>
                    <a:pt x="2928" y="1477"/>
                    <a:pt x="2915" y="1411"/>
                  </a:cubicBezTo>
                  <a:cubicBezTo>
                    <a:pt x="2888" y="1411"/>
                    <a:pt x="2875" y="1405"/>
                    <a:pt x="2842" y="1405"/>
                  </a:cubicBezTo>
                  <a:cubicBezTo>
                    <a:pt x="2829" y="1405"/>
                    <a:pt x="2822" y="1411"/>
                    <a:pt x="2809" y="1411"/>
                  </a:cubicBezTo>
                  <a:cubicBezTo>
                    <a:pt x="2789" y="1411"/>
                    <a:pt x="2776" y="1411"/>
                    <a:pt x="2756" y="1411"/>
                  </a:cubicBezTo>
                  <a:cubicBezTo>
                    <a:pt x="2763" y="1345"/>
                    <a:pt x="2789" y="1312"/>
                    <a:pt x="2789" y="1246"/>
                  </a:cubicBezTo>
                  <a:cubicBezTo>
                    <a:pt x="2789" y="1200"/>
                    <a:pt x="2730" y="1200"/>
                    <a:pt x="2684" y="1180"/>
                  </a:cubicBezTo>
                  <a:cubicBezTo>
                    <a:pt x="2644" y="1154"/>
                    <a:pt x="2618" y="1134"/>
                    <a:pt x="2572" y="1134"/>
                  </a:cubicBezTo>
                  <a:cubicBezTo>
                    <a:pt x="2519" y="1134"/>
                    <a:pt x="2499" y="1154"/>
                    <a:pt x="2446" y="1154"/>
                  </a:cubicBezTo>
                  <a:cubicBezTo>
                    <a:pt x="2440" y="1154"/>
                    <a:pt x="2433" y="1147"/>
                    <a:pt x="2433" y="1147"/>
                  </a:cubicBezTo>
                  <a:cubicBezTo>
                    <a:pt x="2433" y="1101"/>
                    <a:pt x="2440" y="1075"/>
                    <a:pt x="2440" y="1028"/>
                  </a:cubicBezTo>
                  <a:cubicBezTo>
                    <a:pt x="2440" y="969"/>
                    <a:pt x="2446" y="930"/>
                    <a:pt x="2427" y="870"/>
                  </a:cubicBezTo>
                  <a:cubicBezTo>
                    <a:pt x="2407" y="817"/>
                    <a:pt x="2374" y="798"/>
                    <a:pt x="2374" y="745"/>
                  </a:cubicBezTo>
                  <a:cubicBezTo>
                    <a:pt x="2374" y="712"/>
                    <a:pt x="2400" y="699"/>
                    <a:pt x="2413" y="666"/>
                  </a:cubicBezTo>
                  <a:cubicBezTo>
                    <a:pt x="2413" y="653"/>
                    <a:pt x="2407" y="646"/>
                    <a:pt x="2400" y="633"/>
                  </a:cubicBezTo>
                  <a:cubicBezTo>
                    <a:pt x="2400" y="613"/>
                    <a:pt x="2400" y="600"/>
                    <a:pt x="2400" y="580"/>
                  </a:cubicBezTo>
                  <a:cubicBezTo>
                    <a:pt x="2393" y="560"/>
                    <a:pt x="2387" y="541"/>
                    <a:pt x="2387" y="521"/>
                  </a:cubicBezTo>
                  <a:cubicBezTo>
                    <a:pt x="2380" y="488"/>
                    <a:pt x="2374" y="474"/>
                    <a:pt x="2374" y="448"/>
                  </a:cubicBezTo>
                  <a:cubicBezTo>
                    <a:pt x="2367" y="435"/>
                    <a:pt x="2367" y="422"/>
                    <a:pt x="2361" y="409"/>
                  </a:cubicBezTo>
                  <a:cubicBezTo>
                    <a:pt x="2354" y="389"/>
                    <a:pt x="2347" y="382"/>
                    <a:pt x="2341" y="362"/>
                  </a:cubicBezTo>
                  <a:cubicBezTo>
                    <a:pt x="2308" y="329"/>
                    <a:pt x="2268" y="329"/>
                    <a:pt x="2235" y="303"/>
                  </a:cubicBezTo>
                  <a:cubicBezTo>
                    <a:pt x="2202" y="277"/>
                    <a:pt x="2202" y="224"/>
                    <a:pt x="2156" y="224"/>
                  </a:cubicBezTo>
                  <a:cubicBezTo>
                    <a:pt x="2103" y="224"/>
                    <a:pt x="2070" y="244"/>
                    <a:pt x="2018" y="244"/>
                  </a:cubicBezTo>
                  <a:cubicBezTo>
                    <a:pt x="1978" y="244"/>
                    <a:pt x="1958" y="211"/>
                    <a:pt x="1919" y="211"/>
                  </a:cubicBezTo>
                  <a:cubicBezTo>
                    <a:pt x="1886" y="211"/>
                    <a:pt x="1873" y="244"/>
                    <a:pt x="1833" y="244"/>
                  </a:cubicBezTo>
                  <a:cubicBezTo>
                    <a:pt x="1800" y="244"/>
                    <a:pt x="1787" y="204"/>
                    <a:pt x="1767" y="171"/>
                  </a:cubicBezTo>
                  <a:cubicBezTo>
                    <a:pt x="1760" y="151"/>
                    <a:pt x="1760" y="125"/>
                    <a:pt x="1741" y="125"/>
                  </a:cubicBezTo>
                  <a:cubicBezTo>
                    <a:pt x="1701" y="125"/>
                    <a:pt x="1681" y="151"/>
                    <a:pt x="1642" y="151"/>
                  </a:cubicBezTo>
                  <a:cubicBezTo>
                    <a:pt x="1543" y="151"/>
                    <a:pt x="1510" y="19"/>
                    <a:pt x="1411" y="19"/>
                  </a:cubicBezTo>
                  <a:cubicBezTo>
                    <a:pt x="1378" y="19"/>
                    <a:pt x="1364" y="19"/>
                    <a:pt x="1338" y="19"/>
                  </a:cubicBezTo>
                  <a:cubicBezTo>
                    <a:pt x="1299" y="19"/>
                    <a:pt x="1279" y="0"/>
                    <a:pt x="1239" y="0"/>
                  </a:cubicBezTo>
                  <a:cubicBezTo>
                    <a:pt x="1206" y="0"/>
                    <a:pt x="1193" y="0"/>
                    <a:pt x="1160" y="0"/>
                  </a:cubicBezTo>
                  <a:cubicBezTo>
                    <a:pt x="1127" y="0"/>
                    <a:pt x="1120" y="46"/>
                    <a:pt x="1088" y="46"/>
                  </a:cubicBezTo>
                  <a:cubicBezTo>
                    <a:pt x="1061" y="46"/>
                    <a:pt x="1055" y="26"/>
                    <a:pt x="1028" y="26"/>
                  </a:cubicBezTo>
                  <a:cubicBezTo>
                    <a:pt x="989" y="26"/>
                    <a:pt x="969" y="26"/>
                    <a:pt x="929" y="26"/>
                  </a:cubicBezTo>
                  <a:cubicBezTo>
                    <a:pt x="738" y="6"/>
                    <a:pt x="738" y="6"/>
                    <a:pt x="738" y="6"/>
                  </a:cubicBezTo>
                </a:path>
              </a:pathLst>
            </a:custGeom>
            <a:solidFill>
              <a:schemeClr val="accent3">
                <a:lumMod val="50000"/>
              </a:schemeClr>
            </a:solidFill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2" name="Freeform 42"/>
            <p:cNvSpPr>
              <a:spLocks noChangeArrowheads="1"/>
            </p:cNvSpPr>
            <p:nvPr/>
          </p:nvSpPr>
          <p:spPr bwMode="auto">
            <a:xfrm>
              <a:off x="6972641" y="8018457"/>
              <a:ext cx="1484216" cy="1047750"/>
            </a:xfrm>
            <a:custGeom>
              <a:avLst/>
              <a:gdLst>
                <a:gd name="T0" fmla="*/ 1154 w 4123"/>
                <a:gd name="T1" fmla="*/ 66 h 2909"/>
                <a:gd name="T2" fmla="*/ 1062 w 4123"/>
                <a:gd name="T3" fmla="*/ 198 h 2909"/>
                <a:gd name="T4" fmla="*/ 963 w 4123"/>
                <a:gd name="T5" fmla="*/ 257 h 2909"/>
                <a:gd name="T6" fmla="*/ 851 w 4123"/>
                <a:gd name="T7" fmla="*/ 356 h 2909"/>
                <a:gd name="T8" fmla="*/ 785 w 4123"/>
                <a:gd name="T9" fmla="*/ 501 h 2909"/>
                <a:gd name="T10" fmla="*/ 673 w 4123"/>
                <a:gd name="T11" fmla="*/ 620 h 2909"/>
                <a:gd name="T12" fmla="*/ 455 w 4123"/>
                <a:gd name="T13" fmla="*/ 1029 h 2909"/>
                <a:gd name="T14" fmla="*/ 152 w 4123"/>
                <a:gd name="T15" fmla="*/ 1213 h 2909"/>
                <a:gd name="T16" fmla="*/ 0 w 4123"/>
                <a:gd name="T17" fmla="*/ 1345 h 2909"/>
                <a:gd name="T18" fmla="*/ 290 w 4123"/>
                <a:gd name="T19" fmla="*/ 1365 h 2909"/>
                <a:gd name="T20" fmla="*/ 422 w 4123"/>
                <a:gd name="T21" fmla="*/ 1339 h 2909"/>
                <a:gd name="T22" fmla="*/ 600 w 4123"/>
                <a:gd name="T23" fmla="*/ 1358 h 2909"/>
                <a:gd name="T24" fmla="*/ 904 w 4123"/>
                <a:gd name="T25" fmla="*/ 1490 h 2909"/>
                <a:gd name="T26" fmla="*/ 1029 w 4123"/>
                <a:gd name="T27" fmla="*/ 1510 h 2909"/>
                <a:gd name="T28" fmla="*/ 1181 w 4123"/>
                <a:gd name="T29" fmla="*/ 1550 h 2909"/>
                <a:gd name="T30" fmla="*/ 1418 w 4123"/>
                <a:gd name="T31" fmla="*/ 1563 h 2909"/>
                <a:gd name="T32" fmla="*/ 1603 w 4123"/>
                <a:gd name="T33" fmla="*/ 1701 h 2909"/>
                <a:gd name="T34" fmla="*/ 1636 w 4123"/>
                <a:gd name="T35" fmla="*/ 1787 h 2909"/>
                <a:gd name="T36" fmla="*/ 1662 w 4123"/>
                <a:gd name="T37" fmla="*/ 1919 h 2909"/>
                <a:gd name="T38" fmla="*/ 1675 w 4123"/>
                <a:gd name="T39" fmla="*/ 2005 h 2909"/>
                <a:gd name="T40" fmla="*/ 1689 w 4123"/>
                <a:gd name="T41" fmla="*/ 2209 h 2909"/>
                <a:gd name="T42" fmla="*/ 1695 w 4123"/>
                <a:gd name="T43" fmla="*/ 2486 h 2909"/>
                <a:gd name="T44" fmla="*/ 1834 w 4123"/>
                <a:gd name="T45" fmla="*/ 2473 h 2909"/>
                <a:gd name="T46" fmla="*/ 2051 w 4123"/>
                <a:gd name="T47" fmla="*/ 2585 h 2909"/>
                <a:gd name="T48" fmla="*/ 2071 w 4123"/>
                <a:gd name="T49" fmla="*/ 2750 h 2909"/>
                <a:gd name="T50" fmla="*/ 2177 w 4123"/>
                <a:gd name="T51" fmla="*/ 2750 h 2909"/>
                <a:gd name="T52" fmla="*/ 2229 w 4123"/>
                <a:gd name="T53" fmla="*/ 2908 h 2909"/>
                <a:gd name="T54" fmla="*/ 2249 w 4123"/>
                <a:gd name="T55" fmla="*/ 2796 h 2909"/>
                <a:gd name="T56" fmla="*/ 2645 w 4123"/>
                <a:gd name="T57" fmla="*/ 2546 h 2909"/>
                <a:gd name="T58" fmla="*/ 3054 w 4123"/>
                <a:gd name="T59" fmla="*/ 2288 h 2909"/>
                <a:gd name="T60" fmla="*/ 3219 w 4123"/>
                <a:gd name="T61" fmla="*/ 2229 h 2909"/>
                <a:gd name="T62" fmla="*/ 3469 w 4123"/>
                <a:gd name="T63" fmla="*/ 2229 h 2909"/>
                <a:gd name="T64" fmla="*/ 3595 w 4123"/>
                <a:gd name="T65" fmla="*/ 2143 h 2909"/>
                <a:gd name="T66" fmla="*/ 3753 w 4123"/>
                <a:gd name="T67" fmla="*/ 2077 h 2909"/>
                <a:gd name="T68" fmla="*/ 3832 w 4123"/>
                <a:gd name="T69" fmla="*/ 2077 h 2909"/>
                <a:gd name="T70" fmla="*/ 3826 w 4123"/>
                <a:gd name="T71" fmla="*/ 2064 h 2909"/>
                <a:gd name="T72" fmla="*/ 3878 w 4123"/>
                <a:gd name="T73" fmla="*/ 1893 h 2909"/>
                <a:gd name="T74" fmla="*/ 4122 w 4123"/>
                <a:gd name="T75" fmla="*/ 1781 h 2909"/>
                <a:gd name="T76" fmla="*/ 4056 w 4123"/>
                <a:gd name="T77" fmla="*/ 1715 h 2909"/>
                <a:gd name="T78" fmla="*/ 3892 w 4123"/>
                <a:gd name="T79" fmla="*/ 1682 h 2909"/>
                <a:gd name="T80" fmla="*/ 3924 w 4123"/>
                <a:gd name="T81" fmla="*/ 1563 h 2909"/>
                <a:gd name="T82" fmla="*/ 3694 w 4123"/>
                <a:gd name="T83" fmla="*/ 1550 h 2909"/>
                <a:gd name="T84" fmla="*/ 3469 w 4123"/>
                <a:gd name="T85" fmla="*/ 1589 h 2909"/>
                <a:gd name="T86" fmla="*/ 3311 w 4123"/>
                <a:gd name="T87" fmla="*/ 1701 h 2909"/>
                <a:gd name="T88" fmla="*/ 3140 w 4123"/>
                <a:gd name="T89" fmla="*/ 1523 h 2909"/>
                <a:gd name="T90" fmla="*/ 3034 w 4123"/>
                <a:gd name="T91" fmla="*/ 1391 h 2909"/>
                <a:gd name="T92" fmla="*/ 3133 w 4123"/>
                <a:gd name="T93" fmla="*/ 936 h 2909"/>
                <a:gd name="T94" fmla="*/ 2902 w 4123"/>
                <a:gd name="T95" fmla="*/ 811 h 2909"/>
                <a:gd name="T96" fmla="*/ 2902 w 4123"/>
                <a:gd name="T97" fmla="*/ 488 h 2909"/>
                <a:gd name="T98" fmla="*/ 2882 w 4123"/>
                <a:gd name="T99" fmla="*/ 343 h 2909"/>
                <a:gd name="T100" fmla="*/ 2665 w 4123"/>
                <a:gd name="T101" fmla="*/ 224 h 2909"/>
                <a:gd name="T102" fmla="*/ 2493 w 4123"/>
                <a:gd name="T103" fmla="*/ 257 h 2909"/>
                <a:gd name="T104" fmla="*/ 2071 w 4123"/>
                <a:gd name="T105" fmla="*/ 336 h 2909"/>
                <a:gd name="T106" fmla="*/ 1933 w 4123"/>
                <a:gd name="T107" fmla="*/ 310 h 2909"/>
                <a:gd name="T108" fmla="*/ 1880 w 4123"/>
                <a:gd name="T109" fmla="*/ 244 h 2909"/>
                <a:gd name="T110" fmla="*/ 1853 w 4123"/>
                <a:gd name="T111" fmla="*/ 72 h 2909"/>
                <a:gd name="T112" fmla="*/ 1682 w 4123"/>
                <a:gd name="T113" fmla="*/ 53 h 2909"/>
                <a:gd name="T114" fmla="*/ 1339 w 4123"/>
                <a:gd name="T115" fmla="*/ 26 h 2909"/>
                <a:gd name="T116" fmla="*/ 1154 w 4123"/>
                <a:gd name="T117" fmla="*/ 66 h 2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23" h="2909">
                  <a:moveTo>
                    <a:pt x="1154" y="66"/>
                  </a:moveTo>
                  <a:lnTo>
                    <a:pt x="1154" y="66"/>
                  </a:lnTo>
                  <a:cubicBezTo>
                    <a:pt x="1148" y="92"/>
                    <a:pt x="1128" y="105"/>
                    <a:pt x="1108" y="132"/>
                  </a:cubicBezTo>
                  <a:cubicBezTo>
                    <a:pt x="1088" y="158"/>
                    <a:pt x="1088" y="178"/>
                    <a:pt x="1062" y="198"/>
                  </a:cubicBezTo>
                  <a:cubicBezTo>
                    <a:pt x="1042" y="204"/>
                    <a:pt x="1036" y="211"/>
                    <a:pt x="1016" y="217"/>
                  </a:cubicBezTo>
                  <a:cubicBezTo>
                    <a:pt x="996" y="231"/>
                    <a:pt x="989" y="244"/>
                    <a:pt x="963" y="257"/>
                  </a:cubicBezTo>
                  <a:cubicBezTo>
                    <a:pt x="943" y="264"/>
                    <a:pt x="930" y="257"/>
                    <a:pt x="910" y="270"/>
                  </a:cubicBezTo>
                  <a:cubicBezTo>
                    <a:pt x="871" y="283"/>
                    <a:pt x="864" y="316"/>
                    <a:pt x="851" y="356"/>
                  </a:cubicBezTo>
                  <a:cubicBezTo>
                    <a:pt x="831" y="402"/>
                    <a:pt x="824" y="428"/>
                    <a:pt x="805" y="475"/>
                  </a:cubicBezTo>
                  <a:cubicBezTo>
                    <a:pt x="798" y="488"/>
                    <a:pt x="792" y="494"/>
                    <a:pt x="785" y="501"/>
                  </a:cubicBezTo>
                  <a:cubicBezTo>
                    <a:pt x="772" y="521"/>
                    <a:pt x="772" y="527"/>
                    <a:pt x="758" y="547"/>
                  </a:cubicBezTo>
                  <a:cubicBezTo>
                    <a:pt x="725" y="573"/>
                    <a:pt x="693" y="587"/>
                    <a:pt x="673" y="620"/>
                  </a:cubicBezTo>
                  <a:cubicBezTo>
                    <a:pt x="633" y="686"/>
                    <a:pt x="646" y="732"/>
                    <a:pt x="640" y="804"/>
                  </a:cubicBezTo>
                  <a:cubicBezTo>
                    <a:pt x="620" y="916"/>
                    <a:pt x="501" y="930"/>
                    <a:pt x="455" y="1029"/>
                  </a:cubicBezTo>
                  <a:cubicBezTo>
                    <a:pt x="415" y="1101"/>
                    <a:pt x="389" y="1147"/>
                    <a:pt x="317" y="1180"/>
                  </a:cubicBezTo>
                  <a:cubicBezTo>
                    <a:pt x="257" y="1207"/>
                    <a:pt x="211" y="1194"/>
                    <a:pt x="152" y="1213"/>
                  </a:cubicBezTo>
                  <a:cubicBezTo>
                    <a:pt x="79" y="1246"/>
                    <a:pt x="46" y="1286"/>
                    <a:pt x="0" y="1345"/>
                  </a:cubicBezTo>
                  <a:lnTo>
                    <a:pt x="0" y="1345"/>
                  </a:lnTo>
                  <a:cubicBezTo>
                    <a:pt x="191" y="1365"/>
                    <a:pt x="191" y="1365"/>
                    <a:pt x="191" y="1365"/>
                  </a:cubicBezTo>
                  <a:cubicBezTo>
                    <a:pt x="231" y="1365"/>
                    <a:pt x="251" y="1365"/>
                    <a:pt x="290" y="1365"/>
                  </a:cubicBezTo>
                  <a:cubicBezTo>
                    <a:pt x="317" y="1365"/>
                    <a:pt x="323" y="1385"/>
                    <a:pt x="350" y="1385"/>
                  </a:cubicBezTo>
                  <a:cubicBezTo>
                    <a:pt x="382" y="1385"/>
                    <a:pt x="389" y="1339"/>
                    <a:pt x="422" y="1339"/>
                  </a:cubicBezTo>
                  <a:cubicBezTo>
                    <a:pt x="455" y="1339"/>
                    <a:pt x="468" y="1339"/>
                    <a:pt x="501" y="1339"/>
                  </a:cubicBezTo>
                  <a:cubicBezTo>
                    <a:pt x="541" y="1339"/>
                    <a:pt x="561" y="1358"/>
                    <a:pt x="600" y="1358"/>
                  </a:cubicBezTo>
                  <a:cubicBezTo>
                    <a:pt x="626" y="1358"/>
                    <a:pt x="640" y="1358"/>
                    <a:pt x="673" y="1358"/>
                  </a:cubicBezTo>
                  <a:cubicBezTo>
                    <a:pt x="772" y="1358"/>
                    <a:pt x="805" y="1490"/>
                    <a:pt x="904" y="1490"/>
                  </a:cubicBezTo>
                  <a:cubicBezTo>
                    <a:pt x="943" y="1490"/>
                    <a:pt x="963" y="1464"/>
                    <a:pt x="1003" y="1464"/>
                  </a:cubicBezTo>
                  <a:cubicBezTo>
                    <a:pt x="1022" y="1464"/>
                    <a:pt x="1022" y="1490"/>
                    <a:pt x="1029" y="1510"/>
                  </a:cubicBezTo>
                  <a:cubicBezTo>
                    <a:pt x="1049" y="1543"/>
                    <a:pt x="1062" y="1583"/>
                    <a:pt x="1095" y="1583"/>
                  </a:cubicBezTo>
                  <a:cubicBezTo>
                    <a:pt x="1135" y="1583"/>
                    <a:pt x="1148" y="1550"/>
                    <a:pt x="1181" y="1550"/>
                  </a:cubicBezTo>
                  <a:cubicBezTo>
                    <a:pt x="1220" y="1550"/>
                    <a:pt x="1240" y="1583"/>
                    <a:pt x="1280" y="1583"/>
                  </a:cubicBezTo>
                  <a:cubicBezTo>
                    <a:pt x="1332" y="1583"/>
                    <a:pt x="1365" y="1563"/>
                    <a:pt x="1418" y="1563"/>
                  </a:cubicBezTo>
                  <a:cubicBezTo>
                    <a:pt x="1464" y="1563"/>
                    <a:pt x="1464" y="1616"/>
                    <a:pt x="1497" y="1642"/>
                  </a:cubicBezTo>
                  <a:cubicBezTo>
                    <a:pt x="1530" y="1668"/>
                    <a:pt x="1570" y="1668"/>
                    <a:pt x="1603" y="1701"/>
                  </a:cubicBezTo>
                  <a:cubicBezTo>
                    <a:pt x="1609" y="1721"/>
                    <a:pt x="1616" y="1728"/>
                    <a:pt x="1623" y="1748"/>
                  </a:cubicBezTo>
                  <a:cubicBezTo>
                    <a:pt x="1629" y="1761"/>
                    <a:pt x="1629" y="1774"/>
                    <a:pt x="1636" y="1787"/>
                  </a:cubicBezTo>
                  <a:cubicBezTo>
                    <a:pt x="1636" y="1813"/>
                    <a:pt x="1642" y="1827"/>
                    <a:pt x="1649" y="1860"/>
                  </a:cubicBezTo>
                  <a:cubicBezTo>
                    <a:pt x="1649" y="1880"/>
                    <a:pt x="1655" y="1899"/>
                    <a:pt x="1662" y="1919"/>
                  </a:cubicBezTo>
                  <a:cubicBezTo>
                    <a:pt x="1662" y="1939"/>
                    <a:pt x="1662" y="1952"/>
                    <a:pt x="1662" y="1972"/>
                  </a:cubicBezTo>
                  <a:cubicBezTo>
                    <a:pt x="1669" y="1985"/>
                    <a:pt x="1675" y="1992"/>
                    <a:pt x="1675" y="2005"/>
                  </a:cubicBezTo>
                  <a:cubicBezTo>
                    <a:pt x="1662" y="2038"/>
                    <a:pt x="1636" y="2051"/>
                    <a:pt x="1636" y="2084"/>
                  </a:cubicBezTo>
                  <a:cubicBezTo>
                    <a:pt x="1636" y="2137"/>
                    <a:pt x="1669" y="2156"/>
                    <a:pt x="1689" y="2209"/>
                  </a:cubicBezTo>
                  <a:cubicBezTo>
                    <a:pt x="1708" y="2269"/>
                    <a:pt x="1702" y="2308"/>
                    <a:pt x="1702" y="2367"/>
                  </a:cubicBezTo>
                  <a:cubicBezTo>
                    <a:pt x="1702" y="2414"/>
                    <a:pt x="1695" y="2440"/>
                    <a:pt x="1695" y="2486"/>
                  </a:cubicBezTo>
                  <a:cubicBezTo>
                    <a:pt x="1695" y="2486"/>
                    <a:pt x="1702" y="2493"/>
                    <a:pt x="1708" y="2493"/>
                  </a:cubicBezTo>
                  <a:cubicBezTo>
                    <a:pt x="1761" y="2493"/>
                    <a:pt x="1781" y="2473"/>
                    <a:pt x="1834" y="2473"/>
                  </a:cubicBezTo>
                  <a:cubicBezTo>
                    <a:pt x="1880" y="2473"/>
                    <a:pt x="1906" y="2493"/>
                    <a:pt x="1946" y="2519"/>
                  </a:cubicBezTo>
                  <a:cubicBezTo>
                    <a:pt x="1992" y="2539"/>
                    <a:pt x="2051" y="2539"/>
                    <a:pt x="2051" y="2585"/>
                  </a:cubicBezTo>
                  <a:cubicBezTo>
                    <a:pt x="2051" y="2651"/>
                    <a:pt x="2025" y="2684"/>
                    <a:pt x="2018" y="2750"/>
                  </a:cubicBezTo>
                  <a:cubicBezTo>
                    <a:pt x="2038" y="2750"/>
                    <a:pt x="2051" y="2750"/>
                    <a:pt x="2071" y="2750"/>
                  </a:cubicBezTo>
                  <a:cubicBezTo>
                    <a:pt x="2084" y="2750"/>
                    <a:pt x="2091" y="2744"/>
                    <a:pt x="2104" y="2744"/>
                  </a:cubicBezTo>
                  <a:cubicBezTo>
                    <a:pt x="2137" y="2744"/>
                    <a:pt x="2150" y="2750"/>
                    <a:pt x="2177" y="2750"/>
                  </a:cubicBezTo>
                  <a:cubicBezTo>
                    <a:pt x="2190" y="2816"/>
                    <a:pt x="2210" y="2849"/>
                    <a:pt x="2229" y="2908"/>
                  </a:cubicBezTo>
                  <a:lnTo>
                    <a:pt x="2229" y="2908"/>
                  </a:lnTo>
                  <a:cubicBezTo>
                    <a:pt x="2256" y="2902"/>
                    <a:pt x="2269" y="2882"/>
                    <a:pt x="2269" y="2856"/>
                  </a:cubicBezTo>
                  <a:cubicBezTo>
                    <a:pt x="2269" y="2829"/>
                    <a:pt x="2262" y="2816"/>
                    <a:pt x="2249" y="2796"/>
                  </a:cubicBezTo>
                  <a:cubicBezTo>
                    <a:pt x="2308" y="2790"/>
                    <a:pt x="2322" y="2744"/>
                    <a:pt x="2368" y="2710"/>
                  </a:cubicBezTo>
                  <a:cubicBezTo>
                    <a:pt x="2473" y="2645"/>
                    <a:pt x="2533" y="2605"/>
                    <a:pt x="2645" y="2546"/>
                  </a:cubicBezTo>
                  <a:cubicBezTo>
                    <a:pt x="2770" y="2473"/>
                    <a:pt x="2823" y="2394"/>
                    <a:pt x="2955" y="2341"/>
                  </a:cubicBezTo>
                  <a:cubicBezTo>
                    <a:pt x="2994" y="2321"/>
                    <a:pt x="3008" y="2288"/>
                    <a:pt x="3054" y="2288"/>
                  </a:cubicBezTo>
                  <a:cubicBezTo>
                    <a:pt x="3067" y="2288"/>
                    <a:pt x="3074" y="2295"/>
                    <a:pt x="3093" y="2295"/>
                  </a:cubicBezTo>
                  <a:cubicBezTo>
                    <a:pt x="3146" y="2295"/>
                    <a:pt x="3173" y="2255"/>
                    <a:pt x="3219" y="2229"/>
                  </a:cubicBezTo>
                  <a:cubicBezTo>
                    <a:pt x="3265" y="2196"/>
                    <a:pt x="3298" y="2190"/>
                    <a:pt x="3351" y="2190"/>
                  </a:cubicBezTo>
                  <a:cubicBezTo>
                    <a:pt x="3397" y="2190"/>
                    <a:pt x="3417" y="2229"/>
                    <a:pt x="3469" y="2229"/>
                  </a:cubicBezTo>
                  <a:cubicBezTo>
                    <a:pt x="3502" y="2229"/>
                    <a:pt x="3522" y="2236"/>
                    <a:pt x="3549" y="2216"/>
                  </a:cubicBezTo>
                  <a:cubicBezTo>
                    <a:pt x="3575" y="2190"/>
                    <a:pt x="3575" y="2163"/>
                    <a:pt x="3595" y="2143"/>
                  </a:cubicBezTo>
                  <a:cubicBezTo>
                    <a:pt x="3634" y="2110"/>
                    <a:pt x="3667" y="2104"/>
                    <a:pt x="3720" y="2091"/>
                  </a:cubicBezTo>
                  <a:cubicBezTo>
                    <a:pt x="3733" y="2091"/>
                    <a:pt x="3740" y="2077"/>
                    <a:pt x="3753" y="2077"/>
                  </a:cubicBezTo>
                  <a:cubicBezTo>
                    <a:pt x="3779" y="2077"/>
                    <a:pt x="3793" y="2077"/>
                    <a:pt x="3819" y="2077"/>
                  </a:cubicBezTo>
                  <a:cubicBezTo>
                    <a:pt x="3826" y="2077"/>
                    <a:pt x="3826" y="2077"/>
                    <a:pt x="3832" y="2077"/>
                  </a:cubicBezTo>
                  <a:lnTo>
                    <a:pt x="3832" y="2077"/>
                  </a:lnTo>
                  <a:cubicBezTo>
                    <a:pt x="3832" y="2071"/>
                    <a:pt x="3826" y="2071"/>
                    <a:pt x="3826" y="2064"/>
                  </a:cubicBezTo>
                  <a:cubicBezTo>
                    <a:pt x="3826" y="2031"/>
                    <a:pt x="3839" y="2005"/>
                    <a:pt x="3845" y="1972"/>
                  </a:cubicBezTo>
                  <a:cubicBezTo>
                    <a:pt x="3852" y="1939"/>
                    <a:pt x="3852" y="1912"/>
                    <a:pt x="3878" y="1893"/>
                  </a:cubicBezTo>
                  <a:cubicBezTo>
                    <a:pt x="3958" y="1833"/>
                    <a:pt x="4023" y="1813"/>
                    <a:pt x="4122" y="1813"/>
                  </a:cubicBezTo>
                  <a:cubicBezTo>
                    <a:pt x="4122" y="1800"/>
                    <a:pt x="4122" y="1794"/>
                    <a:pt x="4122" y="1781"/>
                  </a:cubicBezTo>
                  <a:cubicBezTo>
                    <a:pt x="4122" y="1761"/>
                    <a:pt x="4109" y="1754"/>
                    <a:pt x="4096" y="1741"/>
                  </a:cubicBezTo>
                  <a:cubicBezTo>
                    <a:pt x="4083" y="1728"/>
                    <a:pt x="4076" y="1715"/>
                    <a:pt x="4056" y="1715"/>
                  </a:cubicBezTo>
                  <a:cubicBezTo>
                    <a:pt x="4030" y="1715"/>
                    <a:pt x="4017" y="1715"/>
                    <a:pt x="3991" y="1715"/>
                  </a:cubicBezTo>
                  <a:cubicBezTo>
                    <a:pt x="3951" y="1715"/>
                    <a:pt x="3892" y="1721"/>
                    <a:pt x="3892" y="1682"/>
                  </a:cubicBezTo>
                  <a:cubicBezTo>
                    <a:pt x="3892" y="1636"/>
                    <a:pt x="3905" y="1602"/>
                    <a:pt x="3924" y="1563"/>
                  </a:cubicBezTo>
                  <a:lnTo>
                    <a:pt x="3924" y="1563"/>
                  </a:lnTo>
                  <a:cubicBezTo>
                    <a:pt x="3878" y="1563"/>
                    <a:pt x="3839" y="1550"/>
                    <a:pt x="3793" y="1550"/>
                  </a:cubicBezTo>
                  <a:cubicBezTo>
                    <a:pt x="3753" y="1550"/>
                    <a:pt x="3733" y="1550"/>
                    <a:pt x="3694" y="1550"/>
                  </a:cubicBezTo>
                  <a:cubicBezTo>
                    <a:pt x="3628" y="1550"/>
                    <a:pt x="3595" y="1596"/>
                    <a:pt x="3529" y="1596"/>
                  </a:cubicBezTo>
                  <a:cubicBezTo>
                    <a:pt x="3502" y="1596"/>
                    <a:pt x="3489" y="1596"/>
                    <a:pt x="3469" y="1589"/>
                  </a:cubicBezTo>
                  <a:cubicBezTo>
                    <a:pt x="3463" y="1583"/>
                    <a:pt x="3456" y="1563"/>
                    <a:pt x="3450" y="1563"/>
                  </a:cubicBezTo>
                  <a:cubicBezTo>
                    <a:pt x="3370" y="1563"/>
                    <a:pt x="3384" y="1701"/>
                    <a:pt x="3311" y="1701"/>
                  </a:cubicBezTo>
                  <a:cubicBezTo>
                    <a:pt x="3238" y="1701"/>
                    <a:pt x="3140" y="1682"/>
                    <a:pt x="3140" y="1609"/>
                  </a:cubicBezTo>
                  <a:cubicBezTo>
                    <a:pt x="3140" y="1576"/>
                    <a:pt x="3140" y="1556"/>
                    <a:pt x="3140" y="1523"/>
                  </a:cubicBezTo>
                  <a:cubicBezTo>
                    <a:pt x="3140" y="1490"/>
                    <a:pt x="3133" y="1457"/>
                    <a:pt x="3100" y="1438"/>
                  </a:cubicBezTo>
                  <a:cubicBezTo>
                    <a:pt x="3074" y="1424"/>
                    <a:pt x="3047" y="1418"/>
                    <a:pt x="3034" y="1391"/>
                  </a:cubicBezTo>
                  <a:cubicBezTo>
                    <a:pt x="3166" y="1055"/>
                    <a:pt x="3166" y="1055"/>
                    <a:pt x="3166" y="1055"/>
                  </a:cubicBezTo>
                  <a:cubicBezTo>
                    <a:pt x="3159" y="1009"/>
                    <a:pt x="3166" y="969"/>
                    <a:pt x="3133" y="936"/>
                  </a:cubicBezTo>
                  <a:cubicBezTo>
                    <a:pt x="3100" y="897"/>
                    <a:pt x="3054" y="916"/>
                    <a:pt x="3001" y="910"/>
                  </a:cubicBezTo>
                  <a:cubicBezTo>
                    <a:pt x="2948" y="903"/>
                    <a:pt x="2929" y="864"/>
                    <a:pt x="2902" y="811"/>
                  </a:cubicBezTo>
                  <a:cubicBezTo>
                    <a:pt x="2889" y="758"/>
                    <a:pt x="2876" y="725"/>
                    <a:pt x="2876" y="666"/>
                  </a:cubicBezTo>
                  <a:cubicBezTo>
                    <a:pt x="2876" y="600"/>
                    <a:pt x="2902" y="560"/>
                    <a:pt x="2902" y="488"/>
                  </a:cubicBezTo>
                  <a:cubicBezTo>
                    <a:pt x="2902" y="468"/>
                    <a:pt x="2882" y="455"/>
                    <a:pt x="2882" y="435"/>
                  </a:cubicBezTo>
                  <a:cubicBezTo>
                    <a:pt x="2882" y="396"/>
                    <a:pt x="2882" y="382"/>
                    <a:pt x="2882" y="343"/>
                  </a:cubicBezTo>
                  <a:cubicBezTo>
                    <a:pt x="2882" y="277"/>
                    <a:pt x="2836" y="211"/>
                    <a:pt x="2770" y="211"/>
                  </a:cubicBezTo>
                  <a:cubicBezTo>
                    <a:pt x="2731" y="211"/>
                    <a:pt x="2704" y="224"/>
                    <a:pt x="2665" y="224"/>
                  </a:cubicBezTo>
                  <a:cubicBezTo>
                    <a:pt x="2638" y="224"/>
                    <a:pt x="2625" y="211"/>
                    <a:pt x="2599" y="211"/>
                  </a:cubicBezTo>
                  <a:cubicBezTo>
                    <a:pt x="2552" y="211"/>
                    <a:pt x="2539" y="257"/>
                    <a:pt x="2493" y="257"/>
                  </a:cubicBezTo>
                  <a:cubicBezTo>
                    <a:pt x="2454" y="257"/>
                    <a:pt x="2427" y="244"/>
                    <a:pt x="2388" y="244"/>
                  </a:cubicBezTo>
                  <a:cubicBezTo>
                    <a:pt x="2262" y="244"/>
                    <a:pt x="2183" y="270"/>
                    <a:pt x="2071" y="336"/>
                  </a:cubicBezTo>
                  <a:cubicBezTo>
                    <a:pt x="2058" y="303"/>
                    <a:pt x="2051" y="264"/>
                    <a:pt x="2012" y="264"/>
                  </a:cubicBezTo>
                  <a:cubicBezTo>
                    <a:pt x="1979" y="264"/>
                    <a:pt x="1966" y="310"/>
                    <a:pt x="1933" y="310"/>
                  </a:cubicBezTo>
                  <a:cubicBezTo>
                    <a:pt x="1913" y="310"/>
                    <a:pt x="1906" y="290"/>
                    <a:pt x="1900" y="277"/>
                  </a:cubicBezTo>
                  <a:cubicBezTo>
                    <a:pt x="1893" y="264"/>
                    <a:pt x="1880" y="257"/>
                    <a:pt x="1880" y="244"/>
                  </a:cubicBezTo>
                  <a:cubicBezTo>
                    <a:pt x="1880" y="204"/>
                    <a:pt x="1900" y="185"/>
                    <a:pt x="1900" y="145"/>
                  </a:cubicBezTo>
                  <a:cubicBezTo>
                    <a:pt x="1900" y="112"/>
                    <a:pt x="1880" y="86"/>
                    <a:pt x="1853" y="72"/>
                  </a:cubicBezTo>
                  <a:cubicBezTo>
                    <a:pt x="1834" y="72"/>
                    <a:pt x="1821" y="66"/>
                    <a:pt x="1801" y="59"/>
                  </a:cubicBezTo>
                  <a:cubicBezTo>
                    <a:pt x="1754" y="53"/>
                    <a:pt x="1728" y="53"/>
                    <a:pt x="1682" y="53"/>
                  </a:cubicBezTo>
                  <a:cubicBezTo>
                    <a:pt x="1609" y="53"/>
                    <a:pt x="1570" y="59"/>
                    <a:pt x="1497" y="59"/>
                  </a:cubicBezTo>
                  <a:cubicBezTo>
                    <a:pt x="1438" y="53"/>
                    <a:pt x="1398" y="53"/>
                    <a:pt x="1339" y="26"/>
                  </a:cubicBezTo>
                  <a:cubicBezTo>
                    <a:pt x="1319" y="13"/>
                    <a:pt x="1299" y="0"/>
                    <a:pt x="1273" y="0"/>
                  </a:cubicBezTo>
                  <a:cubicBezTo>
                    <a:pt x="1220" y="0"/>
                    <a:pt x="1187" y="26"/>
                    <a:pt x="1154" y="66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3" name="Freeform 43"/>
            <p:cNvSpPr>
              <a:spLocks noChangeArrowheads="1"/>
            </p:cNvSpPr>
            <p:nvPr/>
          </p:nvSpPr>
          <p:spPr bwMode="auto">
            <a:xfrm>
              <a:off x="6150369" y="7512044"/>
              <a:ext cx="1258806" cy="1277938"/>
            </a:xfrm>
            <a:custGeom>
              <a:avLst/>
              <a:gdLst>
                <a:gd name="T0" fmla="*/ 3495 w 3496"/>
                <a:gd name="T1" fmla="*/ 1213 h 3549"/>
                <a:gd name="T2" fmla="*/ 3435 w 3496"/>
                <a:gd name="T3" fmla="*/ 1471 h 3549"/>
                <a:gd name="T4" fmla="*/ 3389 w 3496"/>
                <a:gd name="T5" fmla="*/ 1537 h 3549"/>
                <a:gd name="T6" fmla="*/ 3297 w 3496"/>
                <a:gd name="T7" fmla="*/ 1622 h 3549"/>
                <a:gd name="T8" fmla="*/ 3191 w 3496"/>
                <a:gd name="T9" fmla="*/ 1675 h 3549"/>
                <a:gd name="T10" fmla="*/ 3086 w 3496"/>
                <a:gd name="T11" fmla="*/ 1880 h 3549"/>
                <a:gd name="T12" fmla="*/ 3039 w 3496"/>
                <a:gd name="T13" fmla="*/ 1952 h 3549"/>
                <a:gd name="T14" fmla="*/ 2921 w 3496"/>
                <a:gd name="T15" fmla="*/ 2209 h 3549"/>
                <a:gd name="T16" fmla="*/ 2598 w 3496"/>
                <a:gd name="T17" fmla="*/ 2585 h 3549"/>
                <a:gd name="T18" fmla="*/ 2281 w 3496"/>
                <a:gd name="T19" fmla="*/ 2750 h 3549"/>
                <a:gd name="T20" fmla="*/ 2024 w 3496"/>
                <a:gd name="T21" fmla="*/ 3021 h 3549"/>
                <a:gd name="T22" fmla="*/ 1853 w 3496"/>
                <a:gd name="T23" fmla="*/ 3245 h 3549"/>
                <a:gd name="T24" fmla="*/ 1702 w 3496"/>
                <a:gd name="T25" fmla="*/ 3456 h 3549"/>
                <a:gd name="T26" fmla="*/ 1682 w 3496"/>
                <a:gd name="T27" fmla="*/ 3548 h 3549"/>
                <a:gd name="T28" fmla="*/ 1510 w 3496"/>
                <a:gd name="T29" fmla="*/ 3377 h 3549"/>
                <a:gd name="T30" fmla="*/ 1392 w 3496"/>
                <a:gd name="T31" fmla="*/ 3410 h 3549"/>
                <a:gd name="T32" fmla="*/ 1075 w 3496"/>
                <a:gd name="T33" fmla="*/ 3153 h 3549"/>
                <a:gd name="T34" fmla="*/ 1081 w 3496"/>
                <a:gd name="T35" fmla="*/ 3034 h 3549"/>
                <a:gd name="T36" fmla="*/ 1029 w 3496"/>
                <a:gd name="T37" fmla="*/ 2862 h 3549"/>
                <a:gd name="T38" fmla="*/ 1055 w 3496"/>
                <a:gd name="T39" fmla="*/ 2566 h 3549"/>
                <a:gd name="T40" fmla="*/ 824 w 3496"/>
                <a:gd name="T41" fmla="*/ 2473 h 3549"/>
                <a:gd name="T42" fmla="*/ 593 w 3496"/>
                <a:gd name="T43" fmla="*/ 2519 h 3549"/>
                <a:gd name="T44" fmla="*/ 316 w 3496"/>
                <a:gd name="T45" fmla="*/ 2420 h 3549"/>
                <a:gd name="T46" fmla="*/ 46 w 3496"/>
                <a:gd name="T47" fmla="*/ 2394 h 3549"/>
                <a:gd name="T48" fmla="*/ 0 w 3496"/>
                <a:gd name="T49" fmla="*/ 2289 h 3549"/>
                <a:gd name="T50" fmla="*/ 79 w 3496"/>
                <a:gd name="T51" fmla="*/ 2064 h 3549"/>
                <a:gd name="T52" fmla="*/ 105 w 3496"/>
                <a:gd name="T53" fmla="*/ 1860 h 3549"/>
                <a:gd name="T54" fmla="*/ 99 w 3496"/>
                <a:gd name="T55" fmla="*/ 1767 h 3549"/>
                <a:gd name="T56" fmla="*/ 85 w 3496"/>
                <a:gd name="T57" fmla="*/ 1636 h 3549"/>
                <a:gd name="T58" fmla="*/ 33 w 3496"/>
                <a:gd name="T59" fmla="*/ 1550 h 3549"/>
                <a:gd name="T60" fmla="*/ 6 w 3496"/>
                <a:gd name="T61" fmla="*/ 1424 h 3549"/>
                <a:gd name="T62" fmla="*/ 6 w 3496"/>
                <a:gd name="T63" fmla="*/ 1411 h 3549"/>
                <a:gd name="T64" fmla="*/ 138 w 3496"/>
                <a:gd name="T65" fmla="*/ 1260 h 3549"/>
                <a:gd name="T66" fmla="*/ 39 w 3496"/>
                <a:gd name="T67" fmla="*/ 1134 h 3549"/>
                <a:gd name="T68" fmla="*/ 165 w 3496"/>
                <a:gd name="T69" fmla="*/ 864 h 3549"/>
                <a:gd name="T70" fmla="*/ 277 w 3496"/>
                <a:gd name="T71" fmla="*/ 455 h 3549"/>
                <a:gd name="T72" fmla="*/ 330 w 3496"/>
                <a:gd name="T73" fmla="*/ 350 h 3549"/>
                <a:gd name="T74" fmla="*/ 217 w 3496"/>
                <a:gd name="T75" fmla="*/ 86 h 3549"/>
                <a:gd name="T76" fmla="*/ 270 w 3496"/>
                <a:gd name="T77" fmla="*/ 72 h 3549"/>
                <a:gd name="T78" fmla="*/ 389 w 3496"/>
                <a:gd name="T79" fmla="*/ 224 h 3549"/>
                <a:gd name="T80" fmla="*/ 646 w 3496"/>
                <a:gd name="T81" fmla="*/ 204 h 3549"/>
                <a:gd name="T82" fmla="*/ 824 w 3496"/>
                <a:gd name="T83" fmla="*/ 105 h 3549"/>
                <a:gd name="T84" fmla="*/ 1088 w 3496"/>
                <a:gd name="T85" fmla="*/ 20 h 3549"/>
                <a:gd name="T86" fmla="*/ 1128 w 3496"/>
                <a:gd name="T87" fmla="*/ 79 h 3549"/>
                <a:gd name="T88" fmla="*/ 1378 w 3496"/>
                <a:gd name="T89" fmla="*/ 152 h 3549"/>
                <a:gd name="T90" fmla="*/ 1622 w 3496"/>
                <a:gd name="T91" fmla="*/ 13 h 3549"/>
                <a:gd name="T92" fmla="*/ 1853 w 3496"/>
                <a:gd name="T93" fmla="*/ 7 h 3549"/>
                <a:gd name="T94" fmla="*/ 2215 w 3496"/>
                <a:gd name="T95" fmla="*/ 46 h 3549"/>
                <a:gd name="T96" fmla="*/ 2320 w 3496"/>
                <a:gd name="T97" fmla="*/ 158 h 3549"/>
                <a:gd name="T98" fmla="*/ 2466 w 3496"/>
                <a:gd name="T99" fmla="*/ 224 h 3549"/>
                <a:gd name="T100" fmla="*/ 2452 w 3496"/>
                <a:gd name="T101" fmla="*/ 363 h 3549"/>
                <a:gd name="T102" fmla="*/ 2433 w 3496"/>
                <a:gd name="T103" fmla="*/ 508 h 3549"/>
                <a:gd name="T104" fmla="*/ 2644 w 3496"/>
                <a:gd name="T105" fmla="*/ 620 h 3549"/>
                <a:gd name="T106" fmla="*/ 2954 w 3496"/>
                <a:gd name="T107" fmla="*/ 864 h 3549"/>
                <a:gd name="T108" fmla="*/ 3244 w 3496"/>
                <a:gd name="T109" fmla="*/ 1055 h 3549"/>
                <a:gd name="T110" fmla="*/ 3495 w 3496"/>
                <a:gd name="T111" fmla="*/ 1213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6" h="3549">
                  <a:moveTo>
                    <a:pt x="3495" y="1213"/>
                  </a:moveTo>
                  <a:lnTo>
                    <a:pt x="3495" y="1213"/>
                  </a:lnTo>
                  <a:cubicBezTo>
                    <a:pt x="3442" y="1260"/>
                    <a:pt x="3422" y="1306"/>
                    <a:pt x="3422" y="1372"/>
                  </a:cubicBezTo>
                  <a:cubicBezTo>
                    <a:pt x="3422" y="1411"/>
                    <a:pt x="3442" y="1431"/>
                    <a:pt x="3435" y="1471"/>
                  </a:cubicBezTo>
                  <a:lnTo>
                    <a:pt x="3435" y="1471"/>
                  </a:lnTo>
                  <a:cubicBezTo>
                    <a:pt x="3429" y="1497"/>
                    <a:pt x="3409" y="1510"/>
                    <a:pt x="3389" y="1537"/>
                  </a:cubicBezTo>
                  <a:cubicBezTo>
                    <a:pt x="3369" y="1563"/>
                    <a:pt x="3369" y="1583"/>
                    <a:pt x="3343" y="1603"/>
                  </a:cubicBezTo>
                  <a:cubicBezTo>
                    <a:pt x="3323" y="1609"/>
                    <a:pt x="3317" y="1616"/>
                    <a:pt x="3297" y="1622"/>
                  </a:cubicBezTo>
                  <a:cubicBezTo>
                    <a:pt x="3277" y="1636"/>
                    <a:pt x="3270" y="1649"/>
                    <a:pt x="3244" y="1662"/>
                  </a:cubicBezTo>
                  <a:cubicBezTo>
                    <a:pt x="3224" y="1669"/>
                    <a:pt x="3211" y="1662"/>
                    <a:pt x="3191" y="1675"/>
                  </a:cubicBezTo>
                  <a:cubicBezTo>
                    <a:pt x="3152" y="1688"/>
                    <a:pt x="3145" y="1721"/>
                    <a:pt x="3132" y="1761"/>
                  </a:cubicBezTo>
                  <a:cubicBezTo>
                    <a:pt x="3112" y="1807"/>
                    <a:pt x="3105" y="1833"/>
                    <a:pt x="3086" y="1880"/>
                  </a:cubicBezTo>
                  <a:cubicBezTo>
                    <a:pt x="3079" y="1893"/>
                    <a:pt x="3073" y="1899"/>
                    <a:pt x="3066" y="1906"/>
                  </a:cubicBezTo>
                  <a:cubicBezTo>
                    <a:pt x="3053" y="1926"/>
                    <a:pt x="3053" y="1932"/>
                    <a:pt x="3039" y="1952"/>
                  </a:cubicBezTo>
                  <a:cubicBezTo>
                    <a:pt x="3006" y="1978"/>
                    <a:pt x="2974" y="1992"/>
                    <a:pt x="2954" y="2025"/>
                  </a:cubicBezTo>
                  <a:cubicBezTo>
                    <a:pt x="2914" y="2091"/>
                    <a:pt x="2927" y="2137"/>
                    <a:pt x="2921" y="2209"/>
                  </a:cubicBezTo>
                  <a:cubicBezTo>
                    <a:pt x="2901" y="2321"/>
                    <a:pt x="2782" y="2335"/>
                    <a:pt x="2736" y="2434"/>
                  </a:cubicBezTo>
                  <a:cubicBezTo>
                    <a:pt x="2696" y="2506"/>
                    <a:pt x="2670" y="2552"/>
                    <a:pt x="2598" y="2585"/>
                  </a:cubicBezTo>
                  <a:cubicBezTo>
                    <a:pt x="2538" y="2612"/>
                    <a:pt x="2492" y="2599"/>
                    <a:pt x="2433" y="2618"/>
                  </a:cubicBezTo>
                  <a:cubicBezTo>
                    <a:pt x="2360" y="2651"/>
                    <a:pt x="2327" y="2691"/>
                    <a:pt x="2281" y="2750"/>
                  </a:cubicBezTo>
                  <a:cubicBezTo>
                    <a:pt x="2215" y="2823"/>
                    <a:pt x="2156" y="2843"/>
                    <a:pt x="2077" y="2895"/>
                  </a:cubicBezTo>
                  <a:cubicBezTo>
                    <a:pt x="2030" y="2922"/>
                    <a:pt x="2030" y="2968"/>
                    <a:pt x="2024" y="3021"/>
                  </a:cubicBezTo>
                  <a:cubicBezTo>
                    <a:pt x="2017" y="3060"/>
                    <a:pt x="2005" y="3080"/>
                    <a:pt x="1992" y="3120"/>
                  </a:cubicBezTo>
                  <a:cubicBezTo>
                    <a:pt x="1959" y="3186"/>
                    <a:pt x="1906" y="3192"/>
                    <a:pt x="1853" y="3245"/>
                  </a:cubicBezTo>
                  <a:cubicBezTo>
                    <a:pt x="1827" y="3278"/>
                    <a:pt x="1833" y="3304"/>
                    <a:pt x="1807" y="3337"/>
                  </a:cubicBezTo>
                  <a:cubicBezTo>
                    <a:pt x="1761" y="3384"/>
                    <a:pt x="1721" y="3397"/>
                    <a:pt x="1702" y="3456"/>
                  </a:cubicBezTo>
                  <a:cubicBezTo>
                    <a:pt x="1695" y="3496"/>
                    <a:pt x="1688" y="3509"/>
                    <a:pt x="1682" y="3548"/>
                  </a:cubicBezTo>
                  <a:lnTo>
                    <a:pt x="1682" y="3548"/>
                  </a:lnTo>
                  <a:cubicBezTo>
                    <a:pt x="1655" y="3509"/>
                    <a:pt x="1629" y="3496"/>
                    <a:pt x="1616" y="3463"/>
                  </a:cubicBezTo>
                  <a:cubicBezTo>
                    <a:pt x="1596" y="3416"/>
                    <a:pt x="1563" y="3377"/>
                    <a:pt x="1510" y="3377"/>
                  </a:cubicBezTo>
                  <a:cubicBezTo>
                    <a:pt x="1484" y="3377"/>
                    <a:pt x="1477" y="3397"/>
                    <a:pt x="1451" y="3403"/>
                  </a:cubicBezTo>
                  <a:cubicBezTo>
                    <a:pt x="1431" y="3410"/>
                    <a:pt x="1418" y="3410"/>
                    <a:pt x="1392" y="3410"/>
                  </a:cubicBezTo>
                  <a:cubicBezTo>
                    <a:pt x="1312" y="3410"/>
                    <a:pt x="1266" y="3416"/>
                    <a:pt x="1200" y="3377"/>
                  </a:cubicBezTo>
                  <a:cubicBezTo>
                    <a:pt x="1114" y="3324"/>
                    <a:pt x="1101" y="3252"/>
                    <a:pt x="1075" y="3153"/>
                  </a:cubicBezTo>
                  <a:cubicBezTo>
                    <a:pt x="1068" y="3139"/>
                    <a:pt x="1068" y="3126"/>
                    <a:pt x="1068" y="3113"/>
                  </a:cubicBezTo>
                  <a:cubicBezTo>
                    <a:pt x="1068" y="3080"/>
                    <a:pt x="1081" y="3067"/>
                    <a:pt x="1081" y="3034"/>
                  </a:cubicBezTo>
                  <a:cubicBezTo>
                    <a:pt x="1081" y="3001"/>
                    <a:pt x="1081" y="2974"/>
                    <a:pt x="1075" y="2942"/>
                  </a:cubicBezTo>
                  <a:cubicBezTo>
                    <a:pt x="1062" y="2909"/>
                    <a:pt x="1029" y="2902"/>
                    <a:pt x="1029" y="2862"/>
                  </a:cubicBezTo>
                  <a:cubicBezTo>
                    <a:pt x="1029" y="2803"/>
                    <a:pt x="1081" y="2777"/>
                    <a:pt x="1081" y="2717"/>
                  </a:cubicBezTo>
                  <a:cubicBezTo>
                    <a:pt x="1081" y="2658"/>
                    <a:pt x="1081" y="2618"/>
                    <a:pt x="1055" y="2566"/>
                  </a:cubicBezTo>
                  <a:cubicBezTo>
                    <a:pt x="1029" y="2526"/>
                    <a:pt x="996" y="2519"/>
                    <a:pt x="956" y="2506"/>
                  </a:cubicBezTo>
                  <a:cubicBezTo>
                    <a:pt x="910" y="2487"/>
                    <a:pt x="877" y="2473"/>
                    <a:pt x="824" y="2473"/>
                  </a:cubicBezTo>
                  <a:cubicBezTo>
                    <a:pt x="758" y="2473"/>
                    <a:pt x="719" y="2493"/>
                    <a:pt x="653" y="2500"/>
                  </a:cubicBezTo>
                  <a:cubicBezTo>
                    <a:pt x="626" y="2506"/>
                    <a:pt x="620" y="2519"/>
                    <a:pt x="593" y="2519"/>
                  </a:cubicBezTo>
                  <a:cubicBezTo>
                    <a:pt x="547" y="2519"/>
                    <a:pt x="534" y="2480"/>
                    <a:pt x="488" y="2473"/>
                  </a:cubicBezTo>
                  <a:cubicBezTo>
                    <a:pt x="422" y="2453"/>
                    <a:pt x="382" y="2447"/>
                    <a:pt x="316" y="2420"/>
                  </a:cubicBezTo>
                  <a:cubicBezTo>
                    <a:pt x="270" y="2407"/>
                    <a:pt x="250" y="2388"/>
                    <a:pt x="198" y="2388"/>
                  </a:cubicBezTo>
                  <a:cubicBezTo>
                    <a:pt x="151" y="2388"/>
                    <a:pt x="99" y="2394"/>
                    <a:pt x="46" y="2394"/>
                  </a:cubicBezTo>
                  <a:cubicBezTo>
                    <a:pt x="39" y="2361"/>
                    <a:pt x="26" y="2348"/>
                    <a:pt x="20" y="2315"/>
                  </a:cubicBezTo>
                  <a:cubicBezTo>
                    <a:pt x="13" y="2302"/>
                    <a:pt x="0" y="2302"/>
                    <a:pt x="0" y="2289"/>
                  </a:cubicBezTo>
                  <a:cubicBezTo>
                    <a:pt x="0" y="2269"/>
                    <a:pt x="13" y="2262"/>
                    <a:pt x="20" y="2242"/>
                  </a:cubicBezTo>
                  <a:cubicBezTo>
                    <a:pt x="39" y="2170"/>
                    <a:pt x="59" y="2137"/>
                    <a:pt x="79" y="2064"/>
                  </a:cubicBezTo>
                  <a:cubicBezTo>
                    <a:pt x="92" y="2031"/>
                    <a:pt x="85" y="2012"/>
                    <a:pt x="92" y="1972"/>
                  </a:cubicBezTo>
                  <a:cubicBezTo>
                    <a:pt x="92" y="1926"/>
                    <a:pt x="105" y="1899"/>
                    <a:pt x="105" y="1860"/>
                  </a:cubicBezTo>
                  <a:cubicBezTo>
                    <a:pt x="105" y="1840"/>
                    <a:pt x="105" y="1833"/>
                    <a:pt x="105" y="1814"/>
                  </a:cubicBezTo>
                  <a:cubicBezTo>
                    <a:pt x="105" y="1801"/>
                    <a:pt x="99" y="1787"/>
                    <a:pt x="99" y="1767"/>
                  </a:cubicBezTo>
                  <a:cubicBezTo>
                    <a:pt x="99" y="1748"/>
                    <a:pt x="99" y="1735"/>
                    <a:pt x="99" y="1715"/>
                  </a:cubicBezTo>
                  <a:cubicBezTo>
                    <a:pt x="99" y="1682"/>
                    <a:pt x="99" y="1662"/>
                    <a:pt x="85" y="1636"/>
                  </a:cubicBezTo>
                  <a:cubicBezTo>
                    <a:pt x="79" y="1616"/>
                    <a:pt x="66" y="1616"/>
                    <a:pt x="53" y="1603"/>
                  </a:cubicBezTo>
                  <a:cubicBezTo>
                    <a:pt x="39" y="1590"/>
                    <a:pt x="33" y="1570"/>
                    <a:pt x="33" y="1550"/>
                  </a:cubicBezTo>
                  <a:cubicBezTo>
                    <a:pt x="33" y="1517"/>
                    <a:pt x="33" y="1504"/>
                    <a:pt x="33" y="1471"/>
                  </a:cubicBezTo>
                  <a:cubicBezTo>
                    <a:pt x="33" y="1451"/>
                    <a:pt x="13" y="1444"/>
                    <a:pt x="6" y="1424"/>
                  </a:cubicBezTo>
                  <a:cubicBezTo>
                    <a:pt x="6" y="1418"/>
                    <a:pt x="6" y="1418"/>
                    <a:pt x="6" y="1411"/>
                  </a:cubicBezTo>
                  <a:lnTo>
                    <a:pt x="6" y="1411"/>
                  </a:lnTo>
                  <a:cubicBezTo>
                    <a:pt x="46" y="1398"/>
                    <a:pt x="72" y="1398"/>
                    <a:pt x="105" y="1372"/>
                  </a:cubicBezTo>
                  <a:cubicBezTo>
                    <a:pt x="138" y="1339"/>
                    <a:pt x="138" y="1306"/>
                    <a:pt x="138" y="1260"/>
                  </a:cubicBezTo>
                  <a:cubicBezTo>
                    <a:pt x="138" y="1240"/>
                    <a:pt x="112" y="1240"/>
                    <a:pt x="92" y="1227"/>
                  </a:cubicBezTo>
                  <a:cubicBezTo>
                    <a:pt x="59" y="1200"/>
                    <a:pt x="39" y="1174"/>
                    <a:pt x="39" y="1134"/>
                  </a:cubicBezTo>
                  <a:cubicBezTo>
                    <a:pt x="39" y="1062"/>
                    <a:pt x="79" y="1029"/>
                    <a:pt x="119" y="976"/>
                  </a:cubicBezTo>
                  <a:cubicBezTo>
                    <a:pt x="151" y="943"/>
                    <a:pt x="151" y="910"/>
                    <a:pt x="165" y="864"/>
                  </a:cubicBezTo>
                  <a:cubicBezTo>
                    <a:pt x="184" y="791"/>
                    <a:pt x="211" y="752"/>
                    <a:pt x="231" y="673"/>
                  </a:cubicBezTo>
                  <a:cubicBezTo>
                    <a:pt x="244" y="587"/>
                    <a:pt x="257" y="541"/>
                    <a:pt x="277" y="455"/>
                  </a:cubicBezTo>
                  <a:cubicBezTo>
                    <a:pt x="283" y="429"/>
                    <a:pt x="290" y="415"/>
                    <a:pt x="303" y="389"/>
                  </a:cubicBezTo>
                  <a:cubicBezTo>
                    <a:pt x="310" y="369"/>
                    <a:pt x="330" y="369"/>
                    <a:pt x="330" y="350"/>
                  </a:cubicBezTo>
                  <a:cubicBezTo>
                    <a:pt x="330" y="257"/>
                    <a:pt x="270" y="211"/>
                    <a:pt x="237" y="125"/>
                  </a:cubicBezTo>
                  <a:cubicBezTo>
                    <a:pt x="231" y="112"/>
                    <a:pt x="224" y="99"/>
                    <a:pt x="217" y="86"/>
                  </a:cubicBezTo>
                  <a:lnTo>
                    <a:pt x="217" y="86"/>
                  </a:lnTo>
                  <a:cubicBezTo>
                    <a:pt x="237" y="86"/>
                    <a:pt x="250" y="72"/>
                    <a:pt x="270" y="72"/>
                  </a:cubicBezTo>
                  <a:cubicBezTo>
                    <a:pt x="290" y="72"/>
                    <a:pt x="303" y="99"/>
                    <a:pt x="310" y="119"/>
                  </a:cubicBezTo>
                  <a:cubicBezTo>
                    <a:pt x="336" y="165"/>
                    <a:pt x="349" y="191"/>
                    <a:pt x="389" y="224"/>
                  </a:cubicBezTo>
                  <a:cubicBezTo>
                    <a:pt x="435" y="264"/>
                    <a:pt x="475" y="270"/>
                    <a:pt x="534" y="270"/>
                  </a:cubicBezTo>
                  <a:cubicBezTo>
                    <a:pt x="587" y="270"/>
                    <a:pt x="600" y="218"/>
                    <a:pt x="646" y="204"/>
                  </a:cubicBezTo>
                  <a:cubicBezTo>
                    <a:pt x="699" y="191"/>
                    <a:pt x="745" y="204"/>
                    <a:pt x="791" y="165"/>
                  </a:cubicBezTo>
                  <a:cubicBezTo>
                    <a:pt x="818" y="152"/>
                    <a:pt x="804" y="125"/>
                    <a:pt x="824" y="105"/>
                  </a:cubicBezTo>
                  <a:cubicBezTo>
                    <a:pt x="851" y="72"/>
                    <a:pt x="890" y="86"/>
                    <a:pt x="930" y="66"/>
                  </a:cubicBezTo>
                  <a:cubicBezTo>
                    <a:pt x="989" y="39"/>
                    <a:pt x="1022" y="20"/>
                    <a:pt x="1088" y="20"/>
                  </a:cubicBezTo>
                  <a:cubicBezTo>
                    <a:pt x="1101" y="20"/>
                    <a:pt x="1095" y="39"/>
                    <a:pt x="1101" y="46"/>
                  </a:cubicBezTo>
                  <a:cubicBezTo>
                    <a:pt x="1108" y="59"/>
                    <a:pt x="1121" y="66"/>
                    <a:pt x="1128" y="79"/>
                  </a:cubicBezTo>
                  <a:cubicBezTo>
                    <a:pt x="1187" y="119"/>
                    <a:pt x="1233" y="152"/>
                    <a:pt x="1306" y="152"/>
                  </a:cubicBezTo>
                  <a:cubicBezTo>
                    <a:pt x="1332" y="152"/>
                    <a:pt x="1352" y="152"/>
                    <a:pt x="1378" y="152"/>
                  </a:cubicBezTo>
                  <a:cubicBezTo>
                    <a:pt x="1451" y="152"/>
                    <a:pt x="1444" y="39"/>
                    <a:pt x="1517" y="13"/>
                  </a:cubicBezTo>
                  <a:cubicBezTo>
                    <a:pt x="1556" y="0"/>
                    <a:pt x="1583" y="13"/>
                    <a:pt x="1622" y="13"/>
                  </a:cubicBezTo>
                  <a:cubicBezTo>
                    <a:pt x="1649" y="13"/>
                    <a:pt x="1662" y="7"/>
                    <a:pt x="1688" y="7"/>
                  </a:cubicBezTo>
                  <a:cubicBezTo>
                    <a:pt x="1754" y="7"/>
                    <a:pt x="1787" y="7"/>
                    <a:pt x="1853" y="7"/>
                  </a:cubicBezTo>
                  <a:cubicBezTo>
                    <a:pt x="1866" y="53"/>
                    <a:pt x="1913" y="79"/>
                    <a:pt x="1959" y="79"/>
                  </a:cubicBezTo>
                  <a:cubicBezTo>
                    <a:pt x="2063" y="79"/>
                    <a:pt x="2116" y="46"/>
                    <a:pt x="2215" y="46"/>
                  </a:cubicBezTo>
                  <a:cubicBezTo>
                    <a:pt x="2248" y="46"/>
                    <a:pt x="2281" y="39"/>
                    <a:pt x="2294" y="72"/>
                  </a:cubicBezTo>
                  <a:cubicBezTo>
                    <a:pt x="2307" y="99"/>
                    <a:pt x="2294" y="132"/>
                    <a:pt x="2320" y="158"/>
                  </a:cubicBezTo>
                  <a:cubicBezTo>
                    <a:pt x="2334" y="178"/>
                    <a:pt x="2353" y="171"/>
                    <a:pt x="2373" y="184"/>
                  </a:cubicBezTo>
                  <a:cubicBezTo>
                    <a:pt x="2413" y="198"/>
                    <a:pt x="2426" y="224"/>
                    <a:pt x="2466" y="224"/>
                  </a:cubicBezTo>
                  <a:lnTo>
                    <a:pt x="2466" y="224"/>
                  </a:lnTo>
                  <a:cubicBezTo>
                    <a:pt x="2459" y="270"/>
                    <a:pt x="2459" y="316"/>
                    <a:pt x="2452" y="363"/>
                  </a:cubicBezTo>
                  <a:cubicBezTo>
                    <a:pt x="2452" y="409"/>
                    <a:pt x="2433" y="435"/>
                    <a:pt x="2433" y="475"/>
                  </a:cubicBezTo>
                  <a:cubicBezTo>
                    <a:pt x="2433" y="488"/>
                    <a:pt x="2433" y="495"/>
                    <a:pt x="2433" y="508"/>
                  </a:cubicBezTo>
                  <a:cubicBezTo>
                    <a:pt x="2466" y="514"/>
                    <a:pt x="2492" y="508"/>
                    <a:pt x="2525" y="521"/>
                  </a:cubicBezTo>
                  <a:cubicBezTo>
                    <a:pt x="2584" y="541"/>
                    <a:pt x="2604" y="574"/>
                    <a:pt x="2644" y="620"/>
                  </a:cubicBezTo>
                  <a:cubicBezTo>
                    <a:pt x="2670" y="653"/>
                    <a:pt x="2696" y="666"/>
                    <a:pt x="2736" y="693"/>
                  </a:cubicBezTo>
                  <a:cubicBezTo>
                    <a:pt x="2822" y="758"/>
                    <a:pt x="2861" y="805"/>
                    <a:pt x="2954" y="864"/>
                  </a:cubicBezTo>
                  <a:cubicBezTo>
                    <a:pt x="3020" y="904"/>
                    <a:pt x="3046" y="930"/>
                    <a:pt x="3112" y="963"/>
                  </a:cubicBezTo>
                  <a:cubicBezTo>
                    <a:pt x="3165" y="996"/>
                    <a:pt x="3211" y="1002"/>
                    <a:pt x="3244" y="1055"/>
                  </a:cubicBezTo>
                  <a:cubicBezTo>
                    <a:pt x="3284" y="1128"/>
                    <a:pt x="3343" y="1141"/>
                    <a:pt x="3422" y="1174"/>
                  </a:cubicBezTo>
                  <a:cubicBezTo>
                    <a:pt x="3448" y="1187"/>
                    <a:pt x="3468" y="1194"/>
                    <a:pt x="3495" y="1213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4" name="Freeform 44"/>
            <p:cNvSpPr>
              <a:spLocks noChangeArrowheads="1"/>
            </p:cNvSpPr>
            <p:nvPr/>
          </p:nvSpPr>
          <p:spPr bwMode="auto">
            <a:xfrm>
              <a:off x="6150369" y="9329732"/>
              <a:ext cx="1268330" cy="1212850"/>
            </a:xfrm>
            <a:custGeom>
              <a:avLst/>
              <a:gdLst>
                <a:gd name="T0" fmla="*/ 1827 w 3522"/>
                <a:gd name="T1" fmla="*/ 39 h 3371"/>
                <a:gd name="T2" fmla="*/ 2142 w 3522"/>
                <a:gd name="T3" fmla="*/ 0 h 3371"/>
                <a:gd name="T4" fmla="*/ 2525 w 3522"/>
                <a:gd name="T5" fmla="*/ 79 h 3371"/>
                <a:gd name="T6" fmla="*/ 2743 w 3522"/>
                <a:gd name="T7" fmla="*/ 197 h 3371"/>
                <a:gd name="T8" fmla="*/ 3152 w 3522"/>
                <a:gd name="T9" fmla="*/ 652 h 3371"/>
                <a:gd name="T10" fmla="*/ 3382 w 3522"/>
                <a:gd name="T11" fmla="*/ 850 h 3371"/>
                <a:gd name="T12" fmla="*/ 3330 w 3522"/>
                <a:gd name="T13" fmla="*/ 1127 h 3371"/>
                <a:gd name="T14" fmla="*/ 3521 w 3522"/>
                <a:gd name="T15" fmla="*/ 1233 h 3371"/>
                <a:gd name="T16" fmla="*/ 3323 w 3522"/>
                <a:gd name="T17" fmla="*/ 1457 h 3371"/>
                <a:gd name="T18" fmla="*/ 2921 w 3522"/>
                <a:gd name="T19" fmla="*/ 2156 h 3371"/>
                <a:gd name="T20" fmla="*/ 2307 w 3522"/>
                <a:gd name="T21" fmla="*/ 2585 h 3371"/>
                <a:gd name="T22" fmla="*/ 2307 w 3522"/>
                <a:gd name="T23" fmla="*/ 2413 h 3371"/>
                <a:gd name="T24" fmla="*/ 2558 w 3522"/>
                <a:gd name="T25" fmla="*/ 2347 h 3371"/>
                <a:gd name="T26" fmla="*/ 2690 w 3522"/>
                <a:gd name="T27" fmla="*/ 2209 h 3371"/>
                <a:gd name="T28" fmla="*/ 2835 w 3522"/>
                <a:gd name="T29" fmla="*/ 2044 h 3371"/>
                <a:gd name="T30" fmla="*/ 2980 w 3522"/>
                <a:gd name="T31" fmla="*/ 1827 h 3371"/>
                <a:gd name="T32" fmla="*/ 3059 w 3522"/>
                <a:gd name="T33" fmla="*/ 1714 h 3371"/>
                <a:gd name="T34" fmla="*/ 3020 w 3522"/>
                <a:gd name="T35" fmla="*/ 1688 h 3371"/>
                <a:gd name="T36" fmla="*/ 2756 w 3522"/>
                <a:gd name="T37" fmla="*/ 1596 h 3371"/>
                <a:gd name="T38" fmla="*/ 2703 w 3522"/>
                <a:gd name="T39" fmla="*/ 1787 h 3371"/>
                <a:gd name="T40" fmla="*/ 2558 w 3522"/>
                <a:gd name="T41" fmla="*/ 2117 h 3371"/>
                <a:gd name="T42" fmla="*/ 2202 w 3522"/>
                <a:gd name="T43" fmla="*/ 2413 h 3371"/>
                <a:gd name="T44" fmla="*/ 2195 w 3522"/>
                <a:gd name="T45" fmla="*/ 2724 h 3371"/>
                <a:gd name="T46" fmla="*/ 2024 w 3522"/>
                <a:gd name="T47" fmla="*/ 3126 h 3371"/>
                <a:gd name="T48" fmla="*/ 1695 w 3522"/>
                <a:gd name="T49" fmla="*/ 3370 h 3371"/>
                <a:gd name="T50" fmla="*/ 1642 w 3522"/>
                <a:gd name="T51" fmla="*/ 3146 h 3371"/>
                <a:gd name="T52" fmla="*/ 1682 w 3522"/>
                <a:gd name="T53" fmla="*/ 3034 h 3371"/>
                <a:gd name="T54" fmla="*/ 1721 w 3522"/>
                <a:gd name="T55" fmla="*/ 2987 h 3371"/>
                <a:gd name="T56" fmla="*/ 1767 w 3522"/>
                <a:gd name="T57" fmla="*/ 2935 h 3371"/>
                <a:gd name="T58" fmla="*/ 1774 w 3522"/>
                <a:gd name="T59" fmla="*/ 2915 h 3371"/>
                <a:gd name="T60" fmla="*/ 1668 w 3522"/>
                <a:gd name="T61" fmla="*/ 2710 h 3371"/>
                <a:gd name="T62" fmla="*/ 1286 w 3522"/>
                <a:gd name="T63" fmla="*/ 2334 h 3371"/>
                <a:gd name="T64" fmla="*/ 1042 w 3522"/>
                <a:gd name="T65" fmla="*/ 2156 h 3371"/>
                <a:gd name="T66" fmla="*/ 910 w 3522"/>
                <a:gd name="T67" fmla="*/ 2011 h 3371"/>
                <a:gd name="T68" fmla="*/ 626 w 3522"/>
                <a:gd name="T69" fmla="*/ 1932 h 3371"/>
                <a:gd name="T70" fmla="*/ 415 w 3522"/>
                <a:gd name="T71" fmla="*/ 1602 h 3371"/>
                <a:gd name="T72" fmla="*/ 151 w 3522"/>
                <a:gd name="T73" fmla="*/ 1523 h 3371"/>
                <a:gd name="T74" fmla="*/ 0 w 3522"/>
                <a:gd name="T75" fmla="*/ 1444 h 3371"/>
                <a:gd name="T76" fmla="*/ 204 w 3522"/>
                <a:gd name="T77" fmla="*/ 1206 h 3371"/>
                <a:gd name="T78" fmla="*/ 462 w 3522"/>
                <a:gd name="T79" fmla="*/ 1015 h 3371"/>
                <a:gd name="T80" fmla="*/ 679 w 3522"/>
                <a:gd name="T81" fmla="*/ 811 h 3371"/>
                <a:gd name="T82" fmla="*/ 778 w 3522"/>
                <a:gd name="T83" fmla="*/ 633 h 3371"/>
                <a:gd name="T84" fmla="*/ 917 w 3522"/>
                <a:gd name="T85" fmla="*/ 633 h 3371"/>
                <a:gd name="T86" fmla="*/ 969 w 3522"/>
                <a:gd name="T87" fmla="*/ 468 h 3371"/>
                <a:gd name="T88" fmla="*/ 1207 w 3522"/>
                <a:gd name="T89" fmla="*/ 283 h 3371"/>
                <a:gd name="T90" fmla="*/ 1418 w 3522"/>
                <a:gd name="T91" fmla="*/ 98 h 3371"/>
                <a:gd name="T92" fmla="*/ 1622 w 3522"/>
                <a:gd name="T93" fmla="*/ 26 h 3371"/>
                <a:gd name="T94" fmla="*/ 1728 w 3522"/>
                <a:gd name="T95" fmla="*/ 19 h 3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22" h="3371">
                  <a:moveTo>
                    <a:pt x="1735" y="13"/>
                  </a:moveTo>
                  <a:lnTo>
                    <a:pt x="1735" y="13"/>
                  </a:lnTo>
                  <a:cubicBezTo>
                    <a:pt x="1767" y="13"/>
                    <a:pt x="1794" y="39"/>
                    <a:pt x="1827" y="39"/>
                  </a:cubicBezTo>
                  <a:cubicBezTo>
                    <a:pt x="1873" y="39"/>
                    <a:pt x="1893" y="13"/>
                    <a:pt x="1939" y="13"/>
                  </a:cubicBezTo>
                  <a:cubicBezTo>
                    <a:pt x="1979" y="13"/>
                    <a:pt x="1992" y="52"/>
                    <a:pt x="2030" y="52"/>
                  </a:cubicBezTo>
                  <a:cubicBezTo>
                    <a:pt x="2077" y="52"/>
                    <a:pt x="2096" y="0"/>
                    <a:pt x="2142" y="0"/>
                  </a:cubicBezTo>
                  <a:cubicBezTo>
                    <a:pt x="2182" y="0"/>
                    <a:pt x="2195" y="52"/>
                    <a:pt x="2235" y="52"/>
                  </a:cubicBezTo>
                  <a:cubicBezTo>
                    <a:pt x="2281" y="52"/>
                    <a:pt x="2307" y="52"/>
                    <a:pt x="2353" y="52"/>
                  </a:cubicBezTo>
                  <a:cubicBezTo>
                    <a:pt x="2419" y="52"/>
                    <a:pt x="2459" y="65"/>
                    <a:pt x="2525" y="79"/>
                  </a:cubicBezTo>
                  <a:cubicBezTo>
                    <a:pt x="2551" y="85"/>
                    <a:pt x="2584" y="85"/>
                    <a:pt x="2591" y="112"/>
                  </a:cubicBezTo>
                  <a:cubicBezTo>
                    <a:pt x="2598" y="138"/>
                    <a:pt x="2591" y="178"/>
                    <a:pt x="2617" y="184"/>
                  </a:cubicBezTo>
                  <a:cubicBezTo>
                    <a:pt x="2663" y="197"/>
                    <a:pt x="2696" y="178"/>
                    <a:pt x="2743" y="197"/>
                  </a:cubicBezTo>
                  <a:cubicBezTo>
                    <a:pt x="2769" y="204"/>
                    <a:pt x="2776" y="217"/>
                    <a:pt x="2795" y="237"/>
                  </a:cubicBezTo>
                  <a:cubicBezTo>
                    <a:pt x="2848" y="290"/>
                    <a:pt x="2881" y="316"/>
                    <a:pt x="2907" y="382"/>
                  </a:cubicBezTo>
                  <a:cubicBezTo>
                    <a:pt x="2960" y="514"/>
                    <a:pt x="3092" y="520"/>
                    <a:pt x="3152" y="652"/>
                  </a:cubicBezTo>
                  <a:cubicBezTo>
                    <a:pt x="3165" y="679"/>
                    <a:pt x="3178" y="712"/>
                    <a:pt x="3211" y="718"/>
                  </a:cubicBezTo>
                  <a:cubicBezTo>
                    <a:pt x="3250" y="738"/>
                    <a:pt x="3277" y="725"/>
                    <a:pt x="3317" y="738"/>
                  </a:cubicBezTo>
                  <a:cubicBezTo>
                    <a:pt x="3363" y="758"/>
                    <a:pt x="3382" y="804"/>
                    <a:pt x="3382" y="850"/>
                  </a:cubicBezTo>
                  <a:cubicBezTo>
                    <a:pt x="3382" y="903"/>
                    <a:pt x="3382" y="930"/>
                    <a:pt x="3382" y="976"/>
                  </a:cubicBezTo>
                  <a:cubicBezTo>
                    <a:pt x="3382" y="989"/>
                    <a:pt x="3389" y="995"/>
                    <a:pt x="3389" y="1009"/>
                  </a:cubicBezTo>
                  <a:cubicBezTo>
                    <a:pt x="3389" y="1061"/>
                    <a:pt x="3349" y="1081"/>
                    <a:pt x="3330" y="1127"/>
                  </a:cubicBezTo>
                  <a:cubicBezTo>
                    <a:pt x="3317" y="1154"/>
                    <a:pt x="3317" y="1174"/>
                    <a:pt x="3303" y="1193"/>
                  </a:cubicBezTo>
                  <a:cubicBezTo>
                    <a:pt x="3343" y="1200"/>
                    <a:pt x="3363" y="1193"/>
                    <a:pt x="3396" y="1193"/>
                  </a:cubicBezTo>
                  <a:cubicBezTo>
                    <a:pt x="3442" y="1193"/>
                    <a:pt x="3475" y="1206"/>
                    <a:pt x="3521" y="1233"/>
                  </a:cubicBezTo>
                  <a:lnTo>
                    <a:pt x="3521" y="1233"/>
                  </a:lnTo>
                  <a:cubicBezTo>
                    <a:pt x="3501" y="1259"/>
                    <a:pt x="3481" y="1292"/>
                    <a:pt x="3448" y="1325"/>
                  </a:cubicBezTo>
                  <a:cubicBezTo>
                    <a:pt x="3402" y="1378"/>
                    <a:pt x="3376" y="1411"/>
                    <a:pt x="3323" y="1457"/>
                  </a:cubicBezTo>
                  <a:cubicBezTo>
                    <a:pt x="3303" y="1484"/>
                    <a:pt x="3277" y="1497"/>
                    <a:pt x="3264" y="1523"/>
                  </a:cubicBezTo>
                  <a:cubicBezTo>
                    <a:pt x="3204" y="1629"/>
                    <a:pt x="3178" y="1695"/>
                    <a:pt x="3145" y="1813"/>
                  </a:cubicBezTo>
                  <a:cubicBezTo>
                    <a:pt x="3099" y="1965"/>
                    <a:pt x="3033" y="2044"/>
                    <a:pt x="2921" y="2156"/>
                  </a:cubicBezTo>
                  <a:cubicBezTo>
                    <a:pt x="2875" y="2202"/>
                    <a:pt x="2842" y="2229"/>
                    <a:pt x="2782" y="2268"/>
                  </a:cubicBezTo>
                  <a:cubicBezTo>
                    <a:pt x="2663" y="2354"/>
                    <a:pt x="2598" y="2407"/>
                    <a:pt x="2479" y="2486"/>
                  </a:cubicBezTo>
                  <a:cubicBezTo>
                    <a:pt x="2413" y="2526"/>
                    <a:pt x="2360" y="2526"/>
                    <a:pt x="2307" y="2585"/>
                  </a:cubicBezTo>
                  <a:lnTo>
                    <a:pt x="2307" y="2585"/>
                  </a:lnTo>
                  <a:cubicBezTo>
                    <a:pt x="2307" y="2413"/>
                    <a:pt x="2307" y="2413"/>
                    <a:pt x="2307" y="2413"/>
                  </a:cubicBezTo>
                  <a:lnTo>
                    <a:pt x="2307" y="2413"/>
                  </a:lnTo>
                  <a:cubicBezTo>
                    <a:pt x="2340" y="2433"/>
                    <a:pt x="2360" y="2446"/>
                    <a:pt x="2400" y="2446"/>
                  </a:cubicBezTo>
                  <a:cubicBezTo>
                    <a:pt x="2439" y="2440"/>
                    <a:pt x="2452" y="2400"/>
                    <a:pt x="2492" y="2381"/>
                  </a:cubicBezTo>
                  <a:cubicBezTo>
                    <a:pt x="2518" y="2367"/>
                    <a:pt x="2538" y="2361"/>
                    <a:pt x="2558" y="2347"/>
                  </a:cubicBezTo>
                  <a:cubicBezTo>
                    <a:pt x="2578" y="2341"/>
                    <a:pt x="2584" y="2314"/>
                    <a:pt x="2611" y="2308"/>
                  </a:cubicBezTo>
                  <a:cubicBezTo>
                    <a:pt x="2644" y="2295"/>
                    <a:pt x="2690" y="2288"/>
                    <a:pt x="2690" y="2255"/>
                  </a:cubicBezTo>
                  <a:cubicBezTo>
                    <a:pt x="2690" y="2235"/>
                    <a:pt x="2690" y="2222"/>
                    <a:pt x="2690" y="2209"/>
                  </a:cubicBezTo>
                  <a:cubicBezTo>
                    <a:pt x="2690" y="2169"/>
                    <a:pt x="2696" y="2143"/>
                    <a:pt x="2723" y="2117"/>
                  </a:cubicBezTo>
                  <a:cubicBezTo>
                    <a:pt x="2743" y="2090"/>
                    <a:pt x="2776" y="2117"/>
                    <a:pt x="2802" y="2103"/>
                  </a:cubicBezTo>
                  <a:cubicBezTo>
                    <a:pt x="2822" y="2084"/>
                    <a:pt x="2822" y="2064"/>
                    <a:pt x="2835" y="2044"/>
                  </a:cubicBezTo>
                  <a:cubicBezTo>
                    <a:pt x="2842" y="2024"/>
                    <a:pt x="2861" y="2011"/>
                    <a:pt x="2875" y="1998"/>
                  </a:cubicBezTo>
                  <a:cubicBezTo>
                    <a:pt x="2901" y="1958"/>
                    <a:pt x="2941" y="1952"/>
                    <a:pt x="2954" y="1906"/>
                  </a:cubicBezTo>
                  <a:cubicBezTo>
                    <a:pt x="2960" y="1873"/>
                    <a:pt x="2967" y="1853"/>
                    <a:pt x="2980" y="1827"/>
                  </a:cubicBezTo>
                  <a:cubicBezTo>
                    <a:pt x="2987" y="1800"/>
                    <a:pt x="2993" y="1767"/>
                    <a:pt x="3020" y="1767"/>
                  </a:cubicBezTo>
                  <a:cubicBezTo>
                    <a:pt x="3033" y="1767"/>
                    <a:pt x="3039" y="1774"/>
                    <a:pt x="3046" y="1774"/>
                  </a:cubicBezTo>
                  <a:cubicBezTo>
                    <a:pt x="3059" y="1754"/>
                    <a:pt x="3059" y="1741"/>
                    <a:pt x="3059" y="1714"/>
                  </a:cubicBezTo>
                  <a:cubicBezTo>
                    <a:pt x="3059" y="1701"/>
                    <a:pt x="3059" y="1688"/>
                    <a:pt x="3059" y="1675"/>
                  </a:cubicBezTo>
                  <a:cubicBezTo>
                    <a:pt x="3059" y="1675"/>
                    <a:pt x="3053" y="1668"/>
                    <a:pt x="3046" y="1668"/>
                  </a:cubicBezTo>
                  <a:cubicBezTo>
                    <a:pt x="3033" y="1668"/>
                    <a:pt x="3033" y="1681"/>
                    <a:pt x="3020" y="1688"/>
                  </a:cubicBezTo>
                  <a:cubicBezTo>
                    <a:pt x="2993" y="1695"/>
                    <a:pt x="2974" y="1701"/>
                    <a:pt x="2941" y="1701"/>
                  </a:cubicBezTo>
                  <a:cubicBezTo>
                    <a:pt x="2901" y="1701"/>
                    <a:pt x="2881" y="1681"/>
                    <a:pt x="2855" y="1655"/>
                  </a:cubicBezTo>
                  <a:cubicBezTo>
                    <a:pt x="2822" y="1622"/>
                    <a:pt x="2795" y="1622"/>
                    <a:pt x="2756" y="1596"/>
                  </a:cubicBezTo>
                  <a:cubicBezTo>
                    <a:pt x="2756" y="1615"/>
                    <a:pt x="2756" y="1629"/>
                    <a:pt x="2756" y="1648"/>
                  </a:cubicBezTo>
                  <a:cubicBezTo>
                    <a:pt x="2756" y="1675"/>
                    <a:pt x="2762" y="1695"/>
                    <a:pt x="2762" y="1721"/>
                  </a:cubicBezTo>
                  <a:cubicBezTo>
                    <a:pt x="2762" y="1760"/>
                    <a:pt x="2730" y="1760"/>
                    <a:pt x="2703" y="1787"/>
                  </a:cubicBezTo>
                  <a:cubicBezTo>
                    <a:pt x="2683" y="1813"/>
                    <a:pt x="2690" y="1833"/>
                    <a:pt x="2677" y="1859"/>
                  </a:cubicBezTo>
                  <a:cubicBezTo>
                    <a:pt x="2663" y="1886"/>
                    <a:pt x="2644" y="1892"/>
                    <a:pt x="2631" y="1912"/>
                  </a:cubicBezTo>
                  <a:cubicBezTo>
                    <a:pt x="2591" y="1985"/>
                    <a:pt x="2598" y="2044"/>
                    <a:pt x="2558" y="2117"/>
                  </a:cubicBezTo>
                  <a:cubicBezTo>
                    <a:pt x="2532" y="2169"/>
                    <a:pt x="2485" y="2169"/>
                    <a:pt x="2426" y="2196"/>
                  </a:cubicBezTo>
                  <a:cubicBezTo>
                    <a:pt x="2353" y="2229"/>
                    <a:pt x="2327" y="2275"/>
                    <a:pt x="2274" y="2328"/>
                  </a:cubicBezTo>
                  <a:cubicBezTo>
                    <a:pt x="2241" y="2354"/>
                    <a:pt x="2202" y="2367"/>
                    <a:pt x="2202" y="2413"/>
                  </a:cubicBezTo>
                  <a:cubicBezTo>
                    <a:pt x="2202" y="2440"/>
                    <a:pt x="2228" y="2453"/>
                    <a:pt x="2235" y="2480"/>
                  </a:cubicBezTo>
                  <a:cubicBezTo>
                    <a:pt x="2241" y="2539"/>
                    <a:pt x="2228" y="2592"/>
                    <a:pt x="2274" y="2631"/>
                  </a:cubicBezTo>
                  <a:cubicBezTo>
                    <a:pt x="2255" y="2677"/>
                    <a:pt x="2215" y="2684"/>
                    <a:pt x="2195" y="2724"/>
                  </a:cubicBezTo>
                  <a:cubicBezTo>
                    <a:pt x="2129" y="2842"/>
                    <a:pt x="2136" y="2935"/>
                    <a:pt x="2063" y="3047"/>
                  </a:cubicBezTo>
                  <a:cubicBezTo>
                    <a:pt x="2050" y="3066"/>
                    <a:pt x="2037" y="3080"/>
                    <a:pt x="2030" y="3099"/>
                  </a:cubicBezTo>
                  <a:cubicBezTo>
                    <a:pt x="2024" y="3106"/>
                    <a:pt x="2030" y="3119"/>
                    <a:pt x="2024" y="3126"/>
                  </a:cubicBezTo>
                  <a:cubicBezTo>
                    <a:pt x="1939" y="3198"/>
                    <a:pt x="1899" y="3251"/>
                    <a:pt x="1807" y="3297"/>
                  </a:cubicBezTo>
                  <a:cubicBezTo>
                    <a:pt x="1761" y="3317"/>
                    <a:pt x="1728" y="3337"/>
                    <a:pt x="1695" y="3370"/>
                  </a:cubicBezTo>
                  <a:lnTo>
                    <a:pt x="1695" y="3370"/>
                  </a:lnTo>
                  <a:cubicBezTo>
                    <a:pt x="1649" y="3245"/>
                    <a:pt x="1649" y="3245"/>
                    <a:pt x="1649" y="3245"/>
                  </a:cubicBezTo>
                  <a:cubicBezTo>
                    <a:pt x="1649" y="3225"/>
                    <a:pt x="1642" y="3205"/>
                    <a:pt x="1642" y="3185"/>
                  </a:cubicBezTo>
                  <a:cubicBezTo>
                    <a:pt x="1642" y="3172"/>
                    <a:pt x="1642" y="3159"/>
                    <a:pt x="1642" y="3146"/>
                  </a:cubicBezTo>
                  <a:cubicBezTo>
                    <a:pt x="1642" y="3132"/>
                    <a:pt x="1649" y="3126"/>
                    <a:pt x="1649" y="3113"/>
                  </a:cubicBezTo>
                  <a:cubicBezTo>
                    <a:pt x="1655" y="3086"/>
                    <a:pt x="1662" y="3073"/>
                    <a:pt x="1668" y="3053"/>
                  </a:cubicBezTo>
                  <a:cubicBezTo>
                    <a:pt x="1675" y="3047"/>
                    <a:pt x="1675" y="3040"/>
                    <a:pt x="1682" y="3034"/>
                  </a:cubicBezTo>
                  <a:cubicBezTo>
                    <a:pt x="1688" y="3020"/>
                    <a:pt x="1695" y="3014"/>
                    <a:pt x="1708" y="3000"/>
                  </a:cubicBezTo>
                  <a:cubicBezTo>
                    <a:pt x="1708" y="3000"/>
                    <a:pt x="1708" y="2994"/>
                    <a:pt x="1715" y="2994"/>
                  </a:cubicBezTo>
                  <a:cubicBezTo>
                    <a:pt x="1715" y="2987"/>
                    <a:pt x="1721" y="2987"/>
                    <a:pt x="1721" y="2987"/>
                  </a:cubicBezTo>
                  <a:cubicBezTo>
                    <a:pt x="1728" y="2981"/>
                    <a:pt x="1735" y="2981"/>
                    <a:pt x="1735" y="2974"/>
                  </a:cubicBezTo>
                  <a:cubicBezTo>
                    <a:pt x="1748" y="2961"/>
                    <a:pt x="1748" y="2954"/>
                    <a:pt x="1761" y="2941"/>
                  </a:cubicBezTo>
                  <a:cubicBezTo>
                    <a:pt x="1761" y="2935"/>
                    <a:pt x="1767" y="2935"/>
                    <a:pt x="1767" y="2935"/>
                  </a:cubicBezTo>
                  <a:cubicBezTo>
                    <a:pt x="1767" y="2928"/>
                    <a:pt x="1767" y="2928"/>
                    <a:pt x="1767" y="2928"/>
                  </a:cubicBezTo>
                  <a:lnTo>
                    <a:pt x="1767" y="2928"/>
                  </a:lnTo>
                  <a:cubicBezTo>
                    <a:pt x="1774" y="2921"/>
                    <a:pt x="1774" y="2921"/>
                    <a:pt x="1774" y="2915"/>
                  </a:cubicBezTo>
                  <a:cubicBezTo>
                    <a:pt x="1774" y="2908"/>
                    <a:pt x="1781" y="2902"/>
                    <a:pt x="1781" y="2888"/>
                  </a:cubicBezTo>
                  <a:cubicBezTo>
                    <a:pt x="1781" y="2869"/>
                    <a:pt x="1767" y="2855"/>
                    <a:pt x="1767" y="2836"/>
                  </a:cubicBezTo>
                  <a:cubicBezTo>
                    <a:pt x="1767" y="2776"/>
                    <a:pt x="1708" y="2756"/>
                    <a:pt x="1668" y="2710"/>
                  </a:cubicBezTo>
                  <a:cubicBezTo>
                    <a:pt x="1629" y="2664"/>
                    <a:pt x="1642" y="2598"/>
                    <a:pt x="1589" y="2565"/>
                  </a:cubicBezTo>
                  <a:cubicBezTo>
                    <a:pt x="1530" y="2532"/>
                    <a:pt x="1477" y="2532"/>
                    <a:pt x="1431" y="2480"/>
                  </a:cubicBezTo>
                  <a:cubicBezTo>
                    <a:pt x="1378" y="2420"/>
                    <a:pt x="1345" y="2387"/>
                    <a:pt x="1286" y="2334"/>
                  </a:cubicBezTo>
                  <a:cubicBezTo>
                    <a:pt x="1246" y="2301"/>
                    <a:pt x="1273" y="2249"/>
                    <a:pt x="1227" y="2222"/>
                  </a:cubicBezTo>
                  <a:cubicBezTo>
                    <a:pt x="1187" y="2189"/>
                    <a:pt x="1154" y="2183"/>
                    <a:pt x="1108" y="2163"/>
                  </a:cubicBezTo>
                  <a:cubicBezTo>
                    <a:pt x="1088" y="2150"/>
                    <a:pt x="1068" y="2163"/>
                    <a:pt x="1042" y="2156"/>
                  </a:cubicBezTo>
                  <a:cubicBezTo>
                    <a:pt x="1022" y="2150"/>
                    <a:pt x="1002" y="2156"/>
                    <a:pt x="989" y="2143"/>
                  </a:cubicBezTo>
                  <a:cubicBezTo>
                    <a:pt x="969" y="2130"/>
                    <a:pt x="976" y="2110"/>
                    <a:pt x="969" y="2084"/>
                  </a:cubicBezTo>
                  <a:cubicBezTo>
                    <a:pt x="956" y="2051"/>
                    <a:pt x="936" y="2038"/>
                    <a:pt x="910" y="2011"/>
                  </a:cubicBezTo>
                  <a:cubicBezTo>
                    <a:pt x="884" y="1965"/>
                    <a:pt x="857" y="1926"/>
                    <a:pt x="811" y="1926"/>
                  </a:cubicBezTo>
                  <a:cubicBezTo>
                    <a:pt x="745" y="1926"/>
                    <a:pt x="725" y="1978"/>
                    <a:pt x="659" y="1978"/>
                  </a:cubicBezTo>
                  <a:cubicBezTo>
                    <a:pt x="639" y="1978"/>
                    <a:pt x="633" y="1952"/>
                    <a:pt x="626" y="1932"/>
                  </a:cubicBezTo>
                  <a:cubicBezTo>
                    <a:pt x="620" y="1906"/>
                    <a:pt x="607" y="1892"/>
                    <a:pt x="607" y="1873"/>
                  </a:cubicBezTo>
                  <a:cubicBezTo>
                    <a:pt x="593" y="1807"/>
                    <a:pt x="580" y="1767"/>
                    <a:pt x="541" y="1721"/>
                  </a:cubicBezTo>
                  <a:cubicBezTo>
                    <a:pt x="494" y="1675"/>
                    <a:pt x="468" y="1648"/>
                    <a:pt x="415" y="1602"/>
                  </a:cubicBezTo>
                  <a:cubicBezTo>
                    <a:pt x="402" y="1589"/>
                    <a:pt x="382" y="1576"/>
                    <a:pt x="376" y="1549"/>
                  </a:cubicBezTo>
                  <a:cubicBezTo>
                    <a:pt x="363" y="1516"/>
                    <a:pt x="349" y="1490"/>
                    <a:pt x="310" y="1490"/>
                  </a:cubicBezTo>
                  <a:cubicBezTo>
                    <a:pt x="250" y="1490"/>
                    <a:pt x="211" y="1523"/>
                    <a:pt x="151" y="1523"/>
                  </a:cubicBezTo>
                  <a:cubicBezTo>
                    <a:pt x="92" y="1523"/>
                    <a:pt x="59" y="1503"/>
                    <a:pt x="6" y="1470"/>
                  </a:cubicBezTo>
                  <a:lnTo>
                    <a:pt x="6" y="1470"/>
                  </a:lnTo>
                  <a:cubicBezTo>
                    <a:pt x="6" y="1457"/>
                    <a:pt x="0" y="1450"/>
                    <a:pt x="0" y="1444"/>
                  </a:cubicBezTo>
                  <a:cubicBezTo>
                    <a:pt x="0" y="1398"/>
                    <a:pt x="53" y="1398"/>
                    <a:pt x="85" y="1378"/>
                  </a:cubicBezTo>
                  <a:cubicBezTo>
                    <a:pt x="125" y="1352"/>
                    <a:pt x="132" y="1325"/>
                    <a:pt x="158" y="1286"/>
                  </a:cubicBezTo>
                  <a:cubicBezTo>
                    <a:pt x="171" y="1253"/>
                    <a:pt x="171" y="1226"/>
                    <a:pt x="204" y="1206"/>
                  </a:cubicBezTo>
                  <a:cubicBezTo>
                    <a:pt x="244" y="1187"/>
                    <a:pt x="283" y="1180"/>
                    <a:pt x="303" y="1141"/>
                  </a:cubicBezTo>
                  <a:cubicBezTo>
                    <a:pt x="349" y="1121"/>
                    <a:pt x="363" y="1094"/>
                    <a:pt x="402" y="1068"/>
                  </a:cubicBezTo>
                  <a:cubicBezTo>
                    <a:pt x="428" y="1048"/>
                    <a:pt x="455" y="1048"/>
                    <a:pt x="462" y="1015"/>
                  </a:cubicBezTo>
                  <a:cubicBezTo>
                    <a:pt x="475" y="989"/>
                    <a:pt x="462" y="969"/>
                    <a:pt x="475" y="943"/>
                  </a:cubicBezTo>
                  <a:cubicBezTo>
                    <a:pt x="501" y="903"/>
                    <a:pt x="554" y="923"/>
                    <a:pt x="587" y="897"/>
                  </a:cubicBezTo>
                  <a:cubicBezTo>
                    <a:pt x="620" y="863"/>
                    <a:pt x="646" y="850"/>
                    <a:pt x="679" y="811"/>
                  </a:cubicBezTo>
                  <a:cubicBezTo>
                    <a:pt x="699" y="784"/>
                    <a:pt x="706" y="758"/>
                    <a:pt x="732" y="725"/>
                  </a:cubicBezTo>
                  <a:cubicBezTo>
                    <a:pt x="745" y="712"/>
                    <a:pt x="765" y="712"/>
                    <a:pt x="771" y="692"/>
                  </a:cubicBezTo>
                  <a:cubicBezTo>
                    <a:pt x="771" y="672"/>
                    <a:pt x="765" y="652"/>
                    <a:pt x="778" y="633"/>
                  </a:cubicBezTo>
                  <a:cubicBezTo>
                    <a:pt x="785" y="626"/>
                    <a:pt x="798" y="633"/>
                    <a:pt x="804" y="619"/>
                  </a:cubicBezTo>
                  <a:cubicBezTo>
                    <a:pt x="824" y="606"/>
                    <a:pt x="837" y="587"/>
                    <a:pt x="864" y="587"/>
                  </a:cubicBezTo>
                  <a:cubicBezTo>
                    <a:pt x="890" y="587"/>
                    <a:pt x="890" y="626"/>
                    <a:pt x="917" y="633"/>
                  </a:cubicBezTo>
                  <a:cubicBezTo>
                    <a:pt x="950" y="652"/>
                    <a:pt x="982" y="606"/>
                    <a:pt x="982" y="567"/>
                  </a:cubicBezTo>
                  <a:cubicBezTo>
                    <a:pt x="982" y="547"/>
                    <a:pt x="969" y="534"/>
                    <a:pt x="969" y="514"/>
                  </a:cubicBezTo>
                  <a:cubicBezTo>
                    <a:pt x="969" y="494"/>
                    <a:pt x="956" y="481"/>
                    <a:pt x="969" y="468"/>
                  </a:cubicBezTo>
                  <a:cubicBezTo>
                    <a:pt x="989" y="455"/>
                    <a:pt x="1009" y="481"/>
                    <a:pt x="1029" y="468"/>
                  </a:cubicBezTo>
                  <a:cubicBezTo>
                    <a:pt x="1114" y="422"/>
                    <a:pt x="1114" y="316"/>
                    <a:pt x="1207" y="296"/>
                  </a:cubicBezTo>
                  <a:cubicBezTo>
                    <a:pt x="1207" y="290"/>
                    <a:pt x="1207" y="290"/>
                    <a:pt x="1207" y="283"/>
                  </a:cubicBezTo>
                  <a:cubicBezTo>
                    <a:pt x="1207" y="257"/>
                    <a:pt x="1200" y="244"/>
                    <a:pt x="1213" y="230"/>
                  </a:cubicBezTo>
                  <a:cubicBezTo>
                    <a:pt x="1233" y="204"/>
                    <a:pt x="1266" y="224"/>
                    <a:pt x="1299" y="204"/>
                  </a:cubicBezTo>
                  <a:cubicBezTo>
                    <a:pt x="1352" y="178"/>
                    <a:pt x="1352" y="98"/>
                    <a:pt x="1418" y="98"/>
                  </a:cubicBezTo>
                  <a:cubicBezTo>
                    <a:pt x="1444" y="98"/>
                    <a:pt x="1464" y="105"/>
                    <a:pt x="1491" y="105"/>
                  </a:cubicBezTo>
                  <a:cubicBezTo>
                    <a:pt x="1510" y="105"/>
                    <a:pt x="1517" y="85"/>
                    <a:pt x="1530" y="79"/>
                  </a:cubicBezTo>
                  <a:cubicBezTo>
                    <a:pt x="1563" y="52"/>
                    <a:pt x="1583" y="46"/>
                    <a:pt x="1622" y="26"/>
                  </a:cubicBezTo>
                  <a:cubicBezTo>
                    <a:pt x="1642" y="19"/>
                    <a:pt x="1655" y="13"/>
                    <a:pt x="1675" y="13"/>
                  </a:cubicBezTo>
                  <a:lnTo>
                    <a:pt x="1682" y="6"/>
                  </a:lnTo>
                  <a:cubicBezTo>
                    <a:pt x="1702" y="6"/>
                    <a:pt x="1708" y="19"/>
                    <a:pt x="1728" y="19"/>
                  </a:cubicBezTo>
                  <a:lnTo>
                    <a:pt x="1735" y="13"/>
                  </a:ln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  <p:sp>
          <p:nvSpPr>
            <p:cNvPr id="85" name="Freeform 45"/>
            <p:cNvSpPr>
              <a:spLocks noChangeArrowheads="1"/>
            </p:cNvSpPr>
            <p:nvPr/>
          </p:nvSpPr>
          <p:spPr bwMode="auto">
            <a:xfrm>
              <a:off x="6775804" y="9153520"/>
              <a:ext cx="887355" cy="620713"/>
            </a:xfrm>
            <a:custGeom>
              <a:avLst/>
              <a:gdLst>
                <a:gd name="T0" fmla="*/ 0 w 2466"/>
                <a:gd name="T1" fmla="*/ 502 h 1723"/>
                <a:gd name="T2" fmla="*/ 92 w 2466"/>
                <a:gd name="T3" fmla="*/ 357 h 1723"/>
                <a:gd name="T4" fmla="*/ 125 w 2466"/>
                <a:gd name="T5" fmla="*/ 112 h 1723"/>
                <a:gd name="T6" fmla="*/ 138 w 2466"/>
                <a:gd name="T7" fmla="*/ 53 h 1723"/>
                <a:gd name="T8" fmla="*/ 263 w 2466"/>
                <a:gd name="T9" fmla="*/ 60 h 1723"/>
                <a:gd name="T10" fmla="*/ 440 w 2466"/>
                <a:gd name="T11" fmla="*/ 80 h 1723"/>
                <a:gd name="T12" fmla="*/ 665 w 2466"/>
                <a:gd name="T13" fmla="*/ 119 h 1723"/>
                <a:gd name="T14" fmla="*/ 1034 w 2466"/>
                <a:gd name="T15" fmla="*/ 258 h 1723"/>
                <a:gd name="T16" fmla="*/ 1166 w 2466"/>
                <a:gd name="T17" fmla="*/ 337 h 1723"/>
                <a:gd name="T18" fmla="*/ 1271 w 2466"/>
                <a:gd name="T19" fmla="*/ 165 h 1723"/>
                <a:gd name="T20" fmla="*/ 1542 w 2466"/>
                <a:gd name="T21" fmla="*/ 0 h 1723"/>
                <a:gd name="T22" fmla="*/ 2129 w 2466"/>
                <a:gd name="T23" fmla="*/ 119 h 1723"/>
                <a:gd name="T24" fmla="*/ 2439 w 2466"/>
                <a:gd name="T25" fmla="*/ 132 h 1723"/>
                <a:gd name="T26" fmla="*/ 2393 w 2466"/>
                <a:gd name="T27" fmla="*/ 179 h 1723"/>
                <a:gd name="T28" fmla="*/ 2446 w 2466"/>
                <a:gd name="T29" fmla="*/ 317 h 1723"/>
                <a:gd name="T30" fmla="*/ 2465 w 2466"/>
                <a:gd name="T31" fmla="*/ 680 h 1723"/>
                <a:gd name="T32" fmla="*/ 2419 w 2466"/>
                <a:gd name="T33" fmla="*/ 766 h 1723"/>
                <a:gd name="T34" fmla="*/ 2360 w 2466"/>
                <a:gd name="T35" fmla="*/ 1003 h 1723"/>
                <a:gd name="T36" fmla="*/ 2294 w 2466"/>
                <a:gd name="T37" fmla="*/ 1207 h 1723"/>
                <a:gd name="T38" fmla="*/ 2188 w 2466"/>
                <a:gd name="T39" fmla="*/ 1300 h 1723"/>
                <a:gd name="T40" fmla="*/ 2208 w 2466"/>
                <a:gd name="T41" fmla="*/ 1386 h 1723"/>
                <a:gd name="T42" fmla="*/ 2142 w 2466"/>
                <a:gd name="T43" fmla="*/ 1392 h 1723"/>
                <a:gd name="T44" fmla="*/ 1911 w 2466"/>
                <a:gd name="T45" fmla="*/ 1577 h 1723"/>
                <a:gd name="T46" fmla="*/ 1786 w 2466"/>
                <a:gd name="T47" fmla="*/ 1722 h 1723"/>
                <a:gd name="T48" fmla="*/ 1568 w 2466"/>
                <a:gd name="T49" fmla="*/ 1682 h 1723"/>
                <a:gd name="T50" fmla="*/ 1654 w 2466"/>
                <a:gd name="T51" fmla="*/ 1498 h 1723"/>
                <a:gd name="T52" fmla="*/ 1647 w 2466"/>
                <a:gd name="T53" fmla="*/ 1339 h 1723"/>
                <a:gd name="T54" fmla="*/ 1476 w 2466"/>
                <a:gd name="T55" fmla="*/ 1207 h 1723"/>
                <a:gd name="T56" fmla="*/ 1172 w 2466"/>
                <a:gd name="T57" fmla="*/ 871 h 1723"/>
                <a:gd name="T58" fmla="*/ 1008 w 2466"/>
                <a:gd name="T59" fmla="*/ 686 h 1723"/>
                <a:gd name="T60" fmla="*/ 856 w 2466"/>
                <a:gd name="T61" fmla="*/ 601 h 1723"/>
                <a:gd name="T62" fmla="*/ 618 w 2466"/>
                <a:gd name="T63" fmla="*/ 541 h 1723"/>
                <a:gd name="T64" fmla="*/ 407 w 2466"/>
                <a:gd name="T65" fmla="*/ 489 h 1723"/>
                <a:gd name="T66" fmla="*/ 204 w 2466"/>
                <a:gd name="T67" fmla="*/ 502 h 1723"/>
                <a:gd name="T68" fmla="*/ 0 w 2466"/>
                <a:gd name="T69" fmla="*/ 502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66" h="1723">
                  <a:moveTo>
                    <a:pt x="0" y="502"/>
                  </a:moveTo>
                  <a:lnTo>
                    <a:pt x="0" y="502"/>
                  </a:lnTo>
                  <a:cubicBezTo>
                    <a:pt x="19" y="489"/>
                    <a:pt x="32" y="462"/>
                    <a:pt x="39" y="442"/>
                  </a:cubicBezTo>
                  <a:cubicBezTo>
                    <a:pt x="59" y="409"/>
                    <a:pt x="72" y="390"/>
                    <a:pt x="92" y="357"/>
                  </a:cubicBezTo>
                  <a:cubicBezTo>
                    <a:pt x="118" y="304"/>
                    <a:pt x="158" y="278"/>
                    <a:pt x="158" y="225"/>
                  </a:cubicBezTo>
                  <a:cubicBezTo>
                    <a:pt x="158" y="179"/>
                    <a:pt x="125" y="159"/>
                    <a:pt x="125" y="112"/>
                  </a:cubicBezTo>
                  <a:cubicBezTo>
                    <a:pt x="125" y="86"/>
                    <a:pt x="131" y="66"/>
                    <a:pt x="138" y="53"/>
                  </a:cubicBezTo>
                  <a:lnTo>
                    <a:pt x="138" y="53"/>
                  </a:lnTo>
                  <a:cubicBezTo>
                    <a:pt x="158" y="53"/>
                    <a:pt x="171" y="60"/>
                    <a:pt x="184" y="60"/>
                  </a:cubicBezTo>
                  <a:cubicBezTo>
                    <a:pt x="217" y="60"/>
                    <a:pt x="230" y="60"/>
                    <a:pt x="263" y="60"/>
                  </a:cubicBezTo>
                  <a:cubicBezTo>
                    <a:pt x="302" y="60"/>
                    <a:pt x="315" y="27"/>
                    <a:pt x="355" y="27"/>
                  </a:cubicBezTo>
                  <a:cubicBezTo>
                    <a:pt x="394" y="27"/>
                    <a:pt x="407" y="66"/>
                    <a:pt x="440" y="80"/>
                  </a:cubicBezTo>
                  <a:cubicBezTo>
                    <a:pt x="493" y="106"/>
                    <a:pt x="526" y="119"/>
                    <a:pt x="585" y="119"/>
                  </a:cubicBezTo>
                  <a:cubicBezTo>
                    <a:pt x="618" y="119"/>
                    <a:pt x="632" y="119"/>
                    <a:pt x="665" y="119"/>
                  </a:cubicBezTo>
                  <a:cubicBezTo>
                    <a:pt x="717" y="119"/>
                    <a:pt x="737" y="146"/>
                    <a:pt x="790" y="159"/>
                  </a:cubicBezTo>
                  <a:cubicBezTo>
                    <a:pt x="889" y="185"/>
                    <a:pt x="942" y="218"/>
                    <a:pt x="1034" y="258"/>
                  </a:cubicBezTo>
                  <a:cubicBezTo>
                    <a:pt x="1060" y="271"/>
                    <a:pt x="1080" y="278"/>
                    <a:pt x="1107" y="291"/>
                  </a:cubicBezTo>
                  <a:cubicBezTo>
                    <a:pt x="1126" y="310"/>
                    <a:pt x="1140" y="337"/>
                    <a:pt x="1166" y="337"/>
                  </a:cubicBezTo>
                  <a:cubicBezTo>
                    <a:pt x="1212" y="337"/>
                    <a:pt x="1239" y="297"/>
                    <a:pt x="1252" y="251"/>
                  </a:cubicBezTo>
                  <a:cubicBezTo>
                    <a:pt x="1265" y="225"/>
                    <a:pt x="1252" y="192"/>
                    <a:pt x="1271" y="165"/>
                  </a:cubicBezTo>
                  <a:cubicBezTo>
                    <a:pt x="1285" y="152"/>
                    <a:pt x="1304" y="152"/>
                    <a:pt x="1324" y="146"/>
                  </a:cubicBezTo>
                  <a:cubicBezTo>
                    <a:pt x="1423" y="112"/>
                    <a:pt x="1443" y="0"/>
                    <a:pt x="1542" y="0"/>
                  </a:cubicBezTo>
                  <a:cubicBezTo>
                    <a:pt x="1707" y="0"/>
                    <a:pt x="1793" y="33"/>
                    <a:pt x="1951" y="73"/>
                  </a:cubicBezTo>
                  <a:cubicBezTo>
                    <a:pt x="2024" y="93"/>
                    <a:pt x="2056" y="119"/>
                    <a:pt x="2129" y="119"/>
                  </a:cubicBezTo>
                  <a:cubicBezTo>
                    <a:pt x="2162" y="119"/>
                    <a:pt x="2175" y="99"/>
                    <a:pt x="2201" y="99"/>
                  </a:cubicBezTo>
                  <a:cubicBezTo>
                    <a:pt x="2300" y="99"/>
                    <a:pt x="2340" y="119"/>
                    <a:pt x="2439" y="132"/>
                  </a:cubicBezTo>
                  <a:lnTo>
                    <a:pt x="2439" y="132"/>
                  </a:lnTo>
                  <a:cubicBezTo>
                    <a:pt x="2419" y="146"/>
                    <a:pt x="2393" y="152"/>
                    <a:pt x="2393" y="179"/>
                  </a:cubicBezTo>
                  <a:cubicBezTo>
                    <a:pt x="2393" y="198"/>
                    <a:pt x="2413" y="205"/>
                    <a:pt x="2419" y="225"/>
                  </a:cubicBezTo>
                  <a:cubicBezTo>
                    <a:pt x="2432" y="258"/>
                    <a:pt x="2446" y="284"/>
                    <a:pt x="2446" y="317"/>
                  </a:cubicBezTo>
                  <a:cubicBezTo>
                    <a:pt x="2446" y="403"/>
                    <a:pt x="2446" y="449"/>
                    <a:pt x="2446" y="528"/>
                  </a:cubicBezTo>
                  <a:cubicBezTo>
                    <a:pt x="2446" y="587"/>
                    <a:pt x="2465" y="620"/>
                    <a:pt x="2465" y="680"/>
                  </a:cubicBezTo>
                  <a:cubicBezTo>
                    <a:pt x="2465" y="706"/>
                    <a:pt x="2419" y="706"/>
                    <a:pt x="2419" y="733"/>
                  </a:cubicBezTo>
                  <a:cubicBezTo>
                    <a:pt x="2419" y="746"/>
                    <a:pt x="2419" y="759"/>
                    <a:pt x="2419" y="766"/>
                  </a:cubicBezTo>
                  <a:cubicBezTo>
                    <a:pt x="2419" y="805"/>
                    <a:pt x="2406" y="825"/>
                    <a:pt x="2393" y="858"/>
                  </a:cubicBezTo>
                  <a:cubicBezTo>
                    <a:pt x="2373" y="911"/>
                    <a:pt x="2373" y="944"/>
                    <a:pt x="2360" y="1003"/>
                  </a:cubicBezTo>
                  <a:cubicBezTo>
                    <a:pt x="2353" y="1023"/>
                    <a:pt x="2333" y="1036"/>
                    <a:pt x="2333" y="1062"/>
                  </a:cubicBezTo>
                  <a:cubicBezTo>
                    <a:pt x="2314" y="1115"/>
                    <a:pt x="2300" y="1148"/>
                    <a:pt x="2294" y="1207"/>
                  </a:cubicBezTo>
                  <a:cubicBezTo>
                    <a:pt x="2287" y="1254"/>
                    <a:pt x="2281" y="1313"/>
                    <a:pt x="2235" y="1313"/>
                  </a:cubicBezTo>
                  <a:cubicBezTo>
                    <a:pt x="2215" y="1313"/>
                    <a:pt x="2208" y="1300"/>
                    <a:pt x="2188" y="1300"/>
                  </a:cubicBezTo>
                  <a:cubicBezTo>
                    <a:pt x="2188" y="1306"/>
                    <a:pt x="2188" y="1313"/>
                    <a:pt x="2188" y="1320"/>
                  </a:cubicBezTo>
                  <a:cubicBezTo>
                    <a:pt x="2188" y="1346"/>
                    <a:pt x="2208" y="1359"/>
                    <a:pt x="2208" y="1386"/>
                  </a:cubicBezTo>
                  <a:cubicBezTo>
                    <a:pt x="2208" y="1392"/>
                    <a:pt x="2208" y="1399"/>
                    <a:pt x="2208" y="1412"/>
                  </a:cubicBezTo>
                  <a:cubicBezTo>
                    <a:pt x="2182" y="1399"/>
                    <a:pt x="2169" y="1392"/>
                    <a:pt x="2142" y="1392"/>
                  </a:cubicBezTo>
                  <a:cubicBezTo>
                    <a:pt x="2096" y="1392"/>
                    <a:pt x="2089" y="1438"/>
                    <a:pt x="2056" y="1465"/>
                  </a:cubicBezTo>
                  <a:cubicBezTo>
                    <a:pt x="1997" y="1504"/>
                    <a:pt x="1964" y="1524"/>
                    <a:pt x="1911" y="1577"/>
                  </a:cubicBezTo>
                  <a:cubicBezTo>
                    <a:pt x="1852" y="1623"/>
                    <a:pt x="1819" y="1669"/>
                    <a:pt x="1786" y="1722"/>
                  </a:cubicBezTo>
                  <a:lnTo>
                    <a:pt x="1786" y="1722"/>
                  </a:lnTo>
                  <a:cubicBezTo>
                    <a:pt x="1740" y="1695"/>
                    <a:pt x="1707" y="1682"/>
                    <a:pt x="1661" y="1682"/>
                  </a:cubicBezTo>
                  <a:cubicBezTo>
                    <a:pt x="1628" y="1682"/>
                    <a:pt x="1608" y="1689"/>
                    <a:pt x="1568" y="1682"/>
                  </a:cubicBezTo>
                  <a:cubicBezTo>
                    <a:pt x="1582" y="1663"/>
                    <a:pt x="1582" y="1643"/>
                    <a:pt x="1595" y="1616"/>
                  </a:cubicBezTo>
                  <a:cubicBezTo>
                    <a:pt x="1614" y="1570"/>
                    <a:pt x="1654" y="1550"/>
                    <a:pt x="1654" y="1498"/>
                  </a:cubicBezTo>
                  <a:cubicBezTo>
                    <a:pt x="1654" y="1484"/>
                    <a:pt x="1647" y="1478"/>
                    <a:pt x="1647" y="1465"/>
                  </a:cubicBezTo>
                  <a:cubicBezTo>
                    <a:pt x="1647" y="1419"/>
                    <a:pt x="1647" y="1392"/>
                    <a:pt x="1647" y="1339"/>
                  </a:cubicBezTo>
                  <a:cubicBezTo>
                    <a:pt x="1647" y="1293"/>
                    <a:pt x="1628" y="1247"/>
                    <a:pt x="1582" y="1227"/>
                  </a:cubicBezTo>
                  <a:cubicBezTo>
                    <a:pt x="1542" y="1214"/>
                    <a:pt x="1515" y="1227"/>
                    <a:pt x="1476" y="1207"/>
                  </a:cubicBezTo>
                  <a:cubicBezTo>
                    <a:pt x="1443" y="1201"/>
                    <a:pt x="1430" y="1168"/>
                    <a:pt x="1417" y="1141"/>
                  </a:cubicBezTo>
                  <a:cubicBezTo>
                    <a:pt x="1357" y="1009"/>
                    <a:pt x="1225" y="1003"/>
                    <a:pt x="1172" y="871"/>
                  </a:cubicBezTo>
                  <a:cubicBezTo>
                    <a:pt x="1146" y="805"/>
                    <a:pt x="1113" y="779"/>
                    <a:pt x="1060" y="726"/>
                  </a:cubicBezTo>
                  <a:cubicBezTo>
                    <a:pt x="1041" y="706"/>
                    <a:pt x="1034" y="693"/>
                    <a:pt x="1008" y="686"/>
                  </a:cubicBezTo>
                  <a:cubicBezTo>
                    <a:pt x="961" y="667"/>
                    <a:pt x="928" y="686"/>
                    <a:pt x="882" y="673"/>
                  </a:cubicBezTo>
                  <a:cubicBezTo>
                    <a:pt x="856" y="667"/>
                    <a:pt x="863" y="627"/>
                    <a:pt x="856" y="601"/>
                  </a:cubicBezTo>
                  <a:cubicBezTo>
                    <a:pt x="849" y="574"/>
                    <a:pt x="816" y="574"/>
                    <a:pt x="790" y="568"/>
                  </a:cubicBezTo>
                  <a:cubicBezTo>
                    <a:pt x="724" y="554"/>
                    <a:pt x="684" y="541"/>
                    <a:pt x="618" y="541"/>
                  </a:cubicBezTo>
                  <a:cubicBezTo>
                    <a:pt x="572" y="541"/>
                    <a:pt x="546" y="541"/>
                    <a:pt x="500" y="541"/>
                  </a:cubicBezTo>
                  <a:cubicBezTo>
                    <a:pt x="460" y="541"/>
                    <a:pt x="447" y="489"/>
                    <a:pt x="407" y="489"/>
                  </a:cubicBezTo>
                  <a:cubicBezTo>
                    <a:pt x="361" y="489"/>
                    <a:pt x="342" y="541"/>
                    <a:pt x="295" y="541"/>
                  </a:cubicBezTo>
                  <a:cubicBezTo>
                    <a:pt x="257" y="541"/>
                    <a:pt x="244" y="502"/>
                    <a:pt x="204" y="502"/>
                  </a:cubicBezTo>
                  <a:cubicBezTo>
                    <a:pt x="158" y="502"/>
                    <a:pt x="138" y="528"/>
                    <a:pt x="92" y="528"/>
                  </a:cubicBezTo>
                  <a:cubicBezTo>
                    <a:pt x="59" y="528"/>
                    <a:pt x="32" y="502"/>
                    <a:pt x="0" y="502"/>
                  </a:cubicBezTo>
                </a:path>
              </a:pathLst>
            </a:custGeom>
            <a:grpFill/>
            <a:ln w="28575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venir Medium"/>
                <a:ea typeface="Avenir Book" charset="0"/>
                <a:cs typeface="Avenir Boo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7910390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24377650" cy="13716002"/>
          </a:xfrm>
          <a:prstGeom prst="rect">
            <a:avLst/>
          </a:prstGeom>
          <a:solidFill>
            <a:srgbClr val="419F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1922939" y="9576833"/>
            <a:ext cx="11427599" cy="2961017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692563" y="4962628"/>
            <a:ext cx="8118926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</a:t>
            </a:r>
            <a:r>
              <a:rPr lang="en-US" sz="2800" dirty="0" err="1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oc</a:t>
            </a:r>
            <a:endParaRPr lang="en-US" sz="2800" dirty="0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692562" y="3896197"/>
            <a:ext cx="2122697" cy="10858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4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Mission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3464640" y="4962628"/>
            <a:ext cx="9058476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3464639" y="3875297"/>
            <a:ext cx="1705916" cy="10858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4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Vision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692563" y="7885706"/>
            <a:ext cx="8118926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2692564" y="6690675"/>
            <a:ext cx="1574470" cy="10858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4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Goal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3464639" y="7885706"/>
            <a:ext cx="8577213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3464639" y="6798373"/>
            <a:ext cx="1806328" cy="10858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4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Value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692563" y="10757876"/>
            <a:ext cx="8118926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692564" y="9670543"/>
            <a:ext cx="1574470" cy="10858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4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Goal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3464640" y="10757876"/>
            <a:ext cx="9058476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3464639" y="9670543"/>
            <a:ext cx="2240422" cy="10858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4800" dirty="0">
                <a:solidFill>
                  <a:schemeClr val="bg1"/>
                </a:solidFill>
                <a:latin typeface="Avenir Medium"/>
                <a:ea typeface="Avenir Book" charset="0"/>
                <a:cs typeface="Avenir Book" charset="0"/>
              </a:rPr>
              <a:t>Strategy</a:t>
            </a:r>
          </a:p>
        </p:txBody>
      </p:sp>
      <p:sp>
        <p:nvSpPr>
          <p:cNvPr id="38" name="Shape 2641"/>
          <p:cNvSpPr/>
          <p:nvPr/>
        </p:nvSpPr>
        <p:spPr>
          <a:xfrm>
            <a:off x="1649311" y="4286120"/>
            <a:ext cx="786907" cy="5007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6606"/>
                </a:moveTo>
                <a:lnTo>
                  <a:pt x="16691" y="14138"/>
                </a:lnTo>
                <a:lnTo>
                  <a:pt x="16691" y="7462"/>
                </a:lnTo>
                <a:lnTo>
                  <a:pt x="20618" y="4994"/>
                </a:lnTo>
                <a:cubicBezTo>
                  <a:pt x="20618" y="4994"/>
                  <a:pt x="20618" y="16606"/>
                  <a:pt x="20618" y="16606"/>
                </a:cubicBezTo>
                <a:close/>
                <a:moveTo>
                  <a:pt x="21109" y="3086"/>
                </a:moveTo>
                <a:cubicBezTo>
                  <a:pt x="21030" y="3086"/>
                  <a:pt x="20958" y="3122"/>
                  <a:pt x="20892" y="3174"/>
                </a:cubicBezTo>
                <a:lnTo>
                  <a:pt x="20890" y="3167"/>
                </a:lnTo>
                <a:lnTo>
                  <a:pt x="16018" y="6229"/>
                </a:lnTo>
                <a:cubicBezTo>
                  <a:pt x="16013" y="6233"/>
                  <a:pt x="16008" y="6235"/>
                  <a:pt x="16003" y="6239"/>
                </a:cubicBezTo>
                <a:lnTo>
                  <a:pt x="15980" y="6252"/>
                </a:lnTo>
                <a:lnTo>
                  <a:pt x="15983" y="6260"/>
                </a:lnTo>
                <a:cubicBezTo>
                  <a:pt x="15822" y="6387"/>
                  <a:pt x="15709" y="6641"/>
                  <a:pt x="15709" y="6943"/>
                </a:cubicBezTo>
                <a:lnTo>
                  <a:pt x="15709" y="14657"/>
                </a:lnTo>
                <a:cubicBezTo>
                  <a:pt x="15709" y="14959"/>
                  <a:pt x="15822" y="15213"/>
                  <a:pt x="15983" y="15340"/>
                </a:cubicBezTo>
                <a:lnTo>
                  <a:pt x="15980" y="15347"/>
                </a:lnTo>
                <a:lnTo>
                  <a:pt x="16002" y="15360"/>
                </a:lnTo>
                <a:cubicBezTo>
                  <a:pt x="16008" y="15365"/>
                  <a:pt x="16013" y="15368"/>
                  <a:pt x="16018" y="15371"/>
                </a:cubicBezTo>
                <a:lnTo>
                  <a:pt x="20890" y="18433"/>
                </a:lnTo>
                <a:lnTo>
                  <a:pt x="20892" y="18426"/>
                </a:lnTo>
                <a:cubicBezTo>
                  <a:pt x="20958" y="18478"/>
                  <a:pt x="21030" y="18514"/>
                  <a:pt x="21109" y="18514"/>
                </a:cubicBezTo>
                <a:cubicBezTo>
                  <a:pt x="21380" y="18514"/>
                  <a:pt x="21600" y="18169"/>
                  <a:pt x="21600" y="17743"/>
                </a:cubicBezTo>
                <a:lnTo>
                  <a:pt x="21600" y="3857"/>
                </a:lnTo>
                <a:cubicBezTo>
                  <a:pt x="21600" y="3431"/>
                  <a:pt x="21380" y="3086"/>
                  <a:pt x="21109" y="3086"/>
                </a:cubicBezTo>
                <a:moveTo>
                  <a:pt x="13745" y="18514"/>
                </a:moveTo>
                <a:cubicBezTo>
                  <a:pt x="13745" y="19367"/>
                  <a:pt x="13306" y="20057"/>
                  <a:pt x="12764" y="20057"/>
                </a:cubicBezTo>
                <a:lnTo>
                  <a:pt x="1964" y="20057"/>
                </a:lnTo>
                <a:cubicBezTo>
                  <a:pt x="1422" y="20057"/>
                  <a:pt x="982" y="19367"/>
                  <a:pt x="982" y="18514"/>
                </a:cubicBezTo>
                <a:lnTo>
                  <a:pt x="982" y="3086"/>
                </a:lnTo>
                <a:cubicBezTo>
                  <a:pt x="982" y="2233"/>
                  <a:pt x="1422" y="1543"/>
                  <a:pt x="1964" y="1543"/>
                </a:cubicBezTo>
                <a:lnTo>
                  <a:pt x="12764" y="1543"/>
                </a:lnTo>
                <a:cubicBezTo>
                  <a:pt x="13306" y="1543"/>
                  <a:pt x="13745" y="2233"/>
                  <a:pt x="13745" y="3086"/>
                </a:cubicBezTo>
                <a:cubicBezTo>
                  <a:pt x="13745" y="3086"/>
                  <a:pt x="13745" y="18514"/>
                  <a:pt x="13745" y="18514"/>
                </a:cubicBezTo>
                <a:close/>
                <a:moveTo>
                  <a:pt x="12764" y="0"/>
                </a:moveTo>
                <a:lnTo>
                  <a:pt x="1964" y="0"/>
                </a:lnTo>
                <a:cubicBezTo>
                  <a:pt x="879" y="0"/>
                  <a:pt x="0" y="1382"/>
                  <a:pt x="0" y="3086"/>
                </a:cubicBezTo>
                <a:lnTo>
                  <a:pt x="0" y="18514"/>
                </a:lnTo>
                <a:cubicBezTo>
                  <a:pt x="0" y="20219"/>
                  <a:pt x="879" y="21600"/>
                  <a:pt x="1964" y="21600"/>
                </a:cubicBezTo>
                <a:lnTo>
                  <a:pt x="12764" y="21600"/>
                </a:lnTo>
                <a:cubicBezTo>
                  <a:pt x="13848" y="21600"/>
                  <a:pt x="14727" y="20219"/>
                  <a:pt x="14727" y="18514"/>
                </a:cubicBezTo>
                <a:lnTo>
                  <a:pt x="14727" y="3086"/>
                </a:lnTo>
                <a:cubicBezTo>
                  <a:pt x="14727" y="1382"/>
                  <a:pt x="13848" y="0"/>
                  <a:pt x="12764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9" name="Shape 2644"/>
          <p:cNvSpPr/>
          <p:nvPr/>
        </p:nvSpPr>
        <p:spPr>
          <a:xfrm>
            <a:off x="1760821" y="6897385"/>
            <a:ext cx="572298" cy="7869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4" y="20618"/>
                  <a:pt x="1350" y="20179"/>
                  <a:pt x="1350" y="19636"/>
                </a:cubicBezTo>
                <a:lnTo>
                  <a:pt x="1350" y="1964"/>
                </a:lnTo>
                <a:cubicBezTo>
                  <a:pt x="1350" y="1422"/>
                  <a:pt x="1954" y="982"/>
                  <a:pt x="2700" y="982"/>
                </a:cubicBezTo>
                <a:lnTo>
                  <a:pt x="18900" y="982"/>
                </a:lnTo>
                <a:cubicBezTo>
                  <a:pt x="19645" y="982"/>
                  <a:pt x="20250" y="1422"/>
                  <a:pt x="20250" y="1964"/>
                </a:cubicBezTo>
                <a:cubicBezTo>
                  <a:pt x="20250" y="1964"/>
                  <a:pt x="20250" y="19636"/>
                  <a:pt x="20250" y="19636"/>
                </a:cubicBezTo>
                <a:close/>
                <a:moveTo>
                  <a:pt x="18900" y="0"/>
                </a:moveTo>
                <a:lnTo>
                  <a:pt x="2700" y="0"/>
                </a:lnTo>
                <a:cubicBezTo>
                  <a:pt x="120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391" y="0"/>
                  <a:pt x="18900" y="0"/>
                </a:cubicBezTo>
                <a:moveTo>
                  <a:pt x="4050" y="3927"/>
                </a:moveTo>
                <a:lnTo>
                  <a:pt x="17550" y="3927"/>
                </a:lnTo>
                <a:lnTo>
                  <a:pt x="17550" y="17673"/>
                </a:lnTo>
                <a:lnTo>
                  <a:pt x="4050" y="17673"/>
                </a:lnTo>
                <a:cubicBezTo>
                  <a:pt x="4050" y="17673"/>
                  <a:pt x="4050" y="3927"/>
                  <a:pt x="4050" y="3927"/>
                </a:cubicBezTo>
                <a:close/>
                <a:moveTo>
                  <a:pt x="2700" y="18655"/>
                </a:moveTo>
                <a:lnTo>
                  <a:pt x="18900" y="18655"/>
                </a:lnTo>
                <a:lnTo>
                  <a:pt x="18900" y="2945"/>
                </a:lnTo>
                <a:lnTo>
                  <a:pt x="2700" y="2945"/>
                </a:lnTo>
                <a:cubicBezTo>
                  <a:pt x="2700" y="2945"/>
                  <a:pt x="2700" y="18655"/>
                  <a:pt x="2700" y="18655"/>
                </a:cubicBezTo>
                <a:close/>
                <a:moveTo>
                  <a:pt x="10125" y="2455"/>
                </a:moveTo>
                <a:lnTo>
                  <a:pt x="11475" y="2455"/>
                </a:lnTo>
                <a:cubicBezTo>
                  <a:pt x="11848" y="2455"/>
                  <a:pt x="12150" y="2235"/>
                  <a:pt x="12150" y="1964"/>
                </a:cubicBezTo>
                <a:cubicBezTo>
                  <a:pt x="12150" y="1692"/>
                  <a:pt x="11848" y="1473"/>
                  <a:pt x="11475" y="1473"/>
                </a:cubicBezTo>
                <a:lnTo>
                  <a:pt x="10125" y="1473"/>
                </a:lnTo>
                <a:cubicBezTo>
                  <a:pt x="9752" y="1473"/>
                  <a:pt x="9450" y="1692"/>
                  <a:pt x="9450" y="1964"/>
                </a:cubicBezTo>
                <a:cubicBezTo>
                  <a:pt x="9450" y="2235"/>
                  <a:pt x="9752" y="2455"/>
                  <a:pt x="10125" y="2455"/>
                </a:cubicBezTo>
                <a:moveTo>
                  <a:pt x="10800" y="19145"/>
                </a:moveTo>
                <a:cubicBezTo>
                  <a:pt x="10427" y="19145"/>
                  <a:pt x="10125" y="19366"/>
                  <a:pt x="10125" y="19636"/>
                </a:cubicBezTo>
                <a:cubicBezTo>
                  <a:pt x="10125" y="19908"/>
                  <a:pt x="10427" y="20127"/>
                  <a:pt x="10800" y="20127"/>
                </a:cubicBezTo>
                <a:cubicBezTo>
                  <a:pt x="11173" y="20127"/>
                  <a:pt x="11475" y="19908"/>
                  <a:pt x="11475" y="19636"/>
                </a:cubicBezTo>
                <a:cubicBezTo>
                  <a:pt x="11475" y="19366"/>
                  <a:pt x="11173" y="19145"/>
                  <a:pt x="10800" y="19145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0" name="Shape 2645"/>
          <p:cNvSpPr/>
          <p:nvPr/>
        </p:nvSpPr>
        <p:spPr>
          <a:xfrm>
            <a:off x="1662421" y="9994532"/>
            <a:ext cx="786907" cy="5722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20250"/>
                </a:moveTo>
                <a:lnTo>
                  <a:pt x="2740" y="17504"/>
                </a:lnTo>
                <a:cubicBezTo>
                  <a:pt x="2807" y="17526"/>
                  <a:pt x="2874" y="17550"/>
                  <a:pt x="2945" y="17550"/>
                </a:cubicBezTo>
                <a:lnTo>
                  <a:pt x="18655" y="17550"/>
                </a:lnTo>
                <a:cubicBezTo>
                  <a:pt x="18726" y="17550"/>
                  <a:pt x="18793" y="17526"/>
                  <a:pt x="18860" y="17504"/>
                </a:cubicBezTo>
                <a:lnTo>
                  <a:pt x="20192" y="20250"/>
                </a:lnTo>
                <a:cubicBezTo>
                  <a:pt x="20192" y="20250"/>
                  <a:pt x="1408" y="20250"/>
                  <a:pt x="1408" y="20250"/>
                </a:cubicBezTo>
                <a:close/>
                <a:moveTo>
                  <a:pt x="2945" y="1350"/>
                </a:moveTo>
                <a:lnTo>
                  <a:pt x="18655" y="1350"/>
                </a:lnTo>
                <a:lnTo>
                  <a:pt x="18655" y="16200"/>
                </a:lnTo>
                <a:lnTo>
                  <a:pt x="2945" y="16200"/>
                </a:lnTo>
                <a:cubicBezTo>
                  <a:pt x="2945" y="16200"/>
                  <a:pt x="2945" y="1350"/>
                  <a:pt x="2945" y="1350"/>
                </a:cubicBezTo>
                <a:close/>
                <a:moveTo>
                  <a:pt x="21510" y="20558"/>
                </a:moveTo>
                <a:lnTo>
                  <a:pt x="21518" y="20551"/>
                </a:lnTo>
                <a:lnTo>
                  <a:pt x="19591" y="16577"/>
                </a:lnTo>
                <a:cubicBezTo>
                  <a:pt x="19617" y="16457"/>
                  <a:pt x="19636" y="16332"/>
                  <a:pt x="19636" y="16200"/>
                </a:cubicBezTo>
                <a:lnTo>
                  <a:pt x="19636" y="1350"/>
                </a:lnTo>
                <a:cubicBezTo>
                  <a:pt x="19636" y="605"/>
                  <a:pt x="19197" y="0"/>
                  <a:pt x="18655" y="0"/>
                </a:cubicBezTo>
                <a:lnTo>
                  <a:pt x="2945" y="0"/>
                </a:lnTo>
                <a:cubicBezTo>
                  <a:pt x="2403" y="0"/>
                  <a:pt x="1964" y="605"/>
                  <a:pt x="1964" y="1350"/>
                </a:cubicBezTo>
                <a:lnTo>
                  <a:pt x="1964" y="16200"/>
                </a:lnTo>
                <a:cubicBezTo>
                  <a:pt x="1964" y="16332"/>
                  <a:pt x="1983" y="16457"/>
                  <a:pt x="2009" y="16577"/>
                </a:cubicBezTo>
                <a:lnTo>
                  <a:pt x="82" y="20551"/>
                </a:lnTo>
                <a:lnTo>
                  <a:pt x="90" y="20558"/>
                </a:lnTo>
                <a:cubicBezTo>
                  <a:pt x="38" y="20665"/>
                  <a:pt x="0" y="20787"/>
                  <a:pt x="0" y="20925"/>
                </a:cubicBezTo>
                <a:cubicBezTo>
                  <a:pt x="0" y="21298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298"/>
                  <a:pt x="21600" y="20925"/>
                </a:cubicBezTo>
                <a:cubicBezTo>
                  <a:pt x="21600" y="20787"/>
                  <a:pt x="21562" y="20665"/>
                  <a:pt x="21510" y="20558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1" name="Shape 2646"/>
          <p:cNvSpPr/>
          <p:nvPr/>
        </p:nvSpPr>
        <p:spPr>
          <a:xfrm>
            <a:off x="12188825" y="4223480"/>
            <a:ext cx="786907" cy="7869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2" y="20618"/>
                  <a:pt x="6873" y="20838"/>
                  <a:pt x="6873" y="21109"/>
                </a:cubicBezTo>
                <a:cubicBezTo>
                  <a:pt x="6873" y="21381"/>
                  <a:pt x="7092" y="21600"/>
                  <a:pt x="7364" y="21600"/>
                </a:cubicBezTo>
                <a:lnTo>
                  <a:pt x="14236" y="21600"/>
                </a:lnTo>
                <a:cubicBezTo>
                  <a:pt x="14508" y="21600"/>
                  <a:pt x="14727" y="21381"/>
                  <a:pt x="14727" y="21109"/>
                </a:cubicBezTo>
                <a:cubicBezTo>
                  <a:pt x="14727" y="20838"/>
                  <a:pt x="14508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2" name="Shape 2677"/>
          <p:cNvSpPr/>
          <p:nvPr/>
        </p:nvSpPr>
        <p:spPr>
          <a:xfrm>
            <a:off x="12224331" y="7045315"/>
            <a:ext cx="715372" cy="7863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60" y="7855"/>
                </a:moveTo>
                <a:cubicBezTo>
                  <a:pt x="15362" y="7855"/>
                  <a:pt x="15120" y="8075"/>
                  <a:pt x="15120" y="8345"/>
                </a:cubicBezTo>
                <a:cubicBezTo>
                  <a:pt x="15120" y="8617"/>
                  <a:pt x="15362" y="8836"/>
                  <a:pt x="15660" y="8836"/>
                </a:cubicBezTo>
                <a:cubicBezTo>
                  <a:pt x="16555" y="8836"/>
                  <a:pt x="17280" y="9716"/>
                  <a:pt x="17280" y="10800"/>
                </a:cubicBezTo>
                <a:cubicBezTo>
                  <a:pt x="17280" y="11884"/>
                  <a:pt x="16555" y="12764"/>
                  <a:pt x="15660" y="12764"/>
                </a:cubicBezTo>
                <a:cubicBezTo>
                  <a:pt x="15362" y="12764"/>
                  <a:pt x="15120" y="12984"/>
                  <a:pt x="15120" y="13255"/>
                </a:cubicBezTo>
                <a:cubicBezTo>
                  <a:pt x="15120" y="13526"/>
                  <a:pt x="15362" y="13745"/>
                  <a:pt x="15660" y="13745"/>
                </a:cubicBezTo>
                <a:cubicBezTo>
                  <a:pt x="17151" y="13745"/>
                  <a:pt x="18360" y="12427"/>
                  <a:pt x="18360" y="10800"/>
                </a:cubicBezTo>
                <a:cubicBezTo>
                  <a:pt x="18360" y="9174"/>
                  <a:pt x="17151" y="7855"/>
                  <a:pt x="15660" y="7855"/>
                </a:cubicBezTo>
                <a:moveTo>
                  <a:pt x="18472" y="5611"/>
                </a:moveTo>
                <a:lnTo>
                  <a:pt x="18463" y="5625"/>
                </a:lnTo>
                <a:cubicBezTo>
                  <a:pt x="18383" y="5584"/>
                  <a:pt x="18296" y="5554"/>
                  <a:pt x="18198" y="5554"/>
                </a:cubicBezTo>
                <a:cubicBezTo>
                  <a:pt x="17900" y="5554"/>
                  <a:pt x="17660" y="5774"/>
                  <a:pt x="17660" y="6044"/>
                </a:cubicBezTo>
                <a:cubicBezTo>
                  <a:pt x="17660" y="6216"/>
                  <a:pt x="17763" y="6361"/>
                  <a:pt x="17910" y="6449"/>
                </a:cubicBezTo>
                <a:lnTo>
                  <a:pt x="17909" y="6451"/>
                </a:lnTo>
                <a:cubicBezTo>
                  <a:pt x="19460" y="7271"/>
                  <a:pt x="20520" y="8909"/>
                  <a:pt x="20520" y="10800"/>
                </a:cubicBezTo>
                <a:cubicBezTo>
                  <a:pt x="20520" y="12689"/>
                  <a:pt x="19463" y="14325"/>
                  <a:pt x="17915" y="15147"/>
                </a:cubicBezTo>
                <a:lnTo>
                  <a:pt x="17919" y="15152"/>
                </a:lnTo>
                <a:cubicBezTo>
                  <a:pt x="17771" y="15239"/>
                  <a:pt x="17668" y="15384"/>
                  <a:pt x="17668" y="15556"/>
                </a:cubicBezTo>
                <a:cubicBezTo>
                  <a:pt x="17668" y="15827"/>
                  <a:pt x="17910" y="16046"/>
                  <a:pt x="18208" y="16046"/>
                </a:cubicBezTo>
                <a:cubicBezTo>
                  <a:pt x="18306" y="16046"/>
                  <a:pt x="18393" y="16016"/>
                  <a:pt x="18473" y="15975"/>
                </a:cubicBezTo>
                <a:lnTo>
                  <a:pt x="18480" y="15985"/>
                </a:lnTo>
                <a:cubicBezTo>
                  <a:pt x="20338" y="14990"/>
                  <a:pt x="21600" y="13041"/>
                  <a:pt x="21600" y="10800"/>
                </a:cubicBezTo>
                <a:cubicBezTo>
                  <a:pt x="21600" y="8556"/>
                  <a:pt x="20334" y="6606"/>
                  <a:pt x="18472" y="5611"/>
                </a:cubicBezTo>
                <a:moveTo>
                  <a:pt x="11880" y="20121"/>
                </a:moveTo>
                <a:cubicBezTo>
                  <a:pt x="11880" y="20393"/>
                  <a:pt x="11637" y="20612"/>
                  <a:pt x="11337" y="20612"/>
                </a:cubicBezTo>
                <a:cubicBezTo>
                  <a:pt x="11181" y="20612"/>
                  <a:pt x="11043" y="20552"/>
                  <a:pt x="10944" y="20457"/>
                </a:cubicBezTo>
                <a:lnTo>
                  <a:pt x="10942" y="20459"/>
                </a:lnTo>
                <a:lnTo>
                  <a:pt x="10800" y="20342"/>
                </a:lnTo>
                <a:lnTo>
                  <a:pt x="10800" y="1256"/>
                </a:lnTo>
                <a:lnTo>
                  <a:pt x="10958" y="1126"/>
                </a:lnTo>
                <a:lnTo>
                  <a:pt x="10960" y="1127"/>
                </a:lnTo>
                <a:cubicBezTo>
                  <a:pt x="11058" y="1042"/>
                  <a:pt x="11190" y="988"/>
                  <a:pt x="11337" y="988"/>
                </a:cubicBezTo>
                <a:cubicBezTo>
                  <a:pt x="11637" y="988"/>
                  <a:pt x="11880" y="1208"/>
                  <a:pt x="11880" y="1480"/>
                </a:cubicBezTo>
                <a:cubicBezTo>
                  <a:pt x="11880" y="1480"/>
                  <a:pt x="11880" y="20121"/>
                  <a:pt x="11880" y="20121"/>
                </a:cubicBezTo>
                <a:close/>
                <a:moveTo>
                  <a:pt x="9720" y="19448"/>
                </a:moveTo>
                <a:lnTo>
                  <a:pt x="4320" y="14979"/>
                </a:lnTo>
                <a:lnTo>
                  <a:pt x="4320" y="6607"/>
                </a:lnTo>
                <a:lnTo>
                  <a:pt x="4561" y="6407"/>
                </a:lnTo>
                <a:lnTo>
                  <a:pt x="4560" y="6406"/>
                </a:lnTo>
                <a:lnTo>
                  <a:pt x="9720" y="2147"/>
                </a:lnTo>
                <a:cubicBezTo>
                  <a:pt x="9720" y="2147"/>
                  <a:pt x="9720" y="19448"/>
                  <a:pt x="9720" y="19448"/>
                </a:cubicBezTo>
                <a:close/>
                <a:moveTo>
                  <a:pt x="3240" y="14649"/>
                </a:moveTo>
                <a:cubicBezTo>
                  <a:pt x="2008" y="14285"/>
                  <a:pt x="1080" y="12700"/>
                  <a:pt x="1080" y="10800"/>
                </a:cubicBezTo>
                <a:cubicBezTo>
                  <a:pt x="1080" y="8900"/>
                  <a:pt x="2008" y="7316"/>
                  <a:pt x="3240" y="6952"/>
                </a:cubicBezTo>
                <a:cubicBezTo>
                  <a:pt x="3240" y="6952"/>
                  <a:pt x="3240" y="14649"/>
                  <a:pt x="3240" y="14649"/>
                </a:cubicBezTo>
                <a:close/>
                <a:moveTo>
                  <a:pt x="12966" y="1472"/>
                </a:moveTo>
                <a:cubicBezTo>
                  <a:pt x="12966" y="659"/>
                  <a:pt x="12238" y="0"/>
                  <a:pt x="11339" y="0"/>
                </a:cubicBezTo>
                <a:cubicBezTo>
                  <a:pt x="10879" y="0"/>
                  <a:pt x="10466" y="175"/>
                  <a:pt x="10170" y="451"/>
                </a:cubicBezTo>
                <a:lnTo>
                  <a:pt x="3565" y="5905"/>
                </a:lnTo>
                <a:cubicBezTo>
                  <a:pt x="1578" y="6051"/>
                  <a:pt x="0" y="8183"/>
                  <a:pt x="0" y="10800"/>
                </a:cubicBezTo>
                <a:cubicBezTo>
                  <a:pt x="0" y="13426"/>
                  <a:pt x="1588" y="15564"/>
                  <a:pt x="3585" y="15697"/>
                </a:cubicBezTo>
                <a:lnTo>
                  <a:pt x="10170" y="21148"/>
                </a:lnTo>
                <a:cubicBezTo>
                  <a:pt x="10466" y="21426"/>
                  <a:pt x="10879" y="21600"/>
                  <a:pt x="11339" y="21600"/>
                </a:cubicBezTo>
                <a:cubicBezTo>
                  <a:pt x="12238" y="21600"/>
                  <a:pt x="12966" y="20941"/>
                  <a:pt x="12966" y="20129"/>
                </a:cubicBezTo>
                <a:cubicBezTo>
                  <a:pt x="12966" y="20110"/>
                  <a:pt x="12961" y="20093"/>
                  <a:pt x="12960" y="20074"/>
                </a:cubicBezTo>
                <a:lnTo>
                  <a:pt x="12960" y="1527"/>
                </a:lnTo>
                <a:cubicBezTo>
                  <a:pt x="12961" y="1508"/>
                  <a:pt x="12966" y="1490"/>
                  <a:pt x="12966" y="1472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3" name="Shape 2591"/>
          <p:cNvSpPr>
            <a:spLocks noChangeAspect="1"/>
          </p:cNvSpPr>
          <p:nvPr/>
        </p:nvSpPr>
        <p:spPr>
          <a:xfrm>
            <a:off x="12188825" y="9887489"/>
            <a:ext cx="786384" cy="7863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bg1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050558" y="1120409"/>
            <a:ext cx="2229997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chemeClr val="bg1"/>
                </a:solidFill>
                <a:ea typeface="Avenir Medium" charset="0"/>
                <a:cs typeface="Avenir Medium" charset="0"/>
              </a:rPr>
              <a:t>Benefits Of Doing Business With Us</a:t>
            </a:r>
          </a:p>
        </p:txBody>
      </p:sp>
    </p:spTree>
    <p:extLst>
      <p:ext uri="{BB962C8B-B14F-4D97-AF65-F5344CB8AC3E}">
        <p14:creationId xmlns:p14="http://schemas.microsoft.com/office/powerpoint/2010/main" val="772386811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ectangle 79"/>
          <p:cNvSpPr/>
          <p:nvPr/>
        </p:nvSpPr>
        <p:spPr>
          <a:xfrm>
            <a:off x="11922938" y="9468150"/>
            <a:ext cx="11427599" cy="29610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2692563" y="4917361"/>
            <a:ext cx="8118926" cy="1977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 ship or boat, by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2692562" y="4066317"/>
            <a:ext cx="1638590" cy="8374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Avenir Medium"/>
                <a:ea typeface="Avenir Book" charset="0"/>
                <a:cs typeface="Avenir Book" charset="0"/>
              </a:rPr>
              <a:t>Mission</a:t>
            </a:r>
            <a:endParaRPr lang="en-US" sz="4800" dirty="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3464639" y="4915857"/>
            <a:ext cx="6722498" cy="1977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13464639" y="4045417"/>
            <a:ext cx="1324402" cy="8374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Avenir Medium"/>
                <a:ea typeface="Avenir Book" charset="0"/>
                <a:cs typeface="Avenir Book" charset="0"/>
              </a:rPr>
              <a:t>Vision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692562" y="7714875"/>
            <a:ext cx="8118926" cy="1977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 ship or boat, by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692564" y="6860795"/>
            <a:ext cx="1228221" cy="8374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Avenir Medium"/>
                <a:ea typeface="Avenir Book" charset="0"/>
                <a:cs typeface="Avenir Book" charset="0"/>
              </a:rPr>
              <a:t>Goal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3464639" y="7719094"/>
            <a:ext cx="6722498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13464639" y="6968493"/>
            <a:ext cx="1399679" cy="8374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Avenir Medium"/>
                <a:ea typeface="Avenir Book" charset="0"/>
                <a:cs typeface="Avenir Book" charset="0"/>
              </a:rPr>
              <a:t>Values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2692562" y="10694743"/>
            <a:ext cx="8118926" cy="1977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 ship or boat, by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692564" y="9840663"/>
            <a:ext cx="1228221" cy="8374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Avenir Medium"/>
                <a:ea typeface="Avenir Book" charset="0"/>
                <a:cs typeface="Avenir Book" charset="0"/>
              </a:rPr>
              <a:t>Goals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3464639" y="10846580"/>
            <a:ext cx="6722498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13464639" y="9840663"/>
            <a:ext cx="1399679" cy="8374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Avenir Medium"/>
                <a:ea typeface="Avenir Book" charset="0"/>
                <a:cs typeface="Avenir Book" charset="0"/>
              </a:rPr>
              <a:t>Values</a:t>
            </a:r>
          </a:p>
        </p:txBody>
      </p:sp>
      <p:sp>
        <p:nvSpPr>
          <p:cNvPr id="73" name="Shape 2641"/>
          <p:cNvSpPr/>
          <p:nvPr/>
        </p:nvSpPr>
        <p:spPr>
          <a:xfrm>
            <a:off x="1649311" y="4456240"/>
            <a:ext cx="786907" cy="5007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6606"/>
                </a:moveTo>
                <a:lnTo>
                  <a:pt x="16691" y="14138"/>
                </a:lnTo>
                <a:lnTo>
                  <a:pt x="16691" y="7462"/>
                </a:lnTo>
                <a:lnTo>
                  <a:pt x="20618" y="4994"/>
                </a:lnTo>
                <a:cubicBezTo>
                  <a:pt x="20618" y="4994"/>
                  <a:pt x="20618" y="16606"/>
                  <a:pt x="20618" y="16606"/>
                </a:cubicBezTo>
                <a:close/>
                <a:moveTo>
                  <a:pt x="21109" y="3086"/>
                </a:moveTo>
                <a:cubicBezTo>
                  <a:pt x="21030" y="3086"/>
                  <a:pt x="20958" y="3122"/>
                  <a:pt x="20892" y="3174"/>
                </a:cubicBezTo>
                <a:lnTo>
                  <a:pt x="20890" y="3167"/>
                </a:lnTo>
                <a:lnTo>
                  <a:pt x="16018" y="6229"/>
                </a:lnTo>
                <a:cubicBezTo>
                  <a:pt x="16013" y="6233"/>
                  <a:pt x="16008" y="6235"/>
                  <a:pt x="16003" y="6239"/>
                </a:cubicBezTo>
                <a:lnTo>
                  <a:pt x="15980" y="6252"/>
                </a:lnTo>
                <a:lnTo>
                  <a:pt x="15983" y="6260"/>
                </a:lnTo>
                <a:cubicBezTo>
                  <a:pt x="15822" y="6387"/>
                  <a:pt x="15709" y="6641"/>
                  <a:pt x="15709" y="6943"/>
                </a:cubicBezTo>
                <a:lnTo>
                  <a:pt x="15709" y="14657"/>
                </a:lnTo>
                <a:cubicBezTo>
                  <a:pt x="15709" y="14959"/>
                  <a:pt x="15822" y="15213"/>
                  <a:pt x="15983" y="15340"/>
                </a:cubicBezTo>
                <a:lnTo>
                  <a:pt x="15980" y="15347"/>
                </a:lnTo>
                <a:lnTo>
                  <a:pt x="16002" y="15360"/>
                </a:lnTo>
                <a:cubicBezTo>
                  <a:pt x="16008" y="15365"/>
                  <a:pt x="16013" y="15368"/>
                  <a:pt x="16018" y="15371"/>
                </a:cubicBezTo>
                <a:lnTo>
                  <a:pt x="20890" y="18433"/>
                </a:lnTo>
                <a:lnTo>
                  <a:pt x="20892" y="18426"/>
                </a:lnTo>
                <a:cubicBezTo>
                  <a:pt x="20958" y="18478"/>
                  <a:pt x="21030" y="18514"/>
                  <a:pt x="21109" y="18514"/>
                </a:cubicBezTo>
                <a:cubicBezTo>
                  <a:pt x="21380" y="18514"/>
                  <a:pt x="21600" y="18169"/>
                  <a:pt x="21600" y="17743"/>
                </a:cubicBezTo>
                <a:lnTo>
                  <a:pt x="21600" y="3857"/>
                </a:lnTo>
                <a:cubicBezTo>
                  <a:pt x="21600" y="3431"/>
                  <a:pt x="21380" y="3086"/>
                  <a:pt x="21109" y="3086"/>
                </a:cubicBezTo>
                <a:moveTo>
                  <a:pt x="13745" y="18514"/>
                </a:moveTo>
                <a:cubicBezTo>
                  <a:pt x="13745" y="19367"/>
                  <a:pt x="13306" y="20057"/>
                  <a:pt x="12764" y="20057"/>
                </a:cubicBezTo>
                <a:lnTo>
                  <a:pt x="1964" y="20057"/>
                </a:lnTo>
                <a:cubicBezTo>
                  <a:pt x="1422" y="20057"/>
                  <a:pt x="982" y="19367"/>
                  <a:pt x="982" y="18514"/>
                </a:cubicBezTo>
                <a:lnTo>
                  <a:pt x="982" y="3086"/>
                </a:lnTo>
                <a:cubicBezTo>
                  <a:pt x="982" y="2233"/>
                  <a:pt x="1422" y="1543"/>
                  <a:pt x="1964" y="1543"/>
                </a:cubicBezTo>
                <a:lnTo>
                  <a:pt x="12764" y="1543"/>
                </a:lnTo>
                <a:cubicBezTo>
                  <a:pt x="13306" y="1543"/>
                  <a:pt x="13745" y="2233"/>
                  <a:pt x="13745" y="3086"/>
                </a:cubicBezTo>
                <a:cubicBezTo>
                  <a:pt x="13745" y="3086"/>
                  <a:pt x="13745" y="18514"/>
                  <a:pt x="13745" y="18514"/>
                </a:cubicBezTo>
                <a:close/>
                <a:moveTo>
                  <a:pt x="12764" y="0"/>
                </a:moveTo>
                <a:lnTo>
                  <a:pt x="1964" y="0"/>
                </a:lnTo>
                <a:cubicBezTo>
                  <a:pt x="879" y="0"/>
                  <a:pt x="0" y="1382"/>
                  <a:pt x="0" y="3086"/>
                </a:cubicBezTo>
                <a:lnTo>
                  <a:pt x="0" y="18514"/>
                </a:lnTo>
                <a:cubicBezTo>
                  <a:pt x="0" y="20219"/>
                  <a:pt x="879" y="21600"/>
                  <a:pt x="1964" y="21600"/>
                </a:cubicBezTo>
                <a:lnTo>
                  <a:pt x="12764" y="21600"/>
                </a:lnTo>
                <a:cubicBezTo>
                  <a:pt x="13848" y="21600"/>
                  <a:pt x="14727" y="20219"/>
                  <a:pt x="14727" y="18514"/>
                </a:cubicBezTo>
                <a:lnTo>
                  <a:pt x="14727" y="3086"/>
                </a:lnTo>
                <a:cubicBezTo>
                  <a:pt x="14727" y="1382"/>
                  <a:pt x="13848" y="0"/>
                  <a:pt x="12764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74" name="Shape 2644"/>
          <p:cNvSpPr/>
          <p:nvPr/>
        </p:nvSpPr>
        <p:spPr>
          <a:xfrm>
            <a:off x="1760821" y="7067505"/>
            <a:ext cx="572298" cy="7869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4" y="20618"/>
                  <a:pt x="1350" y="20179"/>
                  <a:pt x="1350" y="19636"/>
                </a:cubicBezTo>
                <a:lnTo>
                  <a:pt x="1350" y="1964"/>
                </a:lnTo>
                <a:cubicBezTo>
                  <a:pt x="1350" y="1422"/>
                  <a:pt x="1954" y="982"/>
                  <a:pt x="2700" y="982"/>
                </a:cubicBezTo>
                <a:lnTo>
                  <a:pt x="18900" y="982"/>
                </a:lnTo>
                <a:cubicBezTo>
                  <a:pt x="19645" y="982"/>
                  <a:pt x="20250" y="1422"/>
                  <a:pt x="20250" y="1964"/>
                </a:cubicBezTo>
                <a:cubicBezTo>
                  <a:pt x="20250" y="1964"/>
                  <a:pt x="20250" y="19636"/>
                  <a:pt x="20250" y="19636"/>
                </a:cubicBezTo>
                <a:close/>
                <a:moveTo>
                  <a:pt x="18900" y="0"/>
                </a:moveTo>
                <a:lnTo>
                  <a:pt x="2700" y="0"/>
                </a:lnTo>
                <a:cubicBezTo>
                  <a:pt x="120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391" y="0"/>
                  <a:pt x="18900" y="0"/>
                </a:cubicBezTo>
                <a:moveTo>
                  <a:pt x="4050" y="3927"/>
                </a:moveTo>
                <a:lnTo>
                  <a:pt x="17550" y="3927"/>
                </a:lnTo>
                <a:lnTo>
                  <a:pt x="17550" y="17673"/>
                </a:lnTo>
                <a:lnTo>
                  <a:pt x="4050" y="17673"/>
                </a:lnTo>
                <a:cubicBezTo>
                  <a:pt x="4050" y="17673"/>
                  <a:pt x="4050" y="3927"/>
                  <a:pt x="4050" y="3927"/>
                </a:cubicBezTo>
                <a:close/>
                <a:moveTo>
                  <a:pt x="2700" y="18655"/>
                </a:moveTo>
                <a:lnTo>
                  <a:pt x="18900" y="18655"/>
                </a:lnTo>
                <a:lnTo>
                  <a:pt x="18900" y="2945"/>
                </a:lnTo>
                <a:lnTo>
                  <a:pt x="2700" y="2945"/>
                </a:lnTo>
                <a:cubicBezTo>
                  <a:pt x="2700" y="2945"/>
                  <a:pt x="2700" y="18655"/>
                  <a:pt x="2700" y="18655"/>
                </a:cubicBezTo>
                <a:close/>
                <a:moveTo>
                  <a:pt x="10125" y="2455"/>
                </a:moveTo>
                <a:lnTo>
                  <a:pt x="11475" y="2455"/>
                </a:lnTo>
                <a:cubicBezTo>
                  <a:pt x="11848" y="2455"/>
                  <a:pt x="12150" y="2235"/>
                  <a:pt x="12150" y="1964"/>
                </a:cubicBezTo>
                <a:cubicBezTo>
                  <a:pt x="12150" y="1692"/>
                  <a:pt x="11848" y="1473"/>
                  <a:pt x="11475" y="1473"/>
                </a:cubicBezTo>
                <a:lnTo>
                  <a:pt x="10125" y="1473"/>
                </a:lnTo>
                <a:cubicBezTo>
                  <a:pt x="9752" y="1473"/>
                  <a:pt x="9450" y="1692"/>
                  <a:pt x="9450" y="1964"/>
                </a:cubicBezTo>
                <a:cubicBezTo>
                  <a:pt x="9450" y="2235"/>
                  <a:pt x="9752" y="2455"/>
                  <a:pt x="10125" y="2455"/>
                </a:cubicBezTo>
                <a:moveTo>
                  <a:pt x="10800" y="19145"/>
                </a:moveTo>
                <a:cubicBezTo>
                  <a:pt x="10427" y="19145"/>
                  <a:pt x="10125" y="19366"/>
                  <a:pt x="10125" y="19636"/>
                </a:cubicBezTo>
                <a:cubicBezTo>
                  <a:pt x="10125" y="19908"/>
                  <a:pt x="10427" y="20127"/>
                  <a:pt x="10800" y="20127"/>
                </a:cubicBezTo>
                <a:cubicBezTo>
                  <a:pt x="11173" y="20127"/>
                  <a:pt x="11475" y="19908"/>
                  <a:pt x="11475" y="19636"/>
                </a:cubicBezTo>
                <a:cubicBezTo>
                  <a:pt x="11475" y="19366"/>
                  <a:pt x="11173" y="19145"/>
                  <a:pt x="10800" y="191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75" name="Shape 2645"/>
          <p:cNvSpPr/>
          <p:nvPr/>
        </p:nvSpPr>
        <p:spPr>
          <a:xfrm>
            <a:off x="1662421" y="10164652"/>
            <a:ext cx="786907" cy="5722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20250"/>
                </a:moveTo>
                <a:lnTo>
                  <a:pt x="2740" y="17504"/>
                </a:lnTo>
                <a:cubicBezTo>
                  <a:pt x="2807" y="17526"/>
                  <a:pt x="2874" y="17550"/>
                  <a:pt x="2945" y="17550"/>
                </a:cubicBezTo>
                <a:lnTo>
                  <a:pt x="18655" y="17550"/>
                </a:lnTo>
                <a:cubicBezTo>
                  <a:pt x="18726" y="17550"/>
                  <a:pt x="18793" y="17526"/>
                  <a:pt x="18860" y="17504"/>
                </a:cubicBezTo>
                <a:lnTo>
                  <a:pt x="20192" y="20250"/>
                </a:lnTo>
                <a:cubicBezTo>
                  <a:pt x="20192" y="20250"/>
                  <a:pt x="1408" y="20250"/>
                  <a:pt x="1408" y="20250"/>
                </a:cubicBezTo>
                <a:close/>
                <a:moveTo>
                  <a:pt x="2945" y="1350"/>
                </a:moveTo>
                <a:lnTo>
                  <a:pt x="18655" y="1350"/>
                </a:lnTo>
                <a:lnTo>
                  <a:pt x="18655" y="16200"/>
                </a:lnTo>
                <a:lnTo>
                  <a:pt x="2945" y="16200"/>
                </a:lnTo>
                <a:cubicBezTo>
                  <a:pt x="2945" y="16200"/>
                  <a:pt x="2945" y="1350"/>
                  <a:pt x="2945" y="1350"/>
                </a:cubicBezTo>
                <a:close/>
                <a:moveTo>
                  <a:pt x="21510" y="20558"/>
                </a:moveTo>
                <a:lnTo>
                  <a:pt x="21518" y="20551"/>
                </a:lnTo>
                <a:lnTo>
                  <a:pt x="19591" y="16577"/>
                </a:lnTo>
                <a:cubicBezTo>
                  <a:pt x="19617" y="16457"/>
                  <a:pt x="19636" y="16332"/>
                  <a:pt x="19636" y="16200"/>
                </a:cubicBezTo>
                <a:lnTo>
                  <a:pt x="19636" y="1350"/>
                </a:lnTo>
                <a:cubicBezTo>
                  <a:pt x="19636" y="605"/>
                  <a:pt x="19197" y="0"/>
                  <a:pt x="18655" y="0"/>
                </a:cubicBezTo>
                <a:lnTo>
                  <a:pt x="2945" y="0"/>
                </a:lnTo>
                <a:cubicBezTo>
                  <a:pt x="2403" y="0"/>
                  <a:pt x="1964" y="605"/>
                  <a:pt x="1964" y="1350"/>
                </a:cubicBezTo>
                <a:lnTo>
                  <a:pt x="1964" y="16200"/>
                </a:lnTo>
                <a:cubicBezTo>
                  <a:pt x="1964" y="16332"/>
                  <a:pt x="1983" y="16457"/>
                  <a:pt x="2009" y="16577"/>
                </a:cubicBezTo>
                <a:lnTo>
                  <a:pt x="82" y="20551"/>
                </a:lnTo>
                <a:lnTo>
                  <a:pt x="90" y="20558"/>
                </a:lnTo>
                <a:cubicBezTo>
                  <a:pt x="38" y="20665"/>
                  <a:pt x="0" y="20787"/>
                  <a:pt x="0" y="20925"/>
                </a:cubicBezTo>
                <a:cubicBezTo>
                  <a:pt x="0" y="21298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298"/>
                  <a:pt x="21600" y="20925"/>
                </a:cubicBezTo>
                <a:cubicBezTo>
                  <a:pt x="21600" y="20787"/>
                  <a:pt x="21562" y="20665"/>
                  <a:pt x="21510" y="2055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76" name="Shape 2646"/>
          <p:cNvSpPr/>
          <p:nvPr/>
        </p:nvSpPr>
        <p:spPr>
          <a:xfrm>
            <a:off x="12188825" y="4393600"/>
            <a:ext cx="786907" cy="7869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2" y="20618"/>
                  <a:pt x="6873" y="20838"/>
                  <a:pt x="6873" y="21109"/>
                </a:cubicBezTo>
                <a:cubicBezTo>
                  <a:pt x="6873" y="21381"/>
                  <a:pt x="7092" y="21600"/>
                  <a:pt x="7364" y="21600"/>
                </a:cubicBezTo>
                <a:lnTo>
                  <a:pt x="14236" y="21600"/>
                </a:lnTo>
                <a:cubicBezTo>
                  <a:pt x="14508" y="21600"/>
                  <a:pt x="14727" y="21381"/>
                  <a:pt x="14727" y="21109"/>
                </a:cubicBezTo>
                <a:cubicBezTo>
                  <a:pt x="14727" y="20838"/>
                  <a:pt x="14508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77" name="Shape 2677"/>
          <p:cNvSpPr/>
          <p:nvPr/>
        </p:nvSpPr>
        <p:spPr>
          <a:xfrm>
            <a:off x="12224331" y="7215435"/>
            <a:ext cx="715372" cy="7863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60" y="7855"/>
                </a:moveTo>
                <a:cubicBezTo>
                  <a:pt x="15362" y="7855"/>
                  <a:pt x="15120" y="8075"/>
                  <a:pt x="15120" y="8345"/>
                </a:cubicBezTo>
                <a:cubicBezTo>
                  <a:pt x="15120" y="8617"/>
                  <a:pt x="15362" y="8836"/>
                  <a:pt x="15660" y="8836"/>
                </a:cubicBezTo>
                <a:cubicBezTo>
                  <a:pt x="16555" y="8836"/>
                  <a:pt x="17280" y="9716"/>
                  <a:pt x="17280" y="10800"/>
                </a:cubicBezTo>
                <a:cubicBezTo>
                  <a:pt x="17280" y="11884"/>
                  <a:pt x="16555" y="12764"/>
                  <a:pt x="15660" y="12764"/>
                </a:cubicBezTo>
                <a:cubicBezTo>
                  <a:pt x="15362" y="12764"/>
                  <a:pt x="15120" y="12984"/>
                  <a:pt x="15120" y="13255"/>
                </a:cubicBezTo>
                <a:cubicBezTo>
                  <a:pt x="15120" y="13526"/>
                  <a:pt x="15362" y="13745"/>
                  <a:pt x="15660" y="13745"/>
                </a:cubicBezTo>
                <a:cubicBezTo>
                  <a:pt x="17151" y="13745"/>
                  <a:pt x="18360" y="12427"/>
                  <a:pt x="18360" y="10800"/>
                </a:cubicBezTo>
                <a:cubicBezTo>
                  <a:pt x="18360" y="9174"/>
                  <a:pt x="17151" y="7855"/>
                  <a:pt x="15660" y="7855"/>
                </a:cubicBezTo>
                <a:moveTo>
                  <a:pt x="18472" y="5611"/>
                </a:moveTo>
                <a:lnTo>
                  <a:pt x="18463" y="5625"/>
                </a:lnTo>
                <a:cubicBezTo>
                  <a:pt x="18383" y="5584"/>
                  <a:pt x="18296" y="5554"/>
                  <a:pt x="18198" y="5554"/>
                </a:cubicBezTo>
                <a:cubicBezTo>
                  <a:pt x="17900" y="5554"/>
                  <a:pt x="17660" y="5774"/>
                  <a:pt x="17660" y="6044"/>
                </a:cubicBezTo>
                <a:cubicBezTo>
                  <a:pt x="17660" y="6216"/>
                  <a:pt x="17763" y="6361"/>
                  <a:pt x="17910" y="6449"/>
                </a:cubicBezTo>
                <a:lnTo>
                  <a:pt x="17909" y="6451"/>
                </a:lnTo>
                <a:cubicBezTo>
                  <a:pt x="19460" y="7271"/>
                  <a:pt x="20520" y="8909"/>
                  <a:pt x="20520" y="10800"/>
                </a:cubicBezTo>
                <a:cubicBezTo>
                  <a:pt x="20520" y="12689"/>
                  <a:pt x="19463" y="14325"/>
                  <a:pt x="17915" y="15147"/>
                </a:cubicBezTo>
                <a:lnTo>
                  <a:pt x="17919" y="15152"/>
                </a:lnTo>
                <a:cubicBezTo>
                  <a:pt x="17771" y="15239"/>
                  <a:pt x="17668" y="15384"/>
                  <a:pt x="17668" y="15556"/>
                </a:cubicBezTo>
                <a:cubicBezTo>
                  <a:pt x="17668" y="15827"/>
                  <a:pt x="17910" y="16046"/>
                  <a:pt x="18208" y="16046"/>
                </a:cubicBezTo>
                <a:cubicBezTo>
                  <a:pt x="18306" y="16046"/>
                  <a:pt x="18393" y="16016"/>
                  <a:pt x="18473" y="15975"/>
                </a:cubicBezTo>
                <a:lnTo>
                  <a:pt x="18480" y="15985"/>
                </a:lnTo>
                <a:cubicBezTo>
                  <a:pt x="20338" y="14990"/>
                  <a:pt x="21600" y="13041"/>
                  <a:pt x="21600" y="10800"/>
                </a:cubicBezTo>
                <a:cubicBezTo>
                  <a:pt x="21600" y="8556"/>
                  <a:pt x="20334" y="6606"/>
                  <a:pt x="18472" y="5611"/>
                </a:cubicBezTo>
                <a:moveTo>
                  <a:pt x="11880" y="20121"/>
                </a:moveTo>
                <a:cubicBezTo>
                  <a:pt x="11880" y="20393"/>
                  <a:pt x="11637" y="20612"/>
                  <a:pt x="11337" y="20612"/>
                </a:cubicBezTo>
                <a:cubicBezTo>
                  <a:pt x="11181" y="20612"/>
                  <a:pt x="11043" y="20552"/>
                  <a:pt x="10944" y="20457"/>
                </a:cubicBezTo>
                <a:lnTo>
                  <a:pt x="10942" y="20459"/>
                </a:lnTo>
                <a:lnTo>
                  <a:pt x="10800" y="20342"/>
                </a:lnTo>
                <a:lnTo>
                  <a:pt x="10800" y="1256"/>
                </a:lnTo>
                <a:lnTo>
                  <a:pt x="10958" y="1126"/>
                </a:lnTo>
                <a:lnTo>
                  <a:pt x="10960" y="1127"/>
                </a:lnTo>
                <a:cubicBezTo>
                  <a:pt x="11058" y="1042"/>
                  <a:pt x="11190" y="988"/>
                  <a:pt x="11337" y="988"/>
                </a:cubicBezTo>
                <a:cubicBezTo>
                  <a:pt x="11637" y="988"/>
                  <a:pt x="11880" y="1208"/>
                  <a:pt x="11880" y="1480"/>
                </a:cubicBezTo>
                <a:cubicBezTo>
                  <a:pt x="11880" y="1480"/>
                  <a:pt x="11880" y="20121"/>
                  <a:pt x="11880" y="20121"/>
                </a:cubicBezTo>
                <a:close/>
                <a:moveTo>
                  <a:pt x="9720" y="19448"/>
                </a:moveTo>
                <a:lnTo>
                  <a:pt x="4320" y="14979"/>
                </a:lnTo>
                <a:lnTo>
                  <a:pt x="4320" y="6607"/>
                </a:lnTo>
                <a:lnTo>
                  <a:pt x="4561" y="6407"/>
                </a:lnTo>
                <a:lnTo>
                  <a:pt x="4560" y="6406"/>
                </a:lnTo>
                <a:lnTo>
                  <a:pt x="9720" y="2147"/>
                </a:lnTo>
                <a:cubicBezTo>
                  <a:pt x="9720" y="2147"/>
                  <a:pt x="9720" y="19448"/>
                  <a:pt x="9720" y="19448"/>
                </a:cubicBezTo>
                <a:close/>
                <a:moveTo>
                  <a:pt x="3240" y="14649"/>
                </a:moveTo>
                <a:cubicBezTo>
                  <a:pt x="2008" y="14285"/>
                  <a:pt x="1080" y="12700"/>
                  <a:pt x="1080" y="10800"/>
                </a:cubicBezTo>
                <a:cubicBezTo>
                  <a:pt x="1080" y="8900"/>
                  <a:pt x="2008" y="7316"/>
                  <a:pt x="3240" y="6952"/>
                </a:cubicBezTo>
                <a:cubicBezTo>
                  <a:pt x="3240" y="6952"/>
                  <a:pt x="3240" y="14649"/>
                  <a:pt x="3240" y="14649"/>
                </a:cubicBezTo>
                <a:close/>
                <a:moveTo>
                  <a:pt x="12966" y="1472"/>
                </a:moveTo>
                <a:cubicBezTo>
                  <a:pt x="12966" y="659"/>
                  <a:pt x="12238" y="0"/>
                  <a:pt x="11339" y="0"/>
                </a:cubicBezTo>
                <a:cubicBezTo>
                  <a:pt x="10879" y="0"/>
                  <a:pt x="10466" y="175"/>
                  <a:pt x="10170" y="451"/>
                </a:cubicBezTo>
                <a:lnTo>
                  <a:pt x="3565" y="5905"/>
                </a:lnTo>
                <a:cubicBezTo>
                  <a:pt x="1578" y="6051"/>
                  <a:pt x="0" y="8183"/>
                  <a:pt x="0" y="10800"/>
                </a:cubicBezTo>
                <a:cubicBezTo>
                  <a:pt x="0" y="13426"/>
                  <a:pt x="1588" y="15564"/>
                  <a:pt x="3585" y="15697"/>
                </a:cubicBezTo>
                <a:lnTo>
                  <a:pt x="10170" y="21148"/>
                </a:lnTo>
                <a:cubicBezTo>
                  <a:pt x="10466" y="21426"/>
                  <a:pt x="10879" y="21600"/>
                  <a:pt x="11339" y="21600"/>
                </a:cubicBezTo>
                <a:cubicBezTo>
                  <a:pt x="12238" y="21600"/>
                  <a:pt x="12966" y="20941"/>
                  <a:pt x="12966" y="20129"/>
                </a:cubicBezTo>
                <a:cubicBezTo>
                  <a:pt x="12966" y="20110"/>
                  <a:pt x="12961" y="20093"/>
                  <a:pt x="12960" y="20074"/>
                </a:cubicBezTo>
                <a:lnTo>
                  <a:pt x="12960" y="1527"/>
                </a:lnTo>
                <a:cubicBezTo>
                  <a:pt x="12961" y="1508"/>
                  <a:pt x="12966" y="1490"/>
                  <a:pt x="12966" y="147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79" name="Shape 2591"/>
          <p:cNvSpPr>
            <a:spLocks noChangeAspect="1"/>
          </p:cNvSpPr>
          <p:nvPr/>
        </p:nvSpPr>
        <p:spPr>
          <a:xfrm>
            <a:off x="12188825" y="10057609"/>
            <a:ext cx="786384" cy="7863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bg2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DCC2891-58CF-4F74-BE33-587F43A56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Icon List Larg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764537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637"/>
          <p:cNvSpPr/>
          <p:nvPr/>
        </p:nvSpPr>
        <p:spPr>
          <a:xfrm>
            <a:off x="2395518" y="5350959"/>
            <a:ext cx="360249" cy="6604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836"/>
                </a:moveTo>
                <a:lnTo>
                  <a:pt x="16200" y="8836"/>
                </a:lnTo>
                <a:lnTo>
                  <a:pt x="16200" y="11782"/>
                </a:lnTo>
                <a:cubicBezTo>
                  <a:pt x="16200" y="13409"/>
                  <a:pt x="13783" y="14727"/>
                  <a:pt x="10800" y="14727"/>
                </a:cubicBezTo>
                <a:cubicBezTo>
                  <a:pt x="7817" y="14727"/>
                  <a:pt x="5400" y="13409"/>
                  <a:pt x="5400" y="11782"/>
                </a:cubicBezTo>
                <a:cubicBezTo>
                  <a:pt x="5400" y="11782"/>
                  <a:pt x="5400" y="8836"/>
                  <a:pt x="5400" y="8836"/>
                </a:cubicBezTo>
                <a:close/>
                <a:moveTo>
                  <a:pt x="5400" y="3927"/>
                </a:moveTo>
                <a:cubicBezTo>
                  <a:pt x="5400" y="2301"/>
                  <a:pt x="7817" y="982"/>
                  <a:pt x="10800" y="982"/>
                </a:cubicBezTo>
                <a:cubicBezTo>
                  <a:pt x="13783" y="982"/>
                  <a:pt x="16200" y="2301"/>
                  <a:pt x="16200" y="3927"/>
                </a:cubicBezTo>
                <a:lnTo>
                  <a:pt x="16200" y="7855"/>
                </a:lnTo>
                <a:lnTo>
                  <a:pt x="5400" y="7855"/>
                </a:lnTo>
                <a:cubicBezTo>
                  <a:pt x="5400" y="7855"/>
                  <a:pt x="5400" y="3927"/>
                  <a:pt x="5400" y="3927"/>
                </a:cubicBezTo>
                <a:close/>
                <a:moveTo>
                  <a:pt x="10800" y="15709"/>
                </a:moveTo>
                <a:cubicBezTo>
                  <a:pt x="14777" y="15709"/>
                  <a:pt x="18000" y="13951"/>
                  <a:pt x="18000" y="11782"/>
                </a:cubicBezTo>
                <a:lnTo>
                  <a:pt x="18000" y="3927"/>
                </a:lnTo>
                <a:cubicBezTo>
                  <a:pt x="18000" y="1758"/>
                  <a:pt x="14777" y="0"/>
                  <a:pt x="10800" y="0"/>
                </a:cubicBezTo>
                <a:cubicBezTo>
                  <a:pt x="6823" y="0"/>
                  <a:pt x="3600" y="1758"/>
                  <a:pt x="3600" y="3927"/>
                </a:cubicBezTo>
                <a:lnTo>
                  <a:pt x="3600" y="11782"/>
                </a:lnTo>
                <a:cubicBezTo>
                  <a:pt x="3600" y="13951"/>
                  <a:pt x="6823" y="15709"/>
                  <a:pt x="10800" y="15709"/>
                </a:cubicBezTo>
                <a:moveTo>
                  <a:pt x="21600" y="11782"/>
                </a:moveTo>
                <a:lnTo>
                  <a:pt x="21600" y="10309"/>
                </a:lnTo>
                <a:cubicBezTo>
                  <a:pt x="21600" y="10038"/>
                  <a:pt x="21197" y="9818"/>
                  <a:pt x="20700" y="9818"/>
                </a:cubicBezTo>
                <a:cubicBezTo>
                  <a:pt x="20203" y="9818"/>
                  <a:pt x="19800" y="10038"/>
                  <a:pt x="19800" y="10309"/>
                </a:cubicBezTo>
                <a:lnTo>
                  <a:pt x="19800" y="11782"/>
                </a:lnTo>
                <a:cubicBezTo>
                  <a:pt x="19800" y="14493"/>
                  <a:pt x="15771" y="16691"/>
                  <a:pt x="10800" y="16691"/>
                </a:cubicBezTo>
                <a:cubicBezTo>
                  <a:pt x="5829" y="16691"/>
                  <a:pt x="1800" y="14493"/>
                  <a:pt x="1800" y="11782"/>
                </a:cubicBezTo>
                <a:lnTo>
                  <a:pt x="1800" y="10309"/>
                </a:lnTo>
                <a:cubicBezTo>
                  <a:pt x="1800" y="10038"/>
                  <a:pt x="1397" y="9818"/>
                  <a:pt x="900" y="9818"/>
                </a:cubicBezTo>
                <a:cubicBezTo>
                  <a:pt x="403" y="9818"/>
                  <a:pt x="0" y="10038"/>
                  <a:pt x="0" y="10309"/>
                </a:cubicBezTo>
                <a:lnTo>
                  <a:pt x="0" y="11782"/>
                </a:lnTo>
                <a:cubicBezTo>
                  <a:pt x="0" y="14870"/>
                  <a:pt x="4358" y="17398"/>
                  <a:pt x="9900" y="17648"/>
                </a:cubicBezTo>
                <a:lnTo>
                  <a:pt x="9900" y="20618"/>
                </a:lnTo>
                <a:lnTo>
                  <a:pt x="3600" y="20618"/>
                </a:lnTo>
                <a:cubicBezTo>
                  <a:pt x="3103" y="20618"/>
                  <a:pt x="2700" y="20838"/>
                  <a:pt x="2700" y="21110"/>
                </a:cubicBezTo>
                <a:cubicBezTo>
                  <a:pt x="2700" y="21381"/>
                  <a:pt x="3103" y="21600"/>
                  <a:pt x="3600" y="21600"/>
                </a:cubicBezTo>
                <a:lnTo>
                  <a:pt x="18000" y="21600"/>
                </a:lnTo>
                <a:cubicBezTo>
                  <a:pt x="18497" y="21600"/>
                  <a:pt x="18900" y="21381"/>
                  <a:pt x="18900" y="21110"/>
                </a:cubicBezTo>
                <a:cubicBezTo>
                  <a:pt x="18900" y="20838"/>
                  <a:pt x="18497" y="20618"/>
                  <a:pt x="18000" y="20618"/>
                </a:cubicBezTo>
                <a:lnTo>
                  <a:pt x="11700" y="20618"/>
                </a:lnTo>
                <a:lnTo>
                  <a:pt x="11700" y="17648"/>
                </a:lnTo>
                <a:cubicBezTo>
                  <a:pt x="17243" y="17398"/>
                  <a:pt x="21600" y="14870"/>
                  <a:pt x="21600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8" name="Shape 2638"/>
          <p:cNvSpPr/>
          <p:nvPr/>
        </p:nvSpPr>
        <p:spPr>
          <a:xfrm>
            <a:off x="2229653" y="7498729"/>
            <a:ext cx="660228" cy="660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31" h="21132" extrusionOk="0">
                <a:moveTo>
                  <a:pt x="19045" y="7530"/>
                </a:moveTo>
                <a:cubicBezTo>
                  <a:pt x="17544" y="9030"/>
                  <a:pt x="15110" y="9030"/>
                  <a:pt x="13610" y="7530"/>
                </a:cubicBezTo>
                <a:cubicBezTo>
                  <a:pt x="12108" y="6031"/>
                  <a:pt x="12108" y="3600"/>
                  <a:pt x="13610" y="2100"/>
                </a:cubicBezTo>
                <a:cubicBezTo>
                  <a:pt x="15110" y="600"/>
                  <a:pt x="17544" y="600"/>
                  <a:pt x="19045" y="2100"/>
                </a:cubicBezTo>
                <a:cubicBezTo>
                  <a:pt x="20546" y="3600"/>
                  <a:pt x="20546" y="6031"/>
                  <a:pt x="19045" y="7530"/>
                </a:cubicBezTo>
                <a:moveTo>
                  <a:pt x="7605" y="16245"/>
                </a:moveTo>
                <a:cubicBezTo>
                  <a:pt x="7256" y="16593"/>
                  <a:pt x="6776" y="16807"/>
                  <a:pt x="6245" y="16807"/>
                </a:cubicBezTo>
                <a:cubicBezTo>
                  <a:pt x="5184" y="16807"/>
                  <a:pt x="4324" y="15948"/>
                  <a:pt x="4324" y="14888"/>
                </a:cubicBezTo>
                <a:cubicBezTo>
                  <a:pt x="4324" y="14358"/>
                  <a:pt x="4539" y="13878"/>
                  <a:pt x="4887" y="13530"/>
                </a:cubicBezTo>
                <a:lnTo>
                  <a:pt x="11678" y="5991"/>
                </a:lnTo>
                <a:cubicBezTo>
                  <a:pt x="11884" y="6798"/>
                  <a:pt x="12298" y="7563"/>
                  <a:pt x="12930" y="8194"/>
                </a:cubicBezTo>
                <a:cubicBezTo>
                  <a:pt x="13569" y="8832"/>
                  <a:pt x="14343" y="9248"/>
                  <a:pt x="15160" y="9451"/>
                </a:cubicBezTo>
                <a:cubicBezTo>
                  <a:pt x="15160" y="9451"/>
                  <a:pt x="7605" y="16245"/>
                  <a:pt x="7605" y="16245"/>
                </a:cubicBezTo>
                <a:close/>
                <a:moveTo>
                  <a:pt x="19724" y="1406"/>
                </a:moveTo>
                <a:cubicBezTo>
                  <a:pt x="17848" y="-468"/>
                  <a:pt x="14806" y="-468"/>
                  <a:pt x="12930" y="1406"/>
                </a:cubicBezTo>
                <a:cubicBezTo>
                  <a:pt x="12024" y="2312"/>
                  <a:pt x="11559" y="3489"/>
                  <a:pt x="11529" y="4676"/>
                </a:cubicBezTo>
                <a:lnTo>
                  <a:pt x="4207" y="12851"/>
                </a:lnTo>
                <a:cubicBezTo>
                  <a:pt x="3686" y="13373"/>
                  <a:pt x="3363" y="14093"/>
                  <a:pt x="3363" y="14888"/>
                </a:cubicBezTo>
                <a:cubicBezTo>
                  <a:pt x="3363" y="15420"/>
                  <a:pt x="3518" y="15912"/>
                  <a:pt x="3769" y="16340"/>
                </a:cubicBezTo>
                <a:cubicBezTo>
                  <a:pt x="2436" y="17104"/>
                  <a:pt x="1907" y="17813"/>
                  <a:pt x="2425" y="19364"/>
                </a:cubicBezTo>
                <a:cubicBezTo>
                  <a:pt x="2487" y="19550"/>
                  <a:pt x="2434" y="19622"/>
                  <a:pt x="2409" y="19658"/>
                </a:cubicBezTo>
                <a:cubicBezTo>
                  <a:pt x="2160" y="20003"/>
                  <a:pt x="1132" y="20167"/>
                  <a:pt x="500" y="20172"/>
                </a:cubicBezTo>
                <a:cubicBezTo>
                  <a:pt x="493" y="20171"/>
                  <a:pt x="487" y="20167"/>
                  <a:pt x="480" y="20167"/>
                </a:cubicBezTo>
                <a:cubicBezTo>
                  <a:pt x="215" y="20167"/>
                  <a:pt x="0" y="20383"/>
                  <a:pt x="0" y="20647"/>
                </a:cubicBezTo>
                <a:cubicBezTo>
                  <a:pt x="0" y="20912"/>
                  <a:pt x="214" y="21126"/>
                  <a:pt x="479" y="21127"/>
                </a:cubicBezTo>
                <a:lnTo>
                  <a:pt x="479" y="21132"/>
                </a:lnTo>
                <a:cubicBezTo>
                  <a:pt x="821" y="21132"/>
                  <a:pt x="2562" y="21088"/>
                  <a:pt x="3189" y="20219"/>
                </a:cubicBezTo>
                <a:cubicBezTo>
                  <a:pt x="3355" y="19988"/>
                  <a:pt x="3516" y="19599"/>
                  <a:pt x="3336" y="19060"/>
                </a:cubicBezTo>
                <a:cubicBezTo>
                  <a:pt x="3030" y="18141"/>
                  <a:pt x="3071" y="17806"/>
                  <a:pt x="4399" y="17082"/>
                </a:cubicBezTo>
                <a:cubicBezTo>
                  <a:pt x="4900" y="17504"/>
                  <a:pt x="5539" y="17767"/>
                  <a:pt x="6245" y="17767"/>
                </a:cubicBezTo>
                <a:cubicBezTo>
                  <a:pt x="7042" y="17767"/>
                  <a:pt x="7762" y="17445"/>
                  <a:pt x="8284" y="16924"/>
                </a:cubicBezTo>
                <a:lnTo>
                  <a:pt x="16485" y="9592"/>
                </a:lnTo>
                <a:cubicBezTo>
                  <a:pt x="17662" y="9554"/>
                  <a:pt x="18826" y="9091"/>
                  <a:pt x="19724" y="8194"/>
                </a:cubicBezTo>
                <a:cubicBezTo>
                  <a:pt x="21600" y="6320"/>
                  <a:pt x="21600" y="3281"/>
                  <a:pt x="19724" y="1406"/>
                </a:cubicBezTo>
                <a:moveTo>
                  <a:pt x="8953" y="11504"/>
                </a:moveTo>
                <a:lnTo>
                  <a:pt x="9633" y="12183"/>
                </a:lnTo>
                <a:lnTo>
                  <a:pt x="12690" y="9807"/>
                </a:lnTo>
                <a:lnTo>
                  <a:pt x="11331" y="8449"/>
                </a:lnTo>
                <a:cubicBezTo>
                  <a:pt x="11331" y="8449"/>
                  <a:pt x="8953" y="11504"/>
                  <a:pt x="8953" y="1150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9" name="Shape 2639"/>
          <p:cNvSpPr/>
          <p:nvPr/>
        </p:nvSpPr>
        <p:spPr>
          <a:xfrm>
            <a:off x="2245615" y="9646888"/>
            <a:ext cx="660455" cy="4202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3086"/>
                </a:moveTo>
                <a:cubicBezTo>
                  <a:pt x="12984" y="3086"/>
                  <a:pt x="12764" y="3432"/>
                  <a:pt x="12764" y="3857"/>
                </a:cubicBezTo>
                <a:cubicBezTo>
                  <a:pt x="12764" y="4284"/>
                  <a:pt x="12984" y="4629"/>
                  <a:pt x="13255" y="4629"/>
                </a:cubicBezTo>
                <a:cubicBezTo>
                  <a:pt x="13525" y="4629"/>
                  <a:pt x="13745" y="4284"/>
                  <a:pt x="13745" y="3857"/>
                </a:cubicBezTo>
                <a:cubicBezTo>
                  <a:pt x="13745" y="3432"/>
                  <a:pt x="13525" y="3086"/>
                  <a:pt x="13255" y="3086"/>
                </a:cubicBezTo>
                <a:moveTo>
                  <a:pt x="20618" y="16495"/>
                </a:moveTo>
                <a:lnTo>
                  <a:pt x="15709" y="12638"/>
                </a:lnTo>
                <a:lnTo>
                  <a:pt x="15709" y="8963"/>
                </a:lnTo>
                <a:lnTo>
                  <a:pt x="20618" y="5105"/>
                </a:lnTo>
                <a:cubicBezTo>
                  <a:pt x="20618" y="5105"/>
                  <a:pt x="20618" y="16495"/>
                  <a:pt x="20618" y="16495"/>
                </a:cubicBezTo>
                <a:close/>
                <a:moveTo>
                  <a:pt x="14727" y="16971"/>
                </a:moveTo>
                <a:lnTo>
                  <a:pt x="982" y="16971"/>
                </a:lnTo>
                <a:lnTo>
                  <a:pt x="982" y="3086"/>
                </a:lnTo>
                <a:cubicBezTo>
                  <a:pt x="982" y="2234"/>
                  <a:pt x="1422" y="1543"/>
                  <a:pt x="1964" y="1543"/>
                </a:cubicBezTo>
                <a:lnTo>
                  <a:pt x="13745" y="1543"/>
                </a:lnTo>
                <a:cubicBezTo>
                  <a:pt x="14287" y="1543"/>
                  <a:pt x="14727" y="2234"/>
                  <a:pt x="14727" y="3086"/>
                </a:cubicBezTo>
                <a:cubicBezTo>
                  <a:pt x="14727" y="3086"/>
                  <a:pt x="14727" y="16971"/>
                  <a:pt x="14727" y="16971"/>
                </a:cubicBezTo>
                <a:close/>
                <a:moveTo>
                  <a:pt x="13745" y="20057"/>
                </a:moveTo>
                <a:lnTo>
                  <a:pt x="1964" y="20057"/>
                </a:lnTo>
                <a:cubicBezTo>
                  <a:pt x="1422" y="20057"/>
                  <a:pt x="982" y="19367"/>
                  <a:pt x="982" y="18514"/>
                </a:cubicBezTo>
                <a:lnTo>
                  <a:pt x="14727" y="18514"/>
                </a:lnTo>
                <a:cubicBezTo>
                  <a:pt x="14727" y="19367"/>
                  <a:pt x="14287" y="20057"/>
                  <a:pt x="13745" y="20057"/>
                </a:cubicBezTo>
                <a:moveTo>
                  <a:pt x="21109" y="3086"/>
                </a:moveTo>
                <a:cubicBezTo>
                  <a:pt x="21030" y="3086"/>
                  <a:pt x="20958" y="3122"/>
                  <a:pt x="20892" y="3175"/>
                </a:cubicBezTo>
                <a:lnTo>
                  <a:pt x="20890" y="3167"/>
                </a:lnTo>
                <a:lnTo>
                  <a:pt x="15709" y="7237"/>
                </a:lnTo>
                <a:lnTo>
                  <a:pt x="15709" y="3086"/>
                </a:lnTo>
                <a:cubicBezTo>
                  <a:pt x="15709" y="1382"/>
                  <a:pt x="14830" y="0"/>
                  <a:pt x="13745" y="0"/>
                </a:cubicBezTo>
                <a:lnTo>
                  <a:pt x="1964" y="0"/>
                </a:lnTo>
                <a:cubicBezTo>
                  <a:pt x="879" y="0"/>
                  <a:pt x="0" y="1382"/>
                  <a:pt x="0" y="3086"/>
                </a:cubicBezTo>
                <a:lnTo>
                  <a:pt x="0" y="18514"/>
                </a:lnTo>
                <a:cubicBezTo>
                  <a:pt x="0" y="20219"/>
                  <a:pt x="879" y="21600"/>
                  <a:pt x="1964" y="21600"/>
                </a:cubicBezTo>
                <a:lnTo>
                  <a:pt x="13745" y="21600"/>
                </a:lnTo>
                <a:cubicBezTo>
                  <a:pt x="14830" y="21600"/>
                  <a:pt x="15709" y="20219"/>
                  <a:pt x="15709" y="18514"/>
                </a:cubicBezTo>
                <a:lnTo>
                  <a:pt x="15709" y="14363"/>
                </a:lnTo>
                <a:lnTo>
                  <a:pt x="20890" y="18433"/>
                </a:lnTo>
                <a:lnTo>
                  <a:pt x="20892" y="18427"/>
                </a:lnTo>
                <a:cubicBezTo>
                  <a:pt x="20958" y="18478"/>
                  <a:pt x="21030" y="18514"/>
                  <a:pt x="21109" y="18514"/>
                </a:cubicBezTo>
                <a:cubicBezTo>
                  <a:pt x="21380" y="18514"/>
                  <a:pt x="21600" y="18170"/>
                  <a:pt x="21600" y="17743"/>
                </a:cubicBezTo>
                <a:lnTo>
                  <a:pt x="21600" y="3857"/>
                </a:lnTo>
                <a:cubicBezTo>
                  <a:pt x="21600" y="3432"/>
                  <a:pt x="21380" y="3086"/>
                  <a:pt x="21109" y="3086"/>
                </a:cubicBezTo>
                <a:moveTo>
                  <a:pt x="10309" y="6171"/>
                </a:moveTo>
                <a:cubicBezTo>
                  <a:pt x="10038" y="6171"/>
                  <a:pt x="9818" y="5827"/>
                  <a:pt x="9818" y="5400"/>
                </a:cubicBezTo>
                <a:cubicBezTo>
                  <a:pt x="9818" y="4974"/>
                  <a:pt x="10038" y="4629"/>
                  <a:pt x="10309" y="4629"/>
                </a:cubicBezTo>
                <a:cubicBezTo>
                  <a:pt x="10580" y="4629"/>
                  <a:pt x="10800" y="4974"/>
                  <a:pt x="10800" y="5400"/>
                </a:cubicBezTo>
                <a:cubicBezTo>
                  <a:pt x="10800" y="5827"/>
                  <a:pt x="10580" y="6171"/>
                  <a:pt x="10309" y="6171"/>
                </a:cubicBezTo>
                <a:moveTo>
                  <a:pt x="10309" y="3086"/>
                </a:moveTo>
                <a:cubicBezTo>
                  <a:pt x="9496" y="3086"/>
                  <a:pt x="8836" y="4123"/>
                  <a:pt x="8836" y="5400"/>
                </a:cubicBezTo>
                <a:cubicBezTo>
                  <a:pt x="8836" y="6678"/>
                  <a:pt x="9496" y="7714"/>
                  <a:pt x="10309" y="7714"/>
                </a:cubicBezTo>
                <a:cubicBezTo>
                  <a:pt x="11123" y="7714"/>
                  <a:pt x="11782" y="6678"/>
                  <a:pt x="11782" y="5400"/>
                </a:cubicBezTo>
                <a:cubicBezTo>
                  <a:pt x="11782" y="4123"/>
                  <a:pt x="11123" y="3086"/>
                  <a:pt x="10309" y="308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0" name="Shape 2641"/>
          <p:cNvSpPr/>
          <p:nvPr/>
        </p:nvSpPr>
        <p:spPr>
          <a:xfrm>
            <a:off x="9293843" y="5350957"/>
            <a:ext cx="660455" cy="4206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6606"/>
                </a:moveTo>
                <a:lnTo>
                  <a:pt x="16691" y="14138"/>
                </a:lnTo>
                <a:lnTo>
                  <a:pt x="16691" y="7462"/>
                </a:lnTo>
                <a:lnTo>
                  <a:pt x="20618" y="4994"/>
                </a:lnTo>
                <a:cubicBezTo>
                  <a:pt x="20618" y="4994"/>
                  <a:pt x="20618" y="16606"/>
                  <a:pt x="20618" y="16606"/>
                </a:cubicBezTo>
                <a:close/>
                <a:moveTo>
                  <a:pt x="21109" y="3086"/>
                </a:moveTo>
                <a:cubicBezTo>
                  <a:pt x="21030" y="3086"/>
                  <a:pt x="20958" y="3122"/>
                  <a:pt x="20892" y="3174"/>
                </a:cubicBezTo>
                <a:lnTo>
                  <a:pt x="20890" y="3167"/>
                </a:lnTo>
                <a:lnTo>
                  <a:pt x="16018" y="6229"/>
                </a:lnTo>
                <a:cubicBezTo>
                  <a:pt x="16013" y="6233"/>
                  <a:pt x="16008" y="6235"/>
                  <a:pt x="16003" y="6239"/>
                </a:cubicBezTo>
                <a:lnTo>
                  <a:pt x="15980" y="6252"/>
                </a:lnTo>
                <a:lnTo>
                  <a:pt x="15983" y="6260"/>
                </a:lnTo>
                <a:cubicBezTo>
                  <a:pt x="15822" y="6387"/>
                  <a:pt x="15709" y="6641"/>
                  <a:pt x="15709" y="6943"/>
                </a:cubicBezTo>
                <a:lnTo>
                  <a:pt x="15709" y="14657"/>
                </a:lnTo>
                <a:cubicBezTo>
                  <a:pt x="15709" y="14959"/>
                  <a:pt x="15822" y="15213"/>
                  <a:pt x="15983" y="15340"/>
                </a:cubicBezTo>
                <a:lnTo>
                  <a:pt x="15980" y="15347"/>
                </a:lnTo>
                <a:lnTo>
                  <a:pt x="16002" y="15360"/>
                </a:lnTo>
                <a:cubicBezTo>
                  <a:pt x="16008" y="15365"/>
                  <a:pt x="16013" y="15368"/>
                  <a:pt x="16018" y="15371"/>
                </a:cubicBezTo>
                <a:lnTo>
                  <a:pt x="20890" y="18433"/>
                </a:lnTo>
                <a:lnTo>
                  <a:pt x="20892" y="18426"/>
                </a:lnTo>
                <a:cubicBezTo>
                  <a:pt x="20958" y="18478"/>
                  <a:pt x="21030" y="18514"/>
                  <a:pt x="21109" y="18514"/>
                </a:cubicBezTo>
                <a:cubicBezTo>
                  <a:pt x="21380" y="18514"/>
                  <a:pt x="21600" y="18169"/>
                  <a:pt x="21600" y="17743"/>
                </a:cubicBezTo>
                <a:lnTo>
                  <a:pt x="21600" y="3857"/>
                </a:lnTo>
                <a:cubicBezTo>
                  <a:pt x="21600" y="3431"/>
                  <a:pt x="21380" y="3086"/>
                  <a:pt x="21109" y="3086"/>
                </a:cubicBezTo>
                <a:moveTo>
                  <a:pt x="13745" y="18514"/>
                </a:moveTo>
                <a:cubicBezTo>
                  <a:pt x="13745" y="19367"/>
                  <a:pt x="13306" y="20057"/>
                  <a:pt x="12764" y="20057"/>
                </a:cubicBezTo>
                <a:lnTo>
                  <a:pt x="1964" y="20057"/>
                </a:lnTo>
                <a:cubicBezTo>
                  <a:pt x="1422" y="20057"/>
                  <a:pt x="982" y="19367"/>
                  <a:pt x="982" y="18514"/>
                </a:cubicBezTo>
                <a:lnTo>
                  <a:pt x="982" y="3086"/>
                </a:lnTo>
                <a:cubicBezTo>
                  <a:pt x="982" y="2233"/>
                  <a:pt x="1422" y="1543"/>
                  <a:pt x="1964" y="1543"/>
                </a:cubicBezTo>
                <a:lnTo>
                  <a:pt x="12764" y="1543"/>
                </a:lnTo>
                <a:cubicBezTo>
                  <a:pt x="13306" y="1543"/>
                  <a:pt x="13745" y="2233"/>
                  <a:pt x="13745" y="3086"/>
                </a:cubicBezTo>
                <a:cubicBezTo>
                  <a:pt x="13745" y="3086"/>
                  <a:pt x="13745" y="18514"/>
                  <a:pt x="13745" y="18514"/>
                </a:cubicBezTo>
                <a:close/>
                <a:moveTo>
                  <a:pt x="12764" y="0"/>
                </a:moveTo>
                <a:lnTo>
                  <a:pt x="1964" y="0"/>
                </a:lnTo>
                <a:cubicBezTo>
                  <a:pt x="879" y="0"/>
                  <a:pt x="0" y="1382"/>
                  <a:pt x="0" y="3086"/>
                </a:cubicBezTo>
                <a:lnTo>
                  <a:pt x="0" y="18514"/>
                </a:lnTo>
                <a:cubicBezTo>
                  <a:pt x="0" y="20219"/>
                  <a:pt x="879" y="21600"/>
                  <a:pt x="1964" y="21600"/>
                </a:cubicBezTo>
                <a:lnTo>
                  <a:pt x="12764" y="21600"/>
                </a:lnTo>
                <a:cubicBezTo>
                  <a:pt x="13848" y="21600"/>
                  <a:pt x="14727" y="20219"/>
                  <a:pt x="14727" y="18514"/>
                </a:cubicBezTo>
                <a:lnTo>
                  <a:pt x="14727" y="3086"/>
                </a:lnTo>
                <a:cubicBezTo>
                  <a:pt x="14727" y="1382"/>
                  <a:pt x="13848" y="0"/>
                  <a:pt x="12764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1" name="Shape 2643"/>
          <p:cNvSpPr/>
          <p:nvPr/>
        </p:nvSpPr>
        <p:spPr>
          <a:xfrm>
            <a:off x="9443949" y="7424733"/>
            <a:ext cx="360249" cy="6604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2" name="Shape 2644"/>
          <p:cNvSpPr/>
          <p:nvPr/>
        </p:nvSpPr>
        <p:spPr>
          <a:xfrm>
            <a:off x="9383905" y="9607721"/>
            <a:ext cx="480331" cy="6604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4" y="20618"/>
                  <a:pt x="1350" y="20179"/>
                  <a:pt x="1350" y="19636"/>
                </a:cubicBezTo>
                <a:lnTo>
                  <a:pt x="1350" y="1964"/>
                </a:lnTo>
                <a:cubicBezTo>
                  <a:pt x="1350" y="1422"/>
                  <a:pt x="1954" y="982"/>
                  <a:pt x="2700" y="982"/>
                </a:cubicBezTo>
                <a:lnTo>
                  <a:pt x="18900" y="982"/>
                </a:lnTo>
                <a:cubicBezTo>
                  <a:pt x="19645" y="982"/>
                  <a:pt x="20250" y="1422"/>
                  <a:pt x="20250" y="1964"/>
                </a:cubicBezTo>
                <a:cubicBezTo>
                  <a:pt x="20250" y="1964"/>
                  <a:pt x="20250" y="19636"/>
                  <a:pt x="20250" y="19636"/>
                </a:cubicBezTo>
                <a:close/>
                <a:moveTo>
                  <a:pt x="18900" y="0"/>
                </a:moveTo>
                <a:lnTo>
                  <a:pt x="2700" y="0"/>
                </a:lnTo>
                <a:cubicBezTo>
                  <a:pt x="120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391" y="0"/>
                  <a:pt x="18900" y="0"/>
                </a:cubicBezTo>
                <a:moveTo>
                  <a:pt x="4050" y="3927"/>
                </a:moveTo>
                <a:lnTo>
                  <a:pt x="17550" y="3927"/>
                </a:lnTo>
                <a:lnTo>
                  <a:pt x="17550" y="17673"/>
                </a:lnTo>
                <a:lnTo>
                  <a:pt x="4050" y="17673"/>
                </a:lnTo>
                <a:cubicBezTo>
                  <a:pt x="4050" y="17673"/>
                  <a:pt x="4050" y="3927"/>
                  <a:pt x="4050" y="3927"/>
                </a:cubicBezTo>
                <a:close/>
                <a:moveTo>
                  <a:pt x="2700" y="18655"/>
                </a:moveTo>
                <a:lnTo>
                  <a:pt x="18900" y="18655"/>
                </a:lnTo>
                <a:lnTo>
                  <a:pt x="18900" y="2945"/>
                </a:lnTo>
                <a:lnTo>
                  <a:pt x="2700" y="2945"/>
                </a:lnTo>
                <a:cubicBezTo>
                  <a:pt x="2700" y="2945"/>
                  <a:pt x="2700" y="18655"/>
                  <a:pt x="2700" y="18655"/>
                </a:cubicBezTo>
                <a:close/>
                <a:moveTo>
                  <a:pt x="10125" y="2455"/>
                </a:moveTo>
                <a:lnTo>
                  <a:pt x="11475" y="2455"/>
                </a:lnTo>
                <a:cubicBezTo>
                  <a:pt x="11848" y="2455"/>
                  <a:pt x="12150" y="2235"/>
                  <a:pt x="12150" y="1964"/>
                </a:cubicBezTo>
                <a:cubicBezTo>
                  <a:pt x="12150" y="1692"/>
                  <a:pt x="11848" y="1473"/>
                  <a:pt x="11475" y="1473"/>
                </a:cubicBezTo>
                <a:lnTo>
                  <a:pt x="10125" y="1473"/>
                </a:lnTo>
                <a:cubicBezTo>
                  <a:pt x="9752" y="1473"/>
                  <a:pt x="9450" y="1692"/>
                  <a:pt x="9450" y="1964"/>
                </a:cubicBezTo>
                <a:cubicBezTo>
                  <a:pt x="9450" y="2235"/>
                  <a:pt x="9752" y="2455"/>
                  <a:pt x="10125" y="2455"/>
                </a:cubicBezTo>
                <a:moveTo>
                  <a:pt x="10800" y="19145"/>
                </a:moveTo>
                <a:cubicBezTo>
                  <a:pt x="10427" y="19145"/>
                  <a:pt x="10125" y="19366"/>
                  <a:pt x="10125" y="19636"/>
                </a:cubicBezTo>
                <a:cubicBezTo>
                  <a:pt x="10125" y="19908"/>
                  <a:pt x="10427" y="20127"/>
                  <a:pt x="10800" y="20127"/>
                </a:cubicBezTo>
                <a:cubicBezTo>
                  <a:pt x="11173" y="20127"/>
                  <a:pt x="11475" y="19908"/>
                  <a:pt x="11475" y="19636"/>
                </a:cubicBezTo>
                <a:cubicBezTo>
                  <a:pt x="11475" y="19366"/>
                  <a:pt x="11173" y="19145"/>
                  <a:pt x="10800" y="191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3" name="Shape 2688"/>
          <p:cNvSpPr/>
          <p:nvPr/>
        </p:nvSpPr>
        <p:spPr>
          <a:xfrm>
            <a:off x="16342070" y="742473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309"/>
                </a:moveTo>
                <a:cubicBezTo>
                  <a:pt x="20618" y="10851"/>
                  <a:pt x="20178" y="11291"/>
                  <a:pt x="19636" y="11291"/>
                </a:cubicBezTo>
                <a:lnTo>
                  <a:pt x="19636" y="7364"/>
                </a:lnTo>
                <a:cubicBezTo>
                  <a:pt x="20178" y="7364"/>
                  <a:pt x="20618" y="7804"/>
                  <a:pt x="20618" y="8345"/>
                </a:cubicBezTo>
                <a:cubicBezTo>
                  <a:pt x="20618" y="8345"/>
                  <a:pt x="20618" y="10309"/>
                  <a:pt x="20618" y="10309"/>
                </a:cubicBezTo>
                <a:close/>
                <a:moveTo>
                  <a:pt x="18655" y="17182"/>
                </a:moveTo>
                <a:cubicBezTo>
                  <a:pt x="18655" y="17453"/>
                  <a:pt x="18434" y="17673"/>
                  <a:pt x="18164" y="17673"/>
                </a:cubicBezTo>
                <a:cubicBezTo>
                  <a:pt x="17893" y="17673"/>
                  <a:pt x="17673" y="17453"/>
                  <a:pt x="17673" y="17182"/>
                </a:cubicBezTo>
                <a:lnTo>
                  <a:pt x="17673" y="1473"/>
                </a:lnTo>
                <a:cubicBezTo>
                  <a:pt x="17673" y="1202"/>
                  <a:pt x="17893" y="982"/>
                  <a:pt x="18164" y="982"/>
                </a:cubicBezTo>
                <a:cubicBezTo>
                  <a:pt x="18434" y="982"/>
                  <a:pt x="18655" y="1202"/>
                  <a:pt x="18655" y="1473"/>
                </a:cubicBezTo>
                <a:cubicBezTo>
                  <a:pt x="18655" y="1473"/>
                  <a:pt x="18655" y="17182"/>
                  <a:pt x="18655" y="17182"/>
                </a:cubicBezTo>
                <a:close/>
                <a:moveTo>
                  <a:pt x="16691" y="15788"/>
                </a:moveTo>
                <a:lnTo>
                  <a:pt x="2945" y="11745"/>
                </a:lnTo>
                <a:lnTo>
                  <a:pt x="2945" y="6910"/>
                </a:lnTo>
                <a:lnTo>
                  <a:pt x="16691" y="2867"/>
                </a:lnTo>
                <a:cubicBezTo>
                  <a:pt x="16691" y="2867"/>
                  <a:pt x="16691" y="15788"/>
                  <a:pt x="16691" y="15788"/>
                </a:cubicBezTo>
                <a:close/>
                <a:moveTo>
                  <a:pt x="8251" y="18655"/>
                </a:moveTo>
                <a:lnTo>
                  <a:pt x="5357" y="18655"/>
                </a:lnTo>
                <a:lnTo>
                  <a:pt x="4126" y="13116"/>
                </a:lnTo>
                <a:lnTo>
                  <a:pt x="7167" y="14010"/>
                </a:lnTo>
                <a:cubicBezTo>
                  <a:pt x="7167" y="14010"/>
                  <a:pt x="8251" y="18655"/>
                  <a:pt x="8251" y="18655"/>
                </a:cubicBezTo>
                <a:close/>
                <a:moveTo>
                  <a:pt x="8709" y="20618"/>
                </a:moveTo>
                <a:lnTo>
                  <a:pt x="5794" y="20618"/>
                </a:lnTo>
                <a:lnTo>
                  <a:pt x="5576" y="19636"/>
                </a:lnTo>
                <a:lnTo>
                  <a:pt x="8479" y="19636"/>
                </a:lnTo>
                <a:cubicBezTo>
                  <a:pt x="8479" y="19636"/>
                  <a:pt x="8709" y="20618"/>
                  <a:pt x="8709" y="20618"/>
                </a:cubicBezTo>
                <a:close/>
                <a:moveTo>
                  <a:pt x="1964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1964" y="6873"/>
                </a:lnTo>
                <a:cubicBezTo>
                  <a:pt x="1964" y="6873"/>
                  <a:pt x="1964" y="11782"/>
                  <a:pt x="1964" y="11782"/>
                </a:cubicBezTo>
                <a:close/>
                <a:moveTo>
                  <a:pt x="19636" y="6382"/>
                </a:moveTo>
                <a:lnTo>
                  <a:pt x="19636" y="1473"/>
                </a:lnTo>
                <a:cubicBezTo>
                  <a:pt x="19636" y="659"/>
                  <a:pt x="18977" y="0"/>
                  <a:pt x="18164" y="0"/>
                </a:cubicBezTo>
                <a:cubicBezTo>
                  <a:pt x="17350" y="0"/>
                  <a:pt x="16691" y="659"/>
                  <a:pt x="16691" y="1473"/>
                </a:cubicBezTo>
                <a:lnTo>
                  <a:pt x="16691" y="1844"/>
                </a:lnTo>
                <a:lnTo>
                  <a:pt x="2459" y="6029"/>
                </a:lnTo>
                <a:cubicBezTo>
                  <a:pt x="2313" y="5944"/>
                  <a:pt x="2145" y="5891"/>
                  <a:pt x="1964" y="5891"/>
                </a:cubicBez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11782"/>
                </a:lnTo>
                <a:cubicBezTo>
                  <a:pt x="0" y="12324"/>
                  <a:pt x="440" y="12764"/>
                  <a:pt x="982" y="12764"/>
                </a:cubicBezTo>
                <a:lnTo>
                  <a:pt x="1964" y="12764"/>
                </a:lnTo>
                <a:cubicBezTo>
                  <a:pt x="2145" y="12764"/>
                  <a:pt x="2313" y="12711"/>
                  <a:pt x="2458" y="12626"/>
                </a:cubicBezTo>
                <a:lnTo>
                  <a:pt x="3050" y="12799"/>
                </a:lnTo>
                <a:lnTo>
                  <a:pt x="4921" y="21216"/>
                </a:lnTo>
                <a:lnTo>
                  <a:pt x="4930" y="21214"/>
                </a:lnTo>
                <a:cubicBezTo>
                  <a:pt x="4979" y="21433"/>
                  <a:pt x="5166" y="21600"/>
                  <a:pt x="5400" y="21600"/>
                </a:cubicBezTo>
                <a:lnTo>
                  <a:pt x="9327" y="21600"/>
                </a:lnTo>
                <a:cubicBezTo>
                  <a:pt x="9598" y="21600"/>
                  <a:pt x="9818" y="21381"/>
                  <a:pt x="9818" y="21109"/>
                </a:cubicBezTo>
                <a:cubicBezTo>
                  <a:pt x="9818" y="21072"/>
                  <a:pt x="9805" y="21039"/>
                  <a:pt x="9797" y="21005"/>
                </a:cubicBezTo>
                <a:lnTo>
                  <a:pt x="9806" y="21003"/>
                </a:lnTo>
                <a:lnTo>
                  <a:pt x="8249" y="14329"/>
                </a:lnTo>
                <a:lnTo>
                  <a:pt x="16691" y="16811"/>
                </a:lnTo>
                <a:lnTo>
                  <a:pt x="16691" y="17182"/>
                </a:lnTo>
                <a:cubicBezTo>
                  <a:pt x="16691" y="17995"/>
                  <a:pt x="17350" y="18655"/>
                  <a:pt x="18164" y="18655"/>
                </a:cubicBezTo>
                <a:cubicBezTo>
                  <a:pt x="18977" y="18655"/>
                  <a:pt x="19636" y="17995"/>
                  <a:pt x="19636" y="17182"/>
                </a:cubicBezTo>
                <a:lnTo>
                  <a:pt x="19636" y="12273"/>
                </a:lnTo>
                <a:cubicBezTo>
                  <a:pt x="20721" y="12273"/>
                  <a:pt x="21600" y="11394"/>
                  <a:pt x="21600" y="10309"/>
                </a:cubicBezTo>
                <a:lnTo>
                  <a:pt x="21600" y="8345"/>
                </a:lnTo>
                <a:cubicBezTo>
                  <a:pt x="21600" y="7261"/>
                  <a:pt x="20721" y="6382"/>
                  <a:pt x="19636" y="63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4" name="Shape 2724"/>
          <p:cNvSpPr>
            <a:spLocks noChangeAspect="1"/>
          </p:cNvSpPr>
          <p:nvPr/>
        </p:nvSpPr>
        <p:spPr>
          <a:xfrm>
            <a:off x="16342069" y="5350959"/>
            <a:ext cx="557784" cy="5577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5709"/>
                </a:moveTo>
                <a:lnTo>
                  <a:pt x="5891" y="15709"/>
                </a:lnTo>
                <a:lnTo>
                  <a:pt x="5891" y="11782"/>
                </a:lnTo>
                <a:lnTo>
                  <a:pt x="15709" y="11782"/>
                </a:lnTo>
                <a:cubicBezTo>
                  <a:pt x="15709" y="11782"/>
                  <a:pt x="15709" y="15709"/>
                  <a:pt x="15709" y="15709"/>
                </a:cubicBezTo>
                <a:close/>
                <a:moveTo>
                  <a:pt x="16691" y="10800"/>
                </a:moveTo>
                <a:lnTo>
                  <a:pt x="4909" y="10800"/>
                </a:lnTo>
                <a:lnTo>
                  <a:pt x="4909" y="16691"/>
                </a:lnTo>
                <a:lnTo>
                  <a:pt x="16691" y="16691"/>
                </a:lnTo>
                <a:cubicBezTo>
                  <a:pt x="16691" y="16691"/>
                  <a:pt x="16691" y="10800"/>
                  <a:pt x="16691" y="10800"/>
                </a:cubicBezTo>
                <a:close/>
                <a:moveTo>
                  <a:pt x="11782" y="13745"/>
                </a:moveTo>
                <a:lnTo>
                  <a:pt x="9818" y="13745"/>
                </a:lnTo>
                <a:lnTo>
                  <a:pt x="9818" y="14727"/>
                </a:lnTo>
                <a:lnTo>
                  <a:pt x="11782" y="14727"/>
                </a:lnTo>
                <a:cubicBezTo>
                  <a:pt x="11782" y="14727"/>
                  <a:pt x="11782" y="13745"/>
                  <a:pt x="11782" y="13745"/>
                </a:cubicBezTo>
                <a:close/>
                <a:moveTo>
                  <a:pt x="18655" y="17673"/>
                </a:moveTo>
                <a:cubicBezTo>
                  <a:pt x="18655" y="18214"/>
                  <a:pt x="18214" y="18655"/>
                  <a:pt x="17673" y="18655"/>
                </a:cubicBezTo>
                <a:lnTo>
                  <a:pt x="3927" y="18655"/>
                </a:lnTo>
                <a:cubicBezTo>
                  <a:pt x="3385" y="18655"/>
                  <a:pt x="2945" y="18214"/>
                  <a:pt x="2945" y="17673"/>
                </a:cubicBezTo>
                <a:lnTo>
                  <a:pt x="2945" y="982"/>
                </a:lnTo>
                <a:lnTo>
                  <a:pt x="18655" y="982"/>
                </a:lnTo>
                <a:cubicBezTo>
                  <a:pt x="18655" y="982"/>
                  <a:pt x="18655" y="17673"/>
                  <a:pt x="18655" y="17673"/>
                </a:cubicBezTo>
                <a:close/>
                <a:moveTo>
                  <a:pt x="21109" y="0"/>
                </a:moveTo>
                <a:lnTo>
                  <a:pt x="491" y="0"/>
                </a:ln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lnTo>
                  <a:pt x="1964" y="982"/>
                </a:lnTo>
                <a:lnTo>
                  <a:pt x="1964" y="17673"/>
                </a:lnTo>
                <a:cubicBezTo>
                  <a:pt x="1964" y="18757"/>
                  <a:pt x="2843" y="19636"/>
                  <a:pt x="3927" y="19636"/>
                </a:cubicBezTo>
                <a:lnTo>
                  <a:pt x="4909" y="19636"/>
                </a:lnTo>
                <a:lnTo>
                  <a:pt x="4909" y="21109"/>
                </a:lnTo>
                <a:cubicBezTo>
                  <a:pt x="4909" y="21380"/>
                  <a:pt x="5129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9636"/>
                </a:lnTo>
                <a:lnTo>
                  <a:pt x="15709" y="19636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lnTo>
                  <a:pt x="16691" y="19636"/>
                </a:lnTo>
                <a:lnTo>
                  <a:pt x="17673" y="19636"/>
                </a:lnTo>
                <a:cubicBezTo>
                  <a:pt x="18757" y="19636"/>
                  <a:pt x="19636" y="18757"/>
                  <a:pt x="19636" y="17673"/>
                </a:cubicBezTo>
                <a:lnTo>
                  <a:pt x="19636" y="982"/>
                </a:lnTo>
                <a:lnTo>
                  <a:pt x="21109" y="982"/>
                </a:lnTo>
                <a:cubicBezTo>
                  <a:pt x="21380" y="982"/>
                  <a:pt x="21600" y="762"/>
                  <a:pt x="21600" y="491"/>
                </a:cubicBezTo>
                <a:cubicBezTo>
                  <a:pt x="21600" y="220"/>
                  <a:pt x="21380" y="0"/>
                  <a:pt x="21109" y="0"/>
                </a:cubicBezTo>
                <a:moveTo>
                  <a:pt x="11782" y="5891"/>
                </a:moveTo>
                <a:lnTo>
                  <a:pt x="9818" y="5891"/>
                </a:lnTo>
                <a:lnTo>
                  <a:pt x="9818" y="6873"/>
                </a:lnTo>
                <a:lnTo>
                  <a:pt x="11782" y="6873"/>
                </a:lnTo>
                <a:cubicBezTo>
                  <a:pt x="11782" y="6873"/>
                  <a:pt x="11782" y="5891"/>
                  <a:pt x="11782" y="5891"/>
                </a:cubicBezTo>
                <a:close/>
                <a:moveTo>
                  <a:pt x="15709" y="7855"/>
                </a:moveTo>
                <a:lnTo>
                  <a:pt x="5891" y="7855"/>
                </a:lnTo>
                <a:lnTo>
                  <a:pt x="5891" y="3927"/>
                </a:lnTo>
                <a:lnTo>
                  <a:pt x="15709" y="3927"/>
                </a:lnTo>
                <a:cubicBezTo>
                  <a:pt x="15709" y="3927"/>
                  <a:pt x="15709" y="7855"/>
                  <a:pt x="15709" y="7855"/>
                </a:cubicBezTo>
                <a:close/>
                <a:moveTo>
                  <a:pt x="16691" y="2945"/>
                </a:moveTo>
                <a:lnTo>
                  <a:pt x="4909" y="2945"/>
                </a:lnTo>
                <a:lnTo>
                  <a:pt x="4909" y="8836"/>
                </a:lnTo>
                <a:lnTo>
                  <a:pt x="16691" y="8836"/>
                </a:lnTo>
                <a:cubicBezTo>
                  <a:pt x="16691" y="8836"/>
                  <a:pt x="16691" y="2945"/>
                  <a:pt x="16691" y="294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5" name="Shape 2748"/>
          <p:cNvSpPr/>
          <p:nvPr/>
        </p:nvSpPr>
        <p:spPr>
          <a:xfrm>
            <a:off x="16341200" y="9605786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8280" y="18579"/>
                </a:moveTo>
                <a:cubicBezTo>
                  <a:pt x="20323" y="16614"/>
                  <a:pt x="21600" y="13859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ubicBezTo>
                  <a:pt x="4836" y="0"/>
                  <a:pt x="0" y="4835"/>
                  <a:pt x="0" y="10800"/>
                </a:cubicBezTo>
                <a:cubicBezTo>
                  <a:pt x="0" y="13859"/>
                  <a:pt x="1277" y="16614"/>
                  <a:pt x="3320" y="18579"/>
                </a:cubicBezTo>
                <a:lnTo>
                  <a:pt x="2107" y="20762"/>
                </a:lnTo>
                <a:cubicBezTo>
                  <a:pt x="2019" y="20851"/>
                  <a:pt x="1964" y="20974"/>
                  <a:pt x="1964" y="21109"/>
                </a:cubicBezTo>
                <a:cubicBezTo>
                  <a:pt x="1964" y="21380"/>
                  <a:pt x="2184" y="21600"/>
                  <a:pt x="2455" y="21600"/>
                </a:cubicBezTo>
                <a:cubicBezTo>
                  <a:pt x="2590" y="21600"/>
                  <a:pt x="2713" y="21545"/>
                  <a:pt x="2802" y="21456"/>
                </a:cubicBezTo>
                <a:cubicBezTo>
                  <a:pt x="2858" y="21400"/>
                  <a:pt x="2894" y="21327"/>
                  <a:pt x="2917" y="21248"/>
                </a:cubicBezTo>
                <a:lnTo>
                  <a:pt x="4044" y="19219"/>
                </a:lnTo>
                <a:cubicBezTo>
                  <a:pt x="5895" y="20706"/>
                  <a:pt x="8242" y="21600"/>
                  <a:pt x="10800" y="21600"/>
                </a:cubicBezTo>
                <a:cubicBezTo>
                  <a:pt x="13358" y="21600"/>
                  <a:pt x="15705" y="20706"/>
                  <a:pt x="17555" y="19219"/>
                </a:cubicBezTo>
                <a:lnTo>
                  <a:pt x="18683" y="21248"/>
                </a:lnTo>
                <a:cubicBezTo>
                  <a:pt x="18743" y="21450"/>
                  <a:pt x="18923" y="21600"/>
                  <a:pt x="19145" y="21600"/>
                </a:cubicBezTo>
                <a:cubicBezTo>
                  <a:pt x="19416" y="21600"/>
                  <a:pt x="19636" y="21380"/>
                  <a:pt x="19636" y="21109"/>
                </a:cubicBezTo>
                <a:cubicBezTo>
                  <a:pt x="19636" y="20974"/>
                  <a:pt x="19581" y="20851"/>
                  <a:pt x="19493" y="20762"/>
                </a:cubicBezTo>
                <a:cubicBezTo>
                  <a:pt x="19493" y="20762"/>
                  <a:pt x="18280" y="18579"/>
                  <a:pt x="18280" y="18579"/>
                </a:cubicBezTo>
                <a:close/>
                <a:moveTo>
                  <a:pt x="10800" y="16691"/>
                </a:moveTo>
                <a:cubicBezTo>
                  <a:pt x="7547" y="16691"/>
                  <a:pt x="4909" y="14053"/>
                  <a:pt x="4909" y="10800"/>
                </a:cubicBezTo>
                <a:cubicBezTo>
                  <a:pt x="4909" y="7547"/>
                  <a:pt x="7547" y="4909"/>
                  <a:pt x="10800" y="4909"/>
                </a:cubicBezTo>
                <a:cubicBezTo>
                  <a:pt x="14053" y="4909"/>
                  <a:pt x="16691" y="7547"/>
                  <a:pt x="16691" y="10800"/>
                </a:cubicBezTo>
                <a:cubicBezTo>
                  <a:pt x="16691" y="14053"/>
                  <a:pt x="14053" y="16691"/>
                  <a:pt x="10800" y="16691"/>
                </a:cubicBezTo>
                <a:moveTo>
                  <a:pt x="10800" y="3927"/>
                </a:moveTo>
                <a:cubicBezTo>
                  <a:pt x="7004" y="3927"/>
                  <a:pt x="3927" y="7004"/>
                  <a:pt x="3927" y="10800"/>
                </a:cubicBezTo>
                <a:cubicBezTo>
                  <a:pt x="3927" y="14596"/>
                  <a:pt x="7004" y="17673"/>
                  <a:pt x="10800" y="17673"/>
                </a:cubicBezTo>
                <a:cubicBezTo>
                  <a:pt x="14596" y="17673"/>
                  <a:pt x="17673" y="14596"/>
                  <a:pt x="17673" y="10800"/>
                </a:cubicBezTo>
                <a:cubicBezTo>
                  <a:pt x="17673" y="7004"/>
                  <a:pt x="14596" y="3927"/>
                  <a:pt x="10800" y="3927"/>
                </a:cubicBezTo>
                <a:moveTo>
                  <a:pt x="10800" y="12764"/>
                </a:move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moveTo>
                  <a:pt x="10800" y="7855"/>
                </a:moveTo>
                <a:cubicBezTo>
                  <a:pt x="9173" y="7855"/>
                  <a:pt x="7855" y="9173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9173"/>
                  <a:pt x="12427" y="7855"/>
                  <a:pt x="10800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193317" y="5238104"/>
            <a:ext cx="27505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Service Name</a:t>
            </a:r>
            <a:endParaRPr lang="en-US" sz="4000" dirty="0">
              <a:solidFill>
                <a:schemeClr val="tx2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193318" y="5854748"/>
            <a:ext cx="36567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venir Medium"/>
                <a:ea typeface="Avenir Book" charset="0"/>
                <a:cs typeface="Avenir Book" charset="0"/>
              </a:rPr>
              <a:t>A telegraph wire, or a strand of cobweb, it is all the same. Likewise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193317" y="7392783"/>
            <a:ext cx="27505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Service Name</a:t>
            </a:r>
            <a:endParaRPr lang="en-US" sz="4000" dirty="0">
              <a:solidFill>
                <a:schemeClr val="tx2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193318" y="8009427"/>
            <a:ext cx="36567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venir Medium"/>
                <a:ea typeface="Avenir Book" charset="0"/>
                <a:cs typeface="Avenir Book" charset="0"/>
              </a:rPr>
              <a:t>A telegraph wire, or a strand of cobweb, it is all the same. Likewise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193317" y="9547795"/>
            <a:ext cx="27505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Service Name</a:t>
            </a:r>
            <a:endParaRPr lang="en-US" sz="4000" dirty="0">
              <a:solidFill>
                <a:schemeClr val="tx2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193318" y="10164440"/>
            <a:ext cx="36567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venir Medium"/>
                <a:ea typeface="Avenir Book" charset="0"/>
                <a:cs typeface="Avenir Book" charset="0"/>
              </a:rPr>
              <a:t>A telegraph wire, or a strand of cobweb, it is all the same. Likewise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0393638" y="5238104"/>
            <a:ext cx="27505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Service Name</a:t>
            </a:r>
            <a:endParaRPr lang="en-US" sz="4000" dirty="0">
              <a:solidFill>
                <a:schemeClr val="tx2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393639" y="5854748"/>
            <a:ext cx="36567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venir Medium"/>
                <a:ea typeface="Avenir Book" charset="0"/>
                <a:cs typeface="Avenir Book" charset="0"/>
              </a:rPr>
              <a:t>A telegraph wire, or a strand of cobweb, it is all the same. Likewise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0393638" y="7392783"/>
            <a:ext cx="27505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Service Name</a:t>
            </a:r>
            <a:endParaRPr lang="en-US" sz="4000" dirty="0">
              <a:solidFill>
                <a:schemeClr val="tx2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0393639" y="8009427"/>
            <a:ext cx="36567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venir Medium"/>
                <a:ea typeface="Avenir Book" charset="0"/>
                <a:cs typeface="Avenir Book" charset="0"/>
              </a:rPr>
              <a:t>A telegraph wire, or a strand of cobweb, it is all the same. Likewise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10393638" y="9547795"/>
            <a:ext cx="27505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Service Name</a:t>
            </a:r>
            <a:endParaRPr lang="en-US" sz="4000" dirty="0">
              <a:solidFill>
                <a:schemeClr val="tx2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393639" y="10164440"/>
            <a:ext cx="36567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venir Medium"/>
                <a:ea typeface="Avenir Book" charset="0"/>
                <a:cs typeface="Avenir Book" charset="0"/>
              </a:rPr>
              <a:t>A telegraph wire, or a strand of cobweb, it is all the same. Likewise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17335875" y="5238104"/>
            <a:ext cx="27505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Service Name</a:t>
            </a:r>
            <a:endParaRPr lang="en-US" sz="4000" dirty="0">
              <a:solidFill>
                <a:schemeClr val="tx2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7335876" y="5854748"/>
            <a:ext cx="36567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venir Medium"/>
                <a:ea typeface="Avenir Book" charset="0"/>
                <a:cs typeface="Avenir Book" charset="0"/>
              </a:rPr>
              <a:t>A telegraph wire, or a strand of cobweb, it is all the same. Likewise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17335875" y="7392783"/>
            <a:ext cx="27505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Service Name</a:t>
            </a:r>
            <a:endParaRPr lang="en-US" sz="4000" dirty="0">
              <a:solidFill>
                <a:schemeClr val="tx2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7335876" y="8009427"/>
            <a:ext cx="36567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venir Medium"/>
                <a:ea typeface="Avenir Book" charset="0"/>
                <a:cs typeface="Avenir Book" charset="0"/>
              </a:rPr>
              <a:t>A telegraph wire, or a strand of cobweb, it is all the same. Likewise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17335875" y="9547795"/>
            <a:ext cx="27505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venir Medium"/>
                <a:ea typeface="Avenir Book" charset="0"/>
                <a:cs typeface="Avenir Book" charset="0"/>
              </a:rPr>
              <a:t>Service Name</a:t>
            </a:r>
            <a:endParaRPr lang="en-US" sz="4000" dirty="0">
              <a:solidFill>
                <a:schemeClr val="tx2"/>
              </a:solidFill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17335876" y="10164440"/>
            <a:ext cx="36567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venir Medium"/>
                <a:ea typeface="Avenir Book" charset="0"/>
                <a:cs typeface="Avenir Book" charset="0"/>
              </a:rPr>
              <a:t>A telegraph wire, or a strand of cobweb, it is all the same. Likewis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495A329-D466-45CA-8A73-E333755F97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Icon List Smal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6715256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/>
          <p:cNvSpPr txBox="1"/>
          <p:nvPr/>
        </p:nvSpPr>
        <p:spPr>
          <a:xfrm>
            <a:off x="3674145" y="3991525"/>
            <a:ext cx="2823868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00" spc="600" dirty="0">
                <a:latin typeface="Avenir Book" charset="0"/>
                <a:ea typeface="Avenir Book" charset="0"/>
                <a:cs typeface="Avenir Book" charset="0"/>
              </a:rPr>
              <a:t>“</a:t>
            </a:r>
            <a:endParaRPr lang="en-US" sz="49600" spc="600" dirty="0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0847228" y="3991525"/>
            <a:ext cx="2823868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00" spc="600">
                <a:latin typeface="Avenir Book" charset="0"/>
                <a:ea typeface="Avenir Book" charset="0"/>
                <a:cs typeface="Avenir Book" charset="0"/>
              </a:rPr>
              <a:t>“</a:t>
            </a:r>
            <a:endParaRPr lang="en-US" sz="49600" spc="600" dirty="0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8020311" y="3991525"/>
            <a:ext cx="2823868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00" spc="600" dirty="0">
                <a:latin typeface="Avenir Book" charset="0"/>
                <a:ea typeface="Avenir Book" charset="0"/>
                <a:cs typeface="Avenir Book" charset="0"/>
              </a:rPr>
              <a:t>“</a:t>
            </a:r>
            <a:endParaRPr lang="en-US" sz="49600" spc="600" dirty="0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511531" y="5876657"/>
            <a:ext cx="514909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latin typeface="Avenir Book" charset="0"/>
                <a:ea typeface="Avenir Book" charset="0"/>
                <a:cs typeface="Avenir Book" charset="0"/>
              </a:rPr>
              <a:t>A company is an association or collection of individuals, whether natural persons, legal persons, or a mixture of both. Company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9722713" y="5876657"/>
            <a:ext cx="514909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latin typeface="Avenir Book" charset="0"/>
                <a:ea typeface="Avenir Book" charset="0"/>
                <a:cs typeface="Avenir Book" charset="0"/>
              </a:rPr>
              <a:t>A company is an association or collection of individuals, whether natural persons, legal persons, or a mixture of both. Company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6812245" y="5876657"/>
            <a:ext cx="514909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latin typeface="Avenir Book" charset="0"/>
                <a:ea typeface="Avenir Book" charset="0"/>
                <a:cs typeface="Avenir Book" charset="0"/>
              </a:rPr>
              <a:t>A company is an association or collection of individuals, whether natural persons, legal persons, or a mixture of both. Company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051176" y="2904725"/>
            <a:ext cx="2229936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Book" charset="0"/>
                <a:ea typeface="Avenir Book" charset="0"/>
                <a:cs typeface="Avenir Book" charset="0"/>
              </a:rPr>
              <a:t>First: What is a Fast-Fish? Alive or dead a fish is technically fast, when it is connected with an occupied ship or boat, by any medium at all controllable by the occupant or occupants,—a mast, an oar, a nine-inch cable, a telegraph wire, or a strand of cobweb, it is all th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175010" y="10803636"/>
            <a:ext cx="3822138" cy="1261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latin typeface="Avenir Book" charset="0"/>
                <a:ea typeface="Avenir Book" charset="0"/>
                <a:cs typeface="Avenir Book" charset="0"/>
              </a:rPr>
              <a:t>Mark Doe</a:t>
            </a:r>
          </a:p>
          <a:p>
            <a:pPr algn="ctr"/>
            <a:r>
              <a:rPr lang="en-US" sz="2399" dirty="0">
                <a:latin typeface="Avenir Book" charset="0"/>
                <a:ea typeface="Avenir Book" charset="0"/>
                <a:cs typeface="Avenir Book" charset="0"/>
              </a:rPr>
              <a:t>Facebook Company</a:t>
            </a:r>
          </a:p>
          <a:p>
            <a:pPr algn="ctr"/>
            <a:r>
              <a:rPr lang="en-US" sz="2399" dirty="0">
                <a:latin typeface="Avenir Book" charset="0"/>
                <a:ea typeface="Avenir Book" charset="0"/>
                <a:cs typeface="Avenir Book" charset="0"/>
              </a:rPr>
              <a:t>CEO &amp; Founder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277756" y="10803636"/>
            <a:ext cx="3822138" cy="1261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latin typeface="Avenir Book" charset="0"/>
                <a:ea typeface="Avenir Book" charset="0"/>
                <a:cs typeface="Avenir Book" charset="0"/>
              </a:rPr>
              <a:t>Mark Doe</a:t>
            </a:r>
          </a:p>
          <a:p>
            <a:pPr algn="ctr"/>
            <a:r>
              <a:rPr lang="en-US" sz="2399" dirty="0">
                <a:latin typeface="Avenir Book" charset="0"/>
                <a:ea typeface="Avenir Book" charset="0"/>
                <a:cs typeface="Avenir Book" charset="0"/>
              </a:rPr>
              <a:t>Facebook Company</a:t>
            </a:r>
          </a:p>
          <a:p>
            <a:pPr algn="ctr"/>
            <a:r>
              <a:rPr lang="en-US" sz="2399" dirty="0">
                <a:latin typeface="Avenir Book" charset="0"/>
                <a:ea typeface="Avenir Book" charset="0"/>
                <a:cs typeface="Avenir Book" charset="0"/>
              </a:rPr>
              <a:t>CEO &amp; Found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7475724" y="10803636"/>
            <a:ext cx="3822138" cy="1261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latin typeface="Avenir Book" charset="0"/>
                <a:ea typeface="Avenir Book" charset="0"/>
                <a:cs typeface="Avenir Book" charset="0"/>
              </a:rPr>
              <a:t>Mark Doe</a:t>
            </a:r>
          </a:p>
          <a:p>
            <a:pPr algn="ctr"/>
            <a:r>
              <a:rPr lang="en-US" sz="2399" dirty="0">
                <a:latin typeface="Avenir Book" charset="0"/>
                <a:ea typeface="Avenir Book" charset="0"/>
                <a:cs typeface="Avenir Book" charset="0"/>
              </a:rPr>
              <a:t>Facebook Company</a:t>
            </a:r>
          </a:p>
          <a:p>
            <a:pPr algn="ctr"/>
            <a:r>
              <a:rPr lang="en-US" sz="2399" dirty="0">
                <a:latin typeface="Avenir Book" charset="0"/>
                <a:ea typeface="Avenir Book" charset="0"/>
                <a:cs typeface="Avenir Book" charset="0"/>
              </a:rPr>
              <a:t>CEO &amp; Founder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CF10D62-D4A6-4639-A52C-8709A52A1D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C56BEB9-98F5-4AF9-8673-0A56B3D2544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644DF85F-6E27-4021-A3B8-333D6D88BE2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0A58C49-BFEB-4A65-B43B-2DA8D7BEE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Avenir Medium" charset="0"/>
                <a:ea typeface="Avenir Medium" charset="0"/>
                <a:cs typeface="Avenir Medium" charset="0"/>
              </a:rPr>
              <a:t>Quotes and Person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7321791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14117416" y="1743030"/>
            <a:ext cx="7256302" cy="10990384"/>
            <a:chOff x="2061488" y="1447800"/>
            <a:chExt cx="8719171" cy="13206046"/>
          </a:xfrm>
        </p:grpSpPr>
        <p:pic>
          <p:nvPicPr>
            <p:cNvPr id="19" name="Mini-iPad-B&amp;W-Mockup.png"/>
            <p:cNvPicPr/>
            <p:nvPr/>
          </p:nvPicPr>
          <p:blipFill rotWithShape="1">
            <a:blip r:embed="rId2">
              <a:extLst/>
            </a:blip>
            <a:srcRect t="-1" b="-2200"/>
            <a:stretch/>
          </p:blipFill>
          <p:spPr>
            <a:xfrm>
              <a:off x="2061488" y="1447800"/>
              <a:ext cx="8719171" cy="1320604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20" name="Shape 1101"/>
            <p:cNvSpPr/>
            <p:nvPr/>
          </p:nvSpPr>
          <p:spPr>
            <a:xfrm>
              <a:off x="2541780" y="2710170"/>
              <a:ext cx="7777043" cy="10396230"/>
            </a:xfrm>
            <a:prstGeom prst="rect">
              <a:avLst/>
            </a:prstGeom>
            <a:solidFill>
              <a:srgbClr val="606060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584219">
                <a:defRPr sz="4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4000" dirty="0">
                <a:latin typeface="Avenir Medium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1050558" y="2902218"/>
            <a:ext cx="1073083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 ship or boat, by any medium at all controllable by the occupant or occupants,—a mast, an oar, a nine-inch cable, a telegraph wire, or a strand of cobweb, it is all the same. Likewise a fish is technically fast</a:t>
            </a:r>
          </a:p>
        </p:txBody>
      </p:sp>
      <p:sp>
        <p:nvSpPr>
          <p:cNvPr id="15" name="Shape 2540"/>
          <p:cNvSpPr/>
          <p:nvPr/>
        </p:nvSpPr>
        <p:spPr>
          <a:xfrm>
            <a:off x="1945197" y="7129337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6" name="Shape 2540"/>
          <p:cNvSpPr/>
          <p:nvPr/>
        </p:nvSpPr>
        <p:spPr>
          <a:xfrm>
            <a:off x="1945197" y="8764348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858431" y="6896100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858431" y="8547116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2" name="Shape 2540"/>
          <p:cNvSpPr/>
          <p:nvPr/>
        </p:nvSpPr>
        <p:spPr>
          <a:xfrm>
            <a:off x="1945197" y="10415364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858431" y="10198132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9CC3E35-695B-4DC5-AEBB-F0169D6662D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049D555-F69F-4248-B976-28C5C834F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Text with iPa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0223229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27153" y="2806027"/>
            <a:ext cx="10265284" cy="9435794"/>
            <a:chOff x="727153" y="2806027"/>
            <a:chExt cx="10265284" cy="9435794"/>
          </a:xfrm>
        </p:grpSpPr>
        <p:pic>
          <p:nvPicPr>
            <p:cNvPr id="5" name="Picture 4"/>
            <p:cNvPicPr>
              <a:picLocks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153" y="2806027"/>
              <a:ext cx="10265284" cy="9435794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1363851" y="3420381"/>
              <a:ext cx="8949729" cy="53949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venir Medium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12212888" y="2921251"/>
            <a:ext cx="1073083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 ship or boat, by any medium at all controllable by the occupant or occupants,—a mast, an oar, a nine-inch cable, a telegraph wire, or a strand of cobweb, it is all the same. Likewise a fish is technically fast when it bears a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9DBD419-598C-41BA-819F-32C6169E2CC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AA550F6-7F5D-43A7-8713-F6E52C8ABD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Text with iMac</a:t>
            </a:r>
            <a:endParaRPr lang="de-DE" dirty="0"/>
          </a:p>
        </p:txBody>
      </p:sp>
      <p:sp>
        <p:nvSpPr>
          <p:cNvPr id="14" name="Shape 2540"/>
          <p:cNvSpPr/>
          <p:nvPr/>
        </p:nvSpPr>
        <p:spPr>
          <a:xfrm>
            <a:off x="13206755" y="7490285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6" name="Shape 2540"/>
          <p:cNvSpPr/>
          <p:nvPr/>
        </p:nvSpPr>
        <p:spPr>
          <a:xfrm>
            <a:off x="13206755" y="9125296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119989" y="7257048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119989" y="8908064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26" name="Shape 2540"/>
          <p:cNvSpPr/>
          <p:nvPr/>
        </p:nvSpPr>
        <p:spPr>
          <a:xfrm>
            <a:off x="13206755" y="10776312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4119989" y="10559080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</p:spTree>
    <p:extLst>
      <p:ext uri="{BB962C8B-B14F-4D97-AF65-F5344CB8AC3E}">
        <p14:creationId xmlns:p14="http://schemas.microsoft.com/office/powerpoint/2010/main" val="563913055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/>
          <a:srcRect l="4792" t="12636" r="6089" b="14423"/>
          <a:stretch/>
        </p:blipFill>
        <p:spPr>
          <a:xfrm>
            <a:off x="11897796" y="3906007"/>
            <a:ext cx="12305396" cy="7838474"/>
          </a:xfrm>
          <a:prstGeom prst="rect">
            <a:avLst/>
          </a:prstGeom>
        </p:spPr>
      </p:pic>
      <p:sp>
        <p:nvSpPr>
          <p:cNvPr id="4" name="Bildplatzhalter 3">
            <a:extLst>
              <a:ext uri="{FF2B5EF4-FFF2-40B4-BE49-F238E27FC236}">
                <a16:creationId xmlns:a16="http://schemas.microsoft.com/office/drawing/2014/main" id="{519DB03A-2FF8-4236-9E18-5ED7F99B015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CCA3CE5-50A5-4D43-8753-B6417F578D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Avenir Medium" charset="0"/>
                <a:cs typeface="Avenir Medium" charset="0"/>
              </a:rPr>
              <a:t>Text with MacBook</a:t>
            </a:r>
            <a:endParaRPr lang="de-DE" dirty="0"/>
          </a:p>
        </p:txBody>
      </p:sp>
      <p:sp>
        <p:nvSpPr>
          <p:cNvPr id="12" name="TextBox 11"/>
          <p:cNvSpPr txBox="1"/>
          <p:nvPr/>
        </p:nvSpPr>
        <p:spPr>
          <a:xfrm>
            <a:off x="1050558" y="2881898"/>
            <a:ext cx="1073083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 occupied ship or boat, by any medium at all controllable by the occupant or occupants,—a mast, an oar, a nine-inch cable, a telegraph wire, or a strand of cobweb, it is all the same. Likewise a fish is technically fast</a:t>
            </a:r>
          </a:p>
        </p:txBody>
      </p:sp>
      <p:sp>
        <p:nvSpPr>
          <p:cNvPr id="14" name="Shape 2540"/>
          <p:cNvSpPr/>
          <p:nvPr/>
        </p:nvSpPr>
        <p:spPr>
          <a:xfrm>
            <a:off x="1945197" y="7129337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5" name="Shape 2540"/>
          <p:cNvSpPr/>
          <p:nvPr/>
        </p:nvSpPr>
        <p:spPr>
          <a:xfrm>
            <a:off x="1945197" y="8764348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858431" y="6896100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858431" y="8547116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  <p:sp>
        <p:nvSpPr>
          <p:cNvPr id="18" name="Shape 2540"/>
          <p:cNvSpPr/>
          <p:nvPr/>
        </p:nvSpPr>
        <p:spPr>
          <a:xfrm>
            <a:off x="1945197" y="10415364"/>
            <a:ext cx="553844" cy="5538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latin typeface="Avenir Medium"/>
              <a:ea typeface="Avenir Book" charset="0"/>
              <a:cs typeface="Avenir Book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858431" y="10198132"/>
            <a:ext cx="8347075" cy="1318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Avenir Medium"/>
                <a:ea typeface="Avenir Book" charset="0"/>
                <a:cs typeface="Avenir Book" charset="0"/>
              </a:rPr>
              <a:t>First: What is a Fast-Fish? Alive or dead a fish is technically fast, when it is connected with an</a:t>
            </a:r>
          </a:p>
        </p:txBody>
      </p:sp>
    </p:spTree>
    <p:extLst>
      <p:ext uri="{BB962C8B-B14F-4D97-AF65-F5344CB8AC3E}">
        <p14:creationId xmlns:p14="http://schemas.microsoft.com/office/powerpoint/2010/main" val="1698783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24377650" cy="13716002"/>
          </a:xfrm>
          <a:prstGeom prst="rect">
            <a:avLst/>
          </a:prstGeom>
          <a:solidFill>
            <a:srgbClr val="419F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ato Light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372421" y="5221497"/>
            <a:ext cx="15632806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600" b="1" dirty="0">
                <a:solidFill>
                  <a:schemeClr val="bg1"/>
                </a:solidFill>
                <a:latin typeface="Avenir Medium" charset="0"/>
                <a:ea typeface="Avenir Medium" charset="0"/>
                <a:cs typeface="Avenir Medium" charset="0"/>
              </a:rPr>
              <a:t>UMCC MASTE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820175" y="7868377"/>
            <a:ext cx="1073729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spc="600" dirty="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rPr>
              <a:t>AN OUTSTANDING PRESENTATION TEMPLATE</a:t>
            </a:r>
          </a:p>
        </p:txBody>
      </p:sp>
    </p:spTree>
    <p:extLst>
      <p:ext uri="{BB962C8B-B14F-4D97-AF65-F5344CB8AC3E}">
        <p14:creationId xmlns:p14="http://schemas.microsoft.com/office/powerpoint/2010/main" val="948334163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5" name="Shape 2525"/>
          <p:cNvSpPr/>
          <p:nvPr/>
        </p:nvSpPr>
        <p:spPr>
          <a:xfrm>
            <a:off x="1758543" y="409599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26" name="Shape 2526"/>
          <p:cNvSpPr/>
          <p:nvPr/>
        </p:nvSpPr>
        <p:spPr>
          <a:xfrm>
            <a:off x="2825064" y="409599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4236" y="16752"/>
                </a:moveTo>
                <a:cubicBezTo>
                  <a:pt x="14001" y="16887"/>
                  <a:pt x="13921" y="17188"/>
                  <a:pt x="14057" y="17422"/>
                </a:cubicBezTo>
                <a:cubicBezTo>
                  <a:pt x="14192" y="17658"/>
                  <a:pt x="14493" y="17738"/>
                  <a:pt x="14727" y="17602"/>
                </a:cubicBezTo>
                <a:cubicBezTo>
                  <a:pt x="14962" y="17467"/>
                  <a:pt x="15042" y="17167"/>
                  <a:pt x="14907" y="16932"/>
                </a:cubicBezTo>
                <a:cubicBezTo>
                  <a:pt x="14771" y="16697"/>
                  <a:pt x="14472" y="16617"/>
                  <a:pt x="14236" y="16752"/>
                </a:cubicBezTo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5218" y="10309"/>
                </a:moveTo>
                <a:lnTo>
                  <a:pt x="12694" y="10309"/>
                </a:lnTo>
                <a:cubicBezTo>
                  <a:pt x="12515" y="9624"/>
                  <a:pt x="11978" y="9084"/>
                  <a:pt x="11291" y="8906"/>
                </a:cubicBezTo>
                <a:lnTo>
                  <a:pt x="11291" y="3436"/>
                </a:lnTo>
                <a:cubicBezTo>
                  <a:pt x="11291" y="3166"/>
                  <a:pt x="11071" y="2945"/>
                  <a:pt x="10800" y="2945"/>
                </a:cubicBezTo>
                <a:cubicBezTo>
                  <a:pt x="10529" y="2945"/>
                  <a:pt x="10309" y="3166"/>
                  <a:pt x="10309" y="3436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5218" y="11291"/>
                </a:lnTo>
                <a:cubicBezTo>
                  <a:pt x="15489" y="11291"/>
                  <a:pt x="15709" y="11072"/>
                  <a:pt x="15709" y="10800"/>
                </a:cubicBezTo>
                <a:cubicBezTo>
                  <a:pt x="15709" y="10529"/>
                  <a:pt x="15489" y="10309"/>
                  <a:pt x="15218" y="10309"/>
                </a:cubicBezTo>
                <a:moveTo>
                  <a:pt x="16932" y="6693"/>
                </a:moveTo>
                <a:cubicBezTo>
                  <a:pt x="16697" y="6829"/>
                  <a:pt x="16616" y="7129"/>
                  <a:pt x="16752" y="7364"/>
                </a:cubicBezTo>
                <a:cubicBezTo>
                  <a:pt x="16887" y="7599"/>
                  <a:pt x="17188" y="7679"/>
                  <a:pt x="17422" y="7543"/>
                </a:cubicBezTo>
                <a:cubicBezTo>
                  <a:pt x="17657" y="7408"/>
                  <a:pt x="17737" y="7108"/>
                  <a:pt x="17602" y="6873"/>
                </a:cubicBezTo>
                <a:cubicBezTo>
                  <a:pt x="17467" y="6638"/>
                  <a:pt x="17166" y="6557"/>
                  <a:pt x="16932" y="6693"/>
                </a:cubicBezTo>
                <a:moveTo>
                  <a:pt x="10800" y="17673"/>
                </a:moveTo>
                <a:cubicBezTo>
                  <a:pt x="10529" y="17673"/>
                  <a:pt x="10309" y="17893"/>
                  <a:pt x="10309" y="18164"/>
                </a:cubicBezTo>
                <a:cubicBezTo>
                  <a:pt x="10309" y="18435"/>
                  <a:pt x="10529" y="18655"/>
                  <a:pt x="10800" y="18655"/>
                </a:cubicBezTo>
                <a:cubicBezTo>
                  <a:pt x="11071" y="18655"/>
                  <a:pt x="11291" y="18435"/>
                  <a:pt x="11291" y="18164"/>
                </a:cubicBezTo>
                <a:cubicBezTo>
                  <a:pt x="11291" y="17893"/>
                  <a:pt x="11071" y="17673"/>
                  <a:pt x="10800" y="17673"/>
                </a:cubicBezTo>
                <a:moveTo>
                  <a:pt x="17422" y="14057"/>
                </a:moveTo>
                <a:cubicBezTo>
                  <a:pt x="17188" y="13921"/>
                  <a:pt x="16887" y="14001"/>
                  <a:pt x="16752" y="14236"/>
                </a:cubicBezTo>
                <a:cubicBezTo>
                  <a:pt x="16616" y="14472"/>
                  <a:pt x="16697" y="14772"/>
                  <a:pt x="16932" y="14907"/>
                </a:cubicBezTo>
                <a:cubicBezTo>
                  <a:pt x="17166" y="15043"/>
                  <a:pt x="17467" y="14962"/>
                  <a:pt x="17602" y="14727"/>
                </a:cubicBezTo>
                <a:cubicBezTo>
                  <a:pt x="17737" y="14492"/>
                  <a:pt x="17657" y="14192"/>
                  <a:pt x="17422" y="14057"/>
                </a:cubicBezTo>
                <a:moveTo>
                  <a:pt x="4668" y="6693"/>
                </a:moveTo>
                <a:cubicBezTo>
                  <a:pt x="4433" y="6557"/>
                  <a:pt x="4133" y="6638"/>
                  <a:pt x="3998" y="6873"/>
                </a:cubicBezTo>
                <a:cubicBezTo>
                  <a:pt x="3863" y="7108"/>
                  <a:pt x="3942" y="7408"/>
                  <a:pt x="4178" y="7543"/>
                </a:cubicBezTo>
                <a:cubicBezTo>
                  <a:pt x="4412" y="7679"/>
                  <a:pt x="4713" y="7599"/>
                  <a:pt x="4848" y="7364"/>
                </a:cubicBezTo>
                <a:cubicBezTo>
                  <a:pt x="4984" y="7129"/>
                  <a:pt x="4903" y="6829"/>
                  <a:pt x="4668" y="6693"/>
                </a:cubicBezTo>
                <a:moveTo>
                  <a:pt x="14236" y="4848"/>
                </a:moveTo>
                <a:cubicBezTo>
                  <a:pt x="14472" y="4984"/>
                  <a:pt x="14771" y="4903"/>
                  <a:pt x="14907" y="4669"/>
                </a:cubicBezTo>
                <a:cubicBezTo>
                  <a:pt x="15042" y="4434"/>
                  <a:pt x="14962" y="4134"/>
                  <a:pt x="14727" y="3998"/>
                </a:cubicBezTo>
                <a:cubicBezTo>
                  <a:pt x="14493" y="3863"/>
                  <a:pt x="14192" y="3943"/>
                  <a:pt x="14057" y="4178"/>
                </a:cubicBezTo>
                <a:cubicBezTo>
                  <a:pt x="13921" y="4412"/>
                  <a:pt x="14001" y="4713"/>
                  <a:pt x="14236" y="4848"/>
                </a:cubicBezTo>
                <a:moveTo>
                  <a:pt x="3436" y="10309"/>
                </a:moveTo>
                <a:cubicBezTo>
                  <a:pt x="3166" y="10309"/>
                  <a:pt x="2945" y="10529"/>
                  <a:pt x="2945" y="10800"/>
                </a:cubicBezTo>
                <a:cubicBezTo>
                  <a:pt x="2945" y="11072"/>
                  <a:pt x="3166" y="11291"/>
                  <a:pt x="3436" y="11291"/>
                </a:cubicBezTo>
                <a:cubicBezTo>
                  <a:pt x="3707" y="11291"/>
                  <a:pt x="3927" y="11072"/>
                  <a:pt x="3927" y="10800"/>
                </a:cubicBezTo>
                <a:cubicBezTo>
                  <a:pt x="3927" y="10529"/>
                  <a:pt x="3707" y="10309"/>
                  <a:pt x="3436" y="10309"/>
                </a:cubicBezTo>
                <a:moveTo>
                  <a:pt x="6873" y="3998"/>
                </a:moveTo>
                <a:cubicBezTo>
                  <a:pt x="6638" y="4134"/>
                  <a:pt x="6558" y="4434"/>
                  <a:pt x="6693" y="4669"/>
                </a:cubicBezTo>
                <a:cubicBezTo>
                  <a:pt x="6829" y="4903"/>
                  <a:pt x="7129" y="4984"/>
                  <a:pt x="7364" y="4848"/>
                </a:cubicBezTo>
                <a:cubicBezTo>
                  <a:pt x="7599" y="4713"/>
                  <a:pt x="7679" y="4412"/>
                  <a:pt x="7543" y="4178"/>
                </a:cubicBezTo>
                <a:cubicBezTo>
                  <a:pt x="7408" y="3943"/>
                  <a:pt x="7108" y="3863"/>
                  <a:pt x="6873" y="3998"/>
                </a:cubicBezTo>
                <a:moveTo>
                  <a:pt x="4178" y="14057"/>
                </a:moveTo>
                <a:cubicBezTo>
                  <a:pt x="3942" y="14192"/>
                  <a:pt x="3863" y="14492"/>
                  <a:pt x="3998" y="14727"/>
                </a:cubicBezTo>
                <a:cubicBezTo>
                  <a:pt x="4133" y="14962"/>
                  <a:pt x="4433" y="15043"/>
                  <a:pt x="4668" y="14907"/>
                </a:cubicBezTo>
                <a:cubicBezTo>
                  <a:pt x="4903" y="14772"/>
                  <a:pt x="4984" y="14472"/>
                  <a:pt x="4848" y="14236"/>
                </a:cubicBezTo>
                <a:cubicBezTo>
                  <a:pt x="4713" y="14001"/>
                  <a:pt x="4412" y="13921"/>
                  <a:pt x="4178" y="14057"/>
                </a:cubicBezTo>
                <a:moveTo>
                  <a:pt x="7364" y="16752"/>
                </a:moveTo>
                <a:cubicBezTo>
                  <a:pt x="7129" y="16617"/>
                  <a:pt x="6829" y="16697"/>
                  <a:pt x="6693" y="16932"/>
                </a:cubicBezTo>
                <a:cubicBezTo>
                  <a:pt x="6558" y="17167"/>
                  <a:pt x="6638" y="17467"/>
                  <a:pt x="6873" y="17602"/>
                </a:cubicBezTo>
                <a:cubicBezTo>
                  <a:pt x="7108" y="17738"/>
                  <a:pt x="7408" y="17658"/>
                  <a:pt x="7543" y="17422"/>
                </a:cubicBezTo>
                <a:cubicBezTo>
                  <a:pt x="7679" y="17188"/>
                  <a:pt x="7599" y="16887"/>
                  <a:pt x="7364" y="16752"/>
                </a:cubicBezTo>
                <a:moveTo>
                  <a:pt x="18164" y="10309"/>
                </a:moveTo>
                <a:cubicBezTo>
                  <a:pt x="17893" y="10309"/>
                  <a:pt x="17673" y="10529"/>
                  <a:pt x="17673" y="10800"/>
                </a:cubicBezTo>
                <a:cubicBezTo>
                  <a:pt x="17673" y="11072"/>
                  <a:pt x="17893" y="11291"/>
                  <a:pt x="18164" y="11291"/>
                </a:cubicBezTo>
                <a:cubicBezTo>
                  <a:pt x="18434" y="11291"/>
                  <a:pt x="18655" y="11072"/>
                  <a:pt x="18655" y="10800"/>
                </a:cubicBezTo>
                <a:cubicBezTo>
                  <a:pt x="18655" y="10529"/>
                  <a:pt x="18434" y="10309"/>
                  <a:pt x="18164" y="103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27" name="Shape 2527"/>
          <p:cNvSpPr/>
          <p:nvPr/>
        </p:nvSpPr>
        <p:spPr>
          <a:xfrm>
            <a:off x="3891587" y="409599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4236" y="10309"/>
                </a:moveTo>
                <a:lnTo>
                  <a:pt x="12694" y="10309"/>
                </a:lnTo>
                <a:cubicBezTo>
                  <a:pt x="12516" y="9622"/>
                  <a:pt x="11979" y="9084"/>
                  <a:pt x="11291" y="8906"/>
                </a:cubicBez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4236" y="11291"/>
                </a:lnTo>
                <a:cubicBezTo>
                  <a:pt x="14507" y="11291"/>
                  <a:pt x="14727" y="11072"/>
                  <a:pt x="14727" y="10800"/>
                </a:cubicBezTo>
                <a:cubicBezTo>
                  <a:pt x="14727" y="10529"/>
                  <a:pt x="14507" y="10309"/>
                  <a:pt x="14236" y="103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8655"/>
                </a:moveTo>
                <a:cubicBezTo>
                  <a:pt x="6462" y="18655"/>
                  <a:pt x="2945" y="15138"/>
                  <a:pt x="2945" y="10800"/>
                </a:cubicBezTo>
                <a:cubicBezTo>
                  <a:pt x="2945" y="6462"/>
                  <a:pt x="6462" y="2945"/>
                  <a:pt x="10800" y="2945"/>
                </a:cubicBezTo>
                <a:cubicBezTo>
                  <a:pt x="15138" y="2945"/>
                  <a:pt x="18655" y="6462"/>
                  <a:pt x="18655" y="10800"/>
                </a:cubicBezTo>
                <a:cubicBezTo>
                  <a:pt x="18655" y="15138"/>
                  <a:pt x="15138" y="18655"/>
                  <a:pt x="10800" y="18655"/>
                </a:cubicBezTo>
                <a:moveTo>
                  <a:pt x="10800" y="1964"/>
                </a:moveTo>
                <a:cubicBezTo>
                  <a:pt x="5920" y="1964"/>
                  <a:pt x="1964" y="5920"/>
                  <a:pt x="1964" y="10800"/>
                </a:cubicBezTo>
                <a:cubicBezTo>
                  <a:pt x="1964" y="15680"/>
                  <a:pt x="5920" y="19636"/>
                  <a:pt x="10800" y="19636"/>
                </a:cubicBezTo>
                <a:cubicBezTo>
                  <a:pt x="15680" y="19636"/>
                  <a:pt x="19636" y="15680"/>
                  <a:pt x="19636" y="10800"/>
                </a:cubicBezTo>
                <a:cubicBezTo>
                  <a:pt x="19636" y="5920"/>
                  <a:pt x="15680" y="1964"/>
                  <a:pt x="10800" y="19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28" name="Shape 2528"/>
          <p:cNvSpPr/>
          <p:nvPr/>
        </p:nvSpPr>
        <p:spPr>
          <a:xfrm>
            <a:off x="5034291" y="4095990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8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8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4050" y="5891"/>
                </a:move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4050" y="8836"/>
                </a:lnTo>
                <a:cubicBezTo>
                  <a:pt x="4050" y="8836"/>
                  <a:pt x="4050" y="5891"/>
                  <a:pt x="4050" y="5891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  <a:moveTo>
                  <a:pt x="11475" y="15573"/>
                </a:moveTo>
                <a:lnTo>
                  <a:pt x="11475" y="16200"/>
                </a:lnTo>
                <a:cubicBezTo>
                  <a:pt x="11475" y="16472"/>
                  <a:pt x="11172" y="16691"/>
                  <a:pt x="10800" y="16691"/>
                </a:cubicBezTo>
                <a:cubicBezTo>
                  <a:pt x="10428" y="16691"/>
                  <a:pt x="10125" y="16472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6"/>
                  <a:pt x="10055" y="13745"/>
                  <a:pt x="10800" y="13745"/>
                </a:cubicBezTo>
                <a:cubicBezTo>
                  <a:pt x="11545" y="13745"/>
                  <a:pt x="12150" y="14186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7"/>
                  <a:pt x="8798" y="16034"/>
                </a:cubicBezTo>
                <a:cubicBezTo>
                  <a:pt x="8789" y="16089"/>
                  <a:pt x="8775" y="16144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4"/>
                  <a:pt x="12810" y="16089"/>
                  <a:pt x="12802" y="16034"/>
                </a:cubicBezTo>
                <a:cubicBezTo>
                  <a:pt x="13231" y="15686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29" name="Shape 2529"/>
          <p:cNvSpPr/>
          <p:nvPr/>
        </p:nvSpPr>
        <p:spPr>
          <a:xfrm>
            <a:off x="6100813" y="4095990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475" y="15573"/>
                </a:moveTo>
                <a:lnTo>
                  <a:pt x="11475" y="16200"/>
                </a:lnTo>
                <a:cubicBezTo>
                  <a:pt x="11475" y="16471"/>
                  <a:pt x="11172" y="16691"/>
                  <a:pt x="10800" y="16691"/>
                </a:cubicBezTo>
                <a:cubicBezTo>
                  <a:pt x="10428" y="16691"/>
                  <a:pt x="10125" y="16471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5"/>
                  <a:pt x="10055" y="13745"/>
                  <a:pt x="10800" y="13745"/>
                </a:cubicBezTo>
                <a:cubicBezTo>
                  <a:pt x="11545" y="13745"/>
                  <a:pt x="12150" y="14185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6"/>
                  <a:pt x="8798" y="16034"/>
                </a:cubicBezTo>
                <a:cubicBezTo>
                  <a:pt x="8789" y="16089"/>
                  <a:pt x="8775" y="16143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3"/>
                  <a:pt x="12810" y="16089"/>
                  <a:pt x="12802" y="16034"/>
                </a:cubicBezTo>
                <a:cubicBezTo>
                  <a:pt x="13231" y="15687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9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cubicBezTo>
                  <a:pt x="2700" y="6162"/>
                  <a:pt x="3003" y="6382"/>
                  <a:pt x="3375" y="6382"/>
                </a:cubicBezTo>
                <a:cubicBezTo>
                  <a:pt x="3747" y="6382"/>
                  <a:pt x="4050" y="6162"/>
                  <a:pt x="4050" y="5891"/>
                </a:cubicBez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0" name="Shape 2530"/>
          <p:cNvSpPr/>
          <p:nvPr/>
        </p:nvSpPr>
        <p:spPr>
          <a:xfrm>
            <a:off x="7141939" y="4095991"/>
            <a:ext cx="457082" cy="558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6000" y="20617"/>
                </a:lnTo>
                <a:lnTo>
                  <a:pt x="6000" y="982"/>
                </a:lnTo>
                <a:lnTo>
                  <a:pt x="13200" y="982"/>
                </a:lnTo>
                <a:lnTo>
                  <a:pt x="13200" y="6872"/>
                </a:lnTo>
                <a:lnTo>
                  <a:pt x="15600" y="4909"/>
                </a:lnTo>
                <a:lnTo>
                  <a:pt x="18000" y="6872"/>
                </a:lnTo>
                <a:lnTo>
                  <a:pt x="180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4800" y="20617"/>
                </a:move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4800" y="982"/>
                </a:lnTo>
                <a:cubicBezTo>
                  <a:pt x="4800" y="982"/>
                  <a:pt x="4800" y="20617"/>
                  <a:pt x="4800" y="20617"/>
                </a:cubicBezTo>
                <a:close/>
                <a:moveTo>
                  <a:pt x="14400" y="982"/>
                </a:moveTo>
                <a:lnTo>
                  <a:pt x="16800" y="982"/>
                </a:lnTo>
                <a:lnTo>
                  <a:pt x="16800" y="4418"/>
                </a:lnTo>
                <a:lnTo>
                  <a:pt x="15600" y="3436"/>
                </a:lnTo>
                <a:lnTo>
                  <a:pt x="14400" y="4418"/>
                </a:lnTo>
                <a:cubicBezTo>
                  <a:pt x="14400" y="4418"/>
                  <a:pt x="14400" y="982"/>
                  <a:pt x="14400" y="982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1" name="Shape 2531"/>
          <p:cNvSpPr/>
          <p:nvPr/>
        </p:nvSpPr>
        <p:spPr>
          <a:xfrm>
            <a:off x="8208461" y="4095990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7200" y="20618"/>
                </a:lnTo>
                <a:lnTo>
                  <a:pt x="72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6000" y="20618"/>
                </a:moveTo>
                <a:lnTo>
                  <a:pt x="3600" y="20618"/>
                </a:lnTo>
                <a:cubicBezTo>
                  <a:pt x="2937" y="20618"/>
                  <a:pt x="2400" y="20179"/>
                  <a:pt x="2400" y="19636"/>
                </a:cubicBezTo>
                <a:lnTo>
                  <a:pt x="2400" y="18655"/>
                </a:lnTo>
                <a:lnTo>
                  <a:pt x="3000" y="18655"/>
                </a:lnTo>
                <a:cubicBezTo>
                  <a:pt x="3332" y="18655"/>
                  <a:pt x="3600" y="18435"/>
                  <a:pt x="3600" y="18164"/>
                </a:cubicBezTo>
                <a:cubicBezTo>
                  <a:pt x="3600" y="17893"/>
                  <a:pt x="3332" y="17673"/>
                  <a:pt x="3000" y="17673"/>
                </a:cubicBezTo>
                <a:lnTo>
                  <a:pt x="2400" y="17673"/>
                </a:lnTo>
                <a:lnTo>
                  <a:pt x="2400" y="15709"/>
                </a:lnTo>
                <a:lnTo>
                  <a:pt x="3000" y="15709"/>
                </a:lnTo>
                <a:cubicBezTo>
                  <a:pt x="3332" y="15709"/>
                  <a:pt x="3600" y="15490"/>
                  <a:pt x="3600" y="15218"/>
                </a:cubicBezTo>
                <a:cubicBezTo>
                  <a:pt x="3600" y="14947"/>
                  <a:pt x="3332" y="14727"/>
                  <a:pt x="3000" y="14727"/>
                </a:cubicBezTo>
                <a:lnTo>
                  <a:pt x="2400" y="14727"/>
                </a:lnTo>
                <a:lnTo>
                  <a:pt x="2400" y="12764"/>
                </a:lnTo>
                <a:lnTo>
                  <a:pt x="3000" y="12764"/>
                </a:lnTo>
                <a:cubicBezTo>
                  <a:pt x="3332" y="12764"/>
                  <a:pt x="3600" y="12544"/>
                  <a:pt x="3600" y="12273"/>
                </a:cubicBezTo>
                <a:cubicBezTo>
                  <a:pt x="3600" y="12002"/>
                  <a:pt x="3332" y="11782"/>
                  <a:pt x="3000" y="11782"/>
                </a:cubicBezTo>
                <a:lnTo>
                  <a:pt x="2400" y="11782"/>
                </a:lnTo>
                <a:lnTo>
                  <a:pt x="2400" y="9818"/>
                </a:lnTo>
                <a:lnTo>
                  <a:pt x="3000" y="9818"/>
                </a:lnTo>
                <a:cubicBezTo>
                  <a:pt x="3332" y="9818"/>
                  <a:pt x="3600" y="9599"/>
                  <a:pt x="3600" y="9327"/>
                </a:cubicBezTo>
                <a:cubicBezTo>
                  <a:pt x="3600" y="9056"/>
                  <a:pt x="3332" y="8836"/>
                  <a:pt x="3000" y="8836"/>
                </a:cubicBezTo>
                <a:lnTo>
                  <a:pt x="2400" y="8836"/>
                </a:lnTo>
                <a:lnTo>
                  <a:pt x="2400" y="6873"/>
                </a:lnTo>
                <a:lnTo>
                  <a:pt x="3000" y="6873"/>
                </a:lnTo>
                <a:cubicBezTo>
                  <a:pt x="3332" y="6873"/>
                  <a:pt x="3600" y="6653"/>
                  <a:pt x="3600" y="6382"/>
                </a:cubicBezTo>
                <a:cubicBezTo>
                  <a:pt x="3600" y="6111"/>
                  <a:pt x="3332" y="5891"/>
                  <a:pt x="3000" y="5891"/>
                </a:cubicBezTo>
                <a:lnTo>
                  <a:pt x="2400" y="5891"/>
                </a:lnTo>
                <a:lnTo>
                  <a:pt x="2400" y="3927"/>
                </a:lnTo>
                <a:lnTo>
                  <a:pt x="3000" y="3927"/>
                </a:lnTo>
                <a:cubicBezTo>
                  <a:pt x="3332" y="3927"/>
                  <a:pt x="3600" y="3708"/>
                  <a:pt x="3600" y="3436"/>
                </a:cubicBezTo>
                <a:cubicBezTo>
                  <a:pt x="3600" y="3166"/>
                  <a:pt x="3332" y="2945"/>
                  <a:pt x="3000" y="2945"/>
                </a:cubicBezTo>
                <a:lnTo>
                  <a:pt x="2400" y="2945"/>
                </a:lnTo>
                <a:lnTo>
                  <a:pt x="2400" y="1964"/>
                </a:lnTo>
                <a:cubicBezTo>
                  <a:pt x="2400" y="1422"/>
                  <a:pt x="2937" y="982"/>
                  <a:pt x="3600" y="982"/>
                </a:cubicBezTo>
                <a:lnTo>
                  <a:pt x="6000" y="982"/>
                </a:lnTo>
                <a:cubicBezTo>
                  <a:pt x="6000" y="982"/>
                  <a:pt x="6000" y="20618"/>
                  <a:pt x="6000" y="20618"/>
                </a:cubicBezTo>
                <a:close/>
                <a:moveTo>
                  <a:pt x="19200" y="0"/>
                </a:moveTo>
                <a:lnTo>
                  <a:pt x="3600" y="0"/>
                </a:lnTo>
                <a:cubicBezTo>
                  <a:pt x="2275" y="0"/>
                  <a:pt x="1200" y="879"/>
                  <a:pt x="1200" y="1964"/>
                </a:cubicBezTo>
                <a:lnTo>
                  <a:pt x="1200" y="2945"/>
                </a:lnTo>
                <a:lnTo>
                  <a:pt x="600" y="2945"/>
                </a:lnTo>
                <a:cubicBezTo>
                  <a:pt x="268" y="2945"/>
                  <a:pt x="0" y="3166"/>
                  <a:pt x="0" y="3436"/>
                </a:cubicBezTo>
                <a:cubicBezTo>
                  <a:pt x="0" y="3708"/>
                  <a:pt x="268" y="3927"/>
                  <a:pt x="600" y="3927"/>
                </a:cubicBezTo>
                <a:lnTo>
                  <a:pt x="1200" y="3927"/>
                </a:lnTo>
                <a:lnTo>
                  <a:pt x="1200" y="5891"/>
                </a:lnTo>
                <a:lnTo>
                  <a:pt x="600" y="5891"/>
                </a:lnTo>
                <a:cubicBezTo>
                  <a:pt x="268" y="5891"/>
                  <a:pt x="0" y="6111"/>
                  <a:pt x="0" y="6382"/>
                </a:cubicBezTo>
                <a:cubicBezTo>
                  <a:pt x="0" y="6653"/>
                  <a:pt x="268" y="6873"/>
                  <a:pt x="600" y="6873"/>
                </a:cubicBezTo>
                <a:lnTo>
                  <a:pt x="1200" y="6873"/>
                </a:lnTo>
                <a:lnTo>
                  <a:pt x="1200" y="8836"/>
                </a:lnTo>
                <a:lnTo>
                  <a:pt x="600" y="8836"/>
                </a:lnTo>
                <a:cubicBezTo>
                  <a:pt x="268" y="8836"/>
                  <a:pt x="0" y="9056"/>
                  <a:pt x="0" y="9327"/>
                </a:cubicBezTo>
                <a:cubicBezTo>
                  <a:pt x="0" y="9599"/>
                  <a:pt x="268" y="9818"/>
                  <a:pt x="600" y="9818"/>
                </a:cubicBezTo>
                <a:lnTo>
                  <a:pt x="1200" y="9818"/>
                </a:lnTo>
                <a:lnTo>
                  <a:pt x="1200" y="11782"/>
                </a:lnTo>
                <a:lnTo>
                  <a:pt x="600" y="11782"/>
                </a:lnTo>
                <a:cubicBezTo>
                  <a:pt x="268" y="11782"/>
                  <a:pt x="0" y="12002"/>
                  <a:pt x="0" y="12273"/>
                </a:cubicBezTo>
                <a:cubicBezTo>
                  <a:pt x="0" y="12544"/>
                  <a:pt x="268" y="12764"/>
                  <a:pt x="600" y="12764"/>
                </a:cubicBezTo>
                <a:lnTo>
                  <a:pt x="1200" y="12764"/>
                </a:lnTo>
                <a:lnTo>
                  <a:pt x="1200" y="14727"/>
                </a:lnTo>
                <a:lnTo>
                  <a:pt x="600" y="14727"/>
                </a:lnTo>
                <a:cubicBezTo>
                  <a:pt x="268" y="14727"/>
                  <a:pt x="0" y="14947"/>
                  <a:pt x="0" y="15218"/>
                </a:cubicBezTo>
                <a:cubicBezTo>
                  <a:pt x="0" y="15490"/>
                  <a:pt x="268" y="15709"/>
                  <a:pt x="600" y="15709"/>
                </a:cubicBezTo>
                <a:lnTo>
                  <a:pt x="1200" y="15709"/>
                </a:lnTo>
                <a:lnTo>
                  <a:pt x="1200" y="17673"/>
                </a:lnTo>
                <a:lnTo>
                  <a:pt x="600" y="17673"/>
                </a:lnTo>
                <a:cubicBezTo>
                  <a:pt x="268" y="17673"/>
                  <a:pt x="0" y="17893"/>
                  <a:pt x="0" y="18164"/>
                </a:cubicBezTo>
                <a:cubicBezTo>
                  <a:pt x="0" y="18435"/>
                  <a:pt x="268" y="18655"/>
                  <a:pt x="600" y="18655"/>
                </a:cubicBezTo>
                <a:lnTo>
                  <a:pt x="1200" y="18655"/>
                </a:lnTo>
                <a:lnTo>
                  <a:pt x="1200" y="19636"/>
                </a:lnTo>
                <a:cubicBezTo>
                  <a:pt x="1200" y="20721"/>
                  <a:pt x="2275" y="21600"/>
                  <a:pt x="36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2" name="Shape 2532"/>
          <p:cNvSpPr/>
          <p:nvPr/>
        </p:nvSpPr>
        <p:spPr>
          <a:xfrm>
            <a:off x="9274983" y="4095990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3"/>
                  <a:pt x="14400" y="6873"/>
                </a:cubicBezTo>
                <a:lnTo>
                  <a:pt x="20400" y="6873"/>
                </a:lnTo>
                <a:cubicBezTo>
                  <a:pt x="20400" y="6873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4800" y="8836"/>
                </a:moveTo>
                <a:cubicBezTo>
                  <a:pt x="4800" y="9108"/>
                  <a:pt x="5068" y="9327"/>
                  <a:pt x="5400" y="9327"/>
                </a:cubicBezTo>
                <a:lnTo>
                  <a:pt x="16200" y="9327"/>
                </a:lnTo>
                <a:cubicBezTo>
                  <a:pt x="16532" y="9327"/>
                  <a:pt x="16800" y="9108"/>
                  <a:pt x="16800" y="8836"/>
                </a:cubicBezTo>
                <a:cubicBezTo>
                  <a:pt x="16800" y="8566"/>
                  <a:pt x="16532" y="8345"/>
                  <a:pt x="16200" y="8345"/>
                </a:cubicBezTo>
                <a:lnTo>
                  <a:pt x="5400" y="8345"/>
                </a:lnTo>
                <a:cubicBezTo>
                  <a:pt x="5068" y="8345"/>
                  <a:pt x="4800" y="8566"/>
                  <a:pt x="4800" y="8836"/>
                </a:cubicBezTo>
                <a:moveTo>
                  <a:pt x="16200" y="12273"/>
                </a:moveTo>
                <a:lnTo>
                  <a:pt x="5400" y="12273"/>
                </a:lnTo>
                <a:cubicBezTo>
                  <a:pt x="5068" y="12273"/>
                  <a:pt x="4800" y="12493"/>
                  <a:pt x="4800" y="12764"/>
                </a:cubicBezTo>
                <a:cubicBezTo>
                  <a:pt x="4800" y="13035"/>
                  <a:pt x="5068" y="13255"/>
                  <a:pt x="5400" y="13255"/>
                </a:cubicBezTo>
                <a:lnTo>
                  <a:pt x="16200" y="13255"/>
                </a:lnTo>
                <a:cubicBezTo>
                  <a:pt x="16532" y="13255"/>
                  <a:pt x="16800" y="13035"/>
                  <a:pt x="16800" y="12764"/>
                </a:cubicBezTo>
                <a:cubicBezTo>
                  <a:pt x="16800" y="12493"/>
                  <a:pt x="16532" y="12273"/>
                  <a:pt x="16200" y="12273"/>
                </a:cubicBezTo>
                <a:moveTo>
                  <a:pt x="5400" y="5400"/>
                </a:moveTo>
                <a:lnTo>
                  <a:pt x="8400" y="5400"/>
                </a:lnTo>
                <a:cubicBezTo>
                  <a:pt x="8732" y="5400"/>
                  <a:pt x="9000" y="5181"/>
                  <a:pt x="9000" y="4909"/>
                </a:cubicBezTo>
                <a:cubicBezTo>
                  <a:pt x="9000" y="4638"/>
                  <a:pt x="8732" y="4418"/>
                  <a:pt x="8400" y="4418"/>
                </a:cubicBezTo>
                <a:lnTo>
                  <a:pt x="5400" y="4418"/>
                </a:lnTo>
                <a:cubicBezTo>
                  <a:pt x="5068" y="4418"/>
                  <a:pt x="4800" y="4638"/>
                  <a:pt x="4800" y="4909"/>
                </a:cubicBezTo>
                <a:cubicBezTo>
                  <a:pt x="4800" y="5181"/>
                  <a:pt x="5068" y="5400"/>
                  <a:pt x="5400" y="5400"/>
                </a:cubicBezTo>
                <a:moveTo>
                  <a:pt x="12600" y="16200"/>
                </a:moveTo>
                <a:lnTo>
                  <a:pt x="5400" y="16200"/>
                </a:lnTo>
                <a:cubicBezTo>
                  <a:pt x="5068" y="16200"/>
                  <a:pt x="4800" y="16420"/>
                  <a:pt x="4800" y="16691"/>
                </a:cubicBezTo>
                <a:cubicBezTo>
                  <a:pt x="4800" y="16962"/>
                  <a:pt x="5068" y="17182"/>
                  <a:pt x="5400" y="17182"/>
                </a:cubicBezTo>
                <a:lnTo>
                  <a:pt x="12600" y="17182"/>
                </a:lnTo>
                <a:cubicBezTo>
                  <a:pt x="12932" y="17182"/>
                  <a:pt x="13200" y="16962"/>
                  <a:pt x="13200" y="16691"/>
                </a:cubicBezTo>
                <a:cubicBezTo>
                  <a:pt x="13200" y="16420"/>
                  <a:pt x="12932" y="16200"/>
                  <a:pt x="12600" y="16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3" name="Shape 2533"/>
          <p:cNvSpPr/>
          <p:nvPr/>
        </p:nvSpPr>
        <p:spPr>
          <a:xfrm>
            <a:off x="10341508" y="4095990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7"/>
                </a:lnTo>
                <a:lnTo>
                  <a:pt x="13929" y="8836"/>
                </a:lnTo>
                <a:cubicBezTo>
                  <a:pt x="13929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9"/>
                  <a:pt x="13862" y="20618"/>
                  <a:pt x="13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6873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1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9" y="3927"/>
                </a:lnTo>
                <a:cubicBezTo>
                  <a:pt x="19929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8" y="3927"/>
                  <a:pt x="6600" y="3927"/>
                </a:cubicBezTo>
                <a:cubicBezTo>
                  <a:pt x="6932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8" y="15709"/>
                  <a:pt x="16800" y="15929"/>
                  <a:pt x="16800" y="16200"/>
                </a:cubicBezTo>
                <a:cubicBezTo>
                  <a:pt x="16800" y="16472"/>
                  <a:pt x="17068" y="16691"/>
                  <a:pt x="17400" y="16691"/>
                </a:cubicBezTo>
                <a:lnTo>
                  <a:pt x="19200" y="16691"/>
                </a:lnTo>
                <a:cubicBezTo>
                  <a:pt x="20525" y="16691"/>
                  <a:pt x="21600" y="15812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  <a:moveTo>
                  <a:pt x="3600" y="12273"/>
                </a:moveTo>
                <a:cubicBezTo>
                  <a:pt x="3600" y="12544"/>
                  <a:pt x="3868" y="12764"/>
                  <a:pt x="4200" y="12764"/>
                </a:cubicBezTo>
                <a:lnTo>
                  <a:pt x="11400" y="12764"/>
                </a:lnTo>
                <a:cubicBezTo>
                  <a:pt x="11732" y="12764"/>
                  <a:pt x="12000" y="12544"/>
                  <a:pt x="12000" y="12273"/>
                </a:cubicBezTo>
                <a:cubicBezTo>
                  <a:pt x="12000" y="12002"/>
                  <a:pt x="11732" y="11782"/>
                  <a:pt x="11400" y="11782"/>
                </a:cubicBezTo>
                <a:lnTo>
                  <a:pt x="4200" y="11782"/>
                </a:lnTo>
                <a:cubicBezTo>
                  <a:pt x="3868" y="11782"/>
                  <a:pt x="3600" y="12002"/>
                  <a:pt x="3600" y="12273"/>
                </a:cubicBezTo>
                <a:moveTo>
                  <a:pt x="4200" y="9818"/>
                </a:moveTo>
                <a:lnTo>
                  <a:pt x="6600" y="9818"/>
                </a:lnTo>
                <a:cubicBezTo>
                  <a:pt x="6932" y="9818"/>
                  <a:pt x="7200" y="9599"/>
                  <a:pt x="7200" y="9327"/>
                </a:cubicBezTo>
                <a:cubicBezTo>
                  <a:pt x="7200" y="9056"/>
                  <a:pt x="6932" y="8836"/>
                  <a:pt x="66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9000" y="17673"/>
                </a:moveTo>
                <a:lnTo>
                  <a:pt x="4200" y="17673"/>
                </a:lnTo>
                <a:cubicBezTo>
                  <a:pt x="3868" y="17673"/>
                  <a:pt x="3600" y="17893"/>
                  <a:pt x="3600" y="18164"/>
                </a:cubicBezTo>
                <a:cubicBezTo>
                  <a:pt x="3600" y="18435"/>
                  <a:pt x="3868" y="18655"/>
                  <a:pt x="4200" y="18655"/>
                </a:cubicBezTo>
                <a:lnTo>
                  <a:pt x="9000" y="18655"/>
                </a:lnTo>
                <a:cubicBezTo>
                  <a:pt x="9332" y="18655"/>
                  <a:pt x="9600" y="18435"/>
                  <a:pt x="9600" y="18164"/>
                </a:cubicBezTo>
                <a:cubicBezTo>
                  <a:pt x="9600" y="17893"/>
                  <a:pt x="9332" y="17673"/>
                  <a:pt x="9000" y="17673"/>
                </a:cubicBezTo>
                <a:moveTo>
                  <a:pt x="11400" y="14727"/>
                </a:moveTo>
                <a:lnTo>
                  <a:pt x="4200" y="14727"/>
                </a:lnTo>
                <a:cubicBezTo>
                  <a:pt x="3868" y="14727"/>
                  <a:pt x="3600" y="14947"/>
                  <a:pt x="3600" y="15218"/>
                </a:cubicBezTo>
                <a:cubicBezTo>
                  <a:pt x="3600" y="15490"/>
                  <a:pt x="3868" y="15709"/>
                  <a:pt x="4200" y="15709"/>
                </a:cubicBezTo>
                <a:lnTo>
                  <a:pt x="11400" y="15709"/>
                </a:lnTo>
                <a:cubicBezTo>
                  <a:pt x="11732" y="15709"/>
                  <a:pt x="12000" y="15490"/>
                  <a:pt x="12000" y="15218"/>
                </a:cubicBezTo>
                <a:cubicBezTo>
                  <a:pt x="12000" y="14947"/>
                  <a:pt x="11732" y="14727"/>
                  <a:pt x="11400" y="147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4" name="Shape 2534"/>
          <p:cNvSpPr/>
          <p:nvPr/>
        </p:nvSpPr>
        <p:spPr>
          <a:xfrm>
            <a:off x="11408029" y="4095991"/>
            <a:ext cx="457082" cy="558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5" name="Shape 2535"/>
          <p:cNvSpPr/>
          <p:nvPr/>
        </p:nvSpPr>
        <p:spPr>
          <a:xfrm>
            <a:off x="1809328" y="5162513"/>
            <a:ext cx="457082" cy="558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6"/>
                </a:lnTo>
                <a:lnTo>
                  <a:pt x="13928" y="8836"/>
                </a:lnTo>
                <a:cubicBezTo>
                  <a:pt x="13928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8"/>
                  <a:pt x="13862" y="20617"/>
                  <a:pt x="13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6872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2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0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8" y="3927"/>
                </a:lnTo>
                <a:cubicBezTo>
                  <a:pt x="19928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9" y="3927"/>
                  <a:pt x="6600" y="3927"/>
                </a:cubicBezTo>
                <a:cubicBezTo>
                  <a:pt x="6931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9" y="15709"/>
                  <a:pt x="16800" y="15929"/>
                  <a:pt x="16800" y="16199"/>
                </a:cubicBezTo>
                <a:cubicBezTo>
                  <a:pt x="16800" y="16471"/>
                  <a:pt x="17069" y="16690"/>
                  <a:pt x="17400" y="16690"/>
                </a:cubicBezTo>
                <a:lnTo>
                  <a:pt x="19200" y="16690"/>
                </a:lnTo>
                <a:cubicBezTo>
                  <a:pt x="20525" y="16690"/>
                  <a:pt x="21600" y="15811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6" name="Shape 2536"/>
          <p:cNvSpPr/>
          <p:nvPr/>
        </p:nvSpPr>
        <p:spPr>
          <a:xfrm>
            <a:off x="2825064" y="516251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18" y="11782"/>
                </a:moveTo>
                <a:lnTo>
                  <a:pt x="14236" y="11782"/>
                </a:lnTo>
                <a:cubicBezTo>
                  <a:pt x="14507" y="11782"/>
                  <a:pt x="14727" y="11562"/>
                  <a:pt x="14727" y="11291"/>
                </a:cubicBezTo>
                <a:cubicBezTo>
                  <a:pt x="14727" y="11020"/>
                  <a:pt x="14507" y="10800"/>
                  <a:pt x="14236" y="10800"/>
                </a:cubicBezTo>
                <a:lnTo>
                  <a:pt x="4418" y="10800"/>
                </a:lnTo>
                <a:cubicBezTo>
                  <a:pt x="4147" y="10800"/>
                  <a:pt x="3927" y="11020"/>
                  <a:pt x="3927" y="11291"/>
                </a:cubicBezTo>
                <a:cubicBezTo>
                  <a:pt x="3927" y="11562"/>
                  <a:pt x="4147" y="11782"/>
                  <a:pt x="4418" y="11782"/>
                </a:cubicBezTo>
                <a:moveTo>
                  <a:pt x="20618" y="20618"/>
                </a:moveTo>
                <a:lnTo>
                  <a:pt x="5891" y="20618"/>
                </a:lnTo>
                <a:lnTo>
                  <a:pt x="5891" y="16200"/>
                </a:lnTo>
                <a:cubicBezTo>
                  <a:pt x="5891" y="15929"/>
                  <a:pt x="5671" y="15709"/>
                  <a:pt x="5400" y="15709"/>
                </a:cubicBez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0618"/>
                  <a:pt x="20618" y="20618"/>
                </a:cubicBezTo>
                <a:close/>
                <a:moveTo>
                  <a:pt x="4909" y="20127"/>
                </a:moveTo>
                <a:lnTo>
                  <a:pt x="1473" y="16691"/>
                </a:lnTo>
                <a:lnTo>
                  <a:pt x="4909" y="16691"/>
                </a:lnTo>
                <a:cubicBezTo>
                  <a:pt x="4909" y="16691"/>
                  <a:pt x="4909" y="20127"/>
                  <a:pt x="4909" y="20127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lnTo>
                  <a:pt x="4909" y="21600"/>
                </a:lnTo>
                <a:lnTo>
                  <a:pt x="20618" y="21600"/>
                </a:lnTo>
                <a:cubicBezTo>
                  <a:pt x="21160" y="21600"/>
                  <a:pt x="21600" y="21161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418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4418" y="7855"/>
                </a:lnTo>
                <a:cubicBezTo>
                  <a:pt x="4147" y="7855"/>
                  <a:pt x="3927" y="8075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4418" y="5891"/>
                </a:moveTo>
                <a:lnTo>
                  <a:pt x="10309" y="5891"/>
                </a:lnTo>
                <a:cubicBezTo>
                  <a:pt x="10580" y="5891"/>
                  <a:pt x="10800" y="5672"/>
                  <a:pt x="10800" y="5400"/>
                </a:cubicBezTo>
                <a:cubicBezTo>
                  <a:pt x="10800" y="5129"/>
                  <a:pt x="10580" y="4909"/>
                  <a:pt x="10309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cubicBezTo>
                  <a:pt x="3927" y="5672"/>
                  <a:pt x="4147" y="5891"/>
                  <a:pt x="4418" y="58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7" name="Shape 2537"/>
          <p:cNvSpPr/>
          <p:nvPr/>
        </p:nvSpPr>
        <p:spPr>
          <a:xfrm>
            <a:off x="3942375" y="5162513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3600" y="13745"/>
                </a:lnTo>
                <a:cubicBezTo>
                  <a:pt x="3269" y="13745"/>
                  <a:pt x="3000" y="13966"/>
                  <a:pt x="3000" y="14236"/>
                </a:cubicBezTo>
                <a:cubicBezTo>
                  <a:pt x="3000" y="14508"/>
                  <a:pt x="3269" y="14727"/>
                  <a:pt x="3600" y="14727"/>
                </a:cubicBezTo>
                <a:lnTo>
                  <a:pt x="14400" y="14727"/>
                </a:lnTo>
                <a:cubicBezTo>
                  <a:pt x="14731" y="14727"/>
                  <a:pt x="15000" y="14508"/>
                  <a:pt x="15000" y="14236"/>
                </a:cubicBezTo>
                <a:cubicBezTo>
                  <a:pt x="15000" y="13966"/>
                  <a:pt x="14731" y="13745"/>
                  <a:pt x="14400" y="13745"/>
                </a:cubicBezTo>
                <a:moveTo>
                  <a:pt x="3000" y="11291"/>
                </a:moveTo>
                <a:cubicBezTo>
                  <a:pt x="3000" y="11562"/>
                  <a:pt x="3269" y="11782"/>
                  <a:pt x="3600" y="11782"/>
                </a:cubicBezTo>
                <a:lnTo>
                  <a:pt x="18000" y="11782"/>
                </a:lnTo>
                <a:cubicBezTo>
                  <a:pt x="18331" y="11782"/>
                  <a:pt x="18600" y="11562"/>
                  <a:pt x="18600" y="11291"/>
                </a:cubicBezTo>
                <a:cubicBezTo>
                  <a:pt x="18600" y="11020"/>
                  <a:pt x="18331" y="10800"/>
                  <a:pt x="18000" y="10800"/>
                </a:cubicBezTo>
                <a:lnTo>
                  <a:pt x="3600" y="10800"/>
                </a:lnTo>
                <a:cubicBezTo>
                  <a:pt x="3269" y="10800"/>
                  <a:pt x="3000" y="11020"/>
                  <a:pt x="3000" y="11291"/>
                </a:cubicBezTo>
                <a:moveTo>
                  <a:pt x="20400" y="20618"/>
                </a:moveTo>
                <a:lnTo>
                  <a:pt x="6600" y="20618"/>
                </a:lnTo>
                <a:lnTo>
                  <a:pt x="1200" y="16200"/>
                </a:lnTo>
                <a:lnTo>
                  <a:pt x="1200" y="2945"/>
                </a:lnTo>
                <a:lnTo>
                  <a:pt x="4200" y="2945"/>
                </a:lnTo>
                <a:lnTo>
                  <a:pt x="4200" y="4418"/>
                </a:lnTo>
                <a:cubicBezTo>
                  <a:pt x="4200" y="4690"/>
                  <a:pt x="4469" y="4909"/>
                  <a:pt x="4800" y="4909"/>
                </a:cubicBezTo>
                <a:cubicBezTo>
                  <a:pt x="5131" y="4909"/>
                  <a:pt x="5400" y="4690"/>
                  <a:pt x="5400" y="4418"/>
                </a:cubicBezTo>
                <a:lnTo>
                  <a:pt x="5400" y="2945"/>
                </a:lnTo>
                <a:lnTo>
                  <a:pt x="6600" y="2945"/>
                </a:lnTo>
                <a:lnTo>
                  <a:pt x="6600" y="4418"/>
                </a:lnTo>
                <a:cubicBezTo>
                  <a:pt x="6600" y="4690"/>
                  <a:pt x="6869" y="4909"/>
                  <a:pt x="7200" y="4909"/>
                </a:cubicBezTo>
                <a:cubicBezTo>
                  <a:pt x="7531" y="4909"/>
                  <a:pt x="7800" y="4690"/>
                  <a:pt x="7800" y="4418"/>
                </a:cubicBezTo>
                <a:lnTo>
                  <a:pt x="7800" y="2945"/>
                </a:lnTo>
                <a:lnTo>
                  <a:pt x="9000" y="2945"/>
                </a:lnTo>
                <a:lnTo>
                  <a:pt x="9000" y="4418"/>
                </a:lnTo>
                <a:cubicBezTo>
                  <a:pt x="9000" y="4690"/>
                  <a:pt x="9269" y="4909"/>
                  <a:pt x="9600" y="4909"/>
                </a:cubicBezTo>
                <a:cubicBezTo>
                  <a:pt x="9931" y="4909"/>
                  <a:pt x="10200" y="4690"/>
                  <a:pt x="10200" y="4418"/>
                </a:cubicBezTo>
                <a:lnTo>
                  <a:pt x="10200" y="2945"/>
                </a:lnTo>
                <a:lnTo>
                  <a:pt x="11400" y="2945"/>
                </a:lnTo>
                <a:lnTo>
                  <a:pt x="11400" y="4418"/>
                </a:lnTo>
                <a:cubicBezTo>
                  <a:pt x="11400" y="4690"/>
                  <a:pt x="11669" y="4909"/>
                  <a:pt x="12000" y="4909"/>
                </a:cubicBezTo>
                <a:cubicBezTo>
                  <a:pt x="12331" y="4909"/>
                  <a:pt x="12600" y="4690"/>
                  <a:pt x="12600" y="4418"/>
                </a:cubicBezTo>
                <a:lnTo>
                  <a:pt x="12600" y="2945"/>
                </a:lnTo>
                <a:lnTo>
                  <a:pt x="13800" y="2945"/>
                </a:lnTo>
                <a:lnTo>
                  <a:pt x="13800" y="4418"/>
                </a:lnTo>
                <a:cubicBezTo>
                  <a:pt x="13800" y="4690"/>
                  <a:pt x="14069" y="4909"/>
                  <a:pt x="14400" y="4909"/>
                </a:cubicBezTo>
                <a:cubicBezTo>
                  <a:pt x="14731" y="4909"/>
                  <a:pt x="15000" y="4690"/>
                  <a:pt x="15000" y="4418"/>
                </a:cubicBezTo>
                <a:lnTo>
                  <a:pt x="15000" y="2945"/>
                </a:lnTo>
                <a:lnTo>
                  <a:pt x="16200" y="2945"/>
                </a:lnTo>
                <a:lnTo>
                  <a:pt x="16200" y="4418"/>
                </a:lnTo>
                <a:cubicBezTo>
                  <a:pt x="16200" y="4690"/>
                  <a:pt x="16469" y="4909"/>
                  <a:pt x="16800" y="4909"/>
                </a:cubicBezTo>
                <a:cubicBezTo>
                  <a:pt x="17131" y="4909"/>
                  <a:pt x="17400" y="4690"/>
                  <a:pt x="17400" y="4418"/>
                </a:cubicBezTo>
                <a:lnTo>
                  <a:pt x="17400" y="2945"/>
                </a:lnTo>
                <a:lnTo>
                  <a:pt x="20400" y="2945"/>
                </a:lnTo>
                <a:cubicBezTo>
                  <a:pt x="20400" y="2945"/>
                  <a:pt x="20400" y="20618"/>
                  <a:pt x="20400" y="20618"/>
                </a:cubicBezTo>
                <a:close/>
                <a:moveTo>
                  <a:pt x="1200" y="20618"/>
                </a:moveTo>
                <a:lnTo>
                  <a:pt x="1200" y="17673"/>
                </a:lnTo>
                <a:lnTo>
                  <a:pt x="4800" y="20618"/>
                </a:lnTo>
                <a:cubicBezTo>
                  <a:pt x="4800" y="20618"/>
                  <a:pt x="1200" y="20618"/>
                  <a:pt x="1200" y="20618"/>
                </a:cubicBezTo>
                <a:close/>
                <a:moveTo>
                  <a:pt x="20400" y="1964"/>
                </a:moveTo>
                <a:lnTo>
                  <a:pt x="17400" y="1964"/>
                </a:lnTo>
                <a:lnTo>
                  <a:pt x="17400" y="491"/>
                </a:lnTo>
                <a:cubicBezTo>
                  <a:pt x="17400" y="220"/>
                  <a:pt x="17131" y="0"/>
                  <a:pt x="16800" y="0"/>
                </a:cubicBezTo>
                <a:cubicBezTo>
                  <a:pt x="16469" y="0"/>
                  <a:pt x="16200" y="220"/>
                  <a:pt x="16200" y="491"/>
                </a:cubicBezTo>
                <a:lnTo>
                  <a:pt x="16200" y="1964"/>
                </a:lnTo>
                <a:lnTo>
                  <a:pt x="15000" y="1964"/>
                </a:lnTo>
                <a:lnTo>
                  <a:pt x="15000" y="491"/>
                </a:lnTo>
                <a:cubicBezTo>
                  <a:pt x="15000" y="220"/>
                  <a:pt x="14731" y="0"/>
                  <a:pt x="14400" y="0"/>
                </a:cubicBezTo>
                <a:cubicBezTo>
                  <a:pt x="14069" y="0"/>
                  <a:pt x="13800" y="220"/>
                  <a:pt x="13800" y="491"/>
                </a:cubicBezTo>
                <a:lnTo>
                  <a:pt x="13800" y="1964"/>
                </a:lnTo>
                <a:lnTo>
                  <a:pt x="12600" y="1964"/>
                </a:lnTo>
                <a:lnTo>
                  <a:pt x="12600" y="491"/>
                </a:lnTo>
                <a:cubicBezTo>
                  <a:pt x="12600" y="220"/>
                  <a:pt x="12331" y="0"/>
                  <a:pt x="12000" y="0"/>
                </a:cubicBezTo>
                <a:cubicBezTo>
                  <a:pt x="11669" y="0"/>
                  <a:pt x="11400" y="220"/>
                  <a:pt x="11400" y="491"/>
                </a:cubicBezTo>
                <a:lnTo>
                  <a:pt x="11400" y="1964"/>
                </a:lnTo>
                <a:lnTo>
                  <a:pt x="10200" y="1964"/>
                </a:lnTo>
                <a:lnTo>
                  <a:pt x="10200" y="491"/>
                </a:lnTo>
                <a:cubicBezTo>
                  <a:pt x="10200" y="220"/>
                  <a:pt x="9931" y="0"/>
                  <a:pt x="9600" y="0"/>
                </a:cubicBezTo>
                <a:cubicBezTo>
                  <a:pt x="9269" y="0"/>
                  <a:pt x="9000" y="220"/>
                  <a:pt x="9000" y="491"/>
                </a:cubicBezTo>
                <a:lnTo>
                  <a:pt x="9000" y="1964"/>
                </a:lnTo>
                <a:lnTo>
                  <a:pt x="7800" y="1964"/>
                </a:lnTo>
                <a:lnTo>
                  <a:pt x="7800" y="491"/>
                </a:lnTo>
                <a:cubicBezTo>
                  <a:pt x="7800" y="220"/>
                  <a:pt x="7531" y="0"/>
                  <a:pt x="7200" y="0"/>
                </a:cubicBezTo>
                <a:cubicBezTo>
                  <a:pt x="6869" y="0"/>
                  <a:pt x="6600" y="220"/>
                  <a:pt x="6600" y="491"/>
                </a:cubicBezTo>
                <a:lnTo>
                  <a:pt x="6600" y="1964"/>
                </a:lnTo>
                <a:lnTo>
                  <a:pt x="5400" y="1964"/>
                </a:lnTo>
                <a:lnTo>
                  <a:pt x="5400" y="491"/>
                </a:lnTo>
                <a:cubicBezTo>
                  <a:pt x="5400" y="220"/>
                  <a:pt x="5131" y="0"/>
                  <a:pt x="4800" y="0"/>
                </a:cubicBezTo>
                <a:cubicBezTo>
                  <a:pt x="4469" y="0"/>
                  <a:pt x="4200" y="220"/>
                  <a:pt x="4200" y="491"/>
                </a:cubicBezTo>
                <a:lnTo>
                  <a:pt x="4200" y="1964"/>
                </a:lnTo>
                <a:lnTo>
                  <a:pt x="1200" y="1964"/>
                </a:lnTo>
                <a:cubicBezTo>
                  <a:pt x="538" y="1964"/>
                  <a:pt x="0" y="2404"/>
                  <a:pt x="0" y="2945"/>
                </a:cubicBezTo>
                <a:lnTo>
                  <a:pt x="0" y="20618"/>
                </a:lnTo>
                <a:cubicBezTo>
                  <a:pt x="0" y="21161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1"/>
                  <a:pt x="21600" y="20618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3600" y="8836"/>
                </a:moveTo>
                <a:lnTo>
                  <a:pt x="10800" y="8836"/>
                </a:lnTo>
                <a:cubicBezTo>
                  <a:pt x="11131" y="8836"/>
                  <a:pt x="11400" y="8617"/>
                  <a:pt x="11400" y="8345"/>
                </a:cubicBezTo>
                <a:cubicBezTo>
                  <a:pt x="11400" y="8075"/>
                  <a:pt x="11131" y="7855"/>
                  <a:pt x="10800" y="7855"/>
                </a:cubicBezTo>
                <a:lnTo>
                  <a:pt x="3600" y="7855"/>
                </a:lnTo>
                <a:cubicBezTo>
                  <a:pt x="3269" y="7855"/>
                  <a:pt x="3000" y="8075"/>
                  <a:pt x="3000" y="8345"/>
                </a:cubicBezTo>
                <a:cubicBezTo>
                  <a:pt x="3000" y="8617"/>
                  <a:pt x="3269" y="8836"/>
                  <a:pt x="3600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8" name="Shape 2538"/>
          <p:cNvSpPr/>
          <p:nvPr/>
        </p:nvSpPr>
        <p:spPr>
          <a:xfrm>
            <a:off x="5008896" y="5162513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9" name="Shape 2539"/>
          <p:cNvSpPr/>
          <p:nvPr/>
        </p:nvSpPr>
        <p:spPr>
          <a:xfrm>
            <a:off x="6024631" y="5251391"/>
            <a:ext cx="558654" cy="380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0" name="Shape 2540"/>
          <p:cNvSpPr/>
          <p:nvPr/>
        </p:nvSpPr>
        <p:spPr>
          <a:xfrm>
            <a:off x="7091154" y="516251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1" name="Shape 2541"/>
          <p:cNvSpPr/>
          <p:nvPr/>
        </p:nvSpPr>
        <p:spPr>
          <a:xfrm>
            <a:off x="8208461" y="5213301"/>
            <a:ext cx="457082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2" name="Shape 2542"/>
          <p:cNvSpPr/>
          <p:nvPr/>
        </p:nvSpPr>
        <p:spPr>
          <a:xfrm>
            <a:off x="9224197" y="516251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10309"/>
                </a:moveTo>
                <a:lnTo>
                  <a:pt x="4909" y="10309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10309"/>
                  <a:pt x="16691" y="10309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1291"/>
                </a:lnTo>
                <a:lnTo>
                  <a:pt x="16691" y="11291"/>
                </a:lnTo>
                <a:cubicBezTo>
                  <a:pt x="16691" y="11291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3" name="Shape 2543"/>
          <p:cNvSpPr/>
          <p:nvPr/>
        </p:nvSpPr>
        <p:spPr>
          <a:xfrm>
            <a:off x="10290720" y="516251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8655"/>
                </a:moveTo>
                <a:lnTo>
                  <a:pt x="14727" y="18655"/>
                </a:lnTo>
                <a:lnTo>
                  <a:pt x="14727" y="19636"/>
                </a:lnTo>
                <a:lnTo>
                  <a:pt x="15709" y="19636"/>
                </a:lnTo>
                <a:cubicBezTo>
                  <a:pt x="15709" y="19636"/>
                  <a:pt x="15709" y="18655"/>
                  <a:pt x="15709" y="18655"/>
                </a:cubicBezTo>
                <a:close/>
                <a:moveTo>
                  <a:pt x="15709" y="14727"/>
                </a:moveTo>
                <a:lnTo>
                  <a:pt x="14727" y="14727"/>
                </a:lnTo>
                <a:lnTo>
                  <a:pt x="14727" y="15709"/>
                </a:lnTo>
                <a:lnTo>
                  <a:pt x="15709" y="15709"/>
                </a:lnTo>
                <a:cubicBezTo>
                  <a:pt x="15709" y="15709"/>
                  <a:pt x="15709" y="14727"/>
                  <a:pt x="15709" y="14727"/>
                </a:cubicBezTo>
                <a:close/>
                <a:moveTo>
                  <a:pt x="14727" y="10800"/>
                </a:moveTo>
                <a:lnTo>
                  <a:pt x="15709" y="10800"/>
                </a:lnTo>
                <a:lnTo>
                  <a:pt x="15709" y="9818"/>
                </a:lnTo>
                <a:lnTo>
                  <a:pt x="14727" y="9818"/>
                </a:lnTo>
                <a:cubicBezTo>
                  <a:pt x="14727" y="9818"/>
                  <a:pt x="14727" y="10800"/>
                  <a:pt x="14727" y="10800"/>
                </a:cubicBezTo>
                <a:close/>
                <a:moveTo>
                  <a:pt x="15709" y="16691"/>
                </a:moveTo>
                <a:lnTo>
                  <a:pt x="14727" y="16691"/>
                </a:lnTo>
                <a:lnTo>
                  <a:pt x="14727" y="17673"/>
                </a:lnTo>
                <a:lnTo>
                  <a:pt x="15709" y="17673"/>
                </a:lnTo>
                <a:cubicBezTo>
                  <a:pt x="15709" y="17673"/>
                  <a:pt x="15709" y="16691"/>
                  <a:pt x="15709" y="16691"/>
                </a:cubicBezTo>
                <a:close/>
                <a:moveTo>
                  <a:pt x="14727" y="8836"/>
                </a:moveTo>
                <a:lnTo>
                  <a:pt x="15709" y="8836"/>
                </a:lnTo>
                <a:lnTo>
                  <a:pt x="15709" y="7855"/>
                </a:lnTo>
                <a:lnTo>
                  <a:pt x="14727" y="7855"/>
                </a:lnTo>
                <a:cubicBezTo>
                  <a:pt x="14727" y="7855"/>
                  <a:pt x="14727" y="8836"/>
                  <a:pt x="14727" y="8836"/>
                </a:cubicBezTo>
                <a:close/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1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7" y="6873"/>
                </a:moveTo>
                <a:lnTo>
                  <a:pt x="15709" y="6873"/>
                </a:lnTo>
                <a:lnTo>
                  <a:pt x="15709" y="5891"/>
                </a:lnTo>
                <a:lnTo>
                  <a:pt x="14727" y="5891"/>
                </a:lnTo>
                <a:cubicBezTo>
                  <a:pt x="14727" y="5891"/>
                  <a:pt x="14727" y="6873"/>
                  <a:pt x="14727" y="6873"/>
                </a:cubicBezTo>
                <a:close/>
                <a:moveTo>
                  <a:pt x="16691" y="12273"/>
                </a:moveTo>
                <a:lnTo>
                  <a:pt x="13745" y="12273"/>
                </a:lnTo>
                <a:lnTo>
                  <a:pt x="13745" y="4909"/>
                </a:ln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2273"/>
                  <a:pt x="16691" y="12273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3745" y="20618"/>
                </a:lnTo>
                <a:lnTo>
                  <a:pt x="13745" y="13255"/>
                </a:lnTo>
                <a:lnTo>
                  <a:pt x="16691" y="13255"/>
                </a:lnTo>
                <a:cubicBezTo>
                  <a:pt x="16691" y="13255"/>
                  <a:pt x="16691" y="19636"/>
                  <a:pt x="16691" y="19636"/>
                </a:cubicBezTo>
                <a:close/>
                <a:moveTo>
                  <a:pt x="12764" y="12273"/>
                </a:moveTo>
                <a:lnTo>
                  <a:pt x="4909" y="12273"/>
                </a:lnTo>
                <a:lnTo>
                  <a:pt x="4909" y="4909"/>
                </a:lnTo>
                <a:lnTo>
                  <a:pt x="12764" y="4909"/>
                </a:lnTo>
                <a:cubicBezTo>
                  <a:pt x="12764" y="4909"/>
                  <a:pt x="12764" y="12273"/>
                  <a:pt x="12764" y="12273"/>
                </a:cubicBezTo>
                <a:close/>
                <a:moveTo>
                  <a:pt x="12764" y="20618"/>
                </a:moveTo>
                <a:lnTo>
                  <a:pt x="4909" y="20618"/>
                </a:lnTo>
                <a:lnTo>
                  <a:pt x="4909" y="13255"/>
                </a:lnTo>
                <a:lnTo>
                  <a:pt x="12764" y="13255"/>
                </a:lnTo>
                <a:cubicBezTo>
                  <a:pt x="12764" y="13255"/>
                  <a:pt x="12764" y="20618"/>
                  <a:pt x="12764" y="20618"/>
                </a:cubicBezTo>
                <a:close/>
                <a:moveTo>
                  <a:pt x="3927" y="12273"/>
                </a:moveTo>
                <a:lnTo>
                  <a:pt x="982" y="12273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3927" y="4909"/>
                </a:lnTo>
                <a:cubicBezTo>
                  <a:pt x="3927" y="4909"/>
                  <a:pt x="3927" y="12273"/>
                  <a:pt x="3927" y="12273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255"/>
                </a:lnTo>
                <a:lnTo>
                  <a:pt x="3927" y="13255"/>
                </a:lnTo>
                <a:cubicBezTo>
                  <a:pt x="3927" y="13255"/>
                  <a:pt x="3927" y="20618"/>
                  <a:pt x="3927" y="20618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1964" y="10800"/>
                </a:moveTo>
                <a:lnTo>
                  <a:pt x="2945" y="10800"/>
                </a:lnTo>
                <a:lnTo>
                  <a:pt x="2945" y="9818"/>
                </a:lnTo>
                <a:lnTo>
                  <a:pt x="1964" y="9818"/>
                </a:lnTo>
                <a:cubicBezTo>
                  <a:pt x="1964" y="9818"/>
                  <a:pt x="1964" y="10800"/>
                  <a:pt x="1964" y="10800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4" name="Shape 2544"/>
          <p:cNvSpPr/>
          <p:nvPr/>
        </p:nvSpPr>
        <p:spPr>
          <a:xfrm>
            <a:off x="11357242" y="516251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8255"/>
                </a:moveTo>
                <a:lnTo>
                  <a:pt x="12837" y="10800"/>
                </a:lnTo>
                <a:lnTo>
                  <a:pt x="8836" y="13345"/>
                </a:lnTo>
                <a:cubicBezTo>
                  <a:pt x="8836" y="13345"/>
                  <a:pt x="8836" y="8255"/>
                  <a:pt x="8836" y="8255"/>
                </a:cubicBezTo>
                <a:close/>
                <a:moveTo>
                  <a:pt x="8345" y="14727"/>
                </a:moveTo>
                <a:cubicBezTo>
                  <a:pt x="8461" y="14727"/>
                  <a:pt x="8564" y="14681"/>
                  <a:pt x="8647" y="14614"/>
                </a:cubicBezTo>
                <a:lnTo>
                  <a:pt x="8652" y="14620"/>
                </a:lnTo>
                <a:lnTo>
                  <a:pt x="14052" y="11184"/>
                </a:lnTo>
                <a:lnTo>
                  <a:pt x="14047" y="11178"/>
                </a:lnTo>
                <a:cubicBezTo>
                  <a:pt x="14160" y="11088"/>
                  <a:pt x="14236" y="10955"/>
                  <a:pt x="14236" y="10800"/>
                </a:cubicBezTo>
                <a:cubicBezTo>
                  <a:pt x="14236" y="10645"/>
                  <a:pt x="14160" y="10512"/>
                  <a:pt x="14047" y="10422"/>
                </a:cubicBezTo>
                <a:lnTo>
                  <a:pt x="14052" y="10417"/>
                </a:lnTo>
                <a:lnTo>
                  <a:pt x="8652" y="6980"/>
                </a:lnTo>
                <a:lnTo>
                  <a:pt x="8647" y="6986"/>
                </a:lnTo>
                <a:cubicBezTo>
                  <a:pt x="8564" y="6919"/>
                  <a:pt x="8461" y="6873"/>
                  <a:pt x="8345" y="6873"/>
                </a:cubicBezTo>
                <a:cubicBezTo>
                  <a:pt x="8074" y="6873"/>
                  <a:pt x="7855" y="7093"/>
                  <a:pt x="7855" y="7364"/>
                </a:cubicBezTo>
                <a:lnTo>
                  <a:pt x="7855" y="14236"/>
                </a:lnTo>
                <a:cubicBezTo>
                  <a:pt x="7855" y="14507"/>
                  <a:pt x="8074" y="14727"/>
                  <a:pt x="8345" y="14727"/>
                </a:cubicBezTo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5" name="Shape 2545"/>
          <p:cNvSpPr/>
          <p:nvPr/>
        </p:nvSpPr>
        <p:spPr>
          <a:xfrm>
            <a:off x="1758543" y="622903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9"/>
                </a:moveTo>
                <a:cubicBezTo>
                  <a:pt x="5377" y="20619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3336" y="982"/>
                  <a:pt x="15638" y="1950"/>
                  <a:pt x="17377" y="3529"/>
                </a:cubicBezTo>
                <a:lnTo>
                  <a:pt x="10453" y="10453"/>
                </a:lnTo>
                <a:cubicBezTo>
                  <a:pt x="10364" y="10542"/>
                  <a:pt x="10309" y="10665"/>
                  <a:pt x="10309" y="10800"/>
                </a:cubicBezTo>
                <a:cubicBezTo>
                  <a:pt x="10309" y="11072"/>
                  <a:pt x="10529" y="11291"/>
                  <a:pt x="10800" y="11291"/>
                </a:cubicBezTo>
                <a:lnTo>
                  <a:pt x="20594" y="11291"/>
                </a:lnTo>
                <a:cubicBezTo>
                  <a:pt x="20336" y="16484"/>
                  <a:pt x="16057" y="20619"/>
                  <a:pt x="10800" y="20619"/>
                </a:cubicBezTo>
                <a:moveTo>
                  <a:pt x="20594" y="10309"/>
                </a:moveTo>
                <a:lnTo>
                  <a:pt x="11985" y="10309"/>
                </a:lnTo>
                <a:lnTo>
                  <a:pt x="18071" y="4223"/>
                </a:lnTo>
                <a:cubicBezTo>
                  <a:pt x="19541" y="5852"/>
                  <a:pt x="20477" y="7971"/>
                  <a:pt x="20594" y="10309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6" name="Shape 2546"/>
          <p:cNvSpPr/>
          <p:nvPr/>
        </p:nvSpPr>
        <p:spPr>
          <a:xfrm>
            <a:off x="2825064" y="6279822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7" name="Shape 2547"/>
          <p:cNvSpPr/>
          <p:nvPr/>
        </p:nvSpPr>
        <p:spPr>
          <a:xfrm>
            <a:off x="3891587" y="622903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8" name="Shape 2548"/>
          <p:cNvSpPr/>
          <p:nvPr/>
        </p:nvSpPr>
        <p:spPr>
          <a:xfrm>
            <a:off x="4958109" y="6444879"/>
            <a:ext cx="558654" cy="1269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7280"/>
                </a:moveTo>
                <a:cubicBezTo>
                  <a:pt x="18332" y="17280"/>
                  <a:pt x="17673" y="14380"/>
                  <a:pt x="17673" y="10800"/>
                </a:cubicBezTo>
                <a:cubicBezTo>
                  <a:pt x="17673" y="7224"/>
                  <a:pt x="18332" y="4320"/>
                  <a:pt x="19145" y="4320"/>
                </a:cubicBezTo>
                <a:cubicBezTo>
                  <a:pt x="19959" y="4320"/>
                  <a:pt x="20618" y="7224"/>
                  <a:pt x="20618" y="10800"/>
                </a:cubicBezTo>
                <a:cubicBezTo>
                  <a:pt x="20618" y="14380"/>
                  <a:pt x="19959" y="17280"/>
                  <a:pt x="19145" y="17280"/>
                </a:cubicBezTo>
                <a:moveTo>
                  <a:pt x="19145" y="0"/>
                </a:moveTo>
                <a:cubicBezTo>
                  <a:pt x="17790" y="0"/>
                  <a:pt x="16691" y="4837"/>
                  <a:pt x="16691" y="10800"/>
                </a:cubicBezTo>
                <a:cubicBezTo>
                  <a:pt x="16691" y="16766"/>
                  <a:pt x="17790" y="21600"/>
                  <a:pt x="19145" y="21600"/>
                </a:cubicBezTo>
                <a:cubicBezTo>
                  <a:pt x="20501" y="21600"/>
                  <a:pt x="21600" y="16766"/>
                  <a:pt x="21600" y="10800"/>
                </a:cubicBezTo>
                <a:cubicBezTo>
                  <a:pt x="21600" y="4837"/>
                  <a:pt x="20501" y="0"/>
                  <a:pt x="19145" y="0"/>
                </a:cubicBezTo>
                <a:moveTo>
                  <a:pt x="10800" y="17280"/>
                </a:moveTo>
                <a:cubicBezTo>
                  <a:pt x="9986" y="17280"/>
                  <a:pt x="9327" y="14380"/>
                  <a:pt x="9327" y="10800"/>
                </a:cubicBezTo>
                <a:cubicBezTo>
                  <a:pt x="9327" y="7224"/>
                  <a:pt x="9986" y="4320"/>
                  <a:pt x="10800" y="4320"/>
                </a:cubicBezTo>
                <a:cubicBezTo>
                  <a:pt x="11614" y="4320"/>
                  <a:pt x="12273" y="7224"/>
                  <a:pt x="12273" y="10800"/>
                </a:cubicBezTo>
                <a:cubicBezTo>
                  <a:pt x="12273" y="14380"/>
                  <a:pt x="11614" y="17280"/>
                  <a:pt x="10800" y="17280"/>
                </a:cubicBezTo>
                <a:moveTo>
                  <a:pt x="10800" y="0"/>
                </a:moveTo>
                <a:cubicBezTo>
                  <a:pt x="9444" y="0"/>
                  <a:pt x="8345" y="4837"/>
                  <a:pt x="8345" y="10800"/>
                </a:cubicBezTo>
                <a:cubicBezTo>
                  <a:pt x="8345" y="16766"/>
                  <a:pt x="9444" y="21600"/>
                  <a:pt x="10800" y="21600"/>
                </a:cubicBezTo>
                <a:cubicBezTo>
                  <a:pt x="12156" y="21600"/>
                  <a:pt x="13255" y="16766"/>
                  <a:pt x="13255" y="10800"/>
                </a:cubicBezTo>
                <a:cubicBezTo>
                  <a:pt x="13255" y="4837"/>
                  <a:pt x="12156" y="0"/>
                  <a:pt x="10800" y="0"/>
                </a:cubicBezTo>
                <a:moveTo>
                  <a:pt x="2455" y="17280"/>
                </a:moveTo>
                <a:cubicBezTo>
                  <a:pt x="1641" y="17280"/>
                  <a:pt x="982" y="14380"/>
                  <a:pt x="982" y="10800"/>
                </a:cubicBezTo>
                <a:cubicBezTo>
                  <a:pt x="982" y="7224"/>
                  <a:pt x="1641" y="4320"/>
                  <a:pt x="2455" y="4320"/>
                </a:cubicBezTo>
                <a:cubicBezTo>
                  <a:pt x="3268" y="4320"/>
                  <a:pt x="3927" y="7224"/>
                  <a:pt x="3927" y="10800"/>
                </a:cubicBezTo>
                <a:cubicBezTo>
                  <a:pt x="3927" y="14380"/>
                  <a:pt x="3268" y="17280"/>
                  <a:pt x="2455" y="17280"/>
                </a:cubicBezTo>
                <a:moveTo>
                  <a:pt x="2455" y="0"/>
                </a:moveTo>
                <a:cubicBezTo>
                  <a:pt x="1099" y="0"/>
                  <a:pt x="0" y="4837"/>
                  <a:pt x="0" y="10800"/>
                </a:cubicBezTo>
                <a:cubicBezTo>
                  <a:pt x="0" y="16766"/>
                  <a:pt x="1099" y="21600"/>
                  <a:pt x="2455" y="21600"/>
                </a:cubicBezTo>
                <a:cubicBezTo>
                  <a:pt x="3811" y="21600"/>
                  <a:pt x="4909" y="16766"/>
                  <a:pt x="4909" y="10800"/>
                </a:cubicBezTo>
                <a:cubicBezTo>
                  <a:pt x="4909" y="4837"/>
                  <a:pt x="3811" y="0"/>
                  <a:pt x="2455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9" name="Shape 2549"/>
          <p:cNvSpPr/>
          <p:nvPr/>
        </p:nvSpPr>
        <p:spPr>
          <a:xfrm>
            <a:off x="6024631" y="622903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1291"/>
                </a:moveTo>
                <a:cubicBezTo>
                  <a:pt x="10529" y="11291"/>
                  <a:pt x="10309" y="11072"/>
                  <a:pt x="10309" y="10800"/>
                </a:cubicBezTo>
                <a:cubicBezTo>
                  <a:pt x="10309" y="10529"/>
                  <a:pt x="10529" y="10309"/>
                  <a:pt x="10800" y="10309"/>
                </a:cubicBezTo>
                <a:cubicBezTo>
                  <a:pt x="11071" y="10309"/>
                  <a:pt x="11291" y="10529"/>
                  <a:pt x="11291" y="10800"/>
                </a:cubicBezTo>
                <a:cubicBezTo>
                  <a:pt x="11291" y="11072"/>
                  <a:pt x="11071" y="11291"/>
                  <a:pt x="10800" y="11291"/>
                </a:cubicBezTo>
                <a:moveTo>
                  <a:pt x="10800" y="9327"/>
                </a:moveTo>
                <a:cubicBezTo>
                  <a:pt x="9986" y="9327"/>
                  <a:pt x="9327" y="9987"/>
                  <a:pt x="9327" y="10800"/>
                </a:cubicBezTo>
                <a:cubicBezTo>
                  <a:pt x="9327" y="11614"/>
                  <a:pt x="9986" y="12273"/>
                  <a:pt x="10800" y="12273"/>
                </a:cubicBezTo>
                <a:cubicBezTo>
                  <a:pt x="11614" y="12273"/>
                  <a:pt x="12273" y="11614"/>
                  <a:pt x="12273" y="10800"/>
                </a:cubicBezTo>
                <a:cubicBezTo>
                  <a:pt x="12273" y="9987"/>
                  <a:pt x="11614" y="9327"/>
                  <a:pt x="10800" y="9327"/>
                </a:cubicBezTo>
                <a:moveTo>
                  <a:pt x="5400" y="11291"/>
                </a:moveTo>
                <a:cubicBezTo>
                  <a:pt x="5129" y="11291"/>
                  <a:pt x="4909" y="11072"/>
                  <a:pt x="4909" y="10800"/>
                </a:cubicBezTo>
                <a:cubicBezTo>
                  <a:pt x="4909" y="10529"/>
                  <a:pt x="5129" y="10309"/>
                  <a:pt x="5400" y="10309"/>
                </a:cubicBezTo>
                <a:cubicBezTo>
                  <a:pt x="5671" y="10309"/>
                  <a:pt x="5891" y="10529"/>
                  <a:pt x="5891" y="10800"/>
                </a:cubicBezTo>
                <a:cubicBezTo>
                  <a:pt x="5891" y="11072"/>
                  <a:pt x="5671" y="11291"/>
                  <a:pt x="5400" y="11291"/>
                </a:cubicBezTo>
                <a:moveTo>
                  <a:pt x="5400" y="9327"/>
                </a:moveTo>
                <a:cubicBezTo>
                  <a:pt x="4586" y="9327"/>
                  <a:pt x="3927" y="9987"/>
                  <a:pt x="3927" y="10800"/>
                </a:cubicBezTo>
                <a:cubicBezTo>
                  <a:pt x="3927" y="11614"/>
                  <a:pt x="4586" y="12273"/>
                  <a:pt x="5400" y="12273"/>
                </a:cubicBezTo>
                <a:cubicBezTo>
                  <a:pt x="6214" y="12273"/>
                  <a:pt x="6873" y="11614"/>
                  <a:pt x="6873" y="10800"/>
                </a:cubicBezTo>
                <a:cubicBezTo>
                  <a:pt x="6873" y="9987"/>
                  <a:pt x="6214" y="9327"/>
                  <a:pt x="5400" y="9327"/>
                </a:cubicBezTo>
                <a:moveTo>
                  <a:pt x="16200" y="11291"/>
                </a:moveTo>
                <a:cubicBezTo>
                  <a:pt x="15929" y="11291"/>
                  <a:pt x="15709" y="11072"/>
                  <a:pt x="15709" y="10800"/>
                </a:cubicBezTo>
                <a:cubicBezTo>
                  <a:pt x="15709" y="10529"/>
                  <a:pt x="15929" y="10309"/>
                  <a:pt x="16200" y="10309"/>
                </a:cubicBezTo>
                <a:cubicBezTo>
                  <a:pt x="16471" y="10309"/>
                  <a:pt x="16691" y="10529"/>
                  <a:pt x="16691" y="10800"/>
                </a:cubicBezTo>
                <a:cubicBezTo>
                  <a:pt x="16691" y="11072"/>
                  <a:pt x="16471" y="11291"/>
                  <a:pt x="16200" y="11291"/>
                </a:cubicBezTo>
                <a:moveTo>
                  <a:pt x="16200" y="9327"/>
                </a:moveTo>
                <a:cubicBezTo>
                  <a:pt x="15386" y="9327"/>
                  <a:pt x="14727" y="9987"/>
                  <a:pt x="14727" y="10800"/>
                </a:cubicBezTo>
                <a:cubicBezTo>
                  <a:pt x="14727" y="11614"/>
                  <a:pt x="15386" y="12273"/>
                  <a:pt x="16200" y="12273"/>
                </a:cubicBezTo>
                <a:cubicBezTo>
                  <a:pt x="17014" y="12273"/>
                  <a:pt x="17673" y="11614"/>
                  <a:pt x="17673" y="10800"/>
                </a:cubicBezTo>
                <a:cubicBezTo>
                  <a:pt x="17673" y="9987"/>
                  <a:pt x="17014" y="9327"/>
                  <a:pt x="16200" y="93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0" name="Shape 2550"/>
          <p:cNvSpPr/>
          <p:nvPr/>
        </p:nvSpPr>
        <p:spPr>
          <a:xfrm>
            <a:off x="7091154" y="622903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1" name="Shape 2551"/>
          <p:cNvSpPr/>
          <p:nvPr/>
        </p:nvSpPr>
        <p:spPr>
          <a:xfrm>
            <a:off x="8157677" y="622903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55" y="6010"/>
                </a:moveTo>
                <a:lnTo>
                  <a:pt x="18630" y="7136"/>
                </a:lnTo>
                <a:lnTo>
                  <a:pt x="14465" y="2970"/>
                </a:lnTo>
                <a:lnTo>
                  <a:pt x="15590" y="1845"/>
                </a:lnTo>
                <a:cubicBezTo>
                  <a:pt x="15590" y="1845"/>
                  <a:pt x="16391" y="982"/>
                  <a:pt x="17673" y="982"/>
                </a:cubicBezTo>
                <a:cubicBezTo>
                  <a:pt x="19300" y="982"/>
                  <a:pt x="20618" y="2300"/>
                  <a:pt x="20618" y="3927"/>
                </a:cubicBezTo>
                <a:cubicBezTo>
                  <a:pt x="20618" y="4741"/>
                  <a:pt x="20288" y="5477"/>
                  <a:pt x="19755" y="6010"/>
                </a:cubicBezTo>
                <a:moveTo>
                  <a:pt x="7364" y="18402"/>
                </a:moveTo>
                <a:lnTo>
                  <a:pt x="7364" y="14727"/>
                </a:lnTo>
                <a:cubicBezTo>
                  <a:pt x="7364" y="14456"/>
                  <a:pt x="7144" y="14236"/>
                  <a:pt x="6873" y="14236"/>
                </a:cubicBezTo>
                <a:lnTo>
                  <a:pt x="3198" y="14236"/>
                </a:lnTo>
                <a:lnTo>
                  <a:pt x="13770" y="3665"/>
                </a:lnTo>
                <a:lnTo>
                  <a:pt x="17935" y="7830"/>
                </a:lnTo>
                <a:cubicBezTo>
                  <a:pt x="17935" y="7830"/>
                  <a:pt x="7364" y="18402"/>
                  <a:pt x="7364" y="18402"/>
                </a:cubicBezTo>
                <a:close/>
                <a:moveTo>
                  <a:pt x="6382" y="19042"/>
                </a:moveTo>
                <a:lnTo>
                  <a:pt x="2945" y="19845"/>
                </a:lnTo>
                <a:lnTo>
                  <a:pt x="2945" y="18655"/>
                </a:lnTo>
                <a:lnTo>
                  <a:pt x="1755" y="18655"/>
                </a:lnTo>
                <a:lnTo>
                  <a:pt x="2558" y="15218"/>
                </a:lnTo>
                <a:lnTo>
                  <a:pt x="6382" y="15218"/>
                </a:lnTo>
                <a:cubicBezTo>
                  <a:pt x="6382" y="15218"/>
                  <a:pt x="6382" y="19042"/>
                  <a:pt x="6382" y="19042"/>
                </a:cubicBezTo>
                <a:close/>
                <a:moveTo>
                  <a:pt x="17673" y="0"/>
                </a:moveTo>
                <a:cubicBezTo>
                  <a:pt x="16588" y="0"/>
                  <a:pt x="15606" y="439"/>
                  <a:pt x="14896" y="1151"/>
                </a:cubicBezTo>
                <a:lnTo>
                  <a:pt x="1641" y="14405"/>
                </a:lnTo>
                <a:lnTo>
                  <a:pt x="0" y="21600"/>
                </a:lnTo>
                <a:lnTo>
                  <a:pt x="7195" y="19959"/>
                </a:lnTo>
                <a:lnTo>
                  <a:pt x="20449" y="6704"/>
                </a:lnTo>
                <a:cubicBezTo>
                  <a:pt x="21160" y="5994"/>
                  <a:pt x="21600" y="5012"/>
                  <a:pt x="21600" y="3927"/>
                </a:cubicBezTo>
                <a:cubicBezTo>
                  <a:pt x="21600" y="1758"/>
                  <a:pt x="19842" y="0"/>
                  <a:pt x="17673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2" name="Shape 2552"/>
          <p:cNvSpPr/>
          <p:nvPr/>
        </p:nvSpPr>
        <p:spPr>
          <a:xfrm>
            <a:off x="9224197" y="625443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3" name="Shape 2553"/>
          <p:cNvSpPr/>
          <p:nvPr/>
        </p:nvSpPr>
        <p:spPr>
          <a:xfrm>
            <a:off x="10290720" y="625443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8100"/>
                </a:moveTo>
                <a:cubicBezTo>
                  <a:pt x="14896" y="8100"/>
                  <a:pt x="14236" y="8826"/>
                  <a:pt x="14236" y="9720"/>
                </a:cubicBezTo>
                <a:cubicBezTo>
                  <a:pt x="14236" y="10615"/>
                  <a:pt x="14896" y="11340"/>
                  <a:pt x="15709" y="11340"/>
                </a:cubicBezTo>
                <a:cubicBezTo>
                  <a:pt x="16522" y="11340"/>
                  <a:pt x="17182" y="10615"/>
                  <a:pt x="17182" y="9720"/>
                </a:cubicBezTo>
                <a:cubicBezTo>
                  <a:pt x="17182" y="8826"/>
                  <a:pt x="16522" y="8100"/>
                  <a:pt x="15709" y="8100"/>
                </a:cubicBezTo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  <a:moveTo>
                  <a:pt x="10800" y="8100"/>
                </a:moveTo>
                <a:cubicBezTo>
                  <a:pt x="9987" y="8100"/>
                  <a:pt x="9327" y="8826"/>
                  <a:pt x="9327" y="9720"/>
                </a:cubicBezTo>
                <a:cubicBezTo>
                  <a:pt x="9327" y="10615"/>
                  <a:pt x="9987" y="11340"/>
                  <a:pt x="10800" y="11340"/>
                </a:cubicBezTo>
                <a:cubicBezTo>
                  <a:pt x="11613" y="11340"/>
                  <a:pt x="12273" y="10615"/>
                  <a:pt x="12273" y="9720"/>
                </a:cubicBezTo>
                <a:cubicBezTo>
                  <a:pt x="12273" y="8826"/>
                  <a:pt x="11613" y="8100"/>
                  <a:pt x="10800" y="8100"/>
                </a:cubicBezTo>
                <a:moveTo>
                  <a:pt x="5891" y="8100"/>
                </a:moveTo>
                <a:cubicBezTo>
                  <a:pt x="5078" y="8100"/>
                  <a:pt x="4418" y="8826"/>
                  <a:pt x="4418" y="9720"/>
                </a:cubicBezTo>
                <a:cubicBezTo>
                  <a:pt x="4418" y="10615"/>
                  <a:pt x="5078" y="11340"/>
                  <a:pt x="5891" y="11340"/>
                </a:cubicBezTo>
                <a:cubicBezTo>
                  <a:pt x="6704" y="11340"/>
                  <a:pt x="7364" y="10615"/>
                  <a:pt x="7364" y="9720"/>
                </a:cubicBezTo>
                <a:cubicBezTo>
                  <a:pt x="7364" y="8826"/>
                  <a:pt x="6704" y="8100"/>
                  <a:pt x="5891" y="81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4" name="Shape 2554"/>
          <p:cNvSpPr/>
          <p:nvPr/>
        </p:nvSpPr>
        <p:spPr>
          <a:xfrm>
            <a:off x="11357242" y="625443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18900"/>
                </a:moveTo>
                <a:cubicBezTo>
                  <a:pt x="7279" y="18900"/>
                  <a:pt x="6684" y="18827"/>
                  <a:pt x="6086" y="18683"/>
                </a:cubicBezTo>
                <a:cubicBezTo>
                  <a:pt x="6017" y="18666"/>
                  <a:pt x="5946" y="18658"/>
                  <a:pt x="5876" y="18658"/>
                </a:cubicBezTo>
                <a:cubicBezTo>
                  <a:pt x="5756" y="18658"/>
                  <a:pt x="5636" y="18682"/>
                  <a:pt x="5523" y="18729"/>
                </a:cubicBezTo>
                <a:lnTo>
                  <a:pt x="2957" y="19815"/>
                </a:lnTo>
                <a:lnTo>
                  <a:pt x="3365" y="18243"/>
                </a:lnTo>
                <a:cubicBezTo>
                  <a:pt x="3474" y="17827"/>
                  <a:pt x="3345" y="17380"/>
                  <a:pt x="3039" y="17108"/>
                </a:cubicBezTo>
                <a:cubicBezTo>
                  <a:pt x="1712" y="15926"/>
                  <a:pt x="982" y="14358"/>
                  <a:pt x="982" y="12690"/>
                </a:cubicBezTo>
                <a:cubicBezTo>
                  <a:pt x="982" y="9266"/>
                  <a:pt x="4065" y="6480"/>
                  <a:pt x="7855" y="6480"/>
                </a:cubicBezTo>
                <a:cubicBezTo>
                  <a:pt x="11644" y="6480"/>
                  <a:pt x="14727" y="9266"/>
                  <a:pt x="14727" y="12690"/>
                </a:cubicBezTo>
                <a:cubicBezTo>
                  <a:pt x="14727" y="16114"/>
                  <a:pt x="11644" y="18900"/>
                  <a:pt x="7855" y="18900"/>
                </a:cubicBezTo>
                <a:moveTo>
                  <a:pt x="7855" y="5400"/>
                </a:moveTo>
                <a:cubicBezTo>
                  <a:pt x="3517" y="5400"/>
                  <a:pt x="0" y="8664"/>
                  <a:pt x="0" y="12690"/>
                </a:cubicBezTo>
                <a:cubicBezTo>
                  <a:pt x="0" y="14758"/>
                  <a:pt x="932" y="16620"/>
                  <a:pt x="2422" y="17947"/>
                </a:cubicBezTo>
                <a:lnTo>
                  <a:pt x="1473" y="21600"/>
                </a:lnTo>
                <a:lnTo>
                  <a:pt x="5876" y="19738"/>
                </a:lnTo>
                <a:cubicBezTo>
                  <a:pt x="6509" y="19891"/>
                  <a:pt x="7169" y="19980"/>
                  <a:pt x="7855" y="19980"/>
                </a:cubicBezTo>
                <a:cubicBezTo>
                  <a:pt x="12192" y="19980"/>
                  <a:pt x="15709" y="16716"/>
                  <a:pt x="15709" y="12690"/>
                </a:cubicBezTo>
                <a:cubicBezTo>
                  <a:pt x="15709" y="8664"/>
                  <a:pt x="12192" y="5400"/>
                  <a:pt x="7855" y="5400"/>
                </a:cubicBezTo>
                <a:moveTo>
                  <a:pt x="21600" y="7290"/>
                </a:moveTo>
                <a:cubicBezTo>
                  <a:pt x="21600" y="3264"/>
                  <a:pt x="18084" y="0"/>
                  <a:pt x="13745" y="0"/>
                </a:cubicBezTo>
                <a:cubicBezTo>
                  <a:pt x="10506" y="0"/>
                  <a:pt x="7725" y="1821"/>
                  <a:pt x="6525" y="4422"/>
                </a:cubicBezTo>
                <a:cubicBezTo>
                  <a:pt x="6912" y="4367"/>
                  <a:pt x="7306" y="4332"/>
                  <a:pt x="7708" y="4326"/>
                </a:cubicBezTo>
                <a:cubicBezTo>
                  <a:pt x="8875" y="2394"/>
                  <a:pt x="11143" y="1080"/>
                  <a:pt x="13745" y="1080"/>
                </a:cubicBezTo>
                <a:cubicBezTo>
                  <a:pt x="17535" y="1080"/>
                  <a:pt x="20618" y="3866"/>
                  <a:pt x="20618" y="7290"/>
                </a:cubicBezTo>
                <a:cubicBezTo>
                  <a:pt x="20618" y="8958"/>
                  <a:pt x="19888" y="10526"/>
                  <a:pt x="18561" y="11707"/>
                </a:cubicBezTo>
                <a:cubicBezTo>
                  <a:pt x="18255" y="11980"/>
                  <a:pt x="18126" y="12428"/>
                  <a:pt x="18234" y="12843"/>
                </a:cubicBezTo>
                <a:lnTo>
                  <a:pt x="18643" y="14415"/>
                </a:lnTo>
                <a:lnTo>
                  <a:pt x="16613" y="13556"/>
                </a:lnTo>
                <a:cubicBezTo>
                  <a:pt x="16573" y="13922"/>
                  <a:pt x="16500" y="14278"/>
                  <a:pt x="16411" y="14628"/>
                </a:cubicBezTo>
                <a:lnTo>
                  <a:pt x="20127" y="16200"/>
                </a:lnTo>
                <a:lnTo>
                  <a:pt x="19178" y="12547"/>
                </a:lnTo>
                <a:cubicBezTo>
                  <a:pt x="20669" y="11220"/>
                  <a:pt x="21600" y="9358"/>
                  <a:pt x="21600" y="729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5" name="Shape 2555"/>
          <p:cNvSpPr/>
          <p:nvPr/>
        </p:nvSpPr>
        <p:spPr>
          <a:xfrm>
            <a:off x="1758543" y="729555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35"/>
                  <a:pt x="19650" y="15637"/>
                  <a:pt x="18073" y="1737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8266"/>
                  <a:pt x="1950" y="5963"/>
                  <a:pt x="3527" y="4221"/>
                </a:cubicBezTo>
                <a:lnTo>
                  <a:pt x="17379" y="18073"/>
                </a:lnTo>
                <a:cubicBezTo>
                  <a:pt x="15637" y="19650"/>
                  <a:pt x="13334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6" name="Shape 2556"/>
          <p:cNvSpPr/>
          <p:nvPr/>
        </p:nvSpPr>
        <p:spPr>
          <a:xfrm>
            <a:off x="2825064" y="729555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874" y="5396"/>
                </a:moveTo>
                <a:cubicBezTo>
                  <a:pt x="11493" y="5396"/>
                  <a:pt x="11166" y="5519"/>
                  <a:pt x="10894" y="5766"/>
                </a:cubicBezTo>
                <a:cubicBezTo>
                  <a:pt x="10621" y="6013"/>
                  <a:pt x="10484" y="6310"/>
                  <a:pt x="10484" y="6658"/>
                </a:cubicBezTo>
                <a:cubicBezTo>
                  <a:pt x="10484" y="7005"/>
                  <a:pt x="10621" y="7301"/>
                  <a:pt x="10894" y="7545"/>
                </a:cubicBezTo>
                <a:cubicBezTo>
                  <a:pt x="11166" y="7790"/>
                  <a:pt x="11493" y="7912"/>
                  <a:pt x="11874" y="7912"/>
                </a:cubicBezTo>
                <a:cubicBezTo>
                  <a:pt x="12255" y="7912"/>
                  <a:pt x="12581" y="7790"/>
                  <a:pt x="12852" y="7545"/>
                </a:cubicBezTo>
                <a:cubicBezTo>
                  <a:pt x="13122" y="7301"/>
                  <a:pt x="13257" y="7005"/>
                  <a:pt x="13257" y="6658"/>
                </a:cubicBezTo>
                <a:cubicBezTo>
                  <a:pt x="13257" y="6310"/>
                  <a:pt x="13122" y="6013"/>
                  <a:pt x="12852" y="5766"/>
                </a:cubicBezTo>
                <a:cubicBezTo>
                  <a:pt x="12581" y="5519"/>
                  <a:pt x="12255" y="5396"/>
                  <a:pt x="11874" y="5396"/>
                </a:cubicBezTo>
                <a:moveTo>
                  <a:pt x="12242" y="15228"/>
                </a:moveTo>
                <a:cubicBezTo>
                  <a:pt x="11942" y="15228"/>
                  <a:pt x="11730" y="15180"/>
                  <a:pt x="11608" y="15083"/>
                </a:cubicBezTo>
                <a:cubicBezTo>
                  <a:pt x="11486" y="14987"/>
                  <a:pt x="11425" y="14807"/>
                  <a:pt x="11425" y="14542"/>
                </a:cubicBezTo>
                <a:cubicBezTo>
                  <a:pt x="11425" y="14436"/>
                  <a:pt x="11444" y="14281"/>
                  <a:pt x="11482" y="14076"/>
                </a:cubicBezTo>
                <a:cubicBezTo>
                  <a:pt x="11519" y="13870"/>
                  <a:pt x="11562" y="13687"/>
                  <a:pt x="11609" y="13527"/>
                </a:cubicBezTo>
                <a:lnTo>
                  <a:pt x="12189" y="11532"/>
                </a:lnTo>
                <a:cubicBezTo>
                  <a:pt x="12246" y="11349"/>
                  <a:pt x="12284" y="11148"/>
                  <a:pt x="12306" y="10929"/>
                </a:cubicBezTo>
                <a:cubicBezTo>
                  <a:pt x="12327" y="10709"/>
                  <a:pt x="12337" y="10557"/>
                  <a:pt x="12337" y="10469"/>
                </a:cubicBezTo>
                <a:cubicBezTo>
                  <a:pt x="12337" y="10049"/>
                  <a:pt x="12185" y="9707"/>
                  <a:pt x="11882" y="9444"/>
                </a:cubicBezTo>
                <a:cubicBezTo>
                  <a:pt x="11578" y="9182"/>
                  <a:pt x="11146" y="9050"/>
                  <a:pt x="10586" y="9050"/>
                </a:cubicBezTo>
                <a:cubicBezTo>
                  <a:pt x="10275" y="9050"/>
                  <a:pt x="9945" y="9104"/>
                  <a:pt x="9597" y="9211"/>
                </a:cubicBezTo>
                <a:cubicBezTo>
                  <a:pt x="9248" y="9319"/>
                  <a:pt x="8884" y="9448"/>
                  <a:pt x="8502" y="9599"/>
                </a:cubicBezTo>
                <a:lnTo>
                  <a:pt x="8347" y="10216"/>
                </a:lnTo>
                <a:cubicBezTo>
                  <a:pt x="8460" y="10175"/>
                  <a:pt x="8595" y="10131"/>
                  <a:pt x="8753" y="10085"/>
                </a:cubicBezTo>
                <a:cubicBezTo>
                  <a:pt x="8911" y="10040"/>
                  <a:pt x="9066" y="10017"/>
                  <a:pt x="9217" y="10017"/>
                </a:cubicBezTo>
                <a:cubicBezTo>
                  <a:pt x="9524" y="10017"/>
                  <a:pt x="9731" y="10068"/>
                  <a:pt x="9839" y="10168"/>
                </a:cubicBezTo>
                <a:cubicBezTo>
                  <a:pt x="9948" y="10269"/>
                  <a:pt x="10002" y="10447"/>
                  <a:pt x="10002" y="10703"/>
                </a:cubicBezTo>
                <a:cubicBezTo>
                  <a:pt x="10002" y="10844"/>
                  <a:pt x="9985" y="11001"/>
                  <a:pt x="9949" y="11172"/>
                </a:cubicBezTo>
                <a:cubicBezTo>
                  <a:pt x="9914" y="11343"/>
                  <a:pt x="9870" y="11526"/>
                  <a:pt x="9818" y="11717"/>
                </a:cubicBezTo>
                <a:lnTo>
                  <a:pt x="9235" y="13719"/>
                </a:lnTo>
                <a:cubicBezTo>
                  <a:pt x="9184" y="13929"/>
                  <a:pt x="9146" y="14118"/>
                  <a:pt x="9123" y="14285"/>
                </a:cubicBezTo>
                <a:cubicBezTo>
                  <a:pt x="9100" y="14451"/>
                  <a:pt x="9088" y="14615"/>
                  <a:pt x="9088" y="14775"/>
                </a:cubicBezTo>
                <a:cubicBezTo>
                  <a:pt x="9088" y="15186"/>
                  <a:pt x="9244" y="15526"/>
                  <a:pt x="9556" y="15793"/>
                </a:cubicBezTo>
                <a:cubicBezTo>
                  <a:pt x="9869" y="16060"/>
                  <a:pt x="10308" y="16194"/>
                  <a:pt x="10872" y="16194"/>
                </a:cubicBezTo>
                <a:cubicBezTo>
                  <a:pt x="11239" y="16194"/>
                  <a:pt x="11561" y="16147"/>
                  <a:pt x="11839" y="16053"/>
                </a:cubicBezTo>
                <a:cubicBezTo>
                  <a:pt x="12117" y="15960"/>
                  <a:pt x="12488" y="15824"/>
                  <a:pt x="12954" y="15645"/>
                </a:cubicBezTo>
                <a:lnTo>
                  <a:pt x="13109" y="15028"/>
                </a:lnTo>
                <a:cubicBezTo>
                  <a:pt x="13029" y="15065"/>
                  <a:pt x="12900" y="15107"/>
                  <a:pt x="12721" y="15155"/>
                </a:cubicBezTo>
                <a:cubicBezTo>
                  <a:pt x="12543" y="15204"/>
                  <a:pt x="12383" y="15228"/>
                  <a:pt x="12242" y="1522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7" name="Shape 2557"/>
          <p:cNvSpPr/>
          <p:nvPr/>
        </p:nvSpPr>
        <p:spPr>
          <a:xfrm>
            <a:off x="3891587" y="729555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91" y="6559"/>
                </a:moveTo>
                <a:cubicBezTo>
                  <a:pt x="12727" y="6341"/>
                  <a:pt x="12420" y="6172"/>
                  <a:pt x="12078" y="6058"/>
                </a:cubicBezTo>
                <a:cubicBezTo>
                  <a:pt x="11737" y="5946"/>
                  <a:pt x="11367" y="5889"/>
                  <a:pt x="10978" y="5889"/>
                </a:cubicBezTo>
                <a:cubicBezTo>
                  <a:pt x="10477" y="5889"/>
                  <a:pt x="10025" y="5967"/>
                  <a:pt x="9633" y="6120"/>
                </a:cubicBezTo>
                <a:cubicBezTo>
                  <a:pt x="9239" y="6275"/>
                  <a:pt x="8900" y="6494"/>
                  <a:pt x="8623" y="6771"/>
                </a:cubicBezTo>
                <a:cubicBezTo>
                  <a:pt x="8346" y="7049"/>
                  <a:pt x="8133" y="7392"/>
                  <a:pt x="7992" y="7788"/>
                </a:cubicBezTo>
                <a:cubicBezTo>
                  <a:pt x="7853" y="8180"/>
                  <a:pt x="7782" y="8620"/>
                  <a:pt x="7782" y="9096"/>
                </a:cubicBezTo>
                <a:lnTo>
                  <a:pt x="7782" y="9217"/>
                </a:lnTo>
                <a:lnTo>
                  <a:pt x="8880" y="9217"/>
                </a:lnTo>
                <a:lnTo>
                  <a:pt x="8877" y="9093"/>
                </a:lnTo>
                <a:cubicBezTo>
                  <a:pt x="8868" y="8767"/>
                  <a:pt x="8908" y="8461"/>
                  <a:pt x="8993" y="8187"/>
                </a:cubicBezTo>
                <a:cubicBezTo>
                  <a:pt x="9079" y="7914"/>
                  <a:pt x="9207" y="7675"/>
                  <a:pt x="9377" y="7473"/>
                </a:cubicBezTo>
                <a:cubicBezTo>
                  <a:pt x="9545" y="7274"/>
                  <a:pt x="9762" y="7115"/>
                  <a:pt x="10024" y="7000"/>
                </a:cubicBezTo>
                <a:cubicBezTo>
                  <a:pt x="10287" y="6884"/>
                  <a:pt x="10594" y="6827"/>
                  <a:pt x="10937" y="6827"/>
                </a:cubicBezTo>
                <a:cubicBezTo>
                  <a:pt x="11182" y="6827"/>
                  <a:pt x="11418" y="6868"/>
                  <a:pt x="11639" y="6950"/>
                </a:cubicBezTo>
                <a:cubicBezTo>
                  <a:pt x="11858" y="7032"/>
                  <a:pt x="12053" y="7146"/>
                  <a:pt x="12218" y="7289"/>
                </a:cubicBezTo>
                <a:cubicBezTo>
                  <a:pt x="12381" y="7431"/>
                  <a:pt x="12512" y="7605"/>
                  <a:pt x="12609" y="7808"/>
                </a:cubicBezTo>
                <a:cubicBezTo>
                  <a:pt x="12704" y="8011"/>
                  <a:pt x="12752" y="8236"/>
                  <a:pt x="12752" y="8478"/>
                </a:cubicBezTo>
                <a:cubicBezTo>
                  <a:pt x="12752" y="8797"/>
                  <a:pt x="12674" y="9089"/>
                  <a:pt x="12519" y="9350"/>
                </a:cubicBezTo>
                <a:cubicBezTo>
                  <a:pt x="12359" y="9618"/>
                  <a:pt x="12154" y="9865"/>
                  <a:pt x="11913" y="10082"/>
                </a:cubicBezTo>
                <a:cubicBezTo>
                  <a:pt x="11624" y="10337"/>
                  <a:pt x="11374" y="10568"/>
                  <a:pt x="11170" y="10771"/>
                </a:cubicBezTo>
                <a:cubicBezTo>
                  <a:pt x="10959" y="10979"/>
                  <a:pt x="10789" y="11200"/>
                  <a:pt x="10662" y="11428"/>
                </a:cubicBezTo>
                <a:cubicBezTo>
                  <a:pt x="10534" y="11657"/>
                  <a:pt x="10441" y="11916"/>
                  <a:pt x="10385" y="12199"/>
                </a:cubicBezTo>
                <a:cubicBezTo>
                  <a:pt x="10329" y="12478"/>
                  <a:pt x="10305" y="12827"/>
                  <a:pt x="10315" y="13237"/>
                </a:cubicBezTo>
                <a:lnTo>
                  <a:pt x="10318" y="13355"/>
                </a:lnTo>
                <a:lnTo>
                  <a:pt x="11407" y="13355"/>
                </a:lnTo>
                <a:lnTo>
                  <a:pt x="11410" y="13237"/>
                </a:lnTo>
                <a:cubicBezTo>
                  <a:pt x="11418" y="12838"/>
                  <a:pt x="11436" y="12531"/>
                  <a:pt x="11463" y="12322"/>
                </a:cubicBezTo>
                <a:cubicBezTo>
                  <a:pt x="11488" y="12125"/>
                  <a:pt x="11538" y="11956"/>
                  <a:pt x="11611" y="11821"/>
                </a:cubicBezTo>
                <a:cubicBezTo>
                  <a:pt x="11687" y="11684"/>
                  <a:pt x="11803" y="11541"/>
                  <a:pt x="11959" y="11399"/>
                </a:cubicBezTo>
                <a:cubicBezTo>
                  <a:pt x="12127" y="11245"/>
                  <a:pt x="12351" y="11031"/>
                  <a:pt x="12630" y="10762"/>
                </a:cubicBezTo>
                <a:cubicBezTo>
                  <a:pt x="12979" y="10441"/>
                  <a:pt x="13270" y="10102"/>
                  <a:pt x="13495" y="9753"/>
                </a:cubicBezTo>
                <a:cubicBezTo>
                  <a:pt x="13729" y="9393"/>
                  <a:pt x="13847" y="8952"/>
                  <a:pt x="13847" y="8439"/>
                </a:cubicBezTo>
                <a:cubicBezTo>
                  <a:pt x="13847" y="8038"/>
                  <a:pt x="13770" y="7675"/>
                  <a:pt x="13618" y="7362"/>
                </a:cubicBezTo>
                <a:cubicBezTo>
                  <a:pt x="13467" y="7050"/>
                  <a:pt x="13256" y="6780"/>
                  <a:pt x="12991" y="6559"/>
                </a:cubicBezTo>
                <a:moveTo>
                  <a:pt x="10179" y="15706"/>
                </a:moveTo>
                <a:lnTo>
                  <a:pt x="11558" y="15706"/>
                </a:lnTo>
                <a:lnTo>
                  <a:pt x="11558" y="14072"/>
                </a:lnTo>
                <a:lnTo>
                  <a:pt x="10179" y="14072"/>
                </a:lnTo>
                <a:cubicBezTo>
                  <a:pt x="10179" y="14072"/>
                  <a:pt x="10179" y="15706"/>
                  <a:pt x="10179" y="15706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8" name="Shape 2558"/>
          <p:cNvSpPr/>
          <p:nvPr/>
        </p:nvSpPr>
        <p:spPr>
          <a:xfrm>
            <a:off x="4958109" y="729555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9" name="Shape 2559"/>
          <p:cNvSpPr/>
          <p:nvPr/>
        </p:nvSpPr>
        <p:spPr>
          <a:xfrm>
            <a:off x="6024631" y="7346344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0"/>
                  <a:pt x="982" y="16800"/>
                </a:cubicBezTo>
                <a:lnTo>
                  <a:pt x="2455" y="16800"/>
                </a:lnTo>
                <a:cubicBezTo>
                  <a:pt x="2725" y="16800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20618" y="20400"/>
                </a:move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0" name="Shape 2560"/>
          <p:cNvSpPr/>
          <p:nvPr/>
        </p:nvSpPr>
        <p:spPr>
          <a:xfrm>
            <a:off x="7091154" y="729555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3745"/>
                </a:moveTo>
                <a:cubicBezTo>
                  <a:pt x="2726" y="13745"/>
                  <a:pt x="2945" y="13526"/>
                  <a:pt x="2945" y="13255"/>
                </a:cubicBezTo>
                <a:cubicBezTo>
                  <a:pt x="2945" y="12984"/>
                  <a:pt x="2726" y="12764"/>
                  <a:pt x="2455" y="12764"/>
                </a:cubicBezTo>
                <a:lnTo>
                  <a:pt x="982" y="12764"/>
                </a:lnTo>
                <a:lnTo>
                  <a:pt x="982" y="982"/>
                </a:lnTo>
                <a:lnTo>
                  <a:pt x="16691" y="982"/>
                </a:lnTo>
                <a:lnTo>
                  <a:pt x="16691" y="2455"/>
                </a:lnTo>
                <a:cubicBezTo>
                  <a:pt x="16691" y="2726"/>
                  <a:pt x="16910" y="2945"/>
                  <a:pt x="17182" y="2945"/>
                </a:cubicBezTo>
                <a:cubicBezTo>
                  <a:pt x="17453" y="2945"/>
                  <a:pt x="17673" y="2726"/>
                  <a:pt x="17673" y="2455"/>
                </a:cubicBez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cubicBezTo>
                  <a:pt x="0" y="17233"/>
                  <a:pt x="440" y="17673"/>
                  <a:pt x="982" y="17673"/>
                </a:cubicBezTo>
                <a:lnTo>
                  <a:pt x="2455" y="17673"/>
                </a:lnTo>
                <a:cubicBezTo>
                  <a:pt x="2726" y="17673"/>
                  <a:pt x="2945" y="17453"/>
                  <a:pt x="2945" y="17182"/>
                </a:cubicBezTo>
                <a:cubicBezTo>
                  <a:pt x="2945" y="16911"/>
                  <a:pt x="2726" y="16691"/>
                  <a:pt x="2455" y="16691"/>
                </a:cubicBezTo>
                <a:lnTo>
                  <a:pt x="982" y="16691"/>
                </a:lnTo>
                <a:lnTo>
                  <a:pt x="982" y="13745"/>
                </a:lnTo>
                <a:cubicBezTo>
                  <a:pt x="982" y="13745"/>
                  <a:pt x="2455" y="13745"/>
                  <a:pt x="2455" y="13745"/>
                </a:cubicBezTo>
                <a:close/>
                <a:moveTo>
                  <a:pt x="20618" y="16691"/>
                </a:moveTo>
                <a:lnTo>
                  <a:pt x="4909" y="16691"/>
                </a:lnTo>
                <a:lnTo>
                  <a:pt x="4909" y="4909"/>
                </a:lnTo>
                <a:lnTo>
                  <a:pt x="20618" y="4909"/>
                </a:lnTo>
                <a:cubicBezTo>
                  <a:pt x="20618" y="4909"/>
                  <a:pt x="20618" y="16691"/>
                  <a:pt x="20618" y="16691"/>
                </a:cubicBezTo>
                <a:close/>
                <a:moveTo>
                  <a:pt x="20618" y="20618"/>
                </a:moveTo>
                <a:lnTo>
                  <a:pt x="4909" y="20618"/>
                </a:lnTo>
                <a:lnTo>
                  <a:pt x="4909" y="17673"/>
                </a:lnTo>
                <a:lnTo>
                  <a:pt x="20618" y="17673"/>
                </a:lnTo>
                <a:cubicBezTo>
                  <a:pt x="20618" y="17673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4909" y="3927"/>
                </a:lnTo>
                <a:cubicBezTo>
                  <a:pt x="4367" y="3927"/>
                  <a:pt x="3927" y="4367"/>
                  <a:pt x="3927" y="4909"/>
                </a:cubicBezTo>
                <a:lnTo>
                  <a:pt x="3927" y="20618"/>
                </a:lnTo>
                <a:cubicBezTo>
                  <a:pt x="3927" y="21160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1" name="Shape 2561"/>
          <p:cNvSpPr/>
          <p:nvPr/>
        </p:nvSpPr>
        <p:spPr>
          <a:xfrm>
            <a:off x="8157677" y="7346344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3600"/>
                </a:moveTo>
                <a:lnTo>
                  <a:pt x="19145" y="3600"/>
                </a:lnTo>
                <a:cubicBezTo>
                  <a:pt x="19417" y="3600"/>
                  <a:pt x="19636" y="3332"/>
                  <a:pt x="19636" y="3000"/>
                </a:cubicBezTo>
                <a:cubicBezTo>
                  <a:pt x="19636" y="2669"/>
                  <a:pt x="19417" y="2400"/>
                  <a:pt x="19145" y="2400"/>
                </a:cubicBezTo>
                <a:lnTo>
                  <a:pt x="2455" y="2400"/>
                </a:lnTo>
                <a:cubicBezTo>
                  <a:pt x="2183" y="2400"/>
                  <a:pt x="1964" y="2669"/>
                  <a:pt x="1964" y="3000"/>
                </a:cubicBezTo>
                <a:cubicBezTo>
                  <a:pt x="1964" y="3332"/>
                  <a:pt x="2183" y="3600"/>
                  <a:pt x="2455" y="3600"/>
                </a:cubicBezTo>
                <a:moveTo>
                  <a:pt x="20618" y="20400"/>
                </a:moveTo>
                <a:lnTo>
                  <a:pt x="982" y="20400"/>
                </a:lnTo>
                <a:lnTo>
                  <a:pt x="982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4418" y="1200"/>
                </a:moveTo>
                <a:lnTo>
                  <a:pt x="17182" y="1200"/>
                </a:lnTo>
                <a:cubicBezTo>
                  <a:pt x="17453" y="1200"/>
                  <a:pt x="17673" y="932"/>
                  <a:pt x="17673" y="600"/>
                </a:cubicBezTo>
                <a:cubicBezTo>
                  <a:pt x="17673" y="269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269"/>
                  <a:pt x="3927" y="600"/>
                </a:cubicBezTo>
                <a:cubicBezTo>
                  <a:pt x="3927" y="932"/>
                  <a:pt x="4147" y="1200"/>
                  <a:pt x="4418" y="1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2" name="Shape 2562"/>
          <p:cNvSpPr/>
          <p:nvPr/>
        </p:nvSpPr>
        <p:spPr>
          <a:xfrm>
            <a:off x="9224197" y="729555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1" y="20619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294" y="17673"/>
                </a:moveTo>
                <a:lnTo>
                  <a:pt x="8376" y="10732"/>
                </a:lnTo>
                <a:lnTo>
                  <a:pt x="10838" y="14425"/>
                </a:lnTo>
                <a:cubicBezTo>
                  <a:pt x="10862" y="14484"/>
                  <a:pt x="10898" y="14536"/>
                  <a:pt x="10942" y="14581"/>
                </a:cubicBezTo>
                <a:lnTo>
                  <a:pt x="10944" y="14583"/>
                </a:lnTo>
                <a:cubicBezTo>
                  <a:pt x="11033" y="14673"/>
                  <a:pt x="11155" y="14727"/>
                  <a:pt x="11291" y="14727"/>
                </a:cubicBezTo>
                <a:cubicBezTo>
                  <a:pt x="11427" y="14727"/>
                  <a:pt x="11549" y="14673"/>
                  <a:pt x="11638" y="14583"/>
                </a:cubicBezTo>
                <a:lnTo>
                  <a:pt x="13686" y="12536"/>
                </a:lnTo>
                <a:lnTo>
                  <a:pt x="17242" y="17673"/>
                </a:lnTo>
                <a:cubicBezTo>
                  <a:pt x="17242" y="17673"/>
                  <a:pt x="4294" y="17673"/>
                  <a:pt x="4294" y="17673"/>
                </a:cubicBezTo>
                <a:close/>
                <a:moveTo>
                  <a:pt x="18620" y="17982"/>
                </a:moveTo>
                <a:lnTo>
                  <a:pt x="18617" y="17978"/>
                </a:lnTo>
                <a:cubicBezTo>
                  <a:pt x="18590" y="17913"/>
                  <a:pt x="18551" y="17858"/>
                  <a:pt x="18501" y="17810"/>
                </a:cubicBezTo>
                <a:lnTo>
                  <a:pt x="14201" y="11600"/>
                </a:lnTo>
                <a:lnTo>
                  <a:pt x="14200" y="11601"/>
                </a:lnTo>
                <a:cubicBezTo>
                  <a:pt x="14127" y="11420"/>
                  <a:pt x="13952" y="11291"/>
                  <a:pt x="13745" y="11291"/>
                </a:cubicBezTo>
                <a:cubicBezTo>
                  <a:pt x="13610" y="11291"/>
                  <a:pt x="13488" y="11346"/>
                  <a:pt x="13398" y="11435"/>
                </a:cubicBezTo>
                <a:lnTo>
                  <a:pt x="11360" y="13473"/>
                </a:lnTo>
                <a:lnTo>
                  <a:pt x="8798" y="9630"/>
                </a:lnTo>
                <a:cubicBezTo>
                  <a:pt x="8724" y="9453"/>
                  <a:pt x="8550" y="9327"/>
                  <a:pt x="8345" y="9327"/>
                </a:cubicBezTo>
                <a:cubicBezTo>
                  <a:pt x="8175" y="9327"/>
                  <a:pt x="8033" y="9420"/>
                  <a:pt x="7945" y="9551"/>
                </a:cubicBezTo>
                <a:lnTo>
                  <a:pt x="7937" y="9546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8164" y="18655"/>
                </a:lnTo>
                <a:cubicBezTo>
                  <a:pt x="18435" y="18655"/>
                  <a:pt x="18655" y="18435"/>
                  <a:pt x="18655" y="18164"/>
                </a:cubicBezTo>
                <a:cubicBezTo>
                  <a:pt x="18655" y="18099"/>
                  <a:pt x="18640" y="18039"/>
                  <a:pt x="18618" y="17983"/>
                </a:cubicBezTo>
                <a:cubicBezTo>
                  <a:pt x="18618" y="17983"/>
                  <a:pt x="18620" y="17982"/>
                  <a:pt x="18620" y="17982"/>
                </a:cubicBezTo>
                <a:close/>
                <a:moveTo>
                  <a:pt x="5400" y="3927"/>
                </a:moveTo>
                <a:cubicBezTo>
                  <a:pt x="6213" y="3927"/>
                  <a:pt x="6873" y="4587"/>
                  <a:pt x="6873" y="5400"/>
                </a:cubicBezTo>
                <a:cubicBezTo>
                  <a:pt x="6873" y="6214"/>
                  <a:pt x="6213" y="6873"/>
                  <a:pt x="5400" y="6873"/>
                </a:cubicBezTo>
                <a:cubicBezTo>
                  <a:pt x="4587" y="6873"/>
                  <a:pt x="3927" y="6214"/>
                  <a:pt x="3927" y="5400"/>
                </a:cubicBezTo>
                <a:cubicBezTo>
                  <a:pt x="3927" y="4587"/>
                  <a:pt x="4587" y="3927"/>
                  <a:pt x="5400" y="3927"/>
                </a:cubicBezTo>
                <a:moveTo>
                  <a:pt x="5400" y="7855"/>
                </a:moveTo>
                <a:cubicBezTo>
                  <a:pt x="6756" y="7855"/>
                  <a:pt x="7855" y="6756"/>
                  <a:pt x="7855" y="5400"/>
                </a:cubicBezTo>
                <a:cubicBezTo>
                  <a:pt x="7855" y="4045"/>
                  <a:pt x="6756" y="2945"/>
                  <a:pt x="5400" y="2945"/>
                </a:cubicBezTo>
                <a:cubicBezTo>
                  <a:pt x="4044" y="2945"/>
                  <a:pt x="2945" y="4045"/>
                  <a:pt x="2945" y="5400"/>
                </a:cubicBezTo>
                <a:cubicBezTo>
                  <a:pt x="2945" y="6756"/>
                  <a:pt x="4044" y="7855"/>
                  <a:pt x="5400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3" name="Shape 2563"/>
          <p:cNvSpPr/>
          <p:nvPr/>
        </p:nvSpPr>
        <p:spPr>
          <a:xfrm>
            <a:off x="10290720" y="729555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354" y="17673"/>
                </a:moveTo>
                <a:lnTo>
                  <a:pt x="7369" y="13149"/>
                </a:lnTo>
                <a:lnTo>
                  <a:pt x="8875" y="15407"/>
                </a:lnTo>
                <a:cubicBezTo>
                  <a:pt x="8949" y="15584"/>
                  <a:pt x="9123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1198" y="14042"/>
                </a:lnTo>
                <a:lnTo>
                  <a:pt x="13376" y="17673"/>
                </a:lnTo>
                <a:cubicBezTo>
                  <a:pt x="13376" y="17673"/>
                  <a:pt x="4354" y="17673"/>
                  <a:pt x="4354" y="17673"/>
                </a:cubicBezTo>
                <a:close/>
                <a:moveTo>
                  <a:pt x="14692" y="17982"/>
                </a:moveTo>
                <a:lnTo>
                  <a:pt x="14690" y="17977"/>
                </a:lnTo>
                <a:cubicBezTo>
                  <a:pt x="14685" y="17967"/>
                  <a:pt x="14677" y="17959"/>
                  <a:pt x="14673" y="17949"/>
                </a:cubicBezTo>
                <a:lnTo>
                  <a:pt x="11747" y="13073"/>
                </a:lnTo>
                <a:lnTo>
                  <a:pt x="11745" y="13073"/>
                </a:lnTo>
                <a:cubicBezTo>
                  <a:pt x="11673" y="12892"/>
                  <a:pt x="11498" y="12764"/>
                  <a:pt x="11291" y="12764"/>
                </a:cubicBezTo>
                <a:cubicBezTo>
                  <a:pt x="11155" y="12764"/>
                  <a:pt x="11033" y="12819"/>
                  <a:pt x="10944" y="12908"/>
                </a:cubicBezTo>
                <a:lnTo>
                  <a:pt x="9397" y="14454"/>
                </a:lnTo>
                <a:lnTo>
                  <a:pt x="7816" y="12084"/>
                </a:lnTo>
                <a:cubicBezTo>
                  <a:pt x="7742" y="11907"/>
                  <a:pt x="7568" y="11782"/>
                  <a:pt x="7364" y="11782"/>
                </a:cubicBezTo>
                <a:cubicBezTo>
                  <a:pt x="7193" y="11782"/>
                  <a:pt x="7051" y="11874"/>
                  <a:pt x="6963" y="12006"/>
                </a:cubicBezTo>
                <a:lnTo>
                  <a:pt x="6955" y="12000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8099"/>
                  <a:pt x="14713" y="18039"/>
                  <a:pt x="14691" y="17983"/>
                </a:cubicBezTo>
                <a:cubicBezTo>
                  <a:pt x="14691" y="17983"/>
                  <a:pt x="14692" y="17982"/>
                  <a:pt x="14692" y="17982"/>
                </a:cubicBezTo>
                <a:close/>
                <a:moveTo>
                  <a:pt x="4909" y="7855"/>
                </a:moveTo>
                <a:cubicBezTo>
                  <a:pt x="5451" y="7855"/>
                  <a:pt x="5891" y="8295"/>
                  <a:pt x="5891" y="8836"/>
                </a:cubicBezTo>
                <a:cubicBezTo>
                  <a:pt x="5891" y="9379"/>
                  <a:pt x="5451" y="9818"/>
                  <a:pt x="4909" y="9818"/>
                </a:cubicBezTo>
                <a:cubicBezTo>
                  <a:pt x="4367" y="9818"/>
                  <a:pt x="3927" y="9379"/>
                  <a:pt x="3927" y="8836"/>
                </a:cubicBezTo>
                <a:cubicBezTo>
                  <a:pt x="3927" y="8295"/>
                  <a:pt x="4367" y="7855"/>
                  <a:pt x="4909" y="7855"/>
                </a:cubicBezTo>
                <a:moveTo>
                  <a:pt x="4909" y="10800"/>
                </a:moveTo>
                <a:cubicBezTo>
                  <a:pt x="5994" y="10800"/>
                  <a:pt x="6873" y="9921"/>
                  <a:pt x="6873" y="8836"/>
                </a:cubicBezTo>
                <a:cubicBezTo>
                  <a:pt x="6873" y="7752"/>
                  <a:pt x="5994" y="6873"/>
                  <a:pt x="4909" y="6873"/>
                </a:cubicBezTo>
                <a:cubicBezTo>
                  <a:pt x="3825" y="6873"/>
                  <a:pt x="2945" y="7752"/>
                  <a:pt x="2945" y="8836"/>
                </a:cubicBezTo>
                <a:cubicBezTo>
                  <a:pt x="2945" y="9921"/>
                  <a:pt x="3825" y="10800"/>
                  <a:pt x="4909" y="10800"/>
                </a:cubicBezTo>
                <a:moveTo>
                  <a:pt x="16691" y="19636"/>
                </a:moveTo>
                <a:cubicBezTo>
                  <a:pt x="16691" y="20179"/>
                  <a:pt x="16251" y="20619"/>
                  <a:pt x="15709" y="20619"/>
                </a:cubicBezTo>
                <a:lnTo>
                  <a:pt x="1964" y="20619"/>
                </a:lnTo>
                <a:cubicBezTo>
                  <a:pt x="1422" y="20619"/>
                  <a:pt x="982" y="20179"/>
                  <a:pt x="982" y="19636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4" name="Shape 2564"/>
          <p:cNvSpPr/>
          <p:nvPr/>
        </p:nvSpPr>
        <p:spPr>
          <a:xfrm>
            <a:off x="11357242" y="729555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10800"/>
                </a:moveTo>
                <a:lnTo>
                  <a:pt x="11782" y="10800"/>
                </a:lnTo>
                <a:lnTo>
                  <a:pt x="11782" y="12764"/>
                </a:lnTo>
                <a:lnTo>
                  <a:pt x="9818" y="12764"/>
                </a:lnTo>
                <a:cubicBezTo>
                  <a:pt x="9818" y="12764"/>
                  <a:pt x="9818" y="10800"/>
                  <a:pt x="9818" y="10800"/>
                </a:cubicBezTo>
                <a:close/>
                <a:moveTo>
                  <a:pt x="9327" y="13745"/>
                </a:moveTo>
                <a:lnTo>
                  <a:pt x="12273" y="13745"/>
                </a:lnTo>
                <a:cubicBezTo>
                  <a:pt x="12544" y="13745"/>
                  <a:pt x="12764" y="13526"/>
                  <a:pt x="12764" y="13255"/>
                </a:cubicBezTo>
                <a:lnTo>
                  <a:pt x="12764" y="10309"/>
                </a:lnTo>
                <a:cubicBezTo>
                  <a:pt x="12764" y="10038"/>
                  <a:pt x="12544" y="9818"/>
                  <a:pt x="12273" y="9818"/>
                </a:cubicBezTo>
                <a:lnTo>
                  <a:pt x="9327" y="9818"/>
                </a:lnTo>
                <a:cubicBezTo>
                  <a:pt x="9056" y="9818"/>
                  <a:pt x="8836" y="10038"/>
                  <a:pt x="8836" y="10309"/>
                </a:cubicBezTo>
                <a:lnTo>
                  <a:pt x="8836" y="13255"/>
                </a:lnTo>
                <a:cubicBezTo>
                  <a:pt x="8836" y="13526"/>
                  <a:pt x="9056" y="13745"/>
                  <a:pt x="9327" y="13745"/>
                </a:cubicBezTo>
                <a:moveTo>
                  <a:pt x="14727" y="15709"/>
                </a:moveTo>
                <a:lnTo>
                  <a:pt x="16691" y="15709"/>
                </a:lnTo>
                <a:lnTo>
                  <a:pt x="16691" y="17673"/>
                </a:lnTo>
                <a:lnTo>
                  <a:pt x="14727" y="17673"/>
                </a:lnTo>
                <a:cubicBezTo>
                  <a:pt x="14727" y="17673"/>
                  <a:pt x="14727" y="15709"/>
                  <a:pt x="14727" y="15709"/>
                </a:cubicBezTo>
                <a:close/>
                <a:moveTo>
                  <a:pt x="14236" y="18655"/>
                </a:moveTo>
                <a:lnTo>
                  <a:pt x="17182" y="18655"/>
                </a:lnTo>
                <a:cubicBezTo>
                  <a:pt x="17453" y="18655"/>
                  <a:pt x="17673" y="18435"/>
                  <a:pt x="17673" y="18164"/>
                </a:cubicBezTo>
                <a:lnTo>
                  <a:pt x="17673" y="15218"/>
                </a:lnTo>
                <a:cubicBezTo>
                  <a:pt x="17673" y="14947"/>
                  <a:pt x="17453" y="14727"/>
                  <a:pt x="17182" y="14727"/>
                </a:cubicBezTo>
                <a:lnTo>
                  <a:pt x="14236" y="14727"/>
                </a:lnTo>
                <a:cubicBezTo>
                  <a:pt x="13965" y="14727"/>
                  <a:pt x="13745" y="14947"/>
                  <a:pt x="13745" y="15218"/>
                </a:cubicBezTo>
                <a:lnTo>
                  <a:pt x="13745" y="18164"/>
                </a:lnTo>
                <a:cubicBezTo>
                  <a:pt x="13745" y="18435"/>
                  <a:pt x="13965" y="18655"/>
                  <a:pt x="14236" y="18655"/>
                </a:cubicBezTo>
                <a:moveTo>
                  <a:pt x="9818" y="5891"/>
                </a:moveTo>
                <a:lnTo>
                  <a:pt x="11782" y="5891"/>
                </a:lnTo>
                <a:lnTo>
                  <a:pt x="11782" y="7855"/>
                </a:lnTo>
                <a:lnTo>
                  <a:pt x="9818" y="7855"/>
                </a:lnTo>
                <a:cubicBezTo>
                  <a:pt x="9818" y="7855"/>
                  <a:pt x="9818" y="5891"/>
                  <a:pt x="9818" y="5891"/>
                </a:cubicBezTo>
                <a:close/>
                <a:moveTo>
                  <a:pt x="9327" y="8836"/>
                </a:moveTo>
                <a:lnTo>
                  <a:pt x="12273" y="8836"/>
                </a:lnTo>
                <a:cubicBezTo>
                  <a:pt x="12544" y="8836"/>
                  <a:pt x="12764" y="8617"/>
                  <a:pt x="12764" y="8345"/>
                </a:cubicBezTo>
                <a:lnTo>
                  <a:pt x="12764" y="5400"/>
                </a:lnTo>
                <a:cubicBezTo>
                  <a:pt x="12764" y="5129"/>
                  <a:pt x="12544" y="4909"/>
                  <a:pt x="12273" y="4909"/>
                </a:cubicBezTo>
                <a:lnTo>
                  <a:pt x="9327" y="4909"/>
                </a:lnTo>
                <a:cubicBezTo>
                  <a:pt x="9056" y="4909"/>
                  <a:pt x="8836" y="5129"/>
                  <a:pt x="8836" y="5400"/>
                </a:cubicBezTo>
                <a:lnTo>
                  <a:pt x="8836" y="8345"/>
                </a:lnTo>
                <a:cubicBezTo>
                  <a:pt x="8836" y="8617"/>
                  <a:pt x="9056" y="8836"/>
                  <a:pt x="9327" y="8836"/>
                </a:cubicBezTo>
                <a:moveTo>
                  <a:pt x="4909" y="15709"/>
                </a:moveTo>
                <a:lnTo>
                  <a:pt x="6873" y="15709"/>
                </a:lnTo>
                <a:lnTo>
                  <a:pt x="6873" y="17673"/>
                </a:lnTo>
                <a:lnTo>
                  <a:pt x="4909" y="17673"/>
                </a:lnTo>
                <a:cubicBezTo>
                  <a:pt x="4909" y="17673"/>
                  <a:pt x="4909" y="15709"/>
                  <a:pt x="4909" y="15709"/>
                </a:cubicBezTo>
                <a:close/>
                <a:moveTo>
                  <a:pt x="4418" y="18655"/>
                </a:moveTo>
                <a:lnTo>
                  <a:pt x="7364" y="18655"/>
                </a:lnTo>
                <a:cubicBezTo>
                  <a:pt x="7635" y="18655"/>
                  <a:pt x="7855" y="18435"/>
                  <a:pt x="7855" y="18164"/>
                </a:cubicBezTo>
                <a:lnTo>
                  <a:pt x="7855" y="15218"/>
                </a:lnTo>
                <a:cubicBezTo>
                  <a:pt x="7855" y="14947"/>
                  <a:pt x="7635" y="14727"/>
                  <a:pt x="7364" y="14727"/>
                </a:cubicBezTo>
                <a:lnTo>
                  <a:pt x="4418" y="14727"/>
                </a:lnTo>
                <a:cubicBezTo>
                  <a:pt x="4147" y="14727"/>
                  <a:pt x="3927" y="14947"/>
                  <a:pt x="3927" y="15218"/>
                </a:cubicBez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moveTo>
                  <a:pt x="14727" y="10800"/>
                </a:moveTo>
                <a:lnTo>
                  <a:pt x="16691" y="10800"/>
                </a:lnTo>
                <a:lnTo>
                  <a:pt x="16691" y="12764"/>
                </a:lnTo>
                <a:lnTo>
                  <a:pt x="14727" y="12764"/>
                </a:lnTo>
                <a:cubicBezTo>
                  <a:pt x="14727" y="12764"/>
                  <a:pt x="14727" y="10800"/>
                  <a:pt x="14727" y="10800"/>
                </a:cubicBezTo>
                <a:close/>
                <a:moveTo>
                  <a:pt x="14236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lnTo>
                  <a:pt x="17673" y="10309"/>
                </a:lnTo>
                <a:cubicBezTo>
                  <a:pt x="17673" y="10038"/>
                  <a:pt x="17453" y="9818"/>
                  <a:pt x="17182" y="9818"/>
                </a:cubicBezTo>
                <a:lnTo>
                  <a:pt x="14236" y="9818"/>
                </a:lnTo>
                <a:cubicBezTo>
                  <a:pt x="13965" y="9818"/>
                  <a:pt x="13745" y="10038"/>
                  <a:pt x="13745" y="10309"/>
                </a:cubicBezTo>
                <a:lnTo>
                  <a:pt x="13745" y="13255"/>
                </a:lnTo>
                <a:cubicBezTo>
                  <a:pt x="13745" y="13526"/>
                  <a:pt x="13965" y="13745"/>
                  <a:pt x="14236" y="13745"/>
                </a:cubicBezTo>
                <a:moveTo>
                  <a:pt x="4909" y="10800"/>
                </a:moveTo>
                <a:lnTo>
                  <a:pt x="6873" y="10800"/>
                </a:lnTo>
                <a:lnTo>
                  <a:pt x="6873" y="12764"/>
                </a:lnTo>
                <a:lnTo>
                  <a:pt x="4909" y="12764"/>
                </a:lnTo>
                <a:cubicBezTo>
                  <a:pt x="4909" y="12764"/>
                  <a:pt x="4909" y="10800"/>
                  <a:pt x="4909" y="10800"/>
                </a:cubicBezTo>
                <a:close/>
                <a:moveTo>
                  <a:pt x="4418" y="13745"/>
                </a:moveTo>
                <a:lnTo>
                  <a:pt x="7364" y="13745"/>
                </a:lnTo>
                <a:cubicBezTo>
                  <a:pt x="7635" y="13745"/>
                  <a:pt x="7855" y="13526"/>
                  <a:pt x="7855" y="13255"/>
                </a:cubicBezTo>
                <a:lnTo>
                  <a:pt x="7855" y="10309"/>
                </a:lnTo>
                <a:cubicBezTo>
                  <a:pt x="7855" y="10038"/>
                  <a:pt x="7635" y="9818"/>
                  <a:pt x="7364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lnTo>
                  <a:pt x="3927" y="13255"/>
                </a:lnTo>
                <a:cubicBezTo>
                  <a:pt x="3927" y="13526"/>
                  <a:pt x="4147" y="13745"/>
                  <a:pt x="4418" y="13745"/>
                </a:cubicBezTo>
                <a:moveTo>
                  <a:pt x="4909" y="5891"/>
                </a:moveTo>
                <a:lnTo>
                  <a:pt x="6873" y="5891"/>
                </a:lnTo>
                <a:lnTo>
                  <a:pt x="6873" y="7855"/>
                </a:lnTo>
                <a:lnTo>
                  <a:pt x="4909" y="7855"/>
                </a:lnTo>
                <a:cubicBezTo>
                  <a:pt x="4909" y="7855"/>
                  <a:pt x="4909" y="5891"/>
                  <a:pt x="4909" y="5891"/>
                </a:cubicBezTo>
                <a:close/>
                <a:moveTo>
                  <a:pt x="4418" y="8836"/>
                </a:moveTo>
                <a:lnTo>
                  <a:pt x="7364" y="8836"/>
                </a:lnTo>
                <a:cubicBezTo>
                  <a:pt x="7635" y="8836"/>
                  <a:pt x="7855" y="8617"/>
                  <a:pt x="7855" y="8345"/>
                </a:cubicBezTo>
                <a:lnTo>
                  <a:pt x="7855" y="5400"/>
                </a:lnTo>
                <a:cubicBezTo>
                  <a:pt x="7855" y="5129"/>
                  <a:pt x="7635" y="4909"/>
                  <a:pt x="7364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lnTo>
                  <a:pt x="3927" y="8345"/>
                </a:lnTo>
                <a:cubicBezTo>
                  <a:pt x="3927" y="8617"/>
                  <a:pt x="4147" y="8836"/>
                  <a:pt x="4418" y="8836"/>
                </a:cubicBezTo>
                <a:moveTo>
                  <a:pt x="14727" y="5891"/>
                </a:moveTo>
                <a:lnTo>
                  <a:pt x="16691" y="5891"/>
                </a:lnTo>
                <a:lnTo>
                  <a:pt x="16691" y="7855"/>
                </a:lnTo>
                <a:lnTo>
                  <a:pt x="14727" y="7855"/>
                </a:lnTo>
                <a:cubicBezTo>
                  <a:pt x="14727" y="7855"/>
                  <a:pt x="14727" y="5891"/>
                  <a:pt x="14727" y="5891"/>
                </a:cubicBezTo>
                <a:close/>
                <a:moveTo>
                  <a:pt x="14236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lnTo>
                  <a:pt x="17673" y="5400"/>
                </a:lnTo>
                <a:cubicBezTo>
                  <a:pt x="17673" y="5129"/>
                  <a:pt x="17453" y="4909"/>
                  <a:pt x="17182" y="4909"/>
                </a:cubicBezTo>
                <a:lnTo>
                  <a:pt x="14236" y="4909"/>
                </a:lnTo>
                <a:cubicBezTo>
                  <a:pt x="13965" y="4909"/>
                  <a:pt x="13745" y="5129"/>
                  <a:pt x="13745" y="5400"/>
                </a:cubicBezTo>
                <a:lnTo>
                  <a:pt x="13745" y="8345"/>
                </a:lnTo>
                <a:cubicBezTo>
                  <a:pt x="13745" y="8617"/>
                  <a:pt x="13965" y="8836"/>
                  <a:pt x="14236" y="8836"/>
                </a:cubicBezTo>
                <a:moveTo>
                  <a:pt x="19636" y="1964"/>
                </a:moveTo>
                <a:lnTo>
                  <a:pt x="1964" y="1964"/>
                </a:lnTo>
                <a:lnTo>
                  <a:pt x="1964" y="982"/>
                </a:lnTo>
                <a:lnTo>
                  <a:pt x="19636" y="982"/>
                </a:lnTo>
                <a:cubicBezTo>
                  <a:pt x="19636" y="982"/>
                  <a:pt x="19636" y="1964"/>
                  <a:pt x="19636" y="1964"/>
                </a:cubicBezTo>
                <a:close/>
                <a:moveTo>
                  <a:pt x="19636" y="20618"/>
                </a:moveTo>
                <a:lnTo>
                  <a:pt x="12764" y="20618"/>
                </a:lnTo>
                <a:lnTo>
                  <a:pt x="12764" y="15218"/>
                </a:lnTo>
                <a:cubicBezTo>
                  <a:pt x="12764" y="14947"/>
                  <a:pt x="12544" y="14727"/>
                  <a:pt x="12273" y="14727"/>
                </a:cubicBezTo>
                <a:lnTo>
                  <a:pt x="9327" y="14727"/>
                </a:lnTo>
                <a:cubicBezTo>
                  <a:pt x="9056" y="14727"/>
                  <a:pt x="8836" y="14947"/>
                  <a:pt x="8836" y="15218"/>
                </a:cubicBezTo>
                <a:lnTo>
                  <a:pt x="8836" y="20618"/>
                </a:lnTo>
                <a:lnTo>
                  <a:pt x="1964" y="20618"/>
                </a:lnTo>
                <a:lnTo>
                  <a:pt x="1964" y="2945"/>
                </a:lnTo>
                <a:lnTo>
                  <a:pt x="19636" y="2945"/>
                </a:lnTo>
                <a:cubicBezTo>
                  <a:pt x="19636" y="2945"/>
                  <a:pt x="19636" y="20618"/>
                  <a:pt x="19636" y="20618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5709"/>
                </a:lnTo>
                <a:lnTo>
                  <a:pt x="11782" y="15709"/>
                </a:lnTo>
                <a:cubicBezTo>
                  <a:pt x="11782" y="15709"/>
                  <a:pt x="11782" y="20618"/>
                  <a:pt x="11782" y="20618"/>
                </a:cubicBezTo>
                <a:close/>
                <a:moveTo>
                  <a:pt x="21109" y="1964"/>
                </a:moveTo>
                <a:lnTo>
                  <a:pt x="20618" y="1964"/>
                </a:lnTo>
                <a:lnTo>
                  <a:pt x="20618" y="491"/>
                </a:lnTo>
                <a:cubicBezTo>
                  <a:pt x="20618" y="220"/>
                  <a:pt x="20399" y="0"/>
                  <a:pt x="20127" y="0"/>
                </a:cubicBezTo>
                <a:lnTo>
                  <a:pt x="1473" y="0"/>
                </a:lnTo>
                <a:cubicBezTo>
                  <a:pt x="1201" y="0"/>
                  <a:pt x="982" y="220"/>
                  <a:pt x="982" y="491"/>
                </a:cubicBezTo>
                <a:lnTo>
                  <a:pt x="982" y="1964"/>
                </a:lnTo>
                <a:lnTo>
                  <a:pt x="491" y="1964"/>
                </a:lnTo>
                <a:cubicBezTo>
                  <a:pt x="220" y="1964"/>
                  <a:pt x="0" y="2184"/>
                  <a:pt x="0" y="2455"/>
                </a:cubicBezTo>
                <a:cubicBezTo>
                  <a:pt x="0" y="2726"/>
                  <a:pt x="220" y="2945"/>
                  <a:pt x="491" y="2945"/>
                </a:cubicBezTo>
                <a:lnTo>
                  <a:pt x="982" y="2945"/>
                </a:lnTo>
                <a:lnTo>
                  <a:pt x="982" y="21109"/>
                </a:lnTo>
                <a:cubicBezTo>
                  <a:pt x="982" y="21381"/>
                  <a:pt x="1201" y="21600"/>
                  <a:pt x="1473" y="21600"/>
                </a:cubicBezTo>
                <a:lnTo>
                  <a:pt x="20127" y="21600"/>
                </a:lnTo>
                <a:cubicBezTo>
                  <a:pt x="20399" y="21600"/>
                  <a:pt x="20618" y="21381"/>
                  <a:pt x="20618" y="21109"/>
                </a:cubicBezTo>
                <a:lnTo>
                  <a:pt x="20618" y="2945"/>
                </a:lnTo>
                <a:lnTo>
                  <a:pt x="21109" y="2945"/>
                </a:lnTo>
                <a:cubicBezTo>
                  <a:pt x="21380" y="2945"/>
                  <a:pt x="21600" y="2726"/>
                  <a:pt x="21600" y="2455"/>
                </a:cubicBezTo>
                <a:cubicBezTo>
                  <a:pt x="21600" y="2184"/>
                  <a:pt x="21380" y="1964"/>
                  <a:pt x="21109" y="19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5" name="Shape 2565"/>
          <p:cNvSpPr/>
          <p:nvPr/>
        </p:nvSpPr>
        <p:spPr>
          <a:xfrm>
            <a:off x="1758543" y="8412866"/>
            <a:ext cx="558654" cy="4570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8400"/>
                </a:moveTo>
                <a:lnTo>
                  <a:pt x="13745" y="8400"/>
                </a:lnTo>
                <a:lnTo>
                  <a:pt x="13745" y="9600"/>
                </a:lnTo>
                <a:lnTo>
                  <a:pt x="7855" y="9600"/>
                </a:lnTo>
                <a:cubicBezTo>
                  <a:pt x="7855" y="9600"/>
                  <a:pt x="7855" y="8400"/>
                  <a:pt x="7855" y="8400"/>
                </a:cubicBezTo>
                <a:close/>
                <a:moveTo>
                  <a:pt x="7855" y="10800"/>
                </a:moveTo>
                <a:lnTo>
                  <a:pt x="13745" y="10800"/>
                </a:lnTo>
                <a:cubicBezTo>
                  <a:pt x="14287" y="10800"/>
                  <a:pt x="14727" y="10262"/>
                  <a:pt x="14727" y="9600"/>
                </a:cubicBezTo>
                <a:lnTo>
                  <a:pt x="14727" y="8400"/>
                </a:lnTo>
                <a:cubicBezTo>
                  <a:pt x="14727" y="7737"/>
                  <a:pt x="14287" y="7200"/>
                  <a:pt x="13745" y="7200"/>
                </a:cubicBezTo>
                <a:lnTo>
                  <a:pt x="7855" y="7200"/>
                </a:lnTo>
                <a:cubicBezTo>
                  <a:pt x="7313" y="7200"/>
                  <a:pt x="6873" y="7737"/>
                  <a:pt x="6873" y="8400"/>
                </a:cubicBezTo>
                <a:lnTo>
                  <a:pt x="6873" y="9600"/>
                </a:lnTo>
                <a:cubicBezTo>
                  <a:pt x="6873" y="10262"/>
                  <a:pt x="7313" y="10800"/>
                  <a:pt x="7855" y="10800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6" name="Shape 2566"/>
          <p:cNvSpPr/>
          <p:nvPr/>
        </p:nvSpPr>
        <p:spPr>
          <a:xfrm>
            <a:off x="2825064" y="8412868"/>
            <a:ext cx="558654" cy="4571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2000"/>
                </a:moveTo>
                <a:cubicBezTo>
                  <a:pt x="6653" y="12000"/>
                  <a:pt x="6873" y="12268"/>
                  <a:pt x="6873" y="12599"/>
                </a:cubicBezTo>
                <a:cubicBezTo>
                  <a:pt x="6873" y="12931"/>
                  <a:pt x="6653" y="13199"/>
                  <a:pt x="6382" y="13199"/>
                </a:cubicBezTo>
                <a:cubicBezTo>
                  <a:pt x="6111" y="13199"/>
                  <a:pt x="5891" y="12931"/>
                  <a:pt x="5891" y="12599"/>
                </a:cubicBezTo>
                <a:cubicBezTo>
                  <a:pt x="5891" y="12268"/>
                  <a:pt x="6111" y="12000"/>
                  <a:pt x="6382" y="12000"/>
                </a:cubicBezTo>
                <a:moveTo>
                  <a:pt x="6382" y="14399"/>
                </a:moveTo>
                <a:cubicBezTo>
                  <a:pt x="7195" y="14399"/>
                  <a:pt x="7855" y="13594"/>
                  <a:pt x="7855" y="12599"/>
                </a:cubicBezTo>
                <a:cubicBezTo>
                  <a:pt x="7855" y="11606"/>
                  <a:pt x="7195" y="10800"/>
                  <a:pt x="6382" y="10800"/>
                </a:cubicBezTo>
                <a:cubicBezTo>
                  <a:pt x="5568" y="10800"/>
                  <a:pt x="4909" y="11606"/>
                  <a:pt x="4909" y="12599"/>
                </a:cubicBezTo>
                <a:cubicBezTo>
                  <a:pt x="4909" y="13594"/>
                  <a:pt x="5568" y="14399"/>
                  <a:pt x="6382" y="14399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0800" y="12000"/>
                </a:moveTo>
                <a:cubicBezTo>
                  <a:pt x="11071" y="12000"/>
                  <a:pt x="11291" y="12268"/>
                  <a:pt x="11291" y="12599"/>
                </a:cubicBezTo>
                <a:cubicBezTo>
                  <a:pt x="11291" y="12931"/>
                  <a:pt x="11071" y="13199"/>
                  <a:pt x="10800" y="13199"/>
                </a:cubicBezTo>
                <a:cubicBezTo>
                  <a:pt x="10529" y="13199"/>
                  <a:pt x="10309" y="12931"/>
                  <a:pt x="10309" y="12599"/>
                </a:cubicBezTo>
                <a:cubicBezTo>
                  <a:pt x="10309" y="12268"/>
                  <a:pt x="10529" y="12000"/>
                  <a:pt x="10800" y="12000"/>
                </a:cubicBezTo>
                <a:moveTo>
                  <a:pt x="10800" y="14399"/>
                </a:moveTo>
                <a:cubicBezTo>
                  <a:pt x="11614" y="14399"/>
                  <a:pt x="12273" y="13594"/>
                  <a:pt x="12273" y="12599"/>
                </a:cubicBezTo>
                <a:cubicBezTo>
                  <a:pt x="12273" y="11606"/>
                  <a:pt x="11614" y="10800"/>
                  <a:pt x="10800" y="10800"/>
                </a:cubicBezTo>
                <a:cubicBezTo>
                  <a:pt x="9986" y="10800"/>
                  <a:pt x="9327" y="11606"/>
                  <a:pt x="9327" y="12599"/>
                </a:cubicBezTo>
                <a:cubicBezTo>
                  <a:pt x="9327" y="13594"/>
                  <a:pt x="9986" y="14399"/>
                  <a:pt x="10800" y="14399"/>
                </a:cubicBezTo>
                <a:moveTo>
                  <a:pt x="15218" y="12000"/>
                </a:moveTo>
                <a:cubicBezTo>
                  <a:pt x="15489" y="12000"/>
                  <a:pt x="15709" y="12268"/>
                  <a:pt x="15709" y="12599"/>
                </a:cubicBezTo>
                <a:cubicBezTo>
                  <a:pt x="15709" y="12931"/>
                  <a:pt x="15489" y="13199"/>
                  <a:pt x="15218" y="13199"/>
                </a:cubicBezTo>
                <a:cubicBezTo>
                  <a:pt x="14947" y="13199"/>
                  <a:pt x="14727" y="12931"/>
                  <a:pt x="14727" y="12599"/>
                </a:cubicBezTo>
                <a:cubicBezTo>
                  <a:pt x="14727" y="12268"/>
                  <a:pt x="14947" y="12000"/>
                  <a:pt x="15218" y="12000"/>
                </a:cubicBezTo>
                <a:moveTo>
                  <a:pt x="15218" y="14399"/>
                </a:moveTo>
                <a:cubicBezTo>
                  <a:pt x="16032" y="14399"/>
                  <a:pt x="16691" y="13594"/>
                  <a:pt x="16691" y="12599"/>
                </a:cubicBezTo>
                <a:cubicBezTo>
                  <a:pt x="16691" y="11606"/>
                  <a:pt x="16032" y="10800"/>
                  <a:pt x="15218" y="10800"/>
                </a:cubicBezTo>
                <a:cubicBezTo>
                  <a:pt x="14405" y="10800"/>
                  <a:pt x="13745" y="11606"/>
                  <a:pt x="13745" y="12599"/>
                </a:cubicBezTo>
                <a:cubicBezTo>
                  <a:pt x="13745" y="13594"/>
                  <a:pt x="14405" y="14399"/>
                  <a:pt x="15218" y="1439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7" name="Shape 2567"/>
          <p:cNvSpPr/>
          <p:nvPr/>
        </p:nvSpPr>
        <p:spPr>
          <a:xfrm>
            <a:off x="3891587" y="8362078"/>
            <a:ext cx="558654" cy="558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11782"/>
                </a:moveTo>
                <a:cubicBezTo>
                  <a:pt x="7584" y="11782"/>
                  <a:pt x="7364" y="12001"/>
                  <a:pt x="7364" y="12272"/>
                </a:cubicBezTo>
                <a:cubicBezTo>
                  <a:pt x="7364" y="12408"/>
                  <a:pt x="7419" y="12531"/>
                  <a:pt x="7507" y="12619"/>
                </a:cubicBezTo>
                <a:lnTo>
                  <a:pt x="10453" y="15565"/>
                </a:lnTo>
                <a:cubicBezTo>
                  <a:pt x="10542" y="15654"/>
                  <a:pt x="10665" y="15709"/>
                  <a:pt x="10800" y="15709"/>
                </a:cubicBezTo>
                <a:cubicBezTo>
                  <a:pt x="10935" y="15709"/>
                  <a:pt x="11058" y="15654"/>
                  <a:pt x="11147" y="15565"/>
                </a:cubicBezTo>
                <a:lnTo>
                  <a:pt x="14093" y="12619"/>
                </a:lnTo>
                <a:cubicBezTo>
                  <a:pt x="14181" y="12531"/>
                  <a:pt x="14236" y="12408"/>
                  <a:pt x="14236" y="12272"/>
                </a:cubicBezTo>
                <a:cubicBezTo>
                  <a:pt x="14236" y="12001"/>
                  <a:pt x="14016" y="11782"/>
                  <a:pt x="13745" y="11782"/>
                </a:cubicBezTo>
                <a:cubicBezTo>
                  <a:pt x="13610" y="11782"/>
                  <a:pt x="13487" y="11837"/>
                  <a:pt x="13398" y="11925"/>
                </a:cubicBezTo>
                <a:lnTo>
                  <a:pt x="11291" y="14033"/>
                </a:lnTo>
                <a:lnTo>
                  <a:pt x="11291" y="492"/>
                </a:ln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4033"/>
                </a:lnTo>
                <a:lnTo>
                  <a:pt x="8202" y="11925"/>
                </a:lnTo>
                <a:cubicBezTo>
                  <a:pt x="8113" y="11837"/>
                  <a:pt x="7990" y="11782"/>
                  <a:pt x="7855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8" name="Shape 2568"/>
          <p:cNvSpPr/>
          <p:nvPr/>
        </p:nvSpPr>
        <p:spPr>
          <a:xfrm>
            <a:off x="4958109" y="8362078"/>
            <a:ext cx="558654" cy="558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3927"/>
                </a:moveTo>
                <a:cubicBezTo>
                  <a:pt x="7990" y="3927"/>
                  <a:pt x="8113" y="3872"/>
                  <a:pt x="8202" y="3784"/>
                </a:cubicBezTo>
                <a:lnTo>
                  <a:pt x="10309" y="1676"/>
                </a:lnTo>
                <a:lnTo>
                  <a:pt x="10309" y="15218"/>
                </a:lnTo>
                <a:lnTo>
                  <a:pt x="10309" y="15218"/>
                </a:lnTo>
                <a:cubicBezTo>
                  <a:pt x="10309" y="15489"/>
                  <a:pt x="10529" y="15709"/>
                  <a:pt x="10800" y="15709"/>
                </a:cubicBezTo>
                <a:cubicBezTo>
                  <a:pt x="11071" y="15709"/>
                  <a:pt x="11291" y="15489"/>
                  <a:pt x="11291" y="15218"/>
                </a:cubicBezTo>
                <a:lnTo>
                  <a:pt x="11291" y="1676"/>
                </a:lnTo>
                <a:lnTo>
                  <a:pt x="13398" y="3784"/>
                </a:lnTo>
                <a:cubicBezTo>
                  <a:pt x="13487" y="3872"/>
                  <a:pt x="13610" y="3927"/>
                  <a:pt x="13745" y="3927"/>
                </a:cubicBezTo>
                <a:cubicBezTo>
                  <a:pt x="14016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9" y="3178"/>
                  <a:pt x="7364" y="3301"/>
                  <a:pt x="7364" y="3436"/>
                </a:cubicBezTo>
                <a:cubicBezTo>
                  <a:pt x="7364" y="3708"/>
                  <a:pt x="7584" y="3927"/>
                  <a:pt x="7855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9" name="Shape 2569"/>
          <p:cNvSpPr/>
          <p:nvPr/>
        </p:nvSpPr>
        <p:spPr>
          <a:xfrm>
            <a:off x="6024631" y="8362077"/>
            <a:ext cx="558654" cy="5586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18655" y="20618"/>
                </a:moveTo>
                <a:lnTo>
                  <a:pt x="2945" y="20618"/>
                </a:lnTo>
                <a:lnTo>
                  <a:pt x="2945" y="9818"/>
                </a:lnTo>
                <a:lnTo>
                  <a:pt x="18655" y="9818"/>
                </a:lnTo>
                <a:cubicBezTo>
                  <a:pt x="18655" y="9818"/>
                  <a:pt x="18655" y="20618"/>
                  <a:pt x="18655" y="20618"/>
                </a:cubicBezTo>
                <a:close/>
                <a:moveTo>
                  <a:pt x="3927" y="982"/>
                </a:moveTo>
                <a:lnTo>
                  <a:pt x="11782" y="982"/>
                </a:lnTo>
                <a:lnTo>
                  <a:pt x="11782" y="3436"/>
                </a:lnTo>
                <a:cubicBezTo>
                  <a:pt x="11782" y="3708"/>
                  <a:pt x="12002" y="3927"/>
                  <a:pt x="12273" y="3927"/>
                </a:cubicBezTo>
                <a:lnTo>
                  <a:pt x="14727" y="3927"/>
                </a:lnTo>
                <a:lnTo>
                  <a:pt x="14727" y="5891"/>
                </a:lnTo>
                <a:lnTo>
                  <a:pt x="3927" y="5891"/>
                </a:lnTo>
                <a:cubicBezTo>
                  <a:pt x="3927" y="5891"/>
                  <a:pt x="3927" y="982"/>
                  <a:pt x="3927" y="982"/>
                </a:cubicBezTo>
                <a:close/>
                <a:moveTo>
                  <a:pt x="12764" y="1473"/>
                </a:moveTo>
                <a:lnTo>
                  <a:pt x="14236" y="2945"/>
                </a:lnTo>
                <a:lnTo>
                  <a:pt x="12764" y="2945"/>
                </a:lnTo>
                <a:cubicBezTo>
                  <a:pt x="12764" y="2945"/>
                  <a:pt x="12764" y="1473"/>
                  <a:pt x="12764" y="1473"/>
                </a:cubicBezTo>
                <a:close/>
                <a:moveTo>
                  <a:pt x="17673" y="1964"/>
                </a:moveTo>
                <a:lnTo>
                  <a:pt x="17673" y="5891"/>
                </a:lnTo>
                <a:lnTo>
                  <a:pt x="15709" y="5891"/>
                </a:lnTo>
                <a:lnTo>
                  <a:pt x="15709" y="2945"/>
                </a:lnTo>
                <a:lnTo>
                  <a:pt x="14727" y="1964"/>
                </a:lnTo>
                <a:cubicBezTo>
                  <a:pt x="14727" y="1964"/>
                  <a:pt x="17673" y="1964"/>
                  <a:pt x="17673" y="1964"/>
                </a:cubicBezTo>
                <a:close/>
                <a:moveTo>
                  <a:pt x="20618" y="5891"/>
                </a:moveTo>
                <a:lnTo>
                  <a:pt x="18655" y="5891"/>
                </a:lnTo>
                <a:lnTo>
                  <a:pt x="18655" y="1964"/>
                </a:lnTo>
                <a:cubicBezTo>
                  <a:pt x="18655" y="1422"/>
                  <a:pt x="18215" y="982"/>
                  <a:pt x="17673" y="982"/>
                </a:cubicBezTo>
                <a:lnTo>
                  <a:pt x="13745" y="982"/>
                </a:lnTo>
                <a:lnTo>
                  <a:pt x="12764" y="0"/>
                </a:lnTo>
                <a:lnTo>
                  <a:pt x="3927" y="0"/>
                </a:lnTo>
                <a:cubicBezTo>
                  <a:pt x="3385" y="0"/>
                  <a:pt x="2945" y="440"/>
                  <a:pt x="2945" y="982"/>
                </a:cubicBezTo>
                <a:lnTo>
                  <a:pt x="2945" y="5891"/>
                </a:ln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9"/>
                  <a:pt x="440" y="9818"/>
                  <a:pt x="982" y="9818"/>
                </a:cubicBezTo>
                <a:lnTo>
                  <a:pt x="1964" y="9818"/>
                </a:lnTo>
                <a:lnTo>
                  <a:pt x="1964" y="20618"/>
                </a:lnTo>
                <a:cubicBezTo>
                  <a:pt x="1964" y="21160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60"/>
                  <a:pt x="19636" y="20618"/>
                </a:cubicBezTo>
                <a:lnTo>
                  <a:pt x="19636" y="9818"/>
                </a:lnTo>
                <a:lnTo>
                  <a:pt x="20618" y="9818"/>
                </a:lnTo>
                <a:cubicBezTo>
                  <a:pt x="21160" y="9818"/>
                  <a:pt x="21600" y="9379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7855" y="12763"/>
                </a:moveTo>
                <a:lnTo>
                  <a:pt x="13745" y="12763"/>
                </a:lnTo>
                <a:lnTo>
                  <a:pt x="13745" y="13745"/>
                </a:lnTo>
                <a:lnTo>
                  <a:pt x="7855" y="13745"/>
                </a:lnTo>
                <a:cubicBezTo>
                  <a:pt x="7855" y="13745"/>
                  <a:pt x="7855" y="12763"/>
                  <a:pt x="7855" y="12763"/>
                </a:cubicBezTo>
                <a:close/>
                <a:moveTo>
                  <a:pt x="7855" y="14727"/>
                </a:moveTo>
                <a:lnTo>
                  <a:pt x="13745" y="14727"/>
                </a:lnTo>
                <a:cubicBezTo>
                  <a:pt x="14287" y="14727"/>
                  <a:pt x="14727" y="14287"/>
                  <a:pt x="14727" y="13745"/>
                </a:cubicBezTo>
                <a:lnTo>
                  <a:pt x="14727" y="12763"/>
                </a:lnTo>
                <a:cubicBezTo>
                  <a:pt x="14727" y="12221"/>
                  <a:pt x="14287" y="11782"/>
                  <a:pt x="13745" y="11782"/>
                </a:cubicBezTo>
                <a:lnTo>
                  <a:pt x="7855" y="11782"/>
                </a:lnTo>
                <a:cubicBezTo>
                  <a:pt x="7313" y="11782"/>
                  <a:pt x="6873" y="12221"/>
                  <a:pt x="6873" y="12763"/>
                </a:cubicBezTo>
                <a:lnTo>
                  <a:pt x="6873" y="13745"/>
                </a:lnTo>
                <a:cubicBezTo>
                  <a:pt x="6873" y="14287"/>
                  <a:pt x="7313" y="14727"/>
                  <a:pt x="7855" y="147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0" name="Shape 2570"/>
          <p:cNvSpPr/>
          <p:nvPr/>
        </p:nvSpPr>
        <p:spPr>
          <a:xfrm>
            <a:off x="7091154" y="8374775"/>
            <a:ext cx="558654" cy="5459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19" extrusionOk="0">
                <a:moveTo>
                  <a:pt x="7530" y="4197"/>
                </a:moveTo>
                <a:lnTo>
                  <a:pt x="6680" y="3701"/>
                </a:lnTo>
                <a:lnTo>
                  <a:pt x="6189" y="4560"/>
                </a:lnTo>
                <a:lnTo>
                  <a:pt x="7040" y="5056"/>
                </a:lnTo>
                <a:cubicBezTo>
                  <a:pt x="7040" y="5056"/>
                  <a:pt x="7530" y="4197"/>
                  <a:pt x="7530" y="4197"/>
                </a:cubicBezTo>
                <a:close/>
                <a:moveTo>
                  <a:pt x="8512" y="2479"/>
                </a:moveTo>
                <a:lnTo>
                  <a:pt x="7662" y="1984"/>
                </a:lnTo>
                <a:lnTo>
                  <a:pt x="7171" y="2843"/>
                </a:lnTo>
                <a:lnTo>
                  <a:pt x="8021" y="3339"/>
                </a:lnTo>
                <a:cubicBezTo>
                  <a:pt x="8021" y="3339"/>
                  <a:pt x="8512" y="2479"/>
                  <a:pt x="8512" y="2479"/>
                </a:cubicBezTo>
                <a:close/>
                <a:moveTo>
                  <a:pt x="20618" y="8428"/>
                </a:moveTo>
                <a:lnTo>
                  <a:pt x="982" y="8428"/>
                </a:lnTo>
                <a:lnTo>
                  <a:pt x="982" y="6445"/>
                </a:lnTo>
                <a:lnTo>
                  <a:pt x="20618" y="6445"/>
                </a:lnTo>
                <a:cubicBezTo>
                  <a:pt x="20618" y="6445"/>
                  <a:pt x="20618" y="8428"/>
                  <a:pt x="20618" y="8428"/>
                </a:cubicBezTo>
                <a:close/>
                <a:moveTo>
                  <a:pt x="18655" y="20327"/>
                </a:moveTo>
                <a:lnTo>
                  <a:pt x="2945" y="20327"/>
                </a:lnTo>
                <a:lnTo>
                  <a:pt x="2945" y="9420"/>
                </a:lnTo>
                <a:lnTo>
                  <a:pt x="18655" y="9420"/>
                </a:lnTo>
                <a:cubicBezTo>
                  <a:pt x="18655" y="9420"/>
                  <a:pt x="18655" y="20327"/>
                  <a:pt x="18655" y="20327"/>
                </a:cubicBezTo>
                <a:close/>
                <a:moveTo>
                  <a:pt x="6811" y="1488"/>
                </a:moveTo>
                <a:cubicBezTo>
                  <a:pt x="7083" y="1014"/>
                  <a:pt x="7683" y="851"/>
                  <a:pt x="8153" y="1125"/>
                </a:cubicBezTo>
                <a:lnTo>
                  <a:pt x="9854" y="2117"/>
                </a:lnTo>
                <a:lnTo>
                  <a:pt x="7946" y="5454"/>
                </a:lnTo>
                <a:lnTo>
                  <a:pt x="5759" y="5454"/>
                </a:lnTo>
                <a:lnTo>
                  <a:pt x="5698" y="5419"/>
                </a:lnTo>
                <a:lnTo>
                  <a:pt x="5678" y="5454"/>
                </a:lnTo>
                <a:lnTo>
                  <a:pt x="4545" y="5454"/>
                </a:lnTo>
                <a:cubicBezTo>
                  <a:pt x="4545" y="5454"/>
                  <a:pt x="6811" y="1488"/>
                  <a:pt x="6811" y="1488"/>
                </a:cubicBezTo>
                <a:close/>
                <a:moveTo>
                  <a:pt x="15577" y="5454"/>
                </a:moveTo>
                <a:lnTo>
                  <a:pt x="9079" y="5454"/>
                </a:lnTo>
                <a:lnTo>
                  <a:pt x="10704" y="2612"/>
                </a:lnTo>
                <a:cubicBezTo>
                  <a:pt x="10704" y="2612"/>
                  <a:pt x="15577" y="5454"/>
                  <a:pt x="15577" y="5454"/>
                </a:cubicBezTo>
                <a:close/>
                <a:moveTo>
                  <a:pt x="15930" y="2759"/>
                </a:moveTo>
                <a:cubicBezTo>
                  <a:pt x="16454" y="2617"/>
                  <a:pt x="16991" y="2931"/>
                  <a:pt x="17132" y="3460"/>
                </a:cubicBezTo>
                <a:lnTo>
                  <a:pt x="17661" y="5454"/>
                </a:lnTo>
                <a:lnTo>
                  <a:pt x="17540" y="5454"/>
                </a:lnTo>
                <a:lnTo>
                  <a:pt x="16279" y="4718"/>
                </a:lnTo>
                <a:lnTo>
                  <a:pt x="16438" y="4674"/>
                </a:lnTo>
                <a:lnTo>
                  <a:pt x="16184" y="3716"/>
                </a:lnTo>
                <a:lnTo>
                  <a:pt x="15236" y="3973"/>
                </a:lnTo>
                <a:lnTo>
                  <a:pt x="15279" y="4135"/>
                </a:lnTo>
                <a:lnTo>
                  <a:pt x="14076" y="3434"/>
                </a:lnTo>
                <a:lnTo>
                  <a:pt x="14033" y="3272"/>
                </a:lnTo>
                <a:cubicBezTo>
                  <a:pt x="14033" y="3272"/>
                  <a:pt x="15930" y="2759"/>
                  <a:pt x="15930" y="2759"/>
                </a:cubicBezTo>
                <a:close/>
                <a:moveTo>
                  <a:pt x="20618" y="5454"/>
                </a:moveTo>
                <a:lnTo>
                  <a:pt x="18678" y="5454"/>
                </a:lnTo>
                <a:lnTo>
                  <a:pt x="18081" y="3203"/>
                </a:lnTo>
                <a:cubicBezTo>
                  <a:pt x="17800" y="2145"/>
                  <a:pt x="16724" y="1518"/>
                  <a:pt x="15676" y="1801"/>
                </a:cubicBezTo>
                <a:lnTo>
                  <a:pt x="12671" y="2615"/>
                </a:lnTo>
                <a:lnTo>
                  <a:pt x="8644" y="266"/>
                </a:lnTo>
                <a:cubicBezTo>
                  <a:pt x="7704" y="-281"/>
                  <a:pt x="6504" y="44"/>
                  <a:pt x="5961" y="992"/>
                </a:cubicBezTo>
                <a:lnTo>
                  <a:pt x="3410" y="5454"/>
                </a:lnTo>
                <a:lnTo>
                  <a:pt x="982" y="5454"/>
                </a:lnTo>
                <a:cubicBezTo>
                  <a:pt x="440" y="5454"/>
                  <a:pt x="0" y="5898"/>
                  <a:pt x="0" y="6445"/>
                </a:cubicBezTo>
                <a:lnTo>
                  <a:pt x="0" y="8428"/>
                </a:lnTo>
                <a:cubicBezTo>
                  <a:pt x="0" y="8977"/>
                  <a:pt x="440" y="9420"/>
                  <a:pt x="982" y="9420"/>
                </a:cubicBezTo>
                <a:lnTo>
                  <a:pt x="1964" y="9420"/>
                </a:lnTo>
                <a:lnTo>
                  <a:pt x="1964" y="20327"/>
                </a:lnTo>
                <a:cubicBezTo>
                  <a:pt x="1964" y="20875"/>
                  <a:pt x="2403" y="21319"/>
                  <a:pt x="2945" y="21319"/>
                </a:cubicBezTo>
                <a:lnTo>
                  <a:pt x="18655" y="21319"/>
                </a:lnTo>
                <a:cubicBezTo>
                  <a:pt x="19197" y="21319"/>
                  <a:pt x="19636" y="20875"/>
                  <a:pt x="19636" y="20327"/>
                </a:cubicBezTo>
                <a:lnTo>
                  <a:pt x="19636" y="9420"/>
                </a:lnTo>
                <a:lnTo>
                  <a:pt x="20618" y="9420"/>
                </a:lnTo>
                <a:cubicBezTo>
                  <a:pt x="21160" y="9420"/>
                  <a:pt x="21600" y="8977"/>
                  <a:pt x="21600" y="8428"/>
                </a:cubicBezTo>
                <a:lnTo>
                  <a:pt x="21600" y="6445"/>
                </a:lnTo>
                <a:cubicBezTo>
                  <a:pt x="21600" y="5898"/>
                  <a:pt x="21160" y="5454"/>
                  <a:pt x="20618" y="5454"/>
                </a:cubicBezTo>
                <a:moveTo>
                  <a:pt x="7855" y="12395"/>
                </a:moveTo>
                <a:lnTo>
                  <a:pt x="13745" y="12395"/>
                </a:lnTo>
                <a:lnTo>
                  <a:pt x="13745" y="13386"/>
                </a:lnTo>
                <a:lnTo>
                  <a:pt x="7855" y="13386"/>
                </a:lnTo>
                <a:cubicBezTo>
                  <a:pt x="7855" y="13386"/>
                  <a:pt x="7855" y="12395"/>
                  <a:pt x="7855" y="12395"/>
                </a:cubicBezTo>
                <a:close/>
                <a:moveTo>
                  <a:pt x="7855" y="14378"/>
                </a:moveTo>
                <a:lnTo>
                  <a:pt x="13745" y="14378"/>
                </a:lnTo>
                <a:cubicBezTo>
                  <a:pt x="14288" y="14378"/>
                  <a:pt x="14727" y="13934"/>
                  <a:pt x="14727" y="13386"/>
                </a:cubicBezTo>
                <a:lnTo>
                  <a:pt x="14727" y="12395"/>
                </a:lnTo>
                <a:cubicBezTo>
                  <a:pt x="14727" y="11847"/>
                  <a:pt x="14288" y="11403"/>
                  <a:pt x="13745" y="11403"/>
                </a:cubicBezTo>
                <a:lnTo>
                  <a:pt x="7855" y="11403"/>
                </a:lnTo>
                <a:cubicBezTo>
                  <a:pt x="7312" y="11403"/>
                  <a:pt x="6873" y="11847"/>
                  <a:pt x="6873" y="12395"/>
                </a:cubicBezTo>
                <a:lnTo>
                  <a:pt x="6873" y="13386"/>
                </a:lnTo>
                <a:cubicBezTo>
                  <a:pt x="6873" y="13934"/>
                  <a:pt x="7312" y="14378"/>
                  <a:pt x="7855" y="1437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1" name="Shape 2571"/>
          <p:cNvSpPr/>
          <p:nvPr/>
        </p:nvSpPr>
        <p:spPr>
          <a:xfrm>
            <a:off x="8157677" y="836208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2" name="Shape 2572"/>
          <p:cNvSpPr/>
          <p:nvPr/>
        </p:nvSpPr>
        <p:spPr>
          <a:xfrm>
            <a:off x="9224197" y="836208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9818" y="8836"/>
                </a:lnTo>
                <a:lnTo>
                  <a:pt x="9818" y="4909"/>
                </a:lnTo>
                <a:cubicBezTo>
                  <a:pt x="9818" y="4638"/>
                  <a:pt x="9599" y="4418"/>
                  <a:pt x="9327" y="4418"/>
                </a:cubicBezTo>
                <a:cubicBezTo>
                  <a:pt x="9056" y="4418"/>
                  <a:pt x="8836" y="4638"/>
                  <a:pt x="8836" y="4909"/>
                </a:cubicBezTo>
                <a:lnTo>
                  <a:pt x="8836" y="8836"/>
                </a:ln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8836" y="9818"/>
                </a:lnTo>
                <a:lnTo>
                  <a:pt x="8836" y="13745"/>
                </a:lnTo>
                <a:cubicBezTo>
                  <a:pt x="8836" y="14017"/>
                  <a:pt x="9056" y="14236"/>
                  <a:pt x="9327" y="14236"/>
                </a:cubicBezTo>
                <a:cubicBezTo>
                  <a:pt x="9599" y="14236"/>
                  <a:pt x="9818" y="14017"/>
                  <a:pt x="9818" y="13745"/>
                </a:cubicBezTo>
                <a:lnTo>
                  <a:pt x="9818" y="9818"/>
                </a:ln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3" name="Shape 2573"/>
          <p:cNvSpPr/>
          <p:nvPr/>
        </p:nvSpPr>
        <p:spPr>
          <a:xfrm>
            <a:off x="10290720" y="836208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4" name="Shape 2574"/>
          <p:cNvSpPr/>
          <p:nvPr/>
        </p:nvSpPr>
        <p:spPr>
          <a:xfrm>
            <a:off x="11382637" y="8362080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32" y="4909"/>
                  <a:pt x="1080" y="4030"/>
                  <a:pt x="1080" y="2945"/>
                </a:cubicBezTo>
                <a:cubicBezTo>
                  <a:pt x="1080" y="1861"/>
                  <a:pt x="5432" y="982"/>
                  <a:pt x="10800" y="982"/>
                </a:cubicBezTo>
                <a:cubicBezTo>
                  <a:pt x="16168" y="982"/>
                  <a:pt x="20520" y="1861"/>
                  <a:pt x="20520" y="2945"/>
                </a:cubicBezTo>
                <a:cubicBezTo>
                  <a:pt x="20520" y="4030"/>
                  <a:pt x="16168" y="4909"/>
                  <a:pt x="10800" y="4909"/>
                </a:cubicBezTo>
                <a:moveTo>
                  <a:pt x="16305" y="8659"/>
                </a:moveTo>
                <a:cubicBezTo>
                  <a:pt x="14130" y="10260"/>
                  <a:pt x="11880" y="11916"/>
                  <a:pt x="11880" y="14727"/>
                </a:cubicBezTo>
                <a:cubicBezTo>
                  <a:pt x="11880" y="17561"/>
                  <a:pt x="11880" y="19270"/>
                  <a:pt x="11642" y="20135"/>
                </a:cubicBezTo>
                <a:cubicBezTo>
                  <a:pt x="11522" y="20573"/>
                  <a:pt x="11509" y="20618"/>
                  <a:pt x="10800" y="20618"/>
                </a:cubicBezTo>
                <a:cubicBezTo>
                  <a:pt x="10091" y="20618"/>
                  <a:pt x="10078" y="20573"/>
                  <a:pt x="9957" y="20135"/>
                </a:cubicBezTo>
                <a:cubicBezTo>
                  <a:pt x="9818" y="19627"/>
                  <a:pt x="9761" y="18820"/>
                  <a:pt x="9738" y="17673"/>
                </a:cubicBezTo>
                <a:lnTo>
                  <a:pt x="10260" y="17673"/>
                </a:lnTo>
                <a:cubicBezTo>
                  <a:pt x="10558" y="17673"/>
                  <a:pt x="10800" y="17453"/>
                  <a:pt x="10800" y="17182"/>
                </a:cubicBezTo>
                <a:cubicBezTo>
                  <a:pt x="10800" y="16911"/>
                  <a:pt x="10558" y="16691"/>
                  <a:pt x="10260" y="16691"/>
                </a:cubicBezTo>
                <a:lnTo>
                  <a:pt x="9724" y="16691"/>
                </a:lnTo>
                <a:cubicBezTo>
                  <a:pt x="9722" y="16381"/>
                  <a:pt x="9721" y="16059"/>
                  <a:pt x="9721" y="15709"/>
                </a:cubicBezTo>
                <a:lnTo>
                  <a:pt x="10260" y="15709"/>
                </a:lnTo>
                <a:cubicBezTo>
                  <a:pt x="10558" y="15709"/>
                  <a:pt x="10800" y="15489"/>
                  <a:pt x="10800" y="15218"/>
                </a:cubicBezTo>
                <a:cubicBezTo>
                  <a:pt x="10800" y="14947"/>
                  <a:pt x="10558" y="14727"/>
                  <a:pt x="10260" y="14727"/>
                </a:cubicBezTo>
                <a:lnTo>
                  <a:pt x="9720" y="14727"/>
                </a:lnTo>
                <a:cubicBezTo>
                  <a:pt x="9720" y="11916"/>
                  <a:pt x="7470" y="10260"/>
                  <a:pt x="5295" y="8659"/>
                </a:cubicBezTo>
                <a:cubicBezTo>
                  <a:pt x="3543" y="7370"/>
                  <a:pt x="1872" y="6139"/>
                  <a:pt x="1294" y="4344"/>
                </a:cubicBezTo>
                <a:cubicBezTo>
                  <a:pt x="3119" y="5266"/>
                  <a:pt x="6691" y="5891"/>
                  <a:pt x="10800" y="5891"/>
                </a:cubicBezTo>
                <a:cubicBezTo>
                  <a:pt x="14905" y="5891"/>
                  <a:pt x="18475" y="5266"/>
                  <a:pt x="20302" y="4347"/>
                </a:cubicBezTo>
                <a:cubicBezTo>
                  <a:pt x="19721" y="6143"/>
                  <a:pt x="18053" y="7373"/>
                  <a:pt x="16305" y="8659"/>
                </a:cubicBezTo>
                <a:moveTo>
                  <a:pt x="10800" y="0"/>
                </a:moveTo>
                <a:cubicBezTo>
                  <a:pt x="4835" y="0"/>
                  <a:pt x="0" y="1319"/>
                  <a:pt x="0" y="2945"/>
                </a:cubicBezTo>
                <a:cubicBezTo>
                  <a:pt x="0" y="8836"/>
                  <a:pt x="8640" y="9818"/>
                  <a:pt x="8640" y="14727"/>
                </a:cubicBezTo>
                <a:lnTo>
                  <a:pt x="8640" y="15217"/>
                </a:lnTo>
                <a:lnTo>
                  <a:pt x="8640" y="15218"/>
                </a:lnTo>
                <a:lnTo>
                  <a:pt x="8640" y="15219"/>
                </a:lnTo>
                <a:cubicBezTo>
                  <a:pt x="8641" y="15938"/>
                  <a:pt x="8642" y="16572"/>
                  <a:pt x="8649" y="17142"/>
                </a:cubicBezTo>
                <a:cubicBezTo>
                  <a:pt x="8647" y="17155"/>
                  <a:pt x="8640" y="17168"/>
                  <a:pt x="8640" y="17182"/>
                </a:cubicBezTo>
                <a:cubicBezTo>
                  <a:pt x="8640" y="17199"/>
                  <a:pt x="8648" y="17212"/>
                  <a:pt x="8651" y="17230"/>
                </a:cubicBezTo>
                <a:cubicBezTo>
                  <a:pt x="8699" y="20896"/>
                  <a:pt x="8995" y="21600"/>
                  <a:pt x="10800" y="21600"/>
                </a:cubicBezTo>
                <a:cubicBezTo>
                  <a:pt x="12960" y="21600"/>
                  <a:pt x="12960" y="20618"/>
                  <a:pt x="12960" y="14727"/>
                </a:cubicBezTo>
                <a:cubicBezTo>
                  <a:pt x="12960" y="9818"/>
                  <a:pt x="21600" y="8836"/>
                  <a:pt x="21600" y="2945"/>
                </a:cubicBezTo>
                <a:cubicBezTo>
                  <a:pt x="21600" y="1319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5" name="Shape 2575"/>
          <p:cNvSpPr/>
          <p:nvPr/>
        </p:nvSpPr>
        <p:spPr>
          <a:xfrm>
            <a:off x="1758543" y="942860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8655" y="14727"/>
                </a:lnTo>
                <a:lnTo>
                  <a:pt x="18655" y="12273"/>
                </a:lnTo>
                <a:cubicBezTo>
                  <a:pt x="18655" y="12002"/>
                  <a:pt x="18434" y="11782"/>
                  <a:pt x="18164" y="11782"/>
                </a:cubicBezTo>
                <a:cubicBezTo>
                  <a:pt x="17893" y="11782"/>
                  <a:pt x="17673" y="12002"/>
                  <a:pt x="17673" y="12273"/>
                </a:cubicBezTo>
                <a:lnTo>
                  <a:pt x="17673" y="14727"/>
                </a:ln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17673" y="15709"/>
                </a:lnTo>
                <a:lnTo>
                  <a:pt x="17673" y="18164"/>
                </a:lnTo>
                <a:cubicBezTo>
                  <a:pt x="17673" y="18435"/>
                  <a:pt x="17893" y="18655"/>
                  <a:pt x="18164" y="18655"/>
                </a:cubicBezTo>
                <a:cubicBezTo>
                  <a:pt x="18434" y="18655"/>
                  <a:pt x="18655" y="18435"/>
                  <a:pt x="18655" y="18164"/>
                </a:cubicBezTo>
                <a:lnTo>
                  <a:pt x="18655" y="15709"/>
                </a:ln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6" name="Shape 2576"/>
          <p:cNvSpPr/>
          <p:nvPr/>
        </p:nvSpPr>
        <p:spPr>
          <a:xfrm>
            <a:off x="2825064" y="942860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7" name="Shape 2577"/>
          <p:cNvSpPr/>
          <p:nvPr/>
        </p:nvSpPr>
        <p:spPr>
          <a:xfrm>
            <a:off x="3916982" y="9428603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20" y="4979"/>
                </a:moveTo>
                <a:lnTo>
                  <a:pt x="7560" y="6792"/>
                </a:lnTo>
                <a:lnTo>
                  <a:pt x="7560" y="2876"/>
                </a:lnTo>
                <a:lnTo>
                  <a:pt x="20520" y="1063"/>
                </a:lnTo>
                <a:cubicBezTo>
                  <a:pt x="20520" y="1063"/>
                  <a:pt x="20520" y="4979"/>
                  <a:pt x="20520" y="4979"/>
                </a:cubicBezTo>
                <a:close/>
                <a:moveTo>
                  <a:pt x="18900" y="17673"/>
                </a:moveTo>
                <a:lnTo>
                  <a:pt x="16740" y="17673"/>
                </a:lnTo>
                <a:cubicBezTo>
                  <a:pt x="15845" y="17673"/>
                  <a:pt x="15120" y="17014"/>
                  <a:pt x="15120" y="16200"/>
                </a:cubicBezTo>
                <a:cubicBezTo>
                  <a:pt x="15120" y="15387"/>
                  <a:pt x="15845" y="14727"/>
                  <a:pt x="16740" y="14727"/>
                </a:cubicBezTo>
                <a:lnTo>
                  <a:pt x="18900" y="14727"/>
                </a:lnTo>
                <a:cubicBezTo>
                  <a:pt x="19795" y="14727"/>
                  <a:pt x="20520" y="15387"/>
                  <a:pt x="20520" y="16200"/>
                </a:cubicBezTo>
                <a:cubicBezTo>
                  <a:pt x="20520" y="17014"/>
                  <a:pt x="19795" y="17673"/>
                  <a:pt x="18900" y="17673"/>
                </a:cubicBezTo>
                <a:moveTo>
                  <a:pt x="4860" y="20618"/>
                </a:moveTo>
                <a:lnTo>
                  <a:pt x="2700" y="20618"/>
                </a:lnTo>
                <a:cubicBezTo>
                  <a:pt x="1805" y="20618"/>
                  <a:pt x="1080" y="19959"/>
                  <a:pt x="1080" y="19146"/>
                </a:cubicBezTo>
                <a:cubicBezTo>
                  <a:pt x="1080" y="18332"/>
                  <a:pt x="1805" y="17673"/>
                  <a:pt x="2700" y="17673"/>
                </a:cubicBezTo>
                <a:lnTo>
                  <a:pt x="4860" y="17673"/>
                </a:lnTo>
                <a:cubicBezTo>
                  <a:pt x="5755" y="17673"/>
                  <a:pt x="6480" y="18332"/>
                  <a:pt x="6480" y="19146"/>
                </a:cubicBezTo>
                <a:cubicBezTo>
                  <a:pt x="6480" y="19959"/>
                  <a:pt x="5755" y="20618"/>
                  <a:pt x="4860" y="20618"/>
                </a:cubicBezTo>
                <a:moveTo>
                  <a:pt x="21060" y="0"/>
                </a:moveTo>
                <a:cubicBezTo>
                  <a:pt x="21031" y="0"/>
                  <a:pt x="21006" y="11"/>
                  <a:pt x="20980" y="15"/>
                </a:cubicBezTo>
                <a:lnTo>
                  <a:pt x="20978" y="6"/>
                </a:lnTo>
                <a:lnTo>
                  <a:pt x="6938" y="1969"/>
                </a:lnTo>
                <a:lnTo>
                  <a:pt x="6940" y="1979"/>
                </a:lnTo>
                <a:cubicBezTo>
                  <a:pt x="6681" y="2016"/>
                  <a:pt x="6480" y="2210"/>
                  <a:pt x="6480" y="2455"/>
                </a:cubicBezTo>
                <a:lnTo>
                  <a:pt x="6480" y="17193"/>
                </a:lnTo>
                <a:cubicBezTo>
                  <a:pt x="6028" y="16882"/>
                  <a:pt x="5471" y="16691"/>
                  <a:pt x="4860" y="16691"/>
                </a:cubicBezTo>
                <a:lnTo>
                  <a:pt x="2700" y="16691"/>
                </a:lnTo>
                <a:cubicBezTo>
                  <a:pt x="1209" y="16691"/>
                  <a:pt x="0" y="17790"/>
                  <a:pt x="0" y="19146"/>
                </a:cubicBezTo>
                <a:cubicBezTo>
                  <a:pt x="0" y="20501"/>
                  <a:pt x="1209" y="21600"/>
                  <a:pt x="2700" y="21600"/>
                </a:cubicBezTo>
                <a:lnTo>
                  <a:pt x="4860" y="21600"/>
                </a:lnTo>
                <a:cubicBezTo>
                  <a:pt x="6352" y="21600"/>
                  <a:pt x="7560" y="20501"/>
                  <a:pt x="7560" y="19146"/>
                </a:cubicBezTo>
                <a:lnTo>
                  <a:pt x="7560" y="7785"/>
                </a:lnTo>
                <a:lnTo>
                  <a:pt x="20520" y="5972"/>
                </a:lnTo>
                <a:lnTo>
                  <a:pt x="20520" y="14248"/>
                </a:lnTo>
                <a:cubicBezTo>
                  <a:pt x="20068" y="13937"/>
                  <a:pt x="19511" y="13745"/>
                  <a:pt x="18900" y="13745"/>
                </a:cubicBezTo>
                <a:lnTo>
                  <a:pt x="16740" y="13745"/>
                </a:lnTo>
                <a:cubicBezTo>
                  <a:pt x="15249" y="13745"/>
                  <a:pt x="14040" y="14845"/>
                  <a:pt x="14040" y="16200"/>
                </a:cubicBezTo>
                <a:cubicBezTo>
                  <a:pt x="14040" y="17556"/>
                  <a:pt x="15249" y="18655"/>
                  <a:pt x="16740" y="18655"/>
                </a:cubicBezTo>
                <a:lnTo>
                  <a:pt x="18900" y="18655"/>
                </a:lnTo>
                <a:cubicBezTo>
                  <a:pt x="20392" y="18655"/>
                  <a:pt x="21600" y="17556"/>
                  <a:pt x="21600" y="16200"/>
                </a:cubicBezTo>
                <a:lnTo>
                  <a:pt x="21600" y="491"/>
                </a:lnTo>
                <a:cubicBezTo>
                  <a:pt x="21600" y="220"/>
                  <a:pt x="21358" y="0"/>
                  <a:pt x="2106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8" name="Shape 2578"/>
          <p:cNvSpPr/>
          <p:nvPr/>
        </p:nvSpPr>
        <p:spPr>
          <a:xfrm>
            <a:off x="5059682" y="9428603"/>
            <a:ext cx="355507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5837"/>
                </a:moveTo>
                <a:lnTo>
                  <a:pt x="10800" y="4996"/>
                </a:lnTo>
                <a:lnTo>
                  <a:pt x="10800" y="1036"/>
                </a:lnTo>
                <a:lnTo>
                  <a:pt x="20057" y="1878"/>
                </a:lnTo>
                <a:cubicBezTo>
                  <a:pt x="20057" y="1878"/>
                  <a:pt x="20057" y="5837"/>
                  <a:pt x="20057" y="5837"/>
                </a:cubicBezTo>
                <a:close/>
                <a:moveTo>
                  <a:pt x="6943" y="20618"/>
                </a:moveTo>
                <a:lnTo>
                  <a:pt x="3857" y="20618"/>
                </a:lnTo>
                <a:cubicBezTo>
                  <a:pt x="2579" y="20618"/>
                  <a:pt x="1543" y="19959"/>
                  <a:pt x="1543" y="19146"/>
                </a:cubicBezTo>
                <a:cubicBezTo>
                  <a:pt x="1543" y="18332"/>
                  <a:pt x="2579" y="17673"/>
                  <a:pt x="3857" y="17673"/>
                </a:cubicBezTo>
                <a:lnTo>
                  <a:pt x="6943" y="17673"/>
                </a:lnTo>
                <a:cubicBezTo>
                  <a:pt x="8221" y="17673"/>
                  <a:pt x="9257" y="18332"/>
                  <a:pt x="9257" y="19146"/>
                </a:cubicBezTo>
                <a:cubicBezTo>
                  <a:pt x="9257" y="19959"/>
                  <a:pt x="8221" y="20618"/>
                  <a:pt x="6943" y="20618"/>
                </a:cubicBezTo>
                <a:moveTo>
                  <a:pt x="20829" y="982"/>
                </a:moveTo>
                <a:cubicBezTo>
                  <a:pt x="20788" y="982"/>
                  <a:pt x="20752" y="993"/>
                  <a:pt x="20714" y="997"/>
                </a:cubicBezTo>
                <a:lnTo>
                  <a:pt x="20711" y="988"/>
                </a:lnTo>
                <a:lnTo>
                  <a:pt x="10344" y="45"/>
                </a:lnTo>
                <a:cubicBezTo>
                  <a:pt x="10248" y="17"/>
                  <a:pt x="10141" y="0"/>
                  <a:pt x="10029" y="0"/>
                </a:cubicBezTo>
                <a:cubicBezTo>
                  <a:pt x="10002" y="0"/>
                  <a:pt x="9979" y="8"/>
                  <a:pt x="9954" y="10"/>
                </a:cubicBezTo>
                <a:lnTo>
                  <a:pt x="9911" y="6"/>
                </a:lnTo>
                <a:lnTo>
                  <a:pt x="9914" y="15"/>
                </a:lnTo>
                <a:cubicBezTo>
                  <a:pt x="9545" y="52"/>
                  <a:pt x="9257" y="246"/>
                  <a:pt x="9257" y="491"/>
                </a:cubicBezTo>
                <a:lnTo>
                  <a:pt x="9257" y="17193"/>
                </a:lnTo>
                <a:cubicBezTo>
                  <a:pt x="8612" y="16882"/>
                  <a:pt x="7815" y="16691"/>
                  <a:pt x="6943" y="16691"/>
                </a:cubicBezTo>
                <a:lnTo>
                  <a:pt x="3857" y="16691"/>
                </a:lnTo>
                <a:cubicBezTo>
                  <a:pt x="1727" y="16691"/>
                  <a:pt x="0" y="17790"/>
                  <a:pt x="0" y="19146"/>
                </a:cubicBezTo>
                <a:cubicBezTo>
                  <a:pt x="0" y="20501"/>
                  <a:pt x="1727" y="21600"/>
                  <a:pt x="3857" y="21600"/>
                </a:cubicBezTo>
                <a:lnTo>
                  <a:pt x="6943" y="21600"/>
                </a:lnTo>
                <a:cubicBezTo>
                  <a:pt x="9074" y="21600"/>
                  <a:pt x="10800" y="20501"/>
                  <a:pt x="10800" y="19146"/>
                </a:cubicBezTo>
                <a:lnTo>
                  <a:pt x="10800" y="5945"/>
                </a:lnTo>
                <a:lnTo>
                  <a:pt x="20513" y="6828"/>
                </a:lnTo>
                <a:cubicBezTo>
                  <a:pt x="20610" y="6855"/>
                  <a:pt x="20715" y="6873"/>
                  <a:pt x="20829" y="6873"/>
                </a:cubicBezTo>
                <a:cubicBezTo>
                  <a:pt x="20855" y="6873"/>
                  <a:pt x="20877" y="6865"/>
                  <a:pt x="20904" y="6864"/>
                </a:cubicBezTo>
                <a:lnTo>
                  <a:pt x="20946" y="6867"/>
                </a:lnTo>
                <a:lnTo>
                  <a:pt x="20943" y="6858"/>
                </a:lnTo>
                <a:cubicBezTo>
                  <a:pt x="21313" y="6822"/>
                  <a:pt x="21600" y="6627"/>
                  <a:pt x="21600" y="6382"/>
                </a:cubicBezTo>
                <a:lnTo>
                  <a:pt x="21600" y="1473"/>
                </a:lnTo>
                <a:cubicBezTo>
                  <a:pt x="21600" y="1202"/>
                  <a:pt x="21254" y="982"/>
                  <a:pt x="20829" y="9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9" name="Shape 2579"/>
          <p:cNvSpPr/>
          <p:nvPr/>
        </p:nvSpPr>
        <p:spPr>
          <a:xfrm>
            <a:off x="6024631" y="942860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57" y="18984"/>
                </a:moveTo>
                <a:lnTo>
                  <a:pt x="11380" y="15408"/>
                </a:lnTo>
                <a:lnTo>
                  <a:pt x="10800" y="14983"/>
                </a:lnTo>
                <a:lnTo>
                  <a:pt x="10219" y="15408"/>
                </a:lnTo>
                <a:lnTo>
                  <a:pt x="5343" y="18984"/>
                </a:lnTo>
                <a:lnTo>
                  <a:pt x="7313" y="13075"/>
                </a:lnTo>
                <a:lnTo>
                  <a:pt x="7534" y="12411"/>
                </a:lnTo>
                <a:lnTo>
                  <a:pt x="6980" y="11985"/>
                </a:lnTo>
                <a:lnTo>
                  <a:pt x="2887" y="8836"/>
                </a:lnTo>
                <a:lnTo>
                  <a:pt x="8535" y="8836"/>
                </a:lnTo>
                <a:lnTo>
                  <a:pt x="8774" y="8199"/>
                </a:lnTo>
                <a:lnTo>
                  <a:pt x="10800" y="2796"/>
                </a:lnTo>
                <a:lnTo>
                  <a:pt x="12826" y="8199"/>
                </a:lnTo>
                <a:lnTo>
                  <a:pt x="13065" y="8836"/>
                </a:lnTo>
                <a:lnTo>
                  <a:pt x="18714" y="8836"/>
                </a:lnTo>
                <a:lnTo>
                  <a:pt x="14619" y="11985"/>
                </a:lnTo>
                <a:lnTo>
                  <a:pt x="14066" y="12411"/>
                </a:lnTo>
                <a:cubicBezTo>
                  <a:pt x="14066" y="12411"/>
                  <a:pt x="16257" y="18984"/>
                  <a:pt x="16257" y="18984"/>
                </a:cubicBezTo>
                <a:close/>
                <a:moveTo>
                  <a:pt x="21600" y="7855"/>
                </a:moveTo>
                <a:lnTo>
                  <a:pt x="13745" y="7855"/>
                </a:lnTo>
                <a:lnTo>
                  <a:pt x="10800" y="0"/>
                </a:lnTo>
                <a:lnTo>
                  <a:pt x="7855" y="7855"/>
                </a:lnTo>
                <a:lnTo>
                  <a:pt x="0" y="7855"/>
                </a:lnTo>
                <a:lnTo>
                  <a:pt x="6382" y="12764"/>
                </a:lnTo>
                <a:lnTo>
                  <a:pt x="3436" y="21600"/>
                </a:lnTo>
                <a:lnTo>
                  <a:pt x="10800" y="16200"/>
                </a:lnTo>
                <a:lnTo>
                  <a:pt x="18164" y="21600"/>
                </a:lnTo>
                <a:lnTo>
                  <a:pt x="15218" y="12764"/>
                </a:lnTo>
                <a:cubicBezTo>
                  <a:pt x="15218" y="12764"/>
                  <a:pt x="21600" y="7855"/>
                  <a:pt x="21600" y="785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0" name="Shape 2580"/>
          <p:cNvSpPr/>
          <p:nvPr/>
        </p:nvSpPr>
        <p:spPr>
          <a:xfrm>
            <a:off x="7091154" y="942860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445" y="15886"/>
                </a:moveTo>
                <a:lnTo>
                  <a:pt x="10478" y="18984"/>
                </a:lnTo>
                <a:lnTo>
                  <a:pt x="7944" y="17126"/>
                </a:lnTo>
                <a:lnTo>
                  <a:pt x="7364" y="16700"/>
                </a:lnTo>
                <a:lnTo>
                  <a:pt x="6783" y="17126"/>
                </a:lnTo>
                <a:lnTo>
                  <a:pt x="4249" y="18984"/>
                </a:lnTo>
                <a:lnTo>
                  <a:pt x="5283" y="15886"/>
                </a:lnTo>
                <a:lnTo>
                  <a:pt x="5505" y="15220"/>
                </a:lnTo>
                <a:lnTo>
                  <a:pt x="4946" y="14794"/>
                </a:lnTo>
                <a:lnTo>
                  <a:pt x="2908" y="13240"/>
                </a:lnTo>
                <a:lnTo>
                  <a:pt x="6037" y="13240"/>
                </a:lnTo>
                <a:lnTo>
                  <a:pt x="6275" y="12602"/>
                </a:lnTo>
                <a:lnTo>
                  <a:pt x="7364" y="9683"/>
                </a:lnTo>
                <a:lnTo>
                  <a:pt x="8452" y="12602"/>
                </a:lnTo>
                <a:lnTo>
                  <a:pt x="8690" y="13240"/>
                </a:lnTo>
                <a:lnTo>
                  <a:pt x="11820" y="13240"/>
                </a:lnTo>
                <a:lnTo>
                  <a:pt x="9781" y="14794"/>
                </a:lnTo>
                <a:lnTo>
                  <a:pt x="9223" y="15220"/>
                </a:lnTo>
                <a:cubicBezTo>
                  <a:pt x="9223" y="15220"/>
                  <a:pt x="9445" y="15886"/>
                  <a:pt x="9445" y="15886"/>
                </a:cubicBezTo>
                <a:close/>
                <a:moveTo>
                  <a:pt x="9372" y="12259"/>
                </a:moveTo>
                <a:lnTo>
                  <a:pt x="7364" y="6873"/>
                </a:lnTo>
                <a:lnTo>
                  <a:pt x="5355" y="12259"/>
                </a:lnTo>
                <a:lnTo>
                  <a:pt x="0" y="12259"/>
                </a:lnTo>
                <a:lnTo>
                  <a:pt x="4351" y="15575"/>
                </a:lnTo>
                <a:lnTo>
                  <a:pt x="2343" y="21600"/>
                </a:lnTo>
                <a:lnTo>
                  <a:pt x="7364" y="17918"/>
                </a:lnTo>
                <a:lnTo>
                  <a:pt x="12384" y="21600"/>
                </a:lnTo>
                <a:lnTo>
                  <a:pt x="10376" y="15575"/>
                </a:lnTo>
                <a:lnTo>
                  <a:pt x="14727" y="12259"/>
                </a:lnTo>
                <a:cubicBezTo>
                  <a:pt x="14727" y="12259"/>
                  <a:pt x="9372" y="12259"/>
                  <a:pt x="9372" y="12259"/>
                </a:cubicBezTo>
                <a:close/>
                <a:moveTo>
                  <a:pt x="16781" y="7308"/>
                </a:moveTo>
                <a:lnTo>
                  <a:pt x="16200" y="6883"/>
                </a:lnTo>
                <a:lnTo>
                  <a:pt x="15619" y="7308"/>
                </a:lnTo>
                <a:lnTo>
                  <a:pt x="14426" y="8184"/>
                </a:lnTo>
                <a:lnTo>
                  <a:pt x="14922" y="6693"/>
                </a:lnTo>
                <a:lnTo>
                  <a:pt x="15143" y="6031"/>
                </a:lnTo>
                <a:lnTo>
                  <a:pt x="14590" y="5605"/>
                </a:lnTo>
                <a:lnTo>
                  <a:pt x="13682" y="4905"/>
                </a:lnTo>
                <a:lnTo>
                  <a:pt x="15408" y="4905"/>
                </a:lnTo>
                <a:lnTo>
                  <a:pt x="15647" y="4267"/>
                </a:lnTo>
                <a:lnTo>
                  <a:pt x="16200" y="2793"/>
                </a:lnTo>
                <a:lnTo>
                  <a:pt x="16754" y="4267"/>
                </a:lnTo>
                <a:lnTo>
                  <a:pt x="16992" y="4905"/>
                </a:lnTo>
                <a:lnTo>
                  <a:pt x="18718" y="4905"/>
                </a:lnTo>
                <a:lnTo>
                  <a:pt x="17810" y="5605"/>
                </a:lnTo>
                <a:lnTo>
                  <a:pt x="17257" y="6031"/>
                </a:lnTo>
                <a:lnTo>
                  <a:pt x="17478" y="6693"/>
                </a:lnTo>
                <a:lnTo>
                  <a:pt x="17975" y="8184"/>
                </a:lnTo>
                <a:cubicBezTo>
                  <a:pt x="17975" y="8184"/>
                  <a:pt x="16781" y="7308"/>
                  <a:pt x="16781" y="7308"/>
                </a:cubicBezTo>
                <a:close/>
                <a:moveTo>
                  <a:pt x="21600" y="3922"/>
                </a:moveTo>
                <a:lnTo>
                  <a:pt x="17673" y="3922"/>
                </a:lnTo>
                <a:lnTo>
                  <a:pt x="16200" y="0"/>
                </a:lnTo>
                <a:lnTo>
                  <a:pt x="14727" y="3922"/>
                </a:lnTo>
                <a:lnTo>
                  <a:pt x="10800" y="3922"/>
                </a:lnTo>
                <a:lnTo>
                  <a:pt x="13991" y="6382"/>
                </a:lnTo>
                <a:lnTo>
                  <a:pt x="12518" y="10800"/>
                </a:lnTo>
                <a:lnTo>
                  <a:pt x="16200" y="8100"/>
                </a:lnTo>
                <a:lnTo>
                  <a:pt x="19882" y="10800"/>
                </a:lnTo>
                <a:lnTo>
                  <a:pt x="18409" y="6382"/>
                </a:lnTo>
                <a:cubicBezTo>
                  <a:pt x="18409" y="6382"/>
                  <a:pt x="21600" y="3922"/>
                  <a:pt x="21600" y="3922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1" name="Shape 2581"/>
          <p:cNvSpPr/>
          <p:nvPr/>
        </p:nvSpPr>
        <p:spPr>
          <a:xfrm>
            <a:off x="8157677" y="942860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33" y="11950"/>
                </a:moveTo>
                <a:lnTo>
                  <a:pt x="12831" y="14044"/>
                </a:lnTo>
                <a:lnTo>
                  <a:pt x="11135" y="12801"/>
                </a:lnTo>
                <a:lnTo>
                  <a:pt x="10555" y="12375"/>
                </a:lnTo>
                <a:lnTo>
                  <a:pt x="9974" y="12801"/>
                </a:lnTo>
                <a:lnTo>
                  <a:pt x="8277" y="14044"/>
                </a:lnTo>
                <a:lnTo>
                  <a:pt x="8976" y="11950"/>
                </a:lnTo>
                <a:lnTo>
                  <a:pt x="9195" y="11291"/>
                </a:lnTo>
                <a:lnTo>
                  <a:pt x="8647" y="10864"/>
                </a:lnTo>
                <a:lnTo>
                  <a:pt x="7280" y="9801"/>
                </a:lnTo>
                <a:lnTo>
                  <a:pt x="9560" y="9801"/>
                </a:lnTo>
                <a:lnTo>
                  <a:pt x="9799" y="9167"/>
                </a:lnTo>
                <a:lnTo>
                  <a:pt x="10555" y="7167"/>
                </a:lnTo>
                <a:lnTo>
                  <a:pt x="11310" y="9167"/>
                </a:lnTo>
                <a:lnTo>
                  <a:pt x="11549" y="9801"/>
                </a:lnTo>
                <a:lnTo>
                  <a:pt x="13829" y="9801"/>
                </a:lnTo>
                <a:lnTo>
                  <a:pt x="12462" y="10864"/>
                </a:lnTo>
                <a:lnTo>
                  <a:pt x="11914" y="11291"/>
                </a:lnTo>
                <a:cubicBezTo>
                  <a:pt x="11914" y="11291"/>
                  <a:pt x="12133" y="11950"/>
                  <a:pt x="12133" y="11950"/>
                </a:cubicBezTo>
                <a:close/>
                <a:moveTo>
                  <a:pt x="12228" y="8820"/>
                </a:moveTo>
                <a:lnTo>
                  <a:pt x="10555" y="4388"/>
                </a:lnTo>
                <a:lnTo>
                  <a:pt x="8881" y="8820"/>
                </a:lnTo>
                <a:lnTo>
                  <a:pt x="4418" y="8820"/>
                </a:lnTo>
                <a:lnTo>
                  <a:pt x="8044" y="11639"/>
                </a:lnTo>
                <a:lnTo>
                  <a:pt x="6371" y="16660"/>
                </a:lnTo>
                <a:lnTo>
                  <a:pt x="10555" y="13592"/>
                </a:lnTo>
                <a:lnTo>
                  <a:pt x="14738" y="16660"/>
                </a:lnTo>
                <a:lnTo>
                  <a:pt x="13065" y="11639"/>
                </a:lnTo>
                <a:lnTo>
                  <a:pt x="16691" y="8820"/>
                </a:lnTo>
                <a:cubicBezTo>
                  <a:pt x="16691" y="8820"/>
                  <a:pt x="12228" y="8820"/>
                  <a:pt x="12228" y="8820"/>
                </a:cubicBezTo>
                <a:close/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2" name="Shape 2582"/>
          <p:cNvSpPr/>
          <p:nvPr/>
        </p:nvSpPr>
        <p:spPr>
          <a:xfrm>
            <a:off x="9224197" y="942860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4419"/>
                </a:moveTo>
                <a:lnTo>
                  <a:pt x="9327" y="4419"/>
                </a:lnTo>
                <a:cubicBezTo>
                  <a:pt x="9056" y="4419"/>
                  <a:pt x="8836" y="4638"/>
                  <a:pt x="8836" y="4909"/>
                </a:cubicBezTo>
                <a:cubicBezTo>
                  <a:pt x="8836" y="5181"/>
                  <a:pt x="9056" y="5400"/>
                  <a:pt x="9327" y="5400"/>
                </a:cubicBezTo>
                <a:lnTo>
                  <a:pt x="18164" y="5400"/>
                </a:lnTo>
                <a:cubicBezTo>
                  <a:pt x="18435" y="5400"/>
                  <a:pt x="18655" y="5181"/>
                  <a:pt x="18655" y="4909"/>
                </a:cubicBezTo>
                <a:cubicBezTo>
                  <a:pt x="18655" y="4638"/>
                  <a:pt x="18435" y="4419"/>
                  <a:pt x="18164" y="4419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164" y="10310"/>
                </a:moveTo>
                <a:lnTo>
                  <a:pt x="9327" y="10310"/>
                </a:lnTo>
                <a:cubicBezTo>
                  <a:pt x="9056" y="10310"/>
                  <a:pt x="8836" y="10529"/>
                  <a:pt x="8836" y="10800"/>
                </a:cubicBezTo>
                <a:cubicBezTo>
                  <a:pt x="8836" y="11072"/>
                  <a:pt x="9056" y="11291"/>
                  <a:pt x="9327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5445" y="16155"/>
                </a:moveTo>
                <a:lnTo>
                  <a:pt x="4909" y="14728"/>
                </a:lnTo>
                <a:lnTo>
                  <a:pt x="4374" y="16155"/>
                </a:lnTo>
                <a:lnTo>
                  <a:pt x="2945" y="16155"/>
                </a:lnTo>
                <a:lnTo>
                  <a:pt x="4106" y="17048"/>
                </a:lnTo>
                <a:lnTo>
                  <a:pt x="3571" y="18655"/>
                </a:lnTo>
                <a:lnTo>
                  <a:pt x="4909" y="17673"/>
                </a:lnTo>
                <a:lnTo>
                  <a:pt x="6248" y="18655"/>
                </a:lnTo>
                <a:lnTo>
                  <a:pt x="5713" y="17048"/>
                </a:lnTo>
                <a:lnTo>
                  <a:pt x="6873" y="16155"/>
                </a:lnTo>
                <a:cubicBezTo>
                  <a:pt x="6873" y="16155"/>
                  <a:pt x="5445" y="16155"/>
                  <a:pt x="5445" y="16155"/>
                </a:cubicBezTo>
                <a:close/>
                <a:moveTo>
                  <a:pt x="4909" y="8836"/>
                </a:moveTo>
                <a:lnTo>
                  <a:pt x="4374" y="10265"/>
                </a:lnTo>
                <a:lnTo>
                  <a:pt x="2945" y="10265"/>
                </a:lnTo>
                <a:lnTo>
                  <a:pt x="4106" y="11157"/>
                </a:lnTo>
                <a:lnTo>
                  <a:pt x="3571" y="12764"/>
                </a:lnTo>
                <a:lnTo>
                  <a:pt x="4909" y="11782"/>
                </a:lnTo>
                <a:lnTo>
                  <a:pt x="6248" y="12764"/>
                </a:lnTo>
                <a:lnTo>
                  <a:pt x="5713" y="11157"/>
                </a:lnTo>
                <a:lnTo>
                  <a:pt x="6873" y="10265"/>
                </a:lnTo>
                <a:lnTo>
                  <a:pt x="5445" y="10265"/>
                </a:lnTo>
                <a:cubicBezTo>
                  <a:pt x="5445" y="10265"/>
                  <a:pt x="4909" y="8836"/>
                  <a:pt x="4909" y="8836"/>
                </a:cubicBezTo>
                <a:close/>
                <a:moveTo>
                  <a:pt x="4909" y="2945"/>
                </a:moveTo>
                <a:lnTo>
                  <a:pt x="4374" y="4374"/>
                </a:lnTo>
                <a:lnTo>
                  <a:pt x="2945" y="4374"/>
                </a:lnTo>
                <a:lnTo>
                  <a:pt x="4106" y="5266"/>
                </a:lnTo>
                <a:lnTo>
                  <a:pt x="3571" y="6873"/>
                </a:lnTo>
                <a:lnTo>
                  <a:pt x="4909" y="5891"/>
                </a:lnTo>
                <a:lnTo>
                  <a:pt x="6248" y="6873"/>
                </a:lnTo>
                <a:lnTo>
                  <a:pt x="5713" y="5266"/>
                </a:lnTo>
                <a:lnTo>
                  <a:pt x="6873" y="4374"/>
                </a:lnTo>
                <a:lnTo>
                  <a:pt x="5445" y="4374"/>
                </a:lnTo>
                <a:cubicBezTo>
                  <a:pt x="5445" y="4374"/>
                  <a:pt x="4909" y="2945"/>
                  <a:pt x="4909" y="2945"/>
                </a:cubicBezTo>
                <a:close/>
                <a:moveTo>
                  <a:pt x="18164" y="16200"/>
                </a:moveTo>
                <a:lnTo>
                  <a:pt x="9327" y="16200"/>
                </a:lnTo>
                <a:cubicBezTo>
                  <a:pt x="9056" y="16200"/>
                  <a:pt x="8836" y="16420"/>
                  <a:pt x="8836" y="16691"/>
                </a:cubicBezTo>
                <a:cubicBezTo>
                  <a:pt x="8836" y="16962"/>
                  <a:pt x="9056" y="17182"/>
                  <a:pt x="9327" y="17182"/>
                </a:cubicBezTo>
                <a:lnTo>
                  <a:pt x="18164" y="17182"/>
                </a:lnTo>
                <a:cubicBezTo>
                  <a:pt x="18435" y="17182"/>
                  <a:pt x="18655" y="16962"/>
                  <a:pt x="18655" y="16691"/>
                </a:cubicBezTo>
                <a:cubicBezTo>
                  <a:pt x="18655" y="16420"/>
                  <a:pt x="18435" y="16200"/>
                  <a:pt x="18164" y="16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3" name="Shape 2583"/>
          <p:cNvSpPr/>
          <p:nvPr/>
        </p:nvSpPr>
        <p:spPr>
          <a:xfrm>
            <a:off x="10290720" y="942860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90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1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90"/>
                </a:cubicBezTo>
                <a:cubicBezTo>
                  <a:pt x="9962" y="13890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6"/>
                  <a:pt x="11155" y="21600"/>
                  <a:pt x="11291" y="21600"/>
                </a:cubicBezTo>
                <a:cubicBezTo>
                  <a:pt x="11427" y="21600"/>
                  <a:pt x="11549" y="21546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9"/>
                  <a:pt x="11291" y="12764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4" name="Shape 2584"/>
          <p:cNvSpPr/>
          <p:nvPr/>
        </p:nvSpPr>
        <p:spPr>
          <a:xfrm>
            <a:off x="11357242" y="942860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7673"/>
                </a:moveTo>
                <a:cubicBezTo>
                  <a:pt x="10445" y="17673"/>
                  <a:pt x="10567" y="17618"/>
                  <a:pt x="10656" y="17529"/>
                </a:cubicBezTo>
                <a:lnTo>
                  <a:pt x="12620" y="15565"/>
                </a:lnTo>
                <a:cubicBezTo>
                  <a:pt x="12709" y="15477"/>
                  <a:pt x="12764" y="15354"/>
                  <a:pt x="12764" y="15218"/>
                </a:cubicBezTo>
                <a:cubicBezTo>
                  <a:pt x="12764" y="14947"/>
                  <a:pt x="12544" y="14728"/>
                  <a:pt x="12273" y="14728"/>
                </a:cubicBezTo>
                <a:cubicBezTo>
                  <a:pt x="12137" y="14728"/>
                  <a:pt x="12014" y="14782"/>
                  <a:pt x="11926" y="14871"/>
                </a:cubicBezTo>
                <a:lnTo>
                  <a:pt x="9962" y="16835"/>
                </a:lnTo>
                <a:cubicBezTo>
                  <a:pt x="9873" y="16924"/>
                  <a:pt x="9818" y="17046"/>
                  <a:pt x="9818" y="17183"/>
                </a:cubicBezTo>
                <a:cubicBezTo>
                  <a:pt x="9818" y="17453"/>
                  <a:pt x="10038" y="17673"/>
                  <a:pt x="10309" y="17673"/>
                </a:cubicBezTo>
                <a:moveTo>
                  <a:pt x="10309" y="20415"/>
                </a:moveTo>
                <a:lnTo>
                  <a:pt x="982" y="11088"/>
                </a:lnTo>
                <a:lnTo>
                  <a:pt x="982" y="4418"/>
                </a:lnTo>
                <a:cubicBezTo>
                  <a:pt x="982" y="4147"/>
                  <a:pt x="1201" y="3927"/>
                  <a:pt x="1473" y="3927"/>
                </a:cubicBezTo>
                <a:lnTo>
                  <a:pt x="8142" y="3927"/>
                </a:lnTo>
                <a:lnTo>
                  <a:pt x="17469" y="13255"/>
                </a:lnTo>
                <a:cubicBezTo>
                  <a:pt x="17469" y="13255"/>
                  <a:pt x="10309" y="20415"/>
                  <a:pt x="10309" y="20415"/>
                </a:cubicBezTo>
                <a:close/>
                <a:moveTo>
                  <a:pt x="8693" y="3090"/>
                </a:moveTo>
                <a:cubicBezTo>
                  <a:pt x="8604" y="3001"/>
                  <a:pt x="8481" y="2945"/>
                  <a:pt x="8345" y="2945"/>
                </a:cubicBezTo>
                <a:lnTo>
                  <a:pt x="1473" y="2945"/>
                </a:lnTo>
                <a:cubicBezTo>
                  <a:pt x="660" y="2945"/>
                  <a:pt x="0" y="3605"/>
                  <a:pt x="0" y="4418"/>
                </a:cubicBezTo>
                <a:lnTo>
                  <a:pt x="0" y="11291"/>
                </a:lnTo>
                <a:cubicBezTo>
                  <a:pt x="0" y="11427"/>
                  <a:pt x="55" y="11549"/>
                  <a:pt x="144" y="11638"/>
                </a:cubicBezTo>
                <a:lnTo>
                  <a:pt x="9962" y="21456"/>
                </a:lnTo>
                <a:cubicBezTo>
                  <a:pt x="10051" y="21546"/>
                  <a:pt x="10174" y="21600"/>
                  <a:pt x="10309" y="21600"/>
                </a:cubicBezTo>
                <a:cubicBezTo>
                  <a:pt x="10445" y="21600"/>
                  <a:pt x="10567" y="21546"/>
                  <a:pt x="10656" y="21456"/>
                </a:cubicBezTo>
                <a:lnTo>
                  <a:pt x="18511" y="13602"/>
                </a:lnTo>
                <a:cubicBezTo>
                  <a:pt x="18600" y="13513"/>
                  <a:pt x="18655" y="13390"/>
                  <a:pt x="18655" y="13255"/>
                </a:cubicBezTo>
                <a:cubicBezTo>
                  <a:pt x="18655" y="13119"/>
                  <a:pt x="18599" y="12997"/>
                  <a:pt x="18511" y="12908"/>
                </a:cubicBezTo>
                <a:cubicBezTo>
                  <a:pt x="18511" y="12908"/>
                  <a:pt x="8693" y="3090"/>
                  <a:pt x="8693" y="3090"/>
                </a:cubicBezTo>
                <a:close/>
                <a:moveTo>
                  <a:pt x="7855" y="15218"/>
                </a:moveTo>
                <a:cubicBezTo>
                  <a:pt x="7855" y="15490"/>
                  <a:pt x="8074" y="15709"/>
                  <a:pt x="8345" y="15709"/>
                </a:cubicBezTo>
                <a:cubicBezTo>
                  <a:pt x="8481" y="15709"/>
                  <a:pt x="8604" y="15655"/>
                  <a:pt x="8693" y="15565"/>
                </a:cubicBezTo>
                <a:lnTo>
                  <a:pt x="9183" y="15074"/>
                </a:lnTo>
                <a:cubicBezTo>
                  <a:pt x="9273" y="14986"/>
                  <a:pt x="9327" y="14863"/>
                  <a:pt x="9327" y="14728"/>
                </a:cubicBezTo>
                <a:cubicBezTo>
                  <a:pt x="9327" y="14456"/>
                  <a:pt x="9108" y="14236"/>
                  <a:pt x="8836" y="14236"/>
                </a:cubicBezTo>
                <a:cubicBezTo>
                  <a:pt x="8701" y="14236"/>
                  <a:pt x="8578" y="14291"/>
                  <a:pt x="8489" y="14381"/>
                </a:cubicBezTo>
                <a:lnTo>
                  <a:pt x="7998" y="14871"/>
                </a:lnTo>
                <a:cubicBezTo>
                  <a:pt x="7910" y="14961"/>
                  <a:pt x="7855" y="15083"/>
                  <a:pt x="7855" y="15218"/>
                </a:cubicBezTo>
                <a:moveTo>
                  <a:pt x="21456" y="9962"/>
                </a:moveTo>
                <a:lnTo>
                  <a:pt x="11638" y="144"/>
                </a:lnTo>
                <a:cubicBezTo>
                  <a:pt x="11549" y="55"/>
                  <a:pt x="11427" y="0"/>
                  <a:pt x="11291" y="0"/>
                </a:cubicBezTo>
                <a:lnTo>
                  <a:pt x="4418" y="0"/>
                </a:lnTo>
                <a:cubicBezTo>
                  <a:pt x="3605" y="0"/>
                  <a:pt x="2945" y="660"/>
                  <a:pt x="2945" y="1473"/>
                </a:cubicBezTo>
                <a:cubicBezTo>
                  <a:pt x="2945" y="1744"/>
                  <a:pt x="3165" y="1964"/>
                  <a:pt x="3436" y="1964"/>
                </a:cubicBezTo>
                <a:cubicBezTo>
                  <a:pt x="3708" y="1964"/>
                  <a:pt x="3927" y="1744"/>
                  <a:pt x="3927" y="1473"/>
                </a:cubicBezTo>
                <a:cubicBezTo>
                  <a:pt x="3927" y="1202"/>
                  <a:pt x="4147" y="982"/>
                  <a:pt x="4418" y="982"/>
                </a:cubicBezTo>
                <a:lnTo>
                  <a:pt x="11088" y="982"/>
                </a:lnTo>
                <a:lnTo>
                  <a:pt x="20415" y="10310"/>
                </a:lnTo>
                <a:lnTo>
                  <a:pt x="19289" y="11435"/>
                </a:lnTo>
                <a:cubicBezTo>
                  <a:pt x="19201" y="11524"/>
                  <a:pt x="19145" y="11646"/>
                  <a:pt x="19145" y="11782"/>
                </a:cubicBezTo>
                <a:cubicBezTo>
                  <a:pt x="19145" y="12053"/>
                  <a:pt x="19366" y="12273"/>
                  <a:pt x="19636" y="12273"/>
                </a:cubicBezTo>
                <a:cubicBezTo>
                  <a:pt x="19772" y="12273"/>
                  <a:pt x="19895" y="12218"/>
                  <a:pt x="19983" y="12129"/>
                </a:cubicBezTo>
                <a:lnTo>
                  <a:pt x="21456" y="10656"/>
                </a:lnTo>
                <a:cubicBezTo>
                  <a:pt x="21545" y="10567"/>
                  <a:pt x="21600" y="10445"/>
                  <a:pt x="21600" y="10310"/>
                </a:cubicBezTo>
                <a:cubicBezTo>
                  <a:pt x="21600" y="10174"/>
                  <a:pt x="21545" y="10051"/>
                  <a:pt x="21456" y="9962"/>
                </a:cubicBezTo>
                <a:moveTo>
                  <a:pt x="10309" y="13745"/>
                </a:moveTo>
                <a:cubicBezTo>
                  <a:pt x="10445" y="13745"/>
                  <a:pt x="10567" y="13691"/>
                  <a:pt x="10656" y="13602"/>
                </a:cubicBezTo>
                <a:lnTo>
                  <a:pt x="11638" y="12620"/>
                </a:lnTo>
                <a:cubicBezTo>
                  <a:pt x="11727" y="12531"/>
                  <a:pt x="11782" y="12408"/>
                  <a:pt x="11782" y="12273"/>
                </a:cubicBezTo>
                <a:cubicBezTo>
                  <a:pt x="11782" y="12002"/>
                  <a:pt x="11562" y="11782"/>
                  <a:pt x="11291" y="11782"/>
                </a:cubicBezTo>
                <a:cubicBezTo>
                  <a:pt x="11156" y="11782"/>
                  <a:pt x="11033" y="11837"/>
                  <a:pt x="10944" y="11926"/>
                </a:cubicBezTo>
                <a:lnTo>
                  <a:pt x="9962" y="12908"/>
                </a:lnTo>
                <a:cubicBezTo>
                  <a:pt x="9873" y="12997"/>
                  <a:pt x="9818" y="13119"/>
                  <a:pt x="9818" y="13255"/>
                </a:cubicBezTo>
                <a:cubicBezTo>
                  <a:pt x="9818" y="13526"/>
                  <a:pt x="10038" y="13745"/>
                  <a:pt x="10309" y="13745"/>
                </a:cubicBezTo>
                <a:moveTo>
                  <a:pt x="4418" y="7855"/>
                </a:moveTo>
                <a:cubicBezTo>
                  <a:pt x="4147" y="7855"/>
                  <a:pt x="3927" y="7635"/>
                  <a:pt x="3927" y="7364"/>
                </a:cubicBezTo>
                <a:cubicBezTo>
                  <a:pt x="3927" y="7093"/>
                  <a:pt x="4147" y="6873"/>
                  <a:pt x="4418" y="6873"/>
                </a:cubicBezTo>
                <a:cubicBezTo>
                  <a:pt x="4690" y="6873"/>
                  <a:pt x="4909" y="7093"/>
                  <a:pt x="4909" y="7364"/>
                </a:cubicBezTo>
                <a:cubicBezTo>
                  <a:pt x="4909" y="7635"/>
                  <a:pt x="4690" y="7855"/>
                  <a:pt x="4418" y="7855"/>
                </a:cubicBezTo>
                <a:moveTo>
                  <a:pt x="4418" y="5891"/>
                </a:moveTo>
                <a:cubicBezTo>
                  <a:pt x="3605" y="5891"/>
                  <a:pt x="2945" y="6551"/>
                  <a:pt x="2945" y="7364"/>
                </a:cubicBezTo>
                <a:cubicBezTo>
                  <a:pt x="2945" y="8177"/>
                  <a:pt x="3605" y="8837"/>
                  <a:pt x="4418" y="8837"/>
                </a:cubicBezTo>
                <a:cubicBezTo>
                  <a:pt x="5232" y="8837"/>
                  <a:pt x="5891" y="8177"/>
                  <a:pt x="5891" y="7364"/>
                </a:cubicBezTo>
                <a:cubicBezTo>
                  <a:pt x="5891" y="6551"/>
                  <a:pt x="5232" y="5891"/>
                  <a:pt x="4418" y="58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5" name="Shape 2585"/>
          <p:cNvSpPr/>
          <p:nvPr/>
        </p:nvSpPr>
        <p:spPr>
          <a:xfrm>
            <a:off x="12550730" y="4096010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000" y="14727"/>
                </a:moveTo>
                <a:lnTo>
                  <a:pt x="5400" y="14727"/>
                </a:lnTo>
                <a:cubicBezTo>
                  <a:pt x="5069" y="14727"/>
                  <a:pt x="4800" y="14947"/>
                  <a:pt x="4800" y="15218"/>
                </a:cubicBezTo>
                <a:cubicBezTo>
                  <a:pt x="4800" y="15490"/>
                  <a:pt x="5069" y="15709"/>
                  <a:pt x="5400" y="15709"/>
                </a:cubicBezTo>
                <a:lnTo>
                  <a:pt x="9000" y="15709"/>
                </a:lnTo>
                <a:cubicBezTo>
                  <a:pt x="9331" y="15709"/>
                  <a:pt x="9600" y="15490"/>
                  <a:pt x="9600" y="15218"/>
                </a:cubicBezTo>
                <a:cubicBezTo>
                  <a:pt x="9600" y="14947"/>
                  <a:pt x="9331" y="14727"/>
                  <a:pt x="9000" y="14727"/>
                </a:cubicBezTo>
                <a:moveTo>
                  <a:pt x="20400" y="2579"/>
                </a:moveTo>
                <a:cubicBezTo>
                  <a:pt x="18840" y="3757"/>
                  <a:pt x="15638" y="4614"/>
                  <a:pt x="12466" y="4845"/>
                </a:cubicBezTo>
                <a:cubicBezTo>
                  <a:pt x="12197" y="4307"/>
                  <a:pt x="11554" y="3927"/>
                  <a:pt x="10800" y="3927"/>
                </a:cubicBezTo>
                <a:cubicBezTo>
                  <a:pt x="10046" y="3927"/>
                  <a:pt x="9403" y="4307"/>
                  <a:pt x="9135" y="4845"/>
                </a:cubicBezTo>
                <a:cubicBezTo>
                  <a:pt x="5962" y="4614"/>
                  <a:pt x="2760" y="3757"/>
                  <a:pt x="1200" y="2579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2579"/>
                  <a:pt x="20400" y="2579"/>
                </a:cubicBezTo>
                <a:close/>
                <a:moveTo>
                  <a:pt x="10200" y="5400"/>
                </a:moveTo>
                <a:cubicBezTo>
                  <a:pt x="10200" y="5129"/>
                  <a:pt x="10469" y="4909"/>
                  <a:pt x="10800" y="4909"/>
                </a:cubicBezTo>
                <a:cubicBezTo>
                  <a:pt x="11131" y="4909"/>
                  <a:pt x="11400" y="5129"/>
                  <a:pt x="11400" y="5400"/>
                </a:cubicBezTo>
                <a:cubicBezTo>
                  <a:pt x="11400" y="5672"/>
                  <a:pt x="11131" y="5891"/>
                  <a:pt x="10800" y="5891"/>
                </a:cubicBezTo>
                <a:cubicBezTo>
                  <a:pt x="10469" y="5891"/>
                  <a:pt x="10200" y="5672"/>
                  <a:pt x="10200" y="5400"/>
                </a:cubicBezTo>
                <a:moveTo>
                  <a:pt x="20400" y="19636"/>
                </a:moveTo>
                <a:cubicBezTo>
                  <a:pt x="20400" y="20178"/>
                  <a:pt x="19862" y="20619"/>
                  <a:pt x="19200" y="20619"/>
                </a:cubicBezTo>
                <a:lnTo>
                  <a:pt x="2400" y="20619"/>
                </a:lnTo>
                <a:cubicBezTo>
                  <a:pt x="1738" y="20619"/>
                  <a:pt x="1200" y="20178"/>
                  <a:pt x="1200" y="19636"/>
                </a:cubicBezTo>
                <a:lnTo>
                  <a:pt x="1200" y="3859"/>
                </a:lnTo>
                <a:cubicBezTo>
                  <a:pt x="3007" y="4894"/>
                  <a:pt x="6118" y="5617"/>
                  <a:pt x="9086" y="5827"/>
                </a:cubicBezTo>
                <a:cubicBezTo>
                  <a:pt x="9311" y="6431"/>
                  <a:pt x="9988" y="6873"/>
                  <a:pt x="10800" y="6873"/>
                </a:cubicBezTo>
                <a:cubicBezTo>
                  <a:pt x="11611" y="6873"/>
                  <a:pt x="12289" y="6431"/>
                  <a:pt x="12514" y="5827"/>
                </a:cubicBezTo>
                <a:cubicBezTo>
                  <a:pt x="15482" y="5617"/>
                  <a:pt x="18593" y="4894"/>
                  <a:pt x="20400" y="3859"/>
                </a:cubicBezTo>
                <a:cubicBezTo>
                  <a:pt x="20400" y="3859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7800" y="16691"/>
                </a:moveTo>
                <a:lnTo>
                  <a:pt x="5400" y="16691"/>
                </a:lnTo>
                <a:cubicBezTo>
                  <a:pt x="5069" y="16691"/>
                  <a:pt x="4800" y="16911"/>
                  <a:pt x="4800" y="17182"/>
                </a:cubicBezTo>
                <a:cubicBezTo>
                  <a:pt x="4800" y="17453"/>
                  <a:pt x="5069" y="17673"/>
                  <a:pt x="5400" y="17673"/>
                </a:cubicBezTo>
                <a:lnTo>
                  <a:pt x="7800" y="17673"/>
                </a:lnTo>
                <a:cubicBezTo>
                  <a:pt x="8131" y="17673"/>
                  <a:pt x="8400" y="17453"/>
                  <a:pt x="8400" y="17182"/>
                </a:cubicBezTo>
                <a:cubicBezTo>
                  <a:pt x="8400" y="16911"/>
                  <a:pt x="8131" y="16691"/>
                  <a:pt x="7800" y="166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6" name="Shape 2586"/>
          <p:cNvSpPr/>
          <p:nvPr/>
        </p:nvSpPr>
        <p:spPr>
          <a:xfrm>
            <a:off x="13617252" y="4096010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00" y="6076"/>
                </a:moveTo>
                <a:cubicBezTo>
                  <a:pt x="14428" y="7109"/>
                  <a:pt x="12685" y="7649"/>
                  <a:pt x="10071" y="7803"/>
                </a:cubicBezTo>
                <a:cubicBezTo>
                  <a:pt x="9806" y="7259"/>
                  <a:pt x="9160" y="6873"/>
                  <a:pt x="8400" y="6873"/>
                </a:cubicBezTo>
                <a:cubicBezTo>
                  <a:pt x="7640" y="6873"/>
                  <a:pt x="6994" y="7259"/>
                  <a:pt x="6729" y="7803"/>
                </a:cubicBezTo>
                <a:cubicBezTo>
                  <a:pt x="4115" y="7649"/>
                  <a:pt x="2372" y="7109"/>
                  <a:pt x="1200" y="6076"/>
                </a:cubicBezTo>
                <a:lnTo>
                  <a:pt x="1200" y="5891"/>
                </a:lnTo>
                <a:cubicBezTo>
                  <a:pt x="1200" y="5349"/>
                  <a:pt x="1738" y="4909"/>
                  <a:pt x="2400" y="4909"/>
                </a:cubicBezTo>
                <a:lnTo>
                  <a:pt x="14400" y="4909"/>
                </a:lnTo>
                <a:cubicBezTo>
                  <a:pt x="15062" y="4909"/>
                  <a:pt x="15600" y="5349"/>
                  <a:pt x="15600" y="5891"/>
                </a:cubicBezTo>
                <a:cubicBezTo>
                  <a:pt x="15600" y="5891"/>
                  <a:pt x="15600" y="6076"/>
                  <a:pt x="15600" y="6076"/>
                </a:cubicBezTo>
                <a:close/>
                <a:moveTo>
                  <a:pt x="7800" y="8346"/>
                </a:moveTo>
                <a:cubicBezTo>
                  <a:pt x="7800" y="8074"/>
                  <a:pt x="8069" y="7855"/>
                  <a:pt x="8400" y="7855"/>
                </a:cubicBezTo>
                <a:cubicBezTo>
                  <a:pt x="8731" y="7855"/>
                  <a:pt x="9000" y="8074"/>
                  <a:pt x="9000" y="8346"/>
                </a:cubicBezTo>
                <a:cubicBezTo>
                  <a:pt x="9000" y="8617"/>
                  <a:pt x="8731" y="8836"/>
                  <a:pt x="8400" y="8836"/>
                </a:cubicBezTo>
                <a:cubicBezTo>
                  <a:pt x="8069" y="8836"/>
                  <a:pt x="7800" y="8617"/>
                  <a:pt x="7800" y="8346"/>
                </a:cubicBezTo>
                <a:moveTo>
                  <a:pt x="15600" y="19636"/>
                </a:moveTo>
                <a:cubicBezTo>
                  <a:pt x="15600" y="20179"/>
                  <a:pt x="15062" y="20619"/>
                  <a:pt x="14400" y="20619"/>
                </a:cubicBezTo>
                <a:lnTo>
                  <a:pt x="2400" y="20619"/>
                </a:lnTo>
                <a:cubicBezTo>
                  <a:pt x="1738" y="20619"/>
                  <a:pt x="1200" y="20179"/>
                  <a:pt x="1200" y="19636"/>
                </a:cubicBezTo>
                <a:lnTo>
                  <a:pt x="1200" y="7318"/>
                </a:lnTo>
                <a:cubicBezTo>
                  <a:pt x="2658" y="8244"/>
                  <a:pt x="4301" y="8666"/>
                  <a:pt x="6693" y="8790"/>
                </a:cubicBezTo>
                <a:cubicBezTo>
                  <a:pt x="6924" y="9385"/>
                  <a:pt x="7597" y="9819"/>
                  <a:pt x="8400" y="9819"/>
                </a:cubicBezTo>
                <a:cubicBezTo>
                  <a:pt x="9203" y="9819"/>
                  <a:pt x="9875" y="9385"/>
                  <a:pt x="10108" y="8790"/>
                </a:cubicBezTo>
                <a:cubicBezTo>
                  <a:pt x="12499" y="8666"/>
                  <a:pt x="14142" y="8244"/>
                  <a:pt x="15600" y="7318"/>
                </a:cubicBezTo>
                <a:cubicBezTo>
                  <a:pt x="15600" y="7318"/>
                  <a:pt x="15600" y="19636"/>
                  <a:pt x="15600" y="19636"/>
                </a:cubicBezTo>
                <a:close/>
                <a:moveTo>
                  <a:pt x="14400" y="3927"/>
                </a:moveTo>
                <a:lnTo>
                  <a:pt x="2400" y="3927"/>
                </a:lnTo>
                <a:cubicBezTo>
                  <a:pt x="1075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4400" y="21600"/>
                </a:lnTo>
                <a:cubicBezTo>
                  <a:pt x="15725" y="21600"/>
                  <a:pt x="16800" y="20721"/>
                  <a:pt x="16800" y="19636"/>
                </a:cubicBezTo>
                <a:lnTo>
                  <a:pt x="16800" y="5891"/>
                </a:lnTo>
                <a:cubicBezTo>
                  <a:pt x="16800" y="4806"/>
                  <a:pt x="15725" y="3927"/>
                  <a:pt x="14400" y="3927"/>
                </a:cubicBezTo>
                <a:moveTo>
                  <a:pt x="5400" y="17673"/>
                </a:moveTo>
                <a:lnTo>
                  <a:pt x="4200" y="17673"/>
                </a:lnTo>
                <a:cubicBezTo>
                  <a:pt x="3869" y="17673"/>
                  <a:pt x="3600" y="17893"/>
                  <a:pt x="3600" y="18164"/>
                </a:cubicBezTo>
                <a:cubicBezTo>
                  <a:pt x="3600" y="18435"/>
                  <a:pt x="3869" y="18655"/>
                  <a:pt x="4200" y="18655"/>
                </a:cubicBezTo>
                <a:lnTo>
                  <a:pt x="5400" y="18655"/>
                </a:lnTo>
                <a:cubicBezTo>
                  <a:pt x="5731" y="18655"/>
                  <a:pt x="6000" y="18435"/>
                  <a:pt x="6000" y="18164"/>
                </a:cubicBezTo>
                <a:cubicBezTo>
                  <a:pt x="6000" y="17893"/>
                  <a:pt x="5731" y="17673"/>
                  <a:pt x="5400" y="17673"/>
                </a:cubicBezTo>
                <a:moveTo>
                  <a:pt x="6600" y="15709"/>
                </a:move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lnTo>
                  <a:pt x="6600" y="16691"/>
                </a:lnTo>
                <a:cubicBezTo>
                  <a:pt x="6931" y="16691"/>
                  <a:pt x="7200" y="16472"/>
                  <a:pt x="7200" y="16200"/>
                </a:cubicBezTo>
                <a:cubicBezTo>
                  <a:pt x="7200" y="15929"/>
                  <a:pt x="6931" y="15709"/>
                  <a:pt x="6600" y="15709"/>
                </a:cubicBezTo>
                <a:moveTo>
                  <a:pt x="19200" y="0"/>
                </a:moveTo>
                <a:lnTo>
                  <a:pt x="7200" y="0"/>
                </a:lnTo>
                <a:cubicBezTo>
                  <a:pt x="5875" y="0"/>
                  <a:pt x="4800" y="879"/>
                  <a:pt x="4800" y="1964"/>
                </a:cubicBezTo>
                <a:lnTo>
                  <a:pt x="4800" y="2455"/>
                </a:lnTo>
                <a:cubicBezTo>
                  <a:pt x="4800" y="2726"/>
                  <a:pt x="5069" y="2945"/>
                  <a:pt x="5400" y="2945"/>
                </a:cubicBezTo>
                <a:cubicBezTo>
                  <a:pt x="5731" y="2945"/>
                  <a:pt x="6000" y="2726"/>
                  <a:pt x="6000" y="2455"/>
                </a:cubicBezTo>
                <a:lnTo>
                  <a:pt x="6000" y="1964"/>
                </a:lnTo>
                <a:cubicBezTo>
                  <a:pt x="6000" y="1422"/>
                  <a:pt x="6538" y="982"/>
                  <a:pt x="72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lnTo>
                  <a:pt x="20400" y="15709"/>
                </a:lnTo>
                <a:cubicBezTo>
                  <a:pt x="20400" y="16252"/>
                  <a:pt x="19862" y="16691"/>
                  <a:pt x="19200" y="16691"/>
                </a:cubicBezTo>
                <a:lnTo>
                  <a:pt x="18600" y="16691"/>
                </a:lnTo>
                <a:cubicBezTo>
                  <a:pt x="18269" y="16691"/>
                  <a:pt x="18000" y="16911"/>
                  <a:pt x="18000" y="17182"/>
                </a:cubicBezTo>
                <a:cubicBezTo>
                  <a:pt x="18000" y="17453"/>
                  <a:pt x="18269" y="17673"/>
                  <a:pt x="18600" y="17673"/>
                </a:cubicBezTo>
                <a:lnTo>
                  <a:pt x="19200" y="17673"/>
                </a:lnTo>
                <a:cubicBezTo>
                  <a:pt x="20525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7" name="Shape 2587"/>
          <p:cNvSpPr/>
          <p:nvPr/>
        </p:nvSpPr>
        <p:spPr>
          <a:xfrm>
            <a:off x="14632989" y="409601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8" name="Shape 2588"/>
          <p:cNvSpPr/>
          <p:nvPr/>
        </p:nvSpPr>
        <p:spPr>
          <a:xfrm>
            <a:off x="15699511" y="4121401"/>
            <a:ext cx="558654" cy="5078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9" name="Shape 2589"/>
          <p:cNvSpPr/>
          <p:nvPr/>
        </p:nvSpPr>
        <p:spPr>
          <a:xfrm>
            <a:off x="16766033" y="4121401"/>
            <a:ext cx="558654" cy="5078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5119"/>
                </a:moveTo>
                <a:cubicBezTo>
                  <a:pt x="7195" y="15119"/>
                  <a:pt x="7855" y="14394"/>
                  <a:pt x="7855" y="13500"/>
                </a:cubicBezTo>
                <a:cubicBezTo>
                  <a:pt x="7855" y="12605"/>
                  <a:pt x="7195" y="11880"/>
                  <a:pt x="6382" y="11880"/>
                </a:cubicBezTo>
                <a:cubicBezTo>
                  <a:pt x="5568" y="11880"/>
                  <a:pt x="4909" y="12605"/>
                  <a:pt x="4909" y="13500"/>
                </a:cubicBezTo>
                <a:cubicBezTo>
                  <a:pt x="4909" y="14394"/>
                  <a:pt x="5568" y="15119"/>
                  <a:pt x="6382" y="15119"/>
                </a:cubicBezTo>
                <a:moveTo>
                  <a:pt x="2455" y="3240"/>
                </a:moveTo>
                <a:cubicBezTo>
                  <a:pt x="2725" y="3240"/>
                  <a:pt x="2945" y="2999"/>
                  <a:pt x="2945" y="2700"/>
                </a:cubicBezTo>
                <a:cubicBezTo>
                  <a:pt x="2945" y="2402"/>
                  <a:pt x="2725" y="2160"/>
                  <a:pt x="2455" y="2160"/>
                </a:cubicBezTo>
                <a:cubicBezTo>
                  <a:pt x="2184" y="2160"/>
                  <a:pt x="1964" y="2402"/>
                  <a:pt x="1964" y="2700"/>
                </a:cubicBezTo>
                <a:cubicBezTo>
                  <a:pt x="1964" y="2999"/>
                  <a:pt x="2184" y="3240"/>
                  <a:pt x="2455" y="3240"/>
                </a:cubicBezTo>
                <a:moveTo>
                  <a:pt x="3927" y="8100"/>
                </a:moveTo>
                <a:cubicBezTo>
                  <a:pt x="3927" y="6609"/>
                  <a:pt x="5026" y="5400"/>
                  <a:pt x="6382" y="5400"/>
                </a:cubicBezTo>
                <a:cubicBezTo>
                  <a:pt x="7738" y="5400"/>
                  <a:pt x="8836" y="6609"/>
                  <a:pt x="8836" y="8100"/>
                </a:cubicBezTo>
                <a:lnTo>
                  <a:pt x="8836" y="13500"/>
                </a:lnTo>
                <a:cubicBezTo>
                  <a:pt x="8836" y="14991"/>
                  <a:pt x="7738" y="16199"/>
                  <a:pt x="6382" y="16199"/>
                </a:cubicBezTo>
                <a:cubicBezTo>
                  <a:pt x="5026" y="16199"/>
                  <a:pt x="3927" y="14991"/>
                  <a:pt x="3927" y="13500"/>
                </a:cubicBezTo>
                <a:cubicBezTo>
                  <a:pt x="3927" y="13500"/>
                  <a:pt x="3927" y="8100"/>
                  <a:pt x="3927" y="8100"/>
                </a:cubicBezTo>
                <a:close/>
                <a:moveTo>
                  <a:pt x="2945" y="13500"/>
                </a:moveTo>
                <a:cubicBezTo>
                  <a:pt x="2945" y="15587"/>
                  <a:pt x="4484" y="17279"/>
                  <a:pt x="6382" y="17279"/>
                </a:cubicBezTo>
                <a:cubicBezTo>
                  <a:pt x="8280" y="17279"/>
                  <a:pt x="9818" y="15587"/>
                  <a:pt x="9818" y="13500"/>
                </a:cubicBezTo>
                <a:lnTo>
                  <a:pt x="9818" y="8100"/>
                </a:lnTo>
                <a:cubicBezTo>
                  <a:pt x="9818" y="6012"/>
                  <a:pt x="8280" y="4320"/>
                  <a:pt x="6382" y="4320"/>
                </a:cubicBezTo>
                <a:cubicBezTo>
                  <a:pt x="4484" y="4320"/>
                  <a:pt x="2945" y="6012"/>
                  <a:pt x="2945" y="8100"/>
                </a:cubicBezTo>
                <a:cubicBezTo>
                  <a:pt x="2945" y="8100"/>
                  <a:pt x="2945" y="13500"/>
                  <a:pt x="2945" y="13500"/>
                </a:cubicBezTo>
                <a:close/>
                <a:moveTo>
                  <a:pt x="2455" y="19439"/>
                </a:moveTo>
                <a:cubicBezTo>
                  <a:pt x="2725" y="19439"/>
                  <a:pt x="2945" y="19198"/>
                  <a:pt x="2945" y="18899"/>
                </a:cubicBezTo>
                <a:cubicBezTo>
                  <a:pt x="2945" y="18601"/>
                  <a:pt x="2725" y="18359"/>
                  <a:pt x="2455" y="18359"/>
                </a:cubicBezTo>
                <a:cubicBezTo>
                  <a:pt x="2184" y="18359"/>
                  <a:pt x="1964" y="18601"/>
                  <a:pt x="1964" y="18899"/>
                </a:cubicBezTo>
                <a:cubicBezTo>
                  <a:pt x="1964" y="19198"/>
                  <a:pt x="2184" y="19439"/>
                  <a:pt x="2455" y="19439"/>
                </a:cubicBezTo>
                <a:moveTo>
                  <a:pt x="20618" y="20519"/>
                </a:moveTo>
                <a:lnTo>
                  <a:pt x="982" y="20519"/>
                </a:lnTo>
                <a:lnTo>
                  <a:pt x="982" y="1080"/>
                </a:lnTo>
                <a:lnTo>
                  <a:pt x="20618" y="1080"/>
                </a:lnTo>
                <a:cubicBezTo>
                  <a:pt x="20618" y="1080"/>
                  <a:pt x="20618" y="20519"/>
                  <a:pt x="20618" y="2051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20519"/>
                </a:lnTo>
                <a:cubicBezTo>
                  <a:pt x="0" y="2111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15"/>
                  <a:pt x="21600" y="20519"/>
                </a:cubicBezTo>
                <a:lnTo>
                  <a:pt x="21600" y="1080"/>
                </a:lnTo>
                <a:cubicBezTo>
                  <a:pt x="21600" y="484"/>
                  <a:pt x="21160" y="0"/>
                  <a:pt x="20618" y="0"/>
                </a:cubicBezTo>
                <a:moveTo>
                  <a:pt x="19145" y="3240"/>
                </a:moveTo>
                <a:cubicBezTo>
                  <a:pt x="19416" y="3240"/>
                  <a:pt x="19636" y="2999"/>
                  <a:pt x="19636" y="2700"/>
                </a:cubicBezTo>
                <a:cubicBezTo>
                  <a:pt x="19636" y="2402"/>
                  <a:pt x="19416" y="2160"/>
                  <a:pt x="19145" y="2160"/>
                </a:cubicBezTo>
                <a:cubicBezTo>
                  <a:pt x="18875" y="2160"/>
                  <a:pt x="18655" y="2402"/>
                  <a:pt x="18655" y="2700"/>
                </a:cubicBezTo>
                <a:cubicBezTo>
                  <a:pt x="18655" y="2999"/>
                  <a:pt x="18875" y="3240"/>
                  <a:pt x="19145" y="3240"/>
                </a:cubicBezTo>
                <a:moveTo>
                  <a:pt x="12764" y="8100"/>
                </a:moveTo>
                <a:cubicBezTo>
                  <a:pt x="12764" y="6609"/>
                  <a:pt x="13863" y="5400"/>
                  <a:pt x="15218" y="5400"/>
                </a:cubicBezTo>
                <a:cubicBezTo>
                  <a:pt x="16574" y="5400"/>
                  <a:pt x="17673" y="6609"/>
                  <a:pt x="17673" y="8100"/>
                </a:cubicBezTo>
                <a:lnTo>
                  <a:pt x="17673" y="13500"/>
                </a:lnTo>
                <a:cubicBezTo>
                  <a:pt x="17673" y="14991"/>
                  <a:pt x="16574" y="16199"/>
                  <a:pt x="15218" y="16199"/>
                </a:cubicBezTo>
                <a:cubicBezTo>
                  <a:pt x="13863" y="16199"/>
                  <a:pt x="12764" y="14991"/>
                  <a:pt x="12764" y="13500"/>
                </a:cubicBezTo>
                <a:cubicBezTo>
                  <a:pt x="12764" y="13500"/>
                  <a:pt x="12764" y="8100"/>
                  <a:pt x="12764" y="8100"/>
                </a:cubicBezTo>
                <a:close/>
                <a:moveTo>
                  <a:pt x="15218" y="17279"/>
                </a:moveTo>
                <a:cubicBezTo>
                  <a:pt x="17116" y="17279"/>
                  <a:pt x="18655" y="15587"/>
                  <a:pt x="18655" y="13500"/>
                </a:cubicBezTo>
                <a:lnTo>
                  <a:pt x="18655" y="8100"/>
                </a:lnTo>
                <a:cubicBezTo>
                  <a:pt x="18655" y="6012"/>
                  <a:pt x="17116" y="4320"/>
                  <a:pt x="15218" y="4320"/>
                </a:cubicBezTo>
                <a:cubicBezTo>
                  <a:pt x="13320" y="4320"/>
                  <a:pt x="11782" y="6012"/>
                  <a:pt x="11782" y="8100"/>
                </a:cubicBezTo>
                <a:lnTo>
                  <a:pt x="11782" y="13500"/>
                </a:lnTo>
                <a:cubicBezTo>
                  <a:pt x="11782" y="15587"/>
                  <a:pt x="13320" y="17279"/>
                  <a:pt x="15218" y="17279"/>
                </a:cubicBezTo>
                <a:moveTo>
                  <a:pt x="15218" y="9720"/>
                </a:moveTo>
                <a:cubicBezTo>
                  <a:pt x="16032" y="9720"/>
                  <a:pt x="16691" y="8995"/>
                  <a:pt x="16691" y="8100"/>
                </a:cubicBezTo>
                <a:cubicBezTo>
                  <a:pt x="16691" y="7206"/>
                  <a:pt x="16032" y="6480"/>
                  <a:pt x="15218" y="6480"/>
                </a:cubicBezTo>
                <a:cubicBezTo>
                  <a:pt x="14405" y="6480"/>
                  <a:pt x="13745" y="7206"/>
                  <a:pt x="13745" y="8100"/>
                </a:cubicBezTo>
                <a:cubicBezTo>
                  <a:pt x="13745" y="8995"/>
                  <a:pt x="14405" y="9720"/>
                  <a:pt x="15218" y="9720"/>
                </a:cubicBezTo>
                <a:moveTo>
                  <a:pt x="19145" y="18359"/>
                </a:moveTo>
                <a:cubicBezTo>
                  <a:pt x="18875" y="18359"/>
                  <a:pt x="18655" y="18601"/>
                  <a:pt x="18655" y="18899"/>
                </a:cubicBezTo>
                <a:cubicBezTo>
                  <a:pt x="18655" y="19198"/>
                  <a:pt x="18875" y="19439"/>
                  <a:pt x="19145" y="19439"/>
                </a:cubicBezTo>
                <a:cubicBezTo>
                  <a:pt x="19416" y="19439"/>
                  <a:pt x="19636" y="19198"/>
                  <a:pt x="19636" y="18899"/>
                </a:cubicBezTo>
                <a:cubicBezTo>
                  <a:pt x="19636" y="18601"/>
                  <a:pt x="19416" y="18359"/>
                  <a:pt x="19145" y="1835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0" name="Shape 2590"/>
          <p:cNvSpPr/>
          <p:nvPr/>
        </p:nvSpPr>
        <p:spPr>
          <a:xfrm>
            <a:off x="17832556" y="409601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5" y="6382"/>
                </a:moveTo>
                <a:cubicBezTo>
                  <a:pt x="7313" y="6382"/>
                  <a:pt x="6873" y="5943"/>
                  <a:pt x="6873" y="5400"/>
                </a:cubicBezTo>
                <a:cubicBezTo>
                  <a:pt x="6873" y="4858"/>
                  <a:pt x="7313" y="4418"/>
                  <a:pt x="7855" y="4418"/>
                </a:cubicBezTo>
                <a:cubicBezTo>
                  <a:pt x="8396" y="4418"/>
                  <a:pt x="8836" y="4858"/>
                  <a:pt x="8836" y="5400"/>
                </a:cubicBezTo>
                <a:cubicBezTo>
                  <a:pt x="8836" y="5943"/>
                  <a:pt x="8396" y="6382"/>
                  <a:pt x="7855" y="6382"/>
                </a:cubicBezTo>
                <a:moveTo>
                  <a:pt x="18164" y="4909"/>
                </a:moveTo>
                <a:lnTo>
                  <a:pt x="9749" y="4909"/>
                </a:lnTo>
                <a:cubicBezTo>
                  <a:pt x="9530" y="4064"/>
                  <a:pt x="8768" y="3436"/>
                  <a:pt x="7855" y="3436"/>
                </a:cubicBezTo>
                <a:cubicBezTo>
                  <a:pt x="6941" y="3436"/>
                  <a:pt x="6180" y="4064"/>
                  <a:pt x="5960" y="4909"/>
                </a:cubicBezTo>
                <a:lnTo>
                  <a:pt x="3436" y="4909"/>
                </a:lnTo>
                <a:cubicBezTo>
                  <a:pt x="3165" y="4909"/>
                  <a:pt x="2945" y="5129"/>
                  <a:pt x="2945" y="5400"/>
                </a:cubicBezTo>
                <a:cubicBezTo>
                  <a:pt x="2945" y="5672"/>
                  <a:pt x="3165" y="5891"/>
                  <a:pt x="3436" y="5891"/>
                </a:cubicBezTo>
                <a:lnTo>
                  <a:pt x="5960" y="5891"/>
                </a:lnTo>
                <a:cubicBezTo>
                  <a:pt x="6180" y="6737"/>
                  <a:pt x="6941" y="7364"/>
                  <a:pt x="7855" y="7364"/>
                </a:cubicBezTo>
                <a:cubicBezTo>
                  <a:pt x="8768" y="7364"/>
                  <a:pt x="9530" y="6737"/>
                  <a:pt x="9749" y="5891"/>
                </a:cubicBezTo>
                <a:lnTo>
                  <a:pt x="18164" y="5891"/>
                </a:lnTo>
                <a:cubicBezTo>
                  <a:pt x="18435" y="5891"/>
                  <a:pt x="18655" y="5672"/>
                  <a:pt x="18655" y="5400"/>
                </a:cubicBezTo>
                <a:cubicBezTo>
                  <a:pt x="18655" y="5129"/>
                  <a:pt x="18435" y="4909"/>
                  <a:pt x="18164" y="4909"/>
                </a:cubicBezTo>
                <a:moveTo>
                  <a:pt x="14727" y="11782"/>
                </a:moveTo>
                <a:cubicBezTo>
                  <a:pt x="14186" y="11782"/>
                  <a:pt x="13745" y="11342"/>
                  <a:pt x="13745" y="10800"/>
                </a:cubicBezTo>
                <a:cubicBezTo>
                  <a:pt x="13745" y="10258"/>
                  <a:pt x="14186" y="9818"/>
                  <a:pt x="14727" y="9818"/>
                </a:cubicBezTo>
                <a:cubicBezTo>
                  <a:pt x="15269" y="9818"/>
                  <a:pt x="15709" y="10258"/>
                  <a:pt x="15709" y="10800"/>
                </a:cubicBezTo>
                <a:cubicBezTo>
                  <a:pt x="15709" y="11342"/>
                  <a:pt x="15269" y="11782"/>
                  <a:pt x="14727" y="11782"/>
                </a:cubicBezTo>
                <a:moveTo>
                  <a:pt x="18164" y="10310"/>
                </a:moveTo>
                <a:lnTo>
                  <a:pt x="16621" y="10310"/>
                </a:lnTo>
                <a:cubicBezTo>
                  <a:pt x="16402" y="9464"/>
                  <a:pt x="15641" y="8836"/>
                  <a:pt x="14727" y="8836"/>
                </a:cubicBezTo>
                <a:cubicBezTo>
                  <a:pt x="13814" y="8836"/>
                  <a:pt x="13052" y="9464"/>
                  <a:pt x="12833" y="10310"/>
                </a:cubicBezTo>
                <a:lnTo>
                  <a:pt x="3436" y="10310"/>
                </a:lnTo>
                <a:cubicBezTo>
                  <a:pt x="3165" y="10310"/>
                  <a:pt x="2945" y="10529"/>
                  <a:pt x="2945" y="10800"/>
                </a:cubicBezTo>
                <a:cubicBezTo>
                  <a:pt x="2945" y="11072"/>
                  <a:pt x="3165" y="11291"/>
                  <a:pt x="3436" y="11291"/>
                </a:cubicBezTo>
                <a:lnTo>
                  <a:pt x="12833" y="11291"/>
                </a:lnTo>
                <a:cubicBezTo>
                  <a:pt x="13052" y="12137"/>
                  <a:pt x="13814" y="12764"/>
                  <a:pt x="14727" y="12764"/>
                </a:cubicBezTo>
                <a:cubicBezTo>
                  <a:pt x="15641" y="12764"/>
                  <a:pt x="16402" y="12137"/>
                  <a:pt x="16621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9818" y="17182"/>
                </a:moveTo>
                <a:cubicBezTo>
                  <a:pt x="9276" y="17182"/>
                  <a:pt x="8836" y="16743"/>
                  <a:pt x="8836" y="16200"/>
                </a:cubicBezTo>
                <a:cubicBezTo>
                  <a:pt x="8836" y="15658"/>
                  <a:pt x="9276" y="15218"/>
                  <a:pt x="9818" y="15218"/>
                </a:cubicBezTo>
                <a:cubicBezTo>
                  <a:pt x="10360" y="15218"/>
                  <a:pt x="10800" y="15658"/>
                  <a:pt x="10800" y="16200"/>
                </a:cubicBezTo>
                <a:cubicBezTo>
                  <a:pt x="10800" y="16743"/>
                  <a:pt x="10360" y="17182"/>
                  <a:pt x="9818" y="17182"/>
                </a:cubicBezTo>
                <a:moveTo>
                  <a:pt x="18164" y="15709"/>
                </a:moveTo>
                <a:lnTo>
                  <a:pt x="11712" y="15709"/>
                </a:lnTo>
                <a:cubicBezTo>
                  <a:pt x="11493" y="14863"/>
                  <a:pt x="10732" y="14237"/>
                  <a:pt x="9818" y="14237"/>
                </a:cubicBezTo>
                <a:cubicBezTo>
                  <a:pt x="8904" y="14237"/>
                  <a:pt x="8143" y="14863"/>
                  <a:pt x="7924" y="15709"/>
                </a:cubicBezTo>
                <a:lnTo>
                  <a:pt x="3436" y="15709"/>
                </a:lnTo>
                <a:cubicBezTo>
                  <a:pt x="3165" y="15709"/>
                  <a:pt x="2945" y="15929"/>
                  <a:pt x="2945" y="16200"/>
                </a:cubicBezTo>
                <a:cubicBezTo>
                  <a:pt x="2945" y="16472"/>
                  <a:pt x="3165" y="16691"/>
                  <a:pt x="3436" y="16691"/>
                </a:cubicBezTo>
                <a:lnTo>
                  <a:pt x="7924" y="16691"/>
                </a:lnTo>
                <a:cubicBezTo>
                  <a:pt x="8143" y="17537"/>
                  <a:pt x="8904" y="18164"/>
                  <a:pt x="9818" y="18164"/>
                </a:cubicBezTo>
                <a:cubicBezTo>
                  <a:pt x="10732" y="18164"/>
                  <a:pt x="11493" y="17537"/>
                  <a:pt x="11712" y="16691"/>
                </a:cubicBezTo>
                <a:lnTo>
                  <a:pt x="18164" y="16691"/>
                </a:lnTo>
                <a:cubicBezTo>
                  <a:pt x="18435" y="16691"/>
                  <a:pt x="18655" y="16472"/>
                  <a:pt x="18655" y="16200"/>
                </a:cubicBezTo>
                <a:cubicBezTo>
                  <a:pt x="18655" y="15929"/>
                  <a:pt x="18435" y="15709"/>
                  <a:pt x="18164" y="157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1" name="Shape 2591"/>
          <p:cNvSpPr/>
          <p:nvPr/>
        </p:nvSpPr>
        <p:spPr>
          <a:xfrm>
            <a:off x="18899079" y="409601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2" name="Shape 2592"/>
          <p:cNvSpPr/>
          <p:nvPr/>
        </p:nvSpPr>
        <p:spPr>
          <a:xfrm>
            <a:off x="19965600" y="409601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012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2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8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2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8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2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9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9"/>
                  <a:pt x="3000" y="4715"/>
                </a:cubicBezTo>
                <a:lnTo>
                  <a:pt x="4715" y="3000"/>
                </a:lnTo>
                <a:lnTo>
                  <a:pt x="5621" y="3543"/>
                </a:lnTo>
                <a:cubicBezTo>
                  <a:pt x="5777" y="3637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2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2"/>
                  <a:pt x="9331" y="2006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6"/>
                </a:lnTo>
                <a:cubicBezTo>
                  <a:pt x="12356" y="2352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2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7"/>
                  <a:pt x="15978" y="3543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9"/>
                  <a:pt x="18597" y="4722"/>
                  <a:pt x="18595" y="4725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2"/>
                  <a:pt x="20618" y="12012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9"/>
                  <a:pt x="17136" y="1968"/>
                  <a:pt x="16975" y="1968"/>
                </a:cubicBezTo>
                <a:cubicBezTo>
                  <a:pt x="16778" y="1968"/>
                  <a:pt x="16572" y="2043"/>
                  <a:pt x="16400" y="2145"/>
                </a:cubicBezTo>
                <a:lnTo>
                  <a:pt x="15473" y="2701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1"/>
                </a:cubicBezTo>
                <a:lnTo>
                  <a:pt x="5200" y="2145"/>
                </a:lnTo>
                <a:cubicBezTo>
                  <a:pt x="5028" y="2043"/>
                  <a:pt x="4822" y="1968"/>
                  <a:pt x="4625" y="1968"/>
                </a:cubicBezTo>
                <a:cubicBezTo>
                  <a:pt x="4464" y="1968"/>
                  <a:pt x="4308" y="2019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2"/>
                  <a:pt x="0" y="9361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9"/>
                </a:cubicBezTo>
                <a:lnTo>
                  <a:pt x="2145" y="16400"/>
                </a:lnTo>
                <a:cubicBezTo>
                  <a:pt x="1959" y="16713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3"/>
                  <a:pt x="19455" y="16400"/>
                </a:cubicBezTo>
                <a:lnTo>
                  <a:pt x="18902" y="15479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1"/>
                </a:lnTo>
                <a:cubicBezTo>
                  <a:pt x="21600" y="8962"/>
                  <a:pt x="21233" y="8730"/>
                  <a:pt x="20880" y="8641"/>
                </a:cubicBezTo>
                <a:moveTo>
                  <a:pt x="15709" y="10800"/>
                </a:moveTo>
                <a:cubicBezTo>
                  <a:pt x="15709" y="13346"/>
                  <a:pt x="13771" y="15438"/>
                  <a:pt x="11291" y="15685"/>
                </a:cubicBezTo>
                <a:lnTo>
                  <a:pt x="11291" y="12694"/>
                </a:lnTo>
                <a:cubicBezTo>
                  <a:pt x="12137" y="12476"/>
                  <a:pt x="12764" y="11714"/>
                  <a:pt x="12764" y="10800"/>
                </a:cubicBezTo>
                <a:cubicBezTo>
                  <a:pt x="12764" y="10630"/>
                  <a:pt x="12735" y="10468"/>
                  <a:pt x="12694" y="10310"/>
                </a:cubicBezTo>
                <a:lnTo>
                  <a:pt x="15308" y="8857"/>
                </a:lnTo>
                <a:cubicBezTo>
                  <a:pt x="15565" y="9453"/>
                  <a:pt x="15709" y="10110"/>
                  <a:pt x="15709" y="10800"/>
                </a:cubicBezTo>
                <a:moveTo>
                  <a:pt x="9818" y="10800"/>
                </a:move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cubicBezTo>
                  <a:pt x="10258" y="11782"/>
                  <a:pt x="9818" y="11342"/>
                  <a:pt x="9818" y="10800"/>
                </a:cubicBezTo>
                <a:moveTo>
                  <a:pt x="10309" y="15685"/>
                </a:moveTo>
                <a:cubicBezTo>
                  <a:pt x="7829" y="15438"/>
                  <a:pt x="5891" y="13346"/>
                  <a:pt x="5891" y="10800"/>
                </a:cubicBezTo>
                <a:cubicBezTo>
                  <a:pt x="5891" y="10110"/>
                  <a:pt x="6035" y="9453"/>
                  <a:pt x="6292" y="8857"/>
                </a:cubicBezTo>
                <a:lnTo>
                  <a:pt x="8906" y="10310"/>
                </a:lnTo>
                <a:cubicBezTo>
                  <a:pt x="8865" y="10468"/>
                  <a:pt x="8836" y="10630"/>
                  <a:pt x="8836" y="10800"/>
                </a:cubicBezTo>
                <a:cubicBezTo>
                  <a:pt x="8836" y="11714"/>
                  <a:pt x="9463" y="12476"/>
                  <a:pt x="10309" y="12694"/>
                </a:cubicBezTo>
                <a:cubicBezTo>
                  <a:pt x="10309" y="12694"/>
                  <a:pt x="10309" y="15685"/>
                  <a:pt x="10309" y="15685"/>
                </a:cubicBezTo>
                <a:close/>
                <a:moveTo>
                  <a:pt x="10800" y="5891"/>
                </a:moveTo>
                <a:cubicBezTo>
                  <a:pt x="12470" y="5891"/>
                  <a:pt x="13942" y="6727"/>
                  <a:pt x="14829" y="8000"/>
                </a:cubicBezTo>
                <a:lnTo>
                  <a:pt x="12220" y="9450"/>
                </a:lnTo>
                <a:cubicBezTo>
                  <a:pt x="11862" y="9074"/>
                  <a:pt x="11360" y="8836"/>
                  <a:pt x="10800" y="8836"/>
                </a:cubicBezTo>
                <a:cubicBezTo>
                  <a:pt x="10240" y="8836"/>
                  <a:pt x="9738" y="9074"/>
                  <a:pt x="9380" y="9450"/>
                </a:cubicBezTo>
                <a:lnTo>
                  <a:pt x="6771" y="8000"/>
                </a:lnTo>
                <a:cubicBezTo>
                  <a:pt x="7658" y="6727"/>
                  <a:pt x="9130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3" name="Shape 2593"/>
          <p:cNvSpPr/>
          <p:nvPr/>
        </p:nvSpPr>
        <p:spPr>
          <a:xfrm>
            <a:off x="21032122" y="409601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095"/>
                </a:moveTo>
                <a:lnTo>
                  <a:pt x="20091" y="8640"/>
                </a:lnTo>
                <a:cubicBezTo>
                  <a:pt x="19294" y="8426"/>
                  <a:pt x="18482" y="8322"/>
                  <a:pt x="17675" y="8322"/>
                </a:cubicBezTo>
                <a:lnTo>
                  <a:pt x="17150" y="7377"/>
                </a:lnTo>
                <a:cubicBezTo>
                  <a:pt x="17052" y="7203"/>
                  <a:pt x="16911" y="7035"/>
                  <a:pt x="16741" y="6937"/>
                </a:cubicBezTo>
                <a:cubicBezTo>
                  <a:pt x="16601" y="6856"/>
                  <a:pt x="16442" y="6822"/>
                  <a:pt x="16268" y="6868"/>
                </a:cubicBezTo>
                <a:lnTo>
                  <a:pt x="13487" y="7613"/>
                </a:lnTo>
                <a:cubicBezTo>
                  <a:pt x="13102" y="7716"/>
                  <a:pt x="12995" y="8125"/>
                  <a:pt x="12977" y="8495"/>
                </a:cubicBezTo>
                <a:lnTo>
                  <a:pt x="12996" y="9570"/>
                </a:lnTo>
                <a:cubicBezTo>
                  <a:pt x="12293" y="9973"/>
                  <a:pt x="11639" y="10471"/>
                  <a:pt x="11053" y="11057"/>
                </a:cubicBezTo>
                <a:lnTo>
                  <a:pt x="10023" y="10762"/>
                </a:lnTo>
                <a:cubicBezTo>
                  <a:pt x="9673" y="10664"/>
                  <a:pt x="9239" y="10682"/>
                  <a:pt x="9040" y="11026"/>
                </a:cubicBezTo>
                <a:lnTo>
                  <a:pt x="7600" y="13520"/>
                </a:lnTo>
                <a:cubicBezTo>
                  <a:pt x="7401" y="13864"/>
                  <a:pt x="7614" y="14229"/>
                  <a:pt x="7863" y="14504"/>
                </a:cubicBezTo>
                <a:lnTo>
                  <a:pt x="8633" y="15248"/>
                </a:lnTo>
                <a:cubicBezTo>
                  <a:pt x="8419" y="16049"/>
                  <a:pt x="8315" y="16864"/>
                  <a:pt x="8317" y="17674"/>
                </a:cubicBezTo>
                <a:lnTo>
                  <a:pt x="7377" y="18196"/>
                </a:lnTo>
                <a:cubicBezTo>
                  <a:pt x="7060" y="18373"/>
                  <a:pt x="6765" y="18693"/>
                  <a:pt x="6868" y="19077"/>
                </a:cubicBezTo>
                <a:lnTo>
                  <a:pt x="7281" y="20619"/>
                </a:ln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1291"/>
                </a:lnTo>
                <a:lnTo>
                  <a:pt x="1931" y="11291"/>
                </a:lnTo>
                <a:cubicBezTo>
                  <a:pt x="2328" y="11291"/>
                  <a:pt x="2538" y="10924"/>
                  <a:pt x="2651" y="10571"/>
                </a:cubicBezTo>
                <a:lnTo>
                  <a:pt x="2913" y="9523"/>
                </a:lnTo>
                <a:cubicBezTo>
                  <a:pt x="3711" y="9310"/>
                  <a:pt x="4466" y="8993"/>
                  <a:pt x="5164" y="8590"/>
                </a:cubicBezTo>
                <a:lnTo>
                  <a:pt x="6091" y="9146"/>
                </a:lnTo>
                <a:cubicBezTo>
                  <a:pt x="6275" y="9241"/>
                  <a:pt x="6484" y="9317"/>
                  <a:pt x="6681" y="9317"/>
                </a:cubicBezTo>
                <a:cubicBezTo>
                  <a:pt x="6837" y="9317"/>
                  <a:pt x="6985" y="9270"/>
                  <a:pt x="7110" y="9146"/>
                </a:cubicBezTo>
                <a:lnTo>
                  <a:pt x="9146" y="7109"/>
                </a:lnTo>
                <a:cubicBezTo>
                  <a:pt x="9427" y="6828"/>
                  <a:pt x="9332" y="6404"/>
                  <a:pt x="9146" y="6091"/>
                </a:cubicBezTo>
                <a:lnTo>
                  <a:pt x="8593" y="5169"/>
                </a:lnTo>
                <a:cubicBezTo>
                  <a:pt x="8999" y="4469"/>
                  <a:pt x="9317" y="3711"/>
                  <a:pt x="9531" y="2911"/>
                </a:cubicBezTo>
                <a:lnTo>
                  <a:pt x="10571" y="2651"/>
                </a:lnTo>
                <a:cubicBezTo>
                  <a:pt x="10924" y="2538"/>
                  <a:pt x="11291" y="2328"/>
                  <a:pt x="11291" y="1931"/>
                </a:cubicBezTo>
                <a:lnTo>
                  <a:pt x="11291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8095"/>
                  <a:pt x="20618" y="8095"/>
                </a:cubicBezTo>
                <a:close/>
                <a:moveTo>
                  <a:pt x="20618" y="12594"/>
                </a:moveTo>
                <a:cubicBezTo>
                  <a:pt x="19750" y="12088"/>
                  <a:pt x="18750" y="11782"/>
                  <a:pt x="17673" y="11782"/>
                </a:cubicBezTo>
                <a:cubicBezTo>
                  <a:pt x="14419" y="11782"/>
                  <a:pt x="11782" y="14419"/>
                  <a:pt x="11782" y="17673"/>
                </a:cubicBezTo>
                <a:cubicBezTo>
                  <a:pt x="11782" y="18751"/>
                  <a:pt x="12088" y="19750"/>
                  <a:pt x="12594" y="20619"/>
                </a:cubicBezTo>
                <a:lnTo>
                  <a:pt x="8298" y="20619"/>
                </a:lnTo>
                <a:lnTo>
                  <a:pt x="7875" y="19042"/>
                </a:lnTo>
                <a:lnTo>
                  <a:pt x="8794" y="18532"/>
                </a:lnTo>
                <a:cubicBezTo>
                  <a:pt x="9106" y="18358"/>
                  <a:pt x="9299" y="18028"/>
                  <a:pt x="9299" y="17671"/>
                </a:cubicBezTo>
                <a:cubicBezTo>
                  <a:pt x="9298" y="16938"/>
                  <a:pt x="9392" y="16208"/>
                  <a:pt x="9582" y="15502"/>
                </a:cubicBezTo>
                <a:cubicBezTo>
                  <a:pt x="9674" y="15158"/>
                  <a:pt x="9572" y="14791"/>
                  <a:pt x="9316" y="14543"/>
                </a:cubicBezTo>
                <a:lnTo>
                  <a:pt x="8572" y="13823"/>
                </a:lnTo>
                <a:cubicBezTo>
                  <a:pt x="8569" y="13820"/>
                  <a:pt x="8566" y="13817"/>
                  <a:pt x="8564" y="13813"/>
                </a:cubicBezTo>
                <a:lnTo>
                  <a:pt x="9776" y="11713"/>
                </a:lnTo>
                <a:lnTo>
                  <a:pt x="10783" y="12001"/>
                </a:lnTo>
                <a:cubicBezTo>
                  <a:pt x="11126" y="12099"/>
                  <a:pt x="11495" y="12003"/>
                  <a:pt x="11748" y="11751"/>
                </a:cubicBezTo>
                <a:cubicBezTo>
                  <a:pt x="12264" y="11234"/>
                  <a:pt x="12848" y="10787"/>
                  <a:pt x="13485" y="10421"/>
                </a:cubicBezTo>
                <a:cubicBezTo>
                  <a:pt x="13794" y="10243"/>
                  <a:pt x="13983" y="9911"/>
                  <a:pt x="13977" y="9554"/>
                </a:cubicBezTo>
                <a:lnTo>
                  <a:pt x="13960" y="8514"/>
                </a:lnTo>
                <a:lnTo>
                  <a:pt x="13960" y="8503"/>
                </a:lnTo>
                <a:lnTo>
                  <a:pt x="16304" y="7875"/>
                </a:lnTo>
                <a:lnTo>
                  <a:pt x="16817" y="8799"/>
                </a:lnTo>
                <a:cubicBezTo>
                  <a:pt x="16905" y="8958"/>
                  <a:pt x="17032" y="9085"/>
                  <a:pt x="17184" y="9172"/>
                </a:cubicBezTo>
                <a:cubicBezTo>
                  <a:pt x="17330" y="9257"/>
                  <a:pt x="17499" y="9304"/>
                  <a:pt x="17675" y="9304"/>
                </a:cubicBezTo>
                <a:cubicBezTo>
                  <a:pt x="18407" y="9304"/>
                  <a:pt x="19135" y="9399"/>
                  <a:pt x="19837" y="9589"/>
                </a:cubicBezTo>
                <a:cubicBezTo>
                  <a:pt x="20106" y="9660"/>
                  <a:pt x="20389" y="9611"/>
                  <a:pt x="20618" y="9464"/>
                </a:cubicBezTo>
                <a:cubicBezTo>
                  <a:pt x="20618" y="9464"/>
                  <a:pt x="20618" y="12594"/>
                  <a:pt x="20618" y="12594"/>
                </a:cubicBezTo>
                <a:close/>
                <a:moveTo>
                  <a:pt x="20618" y="15475"/>
                </a:moveTo>
                <a:lnTo>
                  <a:pt x="19093" y="16323"/>
                </a:lnTo>
                <a:cubicBezTo>
                  <a:pt x="18735" y="15946"/>
                  <a:pt x="18233" y="15709"/>
                  <a:pt x="17673" y="15709"/>
                </a:cubicBezTo>
                <a:cubicBezTo>
                  <a:pt x="17113" y="15709"/>
                  <a:pt x="16610" y="15946"/>
                  <a:pt x="16253" y="16323"/>
                </a:cubicBezTo>
                <a:lnTo>
                  <a:pt x="13643" y="14873"/>
                </a:lnTo>
                <a:cubicBezTo>
                  <a:pt x="14530" y="13599"/>
                  <a:pt x="16003" y="12764"/>
                  <a:pt x="17673" y="12764"/>
                </a:cubicBezTo>
                <a:cubicBezTo>
                  <a:pt x="18783" y="12764"/>
                  <a:pt x="19798" y="13141"/>
                  <a:pt x="20618" y="13764"/>
                </a:cubicBezTo>
                <a:cubicBezTo>
                  <a:pt x="20618" y="13764"/>
                  <a:pt x="20618" y="15475"/>
                  <a:pt x="20618" y="1547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8164" y="20619"/>
                </a:lnTo>
                <a:lnTo>
                  <a:pt x="18164" y="19567"/>
                </a:lnTo>
                <a:cubicBezTo>
                  <a:pt x="19009" y="19348"/>
                  <a:pt x="19636" y="18587"/>
                  <a:pt x="19636" y="17673"/>
                </a:cubicBezTo>
                <a:cubicBezTo>
                  <a:pt x="19636" y="17502"/>
                  <a:pt x="19608" y="17339"/>
                  <a:pt x="19567" y="17182"/>
                </a:cubicBezTo>
                <a:lnTo>
                  <a:pt x="20618" y="16598"/>
                </a:lnTo>
                <a:cubicBezTo>
                  <a:pt x="20618" y="16598"/>
                  <a:pt x="20618" y="19636"/>
                  <a:pt x="20618" y="19636"/>
                </a:cubicBezTo>
                <a:close/>
                <a:moveTo>
                  <a:pt x="16691" y="17673"/>
                </a:moveTo>
                <a:cubicBezTo>
                  <a:pt x="16691" y="17131"/>
                  <a:pt x="17131" y="16691"/>
                  <a:pt x="17673" y="16691"/>
                </a:cubicBezTo>
                <a:cubicBezTo>
                  <a:pt x="18214" y="16691"/>
                  <a:pt x="18655" y="17131"/>
                  <a:pt x="18655" y="17673"/>
                </a:cubicBezTo>
                <a:cubicBezTo>
                  <a:pt x="18655" y="18215"/>
                  <a:pt x="18214" y="18655"/>
                  <a:pt x="17673" y="18655"/>
                </a:cubicBezTo>
                <a:cubicBezTo>
                  <a:pt x="17131" y="18655"/>
                  <a:pt x="16691" y="18215"/>
                  <a:pt x="16691" y="17673"/>
                </a:cubicBezTo>
                <a:moveTo>
                  <a:pt x="17182" y="20619"/>
                </a:moveTo>
                <a:lnTo>
                  <a:pt x="13757" y="20619"/>
                </a:lnTo>
                <a:cubicBezTo>
                  <a:pt x="13138" y="19797"/>
                  <a:pt x="12764" y="18781"/>
                  <a:pt x="12764" y="17673"/>
                </a:cubicBezTo>
                <a:cubicBezTo>
                  <a:pt x="12764" y="16982"/>
                  <a:pt x="12907" y="16326"/>
                  <a:pt x="13165" y="15730"/>
                </a:cubicBezTo>
                <a:lnTo>
                  <a:pt x="15779" y="17182"/>
                </a:lnTo>
                <a:cubicBezTo>
                  <a:pt x="15738" y="17339"/>
                  <a:pt x="15709" y="17502"/>
                  <a:pt x="15709" y="17673"/>
                </a:cubicBezTo>
                <a:cubicBezTo>
                  <a:pt x="15709" y="18587"/>
                  <a:pt x="16336" y="19348"/>
                  <a:pt x="17182" y="19567"/>
                </a:cubicBezTo>
                <a:cubicBezTo>
                  <a:pt x="17182" y="19567"/>
                  <a:pt x="17182" y="20619"/>
                  <a:pt x="17182" y="20619"/>
                </a:cubicBezTo>
                <a:close/>
                <a:moveTo>
                  <a:pt x="982" y="5376"/>
                </a:moveTo>
                <a:cubicBezTo>
                  <a:pt x="3301" y="5145"/>
                  <a:pt x="5145" y="3301"/>
                  <a:pt x="5375" y="982"/>
                </a:cubicBezTo>
                <a:lnTo>
                  <a:pt x="10309" y="982"/>
                </a:lnTo>
                <a:lnTo>
                  <a:pt x="10309" y="1703"/>
                </a:lnTo>
                <a:cubicBezTo>
                  <a:pt x="10305" y="1705"/>
                  <a:pt x="10302" y="1706"/>
                  <a:pt x="10298" y="1707"/>
                </a:cubicBezTo>
                <a:lnTo>
                  <a:pt x="9293" y="1958"/>
                </a:lnTo>
                <a:cubicBezTo>
                  <a:pt x="8947" y="2045"/>
                  <a:pt x="8675" y="2313"/>
                  <a:pt x="8583" y="2657"/>
                </a:cubicBezTo>
                <a:cubicBezTo>
                  <a:pt x="8394" y="3363"/>
                  <a:pt x="8112" y="4042"/>
                  <a:pt x="7744" y="4676"/>
                </a:cubicBezTo>
                <a:cubicBezTo>
                  <a:pt x="7564" y="4986"/>
                  <a:pt x="7567" y="5368"/>
                  <a:pt x="7751" y="5674"/>
                </a:cubicBezTo>
                <a:lnTo>
                  <a:pt x="8292" y="6575"/>
                </a:lnTo>
                <a:lnTo>
                  <a:pt x="6576" y="8291"/>
                </a:lnTo>
                <a:cubicBezTo>
                  <a:pt x="6573" y="8290"/>
                  <a:pt x="6569" y="8288"/>
                  <a:pt x="6566" y="8286"/>
                </a:cubicBezTo>
                <a:lnTo>
                  <a:pt x="5669" y="7748"/>
                </a:lnTo>
                <a:cubicBezTo>
                  <a:pt x="5513" y="7655"/>
                  <a:pt x="5339" y="7608"/>
                  <a:pt x="5164" y="7608"/>
                </a:cubicBezTo>
                <a:cubicBezTo>
                  <a:pt x="4995" y="7608"/>
                  <a:pt x="4825" y="7652"/>
                  <a:pt x="4673" y="7739"/>
                </a:cubicBezTo>
                <a:cubicBezTo>
                  <a:pt x="4039" y="8106"/>
                  <a:pt x="3362" y="8387"/>
                  <a:pt x="2659" y="8575"/>
                </a:cubicBezTo>
                <a:cubicBezTo>
                  <a:pt x="2315" y="8666"/>
                  <a:pt x="2047" y="8938"/>
                  <a:pt x="1960" y="9285"/>
                </a:cubicBezTo>
                <a:lnTo>
                  <a:pt x="1707" y="10298"/>
                </a:lnTo>
                <a:cubicBezTo>
                  <a:pt x="1706" y="10302"/>
                  <a:pt x="1705" y="10305"/>
                  <a:pt x="1703" y="10310"/>
                </a:cubicBezTo>
                <a:lnTo>
                  <a:pt x="982" y="10310"/>
                </a:lnTo>
                <a:cubicBezTo>
                  <a:pt x="982" y="10310"/>
                  <a:pt x="982" y="5376"/>
                  <a:pt x="982" y="5376"/>
                </a:cubicBezTo>
                <a:close/>
                <a:moveTo>
                  <a:pt x="982" y="1964"/>
                </a:moveTo>
                <a:cubicBezTo>
                  <a:pt x="982" y="1421"/>
                  <a:pt x="1422" y="982"/>
                  <a:pt x="1964" y="982"/>
                </a:cubicBezTo>
                <a:lnTo>
                  <a:pt x="4384" y="982"/>
                </a:lnTo>
                <a:cubicBezTo>
                  <a:pt x="4162" y="2758"/>
                  <a:pt x="2758" y="4162"/>
                  <a:pt x="982" y="4384"/>
                </a:cubicBezTo>
                <a:cubicBezTo>
                  <a:pt x="982" y="4384"/>
                  <a:pt x="982" y="1964"/>
                  <a:pt x="982" y="1964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4" name="Shape 2594"/>
          <p:cNvSpPr/>
          <p:nvPr/>
        </p:nvSpPr>
        <p:spPr>
          <a:xfrm>
            <a:off x="22098644" y="4146795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8400"/>
                </a:moveTo>
                <a:lnTo>
                  <a:pt x="18164" y="8400"/>
                </a:lnTo>
                <a:cubicBezTo>
                  <a:pt x="18435" y="8400"/>
                  <a:pt x="18655" y="8132"/>
                  <a:pt x="18655" y="7800"/>
                </a:cubicBezTo>
                <a:cubicBezTo>
                  <a:pt x="18655" y="7468"/>
                  <a:pt x="18435" y="7200"/>
                  <a:pt x="18164" y="7200"/>
                </a:cubicBezTo>
                <a:lnTo>
                  <a:pt x="3436" y="7200"/>
                </a:lnTo>
                <a:cubicBezTo>
                  <a:pt x="3165" y="7200"/>
                  <a:pt x="2945" y="7468"/>
                  <a:pt x="2945" y="7800"/>
                </a:cubicBezTo>
                <a:cubicBezTo>
                  <a:pt x="2945" y="8132"/>
                  <a:pt x="3165" y="8400"/>
                  <a:pt x="3436" y="8400"/>
                </a:cubicBezTo>
                <a:moveTo>
                  <a:pt x="3436" y="10800"/>
                </a:moveTo>
                <a:lnTo>
                  <a:pt x="18164" y="10800"/>
                </a:lnTo>
                <a:cubicBezTo>
                  <a:pt x="18435" y="10800"/>
                  <a:pt x="18655" y="10532"/>
                  <a:pt x="18655" y="10200"/>
                </a:cubicBezTo>
                <a:cubicBezTo>
                  <a:pt x="18655" y="9868"/>
                  <a:pt x="18435" y="9600"/>
                  <a:pt x="18164" y="9600"/>
                </a:cubicBezTo>
                <a:lnTo>
                  <a:pt x="3436" y="9600"/>
                </a:lnTo>
                <a:cubicBezTo>
                  <a:pt x="3165" y="9600"/>
                  <a:pt x="2945" y="9868"/>
                  <a:pt x="2945" y="10200"/>
                </a:cubicBezTo>
                <a:cubicBezTo>
                  <a:pt x="2945" y="10532"/>
                  <a:pt x="3165" y="10800"/>
                  <a:pt x="3436" y="10800"/>
                </a:cubicBezTo>
                <a:moveTo>
                  <a:pt x="3436" y="13200"/>
                </a:moveTo>
                <a:lnTo>
                  <a:pt x="13255" y="13200"/>
                </a:lnTo>
                <a:cubicBezTo>
                  <a:pt x="13526" y="13200"/>
                  <a:pt x="13745" y="12931"/>
                  <a:pt x="13745" y="12601"/>
                </a:cubicBezTo>
                <a:cubicBezTo>
                  <a:pt x="13745" y="12268"/>
                  <a:pt x="13526" y="12000"/>
                  <a:pt x="13255" y="12000"/>
                </a:cubicBezTo>
                <a:lnTo>
                  <a:pt x="3436" y="12000"/>
                </a:lnTo>
                <a:cubicBezTo>
                  <a:pt x="3165" y="12000"/>
                  <a:pt x="2945" y="12268"/>
                  <a:pt x="2945" y="12601"/>
                </a:cubicBezTo>
                <a:cubicBezTo>
                  <a:pt x="2945" y="12931"/>
                  <a:pt x="3165" y="13200"/>
                  <a:pt x="3436" y="13200"/>
                </a:cubicBezTo>
                <a:moveTo>
                  <a:pt x="20618" y="19200"/>
                </a:moveTo>
                <a:lnTo>
                  <a:pt x="18114" y="19200"/>
                </a:lnTo>
                <a:cubicBezTo>
                  <a:pt x="17887" y="17831"/>
                  <a:pt x="16897" y="16800"/>
                  <a:pt x="15709" y="16800"/>
                </a:cubicBezTo>
                <a:cubicBezTo>
                  <a:pt x="14522" y="16800"/>
                  <a:pt x="13532" y="17831"/>
                  <a:pt x="13304" y="19200"/>
                </a:cubicBezTo>
                <a:lnTo>
                  <a:pt x="8296" y="19200"/>
                </a:lnTo>
                <a:cubicBezTo>
                  <a:pt x="8068" y="17831"/>
                  <a:pt x="7078" y="16800"/>
                  <a:pt x="5891" y="16800"/>
                </a:cubicBezTo>
                <a:cubicBezTo>
                  <a:pt x="4703" y="16800"/>
                  <a:pt x="3713" y="17831"/>
                  <a:pt x="3486" y="19200"/>
                </a:cubicBezTo>
                <a:lnTo>
                  <a:pt x="982" y="192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19200"/>
                  <a:pt x="20618" y="1920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9200"/>
                </a:lnTo>
                <a:cubicBezTo>
                  <a:pt x="0" y="19862"/>
                  <a:pt x="440" y="20400"/>
                  <a:pt x="982" y="20400"/>
                </a:cubicBezTo>
                <a:lnTo>
                  <a:pt x="3927" y="20400"/>
                </a:lnTo>
                <a:cubicBezTo>
                  <a:pt x="4199" y="20400"/>
                  <a:pt x="4418" y="20132"/>
                  <a:pt x="4418" y="19800"/>
                </a:cubicBezTo>
                <a:cubicBezTo>
                  <a:pt x="4418" y="18807"/>
                  <a:pt x="5078" y="18000"/>
                  <a:pt x="5891" y="18000"/>
                </a:cubicBezTo>
                <a:cubicBezTo>
                  <a:pt x="6704" y="18000"/>
                  <a:pt x="7364" y="18807"/>
                  <a:pt x="7364" y="19800"/>
                </a:cubicBezTo>
                <a:cubicBezTo>
                  <a:pt x="7364" y="20132"/>
                  <a:pt x="7583" y="20400"/>
                  <a:pt x="7855" y="20400"/>
                </a:cubicBezTo>
                <a:lnTo>
                  <a:pt x="13745" y="20400"/>
                </a:lnTo>
                <a:cubicBezTo>
                  <a:pt x="14017" y="20400"/>
                  <a:pt x="14236" y="20132"/>
                  <a:pt x="14236" y="19800"/>
                </a:cubicBezTo>
                <a:cubicBezTo>
                  <a:pt x="14236" y="18807"/>
                  <a:pt x="14896" y="18000"/>
                  <a:pt x="15709" y="18000"/>
                </a:cubicBezTo>
                <a:cubicBezTo>
                  <a:pt x="16523" y="18000"/>
                  <a:pt x="17182" y="18807"/>
                  <a:pt x="17182" y="19800"/>
                </a:cubicBezTo>
                <a:cubicBezTo>
                  <a:pt x="17182" y="20132"/>
                  <a:pt x="17401" y="20400"/>
                  <a:pt x="17673" y="20400"/>
                </a:cubicBezTo>
                <a:lnTo>
                  <a:pt x="20618" y="20400"/>
                </a:lnTo>
                <a:cubicBezTo>
                  <a:pt x="21160" y="20400"/>
                  <a:pt x="21600" y="19862"/>
                  <a:pt x="21600" y="192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891" y="19200"/>
                </a:moveTo>
                <a:cubicBezTo>
                  <a:pt x="5620" y="19200"/>
                  <a:pt x="5400" y="19468"/>
                  <a:pt x="5400" y="19800"/>
                </a:cubicBezTo>
                <a:lnTo>
                  <a:pt x="5400" y="21000"/>
                </a:lnTo>
                <a:cubicBezTo>
                  <a:pt x="5400" y="21332"/>
                  <a:pt x="5620" y="21600"/>
                  <a:pt x="5891" y="21600"/>
                </a:cubicBezTo>
                <a:cubicBezTo>
                  <a:pt x="6162" y="21600"/>
                  <a:pt x="6382" y="21332"/>
                  <a:pt x="6382" y="21000"/>
                </a:cubicBezTo>
                <a:lnTo>
                  <a:pt x="6382" y="19800"/>
                </a:lnTo>
                <a:cubicBezTo>
                  <a:pt x="6382" y="19468"/>
                  <a:pt x="6162" y="19200"/>
                  <a:pt x="5891" y="19200"/>
                </a:cubicBezTo>
                <a:moveTo>
                  <a:pt x="3436" y="6000"/>
                </a:moveTo>
                <a:lnTo>
                  <a:pt x="18164" y="6000"/>
                </a:lnTo>
                <a:cubicBezTo>
                  <a:pt x="18435" y="6000"/>
                  <a:pt x="18655" y="5732"/>
                  <a:pt x="18655" y="5400"/>
                </a:cubicBezTo>
                <a:cubicBezTo>
                  <a:pt x="18655" y="5069"/>
                  <a:pt x="18435" y="4800"/>
                  <a:pt x="18164" y="4800"/>
                </a:cubicBezTo>
                <a:lnTo>
                  <a:pt x="3436" y="4800"/>
                </a:lnTo>
                <a:cubicBezTo>
                  <a:pt x="3165" y="4800"/>
                  <a:pt x="2945" y="5069"/>
                  <a:pt x="2945" y="5400"/>
                </a:cubicBezTo>
                <a:cubicBezTo>
                  <a:pt x="2945" y="5732"/>
                  <a:pt x="3165" y="6000"/>
                  <a:pt x="3436" y="6000"/>
                </a:cubicBezTo>
                <a:moveTo>
                  <a:pt x="15709" y="19200"/>
                </a:moveTo>
                <a:cubicBezTo>
                  <a:pt x="15438" y="19200"/>
                  <a:pt x="15218" y="19468"/>
                  <a:pt x="15218" y="19800"/>
                </a:cubicBezTo>
                <a:lnTo>
                  <a:pt x="15218" y="21000"/>
                </a:lnTo>
                <a:cubicBezTo>
                  <a:pt x="15218" y="21332"/>
                  <a:pt x="15438" y="21600"/>
                  <a:pt x="15709" y="21600"/>
                </a:cubicBezTo>
                <a:cubicBezTo>
                  <a:pt x="15980" y="21600"/>
                  <a:pt x="16200" y="21332"/>
                  <a:pt x="16200" y="21000"/>
                </a:cubicBezTo>
                <a:lnTo>
                  <a:pt x="16200" y="19800"/>
                </a:lnTo>
                <a:cubicBezTo>
                  <a:pt x="16200" y="19468"/>
                  <a:pt x="15980" y="19200"/>
                  <a:pt x="15709" y="19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5" name="Shape 2595"/>
          <p:cNvSpPr/>
          <p:nvPr/>
        </p:nvSpPr>
        <p:spPr>
          <a:xfrm>
            <a:off x="12499946" y="5187926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4040"/>
                </a:moveTo>
                <a:lnTo>
                  <a:pt x="14236" y="14040"/>
                </a:lnTo>
                <a:cubicBezTo>
                  <a:pt x="14507" y="14040"/>
                  <a:pt x="14727" y="13799"/>
                  <a:pt x="14727" y="13500"/>
                </a:cubicBezTo>
                <a:cubicBezTo>
                  <a:pt x="14727" y="13202"/>
                  <a:pt x="14507" y="12960"/>
                  <a:pt x="14236" y="12960"/>
                </a:cubicBezTo>
                <a:lnTo>
                  <a:pt x="7364" y="12960"/>
                </a:lnTo>
                <a:cubicBezTo>
                  <a:pt x="7093" y="12960"/>
                  <a:pt x="6873" y="13202"/>
                  <a:pt x="6873" y="13500"/>
                </a:cubicBezTo>
                <a:cubicBezTo>
                  <a:pt x="6873" y="13799"/>
                  <a:pt x="7093" y="14040"/>
                  <a:pt x="7364" y="14040"/>
                </a:cubicBezTo>
                <a:moveTo>
                  <a:pt x="7364" y="11880"/>
                </a:moveTo>
                <a:lnTo>
                  <a:pt x="18164" y="11880"/>
                </a:lnTo>
                <a:cubicBezTo>
                  <a:pt x="18434" y="11880"/>
                  <a:pt x="18655" y="11639"/>
                  <a:pt x="18655" y="11340"/>
                </a:cubicBezTo>
                <a:cubicBezTo>
                  <a:pt x="18655" y="11042"/>
                  <a:pt x="18434" y="10800"/>
                  <a:pt x="18164" y="10800"/>
                </a:cubicBezTo>
                <a:lnTo>
                  <a:pt x="7364" y="10800"/>
                </a:lnTo>
                <a:cubicBezTo>
                  <a:pt x="7093" y="10800"/>
                  <a:pt x="6873" y="11042"/>
                  <a:pt x="6873" y="11340"/>
                </a:cubicBezTo>
                <a:cubicBezTo>
                  <a:pt x="6873" y="11639"/>
                  <a:pt x="7093" y="11880"/>
                  <a:pt x="7364" y="11880"/>
                </a:cubicBezTo>
                <a:moveTo>
                  <a:pt x="20618" y="19440"/>
                </a:moveTo>
                <a:lnTo>
                  <a:pt x="18605" y="19440"/>
                </a:lnTo>
                <a:cubicBezTo>
                  <a:pt x="18378" y="18208"/>
                  <a:pt x="17387" y="17280"/>
                  <a:pt x="16200" y="17280"/>
                </a:cubicBezTo>
                <a:cubicBezTo>
                  <a:pt x="15013" y="17280"/>
                  <a:pt x="14022" y="18208"/>
                  <a:pt x="13795" y="19440"/>
                </a:cubicBezTo>
                <a:lnTo>
                  <a:pt x="11732" y="19440"/>
                </a:lnTo>
                <a:cubicBezTo>
                  <a:pt x="11505" y="18208"/>
                  <a:pt x="10515" y="17280"/>
                  <a:pt x="9327" y="17280"/>
                </a:cubicBezTo>
                <a:cubicBezTo>
                  <a:pt x="8140" y="17280"/>
                  <a:pt x="7150" y="18208"/>
                  <a:pt x="6922" y="19440"/>
                </a:cubicBezTo>
                <a:lnTo>
                  <a:pt x="4909" y="19440"/>
                </a:lnTo>
                <a:lnTo>
                  <a:pt x="4909" y="5400"/>
                </a:lnTo>
                <a:lnTo>
                  <a:pt x="20618" y="5400"/>
                </a:lnTo>
                <a:cubicBezTo>
                  <a:pt x="20618" y="5400"/>
                  <a:pt x="20618" y="19440"/>
                  <a:pt x="20618" y="19440"/>
                </a:cubicBezTo>
                <a:close/>
                <a:moveTo>
                  <a:pt x="20618" y="4320"/>
                </a:moveTo>
                <a:lnTo>
                  <a:pt x="4909" y="4320"/>
                </a:lnTo>
                <a:cubicBezTo>
                  <a:pt x="4367" y="4320"/>
                  <a:pt x="3927" y="4804"/>
                  <a:pt x="3927" y="5400"/>
                </a:cubicBezTo>
                <a:lnTo>
                  <a:pt x="3927" y="19440"/>
                </a:lnTo>
                <a:cubicBezTo>
                  <a:pt x="3927" y="20036"/>
                  <a:pt x="4367" y="20520"/>
                  <a:pt x="4909" y="20520"/>
                </a:cubicBezTo>
                <a:lnTo>
                  <a:pt x="7364" y="20520"/>
                </a:lnTo>
                <a:cubicBezTo>
                  <a:pt x="7634" y="20520"/>
                  <a:pt x="7855" y="20279"/>
                  <a:pt x="7855" y="19980"/>
                </a:cubicBezTo>
                <a:cubicBezTo>
                  <a:pt x="7855" y="19085"/>
                  <a:pt x="8514" y="18360"/>
                  <a:pt x="9327" y="18360"/>
                </a:cubicBezTo>
                <a:cubicBezTo>
                  <a:pt x="10141" y="18360"/>
                  <a:pt x="10800" y="19085"/>
                  <a:pt x="10800" y="19980"/>
                </a:cubicBezTo>
                <a:cubicBezTo>
                  <a:pt x="10800" y="20279"/>
                  <a:pt x="11020" y="20520"/>
                  <a:pt x="11291" y="20520"/>
                </a:cubicBezTo>
                <a:lnTo>
                  <a:pt x="14236" y="20520"/>
                </a:lnTo>
                <a:cubicBezTo>
                  <a:pt x="14507" y="20520"/>
                  <a:pt x="14727" y="20279"/>
                  <a:pt x="14727" y="19980"/>
                </a:cubicBezTo>
                <a:cubicBezTo>
                  <a:pt x="14727" y="19085"/>
                  <a:pt x="15386" y="18360"/>
                  <a:pt x="16200" y="18360"/>
                </a:cubicBezTo>
                <a:cubicBezTo>
                  <a:pt x="17014" y="18360"/>
                  <a:pt x="17673" y="19085"/>
                  <a:pt x="17673" y="19980"/>
                </a:cubicBezTo>
                <a:cubicBezTo>
                  <a:pt x="17673" y="20279"/>
                  <a:pt x="17893" y="20520"/>
                  <a:pt x="18164" y="20520"/>
                </a:cubicBezTo>
                <a:lnTo>
                  <a:pt x="20618" y="20520"/>
                </a:lnTo>
                <a:cubicBezTo>
                  <a:pt x="21160" y="20520"/>
                  <a:pt x="21600" y="20036"/>
                  <a:pt x="21600" y="19440"/>
                </a:cubicBezTo>
                <a:lnTo>
                  <a:pt x="21600" y="5400"/>
                </a:lnTo>
                <a:cubicBezTo>
                  <a:pt x="21600" y="4804"/>
                  <a:pt x="21160" y="4320"/>
                  <a:pt x="20618" y="4320"/>
                </a:cubicBezTo>
                <a:moveTo>
                  <a:pt x="7364" y="9720"/>
                </a:moveTo>
                <a:lnTo>
                  <a:pt x="18164" y="9720"/>
                </a:lnTo>
                <a:cubicBezTo>
                  <a:pt x="18434" y="9720"/>
                  <a:pt x="18655" y="9479"/>
                  <a:pt x="18655" y="9180"/>
                </a:cubicBezTo>
                <a:cubicBezTo>
                  <a:pt x="18655" y="8882"/>
                  <a:pt x="18434" y="8640"/>
                  <a:pt x="18164" y="8640"/>
                </a:cubicBezTo>
                <a:lnTo>
                  <a:pt x="7364" y="8640"/>
                </a:lnTo>
                <a:cubicBezTo>
                  <a:pt x="7093" y="8640"/>
                  <a:pt x="6873" y="8882"/>
                  <a:pt x="6873" y="9180"/>
                </a:cubicBezTo>
                <a:cubicBezTo>
                  <a:pt x="6873" y="9479"/>
                  <a:pt x="7093" y="9720"/>
                  <a:pt x="7364" y="9720"/>
                </a:cubicBezTo>
                <a:moveTo>
                  <a:pt x="9327" y="19440"/>
                </a:moveTo>
                <a:cubicBezTo>
                  <a:pt x="9056" y="19440"/>
                  <a:pt x="8836" y="19682"/>
                  <a:pt x="8836" y="19980"/>
                </a:cubicBezTo>
                <a:lnTo>
                  <a:pt x="8836" y="21060"/>
                </a:lnTo>
                <a:cubicBezTo>
                  <a:pt x="8836" y="21359"/>
                  <a:pt x="9056" y="21600"/>
                  <a:pt x="9327" y="21600"/>
                </a:cubicBezTo>
                <a:cubicBezTo>
                  <a:pt x="9598" y="21600"/>
                  <a:pt x="9818" y="21359"/>
                  <a:pt x="9818" y="21060"/>
                </a:cubicBezTo>
                <a:lnTo>
                  <a:pt x="9818" y="19980"/>
                </a:lnTo>
                <a:cubicBezTo>
                  <a:pt x="9818" y="19682"/>
                  <a:pt x="9598" y="19440"/>
                  <a:pt x="9327" y="19440"/>
                </a:cubicBezTo>
                <a:moveTo>
                  <a:pt x="2455" y="15120"/>
                </a:moveTo>
                <a:lnTo>
                  <a:pt x="982" y="15120"/>
                </a:lnTo>
                <a:lnTo>
                  <a:pt x="982" y="1080"/>
                </a:lnTo>
                <a:lnTo>
                  <a:pt x="16691" y="1080"/>
                </a:lnTo>
                <a:lnTo>
                  <a:pt x="16691" y="2700"/>
                </a:lnTo>
                <a:cubicBezTo>
                  <a:pt x="16691" y="2999"/>
                  <a:pt x="16911" y="3240"/>
                  <a:pt x="17182" y="3240"/>
                </a:cubicBezTo>
                <a:cubicBezTo>
                  <a:pt x="17453" y="3240"/>
                  <a:pt x="17673" y="2999"/>
                  <a:pt x="17673" y="2700"/>
                </a:cubicBezTo>
                <a:lnTo>
                  <a:pt x="17673" y="1080"/>
                </a:lnTo>
                <a:cubicBezTo>
                  <a:pt x="17673" y="484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15120"/>
                </a:lnTo>
                <a:cubicBezTo>
                  <a:pt x="0" y="15716"/>
                  <a:pt x="440" y="16201"/>
                  <a:pt x="982" y="16201"/>
                </a:cubicBezTo>
                <a:lnTo>
                  <a:pt x="2455" y="16201"/>
                </a:lnTo>
                <a:cubicBezTo>
                  <a:pt x="2725" y="16201"/>
                  <a:pt x="2945" y="15959"/>
                  <a:pt x="2945" y="15660"/>
                </a:cubicBezTo>
                <a:cubicBezTo>
                  <a:pt x="2945" y="15362"/>
                  <a:pt x="2725" y="15120"/>
                  <a:pt x="2455" y="15120"/>
                </a:cubicBezTo>
                <a:moveTo>
                  <a:pt x="16200" y="19440"/>
                </a:moveTo>
                <a:cubicBezTo>
                  <a:pt x="15929" y="19440"/>
                  <a:pt x="15709" y="19682"/>
                  <a:pt x="15709" y="19980"/>
                </a:cubicBezTo>
                <a:lnTo>
                  <a:pt x="15709" y="21060"/>
                </a:lnTo>
                <a:cubicBezTo>
                  <a:pt x="15709" y="21359"/>
                  <a:pt x="15929" y="21600"/>
                  <a:pt x="16200" y="21600"/>
                </a:cubicBezTo>
                <a:cubicBezTo>
                  <a:pt x="16471" y="21600"/>
                  <a:pt x="16691" y="21359"/>
                  <a:pt x="16691" y="21060"/>
                </a:cubicBezTo>
                <a:lnTo>
                  <a:pt x="16691" y="19980"/>
                </a:lnTo>
                <a:cubicBezTo>
                  <a:pt x="16691" y="19682"/>
                  <a:pt x="16471" y="19440"/>
                  <a:pt x="16200" y="1944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6" name="Shape 2596"/>
          <p:cNvSpPr/>
          <p:nvPr/>
        </p:nvSpPr>
        <p:spPr>
          <a:xfrm>
            <a:off x="13566466" y="5238713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5400"/>
                </a:moveTo>
                <a:lnTo>
                  <a:pt x="9327" y="5400"/>
                </a:lnTo>
                <a:cubicBezTo>
                  <a:pt x="9598" y="5400"/>
                  <a:pt x="9818" y="5098"/>
                  <a:pt x="9818" y="4725"/>
                </a:cubicBezTo>
                <a:cubicBezTo>
                  <a:pt x="9818" y="4353"/>
                  <a:pt x="9598" y="4050"/>
                  <a:pt x="9327" y="4050"/>
                </a:cubicBezTo>
                <a:lnTo>
                  <a:pt x="3436" y="4050"/>
                </a:lnTo>
                <a:cubicBezTo>
                  <a:pt x="3166" y="4050"/>
                  <a:pt x="2945" y="4353"/>
                  <a:pt x="2945" y="4725"/>
                </a:cubicBezTo>
                <a:cubicBezTo>
                  <a:pt x="2945" y="5098"/>
                  <a:pt x="3166" y="5400"/>
                  <a:pt x="3436" y="5400"/>
                </a:cubicBezTo>
                <a:moveTo>
                  <a:pt x="3436" y="8100"/>
                </a:moveTo>
                <a:lnTo>
                  <a:pt x="7364" y="8100"/>
                </a:lnTo>
                <a:cubicBezTo>
                  <a:pt x="7634" y="8100"/>
                  <a:pt x="7855" y="7798"/>
                  <a:pt x="7855" y="7425"/>
                </a:cubicBezTo>
                <a:cubicBezTo>
                  <a:pt x="7855" y="7053"/>
                  <a:pt x="7634" y="6750"/>
                  <a:pt x="7364" y="6750"/>
                </a:cubicBezTo>
                <a:lnTo>
                  <a:pt x="3436" y="6750"/>
                </a:lnTo>
                <a:cubicBezTo>
                  <a:pt x="3166" y="6750"/>
                  <a:pt x="2945" y="7053"/>
                  <a:pt x="2945" y="7425"/>
                </a:cubicBezTo>
                <a:cubicBezTo>
                  <a:pt x="2945" y="7798"/>
                  <a:pt x="3166" y="8100"/>
                  <a:pt x="3436" y="8100"/>
                </a:cubicBezTo>
                <a:moveTo>
                  <a:pt x="3436" y="10800"/>
                </a:moveTo>
                <a:lnTo>
                  <a:pt x="9327" y="10800"/>
                </a:lnTo>
                <a:cubicBezTo>
                  <a:pt x="9598" y="10800"/>
                  <a:pt x="9818" y="10498"/>
                  <a:pt x="9818" y="10125"/>
                </a:cubicBezTo>
                <a:cubicBezTo>
                  <a:pt x="9818" y="9753"/>
                  <a:pt x="9598" y="9450"/>
                  <a:pt x="9327" y="9450"/>
                </a:cubicBezTo>
                <a:lnTo>
                  <a:pt x="3436" y="9450"/>
                </a:lnTo>
                <a:cubicBezTo>
                  <a:pt x="3166" y="9450"/>
                  <a:pt x="2945" y="9753"/>
                  <a:pt x="2945" y="10125"/>
                </a:cubicBezTo>
                <a:cubicBezTo>
                  <a:pt x="2945" y="10498"/>
                  <a:pt x="3166" y="10800"/>
                  <a:pt x="3436" y="10800"/>
                </a:cubicBezTo>
                <a:moveTo>
                  <a:pt x="20618" y="20250"/>
                </a:moveTo>
                <a:lnTo>
                  <a:pt x="15709" y="20250"/>
                </a:lnTo>
                <a:lnTo>
                  <a:pt x="15709" y="17551"/>
                </a:lnTo>
                <a:lnTo>
                  <a:pt x="16691" y="17551"/>
                </a:lnTo>
                <a:cubicBezTo>
                  <a:pt x="16962" y="17551"/>
                  <a:pt x="17182" y="17248"/>
                  <a:pt x="17182" y="16875"/>
                </a:cubicBezTo>
                <a:cubicBezTo>
                  <a:pt x="17182" y="16503"/>
                  <a:pt x="16962" y="16200"/>
                  <a:pt x="16691" y="16200"/>
                </a:cubicBezTo>
                <a:lnTo>
                  <a:pt x="13745" y="16200"/>
                </a:lnTo>
                <a:cubicBezTo>
                  <a:pt x="13475" y="16200"/>
                  <a:pt x="13255" y="16503"/>
                  <a:pt x="13255" y="16875"/>
                </a:cubicBezTo>
                <a:cubicBezTo>
                  <a:pt x="13255" y="17248"/>
                  <a:pt x="13475" y="17551"/>
                  <a:pt x="13745" y="17551"/>
                </a:cubicBezTo>
                <a:lnTo>
                  <a:pt x="14727" y="17551"/>
                </a:lnTo>
                <a:lnTo>
                  <a:pt x="14727" y="20250"/>
                </a:lnTo>
                <a:lnTo>
                  <a:pt x="6873" y="20250"/>
                </a:lnTo>
                <a:lnTo>
                  <a:pt x="6873" y="17551"/>
                </a:lnTo>
                <a:lnTo>
                  <a:pt x="7855" y="17551"/>
                </a:lnTo>
                <a:cubicBezTo>
                  <a:pt x="8125" y="17551"/>
                  <a:pt x="8345" y="17248"/>
                  <a:pt x="8345" y="16875"/>
                </a:cubicBezTo>
                <a:cubicBezTo>
                  <a:pt x="8345" y="16503"/>
                  <a:pt x="8125" y="16200"/>
                  <a:pt x="7855" y="16200"/>
                </a:cubicBezTo>
                <a:lnTo>
                  <a:pt x="4909" y="16200"/>
                </a:lnTo>
                <a:cubicBezTo>
                  <a:pt x="4638" y="16200"/>
                  <a:pt x="4418" y="16503"/>
                  <a:pt x="4418" y="16875"/>
                </a:cubicBezTo>
                <a:cubicBezTo>
                  <a:pt x="4418" y="17248"/>
                  <a:pt x="4638" y="17551"/>
                  <a:pt x="4909" y="17551"/>
                </a:cubicBezTo>
                <a:lnTo>
                  <a:pt x="5891" y="17551"/>
                </a:lnTo>
                <a:lnTo>
                  <a:pt x="5891" y="20250"/>
                </a:lnTo>
                <a:lnTo>
                  <a:pt x="982" y="202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3436" y="13500"/>
                </a:moveTo>
                <a:lnTo>
                  <a:pt x="7364" y="13500"/>
                </a:lnTo>
                <a:cubicBezTo>
                  <a:pt x="7634" y="13500"/>
                  <a:pt x="7855" y="13198"/>
                  <a:pt x="7855" y="12825"/>
                </a:cubicBezTo>
                <a:cubicBezTo>
                  <a:pt x="7855" y="12452"/>
                  <a:pt x="7634" y="12150"/>
                  <a:pt x="7364" y="12150"/>
                </a:cubicBezTo>
                <a:lnTo>
                  <a:pt x="3436" y="12150"/>
                </a:lnTo>
                <a:cubicBezTo>
                  <a:pt x="3166" y="12150"/>
                  <a:pt x="2945" y="12452"/>
                  <a:pt x="2945" y="12825"/>
                </a:cubicBezTo>
                <a:cubicBezTo>
                  <a:pt x="2945" y="13198"/>
                  <a:pt x="3166" y="13500"/>
                  <a:pt x="3436" y="13500"/>
                </a:cubicBezTo>
                <a:moveTo>
                  <a:pt x="12273" y="5400"/>
                </a:moveTo>
                <a:lnTo>
                  <a:pt x="16200" y="5400"/>
                </a:lnTo>
                <a:cubicBezTo>
                  <a:pt x="16471" y="5400"/>
                  <a:pt x="16691" y="5098"/>
                  <a:pt x="16691" y="4725"/>
                </a:cubicBezTo>
                <a:cubicBezTo>
                  <a:pt x="16691" y="4353"/>
                  <a:pt x="16471" y="4050"/>
                  <a:pt x="16200" y="4050"/>
                </a:cubicBezTo>
                <a:lnTo>
                  <a:pt x="12273" y="4050"/>
                </a:lnTo>
                <a:cubicBezTo>
                  <a:pt x="12002" y="4050"/>
                  <a:pt x="11782" y="4353"/>
                  <a:pt x="11782" y="4725"/>
                </a:cubicBezTo>
                <a:cubicBezTo>
                  <a:pt x="11782" y="5098"/>
                  <a:pt x="12002" y="5400"/>
                  <a:pt x="12273" y="5400"/>
                </a:cubicBezTo>
                <a:moveTo>
                  <a:pt x="12273" y="10800"/>
                </a:moveTo>
                <a:lnTo>
                  <a:pt x="16200" y="10800"/>
                </a:lnTo>
                <a:cubicBezTo>
                  <a:pt x="16471" y="10800"/>
                  <a:pt x="16691" y="10498"/>
                  <a:pt x="16691" y="10125"/>
                </a:cubicBezTo>
                <a:cubicBezTo>
                  <a:pt x="16691" y="9753"/>
                  <a:pt x="16471" y="9450"/>
                  <a:pt x="16200" y="9450"/>
                </a:cubicBezTo>
                <a:lnTo>
                  <a:pt x="12273" y="9450"/>
                </a:lnTo>
                <a:cubicBezTo>
                  <a:pt x="12002" y="9450"/>
                  <a:pt x="11782" y="9753"/>
                  <a:pt x="11782" y="10125"/>
                </a:cubicBezTo>
                <a:cubicBezTo>
                  <a:pt x="11782" y="10498"/>
                  <a:pt x="12002" y="10800"/>
                  <a:pt x="12273" y="10800"/>
                </a:cubicBezTo>
                <a:moveTo>
                  <a:pt x="12273" y="13500"/>
                </a:moveTo>
                <a:lnTo>
                  <a:pt x="18164" y="13500"/>
                </a:lnTo>
                <a:cubicBezTo>
                  <a:pt x="18434" y="13500"/>
                  <a:pt x="18655" y="13198"/>
                  <a:pt x="18655" y="12825"/>
                </a:cubicBezTo>
                <a:cubicBezTo>
                  <a:pt x="18655" y="12452"/>
                  <a:pt x="18434" y="12150"/>
                  <a:pt x="18164" y="12150"/>
                </a:cubicBezTo>
                <a:lnTo>
                  <a:pt x="12273" y="12150"/>
                </a:lnTo>
                <a:cubicBezTo>
                  <a:pt x="12002" y="12150"/>
                  <a:pt x="11782" y="12452"/>
                  <a:pt x="11782" y="12825"/>
                </a:cubicBezTo>
                <a:cubicBezTo>
                  <a:pt x="11782" y="13198"/>
                  <a:pt x="12002" y="13500"/>
                  <a:pt x="12273" y="13500"/>
                </a:cubicBezTo>
                <a:moveTo>
                  <a:pt x="12273" y="8100"/>
                </a:moveTo>
                <a:lnTo>
                  <a:pt x="18164" y="8100"/>
                </a:lnTo>
                <a:cubicBezTo>
                  <a:pt x="18434" y="8100"/>
                  <a:pt x="18655" y="7798"/>
                  <a:pt x="18655" y="7425"/>
                </a:cubicBezTo>
                <a:cubicBezTo>
                  <a:pt x="18655" y="7053"/>
                  <a:pt x="18434" y="6750"/>
                  <a:pt x="18164" y="6750"/>
                </a:cubicBezTo>
                <a:lnTo>
                  <a:pt x="12273" y="6750"/>
                </a:lnTo>
                <a:cubicBezTo>
                  <a:pt x="12002" y="6750"/>
                  <a:pt x="11782" y="7053"/>
                  <a:pt x="11782" y="7425"/>
                </a:cubicBezTo>
                <a:cubicBezTo>
                  <a:pt x="11782" y="7798"/>
                  <a:pt x="12002" y="8100"/>
                  <a:pt x="12273" y="81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7" name="Shape 2597"/>
          <p:cNvSpPr/>
          <p:nvPr/>
        </p:nvSpPr>
        <p:spPr>
          <a:xfrm>
            <a:off x="14632989" y="5213320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9600"/>
                </a:moveTo>
                <a:lnTo>
                  <a:pt x="11291" y="9600"/>
                </a:lnTo>
                <a:cubicBezTo>
                  <a:pt x="11562" y="9600"/>
                  <a:pt x="11782" y="9332"/>
                  <a:pt x="11782" y="9000"/>
                </a:cubicBezTo>
                <a:cubicBezTo>
                  <a:pt x="11782" y="8669"/>
                  <a:pt x="11562" y="8400"/>
                  <a:pt x="11291" y="8400"/>
                </a:cubicBezTo>
                <a:lnTo>
                  <a:pt x="7364" y="8400"/>
                </a:lnTo>
                <a:cubicBezTo>
                  <a:pt x="7093" y="8400"/>
                  <a:pt x="6873" y="8669"/>
                  <a:pt x="6873" y="9000"/>
                </a:cubicBezTo>
                <a:cubicBezTo>
                  <a:pt x="6873" y="9332"/>
                  <a:pt x="7093" y="9600"/>
                  <a:pt x="7364" y="9600"/>
                </a:cubicBezTo>
                <a:moveTo>
                  <a:pt x="7364" y="12000"/>
                </a:moveTo>
                <a:lnTo>
                  <a:pt x="9327" y="12000"/>
                </a:lnTo>
                <a:cubicBezTo>
                  <a:pt x="9598" y="12000"/>
                  <a:pt x="9818" y="11732"/>
                  <a:pt x="9818" y="11400"/>
                </a:cubicBezTo>
                <a:cubicBezTo>
                  <a:pt x="9818" y="11069"/>
                  <a:pt x="9598" y="10800"/>
                  <a:pt x="9327" y="10800"/>
                </a:cubicBezTo>
                <a:lnTo>
                  <a:pt x="7364" y="10800"/>
                </a:lnTo>
                <a:cubicBezTo>
                  <a:pt x="7093" y="10800"/>
                  <a:pt x="6873" y="11069"/>
                  <a:pt x="6873" y="11400"/>
                </a:cubicBezTo>
                <a:cubicBezTo>
                  <a:pt x="6873" y="11732"/>
                  <a:pt x="7093" y="12000"/>
                  <a:pt x="7364" y="12000"/>
                </a:cubicBezTo>
                <a:moveTo>
                  <a:pt x="20618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182" y="19200"/>
                </a:lnTo>
                <a:cubicBezTo>
                  <a:pt x="17453" y="19200"/>
                  <a:pt x="17673" y="18932"/>
                  <a:pt x="17673" y="18600"/>
                </a:cubicBezTo>
                <a:cubicBezTo>
                  <a:pt x="17673" y="18269"/>
                  <a:pt x="17453" y="18000"/>
                  <a:pt x="17182" y="18000"/>
                </a:cubicBezTo>
                <a:lnTo>
                  <a:pt x="15218" y="18000"/>
                </a:lnTo>
                <a:cubicBezTo>
                  <a:pt x="14947" y="18000"/>
                  <a:pt x="14727" y="18269"/>
                  <a:pt x="14727" y="18600"/>
                </a:cubicBezTo>
                <a:cubicBezTo>
                  <a:pt x="14727" y="18932"/>
                  <a:pt x="14947" y="19200"/>
                  <a:pt x="15218" y="19200"/>
                </a:cubicBezTo>
                <a:lnTo>
                  <a:pt x="15709" y="19200"/>
                </a:lnTo>
                <a:lnTo>
                  <a:pt x="15709" y="20400"/>
                </a:lnTo>
                <a:lnTo>
                  <a:pt x="9818" y="20400"/>
                </a:lnTo>
                <a:lnTo>
                  <a:pt x="9818" y="19200"/>
                </a:lnTo>
                <a:lnTo>
                  <a:pt x="10309" y="19200"/>
                </a:lnTo>
                <a:cubicBezTo>
                  <a:pt x="10580" y="19200"/>
                  <a:pt x="10800" y="18932"/>
                  <a:pt x="10800" y="18600"/>
                </a:cubicBezTo>
                <a:cubicBezTo>
                  <a:pt x="10800" y="18269"/>
                  <a:pt x="10580" y="18000"/>
                  <a:pt x="10309" y="18000"/>
                </a:cubicBezTo>
                <a:lnTo>
                  <a:pt x="8345" y="18000"/>
                </a:lnTo>
                <a:cubicBezTo>
                  <a:pt x="8075" y="18000"/>
                  <a:pt x="7855" y="18269"/>
                  <a:pt x="7855" y="18600"/>
                </a:cubicBezTo>
                <a:cubicBezTo>
                  <a:pt x="7855" y="18932"/>
                  <a:pt x="8075" y="19200"/>
                  <a:pt x="8345" y="19200"/>
                </a:cubicBezTo>
                <a:lnTo>
                  <a:pt x="8836" y="19200"/>
                </a:lnTo>
                <a:lnTo>
                  <a:pt x="8836" y="20400"/>
                </a:ln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7364" y="14400"/>
                </a:moveTo>
                <a:lnTo>
                  <a:pt x="11291" y="14400"/>
                </a:lnTo>
                <a:cubicBezTo>
                  <a:pt x="11562" y="14400"/>
                  <a:pt x="11782" y="14132"/>
                  <a:pt x="11782" y="13800"/>
                </a:cubicBezTo>
                <a:cubicBezTo>
                  <a:pt x="11782" y="13469"/>
                  <a:pt x="11562" y="13200"/>
                  <a:pt x="11291" y="13200"/>
                </a:cubicBezTo>
                <a:lnTo>
                  <a:pt x="7364" y="13200"/>
                </a:lnTo>
                <a:cubicBezTo>
                  <a:pt x="7093" y="13200"/>
                  <a:pt x="6873" y="13469"/>
                  <a:pt x="6873" y="13800"/>
                </a:cubicBezTo>
                <a:cubicBezTo>
                  <a:pt x="6873" y="14132"/>
                  <a:pt x="7093" y="14400"/>
                  <a:pt x="7364" y="14400"/>
                </a:cubicBezTo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1"/>
                  <a:pt x="982" y="16801"/>
                </a:cubicBezTo>
                <a:lnTo>
                  <a:pt x="2455" y="16801"/>
                </a:lnTo>
                <a:cubicBezTo>
                  <a:pt x="2725" y="16801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14236" y="14400"/>
                </a:moveTo>
                <a:lnTo>
                  <a:pt x="16200" y="14400"/>
                </a:lnTo>
                <a:cubicBezTo>
                  <a:pt x="16471" y="14400"/>
                  <a:pt x="16691" y="14132"/>
                  <a:pt x="16691" y="13800"/>
                </a:cubicBezTo>
                <a:cubicBezTo>
                  <a:pt x="16691" y="13469"/>
                  <a:pt x="16471" y="13200"/>
                  <a:pt x="16200" y="13200"/>
                </a:cubicBezTo>
                <a:lnTo>
                  <a:pt x="14236" y="13200"/>
                </a:lnTo>
                <a:cubicBezTo>
                  <a:pt x="13966" y="13200"/>
                  <a:pt x="13745" y="13469"/>
                  <a:pt x="13745" y="13800"/>
                </a:cubicBezTo>
                <a:cubicBezTo>
                  <a:pt x="13745" y="14132"/>
                  <a:pt x="13966" y="14400"/>
                  <a:pt x="14236" y="14400"/>
                </a:cubicBezTo>
                <a:moveTo>
                  <a:pt x="14236" y="9600"/>
                </a:move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cubicBezTo>
                  <a:pt x="16691" y="8669"/>
                  <a:pt x="16471" y="8400"/>
                  <a:pt x="16200" y="8400"/>
                </a:cubicBezTo>
                <a:lnTo>
                  <a:pt x="14236" y="8400"/>
                </a:lnTo>
                <a:cubicBezTo>
                  <a:pt x="13966" y="8400"/>
                  <a:pt x="13745" y="8669"/>
                  <a:pt x="13745" y="9000"/>
                </a:cubicBezTo>
                <a:cubicBezTo>
                  <a:pt x="13745" y="9332"/>
                  <a:pt x="13966" y="9600"/>
                  <a:pt x="14236" y="9600"/>
                </a:cubicBezTo>
                <a:moveTo>
                  <a:pt x="14236" y="12000"/>
                </a:moveTo>
                <a:lnTo>
                  <a:pt x="18164" y="12000"/>
                </a:lnTo>
                <a:cubicBezTo>
                  <a:pt x="18434" y="12000"/>
                  <a:pt x="18655" y="11732"/>
                  <a:pt x="18655" y="11400"/>
                </a:cubicBezTo>
                <a:cubicBezTo>
                  <a:pt x="18655" y="11069"/>
                  <a:pt x="18434" y="10800"/>
                  <a:pt x="18164" y="10800"/>
                </a:cubicBezTo>
                <a:lnTo>
                  <a:pt x="14236" y="10800"/>
                </a:lnTo>
                <a:cubicBezTo>
                  <a:pt x="13966" y="10800"/>
                  <a:pt x="13745" y="11069"/>
                  <a:pt x="13745" y="11400"/>
                </a:cubicBezTo>
                <a:cubicBezTo>
                  <a:pt x="13745" y="11732"/>
                  <a:pt x="13966" y="12000"/>
                  <a:pt x="14236" y="120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8" name="Shape 2598"/>
          <p:cNvSpPr/>
          <p:nvPr/>
        </p:nvSpPr>
        <p:spPr>
          <a:xfrm>
            <a:off x="15699511" y="5213320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873" y="8400"/>
                </a:moveTo>
                <a:lnTo>
                  <a:pt x="10800" y="8400"/>
                </a:lnTo>
                <a:lnTo>
                  <a:pt x="10800" y="12001"/>
                </a:lnTo>
                <a:lnTo>
                  <a:pt x="6873" y="12001"/>
                </a:lnTo>
                <a:cubicBezTo>
                  <a:pt x="6873" y="12001"/>
                  <a:pt x="6873" y="8400"/>
                  <a:pt x="6873" y="8400"/>
                </a:cubicBezTo>
                <a:close/>
                <a:moveTo>
                  <a:pt x="6382" y="13200"/>
                </a:moveTo>
                <a:lnTo>
                  <a:pt x="11291" y="13200"/>
                </a:lnTo>
                <a:cubicBezTo>
                  <a:pt x="11562" y="13200"/>
                  <a:pt x="11782" y="12932"/>
                  <a:pt x="11782" y="12600"/>
                </a:cubicBezTo>
                <a:lnTo>
                  <a:pt x="11782" y="7800"/>
                </a:lnTo>
                <a:cubicBezTo>
                  <a:pt x="11782" y="7469"/>
                  <a:pt x="11562" y="7200"/>
                  <a:pt x="11291" y="7200"/>
                </a:cubicBezTo>
                <a:lnTo>
                  <a:pt x="6382" y="7200"/>
                </a:lnTo>
                <a:cubicBezTo>
                  <a:pt x="6111" y="7200"/>
                  <a:pt x="5891" y="7469"/>
                  <a:pt x="5891" y="7800"/>
                </a:cubicBezTo>
                <a:lnTo>
                  <a:pt x="5891" y="12600"/>
                </a:lnTo>
                <a:cubicBezTo>
                  <a:pt x="5891" y="12932"/>
                  <a:pt x="6111" y="13200"/>
                  <a:pt x="6382" y="13200"/>
                </a:cubicBezTo>
                <a:moveTo>
                  <a:pt x="6382" y="4800"/>
                </a:moveTo>
                <a:cubicBezTo>
                  <a:pt x="6653" y="4800"/>
                  <a:pt x="6873" y="4531"/>
                  <a:pt x="6873" y="4200"/>
                </a:cubicBezTo>
                <a:cubicBezTo>
                  <a:pt x="6873" y="3868"/>
                  <a:pt x="6653" y="3600"/>
                  <a:pt x="6382" y="3600"/>
                </a:cubicBezTo>
                <a:cubicBezTo>
                  <a:pt x="6111" y="3600"/>
                  <a:pt x="5891" y="3868"/>
                  <a:pt x="5891" y="4200"/>
                </a:cubicBezTo>
                <a:cubicBezTo>
                  <a:pt x="5891" y="4531"/>
                  <a:pt x="6111" y="4800"/>
                  <a:pt x="6382" y="4800"/>
                </a:cubicBezTo>
                <a:moveTo>
                  <a:pt x="20618" y="20400"/>
                </a:moveTo>
                <a:lnTo>
                  <a:pt x="2945" y="20400"/>
                </a:lnTo>
                <a:cubicBezTo>
                  <a:pt x="1861" y="20400"/>
                  <a:pt x="982" y="19325"/>
                  <a:pt x="982" y="18000"/>
                </a:cubicBezTo>
                <a:lnTo>
                  <a:pt x="982" y="4800"/>
                </a:lnTo>
                <a:lnTo>
                  <a:pt x="2945" y="4800"/>
                </a:lnTo>
                <a:lnTo>
                  <a:pt x="2945" y="17400"/>
                </a:lnTo>
                <a:cubicBezTo>
                  <a:pt x="2945" y="17732"/>
                  <a:pt x="3166" y="18000"/>
                  <a:pt x="3436" y="18000"/>
                </a:cubicBezTo>
                <a:cubicBezTo>
                  <a:pt x="3707" y="18000"/>
                  <a:pt x="3927" y="17732"/>
                  <a:pt x="3927" y="17400"/>
                </a:cubicBezTo>
                <a:lnTo>
                  <a:pt x="3927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600"/>
                </a:lnTo>
                <a:lnTo>
                  <a:pt x="982" y="3600"/>
                </a:lnTo>
                <a:cubicBezTo>
                  <a:pt x="440" y="3600"/>
                  <a:pt x="0" y="4138"/>
                  <a:pt x="0" y="4800"/>
                </a:cubicBezTo>
                <a:lnTo>
                  <a:pt x="0" y="18000"/>
                </a:lnTo>
                <a:cubicBezTo>
                  <a:pt x="0" y="19988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6382" y="18000"/>
                </a:moveTo>
                <a:lnTo>
                  <a:pt x="18164" y="18000"/>
                </a:lnTo>
                <a:cubicBezTo>
                  <a:pt x="18434" y="18000"/>
                  <a:pt x="18655" y="17732"/>
                  <a:pt x="18655" y="17400"/>
                </a:cubicBezTo>
                <a:cubicBezTo>
                  <a:pt x="18655" y="17068"/>
                  <a:pt x="18434" y="16801"/>
                  <a:pt x="18164" y="16801"/>
                </a:cubicBezTo>
                <a:lnTo>
                  <a:pt x="6382" y="16801"/>
                </a:lnTo>
                <a:cubicBezTo>
                  <a:pt x="6111" y="16801"/>
                  <a:pt x="5891" y="17068"/>
                  <a:pt x="5891" y="17400"/>
                </a:cubicBezTo>
                <a:cubicBezTo>
                  <a:pt x="5891" y="17732"/>
                  <a:pt x="6111" y="18000"/>
                  <a:pt x="6382" y="18000"/>
                </a:cubicBezTo>
                <a:moveTo>
                  <a:pt x="6382" y="15600"/>
                </a:moveTo>
                <a:lnTo>
                  <a:pt x="18164" y="15600"/>
                </a:lnTo>
                <a:cubicBezTo>
                  <a:pt x="18434" y="15600"/>
                  <a:pt x="18655" y="15332"/>
                  <a:pt x="18655" y="15000"/>
                </a:cubicBezTo>
                <a:cubicBezTo>
                  <a:pt x="18655" y="14668"/>
                  <a:pt x="18434" y="14401"/>
                  <a:pt x="18164" y="14401"/>
                </a:cubicBezTo>
                <a:lnTo>
                  <a:pt x="6382" y="14401"/>
                </a:lnTo>
                <a:cubicBezTo>
                  <a:pt x="6111" y="14401"/>
                  <a:pt x="5891" y="14668"/>
                  <a:pt x="5891" y="15000"/>
                </a:cubicBezTo>
                <a:cubicBezTo>
                  <a:pt x="5891" y="15332"/>
                  <a:pt x="6111" y="15600"/>
                  <a:pt x="6382" y="15600"/>
                </a:cubicBezTo>
                <a:moveTo>
                  <a:pt x="8345" y="4800"/>
                </a:moveTo>
                <a:cubicBezTo>
                  <a:pt x="8616" y="4800"/>
                  <a:pt x="8836" y="4531"/>
                  <a:pt x="8836" y="4200"/>
                </a:cubicBezTo>
                <a:cubicBezTo>
                  <a:pt x="8836" y="3868"/>
                  <a:pt x="8616" y="3600"/>
                  <a:pt x="8345" y="3600"/>
                </a:cubicBezTo>
                <a:cubicBezTo>
                  <a:pt x="8075" y="3600"/>
                  <a:pt x="7855" y="3868"/>
                  <a:pt x="7855" y="4200"/>
                </a:cubicBezTo>
                <a:cubicBezTo>
                  <a:pt x="7855" y="4531"/>
                  <a:pt x="8075" y="4800"/>
                  <a:pt x="8345" y="4800"/>
                </a:cubicBezTo>
                <a:moveTo>
                  <a:pt x="18164" y="7200"/>
                </a:moveTo>
                <a:lnTo>
                  <a:pt x="14236" y="7200"/>
                </a:lnTo>
                <a:cubicBezTo>
                  <a:pt x="13966" y="7200"/>
                  <a:pt x="13745" y="7469"/>
                  <a:pt x="13745" y="7800"/>
                </a:cubicBezTo>
                <a:cubicBezTo>
                  <a:pt x="13745" y="8132"/>
                  <a:pt x="13966" y="8400"/>
                  <a:pt x="14236" y="8400"/>
                </a:cubicBezTo>
                <a:lnTo>
                  <a:pt x="18164" y="8400"/>
                </a:lnTo>
                <a:cubicBezTo>
                  <a:pt x="18434" y="8400"/>
                  <a:pt x="18655" y="8132"/>
                  <a:pt x="18655" y="7800"/>
                </a:cubicBezTo>
                <a:cubicBezTo>
                  <a:pt x="18655" y="7469"/>
                  <a:pt x="18434" y="7200"/>
                  <a:pt x="18164" y="7200"/>
                </a:cubicBezTo>
                <a:moveTo>
                  <a:pt x="18164" y="12001"/>
                </a:moveTo>
                <a:lnTo>
                  <a:pt x="14236" y="12001"/>
                </a:lnTo>
                <a:cubicBezTo>
                  <a:pt x="13966" y="12001"/>
                  <a:pt x="13745" y="12268"/>
                  <a:pt x="13745" y="12600"/>
                </a:cubicBezTo>
                <a:cubicBezTo>
                  <a:pt x="13745" y="12932"/>
                  <a:pt x="13966" y="13200"/>
                  <a:pt x="14236" y="13200"/>
                </a:cubicBezTo>
                <a:lnTo>
                  <a:pt x="18164" y="13200"/>
                </a:lnTo>
                <a:cubicBezTo>
                  <a:pt x="18434" y="13200"/>
                  <a:pt x="18655" y="12932"/>
                  <a:pt x="18655" y="12600"/>
                </a:cubicBezTo>
                <a:cubicBezTo>
                  <a:pt x="18655" y="12268"/>
                  <a:pt x="18434" y="12001"/>
                  <a:pt x="18164" y="12001"/>
                </a:cubicBezTo>
                <a:moveTo>
                  <a:pt x="18164" y="9600"/>
                </a:moveTo>
                <a:lnTo>
                  <a:pt x="14236" y="9600"/>
                </a:lnTo>
                <a:cubicBezTo>
                  <a:pt x="13966" y="9600"/>
                  <a:pt x="13745" y="9869"/>
                  <a:pt x="13745" y="10200"/>
                </a:cubicBezTo>
                <a:cubicBezTo>
                  <a:pt x="13745" y="10532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32"/>
                  <a:pt x="18655" y="10200"/>
                </a:cubicBezTo>
                <a:cubicBezTo>
                  <a:pt x="18655" y="9869"/>
                  <a:pt x="18434" y="9600"/>
                  <a:pt x="18164" y="9600"/>
                </a:cubicBezTo>
                <a:moveTo>
                  <a:pt x="18164" y="4800"/>
                </a:moveTo>
                <a:cubicBezTo>
                  <a:pt x="18434" y="4800"/>
                  <a:pt x="18655" y="4531"/>
                  <a:pt x="18655" y="4200"/>
                </a:cubicBezTo>
                <a:cubicBezTo>
                  <a:pt x="18655" y="3868"/>
                  <a:pt x="18434" y="3600"/>
                  <a:pt x="18164" y="3600"/>
                </a:cubicBezTo>
                <a:cubicBezTo>
                  <a:pt x="17893" y="3600"/>
                  <a:pt x="17673" y="3868"/>
                  <a:pt x="17673" y="4200"/>
                </a:cubicBezTo>
                <a:cubicBezTo>
                  <a:pt x="17673" y="4531"/>
                  <a:pt x="17893" y="4800"/>
                  <a:pt x="18164" y="4800"/>
                </a:cubicBezTo>
                <a:moveTo>
                  <a:pt x="16200" y="4800"/>
                </a:moveTo>
                <a:cubicBezTo>
                  <a:pt x="16471" y="4800"/>
                  <a:pt x="16691" y="4531"/>
                  <a:pt x="16691" y="4200"/>
                </a:cubicBezTo>
                <a:cubicBezTo>
                  <a:pt x="16691" y="3868"/>
                  <a:pt x="16471" y="3600"/>
                  <a:pt x="16200" y="3600"/>
                </a:cubicBezTo>
                <a:cubicBezTo>
                  <a:pt x="15929" y="3600"/>
                  <a:pt x="15709" y="3868"/>
                  <a:pt x="15709" y="4200"/>
                </a:cubicBezTo>
                <a:cubicBezTo>
                  <a:pt x="15709" y="4531"/>
                  <a:pt x="15929" y="4800"/>
                  <a:pt x="16200" y="4800"/>
                </a:cubicBezTo>
                <a:moveTo>
                  <a:pt x="10309" y="4800"/>
                </a:moveTo>
                <a:lnTo>
                  <a:pt x="14236" y="4800"/>
                </a:lnTo>
                <a:cubicBezTo>
                  <a:pt x="14507" y="4800"/>
                  <a:pt x="14727" y="4531"/>
                  <a:pt x="14727" y="4200"/>
                </a:cubicBezTo>
                <a:cubicBezTo>
                  <a:pt x="14727" y="3868"/>
                  <a:pt x="14507" y="3600"/>
                  <a:pt x="14236" y="3600"/>
                </a:cubicBezTo>
                <a:lnTo>
                  <a:pt x="10309" y="3600"/>
                </a:lnTo>
                <a:cubicBezTo>
                  <a:pt x="10038" y="3600"/>
                  <a:pt x="9818" y="3868"/>
                  <a:pt x="9818" y="4200"/>
                </a:cubicBezTo>
                <a:cubicBezTo>
                  <a:pt x="9818" y="4531"/>
                  <a:pt x="10038" y="4800"/>
                  <a:pt x="10309" y="4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9" name="Shape 2599"/>
          <p:cNvSpPr/>
          <p:nvPr/>
        </p:nvSpPr>
        <p:spPr>
          <a:xfrm>
            <a:off x="16766033" y="516253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7855"/>
                </a:moveTo>
                <a:cubicBezTo>
                  <a:pt x="6653" y="7855"/>
                  <a:pt x="6873" y="7635"/>
                  <a:pt x="6873" y="7364"/>
                </a:cubicBezTo>
                <a:cubicBezTo>
                  <a:pt x="6873" y="7092"/>
                  <a:pt x="6653" y="6873"/>
                  <a:pt x="6382" y="6873"/>
                </a:cubicBezTo>
                <a:cubicBezTo>
                  <a:pt x="6111" y="6873"/>
                  <a:pt x="5891" y="7092"/>
                  <a:pt x="5891" y="7364"/>
                </a:cubicBezTo>
                <a:cubicBezTo>
                  <a:pt x="5891" y="7635"/>
                  <a:pt x="6111" y="7855"/>
                  <a:pt x="6382" y="7855"/>
                </a:cubicBezTo>
                <a:moveTo>
                  <a:pt x="6873" y="10800"/>
                </a:moveTo>
                <a:lnTo>
                  <a:pt x="10800" y="10800"/>
                </a:lnTo>
                <a:lnTo>
                  <a:pt x="10800" y="13746"/>
                </a:lnTo>
                <a:lnTo>
                  <a:pt x="6873" y="13746"/>
                </a:lnTo>
                <a:cubicBezTo>
                  <a:pt x="6873" y="13746"/>
                  <a:pt x="6873" y="10800"/>
                  <a:pt x="6873" y="10800"/>
                </a:cubicBezTo>
                <a:close/>
                <a:moveTo>
                  <a:pt x="6382" y="14727"/>
                </a:moveTo>
                <a:lnTo>
                  <a:pt x="11291" y="14727"/>
                </a:lnTo>
                <a:cubicBezTo>
                  <a:pt x="11562" y="14727"/>
                  <a:pt x="11782" y="14508"/>
                  <a:pt x="11782" y="14236"/>
                </a:cubicBezTo>
                <a:lnTo>
                  <a:pt x="11782" y="10309"/>
                </a:lnTo>
                <a:cubicBezTo>
                  <a:pt x="11782" y="10038"/>
                  <a:pt x="11562" y="9818"/>
                  <a:pt x="11291" y="9818"/>
                </a:cubicBezTo>
                <a:lnTo>
                  <a:pt x="6382" y="9818"/>
                </a:lnTo>
                <a:cubicBezTo>
                  <a:pt x="6111" y="9818"/>
                  <a:pt x="5891" y="10038"/>
                  <a:pt x="5891" y="10309"/>
                </a:cubicBezTo>
                <a:lnTo>
                  <a:pt x="5891" y="14236"/>
                </a:lnTo>
                <a:cubicBezTo>
                  <a:pt x="5891" y="14508"/>
                  <a:pt x="6111" y="14727"/>
                  <a:pt x="6382" y="14727"/>
                </a:cubicBezTo>
                <a:moveTo>
                  <a:pt x="8345" y="7855"/>
                </a:moveTo>
                <a:cubicBezTo>
                  <a:pt x="8616" y="7855"/>
                  <a:pt x="8836" y="7635"/>
                  <a:pt x="8836" y="7364"/>
                </a:cubicBezTo>
                <a:cubicBezTo>
                  <a:pt x="8836" y="7092"/>
                  <a:pt x="8616" y="6873"/>
                  <a:pt x="8345" y="6873"/>
                </a:cubicBezTo>
                <a:cubicBezTo>
                  <a:pt x="8075" y="6873"/>
                  <a:pt x="7855" y="7092"/>
                  <a:pt x="7855" y="7364"/>
                </a:cubicBezTo>
                <a:cubicBezTo>
                  <a:pt x="7855" y="7635"/>
                  <a:pt x="8075" y="7855"/>
                  <a:pt x="8345" y="7855"/>
                </a:cubicBezTo>
                <a:moveTo>
                  <a:pt x="20618" y="20618"/>
                </a:move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7855"/>
                </a:lnTo>
                <a:lnTo>
                  <a:pt x="2945" y="7855"/>
                </a:lnTo>
                <a:lnTo>
                  <a:pt x="2945" y="18164"/>
                </a:lnTo>
                <a:cubicBezTo>
                  <a:pt x="2945" y="18435"/>
                  <a:pt x="3166" y="18655"/>
                  <a:pt x="3436" y="18655"/>
                </a:cubicBezTo>
                <a:cubicBezTo>
                  <a:pt x="3707" y="18655"/>
                  <a:pt x="3927" y="18435"/>
                  <a:pt x="3927" y="18164"/>
                </a:cubicBezTo>
                <a:lnTo>
                  <a:pt x="3927" y="4909"/>
                </a:lnTo>
                <a:lnTo>
                  <a:pt x="20618" y="4909"/>
                </a:lnTo>
                <a:cubicBezTo>
                  <a:pt x="20618" y="4909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3927" y="3927"/>
                </a:lnTo>
                <a:cubicBezTo>
                  <a:pt x="3385" y="3927"/>
                  <a:pt x="2945" y="4367"/>
                  <a:pt x="2945" y="4909"/>
                </a:cubicBezTo>
                <a:lnTo>
                  <a:pt x="2945" y="6873"/>
                </a:lnTo>
                <a:lnTo>
                  <a:pt x="982" y="6873"/>
                </a:lnTo>
                <a:cubicBezTo>
                  <a:pt x="440" y="6873"/>
                  <a:pt x="0" y="7313"/>
                  <a:pt x="0" y="7855"/>
                </a:cubicBezTo>
                <a:lnTo>
                  <a:pt x="0" y="18655"/>
                </a:lnTo>
                <a:cubicBezTo>
                  <a:pt x="0" y="20282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  <a:moveTo>
                  <a:pt x="6382" y="16691"/>
                </a:moveTo>
                <a:lnTo>
                  <a:pt x="18164" y="16691"/>
                </a:lnTo>
                <a:cubicBezTo>
                  <a:pt x="18434" y="16691"/>
                  <a:pt x="18655" y="16472"/>
                  <a:pt x="18655" y="16200"/>
                </a:cubicBezTo>
                <a:cubicBezTo>
                  <a:pt x="18655" y="15929"/>
                  <a:pt x="18434" y="15710"/>
                  <a:pt x="18164" y="15710"/>
                </a:cubicBezTo>
                <a:lnTo>
                  <a:pt x="6382" y="15710"/>
                </a:lnTo>
                <a:cubicBezTo>
                  <a:pt x="6111" y="15710"/>
                  <a:pt x="5891" y="15929"/>
                  <a:pt x="5891" y="16200"/>
                </a:cubicBezTo>
                <a:cubicBezTo>
                  <a:pt x="5891" y="16472"/>
                  <a:pt x="6111" y="16691"/>
                  <a:pt x="6382" y="16691"/>
                </a:cubicBezTo>
                <a:moveTo>
                  <a:pt x="10309" y="7855"/>
                </a:moveTo>
                <a:lnTo>
                  <a:pt x="14236" y="7855"/>
                </a:lnTo>
                <a:cubicBezTo>
                  <a:pt x="14507" y="7855"/>
                  <a:pt x="14727" y="7635"/>
                  <a:pt x="14727" y="7364"/>
                </a:cubicBezTo>
                <a:cubicBezTo>
                  <a:pt x="14727" y="7092"/>
                  <a:pt x="14507" y="6873"/>
                  <a:pt x="14236" y="6873"/>
                </a:cubicBezTo>
                <a:lnTo>
                  <a:pt x="10309" y="6873"/>
                </a:lnTo>
                <a:cubicBezTo>
                  <a:pt x="10038" y="6873"/>
                  <a:pt x="9818" y="7092"/>
                  <a:pt x="9818" y="7364"/>
                </a:cubicBezTo>
                <a:cubicBezTo>
                  <a:pt x="9818" y="7635"/>
                  <a:pt x="10038" y="7855"/>
                  <a:pt x="10309" y="7855"/>
                </a:cubicBezTo>
                <a:moveTo>
                  <a:pt x="6382" y="18655"/>
                </a:moveTo>
                <a:lnTo>
                  <a:pt x="18164" y="18655"/>
                </a:lnTo>
                <a:cubicBezTo>
                  <a:pt x="18434" y="18655"/>
                  <a:pt x="18655" y="18435"/>
                  <a:pt x="18655" y="18164"/>
                </a:cubicBezTo>
                <a:cubicBezTo>
                  <a:pt x="18655" y="17893"/>
                  <a:pt x="18434" y="17673"/>
                  <a:pt x="18164" y="17673"/>
                </a:cubicBezTo>
                <a:lnTo>
                  <a:pt x="6382" y="17673"/>
                </a:lnTo>
                <a:cubicBezTo>
                  <a:pt x="6111" y="17673"/>
                  <a:pt x="5891" y="17893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moveTo>
                  <a:pt x="4909" y="2945"/>
                </a:moveTo>
                <a:lnTo>
                  <a:pt x="20127" y="2945"/>
                </a:lnTo>
                <a:cubicBezTo>
                  <a:pt x="20398" y="2945"/>
                  <a:pt x="20618" y="2726"/>
                  <a:pt x="20618" y="2455"/>
                </a:cubicBezTo>
                <a:cubicBezTo>
                  <a:pt x="20618" y="2184"/>
                  <a:pt x="20398" y="1964"/>
                  <a:pt x="20127" y="1964"/>
                </a:cubicBezTo>
                <a:lnTo>
                  <a:pt x="4909" y="1964"/>
                </a:lnTo>
                <a:cubicBezTo>
                  <a:pt x="4638" y="1964"/>
                  <a:pt x="4418" y="2184"/>
                  <a:pt x="4418" y="2455"/>
                </a:cubicBezTo>
                <a:cubicBezTo>
                  <a:pt x="4418" y="2726"/>
                  <a:pt x="4638" y="2945"/>
                  <a:pt x="4909" y="2945"/>
                </a:cubicBezTo>
                <a:moveTo>
                  <a:pt x="18164" y="11783"/>
                </a:moveTo>
                <a:lnTo>
                  <a:pt x="14236" y="11783"/>
                </a:lnTo>
                <a:cubicBezTo>
                  <a:pt x="13966" y="11783"/>
                  <a:pt x="13745" y="12001"/>
                  <a:pt x="13745" y="12273"/>
                </a:cubicBezTo>
                <a:cubicBezTo>
                  <a:pt x="13745" y="12544"/>
                  <a:pt x="13966" y="12764"/>
                  <a:pt x="14236" y="12764"/>
                </a:cubicBezTo>
                <a:lnTo>
                  <a:pt x="18164" y="12764"/>
                </a:lnTo>
                <a:cubicBezTo>
                  <a:pt x="18434" y="12764"/>
                  <a:pt x="18655" y="12544"/>
                  <a:pt x="18655" y="12273"/>
                </a:cubicBezTo>
                <a:cubicBezTo>
                  <a:pt x="18655" y="12001"/>
                  <a:pt x="18434" y="11783"/>
                  <a:pt x="18164" y="11783"/>
                </a:cubicBezTo>
                <a:moveTo>
                  <a:pt x="6382" y="982"/>
                </a:moveTo>
                <a:lnTo>
                  <a:pt x="19145" y="982"/>
                </a:lnTo>
                <a:cubicBezTo>
                  <a:pt x="19416" y="982"/>
                  <a:pt x="19636" y="762"/>
                  <a:pt x="19636" y="491"/>
                </a:cubicBezTo>
                <a:cubicBezTo>
                  <a:pt x="19636" y="220"/>
                  <a:pt x="19416" y="0"/>
                  <a:pt x="19145" y="0"/>
                </a:cubicBezTo>
                <a:lnTo>
                  <a:pt x="6382" y="0"/>
                </a:lnTo>
                <a:cubicBezTo>
                  <a:pt x="6111" y="0"/>
                  <a:pt x="5891" y="220"/>
                  <a:pt x="5891" y="491"/>
                </a:cubicBezTo>
                <a:cubicBezTo>
                  <a:pt x="5891" y="762"/>
                  <a:pt x="6111" y="982"/>
                  <a:pt x="6382" y="982"/>
                </a:cubicBezTo>
                <a:moveTo>
                  <a:pt x="18164" y="13746"/>
                </a:moveTo>
                <a:lnTo>
                  <a:pt x="14236" y="13746"/>
                </a:lnTo>
                <a:cubicBezTo>
                  <a:pt x="13966" y="13746"/>
                  <a:pt x="13745" y="13965"/>
                  <a:pt x="13745" y="14236"/>
                </a:cubicBezTo>
                <a:cubicBezTo>
                  <a:pt x="13745" y="14508"/>
                  <a:pt x="13966" y="14727"/>
                  <a:pt x="14236" y="14727"/>
                </a:cubicBezTo>
                <a:lnTo>
                  <a:pt x="18164" y="14727"/>
                </a:lnTo>
                <a:cubicBezTo>
                  <a:pt x="18434" y="14727"/>
                  <a:pt x="18655" y="14508"/>
                  <a:pt x="18655" y="14236"/>
                </a:cubicBezTo>
                <a:cubicBezTo>
                  <a:pt x="18655" y="13965"/>
                  <a:pt x="18434" y="13746"/>
                  <a:pt x="18164" y="13746"/>
                </a:cubicBezTo>
                <a:moveTo>
                  <a:pt x="16200" y="7855"/>
                </a:moveTo>
                <a:cubicBezTo>
                  <a:pt x="16471" y="7855"/>
                  <a:pt x="16691" y="7635"/>
                  <a:pt x="16691" y="7364"/>
                </a:cubicBezTo>
                <a:cubicBezTo>
                  <a:pt x="16691" y="7092"/>
                  <a:pt x="16471" y="6873"/>
                  <a:pt x="16200" y="6873"/>
                </a:cubicBezTo>
                <a:cubicBezTo>
                  <a:pt x="15929" y="6873"/>
                  <a:pt x="15709" y="7092"/>
                  <a:pt x="15709" y="7364"/>
                </a:cubicBezTo>
                <a:cubicBezTo>
                  <a:pt x="15709" y="7635"/>
                  <a:pt x="15929" y="7855"/>
                  <a:pt x="16200" y="7855"/>
                </a:cubicBezTo>
                <a:moveTo>
                  <a:pt x="18164" y="7855"/>
                </a:moveTo>
                <a:cubicBezTo>
                  <a:pt x="18434" y="7855"/>
                  <a:pt x="18655" y="7635"/>
                  <a:pt x="18655" y="7364"/>
                </a:cubicBezTo>
                <a:cubicBezTo>
                  <a:pt x="18655" y="7092"/>
                  <a:pt x="18434" y="6873"/>
                  <a:pt x="18164" y="6873"/>
                </a:cubicBezTo>
                <a:cubicBezTo>
                  <a:pt x="17893" y="6873"/>
                  <a:pt x="17673" y="7092"/>
                  <a:pt x="17673" y="7364"/>
                </a:cubicBezTo>
                <a:cubicBezTo>
                  <a:pt x="17673" y="7635"/>
                  <a:pt x="17893" y="7855"/>
                  <a:pt x="18164" y="7855"/>
                </a:cubicBezTo>
                <a:moveTo>
                  <a:pt x="18164" y="9818"/>
                </a:moveTo>
                <a:lnTo>
                  <a:pt x="14236" y="9818"/>
                </a:lnTo>
                <a:cubicBezTo>
                  <a:pt x="13966" y="9818"/>
                  <a:pt x="13745" y="10038"/>
                  <a:pt x="13745" y="10309"/>
                </a:cubicBezTo>
                <a:cubicBezTo>
                  <a:pt x="13745" y="10581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81"/>
                  <a:pt x="18655" y="10309"/>
                </a:cubicBezTo>
                <a:cubicBezTo>
                  <a:pt x="18655" y="10038"/>
                  <a:pt x="18434" y="9818"/>
                  <a:pt x="18164" y="98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0" name="Shape 2600"/>
          <p:cNvSpPr/>
          <p:nvPr/>
        </p:nvSpPr>
        <p:spPr>
          <a:xfrm>
            <a:off x="17832556" y="516253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11291" y="10309"/>
                </a:lnTo>
                <a:lnTo>
                  <a:pt x="11291" y="5401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1"/>
                </a:cubicBezTo>
                <a:lnTo>
                  <a:pt x="10309" y="10309"/>
                </a:ln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0309" y="11292"/>
                </a:lnTo>
                <a:lnTo>
                  <a:pt x="10309" y="16200"/>
                </a:lnTo>
                <a:cubicBezTo>
                  <a:pt x="10309" y="16472"/>
                  <a:pt x="10529" y="16691"/>
                  <a:pt x="10800" y="16691"/>
                </a:cubicBezTo>
                <a:cubicBezTo>
                  <a:pt x="11071" y="16691"/>
                  <a:pt x="11291" y="16472"/>
                  <a:pt x="11291" y="16200"/>
                </a:cubicBezTo>
                <a:lnTo>
                  <a:pt x="11291" y="11292"/>
                </a:ln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1" name="Shape 2601"/>
          <p:cNvSpPr/>
          <p:nvPr/>
        </p:nvSpPr>
        <p:spPr>
          <a:xfrm>
            <a:off x="18899079" y="516253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2" name="Shape 2602"/>
          <p:cNvSpPr/>
          <p:nvPr/>
        </p:nvSpPr>
        <p:spPr>
          <a:xfrm>
            <a:off x="19965600" y="5213320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6001"/>
                </a:moveTo>
                <a:lnTo>
                  <a:pt x="8345" y="6001"/>
                </a:lnTo>
                <a:cubicBezTo>
                  <a:pt x="8617" y="6001"/>
                  <a:pt x="8836" y="5732"/>
                  <a:pt x="8836" y="5400"/>
                </a:cubicBezTo>
                <a:cubicBezTo>
                  <a:pt x="8836" y="5069"/>
                  <a:pt x="8617" y="4800"/>
                  <a:pt x="8345" y="4800"/>
                </a:cubicBezTo>
                <a:lnTo>
                  <a:pt x="5400" y="4800"/>
                </a:lnTo>
                <a:cubicBezTo>
                  <a:pt x="5129" y="4800"/>
                  <a:pt x="4909" y="5069"/>
                  <a:pt x="4909" y="5400"/>
                </a:cubicBezTo>
                <a:cubicBezTo>
                  <a:pt x="4909" y="5732"/>
                  <a:pt x="5129" y="6001"/>
                  <a:pt x="5400" y="6001"/>
                </a:cubicBezTo>
                <a:moveTo>
                  <a:pt x="20618" y="20400"/>
                </a:moveTo>
                <a:lnTo>
                  <a:pt x="18655" y="20400"/>
                </a:lnTo>
                <a:lnTo>
                  <a:pt x="18655" y="18000"/>
                </a:lnTo>
                <a:cubicBezTo>
                  <a:pt x="18926" y="18000"/>
                  <a:pt x="19145" y="17732"/>
                  <a:pt x="19145" y="17400"/>
                </a:cubicBezTo>
                <a:cubicBezTo>
                  <a:pt x="19145" y="17069"/>
                  <a:pt x="18926" y="16801"/>
                  <a:pt x="18655" y="16801"/>
                </a:cubicBezTo>
                <a:lnTo>
                  <a:pt x="18655" y="3601"/>
                </a:lnTo>
                <a:lnTo>
                  <a:pt x="20618" y="3601"/>
                </a:lnTo>
                <a:cubicBezTo>
                  <a:pt x="20618" y="3601"/>
                  <a:pt x="20618" y="20400"/>
                  <a:pt x="20618" y="20400"/>
                </a:cubicBezTo>
                <a:close/>
                <a:moveTo>
                  <a:pt x="17673" y="16801"/>
                </a:moveTo>
                <a:cubicBezTo>
                  <a:pt x="17401" y="16801"/>
                  <a:pt x="17182" y="17069"/>
                  <a:pt x="17182" y="17400"/>
                </a:cubicBezTo>
                <a:cubicBezTo>
                  <a:pt x="17182" y="17732"/>
                  <a:pt x="17401" y="18000"/>
                  <a:pt x="17673" y="18000"/>
                </a:cubicBezTo>
                <a:lnTo>
                  <a:pt x="17673" y="20400"/>
                </a:lnTo>
                <a:lnTo>
                  <a:pt x="3927" y="20400"/>
                </a:lnTo>
                <a:lnTo>
                  <a:pt x="3927" y="18000"/>
                </a:lnTo>
                <a:cubicBezTo>
                  <a:pt x="4199" y="18000"/>
                  <a:pt x="4418" y="17732"/>
                  <a:pt x="4418" y="17400"/>
                </a:cubicBezTo>
                <a:cubicBezTo>
                  <a:pt x="4418" y="17069"/>
                  <a:pt x="4199" y="16801"/>
                  <a:pt x="3927" y="16801"/>
                </a:cubicBezTo>
                <a:lnTo>
                  <a:pt x="3927" y="3601"/>
                </a:lnTo>
                <a:lnTo>
                  <a:pt x="17673" y="3601"/>
                </a:lnTo>
                <a:cubicBezTo>
                  <a:pt x="17673" y="3601"/>
                  <a:pt x="17673" y="16801"/>
                  <a:pt x="17673" y="16801"/>
                </a:cubicBezTo>
                <a:close/>
                <a:moveTo>
                  <a:pt x="2945" y="16801"/>
                </a:moveTo>
                <a:cubicBezTo>
                  <a:pt x="2674" y="16801"/>
                  <a:pt x="2455" y="17069"/>
                  <a:pt x="2455" y="17400"/>
                </a:cubicBezTo>
                <a:cubicBezTo>
                  <a:pt x="2455" y="17732"/>
                  <a:pt x="2674" y="18000"/>
                  <a:pt x="2945" y="18000"/>
                </a:cubicBezTo>
                <a:lnTo>
                  <a:pt x="2945" y="20400"/>
                </a:lnTo>
                <a:lnTo>
                  <a:pt x="982" y="20400"/>
                </a:lnTo>
                <a:lnTo>
                  <a:pt x="982" y="3601"/>
                </a:lnTo>
                <a:lnTo>
                  <a:pt x="2945" y="3601"/>
                </a:lnTo>
                <a:cubicBezTo>
                  <a:pt x="2945" y="3601"/>
                  <a:pt x="2945" y="16801"/>
                  <a:pt x="2945" y="16801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39" y="2400"/>
                  <a:pt x="0" y="2938"/>
                  <a:pt x="0" y="3601"/>
                </a:cubicBezTo>
                <a:lnTo>
                  <a:pt x="0" y="20400"/>
                </a:lnTo>
                <a:cubicBezTo>
                  <a:pt x="0" y="2106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3"/>
                  <a:pt x="21600" y="204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  <a:moveTo>
                  <a:pt x="5400" y="8400"/>
                </a:moveTo>
                <a:lnTo>
                  <a:pt x="6382" y="8400"/>
                </a:lnTo>
                <a:cubicBezTo>
                  <a:pt x="6653" y="8400"/>
                  <a:pt x="6873" y="8132"/>
                  <a:pt x="6873" y="7800"/>
                </a:cubicBezTo>
                <a:cubicBezTo>
                  <a:pt x="6873" y="7469"/>
                  <a:pt x="6653" y="7200"/>
                  <a:pt x="6382" y="7200"/>
                </a:cubicBez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0"/>
                  <a:pt x="5400" y="84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3" name="Shape 2603"/>
          <p:cNvSpPr/>
          <p:nvPr/>
        </p:nvSpPr>
        <p:spPr>
          <a:xfrm>
            <a:off x="21032122" y="5187926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520"/>
                </a:moveTo>
                <a:lnTo>
                  <a:pt x="14727" y="20520"/>
                </a:lnTo>
                <a:lnTo>
                  <a:pt x="14727" y="18360"/>
                </a:lnTo>
                <a:cubicBezTo>
                  <a:pt x="14999" y="18360"/>
                  <a:pt x="15218" y="18119"/>
                  <a:pt x="15218" y="17820"/>
                </a:cubicBezTo>
                <a:cubicBezTo>
                  <a:pt x="15218" y="17522"/>
                  <a:pt x="14999" y="17280"/>
                  <a:pt x="14727" y="17280"/>
                </a:cubicBezTo>
                <a:lnTo>
                  <a:pt x="14727" y="7560"/>
                </a:lnTo>
                <a:lnTo>
                  <a:pt x="16691" y="7560"/>
                </a:lnTo>
                <a:cubicBezTo>
                  <a:pt x="16691" y="7560"/>
                  <a:pt x="16691" y="20520"/>
                  <a:pt x="16691" y="20520"/>
                </a:cubicBezTo>
                <a:close/>
                <a:moveTo>
                  <a:pt x="13745" y="17280"/>
                </a:moveTo>
                <a:cubicBezTo>
                  <a:pt x="13474" y="17280"/>
                  <a:pt x="13255" y="17522"/>
                  <a:pt x="13255" y="17820"/>
                </a:cubicBezTo>
                <a:cubicBezTo>
                  <a:pt x="13255" y="18119"/>
                  <a:pt x="13474" y="18360"/>
                  <a:pt x="13745" y="18360"/>
                </a:cubicBezTo>
                <a:lnTo>
                  <a:pt x="13745" y="20520"/>
                </a:lnTo>
                <a:lnTo>
                  <a:pt x="3927" y="20520"/>
                </a:lnTo>
                <a:lnTo>
                  <a:pt x="3927" y="18360"/>
                </a:lnTo>
                <a:cubicBezTo>
                  <a:pt x="4199" y="18360"/>
                  <a:pt x="4418" y="18119"/>
                  <a:pt x="4418" y="17820"/>
                </a:cubicBezTo>
                <a:cubicBezTo>
                  <a:pt x="4418" y="17522"/>
                  <a:pt x="4199" y="17280"/>
                  <a:pt x="3927" y="17280"/>
                </a:cubicBezTo>
                <a:lnTo>
                  <a:pt x="3927" y="7560"/>
                </a:lnTo>
                <a:lnTo>
                  <a:pt x="13745" y="7560"/>
                </a:lnTo>
                <a:cubicBezTo>
                  <a:pt x="13745" y="7560"/>
                  <a:pt x="13745" y="17280"/>
                  <a:pt x="13745" y="17280"/>
                </a:cubicBezTo>
                <a:close/>
                <a:moveTo>
                  <a:pt x="2945" y="17280"/>
                </a:moveTo>
                <a:cubicBezTo>
                  <a:pt x="2674" y="17280"/>
                  <a:pt x="2455" y="17522"/>
                  <a:pt x="2455" y="17820"/>
                </a:cubicBezTo>
                <a:cubicBezTo>
                  <a:pt x="2455" y="18119"/>
                  <a:pt x="2674" y="18360"/>
                  <a:pt x="2945" y="18360"/>
                </a:cubicBezTo>
                <a:lnTo>
                  <a:pt x="2945" y="20520"/>
                </a:lnTo>
                <a:lnTo>
                  <a:pt x="982" y="20520"/>
                </a:lnTo>
                <a:lnTo>
                  <a:pt x="982" y="7560"/>
                </a:lnTo>
                <a:lnTo>
                  <a:pt x="2945" y="7560"/>
                </a:lnTo>
                <a:cubicBezTo>
                  <a:pt x="2945" y="7560"/>
                  <a:pt x="2945" y="17280"/>
                  <a:pt x="2945" y="17280"/>
                </a:cubicBezTo>
                <a:close/>
                <a:moveTo>
                  <a:pt x="7855" y="5400"/>
                </a:moveTo>
                <a:lnTo>
                  <a:pt x="9818" y="5400"/>
                </a:lnTo>
                <a:cubicBezTo>
                  <a:pt x="10360" y="5400"/>
                  <a:pt x="10800" y="5884"/>
                  <a:pt x="10800" y="6481"/>
                </a:cubicBezTo>
                <a:lnTo>
                  <a:pt x="6873" y="6481"/>
                </a:lnTo>
                <a:cubicBezTo>
                  <a:pt x="6873" y="5884"/>
                  <a:pt x="7313" y="5400"/>
                  <a:pt x="7855" y="5400"/>
                </a:cubicBezTo>
                <a:moveTo>
                  <a:pt x="16691" y="6481"/>
                </a:moveTo>
                <a:lnTo>
                  <a:pt x="11782" y="6481"/>
                </a:lnTo>
                <a:cubicBezTo>
                  <a:pt x="11782" y="5287"/>
                  <a:pt x="10903" y="4321"/>
                  <a:pt x="9818" y="4321"/>
                </a:cubicBezTo>
                <a:lnTo>
                  <a:pt x="7855" y="4321"/>
                </a:lnTo>
                <a:cubicBezTo>
                  <a:pt x="6770" y="4321"/>
                  <a:pt x="5891" y="5287"/>
                  <a:pt x="5891" y="6481"/>
                </a:cubicBezTo>
                <a:lnTo>
                  <a:pt x="982" y="6481"/>
                </a:lnTo>
                <a:cubicBezTo>
                  <a:pt x="440" y="6481"/>
                  <a:pt x="0" y="6964"/>
                  <a:pt x="0" y="7560"/>
                </a:cubicBezTo>
                <a:lnTo>
                  <a:pt x="0" y="20520"/>
                </a:lnTo>
                <a:cubicBezTo>
                  <a:pt x="0" y="21116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116"/>
                  <a:pt x="17673" y="20520"/>
                </a:cubicBezTo>
                <a:lnTo>
                  <a:pt x="17673" y="7560"/>
                </a:lnTo>
                <a:cubicBezTo>
                  <a:pt x="17673" y="6964"/>
                  <a:pt x="17233" y="6481"/>
                  <a:pt x="16691" y="6481"/>
                </a:cubicBezTo>
                <a:moveTo>
                  <a:pt x="10800" y="2161"/>
                </a:moveTo>
                <a:cubicBezTo>
                  <a:pt x="10800" y="1564"/>
                  <a:pt x="11240" y="1080"/>
                  <a:pt x="11782" y="1080"/>
                </a:cubicBezTo>
                <a:lnTo>
                  <a:pt x="13745" y="1080"/>
                </a:lnTo>
                <a:cubicBezTo>
                  <a:pt x="14287" y="1080"/>
                  <a:pt x="14727" y="1564"/>
                  <a:pt x="14727" y="2161"/>
                </a:cubicBezTo>
                <a:cubicBezTo>
                  <a:pt x="14727" y="2161"/>
                  <a:pt x="10800" y="2161"/>
                  <a:pt x="10800" y="2161"/>
                </a:cubicBezTo>
                <a:close/>
                <a:moveTo>
                  <a:pt x="20618" y="2161"/>
                </a:moveTo>
                <a:lnTo>
                  <a:pt x="15709" y="2161"/>
                </a:lnTo>
                <a:cubicBezTo>
                  <a:pt x="15709" y="967"/>
                  <a:pt x="14830" y="0"/>
                  <a:pt x="13745" y="0"/>
                </a:cubicBezTo>
                <a:lnTo>
                  <a:pt x="11782" y="0"/>
                </a:lnTo>
                <a:cubicBezTo>
                  <a:pt x="10697" y="0"/>
                  <a:pt x="9818" y="967"/>
                  <a:pt x="9818" y="2161"/>
                </a:cubicBezTo>
                <a:lnTo>
                  <a:pt x="4909" y="2161"/>
                </a:lnTo>
                <a:cubicBezTo>
                  <a:pt x="4367" y="2161"/>
                  <a:pt x="3927" y="2644"/>
                  <a:pt x="3927" y="3240"/>
                </a:cubicBezTo>
                <a:lnTo>
                  <a:pt x="3927" y="4860"/>
                </a:lnTo>
                <a:cubicBezTo>
                  <a:pt x="3927" y="5159"/>
                  <a:pt x="4147" y="5400"/>
                  <a:pt x="4418" y="5400"/>
                </a:cubicBezTo>
                <a:cubicBezTo>
                  <a:pt x="4690" y="5400"/>
                  <a:pt x="4909" y="5159"/>
                  <a:pt x="4909" y="4860"/>
                </a:cubicBezTo>
                <a:lnTo>
                  <a:pt x="4909" y="3240"/>
                </a:lnTo>
                <a:lnTo>
                  <a:pt x="20618" y="3240"/>
                </a:lnTo>
                <a:lnTo>
                  <a:pt x="20618" y="16201"/>
                </a:lnTo>
                <a:lnTo>
                  <a:pt x="19145" y="16201"/>
                </a:lnTo>
                <a:cubicBezTo>
                  <a:pt x="18874" y="16201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20618" y="17280"/>
                </a:lnTo>
                <a:cubicBezTo>
                  <a:pt x="21160" y="17280"/>
                  <a:pt x="21600" y="16796"/>
                  <a:pt x="21600" y="16201"/>
                </a:cubicBezTo>
                <a:lnTo>
                  <a:pt x="21600" y="3240"/>
                </a:lnTo>
                <a:cubicBezTo>
                  <a:pt x="21600" y="2644"/>
                  <a:pt x="21160" y="2161"/>
                  <a:pt x="20618" y="2161"/>
                </a:cubicBezTo>
                <a:moveTo>
                  <a:pt x="5400" y="11881"/>
                </a:moveTo>
                <a:lnTo>
                  <a:pt x="6382" y="11881"/>
                </a:lnTo>
                <a:cubicBezTo>
                  <a:pt x="6653" y="11881"/>
                  <a:pt x="6873" y="11639"/>
                  <a:pt x="6873" y="11341"/>
                </a:cubicBezTo>
                <a:cubicBezTo>
                  <a:pt x="6873" y="11042"/>
                  <a:pt x="6653" y="10800"/>
                  <a:pt x="6382" y="10800"/>
                </a:cubicBezTo>
                <a:lnTo>
                  <a:pt x="5400" y="10800"/>
                </a:lnTo>
                <a:cubicBezTo>
                  <a:pt x="5129" y="10800"/>
                  <a:pt x="4909" y="11042"/>
                  <a:pt x="4909" y="11341"/>
                </a:cubicBezTo>
                <a:cubicBezTo>
                  <a:pt x="4909" y="11639"/>
                  <a:pt x="5129" y="11881"/>
                  <a:pt x="5400" y="11881"/>
                </a:cubicBezTo>
                <a:moveTo>
                  <a:pt x="5400" y="9720"/>
                </a:moveTo>
                <a:lnTo>
                  <a:pt x="8345" y="9720"/>
                </a:lnTo>
                <a:cubicBezTo>
                  <a:pt x="8617" y="9720"/>
                  <a:pt x="8836" y="9479"/>
                  <a:pt x="8836" y="9181"/>
                </a:cubicBezTo>
                <a:cubicBezTo>
                  <a:pt x="8836" y="8882"/>
                  <a:pt x="8617" y="8640"/>
                  <a:pt x="8345" y="8640"/>
                </a:cubicBezTo>
                <a:lnTo>
                  <a:pt x="5400" y="8640"/>
                </a:lnTo>
                <a:cubicBezTo>
                  <a:pt x="5129" y="8640"/>
                  <a:pt x="4909" y="8882"/>
                  <a:pt x="4909" y="9181"/>
                </a:cubicBezTo>
                <a:cubicBezTo>
                  <a:pt x="4909" y="9479"/>
                  <a:pt x="5129" y="9720"/>
                  <a:pt x="5400" y="972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4" name="Shape 2604"/>
          <p:cNvSpPr/>
          <p:nvPr/>
        </p:nvSpPr>
        <p:spPr>
          <a:xfrm>
            <a:off x="22098644" y="5213320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17673" y="9600"/>
                </a:lnTo>
                <a:lnTo>
                  <a:pt x="17673" y="8400"/>
                </a:lnTo>
                <a:cubicBezTo>
                  <a:pt x="17673" y="7738"/>
                  <a:pt x="17233" y="7200"/>
                  <a:pt x="16691" y="7200"/>
                </a:cubicBezTo>
                <a:lnTo>
                  <a:pt x="14727" y="7200"/>
                </a:lnTo>
                <a:cubicBezTo>
                  <a:pt x="14186" y="7200"/>
                  <a:pt x="13745" y="7738"/>
                  <a:pt x="13745" y="8400"/>
                </a:cubicBezTo>
                <a:lnTo>
                  <a:pt x="13745" y="9600"/>
                </a:lnTo>
                <a:lnTo>
                  <a:pt x="7855" y="9600"/>
                </a:lnTo>
                <a:lnTo>
                  <a:pt x="7855" y="8400"/>
                </a:lnTo>
                <a:cubicBezTo>
                  <a:pt x="7855" y="7738"/>
                  <a:pt x="7414" y="7200"/>
                  <a:pt x="6873" y="7200"/>
                </a:cubicBezTo>
                <a:lnTo>
                  <a:pt x="4909" y="7200"/>
                </a:lnTo>
                <a:cubicBezTo>
                  <a:pt x="4367" y="7200"/>
                  <a:pt x="3927" y="7738"/>
                  <a:pt x="3927" y="8400"/>
                </a:cubicBezTo>
                <a:lnTo>
                  <a:pt x="3927" y="9600"/>
                </a:lnTo>
                <a:lnTo>
                  <a:pt x="982" y="9600"/>
                </a:lnTo>
                <a:lnTo>
                  <a:pt x="982" y="3601"/>
                </a:lnTo>
                <a:lnTo>
                  <a:pt x="20618" y="3601"/>
                </a:lnTo>
                <a:cubicBezTo>
                  <a:pt x="20618" y="3601"/>
                  <a:pt x="20618" y="9600"/>
                  <a:pt x="20618" y="9600"/>
                </a:cubicBezTo>
                <a:close/>
                <a:moveTo>
                  <a:pt x="14727" y="8400"/>
                </a:moveTo>
                <a:lnTo>
                  <a:pt x="16691" y="8400"/>
                </a:lnTo>
                <a:lnTo>
                  <a:pt x="16691" y="12001"/>
                </a:lnTo>
                <a:lnTo>
                  <a:pt x="14727" y="12001"/>
                </a:lnTo>
                <a:cubicBezTo>
                  <a:pt x="14727" y="12001"/>
                  <a:pt x="14727" y="8400"/>
                  <a:pt x="14727" y="8400"/>
                </a:cubicBezTo>
                <a:close/>
                <a:moveTo>
                  <a:pt x="4909" y="8400"/>
                </a:moveTo>
                <a:lnTo>
                  <a:pt x="6873" y="8400"/>
                </a:lnTo>
                <a:lnTo>
                  <a:pt x="6873" y="12001"/>
                </a:lnTo>
                <a:lnTo>
                  <a:pt x="4909" y="12001"/>
                </a:lnTo>
                <a:cubicBezTo>
                  <a:pt x="4909" y="12001"/>
                  <a:pt x="4909" y="8400"/>
                  <a:pt x="4909" y="8400"/>
                </a:cubicBezTo>
                <a:close/>
                <a:moveTo>
                  <a:pt x="19636" y="20400"/>
                </a:moveTo>
                <a:lnTo>
                  <a:pt x="1964" y="20400"/>
                </a:lnTo>
                <a:lnTo>
                  <a:pt x="1964" y="10800"/>
                </a:lnTo>
                <a:lnTo>
                  <a:pt x="3927" y="10800"/>
                </a:lnTo>
                <a:lnTo>
                  <a:pt x="3927" y="12001"/>
                </a:lnTo>
                <a:cubicBezTo>
                  <a:pt x="3927" y="12662"/>
                  <a:pt x="4367" y="13200"/>
                  <a:pt x="4909" y="13200"/>
                </a:cubicBezTo>
                <a:lnTo>
                  <a:pt x="6873" y="13200"/>
                </a:lnTo>
                <a:cubicBezTo>
                  <a:pt x="7414" y="13200"/>
                  <a:pt x="7855" y="12662"/>
                  <a:pt x="7855" y="12001"/>
                </a:cubicBezTo>
                <a:lnTo>
                  <a:pt x="7855" y="10800"/>
                </a:lnTo>
                <a:lnTo>
                  <a:pt x="13745" y="10800"/>
                </a:lnTo>
                <a:lnTo>
                  <a:pt x="13745" y="12001"/>
                </a:lnTo>
                <a:cubicBezTo>
                  <a:pt x="13745" y="12662"/>
                  <a:pt x="14186" y="13200"/>
                  <a:pt x="14727" y="13200"/>
                </a:cubicBezTo>
                <a:lnTo>
                  <a:pt x="16691" y="13200"/>
                </a:lnTo>
                <a:cubicBezTo>
                  <a:pt x="17233" y="13200"/>
                  <a:pt x="17673" y="12662"/>
                  <a:pt x="17673" y="12001"/>
                </a:cubicBezTo>
                <a:lnTo>
                  <a:pt x="17673" y="10800"/>
                </a:lnTo>
                <a:lnTo>
                  <a:pt x="19636" y="10800"/>
                </a:lnTo>
                <a:cubicBezTo>
                  <a:pt x="19636" y="10800"/>
                  <a:pt x="19636" y="20400"/>
                  <a:pt x="19636" y="20400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40" y="2400"/>
                  <a:pt x="0" y="2938"/>
                  <a:pt x="0" y="3601"/>
                </a:cubicBezTo>
                <a:lnTo>
                  <a:pt x="0" y="9600"/>
                </a:lnTo>
                <a:cubicBezTo>
                  <a:pt x="0" y="10262"/>
                  <a:pt x="440" y="10800"/>
                  <a:pt x="982" y="10800"/>
                </a:cubicBezTo>
                <a:lnTo>
                  <a:pt x="982" y="20400"/>
                </a:lnTo>
                <a:cubicBezTo>
                  <a:pt x="982" y="21062"/>
                  <a:pt x="1422" y="21600"/>
                  <a:pt x="1964" y="21600"/>
                </a:cubicBezTo>
                <a:lnTo>
                  <a:pt x="19636" y="21600"/>
                </a:lnTo>
                <a:cubicBezTo>
                  <a:pt x="20178" y="21600"/>
                  <a:pt x="20618" y="21062"/>
                  <a:pt x="20618" y="20400"/>
                </a:cubicBez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5" name="Shape 2605"/>
          <p:cNvSpPr/>
          <p:nvPr/>
        </p:nvSpPr>
        <p:spPr>
          <a:xfrm>
            <a:off x="12499943" y="6229053"/>
            <a:ext cx="558920" cy="5589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6" name="Shape 2606"/>
          <p:cNvSpPr/>
          <p:nvPr/>
        </p:nvSpPr>
        <p:spPr>
          <a:xfrm>
            <a:off x="13566466" y="622905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309"/>
                </a:moveTo>
                <a:cubicBezTo>
                  <a:pt x="10800" y="10581"/>
                  <a:pt x="10580" y="10800"/>
                  <a:pt x="10309" y="10800"/>
                </a:cubicBezTo>
                <a:cubicBezTo>
                  <a:pt x="10038" y="10800"/>
                  <a:pt x="9818" y="10581"/>
                  <a:pt x="9818" y="10309"/>
                </a:cubicBezTo>
                <a:cubicBezTo>
                  <a:pt x="9818" y="10038"/>
                  <a:pt x="10038" y="9818"/>
                  <a:pt x="10309" y="9818"/>
                </a:cubicBezTo>
                <a:cubicBezTo>
                  <a:pt x="10580" y="9818"/>
                  <a:pt x="10800" y="10038"/>
                  <a:pt x="10800" y="10309"/>
                </a:cubicBezTo>
                <a:moveTo>
                  <a:pt x="20618" y="20618"/>
                </a:moveTo>
                <a:lnTo>
                  <a:pt x="18655" y="20618"/>
                </a:lnTo>
                <a:lnTo>
                  <a:pt x="18655" y="19145"/>
                </a:lnTo>
                <a:cubicBezTo>
                  <a:pt x="18655" y="18875"/>
                  <a:pt x="18434" y="18655"/>
                  <a:pt x="18164" y="18655"/>
                </a:cubicBezTo>
                <a:lnTo>
                  <a:pt x="16691" y="18655"/>
                </a:lnTo>
                <a:lnTo>
                  <a:pt x="16691" y="17182"/>
                </a:lnTo>
                <a:cubicBezTo>
                  <a:pt x="16691" y="16911"/>
                  <a:pt x="16471" y="16691"/>
                  <a:pt x="16200" y="16691"/>
                </a:cubicBezTo>
                <a:lnTo>
                  <a:pt x="14441" y="16691"/>
                </a:lnTo>
                <a:lnTo>
                  <a:pt x="12850" y="15086"/>
                </a:lnTo>
                <a:cubicBezTo>
                  <a:pt x="12761" y="14997"/>
                  <a:pt x="12639" y="14943"/>
                  <a:pt x="12503" y="14943"/>
                </a:cubicBezTo>
                <a:cubicBezTo>
                  <a:pt x="12356" y="14943"/>
                  <a:pt x="12228" y="15010"/>
                  <a:pt x="12138" y="15113"/>
                </a:cubicBezTo>
                <a:lnTo>
                  <a:pt x="11833" y="15418"/>
                </a:lnTo>
                <a:cubicBezTo>
                  <a:pt x="11450" y="15801"/>
                  <a:pt x="10829" y="15801"/>
                  <a:pt x="10445" y="15418"/>
                </a:cubicBezTo>
                <a:lnTo>
                  <a:pt x="6167" y="11139"/>
                </a:lnTo>
                <a:cubicBezTo>
                  <a:pt x="5784" y="10756"/>
                  <a:pt x="5784" y="10136"/>
                  <a:pt x="6167" y="9752"/>
                </a:cubicBezTo>
                <a:lnTo>
                  <a:pt x="9752" y="6167"/>
                </a:lnTo>
                <a:cubicBezTo>
                  <a:pt x="10135" y="5784"/>
                  <a:pt x="10756" y="5784"/>
                  <a:pt x="11139" y="6167"/>
                </a:cubicBezTo>
                <a:lnTo>
                  <a:pt x="11761" y="6789"/>
                </a:lnTo>
                <a:cubicBezTo>
                  <a:pt x="11699" y="7609"/>
                  <a:pt x="11457" y="8377"/>
                  <a:pt x="11069" y="9054"/>
                </a:cubicBezTo>
                <a:cubicBezTo>
                  <a:pt x="10847" y="8919"/>
                  <a:pt x="10588" y="8837"/>
                  <a:pt x="10309" y="8837"/>
                </a:cubicBezTo>
                <a:cubicBezTo>
                  <a:pt x="9496" y="8837"/>
                  <a:pt x="8836" y="9496"/>
                  <a:pt x="8836" y="10309"/>
                </a:cubicBezTo>
                <a:cubicBezTo>
                  <a:pt x="8836" y="11123"/>
                  <a:pt x="9496" y="11782"/>
                  <a:pt x="10309" y="11782"/>
                </a:cubicBezTo>
                <a:cubicBezTo>
                  <a:pt x="11123" y="11782"/>
                  <a:pt x="11782" y="11123"/>
                  <a:pt x="11782" y="10309"/>
                </a:cubicBezTo>
                <a:cubicBezTo>
                  <a:pt x="11782" y="10156"/>
                  <a:pt x="11752" y="10012"/>
                  <a:pt x="11709" y="9873"/>
                </a:cubicBezTo>
                <a:cubicBezTo>
                  <a:pt x="12146" y="9210"/>
                  <a:pt x="12466" y="8463"/>
                  <a:pt x="12631" y="7659"/>
                </a:cubicBezTo>
                <a:lnTo>
                  <a:pt x="15417" y="10446"/>
                </a:lnTo>
                <a:cubicBezTo>
                  <a:pt x="15800" y="10829"/>
                  <a:pt x="15800" y="11450"/>
                  <a:pt x="15417" y="11833"/>
                </a:cubicBezTo>
                <a:lnTo>
                  <a:pt x="15128" y="12122"/>
                </a:lnTo>
                <a:cubicBezTo>
                  <a:pt x="15025" y="12213"/>
                  <a:pt x="14957" y="12341"/>
                  <a:pt x="14957" y="12487"/>
                </a:cubicBezTo>
                <a:cubicBezTo>
                  <a:pt x="14957" y="12623"/>
                  <a:pt x="15013" y="12746"/>
                  <a:pt x="15101" y="12835"/>
                </a:cubicBezTo>
                <a:lnTo>
                  <a:pt x="20618" y="18367"/>
                </a:lnTo>
                <a:cubicBezTo>
                  <a:pt x="20618" y="18367"/>
                  <a:pt x="20618" y="20618"/>
                  <a:pt x="20618" y="20618"/>
                </a:cubicBezTo>
                <a:close/>
                <a:moveTo>
                  <a:pt x="5343" y="11673"/>
                </a:moveTo>
                <a:cubicBezTo>
                  <a:pt x="2859" y="11190"/>
                  <a:pt x="982" y="9008"/>
                  <a:pt x="982" y="6383"/>
                </a:cubicBezTo>
                <a:cubicBezTo>
                  <a:pt x="982" y="3400"/>
                  <a:pt x="3399" y="982"/>
                  <a:pt x="6382" y="982"/>
                </a:cubicBezTo>
                <a:cubicBezTo>
                  <a:pt x="9011" y="982"/>
                  <a:pt x="11198" y="2862"/>
                  <a:pt x="11681" y="5349"/>
                </a:cubicBezTo>
                <a:cubicBezTo>
                  <a:pt x="10910" y="4719"/>
                  <a:pt x="9777" y="4755"/>
                  <a:pt x="9058" y="5473"/>
                </a:cubicBezTo>
                <a:lnTo>
                  <a:pt x="5474" y="9058"/>
                </a:lnTo>
                <a:cubicBezTo>
                  <a:pt x="4757" y="9775"/>
                  <a:pt x="4719" y="10904"/>
                  <a:pt x="5343" y="11673"/>
                </a:cubicBezTo>
                <a:moveTo>
                  <a:pt x="21456" y="17817"/>
                </a:moveTo>
                <a:lnTo>
                  <a:pt x="16142" y="12488"/>
                </a:lnTo>
                <a:cubicBezTo>
                  <a:pt x="16874" y="11720"/>
                  <a:pt x="16865" y="10507"/>
                  <a:pt x="16111" y="9752"/>
                </a:cubicBezTo>
                <a:lnTo>
                  <a:pt x="12763" y="6404"/>
                </a:lnTo>
                <a:cubicBezTo>
                  <a:pt x="12763" y="6396"/>
                  <a:pt x="12764" y="6389"/>
                  <a:pt x="12764" y="6383"/>
                </a:cubicBezTo>
                <a:cubicBezTo>
                  <a:pt x="12764" y="2857"/>
                  <a:pt x="9907" y="0"/>
                  <a:pt x="6382" y="0"/>
                </a:cubicBezTo>
                <a:cubicBezTo>
                  <a:pt x="2857" y="0"/>
                  <a:pt x="0" y="2857"/>
                  <a:pt x="0" y="6383"/>
                </a:cubicBezTo>
                <a:cubicBezTo>
                  <a:pt x="0" y="9907"/>
                  <a:pt x="2857" y="12764"/>
                  <a:pt x="6382" y="12764"/>
                </a:cubicBezTo>
                <a:cubicBezTo>
                  <a:pt x="6389" y="12764"/>
                  <a:pt x="6396" y="12763"/>
                  <a:pt x="6403" y="12763"/>
                </a:cubicBezTo>
                <a:lnTo>
                  <a:pt x="9752" y="16111"/>
                </a:lnTo>
                <a:cubicBezTo>
                  <a:pt x="10511" y="16870"/>
                  <a:pt x="11735" y="16875"/>
                  <a:pt x="12503" y="16130"/>
                </a:cubicBezTo>
                <a:lnTo>
                  <a:pt x="13889" y="17529"/>
                </a:lnTo>
                <a:cubicBezTo>
                  <a:pt x="13978" y="17618"/>
                  <a:pt x="14101" y="17673"/>
                  <a:pt x="14236" y="17673"/>
                </a:cubicBezTo>
                <a:lnTo>
                  <a:pt x="15709" y="17673"/>
                </a:lnTo>
                <a:lnTo>
                  <a:pt x="15709" y="19145"/>
                </a:lnTo>
                <a:cubicBezTo>
                  <a:pt x="15709" y="19417"/>
                  <a:pt x="15929" y="19636"/>
                  <a:pt x="16200" y="19636"/>
                </a:cubicBezTo>
                <a:lnTo>
                  <a:pt x="17673" y="19636"/>
                </a:lnTo>
                <a:lnTo>
                  <a:pt x="17673" y="21109"/>
                </a:lnTo>
                <a:cubicBezTo>
                  <a:pt x="17673" y="21381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lnTo>
                  <a:pt x="21600" y="18164"/>
                </a:lnTo>
                <a:cubicBezTo>
                  <a:pt x="21600" y="18029"/>
                  <a:pt x="21545" y="17906"/>
                  <a:pt x="21456" y="1781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7" name="Shape 2607"/>
          <p:cNvSpPr/>
          <p:nvPr/>
        </p:nvSpPr>
        <p:spPr>
          <a:xfrm>
            <a:off x="14632989" y="6279839"/>
            <a:ext cx="558654" cy="4570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1964" y="16800"/>
                </a:lnTo>
                <a:cubicBezTo>
                  <a:pt x="879" y="16800"/>
                  <a:pt x="0" y="17874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4"/>
                  <a:pt x="20721" y="16800"/>
                  <a:pt x="19636" y="16800"/>
                </a:cubicBezTo>
                <a:moveTo>
                  <a:pt x="1964" y="1200"/>
                </a:moveTo>
                <a:lnTo>
                  <a:pt x="19636" y="1200"/>
                </a:lnTo>
                <a:cubicBezTo>
                  <a:pt x="20178" y="1200"/>
                  <a:pt x="20618" y="1737"/>
                  <a:pt x="20618" y="2399"/>
                </a:cubicBezTo>
                <a:cubicBezTo>
                  <a:pt x="20618" y="3063"/>
                  <a:pt x="20178" y="3599"/>
                  <a:pt x="19636" y="3599"/>
                </a:cubicBezTo>
                <a:lnTo>
                  <a:pt x="1964" y="3599"/>
                </a:lnTo>
                <a:cubicBezTo>
                  <a:pt x="1422" y="3599"/>
                  <a:pt x="982" y="3063"/>
                  <a:pt x="982" y="2399"/>
                </a:cubicBezTo>
                <a:cubicBezTo>
                  <a:pt x="982" y="1737"/>
                  <a:pt x="1422" y="1200"/>
                  <a:pt x="1964" y="1200"/>
                </a:cubicBezTo>
                <a:moveTo>
                  <a:pt x="1964" y="4799"/>
                </a:moveTo>
                <a:lnTo>
                  <a:pt x="19636" y="4799"/>
                </a:lnTo>
                <a:cubicBezTo>
                  <a:pt x="20721" y="4799"/>
                  <a:pt x="21600" y="3725"/>
                  <a:pt x="21600" y="2399"/>
                </a:cubicBezTo>
                <a:cubicBezTo>
                  <a:pt x="21600" y="1074"/>
                  <a:pt x="20721" y="0"/>
                  <a:pt x="19636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cubicBezTo>
                  <a:pt x="0" y="3725"/>
                  <a:pt x="879" y="4799"/>
                  <a:pt x="1964" y="4799"/>
                </a:cubicBezTo>
                <a:moveTo>
                  <a:pt x="19636" y="12000"/>
                </a:moveTo>
                <a:lnTo>
                  <a:pt x="1964" y="12000"/>
                </a:lnTo>
                <a:cubicBezTo>
                  <a:pt x="1422" y="12000"/>
                  <a:pt x="982" y="11463"/>
                  <a:pt x="982" y="10800"/>
                </a:cubicBezTo>
                <a:cubicBezTo>
                  <a:pt x="982" y="10137"/>
                  <a:pt x="1422" y="9600"/>
                  <a:pt x="1964" y="9600"/>
                </a:cubicBezTo>
                <a:lnTo>
                  <a:pt x="19636" y="9600"/>
                </a:lnTo>
                <a:cubicBezTo>
                  <a:pt x="20178" y="9600"/>
                  <a:pt x="20618" y="10137"/>
                  <a:pt x="20618" y="10800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0"/>
                </a:moveTo>
                <a:lnTo>
                  <a:pt x="1964" y="8400"/>
                </a:lnTo>
                <a:cubicBezTo>
                  <a:pt x="879" y="8400"/>
                  <a:pt x="0" y="9474"/>
                  <a:pt x="0" y="10800"/>
                </a:cubicBezTo>
                <a:cubicBezTo>
                  <a:pt x="0" y="12125"/>
                  <a:pt x="879" y="13200"/>
                  <a:pt x="1964" y="13200"/>
                </a:cubicBezTo>
                <a:lnTo>
                  <a:pt x="19636" y="13200"/>
                </a:lnTo>
                <a:cubicBezTo>
                  <a:pt x="20721" y="13200"/>
                  <a:pt x="21600" y="12125"/>
                  <a:pt x="21600" y="10800"/>
                </a:cubicBezTo>
                <a:cubicBezTo>
                  <a:pt x="21600" y="9474"/>
                  <a:pt x="20721" y="8400"/>
                  <a:pt x="19636" y="84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8" name="Shape 2608"/>
          <p:cNvSpPr/>
          <p:nvPr/>
        </p:nvSpPr>
        <p:spPr>
          <a:xfrm>
            <a:off x="15699511" y="6279842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3600"/>
                </a:moveTo>
                <a:cubicBezTo>
                  <a:pt x="1422" y="3600"/>
                  <a:pt x="982" y="3063"/>
                  <a:pt x="982" y="2400"/>
                </a:cubicBezTo>
                <a:cubicBezTo>
                  <a:pt x="982" y="1738"/>
                  <a:pt x="1422" y="1200"/>
                  <a:pt x="1964" y="1200"/>
                </a:cubicBezTo>
                <a:cubicBezTo>
                  <a:pt x="2506" y="1200"/>
                  <a:pt x="2945" y="1738"/>
                  <a:pt x="2945" y="2400"/>
                </a:cubicBezTo>
                <a:cubicBezTo>
                  <a:pt x="2945" y="3063"/>
                  <a:pt x="2506" y="3600"/>
                  <a:pt x="1964" y="3600"/>
                </a:cubicBezTo>
                <a:moveTo>
                  <a:pt x="1964" y="0"/>
                </a:moveTo>
                <a:cubicBezTo>
                  <a:pt x="879" y="0"/>
                  <a:pt x="0" y="1075"/>
                  <a:pt x="0" y="2400"/>
                </a:cubicBezTo>
                <a:cubicBezTo>
                  <a:pt x="0" y="3726"/>
                  <a:pt x="879" y="4800"/>
                  <a:pt x="1964" y="4800"/>
                </a:cubicBezTo>
                <a:cubicBezTo>
                  <a:pt x="3048" y="4800"/>
                  <a:pt x="3927" y="3726"/>
                  <a:pt x="3927" y="2400"/>
                </a:cubicBezTo>
                <a:cubicBezTo>
                  <a:pt x="3927" y="1075"/>
                  <a:pt x="3048" y="0"/>
                  <a:pt x="1964" y="0"/>
                </a:cubicBezTo>
                <a:moveTo>
                  <a:pt x="1964" y="12000"/>
                </a:moveTo>
                <a:cubicBezTo>
                  <a:pt x="1422" y="12000"/>
                  <a:pt x="982" y="11463"/>
                  <a:pt x="982" y="10800"/>
                </a:cubicBezTo>
                <a:cubicBezTo>
                  <a:pt x="982" y="10138"/>
                  <a:pt x="1422" y="9600"/>
                  <a:pt x="1964" y="9600"/>
                </a:cubicBezTo>
                <a:cubicBezTo>
                  <a:pt x="2506" y="9600"/>
                  <a:pt x="2945" y="10138"/>
                  <a:pt x="2945" y="10800"/>
                </a:cubicBezTo>
                <a:cubicBezTo>
                  <a:pt x="2945" y="11463"/>
                  <a:pt x="2506" y="12000"/>
                  <a:pt x="1964" y="12000"/>
                </a:cubicBezTo>
                <a:moveTo>
                  <a:pt x="1964" y="8401"/>
                </a:moveTo>
                <a:cubicBezTo>
                  <a:pt x="879" y="8401"/>
                  <a:pt x="0" y="9475"/>
                  <a:pt x="0" y="10800"/>
                </a:cubicBezTo>
                <a:cubicBezTo>
                  <a:pt x="0" y="12126"/>
                  <a:pt x="879" y="13200"/>
                  <a:pt x="1964" y="13200"/>
                </a:cubicBezTo>
                <a:cubicBezTo>
                  <a:pt x="3048" y="13200"/>
                  <a:pt x="3927" y="12126"/>
                  <a:pt x="3927" y="10800"/>
                </a:cubicBezTo>
                <a:cubicBezTo>
                  <a:pt x="3927" y="9475"/>
                  <a:pt x="3048" y="8401"/>
                  <a:pt x="1964" y="8401"/>
                </a:cubicBezTo>
                <a:moveTo>
                  <a:pt x="19636" y="12000"/>
                </a:moveTo>
                <a:lnTo>
                  <a:pt x="7855" y="12000"/>
                </a:lnTo>
                <a:cubicBezTo>
                  <a:pt x="7313" y="12000"/>
                  <a:pt x="6873" y="11463"/>
                  <a:pt x="6873" y="10801"/>
                </a:cubicBezTo>
                <a:cubicBezTo>
                  <a:pt x="6873" y="10138"/>
                  <a:pt x="7313" y="9600"/>
                  <a:pt x="7855" y="9600"/>
                </a:cubicBezTo>
                <a:lnTo>
                  <a:pt x="19636" y="9600"/>
                </a:lnTo>
                <a:cubicBezTo>
                  <a:pt x="20178" y="9600"/>
                  <a:pt x="20618" y="10138"/>
                  <a:pt x="20618" y="10801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1"/>
                </a:moveTo>
                <a:lnTo>
                  <a:pt x="7855" y="8401"/>
                </a:lnTo>
                <a:cubicBezTo>
                  <a:pt x="6770" y="8401"/>
                  <a:pt x="5891" y="9475"/>
                  <a:pt x="5891" y="10801"/>
                </a:cubicBezTo>
                <a:cubicBezTo>
                  <a:pt x="5891" y="12126"/>
                  <a:pt x="6770" y="13200"/>
                  <a:pt x="7855" y="13200"/>
                </a:cubicBezTo>
                <a:lnTo>
                  <a:pt x="19636" y="13200"/>
                </a:lnTo>
                <a:cubicBezTo>
                  <a:pt x="20721" y="13200"/>
                  <a:pt x="21600" y="12126"/>
                  <a:pt x="21600" y="10801"/>
                </a:cubicBezTo>
                <a:cubicBezTo>
                  <a:pt x="21600" y="9475"/>
                  <a:pt x="20721" y="8401"/>
                  <a:pt x="19636" y="8401"/>
                </a:cubicBezTo>
                <a:moveTo>
                  <a:pt x="19636" y="20400"/>
                </a:moveTo>
                <a:lnTo>
                  <a:pt x="7855" y="20400"/>
                </a:lnTo>
                <a:cubicBezTo>
                  <a:pt x="7313" y="20400"/>
                  <a:pt x="6873" y="19862"/>
                  <a:pt x="6873" y="19200"/>
                </a:cubicBezTo>
                <a:cubicBezTo>
                  <a:pt x="6873" y="18538"/>
                  <a:pt x="7313" y="18000"/>
                  <a:pt x="7855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7855" y="16800"/>
                </a:lnTo>
                <a:cubicBezTo>
                  <a:pt x="6770" y="16800"/>
                  <a:pt x="5891" y="17875"/>
                  <a:pt x="5891" y="19200"/>
                </a:cubicBezTo>
                <a:cubicBezTo>
                  <a:pt x="5891" y="20526"/>
                  <a:pt x="6770" y="21600"/>
                  <a:pt x="7855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5"/>
                  <a:pt x="20721" y="16800"/>
                  <a:pt x="19636" y="16800"/>
                </a:cubicBezTo>
                <a:moveTo>
                  <a:pt x="7855" y="1201"/>
                </a:moveTo>
                <a:lnTo>
                  <a:pt x="19636" y="1201"/>
                </a:lnTo>
                <a:cubicBezTo>
                  <a:pt x="20178" y="1201"/>
                  <a:pt x="20618" y="1738"/>
                  <a:pt x="20618" y="2400"/>
                </a:cubicBezTo>
                <a:cubicBezTo>
                  <a:pt x="20618" y="3063"/>
                  <a:pt x="20178" y="3600"/>
                  <a:pt x="19636" y="3600"/>
                </a:cubicBezTo>
                <a:lnTo>
                  <a:pt x="7855" y="3600"/>
                </a:lnTo>
                <a:cubicBezTo>
                  <a:pt x="7313" y="3600"/>
                  <a:pt x="6873" y="3063"/>
                  <a:pt x="6873" y="2400"/>
                </a:cubicBezTo>
                <a:cubicBezTo>
                  <a:pt x="6873" y="1738"/>
                  <a:pt x="7313" y="1201"/>
                  <a:pt x="7855" y="1201"/>
                </a:cubicBezTo>
                <a:moveTo>
                  <a:pt x="7855" y="4800"/>
                </a:moveTo>
                <a:lnTo>
                  <a:pt x="19636" y="4800"/>
                </a:lnTo>
                <a:cubicBezTo>
                  <a:pt x="20721" y="4800"/>
                  <a:pt x="21600" y="3726"/>
                  <a:pt x="21600" y="2400"/>
                </a:cubicBezTo>
                <a:cubicBezTo>
                  <a:pt x="21600" y="1075"/>
                  <a:pt x="20721" y="1"/>
                  <a:pt x="19636" y="1"/>
                </a:cubicBezTo>
                <a:lnTo>
                  <a:pt x="7855" y="1"/>
                </a:lnTo>
                <a:cubicBezTo>
                  <a:pt x="6770" y="1"/>
                  <a:pt x="5891" y="1075"/>
                  <a:pt x="5891" y="2400"/>
                </a:cubicBezTo>
                <a:cubicBezTo>
                  <a:pt x="5891" y="3726"/>
                  <a:pt x="6770" y="4800"/>
                  <a:pt x="7855" y="4800"/>
                </a:cubicBezTo>
                <a:moveTo>
                  <a:pt x="1964" y="20400"/>
                </a:move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cubicBezTo>
                  <a:pt x="2506" y="18000"/>
                  <a:pt x="2945" y="18538"/>
                  <a:pt x="2945" y="19200"/>
                </a:cubicBezTo>
                <a:cubicBezTo>
                  <a:pt x="2945" y="19862"/>
                  <a:pt x="2506" y="20400"/>
                  <a:pt x="1964" y="20400"/>
                </a:cubicBezTo>
                <a:moveTo>
                  <a:pt x="1964" y="16800"/>
                </a:moveTo>
                <a:cubicBezTo>
                  <a:pt x="879" y="16800"/>
                  <a:pt x="0" y="17875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cubicBezTo>
                  <a:pt x="3048" y="21600"/>
                  <a:pt x="3927" y="20526"/>
                  <a:pt x="3927" y="19200"/>
                </a:cubicBezTo>
                <a:cubicBezTo>
                  <a:pt x="3927" y="17875"/>
                  <a:pt x="3048" y="16800"/>
                  <a:pt x="1964" y="16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9" name="Shape 2609"/>
          <p:cNvSpPr/>
          <p:nvPr/>
        </p:nvSpPr>
        <p:spPr>
          <a:xfrm>
            <a:off x="16766033" y="6279842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3200"/>
                </a:moveTo>
                <a:lnTo>
                  <a:pt x="5400" y="13200"/>
                </a:lnTo>
                <a:cubicBezTo>
                  <a:pt x="5129" y="13200"/>
                  <a:pt x="4909" y="13469"/>
                  <a:pt x="4909" y="13800"/>
                </a:cubicBezTo>
                <a:cubicBezTo>
                  <a:pt x="4909" y="14132"/>
                  <a:pt x="5129" y="14400"/>
                  <a:pt x="5400" y="14400"/>
                </a:cubicBezTo>
                <a:lnTo>
                  <a:pt x="21109" y="14400"/>
                </a:lnTo>
                <a:cubicBezTo>
                  <a:pt x="21380" y="14400"/>
                  <a:pt x="21600" y="14132"/>
                  <a:pt x="21600" y="13800"/>
                </a:cubicBezTo>
                <a:cubicBezTo>
                  <a:pt x="21600" y="13469"/>
                  <a:pt x="21380" y="13200"/>
                  <a:pt x="21109" y="13200"/>
                </a:cubicBezTo>
                <a:moveTo>
                  <a:pt x="21109" y="7200"/>
                </a:move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1"/>
                  <a:pt x="5400" y="8401"/>
                </a:cubicBezTo>
                <a:lnTo>
                  <a:pt x="21109" y="8401"/>
                </a:lnTo>
                <a:cubicBezTo>
                  <a:pt x="21380" y="8401"/>
                  <a:pt x="21600" y="8132"/>
                  <a:pt x="21600" y="7800"/>
                </a:cubicBezTo>
                <a:cubicBezTo>
                  <a:pt x="21600" y="7469"/>
                  <a:pt x="21380" y="7200"/>
                  <a:pt x="21109" y="7200"/>
                </a:cubicBezTo>
                <a:moveTo>
                  <a:pt x="1473" y="0"/>
                </a:moveTo>
                <a:cubicBezTo>
                  <a:pt x="659" y="0"/>
                  <a:pt x="0" y="807"/>
                  <a:pt x="0" y="1800"/>
                </a:cubicBezTo>
                <a:cubicBezTo>
                  <a:pt x="0" y="2794"/>
                  <a:pt x="659" y="3600"/>
                  <a:pt x="1473" y="3600"/>
                </a:cubicBezTo>
                <a:cubicBezTo>
                  <a:pt x="2286" y="3600"/>
                  <a:pt x="2945" y="2794"/>
                  <a:pt x="2945" y="1800"/>
                </a:cubicBezTo>
                <a:cubicBezTo>
                  <a:pt x="2945" y="807"/>
                  <a:pt x="2286" y="0"/>
                  <a:pt x="1473" y="0"/>
                </a:cubicBezTo>
                <a:moveTo>
                  <a:pt x="21109" y="19200"/>
                </a:moveTo>
                <a:lnTo>
                  <a:pt x="5400" y="19200"/>
                </a:lnTo>
                <a:cubicBezTo>
                  <a:pt x="5129" y="19200"/>
                  <a:pt x="4909" y="19469"/>
                  <a:pt x="4909" y="19800"/>
                </a:cubicBezTo>
                <a:cubicBezTo>
                  <a:pt x="4909" y="20132"/>
                  <a:pt x="5129" y="20400"/>
                  <a:pt x="5400" y="20400"/>
                </a:cubicBezTo>
                <a:lnTo>
                  <a:pt x="21109" y="20400"/>
                </a:lnTo>
                <a:cubicBezTo>
                  <a:pt x="21380" y="20400"/>
                  <a:pt x="21600" y="20132"/>
                  <a:pt x="21600" y="19800"/>
                </a:cubicBezTo>
                <a:cubicBezTo>
                  <a:pt x="21600" y="19469"/>
                  <a:pt x="21380" y="19200"/>
                  <a:pt x="21109" y="19200"/>
                </a:cubicBezTo>
                <a:moveTo>
                  <a:pt x="5400" y="2400"/>
                </a:moveTo>
                <a:lnTo>
                  <a:pt x="21109" y="2400"/>
                </a:lnTo>
                <a:cubicBezTo>
                  <a:pt x="21380" y="2400"/>
                  <a:pt x="21600" y="2132"/>
                  <a:pt x="21600" y="1800"/>
                </a:cubicBezTo>
                <a:cubicBezTo>
                  <a:pt x="21600" y="1469"/>
                  <a:pt x="21380" y="1200"/>
                  <a:pt x="21109" y="1200"/>
                </a:cubicBezTo>
                <a:lnTo>
                  <a:pt x="5400" y="1200"/>
                </a:lnTo>
                <a:cubicBezTo>
                  <a:pt x="5129" y="1200"/>
                  <a:pt x="4909" y="1469"/>
                  <a:pt x="4909" y="1800"/>
                </a:cubicBezTo>
                <a:cubicBezTo>
                  <a:pt x="4909" y="2132"/>
                  <a:pt x="5129" y="2400"/>
                  <a:pt x="5400" y="2400"/>
                </a:cubicBezTo>
                <a:moveTo>
                  <a:pt x="1473" y="18000"/>
                </a:moveTo>
                <a:cubicBezTo>
                  <a:pt x="659" y="18000"/>
                  <a:pt x="0" y="18806"/>
                  <a:pt x="0" y="19800"/>
                </a:cubicBezTo>
                <a:cubicBezTo>
                  <a:pt x="0" y="20794"/>
                  <a:pt x="659" y="21600"/>
                  <a:pt x="1473" y="21600"/>
                </a:cubicBezTo>
                <a:cubicBezTo>
                  <a:pt x="2286" y="21600"/>
                  <a:pt x="2945" y="20794"/>
                  <a:pt x="2945" y="19800"/>
                </a:cubicBezTo>
                <a:cubicBezTo>
                  <a:pt x="2945" y="18806"/>
                  <a:pt x="2286" y="18000"/>
                  <a:pt x="1473" y="18000"/>
                </a:cubicBezTo>
                <a:moveTo>
                  <a:pt x="1473" y="6000"/>
                </a:moveTo>
                <a:cubicBezTo>
                  <a:pt x="659" y="6000"/>
                  <a:pt x="0" y="6807"/>
                  <a:pt x="0" y="7800"/>
                </a:cubicBezTo>
                <a:cubicBezTo>
                  <a:pt x="0" y="8794"/>
                  <a:pt x="659" y="9600"/>
                  <a:pt x="1473" y="9600"/>
                </a:cubicBezTo>
                <a:cubicBezTo>
                  <a:pt x="2286" y="9600"/>
                  <a:pt x="2945" y="8794"/>
                  <a:pt x="2945" y="7800"/>
                </a:cubicBezTo>
                <a:cubicBezTo>
                  <a:pt x="2945" y="6807"/>
                  <a:pt x="2286" y="6000"/>
                  <a:pt x="1473" y="6000"/>
                </a:cubicBezTo>
                <a:moveTo>
                  <a:pt x="1473" y="12000"/>
                </a:moveTo>
                <a:cubicBezTo>
                  <a:pt x="659" y="12000"/>
                  <a:pt x="0" y="12807"/>
                  <a:pt x="0" y="13800"/>
                </a:cubicBezTo>
                <a:cubicBezTo>
                  <a:pt x="0" y="14794"/>
                  <a:pt x="659" y="15600"/>
                  <a:pt x="1473" y="15600"/>
                </a:cubicBezTo>
                <a:cubicBezTo>
                  <a:pt x="2286" y="15600"/>
                  <a:pt x="2945" y="14794"/>
                  <a:pt x="2945" y="13800"/>
                </a:cubicBezTo>
                <a:cubicBezTo>
                  <a:pt x="2945" y="12807"/>
                  <a:pt x="2286" y="12000"/>
                  <a:pt x="1473" y="120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0" name="Shape 2610"/>
          <p:cNvSpPr/>
          <p:nvPr/>
        </p:nvSpPr>
        <p:spPr>
          <a:xfrm>
            <a:off x="17832556" y="6279842"/>
            <a:ext cx="558654" cy="4570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2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800"/>
                </a:cubicBezTo>
                <a:cubicBezTo>
                  <a:pt x="20618" y="4800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3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3"/>
                  <a:pt x="982" y="19200"/>
                </a:cubicBezTo>
                <a:lnTo>
                  <a:pt x="982" y="7200"/>
                </a:lnTo>
                <a:lnTo>
                  <a:pt x="20618" y="7200"/>
                </a:lnTo>
                <a:cubicBezTo>
                  <a:pt x="20618" y="7200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800"/>
                </a:lnTo>
                <a:cubicBezTo>
                  <a:pt x="21600" y="3474"/>
                  <a:pt x="20721" y="2399"/>
                  <a:pt x="19636" y="239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1" name="Shape 2611"/>
          <p:cNvSpPr/>
          <p:nvPr/>
        </p:nvSpPr>
        <p:spPr>
          <a:xfrm>
            <a:off x="18899079" y="6254449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161"/>
                </a:moveTo>
                <a:lnTo>
                  <a:pt x="13745" y="2161"/>
                </a:lnTo>
                <a:cubicBezTo>
                  <a:pt x="11782" y="2160"/>
                  <a:pt x="11782" y="0"/>
                  <a:pt x="9818" y="0"/>
                </a:cubicBezTo>
                <a:lnTo>
                  <a:pt x="5891" y="0"/>
                </a:lnTo>
                <a:cubicBezTo>
                  <a:pt x="4806" y="0"/>
                  <a:pt x="3927" y="967"/>
                  <a:pt x="3927" y="2161"/>
                </a:cubicBezTo>
                <a:lnTo>
                  <a:pt x="3927" y="2700"/>
                </a:lnTo>
                <a:cubicBezTo>
                  <a:pt x="3927" y="2999"/>
                  <a:pt x="4147" y="3240"/>
                  <a:pt x="4418" y="3240"/>
                </a:cubicBezTo>
                <a:cubicBezTo>
                  <a:pt x="4690" y="3240"/>
                  <a:pt x="4909" y="2999"/>
                  <a:pt x="4909" y="2700"/>
                </a:cubicBezTo>
                <a:lnTo>
                  <a:pt x="4909" y="2161"/>
                </a:lnTo>
                <a:cubicBezTo>
                  <a:pt x="4909" y="1564"/>
                  <a:pt x="5348" y="1080"/>
                  <a:pt x="5891" y="1080"/>
                </a:cubicBezTo>
                <a:lnTo>
                  <a:pt x="9818" y="1080"/>
                </a:lnTo>
                <a:cubicBezTo>
                  <a:pt x="11291" y="1080"/>
                  <a:pt x="11291" y="3239"/>
                  <a:pt x="13744" y="3240"/>
                </a:cubicBezTo>
                <a:lnTo>
                  <a:pt x="19636" y="3240"/>
                </a:lnTo>
                <a:cubicBezTo>
                  <a:pt x="20178" y="3240"/>
                  <a:pt x="20618" y="3724"/>
                  <a:pt x="20618" y="4321"/>
                </a:cubicBezTo>
                <a:lnTo>
                  <a:pt x="20618" y="15120"/>
                </a:lnTo>
                <a:cubicBezTo>
                  <a:pt x="20618" y="15717"/>
                  <a:pt x="20178" y="16200"/>
                  <a:pt x="19636" y="16200"/>
                </a:cubicBezTo>
                <a:lnTo>
                  <a:pt x="19145" y="16200"/>
                </a:lnTo>
                <a:cubicBezTo>
                  <a:pt x="18874" y="16200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19636" y="17280"/>
                </a:lnTo>
                <a:cubicBezTo>
                  <a:pt x="20721" y="17280"/>
                  <a:pt x="21600" y="16314"/>
                  <a:pt x="21600" y="15120"/>
                </a:cubicBezTo>
                <a:lnTo>
                  <a:pt x="21600" y="4321"/>
                </a:lnTo>
                <a:cubicBezTo>
                  <a:pt x="21600" y="3127"/>
                  <a:pt x="20721" y="2161"/>
                  <a:pt x="19636" y="2161"/>
                </a:cubicBezTo>
                <a:moveTo>
                  <a:pt x="16691" y="9720"/>
                </a:moveTo>
                <a:lnTo>
                  <a:pt x="982" y="9720"/>
                </a:lnTo>
                <a:lnTo>
                  <a:pt x="982" y="6481"/>
                </a:lnTo>
                <a:cubicBezTo>
                  <a:pt x="982" y="5884"/>
                  <a:pt x="1421" y="5400"/>
                  <a:pt x="1964" y="5400"/>
                </a:cubicBezTo>
                <a:lnTo>
                  <a:pt x="5891" y="5400"/>
                </a:lnTo>
                <a:cubicBezTo>
                  <a:pt x="7364" y="5400"/>
                  <a:pt x="7364" y="7560"/>
                  <a:pt x="9818" y="7560"/>
                </a:cubicBezTo>
                <a:lnTo>
                  <a:pt x="15709" y="7560"/>
                </a:lnTo>
                <a:cubicBezTo>
                  <a:pt x="16251" y="7560"/>
                  <a:pt x="16691" y="8044"/>
                  <a:pt x="16691" y="8641"/>
                </a:cubicBezTo>
                <a:cubicBezTo>
                  <a:pt x="16691" y="8641"/>
                  <a:pt x="16691" y="9720"/>
                  <a:pt x="16691" y="9720"/>
                </a:cubicBezTo>
                <a:close/>
                <a:moveTo>
                  <a:pt x="16691" y="19440"/>
                </a:moveTo>
                <a:cubicBezTo>
                  <a:pt x="16691" y="20037"/>
                  <a:pt x="16251" y="20520"/>
                  <a:pt x="15709" y="20520"/>
                </a:cubicBezTo>
                <a:lnTo>
                  <a:pt x="1964" y="20520"/>
                </a:lnTo>
                <a:cubicBezTo>
                  <a:pt x="1421" y="20520"/>
                  <a:pt x="982" y="20037"/>
                  <a:pt x="982" y="19440"/>
                </a:cubicBezTo>
                <a:lnTo>
                  <a:pt x="982" y="10801"/>
                </a:lnTo>
                <a:lnTo>
                  <a:pt x="16691" y="10801"/>
                </a:lnTo>
                <a:cubicBezTo>
                  <a:pt x="16691" y="10801"/>
                  <a:pt x="16691" y="19440"/>
                  <a:pt x="16691" y="19440"/>
                </a:cubicBezTo>
                <a:close/>
                <a:moveTo>
                  <a:pt x="15709" y="6481"/>
                </a:moveTo>
                <a:lnTo>
                  <a:pt x="9818" y="6481"/>
                </a:lnTo>
                <a:cubicBezTo>
                  <a:pt x="7855" y="6480"/>
                  <a:pt x="7855" y="4320"/>
                  <a:pt x="5891" y="4320"/>
                </a:cubicBezTo>
                <a:lnTo>
                  <a:pt x="1964" y="4320"/>
                </a:lnTo>
                <a:cubicBezTo>
                  <a:pt x="879" y="4320"/>
                  <a:pt x="0" y="5287"/>
                  <a:pt x="0" y="6481"/>
                </a:cubicBezTo>
                <a:lnTo>
                  <a:pt x="0" y="19440"/>
                </a:lnTo>
                <a:cubicBezTo>
                  <a:pt x="0" y="20634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634"/>
                  <a:pt x="17673" y="19440"/>
                </a:cubicBezTo>
                <a:lnTo>
                  <a:pt x="17673" y="8641"/>
                </a:lnTo>
                <a:cubicBezTo>
                  <a:pt x="17673" y="7447"/>
                  <a:pt x="16794" y="6481"/>
                  <a:pt x="15709" y="648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2" name="Shape 2612"/>
          <p:cNvSpPr/>
          <p:nvPr/>
        </p:nvSpPr>
        <p:spPr>
          <a:xfrm>
            <a:off x="19965600" y="6279839"/>
            <a:ext cx="558654" cy="4570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3200"/>
                </a:moveTo>
                <a:cubicBezTo>
                  <a:pt x="11071" y="13200"/>
                  <a:pt x="11291" y="13469"/>
                  <a:pt x="11291" y="13800"/>
                </a:cubicBezTo>
                <a:cubicBezTo>
                  <a:pt x="11291" y="14132"/>
                  <a:pt x="11071" y="14400"/>
                  <a:pt x="10800" y="14400"/>
                </a:cubicBezTo>
                <a:cubicBezTo>
                  <a:pt x="10529" y="14400"/>
                  <a:pt x="10309" y="14132"/>
                  <a:pt x="10309" y="13800"/>
                </a:cubicBezTo>
                <a:cubicBezTo>
                  <a:pt x="10309" y="13469"/>
                  <a:pt x="10529" y="13200"/>
                  <a:pt x="10800" y="13200"/>
                </a:cubicBezTo>
                <a:moveTo>
                  <a:pt x="10800" y="15600"/>
                </a:moveTo>
                <a:cubicBezTo>
                  <a:pt x="11613" y="15600"/>
                  <a:pt x="12273" y="14794"/>
                  <a:pt x="12273" y="13800"/>
                </a:cubicBezTo>
                <a:cubicBezTo>
                  <a:pt x="12273" y="12806"/>
                  <a:pt x="11613" y="12000"/>
                  <a:pt x="10800" y="12000"/>
                </a:cubicBezTo>
                <a:cubicBezTo>
                  <a:pt x="9987" y="12000"/>
                  <a:pt x="9327" y="12806"/>
                  <a:pt x="9327" y="13800"/>
                </a:cubicBezTo>
                <a:cubicBezTo>
                  <a:pt x="9327" y="14794"/>
                  <a:pt x="9987" y="15600"/>
                  <a:pt x="10800" y="15600"/>
                </a:cubicBezTo>
                <a:moveTo>
                  <a:pt x="5400" y="13200"/>
                </a:moveTo>
                <a:cubicBezTo>
                  <a:pt x="5671" y="13200"/>
                  <a:pt x="5891" y="13469"/>
                  <a:pt x="5891" y="13800"/>
                </a:cubicBezTo>
                <a:cubicBezTo>
                  <a:pt x="5891" y="14132"/>
                  <a:pt x="5671" y="14400"/>
                  <a:pt x="5400" y="14400"/>
                </a:cubicBezTo>
                <a:cubicBezTo>
                  <a:pt x="5129" y="14400"/>
                  <a:pt x="4909" y="14132"/>
                  <a:pt x="4909" y="13800"/>
                </a:cubicBezTo>
                <a:cubicBezTo>
                  <a:pt x="4909" y="13469"/>
                  <a:pt x="5129" y="13200"/>
                  <a:pt x="5400" y="13200"/>
                </a:cubicBezTo>
                <a:moveTo>
                  <a:pt x="5400" y="15600"/>
                </a:moveTo>
                <a:cubicBezTo>
                  <a:pt x="6213" y="15600"/>
                  <a:pt x="6873" y="14794"/>
                  <a:pt x="6873" y="13800"/>
                </a:cubicBezTo>
                <a:cubicBezTo>
                  <a:pt x="6873" y="12806"/>
                  <a:pt x="6213" y="12000"/>
                  <a:pt x="5400" y="12000"/>
                </a:cubicBezTo>
                <a:cubicBezTo>
                  <a:pt x="4587" y="12000"/>
                  <a:pt x="3927" y="12806"/>
                  <a:pt x="3927" y="13800"/>
                </a:cubicBezTo>
                <a:cubicBezTo>
                  <a:pt x="3927" y="14794"/>
                  <a:pt x="4587" y="15600"/>
                  <a:pt x="5400" y="15600"/>
                </a:cubicBezTo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1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799"/>
                </a:cubicBezTo>
                <a:cubicBezTo>
                  <a:pt x="20618" y="4799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2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1" y="20400"/>
                  <a:pt x="982" y="19862"/>
                  <a:pt x="982" y="19200"/>
                </a:cubicBezTo>
                <a:lnTo>
                  <a:pt x="982" y="7199"/>
                </a:lnTo>
                <a:lnTo>
                  <a:pt x="20618" y="7199"/>
                </a:lnTo>
                <a:cubicBezTo>
                  <a:pt x="20618" y="7199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799"/>
                </a:lnTo>
                <a:cubicBezTo>
                  <a:pt x="21600" y="3474"/>
                  <a:pt x="20721" y="2399"/>
                  <a:pt x="19636" y="2399"/>
                </a:cubicBezTo>
                <a:moveTo>
                  <a:pt x="16200" y="13200"/>
                </a:moveTo>
                <a:cubicBezTo>
                  <a:pt x="16471" y="13200"/>
                  <a:pt x="16691" y="13469"/>
                  <a:pt x="16691" y="13800"/>
                </a:cubicBezTo>
                <a:cubicBezTo>
                  <a:pt x="16691" y="14132"/>
                  <a:pt x="16471" y="14400"/>
                  <a:pt x="16200" y="14400"/>
                </a:cubicBezTo>
                <a:cubicBezTo>
                  <a:pt x="15929" y="14400"/>
                  <a:pt x="15709" y="14132"/>
                  <a:pt x="15709" y="13800"/>
                </a:cubicBezTo>
                <a:cubicBezTo>
                  <a:pt x="15709" y="13469"/>
                  <a:pt x="15929" y="13200"/>
                  <a:pt x="16200" y="13200"/>
                </a:cubicBezTo>
                <a:moveTo>
                  <a:pt x="16200" y="15600"/>
                </a:moveTo>
                <a:cubicBezTo>
                  <a:pt x="17013" y="15600"/>
                  <a:pt x="17673" y="14794"/>
                  <a:pt x="17673" y="13800"/>
                </a:cubicBezTo>
                <a:cubicBezTo>
                  <a:pt x="17673" y="12806"/>
                  <a:pt x="17013" y="12000"/>
                  <a:pt x="16200" y="12000"/>
                </a:cubicBezTo>
                <a:cubicBezTo>
                  <a:pt x="15387" y="12000"/>
                  <a:pt x="14727" y="12806"/>
                  <a:pt x="14727" y="13800"/>
                </a:cubicBezTo>
                <a:cubicBezTo>
                  <a:pt x="14727" y="14794"/>
                  <a:pt x="15387" y="15600"/>
                  <a:pt x="16200" y="156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3" name="Shape 2613"/>
          <p:cNvSpPr/>
          <p:nvPr/>
        </p:nvSpPr>
        <p:spPr>
          <a:xfrm>
            <a:off x="21032122" y="622905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964"/>
                </a:moveTo>
                <a:lnTo>
                  <a:pt x="10800" y="1964"/>
                </a:lnTo>
                <a:cubicBezTo>
                  <a:pt x="8836" y="1964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5709"/>
                </a:lnTo>
                <a:cubicBezTo>
                  <a:pt x="0" y="16794"/>
                  <a:pt x="879" y="17673"/>
                  <a:pt x="1964" y="17673"/>
                </a:cubicBezTo>
                <a:lnTo>
                  <a:pt x="6599" y="17673"/>
                </a:lnTo>
                <a:cubicBezTo>
                  <a:pt x="6257" y="17372"/>
                  <a:pt x="5941" y="17046"/>
                  <a:pt x="5656" y="16691"/>
                </a:cubicBezTo>
                <a:lnTo>
                  <a:pt x="1964" y="16691"/>
                </a:lnTo>
                <a:cubicBezTo>
                  <a:pt x="1422" y="16691"/>
                  <a:pt x="982" y="16252"/>
                  <a:pt x="982" y="15709"/>
                </a:cubicBezTo>
                <a:lnTo>
                  <a:pt x="982" y="5891"/>
                </a:lnTo>
                <a:lnTo>
                  <a:pt x="6599" y="5891"/>
                </a:lnTo>
                <a:cubicBezTo>
                  <a:pt x="7023" y="5517"/>
                  <a:pt x="7484" y="5185"/>
                  <a:pt x="7982" y="4909"/>
                </a:cubicBezTo>
                <a:lnTo>
                  <a:pt x="982" y="4909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6873" y="982"/>
                </a:lnTo>
                <a:cubicBezTo>
                  <a:pt x="8345" y="982"/>
                  <a:pt x="8345" y="2946"/>
                  <a:pt x="10800" y="2946"/>
                </a:cubicBezTo>
                <a:lnTo>
                  <a:pt x="19636" y="2946"/>
                </a:lnTo>
                <a:cubicBezTo>
                  <a:pt x="20178" y="2946"/>
                  <a:pt x="20618" y="3385"/>
                  <a:pt x="20618" y="3927"/>
                </a:cubicBezTo>
                <a:lnTo>
                  <a:pt x="20618" y="4909"/>
                </a:lnTo>
                <a:lnTo>
                  <a:pt x="15582" y="4909"/>
                </a:lnTo>
                <a:cubicBezTo>
                  <a:pt x="16080" y="5185"/>
                  <a:pt x="16541" y="5517"/>
                  <a:pt x="16965" y="5891"/>
                </a:cubicBezTo>
                <a:lnTo>
                  <a:pt x="20618" y="5891"/>
                </a:ln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8766" y="16691"/>
                </a:lnTo>
                <a:lnTo>
                  <a:pt x="19738" y="17663"/>
                </a:lnTo>
                <a:cubicBezTo>
                  <a:pt x="20774" y="17609"/>
                  <a:pt x="21600" y="16759"/>
                  <a:pt x="21600" y="15709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1782" y="17673"/>
                </a:moveTo>
                <a:cubicBezTo>
                  <a:pt x="8529" y="17673"/>
                  <a:pt x="5891" y="15036"/>
                  <a:pt x="5891" y="11782"/>
                </a:cubicBezTo>
                <a:cubicBezTo>
                  <a:pt x="5891" y="8529"/>
                  <a:pt x="8529" y="5891"/>
                  <a:pt x="11782" y="5891"/>
                </a:cubicBezTo>
                <a:cubicBezTo>
                  <a:pt x="15035" y="5891"/>
                  <a:pt x="17673" y="8529"/>
                  <a:pt x="17673" y="11782"/>
                </a:cubicBezTo>
                <a:cubicBezTo>
                  <a:pt x="17673" y="15036"/>
                  <a:pt x="15035" y="17673"/>
                  <a:pt x="11782" y="17673"/>
                </a:cubicBezTo>
                <a:moveTo>
                  <a:pt x="16972" y="16278"/>
                </a:moveTo>
                <a:cubicBezTo>
                  <a:pt x="18018" y="15072"/>
                  <a:pt x="18655" y="13503"/>
                  <a:pt x="18655" y="11782"/>
                </a:cubicBezTo>
                <a:cubicBezTo>
                  <a:pt x="18655" y="7987"/>
                  <a:pt x="15578" y="4910"/>
                  <a:pt x="11782" y="4910"/>
                </a:cubicBezTo>
                <a:cubicBezTo>
                  <a:pt x="7986" y="4910"/>
                  <a:pt x="4909" y="7987"/>
                  <a:pt x="4909" y="11782"/>
                </a:cubicBezTo>
                <a:cubicBezTo>
                  <a:pt x="4909" y="15578"/>
                  <a:pt x="7986" y="18655"/>
                  <a:pt x="11782" y="18655"/>
                </a:cubicBezTo>
                <a:cubicBezTo>
                  <a:pt x="13503" y="18655"/>
                  <a:pt x="15072" y="18017"/>
                  <a:pt x="16278" y="16972"/>
                </a:cubicBezTo>
                <a:lnTo>
                  <a:pt x="16972" y="17666"/>
                </a:lnTo>
                <a:cubicBezTo>
                  <a:pt x="16969" y="17668"/>
                  <a:pt x="16967" y="17671"/>
                  <a:pt x="16965" y="17673"/>
                </a:cubicBezTo>
                <a:lnTo>
                  <a:pt x="16979" y="17673"/>
                </a:lnTo>
                <a:lnTo>
                  <a:pt x="20762" y="21457"/>
                </a:lnTo>
                <a:cubicBezTo>
                  <a:pt x="20851" y="21546"/>
                  <a:pt x="20974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6972" y="16278"/>
                  <a:pt x="16972" y="16278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4" name="Shape 2614"/>
          <p:cNvSpPr/>
          <p:nvPr/>
        </p:nvSpPr>
        <p:spPr>
          <a:xfrm>
            <a:off x="22098644" y="622905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5" name="Shape 2615"/>
          <p:cNvSpPr/>
          <p:nvPr/>
        </p:nvSpPr>
        <p:spPr>
          <a:xfrm>
            <a:off x="12499946" y="729557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93" y="17878"/>
                </a:moveTo>
                <a:cubicBezTo>
                  <a:pt x="16514" y="16546"/>
                  <a:pt x="15177" y="15812"/>
                  <a:pt x="14084" y="15323"/>
                </a:cubicBezTo>
                <a:cubicBezTo>
                  <a:pt x="13842" y="15214"/>
                  <a:pt x="13687" y="15099"/>
                  <a:pt x="13598" y="14990"/>
                </a:cubicBezTo>
                <a:cubicBezTo>
                  <a:pt x="15238" y="14959"/>
                  <a:pt x="16521" y="14237"/>
                  <a:pt x="16581" y="14203"/>
                </a:cubicBezTo>
                <a:cubicBezTo>
                  <a:pt x="16751" y="14106"/>
                  <a:pt x="16846" y="13918"/>
                  <a:pt x="16826" y="13724"/>
                </a:cubicBezTo>
                <a:cubicBezTo>
                  <a:pt x="16807" y="13546"/>
                  <a:pt x="16693" y="13394"/>
                  <a:pt x="16530" y="13325"/>
                </a:cubicBezTo>
                <a:cubicBezTo>
                  <a:pt x="16461" y="13275"/>
                  <a:pt x="15663" y="12629"/>
                  <a:pt x="15663" y="9051"/>
                </a:cubicBezTo>
                <a:cubicBezTo>
                  <a:pt x="15663" y="5000"/>
                  <a:pt x="14115" y="2945"/>
                  <a:pt x="11061" y="2945"/>
                </a:cubicBezTo>
                <a:cubicBezTo>
                  <a:pt x="8481" y="2945"/>
                  <a:pt x="5845" y="3642"/>
                  <a:pt x="5845" y="8806"/>
                </a:cubicBezTo>
                <a:cubicBezTo>
                  <a:pt x="5845" y="12555"/>
                  <a:pt x="5219" y="13278"/>
                  <a:pt x="5122" y="13367"/>
                </a:cubicBezTo>
                <a:cubicBezTo>
                  <a:pt x="4957" y="13416"/>
                  <a:pt x="4826" y="13551"/>
                  <a:pt x="4784" y="13723"/>
                </a:cubicBezTo>
                <a:cubicBezTo>
                  <a:pt x="4734" y="13935"/>
                  <a:pt x="4828" y="14153"/>
                  <a:pt x="5015" y="14262"/>
                </a:cubicBezTo>
                <a:cubicBezTo>
                  <a:pt x="6396" y="15064"/>
                  <a:pt x="7482" y="15136"/>
                  <a:pt x="8065" y="15091"/>
                </a:cubicBezTo>
                <a:cubicBezTo>
                  <a:pt x="7994" y="15151"/>
                  <a:pt x="7850" y="15241"/>
                  <a:pt x="7564" y="15335"/>
                </a:cubicBezTo>
                <a:cubicBezTo>
                  <a:pt x="6211" y="15776"/>
                  <a:pt x="4766" y="16807"/>
                  <a:pt x="3958" y="17834"/>
                </a:cubicBezTo>
                <a:cubicBezTo>
                  <a:pt x="2125" y="16050"/>
                  <a:pt x="982" y="13560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3584"/>
                  <a:pt x="19454" y="16092"/>
                  <a:pt x="17593" y="17878"/>
                </a:cubicBezTo>
                <a:moveTo>
                  <a:pt x="10800" y="20618"/>
                </a:moveTo>
                <a:cubicBezTo>
                  <a:pt x="8489" y="20618"/>
                  <a:pt x="6370" y="19815"/>
                  <a:pt x="4693" y="18480"/>
                </a:cubicBezTo>
                <a:cubicBezTo>
                  <a:pt x="5360" y="17604"/>
                  <a:pt x="6693" y="16652"/>
                  <a:pt x="7869" y="16268"/>
                </a:cubicBezTo>
                <a:cubicBezTo>
                  <a:pt x="8578" y="16037"/>
                  <a:pt x="8988" y="15688"/>
                  <a:pt x="9087" y="15232"/>
                </a:cubicBezTo>
                <a:cubicBezTo>
                  <a:pt x="9214" y="14656"/>
                  <a:pt x="8775" y="14230"/>
                  <a:pt x="8725" y="14183"/>
                </a:cubicBezTo>
                <a:cubicBezTo>
                  <a:pt x="8597" y="14065"/>
                  <a:pt x="8412" y="14025"/>
                  <a:pt x="8246" y="14075"/>
                </a:cubicBezTo>
                <a:cubicBezTo>
                  <a:pt x="8208" y="14086"/>
                  <a:pt x="7406" y="14309"/>
                  <a:pt x="6089" y="13714"/>
                </a:cubicBezTo>
                <a:cubicBezTo>
                  <a:pt x="6486" y="13026"/>
                  <a:pt x="6826" y="11618"/>
                  <a:pt x="6826" y="8806"/>
                </a:cubicBezTo>
                <a:cubicBezTo>
                  <a:pt x="6826" y="4301"/>
                  <a:pt x="8829" y="3928"/>
                  <a:pt x="11061" y="3928"/>
                </a:cubicBezTo>
                <a:cubicBezTo>
                  <a:pt x="12615" y="3928"/>
                  <a:pt x="14681" y="4458"/>
                  <a:pt x="14681" y="9051"/>
                </a:cubicBezTo>
                <a:cubicBezTo>
                  <a:pt x="14681" y="11662"/>
                  <a:pt x="15092" y="12966"/>
                  <a:pt x="15499" y="13617"/>
                </a:cubicBezTo>
                <a:cubicBezTo>
                  <a:pt x="14943" y="13829"/>
                  <a:pt x="14058" y="14076"/>
                  <a:pt x="13097" y="13993"/>
                </a:cubicBezTo>
                <a:cubicBezTo>
                  <a:pt x="12883" y="13971"/>
                  <a:pt x="12690" y="14092"/>
                  <a:pt x="12605" y="14285"/>
                </a:cubicBezTo>
                <a:cubicBezTo>
                  <a:pt x="12420" y="14704"/>
                  <a:pt x="12408" y="15649"/>
                  <a:pt x="13683" y="16219"/>
                </a:cubicBezTo>
                <a:cubicBezTo>
                  <a:pt x="14677" y="16664"/>
                  <a:pt x="15893" y="17331"/>
                  <a:pt x="16850" y="18522"/>
                </a:cubicBezTo>
                <a:cubicBezTo>
                  <a:pt x="15182" y="19831"/>
                  <a:pt x="13085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6" name="Shape 2616"/>
          <p:cNvSpPr/>
          <p:nvPr/>
        </p:nvSpPr>
        <p:spPr>
          <a:xfrm>
            <a:off x="13566466" y="7320968"/>
            <a:ext cx="558654" cy="5079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7" name="Shape 2617"/>
          <p:cNvSpPr/>
          <p:nvPr/>
        </p:nvSpPr>
        <p:spPr>
          <a:xfrm>
            <a:off x="14632989" y="7346362"/>
            <a:ext cx="558654" cy="4571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8" name="Shape 2618"/>
          <p:cNvSpPr/>
          <p:nvPr/>
        </p:nvSpPr>
        <p:spPr>
          <a:xfrm>
            <a:off x="15699510" y="7295578"/>
            <a:ext cx="558602" cy="5586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8" h="21600" extrusionOk="0">
                <a:moveTo>
                  <a:pt x="2560" y="18308"/>
                </a:moveTo>
                <a:cubicBezTo>
                  <a:pt x="2472" y="18397"/>
                  <a:pt x="2418" y="18520"/>
                  <a:pt x="2418" y="18655"/>
                </a:cubicBezTo>
                <a:cubicBezTo>
                  <a:pt x="2418" y="18926"/>
                  <a:pt x="2635" y="19146"/>
                  <a:pt x="2902" y="19146"/>
                </a:cubicBezTo>
                <a:cubicBezTo>
                  <a:pt x="3169" y="19146"/>
                  <a:pt x="3385" y="18926"/>
                  <a:pt x="3385" y="18655"/>
                </a:cubicBezTo>
                <a:cubicBezTo>
                  <a:pt x="3385" y="18384"/>
                  <a:pt x="3169" y="18164"/>
                  <a:pt x="2902" y="18164"/>
                </a:cubicBezTo>
                <a:cubicBezTo>
                  <a:pt x="2768" y="18164"/>
                  <a:pt x="2647" y="18219"/>
                  <a:pt x="2560" y="18308"/>
                </a:cubicBezTo>
                <a:moveTo>
                  <a:pt x="20499" y="4279"/>
                </a:moveTo>
                <a:lnTo>
                  <a:pt x="20091" y="4692"/>
                </a:lnTo>
                <a:lnTo>
                  <a:pt x="20088" y="4688"/>
                </a:lnTo>
                <a:lnTo>
                  <a:pt x="17670" y="7143"/>
                </a:lnTo>
                <a:lnTo>
                  <a:pt x="17664" y="7137"/>
                </a:lnTo>
                <a:cubicBezTo>
                  <a:pt x="17227" y="7580"/>
                  <a:pt x="16624" y="7853"/>
                  <a:pt x="15958" y="7853"/>
                </a:cubicBezTo>
                <a:cubicBezTo>
                  <a:pt x="14624" y="7853"/>
                  <a:pt x="13543" y="6755"/>
                  <a:pt x="13543" y="5401"/>
                </a:cubicBezTo>
                <a:cubicBezTo>
                  <a:pt x="13543" y="4725"/>
                  <a:pt x="13813" y="4113"/>
                  <a:pt x="14248" y="3670"/>
                </a:cubicBezTo>
                <a:lnTo>
                  <a:pt x="13563" y="2975"/>
                </a:lnTo>
                <a:cubicBezTo>
                  <a:pt x="12951" y="3596"/>
                  <a:pt x="12571" y="4452"/>
                  <a:pt x="12571" y="5401"/>
                </a:cubicBezTo>
                <a:cubicBezTo>
                  <a:pt x="12571" y="7300"/>
                  <a:pt x="14087" y="8840"/>
                  <a:pt x="15958" y="8840"/>
                </a:cubicBezTo>
                <a:cubicBezTo>
                  <a:pt x="16893" y="8840"/>
                  <a:pt x="17737" y="8454"/>
                  <a:pt x="18348" y="7832"/>
                </a:cubicBezTo>
                <a:lnTo>
                  <a:pt x="18353" y="7837"/>
                </a:lnTo>
                <a:lnTo>
                  <a:pt x="20152" y="6011"/>
                </a:lnTo>
                <a:cubicBezTo>
                  <a:pt x="20516" y="7368"/>
                  <a:pt x="20343" y="8670"/>
                  <a:pt x="19540" y="9505"/>
                </a:cubicBezTo>
                <a:lnTo>
                  <a:pt x="16947" y="12198"/>
                </a:lnTo>
                <a:cubicBezTo>
                  <a:pt x="16605" y="12553"/>
                  <a:pt x="16104" y="12766"/>
                  <a:pt x="15610" y="12766"/>
                </a:cubicBezTo>
                <a:cubicBezTo>
                  <a:pt x="15590" y="12765"/>
                  <a:pt x="13953" y="12652"/>
                  <a:pt x="12318" y="11611"/>
                </a:cubicBezTo>
                <a:lnTo>
                  <a:pt x="12314" y="11620"/>
                </a:lnTo>
                <a:cubicBezTo>
                  <a:pt x="12239" y="11572"/>
                  <a:pt x="12155" y="11537"/>
                  <a:pt x="12060" y="11537"/>
                </a:cubicBezTo>
                <a:cubicBezTo>
                  <a:pt x="11897" y="11537"/>
                  <a:pt x="11759" y="11625"/>
                  <a:pt x="11671" y="11753"/>
                </a:cubicBezTo>
                <a:lnTo>
                  <a:pt x="11654" y="11742"/>
                </a:lnTo>
                <a:lnTo>
                  <a:pt x="4270" y="20043"/>
                </a:lnTo>
                <a:cubicBezTo>
                  <a:pt x="3919" y="20399"/>
                  <a:pt x="3436" y="20618"/>
                  <a:pt x="2902" y="20618"/>
                </a:cubicBezTo>
                <a:cubicBezTo>
                  <a:pt x="1833" y="20618"/>
                  <a:pt x="967" y="19740"/>
                  <a:pt x="967" y="18655"/>
                </a:cubicBezTo>
                <a:cubicBezTo>
                  <a:pt x="967" y="18113"/>
                  <a:pt x="1184" y="17622"/>
                  <a:pt x="1534" y="17267"/>
                </a:cubicBezTo>
                <a:lnTo>
                  <a:pt x="9684" y="9801"/>
                </a:lnTo>
                <a:lnTo>
                  <a:pt x="9671" y="9786"/>
                </a:lnTo>
                <a:cubicBezTo>
                  <a:pt x="9796" y="9698"/>
                  <a:pt x="9884" y="9557"/>
                  <a:pt x="9884" y="9389"/>
                </a:cubicBezTo>
                <a:cubicBezTo>
                  <a:pt x="9884" y="9283"/>
                  <a:pt x="9844" y="9190"/>
                  <a:pt x="9787" y="9110"/>
                </a:cubicBezTo>
                <a:lnTo>
                  <a:pt x="9790" y="9107"/>
                </a:lnTo>
                <a:cubicBezTo>
                  <a:pt x="8390" y="7219"/>
                  <a:pt x="8340" y="5816"/>
                  <a:pt x="9546" y="4488"/>
                </a:cubicBezTo>
                <a:lnTo>
                  <a:pt x="12130" y="1805"/>
                </a:lnTo>
                <a:cubicBezTo>
                  <a:pt x="12785" y="1125"/>
                  <a:pt x="13641" y="982"/>
                  <a:pt x="14244" y="982"/>
                </a:cubicBezTo>
                <a:lnTo>
                  <a:pt x="14246" y="982"/>
                </a:lnTo>
                <a:cubicBezTo>
                  <a:pt x="14611" y="982"/>
                  <a:pt x="14988" y="1037"/>
                  <a:pt x="15366" y="1136"/>
                </a:cubicBezTo>
                <a:lnTo>
                  <a:pt x="13559" y="2970"/>
                </a:lnTo>
                <a:lnTo>
                  <a:pt x="14243" y="3664"/>
                </a:lnTo>
                <a:lnTo>
                  <a:pt x="16661" y="1210"/>
                </a:lnTo>
                <a:lnTo>
                  <a:pt x="16657" y="1206"/>
                </a:lnTo>
                <a:lnTo>
                  <a:pt x="17082" y="775"/>
                </a:lnTo>
                <a:cubicBezTo>
                  <a:pt x="16139" y="269"/>
                  <a:pt x="15160" y="0"/>
                  <a:pt x="14246" y="0"/>
                </a:cubicBezTo>
                <a:lnTo>
                  <a:pt x="14244" y="0"/>
                </a:lnTo>
                <a:cubicBezTo>
                  <a:pt x="13167" y="0"/>
                  <a:pt x="12182" y="361"/>
                  <a:pt x="11460" y="1111"/>
                </a:cubicBezTo>
                <a:lnTo>
                  <a:pt x="8867" y="3804"/>
                </a:lnTo>
                <a:cubicBezTo>
                  <a:pt x="7163" y="5672"/>
                  <a:pt x="7613" y="7584"/>
                  <a:pt x="8769" y="9315"/>
                </a:cubicBezTo>
                <a:lnTo>
                  <a:pt x="850" y="16572"/>
                </a:lnTo>
                <a:cubicBezTo>
                  <a:pt x="325" y="17106"/>
                  <a:pt x="0" y="17842"/>
                  <a:pt x="0" y="18655"/>
                </a:cubicBezTo>
                <a:cubicBezTo>
                  <a:pt x="0" y="20282"/>
                  <a:pt x="1299" y="21600"/>
                  <a:pt x="2902" y="21600"/>
                </a:cubicBezTo>
                <a:cubicBezTo>
                  <a:pt x="3703" y="21600"/>
                  <a:pt x="4429" y="21271"/>
                  <a:pt x="4954" y="20738"/>
                </a:cubicBezTo>
                <a:lnTo>
                  <a:pt x="12160" y="12652"/>
                </a:lnTo>
                <a:cubicBezTo>
                  <a:pt x="13800" y="13590"/>
                  <a:pt x="15363" y="13747"/>
                  <a:pt x="15606" y="13747"/>
                </a:cubicBezTo>
                <a:cubicBezTo>
                  <a:pt x="16313" y="13747"/>
                  <a:pt x="17067" y="13463"/>
                  <a:pt x="17617" y="12892"/>
                </a:cubicBezTo>
                <a:lnTo>
                  <a:pt x="20209" y="10198"/>
                </a:lnTo>
                <a:cubicBezTo>
                  <a:pt x="21560" y="8795"/>
                  <a:pt x="21600" y="6433"/>
                  <a:pt x="20499" y="427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9" name="Shape 2619"/>
          <p:cNvSpPr/>
          <p:nvPr/>
        </p:nvSpPr>
        <p:spPr>
          <a:xfrm>
            <a:off x="16766033" y="7295579"/>
            <a:ext cx="558654" cy="5586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3" extrusionOk="0">
                <a:moveTo>
                  <a:pt x="12364" y="11941"/>
                </a:moveTo>
                <a:lnTo>
                  <a:pt x="13062" y="14033"/>
                </a:lnTo>
                <a:lnTo>
                  <a:pt x="11365" y="12790"/>
                </a:lnTo>
                <a:lnTo>
                  <a:pt x="10785" y="12365"/>
                </a:lnTo>
                <a:lnTo>
                  <a:pt x="10205" y="12790"/>
                </a:lnTo>
                <a:lnTo>
                  <a:pt x="8508" y="14033"/>
                </a:lnTo>
                <a:lnTo>
                  <a:pt x="9206" y="11941"/>
                </a:lnTo>
                <a:lnTo>
                  <a:pt x="9426" y="11282"/>
                </a:lnTo>
                <a:lnTo>
                  <a:pt x="8877" y="10856"/>
                </a:lnTo>
                <a:lnTo>
                  <a:pt x="7511" y="9794"/>
                </a:lnTo>
                <a:lnTo>
                  <a:pt x="9790" y="9794"/>
                </a:lnTo>
                <a:lnTo>
                  <a:pt x="10030" y="9160"/>
                </a:lnTo>
                <a:lnTo>
                  <a:pt x="10785" y="7162"/>
                </a:lnTo>
                <a:lnTo>
                  <a:pt x="11540" y="9160"/>
                </a:lnTo>
                <a:lnTo>
                  <a:pt x="11779" y="9794"/>
                </a:lnTo>
                <a:lnTo>
                  <a:pt x="14059" y="9794"/>
                </a:lnTo>
                <a:lnTo>
                  <a:pt x="12692" y="10856"/>
                </a:lnTo>
                <a:lnTo>
                  <a:pt x="12144" y="11282"/>
                </a:lnTo>
                <a:cubicBezTo>
                  <a:pt x="12144" y="11282"/>
                  <a:pt x="12364" y="11941"/>
                  <a:pt x="12364" y="11941"/>
                </a:cubicBezTo>
                <a:close/>
                <a:moveTo>
                  <a:pt x="12458" y="8813"/>
                </a:moveTo>
                <a:lnTo>
                  <a:pt x="10785" y="4384"/>
                </a:lnTo>
                <a:lnTo>
                  <a:pt x="9111" y="8813"/>
                </a:lnTo>
                <a:lnTo>
                  <a:pt x="4649" y="8813"/>
                </a:lnTo>
                <a:lnTo>
                  <a:pt x="8275" y="11631"/>
                </a:lnTo>
                <a:lnTo>
                  <a:pt x="6601" y="16647"/>
                </a:lnTo>
                <a:lnTo>
                  <a:pt x="10785" y="13582"/>
                </a:lnTo>
                <a:lnTo>
                  <a:pt x="14969" y="16647"/>
                </a:lnTo>
                <a:lnTo>
                  <a:pt x="13295" y="11631"/>
                </a:lnTo>
                <a:lnTo>
                  <a:pt x="16921" y="8813"/>
                </a:lnTo>
                <a:cubicBezTo>
                  <a:pt x="16921" y="8813"/>
                  <a:pt x="12458" y="8813"/>
                  <a:pt x="12458" y="8813"/>
                </a:cubicBezTo>
                <a:close/>
                <a:moveTo>
                  <a:pt x="10800" y="20592"/>
                </a:moveTo>
                <a:cubicBezTo>
                  <a:pt x="9796" y="20381"/>
                  <a:pt x="982" y="17399"/>
                  <a:pt x="982" y="12263"/>
                </a:cubicBezTo>
                <a:cubicBezTo>
                  <a:pt x="982" y="7469"/>
                  <a:pt x="2322" y="2919"/>
                  <a:pt x="2778" y="1179"/>
                </a:cubicBezTo>
                <a:cubicBezTo>
                  <a:pt x="4022" y="1719"/>
                  <a:pt x="7232" y="2943"/>
                  <a:pt x="10800" y="2943"/>
                </a:cubicBezTo>
                <a:cubicBezTo>
                  <a:pt x="14368" y="2943"/>
                  <a:pt x="17579" y="1719"/>
                  <a:pt x="18823" y="1179"/>
                </a:cubicBezTo>
                <a:cubicBezTo>
                  <a:pt x="19278" y="2918"/>
                  <a:pt x="20618" y="7466"/>
                  <a:pt x="20618" y="12263"/>
                </a:cubicBezTo>
                <a:cubicBezTo>
                  <a:pt x="20618" y="17393"/>
                  <a:pt x="11803" y="20381"/>
                  <a:pt x="10800" y="20592"/>
                </a:cubicBezTo>
                <a:moveTo>
                  <a:pt x="19618" y="356"/>
                </a:moveTo>
                <a:cubicBezTo>
                  <a:pt x="19577" y="216"/>
                  <a:pt x="19477" y="101"/>
                  <a:pt x="19343" y="42"/>
                </a:cubicBezTo>
                <a:cubicBezTo>
                  <a:pt x="19210" y="-17"/>
                  <a:pt x="19057" y="-13"/>
                  <a:pt x="18926" y="52"/>
                </a:cubicBezTo>
                <a:cubicBezTo>
                  <a:pt x="18888" y="71"/>
                  <a:pt x="15053" y="1962"/>
                  <a:pt x="10800" y="1962"/>
                </a:cubicBezTo>
                <a:cubicBezTo>
                  <a:pt x="6556" y="1962"/>
                  <a:pt x="2712" y="71"/>
                  <a:pt x="2674" y="52"/>
                </a:cubicBezTo>
                <a:cubicBezTo>
                  <a:pt x="2543" y="-13"/>
                  <a:pt x="2391" y="-17"/>
                  <a:pt x="2257" y="42"/>
                </a:cubicBezTo>
                <a:cubicBezTo>
                  <a:pt x="2124" y="101"/>
                  <a:pt x="2023" y="216"/>
                  <a:pt x="1983" y="356"/>
                </a:cubicBezTo>
                <a:cubicBezTo>
                  <a:pt x="1963" y="426"/>
                  <a:pt x="0" y="6376"/>
                  <a:pt x="0" y="12263"/>
                </a:cubicBezTo>
                <a:cubicBezTo>
                  <a:pt x="0" y="18484"/>
                  <a:pt x="10271" y="21491"/>
                  <a:pt x="10708" y="21575"/>
                </a:cubicBezTo>
                <a:cubicBezTo>
                  <a:pt x="10739" y="21580"/>
                  <a:pt x="10770" y="21583"/>
                  <a:pt x="10800" y="21583"/>
                </a:cubicBezTo>
                <a:cubicBezTo>
                  <a:pt x="10831" y="21583"/>
                  <a:pt x="10862" y="21580"/>
                  <a:pt x="10892" y="21575"/>
                </a:cubicBezTo>
                <a:cubicBezTo>
                  <a:pt x="11329" y="21491"/>
                  <a:pt x="21600" y="18484"/>
                  <a:pt x="21600" y="12263"/>
                </a:cubicBezTo>
                <a:cubicBezTo>
                  <a:pt x="21600" y="6376"/>
                  <a:pt x="19637" y="426"/>
                  <a:pt x="19618" y="35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0" name="Shape 2620"/>
          <p:cNvSpPr/>
          <p:nvPr/>
        </p:nvSpPr>
        <p:spPr>
          <a:xfrm>
            <a:off x="17832556" y="7320971"/>
            <a:ext cx="558654" cy="5080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44" extrusionOk="0">
                <a:moveTo>
                  <a:pt x="20618" y="7406"/>
                </a:moveTo>
                <a:lnTo>
                  <a:pt x="13580" y="7406"/>
                </a:lnTo>
                <a:cubicBezTo>
                  <a:pt x="13156" y="6803"/>
                  <a:pt x="12718" y="6095"/>
                  <a:pt x="12319" y="5293"/>
                </a:cubicBezTo>
                <a:lnTo>
                  <a:pt x="20618" y="5293"/>
                </a:lnTo>
                <a:cubicBezTo>
                  <a:pt x="20618" y="5293"/>
                  <a:pt x="20618" y="7406"/>
                  <a:pt x="20618" y="7406"/>
                </a:cubicBezTo>
                <a:close/>
                <a:moveTo>
                  <a:pt x="19636" y="13747"/>
                </a:moveTo>
                <a:lnTo>
                  <a:pt x="11291" y="13747"/>
                </a:lnTo>
                <a:lnTo>
                  <a:pt x="11291" y="8463"/>
                </a:lnTo>
                <a:lnTo>
                  <a:pt x="13090" y="8463"/>
                </a:lnTo>
                <a:cubicBezTo>
                  <a:pt x="14022" y="9712"/>
                  <a:pt x="14815" y="10437"/>
                  <a:pt x="14882" y="10497"/>
                </a:cubicBezTo>
                <a:cubicBezTo>
                  <a:pt x="15009" y="10610"/>
                  <a:pt x="15174" y="10644"/>
                  <a:pt x="15323" y="10601"/>
                </a:cubicBezTo>
                <a:cubicBezTo>
                  <a:pt x="15418" y="10574"/>
                  <a:pt x="15505" y="10516"/>
                  <a:pt x="15573" y="10429"/>
                </a:cubicBezTo>
                <a:cubicBezTo>
                  <a:pt x="15746" y="10205"/>
                  <a:pt x="15718" y="9871"/>
                  <a:pt x="15510" y="9684"/>
                </a:cubicBezTo>
                <a:cubicBezTo>
                  <a:pt x="15498" y="9674"/>
                  <a:pt x="15023" y="9238"/>
                  <a:pt x="14383" y="8463"/>
                </a:cubicBezTo>
                <a:lnTo>
                  <a:pt x="19636" y="8463"/>
                </a:lnTo>
                <a:cubicBezTo>
                  <a:pt x="19636" y="8463"/>
                  <a:pt x="19636" y="13747"/>
                  <a:pt x="19636" y="13747"/>
                </a:cubicBezTo>
                <a:close/>
                <a:moveTo>
                  <a:pt x="19636" y="20087"/>
                </a:moveTo>
                <a:lnTo>
                  <a:pt x="11291" y="20087"/>
                </a:lnTo>
                <a:lnTo>
                  <a:pt x="11291" y="14803"/>
                </a:lnTo>
                <a:lnTo>
                  <a:pt x="19636" y="14803"/>
                </a:lnTo>
                <a:cubicBezTo>
                  <a:pt x="19636" y="14803"/>
                  <a:pt x="19636" y="20087"/>
                  <a:pt x="19636" y="20087"/>
                </a:cubicBezTo>
                <a:close/>
                <a:moveTo>
                  <a:pt x="11291" y="5461"/>
                </a:moveTo>
                <a:cubicBezTo>
                  <a:pt x="11626" y="6178"/>
                  <a:pt x="11991" y="6828"/>
                  <a:pt x="12360" y="7406"/>
                </a:cubicBezTo>
                <a:lnTo>
                  <a:pt x="11291" y="7406"/>
                </a:lnTo>
                <a:cubicBezTo>
                  <a:pt x="11291" y="7406"/>
                  <a:pt x="11291" y="5461"/>
                  <a:pt x="11291" y="5461"/>
                </a:cubicBezTo>
                <a:close/>
                <a:moveTo>
                  <a:pt x="12871" y="1481"/>
                </a:moveTo>
                <a:cubicBezTo>
                  <a:pt x="14045" y="751"/>
                  <a:pt x="15436" y="979"/>
                  <a:pt x="15979" y="1990"/>
                </a:cubicBezTo>
                <a:cubicBezTo>
                  <a:pt x="16343" y="2668"/>
                  <a:pt x="16223" y="3523"/>
                  <a:pt x="15755" y="4236"/>
                </a:cubicBezTo>
                <a:lnTo>
                  <a:pt x="11845" y="4236"/>
                </a:lnTo>
                <a:cubicBezTo>
                  <a:pt x="11740" y="3975"/>
                  <a:pt x="11641" y="3708"/>
                  <a:pt x="11550" y="3432"/>
                </a:cubicBezTo>
                <a:cubicBezTo>
                  <a:pt x="11653" y="2691"/>
                  <a:pt x="12120" y="1947"/>
                  <a:pt x="12871" y="1481"/>
                </a:cubicBezTo>
                <a:moveTo>
                  <a:pt x="10309" y="7406"/>
                </a:moveTo>
                <a:lnTo>
                  <a:pt x="9224" y="7406"/>
                </a:lnTo>
                <a:cubicBezTo>
                  <a:pt x="9600" y="6819"/>
                  <a:pt x="9970" y="6158"/>
                  <a:pt x="10309" y="5429"/>
                </a:cubicBezTo>
                <a:cubicBezTo>
                  <a:pt x="10309" y="5429"/>
                  <a:pt x="10309" y="7406"/>
                  <a:pt x="10309" y="7406"/>
                </a:cubicBezTo>
                <a:close/>
                <a:moveTo>
                  <a:pt x="10309" y="13747"/>
                </a:moveTo>
                <a:lnTo>
                  <a:pt x="1964" y="13747"/>
                </a:lnTo>
                <a:lnTo>
                  <a:pt x="1964" y="8463"/>
                </a:lnTo>
                <a:lnTo>
                  <a:pt x="7202" y="8463"/>
                </a:lnTo>
                <a:cubicBezTo>
                  <a:pt x="6563" y="9238"/>
                  <a:pt x="6087" y="9674"/>
                  <a:pt x="6075" y="9684"/>
                </a:cubicBezTo>
                <a:cubicBezTo>
                  <a:pt x="5867" y="9871"/>
                  <a:pt x="5839" y="10205"/>
                  <a:pt x="6012" y="10429"/>
                </a:cubicBezTo>
                <a:cubicBezTo>
                  <a:pt x="6080" y="10516"/>
                  <a:pt x="6167" y="10574"/>
                  <a:pt x="6261" y="10601"/>
                </a:cubicBezTo>
                <a:cubicBezTo>
                  <a:pt x="6411" y="10644"/>
                  <a:pt x="6575" y="10610"/>
                  <a:pt x="6703" y="10497"/>
                </a:cubicBezTo>
                <a:cubicBezTo>
                  <a:pt x="6770" y="10437"/>
                  <a:pt x="7563" y="9712"/>
                  <a:pt x="8495" y="8463"/>
                </a:cubicBezTo>
                <a:lnTo>
                  <a:pt x="10309" y="8463"/>
                </a:lnTo>
                <a:cubicBezTo>
                  <a:pt x="10309" y="8463"/>
                  <a:pt x="10309" y="13747"/>
                  <a:pt x="10309" y="13747"/>
                </a:cubicBezTo>
                <a:close/>
                <a:moveTo>
                  <a:pt x="10309" y="20087"/>
                </a:moveTo>
                <a:lnTo>
                  <a:pt x="1964" y="20087"/>
                </a:lnTo>
                <a:lnTo>
                  <a:pt x="1964" y="14803"/>
                </a:lnTo>
                <a:lnTo>
                  <a:pt x="10309" y="14803"/>
                </a:lnTo>
                <a:cubicBezTo>
                  <a:pt x="10309" y="14803"/>
                  <a:pt x="10309" y="20087"/>
                  <a:pt x="10309" y="20087"/>
                </a:cubicBezTo>
                <a:close/>
                <a:moveTo>
                  <a:pt x="982" y="7406"/>
                </a:moveTo>
                <a:lnTo>
                  <a:pt x="982" y="5293"/>
                </a:lnTo>
                <a:lnTo>
                  <a:pt x="9266" y="5293"/>
                </a:lnTo>
                <a:cubicBezTo>
                  <a:pt x="8867" y="6095"/>
                  <a:pt x="8429" y="6803"/>
                  <a:pt x="8005" y="7406"/>
                </a:cubicBezTo>
                <a:cubicBezTo>
                  <a:pt x="8005" y="7406"/>
                  <a:pt x="982" y="7406"/>
                  <a:pt x="982" y="7406"/>
                </a:cubicBezTo>
                <a:close/>
                <a:moveTo>
                  <a:pt x="5606" y="1990"/>
                </a:moveTo>
                <a:cubicBezTo>
                  <a:pt x="6148" y="980"/>
                  <a:pt x="7540" y="751"/>
                  <a:pt x="8714" y="1481"/>
                </a:cubicBezTo>
                <a:cubicBezTo>
                  <a:pt x="9465" y="1948"/>
                  <a:pt x="9931" y="2692"/>
                  <a:pt x="10035" y="3433"/>
                </a:cubicBezTo>
                <a:cubicBezTo>
                  <a:pt x="9944" y="3708"/>
                  <a:pt x="9845" y="3975"/>
                  <a:pt x="9740" y="4236"/>
                </a:cubicBezTo>
                <a:lnTo>
                  <a:pt x="5830" y="4236"/>
                </a:lnTo>
                <a:cubicBezTo>
                  <a:pt x="5362" y="3523"/>
                  <a:pt x="5242" y="2668"/>
                  <a:pt x="5606" y="1990"/>
                </a:cubicBezTo>
                <a:moveTo>
                  <a:pt x="20618" y="4236"/>
                </a:moveTo>
                <a:lnTo>
                  <a:pt x="16874" y="4236"/>
                </a:lnTo>
                <a:cubicBezTo>
                  <a:pt x="17259" y="3325"/>
                  <a:pt x="17284" y="2310"/>
                  <a:pt x="16829" y="1461"/>
                </a:cubicBezTo>
                <a:cubicBezTo>
                  <a:pt x="16015" y="-54"/>
                  <a:pt x="14024" y="-456"/>
                  <a:pt x="12380" y="565"/>
                </a:cubicBezTo>
                <a:cubicBezTo>
                  <a:pt x="11747" y="959"/>
                  <a:pt x="11277" y="1511"/>
                  <a:pt x="10965" y="2122"/>
                </a:cubicBezTo>
                <a:cubicBezTo>
                  <a:pt x="10949" y="2115"/>
                  <a:pt x="10937" y="2103"/>
                  <a:pt x="10920" y="2098"/>
                </a:cubicBezTo>
                <a:cubicBezTo>
                  <a:pt x="10909" y="2095"/>
                  <a:pt x="10899" y="2097"/>
                  <a:pt x="10888" y="2095"/>
                </a:cubicBezTo>
                <a:cubicBezTo>
                  <a:pt x="10861" y="2089"/>
                  <a:pt x="10834" y="2089"/>
                  <a:pt x="10806" y="2088"/>
                </a:cubicBezTo>
                <a:cubicBezTo>
                  <a:pt x="10782" y="2089"/>
                  <a:pt x="10759" y="2089"/>
                  <a:pt x="10735" y="2093"/>
                </a:cubicBezTo>
                <a:cubicBezTo>
                  <a:pt x="10712" y="2096"/>
                  <a:pt x="10689" y="2090"/>
                  <a:pt x="10665" y="2098"/>
                </a:cubicBezTo>
                <a:cubicBezTo>
                  <a:pt x="10648" y="2103"/>
                  <a:pt x="10636" y="2115"/>
                  <a:pt x="10620" y="2122"/>
                </a:cubicBezTo>
                <a:cubicBezTo>
                  <a:pt x="10307" y="1511"/>
                  <a:pt x="9837" y="959"/>
                  <a:pt x="9205" y="566"/>
                </a:cubicBezTo>
                <a:cubicBezTo>
                  <a:pt x="7561" y="-456"/>
                  <a:pt x="5569" y="-54"/>
                  <a:pt x="4755" y="1461"/>
                </a:cubicBezTo>
                <a:cubicBezTo>
                  <a:pt x="4301" y="2310"/>
                  <a:pt x="4325" y="3325"/>
                  <a:pt x="4711" y="4236"/>
                </a:cubicBezTo>
                <a:lnTo>
                  <a:pt x="982" y="4236"/>
                </a:lnTo>
                <a:cubicBezTo>
                  <a:pt x="440" y="4236"/>
                  <a:pt x="0" y="4709"/>
                  <a:pt x="0" y="5293"/>
                </a:cubicBezTo>
                <a:lnTo>
                  <a:pt x="0" y="7406"/>
                </a:lnTo>
                <a:cubicBezTo>
                  <a:pt x="0" y="7990"/>
                  <a:pt x="440" y="8463"/>
                  <a:pt x="982" y="8463"/>
                </a:cubicBezTo>
                <a:lnTo>
                  <a:pt x="982" y="20087"/>
                </a:lnTo>
                <a:cubicBezTo>
                  <a:pt x="982" y="20671"/>
                  <a:pt x="1422" y="21144"/>
                  <a:pt x="1964" y="21144"/>
                </a:cubicBezTo>
                <a:lnTo>
                  <a:pt x="19636" y="21144"/>
                </a:lnTo>
                <a:cubicBezTo>
                  <a:pt x="20178" y="21144"/>
                  <a:pt x="20618" y="20671"/>
                  <a:pt x="20618" y="20087"/>
                </a:cubicBezTo>
                <a:lnTo>
                  <a:pt x="20618" y="8463"/>
                </a:lnTo>
                <a:cubicBezTo>
                  <a:pt x="21160" y="8463"/>
                  <a:pt x="21600" y="7990"/>
                  <a:pt x="21600" y="7406"/>
                </a:cubicBezTo>
                <a:lnTo>
                  <a:pt x="21600" y="5293"/>
                </a:lnTo>
                <a:cubicBezTo>
                  <a:pt x="21600" y="4709"/>
                  <a:pt x="21160" y="4236"/>
                  <a:pt x="20618" y="42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1" name="Shape 2621"/>
          <p:cNvSpPr/>
          <p:nvPr/>
        </p:nvSpPr>
        <p:spPr>
          <a:xfrm>
            <a:off x="18899079" y="7397149"/>
            <a:ext cx="558654" cy="3555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057"/>
                </a:moveTo>
                <a:cubicBezTo>
                  <a:pt x="5378" y="20057"/>
                  <a:pt x="982" y="13445"/>
                  <a:pt x="982" y="10800"/>
                </a:cubicBezTo>
                <a:cubicBezTo>
                  <a:pt x="982" y="8155"/>
                  <a:pt x="5378" y="1543"/>
                  <a:pt x="10800" y="1543"/>
                </a:cubicBezTo>
                <a:cubicBezTo>
                  <a:pt x="16223" y="1543"/>
                  <a:pt x="20618" y="8155"/>
                  <a:pt x="20618" y="10800"/>
                </a:cubicBezTo>
                <a:cubicBezTo>
                  <a:pt x="20618" y="13445"/>
                  <a:pt x="16223" y="20057"/>
                  <a:pt x="10800" y="20057"/>
                </a:cubicBezTo>
                <a:moveTo>
                  <a:pt x="10800" y="0"/>
                </a:moveTo>
                <a:cubicBezTo>
                  <a:pt x="4835" y="0"/>
                  <a:pt x="0" y="7714"/>
                  <a:pt x="0" y="10800"/>
                </a:cubicBezTo>
                <a:cubicBezTo>
                  <a:pt x="0" y="13886"/>
                  <a:pt x="4835" y="21600"/>
                  <a:pt x="10800" y="21600"/>
                </a:cubicBezTo>
                <a:cubicBezTo>
                  <a:pt x="16765" y="21600"/>
                  <a:pt x="21600" y="13886"/>
                  <a:pt x="21600" y="10800"/>
                </a:cubicBezTo>
                <a:cubicBezTo>
                  <a:pt x="21600" y="7714"/>
                  <a:pt x="16765" y="0"/>
                  <a:pt x="10800" y="0"/>
                </a:cubicBezTo>
                <a:moveTo>
                  <a:pt x="10800" y="16971"/>
                </a:moveTo>
                <a:cubicBezTo>
                  <a:pt x="8631" y="16971"/>
                  <a:pt x="6873" y="14209"/>
                  <a:pt x="6873" y="10800"/>
                </a:cubicBezTo>
                <a:cubicBezTo>
                  <a:pt x="6873" y="7392"/>
                  <a:pt x="8631" y="4629"/>
                  <a:pt x="10800" y="4629"/>
                </a:cubicBezTo>
                <a:cubicBezTo>
                  <a:pt x="12969" y="4629"/>
                  <a:pt x="14727" y="7392"/>
                  <a:pt x="14727" y="10800"/>
                </a:cubicBezTo>
                <a:cubicBezTo>
                  <a:pt x="14727" y="14209"/>
                  <a:pt x="12969" y="16971"/>
                  <a:pt x="10800" y="16971"/>
                </a:cubicBezTo>
                <a:moveTo>
                  <a:pt x="10800" y="3087"/>
                </a:moveTo>
                <a:cubicBezTo>
                  <a:pt x="8088" y="3087"/>
                  <a:pt x="5891" y="6540"/>
                  <a:pt x="5891" y="10800"/>
                </a:cubicBezTo>
                <a:cubicBezTo>
                  <a:pt x="5891" y="15061"/>
                  <a:pt x="8088" y="18514"/>
                  <a:pt x="10800" y="18514"/>
                </a:cubicBezTo>
                <a:cubicBezTo>
                  <a:pt x="13512" y="18514"/>
                  <a:pt x="15709" y="15061"/>
                  <a:pt x="15709" y="10800"/>
                </a:cubicBezTo>
                <a:cubicBezTo>
                  <a:pt x="15709" y="6540"/>
                  <a:pt x="13512" y="3087"/>
                  <a:pt x="10800" y="3087"/>
                </a:cubicBezTo>
                <a:moveTo>
                  <a:pt x="10800" y="8486"/>
                </a:moveTo>
                <a:cubicBezTo>
                  <a:pt x="9987" y="8486"/>
                  <a:pt x="9327" y="9523"/>
                  <a:pt x="9327" y="10800"/>
                </a:cubicBezTo>
                <a:cubicBezTo>
                  <a:pt x="9327" y="12078"/>
                  <a:pt x="9987" y="13114"/>
                  <a:pt x="10800" y="13114"/>
                </a:cubicBezTo>
                <a:cubicBezTo>
                  <a:pt x="11613" y="13114"/>
                  <a:pt x="12273" y="12078"/>
                  <a:pt x="12273" y="10800"/>
                </a:cubicBezTo>
                <a:cubicBezTo>
                  <a:pt x="12273" y="9523"/>
                  <a:pt x="11613" y="8486"/>
                  <a:pt x="10800" y="848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2" name="Shape 2622"/>
          <p:cNvSpPr/>
          <p:nvPr/>
        </p:nvSpPr>
        <p:spPr>
          <a:xfrm>
            <a:off x="19965600" y="729557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79" y="17044"/>
                </a:moveTo>
                <a:cubicBezTo>
                  <a:pt x="9428" y="17174"/>
                  <a:pt x="9252" y="17274"/>
                  <a:pt x="9050" y="17344"/>
                </a:cubicBezTo>
                <a:cubicBezTo>
                  <a:pt x="8849" y="17415"/>
                  <a:pt x="8636" y="17450"/>
                  <a:pt x="8413" y="17450"/>
                </a:cubicBezTo>
                <a:cubicBezTo>
                  <a:pt x="7887" y="17450"/>
                  <a:pt x="7488" y="17288"/>
                  <a:pt x="7214" y="16966"/>
                </a:cubicBezTo>
                <a:cubicBezTo>
                  <a:pt x="6941" y="16644"/>
                  <a:pt x="6797" y="16226"/>
                  <a:pt x="6782" y="15715"/>
                </a:cubicBezTo>
                <a:lnTo>
                  <a:pt x="5864" y="15715"/>
                </a:lnTo>
                <a:cubicBezTo>
                  <a:pt x="5857" y="16122"/>
                  <a:pt x="5913" y="16486"/>
                  <a:pt x="6032" y="16805"/>
                </a:cubicBezTo>
                <a:cubicBezTo>
                  <a:pt x="6151" y="17123"/>
                  <a:pt x="6321" y="17393"/>
                  <a:pt x="6545" y="17611"/>
                </a:cubicBezTo>
                <a:cubicBezTo>
                  <a:pt x="6767" y="17830"/>
                  <a:pt x="7038" y="17995"/>
                  <a:pt x="7355" y="18106"/>
                </a:cubicBezTo>
                <a:cubicBezTo>
                  <a:pt x="7671" y="18218"/>
                  <a:pt x="8024" y="18273"/>
                  <a:pt x="8413" y="18273"/>
                </a:cubicBezTo>
                <a:cubicBezTo>
                  <a:pt x="8773" y="18273"/>
                  <a:pt x="9113" y="18223"/>
                  <a:pt x="9434" y="18123"/>
                </a:cubicBezTo>
                <a:cubicBezTo>
                  <a:pt x="9754" y="18023"/>
                  <a:pt x="10033" y="17873"/>
                  <a:pt x="10271" y="17672"/>
                </a:cubicBezTo>
                <a:cubicBezTo>
                  <a:pt x="10509" y="17472"/>
                  <a:pt x="10697" y="17222"/>
                  <a:pt x="10837" y="16922"/>
                </a:cubicBezTo>
                <a:cubicBezTo>
                  <a:pt x="10978" y="16621"/>
                  <a:pt x="11048" y="16275"/>
                  <a:pt x="11048" y="15881"/>
                </a:cubicBezTo>
                <a:cubicBezTo>
                  <a:pt x="11048" y="15407"/>
                  <a:pt x="10935" y="14995"/>
                  <a:pt x="10708" y="14646"/>
                </a:cubicBezTo>
                <a:cubicBezTo>
                  <a:pt x="10481" y="14298"/>
                  <a:pt x="10134" y="14072"/>
                  <a:pt x="9666" y="13968"/>
                </a:cubicBezTo>
                <a:lnTo>
                  <a:pt x="9666" y="13946"/>
                </a:lnTo>
                <a:cubicBezTo>
                  <a:pt x="9968" y="13805"/>
                  <a:pt x="10220" y="13597"/>
                  <a:pt x="10422" y="13323"/>
                </a:cubicBezTo>
                <a:cubicBezTo>
                  <a:pt x="10624" y="13048"/>
                  <a:pt x="10724" y="12734"/>
                  <a:pt x="10724" y="12377"/>
                </a:cubicBezTo>
                <a:cubicBezTo>
                  <a:pt x="10724" y="12014"/>
                  <a:pt x="10665" y="11698"/>
                  <a:pt x="10546" y="11432"/>
                </a:cubicBezTo>
                <a:cubicBezTo>
                  <a:pt x="10427" y="11165"/>
                  <a:pt x="10263" y="10946"/>
                  <a:pt x="10055" y="10776"/>
                </a:cubicBezTo>
                <a:cubicBezTo>
                  <a:pt x="9846" y="10605"/>
                  <a:pt x="9599" y="10477"/>
                  <a:pt x="9315" y="10392"/>
                </a:cubicBezTo>
                <a:cubicBezTo>
                  <a:pt x="9030" y="10306"/>
                  <a:pt x="8722" y="10264"/>
                  <a:pt x="8391" y="10264"/>
                </a:cubicBezTo>
                <a:cubicBezTo>
                  <a:pt x="8010" y="10264"/>
                  <a:pt x="7673" y="10326"/>
                  <a:pt x="7382" y="10453"/>
                </a:cubicBezTo>
                <a:cubicBezTo>
                  <a:pt x="7090" y="10579"/>
                  <a:pt x="6847" y="10753"/>
                  <a:pt x="6653" y="10976"/>
                </a:cubicBezTo>
                <a:cubicBezTo>
                  <a:pt x="6459" y="11198"/>
                  <a:pt x="6309" y="11466"/>
                  <a:pt x="6204" y="11777"/>
                </a:cubicBezTo>
                <a:cubicBezTo>
                  <a:pt x="6100" y="12088"/>
                  <a:pt x="6040" y="12433"/>
                  <a:pt x="6026" y="12811"/>
                </a:cubicBezTo>
                <a:lnTo>
                  <a:pt x="6944" y="12811"/>
                </a:lnTo>
                <a:cubicBezTo>
                  <a:pt x="6944" y="12581"/>
                  <a:pt x="6972" y="12363"/>
                  <a:pt x="7031" y="12155"/>
                </a:cubicBezTo>
                <a:cubicBezTo>
                  <a:pt x="7088" y="11947"/>
                  <a:pt x="7177" y="11766"/>
                  <a:pt x="7296" y="11610"/>
                </a:cubicBezTo>
                <a:cubicBezTo>
                  <a:pt x="7414" y="11454"/>
                  <a:pt x="7565" y="11330"/>
                  <a:pt x="7749" y="11237"/>
                </a:cubicBezTo>
                <a:cubicBezTo>
                  <a:pt x="7932" y="11144"/>
                  <a:pt x="8147" y="11098"/>
                  <a:pt x="8391" y="11098"/>
                </a:cubicBezTo>
                <a:cubicBezTo>
                  <a:pt x="8780" y="11098"/>
                  <a:pt x="9104" y="11204"/>
                  <a:pt x="9364" y="11415"/>
                </a:cubicBezTo>
                <a:cubicBezTo>
                  <a:pt x="9623" y="11627"/>
                  <a:pt x="9752" y="11943"/>
                  <a:pt x="9752" y="12366"/>
                </a:cubicBezTo>
                <a:cubicBezTo>
                  <a:pt x="9752" y="12574"/>
                  <a:pt x="9713" y="12759"/>
                  <a:pt x="9634" y="12922"/>
                </a:cubicBezTo>
                <a:cubicBezTo>
                  <a:pt x="9554" y="13086"/>
                  <a:pt x="9448" y="13221"/>
                  <a:pt x="9315" y="13329"/>
                </a:cubicBezTo>
                <a:cubicBezTo>
                  <a:pt x="9182" y="13436"/>
                  <a:pt x="9027" y="13517"/>
                  <a:pt x="8851" y="13574"/>
                </a:cubicBezTo>
                <a:cubicBezTo>
                  <a:pt x="8674" y="13629"/>
                  <a:pt x="8488" y="13657"/>
                  <a:pt x="8294" y="13657"/>
                </a:cubicBezTo>
                <a:lnTo>
                  <a:pt x="7992" y="13657"/>
                </a:lnTo>
                <a:cubicBezTo>
                  <a:pt x="7963" y="13657"/>
                  <a:pt x="7930" y="13653"/>
                  <a:pt x="7895" y="13645"/>
                </a:cubicBezTo>
                <a:lnTo>
                  <a:pt x="7895" y="14447"/>
                </a:lnTo>
                <a:cubicBezTo>
                  <a:pt x="8067" y="14424"/>
                  <a:pt x="8251" y="14413"/>
                  <a:pt x="8445" y="14413"/>
                </a:cubicBezTo>
                <a:cubicBezTo>
                  <a:pt x="8676" y="14413"/>
                  <a:pt x="8890" y="14444"/>
                  <a:pt x="9088" y="14507"/>
                </a:cubicBezTo>
                <a:cubicBezTo>
                  <a:pt x="9286" y="14571"/>
                  <a:pt x="9457" y="14667"/>
                  <a:pt x="9601" y="14797"/>
                </a:cubicBezTo>
                <a:cubicBezTo>
                  <a:pt x="9745" y="14927"/>
                  <a:pt x="9860" y="15086"/>
                  <a:pt x="9947" y="15275"/>
                </a:cubicBezTo>
                <a:cubicBezTo>
                  <a:pt x="10033" y="15464"/>
                  <a:pt x="10076" y="15682"/>
                  <a:pt x="10076" y="15926"/>
                </a:cubicBezTo>
                <a:cubicBezTo>
                  <a:pt x="10076" y="16163"/>
                  <a:pt x="10031" y="16377"/>
                  <a:pt x="9941" y="16565"/>
                </a:cubicBezTo>
                <a:cubicBezTo>
                  <a:pt x="9851" y="16754"/>
                  <a:pt x="9731" y="16914"/>
                  <a:pt x="9579" y="17044"/>
                </a:cubicBezTo>
                <a:moveTo>
                  <a:pt x="14257" y="18151"/>
                </a:moveTo>
                <a:lnTo>
                  <a:pt x="15175" y="18151"/>
                </a:lnTo>
                <a:lnTo>
                  <a:pt x="15175" y="10264"/>
                </a:lnTo>
                <a:lnTo>
                  <a:pt x="14473" y="10264"/>
                </a:lnTo>
                <a:cubicBezTo>
                  <a:pt x="14422" y="10561"/>
                  <a:pt x="14329" y="10805"/>
                  <a:pt x="14192" y="10998"/>
                </a:cubicBezTo>
                <a:cubicBezTo>
                  <a:pt x="14055" y="11191"/>
                  <a:pt x="13888" y="11343"/>
                  <a:pt x="13690" y="11454"/>
                </a:cubicBezTo>
                <a:cubicBezTo>
                  <a:pt x="13492" y="11565"/>
                  <a:pt x="13271" y="11641"/>
                  <a:pt x="13026" y="11682"/>
                </a:cubicBezTo>
                <a:cubicBezTo>
                  <a:pt x="12781" y="11723"/>
                  <a:pt x="12529" y="11743"/>
                  <a:pt x="12270" y="11743"/>
                </a:cubicBezTo>
                <a:lnTo>
                  <a:pt x="12270" y="12499"/>
                </a:lnTo>
                <a:lnTo>
                  <a:pt x="14257" y="12499"/>
                </a:lnTo>
                <a:cubicBezTo>
                  <a:pt x="14257" y="12499"/>
                  <a:pt x="14257" y="18151"/>
                  <a:pt x="14257" y="1815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1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9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3" name="Shape 2623"/>
          <p:cNvSpPr/>
          <p:nvPr/>
        </p:nvSpPr>
        <p:spPr>
          <a:xfrm>
            <a:off x="21032122" y="729557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3255"/>
                </a:moveTo>
                <a:lnTo>
                  <a:pt x="5400" y="13255"/>
                </a:lnTo>
                <a:lnTo>
                  <a:pt x="5400" y="15218"/>
                </a:lnTo>
                <a:lnTo>
                  <a:pt x="7364" y="15218"/>
                </a:lnTo>
                <a:cubicBezTo>
                  <a:pt x="7364" y="15218"/>
                  <a:pt x="7364" y="13255"/>
                  <a:pt x="7364" y="13255"/>
                </a:cubicBezTo>
                <a:close/>
                <a:moveTo>
                  <a:pt x="7364" y="16691"/>
                </a:moveTo>
                <a:lnTo>
                  <a:pt x="5400" y="16691"/>
                </a:lnTo>
                <a:lnTo>
                  <a:pt x="5400" y="18655"/>
                </a:lnTo>
                <a:lnTo>
                  <a:pt x="7364" y="18655"/>
                </a:lnTo>
                <a:cubicBezTo>
                  <a:pt x="7364" y="18655"/>
                  <a:pt x="7364" y="16691"/>
                  <a:pt x="7364" y="16691"/>
                </a:cubicBezTo>
                <a:close/>
                <a:moveTo>
                  <a:pt x="7364" y="9818"/>
                </a:moveTo>
                <a:lnTo>
                  <a:pt x="5400" y="9818"/>
                </a:lnTo>
                <a:lnTo>
                  <a:pt x="5400" y="11782"/>
                </a:lnTo>
                <a:lnTo>
                  <a:pt x="7364" y="11782"/>
                </a:lnTo>
                <a:cubicBezTo>
                  <a:pt x="7364" y="11782"/>
                  <a:pt x="7364" y="9818"/>
                  <a:pt x="7364" y="9818"/>
                </a:cubicBezTo>
                <a:close/>
                <a:moveTo>
                  <a:pt x="4418" y="16691"/>
                </a:moveTo>
                <a:lnTo>
                  <a:pt x="2455" y="16691"/>
                </a:lnTo>
                <a:lnTo>
                  <a:pt x="2455" y="18655"/>
                </a:lnTo>
                <a:lnTo>
                  <a:pt x="4418" y="18655"/>
                </a:lnTo>
                <a:cubicBezTo>
                  <a:pt x="4418" y="18655"/>
                  <a:pt x="4418" y="16691"/>
                  <a:pt x="4418" y="1669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2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8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4418" y="9818"/>
                </a:moveTo>
                <a:lnTo>
                  <a:pt x="2455" y="9818"/>
                </a:lnTo>
                <a:lnTo>
                  <a:pt x="2455" y="11782"/>
                </a:lnTo>
                <a:lnTo>
                  <a:pt x="4418" y="11782"/>
                </a:lnTo>
                <a:cubicBezTo>
                  <a:pt x="4418" y="11782"/>
                  <a:pt x="4418" y="9818"/>
                  <a:pt x="4418" y="9818"/>
                </a:cubicBezTo>
                <a:close/>
                <a:moveTo>
                  <a:pt x="4418" y="13255"/>
                </a:moveTo>
                <a:lnTo>
                  <a:pt x="2455" y="13255"/>
                </a:lnTo>
                <a:lnTo>
                  <a:pt x="2455" y="15218"/>
                </a:lnTo>
                <a:lnTo>
                  <a:pt x="4418" y="15218"/>
                </a:lnTo>
                <a:cubicBezTo>
                  <a:pt x="4418" y="15218"/>
                  <a:pt x="4418" y="13255"/>
                  <a:pt x="4418" y="13255"/>
                </a:cubicBezTo>
                <a:close/>
                <a:moveTo>
                  <a:pt x="10309" y="16691"/>
                </a:moveTo>
                <a:lnTo>
                  <a:pt x="8345" y="16691"/>
                </a:lnTo>
                <a:lnTo>
                  <a:pt x="8345" y="18655"/>
                </a:lnTo>
                <a:lnTo>
                  <a:pt x="10309" y="18655"/>
                </a:lnTo>
                <a:cubicBezTo>
                  <a:pt x="10309" y="18655"/>
                  <a:pt x="10309" y="16691"/>
                  <a:pt x="10309" y="16691"/>
                </a:cubicBezTo>
                <a:close/>
                <a:moveTo>
                  <a:pt x="10309" y="9818"/>
                </a:moveTo>
                <a:lnTo>
                  <a:pt x="8345" y="9818"/>
                </a:lnTo>
                <a:lnTo>
                  <a:pt x="8345" y="11782"/>
                </a:lnTo>
                <a:lnTo>
                  <a:pt x="10309" y="11782"/>
                </a:lnTo>
                <a:cubicBezTo>
                  <a:pt x="10309" y="11782"/>
                  <a:pt x="10309" y="9818"/>
                  <a:pt x="10309" y="9818"/>
                </a:cubicBezTo>
                <a:close/>
                <a:moveTo>
                  <a:pt x="10309" y="13255"/>
                </a:moveTo>
                <a:lnTo>
                  <a:pt x="8345" y="13255"/>
                </a:lnTo>
                <a:lnTo>
                  <a:pt x="8345" y="15218"/>
                </a:lnTo>
                <a:lnTo>
                  <a:pt x="10309" y="15218"/>
                </a:lnTo>
                <a:cubicBezTo>
                  <a:pt x="10309" y="15218"/>
                  <a:pt x="10309" y="13255"/>
                  <a:pt x="10309" y="13255"/>
                </a:cubicBezTo>
                <a:close/>
                <a:moveTo>
                  <a:pt x="19145" y="13255"/>
                </a:moveTo>
                <a:lnTo>
                  <a:pt x="17182" y="13255"/>
                </a:lnTo>
                <a:lnTo>
                  <a:pt x="17182" y="15218"/>
                </a:lnTo>
                <a:lnTo>
                  <a:pt x="19145" y="15218"/>
                </a:lnTo>
                <a:cubicBezTo>
                  <a:pt x="19145" y="15218"/>
                  <a:pt x="19145" y="13255"/>
                  <a:pt x="19145" y="13255"/>
                </a:cubicBezTo>
                <a:close/>
                <a:moveTo>
                  <a:pt x="16200" y="13255"/>
                </a:moveTo>
                <a:lnTo>
                  <a:pt x="14236" y="13255"/>
                </a:lnTo>
                <a:lnTo>
                  <a:pt x="14236" y="15218"/>
                </a:lnTo>
                <a:lnTo>
                  <a:pt x="16200" y="15218"/>
                </a:lnTo>
                <a:cubicBezTo>
                  <a:pt x="16200" y="15218"/>
                  <a:pt x="16200" y="13255"/>
                  <a:pt x="16200" y="13255"/>
                </a:cubicBezTo>
                <a:close/>
                <a:moveTo>
                  <a:pt x="19145" y="9818"/>
                </a:moveTo>
                <a:lnTo>
                  <a:pt x="17182" y="9818"/>
                </a:lnTo>
                <a:lnTo>
                  <a:pt x="17182" y="11782"/>
                </a:lnTo>
                <a:lnTo>
                  <a:pt x="19145" y="11782"/>
                </a:lnTo>
                <a:cubicBezTo>
                  <a:pt x="19145" y="11782"/>
                  <a:pt x="19145" y="9818"/>
                  <a:pt x="19145" y="9818"/>
                </a:cubicBezTo>
                <a:close/>
                <a:moveTo>
                  <a:pt x="16200" y="9818"/>
                </a:moveTo>
                <a:lnTo>
                  <a:pt x="14236" y="9818"/>
                </a:lnTo>
                <a:lnTo>
                  <a:pt x="14236" y="11782"/>
                </a:lnTo>
                <a:lnTo>
                  <a:pt x="16200" y="11782"/>
                </a:lnTo>
                <a:cubicBezTo>
                  <a:pt x="16200" y="11782"/>
                  <a:pt x="16200" y="9818"/>
                  <a:pt x="16200" y="9818"/>
                </a:cubicBezTo>
                <a:close/>
                <a:moveTo>
                  <a:pt x="13255" y="16691"/>
                </a:moveTo>
                <a:lnTo>
                  <a:pt x="11291" y="16691"/>
                </a:lnTo>
                <a:lnTo>
                  <a:pt x="11291" y="18655"/>
                </a:lnTo>
                <a:lnTo>
                  <a:pt x="13255" y="18655"/>
                </a:lnTo>
                <a:cubicBezTo>
                  <a:pt x="13255" y="18655"/>
                  <a:pt x="13255" y="16691"/>
                  <a:pt x="13255" y="16691"/>
                </a:cubicBezTo>
                <a:close/>
                <a:moveTo>
                  <a:pt x="13255" y="9818"/>
                </a:moveTo>
                <a:lnTo>
                  <a:pt x="11291" y="9818"/>
                </a:lnTo>
                <a:lnTo>
                  <a:pt x="11291" y="11782"/>
                </a:lnTo>
                <a:lnTo>
                  <a:pt x="13255" y="11782"/>
                </a:lnTo>
                <a:cubicBezTo>
                  <a:pt x="13255" y="11782"/>
                  <a:pt x="13255" y="9818"/>
                  <a:pt x="13255" y="9818"/>
                </a:cubicBezTo>
                <a:close/>
                <a:moveTo>
                  <a:pt x="13255" y="13255"/>
                </a:moveTo>
                <a:lnTo>
                  <a:pt x="11291" y="13255"/>
                </a:lnTo>
                <a:lnTo>
                  <a:pt x="11291" y="15218"/>
                </a:lnTo>
                <a:lnTo>
                  <a:pt x="13255" y="15218"/>
                </a:lnTo>
                <a:cubicBezTo>
                  <a:pt x="13255" y="15218"/>
                  <a:pt x="13255" y="13255"/>
                  <a:pt x="13255" y="1325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4" name="Shape 2624"/>
          <p:cNvSpPr/>
          <p:nvPr/>
        </p:nvSpPr>
        <p:spPr>
          <a:xfrm>
            <a:off x="22098644" y="729557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5" name="Shape 2625"/>
          <p:cNvSpPr/>
          <p:nvPr/>
        </p:nvSpPr>
        <p:spPr>
          <a:xfrm>
            <a:off x="12499946" y="8412885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5" y="18796"/>
                  <a:pt x="1048" y="18734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4" y="1873"/>
                </a:lnTo>
                <a:cubicBezTo>
                  <a:pt x="9930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6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4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7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8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0800" y="15600"/>
                </a:moveTo>
                <a:cubicBezTo>
                  <a:pt x="10258" y="15600"/>
                  <a:pt x="9818" y="16138"/>
                  <a:pt x="9818" y="16800"/>
                </a:cubicBezTo>
                <a:cubicBezTo>
                  <a:pt x="9818" y="17462"/>
                  <a:pt x="10258" y="18000"/>
                  <a:pt x="10800" y="18000"/>
                </a:cubicBezTo>
                <a:cubicBezTo>
                  <a:pt x="11342" y="18000"/>
                  <a:pt x="11782" y="17462"/>
                  <a:pt x="11782" y="16800"/>
                </a:cubicBezTo>
                <a:cubicBezTo>
                  <a:pt x="11782" y="16138"/>
                  <a:pt x="11342" y="15600"/>
                  <a:pt x="10800" y="15600"/>
                </a:cubicBezTo>
                <a:moveTo>
                  <a:pt x="10800" y="6000"/>
                </a:moveTo>
                <a:cubicBezTo>
                  <a:pt x="10258" y="6000"/>
                  <a:pt x="9818" y="6538"/>
                  <a:pt x="9818" y="7200"/>
                </a:cubicBezTo>
                <a:lnTo>
                  <a:pt x="10309" y="13800"/>
                </a:lnTo>
                <a:cubicBezTo>
                  <a:pt x="10309" y="14132"/>
                  <a:pt x="10529" y="14400"/>
                  <a:pt x="10800" y="14400"/>
                </a:cubicBezTo>
                <a:cubicBezTo>
                  <a:pt x="11071" y="14400"/>
                  <a:pt x="11291" y="14132"/>
                  <a:pt x="11291" y="13800"/>
                </a:cubicBezTo>
                <a:lnTo>
                  <a:pt x="11782" y="7200"/>
                </a:lnTo>
                <a:cubicBezTo>
                  <a:pt x="11782" y="6538"/>
                  <a:pt x="11342" y="6000"/>
                  <a:pt x="10800" y="60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6" name="Shape 2626"/>
          <p:cNvSpPr/>
          <p:nvPr/>
        </p:nvSpPr>
        <p:spPr>
          <a:xfrm>
            <a:off x="13617252" y="8362099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22" y="18655"/>
                </a:moveTo>
                <a:cubicBezTo>
                  <a:pt x="7553" y="18644"/>
                  <a:pt x="7811" y="18417"/>
                  <a:pt x="7799" y="18146"/>
                </a:cubicBezTo>
                <a:lnTo>
                  <a:pt x="6916" y="6377"/>
                </a:lnTo>
                <a:cubicBezTo>
                  <a:pt x="6904" y="6106"/>
                  <a:pt x="6626" y="5895"/>
                  <a:pt x="6295" y="5904"/>
                </a:cubicBezTo>
                <a:cubicBezTo>
                  <a:pt x="5963" y="5915"/>
                  <a:pt x="5705" y="6142"/>
                  <a:pt x="5717" y="6413"/>
                </a:cubicBezTo>
                <a:lnTo>
                  <a:pt x="6601" y="18182"/>
                </a:lnTo>
                <a:cubicBezTo>
                  <a:pt x="6613" y="18453"/>
                  <a:pt x="6891" y="18664"/>
                  <a:pt x="7222" y="18655"/>
                </a:cubicBezTo>
                <a:moveTo>
                  <a:pt x="17400" y="19636"/>
                </a:moveTo>
                <a:cubicBezTo>
                  <a:pt x="17319" y="20154"/>
                  <a:pt x="16862" y="20618"/>
                  <a:pt x="16200" y="20618"/>
                </a:cubicBezTo>
                <a:lnTo>
                  <a:pt x="5400" y="20618"/>
                </a:lnTo>
                <a:cubicBezTo>
                  <a:pt x="4737" y="20618"/>
                  <a:pt x="4291" y="20160"/>
                  <a:pt x="4200" y="19636"/>
                </a:cubicBezTo>
                <a:lnTo>
                  <a:pt x="3000" y="3927"/>
                </a:lnTo>
                <a:lnTo>
                  <a:pt x="18600" y="3927"/>
                </a:lnTo>
                <a:cubicBezTo>
                  <a:pt x="18600" y="3927"/>
                  <a:pt x="17400" y="19636"/>
                  <a:pt x="17400" y="19636"/>
                </a:cubicBezTo>
                <a:close/>
                <a:moveTo>
                  <a:pt x="7800" y="983"/>
                </a:moveTo>
                <a:lnTo>
                  <a:pt x="13800" y="983"/>
                </a:lnTo>
                <a:lnTo>
                  <a:pt x="13800" y="2945"/>
                </a:lnTo>
                <a:lnTo>
                  <a:pt x="7800" y="2945"/>
                </a:lnTo>
                <a:cubicBezTo>
                  <a:pt x="7800" y="2945"/>
                  <a:pt x="7800" y="983"/>
                  <a:pt x="7800" y="983"/>
                </a:cubicBezTo>
                <a:close/>
                <a:moveTo>
                  <a:pt x="21000" y="2945"/>
                </a:moveTo>
                <a:lnTo>
                  <a:pt x="15000" y="2945"/>
                </a:lnTo>
                <a:lnTo>
                  <a:pt x="15000" y="983"/>
                </a:lnTo>
                <a:cubicBezTo>
                  <a:pt x="15000" y="440"/>
                  <a:pt x="14462" y="0"/>
                  <a:pt x="13800" y="0"/>
                </a:cubicBezTo>
                <a:lnTo>
                  <a:pt x="7800" y="0"/>
                </a:lnTo>
                <a:cubicBezTo>
                  <a:pt x="7137" y="0"/>
                  <a:pt x="6600" y="440"/>
                  <a:pt x="6600" y="983"/>
                </a:cubicBezTo>
                <a:lnTo>
                  <a:pt x="6600" y="2945"/>
                </a:lnTo>
                <a:lnTo>
                  <a:pt x="600" y="2945"/>
                </a:lnTo>
                <a:cubicBezTo>
                  <a:pt x="269" y="2945"/>
                  <a:pt x="0" y="3166"/>
                  <a:pt x="0" y="3437"/>
                </a:cubicBezTo>
                <a:cubicBezTo>
                  <a:pt x="0" y="3708"/>
                  <a:pt x="269" y="3927"/>
                  <a:pt x="600" y="3927"/>
                </a:cubicBezTo>
                <a:lnTo>
                  <a:pt x="1800" y="3927"/>
                </a:lnTo>
                <a:lnTo>
                  <a:pt x="3000" y="19636"/>
                </a:lnTo>
                <a:cubicBezTo>
                  <a:pt x="3193" y="20711"/>
                  <a:pt x="4075" y="21600"/>
                  <a:pt x="5400" y="21600"/>
                </a:cubicBezTo>
                <a:lnTo>
                  <a:pt x="16200" y="21600"/>
                </a:lnTo>
                <a:cubicBezTo>
                  <a:pt x="17525" y="21600"/>
                  <a:pt x="18374" y="20700"/>
                  <a:pt x="18600" y="19636"/>
                </a:cubicBezTo>
                <a:lnTo>
                  <a:pt x="19800" y="3927"/>
                </a:lnTo>
                <a:lnTo>
                  <a:pt x="21000" y="3927"/>
                </a:lnTo>
                <a:cubicBezTo>
                  <a:pt x="21331" y="3927"/>
                  <a:pt x="21600" y="3708"/>
                  <a:pt x="21600" y="3437"/>
                </a:cubicBezTo>
                <a:cubicBezTo>
                  <a:pt x="21600" y="3166"/>
                  <a:pt x="21331" y="2945"/>
                  <a:pt x="21000" y="2945"/>
                </a:cubicBezTo>
                <a:moveTo>
                  <a:pt x="14380" y="18654"/>
                </a:moveTo>
                <a:cubicBezTo>
                  <a:pt x="14711" y="18664"/>
                  <a:pt x="14989" y="18452"/>
                  <a:pt x="15001" y="18181"/>
                </a:cubicBezTo>
                <a:lnTo>
                  <a:pt x="15871" y="6413"/>
                </a:lnTo>
                <a:cubicBezTo>
                  <a:pt x="15883" y="6142"/>
                  <a:pt x="15625" y="5914"/>
                  <a:pt x="15294" y="5904"/>
                </a:cubicBezTo>
                <a:cubicBezTo>
                  <a:pt x="14962" y="5895"/>
                  <a:pt x="14684" y="6106"/>
                  <a:pt x="14672" y="6377"/>
                </a:cubicBezTo>
                <a:lnTo>
                  <a:pt x="13802" y="18146"/>
                </a:lnTo>
                <a:cubicBezTo>
                  <a:pt x="13790" y="18417"/>
                  <a:pt x="14049" y="18644"/>
                  <a:pt x="14380" y="18654"/>
                </a:cubicBezTo>
                <a:moveTo>
                  <a:pt x="10800" y="18655"/>
                </a:moveTo>
                <a:cubicBezTo>
                  <a:pt x="11131" y="18655"/>
                  <a:pt x="11400" y="18435"/>
                  <a:pt x="11400" y="18164"/>
                </a:cubicBezTo>
                <a:lnTo>
                  <a:pt x="11400" y="6382"/>
                </a:lnTo>
                <a:cubicBezTo>
                  <a:pt x="11400" y="6110"/>
                  <a:pt x="11131" y="5891"/>
                  <a:pt x="10800" y="5891"/>
                </a:cubicBezTo>
                <a:cubicBezTo>
                  <a:pt x="10469" y="5891"/>
                  <a:pt x="10200" y="6110"/>
                  <a:pt x="10200" y="6382"/>
                </a:cubicBezTo>
                <a:lnTo>
                  <a:pt x="10200" y="18164"/>
                </a:lnTo>
                <a:cubicBezTo>
                  <a:pt x="10200" y="18435"/>
                  <a:pt x="10469" y="18655"/>
                  <a:pt x="10800" y="186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7" name="Shape 2627"/>
          <p:cNvSpPr/>
          <p:nvPr/>
        </p:nvSpPr>
        <p:spPr>
          <a:xfrm>
            <a:off x="14721867" y="8362099"/>
            <a:ext cx="38090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720" y="19636"/>
                </a:moveTo>
                <a:cubicBezTo>
                  <a:pt x="18623" y="20154"/>
                  <a:pt x="18075" y="20618"/>
                  <a:pt x="17280" y="20618"/>
                </a:cubicBezTo>
                <a:lnTo>
                  <a:pt x="4320" y="20618"/>
                </a:lnTo>
                <a:cubicBezTo>
                  <a:pt x="3525" y="20618"/>
                  <a:pt x="2989" y="20160"/>
                  <a:pt x="2880" y="19636"/>
                </a:cubicBezTo>
                <a:lnTo>
                  <a:pt x="1483" y="3927"/>
                </a:lnTo>
                <a:lnTo>
                  <a:pt x="20117" y="3927"/>
                </a:lnTo>
                <a:cubicBezTo>
                  <a:pt x="20117" y="3927"/>
                  <a:pt x="18720" y="19636"/>
                  <a:pt x="18720" y="19636"/>
                </a:cubicBezTo>
                <a:close/>
                <a:moveTo>
                  <a:pt x="4529" y="2227"/>
                </a:moveTo>
                <a:cubicBezTo>
                  <a:pt x="4971" y="2122"/>
                  <a:pt x="5311" y="1878"/>
                  <a:pt x="5440" y="1571"/>
                </a:cubicBezTo>
                <a:cubicBezTo>
                  <a:pt x="5563" y="1278"/>
                  <a:pt x="6084" y="982"/>
                  <a:pt x="6840" y="982"/>
                </a:cubicBezTo>
                <a:cubicBezTo>
                  <a:pt x="7596" y="982"/>
                  <a:pt x="8117" y="1094"/>
                  <a:pt x="8240" y="1387"/>
                </a:cubicBezTo>
                <a:cubicBezTo>
                  <a:pt x="8286" y="1495"/>
                  <a:pt x="8358" y="1598"/>
                  <a:pt x="8454" y="1688"/>
                </a:cubicBezTo>
                <a:cubicBezTo>
                  <a:pt x="8957" y="2167"/>
                  <a:pt x="9732" y="2442"/>
                  <a:pt x="10577" y="2442"/>
                </a:cubicBezTo>
                <a:cubicBezTo>
                  <a:pt x="11235" y="2442"/>
                  <a:pt x="11854" y="2268"/>
                  <a:pt x="12300" y="1947"/>
                </a:cubicBezTo>
                <a:cubicBezTo>
                  <a:pt x="12697" y="1647"/>
                  <a:pt x="13446" y="1473"/>
                  <a:pt x="14760" y="1473"/>
                </a:cubicBezTo>
                <a:cubicBezTo>
                  <a:pt x="16059" y="1473"/>
                  <a:pt x="16752" y="1940"/>
                  <a:pt x="16920" y="2209"/>
                </a:cubicBezTo>
                <a:cubicBezTo>
                  <a:pt x="17107" y="2509"/>
                  <a:pt x="17391" y="2750"/>
                  <a:pt x="17688" y="2945"/>
                </a:cubicBezTo>
                <a:lnTo>
                  <a:pt x="2830" y="2945"/>
                </a:lnTo>
                <a:cubicBezTo>
                  <a:pt x="3170" y="2668"/>
                  <a:pt x="3770" y="2408"/>
                  <a:pt x="4529" y="2227"/>
                </a:cubicBezTo>
                <a:moveTo>
                  <a:pt x="20880" y="2945"/>
                </a:moveTo>
                <a:lnTo>
                  <a:pt x="19676" y="2945"/>
                </a:lnTo>
                <a:cubicBezTo>
                  <a:pt x="19217" y="2693"/>
                  <a:pt x="18780" y="2403"/>
                  <a:pt x="18405" y="1964"/>
                </a:cubicBezTo>
                <a:cubicBezTo>
                  <a:pt x="17787" y="1241"/>
                  <a:pt x="16749" y="491"/>
                  <a:pt x="14760" y="491"/>
                </a:cubicBezTo>
                <a:cubicBezTo>
                  <a:pt x="13012" y="491"/>
                  <a:pt x="11880" y="798"/>
                  <a:pt x="11231" y="1289"/>
                </a:cubicBezTo>
                <a:cubicBezTo>
                  <a:pt x="11081" y="1397"/>
                  <a:pt x="10839" y="1461"/>
                  <a:pt x="10577" y="1461"/>
                </a:cubicBezTo>
                <a:cubicBezTo>
                  <a:pt x="10245" y="1461"/>
                  <a:pt x="9879" y="1359"/>
                  <a:pt x="9624" y="1116"/>
                </a:cubicBezTo>
                <a:cubicBezTo>
                  <a:pt x="9310" y="370"/>
                  <a:pt x="8188" y="0"/>
                  <a:pt x="6840" y="0"/>
                </a:cubicBezTo>
                <a:cubicBezTo>
                  <a:pt x="5492" y="0"/>
                  <a:pt x="4370" y="554"/>
                  <a:pt x="4056" y="1300"/>
                </a:cubicBezTo>
                <a:cubicBezTo>
                  <a:pt x="2613" y="1643"/>
                  <a:pt x="1555" y="2238"/>
                  <a:pt x="1211" y="2945"/>
                </a:cubicBezTo>
                <a:lnTo>
                  <a:pt x="720" y="2945"/>
                </a:lnTo>
                <a:cubicBezTo>
                  <a:pt x="323" y="2945"/>
                  <a:pt x="0" y="3165"/>
                  <a:pt x="0" y="3436"/>
                </a:cubicBezTo>
                <a:lnTo>
                  <a:pt x="0" y="3437"/>
                </a:lnTo>
                <a:lnTo>
                  <a:pt x="1440" y="19636"/>
                </a:lnTo>
                <a:cubicBezTo>
                  <a:pt x="1672" y="20711"/>
                  <a:pt x="2730" y="21600"/>
                  <a:pt x="4320" y="21600"/>
                </a:cubicBezTo>
                <a:lnTo>
                  <a:pt x="17280" y="21600"/>
                </a:lnTo>
                <a:cubicBezTo>
                  <a:pt x="18870" y="21600"/>
                  <a:pt x="19890" y="20700"/>
                  <a:pt x="20160" y="19636"/>
                </a:cubicBezTo>
                <a:lnTo>
                  <a:pt x="21600" y="3437"/>
                </a:lnTo>
                <a:lnTo>
                  <a:pt x="21600" y="3436"/>
                </a:lnTo>
                <a:cubicBezTo>
                  <a:pt x="21600" y="3165"/>
                  <a:pt x="21277" y="2945"/>
                  <a:pt x="20880" y="2945"/>
                </a:cubicBezTo>
                <a:moveTo>
                  <a:pt x="6507" y="18655"/>
                </a:moveTo>
                <a:cubicBezTo>
                  <a:pt x="6904" y="18644"/>
                  <a:pt x="7214" y="18417"/>
                  <a:pt x="7200" y="18146"/>
                </a:cubicBezTo>
                <a:lnTo>
                  <a:pt x="6139" y="6377"/>
                </a:lnTo>
                <a:cubicBezTo>
                  <a:pt x="6125" y="6106"/>
                  <a:pt x="5791" y="5895"/>
                  <a:pt x="5394" y="5904"/>
                </a:cubicBezTo>
                <a:cubicBezTo>
                  <a:pt x="4996" y="5915"/>
                  <a:pt x="4686" y="6142"/>
                  <a:pt x="4700" y="6413"/>
                </a:cubicBezTo>
                <a:lnTo>
                  <a:pt x="5761" y="18182"/>
                </a:lnTo>
                <a:cubicBezTo>
                  <a:pt x="5775" y="18453"/>
                  <a:pt x="6109" y="18664"/>
                  <a:pt x="6507" y="18655"/>
                </a:cubicBezTo>
                <a:moveTo>
                  <a:pt x="10800" y="18655"/>
                </a:moveTo>
                <a:cubicBezTo>
                  <a:pt x="11197" y="18655"/>
                  <a:pt x="11520" y="18435"/>
                  <a:pt x="11520" y="18164"/>
                </a:cubicBezTo>
                <a:lnTo>
                  <a:pt x="11520" y="6382"/>
                </a:lnTo>
                <a:cubicBezTo>
                  <a:pt x="11520" y="6110"/>
                  <a:pt x="11197" y="5891"/>
                  <a:pt x="10800" y="5891"/>
                </a:cubicBezTo>
                <a:cubicBezTo>
                  <a:pt x="10403" y="5891"/>
                  <a:pt x="10080" y="6110"/>
                  <a:pt x="10080" y="6382"/>
                </a:cubicBezTo>
                <a:lnTo>
                  <a:pt x="10080" y="18164"/>
                </a:lnTo>
                <a:cubicBezTo>
                  <a:pt x="10080" y="18435"/>
                  <a:pt x="10403" y="18655"/>
                  <a:pt x="10800" y="18655"/>
                </a:cubicBezTo>
                <a:moveTo>
                  <a:pt x="15095" y="18654"/>
                </a:moveTo>
                <a:cubicBezTo>
                  <a:pt x="15494" y="18664"/>
                  <a:pt x="15827" y="18452"/>
                  <a:pt x="15841" y="18181"/>
                </a:cubicBezTo>
                <a:lnTo>
                  <a:pt x="16886" y="6413"/>
                </a:lnTo>
                <a:cubicBezTo>
                  <a:pt x="16900" y="6142"/>
                  <a:pt x="16590" y="5914"/>
                  <a:pt x="16192" y="5904"/>
                </a:cubicBezTo>
                <a:cubicBezTo>
                  <a:pt x="15795" y="5895"/>
                  <a:pt x="15461" y="6106"/>
                  <a:pt x="15447" y="6377"/>
                </a:cubicBezTo>
                <a:lnTo>
                  <a:pt x="14402" y="18146"/>
                </a:lnTo>
                <a:cubicBezTo>
                  <a:pt x="14388" y="18417"/>
                  <a:pt x="14699" y="18644"/>
                  <a:pt x="15095" y="1865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8" name="Shape 2628"/>
          <p:cNvSpPr/>
          <p:nvPr/>
        </p:nvSpPr>
        <p:spPr>
          <a:xfrm>
            <a:off x="15699511" y="836209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9" name="Shape 2629"/>
          <p:cNvSpPr/>
          <p:nvPr/>
        </p:nvSpPr>
        <p:spPr>
          <a:xfrm>
            <a:off x="16766032" y="8362099"/>
            <a:ext cx="558810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1" y="20618"/>
                </a:moveTo>
                <a:cubicBezTo>
                  <a:pt x="15826" y="20618"/>
                  <a:pt x="15226" y="20482"/>
                  <a:pt x="14660" y="20214"/>
                </a:cubicBezTo>
                <a:cubicBezTo>
                  <a:pt x="14607" y="20189"/>
                  <a:pt x="14552" y="20170"/>
                  <a:pt x="14497" y="20155"/>
                </a:cubicBezTo>
                <a:cubicBezTo>
                  <a:pt x="8918" y="17308"/>
                  <a:pt x="4295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7" y="6369"/>
                  <a:pt x="982" y="5770"/>
                  <a:pt x="982" y="5155"/>
                </a:cubicBezTo>
                <a:cubicBezTo>
                  <a:pt x="982" y="2774"/>
                  <a:pt x="3066" y="982"/>
                  <a:pt x="4417" y="982"/>
                </a:cubicBezTo>
                <a:cubicBezTo>
                  <a:pt x="4594" y="982"/>
                  <a:pt x="4711" y="1072"/>
                  <a:pt x="4764" y="1126"/>
                </a:cubicBezTo>
                <a:cubicBezTo>
                  <a:pt x="4776" y="1139"/>
                  <a:pt x="4798" y="1164"/>
                  <a:pt x="4831" y="1216"/>
                </a:cubicBezTo>
                <a:cubicBezTo>
                  <a:pt x="4848" y="1244"/>
                  <a:pt x="4867" y="1271"/>
                  <a:pt x="4887" y="1297"/>
                </a:cubicBezTo>
                <a:lnTo>
                  <a:pt x="8118" y="5453"/>
                </a:lnTo>
                <a:cubicBezTo>
                  <a:pt x="8143" y="5485"/>
                  <a:pt x="8170" y="5515"/>
                  <a:pt x="8199" y="5544"/>
                </a:cubicBezTo>
                <a:cubicBezTo>
                  <a:pt x="8253" y="5598"/>
                  <a:pt x="8343" y="5715"/>
                  <a:pt x="8343" y="5891"/>
                </a:cubicBezTo>
                <a:cubicBezTo>
                  <a:pt x="8343" y="5978"/>
                  <a:pt x="8319" y="6060"/>
                  <a:pt x="8272" y="6135"/>
                </a:cubicBezTo>
                <a:lnTo>
                  <a:pt x="7178" y="7221"/>
                </a:lnTo>
                <a:cubicBezTo>
                  <a:pt x="7173" y="7226"/>
                  <a:pt x="7168" y="7231"/>
                  <a:pt x="7163" y="7236"/>
                </a:cubicBezTo>
                <a:cubicBezTo>
                  <a:pt x="6767" y="7609"/>
                  <a:pt x="6541" y="8126"/>
                  <a:pt x="6541" y="8668"/>
                </a:cubicBezTo>
                <a:cubicBezTo>
                  <a:pt x="6541" y="9175"/>
                  <a:pt x="6738" y="9658"/>
                  <a:pt x="7080" y="10020"/>
                </a:cubicBezTo>
                <a:cubicBezTo>
                  <a:pt x="7092" y="10040"/>
                  <a:pt x="7105" y="10059"/>
                  <a:pt x="7119" y="10078"/>
                </a:cubicBezTo>
                <a:cubicBezTo>
                  <a:pt x="8325" y="11745"/>
                  <a:pt x="9807" y="13222"/>
                  <a:pt x="11525" y="14469"/>
                </a:cubicBezTo>
                <a:cubicBezTo>
                  <a:pt x="11538" y="14478"/>
                  <a:pt x="11551" y="14487"/>
                  <a:pt x="11565" y="14496"/>
                </a:cubicBezTo>
                <a:cubicBezTo>
                  <a:pt x="11928" y="14844"/>
                  <a:pt x="12414" y="15045"/>
                  <a:pt x="12924" y="15045"/>
                </a:cubicBezTo>
                <a:cubicBezTo>
                  <a:pt x="13436" y="15045"/>
                  <a:pt x="13930" y="14840"/>
                  <a:pt x="14297" y="14479"/>
                </a:cubicBezTo>
                <a:cubicBezTo>
                  <a:pt x="14316" y="14463"/>
                  <a:pt x="14335" y="14446"/>
                  <a:pt x="14352" y="14427"/>
                </a:cubicBezTo>
                <a:lnTo>
                  <a:pt x="15451" y="13320"/>
                </a:lnTo>
                <a:cubicBezTo>
                  <a:pt x="15529" y="13271"/>
                  <a:pt x="15611" y="13247"/>
                  <a:pt x="15697" y="13247"/>
                </a:cubicBezTo>
                <a:cubicBezTo>
                  <a:pt x="15874" y="13247"/>
                  <a:pt x="15990" y="13337"/>
                  <a:pt x="16044" y="13391"/>
                </a:cubicBezTo>
                <a:cubicBezTo>
                  <a:pt x="16073" y="13420"/>
                  <a:pt x="16103" y="13447"/>
                  <a:pt x="16135" y="13472"/>
                </a:cubicBezTo>
                <a:lnTo>
                  <a:pt x="20291" y="16704"/>
                </a:lnTo>
                <a:cubicBezTo>
                  <a:pt x="20317" y="16725"/>
                  <a:pt x="20345" y="16744"/>
                  <a:pt x="20374" y="16762"/>
                </a:cubicBezTo>
                <a:cubicBezTo>
                  <a:pt x="20426" y="16795"/>
                  <a:pt x="20449" y="16816"/>
                  <a:pt x="20461" y="16827"/>
                </a:cubicBezTo>
                <a:cubicBezTo>
                  <a:pt x="20515" y="16881"/>
                  <a:pt x="20605" y="16997"/>
                  <a:pt x="20605" y="17174"/>
                </a:cubicBezTo>
                <a:cubicBezTo>
                  <a:pt x="20605" y="17207"/>
                  <a:pt x="20606" y="17240"/>
                  <a:pt x="20610" y="17273"/>
                </a:cubicBezTo>
                <a:cubicBezTo>
                  <a:pt x="20533" y="18625"/>
                  <a:pt x="18769" y="20618"/>
                  <a:pt x="16441" y="20618"/>
                </a:cubicBezTo>
                <a:moveTo>
                  <a:pt x="21586" y="17174"/>
                </a:moveTo>
                <a:cubicBezTo>
                  <a:pt x="21586" y="16768"/>
                  <a:pt x="21421" y="16399"/>
                  <a:pt x="21155" y="16133"/>
                </a:cubicBezTo>
                <a:cubicBezTo>
                  <a:pt x="21077" y="16054"/>
                  <a:pt x="20988" y="15988"/>
                  <a:pt x="20893" y="15929"/>
                </a:cubicBezTo>
                <a:lnTo>
                  <a:pt x="16738" y="12697"/>
                </a:lnTo>
                <a:cubicBezTo>
                  <a:pt x="16471" y="12430"/>
                  <a:pt x="16104" y="12265"/>
                  <a:pt x="15697" y="12265"/>
                </a:cubicBezTo>
                <a:cubicBezTo>
                  <a:pt x="15364" y="12265"/>
                  <a:pt x="15060" y="12380"/>
                  <a:pt x="14815" y="12567"/>
                </a:cubicBezTo>
                <a:lnTo>
                  <a:pt x="13655" y="13736"/>
                </a:lnTo>
                <a:lnTo>
                  <a:pt x="13652" y="13733"/>
                </a:lnTo>
                <a:cubicBezTo>
                  <a:pt x="13473" y="13934"/>
                  <a:pt x="13214" y="14063"/>
                  <a:pt x="12924" y="14063"/>
                </a:cubicBezTo>
                <a:cubicBezTo>
                  <a:pt x="12592" y="14063"/>
                  <a:pt x="12300" y="13897"/>
                  <a:pt x="12122" y="13645"/>
                </a:cubicBezTo>
                <a:cubicBezTo>
                  <a:pt x="12116" y="13654"/>
                  <a:pt x="12107" y="13663"/>
                  <a:pt x="12101" y="13674"/>
                </a:cubicBezTo>
                <a:cubicBezTo>
                  <a:pt x="10497" y="12510"/>
                  <a:pt x="9076" y="11108"/>
                  <a:pt x="7914" y="9502"/>
                </a:cubicBezTo>
                <a:cubicBezTo>
                  <a:pt x="7925" y="9495"/>
                  <a:pt x="7935" y="9486"/>
                  <a:pt x="7947" y="9479"/>
                </a:cubicBezTo>
                <a:cubicBezTo>
                  <a:pt x="7691" y="9299"/>
                  <a:pt x="7523" y="9004"/>
                  <a:pt x="7523" y="8668"/>
                </a:cubicBezTo>
                <a:cubicBezTo>
                  <a:pt x="7523" y="8367"/>
                  <a:pt x="7659" y="8101"/>
                  <a:pt x="7871" y="7920"/>
                </a:cubicBezTo>
                <a:lnTo>
                  <a:pt x="7870" y="7918"/>
                </a:lnTo>
                <a:lnTo>
                  <a:pt x="9023" y="6773"/>
                </a:lnTo>
                <a:cubicBezTo>
                  <a:pt x="9211" y="6528"/>
                  <a:pt x="9325" y="6224"/>
                  <a:pt x="9325" y="5891"/>
                </a:cubicBezTo>
                <a:cubicBezTo>
                  <a:pt x="9325" y="5485"/>
                  <a:pt x="9160" y="5116"/>
                  <a:pt x="8893" y="4850"/>
                </a:cubicBezTo>
                <a:lnTo>
                  <a:pt x="5662" y="693"/>
                </a:lnTo>
                <a:cubicBezTo>
                  <a:pt x="5603" y="599"/>
                  <a:pt x="5537" y="510"/>
                  <a:pt x="5458" y="432"/>
                </a:cubicBezTo>
                <a:cubicBezTo>
                  <a:pt x="5191" y="165"/>
                  <a:pt x="4823" y="0"/>
                  <a:pt x="4417" y="0"/>
                </a:cubicBezTo>
                <a:cubicBezTo>
                  <a:pt x="2454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2" y="7373"/>
                </a:lnTo>
                <a:cubicBezTo>
                  <a:pt x="3435" y="13255"/>
                  <a:pt x="8343" y="18164"/>
                  <a:pt x="14224" y="21117"/>
                </a:cubicBezTo>
                <a:lnTo>
                  <a:pt x="14240" y="21101"/>
                </a:lnTo>
                <a:cubicBezTo>
                  <a:pt x="14908" y="21418"/>
                  <a:pt x="15652" y="21600"/>
                  <a:pt x="16441" y="21600"/>
                </a:cubicBezTo>
                <a:cubicBezTo>
                  <a:pt x="19287" y="21600"/>
                  <a:pt x="21594" y="19145"/>
                  <a:pt x="21594" y="17182"/>
                </a:cubicBezTo>
                <a:cubicBezTo>
                  <a:pt x="21594" y="17179"/>
                  <a:pt x="21594" y="17177"/>
                  <a:pt x="21594" y="17174"/>
                </a:cubicBezTo>
                <a:cubicBezTo>
                  <a:pt x="21594" y="17174"/>
                  <a:pt x="21586" y="17174"/>
                  <a:pt x="21586" y="17174"/>
                </a:cubicBezTo>
                <a:close/>
                <a:moveTo>
                  <a:pt x="11785" y="10800"/>
                </a:moveTo>
                <a:cubicBezTo>
                  <a:pt x="12326" y="10800"/>
                  <a:pt x="12766" y="10360"/>
                  <a:pt x="12766" y="9819"/>
                </a:cubicBezTo>
                <a:cubicBezTo>
                  <a:pt x="12766" y="9276"/>
                  <a:pt x="12326" y="8836"/>
                  <a:pt x="11785" y="8836"/>
                </a:cubicBezTo>
                <a:cubicBezTo>
                  <a:pt x="11242" y="8836"/>
                  <a:pt x="10803" y="9276"/>
                  <a:pt x="10803" y="9819"/>
                </a:cubicBezTo>
                <a:cubicBezTo>
                  <a:pt x="10803" y="10360"/>
                  <a:pt x="11242" y="10800"/>
                  <a:pt x="11785" y="10800"/>
                </a:cubicBezTo>
                <a:moveTo>
                  <a:pt x="11785" y="5891"/>
                </a:moveTo>
                <a:cubicBezTo>
                  <a:pt x="13953" y="5891"/>
                  <a:pt x="15711" y="7649"/>
                  <a:pt x="15711" y="9819"/>
                </a:cubicBezTo>
                <a:cubicBezTo>
                  <a:pt x="15711" y="10090"/>
                  <a:pt x="15930" y="10309"/>
                  <a:pt x="16201" y="10309"/>
                </a:cubicBezTo>
                <a:cubicBezTo>
                  <a:pt x="16472" y="10309"/>
                  <a:pt x="16692" y="10090"/>
                  <a:pt x="16692" y="9819"/>
                </a:cubicBezTo>
                <a:cubicBezTo>
                  <a:pt x="16692" y="7107"/>
                  <a:pt x="14495" y="4909"/>
                  <a:pt x="11785" y="4909"/>
                </a:cubicBezTo>
                <a:cubicBezTo>
                  <a:pt x="11513" y="4909"/>
                  <a:pt x="11294" y="5129"/>
                  <a:pt x="11294" y="5400"/>
                </a:cubicBezTo>
                <a:cubicBezTo>
                  <a:pt x="11294" y="5672"/>
                  <a:pt x="11513" y="5891"/>
                  <a:pt x="11785" y="5891"/>
                </a:cubicBezTo>
                <a:moveTo>
                  <a:pt x="11785" y="982"/>
                </a:moveTo>
                <a:cubicBezTo>
                  <a:pt x="16663" y="982"/>
                  <a:pt x="20618" y="4939"/>
                  <a:pt x="20618" y="9819"/>
                </a:cubicBezTo>
                <a:cubicBezTo>
                  <a:pt x="20618" y="10090"/>
                  <a:pt x="20838" y="10309"/>
                  <a:pt x="21109" y="10309"/>
                </a:cubicBezTo>
                <a:cubicBezTo>
                  <a:pt x="21380" y="10309"/>
                  <a:pt x="21600" y="10090"/>
                  <a:pt x="21600" y="9819"/>
                </a:cubicBezTo>
                <a:cubicBezTo>
                  <a:pt x="21600" y="4396"/>
                  <a:pt x="17206" y="0"/>
                  <a:pt x="11785" y="0"/>
                </a:cubicBezTo>
                <a:cubicBezTo>
                  <a:pt x="11513" y="0"/>
                  <a:pt x="11294" y="220"/>
                  <a:pt x="11294" y="491"/>
                </a:cubicBezTo>
                <a:cubicBezTo>
                  <a:pt x="11294" y="762"/>
                  <a:pt x="11513" y="982"/>
                  <a:pt x="11785" y="9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30" name="Shape 2630"/>
          <p:cNvSpPr/>
          <p:nvPr/>
        </p:nvSpPr>
        <p:spPr>
          <a:xfrm>
            <a:off x="17959524" y="8362099"/>
            <a:ext cx="30473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07" y="18651"/>
                </a:moveTo>
                <a:lnTo>
                  <a:pt x="10795" y="12327"/>
                </a:lnTo>
                <a:lnTo>
                  <a:pt x="10781" y="12326"/>
                </a:lnTo>
                <a:cubicBezTo>
                  <a:pt x="10785" y="12307"/>
                  <a:pt x="10800" y="12292"/>
                  <a:pt x="10800" y="12273"/>
                </a:cubicBezTo>
                <a:cubicBezTo>
                  <a:pt x="10800" y="12001"/>
                  <a:pt x="10398" y="11782"/>
                  <a:pt x="9900" y="11782"/>
                </a:cubicBezTo>
                <a:lnTo>
                  <a:pt x="2149" y="11782"/>
                </a:lnTo>
                <a:lnTo>
                  <a:pt x="8749" y="982"/>
                </a:lnTo>
                <a:lnTo>
                  <a:pt x="15850" y="982"/>
                </a:lnTo>
                <a:lnTo>
                  <a:pt x="11436" y="8190"/>
                </a:lnTo>
                <a:lnTo>
                  <a:pt x="11447" y="8192"/>
                </a:lnTo>
                <a:cubicBezTo>
                  <a:pt x="11417" y="8241"/>
                  <a:pt x="11391" y="8291"/>
                  <a:pt x="11391" y="8345"/>
                </a:cubicBezTo>
                <a:cubicBezTo>
                  <a:pt x="11391" y="8617"/>
                  <a:pt x="11794" y="8836"/>
                  <a:pt x="12291" y="8836"/>
                </a:cubicBezTo>
                <a:lnTo>
                  <a:pt x="19195" y="8836"/>
                </a:lnTo>
                <a:cubicBezTo>
                  <a:pt x="19195" y="8836"/>
                  <a:pt x="9507" y="18651"/>
                  <a:pt x="9507" y="18651"/>
                </a:cubicBezTo>
                <a:close/>
                <a:moveTo>
                  <a:pt x="21600" y="8345"/>
                </a:moveTo>
                <a:cubicBezTo>
                  <a:pt x="21600" y="8074"/>
                  <a:pt x="21197" y="7855"/>
                  <a:pt x="20700" y="7855"/>
                </a:cubicBezTo>
                <a:lnTo>
                  <a:pt x="13541" y="7855"/>
                </a:lnTo>
                <a:lnTo>
                  <a:pt x="17954" y="646"/>
                </a:lnTo>
                <a:lnTo>
                  <a:pt x="17944" y="644"/>
                </a:lnTo>
                <a:cubicBezTo>
                  <a:pt x="17974" y="595"/>
                  <a:pt x="18000" y="545"/>
                  <a:pt x="18000" y="491"/>
                </a:cubicBezTo>
                <a:cubicBezTo>
                  <a:pt x="18000" y="220"/>
                  <a:pt x="17598" y="0"/>
                  <a:pt x="17100" y="0"/>
                </a:cubicBezTo>
                <a:lnTo>
                  <a:pt x="8101" y="0"/>
                </a:lnTo>
                <a:cubicBezTo>
                  <a:pt x="7703" y="0"/>
                  <a:pt x="7376" y="143"/>
                  <a:pt x="7257" y="337"/>
                </a:cubicBezTo>
                <a:lnTo>
                  <a:pt x="7246" y="335"/>
                </a:lnTo>
                <a:lnTo>
                  <a:pt x="47" y="12117"/>
                </a:lnTo>
                <a:lnTo>
                  <a:pt x="57" y="12120"/>
                </a:lnTo>
                <a:cubicBezTo>
                  <a:pt x="27" y="12168"/>
                  <a:pt x="0" y="12218"/>
                  <a:pt x="0" y="12273"/>
                </a:cubicBezTo>
                <a:cubicBezTo>
                  <a:pt x="0" y="12544"/>
                  <a:pt x="403" y="12764"/>
                  <a:pt x="900" y="12764"/>
                </a:cubicBezTo>
                <a:lnTo>
                  <a:pt x="8895" y="12764"/>
                </a:lnTo>
                <a:lnTo>
                  <a:pt x="7206" y="21055"/>
                </a:lnTo>
                <a:lnTo>
                  <a:pt x="7220" y="21056"/>
                </a:lnTo>
                <a:cubicBezTo>
                  <a:pt x="7216" y="21074"/>
                  <a:pt x="7200" y="21090"/>
                  <a:pt x="7200" y="21109"/>
                </a:cubicBezTo>
                <a:cubicBezTo>
                  <a:pt x="7200" y="21380"/>
                  <a:pt x="7603" y="21600"/>
                  <a:pt x="8101" y="21600"/>
                </a:cubicBezTo>
                <a:cubicBezTo>
                  <a:pt x="8464" y="21600"/>
                  <a:pt x="8761" y="21480"/>
                  <a:pt x="8900" y="21310"/>
                </a:cubicBezTo>
                <a:lnTo>
                  <a:pt x="8918" y="21315"/>
                </a:lnTo>
                <a:lnTo>
                  <a:pt x="21517" y="8551"/>
                </a:lnTo>
                <a:lnTo>
                  <a:pt x="21513" y="8550"/>
                </a:lnTo>
                <a:cubicBezTo>
                  <a:pt x="21567" y="8487"/>
                  <a:pt x="21600" y="8419"/>
                  <a:pt x="21600" y="83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31" name="Shape 2631"/>
          <p:cNvSpPr/>
          <p:nvPr/>
        </p:nvSpPr>
        <p:spPr>
          <a:xfrm>
            <a:off x="18899079" y="8412885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3600"/>
                </a:moveTo>
                <a:lnTo>
                  <a:pt x="1964" y="3600"/>
                </a:lnTo>
                <a:lnTo>
                  <a:pt x="1964" y="1200"/>
                </a:lnTo>
                <a:lnTo>
                  <a:pt x="19636" y="1200"/>
                </a:lnTo>
                <a:cubicBezTo>
                  <a:pt x="19636" y="1200"/>
                  <a:pt x="19636" y="3600"/>
                  <a:pt x="19636" y="3600"/>
                </a:cubicBezTo>
                <a:close/>
                <a:moveTo>
                  <a:pt x="17182" y="6000"/>
                </a:moveTo>
                <a:lnTo>
                  <a:pt x="17182" y="4800"/>
                </a:lnTo>
                <a:lnTo>
                  <a:pt x="19145" y="4800"/>
                </a:lnTo>
                <a:lnTo>
                  <a:pt x="19145" y="6000"/>
                </a:lnTo>
                <a:cubicBezTo>
                  <a:pt x="19145" y="6662"/>
                  <a:pt x="18705" y="7200"/>
                  <a:pt x="18164" y="7200"/>
                </a:cubicBezTo>
                <a:cubicBezTo>
                  <a:pt x="17621" y="7200"/>
                  <a:pt x="17182" y="6662"/>
                  <a:pt x="17182" y="6000"/>
                </a:cubicBezTo>
                <a:moveTo>
                  <a:pt x="14236" y="6000"/>
                </a:moveTo>
                <a:lnTo>
                  <a:pt x="14236" y="4800"/>
                </a:lnTo>
                <a:lnTo>
                  <a:pt x="16200" y="4800"/>
                </a:lnTo>
                <a:lnTo>
                  <a:pt x="16200" y="6000"/>
                </a:lnTo>
                <a:cubicBezTo>
                  <a:pt x="16200" y="6662"/>
                  <a:pt x="15760" y="7200"/>
                  <a:pt x="15218" y="7200"/>
                </a:cubicBezTo>
                <a:cubicBezTo>
                  <a:pt x="14675" y="7200"/>
                  <a:pt x="14236" y="6662"/>
                  <a:pt x="14236" y="6000"/>
                </a:cubicBezTo>
                <a:moveTo>
                  <a:pt x="11291" y="6000"/>
                </a:moveTo>
                <a:lnTo>
                  <a:pt x="11291" y="4800"/>
                </a:lnTo>
                <a:lnTo>
                  <a:pt x="13255" y="4800"/>
                </a:lnTo>
                <a:lnTo>
                  <a:pt x="13255" y="6000"/>
                </a:lnTo>
                <a:cubicBezTo>
                  <a:pt x="13255" y="6662"/>
                  <a:pt x="12814" y="7200"/>
                  <a:pt x="12273" y="7200"/>
                </a:cubicBezTo>
                <a:cubicBezTo>
                  <a:pt x="11730" y="7200"/>
                  <a:pt x="11291" y="6662"/>
                  <a:pt x="11291" y="6000"/>
                </a:cubicBezTo>
                <a:moveTo>
                  <a:pt x="8345" y="6000"/>
                </a:moveTo>
                <a:lnTo>
                  <a:pt x="8345" y="4800"/>
                </a:lnTo>
                <a:lnTo>
                  <a:pt x="10309" y="4800"/>
                </a:lnTo>
                <a:lnTo>
                  <a:pt x="10309" y="6000"/>
                </a:lnTo>
                <a:cubicBezTo>
                  <a:pt x="10309" y="6662"/>
                  <a:pt x="9869" y="7200"/>
                  <a:pt x="9327" y="7200"/>
                </a:cubicBezTo>
                <a:cubicBezTo>
                  <a:pt x="8785" y="7200"/>
                  <a:pt x="8345" y="6662"/>
                  <a:pt x="8345" y="6000"/>
                </a:cubicBezTo>
                <a:moveTo>
                  <a:pt x="5400" y="6000"/>
                </a:moveTo>
                <a:lnTo>
                  <a:pt x="5400" y="4800"/>
                </a:lnTo>
                <a:lnTo>
                  <a:pt x="7364" y="4800"/>
                </a:lnTo>
                <a:lnTo>
                  <a:pt x="7364" y="6000"/>
                </a:lnTo>
                <a:cubicBezTo>
                  <a:pt x="7364" y="6662"/>
                  <a:pt x="6924" y="7200"/>
                  <a:pt x="6382" y="7200"/>
                </a:cubicBezTo>
                <a:cubicBezTo>
                  <a:pt x="5839" y="7200"/>
                  <a:pt x="5400" y="6662"/>
                  <a:pt x="5400" y="6000"/>
                </a:cubicBezTo>
                <a:moveTo>
                  <a:pt x="2455" y="6000"/>
                </a:moveTo>
                <a:lnTo>
                  <a:pt x="2455" y="4800"/>
                </a:lnTo>
                <a:lnTo>
                  <a:pt x="4418" y="4800"/>
                </a:lnTo>
                <a:lnTo>
                  <a:pt x="4418" y="6000"/>
                </a:lnTo>
                <a:cubicBezTo>
                  <a:pt x="4418" y="6662"/>
                  <a:pt x="3978" y="7200"/>
                  <a:pt x="3436" y="7200"/>
                </a:cubicBezTo>
                <a:cubicBezTo>
                  <a:pt x="2894" y="7200"/>
                  <a:pt x="2455" y="6662"/>
                  <a:pt x="2455" y="6000"/>
                </a:cubicBezTo>
                <a:moveTo>
                  <a:pt x="19636" y="20400"/>
                </a:moveTo>
                <a:lnTo>
                  <a:pt x="12764" y="20400"/>
                </a:lnTo>
                <a:lnTo>
                  <a:pt x="12764" y="13800"/>
                </a:lnTo>
                <a:cubicBezTo>
                  <a:pt x="12764" y="13469"/>
                  <a:pt x="12544" y="13200"/>
                  <a:pt x="12273" y="13200"/>
                </a:cubicBezTo>
                <a:lnTo>
                  <a:pt x="9327" y="13200"/>
                </a:lnTo>
                <a:cubicBezTo>
                  <a:pt x="9056" y="13200"/>
                  <a:pt x="8836" y="13469"/>
                  <a:pt x="8836" y="13800"/>
                </a:cubicBezTo>
                <a:lnTo>
                  <a:pt x="8836" y="20400"/>
                </a:lnTo>
                <a:lnTo>
                  <a:pt x="1964" y="20400"/>
                </a:lnTo>
                <a:lnTo>
                  <a:pt x="1964" y="7573"/>
                </a:lnTo>
                <a:cubicBezTo>
                  <a:pt x="2324" y="8076"/>
                  <a:pt x="2847" y="8400"/>
                  <a:pt x="3436" y="8400"/>
                </a:cubicBezTo>
                <a:cubicBezTo>
                  <a:pt x="4026" y="8400"/>
                  <a:pt x="4549" y="8076"/>
                  <a:pt x="4909" y="7573"/>
                </a:cubicBezTo>
                <a:cubicBezTo>
                  <a:pt x="5269" y="8076"/>
                  <a:pt x="5792" y="8400"/>
                  <a:pt x="6382" y="8400"/>
                </a:cubicBezTo>
                <a:cubicBezTo>
                  <a:pt x="6971" y="8400"/>
                  <a:pt x="7495" y="8076"/>
                  <a:pt x="7855" y="7573"/>
                </a:cubicBezTo>
                <a:cubicBezTo>
                  <a:pt x="8215" y="8076"/>
                  <a:pt x="8738" y="8400"/>
                  <a:pt x="9327" y="8400"/>
                </a:cubicBezTo>
                <a:cubicBezTo>
                  <a:pt x="9917" y="8400"/>
                  <a:pt x="10440" y="8076"/>
                  <a:pt x="10800" y="7573"/>
                </a:cubicBezTo>
                <a:cubicBezTo>
                  <a:pt x="11160" y="8076"/>
                  <a:pt x="11683" y="8400"/>
                  <a:pt x="12273" y="8400"/>
                </a:cubicBezTo>
                <a:cubicBezTo>
                  <a:pt x="12862" y="8400"/>
                  <a:pt x="13385" y="8076"/>
                  <a:pt x="13745" y="7573"/>
                </a:cubicBezTo>
                <a:cubicBezTo>
                  <a:pt x="14105" y="8076"/>
                  <a:pt x="14629" y="8400"/>
                  <a:pt x="15218" y="8400"/>
                </a:cubicBezTo>
                <a:cubicBezTo>
                  <a:pt x="15808" y="8400"/>
                  <a:pt x="16331" y="8076"/>
                  <a:pt x="16691" y="7573"/>
                </a:cubicBezTo>
                <a:cubicBezTo>
                  <a:pt x="17051" y="8076"/>
                  <a:pt x="17574" y="8400"/>
                  <a:pt x="18164" y="8400"/>
                </a:cubicBezTo>
                <a:cubicBezTo>
                  <a:pt x="18753" y="8400"/>
                  <a:pt x="19276" y="8076"/>
                  <a:pt x="19636" y="7573"/>
                </a:cubicBezTo>
                <a:cubicBezTo>
                  <a:pt x="19636" y="7573"/>
                  <a:pt x="19636" y="20400"/>
                  <a:pt x="19636" y="20400"/>
                </a:cubicBezTo>
                <a:close/>
                <a:moveTo>
                  <a:pt x="11782" y="20400"/>
                </a:moveTo>
                <a:lnTo>
                  <a:pt x="9818" y="204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20400"/>
                  <a:pt x="11782" y="20400"/>
                </a:cubicBezTo>
                <a:close/>
                <a:moveTo>
                  <a:pt x="21109" y="20400"/>
                </a:moveTo>
                <a:lnTo>
                  <a:pt x="20618" y="20400"/>
                </a:lnTo>
                <a:lnTo>
                  <a:pt x="20618" y="4800"/>
                </a:lnTo>
                <a:lnTo>
                  <a:pt x="21109" y="4800"/>
                </a:lnTo>
                <a:cubicBezTo>
                  <a:pt x="21380" y="4800"/>
                  <a:pt x="21600" y="4532"/>
                  <a:pt x="21600" y="4200"/>
                </a:cubicBezTo>
                <a:cubicBezTo>
                  <a:pt x="21600" y="3868"/>
                  <a:pt x="21380" y="3600"/>
                  <a:pt x="21109" y="3600"/>
                </a:cubicBezTo>
                <a:lnTo>
                  <a:pt x="20618" y="3600"/>
                </a:lnTo>
                <a:lnTo>
                  <a:pt x="20618" y="1200"/>
                </a:lnTo>
                <a:cubicBezTo>
                  <a:pt x="20618" y="538"/>
                  <a:pt x="20178" y="0"/>
                  <a:pt x="19636" y="0"/>
                </a:cubicBezTo>
                <a:lnTo>
                  <a:pt x="1964" y="0"/>
                </a:lnTo>
                <a:cubicBezTo>
                  <a:pt x="1421" y="0"/>
                  <a:pt x="982" y="538"/>
                  <a:pt x="982" y="1200"/>
                </a:cubicBezTo>
                <a:lnTo>
                  <a:pt x="982" y="3600"/>
                </a:lnTo>
                <a:lnTo>
                  <a:pt x="491" y="3600"/>
                </a:lnTo>
                <a:cubicBezTo>
                  <a:pt x="220" y="3600"/>
                  <a:pt x="0" y="3868"/>
                  <a:pt x="0" y="4200"/>
                </a:cubicBezTo>
                <a:cubicBezTo>
                  <a:pt x="0" y="4532"/>
                  <a:pt x="220" y="4800"/>
                  <a:pt x="491" y="4800"/>
                </a:cubicBezTo>
                <a:lnTo>
                  <a:pt x="982" y="4800"/>
                </a:lnTo>
                <a:lnTo>
                  <a:pt x="982" y="20400"/>
                </a:lnTo>
                <a:lnTo>
                  <a:pt x="491" y="20400"/>
                </a:lnTo>
                <a:cubicBezTo>
                  <a:pt x="220" y="20400"/>
                  <a:pt x="0" y="20669"/>
                  <a:pt x="0" y="21000"/>
                </a:cubicBez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cubicBezTo>
                  <a:pt x="21600" y="20669"/>
                  <a:pt x="21380" y="20400"/>
                  <a:pt x="21109" y="20400"/>
                </a:cubicBezTo>
                <a:moveTo>
                  <a:pt x="16691" y="16800"/>
                </a:moveTo>
                <a:lnTo>
                  <a:pt x="14727" y="16800"/>
                </a:lnTo>
                <a:lnTo>
                  <a:pt x="14727" y="14400"/>
                </a:lnTo>
                <a:lnTo>
                  <a:pt x="16691" y="14400"/>
                </a:lnTo>
                <a:cubicBezTo>
                  <a:pt x="16691" y="14400"/>
                  <a:pt x="16691" y="16800"/>
                  <a:pt x="16691" y="16800"/>
                </a:cubicBezTo>
                <a:close/>
                <a:moveTo>
                  <a:pt x="17182" y="13200"/>
                </a:moveTo>
                <a:lnTo>
                  <a:pt x="14236" y="13200"/>
                </a:lnTo>
                <a:cubicBezTo>
                  <a:pt x="13965" y="13200"/>
                  <a:pt x="13745" y="13469"/>
                  <a:pt x="13745" y="13800"/>
                </a:cubicBezTo>
                <a:lnTo>
                  <a:pt x="13745" y="17400"/>
                </a:lnTo>
                <a:cubicBezTo>
                  <a:pt x="13745" y="17732"/>
                  <a:pt x="13965" y="18000"/>
                  <a:pt x="14236" y="18000"/>
                </a:cubicBezTo>
                <a:lnTo>
                  <a:pt x="17182" y="18000"/>
                </a:lnTo>
                <a:cubicBezTo>
                  <a:pt x="17453" y="18000"/>
                  <a:pt x="17673" y="17732"/>
                  <a:pt x="17673" y="17400"/>
                </a:cubicBezTo>
                <a:lnTo>
                  <a:pt x="17673" y="13800"/>
                </a:lnTo>
                <a:cubicBezTo>
                  <a:pt x="17673" y="13469"/>
                  <a:pt x="17453" y="13200"/>
                  <a:pt x="17182" y="13200"/>
                </a:cubicBezTo>
                <a:moveTo>
                  <a:pt x="6873" y="16800"/>
                </a:moveTo>
                <a:lnTo>
                  <a:pt x="4909" y="16800"/>
                </a:lnTo>
                <a:lnTo>
                  <a:pt x="4909" y="14400"/>
                </a:lnTo>
                <a:lnTo>
                  <a:pt x="6873" y="14400"/>
                </a:lnTo>
                <a:cubicBezTo>
                  <a:pt x="6873" y="14400"/>
                  <a:pt x="6873" y="16800"/>
                  <a:pt x="6873" y="16800"/>
                </a:cubicBezTo>
                <a:close/>
                <a:moveTo>
                  <a:pt x="7364" y="13200"/>
                </a:moveTo>
                <a:lnTo>
                  <a:pt x="4418" y="13200"/>
                </a:lnTo>
                <a:cubicBezTo>
                  <a:pt x="4147" y="13200"/>
                  <a:pt x="3927" y="13469"/>
                  <a:pt x="3927" y="13800"/>
                </a:cubicBezTo>
                <a:lnTo>
                  <a:pt x="3927" y="17400"/>
                </a:lnTo>
                <a:cubicBezTo>
                  <a:pt x="3927" y="17732"/>
                  <a:pt x="4147" y="18000"/>
                  <a:pt x="4418" y="18000"/>
                </a:cubicBezTo>
                <a:lnTo>
                  <a:pt x="7364" y="18000"/>
                </a:lnTo>
                <a:cubicBezTo>
                  <a:pt x="7635" y="18000"/>
                  <a:pt x="7855" y="17732"/>
                  <a:pt x="7855" y="17400"/>
                </a:cubicBezTo>
                <a:lnTo>
                  <a:pt x="7855" y="13800"/>
                </a:lnTo>
                <a:cubicBezTo>
                  <a:pt x="7855" y="13469"/>
                  <a:pt x="7635" y="13200"/>
                  <a:pt x="7364" y="13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32" name="Shape 2632"/>
          <p:cNvSpPr/>
          <p:nvPr/>
        </p:nvSpPr>
        <p:spPr>
          <a:xfrm>
            <a:off x="20016388" y="8362099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7673"/>
                </a:moveTo>
                <a:cubicBezTo>
                  <a:pt x="4588" y="17673"/>
                  <a:pt x="1200" y="16051"/>
                  <a:pt x="1200" y="15218"/>
                </a:cubicBezTo>
                <a:cubicBezTo>
                  <a:pt x="1200" y="14690"/>
                  <a:pt x="1355" y="14275"/>
                  <a:pt x="1611" y="13896"/>
                </a:cubicBezTo>
                <a:cubicBezTo>
                  <a:pt x="3255" y="14967"/>
                  <a:pt x="6746" y="15709"/>
                  <a:pt x="10800" y="15709"/>
                </a:cubicBezTo>
                <a:cubicBezTo>
                  <a:pt x="14856" y="15709"/>
                  <a:pt x="18345" y="14966"/>
                  <a:pt x="19987" y="13894"/>
                </a:cubicBezTo>
                <a:cubicBezTo>
                  <a:pt x="20244" y="14273"/>
                  <a:pt x="20400" y="14689"/>
                  <a:pt x="20400" y="15218"/>
                </a:cubicBezTo>
                <a:cubicBezTo>
                  <a:pt x="20400" y="16051"/>
                  <a:pt x="17011" y="17673"/>
                  <a:pt x="10800" y="17673"/>
                </a:cubicBezTo>
                <a:moveTo>
                  <a:pt x="10800" y="20618"/>
                </a:moveTo>
                <a:cubicBezTo>
                  <a:pt x="9475" y="20618"/>
                  <a:pt x="8400" y="19739"/>
                  <a:pt x="8400" y="18655"/>
                </a:cubicBezTo>
                <a:cubicBezTo>
                  <a:pt x="8400" y="18625"/>
                  <a:pt x="8408" y="18597"/>
                  <a:pt x="8409" y="18567"/>
                </a:cubicBezTo>
                <a:cubicBezTo>
                  <a:pt x="9179" y="18623"/>
                  <a:pt x="9977" y="18655"/>
                  <a:pt x="10800" y="18655"/>
                </a:cubicBezTo>
                <a:cubicBezTo>
                  <a:pt x="11623" y="18655"/>
                  <a:pt x="12421" y="18623"/>
                  <a:pt x="13191" y="18567"/>
                </a:cubicBezTo>
                <a:cubicBezTo>
                  <a:pt x="13192" y="18597"/>
                  <a:pt x="13200" y="18625"/>
                  <a:pt x="13200" y="18655"/>
                </a:cubicBezTo>
                <a:cubicBezTo>
                  <a:pt x="13200" y="19739"/>
                  <a:pt x="12125" y="20618"/>
                  <a:pt x="10800" y="20618"/>
                </a:cubicBezTo>
                <a:moveTo>
                  <a:pt x="2948" y="12551"/>
                </a:moveTo>
                <a:cubicBezTo>
                  <a:pt x="4308" y="11388"/>
                  <a:pt x="6000" y="9939"/>
                  <a:pt x="6000" y="6873"/>
                </a:cubicBezTo>
                <a:cubicBezTo>
                  <a:pt x="6000" y="5232"/>
                  <a:pt x="7238" y="3825"/>
                  <a:pt x="8988" y="3239"/>
                </a:cubicBezTo>
                <a:cubicBezTo>
                  <a:pt x="9428" y="3657"/>
                  <a:pt x="10072" y="3927"/>
                  <a:pt x="10800" y="3927"/>
                </a:cubicBezTo>
                <a:cubicBezTo>
                  <a:pt x="11528" y="3927"/>
                  <a:pt x="12172" y="3657"/>
                  <a:pt x="12611" y="3239"/>
                </a:cubicBezTo>
                <a:cubicBezTo>
                  <a:pt x="14362" y="3825"/>
                  <a:pt x="15600" y="5232"/>
                  <a:pt x="15600" y="6873"/>
                </a:cubicBezTo>
                <a:cubicBezTo>
                  <a:pt x="15600" y="9939"/>
                  <a:pt x="17292" y="11388"/>
                  <a:pt x="18652" y="12551"/>
                </a:cubicBezTo>
                <a:cubicBezTo>
                  <a:pt x="18911" y="12773"/>
                  <a:pt x="19152" y="12979"/>
                  <a:pt x="19366" y="13183"/>
                </a:cubicBezTo>
                <a:cubicBezTo>
                  <a:pt x="18217" y="14077"/>
                  <a:pt x="14825" y="14727"/>
                  <a:pt x="10800" y="14727"/>
                </a:cubicBezTo>
                <a:cubicBezTo>
                  <a:pt x="6779" y="14727"/>
                  <a:pt x="3383" y="14079"/>
                  <a:pt x="2230" y="13186"/>
                </a:cubicBezTo>
                <a:cubicBezTo>
                  <a:pt x="2446" y="12981"/>
                  <a:pt x="2687" y="12774"/>
                  <a:pt x="2948" y="12551"/>
                </a:cubicBezTo>
                <a:moveTo>
                  <a:pt x="10800" y="982"/>
                </a:moveTo>
                <a:cubicBezTo>
                  <a:pt x="11462" y="982"/>
                  <a:pt x="12000" y="1422"/>
                  <a:pt x="12000" y="1964"/>
                </a:cubicBezTo>
                <a:cubicBezTo>
                  <a:pt x="12000" y="2506"/>
                  <a:pt x="11462" y="2945"/>
                  <a:pt x="10800" y="2945"/>
                </a:cubicBezTo>
                <a:cubicBezTo>
                  <a:pt x="10138" y="2945"/>
                  <a:pt x="9600" y="2506"/>
                  <a:pt x="9600" y="1964"/>
                </a:cubicBezTo>
                <a:cubicBezTo>
                  <a:pt x="9600" y="1422"/>
                  <a:pt x="10138" y="982"/>
                  <a:pt x="10800" y="982"/>
                </a:cubicBezTo>
                <a:moveTo>
                  <a:pt x="21600" y="15218"/>
                </a:moveTo>
                <a:cubicBezTo>
                  <a:pt x="21600" y="11782"/>
                  <a:pt x="16800" y="11782"/>
                  <a:pt x="16800" y="6873"/>
                </a:cubicBezTo>
                <a:cubicBezTo>
                  <a:pt x="16800" y="4845"/>
                  <a:pt x="15296" y="3105"/>
                  <a:pt x="13152" y="2356"/>
                </a:cubicBezTo>
                <a:cubicBezTo>
                  <a:pt x="13183" y="2229"/>
                  <a:pt x="13200" y="2098"/>
                  <a:pt x="13200" y="1964"/>
                </a:cubicBezTo>
                <a:cubicBezTo>
                  <a:pt x="13200" y="879"/>
                  <a:pt x="12125" y="0"/>
                  <a:pt x="10800" y="0"/>
                </a:cubicBezTo>
                <a:cubicBezTo>
                  <a:pt x="9475" y="0"/>
                  <a:pt x="8400" y="879"/>
                  <a:pt x="8400" y="1964"/>
                </a:cubicBezTo>
                <a:cubicBezTo>
                  <a:pt x="8400" y="2098"/>
                  <a:pt x="8417" y="2229"/>
                  <a:pt x="8448" y="2356"/>
                </a:cubicBezTo>
                <a:cubicBezTo>
                  <a:pt x="6304" y="3105"/>
                  <a:pt x="4800" y="4845"/>
                  <a:pt x="4800" y="6873"/>
                </a:cubicBezTo>
                <a:cubicBezTo>
                  <a:pt x="4800" y="11782"/>
                  <a:pt x="0" y="11782"/>
                  <a:pt x="0" y="15218"/>
                </a:cubicBezTo>
                <a:cubicBezTo>
                  <a:pt x="0" y="16716"/>
                  <a:pt x="3016" y="17986"/>
                  <a:pt x="7217" y="18457"/>
                </a:cubicBezTo>
                <a:cubicBezTo>
                  <a:pt x="7211" y="18523"/>
                  <a:pt x="7200" y="18587"/>
                  <a:pt x="7200" y="18655"/>
                </a:cubicBezTo>
                <a:cubicBezTo>
                  <a:pt x="7200" y="20282"/>
                  <a:pt x="8812" y="21600"/>
                  <a:pt x="10800" y="21600"/>
                </a:cubicBezTo>
                <a:cubicBezTo>
                  <a:pt x="12788" y="21600"/>
                  <a:pt x="14400" y="20282"/>
                  <a:pt x="14400" y="18655"/>
                </a:cubicBezTo>
                <a:cubicBezTo>
                  <a:pt x="14400" y="18587"/>
                  <a:pt x="14389" y="18523"/>
                  <a:pt x="14383" y="18457"/>
                </a:cubicBezTo>
                <a:cubicBezTo>
                  <a:pt x="18584" y="17986"/>
                  <a:pt x="21600" y="16716"/>
                  <a:pt x="21600" y="152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33" name="Shape 2633"/>
          <p:cNvSpPr/>
          <p:nvPr/>
        </p:nvSpPr>
        <p:spPr>
          <a:xfrm>
            <a:off x="21032122" y="836209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34" name="Shape 2634"/>
          <p:cNvSpPr/>
          <p:nvPr/>
        </p:nvSpPr>
        <p:spPr>
          <a:xfrm>
            <a:off x="22098644" y="836209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4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800" y="3145"/>
                </a:lnTo>
                <a:lnTo>
                  <a:pt x="11480" y="2491"/>
                </a:lnTo>
                <a:cubicBezTo>
                  <a:pt x="12493" y="1518"/>
                  <a:pt x="13820" y="982"/>
                  <a:pt x="15218" y="982"/>
                </a:cubicBezTo>
                <a:cubicBezTo>
                  <a:pt x="18196" y="982"/>
                  <a:pt x="20618" y="3404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4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41" name="Shape 2707"/>
          <p:cNvSpPr/>
          <p:nvPr/>
        </p:nvSpPr>
        <p:spPr>
          <a:xfrm>
            <a:off x="11478022" y="2641002"/>
            <a:ext cx="1466214" cy="6309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8090" tIns="38090" rIns="38090" bIns="38090" anchor="ctr">
            <a:spAutoFit/>
          </a:bodyPr>
          <a:lstStyle>
            <a:lvl1pPr algn="l">
              <a:defRPr sz="3000" b="1" cap="none" spc="-90">
                <a:solidFill>
                  <a:srgbClr val="1C1D21"/>
                </a:solidFill>
                <a:latin typeface="+mj-lt"/>
                <a:ea typeface="+mj-ea"/>
                <a:cs typeface="+mj-cs"/>
                <a:sym typeface="Karla"/>
              </a:defRPr>
            </a:lvl1pPr>
          </a:lstStyle>
          <a:p>
            <a:pPr algn="ctr"/>
            <a:r>
              <a:rPr lang="en-US" sz="3600" b="0" dirty="0">
                <a:solidFill>
                  <a:schemeClr val="tx1"/>
                </a:solidFill>
                <a:latin typeface="Calibri" panose="020F0502020204030204" pitchFamily="34" charset="0"/>
                <a:ea typeface="Avenir Book" charset="0"/>
                <a:cs typeface="Calibri" panose="020F0502020204030204" pitchFamily="34" charset="0"/>
              </a:rPr>
              <a:t>General</a:t>
            </a:r>
          </a:p>
        </p:txBody>
      </p:sp>
    </p:spTree>
    <p:extLst>
      <p:ext uri="{BB962C8B-B14F-4D97-AF65-F5344CB8AC3E}">
        <p14:creationId xmlns:p14="http://schemas.microsoft.com/office/powerpoint/2010/main" val="3506029133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7" name="Shape 2637"/>
          <p:cNvSpPr/>
          <p:nvPr/>
        </p:nvSpPr>
        <p:spPr>
          <a:xfrm>
            <a:off x="1885508" y="2853085"/>
            <a:ext cx="30472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836"/>
                </a:moveTo>
                <a:lnTo>
                  <a:pt x="16200" y="8836"/>
                </a:lnTo>
                <a:lnTo>
                  <a:pt x="16200" y="11782"/>
                </a:lnTo>
                <a:cubicBezTo>
                  <a:pt x="16200" y="13409"/>
                  <a:pt x="13783" y="14727"/>
                  <a:pt x="10800" y="14727"/>
                </a:cubicBezTo>
                <a:cubicBezTo>
                  <a:pt x="7817" y="14727"/>
                  <a:pt x="5400" y="13409"/>
                  <a:pt x="5400" y="11782"/>
                </a:cubicBezTo>
                <a:cubicBezTo>
                  <a:pt x="5400" y="11782"/>
                  <a:pt x="5400" y="8836"/>
                  <a:pt x="5400" y="8836"/>
                </a:cubicBezTo>
                <a:close/>
                <a:moveTo>
                  <a:pt x="5400" y="3927"/>
                </a:moveTo>
                <a:cubicBezTo>
                  <a:pt x="5400" y="2301"/>
                  <a:pt x="7817" y="982"/>
                  <a:pt x="10800" y="982"/>
                </a:cubicBezTo>
                <a:cubicBezTo>
                  <a:pt x="13783" y="982"/>
                  <a:pt x="16200" y="2301"/>
                  <a:pt x="16200" y="3927"/>
                </a:cubicBezTo>
                <a:lnTo>
                  <a:pt x="16200" y="7855"/>
                </a:lnTo>
                <a:lnTo>
                  <a:pt x="5400" y="7855"/>
                </a:lnTo>
                <a:cubicBezTo>
                  <a:pt x="5400" y="7855"/>
                  <a:pt x="5400" y="3927"/>
                  <a:pt x="5400" y="3927"/>
                </a:cubicBezTo>
                <a:close/>
                <a:moveTo>
                  <a:pt x="10800" y="15709"/>
                </a:moveTo>
                <a:cubicBezTo>
                  <a:pt x="14777" y="15709"/>
                  <a:pt x="18000" y="13951"/>
                  <a:pt x="18000" y="11782"/>
                </a:cubicBezTo>
                <a:lnTo>
                  <a:pt x="18000" y="3927"/>
                </a:lnTo>
                <a:cubicBezTo>
                  <a:pt x="18000" y="1758"/>
                  <a:pt x="14777" y="0"/>
                  <a:pt x="10800" y="0"/>
                </a:cubicBezTo>
                <a:cubicBezTo>
                  <a:pt x="6823" y="0"/>
                  <a:pt x="3600" y="1758"/>
                  <a:pt x="3600" y="3927"/>
                </a:cubicBezTo>
                <a:lnTo>
                  <a:pt x="3600" y="11782"/>
                </a:lnTo>
                <a:cubicBezTo>
                  <a:pt x="3600" y="13951"/>
                  <a:pt x="6823" y="15709"/>
                  <a:pt x="10800" y="15709"/>
                </a:cubicBezTo>
                <a:moveTo>
                  <a:pt x="21600" y="11782"/>
                </a:moveTo>
                <a:lnTo>
                  <a:pt x="21600" y="10309"/>
                </a:lnTo>
                <a:cubicBezTo>
                  <a:pt x="21600" y="10038"/>
                  <a:pt x="21197" y="9818"/>
                  <a:pt x="20700" y="9818"/>
                </a:cubicBezTo>
                <a:cubicBezTo>
                  <a:pt x="20203" y="9818"/>
                  <a:pt x="19800" y="10038"/>
                  <a:pt x="19800" y="10309"/>
                </a:cubicBezTo>
                <a:lnTo>
                  <a:pt x="19800" y="11782"/>
                </a:lnTo>
                <a:cubicBezTo>
                  <a:pt x="19800" y="14493"/>
                  <a:pt x="15771" y="16691"/>
                  <a:pt x="10800" y="16691"/>
                </a:cubicBezTo>
                <a:cubicBezTo>
                  <a:pt x="5829" y="16691"/>
                  <a:pt x="1800" y="14493"/>
                  <a:pt x="1800" y="11782"/>
                </a:cubicBezTo>
                <a:lnTo>
                  <a:pt x="1800" y="10309"/>
                </a:lnTo>
                <a:cubicBezTo>
                  <a:pt x="1800" y="10038"/>
                  <a:pt x="1397" y="9818"/>
                  <a:pt x="900" y="9818"/>
                </a:cubicBezTo>
                <a:cubicBezTo>
                  <a:pt x="403" y="9818"/>
                  <a:pt x="0" y="10038"/>
                  <a:pt x="0" y="10309"/>
                </a:cubicBezTo>
                <a:lnTo>
                  <a:pt x="0" y="11782"/>
                </a:lnTo>
                <a:cubicBezTo>
                  <a:pt x="0" y="14870"/>
                  <a:pt x="4358" y="17398"/>
                  <a:pt x="9900" y="17648"/>
                </a:cubicBezTo>
                <a:lnTo>
                  <a:pt x="9900" y="20618"/>
                </a:lnTo>
                <a:lnTo>
                  <a:pt x="3600" y="20618"/>
                </a:lnTo>
                <a:cubicBezTo>
                  <a:pt x="3103" y="20618"/>
                  <a:pt x="2700" y="20838"/>
                  <a:pt x="2700" y="21110"/>
                </a:cubicBezTo>
                <a:cubicBezTo>
                  <a:pt x="2700" y="21381"/>
                  <a:pt x="3103" y="21600"/>
                  <a:pt x="3600" y="21600"/>
                </a:cubicBezTo>
                <a:lnTo>
                  <a:pt x="18000" y="21600"/>
                </a:lnTo>
                <a:cubicBezTo>
                  <a:pt x="18497" y="21600"/>
                  <a:pt x="18900" y="21381"/>
                  <a:pt x="18900" y="21110"/>
                </a:cubicBezTo>
                <a:cubicBezTo>
                  <a:pt x="18900" y="20838"/>
                  <a:pt x="18497" y="20618"/>
                  <a:pt x="18000" y="20618"/>
                </a:cubicBezTo>
                <a:lnTo>
                  <a:pt x="11700" y="20618"/>
                </a:lnTo>
                <a:lnTo>
                  <a:pt x="11700" y="17648"/>
                </a:lnTo>
                <a:cubicBezTo>
                  <a:pt x="17243" y="17398"/>
                  <a:pt x="21600" y="14870"/>
                  <a:pt x="21600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38" name="Shape 2638"/>
          <p:cNvSpPr/>
          <p:nvPr/>
        </p:nvSpPr>
        <p:spPr>
          <a:xfrm>
            <a:off x="2825064" y="2853085"/>
            <a:ext cx="558463" cy="5589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31" h="21132" extrusionOk="0">
                <a:moveTo>
                  <a:pt x="19045" y="7530"/>
                </a:moveTo>
                <a:cubicBezTo>
                  <a:pt x="17544" y="9030"/>
                  <a:pt x="15110" y="9030"/>
                  <a:pt x="13610" y="7530"/>
                </a:cubicBezTo>
                <a:cubicBezTo>
                  <a:pt x="12108" y="6031"/>
                  <a:pt x="12108" y="3600"/>
                  <a:pt x="13610" y="2100"/>
                </a:cubicBezTo>
                <a:cubicBezTo>
                  <a:pt x="15110" y="600"/>
                  <a:pt x="17544" y="600"/>
                  <a:pt x="19045" y="2100"/>
                </a:cubicBezTo>
                <a:cubicBezTo>
                  <a:pt x="20546" y="3600"/>
                  <a:pt x="20546" y="6031"/>
                  <a:pt x="19045" y="7530"/>
                </a:cubicBezTo>
                <a:moveTo>
                  <a:pt x="7605" y="16245"/>
                </a:moveTo>
                <a:cubicBezTo>
                  <a:pt x="7256" y="16593"/>
                  <a:pt x="6776" y="16807"/>
                  <a:pt x="6245" y="16807"/>
                </a:cubicBezTo>
                <a:cubicBezTo>
                  <a:pt x="5184" y="16807"/>
                  <a:pt x="4324" y="15948"/>
                  <a:pt x="4324" y="14888"/>
                </a:cubicBezTo>
                <a:cubicBezTo>
                  <a:pt x="4324" y="14358"/>
                  <a:pt x="4539" y="13878"/>
                  <a:pt x="4887" y="13530"/>
                </a:cubicBezTo>
                <a:lnTo>
                  <a:pt x="11678" y="5991"/>
                </a:lnTo>
                <a:cubicBezTo>
                  <a:pt x="11884" y="6798"/>
                  <a:pt x="12298" y="7563"/>
                  <a:pt x="12930" y="8194"/>
                </a:cubicBezTo>
                <a:cubicBezTo>
                  <a:pt x="13569" y="8832"/>
                  <a:pt x="14343" y="9248"/>
                  <a:pt x="15160" y="9451"/>
                </a:cubicBezTo>
                <a:cubicBezTo>
                  <a:pt x="15160" y="9451"/>
                  <a:pt x="7605" y="16245"/>
                  <a:pt x="7605" y="16245"/>
                </a:cubicBezTo>
                <a:close/>
                <a:moveTo>
                  <a:pt x="19724" y="1406"/>
                </a:moveTo>
                <a:cubicBezTo>
                  <a:pt x="17848" y="-468"/>
                  <a:pt x="14806" y="-468"/>
                  <a:pt x="12930" y="1406"/>
                </a:cubicBezTo>
                <a:cubicBezTo>
                  <a:pt x="12024" y="2312"/>
                  <a:pt x="11559" y="3489"/>
                  <a:pt x="11529" y="4676"/>
                </a:cubicBezTo>
                <a:lnTo>
                  <a:pt x="4207" y="12851"/>
                </a:lnTo>
                <a:cubicBezTo>
                  <a:pt x="3686" y="13373"/>
                  <a:pt x="3363" y="14093"/>
                  <a:pt x="3363" y="14888"/>
                </a:cubicBezTo>
                <a:cubicBezTo>
                  <a:pt x="3363" y="15420"/>
                  <a:pt x="3518" y="15912"/>
                  <a:pt x="3769" y="16340"/>
                </a:cubicBezTo>
                <a:cubicBezTo>
                  <a:pt x="2436" y="17104"/>
                  <a:pt x="1907" y="17813"/>
                  <a:pt x="2425" y="19364"/>
                </a:cubicBezTo>
                <a:cubicBezTo>
                  <a:pt x="2487" y="19550"/>
                  <a:pt x="2434" y="19622"/>
                  <a:pt x="2409" y="19658"/>
                </a:cubicBezTo>
                <a:cubicBezTo>
                  <a:pt x="2160" y="20003"/>
                  <a:pt x="1132" y="20167"/>
                  <a:pt x="500" y="20172"/>
                </a:cubicBezTo>
                <a:cubicBezTo>
                  <a:pt x="493" y="20171"/>
                  <a:pt x="487" y="20167"/>
                  <a:pt x="480" y="20167"/>
                </a:cubicBezTo>
                <a:cubicBezTo>
                  <a:pt x="215" y="20167"/>
                  <a:pt x="0" y="20383"/>
                  <a:pt x="0" y="20647"/>
                </a:cubicBezTo>
                <a:cubicBezTo>
                  <a:pt x="0" y="20912"/>
                  <a:pt x="214" y="21126"/>
                  <a:pt x="479" y="21127"/>
                </a:cubicBezTo>
                <a:lnTo>
                  <a:pt x="479" y="21132"/>
                </a:lnTo>
                <a:cubicBezTo>
                  <a:pt x="821" y="21132"/>
                  <a:pt x="2562" y="21088"/>
                  <a:pt x="3189" y="20219"/>
                </a:cubicBezTo>
                <a:cubicBezTo>
                  <a:pt x="3355" y="19988"/>
                  <a:pt x="3516" y="19599"/>
                  <a:pt x="3336" y="19060"/>
                </a:cubicBezTo>
                <a:cubicBezTo>
                  <a:pt x="3030" y="18141"/>
                  <a:pt x="3071" y="17806"/>
                  <a:pt x="4399" y="17082"/>
                </a:cubicBezTo>
                <a:cubicBezTo>
                  <a:pt x="4900" y="17504"/>
                  <a:pt x="5539" y="17767"/>
                  <a:pt x="6245" y="17767"/>
                </a:cubicBezTo>
                <a:cubicBezTo>
                  <a:pt x="7042" y="17767"/>
                  <a:pt x="7762" y="17445"/>
                  <a:pt x="8284" y="16924"/>
                </a:cubicBezTo>
                <a:lnTo>
                  <a:pt x="16485" y="9592"/>
                </a:lnTo>
                <a:cubicBezTo>
                  <a:pt x="17662" y="9554"/>
                  <a:pt x="18826" y="9091"/>
                  <a:pt x="19724" y="8194"/>
                </a:cubicBezTo>
                <a:cubicBezTo>
                  <a:pt x="21600" y="6320"/>
                  <a:pt x="21600" y="3281"/>
                  <a:pt x="19724" y="1406"/>
                </a:cubicBezTo>
                <a:moveTo>
                  <a:pt x="8953" y="11504"/>
                </a:moveTo>
                <a:lnTo>
                  <a:pt x="9633" y="12183"/>
                </a:lnTo>
                <a:lnTo>
                  <a:pt x="12690" y="9807"/>
                </a:lnTo>
                <a:lnTo>
                  <a:pt x="11331" y="8449"/>
                </a:lnTo>
                <a:cubicBezTo>
                  <a:pt x="11331" y="8449"/>
                  <a:pt x="8953" y="11504"/>
                  <a:pt x="8953" y="1150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39" name="Shape 2639"/>
          <p:cNvSpPr/>
          <p:nvPr/>
        </p:nvSpPr>
        <p:spPr>
          <a:xfrm>
            <a:off x="3891587" y="2954657"/>
            <a:ext cx="558654" cy="3555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3086"/>
                </a:moveTo>
                <a:cubicBezTo>
                  <a:pt x="12984" y="3086"/>
                  <a:pt x="12764" y="3432"/>
                  <a:pt x="12764" y="3857"/>
                </a:cubicBezTo>
                <a:cubicBezTo>
                  <a:pt x="12764" y="4284"/>
                  <a:pt x="12984" y="4629"/>
                  <a:pt x="13255" y="4629"/>
                </a:cubicBezTo>
                <a:cubicBezTo>
                  <a:pt x="13525" y="4629"/>
                  <a:pt x="13745" y="4284"/>
                  <a:pt x="13745" y="3857"/>
                </a:cubicBezTo>
                <a:cubicBezTo>
                  <a:pt x="13745" y="3432"/>
                  <a:pt x="13525" y="3086"/>
                  <a:pt x="13255" y="3086"/>
                </a:cubicBezTo>
                <a:moveTo>
                  <a:pt x="20618" y="16495"/>
                </a:moveTo>
                <a:lnTo>
                  <a:pt x="15709" y="12638"/>
                </a:lnTo>
                <a:lnTo>
                  <a:pt x="15709" y="8963"/>
                </a:lnTo>
                <a:lnTo>
                  <a:pt x="20618" y="5105"/>
                </a:lnTo>
                <a:cubicBezTo>
                  <a:pt x="20618" y="5105"/>
                  <a:pt x="20618" y="16495"/>
                  <a:pt x="20618" y="16495"/>
                </a:cubicBezTo>
                <a:close/>
                <a:moveTo>
                  <a:pt x="14727" y="16971"/>
                </a:moveTo>
                <a:lnTo>
                  <a:pt x="982" y="16971"/>
                </a:lnTo>
                <a:lnTo>
                  <a:pt x="982" y="3086"/>
                </a:lnTo>
                <a:cubicBezTo>
                  <a:pt x="982" y="2234"/>
                  <a:pt x="1422" y="1543"/>
                  <a:pt x="1964" y="1543"/>
                </a:cubicBezTo>
                <a:lnTo>
                  <a:pt x="13745" y="1543"/>
                </a:lnTo>
                <a:cubicBezTo>
                  <a:pt x="14287" y="1543"/>
                  <a:pt x="14727" y="2234"/>
                  <a:pt x="14727" y="3086"/>
                </a:cubicBezTo>
                <a:cubicBezTo>
                  <a:pt x="14727" y="3086"/>
                  <a:pt x="14727" y="16971"/>
                  <a:pt x="14727" y="16971"/>
                </a:cubicBezTo>
                <a:close/>
                <a:moveTo>
                  <a:pt x="13745" y="20057"/>
                </a:moveTo>
                <a:lnTo>
                  <a:pt x="1964" y="20057"/>
                </a:lnTo>
                <a:cubicBezTo>
                  <a:pt x="1422" y="20057"/>
                  <a:pt x="982" y="19367"/>
                  <a:pt x="982" y="18514"/>
                </a:cubicBezTo>
                <a:lnTo>
                  <a:pt x="14727" y="18514"/>
                </a:lnTo>
                <a:cubicBezTo>
                  <a:pt x="14727" y="19367"/>
                  <a:pt x="14287" y="20057"/>
                  <a:pt x="13745" y="20057"/>
                </a:cubicBezTo>
                <a:moveTo>
                  <a:pt x="21109" y="3086"/>
                </a:moveTo>
                <a:cubicBezTo>
                  <a:pt x="21030" y="3086"/>
                  <a:pt x="20958" y="3122"/>
                  <a:pt x="20892" y="3175"/>
                </a:cubicBezTo>
                <a:lnTo>
                  <a:pt x="20890" y="3167"/>
                </a:lnTo>
                <a:lnTo>
                  <a:pt x="15709" y="7237"/>
                </a:lnTo>
                <a:lnTo>
                  <a:pt x="15709" y="3086"/>
                </a:lnTo>
                <a:cubicBezTo>
                  <a:pt x="15709" y="1382"/>
                  <a:pt x="14830" y="0"/>
                  <a:pt x="13745" y="0"/>
                </a:cubicBezTo>
                <a:lnTo>
                  <a:pt x="1964" y="0"/>
                </a:lnTo>
                <a:cubicBezTo>
                  <a:pt x="879" y="0"/>
                  <a:pt x="0" y="1382"/>
                  <a:pt x="0" y="3086"/>
                </a:cubicBezTo>
                <a:lnTo>
                  <a:pt x="0" y="18514"/>
                </a:lnTo>
                <a:cubicBezTo>
                  <a:pt x="0" y="20219"/>
                  <a:pt x="879" y="21600"/>
                  <a:pt x="1964" y="21600"/>
                </a:cubicBezTo>
                <a:lnTo>
                  <a:pt x="13745" y="21600"/>
                </a:lnTo>
                <a:cubicBezTo>
                  <a:pt x="14830" y="21600"/>
                  <a:pt x="15709" y="20219"/>
                  <a:pt x="15709" y="18514"/>
                </a:cubicBezTo>
                <a:lnTo>
                  <a:pt x="15709" y="14363"/>
                </a:lnTo>
                <a:lnTo>
                  <a:pt x="20890" y="18433"/>
                </a:lnTo>
                <a:lnTo>
                  <a:pt x="20892" y="18427"/>
                </a:lnTo>
                <a:cubicBezTo>
                  <a:pt x="20958" y="18478"/>
                  <a:pt x="21030" y="18514"/>
                  <a:pt x="21109" y="18514"/>
                </a:cubicBezTo>
                <a:cubicBezTo>
                  <a:pt x="21380" y="18514"/>
                  <a:pt x="21600" y="18170"/>
                  <a:pt x="21600" y="17743"/>
                </a:cubicBezTo>
                <a:lnTo>
                  <a:pt x="21600" y="3857"/>
                </a:lnTo>
                <a:cubicBezTo>
                  <a:pt x="21600" y="3432"/>
                  <a:pt x="21380" y="3086"/>
                  <a:pt x="21109" y="3086"/>
                </a:cubicBezTo>
                <a:moveTo>
                  <a:pt x="10309" y="6171"/>
                </a:moveTo>
                <a:cubicBezTo>
                  <a:pt x="10038" y="6171"/>
                  <a:pt x="9818" y="5827"/>
                  <a:pt x="9818" y="5400"/>
                </a:cubicBezTo>
                <a:cubicBezTo>
                  <a:pt x="9818" y="4974"/>
                  <a:pt x="10038" y="4629"/>
                  <a:pt x="10309" y="4629"/>
                </a:cubicBezTo>
                <a:cubicBezTo>
                  <a:pt x="10580" y="4629"/>
                  <a:pt x="10800" y="4974"/>
                  <a:pt x="10800" y="5400"/>
                </a:cubicBezTo>
                <a:cubicBezTo>
                  <a:pt x="10800" y="5827"/>
                  <a:pt x="10580" y="6171"/>
                  <a:pt x="10309" y="6171"/>
                </a:cubicBezTo>
                <a:moveTo>
                  <a:pt x="10309" y="3086"/>
                </a:moveTo>
                <a:cubicBezTo>
                  <a:pt x="9496" y="3086"/>
                  <a:pt x="8836" y="4123"/>
                  <a:pt x="8836" y="5400"/>
                </a:cubicBezTo>
                <a:cubicBezTo>
                  <a:pt x="8836" y="6678"/>
                  <a:pt x="9496" y="7714"/>
                  <a:pt x="10309" y="7714"/>
                </a:cubicBezTo>
                <a:cubicBezTo>
                  <a:pt x="11123" y="7714"/>
                  <a:pt x="11782" y="6678"/>
                  <a:pt x="11782" y="5400"/>
                </a:cubicBezTo>
                <a:cubicBezTo>
                  <a:pt x="11782" y="4123"/>
                  <a:pt x="11123" y="3086"/>
                  <a:pt x="10309" y="308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0" name="Shape 2640"/>
          <p:cNvSpPr/>
          <p:nvPr/>
        </p:nvSpPr>
        <p:spPr>
          <a:xfrm>
            <a:off x="4958109" y="2954657"/>
            <a:ext cx="558654" cy="3555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6495"/>
                </a:moveTo>
                <a:lnTo>
                  <a:pt x="19636" y="15723"/>
                </a:lnTo>
                <a:lnTo>
                  <a:pt x="19636" y="5877"/>
                </a:lnTo>
                <a:lnTo>
                  <a:pt x="20618" y="5105"/>
                </a:lnTo>
                <a:cubicBezTo>
                  <a:pt x="20618" y="5105"/>
                  <a:pt x="20618" y="16495"/>
                  <a:pt x="20618" y="16495"/>
                </a:cubicBezTo>
                <a:close/>
                <a:moveTo>
                  <a:pt x="18655" y="14952"/>
                </a:moveTo>
                <a:lnTo>
                  <a:pt x="16691" y="13409"/>
                </a:lnTo>
                <a:lnTo>
                  <a:pt x="16691" y="8191"/>
                </a:lnTo>
                <a:lnTo>
                  <a:pt x="18655" y="6648"/>
                </a:lnTo>
                <a:cubicBezTo>
                  <a:pt x="18655" y="6648"/>
                  <a:pt x="18655" y="14952"/>
                  <a:pt x="18655" y="14952"/>
                </a:cubicBezTo>
                <a:close/>
                <a:moveTo>
                  <a:pt x="15709" y="6171"/>
                </a:moveTo>
                <a:lnTo>
                  <a:pt x="982" y="6171"/>
                </a:lnTo>
                <a:lnTo>
                  <a:pt x="982" y="3086"/>
                </a:lnTo>
                <a:cubicBezTo>
                  <a:pt x="982" y="2234"/>
                  <a:pt x="1422" y="1543"/>
                  <a:pt x="1964" y="1543"/>
                </a:cubicBezTo>
                <a:lnTo>
                  <a:pt x="14727" y="1543"/>
                </a:lnTo>
                <a:cubicBezTo>
                  <a:pt x="15269" y="1543"/>
                  <a:pt x="15709" y="2234"/>
                  <a:pt x="15709" y="3086"/>
                </a:cubicBezTo>
                <a:cubicBezTo>
                  <a:pt x="15709" y="3086"/>
                  <a:pt x="15709" y="6171"/>
                  <a:pt x="15709" y="6171"/>
                </a:cubicBezTo>
                <a:close/>
                <a:moveTo>
                  <a:pt x="15709" y="18514"/>
                </a:moveTo>
                <a:cubicBezTo>
                  <a:pt x="15709" y="19367"/>
                  <a:pt x="15269" y="20057"/>
                  <a:pt x="14727" y="20057"/>
                </a:cubicBezTo>
                <a:lnTo>
                  <a:pt x="1964" y="20057"/>
                </a:lnTo>
                <a:cubicBezTo>
                  <a:pt x="1422" y="20057"/>
                  <a:pt x="982" y="19367"/>
                  <a:pt x="982" y="18514"/>
                </a:cubicBezTo>
                <a:lnTo>
                  <a:pt x="982" y="7714"/>
                </a:lnTo>
                <a:lnTo>
                  <a:pt x="15709" y="7714"/>
                </a:lnTo>
                <a:cubicBezTo>
                  <a:pt x="15709" y="7714"/>
                  <a:pt x="15709" y="18514"/>
                  <a:pt x="15709" y="18514"/>
                </a:cubicBezTo>
                <a:close/>
                <a:moveTo>
                  <a:pt x="21109" y="3086"/>
                </a:moveTo>
                <a:cubicBezTo>
                  <a:pt x="21030" y="3086"/>
                  <a:pt x="20958" y="3122"/>
                  <a:pt x="20892" y="3175"/>
                </a:cubicBezTo>
                <a:lnTo>
                  <a:pt x="20890" y="3167"/>
                </a:lnTo>
                <a:lnTo>
                  <a:pt x="16691" y="6467"/>
                </a:lnTo>
                <a:lnTo>
                  <a:pt x="16691" y="3086"/>
                </a:lnTo>
                <a:cubicBezTo>
                  <a:pt x="16691" y="1382"/>
                  <a:pt x="15812" y="0"/>
                  <a:pt x="14727" y="0"/>
                </a:cubicBezTo>
                <a:lnTo>
                  <a:pt x="1964" y="0"/>
                </a:lnTo>
                <a:cubicBezTo>
                  <a:pt x="879" y="0"/>
                  <a:pt x="0" y="1382"/>
                  <a:pt x="0" y="3086"/>
                </a:cubicBezTo>
                <a:lnTo>
                  <a:pt x="0" y="18514"/>
                </a:lnTo>
                <a:cubicBezTo>
                  <a:pt x="0" y="20219"/>
                  <a:pt x="879" y="21600"/>
                  <a:pt x="1964" y="21600"/>
                </a:cubicBezTo>
                <a:lnTo>
                  <a:pt x="14727" y="21600"/>
                </a:lnTo>
                <a:cubicBezTo>
                  <a:pt x="15812" y="21600"/>
                  <a:pt x="16691" y="20219"/>
                  <a:pt x="16691" y="18514"/>
                </a:cubicBezTo>
                <a:lnTo>
                  <a:pt x="16691" y="15134"/>
                </a:lnTo>
                <a:lnTo>
                  <a:pt x="20890" y="18433"/>
                </a:lnTo>
                <a:lnTo>
                  <a:pt x="20892" y="18426"/>
                </a:lnTo>
                <a:cubicBezTo>
                  <a:pt x="20958" y="18478"/>
                  <a:pt x="21030" y="18514"/>
                  <a:pt x="21109" y="18514"/>
                </a:cubicBezTo>
                <a:cubicBezTo>
                  <a:pt x="21380" y="18514"/>
                  <a:pt x="21600" y="18169"/>
                  <a:pt x="21600" y="17743"/>
                </a:cubicBezTo>
                <a:lnTo>
                  <a:pt x="21600" y="3857"/>
                </a:lnTo>
                <a:cubicBezTo>
                  <a:pt x="21600" y="3432"/>
                  <a:pt x="21380" y="3086"/>
                  <a:pt x="21109" y="3086"/>
                </a:cubicBezTo>
                <a:moveTo>
                  <a:pt x="12273" y="3086"/>
                </a:moveTo>
                <a:cubicBezTo>
                  <a:pt x="12002" y="3086"/>
                  <a:pt x="11782" y="3432"/>
                  <a:pt x="11782" y="3857"/>
                </a:cubicBezTo>
                <a:cubicBezTo>
                  <a:pt x="11782" y="4284"/>
                  <a:pt x="12002" y="4629"/>
                  <a:pt x="12273" y="4629"/>
                </a:cubicBezTo>
                <a:cubicBezTo>
                  <a:pt x="12544" y="4629"/>
                  <a:pt x="12764" y="4284"/>
                  <a:pt x="12764" y="3857"/>
                </a:cubicBezTo>
                <a:cubicBezTo>
                  <a:pt x="12764" y="3432"/>
                  <a:pt x="12544" y="3086"/>
                  <a:pt x="12273" y="3086"/>
                </a:cubicBezTo>
                <a:moveTo>
                  <a:pt x="14236" y="3086"/>
                </a:moveTo>
                <a:cubicBezTo>
                  <a:pt x="13966" y="3086"/>
                  <a:pt x="13745" y="3432"/>
                  <a:pt x="13745" y="3857"/>
                </a:cubicBezTo>
                <a:cubicBezTo>
                  <a:pt x="13745" y="4284"/>
                  <a:pt x="13966" y="4629"/>
                  <a:pt x="14236" y="4629"/>
                </a:cubicBezTo>
                <a:cubicBezTo>
                  <a:pt x="14507" y="4629"/>
                  <a:pt x="14727" y="4284"/>
                  <a:pt x="14727" y="3857"/>
                </a:cubicBezTo>
                <a:cubicBezTo>
                  <a:pt x="14727" y="3432"/>
                  <a:pt x="14507" y="3086"/>
                  <a:pt x="14236" y="3086"/>
                </a:cubicBezTo>
                <a:moveTo>
                  <a:pt x="5400" y="10800"/>
                </a:moveTo>
                <a:cubicBezTo>
                  <a:pt x="6214" y="10800"/>
                  <a:pt x="6873" y="11837"/>
                  <a:pt x="6873" y="13114"/>
                </a:cubicBezTo>
                <a:cubicBezTo>
                  <a:pt x="6873" y="14393"/>
                  <a:pt x="6214" y="15429"/>
                  <a:pt x="5400" y="15429"/>
                </a:cubicBezTo>
                <a:cubicBezTo>
                  <a:pt x="4586" y="15429"/>
                  <a:pt x="3927" y="14393"/>
                  <a:pt x="3927" y="13114"/>
                </a:cubicBezTo>
                <a:cubicBezTo>
                  <a:pt x="3927" y="11837"/>
                  <a:pt x="4586" y="10800"/>
                  <a:pt x="5400" y="10800"/>
                </a:cubicBezTo>
                <a:moveTo>
                  <a:pt x="11291" y="10800"/>
                </a:moveTo>
                <a:cubicBezTo>
                  <a:pt x="12104" y="10800"/>
                  <a:pt x="12764" y="11837"/>
                  <a:pt x="12764" y="13114"/>
                </a:cubicBezTo>
                <a:cubicBezTo>
                  <a:pt x="12764" y="14393"/>
                  <a:pt x="12104" y="15429"/>
                  <a:pt x="11291" y="15429"/>
                </a:cubicBezTo>
                <a:cubicBezTo>
                  <a:pt x="10477" y="15429"/>
                  <a:pt x="9818" y="14393"/>
                  <a:pt x="9818" y="13114"/>
                </a:cubicBezTo>
                <a:cubicBezTo>
                  <a:pt x="9818" y="11837"/>
                  <a:pt x="10477" y="10800"/>
                  <a:pt x="11291" y="10800"/>
                </a:cubicBezTo>
                <a:moveTo>
                  <a:pt x="5400" y="16971"/>
                </a:moveTo>
                <a:lnTo>
                  <a:pt x="11291" y="16971"/>
                </a:lnTo>
                <a:cubicBezTo>
                  <a:pt x="12647" y="16971"/>
                  <a:pt x="13745" y="15245"/>
                  <a:pt x="13745" y="13114"/>
                </a:cubicBezTo>
                <a:cubicBezTo>
                  <a:pt x="13745" y="10984"/>
                  <a:pt x="12647" y="9257"/>
                  <a:pt x="11291" y="9257"/>
                </a:cubicBezTo>
                <a:cubicBezTo>
                  <a:pt x="9935" y="9257"/>
                  <a:pt x="8836" y="10984"/>
                  <a:pt x="8836" y="13114"/>
                </a:cubicBezTo>
                <a:cubicBezTo>
                  <a:pt x="8836" y="13987"/>
                  <a:pt x="9028" y="14782"/>
                  <a:pt x="9338" y="15429"/>
                </a:cubicBezTo>
                <a:lnTo>
                  <a:pt x="7352" y="15429"/>
                </a:lnTo>
                <a:cubicBezTo>
                  <a:pt x="7663" y="14782"/>
                  <a:pt x="7855" y="13987"/>
                  <a:pt x="7855" y="13114"/>
                </a:cubicBezTo>
                <a:cubicBezTo>
                  <a:pt x="7855" y="10984"/>
                  <a:pt x="6755" y="9257"/>
                  <a:pt x="5400" y="9257"/>
                </a:cubicBezTo>
                <a:cubicBezTo>
                  <a:pt x="4044" y="9257"/>
                  <a:pt x="2945" y="10984"/>
                  <a:pt x="2945" y="13114"/>
                </a:cubicBezTo>
                <a:cubicBezTo>
                  <a:pt x="2945" y="15245"/>
                  <a:pt x="4044" y="16971"/>
                  <a:pt x="5400" y="1697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1" name="Shape 2641"/>
          <p:cNvSpPr/>
          <p:nvPr/>
        </p:nvSpPr>
        <p:spPr>
          <a:xfrm>
            <a:off x="6024631" y="2954657"/>
            <a:ext cx="558654" cy="3555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6606"/>
                </a:moveTo>
                <a:lnTo>
                  <a:pt x="16691" y="14138"/>
                </a:lnTo>
                <a:lnTo>
                  <a:pt x="16691" y="7462"/>
                </a:lnTo>
                <a:lnTo>
                  <a:pt x="20618" y="4994"/>
                </a:lnTo>
                <a:cubicBezTo>
                  <a:pt x="20618" y="4994"/>
                  <a:pt x="20618" y="16606"/>
                  <a:pt x="20618" y="16606"/>
                </a:cubicBezTo>
                <a:close/>
                <a:moveTo>
                  <a:pt x="21109" y="3086"/>
                </a:moveTo>
                <a:cubicBezTo>
                  <a:pt x="21030" y="3086"/>
                  <a:pt x="20958" y="3122"/>
                  <a:pt x="20892" y="3174"/>
                </a:cubicBezTo>
                <a:lnTo>
                  <a:pt x="20890" y="3167"/>
                </a:lnTo>
                <a:lnTo>
                  <a:pt x="16018" y="6229"/>
                </a:lnTo>
                <a:cubicBezTo>
                  <a:pt x="16013" y="6233"/>
                  <a:pt x="16008" y="6235"/>
                  <a:pt x="16003" y="6239"/>
                </a:cubicBezTo>
                <a:lnTo>
                  <a:pt x="15980" y="6252"/>
                </a:lnTo>
                <a:lnTo>
                  <a:pt x="15983" y="6260"/>
                </a:lnTo>
                <a:cubicBezTo>
                  <a:pt x="15822" y="6387"/>
                  <a:pt x="15709" y="6641"/>
                  <a:pt x="15709" y="6943"/>
                </a:cubicBezTo>
                <a:lnTo>
                  <a:pt x="15709" y="14657"/>
                </a:lnTo>
                <a:cubicBezTo>
                  <a:pt x="15709" y="14959"/>
                  <a:pt x="15822" y="15213"/>
                  <a:pt x="15983" y="15340"/>
                </a:cubicBezTo>
                <a:lnTo>
                  <a:pt x="15980" y="15347"/>
                </a:lnTo>
                <a:lnTo>
                  <a:pt x="16002" y="15360"/>
                </a:lnTo>
                <a:cubicBezTo>
                  <a:pt x="16008" y="15365"/>
                  <a:pt x="16013" y="15368"/>
                  <a:pt x="16018" y="15371"/>
                </a:cubicBezTo>
                <a:lnTo>
                  <a:pt x="20890" y="18433"/>
                </a:lnTo>
                <a:lnTo>
                  <a:pt x="20892" y="18426"/>
                </a:lnTo>
                <a:cubicBezTo>
                  <a:pt x="20958" y="18478"/>
                  <a:pt x="21030" y="18514"/>
                  <a:pt x="21109" y="18514"/>
                </a:cubicBezTo>
                <a:cubicBezTo>
                  <a:pt x="21380" y="18514"/>
                  <a:pt x="21600" y="18169"/>
                  <a:pt x="21600" y="17743"/>
                </a:cubicBezTo>
                <a:lnTo>
                  <a:pt x="21600" y="3857"/>
                </a:lnTo>
                <a:cubicBezTo>
                  <a:pt x="21600" y="3431"/>
                  <a:pt x="21380" y="3086"/>
                  <a:pt x="21109" y="3086"/>
                </a:cubicBezTo>
                <a:moveTo>
                  <a:pt x="13745" y="18514"/>
                </a:moveTo>
                <a:cubicBezTo>
                  <a:pt x="13745" y="19367"/>
                  <a:pt x="13306" y="20057"/>
                  <a:pt x="12764" y="20057"/>
                </a:cubicBezTo>
                <a:lnTo>
                  <a:pt x="1964" y="20057"/>
                </a:lnTo>
                <a:cubicBezTo>
                  <a:pt x="1422" y="20057"/>
                  <a:pt x="982" y="19367"/>
                  <a:pt x="982" y="18514"/>
                </a:cubicBezTo>
                <a:lnTo>
                  <a:pt x="982" y="3086"/>
                </a:lnTo>
                <a:cubicBezTo>
                  <a:pt x="982" y="2233"/>
                  <a:pt x="1422" y="1543"/>
                  <a:pt x="1964" y="1543"/>
                </a:cubicBezTo>
                <a:lnTo>
                  <a:pt x="12764" y="1543"/>
                </a:lnTo>
                <a:cubicBezTo>
                  <a:pt x="13306" y="1543"/>
                  <a:pt x="13745" y="2233"/>
                  <a:pt x="13745" y="3086"/>
                </a:cubicBezTo>
                <a:cubicBezTo>
                  <a:pt x="13745" y="3086"/>
                  <a:pt x="13745" y="18514"/>
                  <a:pt x="13745" y="18514"/>
                </a:cubicBezTo>
                <a:close/>
                <a:moveTo>
                  <a:pt x="12764" y="0"/>
                </a:moveTo>
                <a:lnTo>
                  <a:pt x="1964" y="0"/>
                </a:lnTo>
                <a:cubicBezTo>
                  <a:pt x="879" y="0"/>
                  <a:pt x="0" y="1382"/>
                  <a:pt x="0" y="3086"/>
                </a:cubicBezTo>
                <a:lnTo>
                  <a:pt x="0" y="18514"/>
                </a:lnTo>
                <a:cubicBezTo>
                  <a:pt x="0" y="20219"/>
                  <a:pt x="879" y="21600"/>
                  <a:pt x="1964" y="21600"/>
                </a:cubicBezTo>
                <a:lnTo>
                  <a:pt x="12764" y="21600"/>
                </a:lnTo>
                <a:cubicBezTo>
                  <a:pt x="13848" y="21600"/>
                  <a:pt x="14727" y="20219"/>
                  <a:pt x="14727" y="18514"/>
                </a:cubicBezTo>
                <a:lnTo>
                  <a:pt x="14727" y="3086"/>
                </a:lnTo>
                <a:cubicBezTo>
                  <a:pt x="14727" y="1382"/>
                  <a:pt x="13848" y="0"/>
                  <a:pt x="12764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2" name="Shape 2642"/>
          <p:cNvSpPr/>
          <p:nvPr/>
        </p:nvSpPr>
        <p:spPr>
          <a:xfrm>
            <a:off x="7091154" y="287848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0800"/>
                </a:moveTo>
                <a:cubicBezTo>
                  <a:pt x="6653" y="10800"/>
                  <a:pt x="6873" y="10559"/>
                  <a:pt x="6873" y="10260"/>
                </a:cubicBezTo>
                <a:cubicBezTo>
                  <a:pt x="6873" y="9962"/>
                  <a:pt x="6653" y="9720"/>
                  <a:pt x="6382" y="9720"/>
                </a:cubicBezTo>
                <a:cubicBezTo>
                  <a:pt x="6110" y="9720"/>
                  <a:pt x="5891" y="9962"/>
                  <a:pt x="5891" y="10260"/>
                </a:cubicBezTo>
                <a:cubicBezTo>
                  <a:pt x="5891" y="10559"/>
                  <a:pt x="6110" y="10800"/>
                  <a:pt x="6382" y="10800"/>
                </a:cubicBezTo>
                <a:moveTo>
                  <a:pt x="3436" y="10800"/>
                </a:moveTo>
                <a:cubicBezTo>
                  <a:pt x="3708" y="10800"/>
                  <a:pt x="3927" y="11042"/>
                  <a:pt x="3927" y="11340"/>
                </a:cubicBezTo>
                <a:cubicBezTo>
                  <a:pt x="3927" y="11639"/>
                  <a:pt x="3708" y="11880"/>
                  <a:pt x="3436" y="11880"/>
                </a:cubicBezTo>
                <a:cubicBezTo>
                  <a:pt x="3165" y="11880"/>
                  <a:pt x="2945" y="11639"/>
                  <a:pt x="2945" y="11340"/>
                </a:cubicBezTo>
                <a:cubicBezTo>
                  <a:pt x="2945" y="11042"/>
                  <a:pt x="3165" y="10800"/>
                  <a:pt x="3436" y="10800"/>
                </a:cubicBezTo>
                <a:moveTo>
                  <a:pt x="3436" y="12960"/>
                </a:moveTo>
                <a:cubicBezTo>
                  <a:pt x="4249" y="12960"/>
                  <a:pt x="4909" y="12235"/>
                  <a:pt x="4909" y="11340"/>
                </a:cubicBezTo>
                <a:cubicBezTo>
                  <a:pt x="4909" y="10446"/>
                  <a:pt x="4249" y="9720"/>
                  <a:pt x="3436" y="9720"/>
                </a:cubicBezTo>
                <a:cubicBezTo>
                  <a:pt x="2623" y="9720"/>
                  <a:pt x="1964" y="10446"/>
                  <a:pt x="1964" y="11340"/>
                </a:cubicBezTo>
                <a:cubicBezTo>
                  <a:pt x="1964" y="12235"/>
                  <a:pt x="2623" y="12960"/>
                  <a:pt x="3436" y="12960"/>
                </a:cubicBezTo>
                <a:moveTo>
                  <a:pt x="14236" y="18360"/>
                </a:moveTo>
                <a:lnTo>
                  <a:pt x="2455" y="18360"/>
                </a:lnTo>
                <a:cubicBezTo>
                  <a:pt x="2183" y="18360"/>
                  <a:pt x="1964" y="18602"/>
                  <a:pt x="1964" y="18900"/>
                </a:cubicBezTo>
                <a:cubicBezTo>
                  <a:pt x="1964" y="19199"/>
                  <a:pt x="2183" y="19440"/>
                  <a:pt x="2455" y="19440"/>
                </a:cubicBezTo>
                <a:lnTo>
                  <a:pt x="14236" y="19440"/>
                </a:lnTo>
                <a:cubicBezTo>
                  <a:pt x="14508" y="19440"/>
                  <a:pt x="14727" y="19199"/>
                  <a:pt x="14727" y="18900"/>
                </a:cubicBezTo>
                <a:cubicBezTo>
                  <a:pt x="14727" y="18602"/>
                  <a:pt x="14508" y="18360"/>
                  <a:pt x="14236" y="18360"/>
                </a:cubicBezTo>
                <a:moveTo>
                  <a:pt x="20618" y="18105"/>
                </a:moveTo>
                <a:lnTo>
                  <a:pt x="16691" y="16377"/>
                </a:lnTo>
                <a:lnTo>
                  <a:pt x="16691" y="12784"/>
                </a:lnTo>
                <a:lnTo>
                  <a:pt x="20618" y="11056"/>
                </a:lnTo>
                <a:cubicBezTo>
                  <a:pt x="20618" y="11056"/>
                  <a:pt x="20618" y="18105"/>
                  <a:pt x="20618" y="18105"/>
                </a:cubicBezTo>
                <a:close/>
                <a:moveTo>
                  <a:pt x="15709" y="19440"/>
                </a:moveTo>
                <a:cubicBezTo>
                  <a:pt x="15709" y="20037"/>
                  <a:pt x="15269" y="20520"/>
                  <a:pt x="14727" y="20520"/>
                </a:cubicBezTo>
                <a:lnTo>
                  <a:pt x="1964" y="20520"/>
                </a:lnTo>
                <a:cubicBezTo>
                  <a:pt x="1422" y="20520"/>
                  <a:pt x="982" y="20037"/>
                  <a:pt x="982" y="19440"/>
                </a:cubicBezTo>
                <a:lnTo>
                  <a:pt x="982" y="9720"/>
                </a:lnTo>
                <a:cubicBezTo>
                  <a:pt x="982" y="9124"/>
                  <a:pt x="1422" y="8640"/>
                  <a:pt x="1964" y="8640"/>
                </a:cubicBezTo>
                <a:lnTo>
                  <a:pt x="14727" y="8640"/>
                </a:lnTo>
                <a:cubicBezTo>
                  <a:pt x="15269" y="8640"/>
                  <a:pt x="15709" y="9124"/>
                  <a:pt x="15709" y="9720"/>
                </a:cubicBezTo>
                <a:cubicBezTo>
                  <a:pt x="15709" y="9720"/>
                  <a:pt x="15709" y="19440"/>
                  <a:pt x="15709" y="19440"/>
                </a:cubicBezTo>
                <a:close/>
                <a:moveTo>
                  <a:pt x="1964" y="4320"/>
                </a:moveTo>
                <a:cubicBezTo>
                  <a:pt x="1964" y="2531"/>
                  <a:pt x="3282" y="1080"/>
                  <a:pt x="4909" y="1080"/>
                </a:cubicBezTo>
                <a:cubicBezTo>
                  <a:pt x="6536" y="1080"/>
                  <a:pt x="7855" y="2531"/>
                  <a:pt x="7855" y="4320"/>
                </a:cubicBezTo>
                <a:cubicBezTo>
                  <a:pt x="7855" y="6110"/>
                  <a:pt x="6536" y="7560"/>
                  <a:pt x="4909" y="7560"/>
                </a:cubicBezTo>
                <a:cubicBezTo>
                  <a:pt x="3282" y="7560"/>
                  <a:pt x="1964" y="6110"/>
                  <a:pt x="1964" y="4320"/>
                </a:cubicBezTo>
                <a:moveTo>
                  <a:pt x="9190" y="7560"/>
                </a:moveTo>
                <a:lnTo>
                  <a:pt x="7501" y="7560"/>
                </a:lnTo>
                <a:cubicBezTo>
                  <a:pt x="7839" y="7233"/>
                  <a:pt x="8122" y="6840"/>
                  <a:pt x="8342" y="6404"/>
                </a:cubicBezTo>
                <a:cubicBezTo>
                  <a:pt x="8562" y="6842"/>
                  <a:pt x="8851" y="7232"/>
                  <a:pt x="9190" y="7560"/>
                </a:cubicBezTo>
                <a:moveTo>
                  <a:pt x="11782" y="1080"/>
                </a:moveTo>
                <a:cubicBezTo>
                  <a:pt x="13409" y="1080"/>
                  <a:pt x="14727" y="2531"/>
                  <a:pt x="14727" y="4320"/>
                </a:cubicBezTo>
                <a:cubicBezTo>
                  <a:pt x="14727" y="6110"/>
                  <a:pt x="13409" y="7560"/>
                  <a:pt x="11782" y="7560"/>
                </a:cubicBezTo>
                <a:cubicBezTo>
                  <a:pt x="10155" y="7560"/>
                  <a:pt x="8836" y="6110"/>
                  <a:pt x="8836" y="4320"/>
                </a:cubicBezTo>
                <a:cubicBezTo>
                  <a:pt x="8836" y="2531"/>
                  <a:pt x="10155" y="1080"/>
                  <a:pt x="11782" y="1080"/>
                </a:cubicBezTo>
                <a:moveTo>
                  <a:pt x="21109" y="9720"/>
                </a:moveTo>
                <a:cubicBezTo>
                  <a:pt x="21030" y="9720"/>
                  <a:pt x="20958" y="9745"/>
                  <a:pt x="20892" y="9782"/>
                </a:cubicBezTo>
                <a:lnTo>
                  <a:pt x="20890" y="9777"/>
                </a:lnTo>
                <a:lnTo>
                  <a:pt x="16691" y="11625"/>
                </a:lnTo>
                <a:lnTo>
                  <a:pt x="16691" y="9720"/>
                </a:lnTo>
                <a:cubicBezTo>
                  <a:pt x="16691" y="8527"/>
                  <a:pt x="15812" y="7560"/>
                  <a:pt x="14727" y="7560"/>
                </a:cubicBezTo>
                <a:lnTo>
                  <a:pt x="14373" y="7560"/>
                </a:lnTo>
                <a:cubicBezTo>
                  <a:pt x="15191" y="6768"/>
                  <a:pt x="15709" y="5612"/>
                  <a:pt x="15709" y="4320"/>
                </a:cubicBezTo>
                <a:cubicBezTo>
                  <a:pt x="15709" y="1934"/>
                  <a:pt x="13951" y="0"/>
                  <a:pt x="11782" y="0"/>
                </a:cubicBezTo>
                <a:cubicBezTo>
                  <a:pt x="10302" y="0"/>
                  <a:pt x="9015" y="901"/>
                  <a:pt x="8345" y="2231"/>
                </a:cubicBezTo>
                <a:cubicBezTo>
                  <a:pt x="7676" y="901"/>
                  <a:pt x="6389" y="0"/>
                  <a:pt x="4909" y="0"/>
                </a:cubicBezTo>
                <a:cubicBezTo>
                  <a:pt x="2740" y="0"/>
                  <a:pt x="982" y="1934"/>
                  <a:pt x="982" y="4320"/>
                </a:cubicBezTo>
                <a:cubicBezTo>
                  <a:pt x="982" y="5612"/>
                  <a:pt x="1501" y="6768"/>
                  <a:pt x="2317" y="7560"/>
                </a:cubicBezTo>
                <a:lnTo>
                  <a:pt x="1964" y="7560"/>
                </a:lnTo>
                <a:cubicBezTo>
                  <a:pt x="879" y="7560"/>
                  <a:pt x="0" y="8527"/>
                  <a:pt x="0" y="9720"/>
                </a:cubicBezTo>
                <a:lnTo>
                  <a:pt x="0" y="19440"/>
                </a:lnTo>
                <a:cubicBezTo>
                  <a:pt x="0" y="20633"/>
                  <a:pt x="879" y="21600"/>
                  <a:pt x="1964" y="21600"/>
                </a:cubicBezTo>
                <a:lnTo>
                  <a:pt x="14727" y="21600"/>
                </a:lnTo>
                <a:cubicBezTo>
                  <a:pt x="15812" y="21600"/>
                  <a:pt x="16691" y="20633"/>
                  <a:pt x="16691" y="19440"/>
                </a:cubicBezTo>
                <a:lnTo>
                  <a:pt x="16691" y="17536"/>
                </a:lnTo>
                <a:lnTo>
                  <a:pt x="20890" y="19383"/>
                </a:lnTo>
                <a:lnTo>
                  <a:pt x="20891" y="19379"/>
                </a:lnTo>
                <a:cubicBezTo>
                  <a:pt x="20958" y="19415"/>
                  <a:pt x="21030" y="19440"/>
                  <a:pt x="21109" y="19440"/>
                </a:cubicBezTo>
                <a:cubicBezTo>
                  <a:pt x="21380" y="19440"/>
                  <a:pt x="21600" y="19199"/>
                  <a:pt x="21600" y="18900"/>
                </a:cubicBezTo>
                <a:lnTo>
                  <a:pt x="21600" y="10260"/>
                </a:lnTo>
                <a:cubicBezTo>
                  <a:pt x="21600" y="9962"/>
                  <a:pt x="21380" y="9720"/>
                  <a:pt x="21109" y="9720"/>
                </a:cubicBezTo>
                <a:moveTo>
                  <a:pt x="11782" y="5400"/>
                </a:moveTo>
                <a:cubicBezTo>
                  <a:pt x="12324" y="5400"/>
                  <a:pt x="12764" y="4916"/>
                  <a:pt x="12764" y="4320"/>
                </a:cubicBezTo>
                <a:cubicBezTo>
                  <a:pt x="12764" y="3724"/>
                  <a:pt x="12324" y="3240"/>
                  <a:pt x="11782" y="3240"/>
                </a:cubicBezTo>
                <a:cubicBezTo>
                  <a:pt x="11240" y="3240"/>
                  <a:pt x="10800" y="3724"/>
                  <a:pt x="10800" y="4320"/>
                </a:cubicBezTo>
                <a:cubicBezTo>
                  <a:pt x="10800" y="4916"/>
                  <a:pt x="11240" y="5400"/>
                  <a:pt x="11782" y="5400"/>
                </a:cubicBezTo>
                <a:moveTo>
                  <a:pt x="4909" y="5400"/>
                </a:moveTo>
                <a:cubicBezTo>
                  <a:pt x="5451" y="5400"/>
                  <a:pt x="5891" y="4916"/>
                  <a:pt x="5891" y="4320"/>
                </a:cubicBezTo>
                <a:cubicBezTo>
                  <a:pt x="5891" y="3724"/>
                  <a:pt x="5451" y="3240"/>
                  <a:pt x="4909" y="3240"/>
                </a:cubicBezTo>
                <a:cubicBezTo>
                  <a:pt x="4367" y="3240"/>
                  <a:pt x="3927" y="3724"/>
                  <a:pt x="3927" y="4320"/>
                </a:cubicBezTo>
                <a:cubicBezTo>
                  <a:pt x="3927" y="4916"/>
                  <a:pt x="4367" y="5400"/>
                  <a:pt x="4909" y="54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3" name="Shape 2643"/>
          <p:cNvSpPr/>
          <p:nvPr/>
        </p:nvSpPr>
        <p:spPr>
          <a:xfrm>
            <a:off x="8284641" y="2853085"/>
            <a:ext cx="30472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4" name="Shape 2644"/>
          <p:cNvSpPr/>
          <p:nvPr/>
        </p:nvSpPr>
        <p:spPr>
          <a:xfrm>
            <a:off x="9300380" y="2853085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4" y="20618"/>
                  <a:pt x="1350" y="20179"/>
                  <a:pt x="1350" y="19636"/>
                </a:cubicBezTo>
                <a:lnTo>
                  <a:pt x="1350" y="1964"/>
                </a:lnTo>
                <a:cubicBezTo>
                  <a:pt x="1350" y="1422"/>
                  <a:pt x="1954" y="982"/>
                  <a:pt x="2700" y="982"/>
                </a:cubicBezTo>
                <a:lnTo>
                  <a:pt x="18900" y="982"/>
                </a:lnTo>
                <a:cubicBezTo>
                  <a:pt x="19645" y="982"/>
                  <a:pt x="20250" y="1422"/>
                  <a:pt x="20250" y="1964"/>
                </a:cubicBezTo>
                <a:cubicBezTo>
                  <a:pt x="20250" y="1964"/>
                  <a:pt x="20250" y="19636"/>
                  <a:pt x="20250" y="19636"/>
                </a:cubicBezTo>
                <a:close/>
                <a:moveTo>
                  <a:pt x="18900" y="0"/>
                </a:moveTo>
                <a:lnTo>
                  <a:pt x="2700" y="0"/>
                </a:lnTo>
                <a:cubicBezTo>
                  <a:pt x="120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391" y="0"/>
                  <a:pt x="18900" y="0"/>
                </a:cubicBezTo>
                <a:moveTo>
                  <a:pt x="4050" y="3927"/>
                </a:moveTo>
                <a:lnTo>
                  <a:pt x="17550" y="3927"/>
                </a:lnTo>
                <a:lnTo>
                  <a:pt x="17550" y="17673"/>
                </a:lnTo>
                <a:lnTo>
                  <a:pt x="4050" y="17673"/>
                </a:lnTo>
                <a:cubicBezTo>
                  <a:pt x="4050" y="17673"/>
                  <a:pt x="4050" y="3927"/>
                  <a:pt x="4050" y="3927"/>
                </a:cubicBezTo>
                <a:close/>
                <a:moveTo>
                  <a:pt x="2700" y="18655"/>
                </a:moveTo>
                <a:lnTo>
                  <a:pt x="18900" y="18655"/>
                </a:lnTo>
                <a:lnTo>
                  <a:pt x="18900" y="2945"/>
                </a:lnTo>
                <a:lnTo>
                  <a:pt x="2700" y="2945"/>
                </a:lnTo>
                <a:cubicBezTo>
                  <a:pt x="2700" y="2945"/>
                  <a:pt x="2700" y="18655"/>
                  <a:pt x="2700" y="18655"/>
                </a:cubicBezTo>
                <a:close/>
                <a:moveTo>
                  <a:pt x="10125" y="2455"/>
                </a:moveTo>
                <a:lnTo>
                  <a:pt x="11475" y="2455"/>
                </a:lnTo>
                <a:cubicBezTo>
                  <a:pt x="11848" y="2455"/>
                  <a:pt x="12150" y="2235"/>
                  <a:pt x="12150" y="1964"/>
                </a:cubicBezTo>
                <a:cubicBezTo>
                  <a:pt x="12150" y="1692"/>
                  <a:pt x="11848" y="1473"/>
                  <a:pt x="11475" y="1473"/>
                </a:cubicBezTo>
                <a:lnTo>
                  <a:pt x="10125" y="1473"/>
                </a:lnTo>
                <a:cubicBezTo>
                  <a:pt x="9752" y="1473"/>
                  <a:pt x="9450" y="1692"/>
                  <a:pt x="9450" y="1964"/>
                </a:cubicBezTo>
                <a:cubicBezTo>
                  <a:pt x="9450" y="2235"/>
                  <a:pt x="9752" y="2455"/>
                  <a:pt x="10125" y="2455"/>
                </a:cubicBezTo>
                <a:moveTo>
                  <a:pt x="10800" y="19145"/>
                </a:moveTo>
                <a:cubicBezTo>
                  <a:pt x="10427" y="19145"/>
                  <a:pt x="10125" y="19366"/>
                  <a:pt x="10125" y="19636"/>
                </a:cubicBezTo>
                <a:cubicBezTo>
                  <a:pt x="10125" y="19908"/>
                  <a:pt x="10427" y="20127"/>
                  <a:pt x="10800" y="20127"/>
                </a:cubicBezTo>
                <a:cubicBezTo>
                  <a:pt x="11173" y="20127"/>
                  <a:pt x="11475" y="19908"/>
                  <a:pt x="11475" y="19636"/>
                </a:cubicBezTo>
                <a:cubicBezTo>
                  <a:pt x="11475" y="19366"/>
                  <a:pt x="11173" y="19145"/>
                  <a:pt x="10800" y="191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5" name="Shape 2645"/>
          <p:cNvSpPr/>
          <p:nvPr/>
        </p:nvSpPr>
        <p:spPr>
          <a:xfrm>
            <a:off x="10290720" y="2929267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20250"/>
                </a:moveTo>
                <a:lnTo>
                  <a:pt x="2740" y="17504"/>
                </a:lnTo>
                <a:cubicBezTo>
                  <a:pt x="2807" y="17526"/>
                  <a:pt x="2874" y="17550"/>
                  <a:pt x="2945" y="17550"/>
                </a:cubicBezTo>
                <a:lnTo>
                  <a:pt x="18655" y="17550"/>
                </a:lnTo>
                <a:cubicBezTo>
                  <a:pt x="18726" y="17550"/>
                  <a:pt x="18793" y="17526"/>
                  <a:pt x="18860" y="17504"/>
                </a:cubicBezTo>
                <a:lnTo>
                  <a:pt x="20192" y="20250"/>
                </a:lnTo>
                <a:cubicBezTo>
                  <a:pt x="20192" y="20250"/>
                  <a:pt x="1408" y="20250"/>
                  <a:pt x="1408" y="20250"/>
                </a:cubicBezTo>
                <a:close/>
                <a:moveTo>
                  <a:pt x="2945" y="1350"/>
                </a:moveTo>
                <a:lnTo>
                  <a:pt x="18655" y="1350"/>
                </a:lnTo>
                <a:lnTo>
                  <a:pt x="18655" y="16200"/>
                </a:lnTo>
                <a:lnTo>
                  <a:pt x="2945" y="16200"/>
                </a:lnTo>
                <a:cubicBezTo>
                  <a:pt x="2945" y="16200"/>
                  <a:pt x="2945" y="1350"/>
                  <a:pt x="2945" y="1350"/>
                </a:cubicBezTo>
                <a:close/>
                <a:moveTo>
                  <a:pt x="21510" y="20558"/>
                </a:moveTo>
                <a:lnTo>
                  <a:pt x="21518" y="20551"/>
                </a:lnTo>
                <a:lnTo>
                  <a:pt x="19591" y="16577"/>
                </a:lnTo>
                <a:cubicBezTo>
                  <a:pt x="19617" y="16457"/>
                  <a:pt x="19636" y="16332"/>
                  <a:pt x="19636" y="16200"/>
                </a:cubicBezTo>
                <a:lnTo>
                  <a:pt x="19636" y="1350"/>
                </a:lnTo>
                <a:cubicBezTo>
                  <a:pt x="19636" y="605"/>
                  <a:pt x="19197" y="0"/>
                  <a:pt x="18655" y="0"/>
                </a:cubicBezTo>
                <a:lnTo>
                  <a:pt x="2945" y="0"/>
                </a:lnTo>
                <a:cubicBezTo>
                  <a:pt x="2403" y="0"/>
                  <a:pt x="1964" y="605"/>
                  <a:pt x="1964" y="1350"/>
                </a:cubicBezTo>
                <a:lnTo>
                  <a:pt x="1964" y="16200"/>
                </a:lnTo>
                <a:cubicBezTo>
                  <a:pt x="1964" y="16332"/>
                  <a:pt x="1983" y="16457"/>
                  <a:pt x="2009" y="16577"/>
                </a:cubicBezTo>
                <a:lnTo>
                  <a:pt x="82" y="20551"/>
                </a:lnTo>
                <a:lnTo>
                  <a:pt x="90" y="20558"/>
                </a:lnTo>
                <a:cubicBezTo>
                  <a:pt x="38" y="20665"/>
                  <a:pt x="0" y="20787"/>
                  <a:pt x="0" y="20925"/>
                </a:cubicBezTo>
                <a:cubicBezTo>
                  <a:pt x="0" y="21298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298"/>
                  <a:pt x="21600" y="20925"/>
                </a:cubicBezTo>
                <a:cubicBezTo>
                  <a:pt x="21600" y="20787"/>
                  <a:pt x="21562" y="20665"/>
                  <a:pt x="21510" y="2055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6" name="Shape 2646"/>
          <p:cNvSpPr/>
          <p:nvPr/>
        </p:nvSpPr>
        <p:spPr>
          <a:xfrm>
            <a:off x="11357242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2" y="20618"/>
                  <a:pt x="6873" y="20838"/>
                  <a:pt x="6873" y="21109"/>
                </a:cubicBezTo>
                <a:cubicBezTo>
                  <a:pt x="6873" y="21381"/>
                  <a:pt x="7092" y="21600"/>
                  <a:pt x="7364" y="21600"/>
                </a:cubicBezTo>
                <a:lnTo>
                  <a:pt x="14236" y="21600"/>
                </a:lnTo>
                <a:cubicBezTo>
                  <a:pt x="14508" y="21600"/>
                  <a:pt x="14727" y="21381"/>
                  <a:pt x="14727" y="21109"/>
                </a:cubicBezTo>
                <a:cubicBezTo>
                  <a:pt x="14727" y="20838"/>
                  <a:pt x="14508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7" name="Shape 2647"/>
          <p:cNvSpPr/>
          <p:nvPr/>
        </p:nvSpPr>
        <p:spPr>
          <a:xfrm>
            <a:off x="1758543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773" y="5201"/>
                </a:moveTo>
                <a:cubicBezTo>
                  <a:pt x="10712" y="5093"/>
                  <a:pt x="10614" y="5023"/>
                  <a:pt x="10504" y="4986"/>
                </a:cubicBezTo>
                <a:lnTo>
                  <a:pt x="10517" y="4938"/>
                </a:lnTo>
                <a:cubicBezTo>
                  <a:pt x="10483" y="4941"/>
                  <a:pt x="10451" y="4949"/>
                  <a:pt x="10419" y="4957"/>
                </a:cubicBezTo>
                <a:lnTo>
                  <a:pt x="8464" y="4433"/>
                </a:lnTo>
                <a:cubicBezTo>
                  <a:pt x="8343" y="4400"/>
                  <a:pt x="8209" y="4414"/>
                  <a:pt x="8091" y="4482"/>
                </a:cubicBezTo>
                <a:cubicBezTo>
                  <a:pt x="7856" y="4618"/>
                  <a:pt x="7776" y="4918"/>
                  <a:pt x="7912" y="5153"/>
                </a:cubicBezTo>
                <a:cubicBezTo>
                  <a:pt x="7979" y="5270"/>
                  <a:pt x="8088" y="5349"/>
                  <a:pt x="8210" y="5381"/>
                </a:cubicBezTo>
                <a:lnTo>
                  <a:pt x="8965" y="5584"/>
                </a:lnTo>
                <a:cubicBezTo>
                  <a:pt x="8292" y="6116"/>
                  <a:pt x="7855" y="6927"/>
                  <a:pt x="7855" y="7855"/>
                </a:cubicBezTo>
                <a:cubicBezTo>
                  <a:pt x="7855" y="9081"/>
                  <a:pt x="8605" y="10131"/>
                  <a:pt x="9671" y="10574"/>
                </a:cubicBezTo>
                <a:lnTo>
                  <a:pt x="9934" y="9609"/>
                </a:lnTo>
                <a:cubicBezTo>
                  <a:pt x="9286" y="9288"/>
                  <a:pt x="8836" y="8627"/>
                  <a:pt x="8836" y="7855"/>
                </a:cubicBezTo>
                <a:cubicBezTo>
                  <a:pt x="8836" y="7221"/>
                  <a:pt x="9142" y="6665"/>
                  <a:pt x="9609" y="6309"/>
                </a:cubicBezTo>
                <a:lnTo>
                  <a:pt x="9336" y="7331"/>
                </a:lnTo>
                <a:cubicBezTo>
                  <a:pt x="9303" y="7453"/>
                  <a:pt x="9316" y="7586"/>
                  <a:pt x="9384" y="7704"/>
                </a:cubicBezTo>
                <a:cubicBezTo>
                  <a:pt x="9520" y="7938"/>
                  <a:pt x="9820" y="8019"/>
                  <a:pt x="10055" y="7884"/>
                </a:cubicBezTo>
                <a:cubicBezTo>
                  <a:pt x="10172" y="7815"/>
                  <a:pt x="10251" y="7706"/>
                  <a:pt x="10284" y="7585"/>
                </a:cubicBezTo>
                <a:lnTo>
                  <a:pt x="10823" y="5573"/>
                </a:lnTo>
                <a:cubicBezTo>
                  <a:pt x="10855" y="5452"/>
                  <a:pt x="10841" y="5318"/>
                  <a:pt x="10773" y="5201"/>
                </a:cubicBezTo>
                <a:moveTo>
                  <a:pt x="13421" y="10343"/>
                </a:moveTo>
                <a:lnTo>
                  <a:pt x="12630" y="10132"/>
                </a:lnTo>
                <a:cubicBezTo>
                  <a:pt x="13306" y="9598"/>
                  <a:pt x="13745" y="8785"/>
                  <a:pt x="13745" y="7855"/>
                </a:cubicBezTo>
                <a:cubicBezTo>
                  <a:pt x="13745" y="6643"/>
                  <a:pt x="13013" y="5604"/>
                  <a:pt x="11967" y="5152"/>
                </a:cubicBezTo>
                <a:lnTo>
                  <a:pt x="11702" y="6121"/>
                </a:lnTo>
                <a:cubicBezTo>
                  <a:pt x="12330" y="6448"/>
                  <a:pt x="12764" y="7098"/>
                  <a:pt x="12764" y="7855"/>
                </a:cubicBezTo>
                <a:cubicBezTo>
                  <a:pt x="12764" y="8468"/>
                  <a:pt x="12477" y="9008"/>
                  <a:pt x="12035" y="9366"/>
                </a:cubicBezTo>
                <a:lnTo>
                  <a:pt x="12295" y="8394"/>
                </a:lnTo>
                <a:cubicBezTo>
                  <a:pt x="12328" y="8273"/>
                  <a:pt x="12314" y="8139"/>
                  <a:pt x="12246" y="8021"/>
                </a:cubicBezTo>
                <a:cubicBezTo>
                  <a:pt x="12111" y="7786"/>
                  <a:pt x="11811" y="7706"/>
                  <a:pt x="11576" y="7842"/>
                </a:cubicBezTo>
                <a:cubicBezTo>
                  <a:pt x="11458" y="7910"/>
                  <a:pt x="11380" y="8019"/>
                  <a:pt x="11347" y="8140"/>
                </a:cubicBezTo>
                <a:lnTo>
                  <a:pt x="10808" y="10152"/>
                </a:lnTo>
                <a:lnTo>
                  <a:pt x="10808" y="10152"/>
                </a:lnTo>
                <a:cubicBezTo>
                  <a:pt x="10776" y="10273"/>
                  <a:pt x="10789" y="10407"/>
                  <a:pt x="10857" y="10524"/>
                </a:cubicBezTo>
                <a:cubicBezTo>
                  <a:pt x="10920" y="10634"/>
                  <a:pt x="11021" y="10706"/>
                  <a:pt x="11133" y="10742"/>
                </a:cubicBezTo>
                <a:lnTo>
                  <a:pt x="11126" y="10768"/>
                </a:lnTo>
                <a:cubicBezTo>
                  <a:pt x="11142" y="10766"/>
                  <a:pt x="11157" y="10761"/>
                  <a:pt x="11173" y="10758"/>
                </a:cubicBezTo>
                <a:lnTo>
                  <a:pt x="13167" y="11292"/>
                </a:lnTo>
                <a:cubicBezTo>
                  <a:pt x="13288" y="11324"/>
                  <a:pt x="13422" y="11311"/>
                  <a:pt x="13540" y="11243"/>
                </a:cubicBezTo>
                <a:cubicBezTo>
                  <a:pt x="13774" y="11107"/>
                  <a:pt x="13855" y="10807"/>
                  <a:pt x="13719" y="10572"/>
                </a:cubicBezTo>
                <a:cubicBezTo>
                  <a:pt x="13651" y="10455"/>
                  <a:pt x="13542" y="10376"/>
                  <a:pt x="13421" y="1034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8" name="Shape 2648"/>
          <p:cNvSpPr/>
          <p:nvPr/>
        </p:nvSpPr>
        <p:spPr>
          <a:xfrm>
            <a:off x="2825064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764" y="8836"/>
                </a:moveTo>
                <a:cubicBezTo>
                  <a:pt x="12628" y="8836"/>
                  <a:pt x="12505" y="8891"/>
                  <a:pt x="12417" y="8980"/>
                </a:cubicBezTo>
                <a:lnTo>
                  <a:pt x="11291" y="10106"/>
                </a:lnTo>
                <a:lnTo>
                  <a:pt x="11291" y="4419"/>
                </a:lnTo>
                <a:lnTo>
                  <a:pt x="11291" y="4418"/>
                </a:lnTo>
                <a:cubicBezTo>
                  <a:pt x="11291" y="4147"/>
                  <a:pt x="11071" y="3927"/>
                  <a:pt x="10800" y="3927"/>
                </a:cubicBezTo>
                <a:cubicBezTo>
                  <a:pt x="10529" y="3927"/>
                  <a:pt x="10309" y="4147"/>
                  <a:pt x="10309" y="4418"/>
                </a:cubicBezTo>
                <a:lnTo>
                  <a:pt x="10309" y="10106"/>
                </a:lnTo>
                <a:lnTo>
                  <a:pt x="9183" y="8980"/>
                </a:lnTo>
                <a:cubicBezTo>
                  <a:pt x="9095" y="8891"/>
                  <a:pt x="8972" y="8836"/>
                  <a:pt x="8836" y="8836"/>
                </a:cubicBezTo>
                <a:cubicBezTo>
                  <a:pt x="8566" y="8836"/>
                  <a:pt x="8345" y="9056"/>
                  <a:pt x="8345" y="9327"/>
                </a:cubicBezTo>
                <a:cubicBezTo>
                  <a:pt x="8345" y="9463"/>
                  <a:pt x="8400" y="9586"/>
                  <a:pt x="8489" y="9674"/>
                </a:cubicBezTo>
                <a:lnTo>
                  <a:pt x="10453" y="11638"/>
                </a:lnTo>
                <a:cubicBezTo>
                  <a:pt x="10542" y="11727"/>
                  <a:pt x="10665" y="11782"/>
                  <a:pt x="10800" y="11782"/>
                </a:cubicBezTo>
                <a:cubicBezTo>
                  <a:pt x="10935" y="11782"/>
                  <a:pt x="11058" y="11727"/>
                  <a:pt x="11147" y="11638"/>
                </a:cubicBezTo>
                <a:lnTo>
                  <a:pt x="13111" y="9674"/>
                </a:lnTo>
                <a:cubicBezTo>
                  <a:pt x="13200" y="9586"/>
                  <a:pt x="13255" y="9463"/>
                  <a:pt x="13255" y="9327"/>
                </a:cubicBezTo>
                <a:cubicBezTo>
                  <a:pt x="13255" y="9056"/>
                  <a:pt x="13034" y="8836"/>
                  <a:pt x="12764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9" name="Shape 2649"/>
          <p:cNvSpPr/>
          <p:nvPr/>
        </p:nvSpPr>
        <p:spPr>
          <a:xfrm>
            <a:off x="3891587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1147" y="4071"/>
                </a:moveTo>
                <a:cubicBezTo>
                  <a:pt x="11058" y="3982"/>
                  <a:pt x="10935" y="3927"/>
                  <a:pt x="10800" y="3927"/>
                </a:cubicBezTo>
                <a:cubicBezTo>
                  <a:pt x="10665" y="3927"/>
                  <a:pt x="10542" y="3982"/>
                  <a:pt x="10453" y="4071"/>
                </a:cubicBezTo>
                <a:lnTo>
                  <a:pt x="8489" y="6035"/>
                </a:lnTo>
                <a:cubicBezTo>
                  <a:pt x="8400" y="6124"/>
                  <a:pt x="8345" y="6247"/>
                  <a:pt x="8345" y="6382"/>
                </a:cubicBezTo>
                <a:cubicBezTo>
                  <a:pt x="8345" y="6653"/>
                  <a:pt x="8566" y="6873"/>
                  <a:pt x="8836" y="6873"/>
                </a:cubicBezTo>
                <a:cubicBezTo>
                  <a:pt x="8972" y="6873"/>
                  <a:pt x="9095" y="6818"/>
                  <a:pt x="9183" y="6729"/>
                </a:cubicBezTo>
                <a:lnTo>
                  <a:pt x="10309" y="5603"/>
                </a:lnTo>
                <a:lnTo>
                  <a:pt x="10309" y="11291"/>
                </a:lnTo>
                <a:cubicBezTo>
                  <a:pt x="10309" y="11562"/>
                  <a:pt x="10529" y="11782"/>
                  <a:pt x="10800" y="11782"/>
                </a:cubicBezTo>
                <a:cubicBezTo>
                  <a:pt x="11071" y="11782"/>
                  <a:pt x="11291" y="11562"/>
                  <a:pt x="11291" y="11291"/>
                </a:cubicBezTo>
                <a:lnTo>
                  <a:pt x="11291" y="5603"/>
                </a:lnTo>
                <a:lnTo>
                  <a:pt x="12417" y="6729"/>
                </a:lnTo>
                <a:cubicBezTo>
                  <a:pt x="12505" y="6818"/>
                  <a:pt x="12628" y="6873"/>
                  <a:pt x="12764" y="6873"/>
                </a:cubicBezTo>
                <a:cubicBezTo>
                  <a:pt x="13034" y="6873"/>
                  <a:pt x="13255" y="6653"/>
                  <a:pt x="13255" y="6382"/>
                </a:cubicBezTo>
                <a:cubicBezTo>
                  <a:pt x="13255" y="6247"/>
                  <a:pt x="13200" y="6124"/>
                  <a:pt x="13111" y="6035"/>
                </a:cubicBezTo>
                <a:cubicBezTo>
                  <a:pt x="13111" y="6035"/>
                  <a:pt x="11147" y="4071"/>
                  <a:pt x="11147" y="4071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0" name="Shape 2650"/>
          <p:cNvSpPr/>
          <p:nvPr/>
        </p:nvSpPr>
        <p:spPr>
          <a:xfrm>
            <a:off x="4958109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36" y="7364"/>
                </a:moveTo>
                <a:lnTo>
                  <a:pt x="8549" y="7364"/>
                </a:lnTo>
                <a:lnTo>
                  <a:pt x="9674" y="6238"/>
                </a:lnTo>
                <a:cubicBezTo>
                  <a:pt x="9763" y="6149"/>
                  <a:pt x="9818" y="6027"/>
                  <a:pt x="9818" y="5891"/>
                </a:cubicBezTo>
                <a:cubicBezTo>
                  <a:pt x="9818" y="5620"/>
                  <a:pt x="9598" y="5400"/>
                  <a:pt x="9327" y="5400"/>
                </a:cubicBezTo>
                <a:cubicBezTo>
                  <a:pt x="9192" y="5400"/>
                  <a:pt x="9069" y="5455"/>
                  <a:pt x="8980" y="5544"/>
                </a:cubicBezTo>
                <a:lnTo>
                  <a:pt x="7017" y="7507"/>
                </a:lnTo>
                <a:cubicBezTo>
                  <a:pt x="6928" y="7597"/>
                  <a:pt x="6873" y="7720"/>
                  <a:pt x="6873" y="7855"/>
                </a:cubicBezTo>
                <a:cubicBezTo>
                  <a:pt x="6873" y="7990"/>
                  <a:pt x="6928" y="8113"/>
                  <a:pt x="7017" y="8202"/>
                </a:cubicBezTo>
                <a:lnTo>
                  <a:pt x="8980" y="10165"/>
                </a:lnTo>
                <a:cubicBezTo>
                  <a:pt x="9069" y="10255"/>
                  <a:pt x="9192" y="10309"/>
                  <a:pt x="9327" y="10309"/>
                </a:cubicBezTo>
                <a:cubicBezTo>
                  <a:pt x="9598" y="10309"/>
                  <a:pt x="9818" y="10090"/>
                  <a:pt x="9818" y="9818"/>
                </a:cubicBezTo>
                <a:cubicBezTo>
                  <a:pt x="9818" y="9683"/>
                  <a:pt x="9763" y="9560"/>
                  <a:pt x="9674" y="9471"/>
                </a:cubicBezTo>
                <a:lnTo>
                  <a:pt x="8549" y="8345"/>
                </a:lnTo>
                <a:lnTo>
                  <a:pt x="14236" y="8345"/>
                </a:lnTo>
                <a:cubicBezTo>
                  <a:pt x="14507" y="8345"/>
                  <a:pt x="14727" y="8126"/>
                  <a:pt x="14727" y="7855"/>
                </a:cubicBezTo>
                <a:cubicBezTo>
                  <a:pt x="14727" y="7584"/>
                  <a:pt x="14507" y="7364"/>
                  <a:pt x="14236" y="73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1" name="Shape 2651"/>
          <p:cNvSpPr/>
          <p:nvPr/>
        </p:nvSpPr>
        <p:spPr>
          <a:xfrm>
            <a:off x="6024631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583" y="7507"/>
                </a:moveTo>
                <a:lnTo>
                  <a:pt x="12620" y="5544"/>
                </a:lnTo>
                <a:cubicBezTo>
                  <a:pt x="12531" y="5455"/>
                  <a:pt x="12408" y="5400"/>
                  <a:pt x="12273" y="5400"/>
                </a:cubicBezTo>
                <a:cubicBezTo>
                  <a:pt x="12001" y="5400"/>
                  <a:pt x="11782" y="5620"/>
                  <a:pt x="11782" y="5891"/>
                </a:cubicBezTo>
                <a:cubicBezTo>
                  <a:pt x="11782" y="6027"/>
                  <a:pt x="11837" y="6149"/>
                  <a:pt x="11926" y="6238"/>
                </a:cubicBezTo>
                <a:lnTo>
                  <a:pt x="13051" y="7364"/>
                </a:lnTo>
                <a:lnTo>
                  <a:pt x="7364" y="7364"/>
                </a:lnTo>
                <a:cubicBezTo>
                  <a:pt x="7092" y="7364"/>
                  <a:pt x="6873" y="7584"/>
                  <a:pt x="6873" y="7855"/>
                </a:cubicBezTo>
                <a:cubicBezTo>
                  <a:pt x="6873" y="8126"/>
                  <a:pt x="7092" y="8345"/>
                  <a:pt x="7364" y="8345"/>
                </a:cubicBezTo>
                <a:lnTo>
                  <a:pt x="13051" y="8345"/>
                </a:lnTo>
                <a:lnTo>
                  <a:pt x="11926" y="9471"/>
                </a:lnTo>
                <a:cubicBezTo>
                  <a:pt x="11837" y="9560"/>
                  <a:pt x="11782" y="9683"/>
                  <a:pt x="11782" y="9818"/>
                </a:cubicBezTo>
                <a:cubicBezTo>
                  <a:pt x="11782" y="10090"/>
                  <a:pt x="12001" y="10309"/>
                  <a:pt x="12273" y="10309"/>
                </a:cubicBezTo>
                <a:cubicBezTo>
                  <a:pt x="12408" y="10309"/>
                  <a:pt x="12531" y="10255"/>
                  <a:pt x="12620" y="10165"/>
                </a:cubicBezTo>
                <a:lnTo>
                  <a:pt x="14583" y="8202"/>
                </a:lnTo>
                <a:cubicBezTo>
                  <a:pt x="14672" y="8113"/>
                  <a:pt x="14727" y="7990"/>
                  <a:pt x="14727" y="7855"/>
                </a:cubicBezTo>
                <a:cubicBezTo>
                  <a:pt x="14727" y="7720"/>
                  <a:pt x="14672" y="7597"/>
                  <a:pt x="14583" y="7507"/>
                </a:cubicBezTo>
                <a:close/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1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2" y="20618"/>
                  <a:pt x="6873" y="20838"/>
                  <a:pt x="6873" y="21109"/>
                </a:cubicBezTo>
                <a:cubicBezTo>
                  <a:pt x="6873" y="21380"/>
                  <a:pt x="7092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0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2" name="Shape 2652"/>
          <p:cNvSpPr/>
          <p:nvPr/>
        </p:nvSpPr>
        <p:spPr>
          <a:xfrm>
            <a:off x="7091154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7547" y="14727"/>
                  <a:pt x="4909" y="12969"/>
                  <a:pt x="4909" y="10800"/>
                </a:cubicBezTo>
                <a:cubicBezTo>
                  <a:pt x="4909" y="8631"/>
                  <a:pt x="7547" y="6873"/>
                  <a:pt x="10800" y="6873"/>
                </a:cubicBezTo>
                <a:cubicBezTo>
                  <a:pt x="11895" y="6873"/>
                  <a:pt x="12917" y="7076"/>
                  <a:pt x="13795" y="7423"/>
                </a:cubicBezTo>
                <a:lnTo>
                  <a:pt x="15709" y="5073"/>
                </a:lnTo>
                <a:lnTo>
                  <a:pt x="15709" y="8631"/>
                </a:lnTo>
                <a:cubicBezTo>
                  <a:pt x="16328" y="9253"/>
                  <a:pt x="16691" y="9998"/>
                  <a:pt x="16691" y="10800"/>
                </a:cubicBezTo>
                <a:cubicBezTo>
                  <a:pt x="16691" y="12969"/>
                  <a:pt x="14053" y="14727"/>
                  <a:pt x="10800" y="14727"/>
                </a:cubicBezTo>
                <a:moveTo>
                  <a:pt x="16691" y="1964"/>
                </a:moveTo>
                <a:lnTo>
                  <a:pt x="13360" y="6247"/>
                </a:lnTo>
                <a:cubicBezTo>
                  <a:pt x="12568" y="6020"/>
                  <a:pt x="11706" y="5891"/>
                  <a:pt x="10800" y="5891"/>
                </a:cubicBezTo>
                <a:cubicBezTo>
                  <a:pt x="7004" y="5891"/>
                  <a:pt x="3927" y="8089"/>
                  <a:pt x="3927" y="10800"/>
                </a:cubicBezTo>
                <a:cubicBezTo>
                  <a:pt x="3927" y="13511"/>
                  <a:pt x="7004" y="15709"/>
                  <a:pt x="10800" y="15709"/>
                </a:cubicBezTo>
                <a:cubicBezTo>
                  <a:pt x="14596" y="15709"/>
                  <a:pt x="17673" y="13511"/>
                  <a:pt x="17673" y="10800"/>
                </a:cubicBezTo>
                <a:cubicBezTo>
                  <a:pt x="17673" y="9878"/>
                  <a:pt x="17310" y="9018"/>
                  <a:pt x="16691" y="8281"/>
                </a:cubicBezTo>
                <a:cubicBezTo>
                  <a:pt x="16691" y="8281"/>
                  <a:pt x="16691" y="1964"/>
                  <a:pt x="16691" y="1964"/>
                </a:cubicBezTo>
                <a:close/>
                <a:moveTo>
                  <a:pt x="19145" y="1964"/>
                </a:moveTo>
                <a:cubicBezTo>
                  <a:pt x="18874" y="1964"/>
                  <a:pt x="18655" y="2184"/>
                  <a:pt x="18655" y="2455"/>
                </a:cubicBezTo>
                <a:cubicBezTo>
                  <a:pt x="18655" y="2726"/>
                  <a:pt x="18874" y="2945"/>
                  <a:pt x="19145" y="2945"/>
                </a:cubicBezTo>
                <a:cubicBezTo>
                  <a:pt x="19417" y="2945"/>
                  <a:pt x="19636" y="2726"/>
                  <a:pt x="19636" y="2455"/>
                </a:cubicBezTo>
                <a:cubicBezTo>
                  <a:pt x="19636" y="2184"/>
                  <a:pt x="19417" y="1964"/>
                  <a:pt x="19145" y="1964"/>
                </a:cubicBezTo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6691"/>
                  <a:pt x="20618" y="16691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8382"/>
                </a:lnTo>
                <a:cubicBezTo>
                  <a:pt x="1271" y="18551"/>
                  <a:pt x="1604" y="18655"/>
                  <a:pt x="1964" y="18655"/>
                </a:cubicBezTo>
                <a:lnTo>
                  <a:pt x="19636" y="18655"/>
                </a:lnTo>
                <a:cubicBezTo>
                  <a:pt x="19996" y="18655"/>
                  <a:pt x="20329" y="18551"/>
                  <a:pt x="20618" y="18382"/>
                </a:cubicBezTo>
                <a:cubicBezTo>
                  <a:pt x="20618" y="18382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800" y="11291"/>
                </a:moveTo>
                <a:cubicBezTo>
                  <a:pt x="10258" y="11291"/>
                  <a:pt x="9818" y="11072"/>
                  <a:pt x="9818" y="10800"/>
                </a:cubicBezTo>
                <a:cubicBezTo>
                  <a:pt x="9818" y="10529"/>
                  <a:pt x="10258" y="10309"/>
                  <a:pt x="10800" y="10309"/>
                </a:cubicBezTo>
                <a:cubicBezTo>
                  <a:pt x="11342" y="10309"/>
                  <a:pt x="11782" y="10529"/>
                  <a:pt x="11782" y="10800"/>
                </a:cubicBezTo>
                <a:cubicBezTo>
                  <a:pt x="11782" y="11072"/>
                  <a:pt x="11342" y="11291"/>
                  <a:pt x="10800" y="11291"/>
                </a:cubicBezTo>
                <a:moveTo>
                  <a:pt x="10800" y="9327"/>
                </a:moveTo>
                <a:cubicBezTo>
                  <a:pt x="9716" y="9327"/>
                  <a:pt x="8836" y="9986"/>
                  <a:pt x="8836" y="10800"/>
                </a:cubicBezTo>
                <a:cubicBezTo>
                  <a:pt x="8836" y="11614"/>
                  <a:pt x="9716" y="12273"/>
                  <a:pt x="10800" y="12273"/>
                </a:cubicBezTo>
                <a:cubicBezTo>
                  <a:pt x="11884" y="12273"/>
                  <a:pt x="12764" y="11614"/>
                  <a:pt x="12764" y="10800"/>
                </a:cubicBezTo>
                <a:cubicBezTo>
                  <a:pt x="12764" y="9986"/>
                  <a:pt x="11884" y="9327"/>
                  <a:pt x="10800" y="9327"/>
                </a:cubicBezTo>
                <a:moveTo>
                  <a:pt x="19145" y="15709"/>
                </a:moveTo>
                <a:cubicBezTo>
                  <a:pt x="18874" y="15709"/>
                  <a:pt x="18655" y="15929"/>
                  <a:pt x="18655" y="16200"/>
                </a:cubicBezTo>
                <a:cubicBezTo>
                  <a:pt x="18655" y="16472"/>
                  <a:pt x="18874" y="16691"/>
                  <a:pt x="19145" y="16691"/>
                </a:cubicBezTo>
                <a:cubicBezTo>
                  <a:pt x="19417" y="16691"/>
                  <a:pt x="19636" y="16472"/>
                  <a:pt x="19636" y="16200"/>
                </a:cubicBezTo>
                <a:cubicBezTo>
                  <a:pt x="19636" y="15929"/>
                  <a:pt x="19417" y="15709"/>
                  <a:pt x="19145" y="15709"/>
                </a:cubicBezTo>
                <a:moveTo>
                  <a:pt x="2455" y="15709"/>
                </a:moveTo>
                <a:cubicBezTo>
                  <a:pt x="2183" y="15709"/>
                  <a:pt x="1964" y="15929"/>
                  <a:pt x="1964" y="16200"/>
                </a:cubicBezTo>
                <a:cubicBezTo>
                  <a:pt x="1964" y="16472"/>
                  <a:pt x="2183" y="16691"/>
                  <a:pt x="2455" y="16691"/>
                </a:cubicBezTo>
                <a:cubicBezTo>
                  <a:pt x="2726" y="16691"/>
                  <a:pt x="2945" y="16472"/>
                  <a:pt x="2945" y="16200"/>
                </a:cubicBezTo>
                <a:cubicBezTo>
                  <a:pt x="2945" y="15929"/>
                  <a:pt x="2726" y="15709"/>
                  <a:pt x="2455" y="15709"/>
                </a:cubicBezTo>
                <a:moveTo>
                  <a:pt x="5645" y="4418"/>
                </a:moveTo>
                <a:lnTo>
                  <a:pt x="12027" y="4418"/>
                </a:lnTo>
                <a:cubicBezTo>
                  <a:pt x="12434" y="4418"/>
                  <a:pt x="12764" y="4088"/>
                  <a:pt x="12764" y="3682"/>
                </a:cubicBezTo>
                <a:cubicBezTo>
                  <a:pt x="12764" y="3275"/>
                  <a:pt x="12434" y="2945"/>
                  <a:pt x="12027" y="2945"/>
                </a:cubicBezTo>
                <a:lnTo>
                  <a:pt x="5645" y="2945"/>
                </a:lnTo>
                <a:cubicBezTo>
                  <a:pt x="5239" y="2945"/>
                  <a:pt x="4909" y="3275"/>
                  <a:pt x="4909" y="3682"/>
                </a:cubicBezTo>
                <a:cubicBezTo>
                  <a:pt x="4909" y="4088"/>
                  <a:pt x="5239" y="4418"/>
                  <a:pt x="5645" y="4418"/>
                </a:cubicBezTo>
                <a:moveTo>
                  <a:pt x="2455" y="1964"/>
                </a:moveTo>
                <a:cubicBezTo>
                  <a:pt x="2183" y="1964"/>
                  <a:pt x="1964" y="2184"/>
                  <a:pt x="1964" y="2455"/>
                </a:cubicBezTo>
                <a:cubicBezTo>
                  <a:pt x="1964" y="2726"/>
                  <a:pt x="2183" y="2945"/>
                  <a:pt x="2455" y="2945"/>
                </a:cubicBezTo>
                <a:cubicBezTo>
                  <a:pt x="2726" y="2945"/>
                  <a:pt x="2945" y="2726"/>
                  <a:pt x="2945" y="2455"/>
                </a:cubicBezTo>
                <a:cubicBezTo>
                  <a:pt x="2945" y="2184"/>
                  <a:pt x="2726" y="1964"/>
                  <a:pt x="2455" y="19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3" name="Shape 2653"/>
          <p:cNvSpPr/>
          <p:nvPr/>
        </p:nvSpPr>
        <p:spPr>
          <a:xfrm>
            <a:off x="8157677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764" y="5891"/>
                </a:moveTo>
                <a:lnTo>
                  <a:pt x="14727" y="5891"/>
                </a:lnTo>
                <a:lnTo>
                  <a:pt x="14727" y="1964"/>
                </a:lnTo>
                <a:lnTo>
                  <a:pt x="12764" y="1964"/>
                </a:lnTo>
                <a:cubicBezTo>
                  <a:pt x="12764" y="1964"/>
                  <a:pt x="12764" y="5891"/>
                  <a:pt x="12764" y="5891"/>
                </a:cubicBezTo>
                <a:close/>
                <a:moveTo>
                  <a:pt x="6873" y="2945"/>
                </a:moveTo>
                <a:lnTo>
                  <a:pt x="10800" y="2945"/>
                </a:lnTo>
                <a:lnTo>
                  <a:pt x="10800" y="1964"/>
                </a:lnTo>
                <a:lnTo>
                  <a:pt x="6873" y="1964"/>
                </a:lnTo>
                <a:cubicBezTo>
                  <a:pt x="6873" y="1964"/>
                  <a:pt x="6873" y="2945"/>
                  <a:pt x="6873" y="294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8655" y="20618"/>
                </a:lnTo>
                <a:lnTo>
                  <a:pt x="18655" y="11782"/>
                </a:lnTo>
                <a:cubicBezTo>
                  <a:pt x="18655" y="11240"/>
                  <a:pt x="18214" y="10800"/>
                  <a:pt x="17673" y="10800"/>
                </a:cubicBezTo>
                <a:lnTo>
                  <a:pt x="3927" y="10800"/>
                </a:lnTo>
                <a:cubicBezTo>
                  <a:pt x="3385" y="10800"/>
                  <a:pt x="2945" y="11240"/>
                  <a:pt x="2945" y="11782"/>
                </a:cubicBezTo>
                <a:lnTo>
                  <a:pt x="2945" y="20618"/>
                </a:ln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4909" y="982"/>
                </a:lnTo>
                <a:lnTo>
                  <a:pt x="4909" y="6873"/>
                </a:lnTo>
                <a:cubicBezTo>
                  <a:pt x="4909" y="7415"/>
                  <a:pt x="5348" y="7855"/>
                  <a:pt x="5891" y="7855"/>
                </a:cubicBezTo>
                <a:lnTo>
                  <a:pt x="15709" y="7855"/>
                </a:lnTo>
                <a:cubicBezTo>
                  <a:pt x="16251" y="7855"/>
                  <a:pt x="16691" y="7415"/>
                  <a:pt x="16691" y="6873"/>
                </a:cubicBezTo>
                <a:lnTo>
                  <a:pt x="16691" y="982"/>
                </a:lnTo>
                <a:lnTo>
                  <a:pt x="17182" y="982"/>
                </a:lnTo>
                <a:lnTo>
                  <a:pt x="20618" y="4418"/>
                </a:lnTo>
                <a:cubicBezTo>
                  <a:pt x="20618" y="4418"/>
                  <a:pt x="20618" y="19636"/>
                  <a:pt x="20618" y="19636"/>
                </a:cubicBezTo>
                <a:close/>
                <a:moveTo>
                  <a:pt x="17673" y="20618"/>
                </a:moveTo>
                <a:lnTo>
                  <a:pt x="3927" y="20618"/>
                </a:lnTo>
                <a:lnTo>
                  <a:pt x="3927" y="11782"/>
                </a:lnTo>
                <a:lnTo>
                  <a:pt x="17673" y="11782"/>
                </a:lnTo>
                <a:cubicBezTo>
                  <a:pt x="17673" y="11782"/>
                  <a:pt x="17673" y="20618"/>
                  <a:pt x="17673" y="20618"/>
                </a:cubicBezTo>
                <a:close/>
                <a:moveTo>
                  <a:pt x="5891" y="982"/>
                </a:moveTo>
                <a:lnTo>
                  <a:pt x="15709" y="982"/>
                </a:lnTo>
                <a:lnTo>
                  <a:pt x="15709" y="6873"/>
                </a:lnTo>
                <a:lnTo>
                  <a:pt x="5891" y="6873"/>
                </a:lnTo>
                <a:cubicBezTo>
                  <a:pt x="5891" y="6873"/>
                  <a:pt x="5891" y="982"/>
                  <a:pt x="5891" y="982"/>
                </a:cubicBezTo>
                <a:close/>
                <a:moveTo>
                  <a:pt x="17673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7"/>
                </a:lnTo>
                <a:cubicBezTo>
                  <a:pt x="21600" y="3927"/>
                  <a:pt x="17673" y="0"/>
                  <a:pt x="17673" y="0"/>
                </a:cubicBezTo>
                <a:close/>
                <a:moveTo>
                  <a:pt x="6873" y="4909"/>
                </a:moveTo>
                <a:lnTo>
                  <a:pt x="9818" y="4909"/>
                </a:lnTo>
                <a:lnTo>
                  <a:pt x="9818" y="3927"/>
                </a:lnTo>
                <a:lnTo>
                  <a:pt x="6873" y="3927"/>
                </a:lnTo>
                <a:cubicBezTo>
                  <a:pt x="6873" y="3927"/>
                  <a:pt x="6873" y="4909"/>
                  <a:pt x="6873" y="4909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4" name="Shape 2654"/>
          <p:cNvSpPr/>
          <p:nvPr/>
        </p:nvSpPr>
        <p:spPr>
          <a:xfrm>
            <a:off x="9224197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5709"/>
                </a:moveTo>
                <a:lnTo>
                  <a:pt x="5891" y="15709"/>
                </a:lnTo>
                <a:lnTo>
                  <a:pt x="5891" y="16691"/>
                </a:lnTo>
                <a:lnTo>
                  <a:pt x="15709" y="16691"/>
                </a:lnTo>
                <a:cubicBezTo>
                  <a:pt x="15709" y="16691"/>
                  <a:pt x="15709" y="15709"/>
                  <a:pt x="15709" y="15709"/>
                </a:cubicBezTo>
                <a:close/>
                <a:moveTo>
                  <a:pt x="15709" y="17673"/>
                </a:moveTo>
                <a:lnTo>
                  <a:pt x="5891" y="17673"/>
                </a:lnTo>
                <a:lnTo>
                  <a:pt x="5891" y="18655"/>
                </a:lnTo>
                <a:lnTo>
                  <a:pt x="15709" y="18655"/>
                </a:lnTo>
                <a:cubicBezTo>
                  <a:pt x="15709" y="18655"/>
                  <a:pt x="15709" y="17673"/>
                  <a:pt x="15709" y="17673"/>
                </a:cubicBezTo>
                <a:close/>
                <a:moveTo>
                  <a:pt x="11782" y="13745"/>
                </a:moveTo>
                <a:lnTo>
                  <a:pt x="5891" y="13745"/>
                </a:lnTo>
                <a:lnTo>
                  <a:pt x="5891" y="14727"/>
                </a:lnTo>
                <a:lnTo>
                  <a:pt x="11782" y="14727"/>
                </a:lnTo>
                <a:cubicBezTo>
                  <a:pt x="11782" y="14727"/>
                  <a:pt x="11782" y="13745"/>
                  <a:pt x="11782" y="1374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8655" y="20618"/>
                </a:lnTo>
                <a:lnTo>
                  <a:pt x="18655" y="11782"/>
                </a:lnTo>
                <a:cubicBezTo>
                  <a:pt x="18655" y="11240"/>
                  <a:pt x="18214" y="10800"/>
                  <a:pt x="17673" y="10800"/>
                </a:cubicBezTo>
                <a:lnTo>
                  <a:pt x="3927" y="10800"/>
                </a:lnTo>
                <a:cubicBezTo>
                  <a:pt x="3385" y="10800"/>
                  <a:pt x="2945" y="11240"/>
                  <a:pt x="2945" y="11782"/>
                </a:cubicBezTo>
                <a:lnTo>
                  <a:pt x="2945" y="20618"/>
                </a:ln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4909" y="982"/>
                </a:lnTo>
                <a:lnTo>
                  <a:pt x="4909" y="6873"/>
                </a:lnTo>
                <a:cubicBezTo>
                  <a:pt x="4909" y="7415"/>
                  <a:pt x="5348" y="7855"/>
                  <a:pt x="5891" y="7855"/>
                </a:cubicBezTo>
                <a:lnTo>
                  <a:pt x="15709" y="7855"/>
                </a:lnTo>
                <a:cubicBezTo>
                  <a:pt x="16251" y="7855"/>
                  <a:pt x="16691" y="7415"/>
                  <a:pt x="16691" y="6873"/>
                </a:cubicBezTo>
                <a:lnTo>
                  <a:pt x="16691" y="982"/>
                </a:lnTo>
                <a:lnTo>
                  <a:pt x="17182" y="982"/>
                </a:lnTo>
                <a:lnTo>
                  <a:pt x="20618" y="4418"/>
                </a:lnTo>
                <a:cubicBezTo>
                  <a:pt x="20618" y="4418"/>
                  <a:pt x="20618" y="19636"/>
                  <a:pt x="20618" y="19636"/>
                </a:cubicBezTo>
                <a:close/>
                <a:moveTo>
                  <a:pt x="17673" y="20618"/>
                </a:moveTo>
                <a:lnTo>
                  <a:pt x="3927" y="20618"/>
                </a:lnTo>
                <a:lnTo>
                  <a:pt x="3927" y="11782"/>
                </a:lnTo>
                <a:lnTo>
                  <a:pt x="17673" y="11782"/>
                </a:lnTo>
                <a:cubicBezTo>
                  <a:pt x="17673" y="11782"/>
                  <a:pt x="17673" y="20618"/>
                  <a:pt x="17673" y="20618"/>
                </a:cubicBezTo>
                <a:close/>
                <a:moveTo>
                  <a:pt x="5891" y="982"/>
                </a:moveTo>
                <a:lnTo>
                  <a:pt x="15709" y="982"/>
                </a:lnTo>
                <a:lnTo>
                  <a:pt x="15709" y="6873"/>
                </a:lnTo>
                <a:lnTo>
                  <a:pt x="5891" y="6873"/>
                </a:lnTo>
                <a:cubicBezTo>
                  <a:pt x="5891" y="6873"/>
                  <a:pt x="5891" y="982"/>
                  <a:pt x="5891" y="982"/>
                </a:cubicBezTo>
                <a:close/>
                <a:moveTo>
                  <a:pt x="17673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7"/>
                </a:lnTo>
                <a:cubicBezTo>
                  <a:pt x="21600" y="3927"/>
                  <a:pt x="17673" y="0"/>
                  <a:pt x="17673" y="0"/>
                </a:cubicBezTo>
                <a:close/>
                <a:moveTo>
                  <a:pt x="12764" y="5891"/>
                </a:moveTo>
                <a:lnTo>
                  <a:pt x="14727" y="5891"/>
                </a:lnTo>
                <a:lnTo>
                  <a:pt x="14727" y="1964"/>
                </a:lnTo>
                <a:lnTo>
                  <a:pt x="12764" y="1964"/>
                </a:lnTo>
                <a:cubicBezTo>
                  <a:pt x="12764" y="1964"/>
                  <a:pt x="12764" y="5891"/>
                  <a:pt x="12764" y="5891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5" name="Shape 2655"/>
          <p:cNvSpPr/>
          <p:nvPr/>
        </p:nvSpPr>
        <p:spPr>
          <a:xfrm>
            <a:off x="10290720" y="3970394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400"/>
                </a:moveTo>
                <a:lnTo>
                  <a:pt x="16349" y="14400"/>
                </a:lnTo>
                <a:cubicBezTo>
                  <a:pt x="16227" y="14820"/>
                  <a:pt x="16076" y="15221"/>
                  <a:pt x="15897" y="15600"/>
                </a:cubicBezTo>
                <a:lnTo>
                  <a:pt x="20618" y="15600"/>
                </a:lnTo>
                <a:lnTo>
                  <a:pt x="20618" y="19200"/>
                </a:lnTo>
                <a:cubicBezTo>
                  <a:pt x="20618" y="19862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lnTo>
                  <a:pt x="982" y="15600"/>
                </a:lnTo>
                <a:lnTo>
                  <a:pt x="5704" y="15600"/>
                </a:lnTo>
                <a:cubicBezTo>
                  <a:pt x="5524" y="15221"/>
                  <a:pt x="5373" y="14820"/>
                  <a:pt x="5251" y="14400"/>
                </a:cubicBezTo>
                <a:lnTo>
                  <a:pt x="982" y="14400"/>
                </a:lnTo>
                <a:lnTo>
                  <a:pt x="982" y="4800"/>
                </a:lnTo>
                <a:cubicBezTo>
                  <a:pt x="982" y="4138"/>
                  <a:pt x="1422" y="3600"/>
                  <a:pt x="1964" y="3600"/>
                </a:cubicBezTo>
                <a:lnTo>
                  <a:pt x="3927" y="3600"/>
                </a:lnTo>
                <a:cubicBezTo>
                  <a:pt x="5891" y="3600"/>
                  <a:pt x="5891" y="1200"/>
                  <a:pt x="7364" y="1200"/>
                </a:cubicBezTo>
                <a:lnTo>
                  <a:pt x="10800" y="1200"/>
                </a:lnTo>
                <a:lnTo>
                  <a:pt x="14236" y="1200"/>
                </a:lnTo>
                <a:cubicBezTo>
                  <a:pt x="15709" y="1200"/>
                  <a:pt x="15709" y="3600"/>
                  <a:pt x="17673" y="3600"/>
                </a:cubicBezTo>
                <a:lnTo>
                  <a:pt x="19636" y="3600"/>
                </a:lnTo>
                <a:cubicBezTo>
                  <a:pt x="20178" y="3600"/>
                  <a:pt x="20618" y="4138"/>
                  <a:pt x="20618" y="4800"/>
                </a:cubicBezTo>
                <a:cubicBezTo>
                  <a:pt x="20618" y="4800"/>
                  <a:pt x="20618" y="14400"/>
                  <a:pt x="20618" y="14400"/>
                </a:cubicBezTo>
                <a:close/>
                <a:moveTo>
                  <a:pt x="19636" y="2400"/>
                </a:moveTo>
                <a:lnTo>
                  <a:pt x="17673" y="2400"/>
                </a:lnTo>
                <a:cubicBezTo>
                  <a:pt x="16200" y="2400"/>
                  <a:pt x="16200" y="0"/>
                  <a:pt x="14236" y="0"/>
                </a:cubicBezTo>
                <a:lnTo>
                  <a:pt x="10800" y="0"/>
                </a:lnTo>
                <a:lnTo>
                  <a:pt x="7364" y="0"/>
                </a:lnTo>
                <a:cubicBezTo>
                  <a:pt x="5400" y="0"/>
                  <a:pt x="5400" y="2400"/>
                  <a:pt x="3927" y="2400"/>
                </a:cubicBezTo>
                <a:lnTo>
                  <a:pt x="1964" y="2400"/>
                </a:lnTo>
                <a:cubicBezTo>
                  <a:pt x="879" y="2400"/>
                  <a:pt x="0" y="3475"/>
                  <a:pt x="0" y="4800"/>
                </a:cubicBezTo>
                <a:lnTo>
                  <a:pt x="0" y="19200"/>
                </a:lnTo>
                <a:cubicBezTo>
                  <a:pt x="0" y="20525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5"/>
                  <a:pt x="21600" y="19200"/>
                </a:cubicBezTo>
                <a:lnTo>
                  <a:pt x="21600" y="4800"/>
                </a:lnTo>
                <a:cubicBezTo>
                  <a:pt x="21600" y="3475"/>
                  <a:pt x="20721" y="2400"/>
                  <a:pt x="19636" y="2400"/>
                </a:cubicBezTo>
                <a:moveTo>
                  <a:pt x="18164" y="7200"/>
                </a:moveTo>
                <a:cubicBezTo>
                  <a:pt x="17892" y="7200"/>
                  <a:pt x="17673" y="6932"/>
                  <a:pt x="17673" y="6600"/>
                </a:cubicBezTo>
                <a:cubicBezTo>
                  <a:pt x="17673" y="6269"/>
                  <a:pt x="17892" y="6000"/>
                  <a:pt x="18164" y="6000"/>
                </a:cubicBezTo>
                <a:cubicBezTo>
                  <a:pt x="18435" y="6000"/>
                  <a:pt x="18655" y="6269"/>
                  <a:pt x="18655" y="6600"/>
                </a:cubicBezTo>
                <a:cubicBezTo>
                  <a:pt x="18655" y="6932"/>
                  <a:pt x="18435" y="7200"/>
                  <a:pt x="18164" y="7200"/>
                </a:cubicBezTo>
                <a:moveTo>
                  <a:pt x="18164" y="4800"/>
                </a:moveTo>
                <a:cubicBezTo>
                  <a:pt x="17351" y="4800"/>
                  <a:pt x="16691" y="5607"/>
                  <a:pt x="16691" y="6600"/>
                </a:cubicBezTo>
                <a:cubicBezTo>
                  <a:pt x="16691" y="7594"/>
                  <a:pt x="17351" y="8400"/>
                  <a:pt x="18164" y="8400"/>
                </a:cubicBezTo>
                <a:cubicBezTo>
                  <a:pt x="18977" y="8400"/>
                  <a:pt x="19636" y="7594"/>
                  <a:pt x="19636" y="6600"/>
                </a:cubicBezTo>
                <a:cubicBezTo>
                  <a:pt x="19636" y="5607"/>
                  <a:pt x="18977" y="4800"/>
                  <a:pt x="18164" y="4800"/>
                </a:cubicBezTo>
                <a:moveTo>
                  <a:pt x="18164" y="9600"/>
                </a:moveTo>
                <a:cubicBezTo>
                  <a:pt x="17892" y="9600"/>
                  <a:pt x="17673" y="9869"/>
                  <a:pt x="17673" y="10200"/>
                </a:cubicBezTo>
                <a:cubicBezTo>
                  <a:pt x="17673" y="10532"/>
                  <a:pt x="17892" y="10800"/>
                  <a:pt x="18164" y="10800"/>
                </a:cubicBezTo>
                <a:cubicBezTo>
                  <a:pt x="18435" y="10800"/>
                  <a:pt x="18655" y="10532"/>
                  <a:pt x="18655" y="10200"/>
                </a:cubicBezTo>
                <a:cubicBezTo>
                  <a:pt x="18655" y="9869"/>
                  <a:pt x="18435" y="9600"/>
                  <a:pt x="18164" y="9600"/>
                </a:cubicBezTo>
                <a:moveTo>
                  <a:pt x="10800" y="16800"/>
                </a:moveTo>
                <a:cubicBezTo>
                  <a:pt x="8631" y="16800"/>
                  <a:pt x="6873" y="14651"/>
                  <a:pt x="6873" y="12000"/>
                </a:cubicBezTo>
                <a:cubicBezTo>
                  <a:pt x="6873" y="9349"/>
                  <a:pt x="8631" y="7200"/>
                  <a:pt x="10800" y="7200"/>
                </a:cubicBezTo>
                <a:cubicBezTo>
                  <a:pt x="12969" y="7200"/>
                  <a:pt x="14727" y="9349"/>
                  <a:pt x="14727" y="12000"/>
                </a:cubicBezTo>
                <a:cubicBezTo>
                  <a:pt x="14727" y="14651"/>
                  <a:pt x="12969" y="16800"/>
                  <a:pt x="10800" y="16800"/>
                </a:cubicBezTo>
                <a:moveTo>
                  <a:pt x="10800" y="6000"/>
                </a:moveTo>
                <a:cubicBezTo>
                  <a:pt x="8088" y="6000"/>
                  <a:pt x="5891" y="8687"/>
                  <a:pt x="5891" y="12000"/>
                </a:cubicBezTo>
                <a:cubicBezTo>
                  <a:pt x="5891" y="15314"/>
                  <a:pt x="8088" y="18000"/>
                  <a:pt x="10800" y="18000"/>
                </a:cubicBezTo>
                <a:cubicBezTo>
                  <a:pt x="13512" y="18000"/>
                  <a:pt x="15709" y="15314"/>
                  <a:pt x="15709" y="12000"/>
                </a:cubicBezTo>
                <a:cubicBezTo>
                  <a:pt x="15709" y="8687"/>
                  <a:pt x="13512" y="6000"/>
                  <a:pt x="10800" y="6000"/>
                </a:cubicBezTo>
                <a:moveTo>
                  <a:pt x="10800" y="14400"/>
                </a:moveTo>
                <a:cubicBezTo>
                  <a:pt x="9716" y="14400"/>
                  <a:pt x="8836" y="13325"/>
                  <a:pt x="8836" y="12000"/>
                </a:cubicBezTo>
                <a:cubicBezTo>
                  <a:pt x="8836" y="10675"/>
                  <a:pt x="9716" y="9600"/>
                  <a:pt x="10800" y="9600"/>
                </a:cubicBezTo>
                <a:cubicBezTo>
                  <a:pt x="11884" y="9600"/>
                  <a:pt x="12764" y="10675"/>
                  <a:pt x="12764" y="12000"/>
                </a:cubicBezTo>
                <a:cubicBezTo>
                  <a:pt x="12764" y="13325"/>
                  <a:pt x="11884" y="14400"/>
                  <a:pt x="10800" y="14400"/>
                </a:cubicBezTo>
                <a:moveTo>
                  <a:pt x="10800" y="8400"/>
                </a:moveTo>
                <a:cubicBezTo>
                  <a:pt x="9173" y="8400"/>
                  <a:pt x="7855" y="10012"/>
                  <a:pt x="7855" y="12000"/>
                </a:cubicBezTo>
                <a:cubicBezTo>
                  <a:pt x="7855" y="13988"/>
                  <a:pt x="9173" y="15600"/>
                  <a:pt x="10800" y="15600"/>
                </a:cubicBezTo>
                <a:cubicBezTo>
                  <a:pt x="12426" y="15600"/>
                  <a:pt x="13745" y="13988"/>
                  <a:pt x="13745" y="12000"/>
                </a:cubicBezTo>
                <a:cubicBezTo>
                  <a:pt x="13745" y="10012"/>
                  <a:pt x="12426" y="8400"/>
                  <a:pt x="10800" y="8400"/>
                </a:cubicBezTo>
                <a:moveTo>
                  <a:pt x="8345" y="3600"/>
                </a:moveTo>
                <a:lnTo>
                  <a:pt x="13255" y="3600"/>
                </a:lnTo>
                <a:cubicBezTo>
                  <a:pt x="13526" y="3600"/>
                  <a:pt x="13745" y="3332"/>
                  <a:pt x="13745" y="3000"/>
                </a:cubicBezTo>
                <a:cubicBezTo>
                  <a:pt x="13745" y="2669"/>
                  <a:pt x="13526" y="2400"/>
                  <a:pt x="13255" y="2400"/>
                </a:cubicBezTo>
                <a:lnTo>
                  <a:pt x="8345" y="2400"/>
                </a:lnTo>
                <a:cubicBezTo>
                  <a:pt x="8074" y="2400"/>
                  <a:pt x="7855" y="2669"/>
                  <a:pt x="7855" y="3000"/>
                </a:cubicBezTo>
                <a:cubicBezTo>
                  <a:pt x="7855" y="3332"/>
                  <a:pt x="8074" y="3600"/>
                  <a:pt x="8345" y="36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6" name="Shape 2656"/>
          <p:cNvSpPr/>
          <p:nvPr/>
        </p:nvSpPr>
        <p:spPr>
          <a:xfrm>
            <a:off x="11357242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0800"/>
                </a:moveTo>
                <a:cubicBezTo>
                  <a:pt x="14186" y="10800"/>
                  <a:pt x="13745" y="11240"/>
                  <a:pt x="13745" y="11782"/>
                </a:cubicBezTo>
                <a:cubicBezTo>
                  <a:pt x="13745" y="12324"/>
                  <a:pt x="14186" y="12764"/>
                  <a:pt x="14727" y="12764"/>
                </a:cubicBezTo>
                <a:cubicBezTo>
                  <a:pt x="15269" y="12764"/>
                  <a:pt x="15709" y="12324"/>
                  <a:pt x="15709" y="11782"/>
                </a:cubicBezTo>
                <a:cubicBezTo>
                  <a:pt x="15709" y="11240"/>
                  <a:pt x="15269" y="10800"/>
                  <a:pt x="14727" y="10800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440"/>
                  <a:pt x="3927" y="982"/>
                </a:cubicBezTo>
                <a:lnTo>
                  <a:pt x="3927" y="5891"/>
                </a:lnTo>
                <a:cubicBezTo>
                  <a:pt x="3927" y="6162"/>
                  <a:pt x="4147" y="6382"/>
                  <a:pt x="4418" y="6382"/>
                </a:cubicBezTo>
                <a:cubicBezTo>
                  <a:pt x="4690" y="6382"/>
                  <a:pt x="4909" y="6162"/>
                  <a:pt x="4909" y="5891"/>
                </a:cubicBezTo>
                <a:lnTo>
                  <a:pt x="4909" y="982"/>
                </a:lnTo>
                <a:lnTo>
                  <a:pt x="20618" y="982"/>
                </a:lnTo>
                <a:lnTo>
                  <a:pt x="20618" y="12764"/>
                </a:lnTo>
                <a:lnTo>
                  <a:pt x="19145" y="12764"/>
                </a:lnTo>
                <a:cubicBezTo>
                  <a:pt x="18874" y="12764"/>
                  <a:pt x="18655" y="12984"/>
                  <a:pt x="18655" y="13255"/>
                </a:cubicBezTo>
                <a:cubicBezTo>
                  <a:pt x="18655" y="13526"/>
                  <a:pt x="18874" y="13745"/>
                  <a:pt x="19145" y="13745"/>
                </a:cubicBezTo>
                <a:lnTo>
                  <a:pt x="20618" y="13745"/>
                </a:lnTo>
                <a:lnTo>
                  <a:pt x="20618" y="16691"/>
                </a:ln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20618" y="17673"/>
                </a:lnTo>
                <a:cubicBezTo>
                  <a:pt x="21160" y="17673"/>
                  <a:pt x="21600" y="17234"/>
                  <a:pt x="21600" y="16691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14727" y="13745"/>
                </a:moveTo>
                <a:cubicBezTo>
                  <a:pt x="14456" y="13745"/>
                  <a:pt x="14236" y="13966"/>
                  <a:pt x="14236" y="14236"/>
                </a:cubicBezTo>
                <a:cubicBezTo>
                  <a:pt x="14236" y="14508"/>
                  <a:pt x="14456" y="14727"/>
                  <a:pt x="14727" y="14727"/>
                </a:cubicBezTo>
                <a:cubicBezTo>
                  <a:pt x="14999" y="14727"/>
                  <a:pt x="15218" y="14508"/>
                  <a:pt x="15218" y="14236"/>
                </a:cubicBezTo>
                <a:cubicBezTo>
                  <a:pt x="15218" y="13966"/>
                  <a:pt x="14999" y="13745"/>
                  <a:pt x="14727" y="13745"/>
                </a:cubicBezTo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0800"/>
                </a:lnTo>
                <a:cubicBezTo>
                  <a:pt x="982" y="10258"/>
                  <a:pt x="1422" y="9818"/>
                  <a:pt x="1964" y="9818"/>
                </a:cubicBezTo>
                <a:lnTo>
                  <a:pt x="3927" y="9818"/>
                </a:lnTo>
                <a:cubicBezTo>
                  <a:pt x="5891" y="9818"/>
                  <a:pt x="5891" y="7855"/>
                  <a:pt x="7364" y="7855"/>
                </a:cubicBezTo>
                <a:lnTo>
                  <a:pt x="8836" y="7855"/>
                </a:lnTo>
                <a:lnTo>
                  <a:pt x="10309" y="7855"/>
                </a:lnTo>
                <a:cubicBezTo>
                  <a:pt x="11782" y="7855"/>
                  <a:pt x="11782" y="9818"/>
                  <a:pt x="13745" y="9818"/>
                </a:cubicBezTo>
                <a:lnTo>
                  <a:pt x="15709" y="9818"/>
                </a:lnTo>
                <a:cubicBezTo>
                  <a:pt x="16251" y="9818"/>
                  <a:pt x="16691" y="10258"/>
                  <a:pt x="16691" y="10800"/>
                </a:cubicBezTo>
                <a:cubicBezTo>
                  <a:pt x="16691" y="10800"/>
                  <a:pt x="16691" y="19636"/>
                  <a:pt x="16691" y="19636"/>
                </a:cubicBezTo>
                <a:close/>
                <a:moveTo>
                  <a:pt x="15709" y="8836"/>
                </a:moveTo>
                <a:lnTo>
                  <a:pt x="13745" y="8836"/>
                </a:lnTo>
                <a:cubicBezTo>
                  <a:pt x="12273" y="8836"/>
                  <a:pt x="12273" y="6873"/>
                  <a:pt x="10309" y="6873"/>
                </a:cubicBezTo>
                <a:lnTo>
                  <a:pt x="7364" y="6873"/>
                </a:lnTo>
                <a:cubicBezTo>
                  <a:pt x="5400" y="6873"/>
                  <a:pt x="5400" y="8836"/>
                  <a:pt x="3927" y="8836"/>
                </a:cubicBezTo>
                <a:lnTo>
                  <a:pt x="1964" y="8836"/>
                </a:lnTo>
                <a:cubicBezTo>
                  <a:pt x="87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10800"/>
                </a:lnTo>
                <a:cubicBezTo>
                  <a:pt x="17673" y="9716"/>
                  <a:pt x="16794" y="8836"/>
                  <a:pt x="15709" y="8836"/>
                </a:cubicBezTo>
                <a:moveTo>
                  <a:pt x="8836" y="17673"/>
                </a:moveTo>
                <a:cubicBezTo>
                  <a:pt x="7210" y="17673"/>
                  <a:pt x="5891" y="16354"/>
                  <a:pt x="5891" y="14727"/>
                </a:cubicBezTo>
                <a:cubicBezTo>
                  <a:pt x="5891" y="13101"/>
                  <a:pt x="7210" y="11782"/>
                  <a:pt x="8836" y="11782"/>
                </a:cubicBezTo>
                <a:cubicBezTo>
                  <a:pt x="10463" y="11782"/>
                  <a:pt x="11782" y="13101"/>
                  <a:pt x="11782" y="14727"/>
                </a:cubicBezTo>
                <a:cubicBezTo>
                  <a:pt x="11782" y="16354"/>
                  <a:pt x="10463" y="17673"/>
                  <a:pt x="8836" y="17673"/>
                </a:cubicBezTo>
                <a:moveTo>
                  <a:pt x="8836" y="10800"/>
                </a:moveTo>
                <a:cubicBezTo>
                  <a:pt x="6668" y="10800"/>
                  <a:pt x="4909" y="12558"/>
                  <a:pt x="4909" y="14727"/>
                </a:cubicBezTo>
                <a:cubicBezTo>
                  <a:pt x="4909" y="16896"/>
                  <a:pt x="6668" y="18655"/>
                  <a:pt x="8836" y="18655"/>
                </a:cubicBezTo>
                <a:cubicBezTo>
                  <a:pt x="11005" y="18655"/>
                  <a:pt x="12764" y="16896"/>
                  <a:pt x="12764" y="14727"/>
                </a:cubicBezTo>
                <a:cubicBezTo>
                  <a:pt x="12764" y="12558"/>
                  <a:pt x="11005" y="10800"/>
                  <a:pt x="8836" y="10800"/>
                </a:cubicBezTo>
                <a:moveTo>
                  <a:pt x="8836" y="15709"/>
                </a:moveTo>
                <a:cubicBezTo>
                  <a:pt x="8295" y="15709"/>
                  <a:pt x="7855" y="15269"/>
                  <a:pt x="7855" y="14727"/>
                </a:cubicBezTo>
                <a:cubicBezTo>
                  <a:pt x="7855" y="14186"/>
                  <a:pt x="8295" y="13745"/>
                  <a:pt x="8836" y="13745"/>
                </a:cubicBezTo>
                <a:cubicBezTo>
                  <a:pt x="9378" y="13745"/>
                  <a:pt x="9818" y="14186"/>
                  <a:pt x="9818" y="14727"/>
                </a:cubicBezTo>
                <a:cubicBezTo>
                  <a:pt x="9818" y="15269"/>
                  <a:pt x="9378" y="15709"/>
                  <a:pt x="8836" y="15709"/>
                </a:cubicBezTo>
                <a:moveTo>
                  <a:pt x="8836" y="12764"/>
                </a:moveTo>
                <a:cubicBezTo>
                  <a:pt x="7752" y="12764"/>
                  <a:pt x="6873" y="13643"/>
                  <a:pt x="6873" y="14727"/>
                </a:cubicBezTo>
                <a:cubicBezTo>
                  <a:pt x="6873" y="15812"/>
                  <a:pt x="7752" y="16691"/>
                  <a:pt x="8836" y="16691"/>
                </a:cubicBezTo>
                <a:cubicBezTo>
                  <a:pt x="9921" y="16691"/>
                  <a:pt x="10800" y="15812"/>
                  <a:pt x="10800" y="14727"/>
                </a:cubicBezTo>
                <a:cubicBezTo>
                  <a:pt x="10800" y="13643"/>
                  <a:pt x="9921" y="12764"/>
                  <a:pt x="8836" y="127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7" name="Shape 2657"/>
          <p:cNvSpPr/>
          <p:nvPr/>
        </p:nvSpPr>
        <p:spPr>
          <a:xfrm>
            <a:off x="1758543" y="49861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4909"/>
                </a:moveTo>
                <a:lnTo>
                  <a:pt x="6873" y="4909"/>
                </a:lnTo>
                <a:lnTo>
                  <a:pt x="6873" y="3927"/>
                </a:lnTo>
                <a:lnTo>
                  <a:pt x="5891" y="3927"/>
                </a:lnTo>
                <a:cubicBezTo>
                  <a:pt x="5891" y="3927"/>
                  <a:pt x="5891" y="4909"/>
                  <a:pt x="5891" y="4909"/>
                </a:cubicBezTo>
                <a:close/>
                <a:moveTo>
                  <a:pt x="18655" y="13745"/>
                </a:moveTo>
                <a:lnTo>
                  <a:pt x="19636" y="13745"/>
                </a:lnTo>
                <a:lnTo>
                  <a:pt x="19636" y="12764"/>
                </a:lnTo>
                <a:lnTo>
                  <a:pt x="18655" y="12764"/>
                </a:lnTo>
                <a:cubicBezTo>
                  <a:pt x="18655" y="12764"/>
                  <a:pt x="18655" y="13745"/>
                  <a:pt x="18655" y="13745"/>
                </a:cubicBezTo>
                <a:close/>
                <a:moveTo>
                  <a:pt x="6873" y="1964"/>
                </a:moveTo>
                <a:lnTo>
                  <a:pt x="5891" y="1964"/>
                </a:lnTo>
                <a:lnTo>
                  <a:pt x="5891" y="2945"/>
                </a:lnTo>
                <a:lnTo>
                  <a:pt x="6873" y="2945"/>
                </a:lnTo>
                <a:cubicBezTo>
                  <a:pt x="6873" y="2945"/>
                  <a:pt x="6873" y="1964"/>
                  <a:pt x="6873" y="1964"/>
                </a:cubicBezTo>
                <a:close/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440"/>
                  <a:pt x="3927" y="982"/>
                </a:cubicBezTo>
                <a:lnTo>
                  <a:pt x="3927" y="5891"/>
                </a:lnTo>
                <a:cubicBezTo>
                  <a:pt x="3927" y="6162"/>
                  <a:pt x="4147" y="6382"/>
                  <a:pt x="4418" y="6382"/>
                </a:cubicBezTo>
                <a:cubicBezTo>
                  <a:pt x="4689" y="6382"/>
                  <a:pt x="4909" y="6162"/>
                  <a:pt x="4909" y="5891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7855" y="982"/>
                </a:lnTo>
                <a:lnTo>
                  <a:pt x="7855" y="5400"/>
                </a:lnTo>
                <a:cubicBezTo>
                  <a:pt x="7855" y="5671"/>
                  <a:pt x="8075" y="5891"/>
                  <a:pt x="8345" y="5891"/>
                </a:cubicBezTo>
                <a:cubicBezTo>
                  <a:pt x="8616" y="5891"/>
                  <a:pt x="8836" y="5671"/>
                  <a:pt x="8836" y="5400"/>
                </a:cubicBezTo>
                <a:lnTo>
                  <a:pt x="8836" y="982"/>
                </a:lnTo>
                <a:lnTo>
                  <a:pt x="16691" y="982"/>
                </a:lnTo>
                <a:lnTo>
                  <a:pt x="16691" y="7364"/>
                </a:lnTo>
                <a:cubicBezTo>
                  <a:pt x="16691" y="7635"/>
                  <a:pt x="16911" y="7855"/>
                  <a:pt x="17182" y="7855"/>
                </a:cubicBezTo>
                <a:cubicBezTo>
                  <a:pt x="17453" y="7855"/>
                  <a:pt x="17673" y="7635"/>
                  <a:pt x="17673" y="7364"/>
                </a:cubicBez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8345"/>
                </a:lnTo>
                <a:lnTo>
                  <a:pt x="19145" y="8345"/>
                </a:lnTo>
                <a:cubicBezTo>
                  <a:pt x="18875" y="8345"/>
                  <a:pt x="18655" y="8566"/>
                  <a:pt x="18655" y="8836"/>
                </a:cubicBezTo>
                <a:cubicBezTo>
                  <a:pt x="18655" y="9108"/>
                  <a:pt x="18875" y="9327"/>
                  <a:pt x="19145" y="9327"/>
                </a:cubicBezTo>
                <a:lnTo>
                  <a:pt x="20618" y="9327"/>
                </a:lnTo>
                <a:lnTo>
                  <a:pt x="20618" y="15709"/>
                </a:lnTo>
                <a:cubicBezTo>
                  <a:pt x="20618" y="16252"/>
                  <a:pt x="20179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1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145" y="17673"/>
                </a:lnTo>
                <a:lnTo>
                  <a:pt x="19636" y="17673"/>
                </a:lnTo>
                <a:lnTo>
                  <a:pt x="19636" y="17673"/>
                </a:lnTo>
                <a:lnTo>
                  <a:pt x="20618" y="17673"/>
                </a:lnTo>
                <a:cubicBezTo>
                  <a:pt x="21160" y="17673"/>
                  <a:pt x="21600" y="17233"/>
                  <a:pt x="21600" y="16691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19636" y="10800"/>
                </a:moveTo>
                <a:lnTo>
                  <a:pt x="18655" y="10800"/>
                </a:lnTo>
                <a:lnTo>
                  <a:pt x="18655" y="11782"/>
                </a:lnTo>
                <a:lnTo>
                  <a:pt x="19636" y="11782"/>
                </a:lnTo>
                <a:cubicBezTo>
                  <a:pt x="19636" y="11782"/>
                  <a:pt x="19636" y="10800"/>
                  <a:pt x="19636" y="10800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15709"/>
                </a:moveTo>
                <a:lnTo>
                  <a:pt x="19636" y="15709"/>
                </a:lnTo>
                <a:lnTo>
                  <a:pt x="19636" y="14727"/>
                </a:lnTo>
                <a:lnTo>
                  <a:pt x="18655" y="14727"/>
                </a:lnTo>
                <a:cubicBezTo>
                  <a:pt x="18655" y="14727"/>
                  <a:pt x="18655" y="15709"/>
                  <a:pt x="18655" y="15709"/>
                </a:cubicBezTo>
                <a:close/>
                <a:moveTo>
                  <a:pt x="19636" y="1964"/>
                </a:moveTo>
                <a:lnTo>
                  <a:pt x="18655" y="1964"/>
                </a:lnTo>
                <a:lnTo>
                  <a:pt x="18655" y="2945"/>
                </a:lnTo>
                <a:lnTo>
                  <a:pt x="19636" y="2945"/>
                </a:lnTo>
                <a:cubicBezTo>
                  <a:pt x="19636" y="2945"/>
                  <a:pt x="19636" y="1964"/>
                  <a:pt x="19636" y="1964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8836" y="17673"/>
                </a:moveTo>
                <a:cubicBezTo>
                  <a:pt x="7210" y="17673"/>
                  <a:pt x="5891" y="16354"/>
                  <a:pt x="5891" y="14727"/>
                </a:cubicBezTo>
                <a:cubicBezTo>
                  <a:pt x="5891" y="13101"/>
                  <a:pt x="7210" y="11782"/>
                  <a:pt x="8836" y="11782"/>
                </a:cubicBezTo>
                <a:cubicBezTo>
                  <a:pt x="10463" y="11782"/>
                  <a:pt x="11782" y="13101"/>
                  <a:pt x="11782" y="14727"/>
                </a:cubicBezTo>
                <a:cubicBezTo>
                  <a:pt x="11782" y="16354"/>
                  <a:pt x="10463" y="17673"/>
                  <a:pt x="8836" y="17673"/>
                </a:cubicBezTo>
                <a:moveTo>
                  <a:pt x="8836" y="10800"/>
                </a:moveTo>
                <a:cubicBezTo>
                  <a:pt x="6667" y="10800"/>
                  <a:pt x="4909" y="12558"/>
                  <a:pt x="4909" y="14727"/>
                </a:cubicBezTo>
                <a:cubicBezTo>
                  <a:pt x="4909" y="16897"/>
                  <a:pt x="6667" y="18655"/>
                  <a:pt x="8836" y="18655"/>
                </a:cubicBezTo>
                <a:cubicBezTo>
                  <a:pt x="11006" y="18655"/>
                  <a:pt x="12764" y="16897"/>
                  <a:pt x="12764" y="14727"/>
                </a:cubicBezTo>
                <a:cubicBezTo>
                  <a:pt x="12764" y="12558"/>
                  <a:pt x="11006" y="10800"/>
                  <a:pt x="8836" y="10800"/>
                </a:cubicBezTo>
                <a:moveTo>
                  <a:pt x="8836" y="15709"/>
                </a:moveTo>
                <a:cubicBezTo>
                  <a:pt x="8294" y="15709"/>
                  <a:pt x="7855" y="15269"/>
                  <a:pt x="7855" y="14727"/>
                </a:cubicBezTo>
                <a:cubicBezTo>
                  <a:pt x="7855" y="14185"/>
                  <a:pt x="8294" y="13745"/>
                  <a:pt x="8836" y="13745"/>
                </a:cubicBezTo>
                <a:cubicBezTo>
                  <a:pt x="9378" y="13745"/>
                  <a:pt x="9818" y="14185"/>
                  <a:pt x="9818" y="14727"/>
                </a:cubicBezTo>
                <a:cubicBezTo>
                  <a:pt x="9818" y="15269"/>
                  <a:pt x="9378" y="15709"/>
                  <a:pt x="8836" y="15709"/>
                </a:cubicBezTo>
                <a:moveTo>
                  <a:pt x="8836" y="12764"/>
                </a:moveTo>
                <a:cubicBezTo>
                  <a:pt x="7752" y="12764"/>
                  <a:pt x="6873" y="13643"/>
                  <a:pt x="6873" y="14727"/>
                </a:cubicBezTo>
                <a:cubicBezTo>
                  <a:pt x="6873" y="15812"/>
                  <a:pt x="7752" y="16691"/>
                  <a:pt x="8836" y="16691"/>
                </a:cubicBezTo>
                <a:cubicBezTo>
                  <a:pt x="9921" y="16691"/>
                  <a:pt x="10800" y="15812"/>
                  <a:pt x="10800" y="14727"/>
                </a:cubicBezTo>
                <a:cubicBezTo>
                  <a:pt x="10800" y="13643"/>
                  <a:pt x="9921" y="12764"/>
                  <a:pt x="8836" y="12764"/>
                </a:cubicBezTo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0800"/>
                </a:lnTo>
                <a:cubicBezTo>
                  <a:pt x="982" y="10258"/>
                  <a:pt x="1422" y="9818"/>
                  <a:pt x="1964" y="9818"/>
                </a:cubicBezTo>
                <a:lnTo>
                  <a:pt x="3927" y="9818"/>
                </a:lnTo>
                <a:cubicBezTo>
                  <a:pt x="5891" y="9818"/>
                  <a:pt x="5891" y="7855"/>
                  <a:pt x="7364" y="7855"/>
                </a:cubicBezTo>
                <a:lnTo>
                  <a:pt x="8836" y="7855"/>
                </a:lnTo>
                <a:lnTo>
                  <a:pt x="10309" y="7855"/>
                </a:lnTo>
                <a:cubicBezTo>
                  <a:pt x="11782" y="7855"/>
                  <a:pt x="11782" y="9818"/>
                  <a:pt x="13745" y="9818"/>
                </a:cubicBezTo>
                <a:lnTo>
                  <a:pt x="15709" y="9818"/>
                </a:lnTo>
                <a:cubicBezTo>
                  <a:pt x="16251" y="9818"/>
                  <a:pt x="16691" y="10258"/>
                  <a:pt x="16691" y="10800"/>
                </a:cubicBezTo>
                <a:cubicBezTo>
                  <a:pt x="16691" y="10800"/>
                  <a:pt x="16691" y="19636"/>
                  <a:pt x="16691" y="19636"/>
                </a:cubicBezTo>
                <a:close/>
                <a:moveTo>
                  <a:pt x="15709" y="8836"/>
                </a:moveTo>
                <a:lnTo>
                  <a:pt x="13745" y="8836"/>
                </a:lnTo>
                <a:cubicBezTo>
                  <a:pt x="12273" y="8836"/>
                  <a:pt x="12273" y="6873"/>
                  <a:pt x="10309" y="6873"/>
                </a:cubicBezTo>
                <a:lnTo>
                  <a:pt x="7364" y="6873"/>
                </a:lnTo>
                <a:cubicBezTo>
                  <a:pt x="5400" y="6873"/>
                  <a:pt x="5400" y="8836"/>
                  <a:pt x="3927" y="8836"/>
                </a:cubicBezTo>
                <a:lnTo>
                  <a:pt x="1964" y="8836"/>
                </a:lnTo>
                <a:cubicBezTo>
                  <a:pt x="87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10800"/>
                </a:lnTo>
                <a:cubicBezTo>
                  <a:pt x="17673" y="9716"/>
                  <a:pt x="16794" y="8836"/>
                  <a:pt x="15709" y="8836"/>
                </a:cubicBezTo>
                <a:moveTo>
                  <a:pt x="14727" y="10800"/>
                </a:moveTo>
                <a:cubicBezTo>
                  <a:pt x="14185" y="10800"/>
                  <a:pt x="13745" y="11240"/>
                  <a:pt x="13745" y="11782"/>
                </a:cubicBezTo>
                <a:cubicBezTo>
                  <a:pt x="13745" y="12324"/>
                  <a:pt x="14185" y="12764"/>
                  <a:pt x="14727" y="12764"/>
                </a:cubicBezTo>
                <a:cubicBezTo>
                  <a:pt x="15269" y="12764"/>
                  <a:pt x="15709" y="12324"/>
                  <a:pt x="15709" y="11782"/>
                </a:cubicBezTo>
                <a:cubicBezTo>
                  <a:pt x="15709" y="11240"/>
                  <a:pt x="15269" y="10800"/>
                  <a:pt x="14727" y="10800"/>
                </a:cubicBezTo>
                <a:moveTo>
                  <a:pt x="14727" y="13745"/>
                </a:moveTo>
                <a:cubicBezTo>
                  <a:pt x="14456" y="13745"/>
                  <a:pt x="14236" y="13966"/>
                  <a:pt x="14236" y="14236"/>
                </a:cubicBezTo>
                <a:cubicBezTo>
                  <a:pt x="14236" y="14508"/>
                  <a:pt x="14456" y="14727"/>
                  <a:pt x="14727" y="14727"/>
                </a:cubicBezTo>
                <a:cubicBezTo>
                  <a:pt x="14998" y="14727"/>
                  <a:pt x="15218" y="14508"/>
                  <a:pt x="15218" y="14236"/>
                </a:cubicBezTo>
                <a:cubicBezTo>
                  <a:pt x="15218" y="13966"/>
                  <a:pt x="14998" y="13745"/>
                  <a:pt x="14727" y="137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8" name="Shape 2658"/>
          <p:cNvSpPr/>
          <p:nvPr/>
        </p:nvSpPr>
        <p:spPr>
          <a:xfrm>
            <a:off x="2825064" y="49861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3745"/>
                </a:moveTo>
                <a:cubicBezTo>
                  <a:pt x="16420" y="13745"/>
                  <a:pt x="16200" y="13966"/>
                  <a:pt x="16200" y="14236"/>
                </a:cubicBezTo>
                <a:cubicBezTo>
                  <a:pt x="16200" y="14508"/>
                  <a:pt x="16420" y="14727"/>
                  <a:pt x="16691" y="14727"/>
                </a:cubicBezTo>
                <a:cubicBezTo>
                  <a:pt x="16962" y="14727"/>
                  <a:pt x="17182" y="14508"/>
                  <a:pt x="17182" y="14236"/>
                </a:cubicBezTo>
                <a:cubicBezTo>
                  <a:pt x="17182" y="13966"/>
                  <a:pt x="16962" y="13745"/>
                  <a:pt x="16691" y="13745"/>
                </a:cubicBezTo>
                <a:moveTo>
                  <a:pt x="16691" y="10800"/>
                </a:moveTo>
                <a:cubicBezTo>
                  <a:pt x="16149" y="10800"/>
                  <a:pt x="15709" y="11240"/>
                  <a:pt x="15709" y="11782"/>
                </a:cubicBezTo>
                <a:cubicBezTo>
                  <a:pt x="15709" y="12325"/>
                  <a:pt x="16149" y="12764"/>
                  <a:pt x="16691" y="12764"/>
                </a:cubicBezTo>
                <a:cubicBezTo>
                  <a:pt x="17233" y="12764"/>
                  <a:pt x="17673" y="12325"/>
                  <a:pt x="17673" y="11782"/>
                </a:cubicBezTo>
                <a:cubicBezTo>
                  <a:pt x="17673" y="11240"/>
                  <a:pt x="17233" y="10800"/>
                  <a:pt x="16691" y="10800"/>
                </a:cubicBezTo>
                <a:moveTo>
                  <a:pt x="14236" y="5891"/>
                </a:moveTo>
                <a:lnTo>
                  <a:pt x="17960" y="5891"/>
                </a:lnTo>
                <a:lnTo>
                  <a:pt x="16835" y="7017"/>
                </a:lnTo>
                <a:cubicBezTo>
                  <a:pt x="16746" y="7106"/>
                  <a:pt x="16691" y="7229"/>
                  <a:pt x="16691" y="7364"/>
                </a:cubicBezTo>
                <a:cubicBezTo>
                  <a:pt x="16691" y="7635"/>
                  <a:pt x="16911" y="7855"/>
                  <a:pt x="17182" y="7855"/>
                </a:cubicBezTo>
                <a:cubicBezTo>
                  <a:pt x="17317" y="7855"/>
                  <a:pt x="17440" y="7800"/>
                  <a:pt x="17529" y="7711"/>
                </a:cubicBezTo>
                <a:lnTo>
                  <a:pt x="19493" y="5748"/>
                </a:lnTo>
                <a:cubicBezTo>
                  <a:pt x="19581" y="5658"/>
                  <a:pt x="19636" y="5536"/>
                  <a:pt x="19636" y="5400"/>
                </a:cubicBezTo>
                <a:cubicBezTo>
                  <a:pt x="19636" y="5265"/>
                  <a:pt x="19581" y="5142"/>
                  <a:pt x="19493" y="5053"/>
                </a:cubicBezTo>
                <a:lnTo>
                  <a:pt x="17529" y="3089"/>
                </a:lnTo>
                <a:cubicBezTo>
                  <a:pt x="17440" y="3001"/>
                  <a:pt x="17317" y="2945"/>
                  <a:pt x="17182" y="2945"/>
                </a:cubicBezTo>
                <a:cubicBezTo>
                  <a:pt x="16911" y="2945"/>
                  <a:pt x="16691" y="3166"/>
                  <a:pt x="16691" y="3436"/>
                </a:cubicBezTo>
                <a:cubicBezTo>
                  <a:pt x="16691" y="3572"/>
                  <a:pt x="16746" y="3695"/>
                  <a:pt x="16835" y="3784"/>
                </a:cubicBezTo>
                <a:lnTo>
                  <a:pt x="17960" y="4909"/>
                </a:lnTo>
                <a:lnTo>
                  <a:pt x="14236" y="4909"/>
                </a:lnTo>
                <a:cubicBezTo>
                  <a:pt x="13966" y="4909"/>
                  <a:pt x="13745" y="5129"/>
                  <a:pt x="13745" y="5400"/>
                </a:cubicBezTo>
                <a:cubicBezTo>
                  <a:pt x="13745" y="5672"/>
                  <a:pt x="13966" y="5891"/>
                  <a:pt x="14236" y="5891"/>
                </a:cubicBezTo>
                <a:moveTo>
                  <a:pt x="10800" y="15709"/>
                </a:moveTo>
                <a:cubicBezTo>
                  <a:pt x="10258" y="15709"/>
                  <a:pt x="9818" y="15269"/>
                  <a:pt x="9818" y="14727"/>
                </a:cubicBezTo>
                <a:cubicBezTo>
                  <a:pt x="9818" y="14186"/>
                  <a:pt x="10258" y="13745"/>
                  <a:pt x="10800" y="13745"/>
                </a:cubicBezTo>
                <a:cubicBezTo>
                  <a:pt x="11342" y="13745"/>
                  <a:pt x="11782" y="14186"/>
                  <a:pt x="11782" y="14727"/>
                </a:cubicBezTo>
                <a:cubicBezTo>
                  <a:pt x="11782" y="15269"/>
                  <a:pt x="11342" y="15709"/>
                  <a:pt x="10800" y="15709"/>
                </a:cubicBezTo>
                <a:moveTo>
                  <a:pt x="10800" y="12764"/>
                </a:moveTo>
                <a:cubicBezTo>
                  <a:pt x="9716" y="12764"/>
                  <a:pt x="8836" y="13643"/>
                  <a:pt x="8836" y="14727"/>
                </a:cubicBezTo>
                <a:cubicBezTo>
                  <a:pt x="8836" y="15812"/>
                  <a:pt x="9716" y="16691"/>
                  <a:pt x="10800" y="16691"/>
                </a:cubicBezTo>
                <a:cubicBezTo>
                  <a:pt x="11884" y="16691"/>
                  <a:pt x="12764" y="15812"/>
                  <a:pt x="12764" y="14727"/>
                </a:cubicBezTo>
                <a:cubicBezTo>
                  <a:pt x="12764" y="13643"/>
                  <a:pt x="11884" y="12764"/>
                  <a:pt x="10800" y="12764"/>
                </a:cubicBezTo>
                <a:moveTo>
                  <a:pt x="4071" y="7711"/>
                </a:moveTo>
                <a:cubicBezTo>
                  <a:pt x="4160" y="7800"/>
                  <a:pt x="4283" y="7855"/>
                  <a:pt x="4418" y="7855"/>
                </a:cubicBezTo>
                <a:cubicBezTo>
                  <a:pt x="4689" y="7855"/>
                  <a:pt x="4909" y="7635"/>
                  <a:pt x="4909" y="7364"/>
                </a:cubicBezTo>
                <a:cubicBezTo>
                  <a:pt x="4909" y="7229"/>
                  <a:pt x="4854" y="7106"/>
                  <a:pt x="4765" y="7017"/>
                </a:cubicBezTo>
                <a:lnTo>
                  <a:pt x="3640" y="5891"/>
                </a:lnTo>
                <a:lnTo>
                  <a:pt x="7364" y="5891"/>
                </a:lnTo>
                <a:cubicBezTo>
                  <a:pt x="7634" y="5891"/>
                  <a:pt x="7855" y="5672"/>
                  <a:pt x="7855" y="5400"/>
                </a:cubicBezTo>
                <a:cubicBezTo>
                  <a:pt x="7855" y="5129"/>
                  <a:pt x="7634" y="4909"/>
                  <a:pt x="7364" y="4909"/>
                </a:cubicBezTo>
                <a:lnTo>
                  <a:pt x="3640" y="4909"/>
                </a:lnTo>
                <a:lnTo>
                  <a:pt x="4765" y="3784"/>
                </a:lnTo>
                <a:cubicBezTo>
                  <a:pt x="4854" y="3695"/>
                  <a:pt x="4909" y="3572"/>
                  <a:pt x="4909" y="3436"/>
                </a:cubicBezTo>
                <a:cubicBezTo>
                  <a:pt x="4909" y="3166"/>
                  <a:pt x="4689" y="2945"/>
                  <a:pt x="4418" y="2945"/>
                </a:cubicBezTo>
                <a:cubicBezTo>
                  <a:pt x="4283" y="2945"/>
                  <a:pt x="4160" y="3001"/>
                  <a:pt x="4071" y="3089"/>
                </a:cubicBezTo>
                <a:lnTo>
                  <a:pt x="2107" y="5053"/>
                </a:lnTo>
                <a:cubicBezTo>
                  <a:pt x="2019" y="5142"/>
                  <a:pt x="1964" y="5265"/>
                  <a:pt x="1964" y="5400"/>
                </a:cubicBezTo>
                <a:cubicBezTo>
                  <a:pt x="1964" y="5536"/>
                  <a:pt x="2019" y="5658"/>
                  <a:pt x="2107" y="5748"/>
                </a:cubicBezTo>
                <a:cubicBezTo>
                  <a:pt x="2107" y="5748"/>
                  <a:pt x="4071" y="7711"/>
                  <a:pt x="4071" y="7711"/>
                </a:cubicBezTo>
                <a:close/>
                <a:moveTo>
                  <a:pt x="20618" y="15709"/>
                </a:moveTo>
                <a:lnTo>
                  <a:pt x="19636" y="15709"/>
                </a:lnTo>
                <a:lnTo>
                  <a:pt x="19636" y="10800"/>
                </a:lnTo>
                <a:cubicBezTo>
                  <a:pt x="19636" y="9716"/>
                  <a:pt x="18757" y="8836"/>
                  <a:pt x="17673" y="8836"/>
                </a:cubicBezTo>
                <a:lnTo>
                  <a:pt x="15709" y="8836"/>
                </a:lnTo>
                <a:cubicBezTo>
                  <a:pt x="14236" y="8836"/>
                  <a:pt x="14236" y="6873"/>
                  <a:pt x="12273" y="6873"/>
                </a:cubicBezTo>
                <a:lnTo>
                  <a:pt x="9327" y="6873"/>
                </a:lnTo>
                <a:cubicBezTo>
                  <a:pt x="7364" y="6873"/>
                  <a:pt x="7364" y="8836"/>
                  <a:pt x="5891" y="8836"/>
                </a:cubicBezTo>
                <a:lnTo>
                  <a:pt x="3927" y="8836"/>
                </a:lnTo>
                <a:cubicBezTo>
                  <a:pt x="2843" y="8836"/>
                  <a:pt x="1964" y="9716"/>
                  <a:pt x="1964" y="10800"/>
                </a:cubicBezTo>
                <a:lnTo>
                  <a:pt x="1964" y="15709"/>
                </a:ln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15709"/>
                  <a:pt x="20618" y="15709"/>
                </a:cubicBezTo>
                <a:close/>
                <a:moveTo>
                  <a:pt x="18655" y="19636"/>
                </a:moveTo>
                <a:cubicBezTo>
                  <a:pt x="18655" y="20178"/>
                  <a:pt x="18215" y="20618"/>
                  <a:pt x="17673" y="20618"/>
                </a:cubicBezTo>
                <a:lnTo>
                  <a:pt x="3927" y="20618"/>
                </a:lnTo>
                <a:cubicBezTo>
                  <a:pt x="3385" y="20618"/>
                  <a:pt x="2945" y="20178"/>
                  <a:pt x="2945" y="19636"/>
                </a:cubicBezTo>
                <a:lnTo>
                  <a:pt x="2945" y="10800"/>
                </a:lnTo>
                <a:cubicBezTo>
                  <a:pt x="2945" y="10258"/>
                  <a:pt x="3385" y="9818"/>
                  <a:pt x="3927" y="9818"/>
                </a:cubicBezTo>
                <a:lnTo>
                  <a:pt x="5891" y="9818"/>
                </a:lnTo>
                <a:cubicBezTo>
                  <a:pt x="7855" y="9818"/>
                  <a:pt x="7855" y="7855"/>
                  <a:pt x="9327" y="7855"/>
                </a:cubicBezTo>
                <a:lnTo>
                  <a:pt x="10800" y="7855"/>
                </a:lnTo>
                <a:lnTo>
                  <a:pt x="12273" y="7855"/>
                </a:lnTo>
                <a:cubicBezTo>
                  <a:pt x="13745" y="7855"/>
                  <a:pt x="13745" y="9818"/>
                  <a:pt x="15709" y="9818"/>
                </a:cubicBezTo>
                <a:lnTo>
                  <a:pt x="17673" y="9818"/>
                </a:lnTo>
                <a:cubicBezTo>
                  <a:pt x="18215" y="9818"/>
                  <a:pt x="18655" y="10258"/>
                  <a:pt x="18655" y="10800"/>
                </a:cubicBezTo>
                <a:cubicBezTo>
                  <a:pt x="18655" y="10800"/>
                  <a:pt x="18655" y="19636"/>
                  <a:pt x="18655" y="19636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5709"/>
                </a:lnTo>
                <a:cubicBezTo>
                  <a:pt x="0" y="16252"/>
                  <a:pt x="440" y="16691"/>
                  <a:pt x="982" y="16691"/>
                </a:cubicBezTo>
                <a:lnTo>
                  <a:pt x="1964" y="16691"/>
                </a:lnTo>
                <a:lnTo>
                  <a:pt x="1964" y="19636"/>
                </a:lnTo>
                <a:cubicBezTo>
                  <a:pt x="1964" y="20721"/>
                  <a:pt x="2843" y="21600"/>
                  <a:pt x="3927" y="21600"/>
                </a:cubicBezTo>
                <a:lnTo>
                  <a:pt x="17673" y="21600"/>
                </a:lnTo>
                <a:cubicBezTo>
                  <a:pt x="18757" y="21600"/>
                  <a:pt x="19636" y="20721"/>
                  <a:pt x="19636" y="19636"/>
                </a:cubicBezTo>
                <a:lnTo>
                  <a:pt x="19636" y="16691"/>
                </a:lnTo>
                <a:lnTo>
                  <a:pt x="20618" y="16691"/>
                </a:lnTo>
                <a:cubicBezTo>
                  <a:pt x="21160" y="16691"/>
                  <a:pt x="21600" y="16252"/>
                  <a:pt x="21600" y="15709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10800" y="17673"/>
                </a:moveTo>
                <a:cubicBezTo>
                  <a:pt x="9173" y="17673"/>
                  <a:pt x="7855" y="16354"/>
                  <a:pt x="7855" y="14727"/>
                </a:cubicBezTo>
                <a:cubicBezTo>
                  <a:pt x="7855" y="13101"/>
                  <a:pt x="9173" y="11782"/>
                  <a:pt x="10800" y="11782"/>
                </a:cubicBezTo>
                <a:cubicBezTo>
                  <a:pt x="12427" y="11782"/>
                  <a:pt x="13745" y="13101"/>
                  <a:pt x="13745" y="14727"/>
                </a:cubicBezTo>
                <a:cubicBezTo>
                  <a:pt x="13745" y="16354"/>
                  <a:pt x="12427" y="17673"/>
                  <a:pt x="10800" y="17673"/>
                </a:cubicBezTo>
                <a:moveTo>
                  <a:pt x="10800" y="10800"/>
                </a:moveTo>
                <a:cubicBezTo>
                  <a:pt x="8631" y="10800"/>
                  <a:pt x="6873" y="12558"/>
                  <a:pt x="6873" y="14727"/>
                </a:cubicBezTo>
                <a:cubicBezTo>
                  <a:pt x="6873" y="16897"/>
                  <a:pt x="8631" y="18655"/>
                  <a:pt x="10800" y="18655"/>
                </a:cubicBezTo>
                <a:cubicBezTo>
                  <a:pt x="12969" y="18655"/>
                  <a:pt x="14727" y="16897"/>
                  <a:pt x="14727" y="14727"/>
                </a:cubicBezTo>
                <a:cubicBezTo>
                  <a:pt x="14727" y="12558"/>
                  <a:pt x="12969" y="10800"/>
                  <a:pt x="10800" y="10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9" name="Shape 2659"/>
          <p:cNvSpPr/>
          <p:nvPr/>
        </p:nvSpPr>
        <p:spPr>
          <a:xfrm>
            <a:off x="3891587" y="49861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7855"/>
                </a:moveTo>
                <a:cubicBezTo>
                  <a:pt x="16052" y="7855"/>
                  <a:pt x="16376" y="7925"/>
                  <a:pt x="16682" y="8033"/>
                </a:cubicBezTo>
                <a:cubicBezTo>
                  <a:pt x="16684" y="7973"/>
                  <a:pt x="16691" y="7915"/>
                  <a:pt x="16691" y="7855"/>
                </a:cubicBezTo>
                <a:cubicBezTo>
                  <a:pt x="16691" y="5686"/>
                  <a:pt x="14932" y="3927"/>
                  <a:pt x="12764" y="3927"/>
                </a:cubicBezTo>
                <a:cubicBezTo>
                  <a:pt x="11311" y="3927"/>
                  <a:pt x="10045" y="4718"/>
                  <a:pt x="9366" y="5891"/>
                </a:cubicBezTo>
                <a:lnTo>
                  <a:pt x="10309" y="5891"/>
                </a:lnTo>
                <a:cubicBezTo>
                  <a:pt x="10401" y="5891"/>
                  <a:pt x="10481" y="5904"/>
                  <a:pt x="10567" y="5910"/>
                </a:cubicBezTo>
                <a:cubicBezTo>
                  <a:pt x="11107" y="5301"/>
                  <a:pt x="11886" y="4909"/>
                  <a:pt x="12764" y="4909"/>
                </a:cubicBezTo>
                <a:cubicBezTo>
                  <a:pt x="14390" y="4909"/>
                  <a:pt x="15709" y="6228"/>
                  <a:pt x="15709" y="7855"/>
                </a:cubicBezTo>
                <a:moveTo>
                  <a:pt x="11716" y="6199"/>
                </a:moveTo>
                <a:cubicBezTo>
                  <a:pt x="12102" y="6387"/>
                  <a:pt x="12403" y="6637"/>
                  <a:pt x="12649" y="6884"/>
                </a:cubicBezTo>
                <a:cubicBezTo>
                  <a:pt x="12687" y="6880"/>
                  <a:pt x="12724" y="6873"/>
                  <a:pt x="12764" y="6873"/>
                </a:cubicBezTo>
                <a:cubicBezTo>
                  <a:pt x="13306" y="6873"/>
                  <a:pt x="13745" y="7313"/>
                  <a:pt x="13745" y="7855"/>
                </a:cubicBezTo>
                <a:lnTo>
                  <a:pt x="14727" y="7855"/>
                </a:lnTo>
                <a:cubicBezTo>
                  <a:pt x="14727" y="6770"/>
                  <a:pt x="13848" y="5891"/>
                  <a:pt x="12764" y="5891"/>
                </a:cubicBezTo>
                <a:cubicBezTo>
                  <a:pt x="12377" y="5891"/>
                  <a:pt x="12020" y="6006"/>
                  <a:pt x="11716" y="6199"/>
                </a:cubicBezTo>
                <a:moveTo>
                  <a:pt x="19636" y="1964"/>
                </a:moveTo>
                <a:lnTo>
                  <a:pt x="17673" y="1964"/>
                </a:lnTo>
                <a:cubicBezTo>
                  <a:pt x="16200" y="1964"/>
                  <a:pt x="16200" y="0"/>
                  <a:pt x="14236" y="0"/>
                </a:cubicBezTo>
                <a:lnTo>
                  <a:pt x="11291" y="0"/>
                </a:lnTo>
                <a:cubicBezTo>
                  <a:pt x="9327" y="0"/>
                  <a:pt x="9327" y="1964"/>
                  <a:pt x="7855" y="1964"/>
                </a:cubicBezTo>
                <a:lnTo>
                  <a:pt x="5891" y="1964"/>
                </a:lnTo>
                <a:cubicBezTo>
                  <a:pt x="4806" y="1964"/>
                  <a:pt x="3927" y="2843"/>
                  <a:pt x="3927" y="3927"/>
                </a:cubicBezTo>
                <a:lnTo>
                  <a:pt x="3927" y="7855"/>
                </a:lnTo>
                <a:cubicBezTo>
                  <a:pt x="4125" y="7855"/>
                  <a:pt x="4236" y="7769"/>
                  <a:pt x="4627" y="7318"/>
                </a:cubicBezTo>
                <a:cubicBezTo>
                  <a:pt x="4712" y="7220"/>
                  <a:pt x="4807" y="7113"/>
                  <a:pt x="4909" y="7005"/>
                </a:cubicBezTo>
                <a:lnTo>
                  <a:pt x="4909" y="3927"/>
                </a:lnTo>
                <a:cubicBezTo>
                  <a:pt x="4909" y="3386"/>
                  <a:pt x="5349" y="2945"/>
                  <a:pt x="5891" y="2945"/>
                </a:cubicBezTo>
                <a:lnTo>
                  <a:pt x="7855" y="2945"/>
                </a:lnTo>
                <a:cubicBezTo>
                  <a:pt x="9818" y="2945"/>
                  <a:pt x="9818" y="982"/>
                  <a:pt x="11291" y="982"/>
                </a:cubicBezTo>
                <a:lnTo>
                  <a:pt x="12764" y="982"/>
                </a:lnTo>
                <a:lnTo>
                  <a:pt x="14236" y="982"/>
                </a:lnTo>
                <a:cubicBezTo>
                  <a:pt x="15709" y="982"/>
                  <a:pt x="15709" y="2945"/>
                  <a:pt x="17673" y="2945"/>
                </a:cubicBezTo>
                <a:lnTo>
                  <a:pt x="19636" y="2945"/>
                </a:lnTo>
                <a:cubicBezTo>
                  <a:pt x="20178" y="2945"/>
                  <a:pt x="20618" y="3386"/>
                  <a:pt x="20618" y="3927"/>
                </a:cubicBezTo>
                <a:lnTo>
                  <a:pt x="20618" y="12764"/>
                </a:lnTo>
                <a:cubicBezTo>
                  <a:pt x="20618" y="13306"/>
                  <a:pt x="20178" y="13745"/>
                  <a:pt x="19636" y="13745"/>
                </a:cubicBezTo>
                <a:lnTo>
                  <a:pt x="18655" y="13745"/>
                </a:lnTo>
                <a:lnTo>
                  <a:pt x="18655" y="14727"/>
                </a:lnTo>
                <a:lnTo>
                  <a:pt x="19636" y="14727"/>
                </a:lnTo>
                <a:cubicBezTo>
                  <a:pt x="20721" y="14727"/>
                  <a:pt x="21600" y="13849"/>
                  <a:pt x="21600" y="12764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0800"/>
                </a:lnTo>
                <a:cubicBezTo>
                  <a:pt x="982" y="10258"/>
                  <a:pt x="1422" y="9818"/>
                  <a:pt x="1964" y="9818"/>
                </a:cubicBezTo>
                <a:lnTo>
                  <a:pt x="3927" y="9818"/>
                </a:lnTo>
                <a:cubicBezTo>
                  <a:pt x="5891" y="9818"/>
                  <a:pt x="5891" y="7855"/>
                  <a:pt x="7364" y="7855"/>
                </a:cubicBezTo>
                <a:lnTo>
                  <a:pt x="8836" y="7855"/>
                </a:lnTo>
                <a:lnTo>
                  <a:pt x="10309" y="7855"/>
                </a:lnTo>
                <a:cubicBezTo>
                  <a:pt x="11782" y="7855"/>
                  <a:pt x="11782" y="9818"/>
                  <a:pt x="13745" y="9818"/>
                </a:cubicBezTo>
                <a:lnTo>
                  <a:pt x="15709" y="9818"/>
                </a:lnTo>
                <a:cubicBezTo>
                  <a:pt x="16251" y="9818"/>
                  <a:pt x="16691" y="10258"/>
                  <a:pt x="16691" y="10800"/>
                </a:cubicBezTo>
                <a:cubicBezTo>
                  <a:pt x="16691" y="10800"/>
                  <a:pt x="16691" y="19636"/>
                  <a:pt x="16691" y="19636"/>
                </a:cubicBezTo>
                <a:close/>
                <a:moveTo>
                  <a:pt x="15709" y="8836"/>
                </a:moveTo>
                <a:lnTo>
                  <a:pt x="13745" y="8836"/>
                </a:lnTo>
                <a:cubicBezTo>
                  <a:pt x="12273" y="8836"/>
                  <a:pt x="12273" y="6873"/>
                  <a:pt x="10309" y="6873"/>
                </a:cubicBezTo>
                <a:lnTo>
                  <a:pt x="7364" y="6873"/>
                </a:lnTo>
                <a:cubicBezTo>
                  <a:pt x="5400" y="6873"/>
                  <a:pt x="5400" y="8836"/>
                  <a:pt x="3927" y="8836"/>
                </a:cubicBezTo>
                <a:lnTo>
                  <a:pt x="1964" y="8836"/>
                </a:lnTo>
                <a:cubicBezTo>
                  <a:pt x="87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10800"/>
                </a:lnTo>
                <a:cubicBezTo>
                  <a:pt x="17673" y="9716"/>
                  <a:pt x="16794" y="8836"/>
                  <a:pt x="15709" y="8836"/>
                </a:cubicBezTo>
                <a:moveTo>
                  <a:pt x="19636" y="4909"/>
                </a:moveTo>
                <a:cubicBezTo>
                  <a:pt x="19636" y="4367"/>
                  <a:pt x="19197" y="3927"/>
                  <a:pt x="18655" y="3927"/>
                </a:cubicBezTo>
                <a:cubicBezTo>
                  <a:pt x="18113" y="3927"/>
                  <a:pt x="17673" y="4367"/>
                  <a:pt x="17673" y="4909"/>
                </a:cubicBezTo>
                <a:cubicBezTo>
                  <a:pt x="17673" y="5451"/>
                  <a:pt x="18113" y="5891"/>
                  <a:pt x="18655" y="5891"/>
                </a:cubicBezTo>
                <a:cubicBezTo>
                  <a:pt x="19197" y="5891"/>
                  <a:pt x="19636" y="5451"/>
                  <a:pt x="19636" y="4909"/>
                </a:cubicBezTo>
                <a:moveTo>
                  <a:pt x="19145" y="7364"/>
                </a:moveTo>
                <a:cubicBezTo>
                  <a:pt x="19145" y="7093"/>
                  <a:pt x="18925" y="6873"/>
                  <a:pt x="18655" y="6873"/>
                </a:cubicBezTo>
                <a:cubicBezTo>
                  <a:pt x="18384" y="6873"/>
                  <a:pt x="18164" y="7093"/>
                  <a:pt x="18164" y="7364"/>
                </a:cubicBezTo>
                <a:cubicBezTo>
                  <a:pt x="18164" y="7635"/>
                  <a:pt x="18384" y="7855"/>
                  <a:pt x="18655" y="7855"/>
                </a:cubicBezTo>
                <a:cubicBezTo>
                  <a:pt x="18925" y="7855"/>
                  <a:pt x="19145" y="7635"/>
                  <a:pt x="19145" y="7364"/>
                </a:cubicBezTo>
                <a:moveTo>
                  <a:pt x="8836" y="15709"/>
                </a:moveTo>
                <a:cubicBezTo>
                  <a:pt x="8294" y="15709"/>
                  <a:pt x="7855" y="15269"/>
                  <a:pt x="7855" y="14727"/>
                </a:cubicBezTo>
                <a:cubicBezTo>
                  <a:pt x="7855" y="14186"/>
                  <a:pt x="8294" y="13745"/>
                  <a:pt x="8836" y="13745"/>
                </a:cubicBezTo>
                <a:cubicBezTo>
                  <a:pt x="9378" y="13745"/>
                  <a:pt x="9818" y="14186"/>
                  <a:pt x="9818" y="14727"/>
                </a:cubicBezTo>
                <a:cubicBezTo>
                  <a:pt x="9818" y="15269"/>
                  <a:pt x="9378" y="15709"/>
                  <a:pt x="8836" y="15709"/>
                </a:cubicBezTo>
                <a:moveTo>
                  <a:pt x="8836" y="12764"/>
                </a:moveTo>
                <a:cubicBezTo>
                  <a:pt x="7752" y="12764"/>
                  <a:pt x="6873" y="13643"/>
                  <a:pt x="6873" y="14727"/>
                </a:cubicBezTo>
                <a:cubicBezTo>
                  <a:pt x="6873" y="15812"/>
                  <a:pt x="7752" y="16691"/>
                  <a:pt x="8836" y="16691"/>
                </a:cubicBezTo>
                <a:cubicBezTo>
                  <a:pt x="9921" y="16691"/>
                  <a:pt x="10800" y="15812"/>
                  <a:pt x="10800" y="14727"/>
                </a:cubicBezTo>
                <a:cubicBezTo>
                  <a:pt x="10800" y="13643"/>
                  <a:pt x="9921" y="12764"/>
                  <a:pt x="8836" y="12764"/>
                </a:cubicBezTo>
                <a:moveTo>
                  <a:pt x="14727" y="10800"/>
                </a:moveTo>
                <a:cubicBezTo>
                  <a:pt x="14185" y="10800"/>
                  <a:pt x="13745" y="11240"/>
                  <a:pt x="13745" y="11782"/>
                </a:cubicBezTo>
                <a:cubicBezTo>
                  <a:pt x="13745" y="12325"/>
                  <a:pt x="14185" y="12764"/>
                  <a:pt x="14727" y="12764"/>
                </a:cubicBezTo>
                <a:cubicBezTo>
                  <a:pt x="15269" y="12764"/>
                  <a:pt x="15709" y="12325"/>
                  <a:pt x="15709" y="11782"/>
                </a:cubicBezTo>
                <a:cubicBezTo>
                  <a:pt x="15709" y="11240"/>
                  <a:pt x="15269" y="10800"/>
                  <a:pt x="14727" y="10800"/>
                </a:cubicBezTo>
                <a:moveTo>
                  <a:pt x="14727" y="13745"/>
                </a:moveTo>
                <a:cubicBezTo>
                  <a:pt x="14456" y="13745"/>
                  <a:pt x="14236" y="13966"/>
                  <a:pt x="14236" y="14236"/>
                </a:cubicBezTo>
                <a:cubicBezTo>
                  <a:pt x="14236" y="14508"/>
                  <a:pt x="14456" y="14727"/>
                  <a:pt x="14727" y="14727"/>
                </a:cubicBezTo>
                <a:cubicBezTo>
                  <a:pt x="14998" y="14727"/>
                  <a:pt x="15218" y="14508"/>
                  <a:pt x="15218" y="14236"/>
                </a:cubicBezTo>
                <a:cubicBezTo>
                  <a:pt x="15218" y="13966"/>
                  <a:pt x="14998" y="13745"/>
                  <a:pt x="14727" y="13745"/>
                </a:cubicBezTo>
                <a:moveTo>
                  <a:pt x="8836" y="17673"/>
                </a:moveTo>
                <a:cubicBezTo>
                  <a:pt x="7210" y="17673"/>
                  <a:pt x="5891" y="16354"/>
                  <a:pt x="5891" y="14727"/>
                </a:cubicBezTo>
                <a:cubicBezTo>
                  <a:pt x="5891" y="13101"/>
                  <a:pt x="7210" y="11782"/>
                  <a:pt x="8836" y="11782"/>
                </a:cubicBezTo>
                <a:cubicBezTo>
                  <a:pt x="10463" y="11782"/>
                  <a:pt x="11782" y="13101"/>
                  <a:pt x="11782" y="14727"/>
                </a:cubicBezTo>
                <a:cubicBezTo>
                  <a:pt x="11782" y="16354"/>
                  <a:pt x="10463" y="17673"/>
                  <a:pt x="8836" y="17673"/>
                </a:cubicBezTo>
                <a:moveTo>
                  <a:pt x="8836" y="10800"/>
                </a:moveTo>
                <a:cubicBezTo>
                  <a:pt x="6668" y="10800"/>
                  <a:pt x="4909" y="12558"/>
                  <a:pt x="4909" y="14727"/>
                </a:cubicBezTo>
                <a:cubicBezTo>
                  <a:pt x="4909" y="16897"/>
                  <a:pt x="6668" y="18655"/>
                  <a:pt x="8836" y="18655"/>
                </a:cubicBezTo>
                <a:cubicBezTo>
                  <a:pt x="11005" y="18655"/>
                  <a:pt x="12764" y="16897"/>
                  <a:pt x="12764" y="14727"/>
                </a:cubicBezTo>
                <a:cubicBezTo>
                  <a:pt x="12764" y="12558"/>
                  <a:pt x="11005" y="10800"/>
                  <a:pt x="8836" y="10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0" name="Shape 2660"/>
          <p:cNvSpPr/>
          <p:nvPr/>
        </p:nvSpPr>
        <p:spPr>
          <a:xfrm>
            <a:off x="4958109" y="49861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7673"/>
                </a:moveTo>
                <a:cubicBezTo>
                  <a:pt x="20618" y="18215"/>
                  <a:pt x="20178" y="18655"/>
                  <a:pt x="19636" y="18655"/>
                </a:cubicBezTo>
                <a:lnTo>
                  <a:pt x="1964" y="18655"/>
                </a:lnTo>
                <a:cubicBezTo>
                  <a:pt x="1422" y="18655"/>
                  <a:pt x="982" y="18215"/>
                  <a:pt x="982" y="17673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9636" y="4909"/>
                </a:lnTo>
                <a:cubicBezTo>
                  <a:pt x="20178" y="4909"/>
                  <a:pt x="20618" y="5349"/>
                  <a:pt x="20618" y="5891"/>
                </a:cubicBezTo>
                <a:cubicBezTo>
                  <a:pt x="20618" y="5891"/>
                  <a:pt x="20618" y="17673"/>
                  <a:pt x="20618" y="17673"/>
                </a:cubicBezTo>
                <a:close/>
                <a:moveTo>
                  <a:pt x="19636" y="3927"/>
                </a:moveTo>
                <a:lnTo>
                  <a:pt x="12476" y="3927"/>
                </a:lnTo>
                <a:lnTo>
                  <a:pt x="14476" y="1927"/>
                </a:lnTo>
                <a:cubicBezTo>
                  <a:pt x="14557" y="1949"/>
                  <a:pt x="14640" y="1964"/>
                  <a:pt x="14727" y="1964"/>
                </a:cubicBezTo>
                <a:cubicBezTo>
                  <a:pt x="15269" y="1964"/>
                  <a:pt x="15709" y="1524"/>
                  <a:pt x="15709" y="982"/>
                </a:cubicBezTo>
                <a:cubicBezTo>
                  <a:pt x="15709" y="440"/>
                  <a:pt x="15269" y="0"/>
                  <a:pt x="14727" y="0"/>
                </a:cubicBezTo>
                <a:cubicBezTo>
                  <a:pt x="14185" y="0"/>
                  <a:pt x="13745" y="440"/>
                  <a:pt x="13745" y="982"/>
                </a:cubicBezTo>
                <a:cubicBezTo>
                  <a:pt x="13745" y="1069"/>
                  <a:pt x="13761" y="1153"/>
                  <a:pt x="13782" y="1233"/>
                </a:cubicBezTo>
                <a:lnTo>
                  <a:pt x="11088" y="3927"/>
                </a:lnTo>
                <a:lnTo>
                  <a:pt x="10513" y="3927"/>
                </a:lnTo>
                <a:lnTo>
                  <a:pt x="7818" y="1233"/>
                </a:lnTo>
                <a:cubicBezTo>
                  <a:pt x="7839" y="1153"/>
                  <a:pt x="7855" y="1069"/>
                  <a:pt x="7855" y="982"/>
                </a:cubicBezTo>
                <a:cubicBezTo>
                  <a:pt x="7855" y="440"/>
                  <a:pt x="7415" y="0"/>
                  <a:pt x="6873" y="0"/>
                </a:cubicBezTo>
                <a:cubicBezTo>
                  <a:pt x="6331" y="0"/>
                  <a:pt x="5891" y="440"/>
                  <a:pt x="5891" y="982"/>
                </a:cubicBezTo>
                <a:cubicBezTo>
                  <a:pt x="5891" y="1524"/>
                  <a:pt x="6331" y="1964"/>
                  <a:pt x="6873" y="1964"/>
                </a:cubicBezTo>
                <a:cubicBezTo>
                  <a:pt x="6960" y="1964"/>
                  <a:pt x="7043" y="1949"/>
                  <a:pt x="7124" y="1927"/>
                </a:cubicBezTo>
                <a:lnTo>
                  <a:pt x="9124" y="3927"/>
                </a:ln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7673"/>
                </a:lnTo>
                <a:cubicBezTo>
                  <a:pt x="0" y="18757"/>
                  <a:pt x="879" y="19637"/>
                  <a:pt x="1964" y="19637"/>
                </a:cubicBezTo>
                <a:lnTo>
                  <a:pt x="3927" y="19637"/>
                </a:lnTo>
                <a:lnTo>
                  <a:pt x="3927" y="21109"/>
                </a:lnTo>
                <a:cubicBezTo>
                  <a:pt x="3927" y="21381"/>
                  <a:pt x="4147" y="21600"/>
                  <a:pt x="4418" y="21600"/>
                </a:cubicBezTo>
                <a:cubicBezTo>
                  <a:pt x="4689" y="21600"/>
                  <a:pt x="4909" y="21381"/>
                  <a:pt x="4909" y="21109"/>
                </a:cubicBezTo>
                <a:lnTo>
                  <a:pt x="4909" y="20618"/>
                </a:lnTo>
                <a:lnTo>
                  <a:pt x="16691" y="20618"/>
                </a:lnTo>
                <a:lnTo>
                  <a:pt x="16691" y="21109"/>
                </a:lnTo>
                <a:cubicBezTo>
                  <a:pt x="16691" y="21381"/>
                  <a:pt x="16911" y="21600"/>
                  <a:pt x="17182" y="21600"/>
                </a:cubicBezTo>
                <a:cubicBezTo>
                  <a:pt x="17453" y="21600"/>
                  <a:pt x="17673" y="21381"/>
                  <a:pt x="17673" y="21109"/>
                </a:cubicBezTo>
                <a:lnTo>
                  <a:pt x="17673" y="19637"/>
                </a:lnTo>
                <a:lnTo>
                  <a:pt x="19636" y="19637"/>
                </a:lnTo>
                <a:cubicBezTo>
                  <a:pt x="20721" y="19637"/>
                  <a:pt x="21600" y="18757"/>
                  <a:pt x="21600" y="17673"/>
                </a:cubicBezTo>
                <a:lnTo>
                  <a:pt x="21600" y="5891"/>
                </a:lnTo>
                <a:cubicBezTo>
                  <a:pt x="21600" y="4806"/>
                  <a:pt x="20721" y="3927"/>
                  <a:pt x="19636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1" name="Shape 2661"/>
          <p:cNvSpPr/>
          <p:nvPr/>
        </p:nvSpPr>
        <p:spPr>
          <a:xfrm>
            <a:off x="6024631" y="49861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7855"/>
                </a:moveTo>
                <a:lnTo>
                  <a:pt x="7855" y="7855"/>
                </a:lnTo>
                <a:lnTo>
                  <a:pt x="7855" y="9818"/>
                </a:lnTo>
                <a:lnTo>
                  <a:pt x="9818" y="9818"/>
                </a:lnTo>
                <a:cubicBezTo>
                  <a:pt x="9818" y="9818"/>
                  <a:pt x="9818" y="7855"/>
                  <a:pt x="9818" y="7855"/>
                </a:cubicBezTo>
                <a:close/>
                <a:moveTo>
                  <a:pt x="5891" y="7855"/>
                </a:moveTo>
                <a:lnTo>
                  <a:pt x="3927" y="7855"/>
                </a:lnTo>
                <a:lnTo>
                  <a:pt x="3927" y="9818"/>
                </a:lnTo>
                <a:lnTo>
                  <a:pt x="5891" y="9818"/>
                </a:lnTo>
                <a:cubicBezTo>
                  <a:pt x="5891" y="9818"/>
                  <a:pt x="5891" y="7855"/>
                  <a:pt x="5891" y="7855"/>
                </a:cubicBezTo>
                <a:close/>
                <a:moveTo>
                  <a:pt x="13745" y="7855"/>
                </a:moveTo>
                <a:lnTo>
                  <a:pt x="11782" y="7855"/>
                </a:lnTo>
                <a:lnTo>
                  <a:pt x="11782" y="9818"/>
                </a:lnTo>
                <a:lnTo>
                  <a:pt x="13745" y="9818"/>
                </a:lnTo>
                <a:cubicBezTo>
                  <a:pt x="13745" y="9818"/>
                  <a:pt x="13745" y="7855"/>
                  <a:pt x="13745" y="7855"/>
                </a:cubicBezTo>
                <a:close/>
                <a:moveTo>
                  <a:pt x="7855" y="13745"/>
                </a:moveTo>
                <a:lnTo>
                  <a:pt x="9818" y="13745"/>
                </a:lnTo>
                <a:lnTo>
                  <a:pt x="9818" y="11782"/>
                </a:lnTo>
                <a:lnTo>
                  <a:pt x="7855" y="11782"/>
                </a:lnTo>
                <a:cubicBezTo>
                  <a:pt x="7855" y="11782"/>
                  <a:pt x="7855" y="13745"/>
                  <a:pt x="7855" y="13745"/>
                </a:cubicBezTo>
                <a:close/>
                <a:moveTo>
                  <a:pt x="13745" y="11782"/>
                </a:moveTo>
                <a:lnTo>
                  <a:pt x="15709" y="11782"/>
                </a:lnTo>
                <a:lnTo>
                  <a:pt x="15709" y="9818"/>
                </a:lnTo>
                <a:lnTo>
                  <a:pt x="13745" y="9818"/>
                </a:lnTo>
                <a:cubicBezTo>
                  <a:pt x="13745" y="9818"/>
                  <a:pt x="13745" y="11782"/>
                  <a:pt x="13745" y="11782"/>
                </a:cubicBezTo>
                <a:close/>
                <a:moveTo>
                  <a:pt x="5891" y="11782"/>
                </a:moveTo>
                <a:lnTo>
                  <a:pt x="3927" y="11782"/>
                </a:lnTo>
                <a:lnTo>
                  <a:pt x="3927" y="13745"/>
                </a:lnTo>
                <a:lnTo>
                  <a:pt x="5891" y="13745"/>
                </a:lnTo>
                <a:cubicBezTo>
                  <a:pt x="5891" y="13745"/>
                  <a:pt x="5891" y="11782"/>
                  <a:pt x="5891" y="11782"/>
                </a:cubicBezTo>
                <a:close/>
                <a:moveTo>
                  <a:pt x="11782" y="13745"/>
                </a:moveTo>
                <a:lnTo>
                  <a:pt x="13745" y="13745"/>
                </a:lnTo>
                <a:lnTo>
                  <a:pt x="13745" y="11782"/>
                </a:lnTo>
                <a:lnTo>
                  <a:pt x="11782" y="11782"/>
                </a:lnTo>
                <a:cubicBezTo>
                  <a:pt x="11782" y="11782"/>
                  <a:pt x="11782" y="13745"/>
                  <a:pt x="11782" y="13745"/>
                </a:cubicBezTo>
                <a:close/>
                <a:moveTo>
                  <a:pt x="13745" y="15709"/>
                </a:moveTo>
                <a:lnTo>
                  <a:pt x="15709" y="15709"/>
                </a:lnTo>
                <a:lnTo>
                  <a:pt x="15709" y="13745"/>
                </a:lnTo>
                <a:lnTo>
                  <a:pt x="13745" y="13745"/>
                </a:lnTo>
                <a:cubicBezTo>
                  <a:pt x="13745" y="13745"/>
                  <a:pt x="13745" y="15709"/>
                  <a:pt x="13745" y="15709"/>
                </a:cubicBezTo>
                <a:close/>
                <a:moveTo>
                  <a:pt x="17673" y="7855"/>
                </a:moveTo>
                <a:lnTo>
                  <a:pt x="19636" y="7855"/>
                </a:lnTo>
                <a:lnTo>
                  <a:pt x="19636" y="5891"/>
                </a:lnTo>
                <a:lnTo>
                  <a:pt x="17673" y="5891"/>
                </a:lnTo>
                <a:cubicBezTo>
                  <a:pt x="17673" y="5891"/>
                  <a:pt x="17673" y="7855"/>
                  <a:pt x="17673" y="7855"/>
                </a:cubicBezTo>
                <a:close/>
                <a:moveTo>
                  <a:pt x="15709" y="9818"/>
                </a:moveTo>
                <a:lnTo>
                  <a:pt x="17673" y="9818"/>
                </a:lnTo>
                <a:lnTo>
                  <a:pt x="17673" y="7855"/>
                </a:lnTo>
                <a:lnTo>
                  <a:pt x="15709" y="7855"/>
                </a:lnTo>
                <a:cubicBezTo>
                  <a:pt x="15709" y="7855"/>
                  <a:pt x="15709" y="9818"/>
                  <a:pt x="15709" y="9818"/>
                </a:cubicBezTo>
                <a:close/>
                <a:moveTo>
                  <a:pt x="20618" y="17673"/>
                </a:moveTo>
                <a:cubicBezTo>
                  <a:pt x="20618" y="18215"/>
                  <a:pt x="20178" y="18655"/>
                  <a:pt x="19636" y="18655"/>
                </a:cubicBezTo>
                <a:lnTo>
                  <a:pt x="1964" y="18655"/>
                </a:lnTo>
                <a:cubicBezTo>
                  <a:pt x="1422" y="18655"/>
                  <a:pt x="982" y="18215"/>
                  <a:pt x="982" y="17673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9636" y="4909"/>
                </a:lnTo>
                <a:cubicBezTo>
                  <a:pt x="20178" y="4909"/>
                  <a:pt x="20618" y="5349"/>
                  <a:pt x="20618" y="5891"/>
                </a:cubicBezTo>
                <a:cubicBezTo>
                  <a:pt x="20618" y="5891"/>
                  <a:pt x="20618" y="17673"/>
                  <a:pt x="20618" y="17673"/>
                </a:cubicBezTo>
                <a:close/>
                <a:moveTo>
                  <a:pt x="19636" y="3927"/>
                </a:moveTo>
                <a:lnTo>
                  <a:pt x="12476" y="3927"/>
                </a:lnTo>
                <a:lnTo>
                  <a:pt x="14476" y="1927"/>
                </a:lnTo>
                <a:cubicBezTo>
                  <a:pt x="14557" y="1949"/>
                  <a:pt x="14640" y="1964"/>
                  <a:pt x="14727" y="1964"/>
                </a:cubicBezTo>
                <a:cubicBezTo>
                  <a:pt x="15269" y="1964"/>
                  <a:pt x="15709" y="1524"/>
                  <a:pt x="15709" y="982"/>
                </a:cubicBezTo>
                <a:cubicBezTo>
                  <a:pt x="15709" y="440"/>
                  <a:pt x="15269" y="0"/>
                  <a:pt x="14727" y="0"/>
                </a:cubicBezTo>
                <a:cubicBezTo>
                  <a:pt x="14185" y="0"/>
                  <a:pt x="13745" y="440"/>
                  <a:pt x="13745" y="982"/>
                </a:cubicBezTo>
                <a:cubicBezTo>
                  <a:pt x="13745" y="1069"/>
                  <a:pt x="13761" y="1152"/>
                  <a:pt x="13782" y="1233"/>
                </a:cubicBezTo>
                <a:lnTo>
                  <a:pt x="11088" y="3927"/>
                </a:lnTo>
                <a:lnTo>
                  <a:pt x="10513" y="3927"/>
                </a:lnTo>
                <a:lnTo>
                  <a:pt x="7818" y="1233"/>
                </a:lnTo>
                <a:cubicBezTo>
                  <a:pt x="7839" y="1152"/>
                  <a:pt x="7855" y="1069"/>
                  <a:pt x="7855" y="982"/>
                </a:cubicBezTo>
                <a:cubicBezTo>
                  <a:pt x="7855" y="440"/>
                  <a:pt x="7415" y="0"/>
                  <a:pt x="6873" y="0"/>
                </a:cubicBezTo>
                <a:cubicBezTo>
                  <a:pt x="6331" y="0"/>
                  <a:pt x="5891" y="440"/>
                  <a:pt x="5891" y="982"/>
                </a:cubicBezTo>
                <a:cubicBezTo>
                  <a:pt x="5891" y="1524"/>
                  <a:pt x="6331" y="1964"/>
                  <a:pt x="6873" y="1964"/>
                </a:cubicBezTo>
                <a:cubicBezTo>
                  <a:pt x="6960" y="1964"/>
                  <a:pt x="7043" y="1949"/>
                  <a:pt x="7124" y="1927"/>
                </a:cubicBezTo>
                <a:lnTo>
                  <a:pt x="9124" y="3927"/>
                </a:ln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7673"/>
                </a:lnTo>
                <a:cubicBezTo>
                  <a:pt x="0" y="18757"/>
                  <a:pt x="879" y="19637"/>
                  <a:pt x="1964" y="19637"/>
                </a:cubicBezTo>
                <a:lnTo>
                  <a:pt x="3927" y="19637"/>
                </a:lnTo>
                <a:lnTo>
                  <a:pt x="3927" y="21109"/>
                </a:lnTo>
                <a:cubicBezTo>
                  <a:pt x="3927" y="21380"/>
                  <a:pt x="4147" y="21600"/>
                  <a:pt x="4418" y="21600"/>
                </a:cubicBezTo>
                <a:cubicBezTo>
                  <a:pt x="4689" y="21600"/>
                  <a:pt x="4909" y="21380"/>
                  <a:pt x="4909" y="21109"/>
                </a:cubicBezTo>
                <a:lnTo>
                  <a:pt x="4909" y="20618"/>
                </a:lnTo>
                <a:lnTo>
                  <a:pt x="16691" y="20618"/>
                </a:lnTo>
                <a:lnTo>
                  <a:pt x="16691" y="21109"/>
                </a:lnTo>
                <a:cubicBezTo>
                  <a:pt x="16691" y="21380"/>
                  <a:pt x="16911" y="21600"/>
                  <a:pt x="17182" y="21600"/>
                </a:cubicBezTo>
                <a:cubicBezTo>
                  <a:pt x="17453" y="21600"/>
                  <a:pt x="17673" y="21380"/>
                  <a:pt x="17673" y="21109"/>
                </a:cubicBezTo>
                <a:lnTo>
                  <a:pt x="17673" y="19637"/>
                </a:lnTo>
                <a:lnTo>
                  <a:pt x="19636" y="19637"/>
                </a:lnTo>
                <a:cubicBezTo>
                  <a:pt x="20721" y="19637"/>
                  <a:pt x="21600" y="18757"/>
                  <a:pt x="21600" y="17673"/>
                </a:cubicBezTo>
                <a:lnTo>
                  <a:pt x="21600" y="5891"/>
                </a:lnTo>
                <a:cubicBezTo>
                  <a:pt x="21600" y="4806"/>
                  <a:pt x="20721" y="3927"/>
                  <a:pt x="19636" y="3927"/>
                </a:cubicBezTo>
                <a:moveTo>
                  <a:pt x="5891" y="15709"/>
                </a:moveTo>
                <a:lnTo>
                  <a:pt x="7855" y="15709"/>
                </a:lnTo>
                <a:lnTo>
                  <a:pt x="7855" y="13745"/>
                </a:lnTo>
                <a:lnTo>
                  <a:pt x="5891" y="13745"/>
                </a:lnTo>
                <a:cubicBezTo>
                  <a:pt x="5891" y="13745"/>
                  <a:pt x="5891" y="15709"/>
                  <a:pt x="5891" y="15709"/>
                </a:cubicBezTo>
                <a:close/>
                <a:moveTo>
                  <a:pt x="9818" y="15709"/>
                </a:moveTo>
                <a:lnTo>
                  <a:pt x="11782" y="15709"/>
                </a:lnTo>
                <a:lnTo>
                  <a:pt x="11782" y="13745"/>
                </a:lnTo>
                <a:lnTo>
                  <a:pt x="9818" y="13745"/>
                </a:lnTo>
                <a:cubicBezTo>
                  <a:pt x="9818" y="13745"/>
                  <a:pt x="9818" y="15709"/>
                  <a:pt x="9818" y="15709"/>
                </a:cubicBezTo>
                <a:close/>
                <a:moveTo>
                  <a:pt x="7855" y="9818"/>
                </a:moveTo>
                <a:lnTo>
                  <a:pt x="5891" y="9818"/>
                </a:lnTo>
                <a:lnTo>
                  <a:pt x="5891" y="11782"/>
                </a:lnTo>
                <a:lnTo>
                  <a:pt x="7855" y="11782"/>
                </a:lnTo>
                <a:cubicBezTo>
                  <a:pt x="7855" y="11782"/>
                  <a:pt x="7855" y="9818"/>
                  <a:pt x="7855" y="9818"/>
                </a:cubicBezTo>
                <a:close/>
                <a:moveTo>
                  <a:pt x="15709" y="13745"/>
                </a:moveTo>
                <a:lnTo>
                  <a:pt x="17673" y="13745"/>
                </a:lnTo>
                <a:lnTo>
                  <a:pt x="17673" y="11782"/>
                </a:lnTo>
                <a:lnTo>
                  <a:pt x="15709" y="11782"/>
                </a:lnTo>
                <a:cubicBezTo>
                  <a:pt x="15709" y="11782"/>
                  <a:pt x="15709" y="13745"/>
                  <a:pt x="15709" y="13745"/>
                </a:cubicBezTo>
                <a:close/>
                <a:moveTo>
                  <a:pt x="1964" y="7855"/>
                </a:moveTo>
                <a:lnTo>
                  <a:pt x="3927" y="7855"/>
                </a:lnTo>
                <a:lnTo>
                  <a:pt x="3927" y="5891"/>
                </a:lnTo>
                <a:lnTo>
                  <a:pt x="1964" y="5891"/>
                </a:lnTo>
                <a:cubicBezTo>
                  <a:pt x="1964" y="5891"/>
                  <a:pt x="1964" y="7855"/>
                  <a:pt x="1964" y="7855"/>
                </a:cubicBezTo>
                <a:close/>
                <a:moveTo>
                  <a:pt x="3927" y="17673"/>
                </a:moveTo>
                <a:lnTo>
                  <a:pt x="5891" y="17673"/>
                </a:lnTo>
                <a:lnTo>
                  <a:pt x="5891" y="15709"/>
                </a:lnTo>
                <a:lnTo>
                  <a:pt x="3927" y="15709"/>
                </a:lnTo>
                <a:cubicBezTo>
                  <a:pt x="3927" y="15709"/>
                  <a:pt x="3927" y="17673"/>
                  <a:pt x="3927" y="17673"/>
                </a:cubicBezTo>
                <a:close/>
                <a:moveTo>
                  <a:pt x="11782" y="5891"/>
                </a:moveTo>
                <a:lnTo>
                  <a:pt x="9818" y="5891"/>
                </a:lnTo>
                <a:lnTo>
                  <a:pt x="9818" y="7855"/>
                </a:lnTo>
                <a:lnTo>
                  <a:pt x="11782" y="7855"/>
                </a:lnTo>
                <a:cubicBezTo>
                  <a:pt x="11782" y="7855"/>
                  <a:pt x="11782" y="5891"/>
                  <a:pt x="11782" y="5891"/>
                </a:cubicBezTo>
                <a:close/>
                <a:moveTo>
                  <a:pt x="7855" y="5891"/>
                </a:moveTo>
                <a:lnTo>
                  <a:pt x="5891" y="5891"/>
                </a:lnTo>
                <a:lnTo>
                  <a:pt x="5891" y="7855"/>
                </a:lnTo>
                <a:lnTo>
                  <a:pt x="7855" y="7855"/>
                </a:lnTo>
                <a:cubicBezTo>
                  <a:pt x="7855" y="7855"/>
                  <a:pt x="7855" y="5891"/>
                  <a:pt x="7855" y="5891"/>
                </a:cubicBezTo>
                <a:close/>
                <a:moveTo>
                  <a:pt x="1964" y="15709"/>
                </a:moveTo>
                <a:lnTo>
                  <a:pt x="3927" y="15709"/>
                </a:lnTo>
                <a:lnTo>
                  <a:pt x="3927" y="13745"/>
                </a:lnTo>
                <a:lnTo>
                  <a:pt x="1964" y="13745"/>
                </a:lnTo>
                <a:cubicBezTo>
                  <a:pt x="1964" y="13745"/>
                  <a:pt x="1964" y="15709"/>
                  <a:pt x="1964" y="15709"/>
                </a:cubicBezTo>
                <a:close/>
                <a:moveTo>
                  <a:pt x="1964" y="11782"/>
                </a:moveTo>
                <a:lnTo>
                  <a:pt x="3927" y="11782"/>
                </a:lnTo>
                <a:lnTo>
                  <a:pt x="3927" y="9818"/>
                </a:lnTo>
                <a:lnTo>
                  <a:pt x="1964" y="9818"/>
                </a:lnTo>
                <a:cubicBezTo>
                  <a:pt x="1964" y="9818"/>
                  <a:pt x="1964" y="11782"/>
                  <a:pt x="1964" y="11782"/>
                </a:cubicBezTo>
                <a:close/>
                <a:moveTo>
                  <a:pt x="7855" y="17673"/>
                </a:moveTo>
                <a:lnTo>
                  <a:pt x="9818" y="17673"/>
                </a:lnTo>
                <a:lnTo>
                  <a:pt x="9818" y="15709"/>
                </a:lnTo>
                <a:lnTo>
                  <a:pt x="7855" y="15709"/>
                </a:lnTo>
                <a:cubicBezTo>
                  <a:pt x="7855" y="15709"/>
                  <a:pt x="7855" y="17673"/>
                  <a:pt x="7855" y="17673"/>
                </a:cubicBezTo>
                <a:close/>
                <a:moveTo>
                  <a:pt x="11782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1782" y="15709"/>
                </a:lnTo>
                <a:cubicBezTo>
                  <a:pt x="11782" y="15709"/>
                  <a:pt x="11782" y="17673"/>
                  <a:pt x="11782" y="17673"/>
                </a:cubicBezTo>
                <a:close/>
                <a:moveTo>
                  <a:pt x="15709" y="17673"/>
                </a:moveTo>
                <a:lnTo>
                  <a:pt x="17673" y="17673"/>
                </a:lnTo>
                <a:lnTo>
                  <a:pt x="17673" y="15709"/>
                </a:lnTo>
                <a:lnTo>
                  <a:pt x="15709" y="15709"/>
                </a:lnTo>
                <a:cubicBezTo>
                  <a:pt x="15709" y="15709"/>
                  <a:pt x="15709" y="17673"/>
                  <a:pt x="15709" y="17673"/>
                </a:cubicBezTo>
                <a:close/>
                <a:moveTo>
                  <a:pt x="11782" y="9818"/>
                </a:moveTo>
                <a:lnTo>
                  <a:pt x="9818" y="9818"/>
                </a:lnTo>
                <a:lnTo>
                  <a:pt x="9818" y="11782"/>
                </a:lnTo>
                <a:lnTo>
                  <a:pt x="11782" y="11782"/>
                </a:lnTo>
                <a:cubicBezTo>
                  <a:pt x="11782" y="11782"/>
                  <a:pt x="11782" y="9818"/>
                  <a:pt x="11782" y="9818"/>
                </a:cubicBezTo>
                <a:close/>
                <a:moveTo>
                  <a:pt x="19636" y="9818"/>
                </a:moveTo>
                <a:lnTo>
                  <a:pt x="17673" y="9818"/>
                </a:lnTo>
                <a:lnTo>
                  <a:pt x="17673" y="11782"/>
                </a:lnTo>
                <a:lnTo>
                  <a:pt x="19636" y="11782"/>
                </a:lnTo>
                <a:cubicBezTo>
                  <a:pt x="19636" y="11782"/>
                  <a:pt x="19636" y="9818"/>
                  <a:pt x="19636" y="9818"/>
                </a:cubicBezTo>
                <a:close/>
                <a:moveTo>
                  <a:pt x="19636" y="13745"/>
                </a:moveTo>
                <a:lnTo>
                  <a:pt x="17673" y="13745"/>
                </a:lnTo>
                <a:lnTo>
                  <a:pt x="17673" y="15709"/>
                </a:lnTo>
                <a:lnTo>
                  <a:pt x="19636" y="15709"/>
                </a:lnTo>
                <a:cubicBezTo>
                  <a:pt x="19636" y="15709"/>
                  <a:pt x="19636" y="13745"/>
                  <a:pt x="19636" y="13745"/>
                </a:cubicBezTo>
                <a:close/>
                <a:moveTo>
                  <a:pt x="15709" y="5891"/>
                </a:moveTo>
                <a:lnTo>
                  <a:pt x="13745" y="5891"/>
                </a:lnTo>
                <a:lnTo>
                  <a:pt x="13745" y="7855"/>
                </a:lnTo>
                <a:lnTo>
                  <a:pt x="15709" y="7855"/>
                </a:lnTo>
                <a:cubicBezTo>
                  <a:pt x="15709" y="7855"/>
                  <a:pt x="15709" y="5891"/>
                  <a:pt x="15709" y="5891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2" name="Shape 2662"/>
          <p:cNvSpPr/>
          <p:nvPr/>
        </p:nvSpPr>
        <p:spPr>
          <a:xfrm>
            <a:off x="7091154" y="49861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1782"/>
                </a:moveTo>
                <a:cubicBezTo>
                  <a:pt x="18383" y="11782"/>
                  <a:pt x="18164" y="12002"/>
                  <a:pt x="18164" y="12273"/>
                </a:cubicBezTo>
                <a:cubicBezTo>
                  <a:pt x="18164" y="12544"/>
                  <a:pt x="18383" y="12764"/>
                  <a:pt x="18655" y="12764"/>
                </a:cubicBezTo>
                <a:cubicBezTo>
                  <a:pt x="18926" y="12764"/>
                  <a:pt x="19145" y="12544"/>
                  <a:pt x="19145" y="12273"/>
                </a:cubicBezTo>
                <a:cubicBezTo>
                  <a:pt x="19145" y="12002"/>
                  <a:pt x="18926" y="11782"/>
                  <a:pt x="18655" y="11782"/>
                </a:cubicBezTo>
                <a:moveTo>
                  <a:pt x="18655" y="13745"/>
                </a:moveTo>
                <a:cubicBezTo>
                  <a:pt x="18383" y="13745"/>
                  <a:pt x="18164" y="13966"/>
                  <a:pt x="18164" y="14236"/>
                </a:cubicBezTo>
                <a:cubicBezTo>
                  <a:pt x="18164" y="14508"/>
                  <a:pt x="18383" y="14727"/>
                  <a:pt x="18655" y="14727"/>
                </a:cubicBezTo>
                <a:cubicBezTo>
                  <a:pt x="18926" y="14727"/>
                  <a:pt x="19145" y="14508"/>
                  <a:pt x="19145" y="14236"/>
                </a:cubicBezTo>
                <a:cubicBezTo>
                  <a:pt x="19145" y="13966"/>
                  <a:pt x="18926" y="13745"/>
                  <a:pt x="18655" y="13745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6691" y="20618"/>
                </a:lnTo>
                <a:lnTo>
                  <a:pt x="16691" y="6873"/>
                </a:lnTo>
                <a:lnTo>
                  <a:pt x="19636" y="6873"/>
                </a:lnTo>
                <a:cubicBezTo>
                  <a:pt x="20178" y="6873"/>
                  <a:pt x="20618" y="7313"/>
                  <a:pt x="20618" y="7855"/>
                </a:cubicBez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5709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cubicBezTo>
                  <a:pt x="982" y="7313"/>
                  <a:pt x="1422" y="6873"/>
                  <a:pt x="1964" y="6873"/>
                </a:cubicBezTo>
                <a:lnTo>
                  <a:pt x="15709" y="6873"/>
                </a:lnTo>
                <a:cubicBezTo>
                  <a:pt x="15709" y="6873"/>
                  <a:pt x="15709" y="20618"/>
                  <a:pt x="15709" y="20618"/>
                </a:cubicBezTo>
                <a:close/>
                <a:moveTo>
                  <a:pt x="19636" y="5891"/>
                </a:moveTo>
                <a:lnTo>
                  <a:pt x="13205" y="5891"/>
                </a:lnTo>
                <a:cubicBezTo>
                  <a:pt x="13069" y="5222"/>
                  <a:pt x="12657" y="4657"/>
                  <a:pt x="12097" y="4306"/>
                </a:cubicBezTo>
                <a:lnTo>
                  <a:pt x="14476" y="1927"/>
                </a:lnTo>
                <a:cubicBezTo>
                  <a:pt x="14557" y="1949"/>
                  <a:pt x="14640" y="1964"/>
                  <a:pt x="14727" y="1964"/>
                </a:cubicBezTo>
                <a:cubicBezTo>
                  <a:pt x="15269" y="1964"/>
                  <a:pt x="15709" y="1524"/>
                  <a:pt x="15709" y="982"/>
                </a:cubicBezTo>
                <a:cubicBezTo>
                  <a:pt x="15709" y="440"/>
                  <a:pt x="15269" y="0"/>
                  <a:pt x="14727" y="0"/>
                </a:cubicBezTo>
                <a:cubicBezTo>
                  <a:pt x="14186" y="0"/>
                  <a:pt x="13745" y="440"/>
                  <a:pt x="13745" y="982"/>
                </a:cubicBezTo>
                <a:cubicBezTo>
                  <a:pt x="13745" y="1070"/>
                  <a:pt x="13761" y="1153"/>
                  <a:pt x="13782" y="1233"/>
                </a:cubicBezTo>
                <a:lnTo>
                  <a:pt x="11061" y="3954"/>
                </a:lnTo>
                <a:cubicBezTo>
                  <a:pt x="10975" y="3945"/>
                  <a:pt x="10889" y="3927"/>
                  <a:pt x="10800" y="3927"/>
                </a:cubicBezTo>
                <a:cubicBezTo>
                  <a:pt x="10711" y="3927"/>
                  <a:pt x="10625" y="3945"/>
                  <a:pt x="10539" y="3954"/>
                </a:cubicBezTo>
                <a:lnTo>
                  <a:pt x="7818" y="1233"/>
                </a:lnTo>
                <a:cubicBezTo>
                  <a:pt x="7839" y="1153"/>
                  <a:pt x="7855" y="1070"/>
                  <a:pt x="7855" y="982"/>
                </a:cubicBezTo>
                <a:cubicBezTo>
                  <a:pt x="7855" y="440"/>
                  <a:pt x="7414" y="0"/>
                  <a:pt x="6873" y="0"/>
                </a:cubicBezTo>
                <a:cubicBezTo>
                  <a:pt x="6331" y="0"/>
                  <a:pt x="5891" y="440"/>
                  <a:pt x="5891" y="982"/>
                </a:cubicBezTo>
                <a:cubicBezTo>
                  <a:pt x="5891" y="1524"/>
                  <a:pt x="6331" y="1964"/>
                  <a:pt x="6873" y="1964"/>
                </a:cubicBezTo>
                <a:cubicBezTo>
                  <a:pt x="6960" y="1964"/>
                  <a:pt x="7043" y="1949"/>
                  <a:pt x="7124" y="1927"/>
                </a:cubicBezTo>
                <a:lnTo>
                  <a:pt x="9503" y="4306"/>
                </a:lnTo>
                <a:cubicBezTo>
                  <a:pt x="8943" y="4657"/>
                  <a:pt x="8531" y="5222"/>
                  <a:pt x="8395" y="5891"/>
                </a:cubicBezTo>
                <a:lnTo>
                  <a:pt x="1964" y="5891"/>
                </a:lnTo>
                <a:cubicBezTo>
                  <a:pt x="879" y="5891"/>
                  <a:pt x="0" y="6770"/>
                  <a:pt x="0" y="7855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7855"/>
                </a:lnTo>
                <a:cubicBezTo>
                  <a:pt x="21600" y="6770"/>
                  <a:pt x="20721" y="5891"/>
                  <a:pt x="19636" y="5891"/>
                </a:cubicBezTo>
                <a:moveTo>
                  <a:pt x="12764" y="17673"/>
                </a:moveTo>
                <a:lnTo>
                  <a:pt x="3927" y="17673"/>
                </a:lnTo>
                <a:lnTo>
                  <a:pt x="3927" y="9818"/>
                </a:lnTo>
                <a:lnTo>
                  <a:pt x="12764" y="9818"/>
                </a:lnTo>
                <a:cubicBezTo>
                  <a:pt x="12764" y="9818"/>
                  <a:pt x="12764" y="17673"/>
                  <a:pt x="12764" y="17673"/>
                </a:cubicBezTo>
                <a:close/>
                <a:moveTo>
                  <a:pt x="13745" y="8836"/>
                </a:moveTo>
                <a:lnTo>
                  <a:pt x="2945" y="8836"/>
                </a:lnTo>
                <a:lnTo>
                  <a:pt x="2945" y="18655"/>
                </a:lnTo>
                <a:lnTo>
                  <a:pt x="13745" y="18655"/>
                </a:lnTo>
                <a:cubicBezTo>
                  <a:pt x="13745" y="18655"/>
                  <a:pt x="13745" y="8836"/>
                  <a:pt x="13745" y="8836"/>
                </a:cubicBezTo>
                <a:close/>
                <a:moveTo>
                  <a:pt x="18655" y="8836"/>
                </a:moveTo>
                <a:cubicBezTo>
                  <a:pt x="18113" y="8836"/>
                  <a:pt x="17673" y="9276"/>
                  <a:pt x="17673" y="9818"/>
                </a:cubicBezTo>
                <a:cubicBezTo>
                  <a:pt x="17673" y="10360"/>
                  <a:pt x="18113" y="10800"/>
                  <a:pt x="18655" y="10800"/>
                </a:cubicBezTo>
                <a:cubicBezTo>
                  <a:pt x="19196" y="10800"/>
                  <a:pt x="19636" y="10360"/>
                  <a:pt x="19636" y="9818"/>
                </a:cubicBezTo>
                <a:cubicBezTo>
                  <a:pt x="19636" y="9276"/>
                  <a:pt x="19196" y="8836"/>
                  <a:pt x="18655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3" name="Shape 2663"/>
          <p:cNvSpPr/>
          <p:nvPr/>
        </p:nvSpPr>
        <p:spPr>
          <a:xfrm>
            <a:off x="8157677" y="5113095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8000"/>
                </a:moveTo>
                <a:cubicBezTo>
                  <a:pt x="19636" y="18995"/>
                  <a:pt x="19196" y="19800"/>
                  <a:pt x="18655" y="19800"/>
                </a:cubicBezTo>
                <a:lnTo>
                  <a:pt x="1964" y="19800"/>
                </a:lnTo>
                <a:cubicBezTo>
                  <a:pt x="1421" y="19800"/>
                  <a:pt x="982" y="18995"/>
                  <a:pt x="982" y="18000"/>
                </a:cubicBezTo>
                <a:lnTo>
                  <a:pt x="982" y="3600"/>
                </a:lnTo>
                <a:cubicBezTo>
                  <a:pt x="982" y="2607"/>
                  <a:pt x="1421" y="1800"/>
                  <a:pt x="1964" y="1800"/>
                </a:cubicBezTo>
                <a:lnTo>
                  <a:pt x="18655" y="1800"/>
                </a:lnTo>
                <a:cubicBezTo>
                  <a:pt x="19196" y="1800"/>
                  <a:pt x="19636" y="2607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9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9"/>
                  <a:pt x="20618" y="18000"/>
                </a:cubicBezTo>
                <a:lnTo>
                  <a:pt x="20618" y="14400"/>
                </a:lnTo>
                <a:cubicBezTo>
                  <a:pt x="21160" y="14400"/>
                  <a:pt x="21600" y="13595"/>
                  <a:pt x="21600" y="12600"/>
                </a:cubicBezTo>
                <a:lnTo>
                  <a:pt x="21600" y="9000"/>
                </a:lnTo>
                <a:cubicBezTo>
                  <a:pt x="21600" y="8007"/>
                  <a:pt x="21160" y="7200"/>
                  <a:pt x="20618" y="7200"/>
                </a:cubicBezTo>
                <a:moveTo>
                  <a:pt x="10800" y="5400"/>
                </a:moveTo>
                <a:lnTo>
                  <a:pt x="3927" y="10800"/>
                </a:lnTo>
                <a:lnTo>
                  <a:pt x="8836" y="10800"/>
                </a:lnTo>
                <a:lnTo>
                  <a:pt x="9818" y="16200"/>
                </a:lnTo>
                <a:lnTo>
                  <a:pt x="16691" y="10800"/>
                </a:lnTo>
                <a:lnTo>
                  <a:pt x="11782" y="10800"/>
                </a:lnTo>
                <a:cubicBezTo>
                  <a:pt x="11782" y="10800"/>
                  <a:pt x="10800" y="5400"/>
                  <a:pt x="10800" y="54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4" name="Shape 2664"/>
          <p:cNvSpPr/>
          <p:nvPr/>
        </p:nvSpPr>
        <p:spPr>
          <a:xfrm>
            <a:off x="9224197" y="5113095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8000"/>
                </a:moveTo>
                <a:cubicBezTo>
                  <a:pt x="19636" y="18995"/>
                  <a:pt x="19196" y="19800"/>
                  <a:pt x="18655" y="19800"/>
                </a:cubicBezTo>
                <a:lnTo>
                  <a:pt x="1964" y="19800"/>
                </a:lnTo>
                <a:cubicBezTo>
                  <a:pt x="1421" y="19800"/>
                  <a:pt x="982" y="18995"/>
                  <a:pt x="982" y="18000"/>
                </a:cubicBezTo>
                <a:lnTo>
                  <a:pt x="982" y="3600"/>
                </a:lnTo>
                <a:cubicBezTo>
                  <a:pt x="982" y="2607"/>
                  <a:pt x="1421" y="1800"/>
                  <a:pt x="1964" y="1800"/>
                </a:cubicBezTo>
                <a:lnTo>
                  <a:pt x="18655" y="1800"/>
                </a:lnTo>
                <a:cubicBezTo>
                  <a:pt x="19196" y="1800"/>
                  <a:pt x="19636" y="2607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9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9"/>
                  <a:pt x="20618" y="18000"/>
                </a:cubicBezTo>
                <a:lnTo>
                  <a:pt x="20618" y="14400"/>
                </a:lnTo>
                <a:cubicBezTo>
                  <a:pt x="21160" y="14400"/>
                  <a:pt x="21600" y="13595"/>
                  <a:pt x="21600" y="12600"/>
                </a:cubicBezTo>
                <a:lnTo>
                  <a:pt x="21600" y="9000"/>
                </a:lnTo>
                <a:cubicBezTo>
                  <a:pt x="21600" y="8007"/>
                  <a:pt x="21160" y="7200"/>
                  <a:pt x="20618" y="7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5" name="Shape 2665"/>
          <p:cNvSpPr/>
          <p:nvPr/>
        </p:nvSpPr>
        <p:spPr>
          <a:xfrm>
            <a:off x="10290720" y="5113095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8000"/>
                </a:moveTo>
                <a:cubicBezTo>
                  <a:pt x="19636" y="18995"/>
                  <a:pt x="19196" y="19800"/>
                  <a:pt x="18655" y="19800"/>
                </a:cubicBezTo>
                <a:lnTo>
                  <a:pt x="1964" y="19800"/>
                </a:lnTo>
                <a:cubicBezTo>
                  <a:pt x="1422" y="19800"/>
                  <a:pt x="982" y="18995"/>
                  <a:pt x="982" y="18000"/>
                </a:cubicBezTo>
                <a:lnTo>
                  <a:pt x="982" y="3600"/>
                </a:lnTo>
                <a:cubicBezTo>
                  <a:pt x="982" y="2607"/>
                  <a:pt x="1422" y="1800"/>
                  <a:pt x="1964" y="1800"/>
                </a:cubicBezTo>
                <a:lnTo>
                  <a:pt x="18655" y="1800"/>
                </a:lnTo>
                <a:cubicBezTo>
                  <a:pt x="19196" y="1800"/>
                  <a:pt x="19636" y="2607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9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9"/>
                  <a:pt x="20618" y="18000"/>
                </a:cubicBezTo>
                <a:lnTo>
                  <a:pt x="20618" y="14400"/>
                </a:lnTo>
                <a:cubicBezTo>
                  <a:pt x="21160" y="14400"/>
                  <a:pt x="21600" y="13595"/>
                  <a:pt x="21600" y="12600"/>
                </a:cubicBezTo>
                <a:lnTo>
                  <a:pt x="21600" y="9000"/>
                </a:lnTo>
                <a:cubicBezTo>
                  <a:pt x="21600" y="8007"/>
                  <a:pt x="21160" y="7200"/>
                  <a:pt x="20618" y="7200"/>
                </a:cubicBezTo>
                <a:moveTo>
                  <a:pt x="1964" y="18000"/>
                </a:moveTo>
                <a:lnTo>
                  <a:pt x="6873" y="18000"/>
                </a:lnTo>
                <a:lnTo>
                  <a:pt x="6873" y="3600"/>
                </a:lnTo>
                <a:lnTo>
                  <a:pt x="1964" y="3600"/>
                </a:lnTo>
                <a:cubicBezTo>
                  <a:pt x="1964" y="3600"/>
                  <a:pt x="1964" y="18000"/>
                  <a:pt x="1964" y="180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6" name="Shape 2666"/>
          <p:cNvSpPr/>
          <p:nvPr/>
        </p:nvSpPr>
        <p:spPr>
          <a:xfrm>
            <a:off x="11357242" y="5113095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8000"/>
                </a:moveTo>
                <a:cubicBezTo>
                  <a:pt x="19636" y="18995"/>
                  <a:pt x="19196" y="19800"/>
                  <a:pt x="18655" y="19800"/>
                </a:cubicBezTo>
                <a:lnTo>
                  <a:pt x="1964" y="19800"/>
                </a:lnTo>
                <a:cubicBezTo>
                  <a:pt x="1422" y="19800"/>
                  <a:pt x="982" y="18995"/>
                  <a:pt x="982" y="18000"/>
                </a:cubicBezTo>
                <a:lnTo>
                  <a:pt x="982" y="3600"/>
                </a:lnTo>
                <a:cubicBezTo>
                  <a:pt x="982" y="2607"/>
                  <a:pt x="1422" y="1800"/>
                  <a:pt x="1964" y="1800"/>
                </a:cubicBezTo>
                <a:lnTo>
                  <a:pt x="18655" y="1800"/>
                </a:lnTo>
                <a:cubicBezTo>
                  <a:pt x="19196" y="1800"/>
                  <a:pt x="19636" y="2607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9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9"/>
                  <a:pt x="20618" y="18000"/>
                </a:cubicBezTo>
                <a:lnTo>
                  <a:pt x="20618" y="14400"/>
                </a:lnTo>
                <a:cubicBezTo>
                  <a:pt x="21160" y="14400"/>
                  <a:pt x="21600" y="13595"/>
                  <a:pt x="21600" y="12600"/>
                </a:cubicBezTo>
                <a:lnTo>
                  <a:pt x="21600" y="9000"/>
                </a:lnTo>
                <a:cubicBezTo>
                  <a:pt x="21600" y="8007"/>
                  <a:pt x="21160" y="7200"/>
                  <a:pt x="20618" y="7200"/>
                </a:cubicBezTo>
                <a:moveTo>
                  <a:pt x="1964" y="18000"/>
                </a:moveTo>
                <a:lnTo>
                  <a:pt x="10800" y="18000"/>
                </a:lnTo>
                <a:lnTo>
                  <a:pt x="10800" y="3600"/>
                </a:lnTo>
                <a:lnTo>
                  <a:pt x="1964" y="3600"/>
                </a:lnTo>
                <a:cubicBezTo>
                  <a:pt x="1964" y="3600"/>
                  <a:pt x="1964" y="18000"/>
                  <a:pt x="1964" y="180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7" name="Shape 2667"/>
          <p:cNvSpPr/>
          <p:nvPr/>
        </p:nvSpPr>
        <p:spPr>
          <a:xfrm>
            <a:off x="1758543" y="6179617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18000"/>
                </a:moveTo>
                <a:lnTo>
                  <a:pt x="14727" y="18000"/>
                </a:lnTo>
                <a:lnTo>
                  <a:pt x="14727" y="3600"/>
                </a:lnTo>
                <a:lnTo>
                  <a:pt x="1964" y="3600"/>
                </a:lnTo>
                <a:cubicBezTo>
                  <a:pt x="1964" y="3600"/>
                  <a:pt x="1964" y="18000"/>
                  <a:pt x="1964" y="18000"/>
                </a:cubicBezTo>
                <a:close/>
                <a:moveTo>
                  <a:pt x="19636" y="18000"/>
                </a:moveTo>
                <a:cubicBezTo>
                  <a:pt x="19636" y="18994"/>
                  <a:pt x="19197" y="19800"/>
                  <a:pt x="18655" y="19800"/>
                </a:cubicBezTo>
                <a:lnTo>
                  <a:pt x="1964" y="19800"/>
                </a:lnTo>
                <a:cubicBezTo>
                  <a:pt x="1422" y="19800"/>
                  <a:pt x="982" y="18994"/>
                  <a:pt x="982" y="18000"/>
                </a:cubicBezTo>
                <a:lnTo>
                  <a:pt x="982" y="3600"/>
                </a:lnTo>
                <a:cubicBezTo>
                  <a:pt x="982" y="2606"/>
                  <a:pt x="1422" y="1800"/>
                  <a:pt x="1964" y="1800"/>
                </a:cubicBezTo>
                <a:lnTo>
                  <a:pt x="18655" y="1800"/>
                </a:lnTo>
                <a:cubicBezTo>
                  <a:pt x="19197" y="1800"/>
                  <a:pt x="19636" y="2606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8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8"/>
                  <a:pt x="20618" y="18000"/>
                </a:cubicBezTo>
                <a:lnTo>
                  <a:pt x="20618" y="14401"/>
                </a:lnTo>
                <a:cubicBezTo>
                  <a:pt x="21160" y="14401"/>
                  <a:pt x="21600" y="13594"/>
                  <a:pt x="21600" y="12600"/>
                </a:cubicBezTo>
                <a:lnTo>
                  <a:pt x="21600" y="9000"/>
                </a:lnTo>
                <a:cubicBezTo>
                  <a:pt x="21600" y="8006"/>
                  <a:pt x="21160" y="7200"/>
                  <a:pt x="20618" y="7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8" name="Shape 2668"/>
          <p:cNvSpPr/>
          <p:nvPr/>
        </p:nvSpPr>
        <p:spPr>
          <a:xfrm>
            <a:off x="2825064" y="6179617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18000"/>
                </a:moveTo>
                <a:lnTo>
                  <a:pt x="18655" y="18000"/>
                </a:lnTo>
                <a:lnTo>
                  <a:pt x="18655" y="3600"/>
                </a:lnTo>
                <a:lnTo>
                  <a:pt x="1964" y="3600"/>
                </a:lnTo>
                <a:cubicBezTo>
                  <a:pt x="1964" y="3600"/>
                  <a:pt x="1964" y="18000"/>
                  <a:pt x="1964" y="18000"/>
                </a:cubicBezTo>
                <a:close/>
                <a:moveTo>
                  <a:pt x="19636" y="18000"/>
                </a:moveTo>
                <a:cubicBezTo>
                  <a:pt x="19636" y="18994"/>
                  <a:pt x="19197" y="19800"/>
                  <a:pt x="18655" y="19800"/>
                </a:cubicBezTo>
                <a:lnTo>
                  <a:pt x="1964" y="19800"/>
                </a:lnTo>
                <a:cubicBezTo>
                  <a:pt x="1422" y="19800"/>
                  <a:pt x="982" y="18994"/>
                  <a:pt x="982" y="18000"/>
                </a:cubicBezTo>
                <a:lnTo>
                  <a:pt x="982" y="3600"/>
                </a:lnTo>
                <a:cubicBezTo>
                  <a:pt x="982" y="2606"/>
                  <a:pt x="1422" y="1800"/>
                  <a:pt x="1964" y="1800"/>
                </a:cubicBezTo>
                <a:lnTo>
                  <a:pt x="18655" y="1800"/>
                </a:lnTo>
                <a:cubicBezTo>
                  <a:pt x="19197" y="1800"/>
                  <a:pt x="19636" y="2606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8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8"/>
                  <a:pt x="20618" y="18000"/>
                </a:cubicBezTo>
                <a:lnTo>
                  <a:pt x="20618" y="14401"/>
                </a:lnTo>
                <a:cubicBezTo>
                  <a:pt x="21160" y="14401"/>
                  <a:pt x="21600" y="13594"/>
                  <a:pt x="21600" y="12600"/>
                </a:cubicBezTo>
                <a:lnTo>
                  <a:pt x="21600" y="9000"/>
                </a:lnTo>
                <a:cubicBezTo>
                  <a:pt x="21600" y="8006"/>
                  <a:pt x="21160" y="7200"/>
                  <a:pt x="20618" y="7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9" name="Shape 2669"/>
          <p:cNvSpPr/>
          <p:nvPr/>
        </p:nvSpPr>
        <p:spPr>
          <a:xfrm>
            <a:off x="3916982" y="6052650"/>
            <a:ext cx="507869" cy="5586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60" y="2161"/>
                </a:moveTo>
                <a:lnTo>
                  <a:pt x="12960" y="2178"/>
                </a:lnTo>
                <a:cubicBezTo>
                  <a:pt x="12662" y="2178"/>
                  <a:pt x="12420" y="2398"/>
                  <a:pt x="12420" y="2669"/>
                </a:cubicBezTo>
                <a:cubicBezTo>
                  <a:pt x="12420" y="2940"/>
                  <a:pt x="12662" y="3160"/>
                  <a:pt x="12960" y="3160"/>
                </a:cubicBezTo>
                <a:lnTo>
                  <a:pt x="12960" y="3172"/>
                </a:lnTo>
                <a:cubicBezTo>
                  <a:pt x="17287" y="4066"/>
                  <a:pt x="20520" y="7577"/>
                  <a:pt x="20520" y="11782"/>
                </a:cubicBezTo>
                <a:cubicBezTo>
                  <a:pt x="20520" y="16662"/>
                  <a:pt x="16168" y="20618"/>
                  <a:pt x="10800" y="20618"/>
                </a:cubicBezTo>
                <a:cubicBezTo>
                  <a:pt x="5432" y="20618"/>
                  <a:pt x="1080" y="16662"/>
                  <a:pt x="1080" y="11782"/>
                </a:cubicBezTo>
                <a:cubicBezTo>
                  <a:pt x="1080" y="7577"/>
                  <a:pt x="4313" y="4066"/>
                  <a:pt x="8640" y="3172"/>
                </a:cubicBezTo>
                <a:lnTo>
                  <a:pt x="8640" y="3160"/>
                </a:lnTo>
                <a:cubicBezTo>
                  <a:pt x="8938" y="3160"/>
                  <a:pt x="9180" y="2940"/>
                  <a:pt x="9180" y="2669"/>
                </a:cubicBezTo>
                <a:cubicBezTo>
                  <a:pt x="9180" y="2398"/>
                  <a:pt x="8938" y="2178"/>
                  <a:pt x="8640" y="2178"/>
                </a:cubicBezTo>
                <a:lnTo>
                  <a:pt x="8640" y="2161"/>
                </a:lnTo>
                <a:cubicBezTo>
                  <a:pt x="3710" y="3071"/>
                  <a:pt x="0" y="7031"/>
                  <a:pt x="0" y="11782"/>
                </a:cubicBezTo>
                <a:cubicBezTo>
                  <a:pt x="0" y="17204"/>
                  <a:pt x="4835" y="21600"/>
                  <a:pt x="10800" y="21600"/>
                </a:cubicBezTo>
                <a:cubicBezTo>
                  <a:pt x="16765" y="21600"/>
                  <a:pt x="21600" y="17204"/>
                  <a:pt x="21600" y="11782"/>
                </a:cubicBezTo>
                <a:cubicBezTo>
                  <a:pt x="21600" y="7031"/>
                  <a:pt x="17890" y="3071"/>
                  <a:pt x="12960" y="2161"/>
                </a:cubicBezTo>
                <a:moveTo>
                  <a:pt x="10800" y="12763"/>
                </a:moveTo>
                <a:cubicBezTo>
                  <a:pt x="11098" y="12763"/>
                  <a:pt x="11340" y="12544"/>
                  <a:pt x="11340" y="12272"/>
                </a:cubicBezTo>
                <a:lnTo>
                  <a:pt x="11340" y="491"/>
                </a:lnTo>
                <a:cubicBezTo>
                  <a:pt x="11340" y="220"/>
                  <a:pt x="11098" y="0"/>
                  <a:pt x="10800" y="0"/>
                </a:cubicBezTo>
                <a:cubicBezTo>
                  <a:pt x="10502" y="0"/>
                  <a:pt x="10260" y="220"/>
                  <a:pt x="10260" y="491"/>
                </a:cubicBezTo>
                <a:lnTo>
                  <a:pt x="10260" y="12272"/>
                </a:lnTo>
                <a:cubicBezTo>
                  <a:pt x="10260" y="12544"/>
                  <a:pt x="10502" y="12763"/>
                  <a:pt x="10800" y="1276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0" name="Shape 2670"/>
          <p:cNvSpPr/>
          <p:nvPr/>
        </p:nvSpPr>
        <p:spPr>
          <a:xfrm>
            <a:off x="4958109" y="6128834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21600"/>
                </a:moveTo>
                <a:lnTo>
                  <a:pt x="13255" y="21600"/>
                </a:lnTo>
                <a:lnTo>
                  <a:pt x="13255" y="0"/>
                </a:lnTo>
                <a:lnTo>
                  <a:pt x="12273" y="0"/>
                </a:lnTo>
                <a:cubicBezTo>
                  <a:pt x="12273" y="0"/>
                  <a:pt x="12273" y="21600"/>
                  <a:pt x="12273" y="21600"/>
                </a:cubicBezTo>
                <a:close/>
                <a:moveTo>
                  <a:pt x="14236" y="21600"/>
                </a:moveTo>
                <a:lnTo>
                  <a:pt x="16691" y="21600"/>
                </a:lnTo>
                <a:lnTo>
                  <a:pt x="16691" y="0"/>
                </a:lnTo>
                <a:lnTo>
                  <a:pt x="14236" y="0"/>
                </a:lnTo>
                <a:cubicBezTo>
                  <a:pt x="14236" y="0"/>
                  <a:pt x="14236" y="21600"/>
                  <a:pt x="14236" y="21600"/>
                </a:cubicBezTo>
                <a:close/>
                <a:moveTo>
                  <a:pt x="17673" y="21600"/>
                </a:moveTo>
                <a:lnTo>
                  <a:pt x="18655" y="21600"/>
                </a:lnTo>
                <a:lnTo>
                  <a:pt x="18655" y="0"/>
                </a:lnTo>
                <a:lnTo>
                  <a:pt x="17673" y="0"/>
                </a:lnTo>
                <a:cubicBezTo>
                  <a:pt x="17673" y="0"/>
                  <a:pt x="17673" y="21600"/>
                  <a:pt x="17673" y="21600"/>
                </a:cubicBezTo>
                <a:close/>
                <a:moveTo>
                  <a:pt x="20618" y="0"/>
                </a:moveTo>
                <a:lnTo>
                  <a:pt x="19636" y="0"/>
                </a:lnTo>
                <a:lnTo>
                  <a:pt x="19636" y="21600"/>
                </a:ln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4909" y="21600"/>
                </a:moveTo>
                <a:lnTo>
                  <a:pt x="5891" y="21600"/>
                </a:lnTo>
                <a:lnTo>
                  <a:pt x="5891" y="0"/>
                </a:lnTo>
                <a:lnTo>
                  <a:pt x="4909" y="0"/>
                </a:lnTo>
                <a:cubicBezTo>
                  <a:pt x="4909" y="0"/>
                  <a:pt x="4909" y="21600"/>
                  <a:pt x="4909" y="21600"/>
                </a:cubicBezTo>
                <a:close/>
                <a:moveTo>
                  <a:pt x="0" y="1350"/>
                </a:move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moveTo>
                  <a:pt x="1964" y="21600"/>
                </a:moveTo>
                <a:lnTo>
                  <a:pt x="3927" y="21600"/>
                </a:lnTo>
                <a:lnTo>
                  <a:pt x="3927" y="0"/>
                </a:lnTo>
                <a:lnTo>
                  <a:pt x="1964" y="0"/>
                </a:lnTo>
                <a:cubicBezTo>
                  <a:pt x="1964" y="0"/>
                  <a:pt x="1964" y="21600"/>
                  <a:pt x="1964" y="21600"/>
                </a:cubicBezTo>
                <a:close/>
                <a:moveTo>
                  <a:pt x="6873" y="21600"/>
                </a:moveTo>
                <a:lnTo>
                  <a:pt x="9327" y="21600"/>
                </a:lnTo>
                <a:lnTo>
                  <a:pt x="9327" y="0"/>
                </a:lnTo>
                <a:lnTo>
                  <a:pt x="6873" y="0"/>
                </a:lnTo>
                <a:cubicBezTo>
                  <a:pt x="6873" y="0"/>
                  <a:pt x="6873" y="21600"/>
                  <a:pt x="6873" y="21600"/>
                </a:cubicBezTo>
                <a:close/>
                <a:moveTo>
                  <a:pt x="10309" y="21600"/>
                </a:moveTo>
                <a:lnTo>
                  <a:pt x="11291" y="21600"/>
                </a:lnTo>
                <a:lnTo>
                  <a:pt x="11291" y="0"/>
                </a:lnTo>
                <a:lnTo>
                  <a:pt x="10309" y="0"/>
                </a:lnTo>
                <a:cubicBezTo>
                  <a:pt x="10309" y="0"/>
                  <a:pt x="10309" y="21600"/>
                  <a:pt x="10309" y="216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1" name="Shape 2671"/>
          <p:cNvSpPr/>
          <p:nvPr/>
        </p:nvSpPr>
        <p:spPr>
          <a:xfrm>
            <a:off x="6024631" y="6052650"/>
            <a:ext cx="558654" cy="5586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5421"/>
                </a:moveTo>
                <a:cubicBezTo>
                  <a:pt x="10666" y="15276"/>
                  <a:pt x="10995" y="15082"/>
                  <a:pt x="11291" y="14845"/>
                </a:cubicBezTo>
                <a:lnTo>
                  <a:pt x="11291" y="8719"/>
                </a:lnTo>
                <a:cubicBezTo>
                  <a:pt x="10995" y="8482"/>
                  <a:pt x="10666" y="8287"/>
                  <a:pt x="10309" y="8143"/>
                </a:cubicBezTo>
                <a:cubicBezTo>
                  <a:pt x="10309" y="8143"/>
                  <a:pt x="10309" y="15421"/>
                  <a:pt x="10309" y="15421"/>
                </a:cubicBezTo>
                <a:close/>
                <a:moveTo>
                  <a:pt x="12273" y="13681"/>
                </a:moveTo>
                <a:cubicBezTo>
                  <a:pt x="12585" y="13118"/>
                  <a:pt x="12764" y="12471"/>
                  <a:pt x="12764" y="11782"/>
                </a:cubicBezTo>
                <a:cubicBezTo>
                  <a:pt x="12764" y="11092"/>
                  <a:pt x="12585" y="10445"/>
                  <a:pt x="12273" y="9882"/>
                </a:cubicBezTo>
                <a:cubicBezTo>
                  <a:pt x="12273" y="9882"/>
                  <a:pt x="12273" y="13681"/>
                  <a:pt x="12273" y="13681"/>
                </a:cubicBezTo>
                <a:close/>
                <a:moveTo>
                  <a:pt x="5891" y="14373"/>
                </a:moveTo>
                <a:lnTo>
                  <a:pt x="5891" y="9190"/>
                </a:lnTo>
                <a:cubicBezTo>
                  <a:pt x="5282" y="9882"/>
                  <a:pt x="4909" y="10788"/>
                  <a:pt x="4909" y="11782"/>
                </a:cubicBezTo>
                <a:cubicBezTo>
                  <a:pt x="4909" y="12776"/>
                  <a:pt x="5282" y="13681"/>
                  <a:pt x="5891" y="14373"/>
                </a:cubicBezTo>
                <a:moveTo>
                  <a:pt x="6873" y="8384"/>
                </a:moveTo>
                <a:lnTo>
                  <a:pt x="6873" y="15179"/>
                </a:lnTo>
                <a:cubicBezTo>
                  <a:pt x="7451" y="15514"/>
                  <a:pt x="8120" y="15709"/>
                  <a:pt x="8836" y="15709"/>
                </a:cubicBezTo>
                <a:cubicBezTo>
                  <a:pt x="9003" y="15709"/>
                  <a:pt x="9166" y="15696"/>
                  <a:pt x="9327" y="15675"/>
                </a:cubicBezTo>
                <a:lnTo>
                  <a:pt x="9327" y="7888"/>
                </a:lnTo>
                <a:cubicBezTo>
                  <a:pt x="9166" y="7868"/>
                  <a:pt x="9003" y="7854"/>
                  <a:pt x="8836" y="7854"/>
                </a:cubicBezTo>
                <a:cubicBezTo>
                  <a:pt x="8120" y="7854"/>
                  <a:pt x="7451" y="8049"/>
                  <a:pt x="6873" y="8384"/>
                </a:cubicBezTo>
                <a:moveTo>
                  <a:pt x="20618" y="0"/>
                </a:moveTo>
                <a:lnTo>
                  <a:pt x="19636" y="0"/>
                </a:lnTo>
                <a:lnTo>
                  <a:pt x="19636" y="15709"/>
                </a:ln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8836" y="17672"/>
                </a:moveTo>
                <a:cubicBezTo>
                  <a:pt x="5583" y="17672"/>
                  <a:pt x="2945" y="15035"/>
                  <a:pt x="2945" y="11782"/>
                </a:cubicBezTo>
                <a:cubicBezTo>
                  <a:pt x="2945" y="8528"/>
                  <a:pt x="5583" y="5891"/>
                  <a:pt x="8836" y="5891"/>
                </a:cubicBezTo>
                <a:cubicBezTo>
                  <a:pt x="12090" y="5891"/>
                  <a:pt x="14727" y="8528"/>
                  <a:pt x="14727" y="11782"/>
                </a:cubicBezTo>
                <a:cubicBezTo>
                  <a:pt x="14727" y="15035"/>
                  <a:pt x="12090" y="17672"/>
                  <a:pt x="8836" y="17672"/>
                </a:cubicBezTo>
                <a:moveTo>
                  <a:pt x="14027" y="16277"/>
                </a:moveTo>
                <a:cubicBezTo>
                  <a:pt x="15072" y="15072"/>
                  <a:pt x="15709" y="13503"/>
                  <a:pt x="15709" y="11782"/>
                </a:cubicBezTo>
                <a:cubicBezTo>
                  <a:pt x="15709" y="7986"/>
                  <a:pt x="12632" y="4909"/>
                  <a:pt x="8836" y="4909"/>
                </a:cubicBezTo>
                <a:cubicBezTo>
                  <a:pt x="5041" y="4909"/>
                  <a:pt x="1964" y="7986"/>
                  <a:pt x="1964" y="11782"/>
                </a:cubicBezTo>
                <a:cubicBezTo>
                  <a:pt x="1964" y="15577"/>
                  <a:pt x="5041" y="18654"/>
                  <a:pt x="8836" y="18654"/>
                </a:cubicBezTo>
                <a:cubicBezTo>
                  <a:pt x="10557" y="18654"/>
                  <a:pt x="12127" y="18017"/>
                  <a:pt x="13333" y="16972"/>
                </a:cubicBezTo>
                <a:lnTo>
                  <a:pt x="17817" y="21456"/>
                </a:lnTo>
                <a:cubicBezTo>
                  <a:pt x="17905" y="21545"/>
                  <a:pt x="18028" y="21600"/>
                  <a:pt x="18164" y="21600"/>
                </a:cubicBezTo>
                <a:cubicBezTo>
                  <a:pt x="18434" y="21600"/>
                  <a:pt x="18655" y="21380"/>
                  <a:pt x="18655" y="21109"/>
                </a:cubicBezTo>
                <a:cubicBezTo>
                  <a:pt x="18655" y="20974"/>
                  <a:pt x="18600" y="20851"/>
                  <a:pt x="18511" y="20762"/>
                </a:cubicBezTo>
                <a:cubicBezTo>
                  <a:pt x="18511" y="20762"/>
                  <a:pt x="14027" y="16277"/>
                  <a:pt x="14027" y="16277"/>
                </a:cubicBezTo>
                <a:close/>
                <a:moveTo>
                  <a:pt x="17673" y="15709"/>
                </a:moveTo>
                <a:lnTo>
                  <a:pt x="18655" y="15709"/>
                </a:lnTo>
                <a:lnTo>
                  <a:pt x="18655" y="0"/>
                </a:lnTo>
                <a:lnTo>
                  <a:pt x="17673" y="0"/>
                </a:lnTo>
                <a:cubicBezTo>
                  <a:pt x="17673" y="0"/>
                  <a:pt x="17673" y="15709"/>
                  <a:pt x="17673" y="15709"/>
                </a:cubicBezTo>
                <a:close/>
                <a:moveTo>
                  <a:pt x="16691" y="15709"/>
                </a:moveTo>
                <a:lnTo>
                  <a:pt x="16691" y="11783"/>
                </a:lnTo>
                <a:cubicBezTo>
                  <a:pt x="16691" y="13214"/>
                  <a:pt x="16301" y="14553"/>
                  <a:pt x="15631" y="15709"/>
                </a:cubicBezTo>
                <a:cubicBezTo>
                  <a:pt x="15631" y="15709"/>
                  <a:pt x="16691" y="15709"/>
                  <a:pt x="16691" y="15709"/>
                </a:cubicBezTo>
                <a:close/>
                <a:moveTo>
                  <a:pt x="16691" y="0"/>
                </a:moveTo>
                <a:lnTo>
                  <a:pt x="14236" y="0"/>
                </a:lnTo>
                <a:lnTo>
                  <a:pt x="14236" y="6088"/>
                </a:lnTo>
                <a:cubicBezTo>
                  <a:pt x="15745" y="7519"/>
                  <a:pt x="16691" y="9538"/>
                  <a:pt x="16691" y="11781"/>
                </a:cubicBezTo>
                <a:cubicBezTo>
                  <a:pt x="16691" y="11781"/>
                  <a:pt x="16691" y="0"/>
                  <a:pt x="16691" y="0"/>
                </a:cubicBezTo>
                <a:close/>
                <a:moveTo>
                  <a:pt x="11291" y="0"/>
                </a:moveTo>
                <a:lnTo>
                  <a:pt x="10309" y="0"/>
                </a:lnTo>
                <a:lnTo>
                  <a:pt x="10309" y="4070"/>
                </a:lnTo>
                <a:cubicBezTo>
                  <a:pt x="10645" y="4134"/>
                  <a:pt x="10972" y="4219"/>
                  <a:pt x="11291" y="4324"/>
                </a:cubicBezTo>
                <a:cubicBezTo>
                  <a:pt x="11291" y="4324"/>
                  <a:pt x="11291" y="0"/>
                  <a:pt x="11291" y="0"/>
                </a:cubicBezTo>
                <a:close/>
                <a:moveTo>
                  <a:pt x="1964" y="15709"/>
                </a:moveTo>
                <a:lnTo>
                  <a:pt x="2041" y="15709"/>
                </a:lnTo>
                <a:cubicBezTo>
                  <a:pt x="2016" y="15666"/>
                  <a:pt x="1988" y="15625"/>
                  <a:pt x="1964" y="15581"/>
                </a:cubicBezTo>
                <a:cubicBezTo>
                  <a:pt x="1964" y="15581"/>
                  <a:pt x="1964" y="15709"/>
                  <a:pt x="1964" y="15709"/>
                </a:cubicBezTo>
                <a:close/>
                <a:moveTo>
                  <a:pt x="13255" y="0"/>
                </a:moveTo>
                <a:lnTo>
                  <a:pt x="12273" y="0"/>
                </a:lnTo>
                <a:lnTo>
                  <a:pt x="12273" y="4727"/>
                </a:lnTo>
                <a:cubicBezTo>
                  <a:pt x="12613" y="4894"/>
                  <a:pt x="12944" y="5077"/>
                  <a:pt x="13255" y="5289"/>
                </a:cubicBezTo>
                <a:cubicBezTo>
                  <a:pt x="13255" y="5289"/>
                  <a:pt x="13255" y="0"/>
                  <a:pt x="13255" y="0"/>
                </a:cubicBezTo>
                <a:close/>
                <a:moveTo>
                  <a:pt x="9327" y="3952"/>
                </a:moveTo>
                <a:lnTo>
                  <a:pt x="9327" y="0"/>
                </a:lnTo>
                <a:lnTo>
                  <a:pt x="6873" y="0"/>
                </a:lnTo>
                <a:lnTo>
                  <a:pt x="6873" y="4185"/>
                </a:lnTo>
                <a:cubicBezTo>
                  <a:pt x="7501" y="4023"/>
                  <a:pt x="8157" y="3927"/>
                  <a:pt x="8836" y="3927"/>
                </a:cubicBezTo>
                <a:cubicBezTo>
                  <a:pt x="9002" y="3927"/>
                  <a:pt x="9164" y="3942"/>
                  <a:pt x="9327" y="3952"/>
                </a:cubicBezTo>
                <a:moveTo>
                  <a:pt x="5891" y="0"/>
                </a:moveTo>
                <a:lnTo>
                  <a:pt x="4909" y="0"/>
                </a:lnTo>
                <a:lnTo>
                  <a:pt x="4909" y="4987"/>
                </a:lnTo>
                <a:cubicBezTo>
                  <a:pt x="5224" y="4804"/>
                  <a:pt x="5551" y="4641"/>
                  <a:pt x="5891" y="4504"/>
                </a:cubicBezTo>
                <a:cubicBezTo>
                  <a:pt x="5891" y="4504"/>
                  <a:pt x="5891" y="0"/>
                  <a:pt x="5891" y="0"/>
                </a:cubicBezTo>
                <a:close/>
                <a:moveTo>
                  <a:pt x="0" y="982"/>
                </a:move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moveTo>
                  <a:pt x="3927" y="5656"/>
                </a:moveTo>
                <a:lnTo>
                  <a:pt x="3927" y="0"/>
                </a:lnTo>
                <a:lnTo>
                  <a:pt x="1964" y="0"/>
                </a:lnTo>
                <a:lnTo>
                  <a:pt x="1964" y="7982"/>
                </a:lnTo>
                <a:cubicBezTo>
                  <a:pt x="2462" y="7084"/>
                  <a:pt x="3131" y="6294"/>
                  <a:pt x="3927" y="565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2" name="Shape 2672"/>
          <p:cNvSpPr/>
          <p:nvPr/>
        </p:nvSpPr>
        <p:spPr>
          <a:xfrm>
            <a:off x="7091154" y="6128834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21600"/>
                </a:moveTo>
                <a:lnTo>
                  <a:pt x="11782" y="21600"/>
                </a:lnTo>
                <a:lnTo>
                  <a:pt x="11782" y="17550"/>
                </a:lnTo>
                <a:lnTo>
                  <a:pt x="9818" y="17550"/>
                </a:lnTo>
                <a:cubicBezTo>
                  <a:pt x="9818" y="17550"/>
                  <a:pt x="9818" y="21600"/>
                  <a:pt x="9818" y="21600"/>
                </a:cubicBezTo>
                <a:close/>
                <a:moveTo>
                  <a:pt x="7855" y="21600"/>
                </a:moveTo>
                <a:lnTo>
                  <a:pt x="8836" y="21600"/>
                </a:lnTo>
                <a:lnTo>
                  <a:pt x="8836" y="17550"/>
                </a:lnTo>
                <a:lnTo>
                  <a:pt x="7855" y="17550"/>
                </a:lnTo>
                <a:cubicBezTo>
                  <a:pt x="7855" y="17550"/>
                  <a:pt x="7855" y="21600"/>
                  <a:pt x="7855" y="21600"/>
                </a:cubicBezTo>
                <a:close/>
                <a:moveTo>
                  <a:pt x="2945" y="21600"/>
                </a:moveTo>
                <a:lnTo>
                  <a:pt x="3927" y="21600"/>
                </a:lnTo>
                <a:lnTo>
                  <a:pt x="3927" y="17550"/>
                </a:lnTo>
                <a:lnTo>
                  <a:pt x="2945" y="17550"/>
                </a:lnTo>
                <a:cubicBezTo>
                  <a:pt x="2945" y="17550"/>
                  <a:pt x="2945" y="21600"/>
                  <a:pt x="2945" y="21600"/>
                </a:cubicBezTo>
                <a:close/>
                <a:moveTo>
                  <a:pt x="4909" y="21600"/>
                </a:moveTo>
                <a:lnTo>
                  <a:pt x="6873" y="21600"/>
                </a:lnTo>
                <a:lnTo>
                  <a:pt x="6873" y="17550"/>
                </a:lnTo>
                <a:lnTo>
                  <a:pt x="4909" y="17550"/>
                </a:lnTo>
                <a:cubicBezTo>
                  <a:pt x="4909" y="17550"/>
                  <a:pt x="4909" y="21600"/>
                  <a:pt x="4909" y="21600"/>
                </a:cubicBezTo>
                <a:close/>
                <a:moveTo>
                  <a:pt x="12764" y="21600"/>
                </a:moveTo>
                <a:lnTo>
                  <a:pt x="13745" y="21600"/>
                </a:lnTo>
                <a:lnTo>
                  <a:pt x="13745" y="17550"/>
                </a:lnTo>
                <a:lnTo>
                  <a:pt x="12764" y="17550"/>
                </a:lnTo>
                <a:cubicBezTo>
                  <a:pt x="12764" y="17550"/>
                  <a:pt x="12764" y="21600"/>
                  <a:pt x="12764" y="21600"/>
                </a:cubicBezTo>
                <a:close/>
                <a:moveTo>
                  <a:pt x="20618" y="14850"/>
                </a:moveTo>
                <a:lnTo>
                  <a:pt x="982" y="14850"/>
                </a:lnTo>
                <a:lnTo>
                  <a:pt x="982" y="13500"/>
                </a:lnTo>
                <a:lnTo>
                  <a:pt x="20618" y="13500"/>
                </a:lnTo>
                <a:cubicBezTo>
                  <a:pt x="20618" y="13500"/>
                  <a:pt x="20618" y="14850"/>
                  <a:pt x="20618" y="14850"/>
                </a:cubicBezTo>
                <a:close/>
                <a:moveTo>
                  <a:pt x="20618" y="12150"/>
                </a:moveTo>
                <a:lnTo>
                  <a:pt x="982" y="12150"/>
                </a:lnTo>
                <a:cubicBezTo>
                  <a:pt x="440" y="12150"/>
                  <a:pt x="0" y="12755"/>
                  <a:pt x="0" y="13500"/>
                </a:cubicBezTo>
                <a:lnTo>
                  <a:pt x="0" y="14850"/>
                </a:lnTo>
                <a:cubicBezTo>
                  <a:pt x="0" y="15595"/>
                  <a:pt x="440" y="16200"/>
                  <a:pt x="982" y="16200"/>
                </a:cubicBezTo>
                <a:lnTo>
                  <a:pt x="20618" y="16200"/>
                </a:lnTo>
                <a:cubicBezTo>
                  <a:pt x="21160" y="16200"/>
                  <a:pt x="21600" y="15595"/>
                  <a:pt x="21600" y="14850"/>
                </a:cubicBezTo>
                <a:lnTo>
                  <a:pt x="21600" y="13500"/>
                </a:lnTo>
                <a:cubicBezTo>
                  <a:pt x="21600" y="12755"/>
                  <a:pt x="21160" y="12150"/>
                  <a:pt x="20618" y="12150"/>
                </a:cubicBezTo>
                <a:moveTo>
                  <a:pt x="982" y="20250"/>
                </a:moveTo>
                <a:cubicBezTo>
                  <a:pt x="982" y="20996"/>
                  <a:pt x="1422" y="21600"/>
                  <a:pt x="1964" y="21600"/>
                </a:cubicBezTo>
                <a:lnTo>
                  <a:pt x="1964" y="17550"/>
                </a:lnTo>
                <a:lnTo>
                  <a:pt x="982" y="17550"/>
                </a:lnTo>
                <a:cubicBezTo>
                  <a:pt x="982" y="17550"/>
                  <a:pt x="982" y="20250"/>
                  <a:pt x="982" y="20250"/>
                </a:cubicBezTo>
                <a:close/>
                <a:moveTo>
                  <a:pt x="16691" y="21600"/>
                </a:moveTo>
                <a:lnTo>
                  <a:pt x="17673" y="21600"/>
                </a:lnTo>
                <a:lnTo>
                  <a:pt x="17673" y="17550"/>
                </a:lnTo>
                <a:lnTo>
                  <a:pt x="16691" y="17550"/>
                </a:lnTo>
                <a:cubicBezTo>
                  <a:pt x="16691" y="17550"/>
                  <a:pt x="16691" y="21600"/>
                  <a:pt x="16691" y="21600"/>
                </a:cubicBezTo>
                <a:close/>
                <a:moveTo>
                  <a:pt x="14727" y="21600"/>
                </a:moveTo>
                <a:lnTo>
                  <a:pt x="15709" y="21600"/>
                </a:lnTo>
                <a:lnTo>
                  <a:pt x="15709" y="17550"/>
                </a:lnTo>
                <a:lnTo>
                  <a:pt x="14727" y="17550"/>
                </a:lnTo>
                <a:cubicBezTo>
                  <a:pt x="14727" y="17550"/>
                  <a:pt x="14727" y="21600"/>
                  <a:pt x="14727" y="21600"/>
                </a:cubicBezTo>
                <a:close/>
                <a:moveTo>
                  <a:pt x="18655" y="21600"/>
                </a:moveTo>
                <a:lnTo>
                  <a:pt x="19636" y="21600"/>
                </a:lnTo>
                <a:cubicBezTo>
                  <a:pt x="20178" y="21600"/>
                  <a:pt x="20618" y="20996"/>
                  <a:pt x="20618" y="20250"/>
                </a:cubicBezTo>
                <a:lnTo>
                  <a:pt x="20618" y="17550"/>
                </a:lnTo>
                <a:lnTo>
                  <a:pt x="18655" y="17550"/>
                </a:lnTo>
                <a:cubicBezTo>
                  <a:pt x="18655" y="17550"/>
                  <a:pt x="18655" y="21600"/>
                  <a:pt x="18655" y="21600"/>
                </a:cubicBezTo>
                <a:close/>
                <a:moveTo>
                  <a:pt x="15709" y="0"/>
                </a:moveTo>
                <a:lnTo>
                  <a:pt x="14727" y="0"/>
                </a:lnTo>
                <a:lnTo>
                  <a:pt x="14727" y="10800"/>
                </a:lnTo>
                <a:lnTo>
                  <a:pt x="15709" y="10800"/>
                </a:lnTo>
                <a:cubicBezTo>
                  <a:pt x="15709" y="10800"/>
                  <a:pt x="15709" y="0"/>
                  <a:pt x="15709" y="0"/>
                </a:cubicBezTo>
                <a:close/>
                <a:moveTo>
                  <a:pt x="20618" y="1350"/>
                </a:moveTo>
                <a:cubicBezTo>
                  <a:pt x="20618" y="605"/>
                  <a:pt x="20178" y="0"/>
                  <a:pt x="19636" y="0"/>
                </a:cubicBezTo>
                <a:lnTo>
                  <a:pt x="18655" y="0"/>
                </a:lnTo>
                <a:lnTo>
                  <a:pt x="18655" y="10800"/>
                </a:lnTo>
                <a:lnTo>
                  <a:pt x="20618" y="10800"/>
                </a:lnTo>
                <a:cubicBezTo>
                  <a:pt x="20618" y="10800"/>
                  <a:pt x="20618" y="1350"/>
                  <a:pt x="20618" y="1350"/>
                </a:cubicBezTo>
                <a:close/>
                <a:moveTo>
                  <a:pt x="13745" y="0"/>
                </a:moveTo>
                <a:lnTo>
                  <a:pt x="12764" y="0"/>
                </a:lnTo>
                <a:lnTo>
                  <a:pt x="12764" y="10800"/>
                </a:lnTo>
                <a:lnTo>
                  <a:pt x="13745" y="10800"/>
                </a:lnTo>
                <a:cubicBezTo>
                  <a:pt x="13745" y="10800"/>
                  <a:pt x="13745" y="0"/>
                  <a:pt x="13745" y="0"/>
                </a:cubicBezTo>
                <a:close/>
                <a:moveTo>
                  <a:pt x="17673" y="0"/>
                </a:moveTo>
                <a:lnTo>
                  <a:pt x="16691" y="0"/>
                </a:lnTo>
                <a:lnTo>
                  <a:pt x="16691" y="10800"/>
                </a:lnTo>
                <a:lnTo>
                  <a:pt x="17673" y="10800"/>
                </a:lnTo>
                <a:cubicBezTo>
                  <a:pt x="17673" y="10800"/>
                  <a:pt x="17673" y="0"/>
                  <a:pt x="17673" y="0"/>
                </a:cubicBezTo>
                <a:close/>
                <a:moveTo>
                  <a:pt x="1964" y="0"/>
                </a:moveTo>
                <a:cubicBezTo>
                  <a:pt x="1422" y="0"/>
                  <a:pt x="982" y="605"/>
                  <a:pt x="982" y="1350"/>
                </a:cubicBezTo>
                <a:lnTo>
                  <a:pt x="982" y="10800"/>
                </a:lnTo>
                <a:lnTo>
                  <a:pt x="1964" y="10800"/>
                </a:lnTo>
                <a:cubicBezTo>
                  <a:pt x="1964" y="10800"/>
                  <a:pt x="1964" y="0"/>
                  <a:pt x="1964" y="0"/>
                </a:cubicBezTo>
                <a:close/>
                <a:moveTo>
                  <a:pt x="3927" y="0"/>
                </a:moveTo>
                <a:lnTo>
                  <a:pt x="2945" y="0"/>
                </a:lnTo>
                <a:lnTo>
                  <a:pt x="2945" y="10800"/>
                </a:lnTo>
                <a:lnTo>
                  <a:pt x="3927" y="10800"/>
                </a:lnTo>
                <a:cubicBezTo>
                  <a:pt x="3927" y="10800"/>
                  <a:pt x="3927" y="0"/>
                  <a:pt x="3927" y="0"/>
                </a:cubicBezTo>
                <a:close/>
                <a:moveTo>
                  <a:pt x="6873" y="0"/>
                </a:moveTo>
                <a:lnTo>
                  <a:pt x="4909" y="0"/>
                </a:lnTo>
                <a:lnTo>
                  <a:pt x="4909" y="10800"/>
                </a:lnTo>
                <a:lnTo>
                  <a:pt x="6873" y="10800"/>
                </a:lnTo>
                <a:cubicBezTo>
                  <a:pt x="6873" y="10800"/>
                  <a:pt x="6873" y="0"/>
                  <a:pt x="6873" y="0"/>
                </a:cubicBezTo>
                <a:close/>
                <a:moveTo>
                  <a:pt x="8836" y="0"/>
                </a:moveTo>
                <a:lnTo>
                  <a:pt x="7855" y="0"/>
                </a:lnTo>
                <a:lnTo>
                  <a:pt x="7855" y="10800"/>
                </a:lnTo>
                <a:lnTo>
                  <a:pt x="8836" y="10800"/>
                </a:lnTo>
                <a:cubicBezTo>
                  <a:pt x="8836" y="10800"/>
                  <a:pt x="8836" y="0"/>
                  <a:pt x="8836" y="0"/>
                </a:cubicBezTo>
                <a:close/>
                <a:moveTo>
                  <a:pt x="11782" y="0"/>
                </a:moveTo>
                <a:lnTo>
                  <a:pt x="9818" y="0"/>
                </a:lnTo>
                <a:lnTo>
                  <a:pt x="9818" y="10800"/>
                </a:lnTo>
                <a:lnTo>
                  <a:pt x="11782" y="10800"/>
                </a:lnTo>
                <a:cubicBezTo>
                  <a:pt x="11782" y="10800"/>
                  <a:pt x="11782" y="0"/>
                  <a:pt x="11782" y="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3" name="Shape 2673"/>
          <p:cNvSpPr/>
          <p:nvPr/>
        </p:nvSpPr>
        <p:spPr>
          <a:xfrm>
            <a:off x="8157677" y="605265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0309"/>
                </a:moveTo>
                <a:cubicBezTo>
                  <a:pt x="2726" y="10309"/>
                  <a:pt x="2945" y="10090"/>
                  <a:pt x="2945" y="9818"/>
                </a:cubicBezTo>
                <a:cubicBezTo>
                  <a:pt x="2945" y="9547"/>
                  <a:pt x="2726" y="9327"/>
                  <a:pt x="2455" y="9327"/>
                </a:cubicBezTo>
                <a:cubicBezTo>
                  <a:pt x="2183" y="9327"/>
                  <a:pt x="1964" y="9547"/>
                  <a:pt x="1964" y="9818"/>
                </a:cubicBezTo>
                <a:cubicBezTo>
                  <a:pt x="1964" y="10090"/>
                  <a:pt x="2183" y="10309"/>
                  <a:pt x="2455" y="10309"/>
                </a:cubicBezTo>
                <a:moveTo>
                  <a:pt x="20618" y="11782"/>
                </a:moveTo>
                <a:lnTo>
                  <a:pt x="982" y="11782"/>
                </a:ln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1782"/>
                  <a:pt x="20618" y="11782"/>
                </a:cubicBezTo>
                <a:close/>
                <a:moveTo>
                  <a:pt x="2945" y="982"/>
                </a:moveTo>
                <a:lnTo>
                  <a:pt x="14727" y="982"/>
                </a:lnTo>
                <a:lnTo>
                  <a:pt x="14727" y="4418"/>
                </a:lnTo>
                <a:cubicBezTo>
                  <a:pt x="14727" y="4690"/>
                  <a:pt x="14947" y="4909"/>
                  <a:pt x="15218" y="4909"/>
                </a:cubicBezTo>
                <a:lnTo>
                  <a:pt x="18655" y="4909"/>
                </a:lnTo>
                <a:lnTo>
                  <a:pt x="18655" y="6873"/>
                </a:lnTo>
                <a:lnTo>
                  <a:pt x="2945" y="6873"/>
                </a:lnTo>
                <a:cubicBezTo>
                  <a:pt x="2945" y="6873"/>
                  <a:pt x="2945" y="982"/>
                  <a:pt x="2945" y="982"/>
                </a:cubicBezTo>
                <a:close/>
                <a:moveTo>
                  <a:pt x="15709" y="1473"/>
                </a:moveTo>
                <a:lnTo>
                  <a:pt x="18164" y="3927"/>
                </a:lnTo>
                <a:lnTo>
                  <a:pt x="15709" y="3927"/>
                </a:lnTo>
                <a:cubicBezTo>
                  <a:pt x="15709" y="3927"/>
                  <a:pt x="15709" y="1473"/>
                  <a:pt x="15709" y="1473"/>
                </a:cubicBezTo>
                <a:close/>
                <a:moveTo>
                  <a:pt x="20618" y="6873"/>
                </a:moveTo>
                <a:lnTo>
                  <a:pt x="19636" y="6873"/>
                </a:lnTo>
                <a:lnTo>
                  <a:pt x="19636" y="3927"/>
                </a:lnTo>
                <a:lnTo>
                  <a:pt x="15709" y="0"/>
                </a:lnTo>
                <a:lnTo>
                  <a:pt x="2945" y="0"/>
                </a:lnTo>
                <a:cubicBezTo>
                  <a:pt x="2403" y="0"/>
                  <a:pt x="1964" y="440"/>
                  <a:pt x="1964" y="982"/>
                </a:cubicBezTo>
                <a:lnTo>
                  <a:pt x="1964" y="6873"/>
                </a:lnTo>
                <a:lnTo>
                  <a:pt x="982" y="6873"/>
                </a:lnTo>
                <a:cubicBezTo>
                  <a:pt x="439" y="6873"/>
                  <a:pt x="0" y="7313"/>
                  <a:pt x="0" y="7855"/>
                </a:cubicBezTo>
                <a:lnTo>
                  <a:pt x="0" y="11782"/>
                </a:lnTo>
                <a:cubicBezTo>
                  <a:pt x="0" y="12324"/>
                  <a:pt x="439" y="12764"/>
                  <a:pt x="982" y="12764"/>
                </a:cubicBezTo>
                <a:lnTo>
                  <a:pt x="1964" y="12764"/>
                </a:lnTo>
                <a:lnTo>
                  <a:pt x="1964" y="21109"/>
                </a:lnTo>
                <a:cubicBezTo>
                  <a:pt x="1964" y="21381"/>
                  <a:pt x="2183" y="21600"/>
                  <a:pt x="2455" y="21600"/>
                </a:cubicBezTo>
                <a:cubicBezTo>
                  <a:pt x="2726" y="21600"/>
                  <a:pt x="2945" y="21381"/>
                  <a:pt x="2945" y="21109"/>
                </a:cubicBezTo>
                <a:lnTo>
                  <a:pt x="2945" y="12764"/>
                </a:lnTo>
                <a:lnTo>
                  <a:pt x="3927" y="12764"/>
                </a:ln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cubicBezTo>
                  <a:pt x="4690" y="18655"/>
                  <a:pt x="4909" y="18435"/>
                  <a:pt x="4909" y="18164"/>
                </a:cubicBezTo>
                <a:lnTo>
                  <a:pt x="4909" y="12764"/>
                </a:lnTo>
                <a:lnTo>
                  <a:pt x="5891" y="12764"/>
                </a:lnTo>
                <a:lnTo>
                  <a:pt x="5891" y="15218"/>
                </a:lnTo>
                <a:cubicBezTo>
                  <a:pt x="5891" y="15490"/>
                  <a:pt x="6110" y="15709"/>
                  <a:pt x="6382" y="15709"/>
                </a:cubicBezTo>
                <a:cubicBezTo>
                  <a:pt x="6653" y="15709"/>
                  <a:pt x="6873" y="15490"/>
                  <a:pt x="6873" y="15218"/>
                </a:cubicBezTo>
                <a:lnTo>
                  <a:pt x="6873" y="12764"/>
                </a:lnTo>
                <a:lnTo>
                  <a:pt x="7855" y="12764"/>
                </a:lnTo>
                <a:lnTo>
                  <a:pt x="7855" y="20127"/>
                </a:lnTo>
                <a:cubicBezTo>
                  <a:pt x="7855" y="20399"/>
                  <a:pt x="8074" y="20618"/>
                  <a:pt x="8345" y="20618"/>
                </a:cubicBezTo>
                <a:cubicBezTo>
                  <a:pt x="8617" y="20618"/>
                  <a:pt x="8836" y="20399"/>
                  <a:pt x="8836" y="20127"/>
                </a:cubicBezTo>
                <a:lnTo>
                  <a:pt x="8836" y="12764"/>
                </a:lnTo>
                <a:lnTo>
                  <a:pt x="10309" y="12764"/>
                </a:lnTo>
                <a:lnTo>
                  <a:pt x="10309" y="19145"/>
                </a:lnTo>
                <a:cubicBezTo>
                  <a:pt x="10309" y="19417"/>
                  <a:pt x="10529" y="19636"/>
                  <a:pt x="10800" y="19636"/>
                </a:cubicBezTo>
                <a:cubicBezTo>
                  <a:pt x="11071" y="19636"/>
                  <a:pt x="11291" y="19417"/>
                  <a:pt x="11291" y="19145"/>
                </a:cubicBezTo>
                <a:lnTo>
                  <a:pt x="11291" y="12764"/>
                </a:lnTo>
                <a:lnTo>
                  <a:pt x="12764" y="12764"/>
                </a:lnTo>
                <a:lnTo>
                  <a:pt x="12764" y="16200"/>
                </a:lnTo>
                <a:cubicBezTo>
                  <a:pt x="12764" y="16472"/>
                  <a:pt x="12983" y="16691"/>
                  <a:pt x="13255" y="16691"/>
                </a:cubicBezTo>
                <a:cubicBezTo>
                  <a:pt x="13526" y="16691"/>
                  <a:pt x="13745" y="16472"/>
                  <a:pt x="13745" y="16200"/>
                </a:cubicBezTo>
                <a:lnTo>
                  <a:pt x="13745" y="12764"/>
                </a:lnTo>
                <a:lnTo>
                  <a:pt x="14727" y="12764"/>
                </a:lnTo>
                <a:lnTo>
                  <a:pt x="14727" y="17182"/>
                </a:lnTo>
                <a:cubicBezTo>
                  <a:pt x="14727" y="17453"/>
                  <a:pt x="14947" y="17673"/>
                  <a:pt x="15218" y="17673"/>
                </a:cubicBezTo>
                <a:cubicBezTo>
                  <a:pt x="15490" y="17673"/>
                  <a:pt x="15709" y="17453"/>
                  <a:pt x="15709" y="17182"/>
                </a:cubicBezTo>
                <a:lnTo>
                  <a:pt x="15709" y="12764"/>
                </a:lnTo>
                <a:lnTo>
                  <a:pt x="16691" y="12764"/>
                </a:lnTo>
                <a:lnTo>
                  <a:pt x="16691" y="20127"/>
                </a:lnTo>
                <a:cubicBezTo>
                  <a:pt x="16691" y="20399"/>
                  <a:pt x="16910" y="20618"/>
                  <a:pt x="17182" y="20618"/>
                </a:cubicBezTo>
                <a:cubicBezTo>
                  <a:pt x="17453" y="20618"/>
                  <a:pt x="17673" y="20399"/>
                  <a:pt x="17673" y="20127"/>
                </a:cubicBezTo>
                <a:lnTo>
                  <a:pt x="17673" y="12764"/>
                </a:lnTo>
                <a:lnTo>
                  <a:pt x="18655" y="12764"/>
                </a:lnTo>
                <a:lnTo>
                  <a:pt x="18655" y="19145"/>
                </a:lnTo>
                <a:cubicBezTo>
                  <a:pt x="18655" y="19417"/>
                  <a:pt x="18874" y="19636"/>
                  <a:pt x="19145" y="19636"/>
                </a:cubicBezTo>
                <a:cubicBezTo>
                  <a:pt x="19417" y="19636"/>
                  <a:pt x="19636" y="19417"/>
                  <a:pt x="19636" y="19145"/>
                </a:cubicBezTo>
                <a:lnTo>
                  <a:pt x="19636" y="12764"/>
                </a:lnTo>
                <a:lnTo>
                  <a:pt x="20618" y="12764"/>
                </a:lnTo>
                <a:cubicBezTo>
                  <a:pt x="21160" y="12764"/>
                  <a:pt x="21600" y="12324"/>
                  <a:pt x="21600" y="11782"/>
                </a:cubicBezTo>
                <a:lnTo>
                  <a:pt x="21600" y="7855"/>
                </a:lnTo>
                <a:cubicBezTo>
                  <a:pt x="21600" y="7313"/>
                  <a:pt x="21160" y="6873"/>
                  <a:pt x="20618" y="6873"/>
                </a:cubicBezTo>
                <a:moveTo>
                  <a:pt x="4418" y="10309"/>
                </a:moveTo>
                <a:cubicBezTo>
                  <a:pt x="4690" y="10309"/>
                  <a:pt x="4909" y="10090"/>
                  <a:pt x="4909" y="9818"/>
                </a:cubicBezTo>
                <a:cubicBezTo>
                  <a:pt x="4909" y="9547"/>
                  <a:pt x="4690" y="9327"/>
                  <a:pt x="4418" y="9327"/>
                </a:cubicBezTo>
                <a:cubicBezTo>
                  <a:pt x="4147" y="9327"/>
                  <a:pt x="3927" y="9547"/>
                  <a:pt x="3927" y="9818"/>
                </a:cubicBezTo>
                <a:cubicBezTo>
                  <a:pt x="3927" y="10090"/>
                  <a:pt x="4147" y="10309"/>
                  <a:pt x="4418" y="10309"/>
                </a:cubicBezTo>
                <a:moveTo>
                  <a:pt x="12273" y="3927"/>
                </a:moveTo>
                <a:lnTo>
                  <a:pt x="5400" y="3927"/>
                </a:lnTo>
                <a:cubicBezTo>
                  <a:pt x="5129" y="3927"/>
                  <a:pt x="4909" y="4147"/>
                  <a:pt x="4909" y="4418"/>
                </a:cubicBezTo>
                <a:cubicBezTo>
                  <a:pt x="4909" y="4690"/>
                  <a:pt x="5129" y="4909"/>
                  <a:pt x="5400" y="4909"/>
                </a:cubicBezTo>
                <a:lnTo>
                  <a:pt x="12273" y="4909"/>
                </a:lnTo>
                <a:cubicBezTo>
                  <a:pt x="12544" y="4909"/>
                  <a:pt x="12764" y="4690"/>
                  <a:pt x="12764" y="4418"/>
                </a:cubicBezTo>
                <a:cubicBezTo>
                  <a:pt x="12764" y="4147"/>
                  <a:pt x="12544" y="3927"/>
                  <a:pt x="12273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4" name="Shape 2674"/>
          <p:cNvSpPr/>
          <p:nvPr/>
        </p:nvSpPr>
        <p:spPr>
          <a:xfrm>
            <a:off x="9249593" y="6052651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80" y="20121"/>
                </a:moveTo>
                <a:cubicBezTo>
                  <a:pt x="11880" y="20393"/>
                  <a:pt x="11637" y="20612"/>
                  <a:pt x="11337" y="20612"/>
                </a:cubicBezTo>
                <a:cubicBezTo>
                  <a:pt x="11181" y="20612"/>
                  <a:pt x="11043" y="20552"/>
                  <a:pt x="10944" y="20457"/>
                </a:cubicBezTo>
                <a:lnTo>
                  <a:pt x="10941" y="20459"/>
                </a:lnTo>
                <a:lnTo>
                  <a:pt x="10800" y="20342"/>
                </a:lnTo>
                <a:lnTo>
                  <a:pt x="10800" y="1256"/>
                </a:lnTo>
                <a:lnTo>
                  <a:pt x="10958" y="1126"/>
                </a:lnTo>
                <a:lnTo>
                  <a:pt x="10960" y="1127"/>
                </a:lnTo>
                <a:cubicBezTo>
                  <a:pt x="11057" y="1042"/>
                  <a:pt x="11190" y="987"/>
                  <a:pt x="11337" y="987"/>
                </a:cubicBezTo>
                <a:cubicBezTo>
                  <a:pt x="11637" y="987"/>
                  <a:pt x="11880" y="1208"/>
                  <a:pt x="11880" y="1479"/>
                </a:cubicBezTo>
                <a:cubicBezTo>
                  <a:pt x="11880" y="1479"/>
                  <a:pt x="11880" y="20121"/>
                  <a:pt x="11880" y="20121"/>
                </a:cubicBezTo>
                <a:close/>
                <a:moveTo>
                  <a:pt x="9720" y="19448"/>
                </a:moveTo>
                <a:lnTo>
                  <a:pt x="4320" y="14979"/>
                </a:lnTo>
                <a:lnTo>
                  <a:pt x="4320" y="6606"/>
                </a:lnTo>
                <a:lnTo>
                  <a:pt x="4562" y="6407"/>
                </a:lnTo>
                <a:lnTo>
                  <a:pt x="4559" y="6406"/>
                </a:lnTo>
                <a:lnTo>
                  <a:pt x="9720" y="2147"/>
                </a:lnTo>
                <a:cubicBezTo>
                  <a:pt x="9720" y="2147"/>
                  <a:pt x="9720" y="19448"/>
                  <a:pt x="9720" y="19448"/>
                </a:cubicBezTo>
                <a:close/>
                <a:moveTo>
                  <a:pt x="3240" y="14649"/>
                </a:moveTo>
                <a:cubicBezTo>
                  <a:pt x="2008" y="14285"/>
                  <a:pt x="1080" y="12700"/>
                  <a:pt x="1080" y="10800"/>
                </a:cubicBezTo>
                <a:cubicBezTo>
                  <a:pt x="1080" y="8900"/>
                  <a:pt x="2008" y="7315"/>
                  <a:pt x="3240" y="6952"/>
                </a:cubicBezTo>
                <a:cubicBezTo>
                  <a:pt x="3240" y="6952"/>
                  <a:pt x="3240" y="14649"/>
                  <a:pt x="3240" y="14649"/>
                </a:cubicBezTo>
                <a:close/>
                <a:moveTo>
                  <a:pt x="12966" y="1472"/>
                </a:moveTo>
                <a:cubicBezTo>
                  <a:pt x="12966" y="658"/>
                  <a:pt x="12238" y="0"/>
                  <a:pt x="11339" y="0"/>
                </a:cubicBezTo>
                <a:cubicBezTo>
                  <a:pt x="10880" y="0"/>
                  <a:pt x="10467" y="174"/>
                  <a:pt x="10170" y="451"/>
                </a:cubicBezTo>
                <a:lnTo>
                  <a:pt x="3565" y="5905"/>
                </a:lnTo>
                <a:cubicBezTo>
                  <a:pt x="1578" y="6050"/>
                  <a:pt x="0" y="8183"/>
                  <a:pt x="0" y="10800"/>
                </a:cubicBezTo>
                <a:cubicBezTo>
                  <a:pt x="0" y="13425"/>
                  <a:pt x="1588" y="15563"/>
                  <a:pt x="3585" y="15696"/>
                </a:cubicBezTo>
                <a:lnTo>
                  <a:pt x="10170" y="21149"/>
                </a:lnTo>
                <a:cubicBezTo>
                  <a:pt x="10466" y="21426"/>
                  <a:pt x="10879" y="21600"/>
                  <a:pt x="11339" y="21600"/>
                </a:cubicBezTo>
                <a:cubicBezTo>
                  <a:pt x="12238" y="21600"/>
                  <a:pt x="12966" y="20941"/>
                  <a:pt x="12966" y="20129"/>
                </a:cubicBezTo>
                <a:cubicBezTo>
                  <a:pt x="12966" y="20110"/>
                  <a:pt x="12961" y="20092"/>
                  <a:pt x="12960" y="20073"/>
                </a:cubicBezTo>
                <a:lnTo>
                  <a:pt x="12960" y="1527"/>
                </a:lnTo>
                <a:cubicBezTo>
                  <a:pt x="12961" y="1508"/>
                  <a:pt x="12966" y="1490"/>
                  <a:pt x="12966" y="1472"/>
                </a:cubicBezTo>
                <a:moveTo>
                  <a:pt x="19124" y="10800"/>
                </a:moveTo>
                <a:lnTo>
                  <a:pt x="21442" y="8693"/>
                </a:lnTo>
                <a:cubicBezTo>
                  <a:pt x="21540" y="8604"/>
                  <a:pt x="21600" y="8481"/>
                  <a:pt x="21600" y="8345"/>
                </a:cubicBezTo>
                <a:cubicBezTo>
                  <a:pt x="21600" y="8074"/>
                  <a:pt x="21358" y="7855"/>
                  <a:pt x="21060" y="7855"/>
                </a:cubicBezTo>
                <a:cubicBezTo>
                  <a:pt x="20911" y="7855"/>
                  <a:pt x="20776" y="7909"/>
                  <a:pt x="20678" y="7998"/>
                </a:cubicBezTo>
                <a:lnTo>
                  <a:pt x="18360" y="10106"/>
                </a:lnTo>
                <a:lnTo>
                  <a:pt x="16042" y="7998"/>
                </a:lnTo>
                <a:cubicBezTo>
                  <a:pt x="15944" y="7909"/>
                  <a:pt x="15809" y="7855"/>
                  <a:pt x="15660" y="7855"/>
                </a:cubicBezTo>
                <a:cubicBezTo>
                  <a:pt x="15362" y="7855"/>
                  <a:pt x="15120" y="8074"/>
                  <a:pt x="15120" y="8345"/>
                </a:cubicBezTo>
                <a:cubicBezTo>
                  <a:pt x="15120" y="8481"/>
                  <a:pt x="15180" y="8604"/>
                  <a:pt x="15278" y="8693"/>
                </a:cubicBezTo>
                <a:lnTo>
                  <a:pt x="17596" y="10800"/>
                </a:lnTo>
                <a:lnTo>
                  <a:pt x="15278" y="12907"/>
                </a:lnTo>
                <a:cubicBezTo>
                  <a:pt x="15180" y="12996"/>
                  <a:pt x="15120" y="13119"/>
                  <a:pt x="15120" y="13255"/>
                </a:cubicBezTo>
                <a:cubicBezTo>
                  <a:pt x="15120" y="13526"/>
                  <a:pt x="15362" y="13745"/>
                  <a:pt x="15660" y="13745"/>
                </a:cubicBezTo>
                <a:cubicBezTo>
                  <a:pt x="15809" y="13745"/>
                  <a:pt x="15944" y="13691"/>
                  <a:pt x="16042" y="13602"/>
                </a:cubicBezTo>
                <a:lnTo>
                  <a:pt x="18360" y="11494"/>
                </a:lnTo>
                <a:lnTo>
                  <a:pt x="20678" y="13602"/>
                </a:lnTo>
                <a:cubicBezTo>
                  <a:pt x="20776" y="13691"/>
                  <a:pt x="20911" y="13745"/>
                  <a:pt x="21060" y="13745"/>
                </a:cubicBezTo>
                <a:cubicBezTo>
                  <a:pt x="21358" y="13745"/>
                  <a:pt x="21600" y="13526"/>
                  <a:pt x="21600" y="13255"/>
                </a:cubicBezTo>
                <a:cubicBezTo>
                  <a:pt x="21600" y="13119"/>
                  <a:pt x="21540" y="12996"/>
                  <a:pt x="21442" y="12907"/>
                </a:cubicBezTo>
                <a:cubicBezTo>
                  <a:pt x="21442" y="12907"/>
                  <a:pt x="19124" y="10800"/>
                  <a:pt x="19124" y="108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5" name="Shape 2675"/>
          <p:cNvSpPr/>
          <p:nvPr/>
        </p:nvSpPr>
        <p:spPr>
          <a:xfrm>
            <a:off x="10417687" y="6052651"/>
            <a:ext cx="304871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90" y="20121"/>
                </a:moveTo>
                <a:cubicBezTo>
                  <a:pt x="19790" y="20393"/>
                  <a:pt x="19385" y="20612"/>
                  <a:pt x="18886" y="20612"/>
                </a:cubicBezTo>
                <a:cubicBezTo>
                  <a:pt x="18626" y="20612"/>
                  <a:pt x="18396" y="20552"/>
                  <a:pt x="18231" y="20457"/>
                </a:cubicBezTo>
                <a:lnTo>
                  <a:pt x="18227" y="20459"/>
                </a:lnTo>
                <a:lnTo>
                  <a:pt x="17991" y="20342"/>
                </a:lnTo>
                <a:lnTo>
                  <a:pt x="17991" y="1256"/>
                </a:lnTo>
                <a:lnTo>
                  <a:pt x="18255" y="1126"/>
                </a:lnTo>
                <a:lnTo>
                  <a:pt x="18258" y="1127"/>
                </a:lnTo>
                <a:cubicBezTo>
                  <a:pt x="18421" y="1042"/>
                  <a:pt x="18641" y="987"/>
                  <a:pt x="18886" y="987"/>
                </a:cubicBezTo>
                <a:cubicBezTo>
                  <a:pt x="19385" y="987"/>
                  <a:pt x="19790" y="1208"/>
                  <a:pt x="19790" y="1479"/>
                </a:cubicBezTo>
                <a:cubicBezTo>
                  <a:pt x="19790" y="1479"/>
                  <a:pt x="19790" y="20121"/>
                  <a:pt x="19790" y="20121"/>
                </a:cubicBezTo>
                <a:close/>
                <a:moveTo>
                  <a:pt x="16192" y="19448"/>
                </a:moveTo>
                <a:lnTo>
                  <a:pt x="7196" y="14978"/>
                </a:lnTo>
                <a:lnTo>
                  <a:pt x="7196" y="6607"/>
                </a:lnTo>
                <a:lnTo>
                  <a:pt x="7599" y="6407"/>
                </a:lnTo>
                <a:lnTo>
                  <a:pt x="7595" y="6406"/>
                </a:lnTo>
                <a:lnTo>
                  <a:pt x="16192" y="2147"/>
                </a:lnTo>
                <a:cubicBezTo>
                  <a:pt x="16192" y="2147"/>
                  <a:pt x="16192" y="19448"/>
                  <a:pt x="16192" y="19448"/>
                </a:cubicBezTo>
                <a:close/>
                <a:moveTo>
                  <a:pt x="5397" y="14648"/>
                </a:moveTo>
                <a:cubicBezTo>
                  <a:pt x="3344" y="14284"/>
                  <a:pt x="1799" y="12700"/>
                  <a:pt x="1799" y="10800"/>
                </a:cubicBezTo>
                <a:cubicBezTo>
                  <a:pt x="1799" y="8900"/>
                  <a:pt x="3344" y="7315"/>
                  <a:pt x="5397" y="6952"/>
                </a:cubicBezTo>
                <a:cubicBezTo>
                  <a:pt x="5397" y="6952"/>
                  <a:pt x="5397" y="14648"/>
                  <a:pt x="5397" y="14648"/>
                </a:cubicBezTo>
                <a:close/>
                <a:moveTo>
                  <a:pt x="21589" y="1527"/>
                </a:moveTo>
                <a:cubicBezTo>
                  <a:pt x="21591" y="1508"/>
                  <a:pt x="21600" y="1490"/>
                  <a:pt x="21600" y="1472"/>
                </a:cubicBezTo>
                <a:cubicBezTo>
                  <a:pt x="21600" y="658"/>
                  <a:pt x="20386" y="0"/>
                  <a:pt x="18889" y="0"/>
                </a:cubicBezTo>
                <a:cubicBezTo>
                  <a:pt x="18123" y="0"/>
                  <a:pt x="17435" y="174"/>
                  <a:pt x="16942" y="451"/>
                </a:cubicBezTo>
                <a:lnTo>
                  <a:pt x="5939" y="5905"/>
                </a:lnTo>
                <a:cubicBezTo>
                  <a:pt x="2628" y="6050"/>
                  <a:pt x="0" y="8183"/>
                  <a:pt x="0" y="10800"/>
                </a:cubicBezTo>
                <a:cubicBezTo>
                  <a:pt x="0" y="13425"/>
                  <a:pt x="2646" y="15563"/>
                  <a:pt x="5972" y="15696"/>
                </a:cubicBezTo>
                <a:lnTo>
                  <a:pt x="16942" y="21148"/>
                </a:lnTo>
                <a:cubicBezTo>
                  <a:pt x="17434" y="21426"/>
                  <a:pt x="18123" y="21600"/>
                  <a:pt x="18889" y="21600"/>
                </a:cubicBezTo>
                <a:cubicBezTo>
                  <a:pt x="20386" y="21600"/>
                  <a:pt x="21600" y="20941"/>
                  <a:pt x="21600" y="20129"/>
                </a:cubicBezTo>
                <a:cubicBezTo>
                  <a:pt x="21600" y="20110"/>
                  <a:pt x="21591" y="20092"/>
                  <a:pt x="21589" y="20073"/>
                </a:cubicBezTo>
                <a:cubicBezTo>
                  <a:pt x="21589" y="20073"/>
                  <a:pt x="21589" y="1527"/>
                  <a:pt x="21589" y="1527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6" name="Shape 2676"/>
          <p:cNvSpPr/>
          <p:nvPr/>
        </p:nvSpPr>
        <p:spPr>
          <a:xfrm>
            <a:off x="11433424" y="6052651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50" y="20121"/>
                </a:moveTo>
                <a:cubicBezTo>
                  <a:pt x="14850" y="20393"/>
                  <a:pt x="14546" y="20612"/>
                  <a:pt x="14171" y="20612"/>
                </a:cubicBezTo>
                <a:cubicBezTo>
                  <a:pt x="13977" y="20612"/>
                  <a:pt x="13804" y="20552"/>
                  <a:pt x="13680" y="20457"/>
                </a:cubicBezTo>
                <a:lnTo>
                  <a:pt x="13677" y="20459"/>
                </a:lnTo>
                <a:lnTo>
                  <a:pt x="13500" y="20342"/>
                </a:lnTo>
                <a:lnTo>
                  <a:pt x="13500" y="1256"/>
                </a:lnTo>
                <a:lnTo>
                  <a:pt x="13698" y="1126"/>
                </a:lnTo>
                <a:lnTo>
                  <a:pt x="13700" y="1127"/>
                </a:lnTo>
                <a:cubicBezTo>
                  <a:pt x="13822" y="1042"/>
                  <a:pt x="13988" y="987"/>
                  <a:pt x="14171" y="987"/>
                </a:cubicBezTo>
                <a:cubicBezTo>
                  <a:pt x="14546" y="987"/>
                  <a:pt x="14850" y="1208"/>
                  <a:pt x="14850" y="1479"/>
                </a:cubicBezTo>
                <a:cubicBezTo>
                  <a:pt x="14850" y="1479"/>
                  <a:pt x="14850" y="20121"/>
                  <a:pt x="14850" y="20121"/>
                </a:cubicBezTo>
                <a:close/>
                <a:moveTo>
                  <a:pt x="12150" y="19448"/>
                </a:moveTo>
                <a:lnTo>
                  <a:pt x="5400" y="14978"/>
                </a:lnTo>
                <a:lnTo>
                  <a:pt x="5400" y="6607"/>
                </a:lnTo>
                <a:lnTo>
                  <a:pt x="5702" y="6407"/>
                </a:lnTo>
                <a:lnTo>
                  <a:pt x="5699" y="6406"/>
                </a:lnTo>
                <a:lnTo>
                  <a:pt x="12150" y="2147"/>
                </a:lnTo>
                <a:cubicBezTo>
                  <a:pt x="12150" y="2147"/>
                  <a:pt x="12150" y="19448"/>
                  <a:pt x="12150" y="19448"/>
                </a:cubicBezTo>
                <a:close/>
                <a:moveTo>
                  <a:pt x="4050" y="14648"/>
                </a:moveTo>
                <a:cubicBezTo>
                  <a:pt x="2509" y="14284"/>
                  <a:pt x="1350" y="12700"/>
                  <a:pt x="1350" y="10800"/>
                </a:cubicBezTo>
                <a:cubicBezTo>
                  <a:pt x="1350" y="8900"/>
                  <a:pt x="2509" y="7315"/>
                  <a:pt x="4050" y="6952"/>
                </a:cubicBezTo>
                <a:cubicBezTo>
                  <a:pt x="4050" y="6952"/>
                  <a:pt x="4050" y="14648"/>
                  <a:pt x="4050" y="14648"/>
                </a:cubicBezTo>
                <a:close/>
                <a:moveTo>
                  <a:pt x="16208" y="1472"/>
                </a:moveTo>
                <a:cubicBezTo>
                  <a:pt x="16208" y="658"/>
                  <a:pt x="15297" y="0"/>
                  <a:pt x="14174" y="0"/>
                </a:cubicBezTo>
                <a:cubicBezTo>
                  <a:pt x="13599" y="0"/>
                  <a:pt x="13083" y="174"/>
                  <a:pt x="12713" y="451"/>
                </a:cubicBezTo>
                <a:lnTo>
                  <a:pt x="4456" y="5905"/>
                </a:lnTo>
                <a:cubicBezTo>
                  <a:pt x="1972" y="6050"/>
                  <a:pt x="0" y="8183"/>
                  <a:pt x="0" y="10800"/>
                </a:cubicBezTo>
                <a:cubicBezTo>
                  <a:pt x="0" y="13425"/>
                  <a:pt x="1985" y="15563"/>
                  <a:pt x="4481" y="15696"/>
                </a:cubicBezTo>
                <a:lnTo>
                  <a:pt x="12713" y="21148"/>
                </a:lnTo>
                <a:cubicBezTo>
                  <a:pt x="13083" y="21426"/>
                  <a:pt x="13599" y="21600"/>
                  <a:pt x="14174" y="21600"/>
                </a:cubicBezTo>
                <a:cubicBezTo>
                  <a:pt x="15297" y="21600"/>
                  <a:pt x="16208" y="20941"/>
                  <a:pt x="16208" y="20129"/>
                </a:cubicBezTo>
                <a:cubicBezTo>
                  <a:pt x="16208" y="20110"/>
                  <a:pt x="16201" y="20092"/>
                  <a:pt x="16200" y="20073"/>
                </a:cubicBezTo>
                <a:lnTo>
                  <a:pt x="16200" y="1527"/>
                </a:lnTo>
                <a:cubicBezTo>
                  <a:pt x="16201" y="1508"/>
                  <a:pt x="16208" y="1490"/>
                  <a:pt x="16208" y="1472"/>
                </a:cubicBezTo>
                <a:moveTo>
                  <a:pt x="18225" y="7855"/>
                </a:moveTo>
                <a:cubicBezTo>
                  <a:pt x="17852" y="7855"/>
                  <a:pt x="17550" y="8074"/>
                  <a:pt x="17550" y="8345"/>
                </a:cubicBezTo>
                <a:cubicBezTo>
                  <a:pt x="17550" y="8617"/>
                  <a:pt x="17852" y="8836"/>
                  <a:pt x="18225" y="8836"/>
                </a:cubicBezTo>
                <a:cubicBezTo>
                  <a:pt x="19344" y="8836"/>
                  <a:pt x="20250" y="9716"/>
                  <a:pt x="20250" y="10800"/>
                </a:cubicBezTo>
                <a:cubicBezTo>
                  <a:pt x="20250" y="11884"/>
                  <a:pt x="19344" y="12764"/>
                  <a:pt x="18225" y="12764"/>
                </a:cubicBezTo>
                <a:cubicBezTo>
                  <a:pt x="17852" y="12764"/>
                  <a:pt x="17550" y="12983"/>
                  <a:pt x="17550" y="13255"/>
                </a:cubicBezTo>
                <a:cubicBezTo>
                  <a:pt x="17550" y="13526"/>
                  <a:pt x="17852" y="13745"/>
                  <a:pt x="18225" y="13745"/>
                </a:cubicBezTo>
                <a:cubicBezTo>
                  <a:pt x="20089" y="13745"/>
                  <a:pt x="21600" y="12426"/>
                  <a:pt x="21600" y="10800"/>
                </a:cubicBezTo>
                <a:cubicBezTo>
                  <a:pt x="21600" y="9173"/>
                  <a:pt x="20089" y="7855"/>
                  <a:pt x="18225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7" name="Shape 2677"/>
          <p:cNvSpPr/>
          <p:nvPr/>
        </p:nvSpPr>
        <p:spPr>
          <a:xfrm>
            <a:off x="12576318" y="2853085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60" y="7855"/>
                </a:moveTo>
                <a:cubicBezTo>
                  <a:pt x="15362" y="7855"/>
                  <a:pt x="15120" y="8075"/>
                  <a:pt x="15120" y="8345"/>
                </a:cubicBezTo>
                <a:cubicBezTo>
                  <a:pt x="15120" y="8617"/>
                  <a:pt x="15362" y="8836"/>
                  <a:pt x="15660" y="8836"/>
                </a:cubicBezTo>
                <a:cubicBezTo>
                  <a:pt x="16555" y="8836"/>
                  <a:pt x="17280" y="9716"/>
                  <a:pt x="17280" y="10800"/>
                </a:cubicBezTo>
                <a:cubicBezTo>
                  <a:pt x="17280" y="11884"/>
                  <a:pt x="16555" y="12764"/>
                  <a:pt x="15660" y="12764"/>
                </a:cubicBezTo>
                <a:cubicBezTo>
                  <a:pt x="15362" y="12764"/>
                  <a:pt x="15120" y="12984"/>
                  <a:pt x="15120" y="13255"/>
                </a:cubicBezTo>
                <a:cubicBezTo>
                  <a:pt x="15120" y="13526"/>
                  <a:pt x="15362" y="13745"/>
                  <a:pt x="15660" y="13745"/>
                </a:cubicBezTo>
                <a:cubicBezTo>
                  <a:pt x="17151" y="13745"/>
                  <a:pt x="18360" y="12427"/>
                  <a:pt x="18360" y="10800"/>
                </a:cubicBezTo>
                <a:cubicBezTo>
                  <a:pt x="18360" y="9174"/>
                  <a:pt x="17151" y="7855"/>
                  <a:pt x="15660" y="7855"/>
                </a:cubicBezTo>
                <a:moveTo>
                  <a:pt x="18472" y="5611"/>
                </a:moveTo>
                <a:lnTo>
                  <a:pt x="18463" y="5625"/>
                </a:lnTo>
                <a:cubicBezTo>
                  <a:pt x="18383" y="5584"/>
                  <a:pt x="18296" y="5554"/>
                  <a:pt x="18198" y="5554"/>
                </a:cubicBezTo>
                <a:cubicBezTo>
                  <a:pt x="17900" y="5554"/>
                  <a:pt x="17660" y="5774"/>
                  <a:pt x="17660" y="6044"/>
                </a:cubicBezTo>
                <a:cubicBezTo>
                  <a:pt x="17660" y="6216"/>
                  <a:pt x="17763" y="6361"/>
                  <a:pt x="17910" y="6449"/>
                </a:cubicBezTo>
                <a:lnTo>
                  <a:pt x="17909" y="6451"/>
                </a:lnTo>
                <a:cubicBezTo>
                  <a:pt x="19460" y="7271"/>
                  <a:pt x="20520" y="8909"/>
                  <a:pt x="20520" y="10800"/>
                </a:cubicBezTo>
                <a:cubicBezTo>
                  <a:pt x="20520" y="12689"/>
                  <a:pt x="19463" y="14325"/>
                  <a:pt x="17915" y="15147"/>
                </a:cubicBezTo>
                <a:lnTo>
                  <a:pt x="17919" y="15152"/>
                </a:lnTo>
                <a:cubicBezTo>
                  <a:pt x="17771" y="15239"/>
                  <a:pt x="17668" y="15384"/>
                  <a:pt x="17668" y="15556"/>
                </a:cubicBezTo>
                <a:cubicBezTo>
                  <a:pt x="17668" y="15827"/>
                  <a:pt x="17910" y="16046"/>
                  <a:pt x="18208" y="16046"/>
                </a:cubicBezTo>
                <a:cubicBezTo>
                  <a:pt x="18306" y="16046"/>
                  <a:pt x="18393" y="16016"/>
                  <a:pt x="18473" y="15975"/>
                </a:cubicBezTo>
                <a:lnTo>
                  <a:pt x="18480" y="15985"/>
                </a:lnTo>
                <a:cubicBezTo>
                  <a:pt x="20338" y="14990"/>
                  <a:pt x="21600" y="13041"/>
                  <a:pt x="21600" y="10800"/>
                </a:cubicBezTo>
                <a:cubicBezTo>
                  <a:pt x="21600" y="8556"/>
                  <a:pt x="20334" y="6606"/>
                  <a:pt x="18472" y="5611"/>
                </a:cubicBezTo>
                <a:moveTo>
                  <a:pt x="11880" y="20121"/>
                </a:moveTo>
                <a:cubicBezTo>
                  <a:pt x="11880" y="20393"/>
                  <a:pt x="11637" y="20612"/>
                  <a:pt x="11337" y="20612"/>
                </a:cubicBezTo>
                <a:cubicBezTo>
                  <a:pt x="11181" y="20612"/>
                  <a:pt x="11043" y="20552"/>
                  <a:pt x="10944" y="20457"/>
                </a:cubicBezTo>
                <a:lnTo>
                  <a:pt x="10942" y="20459"/>
                </a:lnTo>
                <a:lnTo>
                  <a:pt x="10800" y="20342"/>
                </a:lnTo>
                <a:lnTo>
                  <a:pt x="10800" y="1256"/>
                </a:lnTo>
                <a:lnTo>
                  <a:pt x="10958" y="1126"/>
                </a:lnTo>
                <a:lnTo>
                  <a:pt x="10960" y="1127"/>
                </a:lnTo>
                <a:cubicBezTo>
                  <a:pt x="11058" y="1042"/>
                  <a:pt x="11190" y="988"/>
                  <a:pt x="11337" y="988"/>
                </a:cubicBezTo>
                <a:cubicBezTo>
                  <a:pt x="11637" y="988"/>
                  <a:pt x="11880" y="1208"/>
                  <a:pt x="11880" y="1480"/>
                </a:cubicBezTo>
                <a:cubicBezTo>
                  <a:pt x="11880" y="1480"/>
                  <a:pt x="11880" y="20121"/>
                  <a:pt x="11880" y="20121"/>
                </a:cubicBezTo>
                <a:close/>
                <a:moveTo>
                  <a:pt x="9720" y="19448"/>
                </a:moveTo>
                <a:lnTo>
                  <a:pt x="4320" y="14979"/>
                </a:lnTo>
                <a:lnTo>
                  <a:pt x="4320" y="6607"/>
                </a:lnTo>
                <a:lnTo>
                  <a:pt x="4561" y="6407"/>
                </a:lnTo>
                <a:lnTo>
                  <a:pt x="4560" y="6406"/>
                </a:lnTo>
                <a:lnTo>
                  <a:pt x="9720" y="2147"/>
                </a:lnTo>
                <a:cubicBezTo>
                  <a:pt x="9720" y="2147"/>
                  <a:pt x="9720" y="19448"/>
                  <a:pt x="9720" y="19448"/>
                </a:cubicBezTo>
                <a:close/>
                <a:moveTo>
                  <a:pt x="3240" y="14649"/>
                </a:moveTo>
                <a:cubicBezTo>
                  <a:pt x="2008" y="14285"/>
                  <a:pt x="1080" y="12700"/>
                  <a:pt x="1080" y="10800"/>
                </a:cubicBezTo>
                <a:cubicBezTo>
                  <a:pt x="1080" y="8900"/>
                  <a:pt x="2008" y="7316"/>
                  <a:pt x="3240" y="6952"/>
                </a:cubicBezTo>
                <a:cubicBezTo>
                  <a:pt x="3240" y="6952"/>
                  <a:pt x="3240" y="14649"/>
                  <a:pt x="3240" y="14649"/>
                </a:cubicBezTo>
                <a:close/>
                <a:moveTo>
                  <a:pt x="12966" y="1472"/>
                </a:moveTo>
                <a:cubicBezTo>
                  <a:pt x="12966" y="659"/>
                  <a:pt x="12238" y="0"/>
                  <a:pt x="11339" y="0"/>
                </a:cubicBezTo>
                <a:cubicBezTo>
                  <a:pt x="10879" y="0"/>
                  <a:pt x="10466" y="175"/>
                  <a:pt x="10170" y="451"/>
                </a:cubicBezTo>
                <a:lnTo>
                  <a:pt x="3565" y="5905"/>
                </a:lnTo>
                <a:cubicBezTo>
                  <a:pt x="1578" y="6051"/>
                  <a:pt x="0" y="8183"/>
                  <a:pt x="0" y="10800"/>
                </a:cubicBezTo>
                <a:cubicBezTo>
                  <a:pt x="0" y="13426"/>
                  <a:pt x="1588" y="15564"/>
                  <a:pt x="3585" y="15697"/>
                </a:cubicBezTo>
                <a:lnTo>
                  <a:pt x="10170" y="21148"/>
                </a:lnTo>
                <a:cubicBezTo>
                  <a:pt x="10466" y="21426"/>
                  <a:pt x="10879" y="21600"/>
                  <a:pt x="11339" y="21600"/>
                </a:cubicBezTo>
                <a:cubicBezTo>
                  <a:pt x="12238" y="21600"/>
                  <a:pt x="12966" y="20941"/>
                  <a:pt x="12966" y="20129"/>
                </a:cubicBezTo>
                <a:cubicBezTo>
                  <a:pt x="12966" y="20110"/>
                  <a:pt x="12961" y="20093"/>
                  <a:pt x="12960" y="20074"/>
                </a:cubicBezTo>
                <a:lnTo>
                  <a:pt x="12960" y="1527"/>
                </a:lnTo>
                <a:cubicBezTo>
                  <a:pt x="12961" y="1508"/>
                  <a:pt x="12966" y="1490"/>
                  <a:pt x="12966" y="147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8" name="Shape 2678"/>
          <p:cNvSpPr/>
          <p:nvPr/>
        </p:nvSpPr>
        <p:spPr>
          <a:xfrm>
            <a:off x="13617448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121"/>
                </a:moveTo>
                <a:cubicBezTo>
                  <a:pt x="10800" y="20393"/>
                  <a:pt x="10579" y="20612"/>
                  <a:pt x="10306" y="20612"/>
                </a:cubicBezTo>
                <a:cubicBezTo>
                  <a:pt x="10165" y="20612"/>
                  <a:pt x="10039" y="20552"/>
                  <a:pt x="9949" y="20457"/>
                </a:cubicBezTo>
                <a:lnTo>
                  <a:pt x="9947" y="20459"/>
                </a:lnTo>
                <a:lnTo>
                  <a:pt x="9818" y="20342"/>
                </a:lnTo>
                <a:lnTo>
                  <a:pt x="9818" y="1256"/>
                </a:lnTo>
                <a:lnTo>
                  <a:pt x="9962" y="1126"/>
                </a:lnTo>
                <a:lnTo>
                  <a:pt x="9963" y="1127"/>
                </a:lnTo>
                <a:cubicBezTo>
                  <a:pt x="10052" y="1042"/>
                  <a:pt x="10173" y="987"/>
                  <a:pt x="10306" y="987"/>
                </a:cubicBezTo>
                <a:cubicBezTo>
                  <a:pt x="10579" y="987"/>
                  <a:pt x="10800" y="1208"/>
                  <a:pt x="10800" y="1479"/>
                </a:cubicBezTo>
                <a:cubicBezTo>
                  <a:pt x="10800" y="1479"/>
                  <a:pt x="10800" y="20121"/>
                  <a:pt x="10800" y="20121"/>
                </a:cubicBezTo>
                <a:close/>
                <a:moveTo>
                  <a:pt x="8836" y="19448"/>
                </a:moveTo>
                <a:lnTo>
                  <a:pt x="3927" y="14979"/>
                </a:lnTo>
                <a:lnTo>
                  <a:pt x="3927" y="6607"/>
                </a:lnTo>
                <a:lnTo>
                  <a:pt x="4147" y="6407"/>
                </a:lnTo>
                <a:lnTo>
                  <a:pt x="4145" y="6406"/>
                </a:lnTo>
                <a:lnTo>
                  <a:pt x="8836" y="2147"/>
                </a:lnTo>
                <a:cubicBezTo>
                  <a:pt x="8836" y="2147"/>
                  <a:pt x="8836" y="19448"/>
                  <a:pt x="8836" y="19448"/>
                </a:cubicBezTo>
                <a:close/>
                <a:moveTo>
                  <a:pt x="2945" y="14649"/>
                </a:moveTo>
                <a:cubicBezTo>
                  <a:pt x="1825" y="14285"/>
                  <a:pt x="982" y="12700"/>
                  <a:pt x="982" y="10800"/>
                </a:cubicBezTo>
                <a:cubicBezTo>
                  <a:pt x="982" y="8900"/>
                  <a:pt x="1825" y="7315"/>
                  <a:pt x="2945" y="6952"/>
                </a:cubicBezTo>
                <a:cubicBezTo>
                  <a:pt x="2945" y="6952"/>
                  <a:pt x="2945" y="14649"/>
                  <a:pt x="2945" y="14649"/>
                </a:cubicBezTo>
                <a:close/>
                <a:moveTo>
                  <a:pt x="11787" y="1472"/>
                </a:moveTo>
                <a:cubicBezTo>
                  <a:pt x="11787" y="658"/>
                  <a:pt x="11126" y="0"/>
                  <a:pt x="10308" y="0"/>
                </a:cubicBezTo>
                <a:cubicBezTo>
                  <a:pt x="9890" y="0"/>
                  <a:pt x="9515" y="174"/>
                  <a:pt x="9246" y="451"/>
                </a:cubicBezTo>
                <a:lnTo>
                  <a:pt x="3241" y="5905"/>
                </a:lnTo>
                <a:cubicBezTo>
                  <a:pt x="1434" y="6051"/>
                  <a:pt x="0" y="8183"/>
                  <a:pt x="0" y="10800"/>
                </a:cubicBezTo>
                <a:cubicBezTo>
                  <a:pt x="0" y="13425"/>
                  <a:pt x="1444" y="15563"/>
                  <a:pt x="3259" y="15696"/>
                </a:cubicBezTo>
                <a:lnTo>
                  <a:pt x="9245" y="21148"/>
                </a:lnTo>
                <a:cubicBezTo>
                  <a:pt x="9514" y="21426"/>
                  <a:pt x="9890" y="21600"/>
                  <a:pt x="10308" y="21600"/>
                </a:cubicBezTo>
                <a:cubicBezTo>
                  <a:pt x="11126" y="21600"/>
                  <a:pt x="11787" y="20941"/>
                  <a:pt x="11787" y="20129"/>
                </a:cubicBezTo>
                <a:cubicBezTo>
                  <a:pt x="11787" y="20110"/>
                  <a:pt x="11782" y="20092"/>
                  <a:pt x="11782" y="20073"/>
                </a:cubicBezTo>
                <a:lnTo>
                  <a:pt x="11782" y="1527"/>
                </a:lnTo>
                <a:cubicBezTo>
                  <a:pt x="11782" y="1508"/>
                  <a:pt x="11787" y="1490"/>
                  <a:pt x="11787" y="1472"/>
                </a:cubicBezTo>
                <a:moveTo>
                  <a:pt x="13255" y="7855"/>
                </a:moveTo>
                <a:cubicBezTo>
                  <a:pt x="12984" y="7855"/>
                  <a:pt x="12764" y="8074"/>
                  <a:pt x="12764" y="8345"/>
                </a:cubicBezTo>
                <a:cubicBezTo>
                  <a:pt x="12764" y="8617"/>
                  <a:pt x="12984" y="8836"/>
                  <a:pt x="13255" y="8836"/>
                </a:cubicBezTo>
                <a:cubicBezTo>
                  <a:pt x="14068" y="8836"/>
                  <a:pt x="14727" y="9716"/>
                  <a:pt x="14727" y="10800"/>
                </a:cubicBezTo>
                <a:cubicBezTo>
                  <a:pt x="14727" y="11884"/>
                  <a:pt x="14068" y="12764"/>
                  <a:pt x="13255" y="12764"/>
                </a:cubicBezTo>
                <a:cubicBezTo>
                  <a:pt x="12984" y="12764"/>
                  <a:pt x="12764" y="12983"/>
                  <a:pt x="12764" y="13255"/>
                </a:cubicBezTo>
                <a:cubicBezTo>
                  <a:pt x="12764" y="13526"/>
                  <a:pt x="12984" y="13745"/>
                  <a:pt x="13255" y="13745"/>
                </a:cubicBezTo>
                <a:cubicBezTo>
                  <a:pt x="14610" y="13745"/>
                  <a:pt x="15709" y="12427"/>
                  <a:pt x="15709" y="10800"/>
                </a:cubicBezTo>
                <a:cubicBezTo>
                  <a:pt x="15709" y="9173"/>
                  <a:pt x="14610" y="7855"/>
                  <a:pt x="13255" y="7855"/>
                </a:cubicBezTo>
                <a:moveTo>
                  <a:pt x="17948" y="3495"/>
                </a:moveTo>
                <a:lnTo>
                  <a:pt x="17938" y="3509"/>
                </a:lnTo>
                <a:cubicBezTo>
                  <a:pt x="17860" y="3458"/>
                  <a:pt x="17773" y="3421"/>
                  <a:pt x="17674" y="3421"/>
                </a:cubicBezTo>
                <a:cubicBezTo>
                  <a:pt x="17403" y="3421"/>
                  <a:pt x="17184" y="3641"/>
                  <a:pt x="17184" y="3912"/>
                </a:cubicBezTo>
                <a:cubicBezTo>
                  <a:pt x="17184" y="4073"/>
                  <a:pt x="17266" y="4209"/>
                  <a:pt x="17386" y="4298"/>
                </a:cubicBezTo>
                <a:cubicBezTo>
                  <a:pt x="19336" y="5711"/>
                  <a:pt x="20618" y="8095"/>
                  <a:pt x="20618" y="10800"/>
                </a:cubicBezTo>
                <a:cubicBezTo>
                  <a:pt x="20618" y="13505"/>
                  <a:pt x="19336" y="15889"/>
                  <a:pt x="17385" y="17302"/>
                </a:cubicBezTo>
                <a:lnTo>
                  <a:pt x="17389" y="17309"/>
                </a:lnTo>
                <a:cubicBezTo>
                  <a:pt x="17275" y="17398"/>
                  <a:pt x="17197" y="17531"/>
                  <a:pt x="17197" y="17688"/>
                </a:cubicBezTo>
                <a:cubicBezTo>
                  <a:pt x="17197" y="17959"/>
                  <a:pt x="17417" y="18179"/>
                  <a:pt x="17688" y="18179"/>
                </a:cubicBezTo>
                <a:cubicBezTo>
                  <a:pt x="17788" y="18179"/>
                  <a:pt x="17875" y="18142"/>
                  <a:pt x="17952" y="18091"/>
                </a:cubicBezTo>
                <a:lnTo>
                  <a:pt x="17957" y="18098"/>
                </a:lnTo>
                <a:cubicBezTo>
                  <a:pt x="17982" y="18080"/>
                  <a:pt x="18004" y="18057"/>
                  <a:pt x="18029" y="18039"/>
                </a:cubicBezTo>
                <a:cubicBezTo>
                  <a:pt x="18031" y="18037"/>
                  <a:pt x="18034" y="18035"/>
                  <a:pt x="18037" y="18033"/>
                </a:cubicBezTo>
                <a:cubicBezTo>
                  <a:pt x="20189" y="16435"/>
                  <a:pt x="21600" y="13794"/>
                  <a:pt x="21600" y="10800"/>
                </a:cubicBezTo>
                <a:cubicBezTo>
                  <a:pt x="21600" y="7763"/>
                  <a:pt x="20152" y="5085"/>
                  <a:pt x="17948" y="3495"/>
                </a:cubicBezTo>
                <a:moveTo>
                  <a:pt x="15811" y="5611"/>
                </a:moveTo>
                <a:lnTo>
                  <a:pt x="15802" y="5625"/>
                </a:lnTo>
                <a:cubicBezTo>
                  <a:pt x="15730" y="5584"/>
                  <a:pt x="15651" y="5553"/>
                  <a:pt x="15562" y="5553"/>
                </a:cubicBezTo>
                <a:cubicBezTo>
                  <a:pt x="15291" y="5553"/>
                  <a:pt x="15072" y="5773"/>
                  <a:pt x="15072" y="6044"/>
                </a:cubicBezTo>
                <a:cubicBezTo>
                  <a:pt x="15072" y="6216"/>
                  <a:pt x="15166" y="6361"/>
                  <a:pt x="15300" y="6448"/>
                </a:cubicBezTo>
                <a:lnTo>
                  <a:pt x="15299" y="6450"/>
                </a:lnTo>
                <a:cubicBezTo>
                  <a:pt x="16709" y="7270"/>
                  <a:pt x="17673" y="8909"/>
                  <a:pt x="17673" y="10800"/>
                </a:cubicBezTo>
                <a:cubicBezTo>
                  <a:pt x="17673" y="12688"/>
                  <a:pt x="16712" y="14325"/>
                  <a:pt x="15305" y="15146"/>
                </a:cubicBezTo>
                <a:lnTo>
                  <a:pt x="15309" y="15151"/>
                </a:lnTo>
                <a:cubicBezTo>
                  <a:pt x="15174" y="15239"/>
                  <a:pt x="15080" y="15384"/>
                  <a:pt x="15080" y="15555"/>
                </a:cubicBezTo>
                <a:cubicBezTo>
                  <a:pt x="15080" y="15827"/>
                  <a:pt x="15300" y="16046"/>
                  <a:pt x="15571" y="16046"/>
                </a:cubicBezTo>
                <a:cubicBezTo>
                  <a:pt x="15660" y="16046"/>
                  <a:pt x="15740" y="16016"/>
                  <a:pt x="15812" y="15975"/>
                </a:cubicBezTo>
                <a:lnTo>
                  <a:pt x="15819" y="15985"/>
                </a:lnTo>
                <a:cubicBezTo>
                  <a:pt x="17507" y="14989"/>
                  <a:pt x="18655" y="13041"/>
                  <a:pt x="18655" y="10800"/>
                </a:cubicBezTo>
                <a:cubicBezTo>
                  <a:pt x="18655" y="8556"/>
                  <a:pt x="17504" y="6606"/>
                  <a:pt x="15811" y="561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9" name="Shape 2679"/>
          <p:cNvSpPr/>
          <p:nvPr/>
        </p:nvSpPr>
        <p:spPr>
          <a:xfrm>
            <a:off x="14683970" y="2878478"/>
            <a:ext cx="558654" cy="5078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24" extrusionOk="0">
                <a:moveTo>
                  <a:pt x="17182" y="13452"/>
                </a:moveTo>
                <a:cubicBezTo>
                  <a:pt x="16640" y="13452"/>
                  <a:pt x="16200" y="13935"/>
                  <a:pt x="16200" y="14529"/>
                </a:cubicBezTo>
                <a:cubicBezTo>
                  <a:pt x="16200" y="15123"/>
                  <a:pt x="16640" y="15605"/>
                  <a:pt x="17182" y="15605"/>
                </a:cubicBezTo>
                <a:cubicBezTo>
                  <a:pt x="17724" y="15605"/>
                  <a:pt x="18164" y="15123"/>
                  <a:pt x="18164" y="14529"/>
                </a:cubicBezTo>
                <a:cubicBezTo>
                  <a:pt x="18164" y="13935"/>
                  <a:pt x="17724" y="13452"/>
                  <a:pt x="17182" y="13452"/>
                </a:cubicBezTo>
                <a:moveTo>
                  <a:pt x="15218" y="15605"/>
                </a:moveTo>
                <a:cubicBezTo>
                  <a:pt x="14676" y="15605"/>
                  <a:pt x="14236" y="16087"/>
                  <a:pt x="14236" y="16681"/>
                </a:cubicBezTo>
                <a:cubicBezTo>
                  <a:pt x="14236" y="17276"/>
                  <a:pt x="14676" y="17757"/>
                  <a:pt x="15218" y="17757"/>
                </a:cubicBezTo>
                <a:cubicBezTo>
                  <a:pt x="15760" y="17757"/>
                  <a:pt x="16200" y="17276"/>
                  <a:pt x="16200" y="16681"/>
                </a:cubicBezTo>
                <a:cubicBezTo>
                  <a:pt x="16200" y="16087"/>
                  <a:pt x="15760" y="15605"/>
                  <a:pt x="15218" y="15605"/>
                </a:cubicBezTo>
                <a:moveTo>
                  <a:pt x="16200" y="20448"/>
                </a:moveTo>
                <a:cubicBezTo>
                  <a:pt x="14668" y="20448"/>
                  <a:pt x="13319" y="19593"/>
                  <a:pt x="12527" y="18295"/>
                </a:cubicBezTo>
                <a:lnTo>
                  <a:pt x="9073" y="18295"/>
                </a:lnTo>
                <a:cubicBezTo>
                  <a:pt x="8281" y="19593"/>
                  <a:pt x="6932" y="20448"/>
                  <a:pt x="5400" y="20448"/>
                </a:cubicBezTo>
                <a:cubicBezTo>
                  <a:pt x="2960" y="20448"/>
                  <a:pt x="982" y="18280"/>
                  <a:pt x="982" y="15605"/>
                </a:cubicBezTo>
                <a:cubicBezTo>
                  <a:pt x="982" y="12930"/>
                  <a:pt x="2960" y="10762"/>
                  <a:pt x="5400" y="10762"/>
                </a:cubicBezTo>
                <a:lnTo>
                  <a:pt x="16200" y="10762"/>
                </a:lnTo>
                <a:cubicBezTo>
                  <a:pt x="18640" y="10762"/>
                  <a:pt x="20618" y="12930"/>
                  <a:pt x="20618" y="15605"/>
                </a:cubicBezTo>
                <a:cubicBezTo>
                  <a:pt x="20618" y="18280"/>
                  <a:pt x="18640" y="20448"/>
                  <a:pt x="16200" y="20448"/>
                </a:cubicBezTo>
                <a:moveTo>
                  <a:pt x="16200" y="9686"/>
                </a:moveTo>
                <a:lnTo>
                  <a:pt x="11319" y="9686"/>
                </a:lnTo>
                <a:cubicBezTo>
                  <a:pt x="10837" y="8713"/>
                  <a:pt x="11227" y="8217"/>
                  <a:pt x="11943" y="7448"/>
                </a:cubicBezTo>
                <a:cubicBezTo>
                  <a:pt x="12528" y="6820"/>
                  <a:pt x="13255" y="6038"/>
                  <a:pt x="13255" y="4843"/>
                </a:cubicBezTo>
                <a:cubicBezTo>
                  <a:pt x="13255" y="1854"/>
                  <a:pt x="10169" y="128"/>
                  <a:pt x="10038" y="56"/>
                </a:cubicBezTo>
                <a:cubicBezTo>
                  <a:pt x="9796" y="-76"/>
                  <a:pt x="9501" y="32"/>
                  <a:pt x="9379" y="297"/>
                </a:cubicBezTo>
                <a:cubicBezTo>
                  <a:pt x="9258" y="562"/>
                  <a:pt x="9356" y="886"/>
                  <a:pt x="9598" y="1019"/>
                </a:cubicBezTo>
                <a:cubicBezTo>
                  <a:pt x="9625" y="1034"/>
                  <a:pt x="12273" y="2523"/>
                  <a:pt x="12273" y="4843"/>
                </a:cubicBezTo>
                <a:cubicBezTo>
                  <a:pt x="12273" y="5586"/>
                  <a:pt x="11779" y="6117"/>
                  <a:pt x="11255" y="6679"/>
                </a:cubicBezTo>
                <a:cubicBezTo>
                  <a:pt x="10584" y="7401"/>
                  <a:pt x="9775" y="8296"/>
                  <a:pt x="10277" y="9686"/>
                </a:cubicBezTo>
                <a:lnTo>
                  <a:pt x="5400" y="9686"/>
                </a:lnTo>
                <a:cubicBezTo>
                  <a:pt x="2418" y="9686"/>
                  <a:pt x="0" y="12336"/>
                  <a:pt x="0" y="15605"/>
                </a:cubicBezTo>
                <a:cubicBezTo>
                  <a:pt x="0" y="18874"/>
                  <a:pt x="2418" y="21524"/>
                  <a:pt x="5400" y="21524"/>
                </a:cubicBezTo>
                <a:cubicBezTo>
                  <a:pt x="7077" y="21524"/>
                  <a:pt x="8575" y="20686"/>
                  <a:pt x="9565" y="19372"/>
                </a:cubicBezTo>
                <a:lnTo>
                  <a:pt x="12035" y="19372"/>
                </a:lnTo>
                <a:cubicBezTo>
                  <a:pt x="13025" y="20686"/>
                  <a:pt x="14523" y="21524"/>
                  <a:pt x="16200" y="21524"/>
                </a:cubicBezTo>
                <a:cubicBezTo>
                  <a:pt x="19182" y="21524"/>
                  <a:pt x="21600" y="18874"/>
                  <a:pt x="21600" y="15605"/>
                </a:cubicBezTo>
                <a:cubicBezTo>
                  <a:pt x="21600" y="12336"/>
                  <a:pt x="19182" y="9686"/>
                  <a:pt x="16200" y="9686"/>
                </a:cubicBezTo>
                <a:moveTo>
                  <a:pt x="6873" y="15067"/>
                </a:moveTo>
                <a:lnTo>
                  <a:pt x="5891" y="15067"/>
                </a:lnTo>
                <a:lnTo>
                  <a:pt x="5891" y="13990"/>
                </a:lnTo>
                <a:cubicBezTo>
                  <a:pt x="5891" y="13694"/>
                  <a:pt x="5671" y="13452"/>
                  <a:pt x="5400" y="13452"/>
                </a:cubicBezTo>
                <a:cubicBezTo>
                  <a:pt x="5129" y="13452"/>
                  <a:pt x="4909" y="13694"/>
                  <a:pt x="4909" y="13990"/>
                </a:cubicBezTo>
                <a:lnTo>
                  <a:pt x="4909" y="15067"/>
                </a:lnTo>
                <a:lnTo>
                  <a:pt x="3927" y="15067"/>
                </a:lnTo>
                <a:cubicBezTo>
                  <a:pt x="3656" y="15067"/>
                  <a:pt x="3436" y="15307"/>
                  <a:pt x="3436" y="15605"/>
                </a:cubicBezTo>
                <a:cubicBezTo>
                  <a:pt x="3436" y="15903"/>
                  <a:pt x="3656" y="16143"/>
                  <a:pt x="3927" y="16143"/>
                </a:cubicBezTo>
                <a:lnTo>
                  <a:pt x="4909" y="16143"/>
                </a:lnTo>
                <a:lnTo>
                  <a:pt x="4909" y="17219"/>
                </a:lnTo>
                <a:cubicBezTo>
                  <a:pt x="4909" y="17517"/>
                  <a:pt x="5129" y="17757"/>
                  <a:pt x="5400" y="17757"/>
                </a:cubicBezTo>
                <a:cubicBezTo>
                  <a:pt x="5671" y="17757"/>
                  <a:pt x="5891" y="17517"/>
                  <a:pt x="5891" y="17219"/>
                </a:cubicBezTo>
                <a:lnTo>
                  <a:pt x="5891" y="16143"/>
                </a:lnTo>
                <a:lnTo>
                  <a:pt x="6873" y="16143"/>
                </a:lnTo>
                <a:cubicBezTo>
                  <a:pt x="7144" y="16143"/>
                  <a:pt x="7364" y="15903"/>
                  <a:pt x="7364" y="15605"/>
                </a:cubicBezTo>
                <a:cubicBezTo>
                  <a:pt x="7364" y="15307"/>
                  <a:pt x="7144" y="15067"/>
                  <a:pt x="6873" y="15067"/>
                </a:cubicBezTo>
                <a:moveTo>
                  <a:pt x="12273" y="12376"/>
                </a:moveTo>
                <a:cubicBezTo>
                  <a:pt x="12002" y="12376"/>
                  <a:pt x="11782" y="12617"/>
                  <a:pt x="11782" y="12914"/>
                </a:cubicBezTo>
                <a:cubicBezTo>
                  <a:pt x="11782" y="13212"/>
                  <a:pt x="12002" y="13452"/>
                  <a:pt x="12273" y="13452"/>
                </a:cubicBezTo>
                <a:cubicBezTo>
                  <a:pt x="12544" y="13452"/>
                  <a:pt x="12764" y="13212"/>
                  <a:pt x="12764" y="12914"/>
                </a:cubicBezTo>
                <a:cubicBezTo>
                  <a:pt x="12764" y="12617"/>
                  <a:pt x="12544" y="12376"/>
                  <a:pt x="12273" y="12376"/>
                </a:cubicBezTo>
                <a:moveTo>
                  <a:pt x="9327" y="12376"/>
                </a:moveTo>
                <a:cubicBezTo>
                  <a:pt x="9056" y="12376"/>
                  <a:pt x="8836" y="12617"/>
                  <a:pt x="8836" y="12914"/>
                </a:cubicBezTo>
                <a:cubicBezTo>
                  <a:pt x="8836" y="13212"/>
                  <a:pt x="9056" y="13452"/>
                  <a:pt x="9327" y="13452"/>
                </a:cubicBezTo>
                <a:cubicBezTo>
                  <a:pt x="9598" y="13452"/>
                  <a:pt x="9818" y="13212"/>
                  <a:pt x="9818" y="12914"/>
                </a:cubicBezTo>
                <a:cubicBezTo>
                  <a:pt x="9818" y="12617"/>
                  <a:pt x="9598" y="12376"/>
                  <a:pt x="9327" y="1237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0" name="Shape 2680"/>
          <p:cNvSpPr/>
          <p:nvPr/>
        </p:nvSpPr>
        <p:spPr>
          <a:xfrm>
            <a:off x="15750492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15709"/>
                </a:moveTo>
                <a:lnTo>
                  <a:pt x="10309" y="15709"/>
                </a:lnTo>
                <a:cubicBezTo>
                  <a:pt x="10038" y="15709"/>
                  <a:pt x="9818" y="15929"/>
                  <a:pt x="9818" y="16200"/>
                </a:cubicBezTo>
                <a:cubicBezTo>
                  <a:pt x="9818" y="16472"/>
                  <a:pt x="10038" y="16691"/>
                  <a:pt x="10309" y="16691"/>
                </a:cubicBezTo>
                <a:lnTo>
                  <a:pt x="13255" y="16691"/>
                </a:lnTo>
                <a:cubicBezTo>
                  <a:pt x="13525" y="16691"/>
                  <a:pt x="13745" y="16472"/>
                  <a:pt x="13745" y="16200"/>
                </a:cubicBezTo>
                <a:cubicBezTo>
                  <a:pt x="13745" y="15929"/>
                  <a:pt x="13525" y="15709"/>
                  <a:pt x="13255" y="15709"/>
                </a:cubicBezTo>
                <a:moveTo>
                  <a:pt x="9818" y="12273"/>
                </a:moveTo>
                <a:cubicBezTo>
                  <a:pt x="9818" y="12112"/>
                  <a:pt x="9736" y="11976"/>
                  <a:pt x="9617" y="11887"/>
                </a:cubicBezTo>
                <a:lnTo>
                  <a:pt x="9622" y="11880"/>
                </a:lnTo>
                <a:lnTo>
                  <a:pt x="5695" y="8935"/>
                </a:lnTo>
                <a:lnTo>
                  <a:pt x="5690" y="8941"/>
                </a:lnTo>
                <a:cubicBezTo>
                  <a:pt x="5608" y="8880"/>
                  <a:pt x="5511" y="8836"/>
                  <a:pt x="5400" y="8836"/>
                </a:cubicBezTo>
                <a:cubicBezTo>
                  <a:pt x="5129" y="8836"/>
                  <a:pt x="4909" y="9056"/>
                  <a:pt x="4909" y="9327"/>
                </a:cubicBezTo>
                <a:cubicBezTo>
                  <a:pt x="4909" y="9488"/>
                  <a:pt x="4991" y="9624"/>
                  <a:pt x="5110" y="9713"/>
                </a:cubicBezTo>
                <a:lnTo>
                  <a:pt x="5105" y="9720"/>
                </a:lnTo>
                <a:lnTo>
                  <a:pt x="8509" y="12273"/>
                </a:lnTo>
                <a:lnTo>
                  <a:pt x="5105" y="14826"/>
                </a:lnTo>
                <a:lnTo>
                  <a:pt x="5110" y="14832"/>
                </a:lnTo>
                <a:cubicBezTo>
                  <a:pt x="4991" y="14922"/>
                  <a:pt x="4909" y="15058"/>
                  <a:pt x="4909" y="15218"/>
                </a:cubicBezTo>
                <a:cubicBezTo>
                  <a:pt x="4909" y="15490"/>
                  <a:pt x="5129" y="15709"/>
                  <a:pt x="5400" y="15709"/>
                </a:cubicBezTo>
                <a:cubicBezTo>
                  <a:pt x="5511" y="15709"/>
                  <a:pt x="5607" y="15666"/>
                  <a:pt x="5690" y="15604"/>
                </a:cubicBezTo>
                <a:lnTo>
                  <a:pt x="5695" y="15611"/>
                </a:lnTo>
                <a:lnTo>
                  <a:pt x="9622" y="12666"/>
                </a:lnTo>
                <a:lnTo>
                  <a:pt x="9617" y="12659"/>
                </a:lnTo>
                <a:cubicBezTo>
                  <a:pt x="9736" y="12569"/>
                  <a:pt x="9818" y="12433"/>
                  <a:pt x="9818" y="12273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1" name="Shape 2681"/>
          <p:cNvSpPr/>
          <p:nvPr/>
        </p:nvSpPr>
        <p:spPr>
          <a:xfrm>
            <a:off x="16817014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36"/>
                </a:moveTo>
                <a:lnTo>
                  <a:pt x="11291" y="19636"/>
                </a:lnTo>
                <a:cubicBezTo>
                  <a:pt x="11562" y="19636"/>
                  <a:pt x="11782" y="19416"/>
                  <a:pt x="11782" y="19146"/>
                </a:cubicBezTo>
                <a:cubicBezTo>
                  <a:pt x="11782" y="18874"/>
                  <a:pt x="11562" y="18655"/>
                  <a:pt x="11291" y="18655"/>
                </a:cubicBezTo>
                <a:lnTo>
                  <a:pt x="6382" y="18655"/>
                </a:lnTo>
                <a:cubicBezTo>
                  <a:pt x="6111" y="18655"/>
                  <a:pt x="5891" y="18874"/>
                  <a:pt x="5891" y="19146"/>
                </a:cubicBezTo>
                <a:cubicBezTo>
                  <a:pt x="5891" y="19416"/>
                  <a:pt x="6111" y="19636"/>
                  <a:pt x="6382" y="19636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7673"/>
                </a:lnTo>
                <a:lnTo>
                  <a:pt x="20618" y="17673"/>
                </a:lnTo>
                <a:cubicBezTo>
                  <a:pt x="20618" y="17673"/>
                  <a:pt x="20618" y="19636"/>
                  <a:pt x="20618" y="19636"/>
                </a:cubicBezTo>
                <a:close/>
                <a:moveTo>
                  <a:pt x="2822" y="10800"/>
                </a:moveTo>
                <a:lnTo>
                  <a:pt x="18778" y="10800"/>
                </a:lnTo>
                <a:lnTo>
                  <a:pt x="20461" y="16691"/>
                </a:lnTo>
                <a:lnTo>
                  <a:pt x="1139" y="16691"/>
                </a:lnTo>
                <a:cubicBezTo>
                  <a:pt x="1139" y="16691"/>
                  <a:pt x="2822" y="10800"/>
                  <a:pt x="2822" y="10800"/>
                </a:cubicBezTo>
                <a:close/>
                <a:moveTo>
                  <a:pt x="21600" y="17182"/>
                </a:moveTo>
                <a:cubicBezTo>
                  <a:pt x="21600" y="17118"/>
                  <a:pt x="21586" y="17057"/>
                  <a:pt x="21563" y="17000"/>
                </a:cubicBezTo>
                <a:lnTo>
                  <a:pt x="21565" y="17000"/>
                </a:lnTo>
                <a:lnTo>
                  <a:pt x="19602" y="10127"/>
                </a:lnTo>
                <a:lnTo>
                  <a:pt x="19599" y="10128"/>
                </a:lnTo>
                <a:cubicBezTo>
                  <a:pt x="19527" y="9947"/>
                  <a:pt x="19352" y="9818"/>
                  <a:pt x="19145" y="9818"/>
                </a:cubicBezTo>
                <a:lnTo>
                  <a:pt x="18164" y="9818"/>
                </a:lnTo>
                <a:lnTo>
                  <a:pt x="18164" y="3927"/>
                </a:lnTo>
                <a:cubicBezTo>
                  <a:pt x="18164" y="3656"/>
                  <a:pt x="17944" y="3436"/>
                  <a:pt x="17673" y="3436"/>
                </a:cubicBezTo>
                <a:cubicBezTo>
                  <a:pt x="17402" y="3436"/>
                  <a:pt x="17182" y="3656"/>
                  <a:pt x="17182" y="3927"/>
                </a:cubicBezTo>
                <a:lnTo>
                  <a:pt x="17182" y="9818"/>
                </a:lnTo>
                <a:lnTo>
                  <a:pt x="4418" y="9818"/>
                </a:lnTo>
                <a:lnTo>
                  <a:pt x="4418" y="3927"/>
                </a:lnTo>
                <a:cubicBezTo>
                  <a:pt x="4418" y="3656"/>
                  <a:pt x="4198" y="3436"/>
                  <a:pt x="3927" y="3436"/>
                </a:cubicBezTo>
                <a:cubicBezTo>
                  <a:pt x="3656" y="3436"/>
                  <a:pt x="3436" y="3656"/>
                  <a:pt x="3436" y="3927"/>
                </a:cubicBezTo>
                <a:lnTo>
                  <a:pt x="3436" y="9818"/>
                </a:lnTo>
                <a:lnTo>
                  <a:pt x="2455" y="9818"/>
                </a:lnTo>
                <a:cubicBezTo>
                  <a:pt x="2248" y="9818"/>
                  <a:pt x="2073" y="9947"/>
                  <a:pt x="2001" y="10128"/>
                </a:cubicBezTo>
                <a:lnTo>
                  <a:pt x="1998" y="10127"/>
                </a:lnTo>
                <a:lnTo>
                  <a:pt x="35" y="17000"/>
                </a:lnTo>
                <a:lnTo>
                  <a:pt x="37" y="17001"/>
                </a:lnTo>
                <a:cubicBezTo>
                  <a:pt x="14" y="17057"/>
                  <a:pt x="0" y="17118"/>
                  <a:pt x="0" y="17182"/>
                </a:cubicBezTo>
                <a:lnTo>
                  <a:pt x="0" y="18164"/>
                </a:lnTo>
                <a:lnTo>
                  <a:pt x="68" y="18164"/>
                </a:lnTo>
                <a:cubicBezTo>
                  <a:pt x="25" y="18320"/>
                  <a:pt x="0" y="18484"/>
                  <a:pt x="0" y="18655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8655"/>
                </a:lnTo>
                <a:cubicBezTo>
                  <a:pt x="21600" y="18484"/>
                  <a:pt x="21575" y="18320"/>
                  <a:pt x="21532" y="18164"/>
                </a:cubicBezTo>
                <a:lnTo>
                  <a:pt x="21600" y="18164"/>
                </a:lnTo>
                <a:cubicBezTo>
                  <a:pt x="21600" y="18164"/>
                  <a:pt x="21600" y="17182"/>
                  <a:pt x="21600" y="17182"/>
                </a:cubicBezTo>
                <a:close/>
                <a:moveTo>
                  <a:pt x="4418" y="19636"/>
                </a:moveTo>
                <a:cubicBezTo>
                  <a:pt x="4689" y="19636"/>
                  <a:pt x="4909" y="19416"/>
                  <a:pt x="4909" y="19146"/>
                </a:cubicBezTo>
                <a:cubicBezTo>
                  <a:pt x="4909" y="18874"/>
                  <a:pt x="4689" y="18655"/>
                  <a:pt x="4418" y="18655"/>
                </a:cubicBezTo>
                <a:cubicBezTo>
                  <a:pt x="4147" y="18655"/>
                  <a:pt x="3927" y="18874"/>
                  <a:pt x="3927" y="19146"/>
                </a:cubicBezTo>
                <a:cubicBezTo>
                  <a:pt x="3927" y="19416"/>
                  <a:pt x="4147" y="19636"/>
                  <a:pt x="4418" y="19636"/>
                </a:cubicBezTo>
                <a:moveTo>
                  <a:pt x="2455" y="19636"/>
                </a:moveTo>
                <a:cubicBezTo>
                  <a:pt x="2725" y="19636"/>
                  <a:pt x="2945" y="19416"/>
                  <a:pt x="2945" y="19146"/>
                </a:cubicBezTo>
                <a:cubicBezTo>
                  <a:pt x="2945" y="18874"/>
                  <a:pt x="2725" y="18655"/>
                  <a:pt x="2455" y="18655"/>
                </a:cubicBezTo>
                <a:cubicBezTo>
                  <a:pt x="2184" y="18655"/>
                  <a:pt x="1964" y="18874"/>
                  <a:pt x="1964" y="19146"/>
                </a:cubicBezTo>
                <a:cubicBezTo>
                  <a:pt x="1964" y="19416"/>
                  <a:pt x="2184" y="19636"/>
                  <a:pt x="2455" y="19636"/>
                </a:cubicBezTo>
                <a:moveTo>
                  <a:pt x="12003" y="3573"/>
                </a:moveTo>
                <a:lnTo>
                  <a:pt x="12664" y="2838"/>
                </a:lnTo>
                <a:cubicBezTo>
                  <a:pt x="12214" y="2308"/>
                  <a:pt x="11550" y="1964"/>
                  <a:pt x="10800" y="1964"/>
                </a:cubicBezTo>
                <a:cubicBezTo>
                  <a:pt x="9997" y="1964"/>
                  <a:pt x="9290" y="2355"/>
                  <a:pt x="8842" y="2952"/>
                </a:cubicBezTo>
                <a:lnTo>
                  <a:pt x="9546" y="3655"/>
                </a:lnTo>
                <a:cubicBezTo>
                  <a:pt x="9805" y="3231"/>
                  <a:pt x="10267" y="2945"/>
                  <a:pt x="10800" y="2945"/>
                </a:cubicBezTo>
                <a:cubicBezTo>
                  <a:pt x="11298" y="2945"/>
                  <a:pt x="11736" y="3194"/>
                  <a:pt x="12003" y="3573"/>
                </a:cubicBezTo>
                <a:moveTo>
                  <a:pt x="10309" y="4418"/>
                </a:moveTo>
                <a:cubicBezTo>
                  <a:pt x="10309" y="4690"/>
                  <a:pt x="10529" y="4909"/>
                  <a:pt x="10800" y="4909"/>
                </a:cubicBezTo>
                <a:cubicBezTo>
                  <a:pt x="11071" y="4909"/>
                  <a:pt x="11291" y="4690"/>
                  <a:pt x="11291" y="4418"/>
                </a:cubicBezTo>
                <a:cubicBezTo>
                  <a:pt x="11291" y="4147"/>
                  <a:pt x="11071" y="3927"/>
                  <a:pt x="10800" y="3927"/>
                </a:cubicBezTo>
                <a:cubicBezTo>
                  <a:pt x="10529" y="3927"/>
                  <a:pt x="10309" y="4147"/>
                  <a:pt x="10309" y="4418"/>
                </a:cubicBezTo>
                <a:moveTo>
                  <a:pt x="10800" y="982"/>
                </a:moveTo>
                <a:cubicBezTo>
                  <a:pt x="11802" y="982"/>
                  <a:pt x="12701" y="1414"/>
                  <a:pt x="13330" y="2098"/>
                </a:cubicBezTo>
                <a:lnTo>
                  <a:pt x="13989" y="1366"/>
                </a:lnTo>
                <a:cubicBezTo>
                  <a:pt x="13185" y="525"/>
                  <a:pt x="12055" y="0"/>
                  <a:pt x="10800" y="0"/>
                </a:cubicBezTo>
                <a:cubicBezTo>
                  <a:pt x="9455" y="0"/>
                  <a:pt x="8252" y="603"/>
                  <a:pt x="7442" y="1551"/>
                </a:cubicBezTo>
                <a:lnTo>
                  <a:pt x="8138" y="2246"/>
                </a:lnTo>
                <a:cubicBezTo>
                  <a:pt x="8768" y="1475"/>
                  <a:pt x="9726" y="982"/>
                  <a:pt x="10800" y="9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2" name="Shape 2682"/>
          <p:cNvSpPr/>
          <p:nvPr/>
        </p:nvSpPr>
        <p:spPr>
          <a:xfrm>
            <a:off x="17883537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6691"/>
                </a:moveTo>
                <a:cubicBezTo>
                  <a:pt x="20618" y="17775"/>
                  <a:pt x="19739" y="18655"/>
                  <a:pt x="18655" y="18655"/>
                </a:cubicBezTo>
                <a:lnTo>
                  <a:pt x="17673" y="18655"/>
                </a:lnTo>
                <a:lnTo>
                  <a:pt x="17673" y="14727"/>
                </a:lnTo>
                <a:cubicBezTo>
                  <a:pt x="17673" y="14186"/>
                  <a:pt x="17233" y="13745"/>
                  <a:pt x="16691" y="13745"/>
                </a:cubicBezTo>
                <a:lnTo>
                  <a:pt x="4909" y="13745"/>
                </a:lnTo>
                <a:cubicBezTo>
                  <a:pt x="4367" y="13745"/>
                  <a:pt x="3927" y="14186"/>
                  <a:pt x="3927" y="14727"/>
                </a:cubicBezTo>
                <a:lnTo>
                  <a:pt x="3927" y="18655"/>
                </a:lnTo>
                <a:lnTo>
                  <a:pt x="2945" y="18655"/>
                </a:lnTo>
                <a:cubicBezTo>
                  <a:pt x="1861" y="18655"/>
                  <a:pt x="982" y="17775"/>
                  <a:pt x="982" y="16691"/>
                </a:cubicBezTo>
                <a:lnTo>
                  <a:pt x="982" y="8836"/>
                </a:lnTo>
                <a:cubicBezTo>
                  <a:pt x="982" y="7752"/>
                  <a:pt x="1861" y="6873"/>
                  <a:pt x="2945" y="6873"/>
                </a:cubicBezTo>
                <a:lnTo>
                  <a:pt x="18655" y="6873"/>
                </a:lnTo>
                <a:cubicBezTo>
                  <a:pt x="19739" y="6873"/>
                  <a:pt x="20618" y="7752"/>
                  <a:pt x="20618" y="8836"/>
                </a:cubicBezTo>
                <a:cubicBezTo>
                  <a:pt x="20618" y="8836"/>
                  <a:pt x="20618" y="16691"/>
                  <a:pt x="20618" y="16691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4727"/>
                </a:lnTo>
                <a:lnTo>
                  <a:pt x="16691" y="14727"/>
                </a:lnTo>
                <a:cubicBezTo>
                  <a:pt x="16691" y="14727"/>
                  <a:pt x="16691" y="20618"/>
                  <a:pt x="16691" y="20618"/>
                </a:cubicBezTo>
                <a:close/>
                <a:moveTo>
                  <a:pt x="4909" y="982"/>
                </a:moveTo>
                <a:lnTo>
                  <a:pt x="16691" y="982"/>
                </a:lnTo>
                <a:lnTo>
                  <a:pt x="16691" y="5891"/>
                </a:lnTo>
                <a:lnTo>
                  <a:pt x="4909" y="5891"/>
                </a:lnTo>
                <a:cubicBezTo>
                  <a:pt x="4909" y="5891"/>
                  <a:pt x="4909" y="982"/>
                  <a:pt x="4909" y="982"/>
                </a:cubicBezTo>
                <a:close/>
                <a:moveTo>
                  <a:pt x="18655" y="5891"/>
                </a:moveTo>
                <a:lnTo>
                  <a:pt x="17673" y="5891"/>
                </a:ln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4909" y="0"/>
                </a:lnTo>
                <a:cubicBezTo>
                  <a:pt x="4367" y="0"/>
                  <a:pt x="3927" y="440"/>
                  <a:pt x="3927" y="982"/>
                </a:cubicBezTo>
                <a:lnTo>
                  <a:pt x="3927" y="5891"/>
                </a:lnTo>
                <a:lnTo>
                  <a:pt x="2945" y="5891"/>
                </a:lnTo>
                <a:cubicBezTo>
                  <a:pt x="1318" y="5891"/>
                  <a:pt x="0" y="7210"/>
                  <a:pt x="0" y="8836"/>
                </a:cubicBezTo>
                <a:lnTo>
                  <a:pt x="0" y="16691"/>
                </a:lnTo>
                <a:cubicBezTo>
                  <a:pt x="0" y="18318"/>
                  <a:pt x="1318" y="19636"/>
                  <a:pt x="2945" y="19636"/>
                </a:cubicBezTo>
                <a:lnTo>
                  <a:pt x="3927" y="19636"/>
                </a:lnTo>
                <a:lnTo>
                  <a:pt x="3927" y="20618"/>
                </a:lnTo>
                <a:cubicBezTo>
                  <a:pt x="3927" y="21161"/>
                  <a:pt x="4367" y="21600"/>
                  <a:pt x="4909" y="21600"/>
                </a:cubicBezTo>
                <a:lnTo>
                  <a:pt x="16691" y="21600"/>
                </a:lnTo>
                <a:cubicBezTo>
                  <a:pt x="17233" y="21600"/>
                  <a:pt x="17673" y="21161"/>
                  <a:pt x="17673" y="20618"/>
                </a:cubicBezTo>
                <a:lnTo>
                  <a:pt x="17673" y="19636"/>
                </a:lnTo>
                <a:lnTo>
                  <a:pt x="18655" y="19636"/>
                </a:lnTo>
                <a:cubicBezTo>
                  <a:pt x="20282" y="19636"/>
                  <a:pt x="21600" y="18318"/>
                  <a:pt x="21600" y="16691"/>
                </a:cubicBezTo>
                <a:lnTo>
                  <a:pt x="21600" y="8836"/>
                </a:lnTo>
                <a:cubicBezTo>
                  <a:pt x="21600" y="7210"/>
                  <a:pt x="20282" y="5891"/>
                  <a:pt x="18655" y="5891"/>
                </a:cubicBezTo>
                <a:moveTo>
                  <a:pt x="17673" y="8836"/>
                </a:moveTo>
                <a:cubicBezTo>
                  <a:pt x="17131" y="8836"/>
                  <a:pt x="16691" y="9276"/>
                  <a:pt x="16691" y="9818"/>
                </a:cubicBezTo>
                <a:cubicBezTo>
                  <a:pt x="16691" y="10360"/>
                  <a:pt x="17131" y="10800"/>
                  <a:pt x="17673" y="10800"/>
                </a:cubicBezTo>
                <a:cubicBezTo>
                  <a:pt x="18214" y="10800"/>
                  <a:pt x="18655" y="10360"/>
                  <a:pt x="18655" y="9818"/>
                </a:cubicBezTo>
                <a:cubicBezTo>
                  <a:pt x="18655" y="9276"/>
                  <a:pt x="18214" y="8836"/>
                  <a:pt x="17673" y="8836"/>
                </a:cubicBezTo>
                <a:moveTo>
                  <a:pt x="14727" y="8836"/>
                </a:moveTo>
                <a:cubicBezTo>
                  <a:pt x="14186" y="8836"/>
                  <a:pt x="13745" y="9276"/>
                  <a:pt x="13745" y="9818"/>
                </a:cubicBezTo>
                <a:cubicBezTo>
                  <a:pt x="13745" y="10360"/>
                  <a:pt x="14186" y="10800"/>
                  <a:pt x="14727" y="10800"/>
                </a:cubicBezTo>
                <a:cubicBezTo>
                  <a:pt x="15269" y="10800"/>
                  <a:pt x="15709" y="10360"/>
                  <a:pt x="15709" y="9818"/>
                </a:cubicBezTo>
                <a:cubicBezTo>
                  <a:pt x="15709" y="9276"/>
                  <a:pt x="15269" y="8836"/>
                  <a:pt x="14727" y="8836"/>
                </a:cubicBezTo>
                <a:moveTo>
                  <a:pt x="7364" y="16691"/>
                </a:moveTo>
                <a:lnTo>
                  <a:pt x="12273" y="16691"/>
                </a:lnTo>
                <a:cubicBezTo>
                  <a:pt x="12544" y="16691"/>
                  <a:pt x="12764" y="16472"/>
                  <a:pt x="12764" y="16200"/>
                </a:cubicBezTo>
                <a:cubicBezTo>
                  <a:pt x="12764" y="15929"/>
                  <a:pt x="12544" y="15709"/>
                  <a:pt x="12273" y="15709"/>
                </a:cubicBezTo>
                <a:lnTo>
                  <a:pt x="7364" y="15709"/>
                </a:lnTo>
                <a:cubicBezTo>
                  <a:pt x="7092" y="15709"/>
                  <a:pt x="6873" y="15929"/>
                  <a:pt x="6873" y="16200"/>
                </a:cubicBezTo>
                <a:cubicBezTo>
                  <a:pt x="6873" y="16472"/>
                  <a:pt x="7092" y="16691"/>
                  <a:pt x="7364" y="16691"/>
                </a:cubicBezTo>
                <a:moveTo>
                  <a:pt x="7364" y="18655"/>
                </a:move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7893"/>
                  <a:pt x="14508" y="17673"/>
                  <a:pt x="14236" y="17673"/>
                </a:cubicBezTo>
                <a:lnTo>
                  <a:pt x="7364" y="17673"/>
                </a:lnTo>
                <a:cubicBezTo>
                  <a:pt x="7092" y="17673"/>
                  <a:pt x="6873" y="17893"/>
                  <a:pt x="6873" y="18164"/>
                </a:cubicBezTo>
                <a:cubicBezTo>
                  <a:pt x="6873" y="18435"/>
                  <a:pt x="7092" y="18655"/>
                  <a:pt x="7364" y="186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3" name="Shape 2683"/>
          <p:cNvSpPr/>
          <p:nvPr/>
        </p:nvSpPr>
        <p:spPr>
          <a:xfrm>
            <a:off x="19026238" y="2853085"/>
            <a:ext cx="406290" cy="558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05" h="21528" extrusionOk="0">
                <a:moveTo>
                  <a:pt x="13441" y="9294"/>
                </a:moveTo>
                <a:lnTo>
                  <a:pt x="13441" y="9784"/>
                </a:lnTo>
                <a:lnTo>
                  <a:pt x="1344" y="9784"/>
                </a:lnTo>
                <a:lnTo>
                  <a:pt x="1344" y="9294"/>
                </a:lnTo>
                <a:cubicBezTo>
                  <a:pt x="1344" y="7028"/>
                  <a:pt x="3696" y="5163"/>
                  <a:pt x="6720" y="4919"/>
                </a:cubicBezTo>
                <a:lnTo>
                  <a:pt x="6720" y="9784"/>
                </a:lnTo>
                <a:lnTo>
                  <a:pt x="8065" y="9784"/>
                </a:lnTo>
                <a:lnTo>
                  <a:pt x="8065" y="4919"/>
                </a:lnTo>
                <a:cubicBezTo>
                  <a:pt x="11089" y="5163"/>
                  <a:pt x="13441" y="7028"/>
                  <a:pt x="13441" y="9294"/>
                </a:cubicBezTo>
                <a:moveTo>
                  <a:pt x="13441" y="16145"/>
                </a:moveTo>
                <a:cubicBezTo>
                  <a:pt x="13441" y="18578"/>
                  <a:pt x="10733" y="20549"/>
                  <a:pt x="7393" y="20549"/>
                </a:cubicBezTo>
                <a:cubicBezTo>
                  <a:pt x="4052" y="20549"/>
                  <a:pt x="1344" y="18578"/>
                  <a:pt x="1344" y="16145"/>
                </a:cubicBezTo>
                <a:lnTo>
                  <a:pt x="1344" y="10762"/>
                </a:lnTo>
                <a:lnTo>
                  <a:pt x="13441" y="10762"/>
                </a:lnTo>
                <a:cubicBezTo>
                  <a:pt x="13441" y="10762"/>
                  <a:pt x="13441" y="16145"/>
                  <a:pt x="13441" y="16145"/>
                </a:cubicBezTo>
                <a:close/>
                <a:moveTo>
                  <a:pt x="21134" y="48"/>
                </a:moveTo>
                <a:cubicBezTo>
                  <a:pt x="20801" y="-72"/>
                  <a:pt x="20436" y="41"/>
                  <a:pt x="20232" y="268"/>
                </a:cubicBezTo>
                <a:cubicBezTo>
                  <a:pt x="18723" y="1944"/>
                  <a:pt x="16716" y="3504"/>
                  <a:pt x="13069" y="2006"/>
                </a:cubicBezTo>
                <a:cubicBezTo>
                  <a:pt x="10993" y="1153"/>
                  <a:pt x="9603" y="1431"/>
                  <a:pt x="8642" y="1862"/>
                </a:cubicBezTo>
                <a:cubicBezTo>
                  <a:pt x="7655" y="2307"/>
                  <a:pt x="6969" y="3089"/>
                  <a:pt x="6778" y="3935"/>
                </a:cubicBezTo>
                <a:cubicBezTo>
                  <a:pt x="2984" y="4162"/>
                  <a:pt x="0" y="6473"/>
                  <a:pt x="0" y="9294"/>
                </a:cubicBezTo>
                <a:lnTo>
                  <a:pt x="0" y="16145"/>
                </a:lnTo>
                <a:cubicBezTo>
                  <a:pt x="0" y="19118"/>
                  <a:pt x="3310" y="21528"/>
                  <a:pt x="7393" y="21528"/>
                </a:cubicBezTo>
                <a:cubicBezTo>
                  <a:pt x="11475" y="21528"/>
                  <a:pt x="14785" y="19118"/>
                  <a:pt x="14785" y="16145"/>
                </a:cubicBezTo>
                <a:lnTo>
                  <a:pt x="14785" y="9294"/>
                </a:lnTo>
                <a:cubicBezTo>
                  <a:pt x="14785" y="6507"/>
                  <a:pt x="11875" y="4215"/>
                  <a:pt x="8146" y="3940"/>
                </a:cubicBezTo>
                <a:cubicBezTo>
                  <a:pt x="8301" y="3479"/>
                  <a:pt x="8690" y="2991"/>
                  <a:pt x="9348" y="2695"/>
                </a:cubicBezTo>
                <a:cubicBezTo>
                  <a:pt x="10308" y="2263"/>
                  <a:pt x="10946" y="2328"/>
                  <a:pt x="12468" y="2882"/>
                </a:cubicBezTo>
                <a:cubicBezTo>
                  <a:pt x="15022" y="3811"/>
                  <a:pt x="16657" y="3572"/>
                  <a:pt x="17947" y="3206"/>
                </a:cubicBezTo>
                <a:cubicBezTo>
                  <a:pt x="19526" y="2759"/>
                  <a:pt x="20650" y="1847"/>
                  <a:pt x="21434" y="705"/>
                </a:cubicBezTo>
                <a:cubicBezTo>
                  <a:pt x="21600" y="463"/>
                  <a:pt x="21466" y="170"/>
                  <a:pt x="21134" y="48"/>
                </a:cubicBezTo>
                <a:moveTo>
                  <a:pt x="7393" y="18592"/>
                </a:moveTo>
                <a:cubicBezTo>
                  <a:pt x="8134" y="18592"/>
                  <a:pt x="8737" y="18153"/>
                  <a:pt x="8737" y="17613"/>
                </a:cubicBezTo>
                <a:cubicBezTo>
                  <a:pt x="8737" y="17073"/>
                  <a:pt x="8134" y="16635"/>
                  <a:pt x="7393" y="16635"/>
                </a:cubicBezTo>
                <a:cubicBezTo>
                  <a:pt x="6650" y="16635"/>
                  <a:pt x="6048" y="17073"/>
                  <a:pt x="6048" y="17613"/>
                </a:cubicBezTo>
                <a:cubicBezTo>
                  <a:pt x="6048" y="18153"/>
                  <a:pt x="6650" y="18592"/>
                  <a:pt x="7393" y="1859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4" name="Shape 2684"/>
          <p:cNvSpPr/>
          <p:nvPr/>
        </p:nvSpPr>
        <p:spPr>
          <a:xfrm>
            <a:off x="20016581" y="2853083"/>
            <a:ext cx="558654" cy="5592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40" extrusionOk="0">
                <a:moveTo>
                  <a:pt x="4418" y="19095"/>
                </a:moveTo>
                <a:lnTo>
                  <a:pt x="5400" y="19095"/>
                </a:lnTo>
                <a:lnTo>
                  <a:pt x="5400" y="18117"/>
                </a:lnTo>
                <a:lnTo>
                  <a:pt x="4418" y="18117"/>
                </a:lnTo>
                <a:cubicBezTo>
                  <a:pt x="4418" y="18117"/>
                  <a:pt x="4418" y="19095"/>
                  <a:pt x="4418" y="19095"/>
                </a:cubicBezTo>
                <a:close/>
                <a:moveTo>
                  <a:pt x="6382" y="16160"/>
                </a:moveTo>
                <a:lnTo>
                  <a:pt x="5400" y="16160"/>
                </a:lnTo>
                <a:lnTo>
                  <a:pt x="5400" y="17139"/>
                </a:lnTo>
                <a:lnTo>
                  <a:pt x="6382" y="17139"/>
                </a:lnTo>
                <a:cubicBezTo>
                  <a:pt x="6382" y="17139"/>
                  <a:pt x="6382" y="16160"/>
                  <a:pt x="6382" y="16160"/>
                </a:cubicBezTo>
                <a:close/>
                <a:moveTo>
                  <a:pt x="2455" y="19095"/>
                </a:moveTo>
                <a:lnTo>
                  <a:pt x="3436" y="19095"/>
                </a:lnTo>
                <a:lnTo>
                  <a:pt x="3436" y="18117"/>
                </a:lnTo>
                <a:lnTo>
                  <a:pt x="2455" y="18117"/>
                </a:lnTo>
                <a:cubicBezTo>
                  <a:pt x="2455" y="18117"/>
                  <a:pt x="2455" y="19095"/>
                  <a:pt x="2455" y="19095"/>
                </a:cubicBezTo>
                <a:close/>
                <a:moveTo>
                  <a:pt x="4418" y="16160"/>
                </a:moveTo>
                <a:lnTo>
                  <a:pt x="2455" y="16160"/>
                </a:lnTo>
                <a:lnTo>
                  <a:pt x="2455" y="17139"/>
                </a:lnTo>
                <a:lnTo>
                  <a:pt x="4418" y="17139"/>
                </a:lnTo>
                <a:cubicBezTo>
                  <a:pt x="4418" y="17139"/>
                  <a:pt x="4418" y="16160"/>
                  <a:pt x="4418" y="16160"/>
                </a:cubicBezTo>
                <a:close/>
                <a:moveTo>
                  <a:pt x="3436" y="12248"/>
                </a:moveTo>
                <a:lnTo>
                  <a:pt x="2455" y="12248"/>
                </a:lnTo>
                <a:lnTo>
                  <a:pt x="2455" y="13226"/>
                </a:lnTo>
                <a:lnTo>
                  <a:pt x="3436" y="13226"/>
                </a:lnTo>
                <a:cubicBezTo>
                  <a:pt x="3436" y="13226"/>
                  <a:pt x="3436" y="12248"/>
                  <a:pt x="3436" y="12248"/>
                </a:cubicBezTo>
                <a:close/>
                <a:moveTo>
                  <a:pt x="3436" y="14204"/>
                </a:moveTo>
                <a:lnTo>
                  <a:pt x="2455" y="14204"/>
                </a:lnTo>
                <a:lnTo>
                  <a:pt x="2455" y="15182"/>
                </a:lnTo>
                <a:lnTo>
                  <a:pt x="3436" y="15182"/>
                </a:lnTo>
                <a:cubicBezTo>
                  <a:pt x="3436" y="15182"/>
                  <a:pt x="3436" y="14204"/>
                  <a:pt x="3436" y="14204"/>
                </a:cubicBezTo>
                <a:close/>
                <a:moveTo>
                  <a:pt x="6382" y="19095"/>
                </a:moveTo>
                <a:lnTo>
                  <a:pt x="13255" y="19095"/>
                </a:lnTo>
                <a:lnTo>
                  <a:pt x="13255" y="18117"/>
                </a:lnTo>
                <a:lnTo>
                  <a:pt x="6382" y="18117"/>
                </a:lnTo>
                <a:cubicBezTo>
                  <a:pt x="6382" y="18117"/>
                  <a:pt x="6382" y="19095"/>
                  <a:pt x="6382" y="19095"/>
                </a:cubicBezTo>
                <a:close/>
                <a:moveTo>
                  <a:pt x="18164" y="15182"/>
                </a:moveTo>
                <a:lnTo>
                  <a:pt x="19145" y="15182"/>
                </a:lnTo>
                <a:lnTo>
                  <a:pt x="19145" y="14204"/>
                </a:lnTo>
                <a:lnTo>
                  <a:pt x="18164" y="14204"/>
                </a:lnTo>
                <a:cubicBezTo>
                  <a:pt x="18164" y="14204"/>
                  <a:pt x="18164" y="15182"/>
                  <a:pt x="18164" y="15182"/>
                </a:cubicBezTo>
                <a:close/>
                <a:moveTo>
                  <a:pt x="5400" y="14204"/>
                </a:moveTo>
                <a:lnTo>
                  <a:pt x="4418" y="14204"/>
                </a:lnTo>
                <a:lnTo>
                  <a:pt x="4418" y="15182"/>
                </a:lnTo>
                <a:lnTo>
                  <a:pt x="5400" y="15182"/>
                </a:lnTo>
                <a:cubicBezTo>
                  <a:pt x="5400" y="15182"/>
                  <a:pt x="5400" y="14204"/>
                  <a:pt x="5400" y="14204"/>
                </a:cubicBezTo>
                <a:close/>
                <a:moveTo>
                  <a:pt x="14236" y="16160"/>
                </a:moveTo>
                <a:lnTo>
                  <a:pt x="13255" y="16160"/>
                </a:lnTo>
                <a:lnTo>
                  <a:pt x="13255" y="17139"/>
                </a:lnTo>
                <a:lnTo>
                  <a:pt x="14236" y="17139"/>
                </a:lnTo>
                <a:cubicBezTo>
                  <a:pt x="14236" y="17139"/>
                  <a:pt x="14236" y="16160"/>
                  <a:pt x="14236" y="16160"/>
                </a:cubicBezTo>
                <a:close/>
                <a:moveTo>
                  <a:pt x="20618" y="19584"/>
                </a:moveTo>
                <a:cubicBezTo>
                  <a:pt x="20618" y="20124"/>
                  <a:pt x="20178" y="20562"/>
                  <a:pt x="19636" y="20562"/>
                </a:cubicBezTo>
                <a:lnTo>
                  <a:pt x="1964" y="20562"/>
                </a:lnTo>
                <a:cubicBezTo>
                  <a:pt x="1421" y="20562"/>
                  <a:pt x="982" y="20124"/>
                  <a:pt x="982" y="19584"/>
                </a:cubicBezTo>
                <a:lnTo>
                  <a:pt x="982" y="11759"/>
                </a:lnTo>
                <a:cubicBezTo>
                  <a:pt x="982" y="11219"/>
                  <a:pt x="1421" y="10781"/>
                  <a:pt x="1964" y="10781"/>
                </a:cubicBezTo>
                <a:lnTo>
                  <a:pt x="19636" y="10781"/>
                </a:lnTo>
                <a:cubicBezTo>
                  <a:pt x="20178" y="10781"/>
                  <a:pt x="20618" y="11219"/>
                  <a:pt x="20618" y="11759"/>
                </a:cubicBezTo>
                <a:cubicBezTo>
                  <a:pt x="20618" y="11759"/>
                  <a:pt x="20618" y="19584"/>
                  <a:pt x="20618" y="19584"/>
                </a:cubicBezTo>
                <a:close/>
                <a:moveTo>
                  <a:pt x="19636" y="9803"/>
                </a:moveTo>
                <a:lnTo>
                  <a:pt x="10965" y="9803"/>
                </a:lnTo>
                <a:cubicBezTo>
                  <a:pt x="10831" y="9456"/>
                  <a:pt x="10774" y="9056"/>
                  <a:pt x="10870" y="8651"/>
                </a:cubicBezTo>
                <a:cubicBezTo>
                  <a:pt x="11059" y="7853"/>
                  <a:pt x="11782" y="7224"/>
                  <a:pt x="12961" y="6833"/>
                </a:cubicBezTo>
                <a:cubicBezTo>
                  <a:pt x="14940" y="6175"/>
                  <a:pt x="15841" y="4938"/>
                  <a:pt x="16249" y="4015"/>
                </a:cubicBezTo>
                <a:cubicBezTo>
                  <a:pt x="16747" y="2886"/>
                  <a:pt x="16801" y="1546"/>
                  <a:pt x="16396" y="335"/>
                </a:cubicBezTo>
                <a:cubicBezTo>
                  <a:pt x="16310" y="79"/>
                  <a:pt x="16032" y="-60"/>
                  <a:pt x="15774" y="25"/>
                </a:cubicBezTo>
                <a:cubicBezTo>
                  <a:pt x="15517" y="112"/>
                  <a:pt x="15378" y="388"/>
                  <a:pt x="15464" y="644"/>
                </a:cubicBezTo>
                <a:cubicBezTo>
                  <a:pt x="16091" y="2519"/>
                  <a:pt x="15480" y="4964"/>
                  <a:pt x="12650" y="5904"/>
                </a:cubicBezTo>
                <a:cubicBezTo>
                  <a:pt x="10733" y="6542"/>
                  <a:pt x="10105" y="7627"/>
                  <a:pt x="9915" y="8427"/>
                </a:cubicBezTo>
                <a:cubicBezTo>
                  <a:pt x="9809" y="8876"/>
                  <a:pt x="9824" y="9351"/>
                  <a:pt x="9937" y="9803"/>
                </a:cubicBezTo>
                <a:lnTo>
                  <a:pt x="1964" y="9803"/>
                </a:lnTo>
                <a:cubicBezTo>
                  <a:pt x="879" y="9803"/>
                  <a:pt x="0" y="10679"/>
                  <a:pt x="0" y="11759"/>
                </a:cubicBezTo>
                <a:lnTo>
                  <a:pt x="0" y="19584"/>
                </a:lnTo>
                <a:cubicBezTo>
                  <a:pt x="0" y="20664"/>
                  <a:pt x="879" y="21540"/>
                  <a:pt x="1964" y="21540"/>
                </a:cubicBezTo>
                <a:lnTo>
                  <a:pt x="19636" y="21540"/>
                </a:lnTo>
                <a:cubicBezTo>
                  <a:pt x="20721" y="21540"/>
                  <a:pt x="21600" y="20664"/>
                  <a:pt x="21600" y="19584"/>
                </a:cubicBezTo>
                <a:lnTo>
                  <a:pt x="21600" y="11759"/>
                </a:lnTo>
                <a:cubicBezTo>
                  <a:pt x="21600" y="10679"/>
                  <a:pt x="20721" y="9803"/>
                  <a:pt x="19636" y="9803"/>
                </a:cubicBezTo>
                <a:moveTo>
                  <a:pt x="17182" y="17139"/>
                </a:moveTo>
                <a:lnTo>
                  <a:pt x="19145" y="17139"/>
                </a:lnTo>
                <a:lnTo>
                  <a:pt x="19145" y="16160"/>
                </a:lnTo>
                <a:lnTo>
                  <a:pt x="17182" y="16160"/>
                </a:lnTo>
                <a:cubicBezTo>
                  <a:pt x="17182" y="16160"/>
                  <a:pt x="17182" y="17139"/>
                  <a:pt x="17182" y="17139"/>
                </a:cubicBezTo>
                <a:close/>
                <a:moveTo>
                  <a:pt x="14236" y="19095"/>
                </a:moveTo>
                <a:lnTo>
                  <a:pt x="15218" y="19095"/>
                </a:lnTo>
                <a:lnTo>
                  <a:pt x="15218" y="18117"/>
                </a:lnTo>
                <a:lnTo>
                  <a:pt x="14236" y="18117"/>
                </a:lnTo>
                <a:cubicBezTo>
                  <a:pt x="14236" y="18117"/>
                  <a:pt x="14236" y="19095"/>
                  <a:pt x="14236" y="19095"/>
                </a:cubicBezTo>
                <a:close/>
                <a:moveTo>
                  <a:pt x="16200" y="19095"/>
                </a:moveTo>
                <a:lnTo>
                  <a:pt x="17182" y="19095"/>
                </a:lnTo>
                <a:lnTo>
                  <a:pt x="17182" y="18117"/>
                </a:lnTo>
                <a:lnTo>
                  <a:pt x="16200" y="18117"/>
                </a:lnTo>
                <a:cubicBezTo>
                  <a:pt x="16200" y="18117"/>
                  <a:pt x="16200" y="19095"/>
                  <a:pt x="16200" y="19095"/>
                </a:cubicBezTo>
                <a:close/>
                <a:moveTo>
                  <a:pt x="18164" y="19095"/>
                </a:moveTo>
                <a:lnTo>
                  <a:pt x="19145" y="19095"/>
                </a:lnTo>
                <a:lnTo>
                  <a:pt x="19145" y="18117"/>
                </a:lnTo>
                <a:lnTo>
                  <a:pt x="18164" y="18117"/>
                </a:lnTo>
                <a:cubicBezTo>
                  <a:pt x="18164" y="18117"/>
                  <a:pt x="18164" y="19095"/>
                  <a:pt x="18164" y="19095"/>
                </a:cubicBezTo>
                <a:close/>
                <a:moveTo>
                  <a:pt x="16200" y="16160"/>
                </a:moveTo>
                <a:lnTo>
                  <a:pt x="15218" y="16160"/>
                </a:lnTo>
                <a:lnTo>
                  <a:pt x="15218" y="17139"/>
                </a:lnTo>
                <a:lnTo>
                  <a:pt x="16200" y="17139"/>
                </a:lnTo>
                <a:cubicBezTo>
                  <a:pt x="16200" y="17139"/>
                  <a:pt x="16200" y="16160"/>
                  <a:pt x="16200" y="16160"/>
                </a:cubicBezTo>
                <a:close/>
                <a:moveTo>
                  <a:pt x="18164" y="13226"/>
                </a:moveTo>
                <a:lnTo>
                  <a:pt x="19145" y="13226"/>
                </a:lnTo>
                <a:lnTo>
                  <a:pt x="19145" y="12248"/>
                </a:lnTo>
                <a:lnTo>
                  <a:pt x="18164" y="12248"/>
                </a:lnTo>
                <a:cubicBezTo>
                  <a:pt x="18164" y="12248"/>
                  <a:pt x="18164" y="13226"/>
                  <a:pt x="18164" y="13226"/>
                </a:cubicBezTo>
                <a:close/>
                <a:moveTo>
                  <a:pt x="13255" y="12248"/>
                </a:moveTo>
                <a:lnTo>
                  <a:pt x="12273" y="12248"/>
                </a:lnTo>
                <a:lnTo>
                  <a:pt x="12273" y="13226"/>
                </a:lnTo>
                <a:lnTo>
                  <a:pt x="13255" y="13226"/>
                </a:lnTo>
                <a:cubicBezTo>
                  <a:pt x="13255" y="13226"/>
                  <a:pt x="13255" y="12248"/>
                  <a:pt x="13255" y="12248"/>
                </a:cubicBezTo>
                <a:close/>
                <a:moveTo>
                  <a:pt x="13255" y="14204"/>
                </a:moveTo>
                <a:lnTo>
                  <a:pt x="12273" y="14204"/>
                </a:lnTo>
                <a:lnTo>
                  <a:pt x="12273" y="15182"/>
                </a:lnTo>
                <a:lnTo>
                  <a:pt x="13255" y="15182"/>
                </a:lnTo>
                <a:cubicBezTo>
                  <a:pt x="13255" y="15182"/>
                  <a:pt x="13255" y="14204"/>
                  <a:pt x="13255" y="14204"/>
                </a:cubicBezTo>
                <a:close/>
                <a:moveTo>
                  <a:pt x="15218" y="14204"/>
                </a:moveTo>
                <a:lnTo>
                  <a:pt x="14236" y="14204"/>
                </a:lnTo>
                <a:lnTo>
                  <a:pt x="14236" y="15182"/>
                </a:lnTo>
                <a:lnTo>
                  <a:pt x="15218" y="15182"/>
                </a:lnTo>
                <a:cubicBezTo>
                  <a:pt x="15218" y="15182"/>
                  <a:pt x="15218" y="14204"/>
                  <a:pt x="15218" y="14204"/>
                </a:cubicBezTo>
                <a:close/>
                <a:moveTo>
                  <a:pt x="17182" y="14204"/>
                </a:moveTo>
                <a:lnTo>
                  <a:pt x="16200" y="14204"/>
                </a:lnTo>
                <a:lnTo>
                  <a:pt x="16200" y="15182"/>
                </a:lnTo>
                <a:lnTo>
                  <a:pt x="17182" y="15182"/>
                </a:lnTo>
                <a:cubicBezTo>
                  <a:pt x="17182" y="15182"/>
                  <a:pt x="17182" y="14204"/>
                  <a:pt x="17182" y="14204"/>
                </a:cubicBezTo>
                <a:close/>
                <a:moveTo>
                  <a:pt x="15218" y="12248"/>
                </a:moveTo>
                <a:lnTo>
                  <a:pt x="14236" y="12248"/>
                </a:lnTo>
                <a:lnTo>
                  <a:pt x="14236" y="13226"/>
                </a:lnTo>
                <a:lnTo>
                  <a:pt x="15218" y="13226"/>
                </a:lnTo>
                <a:cubicBezTo>
                  <a:pt x="15218" y="13226"/>
                  <a:pt x="15218" y="12248"/>
                  <a:pt x="15218" y="12248"/>
                </a:cubicBezTo>
                <a:close/>
                <a:moveTo>
                  <a:pt x="17182" y="12248"/>
                </a:moveTo>
                <a:lnTo>
                  <a:pt x="16200" y="12248"/>
                </a:lnTo>
                <a:lnTo>
                  <a:pt x="16200" y="13226"/>
                </a:lnTo>
                <a:lnTo>
                  <a:pt x="17182" y="13226"/>
                </a:lnTo>
                <a:cubicBezTo>
                  <a:pt x="17182" y="13226"/>
                  <a:pt x="17182" y="12248"/>
                  <a:pt x="17182" y="12248"/>
                </a:cubicBezTo>
                <a:close/>
                <a:moveTo>
                  <a:pt x="11291" y="12248"/>
                </a:moveTo>
                <a:lnTo>
                  <a:pt x="10309" y="12248"/>
                </a:lnTo>
                <a:lnTo>
                  <a:pt x="10309" y="13226"/>
                </a:lnTo>
                <a:lnTo>
                  <a:pt x="11291" y="13226"/>
                </a:lnTo>
                <a:cubicBezTo>
                  <a:pt x="11291" y="13226"/>
                  <a:pt x="11291" y="12248"/>
                  <a:pt x="11291" y="12248"/>
                </a:cubicBezTo>
                <a:close/>
                <a:moveTo>
                  <a:pt x="5400" y="12248"/>
                </a:moveTo>
                <a:lnTo>
                  <a:pt x="4418" y="12248"/>
                </a:lnTo>
                <a:lnTo>
                  <a:pt x="4418" y="13226"/>
                </a:lnTo>
                <a:lnTo>
                  <a:pt x="5400" y="13226"/>
                </a:lnTo>
                <a:cubicBezTo>
                  <a:pt x="5400" y="13226"/>
                  <a:pt x="5400" y="12248"/>
                  <a:pt x="5400" y="12248"/>
                </a:cubicBezTo>
                <a:close/>
                <a:moveTo>
                  <a:pt x="7364" y="17139"/>
                </a:moveTo>
                <a:lnTo>
                  <a:pt x="8345" y="17139"/>
                </a:lnTo>
                <a:lnTo>
                  <a:pt x="8345" y="16160"/>
                </a:lnTo>
                <a:lnTo>
                  <a:pt x="7364" y="16160"/>
                </a:lnTo>
                <a:cubicBezTo>
                  <a:pt x="7364" y="16160"/>
                  <a:pt x="7364" y="17139"/>
                  <a:pt x="7364" y="17139"/>
                </a:cubicBezTo>
                <a:close/>
                <a:moveTo>
                  <a:pt x="7364" y="14204"/>
                </a:moveTo>
                <a:lnTo>
                  <a:pt x="6382" y="14204"/>
                </a:lnTo>
                <a:lnTo>
                  <a:pt x="6382" y="15182"/>
                </a:lnTo>
                <a:lnTo>
                  <a:pt x="7364" y="15182"/>
                </a:lnTo>
                <a:cubicBezTo>
                  <a:pt x="7364" y="15182"/>
                  <a:pt x="7364" y="14204"/>
                  <a:pt x="7364" y="14204"/>
                </a:cubicBezTo>
                <a:close/>
                <a:moveTo>
                  <a:pt x="7364" y="12248"/>
                </a:moveTo>
                <a:lnTo>
                  <a:pt x="6382" y="12248"/>
                </a:lnTo>
                <a:lnTo>
                  <a:pt x="6382" y="13226"/>
                </a:lnTo>
                <a:lnTo>
                  <a:pt x="7364" y="13226"/>
                </a:lnTo>
                <a:cubicBezTo>
                  <a:pt x="7364" y="13226"/>
                  <a:pt x="7364" y="12248"/>
                  <a:pt x="7364" y="12248"/>
                </a:cubicBezTo>
                <a:close/>
                <a:moveTo>
                  <a:pt x="9327" y="14204"/>
                </a:moveTo>
                <a:lnTo>
                  <a:pt x="8345" y="14204"/>
                </a:lnTo>
                <a:lnTo>
                  <a:pt x="8345" y="15182"/>
                </a:lnTo>
                <a:lnTo>
                  <a:pt x="9327" y="15182"/>
                </a:lnTo>
                <a:cubicBezTo>
                  <a:pt x="9327" y="15182"/>
                  <a:pt x="9327" y="14204"/>
                  <a:pt x="9327" y="14204"/>
                </a:cubicBezTo>
                <a:close/>
                <a:moveTo>
                  <a:pt x="11291" y="14204"/>
                </a:moveTo>
                <a:lnTo>
                  <a:pt x="10309" y="14204"/>
                </a:lnTo>
                <a:lnTo>
                  <a:pt x="10309" y="15182"/>
                </a:lnTo>
                <a:lnTo>
                  <a:pt x="11291" y="15182"/>
                </a:lnTo>
                <a:cubicBezTo>
                  <a:pt x="11291" y="15182"/>
                  <a:pt x="11291" y="14204"/>
                  <a:pt x="11291" y="14204"/>
                </a:cubicBezTo>
                <a:close/>
                <a:moveTo>
                  <a:pt x="9327" y="12248"/>
                </a:moveTo>
                <a:lnTo>
                  <a:pt x="8345" y="12248"/>
                </a:lnTo>
                <a:lnTo>
                  <a:pt x="8345" y="13226"/>
                </a:lnTo>
                <a:lnTo>
                  <a:pt x="9327" y="13226"/>
                </a:lnTo>
                <a:cubicBezTo>
                  <a:pt x="9327" y="13226"/>
                  <a:pt x="9327" y="12248"/>
                  <a:pt x="9327" y="12248"/>
                </a:cubicBezTo>
                <a:close/>
                <a:moveTo>
                  <a:pt x="11291" y="17139"/>
                </a:moveTo>
                <a:lnTo>
                  <a:pt x="12273" y="17139"/>
                </a:lnTo>
                <a:lnTo>
                  <a:pt x="12273" y="16160"/>
                </a:lnTo>
                <a:lnTo>
                  <a:pt x="11291" y="16160"/>
                </a:lnTo>
                <a:cubicBezTo>
                  <a:pt x="11291" y="16160"/>
                  <a:pt x="11291" y="17139"/>
                  <a:pt x="11291" y="17139"/>
                </a:cubicBezTo>
                <a:close/>
                <a:moveTo>
                  <a:pt x="9327" y="17139"/>
                </a:moveTo>
                <a:lnTo>
                  <a:pt x="10309" y="17139"/>
                </a:lnTo>
                <a:lnTo>
                  <a:pt x="10309" y="16160"/>
                </a:lnTo>
                <a:lnTo>
                  <a:pt x="9327" y="16160"/>
                </a:lnTo>
                <a:cubicBezTo>
                  <a:pt x="9327" y="16160"/>
                  <a:pt x="9327" y="17139"/>
                  <a:pt x="9327" y="17139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5" name="Shape 2685"/>
          <p:cNvSpPr/>
          <p:nvPr/>
        </p:nvSpPr>
        <p:spPr>
          <a:xfrm>
            <a:off x="21083103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145"/>
                </a:moveTo>
                <a:cubicBezTo>
                  <a:pt x="20618" y="19959"/>
                  <a:pt x="19959" y="20618"/>
                  <a:pt x="19145" y="20618"/>
                </a:cubicBezTo>
                <a:cubicBezTo>
                  <a:pt x="18332" y="20618"/>
                  <a:pt x="17673" y="19959"/>
                  <a:pt x="17673" y="19145"/>
                </a:cubicBezTo>
                <a:lnTo>
                  <a:pt x="17673" y="14236"/>
                </a:lnTo>
                <a:cubicBezTo>
                  <a:pt x="17673" y="13424"/>
                  <a:pt x="18332" y="12764"/>
                  <a:pt x="19145" y="12764"/>
                </a:cubicBezTo>
                <a:cubicBezTo>
                  <a:pt x="19959" y="12764"/>
                  <a:pt x="20618" y="13424"/>
                  <a:pt x="20618" y="14236"/>
                </a:cubicBezTo>
                <a:cubicBezTo>
                  <a:pt x="20618" y="14236"/>
                  <a:pt x="20618" y="19145"/>
                  <a:pt x="20618" y="19145"/>
                </a:cubicBezTo>
                <a:close/>
                <a:moveTo>
                  <a:pt x="3927" y="14236"/>
                </a:moveTo>
                <a:lnTo>
                  <a:pt x="3927" y="19145"/>
                </a:lnTo>
                <a:cubicBezTo>
                  <a:pt x="3927" y="19959"/>
                  <a:pt x="3268" y="20618"/>
                  <a:pt x="2455" y="20618"/>
                </a:cubicBezTo>
                <a:cubicBezTo>
                  <a:pt x="1641" y="20618"/>
                  <a:pt x="982" y="19959"/>
                  <a:pt x="982" y="19145"/>
                </a:cubicBezTo>
                <a:lnTo>
                  <a:pt x="982" y="14236"/>
                </a:lnTo>
                <a:cubicBezTo>
                  <a:pt x="982" y="13424"/>
                  <a:pt x="1641" y="12764"/>
                  <a:pt x="2455" y="12764"/>
                </a:cubicBezTo>
                <a:cubicBezTo>
                  <a:pt x="3268" y="12764"/>
                  <a:pt x="3927" y="13424"/>
                  <a:pt x="3927" y="14236"/>
                </a:cubicBezTo>
                <a:moveTo>
                  <a:pt x="19636" y="11831"/>
                </a:moveTo>
                <a:lnTo>
                  <a:pt x="19636" y="5891"/>
                </a:lnTo>
                <a:cubicBezTo>
                  <a:pt x="19636" y="2638"/>
                  <a:pt x="16999" y="0"/>
                  <a:pt x="13745" y="0"/>
                </a:cubicBezTo>
                <a:lnTo>
                  <a:pt x="7855" y="0"/>
                </a:lnTo>
                <a:cubicBezTo>
                  <a:pt x="4601" y="0"/>
                  <a:pt x="1964" y="2638"/>
                  <a:pt x="1964" y="5891"/>
                </a:cubicBezTo>
                <a:lnTo>
                  <a:pt x="1964" y="11831"/>
                </a:lnTo>
                <a:cubicBezTo>
                  <a:pt x="843" y="12059"/>
                  <a:pt x="0" y="13049"/>
                  <a:pt x="0" y="14236"/>
                </a:cubicBezTo>
                <a:lnTo>
                  <a:pt x="0" y="19145"/>
                </a:lnTo>
                <a:cubicBezTo>
                  <a:pt x="0" y="20501"/>
                  <a:pt x="1099" y="21600"/>
                  <a:pt x="2455" y="21600"/>
                </a:cubicBezTo>
                <a:cubicBezTo>
                  <a:pt x="3810" y="21600"/>
                  <a:pt x="4909" y="20501"/>
                  <a:pt x="4909" y="19145"/>
                </a:cubicBezTo>
                <a:lnTo>
                  <a:pt x="4909" y="14236"/>
                </a:lnTo>
                <a:cubicBezTo>
                  <a:pt x="4909" y="13049"/>
                  <a:pt x="4066" y="12059"/>
                  <a:pt x="2945" y="11831"/>
                </a:cubicBezTo>
                <a:lnTo>
                  <a:pt x="2945" y="5891"/>
                </a:lnTo>
                <a:cubicBezTo>
                  <a:pt x="2945" y="3180"/>
                  <a:pt x="5144" y="982"/>
                  <a:pt x="7855" y="982"/>
                </a:cubicBezTo>
                <a:lnTo>
                  <a:pt x="13745" y="982"/>
                </a:lnTo>
                <a:cubicBezTo>
                  <a:pt x="16457" y="982"/>
                  <a:pt x="18655" y="3180"/>
                  <a:pt x="18655" y="5891"/>
                </a:cubicBezTo>
                <a:lnTo>
                  <a:pt x="18655" y="11831"/>
                </a:lnTo>
                <a:cubicBezTo>
                  <a:pt x="17534" y="12059"/>
                  <a:pt x="16691" y="13049"/>
                  <a:pt x="16691" y="14236"/>
                </a:cubicBezTo>
                <a:lnTo>
                  <a:pt x="16691" y="19145"/>
                </a:lnTo>
                <a:cubicBezTo>
                  <a:pt x="16691" y="20501"/>
                  <a:pt x="17790" y="21600"/>
                  <a:pt x="19145" y="21600"/>
                </a:cubicBezTo>
                <a:cubicBezTo>
                  <a:pt x="20501" y="21600"/>
                  <a:pt x="21600" y="20501"/>
                  <a:pt x="21600" y="19145"/>
                </a:cubicBezTo>
                <a:lnTo>
                  <a:pt x="21600" y="14236"/>
                </a:lnTo>
                <a:cubicBezTo>
                  <a:pt x="21600" y="13049"/>
                  <a:pt x="20757" y="12059"/>
                  <a:pt x="19636" y="1183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6" name="Shape 2686"/>
          <p:cNvSpPr/>
          <p:nvPr/>
        </p:nvSpPr>
        <p:spPr>
          <a:xfrm>
            <a:off x="22149625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7673"/>
                </a:moveTo>
                <a:cubicBezTo>
                  <a:pt x="20618" y="18215"/>
                  <a:pt x="20178" y="18655"/>
                  <a:pt x="19636" y="18655"/>
                </a:cubicBezTo>
                <a:lnTo>
                  <a:pt x="19636" y="14727"/>
                </a:lnTo>
                <a:cubicBezTo>
                  <a:pt x="20178" y="14727"/>
                  <a:pt x="20618" y="15167"/>
                  <a:pt x="20618" y="15709"/>
                </a:cubicBez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18655" y="19145"/>
                </a:moveTo>
                <a:cubicBezTo>
                  <a:pt x="18655" y="19959"/>
                  <a:pt x="17995" y="20618"/>
                  <a:pt x="17182" y="20618"/>
                </a:cubicBezTo>
                <a:cubicBezTo>
                  <a:pt x="16368" y="20618"/>
                  <a:pt x="15709" y="19959"/>
                  <a:pt x="15709" y="19145"/>
                </a:cubicBezTo>
                <a:lnTo>
                  <a:pt x="15709" y="14236"/>
                </a:lnTo>
                <a:cubicBezTo>
                  <a:pt x="15709" y="13424"/>
                  <a:pt x="16368" y="12764"/>
                  <a:pt x="17182" y="12764"/>
                </a:cubicBezTo>
                <a:cubicBezTo>
                  <a:pt x="17995" y="12764"/>
                  <a:pt x="18655" y="13424"/>
                  <a:pt x="18655" y="14236"/>
                </a:cubicBezTo>
                <a:cubicBezTo>
                  <a:pt x="18655" y="14236"/>
                  <a:pt x="18655" y="19145"/>
                  <a:pt x="18655" y="19145"/>
                </a:cubicBezTo>
                <a:close/>
                <a:moveTo>
                  <a:pt x="4418" y="12764"/>
                </a:moveTo>
                <a:cubicBezTo>
                  <a:pt x="5231" y="12764"/>
                  <a:pt x="5891" y="13424"/>
                  <a:pt x="5891" y="14236"/>
                </a:cubicBezTo>
                <a:lnTo>
                  <a:pt x="5891" y="19145"/>
                </a:lnTo>
                <a:cubicBezTo>
                  <a:pt x="5891" y="19959"/>
                  <a:pt x="5231" y="20618"/>
                  <a:pt x="4418" y="20618"/>
                </a:cubicBezTo>
                <a:cubicBezTo>
                  <a:pt x="3605" y="20618"/>
                  <a:pt x="2945" y="19959"/>
                  <a:pt x="2945" y="19145"/>
                </a:cubicBezTo>
                <a:lnTo>
                  <a:pt x="2945" y="14236"/>
                </a:lnTo>
                <a:cubicBezTo>
                  <a:pt x="2945" y="13424"/>
                  <a:pt x="3605" y="12764"/>
                  <a:pt x="4418" y="12764"/>
                </a:cubicBezTo>
                <a:moveTo>
                  <a:pt x="1964" y="18655"/>
                </a:moveTo>
                <a:cubicBezTo>
                  <a:pt x="1422" y="18655"/>
                  <a:pt x="982" y="18215"/>
                  <a:pt x="982" y="17673"/>
                </a:cubicBezTo>
                <a:lnTo>
                  <a:pt x="982" y="15709"/>
                </a:lnTo>
                <a:cubicBezTo>
                  <a:pt x="982" y="15167"/>
                  <a:pt x="1422" y="14727"/>
                  <a:pt x="1964" y="14727"/>
                </a:cubicBezTo>
                <a:cubicBezTo>
                  <a:pt x="1964" y="14727"/>
                  <a:pt x="1964" y="18655"/>
                  <a:pt x="1964" y="18655"/>
                </a:cubicBezTo>
                <a:close/>
                <a:moveTo>
                  <a:pt x="19636" y="13745"/>
                </a:moveTo>
                <a:lnTo>
                  <a:pt x="19636" y="5891"/>
                </a:lnTo>
                <a:cubicBezTo>
                  <a:pt x="19636" y="2638"/>
                  <a:pt x="16999" y="0"/>
                  <a:pt x="13745" y="0"/>
                </a:cubicBezTo>
                <a:lnTo>
                  <a:pt x="7855" y="0"/>
                </a:lnTo>
                <a:cubicBezTo>
                  <a:pt x="4601" y="0"/>
                  <a:pt x="1964" y="2638"/>
                  <a:pt x="1964" y="5891"/>
                </a:cubicBezTo>
                <a:lnTo>
                  <a:pt x="1964" y="13745"/>
                </a:lnTo>
                <a:cubicBezTo>
                  <a:pt x="879" y="13745"/>
                  <a:pt x="0" y="14625"/>
                  <a:pt x="0" y="15709"/>
                </a:cubicBezTo>
                <a:lnTo>
                  <a:pt x="0" y="17673"/>
                </a:lnTo>
                <a:cubicBezTo>
                  <a:pt x="0" y="18757"/>
                  <a:pt x="879" y="19636"/>
                  <a:pt x="1964" y="19636"/>
                </a:cubicBezTo>
                <a:lnTo>
                  <a:pt x="2013" y="19636"/>
                </a:lnTo>
                <a:cubicBezTo>
                  <a:pt x="2241" y="20757"/>
                  <a:pt x="3231" y="21600"/>
                  <a:pt x="4418" y="21600"/>
                </a:cubicBezTo>
                <a:cubicBezTo>
                  <a:pt x="5774" y="21600"/>
                  <a:pt x="6873" y="20501"/>
                  <a:pt x="6873" y="19145"/>
                </a:cubicBezTo>
                <a:lnTo>
                  <a:pt x="6873" y="14236"/>
                </a:lnTo>
                <a:cubicBezTo>
                  <a:pt x="6873" y="12881"/>
                  <a:pt x="5774" y="11782"/>
                  <a:pt x="4418" y="11782"/>
                </a:cubicBezTo>
                <a:cubicBezTo>
                  <a:pt x="3863" y="11782"/>
                  <a:pt x="3357" y="11973"/>
                  <a:pt x="2945" y="12284"/>
                </a:cubicBezTo>
                <a:lnTo>
                  <a:pt x="2945" y="5891"/>
                </a:lnTo>
                <a:cubicBezTo>
                  <a:pt x="2945" y="3180"/>
                  <a:pt x="5144" y="982"/>
                  <a:pt x="7855" y="982"/>
                </a:cubicBezTo>
                <a:lnTo>
                  <a:pt x="13745" y="982"/>
                </a:lnTo>
                <a:cubicBezTo>
                  <a:pt x="16456" y="982"/>
                  <a:pt x="18655" y="3180"/>
                  <a:pt x="18655" y="5891"/>
                </a:cubicBezTo>
                <a:lnTo>
                  <a:pt x="18655" y="12284"/>
                </a:lnTo>
                <a:cubicBezTo>
                  <a:pt x="18243" y="11973"/>
                  <a:pt x="17737" y="11782"/>
                  <a:pt x="17182" y="11782"/>
                </a:cubicBezTo>
                <a:cubicBezTo>
                  <a:pt x="15826" y="11782"/>
                  <a:pt x="14727" y="12881"/>
                  <a:pt x="14727" y="14236"/>
                </a:cubicBezTo>
                <a:lnTo>
                  <a:pt x="14727" y="19145"/>
                </a:lnTo>
                <a:cubicBezTo>
                  <a:pt x="14727" y="20501"/>
                  <a:pt x="15826" y="21600"/>
                  <a:pt x="17182" y="21600"/>
                </a:cubicBezTo>
                <a:cubicBezTo>
                  <a:pt x="18369" y="21600"/>
                  <a:pt x="19359" y="20757"/>
                  <a:pt x="19587" y="19636"/>
                </a:cubicBezTo>
                <a:lnTo>
                  <a:pt x="19636" y="19636"/>
                </a:lnTo>
                <a:cubicBezTo>
                  <a:pt x="20721" y="19636"/>
                  <a:pt x="21600" y="18757"/>
                  <a:pt x="21600" y="17673"/>
                </a:cubicBezTo>
                <a:lnTo>
                  <a:pt x="21600" y="15709"/>
                </a:lnTo>
                <a:cubicBezTo>
                  <a:pt x="21600" y="14625"/>
                  <a:pt x="20721" y="13745"/>
                  <a:pt x="19636" y="137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7" name="Shape 2687"/>
          <p:cNvSpPr/>
          <p:nvPr/>
        </p:nvSpPr>
        <p:spPr>
          <a:xfrm>
            <a:off x="12550924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6200"/>
                </a:moveTo>
                <a:lnTo>
                  <a:pt x="15709" y="16200"/>
                </a:lnTo>
                <a:lnTo>
                  <a:pt x="15709" y="14727"/>
                </a:lnTo>
                <a:lnTo>
                  <a:pt x="18655" y="14727"/>
                </a:lnTo>
                <a:cubicBezTo>
                  <a:pt x="18655" y="14727"/>
                  <a:pt x="18655" y="16200"/>
                  <a:pt x="18655" y="16200"/>
                </a:cubicBezTo>
                <a:close/>
                <a:moveTo>
                  <a:pt x="18655" y="18655"/>
                </a:moveTo>
                <a:lnTo>
                  <a:pt x="15709" y="18655"/>
                </a:lnTo>
                <a:lnTo>
                  <a:pt x="15709" y="17182"/>
                </a:lnTo>
                <a:lnTo>
                  <a:pt x="18655" y="17182"/>
                </a:lnTo>
                <a:cubicBezTo>
                  <a:pt x="18655" y="17182"/>
                  <a:pt x="18655" y="18655"/>
                  <a:pt x="18655" y="18655"/>
                </a:cubicBezTo>
                <a:close/>
                <a:moveTo>
                  <a:pt x="17182" y="20618"/>
                </a:moveTo>
                <a:cubicBezTo>
                  <a:pt x="16542" y="20618"/>
                  <a:pt x="16002" y="20207"/>
                  <a:pt x="15799" y="19636"/>
                </a:cubicBezTo>
                <a:lnTo>
                  <a:pt x="18564" y="19636"/>
                </a:lnTo>
                <a:cubicBezTo>
                  <a:pt x="18361" y="20207"/>
                  <a:pt x="17822" y="20618"/>
                  <a:pt x="17182" y="20618"/>
                </a:cubicBezTo>
                <a:moveTo>
                  <a:pt x="17182" y="12764"/>
                </a:moveTo>
                <a:cubicBezTo>
                  <a:pt x="17822" y="12764"/>
                  <a:pt x="18361" y="13175"/>
                  <a:pt x="18564" y="13745"/>
                </a:cubicBezTo>
                <a:lnTo>
                  <a:pt x="15799" y="13745"/>
                </a:lnTo>
                <a:cubicBezTo>
                  <a:pt x="16002" y="13175"/>
                  <a:pt x="16542" y="12764"/>
                  <a:pt x="17182" y="12764"/>
                </a:cubicBezTo>
                <a:moveTo>
                  <a:pt x="5891" y="16200"/>
                </a:moveTo>
                <a:lnTo>
                  <a:pt x="2945" y="16200"/>
                </a:lnTo>
                <a:lnTo>
                  <a:pt x="2945" y="14727"/>
                </a:lnTo>
                <a:lnTo>
                  <a:pt x="5891" y="14727"/>
                </a:lnTo>
                <a:cubicBezTo>
                  <a:pt x="5891" y="14727"/>
                  <a:pt x="5891" y="16200"/>
                  <a:pt x="5891" y="16200"/>
                </a:cubicBezTo>
                <a:close/>
                <a:moveTo>
                  <a:pt x="4418" y="12764"/>
                </a:moveTo>
                <a:cubicBezTo>
                  <a:pt x="5058" y="12764"/>
                  <a:pt x="5598" y="13175"/>
                  <a:pt x="5801" y="13745"/>
                </a:cubicBezTo>
                <a:lnTo>
                  <a:pt x="3036" y="13745"/>
                </a:lnTo>
                <a:cubicBezTo>
                  <a:pt x="3239" y="13175"/>
                  <a:pt x="3778" y="12764"/>
                  <a:pt x="4418" y="12764"/>
                </a:cubicBezTo>
                <a:moveTo>
                  <a:pt x="5891" y="18655"/>
                </a:moveTo>
                <a:lnTo>
                  <a:pt x="2945" y="18655"/>
                </a:lnTo>
                <a:lnTo>
                  <a:pt x="2945" y="17182"/>
                </a:lnTo>
                <a:lnTo>
                  <a:pt x="5891" y="17182"/>
                </a:lnTo>
                <a:cubicBezTo>
                  <a:pt x="5891" y="17182"/>
                  <a:pt x="5891" y="18655"/>
                  <a:pt x="5891" y="18655"/>
                </a:cubicBezTo>
                <a:close/>
                <a:moveTo>
                  <a:pt x="4418" y="20618"/>
                </a:moveTo>
                <a:cubicBezTo>
                  <a:pt x="3778" y="20618"/>
                  <a:pt x="3239" y="20207"/>
                  <a:pt x="3036" y="19636"/>
                </a:cubicBezTo>
                <a:lnTo>
                  <a:pt x="5801" y="19636"/>
                </a:lnTo>
                <a:cubicBezTo>
                  <a:pt x="5598" y="20207"/>
                  <a:pt x="5058" y="20618"/>
                  <a:pt x="4418" y="20618"/>
                </a:cubicBezTo>
                <a:moveTo>
                  <a:pt x="19636" y="13745"/>
                </a:moveTo>
                <a:lnTo>
                  <a:pt x="19636" y="8836"/>
                </a:lnTo>
                <a:cubicBezTo>
                  <a:pt x="19636" y="3956"/>
                  <a:pt x="15680" y="0"/>
                  <a:pt x="10800" y="0"/>
                </a:cubicBezTo>
                <a:cubicBezTo>
                  <a:pt x="5920" y="0"/>
                  <a:pt x="1964" y="3956"/>
                  <a:pt x="1964" y="8836"/>
                </a:cubicBezTo>
                <a:lnTo>
                  <a:pt x="1964" y="13745"/>
                </a:lnTo>
                <a:cubicBezTo>
                  <a:pt x="879" y="13745"/>
                  <a:pt x="0" y="14625"/>
                  <a:pt x="0" y="15709"/>
                </a:cubicBezTo>
                <a:lnTo>
                  <a:pt x="0" y="17673"/>
                </a:lnTo>
                <a:cubicBezTo>
                  <a:pt x="0" y="18757"/>
                  <a:pt x="879" y="19636"/>
                  <a:pt x="1964" y="19636"/>
                </a:cubicBezTo>
                <a:lnTo>
                  <a:pt x="2013" y="19636"/>
                </a:lnTo>
                <a:cubicBezTo>
                  <a:pt x="2241" y="20757"/>
                  <a:pt x="3231" y="21600"/>
                  <a:pt x="4418" y="21600"/>
                </a:cubicBezTo>
                <a:cubicBezTo>
                  <a:pt x="5774" y="21600"/>
                  <a:pt x="6873" y="20501"/>
                  <a:pt x="6873" y="19145"/>
                </a:cubicBezTo>
                <a:lnTo>
                  <a:pt x="6873" y="14236"/>
                </a:lnTo>
                <a:cubicBezTo>
                  <a:pt x="6873" y="12881"/>
                  <a:pt x="5774" y="11782"/>
                  <a:pt x="4418" y="11782"/>
                </a:cubicBezTo>
                <a:cubicBezTo>
                  <a:pt x="3864" y="11782"/>
                  <a:pt x="3356" y="11971"/>
                  <a:pt x="2945" y="12282"/>
                </a:cubicBezTo>
                <a:lnTo>
                  <a:pt x="2945" y="8836"/>
                </a:lnTo>
                <a:cubicBezTo>
                  <a:pt x="2945" y="4499"/>
                  <a:pt x="6462" y="982"/>
                  <a:pt x="10800" y="982"/>
                </a:cubicBezTo>
                <a:cubicBezTo>
                  <a:pt x="15138" y="982"/>
                  <a:pt x="18655" y="4499"/>
                  <a:pt x="18655" y="8836"/>
                </a:cubicBezTo>
                <a:lnTo>
                  <a:pt x="18655" y="12282"/>
                </a:lnTo>
                <a:cubicBezTo>
                  <a:pt x="18244" y="11971"/>
                  <a:pt x="17736" y="11782"/>
                  <a:pt x="17182" y="11782"/>
                </a:cubicBezTo>
                <a:cubicBezTo>
                  <a:pt x="15826" y="11782"/>
                  <a:pt x="14727" y="12881"/>
                  <a:pt x="14727" y="14236"/>
                </a:cubicBezTo>
                <a:lnTo>
                  <a:pt x="14727" y="19145"/>
                </a:lnTo>
                <a:cubicBezTo>
                  <a:pt x="14727" y="20501"/>
                  <a:pt x="15826" y="21600"/>
                  <a:pt x="17182" y="21600"/>
                </a:cubicBezTo>
                <a:cubicBezTo>
                  <a:pt x="18369" y="21600"/>
                  <a:pt x="19360" y="20757"/>
                  <a:pt x="19587" y="19636"/>
                </a:cubicBezTo>
                <a:lnTo>
                  <a:pt x="19636" y="19636"/>
                </a:lnTo>
                <a:cubicBezTo>
                  <a:pt x="20721" y="19636"/>
                  <a:pt x="21600" y="18757"/>
                  <a:pt x="21600" y="17673"/>
                </a:cubicBezTo>
                <a:lnTo>
                  <a:pt x="21600" y="15709"/>
                </a:lnTo>
                <a:cubicBezTo>
                  <a:pt x="21600" y="14625"/>
                  <a:pt x="20721" y="13745"/>
                  <a:pt x="19636" y="137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8" name="Shape 2688"/>
          <p:cNvSpPr/>
          <p:nvPr/>
        </p:nvSpPr>
        <p:spPr>
          <a:xfrm>
            <a:off x="13617448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309"/>
                </a:moveTo>
                <a:cubicBezTo>
                  <a:pt x="20618" y="10851"/>
                  <a:pt x="20178" y="11291"/>
                  <a:pt x="19636" y="11291"/>
                </a:cubicBezTo>
                <a:lnTo>
                  <a:pt x="19636" y="7364"/>
                </a:lnTo>
                <a:cubicBezTo>
                  <a:pt x="20178" y="7364"/>
                  <a:pt x="20618" y="7804"/>
                  <a:pt x="20618" y="8345"/>
                </a:cubicBezTo>
                <a:cubicBezTo>
                  <a:pt x="20618" y="8345"/>
                  <a:pt x="20618" y="10309"/>
                  <a:pt x="20618" y="10309"/>
                </a:cubicBezTo>
                <a:close/>
                <a:moveTo>
                  <a:pt x="18655" y="17182"/>
                </a:moveTo>
                <a:cubicBezTo>
                  <a:pt x="18655" y="17453"/>
                  <a:pt x="18434" y="17673"/>
                  <a:pt x="18164" y="17673"/>
                </a:cubicBezTo>
                <a:cubicBezTo>
                  <a:pt x="17893" y="17673"/>
                  <a:pt x="17673" y="17453"/>
                  <a:pt x="17673" y="17182"/>
                </a:cubicBezTo>
                <a:lnTo>
                  <a:pt x="17673" y="1473"/>
                </a:lnTo>
                <a:cubicBezTo>
                  <a:pt x="17673" y="1202"/>
                  <a:pt x="17893" y="982"/>
                  <a:pt x="18164" y="982"/>
                </a:cubicBezTo>
                <a:cubicBezTo>
                  <a:pt x="18434" y="982"/>
                  <a:pt x="18655" y="1202"/>
                  <a:pt x="18655" y="1473"/>
                </a:cubicBezTo>
                <a:cubicBezTo>
                  <a:pt x="18655" y="1473"/>
                  <a:pt x="18655" y="17182"/>
                  <a:pt x="18655" y="17182"/>
                </a:cubicBezTo>
                <a:close/>
                <a:moveTo>
                  <a:pt x="16691" y="15788"/>
                </a:moveTo>
                <a:lnTo>
                  <a:pt x="2945" y="11745"/>
                </a:lnTo>
                <a:lnTo>
                  <a:pt x="2945" y="6910"/>
                </a:lnTo>
                <a:lnTo>
                  <a:pt x="16691" y="2867"/>
                </a:lnTo>
                <a:cubicBezTo>
                  <a:pt x="16691" y="2867"/>
                  <a:pt x="16691" y="15788"/>
                  <a:pt x="16691" y="15788"/>
                </a:cubicBezTo>
                <a:close/>
                <a:moveTo>
                  <a:pt x="8251" y="18655"/>
                </a:moveTo>
                <a:lnTo>
                  <a:pt x="5357" y="18655"/>
                </a:lnTo>
                <a:lnTo>
                  <a:pt x="4126" y="13116"/>
                </a:lnTo>
                <a:lnTo>
                  <a:pt x="7167" y="14010"/>
                </a:lnTo>
                <a:cubicBezTo>
                  <a:pt x="7167" y="14010"/>
                  <a:pt x="8251" y="18655"/>
                  <a:pt x="8251" y="18655"/>
                </a:cubicBezTo>
                <a:close/>
                <a:moveTo>
                  <a:pt x="8709" y="20618"/>
                </a:moveTo>
                <a:lnTo>
                  <a:pt x="5794" y="20618"/>
                </a:lnTo>
                <a:lnTo>
                  <a:pt x="5576" y="19636"/>
                </a:lnTo>
                <a:lnTo>
                  <a:pt x="8479" y="19636"/>
                </a:lnTo>
                <a:cubicBezTo>
                  <a:pt x="8479" y="19636"/>
                  <a:pt x="8709" y="20618"/>
                  <a:pt x="8709" y="20618"/>
                </a:cubicBezTo>
                <a:close/>
                <a:moveTo>
                  <a:pt x="1964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1964" y="6873"/>
                </a:lnTo>
                <a:cubicBezTo>
                  <a:pt x="1964" y="6873"/>
                  <a:pt x="1964" y="11782"/>
                  <a:pt x="1964" y="11782"/>
                </a:cubicBezTo>
                <a:close/>
                <a:moveTo>
                  <a:pt x="19636" y="6382"/>
                </a:moveTo>
                <a:lnTo>
                  <a:pt x="19636" y="1473"/>
                </a:lnTo>
                <a:cubicBezTo>
                  <a:pt x="19636" y="659"/>
                  <a:pt x="18977" y="0"/>
                  <a:pt x="18164" y="0"/>
                </a:cubicBezTo>
                <a:cubicBezTo>
                  <a:pt x="17350" y="0"/>
                  <a:pt x="16691" y="659"/>
                  <a:pt x="16691" y="1473"/>
                </a:cubicBezTo>
                <a:lnTo>
                  <a:pt x="16691" y="1844"/>
                </a:lnTo>
                <a:lnTo>
                  <a:pt x="2459" y="6029"/>
                </a:lnTo>
                <a:cubicBezTo>
                  <a:pt x="2313" y="5944"/>
                  <a:pt x="2145" y="5891"/>
                  <a:pt x="1964" y="5891"/>
                </a:cubicBez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11782"/>
                </a:lnTo>
                <a:cubicBezTo>
                  <a:pt x="0" y="12324"/>
                  <a:pt x="440" y="12764"/>
                  <a:pt x="982" y="12764"/>
                </a:cubicBezTo>
                <a:lnTo>
                  <a:pt x="1964" y="12764"/>
                </a:lnTo>
                <a:cubicBezTo>
                  <a:pt x="2145" y="12764"/>
                  <a:pt x="2313" y="12711"/>
                  <a:pt x="2458" y="12626"/>
                </a:cubicBezTo>
                <a:lnTo>
                  <a:pt x="3050" y="12799"/>
                </a:lnTo>
                <a:lnTo>
                  <a:pt x="4921" y="21216"/>
                </a:lnTo>
                <a:lnTo>
                  <a:pt x="4930" y="21214"/>
                </a:lnTo>
                <a:cubicBezTo>
                  <a:pt x="4979" y="21433"/>
                  <a:pt x="5166" y="21600"/>
                  <a:pt x="5400" y="21600"/>
                </a:cubicBezTo>
                <a:lnTo>
                  <a:pt x="9327" y="21600"/>
                </a:lnTo>
                <a:cubicBezTo>
                  <a:pt x="9598" y="21600"/>
                  <a:pt x="9818" y="21381"/>
                  <a:pt x="9818" y="21109"/>
                </a:cubicBezTo>
                <a:cubicBezTo>
                  <a:pt x="9818" y="21072"/>
                  <a:pt x="9805" y="21039"/>
                  <a:pt x="9797" y="21005"/>
                </a:cubicBezTo>
                <a:lnTo>
                  <a:pt x="9806" y="21003"/>
                </a:lnTo>
                <a:lnTo>
                  <a:pt x="8249" y="14329"/>
                </a:lnTo>
                <a:lnTo>
                  <a:pt x="16691" y="16811"/>
                </a:lnTo>
                <a:lnTo>
                  <a:pt x="16691" y="17182"/>
                </a:lnTo>
                <a:cubicBezTo>
                  <a:pt x="16691" y="17995"/>
                  <a:pt x="17350" y="18655"/>
                  <a:pt x="18164" y="18655"/>
                </a:cubicBezTo>
                <a:cubicBezTo>
                  <a:pt x="18977" y="18655"/>
                  <a:pt x="19636" y="17995"/>
                  <a:pt x="19636" y="17182"/>
                </a:cubicBezTo>
                <a:lnTo>
                  <a:pt x="19636" y="12273"/>
                </a:lnTo>
                <a:cubicBezTo>
                  <a:pt x="20721" y="12273"/>
                  <a:pt x="21600" y="11394"/>
                  <a:pt x="21600" y="10309"/>
                </a:cubicBezTo>
                <a:lnTo>
                  <a:pt x="21600" y="8345"/>
                </a:lnTo>
                <a:cubicBezTo>
                  <a:pt x="21600" y="7261"/>
                  <a:pt x="20721" y="6382"/>
                  <a:pt x="19636" y="63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9" name="Shape 2689"/>
          <p:cNvSpPr/>
          <p:nvPr/>
        </p:nvSpPr>
        <p:spPr>
          <a:xfrm>
            <a:off x="14683970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1291"/>
                </a:moveTo>
                <a:lnTo>
                  <a:pt x="18655" y="7364"/>
                </a:lnTo>
                <a:cubicBezTo>
                  <a:pt x="19739" y="7364"/>
                  <a:pt x="20618" y="8243"/>
                  <a:pt x="20618" y="9327"/>
                </a:cubicBezTo>
                <a:cubicBezTo>
                  <a:pt x="20618" y="10412"/>
                  <a:pt x="19739" y="11291"/>
                  <a:pt x="18655" y="11291"/>
                </a:cubicBezTo>
                <a:moveTo>
                  <a:pt x="17673" y="17182"/>
                </a:moveTo>
                <a:cubicBezTo>
                  <a:pt x="17673" y="17453"/>
                  <a:pt x="17453" y="17673"/>
                  <a:pt x="17182" y="17673"/>
                </a:cubicBezTo>
                <a:cubicBezTo>
                  <a:pt x="16911" y="17673"/>
                  <a:pt x="16691" y="17453"/>
                  <a:pt x="16691" y="17182"/>
                </a:cubicBezTo>
                <a:lnTo>
                  <a:pt x="16691" y="1473"/>
                </a:lnTo>
                <a:cubicBezTo>
                  <a:pt x="16691" y="1202"/>
                  <a:pt x="16911" y="982"/>
                  <a:pt x="17182" y="982"/>
                </a:cubicBezTo>
                <a:cubicBezTo>
                  <a:pt x="17453" y="982"/>
                  <a:pt x="17673" y="1202"/>
                  <a:pt x="17673" y="1473"/>
                </a:cubicBezTo>
                <a:cubicBezTo>
                  <a:pt x="17673" y="1473"/>
                  <a:pt x="17673" y="17182"/>
                  <a:pt x="17673" y="17182"/>
                </a:cubicBezTo>
                <a:close/>
                <a:moveTo>
                  <a:pt x="15709" y="15780"/>
                </a:moveTo>
                <a:lnTo>
                  <a:pt x="8836" y="13718"/>
                </a:lnTo>
                <a:lnTo>
                  <a:pt x="8836" y="4937"/>
                </a:lnTo>
                <a:lnTo>
                  <a:pt x="15709" y="2875"/>
                </a:lnTo>
                <a:cubicBezTo>
                  <a:pt x="15709" y="2875"/>
                  <a:pt x="15709" y="15780"/>
                  <a:pt x="15709" y="15780"/>
                </a:cubicBezTo>
                <a:close/>
                <a:moveTo>
                  <a:pt x="9479" y="19636"/>
                </a:moveTo>
                <a:lnTo>
                  <a:pt x="9697" y="20618"/>
                </a:lnTo>
                <a:lnTo>
                  <a:pt x="6775" y="20618"/>
                </a:lnTo>
                <a:lnTo>
                  <a:pt x="6558" y="19636"/>
                </a:lnTo>
                <a:cubicBezTo>
                  <a:pt x="6558" y="19636"/>
                  <a:pt x="9479" y="19636"/>
                  <a:pt x="9479" y="19636"/>
                </a:cubicBezTo>
                <a:close/>
                <a:moveTo>
                  <a:pt x="6339" y="18655"/>
                </a:moveTo>
                <a:lnTo>
                  <a:pt x="5356" y="14232"/>
                </a:lnTo>
                <a:lnTo>
                  <a:pt x="8176" y="14545"/>
                </a:lnTo>
                <a:lnTo>
                  <a:pt x="8360" y="14600"/>
                </a:lnTo>
                <a:lnTo>
                  <a:pt x="9260" y="18655"/>
                </a:lnTo>
                <a:cubicBezTo>
                  <a:pt x="9260" y="18655"/>
                  <a:pt x="6339" y="18655"/>
                  <a:pt x="6339" y="18655"/>
                </a:cubicBezTo>
                <a:close/>
                <a:moveTo>
                  <a:pt x="982" y="12764"/>
                </a:moveTo>
                <a:lnTo>
                  <a:pt x="982" y="10800"/>
                </a:lnTo>
                <a:lnTo>
                  <a:pt x="3436" y="10800"/>
                </a:lnTo>
                <a:cubicBezTo>
                  <a:pt x="3707" y="10800"/>
                  <a:pt x="3927" y="10581"/>
                  <a:pt x="3927" y="10309"/>
                </a:cubicBezTo>
                <a:cubicBezTo>
                  <a:pt x="3927" y="10038"/>
                  <a:pt x="3707" y="9818"/>
                  <a:pt x="3436" y="9818"/>
                </a:cubicBezTo>
                <a:lnTo>
                  <a:pt x="982" y="9818"/>
                </a:lnTo>
                <a:lnTo>
                  <a:pt x="982" y="8836"/>
                </a:lnTo>
                <a:lnTo>
                  <a:pt x="2455" y="8836"/>
                </a:lnTo>
                <a:cubicBezTo>
                  <a:pt x="2725" y="8836"/>
                  <a:pt x="2945" y="8617"/>
                  <a:pt x="2945" y="8345"/>
                </a:cubicBezTo>
                <a:cubicBezTo>
                  <a:pt x="2945" y="8075"/>
                  <a:pt x="2725" y="7855"/>
                  <a:pt x="2455" y="7855"/>
                </a:cubicBezTo>
                <a:lnTo>
                  <a:pt x="982" y="7855"/>
                </a:lnTo>
                <a:lnTo>
                  <a:pt x="982" y="5891"/>
                </a:lnTo>
                <a:lnTo>
                  <a:pt x="7855" y="5128"/>
                </a:lnTo>
                <a:lnTo>
                  <a:pt x="7855" y="13528"/>
                </a:lnTo>
                <a:cubicBezTo>
                  <a:pt x="7855" y="13528"/>
                  <a:pt x="982" y="12764"/>
                  <a:pt x="982" y="12764"/>
                </a:cubicBezTo>
                <a:close/>
                <a:moveTo>
                  <a:pt x="18655" y="6382"/>
                </a:moveTo>
                <a:lnTo>
                  <a:pt x="18655" y="1473"/>
                </a:lnTo>
                <a:cubicBezTo>
                  <a:pt x="18655" y="659"/>
                  <a:pt x="17995" y="0"/>
                  <a:pt x="17182" y="0"/>
                </a:cubicBezTo>
                <a:cubicBezTo>
                  <a:pt x="16368" y="0"/>
                  <a:pt x="15709" y="659"/>
                  <a:pt x="15709" y="1473"/>
                </a:cubicBezTo>
                <a:lnTo>
                  <a:pt x="15709" y="1850"/>
                </a:lnTo>
                <a:lnTo>
                  <a:pt x="8175" y="4110"/>
                </a:ln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12764"/>
                </a:lnTo>
                <a:cubicBezTo>
                  <a:pt x="0" y="13306"/>
                  <a:pt x="440" y="13745"/>
                  <a:pt x="982" y="13745"/>
                </a:cubicBezTo>
                <a:lnTo>
                  <a:pt x="4325" y="14117"/>
                </a:lnTo>
                <a:lnTo>
                  <a:pt x="5903" y="21216"/>
                </a:lnTo>
                <a:lnTo>
                  <a:pt x="5912" y="21214"/>
                </a:lnTo>
                <a:cubicBezTo>
                  <a:pt x="5961" y="21433"/>
                  <a:pt x="6148" y="21600"/>
                  <a:pt x="6382" y="21600"/>
                </a:cubicBezTo>
                <a:lnTo>
                  <a:pt x="10309" y="21600"/>
                </a:lnTo>
                <a:cubicBezTo>
                  <a:pt x="10580" y="21600"/>
                  <a:pt x="10800" y="21381"/>
                  <a:pt x="10800" y="21109"/>
                </a:cubicBezTo>
                <a:cubicBezTo>
                  <a:pt x="10800" y="21072"/>
                  <a:pt x="10787" y="21039"/>
                  <a:pt x="10779" y="21005"/>
                </a:cubicBezTo>
                <a:lnTo>
                  <a:pt x="10788" y="21003"/>
                </a:lnTo>
                <a:lnTo>
                  <a:pt x="9437" y="14923"/>
                </a:lnTo>
                <a:lnTo>
                  <a:pt x="15709" y="16805"/>
                </a:lnTo>
                <a:lnTo>
                  <a:pt x="15709" y="17182"/>
                </a:lnTo>
                <a:cubicBezTo>
                  <a:pt x="15709" y="17995"/>
                  <a:pt x="16368" y="18655"/>
                  <a:pt x="17182" y="18655"/>
                </a:cubicBezTo>
                <a:cubicBezTo>
                  <a:pt x="17995" y="18655"/>
                  <a:pt x="18655" y="17995"/>
                  <a:pt x="18655" y="17182"/>
                </a:cubicBezTo>
                <a:lnTo>
                  <a:pt x="18655" y="12273"/>
                </a:lnTo>
                <a:cubicBezTo>
                  <a:pt x="20281" y="12273"/>
                  <a:pt x="21600" y="10954"/>
                  <a:pt x="21600" y="9327"/>
                </a:cubicBezTo>
                <a:cubicBezTo>
                  <a:pt x="21600" y="7701"/>
                  <a:pt x="20281" y="6382"/>
                  <a:pt x="18655" y="63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0" name="Shape 2690"/>
          <p:cNvSpPr/>
          <p:nvPr/>
        </p:nvSpPr>
        <p:spPr>
          <a:xfrm>
            <a:off x="15750492" y="3945002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880"/>
                </a:moveTo>
                <a:cubicBezTo>
                  <a:pt x="20618" y="12476"/>
                  <a:pt x="20178" y="12960"/>
                  <a:pt x="19636" y="12960"/>
                </a:cubicBezTo>
                <a:lnTo>
                  <a:pt x="19636" y="8640"/>
                </a:lnTo>
                <a:cubicBezTo>
                  <a:pt x="20178" y="8640"/>
                  <a:pt x="20618" y="9124"/>
                  <a:pt x="20618" y="9720"/>
                </a:cubicBezTo>
                <a:cubicBezTo>
                  <a:pt x="20618" y="9720"/>
                  <a:pt x="20618" y="11880"/>
                  <a:pt x="20618" y="11880"/>
                </a:cubicBezTo>
                <a:close/>
                <a:moveTo>
                  <a:pt x="18655" y="19980"/>
                </a:moveTo>
                <a:cubicBezTo>
                  <a:pt x="18655" y="20279"/>
                  <a:pt x="18434" y="20520"/>
                  <a:pt x="18164" y="20520"/>
                </a:cubicBezTo>
                <a:cubicBezTo>
                  <a:pt x="17893" y="20520"/>
                  <a:pt x="17673" y="20279"/>
                  <a:pt x="17673" y="19980"/>
                </a:cubicBezTo>
                <a:lnTo>
                  <a:pt x="17673" y="1620"/>
                </a:lnTo>
                <a:cubicBezTo>
                  <a:pt x="17673" y="1322"/>
                  <a:pt x="17893" y="1080"/>
                  <a:pt x="18164" y="1080"/>
                </a:cubicBezTo>
                <a:cubicBezTo>
                  <a:pt x="18434" y="1080"/>
                  <a:pt x="18655" y="1322"/>
                  <a:pt x="18655" y="1620"/>
                </a:cubicBezTo>
                <a:cubicBezTo>
                  <a:pt x="18655" y="1620"/>
                  <a:pt x="18655" y="19980"/>
                  <a:pt x="18655" y="19980"/>
                </a:cubicBezTo>
                <a:close/>
                <a:moveTo>
                  <a:pt x="16691" y="18404"/>
                </a:moveTo>
                <a:lnTo>
                  <a:pt x="2944" y="13512"/>
                </a:lnTo>
                <a:cubicBezTo>
                  <a:pt x="2944" y="13508"/>
                  <a:pt x="2945" y="13504"/>
                  <a:pt x="2945" y="13500"/>
                </a:cubicBezTo>
                <a:lnTo>
                  <a:pt x="2945" y="8100"/>
                </a:lnTo>
                <a:cubicBezTo>
                  <a:pt x="2945" y="8096"/>
                  <a:pt x="2944" y="8093"/>
                  <a:pt x="2944" y="8089"/>
                </a:cubicBezTo>
                <a:lnTo>
                  <a:pt x="16691" y="3197"/>
                </a:lnTo>
                <a:cubicBezTo>
                  <a:pt x="16691" y="3197"/>
                  <a:pt x="16691" y="18404"/>
                  <a:pt x="16691" y="18404"/>
                </a:cubicBezTo>
                <a:close/>
                <a:moveTo>
                  <a:pt x="12480" y="18725"/>
                </a:moveTo>
                <a:cubicBezTo>
                  <a:pt x="12316" y="19294"/>
                  <a:pt x="11764" y="19608"/>
                  <a:pt x="11247" y="19428"/>
                </a:cubicBezTo>
                <a:lnTo>
                  <a:pt x="6102" y="17625"/>
                </a:lnTo>
                <a:cubicBezTo>
                  <a:pt x="5585" y="17444"/>
                  <a:pt x="5299" y="16837"/>
                  <a:pt x="5464" y="16269"/>
                </a:cubicBezTo>
                <a:lnTo>
                  <a:pt x="5654" y="15610"/>
                </a:lnTo>
                <a:lnTo>
                  <a:pt x="12661" y="18104"/>
                </a:lnTo>
                <a:cubicBezTo>
                  <a:pt x="12661" y="18104"/>
                  <a:pt x="12480" y="18725"/>
                  <a:pt x="12480" y="18725"/>
                </a:cubicBezTo>
                <a:close/>
                <a:moveTo>
                  <a:pt x="1964" y="13500"/>
                </a:moveTo>
                <a:lnTo>
                  <a:pt x="982" y="13500"/>
                </a:lnTo>
                <a:lnTo>
                  <a:pt x="982" y="8100"/>
                </a:lnTo>
                <a:lnTo>
                  <a:pt x="1964" y="8100"/>
                </a:lnTo>
                <a:cubicBezTo>
                  <a:pt x="1964" y="8100"/>
                  <a:pt x="1964" y="13500"/>
                  <a:pt x="1964" y="13500"/>
                </a:cubicBezTo>
                <a:close/>
                <a:moveTo>
                  <a:pt x="19636" y="7560"/>
                </a:moveTo>
                <a:lnTo>
                  <a:pt x="19636" y="1620"/>
                </a:lnTo>
                <a:cubicBezTo>
                  <a:pt x="19636" y="725"/>
                  <a:pt x="18977" y="0"/>
                  <a:pt x="18164" y="0"/>
                </a:cubicBezTo>
                <a:cubicBezTo>
                  <a:pt x="17350" y="0"/>
                  <a:pt x="16691" y="725"/>
                  <a:pt x="16691" y="1620"/>
                </a:cubicBezTo>
                <a:lnTo>
                  <a:pt x="16691" y="2062"/>
                </a:lnTo>
                <a:lnTo>
                  <a:pt x="2411" y="7144"/>
                </a:lnTo>
                <a:cubicBezTo>
                  <a:pt x="2276" y="7067"/>
                  <a:pt x="2126" y="7020"/>
                  <a:pt x="1964" y="7020"/>
                </a:cubicBezTo>
                <a:lnTo>
                  <a:pt x="982" y="7020"/>
                </a:lnTo>
                <a:cubicBezTo>
                  <a:pt x="440" y="7020"/>
                  <a:pt x="0" y="7504"/>
                  <a:pt x="0" y="8100"/>
                </a:cubicBezTo>
                <a:lnTo>
                  <a:pt x="0" y="13500"/>
                </a:lnTo>
                <a:cubicBezTo>
                  <a:pt x="0" y="14097"/>
                  <a:pt x="440" y="14580"/>
                  <a:pt x="982" y="14580"/>
                </a:cubicBezTo>
                <a:lnTo>
                  <a:pt x="1964" y="14580"/>
                </a:lnTo>
                <a:cubicBezTo>
                  <a:pt x="2126" y="14580"/>
                  <a:pt x="2276" y="14533"/>
                  <a:pt x="2411" y="14457"/>
                </a:cubicBezTo>
                <a:lnTo>
                  <a:pt x="4720" y="15278"/>
                </a:lnTo>
                <a:lnTo>
                  <a:pt x="4529" y="15941"/>
                </a:lnTo>
                <a:cubicBezTo>
                  <a:pt x="4199" y="17078"/>
                  <a:pt x="4770" y="18292"/>
                  <a:pt x="5803" y="18654"/>
                </a:cubicBezTo>
                <a:lnTo>
                  <a:pt x="10949" y="20456"/>
                </a:lnTo>
                <a:cubicBezTo>
                  <a:pt x="11983" y="20819"/>
                  <a:pt x="13087" y="20190"/>
                  <a:pt x="13416" y="19053"/>
                </a:cubicBezTo>
                <a:lnTo>
                  <a:pt x="13595" y="18437"/>
                </a:lnTo>
                <a:lnTo>
                  <a:pt x="16691" y="19538"/>
                </a:lnTo>
                <a:lnTo>
                  <a:pt x="16691" y="19980"/>
                </a:lnTo>
                <a:cubicBezTo>
                  <a:pt x="16691" y="20875"/>
                  <a:pt x="17350" y="21600"/>
                  <a:pt x="18164" y="21600"/>
                </a:cubicBezTo>
                <a:cubicBezTo>
                  <a:pt x="18977" y="21600"/>
                  <a:pt x="19636" y="20875"/>
                  <a:pt x="19636" y="19980"/>
                </a:cubicBezTo>
                <a:lnTo>
                  <a:pt x="19636" y="14040"/>
                </a:lnTo>
                <a:cubicBezTo>
                  <a:pt x="20721" y="14040"/>
                  <a:pt x="21600" y="13073"/>
                  <a:pt x="21600" y="11880"/>
                </a:cubicBezTo>
                <a:lnTo>
                  <a:pt x="21600" y="9720"/>
                </a:lnTo>
                <a:cubicBezTo>
                  <a:pt x="21600" y="8527"/>
                  <a:pt x="20721" y="7560"/>
                  <a:pt x="19636" y="756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1" name="Shape 2691"/>
          <p:cNvSpPr/>
          <p:nvPr/>
        </p:nvSpPr>
        <p:spPr>
          <a:xfrm>
            <a:off x="16943980" y="3919607"/>
            <a:ext cx="30472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00" y="19924"/>
                </a:moveTo>
                <a:lnTo>
                  <a:pt x="12600" y="12476"/>
                </a:lnTo>
                <a:lnTo>
                  <a:pt x="19427" y="16200"/>
                </a:lnTo>
                <a:cubicBezTo>
                  <a:pt x="19427" y="16200"/>
                  <a:pt x="12600" y="19924"/>
                  <a:pt x="12600" y="19924"/>
                </a:cubicBezTo>
                <a:close/>
                <a:moveTo>
                  <a:pt x="12600" y="1676"/>
                </a:moveTo>
                <a:lnTo>
                  <a:pt x="19427" y="5400"/>
                </a:lnTo>
                <a:lnTo>
                  <a:pt x="12600" y="9124"/>
                </a:lnTo>
                <a:cubicBezTo>
                  <a:pt x="12600" y="9124"/>
                  <a:pt x="12600" y="1676"/>
                  <a:pt x="12600" y="1676"/>
                </a:cubicBezTo>
                <a:close/>
                <a:moveTo>
                  <a:pt x="21352" y="15862"/>
                </a:moveTo>
                <a:lnTo>
                  <a:pt x="21337" y="15854"/>
                </a:lnTo>
                <a:cubicBezTo>
                  <a:pt x="21336" y="15853"/>
                  <a:pt x="21335" y="15853"/>
                  <a:pt x="21335" y="15852"/>
                </a:cubicBezTo>
                <a:lnTo>
                  <a:pt x="12600" y="11088"/>
                </a:lnTo>
                <a:lnTo>
                  <a:pt x="12600" y="10512"/>
                </a:lnTo>
                <a:lnTo>
                  <a:pt x="21335" y="5748"/>
                </a:lnTo>
                <a:lnTo>
                  <a:pt x="21336" y="5747"/>
                </a:lnTo>
                <a:lnTo>
                  <a:pt x="21352" y="5739"/>
                </a:lnTo>
                <a:lnTo>
                  <a:pt x="21349" y="5738"/>
                </a:lnTo>
                <a:cubicBezTo>
                  <a:pt x="21503" y="5649"/>
                  <a:pt x="21600" y="5532"/>
                  <a:pt x="21600" y="5400"/>
                </a:cubicBezTo>
                <a:cubicBezTo>
                  <a:pt x="21600" y="5265"/>
                  <a:pt x="21499" y="5142"/>
                  <a:pt x="21336" y="5053"/>
                </a:cubicBezTo>
                <a:lnTo>
                  <a:pt x="12336" y="144"/>
                </a:lnTo>
                <a:cubicBezTo>
                  <a:pt x="12173" y="55"/>
                  <a:pt x="11948" y="0"/>
                  <a:pt x="11700" y="0"/>
                </a:cubicBezTo>
                <a:cubicBezTo>
                  <a:pt x="11203" y="0"/>
                  <a:pt x="10800" y="220"/>
                  <a:pt x="10800" y="491"/>
                </a:cubicBezTo>
                <a:lnTo>
                  <a:pt x="10800" y="10106"/>
                </a:lnTo>
                <a:lnTo>
                  <a:pt x="1552" y="5062"/>
                </a:lnTo>
                <a:lnTo>
                  <a:pt x="1549" y="5063"/>
                </a:lnTo>
                <a:cubicBezTo>
                  <a:pt x="1385" y="4969"/>
                  <a:pt x="1157" y="4909"/>
                  <a:pt x="900" y="4909"/>
                </a:cubicBezTo>
                <a:cubicBezTo>
                  <a:pt x="403" y="4909"/>
                  <a:pt x="0" y="5129"/>
                  <a:pt x="0" y="5400"/>
                </a:cubicBezTo>
                <a:cubicBezTo>
                  <a:pt x="0" y="5532"/>
                  <a:pt x="97" y="5649"/>
                  <a:pt x="251" y="5738"/>
                </a:cubicBezTo>
                <a:lnTo>
                  <a:pt x="248" y="5739"/>
                </a:lnTo>
                <a:lnTo>
                  <a:pt x="264" y="5747"/>
                </a:lnTo>
                <a:lnTo>
                  <a:pt x="264" y="5748"/>
                </a:lnTo>
                <a:lnTo>
                  <a:pt x="9527" y="10800"/>
                </a:lnTo>
                <a:lnTo>
                  <a:pt x="265" y="15852"/>
                </a:lnTo>
                <a:cubicBezTo>
                  <a:pt x="265" y="15853"/>
                  <a:pt x="264" y="15853"/>
                  <a:pt x="263" y="15854"/>
                </a:cubicBezTo>
                <a:lnTo>
                  <a:pt x="248" y="15862"/>
                </a:lnTo>
                <a:lnTo>
                  <a:pt x="251" y="15863"/>
                </a:lnTo>
                <a:cubicBezTo>
                  <a:pt x="97" y="15951"/>
                  <a:pt x="0" y="16069"/>
                  <a:pt x="0" y="16200"/>
                </a:cubicBezTo>
                <a:cubicBezTo>
                  <a:pt x="0" y="16471"/>
                  <a:pt x="403" y="16691"/>
                  <a:pt x="900" y="16691"/>
                </a:cubicBezTo>
                <a:cubicBezTo>
                  <a:pt x="1157" y="16691"/>
                  <a:pt x="1385" y="16631"/>
                  <a:pt x="1549" y="16537"/>
                </a:cubicBezTo>
                <a:lnTo>
                  <a:pt x="1552" y="16539"/>
                </a:lnTo>
                <a:lnTo>
                  <a:pt x="10800" y="11494"/>
                </a:lnTo>
                <a:lnTo>
                  <a:pt x="10800" y="21109"/>
                </a:lnTo>
                <a:cubicBezTo>
                  <a:pt x="10800" y="21380"/>
                  <a:pt x="11203" y="21600"/>
                  <a:pt x="11700" y="21600"/>
                </a:cubicBezTo>
                <a:cubicBezTo>
                  <a:pt x="11948" y="21600"/>
                  <a:pt x="12173" y="21546"/>
                  <a:pt x="12336" y="21456"/>
                </a:cubicBezTo>
                <a:lnTo>
                  <a:pt x="21336" y="16547"/>
                </a:lnTo>
                <a:cubicBezTo>
                  <a:pt x="21499" y="16458"/>
                  <a:pt x="21600" y="16336"/>
                  <a:pt x="21600" y="16200"/>
                </a:cubicBezTo>
                <a:cubicBezTo>
                  <a:pt x="21600" y="16069"/>
                  <a:pt x="21503" y="15951"/>
                  <a:pt x="21349" y="15863"/>
                </a:cubicBezTo>
                <a:cubicBezTo>
                  <a:pt x="21349" y="15863"/>
                  <a:pt x="21352" y="15862"/>
                  <a:pt x="21352" y="15862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2" name="Shape 2692"/>
          <p:cNvSpPr/>
          <p:nvPr/>
        </p:nvSpPr>
        <p:spPr>
          <a:xfrm>
            <a:off x="17934324" y="391960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00" y="16691"/>
                </a:moveTo>
                <a:lnTo>
                  <a:pt x="15600" y="16691"/>
                </a:lnTo>
                <a:lnTo>
                  <a:pt x="15600" y="14727"/>
                </a:lnTo>
                <a:lnTo>
                  <a:pt x="13200" y="14727"/>
                </a:lnTo>
                <a:cubicBezTo>
                  <a:pt x="13200" y="14727"/>
                  <a:pt x="13200" y="16691"/>
                  <a:pt x="13200" y="16691"/>
                </a:cubicBezTo>
                <a:close/>
                <a:moveTo>
                  <a:pt x="9600" y="10800"/>
                </a:moveTo>
                <a:lnTo>
                  <a:pt x="12000" y="10800"/>
                </a:lnTo>
                <a:lnTo>
                  <a:pt x="12000" y="8836"/>
                </a:lnTo>
                <a:lnTo>
                  <a:pt x="9600" y="8836"/>
                </a:lnTo>
                <a:cubicBezTo>
                  <a:pt x="9600" y="8836"/>
                  <a:pt x="9600" y="10800"/>
                  <a:pt x="9600" y="10800"/>
                </a:cubicBezTo>
                <a:close/>
                <a:moveTo>
                  <a:pt x="13200" y="19636"/>
                </a:moveTo>
                <a:lnTo>
                  <a:pt x="15600" y="19636"/>
                </a:lnTo>
                <a:lnTo>
                  <a:pt x="15600" y="17673"/>
                </a:lnTo>
                <a:lnTo>
                  <a:pt x="13200" y="17673"/>
                </a:lnTo>
                <a:cubicBezTo>
                  <a:pt x="13200" y="17673"/>
                  <a:pt x="13200" y="19636"/>
                  <a:pt x="13200" y="19636"/>
                </a:cubicBezTo>
                <a:close/>
                <a:moveTo>
                  <a:pt x="13200" y="13745"/>
                </a:moveTo>
                <a:lnTo>
                  <a:pt x="15600" y="13745"/>
                </a:lnTo>
                <a:lnTo>
                  <a:pt x="15600" y="11782"/>
                </a:lnTo>
                <a:lnTo>
                  <a:pt x="13200" y="11782"/>
                </a:lnTo>
                <a:cubicBezTo>
                  <a:pt x="13200" y="11782"/>
                  <a:pt x="13200" y="13745"/>
                  <a:pt x="13200" y="13745"/>
                </a:cubicBezTo>
                <a:close/>
                <a:moveTo>
                  <a:pt x="16800" y="10800"/>
                </a:moveTo>
                <a:lnTo>
                  <a:pt x="19200" y="10800"/>
                </a:lnTo>
                <a:lnTo>
                  <a:pt x="19200" y="8836"/>
                </a:lnTo>
                <a:lnTo>
                  <a:pt x="16800" y="8836"/>
                </a:lnTo>
                <a:cubicBezTo>
                  <a:pt x="16800" y="8836"/>
                  <a:pt x="16800" y="10800"/>
                  <a:pt x="16800" y="10800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13200" y="10800"/>
                </a:moveTo>
                <a:lnTo>
                  <a:pt x="15600" y="10800"/>
                </a:lnTo>
                <a:lnTo>
                  <a:pt x="15600" y="8836"/>
                </a:lnTo>
                <a:lnTo>
                  <a:pt x="13200" y="8836"/>
                </a:lnTo>
                <a:cubicBezTo>
                  <a:pt x="13200" y="8836"/>
                  <a:pt x="13200" y="10800"/>
                  <a:pt x="13200" y="10800"/>
                </a:cubicBezTo>
                <a:close/>
                <a:moveTo>
                  <a:pt x="3600" y="2945"/>
                </a:moveTo>
                <a:lnTo>
                  <a:pt x="18000" y="2945"/>
                </a:lnTo>
                <a:lnTo>
                  <a:pt x="18000" y="6873"/>
                </a:lnTo>
                <a:lnTo>
                  <a:pt x="3600" y="6873"/>
                </a:lnTo>
                <a:cubicBezTo>
                  <a:pt x="3600" y="6873"/>
                  <a:pt x="3600" y="2945"/>
                  <a:pt x="3600" y="2945"/>
                </a:cubicBezTo>
                <a:close/>
                <a:moveTo>
                  <a:pt x="2400" y="7855"/>
                </a:moveTo>
                <a:lnTo>
                  <a:pt x="19200" y="7855"/>
                </a:lnTo>
                <a:lnTo>
                  <a:pt x="19200" y="1964"/>
                </a:lnTo>
                <a:lnTo>
                  <a:pt x="2400" y="1964"/>
                </a:lnTo>
                <a:cubicBezTo>
                  <a:pt x="2400" y="1964"/>
                  <a:pt x="2400" y="7855"/>
                  <a:pt x="2400" y="7855"/>
                </a:cubicBezTo>
                <a:close/>
                <a:moveTo>
                  <a:pt x="9600" y="13745"/>
                </a:moveTo>
                <a:lnTo>
                  <a:pt x="12000" y="13745"/>
                </a:lnTo>
                <a:lnTo>
                  <a:pt x="12000" y="11782"/>
                </a:lnTo>
                <a:lnTo>
                  <a:pt x="9600" y="11782"/>
                </a:lnTo>
                <a:cubicBezTo>
                  <a:pt x="9600" y="11782"/>
                  <a:pt x="9600" y="13745"/>
                  <a:pt x="9600" y="13745"/>
                </a:cubicBezTo>
                <a:close/>
                <a:moveTo>
                  <a:pt x="16800" y="19636"/>
                </a:moveTo>
                <a:lnTo>
                  <a:pt x="19200" y="19636"/>
                </a:lnTo>
                <a:lnTo>
                  <a:pt x="19200" y="11782"/>
                </a:lnTo>
                <a:lnTo>
                  <a:pt x="16800" y="11782"/>
                </a:lnTo>
                <a:cubicBezTo>
                  <a:pt x="16800" y="11782"/>
                  <a:pt x="16800" y="19636"/>
                  <a:pt x="16800" y="19636"/>
                </a:cubicBezTo>
                <a:close/>
                <a:moveTo>
                  <a:pt x="2400" y="16691"/>
                </a:moveTo>
                <a:lnTo>
                  <a:pt x="4800" y="16691"/>
                </a:lnTo>
                <a:lnTo>
                  <a:pt x="4800" y="14727"/>
                </a:lnTo>
                <a:lnTo>
                  <a:pt x="2400" y="14727"/>
                </a:lnTo>
                <a:cubicBezTo>
                  <a:pt x="2400" y="14727"/>
                  <a:pt x="2400" y="16691"/>
                  <a:pt x="2400" y="16691"/>
                </a:cubicBezTo>
                <a:close/>
                <a:moveTo>
                  <a:pt x="2400" y="10800"/>
                </a:moveTo>
                <a:lnTo>
                  <a:pt x="4800" y="10800"/>
                </a:lnTo>
                <a:lnTo>
                  <a:pt x="4800" y="8836"/>
                </a:lnTo>
                <a:lnTo>
                  <a:pt x="2400" y="8836"/>
                </a:lnTo>
                <a:cubicBezTo>
                  <a:pt x="2400" y="8836"/>
                  <a:pt x="2400" y="10800"/>
                  <a:pt x="2400" y="10800"/>
                </a:cubicBezTo>
                <a:close/>
                <a:moveTo>
                  <a:pt x="2400" y="19636"/>
                </a:moveTo>
                <a:lnTo>
                  <a:pt x="4800" y="19636"/>
                </a:lnTo>
                <a:lnTo>
                  <a:pt x="4800" y="17673"/>
                </a:lnTo>
                <a:lnTo>
                  <a:pt x="2400" y="17673"/>
                </a:lnTo>
                <a:cubicBezTo>
                  <a:pt x="2400" y="17673"/>
                  <a:pt x="2400" y="19636"/>
                  <a:pt x="2400" y="19636"/>
                </a:cubicBezTo>
                <a:close/>
                <a:moveTo>
                  <a:pt x="2400" y="13745"/>
                </a:moveTo>
                <a:lnTo>
                  <a:pt x="4800" y="13745"/>
                </a:lnTo>
                <a:lnTo>
                  <a:pt x="4800" y="11782"/>
                </a:lnTo>
                <a:lnTo>
                  <a:pt x="2400" y="11782"/>
                </a:lnTo>
                <a:cubicBezTo>
                  <a:pt x="2400" y="11782"/>
                  <a:pt x="2400" y="13745"/>
                  <a:pt x="2400" y="13745"/>
                </a:cubicBezTo>
                <a:close/>
                <a:moveTo>
                  <a:pt x="9600" y="16691"/>
                </a:moveTo>
                <a:lnTo>
                  <a:pt x="12000" y="16691"/>
                </a:lnTo>
                <a:lnTo>
                  <a:pt x="12000" y="14727"/>
                </a:lnTo>
                <a:lnTo>
                  <a:pt x="9600" y="14727"/>
                </a:lnTo>
                <a:cubicBezTo>
                  <a:pt x="9600" y="14727"/>
                  <a:pt x="9600" y="16691"/>
                  <a:pt x="9600" y="16691"/>
                </a:cubicBezTo>
                <a:close/>
                <a:moveTo>
                  <a:pt x="6000" y="19636"/>
                </a:moveTo>
                <a:lnTo>
                  <a:pt x="8400" y="19636"/>
                </a:lnTo>
                <a:lnTo>
                  <a:pt x="8400" y="17673"/>
                </a:lnTo>
                <a:lnTo>
                  <a:pt x="6000" y="17673"/>
                </a:lnTo>
                <a:cubicBezTo>
                  <a:pt x="6000" y="17673"/>
                  <a:pt x="6000" y="19636"/>
                  <a:pt x="6000" y="19636"/>
                </a:cubicBezTo>
                <a:close/>
                <a:moveTo>
                  <a:pt x="9600" y="19636"/>
                </a:moveTo>
                <a:lnTo>
                  <a:pt x="12000" y="19636"/>
                </a:lnTo>
                <a:lnTo>
                  <a:pt x="12000" y="17673"/>
                </a:lnTo>
                <a:lnTo>
                  <a:pt x="9600" y="17673"/>
                </a:lnTo>
                <a:cubicBezTo>
                  <a:pt x="9600" y="17673"/>
                  <a:pt x="9600" y="19636"/>
                  <a:pt x="9600" y="19636"/>
                </a:cubicBezTo>
                <a:close/>
                <a:moveTo>
                  <a:pt x="6000" y="16691"/>
                </a:moveTo>
                <a:lnTo>
                  <a:pt x="8400" y="16691"/>
                </a:lnTo>
                <a:lnTo>
                  <a:pt x="8400" y="14727"/>
                </a:lnTo>
                <a:lnTo>
                  <a:pt x="6000" y="14727"/>
                </a:lnTo>
                <a:cubicBezTo>
                  <a:pt x="6000" y="14727"/>
                  <a:pt x="6000" y="16691"/>
                  <a:pt x="6000" y="16691"/>
                </a:cubicBezTo>
                <a:close/>
                <a:moveTo>
                  <a:pt x="6000" y="13745"/>
                </a:moveTo>
                <a:lnTo>
                  <a:pt x="8400" y="13745"/>
                </a:lnTo>
                <a:lnTo>
                  <a:pt x="8400" y="11782"/>
                </a:lnTo>
                <a:lnTo>
                  <a:pt x="6000" y="11782"/>
                </a:lnTo>
                <a:cubicBezTo>
                  <a:pt x="6000" y="11782"/>
                  <a:pt x="6000" y="13745"/>
                  <a:pt x="6000" y="13745"/>
                </a:cubicBezTo>
                <a:close/>
                <a:moveTo>
                  <a:pt x="6000" y="10800"/>
                </a:moveTo>
                <a:lnTo>
                  <a:pt x="8400" y="10800"/>
                </a:lnTo>
                <a:lnTo>
                  <a:pt x="8400" y="8836"/>
                </a:lnTo>
                <a:lnTo>
                  <a:pt x="6000" y="8836"/>
                </a:lnTo>
                <a:cubicBezTo>
                  <a:pt x="6000" y="8836"/>
                  <a:pt x="6000" y="10800"/>
                  <a:pt x="6000" y="108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3" name="Shape 2693"/>
          <p:cNvSpPr/>
          <p:nvPr/>
        </p:nvSpPr>
        <p:spPr>
          <a:xfrm>
            <a:off x="18950059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82" y="11782"/>
                </a:moveTo>
                <a:lnTo>
                  <a:pt x="9818" y="11782"/>
                </a:lnTo>
                <a:lnTo>
                  <a:pt x="9818" y="13745"/>
                </a:lnTo>
                <a:lnTo>
                  <a:pt x="11782" y="13745"/>
                </a:lnTo>
                <a:cubicBezTo>
                  <a:pt x="11782" y="13745"/>
                  <a:pt x="11782" y="11782"/>
                  <a:pt x="11782" y="11782"/>
                </a:cubicBezTo>
                <a:close/>
                <a:moveTo>
                  <a:pt x="7855" y="17673"/>
                </a:moveTo>
                <a:lnTo>
                  <a:pt x="9818" y="17673"/>
                </a:lnTo>
                <a:lnTo>
                  <a:pt x="9818" y="16691"/>
                </a:lnTo>
                <a:lnTo>
                  <a:pt x="7855" y="16691"/>
                </a:lnTo>
                <a:cubicBezTo>
                  <a:pt x="7855" y="16691"/>
                  <a:pt x="7855" y="17673"/>
                  <a:pt x="7855" y="17673"/>
                </a:cubicBezTo>
                <a:close/>
                <a:moveTo>
                  <a:pt x="11782" y="17673"/>
                </a:moveTo>
                <a:lnTo>
                  <a:pt x="13745" y="17673"/>
                </a:lnTo>
                <a:lnTo>
                  <a:pt x="13745" y="16691"/>
                </a:lnTo>
                <a:lnTo>
                  <a:pt x="11782" y="16691"/>
                </a:lnTo>
                <a:cubicBezTo>
                  <a:pt x="11782" y="16691"/>
                  <a:pt x="11782" y="17673"/>
                  <a:pt x="11782" y="17673"/>
                </a:cubicBezTo>
                <a:close/>
                <a:moveTo>
                  <a:pt x="12764" y="8836"/>
                </a:moveTo>
                <a:cubicBezTo>
                  <a:pt x="12492" y="8836"/>
                  <a:pt x="12273" y="9056"/>
                  <a:pt x="12273" y="9327"/>
                </a:cubicBezTo>
                <a:cubicBezTo>
                  <a:pt x="12273" y="9599"/>
                  <a:pt x="12492" y="9818"/>
                  <a:pt x="12764" y="9818"/>
                </a:cubicBezTo>
                <a:cubicBezTo>
                  <a:pt x="13035" y="9818"/>
                  <a:pt x="13255" y="9599"/>
                  <a:pt x="13255" y="9327"/>
                </a:cubicBezTo>
                <a:cubicBezTo>
                  <a:pt x="13255" y="9056"/>
                  <a:pt x="13035" y="8836"/>
                  <a:pt x="12764" y="8836"/>
                </a:cubicBezTo>
                <a:moveTo>
                  <a:pt x="3927" y="12764"/>
                </a:moveTo>
                <a:cubicBezTo>
                  <a:pt x="3927" y="11679"/>
                  <a:pt x="4806" y="10800"/>
                  <a:pt x="5891" y="10800"/>
                </a:cubicBezTo>
                <a:cubicBezTo>
                  <a:pt x="6975" y="10800"/>
                  <a:pt x="7855" y="11679"/>
                  <a:pt x="7855" y="12764"/>
                </a:cubicBezTo>
                <a:cubicBezTo>
                  <a:pt x="7855" y="13848"/>
                  <a:pt x="6975" y="14727"/>
                  <a:pt x="5891" y="14727"/>
                </a:cubicBezTo>
                <a:cubicBezTo>
                  <a:pt x="4806" y="14727"/>
                  <a:pt x="3927" y="13848"/>
                  <a:pt x="3927" y="12764"/>
                </a:cubicBezTo>
                <a:moveTo>
                  <a:pt x="17673" y="12764"/>
                </a:moveTo>
                <a:cubicBezTo>
                  <a:pt x="17673" y="13848"/>
                  <a:pt x="16794" y="14727"/>
                  <a:pt x="15709" y="14727"/>
                </a:cubicBezTo>
                <a:cubicBezTo>
                  <a:pt x="14625" y="14727"/>
                  <a:pt x="13745" y="13848"/>
                  <a:pt x="13745" y="12764"/>
                </a:cubicBezTo>
                <a:cubicBezTo>
                  <a:pt x="13745" y="11679"/>
                  <a:pt x="14625" y="10800"/>
                  <a:pt x="15709" y="10800"/>
                </a:cubicBezTo>
                <a:cubicBezTo>
                  <a:pt x="16794" y="10800"/>
                  <a:pt x="17673" y="11679"/>
                  <a:pt x="17673" y="12764"/>
                </a:cubicBezTo>
                <a:moveTo>
                  <a:pt x="20618" y="8836"/>
                </a:moveTo>
                <a:lnTo>
                  <a:pt x="19145" y="8836"/>
                </a:lnTo>
                <a:cubicBezTo>
                  <a:pt x="18874" y="8836"/>
                  <a:pt x="18655" y="9056"/>
                  <a:pt x="18655" y="9327"/>
                </a:cubicBezTo>
                <a:cubicBezTo>
                  <a:pt x="18655" y="9599"/>
                  <a:pt x="18874" y="9818"/>
                  <a:pt x="19145" y="9818"/>
                </a:cubicBezTo>
                <a:lnTo>
                  <a:pt x="20618" y="9818"/>
                </a:lnTo>
                <a:lnTo>
                  <a:pt x="20618" y="12273"/>
                </a:lnTo>
                <a:lnTo>
                  <a:pt x="18605" y="12273"/>
                </a:lnTo>
                <a:cubicBezTo>
                  <a:pt x="18370" y="10881"/>
                  <a:pt x="17167" y="9818"/>
                  <a:pt x="15709" y="9818"/>
                </a:cubicBezTo>
                <a:cubicBezTo>
                  <a:pt x="14082" y="9818"/>
                  <a:pt x="12764" y="11137"/>
                  <a:pt x="12764" y="12764"/>
                </a:cubicBezTo>
                <a:cubicBezTo>
                  <a:pt x="12764" y="14390"/>
                  <a:pt x="14082" y="15709"/>
                  <a:pt x="15709" y="15709"/>
                </a:cubicBezTo>
                <a:cubicBezTo>
                  <a:pt x="17167" y="15709"/>
                  <a:pt x="18370" y="14646"/>
                  <a:pt x="18605" y="13255"/>
                </a:cubicBezTo>
                <a:lnTo>
                  <a:pt x="20618" y="13255"/>
                </a:lnTo>
                <a:lnTo>
                  <a:pt x="20618" y="18655"/>
                </a:lnTo>
                <a:lnTo>
                  <a:pt x="982" y="18655"/>
                </a:lnTo>
                <a:lnTo>
                  <a:pt x="982" y="13255"/>
                </a:lnTo>
                <a:lnTo>
                  <a:pt x="2995" y="13255"/>
                </a:lnTo>
                <a:cubicBezTo>
                  <a:pt x="3230" y="14646"/>
                  <a:pt x="4433" y="15709"/>
                  <a:pt x="5891" y="15709"/>
                </a:cubicBezTo>
                <a:cubicBezTo>
                  <a:pt x="7517" y="15709"/>
                  <a:pt x="8836" y="14390"/>
                  <a:pt x="8836" y="12764"/>
                </a:cubicBezTo>
                <a:cubicBezTo>
                  <a:pt x="8836" y="11137"/>
                  <a:pt x="7517" y="9818"/>
                  <a:pt x="5891" y="9818"/>
                </a:cubicBezTo>
                <a:cubicBezTo>
                  <a:pt x="4433" y="9818"/>
                  <a:pt x="3230" y="10881"/>
                  <a:pt x="2995" y="12273"/>
                </a:cubicBezTo>
                <a:lnTo>
                  <a:pt x="982" y="12273"/>
                </a:lnTo>
                <a:lnTo>
                  <a:pt x="982" y="9818"/>
                </a:lnTo>
                <a:lnTo>
                  <a:pt x="2455" y="9818"/>
                </a:lnTo>
                <a:cubicBezTo>
                  <a:pt x="2726" y="9818"/>
                  <a:pt x="2945" y="9599"/>
                  <a:pt x="2945" y="9327"/>
                </a:cubicBezTo>
                <a:cubicBezTo>
                  <a:pt x="2945" y="9056"/>
                  <a:pt x="2726" y="8836"/>
                  <a:pt x="2455" y="8836"/>
                </a:cubicBezTo>
                <a:lnTo>
                  <a:pt x="982" y="8836"/>
                </a:lnTo>
                <a:lnTo>
                  <a:pt x="982" y="7855"/>
                </a:lnTo>
                <a:cubicBezTo>
                  <a:pt x="982" y="7313"/>
                  <a:pt x="1421" y="6873"/>
                  <a:pt x="1964" y="6873"/>
                </a:cubicBezTo>
                <a:lnTo>
                  <a:pt x="19636" y="6873"/>
                </a:lnTo>
                <a:cubicBezTo>
                  <a:pt x="20178" y="6873"/>
                  <a:pt x="20618" y="7313"/>
                  <a:pt x="20618" y="7855"/>
                </a:cubicBezTo>
                <a:cubicBezTo>
                  <a:pt x="20618" y="7855"/>
                  <a:pt x="20618" y="8836"/>
                  <a:pt x="20618" y="8836"/>
                </a:cubicBezTo>
                <a:close/>
                <a:moveTo>
                  <a:pt x="19636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20618" y="19636"/>
                </a:lnTo>
                <a:cubicBezTo>
                  <a:pt x="20618" y="20178"/>
                  <a:pt x="20178" y="20618"/>
                  <a:pt x="19636" y="20618"/>
                </a:cubicBezTo>
                <a:moveTo>
                  <a:pt x="5891" y="4909"/>
                </a:moveTo>
                <a:lnTo>
                  <a:pt x="15709" y="4909"/>
                </a:lnTo>
                <a:lnTo>
                  <a:pt x="15709" y="5891"/>
                </a:lnTo>
                <a:lnTo>
                  <a:pt x="5891" y="5891"/>
                </a:lnTo>
                <a:cubicBezTo>
                  <a:pt x="5891" y="5891"/>
                  <a:pt x="5891" y="4909"/>
                  <a:pt x="5891" y="4909"/>
                </a:cubicBezTo>
                <a:close/>
                <a:moveTo>
                  <a:pt x="19636" y="5891"/>
                </a:moveTo>
                <a:lnTo>
                  <a:pt x="19636" y="2855"/>
                </a:lnTo>
                <a:cubicBezTo>
                  <a:pt x="20207" y="2653"/>
                  <a:pt x="20618" y="2113"/>
                  <a:pt x="20618" y="1473"/>
                </a:cubicBezTo>
                <a:cubicBezTo>
                  <a:pt x="20618" y="659"/>
                  <a:pt x="19959" y="0"/>
                  <a:pt x="19145" y="0"/>
                </a:cubicBezTo>
                <a:cubicBezTo>
                  <a:pt x="18332" y="0"/>
                  <a:pt x="17673" y="659"/>
                  <a:pt x="17673" y="1473"/>
                </a:cubicBezTo>
                <a:cubicBezTo>
                  <a:pt x="17673" y="2113"/>
                  <a:pt x="18084" y="2653"/>
                  <a:pt x="18655" y="2855"/>
                </a:cubicBezTo>
                <a:lnTo>
                  <a:pt x="18655" y="5891"/>
                </a:lnTo>
                <a:lnTo>
                  <a:pt x="16691" y="5891"/>
                </a:lnTo>
                <a:lnTo>
                  <a:pt x="16691" y="4909"/>
                </a:lnTo>
                <a:cubicBezTo>
                  <a:pt x="16691" y="4367"/>
                  <a:pt x="16251" y="3927"/>
                  <a:pt x="15709" y="3927"/>
                </a:cubicBezTo>
                <a:lnTo>
                  <a:pt x="5891" y="3927"/>
                </a:lnTo>
                <a:cubicBezTo>
                  <a:pt x="5348" y="3927"/>
                  <a:pt x="4909" y="4367"/>
                  <a:pt x="4909" y="4909"/>
                </a:cubicBezTo>
                <a:lnTo>
                  <a:pt x="4909" y="5891"/>
                </a:lnTo>
                <a:lnTo>
                  <a:pt x="1964" y="5891"/>
                </a:lnTo>
                <a:cubicBezTo>
                  <a:pt x="879" y="5891"/>
                  <a:pt x="0" y="6770"/>
                  <a:pt x="0" y="7855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7855"/>
                </a:lnTo>
                <a:cubicBezTo>
                  <a:pt x="21600" y="6770"/>
                  <a:pt x="20721" y="5891"/>
                  <a:pt x="19636" y="5891"/>
                </a:cubicBezTo>
                <a:moveTo>
                  <a:pt x="10800" y="9818"/>
                </a:moveTo>
                <a:cubicBezTo>
                  <a:pt x="11071" y="9818"/>
                  <a:pt x="11291" y="9599"/>
                  <a:pt x="11291" y="9327"/>
                </a:cubicBezTo>
                <a:cubicBezTo>
                  <a:pt x="11291" y="9056"/>
                  <a:pt x="11071" y="8836"/>
                  <a:pt x="10800" y="8836"/>
                </a:cubicBezTo>
                <a:cubicBezTo>
                  <a:pt x="10529" y="8836"/>
                  <a:pt x="10309" y="9056"/>
                  <a:pt x="10309" y="9327"/>
                </a:cubicBezTo>
                <a:cubicBezTo>
                  <a:pt x="10309" y="9599"/>
                  <a:pt x="10529" y="9818"/>
                  <a:pt x="10800" y="9818"/>
                </a:cubicBezTo>
                <a:moveTo>
                  <a:pt x="9327" y="9327"/>
                </a:moveTo>
                <a:cubicBezTo>
                  <a:pt x="9327" y="9056"/>
                  <a:pt x="9108" y="8836"/>
                  <a:pt x="8836" y="8836"/>
                </a:cubicBezTo>
                <a:cubicBezTo>
                  <a:pt x="8565" y="8836"/>
                  <a:pt x="8345" y="9056"/>
                  <a:pt x="8345" y="9327"/>
                </a:cubicBezTo>
                <a:cubicBezTo>
                  <a:pt x="8345" y="9599"/>
                  <a:pt x="8565" y="9818"/>
                  <a:pt x="8836" y="9818"/>
                </a:cubicBezTo>
                <a:cubicBezTo>
                  <a:pt x="9108" y="9818"/>
                  <a:pt x="9327" y="9599"/>
                  <a:pt x="9327" y="93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4" name="Shape 2694"/>
          <p:cNvSpPr/>
          <p:nvPr/>
        </p:nvSpPr>
        <p:spPr>
          <a:xfrm>
            <a:off x="20016581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38" y="14727"/>
                </a:moveTo>
                <a:cubicBezTo>
                  <a:pt x="13628" y="14411"/>
                  <a:pt x="13690" y="14083"/>
                  <a:pt x="13721" y="13745"/>
                </a:cubicBezTo>
                <a:lnTo>
                  <a:pt x="2970" y="13745"/>
                </a:lnTo>
                <a:cubicBezTo>
                  <a:pt x="3001" y="14083"/>
                  <a:pt x="3063" y="14411"/>
                  <a:pt x="3153" y="14727"/>
                </a:cubicBezTo>
                <a:cubicBezTo>
                  <a:pt x="3153" y="14727"/>
                  <a:pt x="13538" y="14727"/>
                  <a:pt x="13538" y="14727"/>
                </a:cubicBezTo>
                <a:close/>
                <a:moveTo>
                  <a:pt x="18655" y="12764"/>
                </a:moveTo>
                <a:cubicBezTo>
                  <a:pt x="18383" y="12764"/>
                  <a:pt x="18164" y="12984"/>
                  <a:pt x="18164" y="13255"/>
                </a:cubicBezTo>
                <a:cubicBezTo>
                  <a:pt x="18164" y="13526"/>
                  <a:pt x="18383" y="13745"/>
                  <a:pt x="18655" y="13745"/>
                </a:cubicBezTo>
                <a:cubicBezTo>
                  <a:pt x="18926" y="13745"/>
                  <a:pt x="19145" y="13526"/>
                  <a:pt x="19145" y="13255"/>
                </a:cubicBezTo>
                <a:cubicBezTo>
                  <a:pt x="19145" y="12984"/>
                  <a:pt x="18926" y="12764"/>
                  <a:pt x="18655" y="12764"/>
                </a:cubicBezTo>
                <a:moveTo>
                  <a:pt x="18655" y="8836"/>
                </a:moveTo>
                <a:cubicBezTo>
                  <a:pt x="18112" y="8836"/>
                  <a:pt x="17673" y="9276"/>
                  <a:pt x="17673" y="9818"/>
                </a:cubicBezTo>
                <a:cubicBezTo>
                  <a:pt x="17673" y="10360"/>
                  <a:pt x="18112" y="10800"/>
                  <a:pt x="18655" y="10800"/>
                </a:cubicBezTo>
                <a:cubicBezTo>
                  <a:pt x="19197" y="10800"/>
                  <a:pt x="19636" y="10360"/>
                  <a:pt x="19636" y="9818"/>
                </a:cubicBezTo>
                <a:cubicBezTo>
                  <a:pt x="19636" y="9276"/>
                  <a:pt x="19197" y="8836"/>
                  <a:pt x="18655" y="8836"/>
                </a:cubicBezTo>
                <a:moveTo>
                  <a:pt x="20618" y="19636"/>
                </a:moveTo>
                <a:cubicBezTo>
                  <a:pt x="20618" y="20178"/>
                  <a:pt x="20179" y="20618"/>
                  <a:pt x="19636" y="20618"/>
                </a:cubicBezTo>
                <a:lnTo>
                  <a:pt x="16691" y="20618"/>
                </a:lnTo>
                <a:lnTo>
                  <a:pt x="16691" y="5891"/>
                </a:lnTo>
                <a:lnTo>
                  <a:pt x="19636" y="5891"/>
                </a:lnTo>
                <a:cubicBezTo>
                  <a:pt x="20179" y="5891"/>
                  <a:pt x="20618" y="6331"/>
                  <a:pt x="20618" y="6873"/>
                </a:cubicBezTo>
                <a:cubicBezTo>
                  <a:pt x="20618" y="6873"/>
                  <a:pt x="20618" y="19636"/>
                  <a:pt x="20618" y="19636"/>
                </a:cubicBezTo>
                <a:close/>
                <a:moveTo>
                  <a:pt x="15709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6873"/>
                </a:lnTo>
                <a:cubicBezTo>
                  <a:pt x="982" y="6331"/>
                  <a:pt x="1421" y="5891"/>
                  <a:pt x="1964" y="5891"/>
                </a:cubicBezTo>
                <a:lnTo>
                  <a:pt x="15709" y="5891"/>
                </a:lnTo>
                <a:cubicBezTo>
                  <a:pt x="15709" y="5891"/>
                  <a:pt x="15709" y="20618"/>
                  <a:pt x="15709" y="20618"/>
                </a:cubicBezTo>
                <a:close/>
                <a:moveTo>
                  <a:pt x="19636" y="4909"/>
                </a:moveTo>
                <a:lnTo>
                  <a:pt x="4909" y="4909"/>
                </a:lnTo>
                <a:lnTo>
                  <a:pt x="4909" y="2855"/>
                </a:lnTo>
                <a:cubicBezTo>
                  <a:pt x="5480" y="2653"/>
                  <a:pt x="5891" y="2113"/>
                  <a:pt x="5891" y="1473"/>
                </a:cubicBezTo>
                <a:cubicBezTo>
                  <a:pt x="5891" y="659"/>
                  <a:pt x="5231" y="0"/>
                  <a:pt x="4418" y="0"/>
                </a:cubicBezTo>
                <a:cubicBezTo>
                  <a:pt x="3605" y="0"/>
                  <a:pt x="2945" y="659"/>
                  <a:pt x="2945" y="1473"/>
                </a:cubicBezTo>
                <a:cubicBezTo>
                  <a:pt x="2945" y="2113"/>
                  <a:pt x="3357" y="2653"/>
                  <a:pt x="3927" y="2855"/>
                </a:cubicBezTo>
                <a:lnTo>
                  <a:pt x="3927" y="4909"/>
                </a:lnTo>
                <a:lnTo>
                  <a:pt x="1964" y="4909"/>
                </a:lnTo>
                <a:cubicBezTo>
                  <a:pt x="879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6873"/>
                </a:lnTo>
                <a:cubicBezTo>
                  <a:pt x="21600" y="5788"/>
                  <a:pt x="20721" y="4909"/>
                  <a:pt x="19636" y="4909"/>
                </a:cubicBezTo>
                <a:moveTo>
                  <a:pt x="18655" y="15709"/>
                </a:moveTo>
                <a:cubicBezTo>
                  <a:pt x="18383" y="15709"/>
                  <a:pt x="18164" y="15929"/>
                  <a:pt x="18164" y="16200"/>
                </a:cubicBezTo>
                <a:cubicBezTo>
                  <a:pt x="18164" y="16471"/>
                  <a:pt x="18383" y="16691"/>
                  <a:pt x="18655" y="16691"/>
                </a:cubicBezTo>
                <a:cubicBezTo>
                  <a:pt x="18926" y="16691"/>
                  <a:pt x="19145" y="16471"/>
                  <a:pt x="19145" y="16200"/>
                </a:cubicBezTo>
                <a:cubicBezTo>
                  <a:pt x="19145" y="15929"/>
                  <a:pt x="18926" y="15709"/>
                  <a:pt x="18655" y="15709"/>
                </a:cubicBezTo>
                <a:moveTo>
                  <a:pt x="4199" y="16691"/>
                </a:moveTo>
                <a:lnTo>
                  <a:pt x="12492" y="16691"/>
                </a:lnTo>
                <a:cubicBezTo>
                  <a:pt x="12744" y="16387"/>
                  <a:pt x="12971" y="16064"/>
                  <a:pt x="13152" y="15709"/>
                </a:cubicBezTo>
                <a:lnTo>
                  <a:pt x="3539" y="15709"/>
                </a:lnTo>
                <a:cubicBezTo>
                  <a:pt x="3720" y="16064"/>
                  <a:pt x="3947" y="16387"/>
                  <a:pt x="4199" y="16691"/>
                </a:cubicBezTo>
                <a:moveTo>
                  <a:pt x="8345" y="7855"/>
                </a:moveTo>
                <a:cubicBezTo>
                  <a:pt x="7196" y="7855"/>
                  <a:pt x="6138" y="8224"/>
                  <a:pt x="5263" y="8836"/>
                </a:cubicBezTo>
                <a:lnTo>
                  <a:pt x="11428" y="8836"/>
                </a:lnTo>
                <a:cubicBezTo>
                  <a:pt x="10553" y="8224"/>
                  <a:pt x="9495" y="7855"/>
                  <a:pt x="8345" y="7855"/>
                </a:cubicBezTo>
                <a:moveTo>
                  <a:pt x="8345" y="18655"/>
                </a:moveTo>
                <a:cubicBezTo>
                  <a:pt x="9495" y="18655"/>
                  <a:pt x="10553" y="18285"/>
                  <a:pt x="11428" y="17673"/>
                </a:cubicBezTo>
                <a:lnTo>
                  <a:pt x="5263" y="17673"/>
                </a:lnTo>
                <a:cubicBezTo>
                  <a:pt x="6138" y="18285"/>
                  <a:pt x="7196" y="18655"/>
                  <a:pt x="8345" y="18655"/>
                </a:cubicBezTo>
                <a:moveTo>
                  <a:pt x="12492" y="9818"/>
                </a:moveTo>
                <a:lnTo>
                  <a:pt x="4199" y="9818"/>
                </a:lnTo>
                <a:cubicBezTo>
                  <a:pt x="3947" y="10122"/>
                  <a:pt x="3720" y="10446"/>
                  <a:pt x="3539" y="10800"/>
                </a:cubicBezTo>
                <a:lnTo>
                  <a:pt x="13152" y="10800"/>
                </a:lnTo>
                <a:cubicBezTo>
                  <a:pt x="12971" y="10446"/>
                  <a:pt x="12744" y="10122"/>
                  <a:pt x="12492" y="9818"/>
                </a:cubicBezTo>
                <a:moveTo>
                  <a:pt x="13538" y="11782"/>
                </a:moveTo>
                <a:lnTo>
                  <a:pt x="3153" y="11782"/>
                </a:lnTo>
                <a:cubicBezTo>
                  <a:pt x="3063" y="12098"/>
                  <a:pt x="3001" y="12427"/>
                  <a:pt x="2970" y="12764"/>
                </a:cubicBezTo>
                <a:lnTo>
                  <a:pt x="13721" y="12764"/>
                </a:lnTo>
                <a:cubicBezTo>
                  <a:pt x="13690" y="12427"/>
                  <a:pt x="13628" y="12098"/>
                  <a:pt x="13538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5" name="Shape 2695"/>
          <p:cNvSpPr/>
          <p:nvPr/>
        </p:nvSpPr>
        <p:spPr>
          <a:xfrm>
            <a:off x="21083103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5218"/>
                </a:moveTo>
                <a:cubicBezTo>
                  <a:pt x="14727" y="15490"/>
                  <a:pt x="14947" y="15709"/>
                  <a:pt x="15218" y="15709"/>
                </a:cubicBezTo>
                <a:cubicBezTo>
                  <a:pt x="15490" y="15709"/>
                  <a:pt x="15709" y="15490"/>
                  <a:pt x="15709" y="15218"/>
                </a:cubicBezTo>
                <a:cubicBezTo>
                  <a:pt x="15709" y="14947"/>
                  <a:pt x="15490" y="14727"/>
                  <a:pt x="15218" y="14727"/>
                </a:cubicBezTo>
                <a:cubicBezTo>
                  <a:pt x="14947" y="14727"/>
                  <a:pt x="14727" y="14947"/>
                  <a:pt x="14727" y="15218"/>
                </a:cubicBezTo>
                <a:moveTo>
                  <a:pt x="20618" y="12764"/>
                </a:moveTo>
                <a:lnTo>
                  <a:pt x="17673" y="12764"/>
                </a:lnTo>
                <a:lnTo>
                  <a:pt x="17673" y="3927"/>
                </a:lnTo>
                <a:lnTo>
                  <a:pt x="3927" y="3927"/>
                </a:lnTo>
                <a:lnTo>
                  <a:pt x="3927" y="9510"/>
                </a:lnTo>
                <a:cubicBezTo>
                  <a:pt x="3308" y="10442"/>
                  <a:pt x="2945" y="11560"/>
                  <a:pt x="2945" y="12764"/>
                </a:cubicBezTo>
                <a:lnTo>
                  <a:pt x="982" y="12764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2764"/>
                  <a:pt x="20618" y="12764"/>
                </a:cubicBezTo>
                <a:close/>
                <a:moveTo>
                  <a:pt x="9327" y="12764"/>
                </a:moveTo>
                <a:cubicBezTo>
                  <a:pt x="9327" y="13035"/>
                  <a:pt x="9108" y="13255"/>
                  <a:pt x="8836" y="13255"/>
                </a:cubicBezTo>
                <a:cubicBezTo>
                  <a:pt x="8565" y="13255"/>
                  <a:pt x="8345" y="13035"/>
                  <a:pt x="8345" y="12764"/>
                </a:cubicBezTo>
                <a:cubicBezTo>
                  <a:pt x="8345" y="12493"/>
                  <a:pt x="8565" y="12273"/>
                  <a:pt x="8836" y="12273"/>
                </a:cubicBezTo>
                <a:cubicBezTo>
                  <a:pt x="9108" y="12273"/>
                  <a:pt x="9327" y="12493"/>
                  <a:pt x="9327" y="12764"/>
                </a:cubicBezTo>
                <a:moveTo>
                  <a:pt x="8836" y="7855"/>
                </a:moveTo>
                <a:cubicBezTo>
                  <a:pt x="10295" y="7855"/>
                  <a:pt x="11601" y="8494"/>
                  <a:pt x="12500" y="9504"/>
                </a:cubicBezTo>
                <a:lnTo>
                  <a:pt x="10301" y="12846"/>
                </a:lnTo>
                <a:cubicBezTo>
                  <a:pt x="10302" y="12818"/>
                  <a:pt x="10309" y="12792"/>
                  <a:pt x="10309" y="12764"/>
                </a:cubicBezTo>
                <a:cubicBezTo>
                  <a:pt x="10309" y="11951"/>
                  <a:pt x="9649" y="11291"/>
                  <a:pt x="8836" y="11291"/>
                </a:cubicBezTo>
                <a:cubicBezTo>
                  <a:pt x="8023" y="11291"/>
                  <a:pt x="7364" y="11951"/>
                  <a:pt x="7364" y="12764"/>
                </a:cubicBezTo>
                <a:cubicBezTo>
                  <a:pt x="7364" y="13577"/>
                  <a:pt x="8023" y="14236"/>
                  <a:pt x="8836" y="14236"/>
                </a:cubicBezTo>
                <a:cubicBezTo>
                  <a:pt x="9072" y="14236"/>
                  <a:pt x="9293" y="14175"/>
                  <a:pt x="9491" y="14076"/>
                </a:cubicBezTo>
                <a:lnTo>
                  <a:pt x="8925" y="14938"/>
                </a:lnTo>
                <a:lnTo>
                  <a:pt x="8639" y="14741"/>
                </a:lnTo>
                <a:lnTo>
                  <a:pt x="7962" y="16664"/>
                </a:lnTo>
                <a:lnTo>
                  <a:pt x="8494" y="17043"/>
                </a:lnTo>
                <a:lnTo>
                  <a:pt x="8881" y="16700"/>
                </a:lnTo>
                <a:lnTo>
                  <a:pt x="10064" y="16936"/>
                </a:lnTo>
                <a:lnTo>
                  <a:pt x="9561" y="16099"/>
                </a:lnTo>
                <a:lnTo>
                  <a:pt x="10020" y="15694"/>
                </a:lnTo>
                <a:lnTo>
                  <a:pt x="9423" y="15282"/>
                </a:lnTo>
                <a:lnTo>
                  <a:pt x="9736" y="15491"/>
                </a:lnTo>
                <a:lnTo>
                  <a:pt x="13114" y="10359"/>
                </a:lnTo>
                <a:cubicBezTo>
                  <a:pt x="13514" y="11069"/>
                  <a:pt x="13745" y="11889"/>
                  <a:pt x="13745" y="12764"/>
                </a:cubicBezTo>
                <a:cubicBezTo>
                  <a:pt x="13745" y="15475"/>
                  <a:pt x="11548" y="17673"/>
                  <a:pt x="8836" y="17673"/>
                </a:cubicBezTo>
                <a:cubicBezTo>
                  <a:pt x="6125" y="17673"/>
                  <a:pt x="3927" y="15475"/>
                  <a:pt x="3927" y="12764"/>
                </a:cubicBezTo>
                <a:cubicBezTo>
                  <a:pt x="3927" y="10053"/>
                  <a:pt x="6125" y="7855"/>
                  <a:pt x="8836" y="7855"/>
                </a:cubicBezTo>
                <a:moveTo>
                  <a:pt x="14727" y="5891"/>
                </a:moveTo>
                <a:cubicBezTo>
                  <a:pt x="14186" y="5891"/>
                  <a:pt x="13745" y="6331"/>
                  <a:pt x="13745" y="6873"/>
                </a:cubicBezTo>
                <a:cubicBezTo>
                  <a:pt x="13745" y="7062"/>
                  <a:pt x="13802" y="7237"/>
                  <a:pt x="13894" y="7386"/>
                </a:cubicBezTo>
                <a:lnTo>
                  <a:pt x="13057" y="8659"/>
                </a:lnTo>
                <a:cubicBezTo>
                  <a:pt x="11987" y="7558"/>
                  <a:pt x="10492" y="6873"/>
                  <a:pt x="8836" y="6873"/>
                </a:cubicBezTo>
                <a:cubicBezTo>
                  <a:pt x="7325" y="6873"/>
                  <a:pt x="5952" y="7447"/>
                  <a:pt x="4909" y="8382"/>
                </a:cubicBezTo>
                <a:lnTo>
                  <a:pt x="4909" y="4909"/>
                </a:lnTo>
                <a:lnTo>
                  <a:pt x="16691" y="4909"/>
                </a:lnTo>
                <a:lnTo>
                  <a:pt x="16691" y="16691"/>
                </a:lnTo>
                <a:lnTo>
                  <a:pt x="13219" y="16691"/>
                </a:lnTo>
                <a:cubicBezTo>
                  <a:pt x="14154" y="15648"/>
                  <a:pt x="14727" y="14275"/>
                  <a:pt x="14727" y="12764"/>
                </a:cubicBezTo>
                <a:cubicBezTo>
                  <a:pt x="14727" y="11536"/>
                  <a:pt x="14351" y="10398"/>
                  <a:pt x="13709" y="9453"/>
                </a:cubicBezTo>
                <a:lnTo>
                  <a:pt x="14764" y="7851"/>
                </a:lnTo>
                <a:cubicBezTo>
                  <a:pt x="15288" y="7832"/>
                  <a:pt x="15709" y="7402"/>
                  <a:pt x="15709" y="6873"/>
                </a:cubicBezTo>
                <a:cubicBezTo>
                  <a:pt x="15709" y="6331"/>
                  <a:pt x="15269" y="5891"/>
                  <a:pt x="14727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745"/>
                </a:lnTo>
                <a:lnTo>
                  <a:pt x="3034" y="13745"/>
                </a:lnTo>
                <a:cubicBezTo>
                  <a:pt x="3502" y="16531"/>
                  <a:pt x="5918" y="18655"/>
                  <a:pt x="8836" y="18655"/>
                </a:cubicBezTo>
                <a:cubicBezTo>
                  <a:pt x="10040" y="18655"/>
                  <a:pt x="11158" y="18292"/>
                  <a:pt x="12090" y="17673"/>
                </a:cubicBezTo>
                <a:lnTo>
                  <a:pt x="17673" y="17673"/>
                </a:lnTo>
                <a:lnTo>
                  <a:pt x="17673" y="13745"/>
                </a:lnTo>
                <a:lnTo>
                  <a:pt x="20618" y="13745"/>
                </a:lnTo>
                <a:cubicBezTo>
                  <a:pt x="20618" y="13745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6" name="Shape 2696"/>
          <p:cNvSpPr/>
          <p:nvPr/>
        </p:nvSpPr>
        <p:spPr>
          <a:xfrm>
            <a:off x="22149625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764" y="19636"/>
                </a:moveTo>
                <a:cubicBezTo>
                  <a:pt x="12764" y="20178"/>
                  <a:pt x="12324" y="20618"/>
                  <a:pt x="11782" y="20618"/>
                </a:cubicBezTo>
                <a:lnTo>
                  <a:pt x="9818" y="20618"/>
                </a:lnTo>
                <a:cubicBezTo>
                  <a:pt x="9276" y="20618"/>
                  <a:pt x="8836" y="20178"/>
                  <a:pt x="8836" y="19636"/>
                </a:cubicBezTo>
                <a:lnTo>
                  <a:pt x="8836" y="17673"/>
                </a:lnTo>
                <a:cubicBezTo>
                  <a:pt x="8836" y="17131"/>
                  <a:pt x="9276" y="16691"/>
                  <a:pt x="9818" y="16691"/>
                </a:cubicBezTo>
                <a:lnTo>
                  <a:pt x="11782" y="16691"/>
                </a:lnTo>
                <a:cubicBezTo>
                  <a:pt x="12324" y="16691"/>
                  <a:pt x="12764" y="17131"/>
                  <a:pt x="12764" y="17673"/>
                </a:cubicBezTo>
                <a:cubicBezTo>
                  <a:pt x="12764" y="17673"/>
                  <a:pt x="12764" y="19636"/>
                  <a:pt x="12764" y="19636"/>
                </a:cubicBezTo>
                <a:close/>
                <a:moveTo>
                  <a:pt x="11782" y="15709"/>
                </a:moveTo>
                <a:lnTo>
                  <a:pt x="9818" y="15709"/>
                </a:lnTo>
                <a:cubicBezTo>
                  <a:pt x="8734" y="15709"/>
                  <a:pt x="7855" y="16588"/>
                  <a:pt x="7855" y="17673"/>
                </a:cubicBezTo>
                <a:lnTo>
                  <a:pt x="7855" y="19636"/>
                </a:lnTo>
                <a:cubicBezTo>
                  <a:pt x="7855" y="20721"/>
                  <a:pt x="8734" y="21600"/>
                  <a:pt x="9818" y="21600"/>
                </a:cubicBezTo>
                <a:lnTo>
                  <a:pt x="11782" y="21600"/>
                </a:lnTo>
                <a:cubicBezTo>
                  <a:pt x="12866" y="21600"/>
                  <a:pt x="13745" y="20721"/>
                  <a:pt x="13745" y="19636"/>
                </a:cubicBezTo>
                <a:lnTo>
                  <a:pt x="13745" y="17673"/>
                </a:lnTo>
                <a:cubicBezTo>
                  <a:pt x="13745" y="16588"/>
                  <a:pt x="12866" y="15709"/>
                  <a:pt x="11782" y="157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cubicBezTo>
                  <a:pt x="17131" y="20618"/>
                  <a:pt x="16691" y="20178"/>
                  <a:pt x="16691" y="19636"/>
                </a:cubicBezTo>
                <a:lnTo>
                  <a:pt x="16691" y="17673"/>
                </a:lnTo>
                <a:cubicBezTo>
                  <a:pt x="16691" y="17131"/>
                  <a:pt x="17131" y="16691"/>
                  <a:pt x="17673" y="16691"/>
                </a:cubicBezTo>
                <a:lnTo>
                  <a:pt x="19636" y="16691"/>
                </a:lnTo>
                <a:cubicBezTo>
                  <a:pt x="20178" y="16691"/>
                  <a:pt x="20618" y="17131"/>
                  <a:pt x="20618" y="17673"/>
                </a:cubicBezTo>
                <a:cubicBezTo>
                  <a:pt x="20618" y="17673"/>
                  <a:pt x="20618" y="19636"/>
                  <a:pt x="20618" y="19636"/>
                </a:cubicBezTo>
                <a:close/>
                <a:moveTo>
                  <a:pt x="19636" y="15709"/>
                </a:moveTo>
                <a:lnTo>
                  <a:pt x="17673" y="15709"/>
                </a:lnTo>
                <a:cubicBezTo>
                  <a:pt x="16588" y="15709"/>
                  <a:pt x="15709" y="16588"/>
                  <a:pt x="15709" y="17673"/>
                </a:cubicBezTo>
                <a:lnTo>
                  <a:pt x="15709" y="19636"/>
                </a:lnTo>
                <a:cubicBezTo>
                  <a:pt x="15709" y="20721"/>
                  <a:pt x="16588" y="21600"/>
                  <a:pt x="17673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7673"/>
                </a:lnTo>
                <a:cubicBezTo>
                  <a:pt x="21600" y="16588"/>
                  <a:pt x="20721" y="15709"/>
                  <a:pt x="19636" y="15709"/>
                </a:cubicBezTo>
                <a:moveTo>
                  <a:pt x="4909" y="19636"/>
                </a:moveTo>
                <a:cubicBezTo>
                  <a:pt x="4909" y="20178"/>
                  <a:pt x="4469" y="20618"/>
                  <a:pt x="3927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7673"/>
                </a:lnTo>
                <a:cubicBezTo>
                  <a:pt x="982" y="17131"/>
                  <a:pt x="1422" y="16691"/>
                  <a:pt x="1964" y="16691"/>
                </a:cubicBezTo>
                <a:lnTo>
                  <a:pt x="3927" y="16691"/>
                </a:lnTo>
                <a:cubicBezTo>
                  <a:pt x="4469" y="16691"/>
                  <a:pt x="4909" y="17131"/>
                  <a:pt x="4909" y="17673"/>
                </a:cubicBezTo>
                <a:cubicBezTo>
                  <a:pt x="4909" y="17673"/>
                  <a:pt x="4909" y="19636"/>
                  <a:pt x="4909" y="19636"/>
                </a:cubicBezTo>
                <a:close/>
                <a:moveTo>
                  <a:pt x="3927" y="15709"/>
                </a:moveTo>
                <a:lnTo>
                  <a:pt x="1964" y="15709"/>
                </a:lnTo>
                <a:cubicBezTo>
                  <a:pt x="879" y="15709"/>
                  <a:pt x="0" y="16588"/>
                  <a:pt x="0" y="17673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3927" y="21600"/>
                </a:lnTo>
                <a:cubicBezTo>
                  <a:pt x="5012" y="21600"/>
                  <a:pt x="5891" y="20721"/>
                  <a:pt x="5891" y="19636"/>
                </a:cubicBezTo>
                <a:lnTo>
                  <a:pt x="5891" y="17673"/>
                </a:lnTo>
                <a:cubicBezTo>
                  <a:pt x="5891" y="16588"/>
                  <a:pt x="5012" y="15709"/>
                  <a:pt x="3927" y="15709"/>
                </a:cubicBezTo>
                <a:moveTo>
                  <a:pt x="2945" y="14727"/>
                </a:moveTo>
                <a:cubicBezTo>
                  <a:pt x="3217" y="14727"/>
                  <a:pt x="3436" y="14507"/>
                  <a:pt x="3436" y="14236"/>
                </a:cubicBezTo>
                <a:lnTo>
                  <a:pt x="3436" y="10800"/>
                </a:lnTo>
                <a:lnTo>
                  <a:pt x="10309" y="10800"/>
                </a:lnTo>
                <a:lnTo>
                  <a:pt x="10309" y="14236"/>
                </a:lnTo>
                <a:cubicBezTo>
                  <a:pt x="10309" y="14507"/>
                  <a:pt x="10529" y="14727"/>
                  <a:pt x="10800" y="14727"/>
                </a:cubicBezTo>
                <a:cubicBezTo>
                  <a:pt x="11071" y="14727"/>
                  <a:pt x="11291" y="14507"/>
                  <a:pt x="11291" y="14236"/>
                </a:cubicBezTo>
                <a:lnTo>
                  <a:pt x="11291" y="10800"/>
                </a:lnTo>
                <a:lnTo>
                  <a:pt x="18164" y="10800"/>
                </a:lnTo>
                <a:lnTo>
                  <a:pt x="18164" y="14236"/>
                </a:lnTo>
                <a:cubicBezTo>
                  <a:pt x="18164" y="14507"/>
                  <a:pt x="18384" y="14727"/>
                  <a:pt x="18655" y="14727"/>
                </a:cubicBezTo>
                <a:cubicBezTo>
                  <a:pt x="18926" y="14727"/>
                  <a:pt x="19145" y="14507"/>
                  <a:pt x="19145" y="14236"/>
                </a:cubicBezTo>
                <a:lnTo>
                  <a:pt x="19145" y="10309"/>
                </a:lnTo>
                <a:cubicBezTo>
                  <a:pt x="19145" y="10038"/>
                  <a:pt x="18926" y="9818"/>
                  <a:pt x="18655" y="9818"/>
                </a:cubicBezTo>
                <a:lnTo>
                  <a:pt x="11291" y="9818"/>
                </a:lnTo>
                <a:lnTo>
                  <a:pt x="11291" y="7364"/>
                </a:lnTo>
                <a:cubicBezTo>
                  <a:pt x="11291" y="7093"/>
                  <a:pt x="11071" y="6873"/>
                  <a:pt x="10800" y="6873"/>
                </a:cubicBezTo>
                <a:cubicBezTo>
                  <a:pt x="10529" y="6873"/>
                  <a:pt x="10309" y="7093"/>
                  <a:pt x="10309" y="7364"/>
                </a:cubicBezTo>
                <a:lnTo>
                  <a:pt x="10309" y="9818"/>
                </a:lnTo>
                <a:lnTo>
                  <a:pt x="2945" y="9818"/>
                </a:lnTo>
                <a:cubicBezTo>
                  <a:pt x="2674" y="9818"/>
                  <a:pt x="2455" y="10038"/>
                  <a:pt x="2455" y="10309"/>
                </a:cubicBezTo>
                <a:lnTo>
                  <a:pt x="2455" y="14236"/>
                </a:lnTo>
                <a:cubicBezTo>
                  <a:pt x="2455" y="14507"/>
                  <a:pt x="2674" y="14727"/>
                  <a:pt x="2945" y="14727"/>
                </a:cubicBezTo>
                <a:moveTo>
                  <a:pt x="8836" y="1964"/>
                </a:moveTo>
                <a:cubicBezTo>
                  <a:pt x="8836" y="1422"/>
                  <a:pt x="9276" y="982"/>
                  <a:pt x="9818" y="982"/>
                </a:cubicBezTo>
                <a:lnTo>
                  <a:pt x="11782" y="982"/>
                </a:lnTo>
                <a:cubicBezTo>
                  <a:pt x="12324" y="982"/>
                  <a:pt x="12764" y="1422"/>
                  <a:pt x="12764" y="1964"/>
                </a:cubicBezTo>
                <a:lnTo>
                  <a:pt x="12764" y="3927"/>
                </a:lnTo>
                <a:cubicBezTo>
                  <a:pt x="12764" y="4469"/>
                  <a:pt x="12324" y="4909"/>
                  <a:pt x="11782" y="4909"/>
                </a:cubicBezTo>
                <a:lnTo>
                  <a:pt x="9818" y="4909"/>
                </a:lnTo>
                <a:cubicBezTo>
                  <a:pt x="9276" y="4909"/>
                  <a:pt x="8836" y="4469"/>
                  <a:pt x="8836" y="3927"/>
                </a:cubicBezTo>
                <a:cubicBezTo>
                  <a:pt x="8836" y="3927"/>
                  <a:pt x="8836" y="1964"/>
                  <a:pt x="8836" y="1964"/>
                </a:cubicBezTo>
                <a:close/>
                <a:moveTo>
                  <a:pt x="9818" y="5891"/>
                </a:moveTo>
                <a:lnTo>
                  <a:pt x="11782" y="5891"/>
                </a:lnTo>
                <a:cubicBezTo>
                  <a:pt x="12866" y="5891"/>
                  <a:pt x="13745" y="5012"/>
                  <a:pt x="13745" y="3927"/>
                </a:cubicBezTo>
                <a:lnTo>
                  <a:pt x="13745" y="1964"/>
                </a:lnTo>
                <a:cubicBezTo>
                  <a:pt x="13745" y="879"/>
                  <a:pt x="12866" y="0"/>
                  <a:pt x="11782" y="0"/>
                </a:cubicBezTo>
                <a:lnTo>
                  <a:pt x="9818" y="0"/>
                </a:lnTo>
                <a:cubicBezTo>
                  <a:pt x="8734" y="0"/>
                  <a:pt x="7855" y="879"/>
                  <a:pt x="7855" y="1964"/>
                </a:cubicBezTo>
                <a:lnTo>
                  <a:pt x="7855" y="3927"/>
                </a:lnTo>
                <a:cubicBezTo>
                  <a:pt x="7855" y="5012"/>
                  <a:pt x="8734" y="5891"/>
                  <a:pt x="9818" y="58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7" name="Shape 2697"/>
          <p:cNvSpPr/>
          <p:nvPr/>
        </p:nvSpPr>
        <p:spPr>
          <a:xfrm>
            <a:off x="12576318" y="4986129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020" y="13745"/>
                </a:moveTo>
                <a:lnTo>
                  <a:pt x="4860" y="13745"/>
                </a:lnTo>
                <a:lnTo>
                  <a:pt x="4860" y="15709"/>
                </a:lnTo>
                <a:lnTo>
                  <a:pt x="7020" y="15709"/>
                </a:lnTo>
                <a:cubicBezTo>
                  <a:pt x="7020" y="15709"/>
                  <a:pt x="7020" y="13745"/>
                  <a:pt x="7020" y="13745"/>
                </a:cubicBezTo>
                <a:close/>
                <a:moveTo>
                  <a:pt x="5400" y="10800"/>
                </a:moveTo>
                <a:lnTo>
                  <a:pt x="3240" y="10800"/>
                </a:lnTo>
                <a:lnTo>
                  <a:pt x="3240" y="12764"/>
                </a:lnTo>
                <a:lnTo>
                  <a:pt x="5400" y="12764"/>
                </a:lnTo>
                <a:cubicBezTo>
                  <a:pt x="5400" y="12764"/>
                  <a:pt x="5400" y="10800"/>
                  <a:pt x="5400" y="10800"/>
                </a:cubicBezTo>
                <a:close/>
                <a:moveTo>
                  <a:pt x="5940" y="18655"/>
                </a:moveTo>
                <a:lnTo>
                  <a:pt x="15660" y="18655"/>
                </a:lnTo>
                <a:lnTo>
                  <a:pt x="15660" y="16691"/>
                </a:lnTo>
                <a:lnTo>
                  <a:pt x="5940" y="16691"/>
                </a:lnTo>
                <a:cubicBezTo>
                  <a:pt x="5940" y="16691"/>
                  <a:pt x="5940" y="18655"/>
                  <a:pt x="5940" y="18655"/>
                </a:cubicBezTo>
                <a:close/>
                <a:moveTo>
                  <a:pt x="20520" y="19636"/>
                </a:moveTo>
                <a:cubicBezTo>
                  <a:pt x="20520" y="20179"/>
                  <a:pt x="20036" y="20618"/>
                  <a:pt x="19440" y="20618"/>
                </a:cubicBezTo>
                <a:lnTo>
                  <a:pt x="2160" y="20618"/>
                </a:lnTo>
                <a:cubicBezTo>
                  <a:pt x="1564" y="20618"/>
                  <a:pt x="1080" y="20179"/>
                  <a:pt x="1080" y="19636"/>
                </a:cubicBezTo>
                <a:lnTo>
                  <a:pt x="1080" y="9818"/>
                </a:lnTo>
                <a:cubicBezTo>
                  <a:pt x="1080" y="9276"/>
                  <a:pt x="1564" y="8836"/>
                  <a:pt x="2160" y="8836"/>
                </a:cubicBezTo>
                <a:lnTo>
                  <a:pt x="19440" y="8836"/>
                </a:lnTo>
                <a:cubicBezTo>
                  <a:pt x="20036" y="8836"/>
                  <a:pt x="20520" y="9276"/>
                  <a:pt x="20520" y="9818"/>
                </a:cubicBezTo>
                <a:cubicBezTo>
                  <a:pt x="20520" y="9818"/>
                  <a:pt x="20520" y="19636"/>
                  <a:pt x="20520" y="19636"/>
                </a:cubicBezTo>
                <a:close/>
                <a:moveTo>
                  <a:pt x="19440" y="7855"/>
                </a:moveTo>
                <a:lnTo>
                  <a:pt x="2160" y="7855"/>
                </a:lnTo>
                <a:cubicBezTo>
                  <a:pt x="967" y="7855"/>
                  <a:pt x="0" y="8734"/>
                  <a:pt x="0" y="9818"/>
                </a:cubicBezTo>
                <a:lnTo>
                  <a:pt x="0" y="19636"/>
                </a:lnTo>
                <a:cubicBezTo>
                  <a:pt x="0" y="20721"/>
                  <a:pt x="967" y="21600"/>
                  <a:pt x="2160" y="21600"/>
                </a:cubicBezTo>
                <a:lnTo>
                  <a:pt x="19440" y="21600"/>
                </a:lnTo>
                <a:cubicBezTo>
                  <a:pt x="20633" y="21600"/>
                  <a:pt x="21600" y="20721"/>
                  <a:pt x="21600" y="19636"/>
                </a:cubicBezTo>
                <a:lnTo>
                  <a:pt x="21600" y="9818"/>
                </a:lnTo>
                <a:cubicBezTo>
                  <a:pt x="21600" y="8734"/>
                  <a:pt x="20633" y="7855"/>
                  <a:pt x="19440" y="7855"/>
                </a:cubicBezTo>
                <a:moveTo>
                  <a:pt x="16200" y="12764"/>
                </a:moveTo>
                <a:lnTo>
                  <a:pt x="18360" y="12764"/>
                </a:lnTo>
                <a:lnTo>
                  <a:pt x="18360" y="10800"/>
                </a:lnTo>
                <a:lnTo>
                  <a:pt x="16200" y="10800"/>
                </a:lnTo>
                <a:cubicBezTo>
                  <a:pt x="16200" y="10800"/>
                  <a:pt x="16200" y="12764"/>
                  <a:pt x="16200" y="12764"/>
                </a:cubicBezTo>
                <a:close/>
                <a:moveTo>
                  <a:pt x="14580" y="15709"/>
                </a:moveTo>
                <a:lnTo>
                  <a:pt x="16740" y="15709"/>
                </a:lnTo>
                <a:lnTo>
                  <a:pt x="16740" y="13745"/>
                </a:lnTo>
                <a:lnTo>
                  <a:pt x="14580" y="13745"/>
                </a:lnTo>
                <a:cubicBezTo>
                  <a:pt x="14580" y="13745"/>
                  <a:pt x="14580" y="15709"/>
                  <a:pt x="14580" y="15709"/>
                </a:cubicBezTo>
                <a:close/>
                <a:moveTo>
                  <a:pt x="10800" y="0"/>
                </a:moveTo>
                <a:lnTo>
                  <a:pt x="6480" y="3927"/>
                </a:lnTo>
                <a:lnTo>
                  <a:pt x="15120" y="3927"/>
                </a:lnTo>
                <a:cubicBezTo>
                  <a:pt x="15120" y="3927"/>
                  <a:pt x="10800" y="0"/>
                  <a:pt x="10800" y="0"/>
                </a:cubicBezTo>
                <a:close/>
                <a:moveTo>
                  <a:pt x="8640" y="10800"/>
                </a:moveTo>
                <a:lnTo>
                  <a:pt x="6480" y="10800"/>
                </a:lnTo>
                <a:lnTo>
                  <a:pt x="6480" y="12764"/>
                </a:lnTo>
                <a:lnTo>
                  <a:pt x="8640" y="12764"/>
                </a:lnTo>
                <a:cubicBezTo>
                  <a:pt x="8640" y="12764"/>
                  <a:pt x="8640" y="10800"/>
                  <a:pt x="8640" y="10800"/>
                </a:cubicBezTo>
                <a:close/>
                <a:moveTo>
                  <a:pt x="11340" y="15709"/>
                </a:moveTo>
                <a:lnTo>
                  <a:pt x="13500" y="15709"/>
                </a:lnTo>
                <a:lnTo>
                  <a:pt x="13500" y="13745"/>
                </a:lnTo>
                <a:lnTo>
                  <a:pt x="11340" y="13745"/>
                </a:lnTo>
                <a:cubicBezTo>
                  <a:pt x="11340" y="13745"/>
                  <a:pt x="11340" y="15709"/>
                  <a:pt x="11340" y="15709"/>
                </a:cubicBezTo>
                <a:close/>
                <a:moveTo>
                  <a:pt x="15120" y="10800"/>
                </a:moveTo>
                <a:lnTo>
                  <a:pt x="12960" y="10800"/>
                </a:lnTo>
                <a:lnTo>
                  <a:pt x="12960" y="12764"/>
                </a:lnTo>
                <a:lnTo>
                  <a:pt x="15120" y="12764"/>
                </a:lnTo>
                <a:cubicBezTo>
                  <a:pt x="15120" y="12764"/>
                  <a:pt x="15120" y="10800"/>
                  <a:pt x="15120" y="10800"/>
                </a:cubicBezTo>
                <a:close/>
                <a:moveTo>
                  <a:pt x="11880" y="10800"/>
                </a:moveTo>
                <a:lnTo>
                  <a:pt x="9720" y="10800"/>
                </a:lnTo>
                <a:lnTo>
                  <a:pt x="9720" y="12764"/>
                </a:lnTo>
                <a:lnTo>
                  <a:pt x="11880" y="12764"/>
                </a:lnTo>
                <a:cubicBezTo>
                  <a:pt x="11880" y="12764"/>
                  <a:pt x="11880" y="10800"/>
                  <a:pt x="11880" y="10800"/>
                </a:cubicBezTo>
                <a:close/>
                <a:moveTo>
                  <a:pt x="8100" y="15709"/>
                </a:moveTo>
                <a:lnTo>
                  <a:pt x="10260" y="15709"/>
                </a:lnTo>
                <a:lnTo>
                  <a:pt x="10260" y="13745"/>
                </a:lnTo>
                <a:lnTo>
                  <a:pt x="8100" y="13745"/>
                </a:lnTo>
                <a:cubicBezTo>
                  <a:pt x="8100" y="13745"/>
                  <a:pt x="8100" y="15709"/>
                  <a:pt x="8100" y="15709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8" name="Shape 2698"/>
          <p:cNvSpPr/>
          <p:nvPr/>
        </p:nvSpPr>
        <p:spPr>
          <a:xfrm>
            <a:off x="13642843" y="4986129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940" y="10800"/>
                </a:moveTo>
                <a:lnTo>
                  <a:pt x="15660" y="10800"/>
                </a:lnTo>
                <a:lnTo>
                  <a:pt x="15660" y="8836"/>
                </a:lnTo>
                <a:lnTo>
                  <a:pt x="5940" y="8836"/>
                </a:lnTo>
                <a:cubicBezTo>
                  <a:pt x="5940" y="8836"/>
                  <a:pt x="5940" y="10800"/>
                  <a:pt x="5940" y="10800"/>
                </a:cubicBezTo>
                <a:close/>
                <a:moveTo>
                  <a:pt x="5400" y="2945"/>
                </a:moveTo>
                <a:lnTo>
                  <a:pt x="3240" y="2945"/>
                </a:lnTo>
                <a:lnTo>
                  <a:pt x="3240" y="4909"/>
                </a:lnTo>
                <a:lnTo>
                  <a:pt x="5400" y="4909"/>
                </a:lnTo>
                <a:cubicBezTo>
                  <a:pt x="5400" y="4909"/>
                  <a:pt x="5400" y="2945"/>
                  <a:pt x="5400" y="2945"/>
                </a:cubicBezTo>
                <a:close/>
                <a:moveTo>
                  <a:pt x="7020" y="5891"/>
                </a:moveTo>
                <a:lnTo>
                  <a:pt x="4860" y="5891"/>
                </a:lnTo>
                <a:lnTo>
                  <a:pt x="4860" y="7855"/>
                </a:lnTo>
                <a:lnTo>
                  <a:pt x="7020" y="7855"/>
                </a:lnTo>
                <a:cubicBezTo>
                  <a:pt x="7020" y="7855"/>
                  <a:pt x="7020" y="5891"/>
                  <a:pt x="7020" y="5891"/>
                </a:cubicBezTo>
                <a:close/>
                <a:moveTo>
                  <a:pt x="14580" y="7855"/>
                </a:moveTo>
                <a:lnTo>
                  <a:pt x="16740" y="7855"/>
                </a:lnTo>
                <a:lnTo>
                  <a:pt x="16740" y="5891"/>
                </a:lnTo>
                <a:lnTo>
                  <a:pt x="14580" y="5891"/>
                </a:lnTo>
                <a:cubicBezTo>
                  <a:pt x="14580" y="5891"/>
                  <a:pt x="14580" y="7855"/>
                  <a:pt x="14580" y="7855"/>
                </a:cubicBezTo>
                <a:close/>
                <a:moveTo>
                  <a:pt x="20520" y="11782"/>
                </a:moveTo>
                <a:cubicBezTo>
                  <a:pt x="20520" y="12324"/>
                  <a:pt x="20036" y="12764"/>
                  <a:pt x="19440" y="12764"/>
                </a:cubicBezTo>
                <a:lnTo>
                  <a:pt x="2160" y="12764"/>
                </a:lnTo>
                <a:cubicBezTo>
                  <a:pt x="1564" y="12764"/>
                  <a:pt x="1080" y="12324"/>
                  <a:pt x="1080" y="11782"/>
                </a:cubicBezTo>
                <a:lnTo>
                  <a:pt x="1080" y="1964"/>
                </a:lnTo>
                <a:cubicBezTo>
                  <a:pt x="1080" y="1422"/>
                  <a:pt x="1564" y="982"/>
                  <a:pt x="2160" y="982"/>
                </a:cubicBezTo>
                <a:lnTo>
                  <a:pt x="19440" y="982"/>
                </a:lnTo>
                <a:cubicBezTo>
                  <a:pt x="20036" y="982"/>
                  <a:pt x="20520" y="1422"/>
                  <a:pt x="20520" y="1964"/>
                </a:cubicBezTo>
                <a:cubicBezTo>
                  <a:pt x="20520" y="1964"/>
                  <a:pt x="20520" y="11782"/>
                  <a:pt x="20520" y="11782"/>
                </a:cubicBezTo>
                <a:close/>
                <a:moveTo>
                  <a:pt x="19440" y="0"/>
                </a:moveTo>
                <a:lnTo>
                  <a:pt x="2160" y="0"/>
                </a:lnTo>
                <a:cubicBezTo>
                  <a:pt x="967" y="0"/>
                  <a:pt x="0" y="879"/>
                  <a:pt x="0" y="1964"/>
                </a:cubicBezTo>
                <a:lnTo>
                  <a:pt x="0" y="11782"/>
                </a:lnTo>
                <a:cubicBezTo>
                  <a:pt x="0" y="12866"/>
                  <a:pt x="967" y="13745"/>
                  <a:pt x="2160" y="13745"/>
                </a:cubicBezTo>
                <a:lnTo>
                  <a:pt x="19440" y="13745"/>
                </a:lnTo>
                <a:cubicBezTo>
                  <a:pt x="20633" y="13745"/>
                  <a:pt x="21600" y="12866"/>
                  <a:pt x="21600" y="11782"/>
                </a:cubicBezTo>
                <a:lnTo>
                  <a:pt x="21600" y="1964"/>
                </a:lnTo>
                <a:cubicBezTo>
                  <a:pt x="21600" y="879"/>
                  <a:pt x="20633" y="0"/>
                  <a:pt x="19440" y="0"/>
                </a:cubicBezTo>
                <a:moveTo>
                  <a:pt x="16200" y="4909"/>
                </a:moveTo>
                <a:lnTo>
                  <a:pt x="18360" y="4909"/>
                </a:lnTo>
                <a:lnTo>
                  <a:pt x="18360" y="2945"/>
                </a:lnTo>
                <a:lnTo>
                  <a:pt x="16200" y="2945"/>
                </a:lnTo>
                <a:cubicBezTo>
                  <a:pt x="16200" y="2945"/>
                  <a:pt x="16200" y="4909"/>
                  <a:pt x="16200" y="4909"/>
                </a:cubicBezTo>
                <a:close/>
                <a:moveTo>
                  <a:pt x="8640" y="2945"/>
                </a:moveTo>
                <a:lnTo>
                  <a:pt x="6480" y="2945"/>
                </a:lnTo>
                <a:lnTo>
                  <a:pt x="6480" y="4909"/>
                </a:lnTo>
                <a:lnTo>
                  <a:pt x="8640" y="4909"/>
                </a:lnTo>
                <a:cubicBezTo>
                  <a:pt x="8640" y="4909"/>
                  <a:pt x="8640" y="2945"/>
                  <a:pt x="8640" y="2945"/>
                </a:cubicBezTo>
                <a:close/>
                <a:moveTo>
                  <a:pt x="11340" y="7855"/>
                </a:moveTo>
                <a:lnTo>
                  <a:pt x="13500" y="7855"/>
                </a:lnTo>
                <a:lnTo>
                  <a:pt x="13500" y="5891"/>
                </a:lnTo>
                <a:lnTo>
                  <a:pt x="11340" y="5891"/>
                </a:lnTo>
                <a:cubicBezTo>
                  <a:pt x="11340" y="5891"/>
                  <a:pt x="11340" y="7855"/>
                  <a:pt x="11340" y="7855"/>
                </a:cubicBezTo>
                <a:close/>
                <a:moveTo>
                  <a:pt x="10800" y="21600"/>
                </a:moveTo>
                <a:lnTo>
                  <a:pt x="15120" y="17673"/>
                </a:lnTo>
                <a:lnTo>
                  <a:pt x="6480" y="17673"/>
                </a:lnTo>
                <a:cubicBezTo>
                  <a:pt x="6480" y="17673"/>
                  <a:pt x="10800" y="21600"/>
                  <a:pt x="10800" y="21600"/>
                </a:cubicBezTo>
                <a:close/>
                <a:moveTo>
                  <a:pt x="15120" y="2945"/>
                </a:moveTo>
                <a:lnTo>
                  <a:pt x="12960" y="2945"/>
                </a:lnTo>
                <a:lnTo>
                  <a:pt x="12960" y="4909"/>
                </a:lnTo>
                <a:lnTo>
                  <a:pt x="15120" y="4909"/>
                </a:lnTo>
                <a:cubicBezTo>
                  <a:pt x="15120" y="4909"/>
                  <a:pt x="15120" y="2945"/>
                  <a:pt x="15120" y="2945"/>
                </a:cubicBezTo>
                <a:close/>
                <a:moveTo>
                  <a:pt x="8100" y="7855"/>
                </a:moveTo>
                <a:lnTo>
                  <a:pt x="10260" y="7855"/>
                </a:lnTo>
                <a:lnTo>
                  <a:pt x="10260" y="5891"/>
                </a:lnTo>
                <a:lnTo>
                  <a:pt x="8100" y="5891"/>
                </a:lnTo>
                <a:cubicBezTo>
                  <a:pt x="8100" y="5891"/>
                  <a:pt x="8100" y="7855"/>
                  <a:pt x="8100" y="7855"/>
                </a:cubicBezTo>
                <a:close/>
                <a:moveTo>
                  <a:pt x="11880" y="2945"/>
                </a:moveTo>
                <a:lnTo>
                  <a:pt x="9720" y="2945"/>
                </a:lnTo>
                <a:lnTo>
                  <a:pt x="9720" y="4909"/>
                </a:lnTo>
                <a:lnTo>
                  <a:pt x="11880" y="4909"/>
                </a:lnTo>
                <a:cubicBezTo>
                  <a:pt x="11880" y="4909"/>
                  <a:pt x="11880" y="2945"/>
                  <a:pt x="11880" y="294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9" name="Shape 2699"/>
          <p:cNvSpPr/>
          <p:nvPr/>
        </p:nvSpPr>
        <p:spPr>
          <a:xfrm>
            <a:off x="14683970" y="5036915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976" y="20400"/>
                </a:moveTo>
                <a:lnTo>
                  <a:pt x="10800" y="13522"/>
                </a:lnTo>
                <a:lnTo>
                  <a:pt x="15623" y="20400"/>
                </a:lnTo>
                <a:cubicBezTo>
                  <a:pt x="15623" y="20400"/>
                  <a:pt x="5976" y="20400"/>
                  <a:pt x="5976" y="20400"/>
                </a:cubicBezTo>
                <a:close/>
                <a:moveTo>
                  <a:pt x="17063" y="20610"/>
                </a:moveTo>
                <a:lnTo>
                  <a:pt x="11172" y="12210"/>
                </a:lnTo>
                <a:lnTo>
                  <a:pt x="11168" y="12214"/>
                </a:lnTo>
                <a:cubicBezTo>
                  <a:pt x="11078" y="12086"/>
                  <a:pt x="10949" y="12000"/>
                  <a:pt x="10800" y="12000"/>
                </a:cubicBezTo>
                <a:cubicBezTo>
                  <a:pt x="10651" y="12000"/>
                  <a:pt x="10521" y="12086"/>
                  <a:pt x="10432" y="12214"/>
                </a:cubicBezTo>
                <a:lnTo>
                  <a:pt x="10427" y="12210"/>
                </a:lnTo>
                <a:lnTo>
                  <a:pt x="4536" y="20610"/>
                </a:lnTo>
                <a:lnTo>
                  <a:pt x="4540" y="20614"/>
                </a:lnTo>
                <a:cubicBezTo>
                  <a:pt x="4467" y="20719"/>
                  <a:pt x="4418" y="20851"/>
                  <a:pt x="4418" y="21000"/>
                </a:cubicBezTo>
                <a:cubicBezTo>
                  <a:pt x="4418" y="21332"/>
                  <a:pt x="4638" y="21600"/>
                  <a:pt x="4909" y="21600"/>
                </a:cubicBezTo>
                <a:lnTo>
                  <a:pt x="16691" y="21600"/>
                </a:lnTo>
                <a:cubicBezTo>
                  <a:pt x="16962" y="21600"/>
                  <a:pt x="17182" y="21332"/>
                  <a:pt x="17182" y="21000"/>
                </a:cubicBezTo>
                <a:cubicBezTo>
                  <a:pt x="17182" y="20851"/>
                  <a:pt x="17133" y="20719"/>
                  <a:pt x="17059" y="20614"/>
                </a:cubicBezTo>
                <a:cubicBezTo>
                  <a:pt x="17059" y="20614"/>
                  <a:pt x="17063" y="20610"/>
                  <a:pt x="17063" y="20610"/>
                </a:cubicBezTo>
                <a:close/>
                <a:moveTo>
                  <a:pt x="21109" y="0"/>
                </a:moveTo>
                <a:lnTo>
                  <a:pt x="491" y="0"/>
                </a:lnTo>
                <a:cubicBezTo>
                  <a:pt x="220" y="0"/>
                  <a:pt x="0" y="269"/>
                  <a:pt x="0" y="600"/>
                </a:cubicBezTo>
                <a:lnTo>
                  <a:pt x="0" y="17400"/>
                </a:lnTo>
                <a:cubicBezTo>
                  <a:pt x="0" y="17732"/>
                  <a:pt x="220" y="18000"/>
                  <a:pt x="491" y="18000"/>
                </a:cubicBezTo>
                <a:lnTo>
                  <a:pt x="4418" y="18000"/>
                </a:lnTo>
                <a:cubicBezTo>
                  <a:pt x="4689" y="18000"/>
                  <a:pt x="4909" y="17732"/>
                  <a:pt x="4909" y="17400"/>
                </a:cubicBezTo>
                <a:cubicBezTo>
                  <a:pt x="4909" y="17068"/>
                  <a:pt x="4689" y="16800"/>
                  <a:pt x="4418" y="16800"/>
                </a:cubicBezTo>
                <a:lnTo>
                  <a:pt x="982" y="16800"/>
                </a:lnTo>
                <a:lnTo>
                  <a:pt x="982" y="1200"/>
                </a:lnTo>
                <a:lnTo>
                  <a:pt x="20618" y="1200"/>
                </a:lnTo>
                <a:lnTo>
                  <a:pt x="20618" y="16800"/>
                </a:lnTo>
                <a:lnTo>
                  <a:pt x="17182" y="16800"/>
                </a:lnTo>
                <a:cubicBezTo>
                  <a:pt x="16911" y="16800"/>
                  <a:pt x="16691" y="17068"/>
                  <a:pt x="16691" y="17400"/>
                </a:cubicBezTo>
                <a:cubicBezTo>
                  <a:pt x="16691" y="17732"/>
                  <a:pt x="16911" y="18000"/>
                  <a:pt x="17182" y="18000"/>
                </a:cubicBezTo>
                <a:lnTo>
                  <a:pt x="21109" y="18000"/>
                </a:lnTo>
                <a:cubicBezTo>
                  <a:pt x="21380" y="18000"/>
                  <a:pt x="21600" y="17732"/>
                  <a:pt x="21600" y="174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0" name="Shape 2700"/>
          <p:cNvSpPr/>
          <p:nvPr/>
        </p:nvSpPr>
        <p:spPr>
          <a:xfrm>
            <a:off x="15750492" y="49861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4" y="20618"/>
                </a:moveTo>
                <a:lnTo>
                  <a:pt x="15069" y="13232"/>
                </a:lnTo>
                <a:lnTo>
                  <a:pt x="15063" y="13228"/>
                </a:lnTo>
                <a:cubicBezTo>
                  <a:pt x="15472" y="12512"/>
                  <a:pt x="15709" y="11684"/>
                  <a:pt x="15709" y="10800"/>
                </a:cubicBezTo>
                <a:cubicBezTo>
                  <a:pt x="15709" y="9192"/>
                  <a:pt x="14932" y="7768"/>
                  <a:pt x="13737" y="6873"/>
                </a:cubicBezTo>
                <a:lnTo>
                  <a:pt x="19796" y="6873"/>
                </a:lnTo>
                <a:cubicBezTo>
                  <a:pt x="20322" y="8076"/>
                  <a:pt x="20618" y="9403"/>
                  <a:pt x="20618" y="10800"/>
                </a:cubicBezTo>
                <a:cubicBezTo>
                  <a:pt x="20618" y="16221"/>
                  <a:pt x="16225" y="20615"/>
                  <a:pt x="10804" y="20618"/>
                </a:cubicBezTo>
                <a:moveTo>
                  <a:pt x="9708" y="20554"/>
                </a:moveTo>
                <a:cubicBezTo>
                  <a:pt x="4800" y="20010"/>
                  <a:pt x="982" y="15853"/>
                  <a:pt x="982" y="10800"/>
                </a:cubicBezTo>
                <a:cubicBezTo>
                  <a:pt x="982" y="9010"/>
                  <a:pt x="1468" y="7337"/>
                  <a:pt x="2305" y="5892"/>
                </a:cubicBezTo>
                <a:lnTo>
                  <a:pt x="6452" y="13076"/>
                </a:lnTo>
                <a:cubicBezTo>
                  <a:pt x="7273" y="14640"/>
                  <a:pt x="8911" y="15709"/>
                  <a:pt x="10800" y="15709"/>
                </a:cubicBezTo>
                <a:cubicBezTo>
                  <a:pt x="11487" y="15709"/>
                  <a:pt x="12141" y="15567"/>
                  <a:pt x="12734" y="15312"/>
                </a:cubicBezTo>
                <a:cubicBezTo>
                  <a:pt x="12734" y="15312"/>
                  <a:pt x="9708" y="20554"/>
                  <a:pt x="9708" y="20554"/>
                </a:cubicBezTo>
                <a:close/>
                <a:moveTo>
                  <a:pt x="7315" y="12607"/>
                </a:moveTo>
                <a:cubicBezTo>
                  <a:pt x="7034" y="12065"/>
                  <a:pt x="6873" y="11452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cubicBezTo>
                  <a:pt x="9318" y="14727"/>
                  <a:pt x="8029" y="13906"/>
                  <a:pt x="7360" y="12694"/>
                </a:cubicBezTo>
                <a:lnTo>
                  <a:pt x="7364" y="12691"/>
                </a:lnTo>
                <a:cubicBezTo>
                  <a:pt x="7364" y="12691"/>
                  <a:pt x="7315" y="12607"/>
                  <a:pt x="7315" y="12607"/>
                </a:cubicBezTo>
                <a:close/>
                <a:moveTo>
                  <a:pt x="10800" y="982"/>
                </a:moveTo>
                <a:cubicBezTo>
                  <a:pt x="14432" y="982"/>
                  <a:pt x="17596" y="2959"/>
                  <a:pt x="19294" y="5891"/>
                </a:cubicBezTo>
                <a:lnTo>
                  <a:pt x="10800" y="5891"/>
                </a:lnTo>
                <a:cubicBezTo>
                  <a:pt x="8290" y="5891"/>
                  <a:pt x="6223" y="7776"/>
                  <a:pt x="5930" y="10207"/>
                </a:cubicBezTo>
                <a:lnTo>
                  <a:pt x="2909" y="4975"/>
                </a:lnTo>
                <a:cubicBezTo>
                  <a:pt x="4697" y="2557"/>
                  <a:pt x="7561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1" name="Shape 2701"/>
          <p:cNvSpPr/>
          <p:nvPr/>
        </p:nvSpPr>
        <p:spPr>
          <a:xfrm>
            <a:off x="16817014" y="5125795"/>
            <a:ext cx="558654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724" y="15100"/>
                </a:moveTo>
                <a:lnTo>
                  <a:pt x="17582" y="15100"/>
                </a:lnTo>
                <a:lnTo>
                  <a:pt x="17582" y="8844"/>
                </a:lnTo>
                <a:lnTo>
                  <a:pt x="16724" y="8844"/>
                </a:lnTo>
                <a:cubicBezTo>
                  <a:pt x="16724" y="8844"/>
                  <a:pt x="16724" y="15100"/>
                  <a:pt x="16724" y="15100"/>
                </a:cubicBezTo>
                <a:close/>
                <a:moveTo>
                  <a:pt x="13336" y="15100"/>
                </a:moveTo>
                <a:lnTo>
                  <a:pt x="14199" y="15100"/>
                </a:lnTo>
                <a:lnTo>
                  <a:pt x="14199" y="11633"/>
                </a:lnTo>
                <a:lnTo>
                  <a:pt x="15565" y="11633"/>
                </a:lnTo>
                <a:lnTo>
                  <a:pt x="15565" y="10047"/>
                </a:lnTo>
                <a:lnTo>
                  <a:pt x="14199" y="10047"/>
                </a:lnTo>
                <a:lnTo>
                  <a:pt x="14199" y="8077"/>
                </a:lnTo>
                <a:lnTo>
                  <a:pt x="15661" y="8077"/>
                </a:lnTo>
                <a:lnTo>
                  <a:pt x="15661" y="6478"/>
                </a:lnTo>
                <a:lnTo>
                  <a:pt x="13336" y="6478"/>
                </a:lnTo>
                <a:cubicBezTo>
                  <a:pt x="13336" y="6478"/>
                  <a:pt x="13336" y="15100"/>
                  <a:pt x="13336" y="15100"/>
                </a:cubicBezTo>
                <a:close/>
                <a:moveTo>
                  <a:pt x="20618" y="12960"/>
                </a:moveTo>
                <a:cubicBezTo>
                  <a:pt x="20618" y="16538"/>
                  <a:pt x="19299" y="19440"/>
                  <a:pt x="17673" y="19440"/>
                </a:cubicBezTo>
                <a:lnTo>
                  <a:pt x="7855" y="19440"/>
                </a:lnTo>
                <a:cubicBezTo>
                  <a:pt x="9481" y="19440"/>
                  <a:pt x="10800" y="16538"/>
                  <a:pt x="10800" y="12960"/>
                </a:cubicBezTo>
                <a:lnTo>
                  <a:pt x="10800" y="8640"/>
                </a:lnTo>
                <a:cubicBezTo>
                  <a:pt x="10800" y="5062"/>
                  <a:pt x="12119" y="2160"/>
                  <a:pt x="13745" y="2160"/>
                </a:cubicBezTo>
                <a:lnTo>
                  <a:pt x="17673" y="2160"/>
                </a:lnTo>
                <a:cubicBezTo>
                  <a:pt x="19299" y="2160"/>
                  <a:pt x="20618" y="5062"/>
                  <a:pt x="20618" y="8640"/>
                </a:cubicBezTo>
                <a:cubicBezTo>
                  <a:pt x="20618" y="8640"/>
                  <a:pt x="20618" y="12960"/>
                  <a:pt x="20618" y="12960"/>
                </a:cubicBezTo>
                <a:close/>
                <a:moveTo>
                  <a:pt x="6607" y="15121"/>
                </a:moveTo>
                <a:lnTo>
                  <a:pt x="5673" y="15121"/>
                </a:lnTo>
                <a:lnTo>
                  <a:pt x="5350" y="11399"/>
                </a:lnTo>
                <a:cubicBezTo>
                  <a:pt x="5276" y="10527"/>
                  <a:pt x="5214" y="9718"/>
                  <a:pt x="5169" y="8730"/>
                </a:cubicBezTo>
                <a:lnTo>
                  <a:pt x="5157" y="8730"/>
                </a:lnTo>
                <a:cubicBezTo>
                  <a:pt x="5090" y="9705"/>
                  <a:pt x="5028" y="10527"/>
                  <a:pt x="4937" y="11399"/>
                </a:cubicBezTo>
                <a:lnTo>
                  <a:pt x="4574" y="15121"/>
                </a:lnTo>
                <a:lnTo>
                  <a:pt x="3629" y="15121"/>
                </a:lnTo>
                <a:lnTo>
                  <a:pt x="2723" y="6471"/>
                </a:lnTo>
                <a:lnTo>
                  <a:pt x="3646" y="6471"/>
                </a:lnTo>
                <a:lnTo>
                  <a:pt x="3935" y="10039"/>
                </a:lnTo>
                <a:cubicBezTo>
                  <a:pt x="4020" y="11066"/>
                  <a:pt x="4099" y="12182"/>
                  <a:pt x="4161" y="13055"/>
                </a:cubicBezTo>
                <a:lnTo>
                  <a:pt x="4172" y="13055"/>
                </a:lnTo>
                <a:cubicBezTo>
                  <a:pt x="4235" y="12118"/>
                  <a:pt x="4325" y="11078"/>
                  <a:pt x="4422" y="10013"/>
                </a:cubicBezTo>
                <a:lnTo>
                  <a:pt x="4744" y="6471"/>
                </a:lnTo>
                <a:lnTo>
                  <a:pt x="5662" y="6471"/>
                </a:lnTo>
                <a:lnTo>
                  <a:pt x="5967" y="10117"/>
                </a:lnTo>
                <a:cubicBezTo>
                  <a:pt x="6052" y="11130"/>
                  <a:pt x="6114" y="12054"/>
                  <a:pt x="6171" y="13017"/>
                </a:cubicBezTo>
                <a:lnTo>
                  <a:pt x="6182" y="13017"/>
                </a:lnTo>
                <a:cubicBezTo>
                  <a:pt x="6239" y="12054"/>
                  <a:pt x="6324" y="11040"/>
                  <a:pt x="6403" y="10013"/>
                </a:cubicBezTo>
                <a:lnTo>
                  <a:pt x="6715" y="6471"/>
                </a:lnTo>
                <a:lnTo>
                  <a:pt x="7592" y="6471"/>
                </a:lnTo>
                <a:cubicBezTo>
                  <a:pt x="7592" y="6471"/>
                  <a:pt x="6607" y="15121"/>
                  <a:pt x="6607" y="15121"/>
                </a:cubicBezTo>
                <a:close/>
                <a:moveTo>
                  <a:pt x="8940" y="15121"/>
                </a:moveTo>
                <a:lnTo>
                  <a:pt x="8080" y="15121"/>
                </a:lnTo>
                <a:lnTo>
                  <a:pt x="8080" y="8845"/>
                </a:lnTo>
                <a:lnTo>
                  <a:pt x="8940" y="8845"/>
                </a:lnTo>
                <a:cubicBezTo>
                  <a:pt x="8940" y="8845"/>
                  <a:pt x="8940" y="15121"/>
                  <a:pt x="8940" y="15121"/>
                </a:cubicBezTo>
                <a:close/>
                <a:moveTo>
                  <a:pt x="8510" y="6111"/>
                </a:moveTo>
                <a:cubicBezTo>
                  <a:pt x="8788" y="6111"/>
                  <a:pt x="8963" y="6535"/>
                  <a:pt x="8969" y="7100"/>
                </a:cubicBezTo>
                <a:cubicBezTo>
                  <a:pt x="8969" y="7638"/>
                  <a:pt x="8788" y="8076"/>
                  <a:pt x="8505" y="8076"/>
                </a:cubicBezTo>
                <a:cubicBezTo>
                  <a:pt x="8233" y="8076"/>
                  <a:pt x="8052" y="7638"/>
                  <a:pt x="8058" y="7100"/>
                </a:cubicBezTo>
                <a:cubicBezTo>
                  <a:pt x="8052" y="6535"/>
                  <a:pt x="8233" y="6111"/>
                  <a:pt x="8510" y="6111"/>
                </a:cubicBezTo>
                <a:moveTo>
                  <a:pt x="17673" y="0"/>
                </a:moveTo>
                <a:lnTo>
                  <a:pt x="3927" y="0"/>
                </a:lnTo>
                <a:cubicBezTo>
                  <a:pt x="1758" y="0"/>
                  <a:pt x="0" y="3869"/>
                  <a:pt x="0" y="8640"/>
                </a:cubicBezTo>
                <a:lnTo>
                  <a:pt x="0" y="12960"/>
                </a:lnTo>
                <a:cubicBezTo>
                  <a:pt x="0" y="17731"/>
                  <a:pt x="1758" y="21600"/>
                  <a:pt x="3927" y="21600"/>
                </a:cubicBezTo>
                <a:lnTo>
                  <a:pt x="17673" y="21600"/>
                </a:lnTo>
                <a:cubicBezTo>
                  <a:pt x="19842" y="21600"/>
                  <a:pt x="21600" y="17731"/>
                  <a:pt x="21600" y="12960"/>
                </a:cubicBezTo>
                <a:lnTo>
                  <a:pt x="21600" y="8640"/>
                </a:lnTo>
                <a:cubicBezTo>
                  <a:pt x="21600" y="3869"/>
                  <a:pt x="19842" y="0"/>
                  <a:pt x="17673" y="0"/>
                </a:cubicBezTo>
                <a:moveTo>
                  <a:pt x="17153" y="6119"/>
                </a:moveTo>
                <a:cubicBezTo>
                  <a:pt x="16876" y="6119"/>
                  <a:pt x="16696" y="6543"/>
                  <a:pt x="16701" y="7104"/>
                </a:cubicBezTo>
                <a:cubicBezTo>
                  <a:pt x="16696" y="7642"/>
                  <a:pt x="16876" y="8077"/>
                  <a:pt x="17147" y="8077"/>
                </a:cubicBezTo>
                <a:cubicBezTo>
                  <a:pt x="17429" y="8077"/>
                  <a:pt x="17610" y="7642"/>
                  <a:pt x="17610" y="7104"/>
                </a:cubicBezTo>
                <a:cubicBezTo>
                  <a:pt x="17604" y="6543"/>
                  <a:pt x="17429" y="6119"/>
                  <a:pt x="17153" y="611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2" name="Shape 2702"/>
          <p:cNvSpPr/>
          <p:nvPr/>
        </p:nvSpPr>
        <p:spPr>
          <a:xfrm>
            <a:off x="17883537" y="5011523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520"/>
                </a:moveTo>
                <a:cubicBezTo>
                  <a:pt x="7396" y="20520"/>
                  <a:pt x="4399" y="18805"/>
                  <a:pt x="2638" y="16200"/>
                </a:cubicBezTo>
                <a:lnTo>
                  <a:pt x="9966" y="16200"/>
                </a:lnTo>
                <a:cubicBezTo>
                  <a:pt x="10478" y="17309"/>
                  <a:pt x="12251" y="18900"/>
                  <a:pt x="13500" y="18900"/>
                </a:cubicBezTo>
                <a:cubicBezTo>
                  <a:pt x="14973" y="18900"/>
                  <a:pt x="16200" y="17820"/>
                  <a:pt x="16200" y="15660"/>
                </a:cubicBezTo>
                <a:cubicBezTo>
                  <a:pt x="16200" y="13500"/>
                  <a:pt x="14973" y="12420"/>
                  <a:pt x="13500" y="12420"/>
                </a:cubicBezTo>
                <a:cubicBezTo>
                  <a:pt x="12241" y="12420"/>
                  <a:pt x="10447" y="13973"/>
                  <a:pt x="9953" y="15120"/>
                </a:cubicBezTo>
                <a:lnTo>
                  <a:pt x="2014" y="15120"/>
                </a:lnTo>
                <a:cubicBezTo>
                  <a:pt x="1359" y="13817"/>
                  <a:pt x="982" y="12354"/>
                  <a:pt x="982" y="10800"/>
                </a:cubicBezTo>
                <a:cubicBezTo>
                  <a:pt x="982" y="9246"/>
                  <a:pt x="1359" y="7783"/>
                  <a:pt x="2014" y="6480"/>
                </a:cubicBezTo>
                <a:lnTo>
                  <a:pt x="9966" y="6480"/>
                </a:lnTo>
                <a:cubicBezTo>
                  <a:pt x="10478" y="7589"/>
                  <a:pt x="12252" y="9180"/>
                  <a:pt x="13500" y="9180"/>
                </a:cubicBezTo>
                <a:cubicBezTo>
                  <a:pt x="14973" y="9180"/>
                  <a:pt x="16200" y="8100"/>
                  <a:pt x="16200" y="5940"/>
                </a:cubicBezTo>
                <a:cubicBezTo>
                  <a:pt x="16200" y="3780"/>
                  <a:pt x="14973" y="2700"/>
                  <a:pt x="13500" y="2700"/>
                </a:cubicBezTo>
                <a:cubicBezTo>
                  <a:pt x="12241" y="2700"/>
                  <a:pt x="10447" y="4253"/>
                  <a:pt x="9953" y="5400"/>
                </a:cubicBezTo>
                <a:lnTo>
                  <a:pt x="2638" y="5400"/>
                </a:lnTo>
                <a:cubicBezTo>
                  <a:pt x="4399" y="2796"/>
                  <a:pt x="7396" y="1080"/>
                  <a:pt x="10800" y="1080"/>
                </a:cubicBezTo>
                <a:cubicBezTo>
                  <a:pt x="16038" y="1080"/>
                  <a:pt x="20306" y="5145"/>
                  <a:pt x="20590" y="10260"/>
                </a:cubicBezTo>
                <a:lnTo>
                  <a:pt x="10652" y="10260"/>
                </a:lnTo>
                <a:cubicBezTo>
                  <a:pt x="10140" y="9151"/>
                  <a:pt x="8367" y="7560"/>
                  <a:pt x="7118" y="7560"/>
                </a:cubicBezTo>
                <a:cubicBezTo>
                  <a:pt x="5645" y="7560"/>
                  <a:pt x="4418" y="8640"/>
                  <a:pt x="4418" y="10800"/>
                </a:cubicBezTo>
                <a:cubicBezTo>
                  <a:pt x="4418" y="12960"/>
                  <a:pt x="5645" y="14040"/>
                  <a:pt x="7118" y="14040"/>
                </a:cubicBezTo>
                <a:cubicBezTo>
                  <a:pt x="8377" y="14040"/>
                  <a:pt x="10171" y="12488"/>
                  <a:pt x="10665" y="11340"/>
                </a:cubicBezTo>
                <a:lnTo>
                  <a:pt x="20590" y="11340"/>
                </a:lnTo>
                <a:cubicBezTo>
                  <a:pt x="20306" y="16456"/>
                  <a:pt x="16038" y="20520"/>
                  <a:pt x="10800" y="20520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3" name="Shape 2703"/>
          <p:cNvSpPr/>
          <p:nvPr/>
        </p:nvSpPr>
        <p:spPr>
          <a:xfrm>
            <a:off x="18975454" y="4986128"/>
            <a:ext cx="507869" cy="5592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60" y="8839"/>
                </a:moveTo>
                <a:cubicBezTo>
                  <a:pt x="15958" y="8839"/>
                  <a:pt x="16200" y="8619"/>
                  <a:pt x="16200" y="8348"/>
                </a:cubicBezTo>
                <a:lnTo>
                  <a:pt x="16200" y="6386"/>
                </a:lnTo>
                <a:cubicBezTo>
                  <a:pt x="16200" y="6115"/>
                  <a:pt x="15958" y="5896"/>
                  <a:pt x="15660" y="5896"/>
                </a:cubicBezTo>
                <a:cubicBezTo>
                  <a:pt x="15362" y="5896"/>
                  <a:pt x="15120" y="6115"/>
                  <a:pt x="15120" y="6386"/>
                </a:cubicBezTo>
                <a:lnTo>
                  <a:pt x="15120" y="8348"/>
                </a:lnTo>
                <a:cubicBezTo>
                  <a:pt x="15120" y="8619"/>
                  <a:pt x="15362" y="8839"/>
                  <a:pt x="15660" y="8839"/>
                </a:cubicBezTo>
                <a:moveTo>
                  <a:pt x="20520" y="17666"/>
                </a:moveTo>
                <a:lnTo>
                  <a:pt x="13048" y="17666"/>
                </a:lnTo>
                <a:cubicBezTo>
                  <a:pt x="12910" y="16942"/>
                  <a:pt x="12848" y="16231"/>
                  <a:pt x="12830" y="15570"/>
                </a:cubicBezTo>
                <a:cubicBezTo>
                  <a:pt x="16149" y="15233"/>
                  <a:pt x="18453" y="14207"/>
                  <a:pt x="18568" y="14155"/>
                </a:cubicBezTo>
                <a:lnTo>
                  <a:pt x="18085" y="13278"/>
                </a:lnTo>
                <a:cubicBezTo>
                  <a:pt x="18059" y="13289"/>
                  <a:pt x="15906" y="14245"/>
                  <a:pt x="12837" y="14581"/>
                </a:cubicBezTo>
                <a:cubicBezTo>
                  <a:pt x="12896" y="13028"/>
                  <a:pt x="13167" y="11927"/>
                  <a:pt x="13173" y="11902"/>
                </a:cubicBezTo>
                <a:lnTo>
                  <a:pt x="13325" y="11301"/>
                </a:lnTo>
                <a:lnTo>
                  <a:pt x="9308" y="11301"/>
                </a:lnTo>
                <a:cubicBezTo>
                  <a:pt x="9741" y="8291"/>
                  <a:pt x="10857" y="5772"/>
                  <a:pt x="11921" y="3934"/>
                </a:cubicBezTo>
                <a:lnTo>
                  <a:pt x="20520" y="3934"/>
                </a:lnTo>
                <a:cubicBezTo>
                  <a:pt x="20520" y="3934"/>
                  <a:pt x="20520" y="17666"/>
                  <a:pt x="20520" y="17666"/>
                </a:cubicBezTo>
                <a:close/>
                <a:moveTo>
                  <a:pt x="10766" y="15678"/>
                </a:moveTo>
                <a:cubicBezTo>
                  <a:pt x="11096" y="15678"/>
                  <a:pt x="11418" y="15668"/>
                  <a:pt x="11734" y="15653"/>
                </a:cubicBezTo>
                <a:cubicBezTo>
                  <a:pt x="11753" y="16291"/>
                  <a:pt x="11808" y="16967"/>
                  <a:pt x="11933" y="17666"/>
                </a:cubicBezTo>
                <a:lnTo>
                  <a:pt x="1080" y="17666"/>
                </a:lnTo>
                <a:lnTo>
                  <a:pt x="1080" y="3934"/>
                </a:lnTo>
                <a:lnTo>
                  <a:pt x="10689" y="3934"/>
                </a:lnTo>
                <a:cubicBezTo>
                  <a:pt x="9598" y="5921"/>
                  <a:pt x="8520" y="8577"/>
                  <a:pt x="8164" y="11742"/>
                </a:cubicBezTo>
                <a:lnTo>
                  <a:pt x="8103" y="12282"/>
                </a:lnTo>
                <a:lnTo>
                  <a:pt x="11993" y="12282"/>
                </a:lnTo>
                <a:cubicBezTo>
                  <a:pt x="11893" y="12823"/>
                  <a:pt x="11771" y="13665"/>
                  <a:pt x="11736" y="14669"/>
                </a:cubicBezTo>
                <a:cubicBezTo>
                  <a:pt x="11418" y="14686"/>
                  <a:pt x="11097" y="14697"/>
                  <a:pt x="10766" y="14697"/>
                </a:cubicBezTo>
                <a:cubicBezTo>
                  <a:pt x="6636" y="14697"/>
                  <a:pt x="3478" y="13292"/>
                  <a:pt x="3447" y="13278"/>
                </a:cubicBezTo>
                <a:lnTo>
                  <a:pt x="2965" y="14155"/>
                </a:lnTo>
                <a:cubicBezTo>
                  <a:pt x="3102" y="14218"/>
                  <a:pt x="6369" y="15678"/>
                  <a:pt x="10766" y="15678"/>
                </a:cubicBezTo>
                <a:moveTo>
                  <a:pt x="20520" y="2954"/>
                </a:moveTo>
                <a:lnTo>
                  <a:pt x="12519" y="2954"/>
                </a:lnTo>
                <a:cubicBezTo>
                  <a:pt x="13470" y="1490"/>
                  <a:pt x="14254" y="661"/>
                  <a:pt x="14273" y="641"/>
                </a:cubicBezTo>
                <a:lnTo>
                  <a:pt x="13456" y="0"/>
                </a:lnTo>
                <a:cubicBezTo>
                  <a:pt x="13366" y="95"/>
                  <a:pt x="12371" y="1151"/>
                  <a:pt x="11260" y="2954"/>
                </a:cubicBezTo>
                <a:lnTo>
                  <a:pt x="1080" y="2954"/>
                </a:lnTo>
                <a:cubicBezTo>
                  <a:pt x="483" y="2954"/>
                  <a:pt x="0" y="3393"/>
                  <a:pt x="0" y="3934"/>
                </a:cubicBezTo>
                <a:lnTo>
                  <a:pt x="0" y="17666"/>
                </a:lnTo>
                <a:cubicBezTo>
                  <a:pt x="0" y="18207"/>
                  <a:pt x="483" y="18646"/>
                  <a:pt x="1080" y="18646"/>
                </a:cubicBezTo>
                <a:lnTo>
                  <a:pt x="12155" y="18646"/>
                </a:lnTo>
                <a:cubicBezTo>
                  <a:pt x="12423" y="19645"/>
                  <a:pt x="12834" y="20653"/>
                  <a:pt x="13465" y="21600"/>
                </a:cubicBezTo>
                <a:lnTo>
                  <a:pt x="14389" y="21092"/>
                </a:lnTo>
                <a:cubicBezTo>
                  <a:pt x="13874" y="20318"/>
                  <a:pt x="13522" y="19485"/>
                  <a:pt x="13281" y="18646"/>
                </a:cubicBezTo>
                <a:lnTo>
                  <a:pt x="20520" y="18646"/>
                </a:lnTo>
                <a:cubicBezTo>
                  <a:pt x="21116" y="18646"/>
                  <a:pt x="21600" y="18207"/>
                  <a:pt x="21600" y="17666"/>
                </a:cubicBezTo>
                <a:lnTo>
                  <a:pt x="21600" y="3934"/>
                </a:lnTo>
                <a:cubicBezTo>
                  <a:pt x="21600" y="3393"/>
                  <a:pt x="21116" y="2954"/>
                  <a:pt x="20520" y="2954"/>
                </a:cubicBezTo>
                <a:moveTo>
                  <a:pt x="5940" y="8839"/>
                </a:moveTo>
                <a:cubicBezTo>
                  <a:pt x="6238" y="8839"/>
                  <a:pt x="6480" y="8619"/>
                  <a:pt x="6480" y="8348"/>
                </a:cubicBezTo>
                <a:lnTo>
                  <a:pt x="6480" y="6386"/>
                </a:lnTo>
                <a:cubicBezTo>
                  <a:pt x="6480" y="6115"/>
                  <a:pt x="6238" y="5896"/>
                  <a:pt x="5940" y="5896"/>
                </a:cubicBezTo>
                <a:cubicBezTo>
                  <a:pt x="5642" y="5896"/>
                  <a:pt x="5400" y="6115"/>
                  <a:pt x="5400" y="6386"/>
                </a:cubicBezTo>
                <a:lnTo>
                  <a:pt x="5400" y="8348"/>
                </a:lnTo>
                <a:cubicBezTo>
                  <a:pt x="5400" y="8619"/>
                  <a:pt x="5642" y="8839"/>
                  <a:pt x="5940" y="883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4" name="Shape 2704"/>
          <p:cNvSpPr/>
          <p:nvPr/>
        </p:nvSpPr>
        <p:spPr>
          <a:xfrm>
            <a:off x="20016581" y="4986130"/>
            <a:ext cx="558654" cy="55864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5628" y="4904"/>
                </a:moveTo>
                <a:lnTo>
                  <a:pt x="14334" y="4904"/>
                </a:lnTo>
                <a:lnTo>
                  <a:pt x="10776" y="9842"/>
                </a:lnTo>
                <a:lnTo>
                  <a:pt x="7337" y="4904"/>
                </a:lnTo>
                <a:lnTo>
                  <a:pt x="5975" y="4904"/>
                </a:lnTo>
                <a:lnTo>
                  <a:pt x="10094" y="10618"/>
                </a:lnTo>
                <a:lnTo>
                  <a:pt x="5736" y="16696"/>
                </a:lnTo>
                <a:lnTo>
                  <a:pt x="7030" y="16696"/>
                </a:lnTo>
                <a:lnTo>
                  <a:pt x="10776" y="11493"/>
                </a:lnTo>
                <a:lnTo>
                  <a:pt x="14470" y="16696"/>
                </a:lnTo>
                <a:lnTo>
                  <a:pt x="15866" y="16696"/>
                </a:lnTo>
                <a:lnTo>
                  <a:pt x="11474" y="10651"/>
                </a:lnTo>
                <a:cubicBezTo>
                  <a:pt x="11474" y="10651"/>
                  <a:pt x="15628" y="4904"/>
                  <a:pt x="15628" y="490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5" name="Shape 2705"/>
          <p:cNvSpPr/>
          <p:nvPr/>
        </p:nvSpPr>
        <p:spPr>
          <a:xfrm>
            <a:off x="21083102" y="4986128"/>
            <a:ext cx="558520" cy="5590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3820"/>
                </a:moveTo>
                <a:lnTo>
                  <a:pt x="7853" y="2877"/>
                </a:lnTo>
                <a:lnTo>
                  <a:pt x="7853" y="8838"/>
                </a:lnTo>
                <a:lnTo>
                  <a:pt x="982" y="8838"/>
                </a:lnTo>
                <a:cubicBezTo>
                  <a:pt x="982" y="8838"/>
                  <a:pt x="982" y="3820"/>
                  <a:pt x="982" y="3820"/>
                </a:cubicBezTo>
                <a:close/>
                <a:moveTo>
                  <a:pt x="0" y="9819"/>
                </a:moveTo>
                <a:lnTo>
                  <a:pt x="8835" y="9819"/>
                </a:lnTo>
                <a:lnTo>
                  <a:pt x="8835" y="1752"/>
                </a:lnTo>
                <a:lnTo>
                  <a:pt x="0" y="2964"/>
                </a:lnTo>
                <a:cubicBezTo>
                  <a:pt x="0" y="2964"/>
                  <a:pt x="0" y="9819"/>
                  <a:pt x="0" y="9819"/>
                </a:cubicBezTo>
                <a:close/>
                <a:moveTo>
                  <a:pt x="20618" y="8838"/>
                </a:moveTo>
                <a:lnTo>
                  <a:pt x="11771" y="8838"/>
                </a:lnTo>
                <a:lnTo>
                  <a:pt x="11771" y="2339"/>
                </a:lnTo>
                <a:lnTo>
                  <a:pt x="20618" y="1125"/>
                </a:lnTo>
                <a:cubicBezTo>
                  <a:pt x="20618" y="1125"/>
                  <a:pt x="20618" y="8838"/>
                  <a:pt x="20618" y="8838"/>
                </a:cubicBezTo>
                <a:close/>
                <a:moveTo>
                  <a:pt x="10789" y="1484"/>
                </a:moveTo>
                <a:lnTo>
                  <a:pt x="10789" y="9819"/>
                </a:lnTo>
                <a:lnTo>
                  <a:pt x="21600" y="9819"/>
                </a:lnTo>
                <a:lnTo>
                  <a:pt x="21600" y="0"/>
                </a:lnTo>
                <a:cubicBezTo>
                  <a:pt x="21600" y="0"/>
                  <a:pt x="10789" y="1484"/>
                  <a:pt x="10789" y="1484"/>
                </a:cubicBezTo>
                <a:close/>
                <a:moveTo>
                  <a:pt x="982" y="12763"/>
                </a:moveTo>
                <a:lnTo>
                  <a:pt x="7853" y="12763"/>
                </a:lnTo>
                <a:lnTo>
                  <a:pt x="7853" y="18722"/>
                </a:lnTo>
                <a:lnTo>
                  <a:pt x="982" y="17780"/>
                </a:lnTo>
                <a:cubicBezTo>
                  <a:pt x="982" y="17780"/>
                  <a:pt x="982" y="12763"/>
                  <a:pt x="982" y="12763"/>
                </a:cubicBezTo>
                <a:close/>
                <a:moveTo>
                  <a:pt x="0" y="18635"/>
                </a:moveTo>
                <a:lnTo>
                  <a:pt x="8835" y="19848"/>
                </a:lnTo>
                <a:lnTo>
                  <a:pt x="8835" y="11782"/>
                </a:lnTo>
                <a:lnTo>
                  <a:pt x="0" y="11782"/>
                </a:lnTo>
                <a:cubicBezTo>
                  <a:pt x="0" y="11782"/>
                  <a:pt x="0" y="18635"/>
                  <a:pt x="0" y="18635"/>
                </a:cubicBezTo>
                <a:close/>
                <a:moveTo>
                  <a:pt x="11771" y="12763"/>
                </a:moveTo>
                <a:lnTo>
                  <a:pt x="20618" y="12763"/>
                </a:lnTo>
                <a:lnTo>
                  <a:pt x="20618" y="20475"/>
                </a:lnTo>
                <a:lnTo>
                  <a:pt x="11771" y="19261"/>
                </a:lnTo>
                <a:cubicBezTo>
                  <a:pt x="11771" y="19261"/>
                  <a:pt x="11771" y="12763"/>
                  <a:pt x="11771" y="12763"/>
                </a:cubicBezTo>
                <a:close/>
                <a:moveTo>
                  <a:pt x="10789" y="20116"/>
                </a:moveTo>
                <a:lnTo>
                  <a:pt x="21600" y="21600"/>
                </a:lnTo>
                <a:lnTo>
                  <a:pt x="21600" y="11782"/>
                </a:lnTo>
                <a:lnTo>
                  <a:pt x="10789" y="11782"/>
                </a:lnTo>
                <a:cubicBezTo>
                  <a:pt x="10789" y="11782"/>
                  <a:pt x="10789" y="20116"/>
                  <a:pt x="10789" y="2011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6" name="Shape 2706"/>
          <p:cNvSpPr/>
          <p:nvPr/>
        </p:nvSpPr>
        <p:spPr>
          <a:xfrm>
            <a:off x="22225806" y="4986129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3745"/>
                </a:moveTo>
                <a:cubicBezTo>
                  <a:pt x="20250" y="14016"/>
                  <a:pt x="19948" y="14236"/>
                  <a:pt x="19575" y="14236"/>
                </a:cubicBezTo>
                <a:cubicBezTo>
                  <a:pt x="19202" y="14236"/>
                  <a:pt x="18900" y="14016"/>
                  <a:pt x="18900" y="13745"/>
                </a:cubicBezTo>
                <a:lnTo>
                  <a:pt x="18900" y="6873"/>
                </a:lnTo>
                <a:cubicBezTo>
                  <a:pt x="18900" y="6602"/>
                  <a:pt x="19202" y="6382"/>
                  <a:pt x="19575" y="6382"/>
                </a:cubicBezTo>
                <a:cubicBezTo>
                  <a:pt x="19948" y="6382"/>
                  <a:pt x="20250" y="6602"/>
                  <a:pt x="20250" y="6873"/>
                </a:cubicBezTo>
                <a:cubicBezTo>
                  <a:pt x="20250" y="6873"/>
                  <a:pt x="20250" y="13745"/>
                  <a:pt x="20250" y="13745"/>
                </a:cubicBezTo>
                <a:close/>
                <a:moveTo>
                  <a:pt x="17550" y="16691"/>
                </a:moveTo>
                <a:lnTo>
                  <a:pt x="4050" y="16691"/>
                </a:lnTo>
                <a:lnTo>
                  <a:pt x="4050" y="6382"/>
                </a:lnTo>
                <a:lnTo>
                  <a:pt x="17550" y="6382"/>
                </a:lnTo>
                <a:cubicBezTo>
                  <a:pt x="17550" y="6382"/>
                  <a:pt x="17550" y="16691"/>
                  <a:pt x="17550" y="16691"/>
                </a:cubicBezTo>
                <a:close/>
                <a:moveTo>
                  <a:pt x="14850" y="20127"/>
                </a:moveTo>
                <a:cubicBezTo>
                  <a:pt x="14850" y="20399"/>
                  <a:pt x="14548" y="20618"/>
                  <a:pt x="14175" y="20618"/>
                </a:cubicBezTo>
                <a:cubicBezTo>
                  <a:pt x="13802" y="20618"/>
                  <a:pt x="13500" y="20399"/>
                  <a:pt x="13500" y="20127"/>
                </a:cubicBezTo>
                <a:lnTo>
                  <a:pt x="13500" y="17673"/>
                </a:lnTo>
                <a:lnTo>
                  <a:pt x="14850" y="17673"/>
                </a:lnTo>
                <a:cubicBezTo>
                  <a:pt x="14850" y="17673"/>
                  <a:pt x="14850" y="20127"/>
                  <a:pt x="14850" y="20127"/>
                </a:cubicBezTo>
                <a:close/>
                <a:moveTo>
                  <a:pt x="8100" y="20127"/>
                </a:moveTo>
                <a:cubicBezTo>
                  <a:pt x="8100" y="20399"/>
                  <a:pt x="7798" y="20618"/>
                  <a:pt x="7425" y="20618"/>
                </a:cubicBezTo>
                <a:cubicBezTo>
                  <a:pt x="7052" y="20618"/>
                  <a:pt x="6750" y="20399"/>
                  <a:pt x="6750" y="20127"/>
                </a:cubicBezTo>
                <a:lnTo>
                  <a:pt x="6750" y="17673"/>
                </a:lnTo>
                <a:lnTo>
                  <a:pt x="8100" y="17673"/>
                </a:lnTo>
                <a:cubicBezTo>
                  <a:pt x="8100" y="17673"/>
                  <a:pt x="8100" y="20127"/>
                  <a:pt x="8100" y="20127"/>
                </a:cubicBezTo>
                <a:close/>
                <a:moveTo>
                  <a:pt x="10800" y="1964"/>
                </a:moveTo>
                <a:cubicBezTo>
                  <a:pt x="14242" y="1964"/>
                  <a:pt x="17075" y="3464"/>
                  <a:pt x="17492" y="5400"/>
                </a:cubicBezTo>
                <a:lnTo>
                  <a:pt x="4108" y="5400"/>
                </a:lnTo>
                <a:cubicBezTo>
                  <a:pt x="4525" y="3464"/>
                  <a:pt x="7358" y="1964"/>
                  <a:pt x="10800" y="1964"/>
                </a:cubicBezTo>
                <a:moveTo>
                  <a:pt x="2700" y="13745"/>
                </a:moveTo>
                <a:cubicBezTo>
                  <a:pt x="2700" y="14016"/>
                  <a:pt x="2398" y="14236"/>
                  <a:pt x="2025" y="14236"/>
                </a:cubicBezTo>
                <a:cubicBezTo>
                  <a:pt x="1652" y="14236"/>
                  <a:pt x="1350" y="14016"/>
                  <a:pt x="1350" y="13745"/>
                </a:cubicBezTo>
                <a:lnTo>
                  <a:pt x="1350" y="6873"/>
                </a:lnTo>
                <a:cubicBezTo>
                  <a:pt x="1350" y="6602"/>
                  <a:pt x="1652" y="6382"/>
                  <a:pt x="2025" y="6382"/>
                </a:cubicBezTo>
                <a:cubicBezTo>
                  <a:pt x="2398" y="6382"/>
                  <a:pt x="2700" y="6602"/>
                  <a:pt x="2700" y="6873"/>
                </a:cubicBezTo>
                <a:cubicBezTo>
                  <a:pt x="2700" y="6873"/>
                  <a:pt x="2700" y="13745"/>
                  <a:pt x="2700" y="13745"/>
                </a:cubicBezTo>
                <a:close/>
                <a:moveTo>
                  <a:pt x="19575" y="5400"/>
                </a:moveTo>
                <a:cubicBezTo>
                  <a:pt x="19336" y="5400"/>
                  <a:pt x="19112" y="5435"/>
                  <a:pt x="18900" y="5491"/>
                </a:cubicBezTo>
                <a:lnTo>
                  <a:pt x="18900" y="5400"/>
                </a:lnTo>
                <a:lnTo>
                  <a:pt x="18847" y="5400"/>
                </a:lnTo>
                <a:cubicBezTo>
                  <a:pt x="18595" y="3873"/>
                  <a:pt x="17191" y="2553"/>
                  <a:pt x="15171" y="1763"/>
                </a:cubicBezTo>
                <a:lnTo>
                  <a:pt x="16087" y="763"/>
                </a:lnTo>
                <a:lnTo>
                  <a:pt x="16076" y="758"/>
                </a:lnTo>
                <a:cubicBezTo>
                  <a:pt x="16148" y="681"/>
                  <a:pt x="16200" y="592"/>
                  <a:pt x="16200" y="491"/>
                </a:cubicBezTo>
                <a:cubicBezTo>
                  <a:pt x="16200" y="220"/>
                  <a:pt x="15898" y="0"/>
                  <a:pt x="15525" y="0"/>
                </a:cubicBezTo>
                <a:cubicBezTo>
                  <a:pt x="15291" y="0"/>
                  <a:pt x="15095" y="93"/>
                  <a:pt x="14974" y="223"/>
                </a:cubicBezTo>
                <a:lnTo>
                  <a:pt x="14963" y="219"/>
                </a:lnTo>
                <a:lnTo>
                  <a:pt x="13915" y="1362"/>
                </a:lnTo>
                <a:cubicBezTo>
                  <a:pt x="12956" y="1119"/>
                  <a:pt x="11905" y="982"/>
                  <a:pt x="10800" y="982"/>
                </a:cubicBezTo>
                <a:cubicBezTo>
                  <a:pt x="9695" y="982"/>
                  <a:pt x="8644" y="1119"/>
                  <a:pt x="7685" y="1362"/>
                </a:cubicBezTo>
                <a:lnTo>
                  <a:pt x="6637" y="219"/>
                </a:lnTo>
                <a:lnTo>
                  <a:pt x="6626" y="223"/>
                </a:lnTo>
                <a:cubicBezTo>
                  <a:pt x="6505" y="93"/>
                  <a:pt x="6309" y="0"/>
                  <a:pt x="6075" y="0"/>
                </a:cubicBezTo>
                <a:cubicBezTo>
                  <a:pt x="5702" y="0"/>
                  <a:pt x="5400" y="220"/>
                  <a:pt x="5400" y="491"/>
                </a:cubicBezTo>
                <a:cubicBezTo>
                  <a:pt x="5400" y="592"/>
                  <a:pt x="5452" y="681"/>
                  <a:pt x="5524" y="758"/>
                </a:cubicBezTo>
                <a:lnTo>
                  <a:pt x="5513" y="763"/>
                </a:lnTo>
                <a:lnTo>
                  <a:pt x="6430" y="1763"/>
                </a:lnTo>
                <a:cubicBezTo>
                  <a:pt x="4409" y="2553"/>
                  <a:pt x="3005" y="3873"/>
                  <a:pt x="2753" y="5400"/>
                </a:cubicBezTo>
                <a:lnTo>
                  <a:pt x="2700" y="5400"/>
                </a:lnTo>
                <a:lnTo>
                  <a:pt x="2700" y="5491"/>
                </a:lnTo>
                <a:cubicBezTo>
                  <a:pt x="2488" y="5435"/>
                  <a:pt x="2263" y="5400"/>
                  <a:pt x="2025" y="5400"/>
                </a:cubicBezTo>
                <a:cubicBezTo>
                  <a:pt x="907" y="5400"/>
                  <a:pt x="0" y="6060"/>
                  <a:pt x="0" y="6873"/>
                </a:cubicBezTo>
                <a:lnTo>
                  <a:pt x="0" y="13745"/>
                </a:lnTo>
                <a:cubicBezTo>
                  <a:pt x="0" y="14559"/>
                  <a:pt x="907" y="15218"/>
                  <a:pt x="2025" y="15218"/>
                </a:cubicBezTo>
                <a:cubicBezTo>
                  <a:pt x="2263" y="15218"/>
                  <a:pt x="2488" y="15183"/>
                  <a:pt x="2700" y="15128"/>
                </a:cubicBezTo>
                <a:lnTo>
                  <a:pt x="2700" y="16691"/>
                </a:lnTo>
                <a:cubicBezTo>
                  <a:pt x="2700" y="17233"/>
                  <a:pt x="3305" y="17673"/>
                  <a:pt x="4050" y="17673"/>
                </a:cubicBezTo>
                <a:lnTo>
                  <a:pt x="5400" y="17673"/>
                </a:lnTo>
                <a:lnTo>
                  <a:pt x="5400" y="20127"/>
                </a:lnTo>
                <a:cubicBezTo>
                  <a:pt x="5400" y="20941"/>
                  <a:pt x="6307" y="21600"/>
                  <a:pt x="7425" y="21600"/>
                </a:cubicBezTo>
                <a:cubicBezTo>
                  <a:pt x="8543" y="21600"/>
                  <a:pt x="9450" y="20941"/>
                  <a:pt x="9450" y="20127"/>
                </a:cubicBezTo>
                <a:lnTo>
                  <a:pt x="9450" y="17673"/>
                </a:lnTo>
                <a:lnTo>
                  <a:pt x="12150" y="17673"/>
                </a:lnTo>
                <a:lnTo>
                  <a:pt x="12150" y="20127"/>
                </a:lnTo>
                <a:cubicBezTo>
                  <a:pt x="12150" y="20941"/>
                  <a:pt x="13056" y="21600"/>
                  <a:pt x="14175" y="21600"/>
                </a:cubicBezTo>
                <a:cubicBezTo>
                  <a:pt x="15294" y="21600"/>
                  <a:pt x="16200" y="20941"/>
                  <a:pt x="16200" y="20127"/>
                </a:cubicBezTo>
                <a:lnTo>
                  <a:pt x="16200" y="17673"/>
                </a:lnTo>
                <a:lnTo>
                  <a:pt x="17550" y="17673"/>
                </a:lnTo>
                <a:cubicBezTo>
                  <a:pt x="18295" y="17673"/>
                  <a:pt x="18900" y="17233"/>
                  <a:pt x="18900" y="16691"/>
                </a:cubicBezTo>
                <a:lnTo>
                  <a:pt x="18900" y="15128"/>
                </a:lnTo>
                <a:cubicBezTo>
                  <a:pt x="19112" y="15183"/>
                  <a:pt x="19336" y="15218"/>
                  <a:pt x="19575" y="15218"/>
                </a:cubicBezTo>
                <a:cubicBezTo>
                  <a:pt x="20694" y="15218"/>
                  <a:pt x="21600" y="14559"/>
                  <a:pt x="21600" y="13745"/>
                </a:cubicBezTo>
                <a:lnTo>
                  <a:pt x="21600" y="6873"/>
                </a:lnTo>
                <a:cubicBezTo>
                  <a:pt x="21600" y="6060"/>
                  <a:pt x="20694" y="5400"/>
                  <a:pt x="19575" y="5400"/>
                </a:cubicBezTo>
                <a:moveTo>
                  <a:pt x="12825" y="3436"/>
                </a:moveTo>
                <a:cubicBezTo>
                  <a:pt x="12452" y="3436"/>
                  <a:pt x="12150" y="3656"/>
                  <a:pt x="12150" y="3927"/>
                </a:cubicBezTo>
                <a:cubicBezTo>
                  <a:pt x="12150" y="4199"/>
                  <a:pt x="12452" y="4418"/>
                  <a:pt x="12825" y="4418"/>
                </a:cubicBezTo>
                <a:cubicBezTo>
                  <a:pt x="13198" y="4418"/>
                  <a:pt x="13500" y="4199"/>
                  <a:pt x="13500" y="3927"/>
                </a:cubicBezTo>
                <a:cubicBezTo>
                  <a:pt x="13500" y="3656"/>
                  <a:pt x="13198" y="3436"/>
                  <a:pt x="12825" y="3436"/>
                </a:cubicBezTo>
                <a:moveTo>
                  <a:pt x="8775" y="3436"/>
                </a:moveTo>
                <a:cubicBezTo>
                  <a:pt x="8402" y="3436"/>
                  <a:pt x="8100" y="3656"/>
                  <a:pt x="8100" y="3927"/>
                </a:cubicBezTo>
                <a:cubicBezTo>
                  <a:pt x="8100" y="4199"/>
                  <a:pt x="8402" y="4418"/>
                  <a:pt x="8775" y="4418"/>
                </a:cubicBezTo>
                <a:cubicBezTo>
                  <a:pt x="9148" y="4418"/>
                  <a:pt x="9450" y="4199"/>
                  <a:pt x="9450" y="3927"/>
                </a:cubicBezTo>
                <a:cubicBezTo>
                  <a:pt x="9450" y="3656"/>
                  <a:pt x="9148" y="3436"/>
                  <a:pt x="8775" y="34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8" name="Shape 2708"/>
          <p:cNvSpPr/>
          <p:nvPr/>
        </p:nvSpPr>
        <p:spPr>
          <a:xfrm>
            <a:off x="1758543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8836" y="13888"/>
                </a:moveTo>
                <a:lnTo>
                  <a:pt x="8836" y="7712"/>
                </a:lnTo>
                <a:lnTo>
                  <a:pt x="14241" y="10800"/>
                </a:lnTo>
                <a:cubicBezTo>
                  <a:pt x="14241" y="10800"/>
                  <a:pt x="8836" y="13888"/>
                  <a:pt x="8836" y="13888"/>
                </a:cubicBezTo>
                <a:close/>
                <a:moveTo>
                  <a:pt x="15520" y="10422"/>
                </a:moveTo>
                <a:lnTo>
                  <a:pt x="15525" y="10416"/>
                </a:lnTo>
                <a:lnTo>
                  <a:pt x="15438" y="10367"/>
                </a:lnTo>
                <a:cubicBezTo>
                  <a:pt x="15425" y="10361"/>
                  <a:pt x="15414" y="10351"/>
                  <a:pt x="15401" y="10346"/>
                </a:cubicBezTo>
                <a:lnTo>
                  <a:pt x="8652" y="6489"/>
                </a:lnTo>
                <a:lnTo>
                  <a:pt x="8647" y="6495"/>
                </a:lnTo>
                <a:cubicBezTo>
                  <a:pt x="8563" y="6428"/>
                  <a:pt x="8461" y="6382"/>
                  <a:pt x="8345" y="6382"/>
                </a:cubicBezTo>
                <a:cubicBezTo>
                  <a:pt x="8075" y="6382"/>
                  <a:pt x="7855" y="6601"/>
                  <a:pt x="7855" y="6873"/>
                </a:cubicBezTo>
                <a:lnTo>
                  <a:pt x="7855" y="14727"/>
                </a:lnTo>
                <a:cubicBezTo>
                  <a:pt x="7855" y="14999"/>
                  <a:pt x="8075" y="15218"/>
                  <a:pt x="8345" y="15218"/>
                </a:cubicBezTo>
                <a:cubicBezTo>
                  <a:pt x="8461" y="15218"/>
                  <a:pt x="8563" y="15172"/>
                  <a:pt x="8647" y="15105"/>
                </a:cubicBezTo>
                <a:lnTo>
                  <a:pt x="8652" y="15111"/>
                </a:lnTo>
                <a:lnTo>
                  <a:pt x="15401" y="11254"/>
                </a:lnTo>
                <a:cubicBezTo>
                  <a:pt x="15414" y="11249"/>
                  <a:pt x="15425" y="11240"/>
                  <a:pt x="15438" y="11233"/>
                </a:cubicBezTo>
                <a:lnTo>
                  <a:pt x="15525" y="11184"/>
                </a:lnTo>
                <a:lnTo>
                  <a:pt x="15520" y="11178"/>
                </a:lnTo>
                <a:cubicBezTo>
                  <a:pt x="15632" y="11088"/>
                  <a:pt x="15709" y="10955"/>
                  <a:pt x="15709" y="10800"/>
                </a:cubicBezTo>
                <a:cubicBezTo>
                  <a:pt x="15709" y="10645"/>
                  <a:pt x="15632" y="10512"/>
                  <a:pt x="15520" y="1042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9" name="Shape 2709"/>
          <p:cNvSpPr/>
          <p:nvPr/>
        </p:nvSpPr>
        <p:spPr>
          <a:xfrm>
            <a:off x="2825064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745" y="13745"/>
                </a:moveTo>
                <a:lnTo>
                  <a:pt x="12764" y="13745"/>
                </a:lnTo>
                <a:lnTo>
                  <a:pt x="12764" y="7855"/>
                </a:lnTo>
                <a:lnTo>
                  <a:pt x="13745" y="7855"/>
                </a:lnTo>
                <a:cubicBezTo>
                  <a:pt x="13745" y="7855"/>
                  <a:pt x="13745" y="13745"/>
                  <a:pt x="13745" y="13745"/>
                </a:cubicBezTo>
                <a:close/>
                <a:moveTo>
                  <a:pt x="14236" y="6873"/>
                </a:moveTo>
                <a:lnTo>
                  <a:pt x="12273" y="6873"/>
                </a:lnTo>
                <a:cubicBezTo>
                  <a:pt x="12002" y="6873"/>
                  <a:pt x="11782" y="7092"/>
                  <a:pt x="11782" y="7364"/>
                </a:cubicBezTo>
                <a:lnTo>
                  <a:pt x="11782" y="14236"/>
                </a:lnTo>
                <a:cubicBezTo>
                  <a:pt x="11782" y="14508"/>
                  <a:pt x="12002" y="14727"/>
                  <a:pt x="12273" y="14727"/>
                </a:cubicBezTo>
                <a:lnTo>
                  <a:pt x="14236" y="14727"/>
                </a:lnTo>
                <a:cubicBezTo>
                  <a:pt x="14507" y="14727"/>
                  <a:pt x="14727" y="14508"/>
                  <a:pt x="14727" y="14236"/>
                </a:cubicBezTo>
                <a:lnTo>
                  <a:pt x="14727" y="7364"/>
                </a:lnTo>
                <a:cubicBezTo>
                  <a:pt x="14727" y="7092"/>
                  <a:pt x="14507" y="6873"/>
                  <a:pt x="14236" y="6873"/>
                </a:cubicBezTo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8836" y="13745"/>
                </a:moveTo>
                <a:lnTo>
                  <a:pt x="7855" y="13745"/>
                </a:lnTo>
                <a:lnTo>
                  <a:pt x="7855" y="7855"/>
                </a:lnTo>
                <a:lnTo>
                  <a:pt x="8836" y="7855"/>
                </a:lnTo>
                <a:cubicBezTo>
                  <a:pt x="8836" y="7855"/>
                  <a:pt x="8836" y="13745"/>
                  <a:pt x="8836" y="13745"/>
                </a:cubicBezTo>
                <a:close/>
                <a:moveTo>
                  <a:pt x="9327" y="6873"/>
                </a:moveTo>
                <a:lnTo>
                  <a:pt x="7364" y="6873"/>
                </a:lnTo>
                <a:cubicBezTo>
                  <a:pt x="7093" y="6873"/>
                  <a:pt x="6873" y="7092"/>
                  <a:pt x="6873" y="7364"/>
                </a:cubicBezTo>
                <a:lnTo>
                  <a:pt x="6873" y="14236"/>
                </a:lnTo>
                <a:cubicBezTo>
                  <a:pt x="6873" y="14508"/>
                  <a:pt x="7093" y="14727"/>
                  <a:pt x="7364" y="14727"/>
                </a:cubicBezTo>
                <a:lnTo>
                  <a:pt x="9327" y="14727"/>
                </a:lnTo>
                <a:cubicBezTo>
                  <a:pt x="9598" y="14727"/>
                  <a:pt x="9818" y="14508"/>
                  <a:pt x="9818" y="14236"/>
                </a:cubicBezTo>
                <a:lnTo>
                  <a:pt x="9818" y="7364"/>
                </a:lnTo>
                <a:cubicBezTo>
                  <a:pt x="9818" y="7092"/>
                  <a:pt x="9598" y="6873"/>
                  <a:pt x="9327" y="68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0" name="Shape 2710"/>
          <p:cNvSpPr/>
          <p:nvPr/>
        </p:nvSpPr>
        <p:spPr>
          <a:xfrm>
            <a:off x="3891587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745" y="13745"/>
                </a:moveTo>
                <a:lnTo>
                  <a:pt x="7855" y="13745"/>
                </a:lnTo>
                <a:lnTo>
                  <a:pt x="7855" y="7855"/>
                </a:lnTo>
                <a:lnTo>
                  <a:pt x="13745" y="7855"/>
                </a:lnTo>
                <a:cubicBezTo>
                  <a:pt x="13745" y="7855"/>
                  <a:pt x="13745" y="13745"/>
                  <a:pt x="13745" y="13745"/>
                </a:cubicBezTo>
                <a:close/>
                <a:moveTo>
                  <a:pt x="14236" y="6873"/>
                </a:moveTo>
                <a:lnTo>
                  <a:pt x="7364" y="6873"/>
                </a:lnTo>
                <a:cubicBezTo>
                  <a:pt x="7093" y="6873"/>
                  <a:pt x="6873" y="7092"/>
                  <a:pt x="6873" y="7364"/>
                </a:cubicBezTo>
                <a:lnTo>
                  <a:pt x="6873" y="14236"/>
                </a:lnTo>
                <a:cubicBezTo>
                  <a:pt x="6873" y="14508"/>
                  <a:pt x="7093" y="14727"/>
                  <a:pt x="7364" y="14727"/>
                </a:cubicBezTo>
                <a:lnTo>
                  <a:pt x="14236" y="14727"/>
                </a:lnTo>
                <a:cubicBezTo>
                  <a:pt x="14507" y="14727"/>
                  <a:pt x="14727" y="14508"/>
                  <a:pt x="14727" y="14236"/>
                </a:cubicBezTo>
                <a:lnTo>
                  <a:pt x="14727" y="7364"/>
                </a:lnTo>
                <a:cubicBezTo>
                  <a:pt x="14727" y="7092"/>
                  <a:pt x="14507" y="6873"/>
                  <a:pt x="14236" y="6873"/>
                </a:cubicBezTo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1" name="Shape 2711"/>
          <p:cNvSpPr/>
          <p:nvPr/>
        </p:nvSpPr>
        <p:spPr>
          <a:xfrm>
            <a:off x="4958109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2" name="Shape 2712"/>
          <p:cNvSpPr/>
          <p:nvPr/>
        </p:nvSpPr>
        <p:spPr>
          <a:xfrm>
            <a:off x="6024631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3888"/>
                </a:moveTo>
                <a:lnTo>
                  <a:pt x="10800" y="7712"/>
                </a:lnTo>
                <a:lnTo>
                  <a:pt x="16204" y="10800"/>
                </a:lnTo>
                <a:cubicBezTo>
                  <a:pt x="16204" y="10800"/>
                  <a:pt x="10800" y="13888"/>
                  <a:pt x="10800" y="13888"/>
                </a:cubicBezTo>
                <a:close/>
                <a:moveTo>
                  <a:pt x="17484" y="10422"/>
                </a:moveTo>
                <a:lnTo>
                  <a:pt x="17489" y="10416"/>
                </a:lnTo>
                <a:lnTo>
                  <a:pt x="17402" y="10367"/>
                </a:lnTo>
                <a:cubicBezTo>
                  <a:pt x="17389" y="10361"/>
                  <a:pt x="17378" y="10351"/>
                  <a:pt x="17365" y="10346"/>
                </a:cubicBezTo>
                <a:lnTo>
                  <a:pt x="10616" y="6489"/>
                </a:lnTo>
                <a:lnTo>
                  <a:pt x="10611" y="6495"/>
                </a:lnTo>
                <a:cubicBezTo>
                  <a:pt x="10527" y="6428"/>
                  <a:pt x="10425" y="6382"/>
                  <a:pt x="10309" y="6382"/>
                </a:cubicBezTo>
                <a:cubicBezTo>
                  <a:pt x="10038" y="6382"/>
                  <a:pt x="9818" y="6601"/>
                  <a:pt x="9818" y="6873"/>
                </a:cubicBezTo>
                <a:lnTo>
                  <a:pt x="9818" y="14727"/>
                </a:lnTo>
                <a:cubicBezTo>
                  <a:pt x="9818" y="14999"/>
                  <a:pt x="10038" y="15218"/>
                  <a:pt x="10309" y="15218"/>
                </a:cubicBezTo>
                <a:cubicBezTo>
                  <a:pt x="10425" y="15218"/>
                  <a:pt x="10527" y="15172"/>
                  <a:pt x="10611" y="15105"/>
                </a:cubicBezTo>
                <a:lnTo>
                  <a:pt x="10616" y="15111"/>
                </a:lnTo>
                <a:lnTo>
                  <a:pt x="17365" y="11254"/>
                </a:lnTo>
                <a:cubicBezTo>
                  <a:pt x="17378" y="11249"/>
                  <a:pt x="17388" y="11239"/>
                  <a:pt x="17401" y="11233"/>
                </a:cubicBezTo>
                <a:lnTo>
                  <a:pt x="17489" y="11184"/>
                </a:lnTo>
                <a:lnTo>
                  <a:pt x="17484" y="11178"/>
                </a:lnTo>
                <a:cubicBezTo>
                  <a:pt x="17596" y="11088"/>
                  <a:pt x="17673" y="10955"/>
                  <a:pt x="17673" y="10800"/>
                </a:cubicBezTo>
                <a:cubicBezTo>
                  <a:pt x="17673" y="10645"/>
                  <a:pt x="17596" y="10512"/>
                  <a:pt x="17484" y="10422"/>
                </a:cubicBezTo>
                <a:moveTo>
                  <a:pt x="10800" y="20618"/>
                </a:moveTo>
                <a:cubicBezTo>
                  <a:pt x="5377" y="20618"/>
                  <a:pt x="982" y="16222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6684" y="6495"/>
                </a:moveTo>
                <a:cubicBezTo>
                  <a:pt x="6600" y="6428"/>
                  <a:pt x="6498" y="6382"/>
                  <a:pt x="6382" y="6382"/>
                </a:cubicBezTo>
                <a:cubicBezTo>
                  <a:pt x="6111" y="6382"/>
                  <a:pt x="5891" y="6601"/>
                  <a:pt x="5891" y="6873"/>
                </a:cubicBezTo>
                <a:lnTo>
                  <a:pt x="5891" y="14727"/>
                </a:lnTo>
                <a:cubicBezTo>
                  <a:pt x="5891" y="14999"/>
                  <a:pt x="6111" y="15218"/>
                  <a:pt x="6382" y="15218"/>
                </a:cubicBezTo>
                <a:cubicBezTo>
                  <a:pt x="6498" y="15218"/>
                  <a:pt x="6600" y="15172"/>
                  <a:pt x="6684" y="15105"/>
                </a:cubicBezTo>
                <a:lnTo>
                  <a:pt x="6689" y="15111"/>
                </a:lnTo>
                <a:lnTo>
                  <a:pt x="8836" y="13883"/>
                </a:lnTo>
                <a:lnTo>
                  <a:pt x="8836" y="12766"/>
                </a:lnTo>
                <a:lnTo>
                  <a:pt x="6873" y="13888"/>
                </a:lnTo>
                <a:lnTo>
                  <a:pt x="6873" y="7712"/>
                </a:lnTo>
                <a:lnTo>
                  <a:pt x="8836" y="8834"/>
                </a:lnTo>
                <a:lnTo>
                  <a:pt x="8836" y="7716"/>
                </a:lnTo>
                <a:lnTo>
                  <a:pt x="6689" y="6489"/>
                </a:lnTo>
                <a:cubicBezTo>
                  <a:pt x="6689" y="6489"/>
                  <a:pt x="6684" y="6495"/>
                  <a:pt x="6684" y="649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3" name="Shape 2713"/>
          <p:cNvSpPr/>
          <p:nvPr/>
        </p:nvSpPr>
        <p:spPr>
          <a:xfrm>
            <a:off x="7091154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4236"/>
                </a:moveTo>
                <a:lnTo>
                  <a:pt x="13745" y="14236"/>
                </a:lnTo>
                <a:lnTo>
                  <a:pt x="13745" y="7364"/>
                </a:lnTo>
                <a:lnTo>
                  <a:pt x="14727" y="7364"/>
                </a:lnTo>
                <a:cubicBezTo>
                  <a:pt x="14727" y="7364"/>
                  <a:pt x="14727" y="14236"/>
                  <a:pt x="14727" y="14236"/>
                </a:cubicBezTo>
                <a:close/>
                <a:moveTo>
                  <a:pt x="6873" y="13888"/>
                </a:moveTo>
                <a:lnTo>
                  <a:pt x="6873" y="7712"/>
                </a:lnTo>
                <a:lnTo>
                  <a:pt x="12277" y="10800"/>
                </a:lnTo>
                <a:cubicBezTo>
                  <a:pt x="12277" y="10800"/>
                  <a:pt x="6873" y="13888"/>
                  <a:pt x="6873" y="13888"/>
                </a:cubicBezTo>
                <a:close/>
                <a:moveTo>
                  <a:pt x="15218" y="6382"/>
                </a:moveTo>
                <a:lnTo>
                  <a:pt x="13255" y="6382"/>
                </a:lnTo>
                <a:cubicBezTo>
                  <a:pt x="12983" y="6382"/>
                  <a:pt x="12764" y="6601"/>
                  <a:pt x="12764" y="6873"/>
                </a:cubicBezTo>
                <a:lnTo>
                  <a:pt x="12764" y="9961"/>
                </a:lnTo>
                <a:lnTo>
                  <a:pt x="6689" y="6489"/>
                </a:lnTo>
                <a:lnTo>
                  <a:pt x="6684" y="6495"/>
                </a:lnTo>
                <a:cubicBezTo>
                  <a:pt x="6600" y="6428"/>
                  <a:pt x="6498" y="6382"/>
                  <a:pt x="6382" y="6382"/>
                </a:cubicBezTo>
                <a:cubicBezTo>
                  <a:pt x="6110" y="6382"/>
                  <a:pt x="5891" y="6601"/>
                  <a:pt x="5891" y="6873"/>
                </a:cubicBezTo>
                <a:lnTo>
                  <a:pt x="5891" y="14727"/>
                </a:lnTo>
                <a:cubicBezTo>
                  <a:pt x="5891" y="14999"/>
                  <a:pt x="6110" y="15218"/>
                  <a:pt x="6382" y="15218"/>
                </a:cubicBezTo>
                <a:cubicBezTo>
                  <a:pt x="6498" y="15218"/>
                  <a:pt x="6600" y="15172"/>
                  <a:pt x="6684" y="15105"/>
                </a:cubicBezTo>
                <a:lnTo>
                  <a:pt x="6689" y="15111"/>
                </a:lnTo>
                <a:lnTo>
                  <a:pt x="12764" y="11639"/>
                </a:lnTo>
                <a:lnTo>
                  <a:pt x="12764" y="14727"/>
                </a:lnTo>
                <a:cubicBezTo>
                  <a:pt x="12764" y="14999"/>
                  <a:pt x="12983" y="15218"/>
                  <a:pt x="13255" y="15218"/>
                </a:cubicBezTo>
                <a:lnTo>
                  <a:pt x="15218" y="15218"/>
                </a:lnTo>
                <a:cubicBezTo>
                  <a:pt x="15490" y="15218"/>
                  <a:pt x="15709" y="14999"/>
                  <a:pt x="15709" y="14727"/>
                </a:cubicBezTo>
                <a:lnTo>
                  <a:pt x="15709" y="6873"/>
                </a:lnTo>
                <a:cubicBezTo>
                  <a:pt x="15709" y="6601"/>
                  <a:pt x="15490" y="6382"/>
                  <a:pt x="15218" y="6382"/>
                </a:cubicBezTo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4" name="Shape 2714"/>
          <p:cNvSpPr/>
          <p:nvPr/>
        </p:nvSpPr>
        <p:spPr>
          <a:xfrm>
            <a:off x="8157677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8054" y="9818"/>
                </a:moveTo>
                <a:lnTo>
                  <a:pt x="10800" y="7072"/>
                </a:lnTo>
                <a:lnTo>
                  <a:pt x="13547" y="9818"/>
                </a:lnTo>
                <a:cubicBezTo>
                  <a:pt x="13547" y="9818"/>
                  <a:pt x="8054" y="9818"/>
                  <a:pt x="8054" y="9818"/>
                </a:cubicBezTo>
                <a:close/>
                <a:moveTo>
                  <a:pt x="15111" y="10002"/>
                </a:moveTo>
                <a:lnTo>
                  <a:pt x="15083" y="9975"/>
                </a:lnTo>
                <a:cubicBezTo>
                  <a:pt x="15076" y="9968"/>
                  <a:pt x="15069" y="9960"/>
                  <a:pt x="15061" y="9953"/>
                </a:cubicBezTo>
                <a:lnTo>
                  <a:pt x="11184" y="6075"/>
                </a:lnTo>
                <a:lnTo>
                  <a:pt x="11177" y="6080"/>
                </a:lnTo>
                <a:cubicBezTo>
                  <a:pt x="11088" y="5968"/>
                  <a:pt x="10955" y="5891"/>
                  <a:pt x="10800" y="5891"/>
                </a:cubicBezTo>
                <a:cubicBezTo>
                  <a:pt x="10645" y="5891"/>
                  <a:pt x="10512" y="5968"/>
                  <a:pt x="10422" y="6080"/>
                </a:cubicBezTo>
                <a:lnTo>
                  <a:pt x="10416" y="6075"/>
                </a:lnTo>
                <a:lnTo>
                  <a:pt x="6539" y="9953"/>
                </a:lnTo>
                <a:cubicBezTo>
                  <a:pt x="6531" y="9960"/>
                  <a:pt x="6524" y="9968"/>
                  <a:pt x="6517" y="9975"/>
                </a:cubicBezTo>
                <a:lnTo>
                  <a:pt x="6489" y="10002"/>
                </a:lnTo>
                <a:lnTo>
                  <a:pt x="6495" y="10007"/>
                </a:lnTo>
                <a:cubicBezTo>
                  <a:pt x="6428" y="10091"/>
                  <a:pt x="6382" y="10193"/>
                  <a:pt x="6382" y="10309"/>
                </a:cubicBezTo>
                <a:cubicBezTo>
                  <a:pt x="6382" y="10580"/>
                  <a:pt x="6601" y="10800"/>
                  <a:pt x="6873" y="10800"/>
                </a:cubicBezTo>
                <a:lnTo>
                  <a:pt x="14727" y="10800"/>
                </a:lnTo>
                <a:cubicBezTo>
                  <a:pt x="14999" y="10800"/>
                  <a:pt x="15218" y="10580"/>
                  <a:pt x="15218" y="10309"/>
                </a:cubicBezTo>
                <a:cubicBezTo>
                  <a:pt x="15218" y="10193"/>
                  <a:pt x="15172" y="10091"/>
                  <a:pt x="15105" y="10007"/>
                </a:cubicBezTo>
                <a:cubicBezTo>
                  <a:pt x="15105" y="10007"/>
                  <a:pt x="15111" y="10002"/>
                  <a:pt x="15111" y="10002"/>
                </a:cubicBezTo>
                <a:close/>
                <a:moveTo>
                  <a:pt x="14236" y="13745"/>
                </a:moveTo>
                <a:lnTo>
                  <a:pt x="7364" y="13745"/>
                </a:lnTo>
                <a:lnTo>
                  <a:pt x="7364" y="12764"/>
                </a:lnTo>
                <a:lnTo>
                  <a:pt x="14236" y="12764"/>
                </a:lnTo>
                <a:cubicBezTo>
                  <a:pt x="14236" y="12764"/>
                  <a:pt x="14236" y="13745"/>
                  <a:pt x="14236" y="13745"/>
                </a:cubicBezTo>
                <a:close/>
                <a:moveTo>
                  <a:pt x="14727" y="11782"/>
                </a:moveTo>
                <a:lnTo>
                  <a:pt x="6873" y="11782"/>
                </a:lnTo>
                <a:cubicBezTo>
                  <a:pt x="6601" y="11782"/>
                  <a:pt x="6382" y="12001"/>
                  <a:pt x="6382" y="12273"/>
                </a:cubicBezTo>
                <a:lnTo>
                  <a:pt x="6382" y="14236"/>
                </a:lnTo>
                <a:cubicBezTo>
                  <a:pt x="6382" y="14508"/>
                  <a:pt x="6601" y="14727"/>
                  <a:pt x="6873" y="14727"/>
                </a:cubicBezTo>
                <a:lnTo>
                  <a:pt x="14727" y="14727"/>
                </a:lnTo>
                <a:cubicBezTo>
                  <a:pt x="14999" y="14727"/>
                  <a:pt x="15218" y="14508"/>
                  <a:pt x="15218" y="14236"/>
                </a:cubicBezTo>
                <a:lnTo>
                  <a:pt x="15218" y="12273"/>
                </a:lnTo>
                <a:cubicBezTo>
                  <a:pt x="15218" y="12001"/>
                  <a:pt x="14999" y="11782"/>
                  <a:pt x="14727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5" name="Shape 2715"/>
          <p:cNvSpPr/>
          <p:nvPr/>
        </p:nvSpPr>
        <p:spPr>
          <a:xfrm>
            <a:off x="9224197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21600"/>
                </a:moveTo>
                <a:lnTo>
                  <a:pt x="17673" y="21600"/>
                </a:lnTo>
                <a:lnTo>
                  <a:pt x="17673" y="20618"/>
                </a:lnTo>
                <a:lnTo>
                  <a:pt x="15709" y="20618"/>
                </a:lnTo>
                <a:cubicBezTo>
                  <a:pt x="15709" y="20618"/>
                  <a:pt x="15709" y="21600"/>
                  <a:pt x="15709" y="21600"/>
                </a:cubicBezTo>
                <a:close/>
                <a:moveTo>
                  <a:pt x="11782" y="21600"/>
                </a:moveTo>
                <a:lnTo>
                  <a:pt x="13745" y="21600"/>
                </a:lnTo>
                <a:lnTo>
                  <a:pt x="13745" y="20618"/>
                </a:lnTo>
                <a:lnTo>
                  <a:pt x="11782" y="20618"/>
                </a:lnTo>
                <a:cubicBezTo>
                  <a:pt x="11782" y="20618"/>
                  <a:pt x="11782" y="21600"/>
                  <a:pt x="11782" y="21600"/>
                </a:cubicBezTo>
                <a:close/>
                <a:moveTo>
                  <a:pt x="7855" y="982"/>
                </a:moveTo>
                <a:lnTo>
                  <a:pt x="9818" y="982"/>
                </a:lnTo>
                <a:lnTo>
                  <a:pt x="9818" y="0"/>
                </a:lnTo>
                <a:lnTo>
                  <a:pt x="7855" y="0"/>
                </a:lnTo>
                <a:cubicBezTo>
                  <a:pt x="7855" y="0"/>
                  <a:pt x="7855" y="982"/>
                  <a:pt x="7855" y="982"/>
                </a:cubicBezTo>
                <a:close/>
                <a:moveTo>
                  <a:pt x="11782" y="982"/>
                </a:moveTo>
                <a:lnTo>
                  <a:pt x="13745" y="982"/>
                </a:lnTo>
                <a:lnTo>
                  <a:pt x="13745" y="0"/>
                </a:lnTo>
                <a:lnTo>
                  <a:pt x="11782" y="0"/>
                </a:lnTo>
                <a:cubicBezTo>
                  <a:pt x="11782" y="0"/>
                  <a:pt x="11782" y="982"/>
                  <a:pt x="11782" y="982"/>
                </a:cubicBezTo>
                <a:close/>
                <a:moveTo>
                  <a:pt x="15709" y="982"/>
                </a:moveTo>
                <a:lnTo>
                  <a:pt x="17673" y="982"/>
                </a:lnTo>
                <a:lnTo>
                  <a:pt x="17673" y="0"/>
                </a:lnTo>
                <a:lnTo>
                  <a:pt x="15709" y="0"/>
                </a:lnTo>
                <a:cubicBezTo>
                  <a:pt x="15709" y="0"/>
                  <a:pt x="15709" y="982"/>
                  <a:pt x="15709" y="982"/>
                </a:cubicBezTo>
                <a:close/>
                <a:moveTo>
                  <a:pt x="19636" y="20346"/>
                </a:moveTo>
                <a:lnTo>
                  <a:pt x="19636" y="21420"/>
                </a:lnTo>
                <a:cubicBezTo>
                  <a:pt x="20470" y="21123"/>
                  <a:pt x="21128" y="20467"/>
                  <a:pt x="21426" y="19636"/>
                </a:cubicBezTo>
                <a:lnTo>
                  <a:pt x="20350" y="19636"/>
                </a:lnTo>
                <a:cubicBezTo>
                  <a:pt x="20177" y="19929"/>
                  <a:pt x="19931" y="20174"/>
                  <a:pt x="19636" y="20346"/>
                </a:cubicBezTo>
                <a:moveTo>
                  <a:pt x="20618" y="5891"/>
                </a:moveTo>
                <a:lnTo>
                  <a:pt x="21600" y="5891"/>
                </a:lnTo>
                <a:lnTo>
                  <a:pt x="21600" y="3927"/>
                </a:lnTo>
                <a:lnTo>
                  <a:pt x="20618" y="3927"/>
                </a:lnTo>
                <a:cubicBezTo>
                  <a:pt x="20618" y="3927"/>
                  <a:pt x="20618" y="5891"/>
                  <a:pt x="20618" y="5891"/>
                </a:cubicBezTo>
                <a:close/>
                <a:moveTo>
                  <a:pt x="20618" y="9818"/>
                </a:moveTo>
                <a:lnTo>
                  <a:pt x="21600" y="9818"/>
                </a:lnTo>
                <a:lnTo>
                  <a:pt x="21600" y="7855"/>
                </a:lnTo>
                <a:lnTo>
                  <a:pt x="20618" y="7855"/>
                </a:lnTo>
                <a:cubicBezTo>
                  <a:pt x="20618" y="7855"/>
                  <a:pt x="20618" y="9818"/>
                  <a:pt x="20618" y="9818"/>
                </a:cubicBezTo>
                <a:close/>
                <a:moveTo>
                  <a:pt x="20618" y="13745"/>
                </a:moveTo>
                <a:lnTo>
                  <a:pt x="21600" y="13745"/>
                </a:lnTo>
                <a:lnTo>
                  <a:pt x="21600" y="11782"/>
                </a:lnTo>
                <a:lnTo>
                  <a:pt x="20618" y="11782"/>
                </a:lnTo>
                <a:cubicBezTo>
                  <a:pt x="20618" y="11782"/>
                  <a:pt x="20618" y="13745"/>
                  <a:pt x="20618" y="13745"/>
                </a:cubicBezTo>
                <a:close/>
                <a:moveTo>
                  <a:pt x="20618" y="17673"/>
                </a:moveTo>
                <a:lnTo>
                  <a:pt x="21600" y="17673"/>
                </a:lnTo>
                <a:lnTo>
                  <a:pt x="21600" y="15709"/>
                </a:lnTo>
                <a:lnTo>
                  <a:pt x="20618" y="15709"/>
                </a:ln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1250" y="19636"/>
                </a:moveTo>
                <a:lnTo>
                  <a:pt x="175" y="19636"/>
                </a:lnTo>
                <a:cubicBezTo>
                  <a:pt x="472" y="20467"/>
                  <a:pt x="1130" y="21123"/>
                  <a:pt x="1964" y="21420"/>
                </a:cubicBezTo>
                <a:lnTo>
                  <a:pt x="1964" y="20346"/>
                </a:lnTo>
                <a:cubicBezTo>
                  <a:pt x="1669" y="20174"/>
                  <a:pt x="1423" y="19929"/>
                  <a:pt x="1250" y="19636"/>
                </a:cubicBezTo>
                <a:moveTo>
                  <a:pt x="20350" y="1964"/>
                </a:moveTo>
                <a:lnTo>
                  <a:pt x="21426" y="1964"/>
                </a:lnTo>
                <a:cubicBezTo>
                  <a:pt x="21128" y="1133"/>
                  <a:pt x="20470" y="477"/>
                  <a:pt x="19636" y="180"/>
                </a:cubicBezTo>
                <a:lnTo>
                  <a:pt x="19636" y="1254"/>
                </a:lnTo>
                <a:cubicBezTo>
                  <a:pt x="19931" y="1426"/>
                  <a:pt x="20177" y="1670"/>
                  <a:pt x="20350" y="1964"/>
                </a:cubicBezTo>
                <a:moveTo>
                  <a:pt x="982" y="15709"/>
                </a:moveTo>
                <a:lnTo>
                  <a:pt x="0" y="15709"/>
                </a:lnTo>
                <a:lnTo>
                  <a:pt x="0" y="17673"/>
                </a:lnTo>
                <a:lnTo>
                  <a:pt x="982" y="17673"/>
                </a:lnTo>
                <a:cubicBezTo>
                  <a:pt x="982" y="17673"/>
                  <a:pt x="982" y="15709"/>
                  <a:pt x="982" y="15709"/>
                </a:cubicBezTo>
                <a:close/>
                <a:moveTo>
                  <a:pt x="982" y="7855"/>
                </a:moveTo>
                <a:lnTo>
                  <a:pt x="0" y="7855"/>
                </a:lnTo>
                <a:lnTo>
                  <a:pt x="0" y="9818"/>
                </a:lnTo>
                <a:lnTo>
                  <a:pt x="982" y="9818"/>
                </a:lnTo>
                <a:cubicBezTo>
                  <a:pt x="982" y="9818"/>
                  <a:pt x="982" y="7855"/>
                  <a:pt x="982" y="7855"/>
                </a:cubicBezTo>
                <a:close/>
                <a:moveTo>
                  <a:pt x="982" y="3927"/>
                </a:moveTo>
                <a:lnTo>
                  <a:pt x="0" y="3927"/>
                </a:lnTo>
                <a:lnTo>
                  <a:pt x="0" y="5891"/>
                </a:lnTo>
                <a:lnTo>
                  <a:pt x="982" y="5891"/>
                </a:lnTo>
                <a:cubicBezTo>
                  <a:pt x="982" y="5891"/>
                  <a:pt x="982" y="3927"/>
                  <a:pt x="982" y="3927"/>
                </a:cubicBezTo>
                <a:close/>
                <a:moveTo>
                  <a:pt x="982" y="11782"/>
                </a:moveTo>
                <a:lnTo>
                  <a:pt x="0" y="11782"/>
                </a:lnTo>
                <a:lnTo>
                  <a:pt x="0" y="13745"/>
                </a:lnTo>
                <a:lnTo>
                  <a:pt x="982" y="13745"/>
                </a:lnTo>
                <a:cubicBezTo>
                  <a:pt x="982" y="13745"/>
                  <a:pt x="982" y="11782"/>
                  <a:pt x="982" y="11782"/>
                </a:cubicBezTo>
                <a:close/>
                <a:moveTo>
                  <a:pt x="3927" y="982"/>
                </a:moveTo>
                <a:lnTo>
                  <a:pt x="5891" y="982"/>
                </a:lnTo>
                <a:lnTo>
                  <a:pt x="5891" y="0"/>
                </a:lnTo>
                <a:lnTo>
                  <a:pt x="3927" y="0"/>
                </a:lnTo>
                <a:cubicBezTo>
                  <a:pt x="3927" y="0"/>
                  <a:pt x="3927" y="982"/>
                  <a:pt x="3927" y="982"/>
                </a:cubicBezTo>
                <a:close/>
                <a:moveTo>
                  <a:pt x="7855" y="21600"/>
                </a:moveTo>
                <a:lnTo>
                  <a:pt x="9818" y="21600"/>
                </a:lnTo>
                <a:lnTo>
                  <a:pt x="9818" y="20618"/>
                </a:lnTo>
                <a:lnTo>
                  <a:pt x="7855" y="20618"/>
                </a:lnTo>
                <a:cubicBezTo>
                  <a:pt x="7855" y="20618"/>
                  <a:pt x="7855" y="21600"/>
                  <a:pt x="7855" y="21600"/>
                </a:cubicBezTo>
                <a:close/>
                <a:moveTo>
                  <a:pt x="3927" y="21600"/>
                </a:moveTo>
                <a:lnTo>
                  <a:pt x="5891" y="21600"/>
                </a:lnTo>
                <a:lnTo>
                  <a:pt x="5891" y="20618"/>
                </a:lnTo>
                <a:lnTo>
                  <a:pt x="3927" y="20618"/>
                </a:lnTo>
                <a:cubicBezTo>
                  <a:pt x="3927" y="20618"/>
                  <a:pt x="3927" y="21600"/>
                  <a:pt x="3927" y="21600"/>
                </a:cubicBezTo>
                <a:close/>
                <a:moveTo>
                  <a:pt x="175" y="1964"/>
                </a:moveTo>
                <a:lnTo>
                  <a:pt x="1250" y="1964"/>
                </a:lnTo>
                <a:cubicBezTo>
                  <a:pt x="1423" y="1670"/>
                  <a:pt x="1669" y="1426"/>
                  <a:pt x="1964" y="1254"/>
                </a:cubicBezTo>
                <a:lnTo>
                  <a:pt x="1964" y="180"/>
                </a:lnTo>
                <a:cubicBezTo>
                  <a:pt x="1130" y="477"/>
                  <a:pt x="472" y="1133"/>
                  <a:pt x="175" y="19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6" name="Shape 2716"/>
          <p:cNvSpPr/>
          <p:nvPr/>
        </p:nvSpPr>
        <p:spPr>
          <a:xfrm>
            <a:off x="10290720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745" y="13745"/>
                </a:moveTo>
                <a:lnTo>
                  <a:pt x="7855" y="13745"/>
                </a:lnTo>
                <a:lnTo>
                  <a:pt x="7855" y="7855"/>
                </a:lnTo>
                <a:lnTo>
                  <a:pt x="13745" y="7855"/>
                </a:lnTo>
                <a:cubicBezTo>
                  <a:pt x="13745" y="7855"/>
                  <a:pt x="13745" y="13745"/>
                  <a:pt x="13745" y="13745"/>
                </a:cubicBezTo>
                <a:close/>
                <a:moveTo>
                  <a:pt x="14236" y="6873"/>
                </a:moveTo>
                <a:lnTo>
                  <a:pt x="7364" y="6873"/>
                </a:lnTo>
                <a:cubicBezTo>
                  <a:pt x="7092" y="6873"/>
                  <a:pt x="6873" y="7092"/>
                  <a:pt x="6873" y="7364"/>
                </a:cubicBezTo>
                <a:lnTo>
                  <a:pt x="6873" y="14236"/>
                </a:lnTo>
                <a:cubicBezTo>
                  <a:pt x="6873" y="14508"/>
                  <a:pt x="7092" y="14727"/>
                  <a:pt x="7364" y="14727"/>
                </a:cubicBezTo>
                <a:lnTo>
                  <a:pt x="14236" y="14727"/>
                </a:lnTo>
                <a:cubicBezTo>
                  <a:pt x="14508" y="14727"/>
                  <a:pt x="14727" y="14508"/>
                  <a:pt x="14727" y="14236"/>
                </a:cubicBezTo>
                <a:lnTo>
                  <a:pt x="14727" y="7364"/>
                </a:lnTo>
                <a:cubicBezTo>
                  <a:pt x="14727" y="7092"/>
                  <a:pt x="14508" y="6873"/>
                  <a:pt x="14236" y="6873"/>
                </a:cubicBezTo>
                <a:moveTo>
                  <a:pt x="7855" y="21600"/>
                </a:moveTo>
                <a:lnTo>
                  <a:pt x="9818" y="21600"/>
                </a:lnTo>
                <a:lnTo>
                  <a:pt x="9818" y="20618"/>
                </a:lnTo>
                <a:lnTo>
                  <a:pt x="7855" y="20618"/>
                </a:lnTo>
                <a:cubicBezTo>
                  <a:pt x="7855" y="20618"/>
                  <a:pt x="7855" y="21600"/>
                  <a:pt x="7855" y="21600"/>
                </a:cubicBezTo>
                <a:close/>
                <a:moveTo>
                  <a:pt x="15709" y="21600"/>
                </a:moveTo>
                <a:lnTo>
                  <a:pt x="17673" y="21600"/>
                </a:lnTo>
                <a:lnTo>
                  <a:pt x="17673" y="20618"/>
                </a:lnTo>
                <a:lnTo>
                  <a:pt x="15709" y="20618"/>
                </a:lnTo>
                <a:cubicBezTo>
                  <a:pt x="15709" y="20618"/>
                  <a:pt x="15709" y="21600"/>
                  <a:pt x="15709" y="21600"/>
                </a:cubicBezTo>
                <a:close/>
                <a:moveTo>
                  <a:pt x="11782" y="21600"/>
                </a:moveTo>
                <a:lnTo>
                  <a:pt x="13745" y="21600"/>
                </a:lnTo>
                <a:lnTo>
                  <a:pt x="13745" y="20618"/>
                </a:lnTo>
                <a:lnTo>
                  <a:pt x="11782" y="20618"/>
                </a:lnTo>
                <a:cubicBezTo>
                  <a:pt x="11782" y="20618"/>
                  <a:pt x="11782" y="21600"/>
                  <a:pt x="11782" y="21600"/>
                </a:cubicBezTo>
                <a:close/>
                <a:moveTo>
                  <a:pt x="19636" y="20346"/>
                </a:moveTo>
                <a:lnTo>
                  <a:pt x="19636" y="21420"/>
                </a:lnTo>
                <a:cubicBezTo>
                  <a:pt x="20470" y="21123"/>
                  <a:pt x="21128" y="20467"/>
                  <a:pt x="21426" y="19636"/>
                </a:cubicBezTo>
                <a:lnTo>
                  <a:pt x="20350" y="19636"/>
                </a:lnTo>
                <a:cubicBezTo>
                  <a:pt x="20177" y="19929"/>
                  <a:pt x="19931" y="20174"/>
                  <a:pt x="19636" y="20346"/>
                </a:cubicBezTo>
                <a:moveTo>
                  <a:pt x="20618" y="5891"/>
                </a:moveTo>
                <a:lnTo>
                  <a:pt x="21600" y="5891"/>
                </a:lnTo>
                <a:lnTo>
                  <a:pt x="21600" y="3927"/>
                </a:lnTo>
                <a:lnTo>
                  <a:pt x="20618" y="3927"/>
                </a:lnTo>
                <a:cubicBezTo>
                  <a:pt x="20618" y="3927"/>
                  <a:pt x="20618" y="5891"/>
                  <a:pt x="20618" y="5891"/>
                </a:cubicBezTo>
                <a:close/>
                <a:moveTo>
                  <a:pt x="20618" y="9818"/>
                </a:moveTo>
                <a:lnTo>
                  <a:pt x="21600" y="9818"/>
                </a:lnTo>
                <a:lnTo>
                  <a:pt x="21600" y="7855"/>
                </a:lnTo>
                <a:lnTo>
                  <a:pt x="20618" y="7855"/>
                </a:lnTo>
                <a:cubicBezTo>
                  <a:pt x="20618" y="7855"/>
                  <a:pt x="20618" y="9818"/>
                  <a:pt x="20618" y="9818"/>
                </a:cubicBezTo>
                <a:close/>
                <a:moveTo>
                  <a:pt x="20618" y="17673"/>
                </a:moveTo>
                <a:lnTo>
                  <a:pt x="21600" y="17673"/>
                </a:lnTo>
                <a:lnTo>
                  <a:pt x="21600" y="15709"/>
                </a:lnTo>
                <a:lnTo>
                  <a:pt x="20618" y="15709"/>
                </a:ln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15709" y="982"/>
                </a:moveTo>
                <a:lnTo>
                  <a:pt x="17673" y="982"/>
                </a:lnTo>
                <a:lnTo>
                  <a:pt x="17673" y="0"/>
                </a:lnTo>
                <a:lnTo>
                  <a:pt x="15709" y="0"/>
                </a:lnTo>
                <a:cubicBezTo>
                  <a:pt x="15709" y="0"/>
                  <a:pt x="15709" y="982"/>
                  <a:pt x="15709" y="982"/>
                </a:cubicBezTo>
                <a:close/>
                <a:moveTo>
                  <a:pt x="3927" y="982"/>
                </a:moveTo>
                <a:lnTo>
                  <a:pt x="5891" y="982"/>
                </a:lnTo>
                <a:lnTo>
                  <a:pt x="5891" y="0"/>
                </a:lnTo>
                <a:lnTo>
                  <a:pt x="3927" y="0"/>
                </a:lnTo>
                <a:cubicBezTo>
                  <a:pt x="3927" y="0"/>
                  <a:pt x="3927" y="982"/>
                  <a:pt x="3927" y="982"/>
                </a:cubicBezTo>
                <a:close/>
                <a:moveTo>
                  <a:pt x="20618" y="13745"/>
                </a:moveTo>
                <a:lnTo>
                  <a:pt x="21600" y="13745"/>
                </a:lnTo>
                <a:lnTo>
                  <a:pt x="21600" y="11782"/>
                </a:lnTo>
                <a:lnTo>
                  <a:pt x="20618" y="11782"/>
                </a:lnTo>
                <a:cubicBezTo>
                  <a:pt x="20618" y="11782"/>
                  <a:pt x="20618" y="13745"/>
                  <a:pt x="20618" y="13745"/>
                </a:cubicBezTo>
                <a:close/>
                <a:moveTo>
                  <a:pt x="982" y="7855"/>
                </a:moveTo>
                <a:lnTo>
                  <a:pt x="0" y="7855"/>
                </a:lnTo>
                <a:lnTo>
                  <a:pt x="0" y="9818"/>
                </a:lnTo>
                <a:lnTo>
                  <a:pt x="982" y="9818"/>
                </a:lnTo>
                <a:cubicBezTo>
                  <a:pt x="982" y="9818"/>
                  <a:pt x="982" y="7855"/>
                  <a:pt x="982" y="7855"/>
                </a:cubicBezTo>
                <a:close/>
                <a:moveTo>
                  <a:pt x="9818" y="0"/>
                </a:moveTo>
                <a:lnTo>
                  <a:pt x="7855" y="0"/>
                </a:lnTo>
                <a:lnTo>
                  <a:pt x="7855" y="982"/>
                </a:lnTo>
                <a:lnTo>
                  <a:pt x="9818" y="982"/>
                </a:lnTo>
                <a:cubicBezTo>
                  <a:pt x="9818" y="982"/>
                  <a:pt x="9818" y="0"/>
                  <a:pt x="9818" y="0"/>
                </a:cubicBezTo>
                <a:close/>
                <a:moveTo>
                  <a:pt x="982" y="3927"/>
                </a:moveTo>
                <a:lnTo>
                  <a:pt x="0" y="3927"/>
                </a:lnTo>
                <a:lnTo>
                  <a:pt x="0" y="5891"/>
                </a:lnTo>
                <a:lnTo>
                  <a:pt x="982" y="5891"/>
                </a:lnTo>
                <a:cubicBezTo>
                  <a:pt x="982" y="5891"/>
                  <a:pt x="982" y="3927"/>
                  <a:pt x="982" y="3927"/>
                </a:cubicBezTo>
                <a:close/>
                <a:moveTo>
                  <a:pt x="20350" y="1964"/>
                </a:moveTo>
                <a:lnTo>
                  <a:pt x="21426" y="1964"/>
                </a:lnTo>
                <a:cubicBezTo>
                  <a:pt x="21128" y="1133"/>
                  <a:pt x="20470" y="477"/>
                  <a:pt x="19636" y="180"/>
                </a:cubicBezTo>
                <a:lnTo>
                  <a:pt x="19636" y="1254"/>
                </a:lnTo>
                <a:cubicBezTo>
                  <a:pt x="19931" y="1426"/>
                  <a:pt x="20177" y="1670"/>
                  <a:pt x="20350" y="1964"/>
                </a:cubicBezTo>
                <a:moveTo>
                  <a:pt x="13745" y="0"/>
                </a:moveTo>
                <a:lnTo>
                  <a:pt x="11782" y="0"/>
                </a:lnTo>
                <a:lnTo>
                  <a:pt x="11782" y="982"/>
                </a:lnTo>
                <a:lnTo>
                  <a:pt x="13745" y="982"/>
                </a:lnTo>
                <a:cubicBezTo>
                  <a:pt x="13745" y="982"/>
                  <a:pt x="13745" y="0"/>
                  <a:pt x="13745" y="0"/>
                </a:cubicBezTo>
                <a:close/>
                <a:moveTo>
                  <a:pt x="3927" y="21600"/>
                </a:moveTo>
                <a:lnTo>
                  <a:pt x="5891" y="21600"/>
                </a:lnTo>
                <a:lnTo>
                  <a:pt x="5891" y="20618"/>
                </a:lnTo>
                <a:lnTo>
                  <a:pt x="3927" y="20618"/>
                </a:lnTo>
                <a:cubicBezTo>
                  <a:pt x="3927" y="20618"/>
                  <a:pt x="3927" y="21600"/>
                  <a:pt x="3927" y="21600"/>
                </a:cubicBezTo>
                <a:close/>
                <a:moveTo>
                  <a:pt x="1250" y="19636"/>
                </a:moveTo>
                <a:lnTo>
                  <a:pt x="175" y="19636"/>
                </a:lnTo>
                <a:cubicBezTo>
                  <a:pt x="472" y="20467"/>
                  <a:pt x="1130" y="21123"/>
                  <a:pt x="1964" y="21420"/>
                </a:cubicBezTo>
                <a:lnTo>
                  <a:pt x="1964" y="20346"/>
                </a:lnTo>
                <a:cubicBezTo>
                  <a:pt x="1669" y="20174"/>
                  <a:pt x="1423" y="19929"/>
                  <a:pt x="1250" y="19636"/>
                </a:cubicBezTo>
                <a:moveTo>
                  <a:pt x="175" y="1964"/>
                </a:moveTo>
                <a:lnTo>
                  <a:pt x="1250" y="1964"/>
                </a:lnTo>
                <a:cubicBezTo>
                  <a:pt x="1423" y="1670"/>
                  <a:pt x="1669" y="1426"/>
                  <a:pt x="1964" y="1254"/>
                </a:cubicBezTo>
                <a:lnTo>
                  <a:pt x="1964" y="180"/>
                </a:lnTo>
                <a:cubicBezTo>
                  <a:pt x="1130" y="477"/>
                  <a:pt x="472" y="1133"/>
                  <a:pt x="175" y="1964"/>
                </a:cubicBezTo>
                <a:moveTo>
                  <a:pt x="982" y="15709"/>
                </a:moveTo>
                <a:lnTo>
                  <a:pt x="0" y="15709"/>
                </a:lnTo>
                <a:lnTo>
                  <a:pt x="0" y="17673"/>
                </a:lnTo>
                <a:lnTo>
                  <a:pt x="982" y="17673"/>
                </a:lnTo>
                <a:cubicBezTo>
                  <a:pt x="982" y="17673"/>
                  <a:pt x="982" y="15709"/>
                  <a:pt x="982" y="15709"/>
                </a:cubicBezTo>
                <a:close/>
                <a:moveTo>
                  <a:pt x="982" y="11782"/>
                </a:moveTo>
                <a:lnTo>
                  <a:pt x="0" y="11782"/>
                </a:lnTo>
                <a:lnTo>
                  <a:pt x="0" y="13745"/>
                </a:lnTo>
                <a:lnTo>
                  <a:pt x="982" y="13745"/>
                </a:lnTo>
                <a:cubicBezTo>
                  <a:pt x="982" y="13745"/>
                  <a:pt x="982" y="11782"/>
                  <a:pt x="982" y="11782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7" name="Shape 2717"/>
          <p:cNvSpPr/>
          <p:nvPr/>
        </p:nvSpPr>
        <p:spPr>
          <a:xfrm>
            <a:off x="11357242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1782"/>
                </a:moveTo>
                <a:cubicBezTo>
                  <a:pt x="14592" y="11782"/>
                  <a:pt x="14469" y="11837"/>
                  <a:pt x="14380" y="11926"/>
                </a:cubicBezTo>
                <a:lnTo>
                  <a:pt x="11291" y="15015"/>
                </a:ln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15015"/>
                </a:lnTo>
                <a:lnTo>
                  <a:pt x="7220" y="11926"/>
                </a:lnTo>
                <a:cubicBezTo>
                  <a:pt x="7131" y="11837"/>
                  <a:pt x="7008" y="11782"/>
                  <a:pt x="6873" y="11782"/>
                </a:cubicBezTo>
                <a:cubicBezTo>
                  <a:pt x="6601" y="11782"/>
                  <a:pt x="6382" y="12001"/>
                  <a:pt x="6382" y="12273"/>
                </a:cubicBezTo>
                <a:cubicBezTo>
                  <a:pt x="6382" y="12408"/>
                  <a:pt x="6437" y="12531"/>
                  <a:pt x="6526" y="12620"/>
                </a:cubicBezTo>
                <a:lnTo>
                  <a:pt x="10453" y="16547"/>
                </a:lnTo>
                <a:cubicBezTo>
                  <a:pt x="10542" y="16636"/>
                  <a:pt x="10664" y="16691"/>
                  <a:pt x="10800" y="16691"/>
                </a:cubicBezTo>
                <a:cubicBezTo>
                  <a:pt x="10936" y="16691"/>
                  <a:pt x="11058" y="16636"/>
                  <a:pt x="11147" y="16547"/>
                </a:cubicBezTo>
                <a:lnTo>
                  <a:pt x="15074" y="12620"/>
                </a:lnTo>
                <a:cubicBezTo>
                  <a:pt x="15163" y="12531"/>
                  <a:pt x="15218" y="12408"/>
                  <a:pt x="15218" y="12273"/>
                </a:cubicBezTo>
                <a:cubicBezTo>
                  <a:pt x="15218" y="12001"/>
                  <a:pt x="14999" y="11782"/>
                  <a:pt x="14727" y="11782"/>
                </a:cubicBezTo>
                <a:moveTo>
                  <a:pt x="11782" y="21600"/>
                </a:moveTo>
                <a:lnTo>
                  <a:pt x="13745" y="21600"/>
                </a:lnTo>
                <a:lnTo>
                  <a:pt x="13745" y="20618"/>
                </a:lnTo>
                <a:lnTo>
                  <a:pt x="11782" y="20618"/>
                </a:lnTo>
                <a:cubicBezTo>
                  <a:pt x="11782" y="20618"/>
                  <a:pt x="11782" y="21600"/>
                  <a:pt x="11782" y="21600"/>
                </a:cubicBezTo>
                <a:close/>
                <a:moveTo>
                  <a:pt x="7855" y="21600"/>
                </a:moveTo>
                <a:lnTo>
                  <a:pt x="9818" y="21600"/>
                </a:lnTo>
                <a:lnTo>
                  <a:pt x="9818" y="20618"/>
                </a:lnTo>
                <a:lnTo>
                  <a:pt x="7855" y="20618"/>
                </a:lnTo>
                <a:cubicBezTo>
                  <a:pt x="7855" y="20618"/>
                  <a:pt x="7855" y="21600"/>
                  <a:pt x="7855" y="21600"/>
                </a:cubicBezTo>
                <a:close/>
                <a:moveTo>
                  <a:pt x="15709" y="21600"/>
                </a:moveTo>
                <a:lnTo>
                  <a:pt x="17673" y="21600"/>
                </a:lnTo>
                <a:lnTo>
                  <a:pt x="17673" y="20618"/>
                </a:lnTo>
                <a:lnTo>
                  <a:pt x="15709" y="20618"/>
                </a:lnTo>
                <a:cubicBezTo>
                  <a:pt x="15709" y="20618"/>
                  <a:pt x="15709" y="21600"/>
                  <a:pt x="15709" y="21600"/>
                </a:cubicBezTo>
                <a:close/>
                <a:moveTo>
                  <a:pt x="20618" y="9818"/>
                </a:moveTo>
                <a:lnTo>
                  <a:pt x="21600" y="9818"/>
                </a:lnTo>
                <a:lnTo>
                  <a:pt x="21600" y="7855"/>
                </a:lnTo>
                <a:lnTo>
                  <a:pt x="20618" y="7855"/>
                </a:lnTo>
                <a:cubicBezTo>
                  <a:pt x="20618" y="7855"/>
                  <a:pt x="20618" y="9818"/>
                  <a:pt x="20618" y="9818"/>
                </a:cubicBezTo>
                <a:close/>
                <a:moveTo>
                  <a:pt x="3927" y="982"/>
                </a:moveTo>
                <a:lnTo>
                  <a:pt x="5891" y="982"/>
                </a:lnTo>
                <a:lnTo>
                  <a:pt x="5891" y="0"/>
                </a:lnTo>
                <a:lnTo>
                  <a:pt x="3927" y="0"/>
                </a:lnTo>
                <a:cubicBezTo>
                  <a:pt x="3927" y="0"/>
                  <a:pt x="3927" y="982"/>
                  <a:pt x="3927" y="982"/>
                </a:cubicBezTo>
                <a:close/>
                <a:moveTo>
                  <a:pt x="19636" y="20346"/>
                </a:moveTo>
                <a:lnTo>
                  <a:pt x="19636" y="21420"/>
                </a:lnTo>
                <a:cubicBezTo>
                  <a:pt x="20470" y="21123"/>
                  <a:pt x="21128" y="20467"/>
                  <a:pt x="21426" y="19636"/>
                </a:cubicBezTo>
                <a:lnTo>
                  <a:pt x="20350" y="19636"/>
                </a:lnTo>
                <a:cubicBezTo>
                  <a:pt x="20177" y="19929"/>
                  <a:pt x="19931" y="20174"/>
                  <a:pt x="19636" y="20346"/>
                </a:cubicBezTo>
                <a:moveTo>
                  <a:pt x="20618" y="5891"/>
                </a:moveTo>
                <a:lnTo>
                  <a:pt x="21600" y="5891"/>
                </a:lnTo>
                <a:lnTo>
                  <a:pt x="21600" y="3927"/>
                </a:lnTo>
                <a:lnTo>
                  <a:pt x="20618" y="3927"/>
                </a:lnTo>
                <a:cubicBezTo>
                  <a:pt x="20618" y="3927"/>
                  <a:pt x="20618" y="5891"/>
                  <a:pt x="20618" y="5891"/>
                </a:cubicBezTo>
                <a:close/>
                <a:moveTo>
                  <a:pt x="20618" y="17673"/>
                </a:moveTo>
                <a:lnTo>
                  <a:pt x="21600" y="17673"/>
                </a:lnTo>
                <a:lnTo>
                  <a:pt x="21600" y="15709"/>
                </a:lnTo>
                <a:lnTo>
                  <a:pt x="20618" y="15709"/>
                </a:ln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20618" y="13745"/>
                </a:moveTo>
                <a:lnTo>
                  <a:pt x="21600" y="13745"/>
                </a:lnTo>
                <a:lnTo>
                  <a:pt x="21600" y="11782"/>
                </a:lnTo>
                <a:lnTo>
                  <a:pt x="20618" y="11782"/>
                </a:lnTo>
                <a:cubicBezTo>
                  <a:pt x="20618" y="11782"/>
                  <a:pt x="20618" y="13745"/>
                  <a:pt x="20618" y="13745"/>
                </a:cubicBezTo>
                <a:close/>
                <a:moveTo>
                  <a:pt x="15709" y="982"/>
                </a:moveTo>
                <a:lnTo>
                  <a:pt x="17673" y="982"/>
                </a:lnTo>
                <a:lnTo>
                  <a:pt x="17673" y="0"/>
                </a:lnTo>
                <a:lnTo>
                  <a:pt x="15709" y="0"/>
                </a:lnTo>
                <a:cubicBezTo>
                  <a:pt x="15709" y="0"/>
                  <a:pt x="15709" y="982"/>
                  <a:pt x="15709" y="982"/>
                </a:cubicBezTo>
                <a:close/>
                <a:moveTo>
                  <a:pt x="982" y="3927"/>
                </a:moveTo>
                <a:lnTo>
                  <a:pt x="0" y="3927"/>
                </a:lnTo>
                <a:lnTo>
                  <a:pt x="0" y="5891"/>
                </a:lnTo>
                <a:lnTo>
                  <a:pt x="982" y="5891"/>
                </a:lnTo>
                <a:cubicBezTo>
                  <a:pt x="982" y="5891"/>
                  <a:pt x="982" y="3927"/>
                  <a:pt x="982" y="3927"/>
                </a:cubicBezTo>
                <a:close/>
                <a:moveTo>
                  <a:pt x="9818" y="0"/>
                </a:moveTo>
                <a:lnTo>
                  <a:pt x="7855" y="0"/>
                </a:lnTo>
                <a:lnTo>
                  <a:pt x="7855" y="982"/>
                </a:lnTo>
                <a:lnTo>
                  <a:pt x="9818" y="982"/>
                </a:lnTo>
                <a:cubicBezTo>
                  <a:pt x="9818" y="982"/>
                  <a:pt x="9818" y="0"/>
                  <a:pt x="9818" y="0"/>
                </a:cubicBezTo>
                <a:close/>
                <a:moveTo>
                  <a:pt x="20350" y="1964"/>
                </a:moveTo>
                <a:lnTo>
                  <a:pt x="21426" y="1964"/>
                </a:lnTo>
                <a:cubicBezTo>
                  <a:pt x="21128" y="1133"/>
                  <a:pt x="20470" y="477"/>
                  <a:pt x="19636" y="180"/>
                </a:cubicBezTo>
                <a:lnTo>
                  <a:pt x="19636" y="1254"/>
                </a:lnTo>
                <a:cubicBezTo>
                  <a:pt x="19931" y="1426"/>
                  <a:pt x="20177" y="1670"/>
                  <a:pt x="20350" y="1964"/>
                </a:cubicBezTo>
                <a:moveTo>
                  <a:pt x="982" y="7855"/>
                </a:moveTo>
                <a:lnTo>
                  <a:pt x="0" y="7855"/>
                </a:lnTo>
                <a:lnTo>
                  <a:pt x="0" y="9818"/>
                </a:lnTo>
                <a:lnTo>
                  <a:pt x="982" y="9818"/>
                </a:lnTo>
                <a:cubicBezTo>
                  <a:pt x="982" y="9818"/>
                  <a:pt x="982" y="7855"/>
                  <a:pt x="982" y="7855"/>
                </a:cubicBezTo>
                <a:close/>
                <a:moveTo>
                  <a:pt x="13745" y="0"/>
                </a:moveTo>
                <a:lnTo>
                  <a:pt x="11782" y="0"/>
                </a:lnTo>
                <a:lnTo>
                  <a:pt x="11782" y="982"/>
                </a:lnTo>
                <a:lnTo>
                  <a:pt x="13745" y="982"/>
                </a:lnTo>
                <a:cubicBezTo>
                  <a:pt x="13745" y="982"/>
                  <a:pt x="13745" y="0"/>
                  <a:pt x="13745" y="0"/>
                </a:cubicBezTo>
                <a:close/>
                <a:moveTo>
                  <a:pt x="982" y="11782"/>
                </a:moveTo>
                <a:lnTo>
                  <a:pt x="0" y="11782"/>
                </a:lnTo>
                <a:lnTo>
                  <a:pt x="0" y="13745"/>
                </a:lnTo>
                <a:lnTo>
                  <a:pt x="982" y="13745"/>
                </a:lnTo>
                <a:cubicBezTo>
                  <a:pt x="982" y="13745"/>
                  <a:pt x="982" y="11782"/>
                  <a:pt x="982" y="11782"/>
                </a:cubicBezTo>
                <a:close/>
                <a:moveTo>
                  <a:pt x="175" y="1964"/>
                </a:moveTo>
                <a:lnTo>
                  <a:pt x="1250" y="1964"/>
                </a:lnTo>
                <a:cubicBezTo>
                  <a:pt x="1423" y="1670"/>
                  <a:pt x="1669" y="1426"/>
                  <a:pt x="1964" y="1254"/>
                </a:cubicBezTo>
                <a:lnTo>
                  <a:pt x="1964" y="180"/>
                </a:lnTo>
                <a:cubicBezTo>
                  <a:pt x="1130" y="477"/>
                  <a:pt x="472" y="1133"/>
                  <a:pt x="175" y="1964"/>
                </a:cubicBezTo>
                <a:moveTo>
                  <a:pt x="1250" y="19636"/>
                </a:moveTo>
                <a:lnTo>
                  <a:pt x="175" y="19636"/>
                </a:lnTo>
                <a:cubicBezTo>
                  <a:pt x="472" y="20467"/>
                  <a:pt x="1130" y="21123"/>
                  <a:pt x="1964" y="21420"/>
                </a:cubicBezTo>
                <a:lnTo>
                  <a:pt x="1964" y="20346"/>
                </a:lnTo>
                <a:cubicBezTo>
                  <a:pt x="1669" y="20174"/>
                  <a:pt x="1423" y="19929"/>
                  <a:pt x="1250" y="19636"/>
                </a:cubicBezTo>
                <a:moveTo>
                  <a:pt x="3927" y="21600"/>
                </a:moveTo>
                <a:lnTo>
                  <a:pt x="5891" y="21600"/>
                </a:lnTo>
                <a:lnTo>
                  <a:pt x="5891" y="20618"/>
                </a:lnTo>
                <a:lnTo>
                  <a:pt x="3927" y="20618"/>
                </a:lnTo>
                <a:cubicBezTo>
                  <a:pt x="3927" y="20618"/>
                  <a:pt x="3927" y="21600"/>
                  <a:pt x="3927" y="21600"/>
                </a:cubicBezTo>
                <a:close/>
                <a:moveTo>
                  <a:pt x="982" y="15709"/>
                </a:moveTo>
                <a:lnTo>
                  <a:pt x="0" y="15709"/>
                </a:lnTo>
                <a:lnTo>
                  <a:pt x="0" y="17673"/>
                </a:lnTo>
                <a:lnTo>
                  <a:pt x="982" y="17673"/>
                </a:lnTo>
                <a:cubicBezTo>
                  <a:pt x="982" y="17673"/>
                  <a:pt x="982" y="15709"/>
                  <a:pt x="982" y="15709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8" name="Shape 2718"/>
          <p:cNvSpPr/>
          <p:nvPr/>
        </p:nvSpPr>
        <p:spPr>
          <a:xfrm>
            <a:off x="1758543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927" y="982"/>
                </a:moveTo>
                <a:lnTo>
                  <a:pt x="5891" y="982"/>
                </a:lnTo>
                <a:lnTo>
                  <a:pt x="5891" y="0"/>
                </a:lnTo>
                <a:lnTo>
                  <a:pt x="3927" y="0"/>
                </a:lnTo>
                <a:cubicBezTo>
                  <a:pt x="3927" y="0"/>
                  <a:pt x="3927" y="982"/>
                  <a:pt x="3927" y="982"/>
                </a:cubicBezTo>
                <a:close/>
                <a:moveTo>
                  <a:pt x="11782" y="21600"/>
                </a:moveTo>
                <a:lnTo>
                  <a:pt x="13745" y="21600"/>
                </a:lnTo>
                <a:lnTo>
                  <a:pt x="13745" y="20618"/>
                </a:lnTo>
                <a:lnTo>
                  <a:pt x="11782" y="20618"/>
                </a:lnTo>
                <a:cubicBezTo>
                  <a:pt x="11782" y="20618"/>
                  <a:pt x="11782" y="21600"/>
                  <a:pt x="11782" y="21600"/>
                </a:cubicBezTo>
                <a:close/>
                <a:moveTo>
                  <a:pt x="15709" y="21600"/>
                </a:moveTo>
                <a:lnTo>
                  <a:pt x="17673" y="21600"/>
                </a:lnTo>
                <a:lnTo>
                  <a:pt x="17673" y="20618"/>
                </a:lnTo>
                <a:lnTo>
                  <a:pt x="15709" y="20618"/>
                </a:lnTo>
                <a:cubicBezTo>
                  <a:pt x="15709" y="20618"/>
                  <a:pt x="15709" y="21600"/>
                  <a:pt x="15709" y="21600"/>
                </a:cubicBezTo>
                <a:close/>
                <a:moveTo>
                  <a:pt x="20618" y="5891"/>
                </a:moveTo>
                <a:lnTo>
                  <a:pt x="21600" y="5891"/>
                </a:lnTo>
                <a:lnTo>
                  <a:pt x="21600" y="3927"/>
                </a:lnTo>
                <a:lnTo>
                  <a:pt x="20618" y="3927"/>
                </a:lnTo>
                <a:cubicBezTo>
                  <a:pt x="20618" y="3927"/>
                  <a:pt x="20618" y="5891"/>
                  <a:pt x="20618" y="5891"/>
                </a:cubicBezTo>
                <a:close/>
                <a:moveTo>
                  <a:pt x="11147" y="5053"/>
                </a:moveTo>
                <a:cubicBezTo>
                  <a:pt x="11058" y="4964"/>
                  <a:pt x="10935" y="4909"/>
                  <a:pt x="10800" y="4909"/>
                </a:cubicBezTo>
                <a:cubicBezTo>
                  <a:pt x="10665" y="4909"/>
                  <a:pt x="10542" y="4964"/>
                  <a:pt x="10453" y="5053"/>
                </a:cubicBezTo>
                <a:lnTo>
                  <a:pt x="6526" y="8980"/>
                </a:lnTo>
                <a:cubicBezTo>
                  <a:pt x="6437" y="9069"/>
                  <a:pt x="6382" y="9192"/>
                  <a:pt x="6382" y="9327"/>
                </a:cubicBezTo>
                <a:cubicBezTo>
                  <a:pt x="6382" y="9599"/>
                  <a:pt x="6602" y="9818"/>
                  <a:pt x="6873" y="9818"/>
                </a:cubicBezTo>
                <a:cubicBezTo>
                  <a:pt x="7008" y="9818"/>
                  <a:pt x="7131" y="9764"/>
                  <a:pt x="7220" y="9674"/>
                </a:cubicBezTo>
                <a:lnTo>
                  <a:pt x="10309" y="6585"/>
                </a:lnTo>
                <a:lnTo>
                  <a:pt x="10309" y="16200"/>
                </a:lnTo>
                <a:cubicBezTo>
                  <a:pt x="10309" y="16471"/>
                  <a:pt x="10529" y="16691"/>
                  <a:pt x="10800" y="16691"/>
                </a:cubicBezTo>
                <a:cubicBezTo>
                  <a:pt x="11071" y="16691"/>
                  <a:pt x="11291" y="16471"/>
                  <a:pt x="11291" y="16200"/>
                </a:cubicBezTo>
                <a:lnTo>
                  <a:pt x="11291" y="6585"/>
                </a:lnTo>
                <a:lnTo>
                  <a:pt x="14380" y="9674"/>
                </a:lnTo>
                <a:cubicBezTo>
                  <a:pt x="14469" y="9764"/>
                  <a:pt x="14592" y="9818"/>
                  <a:pt x="14727" y="9818"/>
                </a:cubicBezTo>
                <a:cubicBezTo>
                  <a:pt x="14998" y="9818"/>
                  <a:pt x="15218" y="9599"/>
                  <a:pt x="15218" y="9327"/>
                </a:cubicBezTo>
                <a:cubicBezTo>
                  <a:pt x="15218" y="9192"/>
                  <a:pt x="15163" y="9069"/>
                  <a:pt x="15074" y="8980"/>
                </a:cubicBezTo>
                <a:cubicBezTo>
                  <a:pt x="15074" y="8980"/>
                  <a:pt x="11147" y="5053"/>
                  <a:pt x="11147" y="5053"/>
                </a:cubicBezTo>
                <a:close/>
                <a:moveTo>
                  <a:pt x="20618" y="13745"/>
                </a:moveTo>
                <a:lnTo>
                  <a:pt x="21600" y="13745"/>
                </a:lnTo>
                <a:lnTo>
                  <a:pt x="21600" y="11782"/>
                </a:lnTo>
                <a:lnTo>
                  <a:pt x="20618" y="11782"/>
                </a:lnTo>
                <a:cubicBezTo>
                  <a:pt x="20618" y="11782"/>
                  <a:pt x="20618" y="13745"/>
                  <a:pt x="20618" y="13745"/>
                </a:cubicBezTo>
                <a:close/>
                <a:moveTo>
                  <a:pt x="15709" y="982"/>
                </a:moveTo>
                <a:lnTo>
                  <a:pt x="17673" y="982"/>
                </a:lnTo>
                <a:lnTo>
                  <a:pt x="17673" y="0"/>
                </a:lnTo>
                <a:lnTo>
                  <a:pt x="15709" y="0"/>
                </a:lnTo>
                <a:cubicBezTo>
                  <a:pt x="15709" y="0"/>
                  <a:pt x="15709" y="982"/>
                  <a:pt x="15709" y="982"/>
                </a:cubicBezTo>
                <a:close/>
                <a:moveTo>
                  <a:pt x="20618" y="9818"/>
                </a:moveTo>
                <a:lnTo>
                  <a:pt x="21600" y="9818"/>
                </a:lnTo>
                <a:lnTo>
                  <a:pt x="21600" y="7855"/>
                </a:lnTo>
                <a:lnTo>
                  <a:pt x="20618" y="7855"/>
                </a:lnTo>
                <a:cubicBezTo>
                  <a:pt x="20618" y="7855"/>
                  <a:pt x="20618" y="9818"/>
                  <a:pt x="20618" y="9818"/>
                </a:cubicBezTo>
                <a:close/>
                <a:moveTo>
                  <a:pt x="19636" y="20346"/>
                </a:moveTo>
                <a:lnTo>
                  <a:pt x="19636" y="21420"/>
                </a:lnTo>
                <a:cubicBezTo>
                  <a:pt x="20469" y="21123"/>
                  <a:pt x="21129" y="20467"/>
                  <a:pt x="21426" y="19636"/>
                </a:cubicBezTo>
                <a:lnTo>
                  <a:pt x="20350" y="19636"/>
                </a:lnTo>
                <a:cubicBezTo>
                  <a:pt x="20177" y="19929"/>
                  <a:pt x="19931" y="20174"/>
                  <a:pt x="19636" y="20346"/>
                </a:cubicBezTo>
                <a:moveTo>
                  <a:pt x="20618" y="17673"/>
                </a:moveTo>
                <a:lnTo>
                  <a:pt x="21600" y="17673"/>
                </a:lnTo>
                <a:lnTo>
                  <a:pt x="21600" y="15709"/>
                </a:lnTo>
                <a:lnTo>
                  <a:pt x="20618" y="15709"/>
                </a:ln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7855" y="21600"/>
                </a:moveTo>
                <a:lnTo>
                  <a:pt x="9818" y="21600"/>
                </a:lnTo>
                <a:lnTo>
                  <a:pt x="9818" y="20618"/>
                </a:lnTo>
                <a:lnTo>
                  <a:pt x="7855" y="20618"/>
                </a:lnTo>
                <a:cubicBezTo>
                  <a:pt x="7855" y="20618"/>
                  <a:pt x="7855" y="21600"/>
                  <a:pt x="7855" y="21600"/>
                </a:cubicBezTo>
                <a:close/>
                <a:moveTo>
                  <a:pt x="9818" y="0"/>
                </a:moveTo>
                <a:lnTo>
                  <a:pt x="7855" y="0"/>
                </a:lnTo>
                <a:lnTo>
                  <a:pt x="7855" y="982"/>
                </a:lnTo>
                <a:lnTo>
                  <a:pt x="9818" y="982"/>
                </a:lnTo>
                <a:cubicBezTo>
                  <a:pt x="9818" y="982"/>
                  <a:pt x="9818" y="0"/>
                  <a:pt x="9818" y="0"/>
                </a:cubicBezTo>
                <a:close/>
                <a:moveTo>
                  <a:pt x="20350" y="1964"/>
                </a:moveTo>
                <a:lnTo>
                  <a:pt x="21426" y="1964"/>
                </a:lnTo>
                <a:cubicBezTo>
                  <a:pt x="21129" y="1133"/>
                  <a:pt x="20469" y="477"/>
                  <a:pt x="19636" y="180"/>
                </a:cubicBezTo>
                <a:lnTo>
                  <a:pt x="19636" y="1254"/>
                </a:lnTo>
                <a:cubicBezTo>
                  <a:pt x="19931" y="1426"/>
                  <a:pt x="20177" y="1670"/>
                  <a:pt x="20350" y="1964"/>
                </a:cubicBezTo>
                <a:moveTo>
                  <a:pt x="982" y="3927"/>
                </a:moveTo>
                <a:lnTo>
                  <a:pt x="0" y="3927"/>
                </a:lnTo>
                <a:lnTo>
                  <a:pt x="0" y="5891"/>
                </a:lnTo>
                <a:lnTo>
                  <a:pt x="982" y="5891"/>
                </a:lnTo>
                <a:cubicBezTo>
                  <a:pt x="982" y="5891"/>
                  <a:pt x="982" y="3927"/>
                  <a:pt x="982" y="3927"/>
                </a:cubicBezTo>
                <a:close/>
                <a:moveTo>
                  <a:pt x="3927" y="21600"/>
                </a:moveTo>
                <a:lnTo>
                  <a:pt x="5891" y="21600"/>
                </a:lnTo>
                <a:lnTo>
                  <a:pt x="5891" y="20618"/>
                </a:lnTo>
                <a:lnTo>
                  <a:pt x="3927" y="20618"/>
                </a:lnTo>
                <a:cubicBezTo>
                  <a:pt x="3927" y="20618"/>
                  <a:pt x="3927" y="21600"/>
                  <a:pt x="3927" y="21600"/>
                </a:cubicBezTo>
                <a:close/>
                <a:moveTo>
                  <a:pt x="13745" y="0"/>
                </a:moveTo>
                <a:lnTo>
                  <a:pt x="11782" y="0"/>
                </a:lnTo>
                <a:lnTo>
                  <a:pt x="11782" y="982"/>
                </a:lnTo>
                <a:lnTo>
                  <a:pt x="13745" y="982"/>
                </a:lnTo>
                <a:cubicBezTo>
                  <a:pt x="13745" y="982"/>
                  <a:pt x="13745" y="0"/>
                  <a:pt x="13745" y="0"/>
                </a:cubicBezTo>
                <a:close/>
                <a:moveTo>
                  <a:pt x="174" y="1964"/>
                </a:moveTo>
                <a:lnTo>
                  <a:pt x="1250" y="1964"/>
                </a:lnTo>
                <a:cubicBezTo>
                  <a:pt x="1423" y="1670"/>
                  <a:pt x="1669" y="1426"/>
                  <a:pt x="1964" y="1254"/>
                </a:cubicBezTo>
                <a:lnTo>
                  <a:pt x="1964" y="180"/>
                </a:lnTo>
                <a:cubicBezTo>
                  <a:pt x="1131" y="477"/>
                  <a:pt x="472" y="1133"/>
                  <a:pt x="174" y="1964"/>
                </a:cubicBezTo>
                <a:moveTo>
                  <a:pt x="1250" y="19636"/>
                </a:moveTo>
                <a:lnTo>
                  <a:pt x="174" y="19636"/>
                </a:lnTo>
                <a:cubicBezTo>
                  <a:pt x="472" y="20467"/>
                  <a:pt x="1131" y="21123"/>
                  <a:pt x="1964" y="21420"/>
                </a:cubicBezTo>
                <a:lnTo>
                  <a:pt x="1964" y="20346"/>
                </a:lnTo>
                <a:cubicBezTo>
                  <a:pt x="1669" y="20174"/>
                  <a:pt x="1423" y="19929"/>
                  <a:pt x="1250" y="19636"/>
                </a:cubicBezTo>
                <a:moveTo>
                  <a:pt x="982" y="11782"/>
                </a:moveTo>
                <a:lnTo>
                  <a:pt x="0" y="11782"/>
                </a:lnTo>
                <a:lnTo>
                  <a:pt x="0" y="13745"/>
                </a:lnTo>
                <a:lnTo>
                  <a:pt x="982" y="13745"/>
                </a:lnTo>
                <a:cubicBezTo>
                  <a:pt x="982" y="13745"/>
                  <a:pt x="982" y="11782"/>
                  <a:pt x="982" y="11782"/>
                </a:cubicBezTo>
                <a:close/>
                <a:moveTo>
                  <a:pt x="982" y="7855"/>
                </a:moveTo>
                <a:lnTo>
                  <a:pt x="0" y="7855"/>
                </a:lnTo>
                <a:lnTo>
                  <a:pt x="0" y="9818"/>
                </a:lnTo>
                <a:lnTo>
                  <a:pt x="982" y="9818"/>
                </a:lnTo>
                <a:cubicBezTo>
                  <a:pt x="982" y="9818"/>
                  <a:pt x="982" y="7855"/>
                  <a:pt x="982" y="7855"/>
                </a:cubicBezTo>
                <a:close/>
                <a:moveTo>
                  <a:pt x="982" y="15709"/>
                </a:moveTo>
                <a:lnTo>
                  <a:pt x="0" y="15709"/>
                </a:lnTo>
                <a:lnTo>
                  <a:pt x="0" y="17673"/>
                </a:lnTo>
                <a:lnTo>
                  <a:pt x="982" y="17673"/>
                </a:lnTo>
                <a:cubicBezTo>
                  <a:pt x="982" y="17673"/>
                  <a:pt x="982" y="15709"/>
                  <a:pt x="982" y="15709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9" name="Shape 2719"/>
          <p:cNvSpPr/>
          <p:nvPr/>
        </p:nvSpPr>
        <p:spPr>
          <a:xfrm>
            <a:off x="2825064" y="9278448"/>
            <a:ext cx="556423" cy="5575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65" y="19991"/>
                </a:moveTo>
                <a:lnTo>
                  <a:pt x="14707" y="20866"/>
                </a:lnTo>
                <a:cubicBezTo>
                  <a:pt x="15328" y="20625"/>
                  <a:pt x="15928" y="20324"/>
                  <a:pt x="16492" y="19973"/>
                </a:cubicBezTo>
                <a:lnTo>
                  <a:pt x="15994" y="19176"/>
                </a:lnTo>
                <a:cubicBezTo>
                  <a:pt x="15479" y="19497"/>
                  <a:pt x="14931" y="19771"/>
                  <a:pt x="14365" y="19991"/>
                </a:cubicBezTo>
                <a:moveTo>
                  <a:pt x="10800" y="20661"/>
                </a:moveTo>
                <a:lnTo>
                  <a:pt x="10801" y="21600"/>
                </a:lnTo>
                <a:cubicBezTo>
                  <a:pt x="11469" y="21598"/>
                  <a:pt x="12137" y="21536"/>
                  <a:pt x="12788" y="21415"/>
                </a:cubicBezTo>
                <a:lnTo>
                  <a:pt x="12614" y="20491"/>
                </a:lnTo>
                <a:cubicBezTo>
                  <a:pt x="12020" y="20603"/>
                  <a:pt x="11409" y="20660"/>
                  <a:pt x="10800" y="20661"/>
                </a:cubicBezTo>
                <a:moveTo>
                  <a:pt x="18660" y="4854"/>
                </a:moveTo>
                <a:lnTo>
                  <a:pt x="19411" y="4287"/>
                </a:lnTo>
                <a:cubicBezTo>
                  <a:pt x="19011" y="3759"/>
                  <a:pt x="18558" y="3264"/>
                  <a:pt x="18065" y="2816"/>
                </a:cubicBezTo>
                <a:lnTo>
                  <a:pt x="17432" y="3510"/>
                </a:lnTo>
                <a:cubicBezTo>
                  <a:pt x="17882" y="3919"/>
                  <a:pt x="18295" y="4371"/>
                  <a:pt x="18660" y="4854"/>
                </a:cubicBezTo>
                <a:moveTo>
                  <a:pt x="16473" y="1615"/>
                </a:moveTo>
                <a:cubicBezTo>
                  <a:pt x="15908" y="1264"/>
                  <a:pt x="15306" y="966"/>
                  <a:pt x="14686" y="726"/>
                </a:cubicBezTo>
                <a:lnTo>
                  <a:pt x="14347" y="1602"/>
                </a:lnTo>
                <a:cubicBezTo>
                  <a:pt x="14912" y="1821"/>
                  <a:pt x="15462" y="2094"/>
                  <a:pt x="15978" y="2413"/>
                </a:cubicBezTo>
                <a:cubicBezTo>
                  <a:pt x="15978" y="2413"/>
                  <a:pt x="16473" y="1615"/>
                  <a:pt x="16473" y="1615"/>
                </a:cubicBezTo>
                <a:close/>
                <a:moveTo>
                  <a:pt x="21553" y="9794"/>
                </a:moveTo>
                <a:lnTo>
                  <a:pt x="20617" y="9880"/>
                </a:lnTo>
                <a:cubicBezTo>
                  <a:pt x="20644" y="10182"/>
                  <a:pt x="20659" y="10492"/>
                  <a:pt x="20659" y="10800"/>
                </a:cubicBezTo>
                <a:cubicBezTo>
                  <a:pt x="20659" y="11099"/>
                  <a:pt x="20645" y="11401"/>
                  <a:pt x="20619" y="11699"/>
                </a:cubicBezTo>
                <a:lnTo>
                  <a:pt x="21556" y="11784"/>
                </a:lnTo>
                <a:cubicBezTo>
                  <a:pt x="21585" y="11458"/>
                  <a:pt x="21600" y="11127"/>
                  <a:pt x="21600" y="10800"/>
                </a:cubicBezTo>
                <a:cubicBezTo>
                  <a:pt x="21600" y="10462"/>
                  <a:pt x="21584" y="10124"/>
                  <a:pt x="21553" y="9794"/>
                </a:cubicBezTo>
                <a:moveTo>
                  <a:pt x="21187" y="7835"/>
                </a:moveTo>
                <a:cubicBezTo>
                  <a:pt x="21005" y="7197"/>
                  <a:pt x="20761" y="6573"/>
                  <a:pt x="20463" y="5978"/>
                </a:cubicBezTo>
                <a:lnTo>
                  <a:pt x="19622" y="6399"/>
                </a:lnTo>
                <a:cubicBezTo>
                  <a:pt x="19893" y="6941"/>
                  <a:pt x="20115" y="7510"/>
                  <a:pt x="20282" y="8094"/>
                </a:cubicBezTo>
                <a:cubicBezTo>
                  <a:pt x="20282" y="8094"/>
                  <a:pt x="21187" y="7835"/>
                  <a:pt x="21187" y="7835"/>
                </a:cubicBezTo>
                <a:close/>
                <a:moveTo>
                  <a:pt x="17446" y="18078"/>
                </a:moveTo>
                <a:lnTo>
                  <a:pt x="18081" y="18771"/>
                </a:lnTo>
                <a:cubicBezTo>
                  <a:pt x="18572" y="18323"/>
                  <a:pt x="19024" y="17827"/>
                  <a:pt x="19424" y="17297"/>
                </a:cubicBezTo>
                <a:lnTo>
                  <a:pt x="18672" y="16732"/>
                </a:lnTo>
                <a:cubicBezTo>
                  <a:pt x="18307" y="17216"/>
                  <a:pt x="17894" y="17669"/>
                  <a:pt x="17446" y="18078"/>
                </a:cubicBezTo>
                <a:moveTo>
                  <a:pt x="19632" y="15184"/>
                </a:moveTo>
                <a:lnTo>
                  <a:pt x="20474" y="15602"/>
                </a:lnTo>
                <a:cubicBezTo>
                  <a:pt x="20770" y="15008"/>
                  <a:pt x="21012" y="14383"/>
                  <a:pt x="21194" y="13743"/>
                </a:cubicBezTo>
                <a:lnTo>
                  <a:pt x="20288" y="13487"/>
                </a:lnTo>
                <a:cubicBezTo>
                  <a:pt x="20123" y="14071"/>
                  <a:pt x="19901" y="14642"/>
                  <a:pt x="19632" y="15184"/>
                </a:cubicBezTo>
                <a:moveTo>
                  <a:pt x="2873" y="4886"/>
                </a:moveTo>
                <a:lnTo>
                  <a:pt x="2120" y="4322"/>
                </a:lnTo>
                <a:cubicBezTo>
                  <a:pt x="1721" y="4854"/>
                  <a:pt x="1369" y="5424"/>
                  <a:pt x="1074" y="6018"/>
                </a:cubicBezTo>
                <a:lnTo>
                  <a:pt x="1917" y="6435"/>
                </a:lnTo>
                <a:cubicBezTo>
                  <a:pt x="2186" y="5892"/>
                  <a:pt x="2508" y="5371"/>
                  <a:pt x="2873" y="4886"/>
                </a:cubicBezTo>
                <a:moveTo>
                  <a:pt x="943" y="11741"/>
                </a:moveTo>
                <a:lnTo>
                  <a:pt x="6" y="11829"/>
                </a:lnTo>
                <a:cubicBezTo>
                  <a:pt x="69" y="12492"/>
                  <a:pt x="194" y="13151"/>
                  <a:pt x="377" y="13786"/>
                </a:cubicBezTo>
                <a:lnTo>
                  <a:pt x="1281" y="13527"/>
                </a:lnTo>
                <a:cubicBezTo>
                  <a:pt x="1114" y="12946"/>
                  <a:pt x="1000" y="12346"/>
                  <a:pt x="943" y="11741"/>
                </a:cubicBezTo>
                <a:moveTo>
                  <a:pt x="1265" y="8133"/>
                </a:moveTo>
                <a:lnTo>
                  <a:pt x="359" y="7879"/>
                </a:lnTo>
                <a:cubicBezTo>
                  <a:pt x="179" y="8516"/>
                  <a:pt x="59" y="9176"/>
                  <a:pt x="0" y="9838"/>
                </a:cubicBezTo>
                <a:lnTo>
                  <a:pt x="938" y="9921"/>
                </a:lnTo>
                <a:cubicBezTo>
                  <a:pt x="991" y="9316"/>
                  <a:pt x="1101" y="8714"/>
                  <a:pt x="1265" y="8133"/>
                </a:cubicBezTo>
                <a:moveTo>
                  <a:pt x="1105" y="15642"/>
                </a:moveTo>
                <a:cubicBezTo>
                  <a:pt x="1403" y="16235"/>
                  <a:pt x="1759" y="16804"/>
                  <a:pt x="2161" y="17332"/>
                </a:cubicBezTo>
                <a:lnTo>
                  <a:pt x="2910" y="16763"/>
                </a:lnTo>
                <a:cubicBezTo>
                  <a:pt x="2542" y="16281"/>
                  <a:pt x="2218" y="15762"/>
                  <a:pt x="1945" y="15220"/>
                </a:cubicBezTo>
                <a:cubicBezTo>
                  <a:pt x="1945" y="15220"/>
                  <a:pt x="1105" y="15642"/>
                  <a:pt x="1105" y="15642"/>
                </a:cubicBezTo>
                <a:close/>
                <a:moveTo>
                  <a:pt x="12765" y="182"/>
                </a:moveTo>
                <a:cubicBezTo>
                  <a:pt x="12115" y="61"/>
                  <a:pt x="11448" y="0"/>
                  <a:pt x="10788" y="0"/>
                </a:cubicBezTo>
                <a:lnTo>
                  <a:pt x="10787" y="0"/>
                </a:lnTo>
                <a:lnTo>
                  <a:pt x="10736" y="0"/>
                </a:lnTo>
                <a:lnTo>
                  <a:pt x="10779" y="940"/>
                </a:lnTo>
                <a:cubicBezTo>
                  <a:pt x="11389" y="940"/>
                  <a:pt x="12000" y="995"/>
                  <a:pt x="12594" y="1105"/>
                </a:cubicBezTo>
                <a:cubicBezTo>
                  <a:pt x="12594" y="1105"/>
                  <a:pt x="12765" y="182"/>
                  <a:pt x="12765" y="182"/>
                </a:cubicBezTo>
                <a:close/>
                <a:moveTo>
                  <a:pt x="6893" y="20882"/>
                </a:moveTo>
                <a:cubicBezTo>
                  <a:pt x="7514" y="21121"/>
                  <a:pt x="8160" y="21302"/>
                  <a:pt x="8814" y="21422"/>
                </a:cubicBezTo>
                <a:lnTo>
                  <a:pt x="8985" y="20499"/>
                </a:lnTo>
                <a:cubicBezTo>
                  <a:pt x="8387" y="20389"/>
                  <a:pt x="7797" y="20223"/>
                  <a:pt x="7231" y="20006"/>
                </a:cubicBezTo>
                <a:cubicBezTo>
                  <a:pt x="7231" y="20006"/>
                  <a:pt x="6893" y="20882"/>
                  <a:pt x="6893" y="20882"/>
                </a:cubicBezTo>
                <a:close/>
                <a:moveTo>
                  <a:pt x="3510" y="18800"/>
                </a:moveTo>
                <a:cubicBezTo>
                  <a:pt x="4003" y="19247"/>
                  <a:pt x="4539" y="19650"/>
                  <a:pt x="5105" y="19997"/>
                </a:cubicBezTo>
                <a:lnTo>
                  <a:pt x="5599" y="19198"/>
                </a:lnTo>
                <a:cubicBezTo>
                  <a:pt x="5083" y="18881"/>
                  <a:pt x="4592" y="18513"/>
                  <a:pt x="4142" y="18105"/>
                </a:cubicBezTo>
                <a:cubicBezTo>
                  <a:pt x="4142" y="18105"/>
                  <a:pt x="3510" y="18800"/>
                  <a:pt x="3510" y="18800"/>
                </a:cubicBezTo>
                <a:close/>
                <a:moveTo>
                  <a:pt x="5546" y="2435"/>
                </a:moveTo>
                <a:lnTo>
                  <a:pt x="5048" y="1639"/>
                </a:lnTo>
                <a:cubicBezTo>
                  <a:pt x="4484" y="1991"/>
                  <a:pt x="3950" y="2397"/>
                  <a:pt x="3460" y="2846"/>
                </a:cubicBezTo>
                <a:lnTo>
                  <a:pt x="4096" y="3538"/>
                </a:lnTo>
                <a:cubicBezTo>
                  <a:pt x="4544" y="3127"/>
                  <a:pt x="5032" y="2756"/>
                  <a:pt x="5546" y="2435"/>
                </a:cubicBezTo>
                <a:moveTo>
                  <a:pt x="8924" y="1113"/>
                </a:moveTo>
                <a:lnTo>
                  <a:pt x="8748" y="190"/>
                </a:lnTo>
                <a:cubicBezTo>
                  <a:pt x="8093" y="315"/>
                  <a:pt x="7448" y="501"/>
                  <a:pt x="6830" y="743"/>
                </a:cubicBezTo>
                <a:lnTo>
                  <a:pt x="7173" y="1617"/>
                </a:lnTo>
                <a:cubicBezTo>
                  <a:pt x="7738" y="1396"/>
                  <a:pt x="8327" y="1226"/>
                  <a:pt x="8924" y="111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0" name="Shape 2720"/>
          <p:cNvSpPr/>
          <p:nvPr/>
        </p:nvSpPr>
        <p:spPr>
          <a:xfrm>
            <a:off x="3891585" y="9278448"/>
            <a:ext cx="556423" cy="5575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65" y="19991"/>
                </a:moveTo>
                <a:lnTo>
                  <a:pt x="14707" y="20866"/>
                </a:lnTo>
                <a:cubicBezTo>
                  <a:pt x="15328" y="20625"/>
                  <a:pt x="15928" y="20324"/>
                  <a:pt x="16492" y="19973"/>
                </a:cubicBezTo>
                <a:lnTo>
                  <a:pt x="15994" y="19176"/>
                </a:lnTo>
                <a:cubicBezTo>
                  <a:pt x="15479" y="19497"/>
                  <a:pt x="14931" y="19771"/>
                  <a:pt x="14365" y="19991"/>
                </a:cubicBezTo>
                <a:moveTo>
                  <a:pt x="10800" y="14735"/>
                </a:moveTo>
                <a:cubicBezTo>
                  <a:pt x="8622" y="14735"/>
                  <a:pt x="6857" y="12973"/>
                  <a:pt x="6857" y="10800"/>
                </a:cubicBezTo>
                <a:cubicBezTo>
                  <a:pt x="6857" y="8627"/>
                  <a:pt x="8622" y="6865"/>
                  <a:pt x="10800" y="6865"/>
                </a:cubicBezTo>
                <a:cubicBezTo>
                  <a:pt x="12978" y="6865"/>
                  <a:pt x="14743" y="8627"/>
                  <a:pt x="14743" y="10800"/>
                </a:cubicBezTo>
                <a:cubicBezTo>
                  <a:pt x="14743" y="12973"/>
                  <a:pt x="12978" y="14735"/>
                  <a:pt x="10800" y="14735"/>
                </a:cubicBezTo>
                <a:moveTo>
                  <a:pt x="10800" y="5881"/>
                </a:moveTo>
                <a:cubicBezTo>
                  <a:pt x="8078" y="5881"/>
                  <a:pt x="5871" y="8083"/>
                  <a:pt x="5871" y="10800"/>
                </a:cubicBezTo>
                <a:cubicBezTo>
                  <a:pt x="5871" y="13517"/>
                  <a:pt x="8078" y="15719"/>
                  <a:pt x="10800" y="15719"/>
                </a:cubicBezTo>
                <a:cubicBezTo>
                  <a:pt x="13522" y="15719"/>
                  <a:pt x="15729" y="13517"/>
                  <a:pt x="15729" y="10800"/>
                </a:cubicBezTo>
                <a:cubicBezTo>
                  <a:pt x="15729" y="8083"/>
                  <a:pt x="13522" y="5881"/>
                  <a:pt x="10800" y="5881"/>
                </a:cubicBezTo>
                <a:moveTo>
                  <a:pt x="10800" y="20661"/>
                </a:moveTo>
                <a:lnTo>
                  <a:pt x="10801" y="21600"/>
                </a:lnTo>
                <a:cubicBezTo>
                  <a:pt x="11469" y="21598"/>
                  <a:pt x="12137" y="21536"/>
                  <a:pt x="12788" y="21415"/>
                </a:cubicBezTo>
                <a:lnTo>
                  <a:pt x="12614" y="20491"/>
                </a:lnTo>
                <a:cubicBezTo>
                  <a:pt x="12020" y="20603"/>
                  <a:pt x="11409" y="20660"/>
                  <a:pt x="10800" y="20661"/>
                </a:cubicBezTo>
                <a:moveTo>
                  <a:pt x="18660" y="4854"/>
                </a:moveTo>
                <a:lnTo>
                  <a:pt x="19411" y="4287"/>
                </a:lnTo>
                <a:cubicBezTo>
                  <a:pt x="19011" y="3759"/>
                  <a:pt x="18558" y="3264"/>
                  <a:pt x="18065" y="2816"/>
                </a:cubicBezTo>
                <a:lnTo>
                  <a:pt x="17432" y="3510"/>
                </a:lnTo>
                <a:cubicBezTo>
                  <a:pt x="17882" y="3919"/>
                  <a:pt x="18295" y="4371"/>
                  <a:pt x="18660" y="4854"/>
                </a:cubicBezTo>
                <a:moveTo>
                  <a:pt x="21187" y="7835"/>
                </a:moveTo>
                <a:cubicBezTo>
                  <a:pt x="21005" y="7197"/>
                  <a:pt x="20761" y="6573"/>
                  <a:pt x="20463" y="5978"/>
                </a:cubicBezTo>
                <a:lnTo>
                  <a:pt x="19622" y="6399"/>
                </a:lnTo>
                <a:cubicBezTo>
                  <a:pt x="19893" y="6941"/>
                  <a:pt x="20115" y="7510"/>
                  <a:pt x="20282" y="8094"/>
                </a:cubicBezTo>
                <a:cubicBezTo>
                  <a:pt x="20282" y="8094"/>
                  <a:pt x="21187" y="7835"/>
                  <a:pt x="21187" y="7835"/>
                </a:cubicBezTo>
                <a:close/>
                <a:moveTo>
                  <a:pt x="21553" y="9794"/>
                </a:moveTo>
                <a:lnTo>
                  <a:pt x="20617" y="9880"/>
                </a:lnTo>
                <a:cubicBezTo>
                  <a:pt x="20644" y="10182"/>
                  <a:pt x="20659" y="10492"/>
                  <a:pt x="20659" y="10800"/>
                </a:cubicBezTo>
                <a:cubicBezTo>
                  <a:pt x="20659" y="11099"/>
                  <a:pt x="20645" y="11401"/>
                  <a:pt x="20619" y="11699"/>
                </a:cubicBezTo>
                <a:lnTo>
                  <a:pt x="21556" y="11784"/>
                </a:lnTo>
                <a:cubicBezTo>
                  <a:pt x="21585" y="11458"/>
                  <a:pt x="21600" y="11127"/>
                  <a:pt x="21600" y="10800"/>
                </a:cubicBezTo>
                <a:cubicBezTo>
                  <a:pt x="21599" y="10462"/>
                  <a:pt x="21584" y="10124"/>
                  <a:pt x="21553" y="9794"/>
                </a:cubicBezTo>
                <a:moveTo>
                  <a:pt x="6893" y="20882"/>
                </a:moveTo>
                <a:cubicBezTo>
                  <a:pt x="7514" y="21121"/>
                  <a:pt x="8160" y="21302"/>
                  <a:pt x="8814" y="21422"/>
                </a:cubicBezTo>
                <a:lnTo>
                  <a:pt x="8985" y="20499"/>
                </a:lnTo>
                <a:cubicBezTo>
                  <a:pt x="8387" y="20389"/>
                  <a:pt x="7797" y="20223"/>
                  <a:pt x="7231" y="20006"/>
                </a:cubicBezTo>
                <a:cubicBezTo>
                  <a:pt x="7231" y="20006"/>
                  <a:pt x="6893" y="20882"/>
                  <a:pt x="6893" y="20882"/>
                </a:cubicBezTo>
                <a:close/>
                <a:moveTo>
                  <a:pt x="19632" y="15184"/>
                </a:moveTo>
                <a:lnTo>
                  <a:pt x="20474" y="15602"/>
                </a:lnTo>
                <a:cubicBezTo>
                  <a:pt x="20770" y="15008"/>
                  <a:pt x="21012" y="14383"/>
                  <a:pt x="21194" y="13743"/>
                </a:cubicBezTo>
                <a:lnTo>
                  <a:pt x="20288" y="13487"/>
                </a:lnTo>
                <a:cubicBezTo>
                  <a:pt x="20123" y="14071"/>
                  <a:pt x="19901" y="14642"/>
                  <a:pt x="19632" y="15184"/>
                </a:cubicBezTo>
                <a:moveTo>
                  <a:pt x="17446" y="18078"/>
                </a:moveTo>
                <a:lnTo>
                  <a:pt x="18081" y="18771"/>
                </a:lnTo>
                <a:cubicBezTo>
                  <a:pt x="18572" y="18323"/>
                  <a:pt x="19024" y="17827"/>
                  <a:pt x="19424" y="17297"/>
                </a:cubicBezTo>
                <a:lnTo>
                  <a:pt x="18672" y="16732"/>
                </a:lnTo>
                <a:cubicBezTo>
                  <a:pt x="18307" y="17216"/>
                  <a:pt x="17894" y="17669"/>
                  <a:pt x="17446" y="18078"/>
                </a:cubicBezTo>
                <a:moveTo>
                  <a:pt x="5546" y="2435"/>
                </a:moveTo>
                <a:lnTo>
                  <a:pt x="5048" y="1639"/>
                </a:lnTo>
                <a:cubicBezTo>
                  <a:pt x="4484" y="1991"/>
                  <a:pt x="3950" y="2397"/>
                  <a:pt x="3460" y="2846"/>
                </a:cubicBezTo>
                <a:lnTo>
                  <a:pt x="4096" y="3538"/>
                </a:lnTo>
                <a:cubicBezTo>
                  <a:pt x="4544" y="3127"/>
                  <a:pt x="5032" y="2756"/>
                  <a:pt x="5546" y="2435"/>
                </a:cubicBezTo>
                <a:moveTo>
                  <a:pt x="8924" y="1113"/>
                </a:moveTo>
                <a:lnTo>
                  <a:pt x="8748" y="190"/>
                </a:lnTo>
                <a:cubicBezTo>
                  <a:pt x="8093" y="315"/>
                  <a:pt x="7448" y="501"/>
                  <a:pt x="6830" y="743"/>
                </a:cubicBezTo>
                <a:lnTo>
                  <a:pt x="7173" y="1617"/>
                </a:lnTo>
                <a:cubicBezTo>
                  <a:pt x="7738" y="1396"/>
                  <a:pt x="8327" y="1226"/>
                  <a:pt x="8924" y="1113"/>
                </a:cubicBezTo>
                <a:moveTo>
                  <a:pt x="16473" y="1615"/>
                </a:moveTo>
                <a:cubicBezTo>
                  <a:pt x="15908" y="1264"/>
                  <a:pt x="15306" y="966"/>
                  <a:pt x="14686" y="726"/>
                </a:cubicBezTo>
                <a:lnTo>
                  <a:pt x="14347" y="1602"/>
                </a:lnTo>
                <a:cubicBezTo>
                  <a:pt x="14912" y="1821"/>
                  <a:pt x="15462" y="2094"/>
                  <a:pt x="15978" y="2413"/>
                </a:cubicBezTo>
                <a:cubicBezTo>
                  <a:pt x="15978" y="2413"/>
                  <a:pt x="16473" y="1615"/>
                  <a:pt x="16473" y="1615"/>
                </a:cubicBezTo>
                <a:close/>
                <a:moveTo>
                  <a:pt x="2873" y="4886"/>
                </a:moveTo>
                <a:lnTo>
                  <a:pt x="2120" y="4322"/>
                </a:lnTo>
                <a:cubicBezTo>
                  <a:pt x="1721" y="4854"/>
                  <a:pt x="1369" y="5424"/>
                  <a:pt x="1074" y="6018"/>
                </a:cubicBezTo>
                <a:lnTo>
                  <a:pt x="1917" y="6435"/>
                </a:lnTo>
                <a:cubicBezTo>
                  <a:pt x="2186" y="5892"/>
                  <a:pt x="2508" y="5371"/>
                  <a:pt x="2873" y="4886"/>
                </a:cubicBezTo>
                <a:moveTo>
                  <a:pt x="3510" y="18800"/>
                </a:moveTo>
                <a:cubicBezTo>
                  <a:pt x="4003" y="19247"/>
                  <a:pt x="4539" y="19650"/>
                  <a:pt x="5105" y="19997"/>
                </a:cubicBezTo>
                <a:lnTo>
                  <a:pt x="5599" y="19198"/>
                </a:lnTo>
                <a:cubicBezTo>
                  <a:pt x="5083" y="18881"/>
                  <a:pt x="4592" y="18513"/>
                  <a:pt x="4142" y="18105"/>
                </a:cubicBezTo>
                <a:cubicBezTo>
                  <a:pt x="4142" y="18105"/>
                  <a:pt x="3510" y="18800"/>
                  <a:pt x="3510" y="18800"/>
                </a:cubicBezTo>
                <a:close/>
                <a:moveTo>
                  <a:pt x="12594" y="1105"/>
                </a:moveTo>
                <a:lnTo>
                  <a:pt x="12765" y="182"/>
                </a:lnTo>
                <a:cubicBezTo>
                  <a:pt x="12115" y="61"/>
                  <a:pt x="11448" y="0"/>
                  <a:pt x="10788" y="0"/>
                </a:cubicBezTo>
                <a:lnTo>
                  <a:pt x="10787" y="0"/>
                </a:lnTo>
                <a:lnTo>
                  <a:pt x="10736" y="0"/>
                </a:lnTo>
                <a:lnTo>
                  <a:pt x="10779" y="940"/>
                </a:lnTo>
                <a:cubicBezTo>
                  <a:pt x="11389" y="940"/>
                  <a:pt x="12000" y="995"/>
                  <a:pt x="12594" y="1105"/>
                </a:cubicBezTo>
                <a:moveTo>
                  <a:pt x="1105" y="15642"/>
                </a:moveTo>
                <a:cubicBezTo>
                  <a:pt x="1403" y="16235"/>
                  <a:pt x="1759" y="16804"/>
                  <a:pt x="2161" y="17332"/>
                </a:cubicBezTo>
                <a:lnTo>
                  <a:pt x="2910" y="16763"/>
                </a:lnTo>
                <a:cubicBezTo>
                  <a:pt x="2542" y="16281"/>
                  <a:pt x="2218" y="15762"/>
                  <a:pt x="1945" y="15220"/>
                </a:cubicBezTo>
                <a:cubicBezTo>
                  <a:pt x="1945" y="15220"/>
                  <a:pt x="1105" y="15642"/>
                  <a:pt x="1105" y="15642"/>
                </a:cubicBezTo>
                <a:close/>
                <a:moveTo>
                  <a:pt x="1265" y="8133"/>
                </a:moveTo>
                <a:lnTo>
                  <a:pt x="359" y="7879"/>
                </a:lnTo>
                <a:cubicBezTo>
                  <a:pt x="179" y="8516"/>
                  <a:pt x="59" y="9176"/>
                  <a:pt x="0" y="9838"/>
                </a:cubicBezTo>
                <a:lnTo>
                  <a:pt x="938" y="9921"/>
                </a:lnTo>
                <a:cubicBezTo>
                  <a:pt x="991" y="9316"/>
                  <a:pt x="1101" y="8714"/>
                  <a:pt x="1265" y="8133"/>
                </a:cubicBezTo>
                <a:moveTo>
                  <a:pt x="943" y="11741"/>
                </a:moveTo>
                <a:lnTo>
                  <a:pt x="6" y="11829"/>
                </a:lnTo>
                <a:cubicBezTo>
                  <a:pt x="69" y="12492"/>
                  <a:pt x="194" y="13151"/>
                  <a:pt x="377" y="13786"/>
                </a:cubicBezTo>
                <a:lnTo>
                  <a:pt x="1281" y="13527"/>
                </a:lnTo>
                <a:cubicBezTo>
                  <a:pt x="1114" y="12946"/>
                  <a:pt x="1000" y="12346"/>
                  <a:pt x="943" y="1174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1" name="Shape 2721"/>
          <p:cNvSpPr/>
          <p:nvPr/>
        </p:nvSpPr>
        <p:spPr>
          <a:xfrm>
            <a:off x="4958110" y="9278448"/>
            <a:ext cx="556423" cy="5575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65" y="19991"/>
                </a:moveTo>
                <a:lnTo>
                  <a:pt x="14707" y="20866"/>
                </a:lnTo>
                <a:cubicBezTo>
                  <a:pt x="15328" y="20625"/>
                  <a:pt x="15928" y="20324"/>
                  <a:pt x="16492" y="19973"/>
                </a:cubicBezTo>
                <a:lnTo>
                  <a:pt x="15994" y="19176"/>
                </a:lnTo>
                <a:cubicBezTo>
                  <a:pt x="15479" y="19497"/>
                  <a:pt x="14931" y="19771"/>
                  <a:pt x="14365" y="19991"/>
                </a:cubicBezTo>
                <a:moveTo>
                  <a:pt x="10800" y="20661"/>
                </a:moveTo>
                <a:lnTo>
                  <a:pt x="10801" y="21600"/>
                </a:lnTo>
                <a:cubicBezTo>
                  <a:pt x="11469" y="21598"/>
                  <a:pt x="12137" y="21536"/>
                  <a:pt x="12788" y="21415"/>
                </a:cubicBezTo>
                <a:lnTo>
                  <a:pt x="12614" y="20491"/>
                </a:lnTo>
                <a:cubicBezTo>
                  <a:pt x="12020" y="20603"/>
                  <a:pt x="11409" y="20660"/>
                  <a:pt x="10800" y="20661"/>
                </a:cubicBezTo>
                <a:moveTo>
                  <a:pt x="11148" y="16559"/>
                </a:moveTo>
                <a:lnTo>
                  <a:pt x="15092" y="12624"/>
                </a:lnTo>
                <a:cubicBezTo>
                  <a:pt x="15181" y="12535"/>
                  <a:pt x="15236" y="12412"/>
                  <a:pt x="15236" y="12276"/>
                </a:cubicBezTo>
                <a:cubicBezTo>
                  <a:pt x="15236" y="12004"/>
                  <a:pt x="15015" y="11784"/>
                  <a:pt x="14743" y="11784"/>
                </a:cubicBezTo>
                <a:cubicBezTo>
                  <a:pt x="14607" y="11784"/>
                  <a:pt x="14483" y="11839"/>
                  <a:pt x="14395" y="11928"/>
                </a:cubicBezTo>
                <a:lnTo>
                  <a:pt x="11293" y="15024"/>
                </a:lnTo>
                <a:lnTo>
                  <a:pt x="11293" y="5389"/>
                </a:lnTo>
                <a:cubicBezTo>
                  <a:pt x="11293" y="5117"/>
                  <a:pt x="11072" y="4897"/>
                  <a:pt x="10800" y="4897"/>
                </a:cubicBezTo>
                <a:cubicBezTo>
                  <a:pt x="10528" y="4897"/>
                  <a:pt x="10307" y="5117"/>
                  <a:pt x="10307" y="5389"/>
                </a:cubicBezTo>
                <a:lnTo>
                  <a:pt x="10307" y="15024"/>
                </a:lnTo>
                <a:lnTo>
                  <a:pt x="7206" y="11928"/>
                </a:lnTo>
                <a:cubicBezTo>
                  <a:pt x="7117" y="11839"/>
                  <a:pt x="6993" y="11784"/>
                  <a:pt x="6857" y="11784"/>
                </a:cubicBezTo>
                <a:cubicBezTo>
                  <a:pt x="6585" y="11784"/>
                  <a:pt x="6364" y="12004"/>
                  <a:pt x="6364" y="12276"/>
                </a:cubicBezTo>
                <a:cubicBezTo>
                  <a:pt x="6364" y="12412"/>
                  <a:pt x="6419" y="12535"/>
                  <a:pt x="6508" y="12624"/>
                </a:cubicBezTo>
                <a:lnTo>
                  <a:pt x="10452" y="16559"/>
                </a:lnTo>
                <a:cubicBezTo>
                  <a:pt x="10541" y="16648"/>
                  <a:pt x="10664" y="16703"/>
                  <a:pt x="10800" y="16703"/>
                </a:cubicBezTo>
                <a:cubicBezTo>
                  <a:pt x="10936" y="16703"/>
                  <a:pt x="11059" y="16648"/>
                  <a:pt x="11148" y="16559"/>
                </a:cubicBezTo>
                <a:moveTo>
                  <a:pt x="18660" y="4854"/>
                </a:moveTo>
                <a:lnTo>
                  <a:pt x="19411" y="4287"/>
                </a:lnTo>
                <a:cubicBezTo>
                  <a:pt x="19011" y="3759"/>
                  <a:pt x="18558" y="3264"/>
                  <a:pt x="18065" y="2816"/>
                </a:cubicBezTo>
                <a:lnTo>
                  <a:pt x="17432" y="3510"/>
                </a:lnTo>
                <a:cubicBezTo>
                  <a:pt x="17882" y="3919"/>
                  <a:pt x="18295" y="4371"/>
                  <a:pt x="18660" y="4854"/>
                </a:cubicBezTo>
                <a:moveTo>
                  <a:pt x="6893" y="20882"/>
                </a:moveTo>
                <a:cubicBezTo>
                  <a:pt x="7514" y="21121"/>
                  <a:pt x="8160" y="21302"/>
                  <a:pt x="8814" y="21422"/>
                </a:cubicBezTo>
                <a:lnTo>
                  <a:pt x="8985" y="20499"/>
                </a:lnTo>
                <a:cubicBezTo>
                  <a:pt x="8387" y="20389"/>
                  <a:pt x="7797" y="20223"/>
                  <a:pt x="7231" y="20006"/>
                </a:cubicBezTo>
                <a:cubicBezTo>
                  <a:pt x="7231" y="20006"/>
                  <a:pt x="6893" y="20882"/>
                  <a:pt x="6893" y="20882"/>
                </a:cubicBezTo>
                <a:close/>
                <a:moveTo>
                  <a:pt x="21553" y="9794"/>
                </a:moveTo>
                <a:lnTo>
                  <a:pt x="20617" y="9880"/>
                </a:lnTo>
                <a:cubicBezTo>
                  <a:pt x="20644" y="10182"/>
                  <a:pt x="20659" y="10492"/>
                  <a:pt x="20659" y="10800"/>
                </a:cubicBezTo>
                <a:cubicBezTo>
                  <a:pt x="20659" y="11099"/>
                  <a:pt x="20645" y="11401"/>
                  <a:pt x="20619" y="11699"/>
                </a:cubicBezTo>
                <a:lnTo>
                  <a:pt x="21556" y="11784"/>
                </a:lnTo>
                <a:cubicBezTo>
                  <a:pt x="21585" y="11458"/>
                  <a:pt x="21600" y="11127"/>
                  <a:pt x="21600" y="10800"/>
                </a:cubicBezTo>
                <a:cubicBezTo>
                  <a:pt x="21599" y="10462"/>
                  <a:pt x="21584" y="10124"/>
                  <a:pt x="21553" y="9794"/>
                </a:cubicBezTo>
                <a:moveTo>
                  <a:pt x="21187" y="7835"/>
                </a:moveTo>
                <a:cubicBezTo>
                  <a:pt x="21005" y="7197"/>
                  <a:pt x="20761" y="6573"/>
                  <a:pt x="20463" y="5978"/>
                </a:cubicBezTo>
                <a:lnTo>
                  <a:pt x="19622" y="6399"/>
                </a:lnTo>
                <a:cubicBezTo>
                  <a:pt x="19893" y="6941"/>
                  <a:pt x="20115" y="7510"/>
                  <a:pt x="20282" y="8094"/>
                </a:cubicBezTo>
                <a:cubicBezTo>
                  <a:pt x="20282" y="8094"/>
                  <a:pt x="21187" y="7835"/>
                  <a:pt x="21187" y="7835"/>
                </a:cubicBezTo>
                <a:close/>
                <a:moveTo>
                  <a:pt x="19632" y="15184"/>
                </a:moveTo>
                <a:lnTo>
                  <a:pt x="20474" y="15602"/>
                </a:lnTo>
                <a:cubicBezTo>
                  <a:pt x="20770" y="15008"/>
                  <a:pt x="21012" y="14383"/>
                  <a:pt x="21194" y="13743"/>
                </a:cubicBezTo>
                <a:lnTo>
                  <a:pt x="20288" y="13487"/>
                </a:lnTo>
                <a:cubicBezTo>
                  <a:pt x="20123" y="14071"/>
                  <a:pt x="19901" y="14642"/>
                  <a:pt x="19632" y="15184"/>
                </a:cubicBezTo>
                <a:moveTo>
                  <a:pt x="17446" y="18078"/>
                </a:moveTo>
                <a:lnTo>
                  <a:pt x="18081" y="18771"/>
                </a:lnTo>
                <a:cubicBezTo>
                  <a:pt x="18572" y="18323"/>
                  <a:pt x="19024" y="17827"/>
                  <a:pt x="19424" y="17297"/>
                </a:cubicBezTo>
                <a:lnTo>
                  <a:pt x="18672" y="16732"/>
                </a:lnTo>
                <a:cubicBezTo>
                  <a:pt x="18307" y="17216"/>
                  <a:pt x="17894" y="17669"/>
                  <a:pt x="17446" y="18078"/>
                </a:cubicBezTo>
                <a:moveTo>
                  <a:pt x="8924" y="1113"/>
                </a:moveTo>
                <a:lnTo>
                  <a:pt x="8748" y="190"/>
                </a:lnTo>
                <a:cubicBezTo>
                  <a:pt x="8093" y="315"/>
                  <a:pt x="7448" y="501"/>
                  <a:pt x="6830" y="743"/>
                </a:cubicBezTo>
                <a:lnTo>
                  <a:pt x="7173" y="1617"/>
                </a:lnTo>
                <a:cubicBezTo>
                  <a:pt x="7738" y="1396"/>
                  <a:pt x="8327" y="1226"/>
                  <a:pt x="8924" y="1113"/>
                </a:cubicBezTo>
                <a:moveTo>
                  <a:pt x="12594" y="1105"/>
                </a:moveTo>
                <a:lnTo>
                  <a:pt x="12765" y="182"/>
                </a:lnTo>
                <a:cubicBezTo>
                  <a:pt x="12115" y="61"/>
                  <a:pt x="11448" y="0"/>
                  <a:pt x="10788" y="0"/>
                </a:cubicBezTo>
                <a:lnTo>
                  <a:pt x="10787" y="0"/>
                </a:lnTo>
                <a:lnTo>
                  <a:pt x="10736" y="0"/>
                </a:lnTo>
                <a:lnTo>
                  <a:pt x="10779" y="940"/>
                </a:lnTo>
                <a:cubicBezTo>
                  <a:pt x="11389" y="940"/>
                  <a:pt x="12000" y="995"/>
                  <a:pt x="12594" y="1105"/>
                </a:cubicBezTo>
                <a:moveTo>
                  <a:pt x="16473" y="1615"/>
                </a:moveTo>
                <a:cubicBezTo>
                  <a:pt x="15908" y="1264"/>
                  <a:pt x="15306" y="966"/>
                  <a:pt x="14686" y="726"/>
                </a:cubicBezTo>
                <a:lnTo>
                  <a:pt x="14347" y="1602"/>
                </a:lnTo>
                <a:cubicBezTo>
                  <a:pt x="14912" y="1821"/>
                  <a:pt x="15462" y="2094"/>
                  <a:pt x="15978" y="2413"/>
                </a:cubicBezTo>
                <a:cubicBezTo>
                  <a:pt x="15978" y="2413"/>
                  <a:pt x="16473" y="1615"/>
                  <a:pt x="16473" y="1615"/>
                </a:cubicBezTo>
                <a:close/>
                <a:moveTo>
                  <a:pt x="3510" y="18800"/>
                </a:moveTo>
                <a:cubicBezTo>
                  <a:pt x="4003" y="19247"/>
                  <a:pt x="4539" y="19650"/>
                  <a:pt x="5105" y="19997"/>
                </a:cubicBezTo>
                <a:lnTo>
                  <a:pt x="5599" y="19198"/>
                </a:lnTo>
                <a:cubicBezTo>
                  <a:pt x="5083" y="18881"/>
                  <a:pt x="4592" y="18513"/>
                  <a:pt x="4142" y="18105"/>
                </a:cubicBezTo>
                <a:cubicBezTo>
                  <a:pt x="4142" y="18105"/>
                  <a:pt x="3510" y="18800"/>
                  <a:pt x="3510" y="18800"/>
                </a:cubicBezTo>
                <a:close/>
                <a:moveTo>
                  <a:pt x="2873" y="4886"/>
                </a:moveTo>
                <a:lnTo>
                  <a:pt x="2120" y="4322"/>
                </a:lnTo>
                <a:cubicBezTo>
                  <a:pt x="1721" y="4854"/>
                  <a:pt x="1369" y="5424"/>
                  <a:pt x="1074" y="6018"/>
                </a:cubicBezTo>
                <a:lnTo>
                  <a:pt x="1917" y="6435"/>
                </a:lnTo>
                <a:cubicBezTo>
                  <a:pt x="2186" y="5892"/>
                  <a:pt x="2508" y="5371"/>
                  <a:pt x="2873" y="4886"/>
                </a:cubicBezTo>
                <a:moveTo>
                  <a:pt x="5546" y="2435"/>
                </a:moveTo>
                <a:lnTo>
                  <a:pt x="5048" y="1639"/>
                </a:lnTo>
                <a:cubicBezTo>
                  <a:pt x="4484" y="1991"/>
                  <a:pt x="3950" y="2397"/>
                  <a:pt x="3460" y="2846"/>
                </a:cubicBezTo>
                <a:lnTo>
                  <a:pt x="4096" y="3538"/>
                </a:lnTo>
                <a:cubicBezTo>
                  <a:pt x="4544" y="3127"/>
                  <a:pt x="5032" y="2756"/>
                  <a:pt x="5546" y="2435"/>
                </a:cubicBezTo>
                <a:moveTo>
                  <a:pt x="1105" y="15642"/>
                </a:moveTo>
                <a:cubicBezTo>
                  <a:pt x="1403" y="16235"/>
                  <a:pt x="1759" y="16804"/>
                  <a:pt x="2161" y="17332"/>
                </a:cubicBezTo>
                <a:lnTo>
                  <a:pt x="2910" y="16763"/>
                </a:lnTo>
                <a:cubicBezTo>
                  <a:pt x="2542" y="16281"/>
                  <a:pt x="2218" y="15762"/>
                  <a:pt x="1945" y="15220"/>
                </a:cubicBezTo>
                <a:cubicBezTo>
                  <a:pt x="1945" y="15220"/>
                  <a:pt x="1105" y="15642"/>
                  <a:pt x="1105" y="15642"/>
                </a:cubicBezTo>
                <a:close/>
                <a:moveTo>
                  <a:pt x="1265" y="8133"/>
                </a:moveTo>
                <a:lnTo>
                  <a:pt x="359" y="7879"/>
                </a:lnTo>
                <a:cubicBezTo>
                  <a:pt x="179" y="8516"/>
                  <a:pt x="59" y="9176"/>
                  <a:pt x="0" y="9838"/>
                </a:cubicBezTo>
                <a:lnTo>
                  <a:pt x="938" y="9921"/>
                </a:lnTo>
                <a:cubicBezTo>
                  <a:pt x="991" y="9316"/>
                  <a:pt x="1101" y="8714"/>
                  <a:pt x="1265" y="8133"/>
                </a:cubicBezTo>
                <a:moveTo>
                  <a:pt x="943" y="11741"/>
                </a:moveTo>
                <a:lnTo>
                  <a:pt x="6" y="11829"/>
                </a:lnTo>
                <a:cubicBezTo>
                  <a:pt x="69" y="12492"/>
                  <a:pt x="194" y="13151"/>
                  <a:pt x="377" y="13786"/>
                </a:cubicBezTo>
                <a:lnTo>
                  <a:pt x="1281" y="13527"/>
                </a:lnTo>
                <a:cubicBezTo>
                  <a:pt x="1114" y="12946"/>
                  <a:pt x="1000" y="12346"/>
                  <a:pt x="943" y="1174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2" name="Shape 2722"/>
          <p:cNvSpPr/>
          <p:nvPr/>
        </p:nvSpPr>
        <p:spPr>
          <a:xfrm>
            <a:off x="6024633" y="9278448"/>
            <a:ext cx="556411" cy="5575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61"/>
                </a:moveTo>
                <a:lnTo>
                  <a:pt x="10802" y="21600"/>
                </a:lnTo>
                <a:cubicBezTo>
                  <a:pt x="11469" y="21598"/>
                  <a:pt x="12137" y="21536"/>
                  <a:pt x="12788" y="21415"/>
                </a:cubicBezTo>
                <a:lnTo>
                  <a:pt x="12615" y="20491"/>
                </a:lnTo>
                <a:cubicBezTo>
                  <a:pt x="12020" y="20603"/>
                  <a:pt x="11409" y="20660"/>
                  <a:pt x="10800" y="20661"/>
                </a:cubicBezTo>
                <a:moveTo>
                  <a:pt x="14365" y="19991"/>
                </a:moveTo>
                <a:lnTo>
                  <a:pt x="14707" y="20866"/>
                </a:lnTo>
                <a:cubicBezTo>
                  <a:pt x="15328" y="20625"/>
                  <a:pt x="15928" y="20324"/>
                  <a:pt x="16492" y="19973"/>
                </a:cubicBezTo>
                <a:lnTo>
                  <a:pt x="15994" y="19176"/>
                </a:lnTo>
                <a:cubicBezTo>
                  <a:pt x="15479" y="19497"/>
                  <a:pt x="14932" y="19771"/>
                  <a:pt x="14365" y="19991"/>
                </a:cubicBezTo>
                <a:moveTo>
                  <a:pt x="11293" y="16211"/>
                </a:moveTo>
                <a:lnTo>
                  <a:pt x="11293" y="6576"/>
                </a:lnTo>
                <a:lnTo>
                  <a:pt x="14395" y="9672"/>
                </a:lnTo>
                <a:cubicBezTo>
                  <a:pt x="14484" y="9761"/>
                  <a:pt x="14607" y="9816"/>
                  <a:pt x="14743" y="9816"/>
                </a:cubicBezTo>
                <a:cubicBezTo>
                  <a:pt x="15016" y="9816"/>
                  <a:pt x="15236" y="9596"/>
                  <a:pt x="15236" y="9324"/>
                </a:cubicBezTo>
                <a:cubicBezTo>
                  <a:pt x="15236" y="9189"/>
                  <a:pt x="15181" y="9065"/>
                  <a:pt x="15092" y="8976"/>
                </a:cubicBezTo>
                <a:lnTo>
                  <a:pt x="11149" y="5041"/>
                </a:lnTo>
                <a:cubicBezTo>
                  <a:pt x="11059" y="4952"/>
                  <a:pt x="10936" y="4897"/>
                  <a:pt x="10800" y="4897"/>
                </a:cubicBezTo>
                <a:cubicBezTo>
                  <a:pt x="10664" y="4897"/>
                  <a:pt x="10541" y="4952"/>
                  <a:pt x="10452" y="5041"/>
                </a:cubicBezTo>
                <a:lnTo>
                  <a:pt x="6509" y="8976"/>
                </a:lnTo>
                <a:cubicBezTo>
                  <a:pt x="6419" y="9065"/>
                  <a:pt x="6364" y="9189"/>
                  <a:pt x="6364" y="9324"/>
                </a:cubicBezTo>
                <a:cubicBezTo>
                  <a:pt x="6364" y="9596"/>
                  <a:pt x="6584" y="9816"/>
                  <a:pt x="6857" y="9816"/>
                </a:cubicBezTo>
                <a:cubicBezTo>
                  <a:pt x="6993" y="9816"/>
                  <a:pt x="7116" y="9761"/>
                  <a:pt x="7206" y="9672"/>
                </a:cubicBezTo>
                <a:lnTo>
                  <a:pt x="10307" y="6576"/>
                </a:lnTo>
                <a:lnTo>
                  <a:pt x="10307" y="16211"/>
                </a:lnTo>
                <a:cubicBezTo>
                  <a:pt x="10307" y="16483"/>
                  <a:pt x="10528" y="16703"/>
                  <a:pt x="10800" y="16703"/>
                </a:cubicBezTo>
                <a:cubicBezTo>
                  <a:pt x="11072" y="16703"/>
                  <a:pt x="11293" y="16483"/>
                  <a:pt x="11293" y="16211"/>
                </a:cubicBezTo>
                <a:moveTo>
                  <a:pt x="17446" y="18078"/>
                </a:moveTo>
                <a:lnTo>
                  <a:pt x="18081" y="18770"/>
                </a:lnTo>
                <a:cubicBezTo>
                  <a:pt x="18572" y="18323"/>
                  <a:pt x="19024" y="17827"/>
                  <a:pt x="19424" y="17297"/>
                </a:cubicBezTo>
                <a:lnTo>
                  <a:pt x="18673" y="16732"/>
                </a:lnTo>
                <a:cubicBezTo>
                  <a:pt x="18307" y="17216"/>
                  <a:pt x="17894" y="17669"/>
                  <a:pt x="17446" y="18078"/>
                </a:cubicBezTo>
                <a:moveTo>
                  <a:pt x="21553" y="9794"/>
                </a:moveTo>
                <a:lnTo>
                  <a:pt x="20617" y="9880"/>
                </a:lnTo>
                <a:cubicBezTo>
                  <a:pt x="20645" y="10182"/>
                  <a:pt x="20659" y="10492"/>
                  <a:pt x="20659" y="10800"/>
                </a:cubicBezTo>
                <a:cubicBezTo>
                  <a:pt x="20659" y="11099"/>
                  <a:pt x="20646" y="11401"/>
                  <a:pt x="20619" y="11699"/>
                </a:cubicBezTo>
                <a:lnTo>
                  <a:pt x="21556" y="11784"/>
                </a:lnTo>
                <a:cubicBezTo>
                  <a:pt x="21586" y="11458"/>
                  <a:pt x="21600" y="11127"/>
                  <a:pt x="21600" y="10800"/>
                </a:cubicBezTo>
                <a:cubicBezTo>
                  <a:pt x="21600" y="10462"/>
                  <a:pt x="21584" y="10124"/>
                  <a:pt x="21553" y="9794"/>
                </a:cubicBezTo>
                <a:moveTo>
                  <a:pt x="18660" y="4853"/>
                </a:moveTo>
                <a:lnTo>
                  <a:pt x="19412" y="4287"/>
                </a:lnTo>
                <a:cubicBezTo>
                  <a:pt x="19011" y="3759"/>
                  <a:pt x="18558" y="3264"/>
                  <a:pt x="18066" y="2816"/>
                </a:cubicBezTo>
                <a:lnTo>
                  <a:pt x="17432" y="3510"/>
                </a:lnTo>
                <a:cubicBezTo>
                  <a:pt x="17882" y="3919"/>
                  <a:pt x="18295" y="4371"/>
                  <a:pt x="18660" y="4853"/>
                </a:cubicBezTo>
                <a:moveTo>
                  <a:pt x="6893" y="20882"/>
                </a:moveTo>
                <a:cubicBezTo>
                  <a:pt x="7513" y="21121"/>
                  <a:pt x="8160" y="21302"/>
                  <a:pt x="8814" y="21422"/>
                </a:cubicBezTo>
                <a:lnTo>
                  <a:pt x="8984" y="20499"/>
                </a:lnTo>
                <a:cubicBezTo>
                  <a:pt x="8387" y="20389"/>
                  <a:pt x="7797" y="20223"/>
                  <a:pt x="7231" y="20006"/>
                </a:cubicBezTo>
                <a:cubicBezTo>
                  <a:pt x="7231" y="20006"/>
                  <a:pt x="6893" y="20882"/>
                  <a:pt x="6893" y="20882"/>
                </a:cubicBezTo>
                <a:close/>
                <a:moveTo>
                  <a:pt x="19632" y="15184"/>
                </a:moveTo>
                <a:lnTo>
                  <a:pt x="20474" y="15602"/>
                </a:lnTo>
                <a:cubicBezTo>
                  <a:pt x="20770" y="15008"/>
                  <a:pt x="21013" y="14383"/>
                  <a:pt x="21194" y="13743"/>
                </a:cubicBezTo>
                <a:lnTo>
                  <a:pt x="20288" y="13487"/>
                </a:lnTo>
                <a:cubicBezTo>
                  <a:pt x="20123" y="14071"/>
                  <a:pt x="19902" y="14642"/>
                  <a:pt x="19632" y="15184"/>
                </a:cubicBezTo>
                <a:moveTo>
                  <a:pt x="21187" y="7835"/>
                </a:moveTo>
                <a:cubicBezTo>
                  <a:pt x="21005" y="7197"/>
                  <a:pt x="20761" y="6573"/>
                  <a:pt x="20464" y="5978"/>
                </a:cubicBezTo>
                <a:lnTo>
                  <a:pt x="19622" y="6399"/>
                </a:lnTo>
                <a:cubicBezTo>
                  <a:pt x="19893" y="6941"/>
                  <a:pt x="20115" y="7510"/>
                  <a:pt x="20282" y="8094"/>
                </a:cubicBezTo>
                <a:cubicBezTo>
                  <a:pt x="20282" y="8094"/>
                  <a:pt x="21187" y="7835"/>
                  <a:pt x="21187" y="7835"/>
                </a:cubicBezTo>
                <a:close/>
                <a:moveTo>
                  <a:pt x="8923" y="1113"/>
                </a:moveTo>
                <a:lnTo>
                  <a:pt x="8747" y="190"/>
                </a:lnTo>
                <a:cubicBezTo>
                  <a:pt x="8093" y="315"/>
                  <a:pt x="7448" y="501"/>
                  <a:pt x="6829" y="743"/>
                </a:cubicBezTo>
                <a:lnTo>
                  <a:pt x="7174" y="1617"/>
                </a:lnTo>
                <a:cubicBezTo>
                  <a:pt x="7737" y="1396"/>
                  <a:pt x="8326" y="1226"/>
                  <a:pt x="8923" y="1113"/>
                </a:cubicBezTo>
                <a:moveTo>
                  <a:pt x="16474" y="1615"/>
                </a:moveTo>
                <a:cubicBezTo>
                  <a:pt x="15907" y="1264"/>
                  <a:pt x="15307" y="966"/>
                  <a:pt x="14687" y="726"/>
                </a:cubicBezTo>
                <a:lnTo>
                  <a:pt x="14346" y="1602"/>
                </a:lnTo>
                <a:cubicBezTo>
                  <a:pt x="14913" y="1821"/>
                  <a:pt x="15462" y="2094"/>
                  <a:pt x="15978" y="2413"/>
                </a:cubicBezTo>
                <a:cubicBezTo>
                  <a:pt x="15978" y="2413"/>
                  <a:pt x="16474" y="1615"/>
                  <a:pt x="16474" y="1615"/>
                </a:cubicBezTo>
                <a:close/>
                <a:moveTo>
                  <a:pt x="2873" y="4886"/>
                </a:moveTo>
                <a:lnTo>
                  <a:pt x="2120" y="4322"/>
                </a:lnTo>
                <a:cubicBezTo>
                  <a:pt x="1720" y="4853"/>
                  <a:pt x="1368" y="5424"/>
                  <a:pt x="1074" y="6018"/>
                </a:cubicBezTo>
                <a:lnTo>
                  <a:pt x="1917" y="6435"/>
                </a:lnTo>
                <a:cubicBezTo>
                  <a:pt x="2186" y="5892"/>
                  <a:pt x="2508" y="5371"/>
                  <a:pt x="2873" y="4886"/>
                </a:cubicBezTo>
                <a:moveTo>
                  <a:pt x="3509" y="18800"/>
                </a:moveTo>
                <a:cubicBezTo>
                  <a:pt x="4003" y="19247"/>
                  <a:pt x="4539" y="19650"/>
                  <a:pt x="5104" y="19997"/>
                </a:cubicBezTo>
                <a:lnTo>
                  <a:pt x="5598" y="19198"/>
                </a:lnTo>
                <a:cubicBezTo>
                  <a:pt x="5082" y="18881"/>
                  <a:pt x="4592" y="18513"/>
                  <a:pt x="4142" y="18105"/>
                </a:cubicBezTo>
                <a:cubicBezTo>
                  <a:pt x="4142" y="18105"/>
                  <a:pt x="3509" y="18800"/>
                  <a:pt x="3509" y="18800"/>
                </a:cubicBezTo>
                <a:close/>
                <a:moveTo>
                  <a:pt x="12594" y="1105"/>
                </a:moveTo>
                <a:lnTo>
                  <a:pt x="12765" y="182"/>
                </a:lnTo>
                <a:cubicBezTo>
                  <a:pt x="12116" y="61"/>
                  <a:pt x="11448" y="0"/>
                  <a:pt x="10788" y="0"/>
                </a:cubicBezTo>
                <a:lnTo>
                  <a:pt x="10787" y="0"/>
                </a:lnTo>
                <a:lnTo>
                  <a:pt x="10736" y="0"/>
                </a:lnTo>
                <a:lnTo>
                  <a:pt x="10779" y="940"/>
                </a:lnTo>
                <a:cubicBezTo>
                  <a:pt x="11389" y="940"/>
                  <a:pt x="12000" y="995"/>
                  <a:pt x="12594" y="1105"/>
                </a:cubicBezTo>
                <a:moveTo>
                  <a:pt x="1104" y="15642"/>
                </a:moveTo>
                <a:cubicBezTo>
                  <a:pt x="1403" y="16235"/>
                  <a:pt x="1758" y="16804"/>
                  <a:pt x="2161" y="17332"/>
                </a:cubicBezTo>
                <a:lnTo>
                  <a:pt x="2910" y="16763"/>
                </a:lnTo>
                <a:cubicBezTo>
                  <a:pt x="2542" y="16281"/>
                  <a:pt x="2218" y="15762"/>
                  <a:pt x="1945" y="15220"/>
                </a:cubicBezTo>
                <a:cubicBezTo>
                  <a:pt x="1945" y="15220"/>
                  <a:pt x="1104" y="15642"/>
                  <a:pt x="1104" y="15642"/>
                </a:cubicBezTo>
                <a:close/>
                <a:moveTo>
                  <a:pt x="5546" y="2435"/>
                </a:moveTo>
                <a:lnTo>
                  <a:pt x="5047" y="1639"/>
                </a:lnTo>
                <a:cubicBezTo>
                  <a:pt x="4484" y="1991"/>
                  <a:pt x="3950" y="2397"/>
                  <a:pt x="3460" y="2846"/>
                </a:cubicBezTo>
                <a:lnTo>
                  <a:pt x="4096" y="3538"/>
                </a:lnTo>
                <a:cubicBezTo>
                  <a:pt x="4544" y="3127"/>
                  <a:pt x="5031" y="2756"/>
                  <a:pt x="5546" y="2435"/>
                </a:cubicBezTo>
                <a:moveTo>
                  <a:pt x="1264" y="8133"/>
                </a:moveTo>
                <a:lnTo>
                  <a:pt x="358" y="7879"/>
                </a:lnTo>
                <a:cubicBezTo>
                  <a:pt x="179" y="8516"/>
                  <a:pt x="59" y="9176"/>
                  <a:pt x="0" y="9838"/>
                </a:cubicBezTo>
                <a:lnTo>
                  <a:pt x="938" y="9921"/>
                </a:lnTo>
                <a:cubicBezTo>
                  <a:pt x="991" y="9317"/>
                  <a:pt x="1101" y="8714"/>
                  <a:pt x="1264" y="8133"/>
                </a:cubicBezTo>
                <a:moveTo>
                  <a:pt x="942" y="11741"/>
                </a:moveTo>
                <a:lnTo>
                  <a:pt x="6" y="11829"/>
                </a:lnTo>
                <a:cubicBezTo>
                  <a:pt x="69" y="12492"/>
                  <a:pt x="194" y="13151"/>
                  <a:pt x="377" y="13786"/>
                </a:cubicBezTo>
                <a:lnTo>
                  <a:pt x="1281" y="13527"/>
                </a:lnTo>
                <a:cubicBezTo>
                  <a:pt x="1114" y="12946"/>
                  <a:pt x="1000" y="12346"/>
                  <a:pt x="942" y="1174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3" name="Shape 2723"/>
          <p:cNvSpPr/>
          <p:nvPr/>
        </p:nvSpPr>
        <p:spPr>
          <a:xfrm>
            <a:off x="7091154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8345" y="10309"/>
                </a:moveTo>
                <a:lnTo>
                  <a:pt x="7899" y="10309"/>
                </a:lnTo>
                <a:cubicBezTo>
                  <a:pt x="7974" y="9863"/>
                  <a:pt x="8153" y="9453"/>
                  <a:pt x="8405" y="9099"/>
                </a:cubicBezTo>
                <a:lnTo>
                  <a:pt x="8717" y="9412"/>
                </a:lnTo>
                <a:cubicBezTo>
                  <a:pt x="8909" y="9604"/>
                  <a:pt x="9220" y="9604"/>
                  <a:pt x="9412" y="9412"/>
                </a:cubicBezTo>
                <a:cubicBezTo>
                  <a:pt x="9603" y="9220"/>
                  <a:pt x="9603" y="8909"/>
                  <a:pt x="9412" y="8717"/>
                </a:cubicBezTo>
                <a:lnTo>
                  <a:pt x="9101" y="8407"/>
                </a:lnTo>
                <a:cubicBezTo>
                  <a:pt x="9454" y="8157"/>
                  <a:pt x="9864" y="7979"/>
                  <a:pt x="10309" y="7904"/>
                </a:cubicBezTo>
                <a:lnTo>
                  <a:pt x="10309" y="8345"/>
                </a:lnTo>
                <a:cubicBezTo>
                  <a:pt x="10309" y="8617"/>
                  <a:pt x="10529" y="8836"/>
                  <a:pt x="10800" y="8836"/>
                </a:cubicBezTo>
                <a:cubicBezTo>
                  <a:pt x="11071" y="8836"/>
                  <a:pt x="11291" y="8617"/>
                  <a:pt x="11291" y="8345"/>
                </a:cubicBezTo>
                <a:lnTo>
                  <a:pt x="11291" y="7904"/>
                </a:lnTo>
                <a:cubicBezTo>
                  <a:pt x="11737" y="7979"/>
                  <a:pt x="12146" y="8157"/>
                  <a:pt x="12499" y="8407"/>
                </a:cubicBezTo>
                <a:lnTo>
                  <a:pt x="12188" y="8717"/>
                </a:lnTo>
                <a:cubicBezTo>
                  <a:pt x="11997" y="8909"/>
                  <a:pt x="11997" y="9220"/>
                  <a:pt x="12188" y="9412"/>
                </a:cubicBezTo>
                <a:cubicBezTo>
                  <a:pt x="12380" y="9604"/>
                  <a:pt x="12691" y="9604"/>
                  <a:pt x="12883" y="9412"/>
                </a:cubicBezTo>
                <a:lnTo>
                  <a:pt x="13195" y="9099"/>
                </a:lnTo>
                <a:cubicBezTo>
                  <a:pt x="13447" y="9453"/>
                  <a:pt x="13626" y="9863"/>
                  <a:pt x="13701" y="10309"/>
                </a:cubicBezTo>
                <a:lnTo>
                  <a:pt x="13255" y="10309"/>
                </a:lnTo>
                <a:cubicBezTo>
                  <a:pt x="12983" y="10309"/>
                  <a:pt x="12764" y="10529"/>
                  <a:pt x="12764" y="10800"/>
                </a:cubicBezTo>
                <a:cubicBezTo>
                  <a:pt x="12764" y="11071"/>
                  <a:pt x="12983" y="11291"/>
                  <a:pt x="13255" y="11291"/>
                </a:cubicBezTo>
                <a:lnTo>
                  <a:pt x="13701" y="11291"/>
                </a:lnTo>
                <a:cubicBezTo>
                  <a:pt x="13626" y="11738"/>
                  <a:pt x="13447" y="12147"/>
                  <a:pt x="13195" y="12501"/>
                </a:cubicBezTo>
                <a:lnTo>
                  <a:pt x="12883" y="12188"/>
                </a:lnTo>
                <a:cubicBezTo>
                  <a:pt x="12691" y="11997"/>
                  <a:pt x="12380" y="11997"/>
                  <a:pt x="12188" y="12188"/>
                </a:cubicBezTo>
                <a:cubicBezTo>
                  <a:pt x="11997" y="12380"/>
                  <a:pt x="11997" y="12691"/>
                  <a:pt x="12188" y="12883"/>
                </a:cubicBezTo>
                <a:lnTo>
                  <a:pt x="12499" y="13193"/>
                </a:lnTo>
                <a:cubicBezTo>
                  <a:pt x="12146" y="13444"/>
                  <a:pt x="11737" y="13621"/>
                  <a:pt x="11291" y="13696"/>
                </a:cubicBezTo>
                <a:lnTo>
                  <a:pt x="11291" y="13255"/>
                </a:lnTo>
                <a:cubicBezTo>
                  <a:pt x="11291" y="12983"/>
                  <a:pt x="11071" y="12764"/>
                  <a:pt x="10800" y="12764"/>
                </a:cubicBezTo>
                <a:cubicBezTo>
                  <a:pt x="10529" y="12764"/>
                  <a:pt x="10309" y="12983"/>
                  <a:pt x="10309" y="13255"/>
                </a:cubicBezTo>
                <a:lnTo>
                  <a:pt x="10309" y="13696"/>
                </a:lnTo>
                <a:cubicBezTo>
                  <a:pt x="9864" y="13621"/>
                  <a:pt x="9454" y="13444"/>
                  <a:pt x="9101" y="13193"/>
                </a:cubicBezTo>
                <a:lnTo>
                  <a:pt x="9412" y="12883"/>
                </a:lnTo>
                <a:cubicBezTo>
                  <a:pt x="9603" y="12691"/>
                  <a:pt x="9603" y="12380"/>
                  <a:pt x="9412" y="12188"/>
                </a:cubicBezTo>
                <a:cubicBezTo>
                  <a:pt x="9220" y="11997"/>
                  <a:pt x="8909" y="11997"/>
                  <a:pt x="8717" y="12188"/>
                </a:cubicBezTo>
                <a:lnTo>
                  <a:pt x="8405" y="12501"/>
                </a:lnTo>
                <a:cubicBezTo>
                  <a:pt x="8153" y="12147"/>
                  <a:pt x="7974" y="11738"/>
                  <a:pt x="7899" y="11291"/>
                </a:cubicBezTo>
                <a:lnTo>
                  <a:pt x="8345" y="11291"/>
                </a:lnTo>
                <a:cubicBezTo>
                  <a:pt x="8617" y="11291"/>
                  <a:pt x="8836" y="11071"/>
                  <a:pt x="8836" y="10800"/>
                </a:cubicBezTo>
                <a:cubicBezTo>
                  <a:pt x="8836" y="10529"/>
                  <a:pt x="8617" y="10309"/>
                  <a:pt x="8345" y="10309"/>
                </a:cubicBezTo>
                <a:moveTo>
                  <a:pt x="8023" y="13577"/>
                </a:moveTo>
                <a:lnTo>
                  <a:pt x="8023" y="13578"/>
                </a:lnTo>
                <a:cubicBezTo>
                  <a:pt x="8734" y="14288"/>
                  <a:pt x="9716" y="14727"/>
                  <a:pt x="10800" y="14727"/>
                </a:cubicBezTo>
                <a:cubicBezTo>
                  <a:pt x="11884" y="14727"/>
                  <a:pt x="12866" y="14288"/>
                  <a:pt x="13577" y="13578"/>
                </a:cubicBezTo>
                <a:lnTo>
                  <a:pt x="13577" y="13577"/>
                </a:lnTo>
                <a:lnTo>
                  <a:pt x="13577" y="13577"/>
                </a:lnTo>
                <a:cubicBezTo>
                  <a:pt x="14288" y="12866"/>
                  <a:pt x="14727" y="11884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  <a:cubicBezTo>
                  <a:pt x="8631" y="6873"/>
                  <a:pt x="6873" y="8631"/>
                  <a:pt x="6873" y="10800"/>
                </a:cubicBezTo>
                <a:cubicBezTo>
                  <a:pt x="6873" y="11884"/>
                  <a:pt x="7311" y="12866"/>
                  <a:pt x="8023" y="13577"/>
                </a:cubicBezTo>
                <a:cubicBezTo>
                  <a:pt x="8023" y="13577"/>
                  <a:pt x="8023" y="13577"/>
                  <a:pt x="8023" y="13577"/>
                </a:cubicBezTo>
                <a:close/>
                <a:moveTo>
                  <a:pt x="10800" y="11782"/>
                </a:moveTo>
                <a:cubicBezTo>
                  <a:pt x="11342" y="11782"/>
                  <a:pt x="11782" y="11342"/>
                  <a:pt x="11782" y="10800"/>
                </a:cubicBezTo>
                <a:cubicBezTo>
                  <a:pt x="11782" y="10258"/>
                  <a:pt x="11342" y="9818"/>
                  <a:pt x="10800" y="9818"/>
                </a:cubicBezTo>
                <a:cubicBezTo>
                  <a:pt x="10258" y="9818"/>
                  <a:pt x="9818" y="10258"/>
                  <a:pt x="9818" y="10800"/>
                </a:cubicBezTo>
                <a:cubicBezTo>
                  <a:pt x="9818" y="11342"/>
                  <a:pt x="10258" y="11782"/>
                  <a:pt x="10800" y="11782"/>
                </a:cubicBezTo>
                <a:moveTo>
                  <a:pt x="17673" y="5891"/>
                </a:moveTo>
                <a:cubicBezTo>
                  <a:pt x="17131" y="5891"/>
                  <a:pt x="16691" y="6331"/>
                  <a:pt x="16691" y="6873"/>
                </a:cubicBezTo>
                <a:lnTo>
                  <a:pt x="16691" y="7855"/>
                </a:lnTo>
                <a:cubicBezTo>
                  <a:pt x="16691" y="8396"/>
                  <a:pt x="17131" y="8836"/>
                  <a:pt x="17673" y="8836"/>
                </a:cubicBezTo>
                <a:lnTo>
                  <a:pt x="17673" y="12764"/>
                </a:lnTo>
                <a:cubicBezTo>
                  <a:pt x="17131" y="12764"/>
                  <a:pt x="16691" y="13204"/>
                  <a:pt x="16691" y="13745"/>
                </a:cubicBezTo>
                <a:lnTo>
                  <a:pt x="16691" y="14727"/>
                </a:lnTo>
                <a:cubicBezTo>
                  <a:pt x="16691" y="15270"/>
                  <a:pt x="17131" y="15709"/>
                  <a:pt x="17673" y="15709"/>
                </a:cubicBezTo>
                <a:lnTo>
                  <a:pt x="17673" y="17673"/>
                </a:lnTo>
                <a:lnTo>
                  <a:pt x="3927" y="17673"/>
                </a:lnTo>
                <a:lnTo>
                  <a:pt x="3927" y="3927"/>
                </a:lnTo>
                <a:lnTo>
                  <a:pt x="17673" y="3927"/>
                </a:lnTo>
                <a:cubicBezTo>
                  <a:pt x="17673" y="3927"/>
                  <a:pt x="17673" y="5891"/>
                  <a:pt x="17673" y="5891"/>
                </a:cubicBezTo>
                <a:close/>
                <a:moveTo>
                  <a:pt x="18655" y="5891"/>
                </a:moveTo>
                <a:lnTo>
                  <a:pt x="18655" y="2945"/>
                </a:lnTo>
                <a:lnTo>
                  <a:pt x="2945" y="2945"/>
                </a:lnTo>
                <a:lnTo>
                  <a:pt x="2945" y="18655"/>
                </a:lnTo>
                <a:lnTo>
                  <a:pt x="18655" y="18655"/>
                </a:lnTo>
                <a:lnTo>
                  <a:pt x="18655" y="15709"/>
                </a:lnTo>
                <a:cubicBezTo>
                  <a:pt x="19196" y="15709"/>
                  <a:pt x="19636" y="15270"/>
                  <a:pt x="19636" y="14727"/>
                </a:cubicBezTo>
                <a:lnTo>
                  <a:pt x="19636" y="13745"/>
                </a:lnTo>
                <a:cubicBezTo>
                  <a:pt x="19636" y="13204"/>
                  <a:pt x="19196" y="12764"/>
                  <a:pt x="18655" y="12764"/>
                </a:cubicBezTo>
                <a:lnTo>
                  <a:pt x="18655" y="8836"/>
                </a:lnTo>
                <a:cubicBezTo>
                  <a:pt x="19196" y="8836"/>
                  <a:pt x="19636" y="8396"/>
                  <a:pt x="19636" y="7855"/>
                </a:cubicBezTo>
                <a:lnTo>
                  <a:pt x="19636" y="6873"/>
                </a:lnTo>
                <a:cubicBezTo>
                  <a:pt x="19636" y="6331"/>
                  <a:pt x="19196" y="5891"/>
                  <a:pt x="18655" y="58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4" name="Shape 2724"/>
          <p:cNvSpPr/>
          <p:nvPr/>
        </p:nvSpPr>
        <p:spPr>
          <a:xfrm>
            <a:off x="8157677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5709"/>
                </a:moveTo>
                <a:lnTo>
                  <a:pt x="5891" y="15709"/>
                </a:lnTo>
                <a:lnTo>
                  <a:pt x="5891" y="11782"/>
                </a:lnTo>
                <a:lnTo>
                  <a:pt x="15709" y="11782"/>
                </a:lnTo>
                <a:cubicBezTo>
                  <a:pt x="15709" y="11782"/>
                  <a:pt x="15709" y="15709"/>
                  <a:pt x="15709" y="15709"/>
                </a:cubicBezTo>
                <a:close/>
                <a:moveTo>
                  <a:pt x="16691" y="10800"/>
                </a:moveTo>
                <a:lnTo>
                  <a:pt x="4909" y="10800"/>
                </a:lnTo>
                <a:lnTo>
                  <a:pt x="4909" y="16691"/>
                </a:lnTo>
                <a:lnTo>
                  <a:pt x="16691" y="16691"/>
                </a:lnTo>
                <a:cubicBezTo>
                  <a:pt x="16691" y="16691"/>
                  <a:pt x="16691" y="10800"/>
                  <a:pt x="16691" y="10800"/>
                </a:cubicBezTo>
                <a:close/>
                <a:moveTo>
                  <a:pt x="11782" y="13745"/>
                </a:moveTo>
                <a:lnTo>
                  <a:pt x="9818" y="13745"/>
                </a:lnTo>
                <a:lnTo>
                  <a:pt x="9818" y="14727"/>
                </a:lnTo>
                <a:lnTo>
                  <a:pt x="11782" y="14727"/>
                </a:lnTo>
                <a:cubicBezTo>
                  <a:pt x="11782" y="14727"/>
                  <a:pt x="11782" y="13745"/>
                  <a:pt x="11782" y="13745"/>
                </a:cubicBezTo>
                <a:close/>
                <a:moveTo>
                  <a:pt x="18655" y="17673"/>
                </a:moveTo>
                <a:cubicBezTo>
                  <a:pt x="18655" y="18214"/>
                  <a:pt x="18214" y="18655"/>
                  <a:pt x="17673" y="18655"/>
                </a:cubicBezTo>
                <a:lnTo>
                  <a:pt x="3927" y="18655"/>
                </a:lnTo>
                <a:cubicBezTo>
                  <a:pt x="3385" y="18655"/>
                  <a:pt x="2945" y="18214"/>
                  <a:pt x="2945" y="17673"/>
                </a:cubicBezTo>
                <a:lnTo>
                  <a:pt x="2945" y="982"/>
                </a:lnTo>
                <a:lnTo>
                  <a:pt x="18655" y="982"/>
                </a:lnTo>
                <a:cubicBezTo>
                  <a:pt x="18655" y="982"/>
                  <a:pt x="18655" y="17673"/>
                  <a:pt x="18655" y="17673"/>
                </a:cubicBezTo>
                <a:close/>
                <a:moveTo>
                  <a:pt x="21109" y="0"/>
                </a:moveTo>
                <a:lnTo>
                  <a:pt x="491" y="0"/>
                </a:ln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lnTo>
                  <a:pt x="1964" y="982"/>
                </a:lnTo>
                <a:lnTo>
                  <a:pt x="1964" y="17673"/>
                </a:lnTo>
                <a:cubicBezTo>
                  <a:pt x="1964" y="18757"/>
                  <a:pt x="2843" y="19636"/>
                  <a:pt x="3927" y="19636"/>
                </a:cubicBezTo>
                <a:lnTo>
                  <a:pt x="4909" y="19636"/>
                </a:lnTo>
                <a:lnTo>
                  <a:pt x="4909" y="21109"/>
                </a:lnTo>
                <a:cubicBezTo>
                  <a:pt x="4909" y="21380"/>
                  <a:pt x="5129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9636"/>
                </a:lnTo>
                <a:lnTo>
                  <a:pt x="15709" y="19636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lnTo>
                  <a:pt x="16691" y="19636"/>
                </a:lnTo>
                <a:lnTo>
                  <a:pt x="17673" y="19636"/>
                </a:lnTo>
                <a:cubicBezTo>
                  <a:pt x="18757" y="19636"/>
                  <a:pt x="19636" y="18757"/>
                  <a:pt x="19636" y="17673"/>
                </a:cubicBezTo>
                <a:lnTo>
                  <a:pt x="19636" y="982"/>
                </a:lnTo>
                <a:lnTo>
                  <a:pt x="21109" y="982"/>
                </a:lnTo>
                <a:cubicBezTo>
                  <a:pt x="21380" y="982"/>
                  <a:pt x="21600" y="762"/>
                  <a:pt x="21600" y="491"/>
                </a:cubicBezTo>
                <a:cubicBezTo>
                  <a:pt x="21600" y="220"/>
                  <a:pt x="21380" y="0"/>
                  <a:pt x="21109" y="0"/>
                </a:cubicBezTo>
                <a:moveTo>
                  <a:pt x="11782" y="5891"/>
                </a:moveTo>
                <a:lnTo>
                  <a:pt x="9818" y="5891"/>
                </a:lnTo>
                <a:lnTo>
                  <a:pt x="9818" y="6873"/>
                </a:lnTo>
                <a:lnTo>
                  <a:pt x="11782" y="6873"/>
                </a:lnTo>
                <a:cubicBezTo>
                  <a:pt x="11782" y="6873"/>
                  <a:pt x="11782" y="5891"/>
                  <a:pt x="11782" y="5891"/>
                </a:cubicBezTo>
                <a:close/>
                <a:moveTo>
                  <a:pt x="15709" y="7855"/>
                </a:moveTo>
                <a:lnTo>
                  <a:pt x="5891" y="7855"/>
                </a:lnTo>
                <a:lnTo>
                  <a:pt x="5891" y="3927"/>
                </a:lnTo>
                <a:lnTo>
                  <a:pt x="15709" y="3927"/>
                </a:lnTo>
                <a:cubicBezTo>
                  <a:pt x="15709" y="3927"/>
                  <a:pt x="15709" y="7855"/>
                  <a:pt x="15709" y="7855"/>
                </a:cubicBezTo>
                <a:close/>
                <a:moveTo>
                  <a:pt x="16691" y="2945"/>
                </a:moveTo>
                <a:lnTo>
                  <a:pt x="4909" y="2945"/>
                </a:lnTo>
                <a:lnTo>
                  <a:pt x="4909" y="8836"/>
                </a:lnTo>
                <a:lnTo>
                  <a:pt x="16691" y="8836"/>
                </a:lnTo>
                <a:cubicBezTo>
                  <a:pt x="16691" y="8836"/>
                  <a:pt x="16691" y="2945"/>
                  <a:pt x="16691" y="294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5" name="Shape 2725"/>
          <p:cNvSpPr/>
          <p:nvPr/>
        </p:nvSpPr>
        <p:spPr>
          <a:xfrm>
            <a:off x="9224197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7673"/>
                </a:moveTo>
                <a:cubicBezTo>
                  <a:pt x="18655" y="18214"/>
                  <a:pt x="18214" y="18655"/>
                  <a:pt x="17673" y="18655"/>
                </a:cubicBezTo>
                <a:lnTo>
                  <a:pt x="3927" y="18655"/>
                </a:lnTo>
                <a:cubicBezTo>
                  <a:pt x="3385" y="18655"/>
                  <a:pt x="2945" y="18214"/>
                  <a:pt x="2945" y="17673"/>
                </a:cubicBezTo>
                <a:lnTo>
                  <a:pt x="2945" y="982"/>
                </a:lnTo>
                <a:lnTo>
                  <a:pt x="18655" y="982"/>
                </a:lnTo>
                <a:cubicBezTo>
                  <a:pt x="18655" y="982"/>
                  <a:pt x="18655" y="17673"/>
                  <a:pt x="18655" y="17673"/>
                </a:cubicBezTo>
                <a:close/>
                <a:moveTo>
                  <a:pt x="21109" y="0"/>
                </a:moveTo>
                <a:lnTo>
                  <a:pt x="491" y="0"/>
                </a:ln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lnTo>
                  <a:pt x="1964" y="982"/>
                </a:lnTo>
                <a:lnTo>
                  <a:pt x="1964" y="17673"/>
                </a:lnTo>
                <a:cubicBezTo>
                  <a:pt x="1964" y="18757"/>
                  <a:pt x="2843" y="19636"/>
                  <a:pt x="3927" y="19636"/>
                </a:cubicBezTo>
                <a:lnTo>
                  <a:pt x="4909" y="19636"/>
                </a:lnTo>
                <a:lnTo>
                  <a:pt x="4909" y="21109"/>
                </a:lnTo>
                <a:cubicBezTo>
                  <a:pt x="4909" y="21380"/>
                  <a:pt x="5129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9636"/>
                </a:lnTo>
                <a:lnTo>
                  <a:pt x="15709" y="19636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lnTo>
                  <a:pt x="16691" y="19636"/>
                </a:lnTo>
                <a:lnTo>
                  <a:pt x="17673" y="19636"/>
                </a:lnTo>
                <a:cubicBezTo>
                  <a:pt x="18757" y="19636"/>
                  <a:pt x="19636" y="18757"/>
                  <a:pt x="19636" y="17673"/>
                </a:cubicBezTo>
                <a:lnTo>
                  <a:pt x="19636" y="982"/>
                </a:lnTo>
                <a:lnTo>
                  <a:pt x="21109" y="982"/>
                </a:lnTo>
                <a:cubicBezTo>
                  <a:pt x="21380" y="982"/>
                  <a:pt x="21600" y="762"/>
                  <a:pt x="21600" y="491"/>
                </a:cubicBezTo>
                <a:cubicBezTo>
                  <a:pt x="21600" y="220"/>
                  <a:pt x="21380" y="0"/>
                  <a:pt x="21109" y="0"/>
                </a:cubicBezTo>
                <a:moveTo>
                  <a:pt x="15709" y="10800"/>
                </a:moveTo>
                <a:lnTo>
                  <a:pt x="11782" y="10800"/>
                </a:lnTo>
                <a:lnTo>
                  <a:pt x="11782" y="9818"/>
                </a:lnTo>
                <a:lnTo>
                  <a:pt x="9818" y="9818"/>
                </a:lnTo>
                <a:lnTo>
                  <a:pt x="9818" y="10800"/>
                </a:lnTo>
                <a:lnTo>
                  <a:pt x="5891" y="10800"/>
                </a:lnTo>
                <a:lnTo>
                  <a:pt x="5891" y="8836"/>
                </a:lnTo>
                <a:lnTo>
                  <a:pt x="15709" y="8836"/>
                </a:lnTo>
                <a:cubicBezTo>
                  <a:pt x="15709" y="8836"/>
                  <a:pt x="15709" y="10800"/>
                  <a:pt x="15709" y="10800"/>
                </a:cubicBezTo>
                <a:close/>
                <a:moveTo>
                  <a:pt x="16691" y="7855"/>
                </a:moveTo>
                <a:lnTo>
                  <a:pt x="4909" y="7855"/>
                </a:lnTo>
                <a:lnTo>
                  <a:pt x="4909" y="11782"/>
                </a:lnTo>
                <a:lnTo>
                  <a:pt x="16691" y="11782"/>
                </a:lnTo>
                <a:cubicBezTo>
                  <a:pt x="16691" y="11782"/>
                  <a:pt x="16691" y="7855"/>
                  <a:pt x="16691" y="7855"/>
                </a:cubicBezTo>
                <a:close/>
                <a:moveTo>
                  <a:pt x="15709" y="15709"/>
                </a:moveTo>
                <a:lnTo>
                  <a:pt x="11782" y="15709"/>
                </a:lnTo>
                <a:lnTo>
                  <a:pt x="11782" y="14727"/>
                </a:lnTo>
                <a:lnTo>
                  <a:pt x="9818" y="14727"/>
                </a:lnTo>
                <a:lnTo>
                  <a:pt x="9818" y="15709"/>
                </a:lnTo>
                <a:lnTo>
                  <a:pt x="5891" y="15709"/>
                </a:lnTo>
                <a:lnTo>
                  <a:pt x="5891" y="13745"/>
                </a:lnTo>
                <a:lnTo>
                  <a:pt x="15709" y="13745"/>
                </a:lnTo>
                <a:cubicBezTo>
                  <a:pt x="15709" y="13745"/>
                  <a:pt x="15709" y="15709"/>
                  <a:pt x="15709" y="15709"/>
                </a:cubicBezTo>
                <a:close/>
                <a:moveTo>
                  <a:pt x="16691" y="12764"/>
                </a:moveTo>
                <a:lnTo>
                  <a:pt x="4909" y="12764"/>
                </a:lnTo>
                <a:lnTo>
                  <a:pt x="4909" y="16691"/>
                </a:lnTo>
                <a:lnTo>
                  <a:pt x="16691" y="16691"/>
                </a:lnTo>
                <a:cubicBezTo>
                  <a:pt x="16691" y="16691"/>
                  <a:pt x="16691" y="12764"/>
                  <a:pt x="16691" y="12764"/>
                </a:cubicBezTo>
                <a:close/>
                <a:moveTo>
                  <a:pt x="15709" y="5891"/>
                </a:moveTo>
                <a:lnTo>
                  <a:pt x="11782" y="5891"/>
                </a:lnTo>
                <a:lnTo>
                  <a:pt x="11782" y="4909"/>
                </a:lnTo>
                <a:lnTo>
                  <a:pt x="9818" y="4909"/>
                </a:lnTo>
                <a:lnTo>
                  <a:pt x="9818" y="5891"/>
                </a:lnTo>
                <a:lnTo>
                  <a:pt x="5891" y="5891"/>
                </a:lnTo>
                <a:lnTo>
                  <a:pt x="5891" y="3927"/>
                </a:lnTo>
                <a:lnTo>
                  <a:pt x="15709" y="3927"/>
                </a:lnTo>
                <a:cubicBezTo>
                  <a:pt x="15709" y="3927"/>
                  <a:pt x="15709" y="5891"/>
                  <a:pt x="15709" y="5891"/>
                </a:cubicBezTo>
                <a:close/>
                <a:moveTo>
                  <a:pt x="16691" y="2945"/>
                </a:moveTo>
                <a:lnTo>
                  <a:pt x="4909" y="2945"/>
                </a:lnTo>
                <a:lnTo>
                  <a:pt x="4909" y="6873"/>
                </a:lnTo>
                <a:lnTo>
                  <a:pt x="16691" y="6873"/>
                </a:lnTo>
                <a:cubicBezTo>
                  <a:pt x="16691" y="6873"/>
                  <a:pt x="16691" y="2945"/>
                  <a:pt x="16691" y="294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6" name="Shape 2726"/>
          <p:cNvSpPr/>
          <p:nvPr/>
        </p:nvSpPr>
        <p:spPr>
          <a:xfrm>
            <a:off x="10341508" y="9278448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800" y="13745"/>
                </a:moveTo>
                <a:lnTo>
                  <a:pt x="16800" y="13745"/>
                </a:lnTo>
                <a:lnTo>
                  <a:pt x="16800" y="17673"/>
                </a:lnTo>
                <a:lnTo>
                  <a:pt x="4800" y="17673"/>
                </a:lnTo>
                <a:cubicBezTo>
                  <a:pt x="4800" y="17673"/>
                  <a:pt x="4800" y="13745"/>
                  <a:pt x="4800" y="13745"/>
                </a:cubicBezTo>
                <a:close/>
                <a:moveTo>
                  <a:pt x="4800" y="8836"/>
                </a:moveTo>
                <a:lnTo>
                  <a:pt x="16800" y="8836"/>
                </a:lnTo>
                <a:lnTo>
                  <a:pt x="16800" y="12764"/>
                </a:lnTo>
                <a:lnTo>
                  <a:pt x="4800" y="12764"/>
                </a:lnTo>
                <a:cubicBezTo>
                  <a:pt x="4800" y="12764"/>
                  <a:pt x="4800" y="8836"/>
                  <a:pt x="4800" y="8836"/>
                </a:cubicBezTo>
                <a:close/>
                <a:moveTo>
                  <a:pt x="4800" y="3927"/>
                </a:moveTo>
                <a:lnTo>
                  <a:pt x="16800" y="3927"/>
                </a:lnTo>
                <a:lnTo>
                  <a:pt x="16800" y="7855"/>
                </a:lnTo>
                <a:lnTo>
                  <a:pt x="4800" y="7855"/>
                </a:lnTo>
                <a:cubicBezTo>
                  <a:pt x="4800" y="7855"/>
                  <a:pt x="4800" y="3927"/>
                  <a:pt x="4800" y="3927"/>
                </a:cubicBezTo>
                <a:close/>
                <a:moveTo>
                  <a:pt x="3600" y="18655"/>
                </a:moveTo>
                <a:lnTo>
                  <a:pt x="18000" y="18655"/>
                </a:lnTo>
                <a:lnTo>
                  <a:pt x="18000" y="2945"/>
                </a:lnTo>
                <a:lnTo>
                  <a:pt x="3600" y="2945"/>
                </a:lnTo>
                <a:cubicBezTo>
                  <a:pt x="3600" y="2945"/>
                  <a:pt x="3600" y="18655"/>
                  <a:pt x="3600" y="18655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9600" y="16691"/>
                </a:moveTo>
                <a:lnTo>
                  <a:pt x="12000" y="16691"/>
                </a:lnTo>
                <a:lnTo>
                  <a:pt x="12000" y="15709"/>
                </a:lnTo>
                <a:lnTo>
                  <a:pt x="9600" y="15709"/>
                </a:lnTo>
                <a:cubicBezTo>
                  <a:pt x="9600" y="15709"/>
                  <a:pt x="9600" y="16691"/>
                  <a:pt x="9600" y="16691"/>
                </a:cubicBezTo>
                <a:close/>
                <a:moveTo>
                  <a:pt x="9600" y="6873"/>
                </a:moveTo>
                <a:lnTo>
                  <a:pt x="12000" y="6873"/>
                </a:lnTo>
                <a:lnTo>
                  <a:pt x="12000" y="5891"/>
                </a:lnTo>
                <a:lnTo>
                  <a:pt x="9600" y="5891"/>
                </a:lnTo>
                <a:cubicBezTo>
                  <a:pt x="9600" y="5891"/>
                  <a:pt x="9600" y="6873"/>
                  <a:pt x="9600" y="6873"/>
                </a:cubicBezTo>
                <a:close/>
                <a:moveTo>
                  <a:pt x="9600" y="11782"/>
                </a:moveTo>
                <a:lnTo>
                  <a:pt x="12000" y="11782"/>
                </a:lnTo>
                <a:lnTo>
                  <a:pt x="12000" y="10800"/>
                </a:lnTo>
                <a:lnTo>
                  <a:pt x="9600" y="10800"/>
                </a:lnTo>
                <a:cubicBezTo>
                  <a:pt x="9600" y="10800"/>
                  <a:pt x="9600" y="11782"/>
                  <a:pt x="9600" y="11782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7" name="Shape 2727"/>
          <p:cNvSpPr/>
          <p:nvPr/>
        </p:nvSpPr>
        <p:spPr>
          <a:xfrm>
            <a:off x="11357242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4727" y="7318"/>
                </a:moveTo>
                <a:lnTo>
                  <a:pt x="11782" y="6949"/>
                </a:lnTo>
                <a:lnTo>
                  <a:pt x="11782" y="4956"/>
                </a:lnTo>
                <a:lnTo>
                  <a:pt x="14727" y="5324"/>
                </a:lnTo>
                <a:cubicBezTo>
                  <a:pt x="14727" y="5324"/>
                  <a:pt x="14727" y="7318"/>
                  <a:pt x="14727" y="7318"/>
                </a:cubicBezTo>
                <a:close/>
                <a:moveTo>
                  <a:pt x="9327" y="16691"/>
                </a:moveTo>
                <a:lnTo>
                  <a:pt x="8345" y="16691"/>
                </a:lnTo>
                <a:cubicBezTo>
                  <a:pt x="7532" y="16691"/>
                  <a:pt x="6873" y="16031"/>
                  <a:pt x="6873" y="15218"/>
                </a:cubicBezTo>
                <a:cubicBezTo>
                  <a:pt x="6873" y="14405"/>
                  <a:pt x="7532" y="13745"/>
                  <a:pt x="8345" y="13745"/>
                </a:cubicBezTo>
                <a:lnTo>
                  <a:pt x="9327" y="13745"/>
                </a:lnTo>
                <a:cubicBezTo>
                  <a:pt x="10140" y="13745"/>
                  <a:pt x="10800" y="14405"/>
                  <a:pt x="10800" y="15218"/>
                </a:cubicBezTo>
                <a:cubicBezTo>
                  <a:pt x="10800" y="16031"/>
                  <a:pt x="10140" y="16691"/>
                  <a:pt x="9327" y="16691"/>
                </a:cubicBezTo>
                <a:moveTo>
                  <a:pt x="15218" y="4418"/>
                </a:moveTo>
                <a:cubicBezTo>
                  <a:pt x="15192" y="4418"/>
                  <a:pt x="15170" y="4429"/>
                  <a:pt x="15145" y="4433"/>
                </a:cubicBezTo>
                <a:lnTo>
                  <a:pt x="15143" y="4424"/>
                </a:lnTo>
                <a:lnTo>
                  <a:pt x="11483" y="3967"/>
                </a:lnTo>
                <a:cubicBezTo>
                  <a:pt x="11424" y="3942"/>
                  <a:pt x="11359" y="3927"/>
                  <a:pt x="11291" y="3927"/>
                </a:cubicBezTo>
                <a:cubicBezTo>
                  <a:pt x="11275" y="3927"/>
                  <a:pt x="11261" y="3935"/>
                  <a:pt x="11245" y="3937"/>
                </a:cubicBezTo>
                <a:lnTo>
                  <a:pt x="11216" y="3933"/>
                </a:lnTo>
                <a:lnTo>
                  <a:pt x="11218" y="3942"/>
                </a:lnTo>
                <a:cubicBezTo>
                  <a:pt x="10983" y="3979"/>
                  <a:pt x="10800" y="4173"/>
                  <a:pt x="10800" y="4418"/>
                </a:cubicBezTo>
                <a:lnTo>
                  <a:pt x="10800" y="13266"/>
                </a:lnTo>
                <a:cubicBezTo>
                  <a:pt x="10389" y="12955"/>
                  <a:pt x="9882" y="12764"/>
                  <a:pt x="9327" y="12764"/>
                </a:cubicBezTo>
                <a:lnTo>
                  <a:pt x="8345" y="12764"/>
                </a:lnTo>
                <a:cubicBezTo>
                  <a:pt x="6990" y="12764"/>
                  <a:pt x="5891" y="13862"/>
                  <a:pt x="5891" y="15218"/>
                </a:cubicBezTo>
                <a:cubicBezTo>
                  <a:pt x="5891" y="16574"/>
                  <a:pt x="6990" y="17673"/>
                  <a:pt x="8345" y="17673"/>
                </a:cubicBezTo>
                <a:lnTo>
                  <a:pt x="9327" y="17673"/>
                </a:lnTo>
                <a:cubicBezTo>
                  <a:pt x="10683" y="17673"/>
                  <a:pt x="11782" y="16574"/>
                  <a:pt x="11782" y="15218"/>
                </a:cubicBezTo>
                <a:lnTo>
                  <a:pt x="11782" y="7901"/>
                </a:lnTo>
                <a:lnTo>
                  <a:pt x="15026" y="8306"/>
                </a:lnTo>
                <a:cubicBezTo>
                  <a:pt x="15085" y="8332"/>
                  <a:pt x="15150" y="8345"/>
                  <a:pt x="15218" y="8345"/>
                </a:cubicBezTo>
                <a:cubicBezTo>
                  <a:pt x="15234" y="8345"/>
                  <a:pt x="15248" y="8338"/>
                  <a:pt x="15264" y="8336"/>
                </a:cubicBezTo>
                <a:lnTo>
                  <a:pt x="15293" y="8340"/>
                </a:lnTo>
                <a:lnTo>
                  <a:pt x="15292" y="8331"/>
                </a:lnTo>
                <a:cubicBezTo>
                  <a:pt x="15526" y="8294"/>
                  <a:pt x="15709" y="8100"/>
                  <a:pt x="15709" y="7855"/>
                </a:cubicBezTo>
                <a:lnTo>
                  <a:pt x="15709" y="4909"/>
                </a:lnTo>
                <a:cubicBezTo>
                  <a:pt x="15709" y="4638"/>
                  <a:pt x="15490" y="4418"/>
                  <a:pt x="15218" y="44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8" name="Shape 2728"/>
          <p:cNvSpPr/>
          <p:nvPr/>
        </p:nvSpPr>
        <p:spPr>
          <a:xfrm>
            <a:off x="1758543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7318"/>
                </a:moveTo>
                <a:lnTo>
                  <a:pt x="11782" y="6949"/>
                </a:lnTo>
                <a:lnTo>
                  <a:pt x="11782" y="4956"/>
                </a:lnTo>
                <a:lnTo>
                  <a:pt x="14727" y="5324"/>
                </a:lnTo>
                <a:cubicBezTo>
                  <a:pt x="14727" y="5324"/>
                  <a:pt x="14727" y="7318"/>
                  <a:pt x="14727" y="7318"/>
                </a:cubicBezTo>
                <a:close/>
                <a:moveTo>
                  <a:pt x="9327" y="16691"/>
                </a:moveTo>
                <a:lnTo>
                  <a:pt x="8345" y="16691"/>
                </a:lnTo>
                <a:cubicBezTo>
                  <a:pt x="7532" y="16691"/>
                  <a:pt x="6873" y="16031"/>
                  <a:pt x="6873" y="15218"/>
                </a:cubicBezTo>
                <a:cubicBezTo>
                  <a:pt x="6873" y="14406"/>
                  <a:pt x="7532" y="13745"/>
                  <a:pt x="8345" y="13745"/>
                </a:cubicBezTo>
                <a:lnTo>
                  <a:pt x="9327" y="13745"/>
                </a:lnTo>
                <a:cubicBezTo>
                  <a:pt x="10141" y="13745"/>
                  <a:pt x="10800" y="14406"/>
                  <a:pt x="10800" y="15218"/>
                </a:cubicBezTo>
                <a:cubicBezTo>
                  <a:pt x="10800" y="16031"/>
                  <a:pt x="10141" y="16691"/>
                  <a:pt x="9327" y="16691"/>
                </a:cubicBezTo>
                <a:moveTo>
                  <a:pt x="15218" y="4418"/>
                </a:moveTo>
                <a:cubicBezTo>
                  <a:pt x="15192" y="4418"/>
                  <a:pt x="15170" y="4429"/>
                  <a:pt x="15145" y="4433"/>
                </a:cubicBezTo>
                <a:lnTo>
                  <a:pt x="15144" y="4424"/>
                </a:lnTo>
                <a:lnTo>
                  <a:pt x="11483" y="3967"/>
                </a:lnTo>
                <a:cubicBezTo>
                  <a:pt x="11424" y="3941"/>
                  <a:pt x="11359" y="3927"/>
                  <a:pt x="11291" y="3927"/>
                </a:cubicBezTo>
                <a:cubicBezTo>
                  <a:pt x="11275" y="3927"/>
                  <a:pt x="11261" y="3935"/>
                  <a:pt x="11245" y="3937"/>
                </a:cubicBezTo>
                <a:lnTo>
                  <a:pt x="11216" y="3933"/>
                </a:lnTo>
                <a:lnTo>
                  <a:pt x="11218" y="3942"/>
                </a:lnTo>
                <a:cubicBezTo>
                  <a:pt x="10983" y="3979"/>
                  <a:pt x="10800" y="4173"/>
                  <a:pt x="10800" y="4418"/>
                </a:cubicBezTo>
                <a:lnTo>
                  <a:pt x="10800" y="13266"/>
                </a:lnTo>
                <a:cubicBezTo>
                  <a:pt x="10389" y="12955"/>
                  <a:pt x="9882" y="12764"/>
                  <a:pt x="9327" y="12764"/>
                </a:cubicBezTo>
                <a:lnTo>
                  <a:pt x="8345" y="12764"/>
                </a:lnTo>
                <a:cubicBezTo>
                  <a:pt x="6990" y="12764"/>
                  <a:pt x="5891" y="13862"/>
                  <a:pt x="5891" y="15218"/>
                </a:cubicBezTo>
                <a:cubicBezTo>
                  <a:pt x="5891" y="16574"/>
                  <a:pt x="6990" y="17673"/>
                  <a:pt x="8345" y="17673"/>
                </a:cubicBezTo>
                <a:lnTo>
                  <a:pt x="9327" y="17673"/>
                </a:lnTo>
                <a:cubicBezTo>
                  <a:pt x="10683" y="17673"/>
                  <a:pt x="11782" y="16574"/>
                  <a:pt x="11782" y="15218"/>
                </a:cubicBezTo>
                <a:lnTo>
                  <a:pt x="11782" y="7901"/>
                </a:lnTo>
                <a:lnTo>
                  <a:pt x="15027" y="8307"/>
                </a:lnTo>
                <a:cubicBezTo>
                  <a:pt x="15085" y="8332"/>
                  <a:pt x="15150" y="8345"/>
                  <a:pt x="15218" y="8345"/>
                </a:cubicBezTo>
                <a:cubicBezTo>
                  <a:pt x="15234" y="8345"/>
                  <a:pt x="15248" y="8338"/>
                  <a:pt x="15264" y="8336"/>
                </a:cubicBezTo>
                <a:lnTo>
                  <a:pt x="15293" y="8340"/>
                </a:lnTo>
                <a:lnTo>
                  <a:pt x="15291" y="8331"/>
                </a:lnTo>
                <a:cubicBezTo>
                  <a:pt x="15526" y="8294"/>
                  <a:pt x="15709" y="8100"/>
                  <a:pt x="15709" y="7855"/>
                </a:cubicBezTo>
                <a:lnTo>
                  <a:pt x="15709" y="4909"/>
                </a:lnTo>
                <a:cubicBezTo>
                  <a:pt x="15709" y="4638"/>
                  <a:pt x="15489" y="4418"/>
                  <a:pt x="15218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9" name="Shape 2729"/>
          <p:cNvSpPr/>
          <p:nvPr/>
        </p:nvSpPr>
        <p:spPr>
          <a:xfrm>
            <a:off x="2825064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7318"/>
                </a:moveTo>
                <a:lnTo>
                  <a:pt x="14727" y="6949"/>
                </a:lnTo>
                <a:lnTo>
                  <a:pt x="14727" y="4956"/>
                </a:lnTo>
                <a:lnTo>
                  <a:pt x="17673" y="5324"/>
                </a:lnTo>
                <a:cubicBezTo>
                  <a:pt x="17673" y="5324"/>
                  <a:pt x="17673" y="7318"/>
                  <a:pt x="17673" y="7318"/>
                </a:cubicBezTo>
                <a:close/>
                <a:moveTo>
                  <a:pt x="12273" y="16691"/>
                </a:moveTo>
                <a:lnTo>
                  <a:pt x="11291" y="16691"/>
                </a:lnTo>
                <a:cubicBezTo>
                  <a:pt x="10477" y="16691"/>
                  <a:pt x="9818" y="16031"/>
                  <a:pt x="9818" y="15218"/>
                </a:cubicBezTo>
                <a:cubicBezTo>
                  <a:pt x="9818" y="14406"/>
                  <a:pt x="10477" y="13745"/>
                  <a:pt x="11291" y="13745"/>
                </a:cubicBezTo>
                <a:lnTo>
                  <a:pt x="12273" y="13745"/>
                </a:lnTo>
                <a:cubicBezTo>
                  <a:pt x="13086" y="13745"/>
                  <a:pt x="13745" y="14406"/>
                  <a:pt x="13745" y="15218"/>
                </a:cubicBezTo>
                <a:cubicBezTo>
                  <a:pt x="13745" y="16031"/>
                  <a:pt x="13086" y="16691"/>
                  <a:pt x="12273" y="16691"/>
                </a:cubicBezTo>
                <a:moveTo>
                  <a:pt x="18164" y="4418"/>
                </a:moveTo>
                <a:cubicBezTo>
                  <a:pt x="18138" y="4418"/>
                  <a:pt x="18115" y="4429"/>
                  <a:pt x="18091" y="4433"/>
                </a:cubicBezTo>
                <a:lnTo>
                  <a:pt x="18089" y="4424"/>
                </a:lnTo>
                <a:lnTo>
                  <a:pt x="14428" y="3967"/>
                </a:lnTo>
                <a:cubicBezTo>
                  <a:pt x="14369" y="3941"/>
                  <a:pt x="14305" y="3927"/>
                  <a:pt x="14236" y="3927"/>
                </a:cubicBezTo>
                <a:cubicBezTo>
                  <a:pt x="14220" y="3927"/>
                  <a:pt x="14206" y="3935"/>
                  <a:pt x="14191" y="3937"/>
                </a:cubicBezTo>
                <a:lnTo>
                  <a:pt x="14162" y="3933"/>
                </a:lnTo>
                <a:lnTo>
                  <a:pt x="14163" y="3942"/>
                </a:lnTo>
                <a:cubicBezTo>
                  <a:pt x="13929" y="3979"/>
                  <a:pt x="13745" y="4173"/>
                  <a:pt x="13745" y="4418"/>
                </a:cubicBezTo>
                <a:lnTo>
                  <a:pt x="13745" y="13266"/>
                </a:lnTo>
                <a:cubicBezTo>
                  <a:pt x="13335" y="12955"/>
                  <a:pt x="12828" y="12764"/>
                  <a:pt x="12273" y="12764"/>
                </a:cubicBezTo>
                <a:lnTo>
                  <a:pt x="11291" y="12764"/>
                </a:lnTo>
                <a:cubicBezTo>
                  <a:pt x="9935" y="12764"/>
                  <a:pt x="8836" y="13862"/>
                  <a:pt x="8836" y="15218"/>
                </a:cubicBezTo>
                <a:cubicBezTo>
                  <a:pt x="8836" y="16574"/>
                  <a:pt x="9935" y="17673"/>
                  <a:pt x="11291" y="17673"/>
                </a:cubicBezTo>
                <a:lnTo>
                  <a:pt x="12273" y="17673"/>
                </a:lnTo>
                <a:cubicBezTo>
                  <a:pt x="13629" y="17673"/>
                  <a:pt x="14727" y="16574"/>
                  <a:pt x="14727" y="15218"/>
                </a:cubicBezTo>
                <a:lnTo>
                  <a:pt x="14727" y="7901"/>
                </a:lnTo>
                <a:lnTo>
                  <a:pt x="17972" y="8307"/>
                </a:lnTo>
                <a:cubicBezTo>
                  <a:pt x="18031" y="8332"/>
                  <a:pt x="18095" y="8345"/>
                  <a:pt x="18164" y="8345"/>
                </a:cubicBezTo>
                <a:cubicBezTo>
                  <a:pt x="18180" y="8345"/>
                  <a:pt x="18194" y="8338"/>
                  <a:pt x="18210" y="8336"/>
                </a:cubicBezTo>
                <a:lnTo>
                  <a:pt x="18238" y="8340"/>
                </a:lnTo>
                <a:lnTo>
                  <a:pt x="18237" y="8331"/>
                </a:lnTo>
                <a:cubicBezTo>
                  <a:pt x="18471" y="8294"/>
                  <a:pt x="18655" y="8100"/>
                  <a:pt x="18655" y="7855"/>
                </a:cubicBezTo>
                <a:lnTo>
                  <a:pt x="18655" y="4909"/>
                </a:lnTo>
                <a:cubicBezTo>
                  <a:pt x="18655" y="4638"/>
                  <a:pt x="18434" y="4418"/>
                  <a:pt x="18164" y="4418"/>
                </a:cubicBezTo>
                <a:moveTo>
                  <a:pt x="10800" y="10309"/>
                </a:moveTo>
                <a:cubicBezTo>
                  <a:pt x="10800" y="10038"/>
                  <a:pt x="10580" y="9818"/>
                  <a:pt x="10309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cubicBezTo>
                  <a:pt x="3927" y="10580"/>
                  <a:pt x="4147" y="10800"/>
                  <a:pt x="4418" y="10800"/>
                </a:cubicBezTo>
                <a:lnTo>
                  <a:pt x="10309" y="10800"/>
                </a:lnTo>
                <a:cubicBezTo>
                  <a:pt x="10580" y="10800"/>
                  <a:pt x="10800" y="10580"/>
                  <a:pt x="10800" y="10309"/>
                </a:cubicBezTo>
                <a:moveTo>
                  <a:pt x="4418" y="6873"/>
                </a:moveTo>
                <a:lnTo>
                  <a:pt x="10309" y="6873"/>
                </a:lnTo>
                <a:cubicBezTo>
                  <a:pt x="10580" y="6873"/>
                  <a:pt x="10800" y="6653"/>
                  <a:pt x="10800" y="6382"/>
                </a:cubicBezTo>
                <a:cubicBezTo>
                  <a:pt x="10800" y="6110"/>
                  <a:pt x="10580" y="5891"/>
                  <a:pt x="10309" y="5891"/>
                </a:cubicBezTo>
                <a:lnTo>
                  <a:pt x="4418" y="5891"/>
                </a:lnTo>
                <a:cubicBezTo>
                  <a:pt x="4147" y="5891"/>
                  <a:pt x="3927" y="6110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moveTo>
                  <a:pt x="4418" y="8836"/>
                </a:moveTo>
                <a:lnTo>
                  <a:pt x="10309" y="8836"/>
                </a:lnTo>
                <a:cubicBezTo>
                  <a:pt x="10580" y="8836"/>
                  <a:pt x="10800" y="8617"/>
                  <a:pt x="10800" y="8345"/>
                </a:cubicBezTo>
                <a:cubicBezTo>
                  <a:pt x="10800" y="8074"/>
                  <a:pt x="10580" y="7855"/>
                  <a:pt x="10309" y="7855"/>
                </a:cubicBezTo>
                <a:lnTo>
                  <a:pt x="4418" y="7855"/>
                </a:lnTo>
                <a:cubicBezTo>
                  <a:pt x="4147" y="7855"/>
                  <a:pt x="3927" y="8074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0" name="Shape 2730"/>
          <p:cNvSpPr/>
          <p:nvPr/>
        </p:nvSpPr>
        <p:spPr>
          <a:xfrm>
            <a:off x="3891587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6691" y="5988"/>
                </a:moveTo>
                <a:lnTo>
                  <a:pt x="8836" y="7734"/>
                </a:lnTo>
                <a:lnTo>
                  <a:pt x="8836" y="5794"/>
                </a:lnTo>
                <a:lnTo>
                  <a:pt x="16691" y="4048"/>
                </a:lnTo>
                <a:cubicBezTo>
                  <a:pt x="16691" y="4048"/>
                  <a:pt x="16691" y="5988"/>
                  <a:pt x="16691" y="5988"/>
                </a:cubicBezTo>
                <a:close/>
                <a:moveTo>
                  <a:pt x="15218" y="15709"/>
                </a:moveTo>
                <a:lnTo>
                  <a:pt x="14236" y="15709"/>
                </a:lnTo>
                <a:cubicBezTo>
                  <a:pt x="13423" y="15709"/>
                  <a:pt x="12764" y="15050"/>
                  <a:pt x="12764" y="14236"/>
                </a:cubicBezTo>
                <a:cubicBezTo>
                  <a:pt x="12764" y="13423"/>
                  <a:pt x="13423" y="12764"/>
                  <a:pt x="14236" y="12764"/>
                </a:cubicBezTo>
                <a:lnTo>
                  <a:pt x="15218" y="12764"/>
                </a:lnTo>
                <a:cubicBezTo>
                  <a:pt x="16032" y="12764"/>
                  <a:pt x="16691" y="13423"/>
                  <a:pt x="16691" y="14236"/>
                </a:cubicBezTo>
                <a:cubicBezTo>
                  <a:pt x="16691" y="15050"/>
                  <a:pt x="16032" y="15709"/>
                  <a:pt x="15218" y="15709"/>
                </a:cubicBezTo>
                <a:moveTo>
                  <a:pt x="6382" y="17673"/>
                </a:moveTo>
                <a:lnTo>
                  <a:pt x="5400" y="17673"/>
                </a:lnTo>
                <a:cubicBezTo>
                  <a:pt x="4586" y="17673"/>
                  <a:pt x="3927" y="17014"/>
                  <a:pt x="3927" y="16200"/>
                </a:cubicBezTo>
                <a:cubicBezTo>
                  <a:pt x="3927" y="15387"/>
                  <a:pt x="4586" y="14727"/>
                  <a:pt x="5400" y="14727"/>
                </a:cubicBezTo>
                <a:lnTo>
                  <a:pt x="6382" y="14727"/>
                </a:lnTo>
                <a:cubicBezTo>
                  <a:pt x="7195" y="14727"/>
                  <a:pt x="7855" y="15387"/>
                  <a:pt x="7855" y="16200"/>
                </a:cubicBezTo>
                <a:cubicBezTo>
                  <a:pt x="7855" y="17014"/>
                  <a:pt x="7195" y="17673"/>
                  <a:pt x="6382" y="17673"/>
                </a:cubicBezTo>
                <a:moveTo>
                  <a:pt x="17182" y="2945"/>
                </a:moveTo>
                <a:cubicBezTo>
                  <a:pt x="17148" y="2945"/>
                  <a:pt x="17119" y="2958"/>
                  <a:pt x="17088" y="2965"/>
                </a:cubicBezTo>
                <a:lnTo>
                  <a:pt x="17086" y="2955"/>
                </a:lnTo>
                <a:lnTo>
                  <a:pt x="8249" y="4919"/>
                </a:lnTo>
                <a:lnTo>
                  <a:pt x="8251" y="4928"/>
                </a:lnTo>
                <a:cubicBezTo>
                  <a:pt x="8027" y="4973"/>
                  <a:pt x="7855" y="5162"/>
                  <a:pt x="7855" y="5400"/>
                </a:cubicBezTo>
                <a:lnTo>
                  <a:pt x="7855" y="14248"/>
                </a:lnTo>
                <a:cubicBezTo>
                  <a:pt x="7444" y="13937"/>
                  <a:pt x="6937" y="13745"/>
                  <a:pt x="6382" y="13745"/>
                </a:cubicBezTo>
                <a:lnTo>
                  <a:pt x="5400" y="13745"/>
                </a:lnTo>
                <a:cubicBezTo>
                  <a:pt x="4044" y="13745"/>
                  <a:pt x="2945" y="14844"/>
                  <a:pt x="2945" y="16200"/>
                </a:cubicBezTo>
                <a:cubicBezTo>
                  <a:pt x="2945" y="17556"/>
                  <a:pt x="4044" y="18655"/>
                  <a:pt x="5400" y="18655"/>
                </a:cubicBezTo>
                <a:lnTo>
                  <a:pt x="6382" y="18655"/>
                </a:lnTo>
                <a:cubicBezTo>
                  <a:pt x="7737" y="18655"/>
                  <a:pt x="8836" y="17556"/>
                  <a:pt x="8836" y="16200"/>
                </a:cubicBezTo>
                <a:lnTo>
                  <a:pt x="8836" y="8739"/>
                </a:lnTo>
                <a:lnTo>
                  <a:pt x="16691" y="6994"/>
                </a:lnTo>
                <a:lnTo>
                  <a:pt x="16691" y="12284"/>
                </a:lnTo>
                <a:cubicBezTo>
                  <a:pt x="16280" y="11974"/>
                  <a:pt x="15773" y="11782"/>
                  <a:pt x="15218" y="11782"/>
                </a:cubicBezTo>
                <a:lnTo>
                  <a:pt x="14236" y="11782"/>
                </a:lnTo>
                <a:cubicBezTo>
                  <a:pt x="12881" y="11782"/>
                  <a:pt x="11782" y="12881"/>
                  <a:pt x="11782" y="14236"/>
                </a:cubicBezTo>
                <a:cubicBezTo>
                  <a:pt x="11782" y="15592"/>
                  <a:pt x="12881" y="16691"/>
                  <a:pt x="14236" y="16691"/>
                </a:cubicBezTo>
                <a:lnTo>
                  <a:pt x="15218" y="16691"/>
                </a:lnTo>
                <a:cubicBezTo>
                  <a:pt x="16573" y="16691"/>
                  <a:pt x="17673" y="15592"/>
                  <a:pt x="17673" y="14236"/>
                </a:cubicBezTo>
                <a:lnTo>
                  <a:pt x="17673" y="3436"/>
                </a:lnTo>
                <a:cubicBezTo>
                  <a:pt x="17673" y="3165"/>
                  <a:pt x="17453" y="2945"/>
                  <a:pt x="17182" y="29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1" name="Shape 2731"/>
          <p:cNvSpPr/>
          <p:nvPr/>
        </p:nvSpPr>
        <p:spPr>
          <a:xfrm>
            <a:off x="4958109" y="10370364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74" y="6862"/>
                </a:moveTo>
                <a:lnTo>
                  <a:pt x="18121" y="9450"/>
                </a:lnTo>
                <a:lnTo>
                  <a:pt x="17427" y="8686"/>
                </a:lnTo>
                <a:lnTo>
                  <a:pt x="19780" y="6098"/>
                </a:lnTo>
                <a:cubicBezTo>
                  <a:pt x="19869" y="6000"/>
                  <a:pt x="19992" y="5940"/>
                  <a:pt x="20127" y="5940"/>
                </a:cubicBezTo>
                <a:cubicBezTo>
                  <a:pt x="20398" y="5940"/>
                  <a:pt x="20618" y="6182"/>
                  <a:pt x="20618" y="6480"/>
                </a:cubicBezTo>
                <a:cubicBezTo>
                  <a:pt x="20618" y="6629"/>
                  <a:pt x="20563" y="6764"/>
                  <a:pt x="20474" y="6862"/>
                </a:cubicBezTo>
                <a:moveTo>
                  <a:pt x="21600" y="6480"/>
                </a:moveTo>
                <a:cubicBezTo>
                  <a:pt x="21600" y="5586"/>
                  <a:pt x="20941" y="4860"/>
                  <a:pt x="20127" y="4860"/>
                </a:cubicBezTo>
                <a:cubicBezTo>
                  <a:pt x="19720" y="4860"/>
                  <a:pt x="19352" y="5041"/>
                  <a:pt x="19086" y="5335"/>
                </a:cubicBezTo>
                <a:lnTo>
                  <a:pt x="6813" y="18835"/>
                </a:lnTo>
                <a:cubicBezTo>
                  <a:pt x="6547" y="19128"/>
                  <a:pt x="6382" y="19533"/>
                  <a:pt x="6382" y="19980"/>
                </a:cubicBezTo>
                <a:cubicBezTo>
                  <a:pt x="6382" y="20874"/>
                  <a:pt x="7041" y="21600"/>
                  <a:pt x="7855" y="21600"/>
                </a:cubicBezTo>
                <a:cubicBezTo>
                  <a:pt x="8262" y="21600"/>
                  <a:pt x="8630" y="21419"/>
                  <a:pt x="8896" y="21125"/>
                </a:cubicBezTo>
                <a:lnTo>
                  <a:pt x="21169" y="7625"/>
                </a:lnTo>
                <a:cubicBezTo>
                  <a:pt x="21435" y="7332"/>
                  <a:pt x="21600" y="6927"/>
                  <a:pt x="21600" y="6480"/>
                </a:cubicBezTo>
                <a:moveTo>
                  <a:pt x="20127" y="14040"/>
                </a:moveTo>
                <a:lnTo>
                  <a:pt x="18655" y="14040"/>
                </a:lnTo>
                <a:lnTo>
                  <a:pt x="18655" y="11918"/>
                </a:lnTo>
                <a:lnTo>
                  <a:pt x="15744" y="15120"/>
                </a:lnTo>
                <a:lnTo>
                  <a:pt x="20127" y="15120"/>
                </a:lnTo>
                <a:cubicBezTo>
                  <a:pt x="20398" y="15120"/>
                  <a:pt x="20618" y="15362"/>
                  <a:pt x="20618" y="15660"/>
                </a:cubicBezTo>
                <a:cubicBezTo>
                  <a:pt x="20618" y="15958"/>
                  <a:pt x="20398" y="16200"/>
                  <a:pt x="20127" y="16200"/>
                </a:cubicBezTo>
                <a:lnTo>
                  <a:pt x="14762" y="16200"/>
                </a:lnTo>
                <a:lnTo>
                  <a:pt x="13780" y="17280"/>
                </a:lnTo>
                <a:lnTo>
                  <a:pt x="20127" y="17280"/>
                </a:lnTo>
                <a:cubicBezTo>
                  <a:pt x="20941" y="17280"/>
                  <a:pt x="21600" y="16554"/>
                  <a:pt x="21600" y="15660"/>
                </a:cubicBezTo>
                <a:cubicBezTo>
                  <a:pt x="21600" y="14766"/>
                  <a:pt x="20941" y="14040"/>
                  <a:pt x="20127" y="14040"/>
                </a:cubicBezTo>
                <a:moveTo>
                  <a:pt x="7820" y="16200"/>
                </a:moveTo>
                <a:lnTo>
                  <a:pt x="1473" y="16200"/>
                </a:lnTo>
                <a:cubicBezTo>
                  <a:pt x="1202" y="16200"/>
                  <a:pt x="982" y="15958"/>
                  <a:pt x="982" y="15660"/>
                </a:cubicBezTo>
                <a:cubicBezTo>
                  <a:pt x="982" y="15362"/>
                  <a:pt x="1202" y="15120"/>
                  <a:pt x="1473" y="15120"/>
                </a:cubicBezTo>
                <a:lnTo>
                  <a:pt x="8802" y="15120"/>
                </a:lnTo>
                <a:lnTo>
                  <a:pt x="12729" y="10800"/>
                </a:lnTo>
                <a:lnTo>
                  <a:pt x="3927" y="10800"/>
                </a:lnTo>
                <a:lnTo>
                  <a:pt x="3927" y="1080"/>
                </a:lnTo>
                <a:lnTo>
                  <a:pt x="17673" y="1080"/>
                </a:lnTo>
                <a:lnTo>
                  <a:pt x="17673" y="5362"/>
                </a:lnTo>
                <a:lnTo>
                  <a:pt x="18655" y="4282"/>
                </a:lnTo>
                <a:lnTo>
                  <a:pt x="18655" y="540"/>
                </a:lnTo>
                <a:cubicBezTo>
                  <a:pt x="18655" y="242"/>
                  <a:pt x="18434" y="0"/>
                  <a:pt x="18164" y="0"/>
                </a:cubicBezTo>
                <a:lnTo>
                  <a:pt x="3436" y="0"/>
                </a:lnTo>
                <a:cubicBezTo>
                  <a:pt x="3166" y="0"/>
                  <a:pt x="2945" y="242"/>
                  <a:pt x="2945" y="540"/>
                </a:cubicBezTo>
                <a:lnTo>
                  <a:pt x="2945" y="14040"/>
                </a:lnTo>
                <a:lnTo>
                  <a:pt x="1473" y="14040"/>
                </a:lnTo>
                <a:cubicBezTo>
                  <a:pt x="659" y="14040"/>
                  <a:pt x="0" y="14766"/>
                  <a:pt x="0" y="15660"/>
                </a:cubicBezTo>
                <a:cubicBezTo>
                  <a:pt x="0" y="16554"/>
                  <a:pt x="659" y="17280"/>
                  <a:pt x="1473" y="17280"/>
                </a:cubicBezTo>
                <a:lnTo>
                  <a:pt x="6838" y="17280"/>
                </a:lnTo>
                <a:cubicBezTo>
                  <a:pt x="6838" y="17280"/>
                  <a:pt x="7820" y="16200"/>
                  <a:pt x="7820" y="162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2" name="Shape 2732"/>
          <p:cNvSpPr/>
          <p:nvPr/>
        </p:nvSpPr>
        <p:spPr>
          <a:xfrm>
            <a:off x="6024631" y="10497331"/>
            <a:ext cx="558654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236" y="19413"/>
                </a:moveTo>
                <a:lnTo>
                  <a:pt x="13945" y="13593"/>
                </a:lnTo>
                <a:cubicBezTo>
                  <a:pt x="14130" y="12747"/>
                  <a:pt x="14236" y="11802"/>
                  <a:pt x="14236" y="10800"/>
                </a:cubicBezTo>
                <a:cubicBezTo>
                  <a:pt x="14236" y="9799"/>
                  <a:pt x="14130" y="8854"/>
                  <a:pt x="13945" y="8007"/>
                </a:cubicBezTo>
                <a:lnTo>
                  <a:pt x="19236" y="2187"/>
                </a:lnTo>
                <a:cubicBezTo>
                  <a:pt x="20007" y="2465"/>
                  <a:pt x="20618" y="6209"/>
                  <a:pt x="20618" y="10800"/>
                </a:cubicBezTo>
                <a:cubicBezTo>
                  <a:pt x="20618" y="15392"/>
                  <a:pt x="20007" y="19136"/>
                  <a:pt x="19236" y="19413"/>
                </a:cubicBezTo>
                <a:moveTo>
                  <a:pt x="11291" y="15120"/>
                </a:moveTo>
                <a:lnTo>
                  <a:pt x="10309" y="15120"/>
                </a:lnTo>
                <a:cubicBezTo>
                  <a:pt x="9225" y="15120"/>
                  <a:pt x="8345" y="13186"/>
                  <a:pt x="8345" y="10800"/>
                </a:cubicBezTo>
                <a:cubicBezTo>
                  <a:pt x="8345" y="8414"/>
                  <a:pt x="9225" y="6480"/>
                  <a:pt x="10309" y="6480"/>
                </a:cubicBezTo>
                <a:lnTo>
                  <a:pt x="11291" y="6480"/>
                </a:lnTo>
                <a:cubicBezTo>
                  <a:pt x="12375" y="6480"/>
                  <a:pt x="13255" y="8414"/>
                  <a:pt x="13255" y="10800"/>
                </a:cubicBezTo>
                <a:cubicBezTo>
                  <a:pt x="13255" y="13186"/>
                  <a:pt x="12375" y="15120"/>
                  <a:pt x="11291" y="15120"/>
                </a:cubicBezTo>
                <a:moveTo>
                  <a:pt x="7654" y="13593"/>
                </a:moveTo>
                <a:lnTo>
                  <a:pt x="2363" y="19413"/>
                </a:lnTo>
                <a:cubicBezTo>
                  <a:pt x="1593" y="19135"/>
                  <a:pt x="982" y="15391"/>
                  <a:pt x="982" y="10800"/>
                </a:cubicBezTo>
                <a:cubicBezTo>
                  <a:pt x="982" y="6209"/>
                  <a:pt x="1593" y="2465"/>
                  <a:pt x="2363" y="2187"/>
                </a:cubicBezTo>
                <a:lnTo>
                  <a:pt x="7654" y="8007"/>
                </a:lnTo>
                <a:cubicBezTo>
                  <a:pt x="7470" y="8854"/>
                  <a:pt x="7364" y="9799"/>
                  <a:pt x="7364" y="10800"/>
                </a:cubicBezTo>
                <a:cubicBezTo>
                  <a:pt x="7364" y="11802"/>
                  <a:pt x="7470" y="12747"/>
                  <a:pt x="7654" y="13593"/>
                </a:cubicBezTo>
                <a:moveTo>
                  <a:pt x="19145" y="0"/>
                </a:moveTo>
                <a:cubicBezTo>
                  <a:pt x="19066" y="0"/>
                  <a:pt x="18994" y="51"/>
                  <a:pt x="18928" y="124"/>
                </a:cubicBezTo>
                <a:lnTo>
                  <a:pt x="18925" y="114"/>
                </a:lnTo>
                <a:lnTo>
                  <a:pt x="13374" y="6221"/>
                </a:lnTo>
                <a:cubicBezTo>
                  <a:pt x="12841" y="5047"/>
                  <a:pt x="12105" y="4320"/>
                  <a:pt x="11291" y="4320"/>
                </a:cubicBezTo>
                <a:lnTo>
                  <a:pt x="10309" y="4320"/>
                </a:lnTo>
                <a:cubicBezTo>
                  <a:pt x="9495" y="4320"/>
                  <a:pt x="8758" y="5047"/>
                  <a:pt x="8225" y="6221"/>
                </a:cubicBezTo>
                <a:lnTo>
                  <a:pt x="2674" y="114"/>
                </a:lnTo>
                <a:lnTo>
                  <a:pt x="2671" y="124"/>
                </a:lnTo>
                <a:cubicBezTo>
                  <a:pt x="2606" y="51"/>
                  <a:pt x="2534" y="0"/>
                  <a:pt x="2455" y="0"/>
                </a:cubicBezTo>
                <a:cubicBezTo>
                  <a:pt x="1099" y="0"/>
                  <a:pt x="0" y="4835"/>
                  <a:pt x="0" y="10800"/>
                </a:cubicBezTo>
                <a:cubicBezTo>
                  <a:pt x="0" y="16765"/>
                  <a:pt x="1099" y="21600"/>
                  <a:pt x="2455" y="21600"/>
                </a:cubicBezTo>
                <a:cubicBezTo>
                  <a:pt x="2534" y="21600"/>
                  <a:pt x="2605" y="21549"/>
                  <a:pt x="2671" y="21477"/>
                </a:cubicBezTo>
                <a:lnTo>
                  <a:pt x="2674" y="21486"/>
                </a:lnTo>
                <a:lnTo>
                  <a:pt x="8225" y="15379"/>
                </a:lnTo>
                <a:cubicBezTo>
                  <a:pt x="8758" y="16554"/>
                  <a:pt x="9495" y="17280"/>
                  <a:pt x="10309" y="17280"/>
                </a:cubicBezTo>
                <a:lnTo>
                  <a:pt x="11291" y="17280"/>
                </a:lnTo>
                <a:cubicBezTo>
                  <a:pt x="12105" y="17280"/>
                  <a:pt x="12842" y="16554"/>
                  <a:pt x="13375" y="15379"/>
                </a:cubicBezTo>
                <a:lnTo>
                  <a:pt x="18940" y="21501"/>
                </a:lnTo>
                <a:lnTo>
                  <a:pt x="18941" y="21496"/>
                </a:lnTo>
                <a:cubicBezTo>
                  <a:pt x="19003" y="21560"/>
                  <a:pt x="19072" y="21600"/>
                  <a:pt x="19145" y="21600"/>
                </a:cubicBezTo>
                <a:cubicBezTo>
                  <a:pt x="20501" y="21600"/>
                  <a:pt x="21600" y="16765"/>
                  <a:pt x="21600" y="10800"/>
                </a:cubicBezTo>
                <a:cubicBezTo>
                  <a:pt x="21600" y="4835"/>
                  <a:pt x="20501" y="0"/>
                  <a:pt x="19145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3" name="Shape 2733"/>
          <p:cNvSpPr/>
          <p:nvPr/>
        </p:nvSpPr>
        <p:spPr>
          <a:xfrm>
            <a:off x="7268906" y="10344971"/>
            <a:ext cx="203148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364"/>
                </a:moveTo>
                <a:lnTo>
                  <a:pt x="2804" y="17041"/>
                </a:lnTo>
                <a:lnTo>
                  <a:pt x="9142" y="5518"/>
                </a:lnTo>
                <a:lnTo>
                  <a:pt x="9803" y="5724"/>
                </a:lnTo>
                <a:cubicBezTo>
                  <a:pt x="9859" y="5747"/>
                  <a:pt x="9925" y="5764"/>
                  <a:pt x="9991" y="5783"/>
                </a:cubicBezTo>
                <a:lnTo>
                  <a:pt x="10130" y="5826"/>
                </a:lnTo>
                <a:lnTo>
                  <a:pt x="10141" y="5820"/>
                </a:lnTo>
                <a:cubicBezTo>
                  <a:pt x="10339" y="5861"/>
                  <a:pt x="10555" y="5891"/>
                  <a:pt x="10800" y="5891"/>
                </a:cubicBezTo>
                <a:cubicBezTo>
                  <a:pt x="11045" y="5891"/>
                  <a:pt x="11261" y="5861"/>
                  <a:pt x="11459" y="5820"/>
                </a:cubicBezTo>
                <a:lnTo>
                  <a:pt x="11470" y="5826"/>
                </a:lnTo>
                <a:lnTo>
                  <a:pt x="11609" y="5783"/>
                </a:lnTo>
                <a:cubicBezTo>
                  <a:pt x="11675" y="5764"/>
                  <a:pt x="11741" y="5747"/>
                  <a:pt x="11797" y="5724"/>
                </a:cubicBezTo>
                <a:lnTo>
                  <a:pt x="12457" y="5518"/>
                </a:lnTo>
                <a:lnTo>
                  <a:pt x="14283" y="8836"/>
                </a:lnTo>
                <a:lnTo>
                  <a:pt x="10800" y="8836"/>
                </a:lnTo>
                <a:cubicBezTo>
                  <a:pt x="10054" y="8836"/>
                  <a:pt x="9450" y="9056"/>
                  <a:pt x="9450" y="9327"/>
                </a:cubicBezTo>
                <a:cubicBezTo>
                  <a:pt x="9450" y="9599"/>
                  <a:pt x="10054" y="9818"/>
                  <a:pt x="10800" y="9818"/>
                </a:cubicBezTo>
                <a:lnTo>
                  <a:pt x="14824" y="9818"/>
                </a:lnTo>
                <a:lnTo>
                  <a:pt x="18796" y="17041"/>
                </a:lnTo>
                <a:cubicBezTo>
                  <a:pt x="18796" y="17041"/>
                  <a:pt x="10800" y="20364"/>
                  <a:pt x="10800" y="20364"/>
                </a:cubicBezTo>
                <a:close/>
                <a:moveTo>
                  <a:pt x="2776" y="2264"/>
                </a:moveTo>
                <a:cubicBezTo>
                  <a:pt x="3291" y="1541"/>
                  <a:pt x="6683" y="982"/>
                  <a:pt x="10800" y="982"/>
                </a:cubicBezTo>
                <a:cubicBezTo>
                  <a:pt x="14917" y="982"/>
                  <a:pt x="18308" y="1541"/>
                  <a:pt x="18825" y="2264"/>
                </a:cubicBezTo>
                <a:lnTo>
                  <a:pt x="10800" y="4765"/>
                </a:lnTo>
                <a:cubicBezTo>
                  <a:pt x="10800" y="4765"/>
                  <a:pt x="2776" y="2264"/>
                  <a:pt x="2776" y="2264"/>
                </a:cubicBezTo>
                <a:close/>
                <a:moveTo>
                  <a:pt x="21551" y="17094"/>
                </a:moveTo>
                <a:lnTo>
                  <a:pt x="21578" y="17093"/>
                </a:lnTo>
                <a:lnTo>
                  <a:pt x="17575" y="9818"/>
                </a:lnTo>
                <a:lnTo>
                  <a:pt x="18900" y="9818"/>
                </a:lnTo>
                <a:cubicBezTo>
                  <a:pt x="19646" y="9818"/>
                  <a:pt x="20250" y="9599"/>
                  <a:pt x="20250" y="9327"/>
                </a:cubicBezTo>
                <a:cubicBezTo>
                  <a:pt x="20250" y="9056"/>
                  <a:pt x="19646" y="8836"/>
                  <a:pt x="18900" y="8836"/>
                </a:cubicBezTo>
                <a:lnTo>
                  <a:pt x="17036" y="8836"/>
                </a:lnTo>
                <a:lnTo>
                  <a:pt x="14828" y="4820"/>
                </a:lnTo>
                <a:lnTo>
                  <a:pt x="14801" y="4822"/>
                </a:lnTo>
                <a:cubicBezTo>
                  <a:pt x="14795" y="4812"/>
                  <a:pt x="14792" y="4803"/>
                  <a:pt x="14785" y="4793"/>
                </a:cubicBezTo>
                <a:lnTo>
                  <a:pt x="20920" y="2881"/>
                </a:lnTo>
                <a:lnTo>
                  <a:pt x="20909" y="2874"/>
                </a:lnTo>
                <a:cubicBezTo>
                  <a:pt x="21315" y="2789"/>
                  <a:pt x="21600" y="2637"/>
                  <a:pt x="21600" y="2455"/>
                </a:cubicBezTo>
                <a:cubicBezTo>
                  <a:pt x="21600" y="1099"/>
                  <a:pt x="16764" y="0"/>
                  <a:pt x="10800" y="0"/>
                </a:cubicBezTo>
                <a:cubicBezTo>
                  <a:pt x="4836" y="0"/>
                  <a:pt x="0" y="1099"/>
                  <a:pt x="0" y="2455"/>
                </a:cubicBezTo>
                <a:cubicBezTo>
                  <a:pt x="0" y="2637"/>
                  <a:pt x="285" y="2789"/>
                  <a:pt x="691" y="2874"/>
                </a:cubicBezTo>
                <a:lnTo>
                  <a:pt x="680" y="2881"/>
                </a:lnTo>
                <a:lnTo>
                  <a:pt x="6815" y="4793"/>
                </a:lnTo>
                <a:cubicBezTo>
                  <a:pt x="6808" y="4802"/>
                  <a:pt x="6805" y="4812"/>
                  <a:pt x="6799" y="4822"/>
                </a:cubicBezTo>
                <a:lnTo>
                  <a:pt x="6772" y="4820"/>
                </a:lnTo>
                <a:lnTo>
                  <a:pt x="22" y="17093"/>
                </a:lnTo>
                <a:lnTo>
                  <a:pt x="49" y="17094"/>
                </a:lnTo>
                <a:cubicBezTo>
                  <a:pt x="34" y="17123"/>
                  <a:pt x="0" y="17151"/>
                  <a:pt x="0" y="17182"/>
                </a:cubicBezTo>
                <a:cubicBezTo>
                  <a:pt x="0" y="17306"/>
                  <a:pt x="137" y="17416"/>
                  <a:pt x="345" y="17502"/>
                </a:cubicBezTo>
                <a:lnTo>
                  <a:pt x="335" y="17505"/>
                </a:lnTo>
                <a:lnTo>
                  <a:pt x="9785" y="21432"/>
                </a:lnTo>
                <a:lnTo>
                  <a:pt x="9795" y="21429"/>
                </a:lnTo>
                <a:cubicBezTo>
                  <a:pt x="10041" y="21532"/>
                  <a:pt x="10394" y="21600"/>
                  <a:pt x="10800" y="21600"/>
                </a:cubicBezTo>
                <a:cubicBezTo>
                  <a:pt x="11206" y="21600"/>
                  <a:pt x="11557" y="21532"/>
                  <a:pt x="11805" y="21429"/>
                </a:cubicBezTo>
                <a:lnTo>
                  <a:pt x="11815" y="21432"/>
                </a:lnTo>
                <a:lnTo>
                  <a:pt x="21265" y="17505"/>
                </a:lnTo>
                <a:lnTo>
                  <a:pt x="21255" y="17502"/>
                </a:lnTo>
                <a:cubicBezTo>
                  <a:pt x="21463" y="17416"/>
                  <a:pt x="21600" y="17306"/>
                  <a:pt x="21600" y="17182"/>
                </a:cubicBezTo>
                <a:cubicBezTo>
                  <a:pt x="21600" y="17151"/>
                  <a:pt x="21566" y="17123"/>
                  <a:pt x="21551" y="1709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4" name="Shape 2734"/>
          <p:cNvSpPr/>
          <p:nvPr/>
        </p:nvSpPr>
        <p:spPr>
          <a:xfrm>
            <a:off x="8157677" y="10421151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9450"/>
                </a:moveTo>
                <a:lnTo>
                  <a:pt x="9140" y="9450"/>
                </a:lnTo>
                <a:lnTo>
                  <a:pt x="8293" y="7123"/>
                </a:lnTo>
                <a:lnTo>
                  <a:pt x="8289" y="7126"/>
                </a:lnTo>
                <a:cubicBezTo>
                  <a:pt x="8208" y="6906"/>
                  <a:pt x="8046" y="6750"/>
                  <a:pt x="7855" y="6750"/>
                </a:cubicBezTo>
                <a:cubicBezTo>
                  <a:pt x="7663" y="6750"/>
                  <a:pt x="7501" y="6906"/>
                  <a:pt x="7420" y="7126"/>
                </a:cubicBezTo>
                <a:lnTo>
                  <a:pt x="7415" y="7123"/>
                </a:lnTo>
                <a:lnTo>
                  <a:pt x="6569" y="9450"/>
                </a:lnTo>
                <a:lnTo>
                  <a:pt x="5400" y="9450"/>
                </a:lnTo>
                <a:cubicBezTo>
                  <a:pt x="5129" y="9450"/>
                  <a:pt x="4909" y="9752"/>
                  <a:pt x="4909" y="10125"/>
                </a:cubicBezTo>
                <a:cubicBezTo>
                  <a:pt x="4909" y="10571"/>
                  <a:pt x="5128" y="10687"/>
                  <a:pt x="5128" y="10687"/>
                </a:cubicBezTo>
                <a:lnTo>
                  <a:pt x="6405" y="11857"/>
                </a:lnTo>
                <a:lnTo>
                  <a:pt x="5914" y="14014"/>
                </a:lnTo>
                <a:cubicBezTo>
                  <a:pt x="5905" y="14067"/>
                  <a:pt x="5891" y="14118"/>
                  <a:pt x="5891" y="14175"/>
                </a:cubicBezTo>
                <a:cubicBezTo>
                  <a:pt x="5891" y="14548"/>
                  <a:pt x="6110" y="14850"/>
                  <a:pt x="6382" y="14850"/>
                </a:cubicBezTo>
                <a:cubicBezTo>
                  <a:pt x="6483" y="14850"/>
                  <a:pt x="6574" y="14801"/>
                  <a:pt x="6650" y="14727"/>
                </a:cubicBezTo>
                <a:lnTo>
                  <a:pt x="7855" y="13636"/>
                </a:lnTo>
                <a:lnTo>
                  <a:pt x="9055" y="14737"/>
                </a:lnTo>
                <a:cubicBezTo>
                  <a:pt x="9055" y="14737"/>
                  <a:pt x="9127" y="14850"/>
                  <a:pt x="9327" y="14850"/>
                </a:cubicBezTo>
                <a:cubicBezTo>
                  <a:pt x="9599" y="14850"/>
                  <a:pt x="9818" y="14548"/>
                  <a:pt x="9818" y="14175"/>
                </a:cubicBezTo>
                <a:cubicBezTo>
                  <a:pt x="9818" y="14117"/>
                  <a:pt x="9798" y="14070"/>
                  <a:pt x="9787" y="14017"/>
                </a:cubicBezTo>
                <a:lnTo>
                  <a:pt x="9304" y="11857"/>
                </a:lnTo>
                <a:lnTo>
                  <a:pt x="10581" y="10687"/>
                </a:lnTo>
                <a:cubicBezTo>
                  <a:pt x="10581" y="10687"/>
                  <a:pt x="10800" y="10571"/>
                  <a:pt x="10800" y="10125"/>
                </a:cubicBezTo>
                <a:cubicBezTo>
                  <a:pt x="10800" y="9752"/>
                  <a:pt x="10580" y="9450"/>
                  <a:pt x="10309" y="9450"/>
                </a:cubicBezTo>
                <a:moveTo>
                  <a:pt x="13255" y="11475"/>
                </a:moveTo>
                <a:lnTo>
                  <a:pt x="15218" y="11475"/>
                </a:lnTo>
                <a:cubicBezTo>
                  <a:pt x="15490" y="11475"/>
                  <a:pt x="15709" y="11173"/>
                  <a:pt x="15709" y="10800"/>
                </a:cubicBezTo>
                <a:cubicBezTo>
                  <a:pt x="15709" y="10427"/>
                  <a:pt x="15490" y="10125"/>
                  <a:pt x="15218" y="10125"/>
                </a:cubicBezTo>
                <a:lnTo>
                  <a:pt x="13255" y="10125"/>
                </a:lnTo>
                <a:cubicBezTo>
                  <a:pt x="12983" y="10125"/>
                  <a:pt x="12764" y="10427"/>
                  <a:pt x="12764" y="10800"/>
                </a:cubicBezTo>
                <a:cubicBezTo>
                  <a:pt x="12764" y="11173"/>
                  <a:pt x="12983" y="11475"/>
                  <a:pt x="13255" y="11475"/>
                </a:cubicBezTo>
                <a:moveTo>
                  <a:pt x="16200" y="12150"/>
                </a:moveTo>
                <a:lnTo>
                  <a:pt x="13255" y="12150"/>
                </a:lnTo>
                <a:cubicBezTo>
                  <a:pt x="12983" y="12150"/>
                  <a:pt x="12764" y="12452"/>
                  <a:pt x="12764" y="12825"/>
                </a:cubicBezTo>
                <a:cubicBezTo>
                  <a:pt x="12764" y="13198"/>
                  <a:pt x="12983" y="13500"/>
                  <a:pt x="13255" y="13500"/>
                </a:cubicBezTo>
                <a:lnTo>
                  <a:pt x="16200" y="13500"/>
                </a:lnTo>
                <a:cubicBezTo>
                  <a:pt x="16471" y="13500"/>
                  <a:pt x="16691" y="13198"/>
                  <a:pt x="16691" y="12825"/>
                </a:cubicBezTo>
                <a:cubicBezTo>
                  <a:pt x="16691" y="12452"/>
                  <a:pt x="16471" y="12150"/>
                  <a:pt x="16200" y="12150"/>
                </a:cubicBezTo>
                <a:moveTo>
                  <a:pt x="20618" y="14768"/>
                </a:moveTo>
                <a:lnTo>
                  <a:pt x="20618" y="17550"/>
                </a:lnTo>
                <a:lnTo>
                  <a:pt x="982" y="17550"/>
                </a:lnTo>
                <a:lnTo>
                  <a:pt x="982" y="14768"/>
                </a:lnTo>
                <a:cubicBezTo>
                  <a:pt x="2102" y="14393"/>
                  <a:pt x="2945" y="12759"/>
                  <a:pt x="2945" y="10800"/>
                </a:cubicBezTo>
                <a:cubicBezTo>
                  <a:pt x="2945" y="8841"/>
                  <a:pt x="2102" y="7207"/>
                  <a:pt x="982" y="6832"/>
                </a:cubicBezTo>
                <a:lnTo>
                  <a:pt x="982" y="4050"/>
                </a:lnTo>
                <a:lnTo>
                  <a:pt x="20618" y="4050"/>
                </a:lnTo>
                <a:lnTo>
                  <a:pt x="20618" y="6832"/>
                </a:lnTo>
                <a:cubicBezTo>
                  <a:pt x="19498" y="7207"/>
                  <a:pt x="18655" y="8841"/>
                  <a:pt x="18655" y="10800"/>
                </a:cubicBezTo>
                <a:cubicBezTo>
                  <a:pt x="18655" y="12759"/>
                  <a:pt x="19498" y="14393"/>
                  <a:pt x="20618" y="14768"/>
                </a:cubicBezTo>
                <a:moveTo>
                  <a:pt x="20618" y="20250"/>
                </a:moveTo>
                <a:lnTo>
                  <a:pt x="18655" y="20250"/>
                </a:lnTo>
                <a:lnTo>
                  <a:pt x="18655" y="18900"/>
                </a:lnTo>
                <a:lnTo>
                  <a:pt x="20618" y="18900"/>
                </a:lnTo>
                <a:cubicBezTo>
                  <a:pt x="20618" y="18900"/>
                  <a:pt x="20618" y="20250"/>
                  <a:pt x="20618" y="20250"/>
                </a:cubicBezTo>
                <a:close/>
                <a:moveTo>
                  <a:pt x="17673" y="20250"/>
                </a:moveTo>
                <a:lnTo>
                  <a:pt x="982" y="20250"/>
                </a:lnTo>
                <a:lnTo>
                  <a:pt x="982" y="18900"/>
                </a:lnTo>
                <a:lnTo>
                  <a:pt x="17673" y="18900"/>
                </a:lnTo>
                <a:cubicBezTo>
                  <a:pt x="17673" y="18900"/>
                  <a:pt x="17673" y="20250"/>
                  <a:pt x="17673" y="20250"/>
                </a:cubicBezTo>
                <a:close/>
                <a:moveTo>
                  <a:pt x="982" y="1350"/>
                </a:moveTo>
                <a:lnTo>
                  <a:pt x="17673" y="1350"/>
                </a:lnTo>
                <a:lnTo>
                  <a:pt x="17673" y="2700"/>
                </a:lnTo>
                <a:lnTo>
                  <a:pt x="982" y="2700"/>
                </a:lnTo>
                <a:cubicBezTo>
                  <a:pt x="982" y="2700"/>
                  <a:pt x="982" y="1350"/>
                  <a:pt x="982" y="1350"/>
                </a:cubicBezTo>
                <a:close/>
                <a:moveTo>
                  <a:pt x="18655" y="1350"/>
                </a:moveTo>
                <a:lnTo>
                  <a:pt x="20618" y="1350"/>
                </a:lnTo>
                <a:lnTo>
                  <a:pt x="20618" y="2700"/>
                </a:lnTo>
                <a:lnTo>
                  <a:pt x="18655" y="2700"/>
                </a:lnTo>
                <a:cubicBezTo>
                  <a:pt x="18655" y="2700"/>
                  <a:pt x="18655" y="1350"/>
                  <a:pt x="18655" y="1350"/>
                </a:cubicBezTo>
                <a:close/>
                <a:moveTo>
                  <a:pt x="21109" y="8100"/>
                </a:moveTo>
                <a:cubicBezTo>
                  <a:pt x="21380" y="8100"/>
                  <a:pt x="21600" y="7798"/>
                  <a:pt x="21600" y="7425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lnTo>
                  <a:pt x="982" y="0"/>
                </a:lnTo>
                <a:cubicBezTo>
                  <a:pt x="439" y="0"/>
                  <a:pt x="0" y="605"/>
                  <a:pt x="0" y="1350"/>
                </a:cubicBezTo>
                <a:lnTo>
                  <a:pt x="0" y="7425"/>
                </a:lnTo>
                <a:cubicBezTo>
                  <a:pt x="0" y="7798"/>
                  <a:pt x="220" y="8100"/>
                  <a:pt x="491" y="8100"/>
                </a:cubicBezTo>
                <a:cubicBezTo>
                  <a:pt x="1304" y="8100"/>
                  <a:pt x="1964" y="9309"/>
                  <a:pt x="1964" y="10800"/>
                </a:cubicBezTo>
                <a:cubicBezTo>
                  <a:pt x="1964" y="12291"/>
                  <a:pt x="1304" y="13500"/>
                  <a:pt x="491" y="13500"/>
                </a:cubicBezTo>
                <a:cubicBezTo>
                  <a:pt x="220" y="13500"/>
                  <a:pt x="0" y="13802"/>
                  <a:pt x="0" y="14175"/>
                </a:cubicBezTo>
                <a:lnTo>
                  <a:pt x="0" y="20250"/>
                </a:lnTo>
                <a:cubicBezTo>
                  <a:pt x="0" y="20995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4175"/>
                </a:lnTo>
                <a:cubicBezTo>
                  <a:pt x="21600" y="13802"/>
                  <a:pt x="21380" y="13500"/>
                  <a:pt x="21109" y="13500"/>
                </a:cubicBezTo>
                <a:cubicBezTo>
                  <a:pt x="20296" y="13500"/>
                  <a:pt x="19636" y="12291"/>
                  <a:pt x="19636" y="10800"/>
                </a:cubicBezTo>
                <a:cubicBezTo>
                  <a:pt x="19636" y="9309"/>
                  <a:pt x="20296" y="8100"/>
                  <a:pt x="21109" y="8100"/>
                </a:cubicBezTo>
                <a:moveTo>
                  <a:pt x="16200" y="8100"/>
                </a:moveTo>
                <a:lnTo>
                  <a:pt x="13255" y="8100"/>
                </a:lnTo>
                <a:cubicBezTo>
                  <a:pt x="12983" y="8100"/>
                  <a:pt x="12764" y="8402"/>
                  <a:pt x="12764" y="8775"/>
                </a:cubicBezTo>
                <a:cubicBezTo>
                  <a:pt x="12764" y="9148"/>
                  <a:pt x="12983" y="9450"/>
                  <a:pt x="13255" y="9450"/>
                </a:cubicBezTo>
                <a:lnTo>
                  <a:pt x="16200" y="9450"/>
                </a:lnTo>
                <a:cubicBezTo>
                  <a:pt x="16471" y="9450"/>
                  <a:pt x="16691" y="9148"/>
                  <a:pt x="16691" y="8775"/>
                </a:cubicBezTo>
                <a:cubicBezTo>
                  <a:pt x="16691" y="8402"/>
                  <a:pt x="16471" y="8100"/>
                  <a:pt x="16200" y="81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5" name="Shape 2735"/>
          <p:cNvSpPr/>
          <p:nvPr/>
        </p:nvSpPr>
        <p:spPr>
          <a:xfrm>
            <a:off x="9224197" y="10395758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2000"/>
                </a:moveTo>
                <a:lnTo>
                  <a:pt x="13255" y="12000"/>
                </a:lnTo>
                <a:cubicBezTo>
                  <a:pt x="13526" y="12000"/>
                  <a:pt x="13745" y="11732"/>
                  <a:pt x="13745" y="11400"/>
                </a:cubicBezTo>
                <a:cubicBezTo>
                  <a:pt x="13745" y="11068"/>
                  <a:pt x="13526" y="10800"/>
                  <a:pt x="13255" y="10800"/>
                </a:cubicBezTo>
                <a:lnTo>
                  <a:pt x="11291" y="10800"/>
                </a:lnTo>
                <a:cubicBezTo>
                  <a:pt x="11020" y="10800"/>
                  <a:pt x="10800" y="11068"/>
                  <a:pt x="10800" y="11400"/>
                </a:cubicBezTo>
                <a:cubicBezTo>
                  <a:pt x="10800" y="11732"/>
                  <a:pt x="11020" y="12000"/>
                  <a:pt x="11291" y="12000"/>
                </a:cubicBezTo>
                <a:moveTo>
                  <a:pt x="11291" y="13800"/>
                </a:moveTo>
                <a:lnTo>
                  <a:pt x="12273" y="13800"/>
                </a:lnTo>
                <a:cubicBezTo>
                  <a:pt x="12544" y="13800"/>
                  <a:pt x="12764" y="13532"/>
                  <a:pt x="12764" y="13200"/>
                </a:cubicBezTo>
                <a:cubicBezTo>
                  <a:pt x="12764" y="12868"/>
                  <a:pt x="12544" y="12600"/>
                  <a:pt x="12273" y="12600"/>
                </a:cubicBezTo>
                <a:lnTo>
                  <a:pt x="11291" y="12600"/>
                </a:lnTo>
                <a:cubicBezTo>
                  <a:pt x="11020" y="12600"/>
                  <a:pt x="10800" y="12868"/>
                  <a:pt x="10800" y="13200"/>
                </a:cubicBezTo>
                <a:cubicBezTo>
                  <a:pt x="10800" y="13532"/>
                  <a:pt x="11020" y="13800"/>
                  <a:pt x="11291" y="13800"/>
                </a:cubicBezTo>
                <a:moveTo>
                  <a:pt x="11291" y="15600"/>
                </a:moveTo>
                <a:lnTo>
                  <a:pt x="13255" y="15600"/>
                </a:lnTo>
                <a:cubicBezTo>
                  <a:pt x="13526" y="15600"/>
                  <a:pt x="13745" y="15332"/>
                  <a:pt x="13745" y="15000"/>
                </a:cubicBezTo>
                <a:cubicBezTo>
                  <a:pt x="13745" y="14668"/>
                  <a:pt x="13526" y="14400"/>
                  <a:pt x="13255" y="14400"/>
                </a:cubicBezTo>
                <a:lnTo>
                  <a:pt x="11291" y="14400"/>
                </a:lnTo>
                <a:cubicBezTo>
                  <a:pt x="11020" y="14400"/>
                  <a:pt x="10800" y="14668"/>
                  <a:pt x="10800" y="15000"/>
                </a:cubicBezTo>
                <a:cubicBezTo>
                  <a:pt x="10800" y="15332"/>
                  <a:pt x="11020" y="15600"/>
                  <a:pt x="11291" y="15600"/>
                </a:cubicBezTo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000"/>
                </a:lnTo>
                <a:cubicBezTo>
                  <a:pt x="2945" y="3332"/>
                  <a:pt x="3165" y="3600"/>
                  <a:pt x="3436" y="3600"/>
                </a:cubicBezTo>
                <a:cubicBezTo>
                  <a:pt x="3708" y="3600"/>
                  <a:pt x="3927" y="3332"/>
                  <a:pt x="3927" y="3000"/>
                </a:cubicBezTo>
                <a:lnTo>
                  <a:pt x="3927" y="1200"/>
                </a:lnTo>
                <a:lnTo>
                  <a:pt x="20618" y="1200"/>
                </a:lnTo>
                <a:lnTo>
                  <a:pt x="20618" y="15600"/>
                </a:lnTo>
                <a:lnTo>
                  <a:pt x="20127" y="15600"/>
                </a:lnTo>
                <a:cubicBezTo>
                  <a:pt x="19856" y="15600"/>
                  <a:pt x="19636" y="15868"/>
                  <a:pt x="19636" y="16200"/>
                </a:cubicBezTo>
                <a:cubicBezTo>
                  <a:pt x="19636" y="16532"/>
                  <a:pt x="19856" y="16800"/>
                  <a:pt x="20127" y="16800"/>
                </a:cubicBezTo>
                <a:lnTo>
                  <a:pt x="20618" y="16800"/>
                </a:lnTo>
                <a:cubicBezTo>
                  <a:pt x="21160" y="16800"/>
                  <a:pt x="21600" y="16263"/>
                  <a:pt x="21600" y="15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091" y="13116"/>
                </a:moveTo>
                <a:lnTo>
                  <a:pt x="6156" y="13983"/>
                </a:lnTo>
                <a:lnTo>
                  <a:pt x="5747" y="15581"/>
                </a:lnTo>
                <a:cubicBezTo>
                  <a:pt x="5738" y="15620"/>
                  <a:pt x="5727" y="15657"/>
                  <a:pt x="5727" y="15700"/>
                </a:cubicBezTo>
                <a:cubicBezTo>
                  <a:pt x="5727" y="15976"/>
                  <a:pt x="5911" y="16200"/>
                  <a:pt x="6136" y="16200"/>
                </a:cubicBezTo>
                <a:cubicBezTo>
                  <a:pt x="6221" y="16200"/>
                  <a:pt x="6296" y="16164"/>
                  <a:pt x="6360" y="16110"/>
                </a:cubicBezTo>
                <a:lnTo>
                  <a:pt x="7364" y="15301"/>
                </a:lnTo>
                <a:lnTo>
                  <a:pt x="8364" y="16116"/>
                </a:lnTo>
                <a:cubicBezTo>
                  <a:pt x="8364" y="16116"/>
                  <a:pt x="8424" y="16200"/>
                  <a:pt x="8591" y="16200"/>
                </a:cubicBezTo>
                <a:cubicBezTo>
                  <a:pt x="8817" y="16200"/>
                  <a:pt x="9000" y="15976"/>
                  <a:pt x="9000" y="15700"/>
                </a:cubicBezTo>
                <a:cubicBezTo>
                  <a:pt x="9000" y="15657"/>
                  <a:pt x="8983" y="15622"/>
                  <a:pt x="8974" y="15583"/>
                </a:cubicBezTo>
                <a:lnTo>
                  <a:pt x="8572" y="13983"/>
                </a:lnTo>
                <a:lnTo>
                  <a:pt x="9636" y="13116"/>
                </a:lnTo>
                <a:cubicBezTo>
                  <a:pt x="9636" y="13116"/>
                  <a:pt x="9818" y="13030"/>
                  <a:pt x="9818" y="12700"/>
                </a:cubicBezTo>
                <a:cubicBezTo>
                  <a:pt x="9818" y="12424"/>
                  <a:pt x="9635" y="12200"/>
                  <a:pt x="9409" y="12200"/>
                </a:cubicBezTo>
                <a:lnTo>
                  <a:pt x="8435" y="12200"/>
                </a:lnTo>
                <a:lnTo>
                  <a:pt x="7730" y="10477"/>
                </a:lnTo>
                <a:lnTo>
                  <a:pt x="7726" y="10479"/>
                </a:lnTo>
                <a:cubicBezTo>
                  <a:pt x="7658" y="10315"/>
                  <a:pt x="7524" y="10200"/>
                  <a:pt x="7364" y="10200"/>
                </a:cubicBezTo>
                <a:cubicBezTo>
                  <a:pt x="7204" y="10200"/>
                  <a:pt x="7069" y="10315"/>
                  <a:pt x="7001" y="10479"/>
                </a:cubicBezTo>
                <a:lnTo>
                  <a:pt x="6998" y="10477"/>
                </a:lnTo>
                <a:lnTo>
                  <a:pt x="6293" y="12200"/>
                </a:lnTo>
                <a:lnTo>
                  <a:pt x="5319" y="12200"/>
                </a:lnTo>
                <a:cubicBezTo>
                  <a:pt x="5092" y="12200"/>
                  <a:pt x="4909" y="12424"/>
                  <a:pt x="4909" y="12700"/>
                </a:cubicBezTo>
                <a:cubicBezTo>
                  <a:pt x="4909" y="13030"/>
                  <a:pt x="5091" y="13116"/>
                  <a:pt x="5091" y="13116"/>
                </a:cubicBezTo>
                <a:moveTo>
                  <a:pt x="17673" y="7200"/>
                </a:moveTo>
                <a:lnTo>
                  <a:pt x="16691" y="7200"/>
                </a:lnTo>
                <a:lnTo>
                  <a:pt x="16691" y="6000"/>
                </a:lnTo>
                <a:lnTo>
                  <a:pt x="17673" y="6000"/>
                </a:lnTo>
                <a:cubicBezTo>
                  <a:pt x="17673" y="6000"/>
                  <a:pt x="17673" y="7200"/>
                  <a:pt x="17673" y="7200"/>
                </a:cubicBezTo>
                <a:close/>
                <a:moveTo>
                  <a:pt x="17673" y="10947"/>
                </a:moveTo>
                <a:cubicBezTo>
                  <a:pt x="17102" y="11278"/>
                  <a:pt x="16691" y="12157"/>
                  <a:pt x="16691" y="13200"/>
                </a:cubicBezTo>
                <a:cubicBezTo>
                  <a:pt x="16691" y="14244"/>
                  <a:pt x="17102" y="15122"/>
                  <a:pt x="17673" y="15453"/>
                </a:cubicBezTo>
                <a:lnTo>
                  <a:pt x="17673" y="18000"/>
                </a:lnTo>
                <a:lnTo>
                  <a:pt x="982" y="18000"/>
                </a:lnTo>
                <a:lnTo>
                  <a:pt x="982" y="15453"/>
                </a:lnTo>
                <a:cubicBezTo>
                  <a:pt x="1552" y="15122"/>
                  <a:pt x="1964" y="14244"/>
                  <a:pt x="1964" y="13200"/>
                </a:cubicBezTo>
                <a:cubicBezTo>
                  <a:pt x="1964" y="12157"/>
                  <a:pt x="1552" y="11278"/>
                  <a:pt x="982" y="10947"/>
                </a:cubicBezTo>
                <a:lnTo>
                  <a:pt x="982" y="8400"/>
                </a:lnTo>
                <a:lnTo>
                  <a:pt x="17673" y="8400"/>
                </a:lnTo>
                <a:cubicBezTo>
                  <a:pt x="17673" y="8400"/>
                  <a:pt x="17673" y="10947"/>
                  <a:pt x="17673" y="10947"/>
                </a:cubicBezTo>
                <a:close/>
                <a:moveTo>
                  <a:pt x="17673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673" y="19200"/>
                </a:lnTo>
                <a:cubicBezTo>
                  <a:pt x="17673" y="19200"/>
                  <a:pt x="17673" y="20400"/>
                  <a:pt x="17673" y="20400"/>
                </a:cubicBezTo>
                <a:close/>
                <a:moveTo>
                  <a:pt x="15709" y="20400"/>
                </a:moveTo>
                <a:lnTo>
                  <a:pt x="982" y="20400"/>
                </a:lnTo>
                <a:lnTo>
                  <a:pt x="982" y="19200"/>
                </a:lnTo>
                <a:lnTo>
                  <a:pt x="15709" y="19200"/>
                </a:lnTo>
                <a:cubicBezTo>
                  <a:pt x="15709" y="19200"/>
                  <a:pt x="15709" y="20400"/>
                  <a:pt x="15709" y="20400"/>
                </a:cubicBezTo>
                <a:close/>
                <a:moveTo>
                  <a:pt x="982" y="6000"/>
                </a:moveTo>
                <a:lnTo>
                  <a:pt x="15709" y="6000"/>
                </a:lnTo>
                <a:lnTo>
                  <a:pt x="15709" y="7200"/>
                </a:lnTo>
                <a:lnTo>
                  <a:pt x="982" y="7200"/>
                </a:lnTo>
                <a:cubicBezTo>
                  <a:pt x="982" y="7200"/>
                  <a:pt x="982" y="6000"/>
                  <a:pt x="982" y="6000"/>
                </a:cubicBezTo>
                <a:close/>
                <a:moveTo>
                  <a:pt x="17673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11400"/>
                </a:lnTo>
                <a:cubicBezTo>
                  <a:pt x="0" y="11732"/>
                  <a:pt x="220" y="12000"/>
                  <a:pt x="491" y="12000"/>
                </a:cubicBezTo>
                <a:cubicBezTo>
                  <a:pt x="762" y="12000"/>
                  <a:pt x="982" y="12538"/>
                  <a:pt x="982" y="13200"/>
                </a:cubicBezTo>
                <a:cubicBezTo>
                  <a:pt x="982" y="13862"/>
                  <a:pt x="762" y="14400"/>
                  <a:pt x="491" y="14400"/>
                </a:cubicBezTo>
                <a:cubicBezTo>
                  <a:pt x="220" y="14400"/>
                  <a:pt x="0" y="14668"/>
                  <a:pt x="0" y="15000"/>
                </a:cubicBezTo>
                <a:lnTo>
                  <a:pt x="0" y="20400"/>
                </a:lnTo>
                <a:cubicBezTo>
                  <a:pt x="0" y="21063"/>
                  <a:pt x="439" y="21600"/>
                  <a:pt x="982" y="21600"/>
                </a:cubicBezTo>
                <a:lnTo>
                  <a:pt x="17673" y="21600"/>
                </a:lnTo>
                <a:cubicBezTo>
                  <a:pt x="18214" y="21600"/>
                  <a:pt x="18655" y="21063"/>
                  <a:pt x="18655" y="20400"/>
                </a:cubicBezTo>
                <a:lnTo>
                  <a:pt x="18655" y="15000"/>
                </a:lnTo>
                <a:cubicBezTo>
                  <a:pt x="18655" y="14668"/>
                  <a:pt x="18435" y="14400"/>
                  <a:pt x="18164" y="14400"/>
                </a:cubicBezTo>
                <a:cubicBezTo>
                  <a:pt x="17892" y="14400"/>
                  <a:pt x="17673" y="13862"/>
                  <a:pt x="17673" y="13200"/>
                </a:cubicBezTo>
                <a:cubicBezTo>
                  <a:pt x="17673" y="12538"/>
                  <a:pt x="17892" y="12000"/>
                  <a:pt x="18164" y="12000"/>
                </a:cubicBezTo>
                <a:cubicBezTo>
                  <a:pt x="18435" y="12000"/>
                  <a:pt x="18655" y="11732"/>
                  <a:pt x="18655" y="11400"/>
                </a:cubicBezTo>
                <a:lnTo>
                  <a:pt x="18655" y="6000"/>
                </a:lnTo>
                <a:cubicBezTo>
                  <a:pt x="18655" y="5338"/>
                  <a:pt x="18214" y="4800"/>
                  <a:pt x="17673" y="4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6" name="Shape 2736"/>
          <p:cNvSpPr/>
          <p:nvPr/>
        </p:nvSpPr>
        <p:spPr>
          <a:xfrm>
            <a:off x="10290720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45" y="2945"/>
                </a:moveTo>
                <a:lnTo>
                  <a:pt x="18655" y="2945"/>
                </a:lnTo>
                <a:lnTo>
                  <a:pt x="18655" y="18655"/>
                </a:lnTo>
                <a:lnTo>
                  <a:pt x="2945" y="18655"/>
                </a:lnTo>
                <a:cubicBezTo>
                  <a:pt x="2945" y="18655"/>
                  <a:pt x="2945" y="2945"/>
                  <a:pt x="2945" y="2945"/>
                </a:cubicBezTo>
                <a:close/>
                <a:moveTo>
                  <a:pt x="1964" y="19636"/>
                </a:moveTo>
                <a:lnTo>
                  <a:pt x="19636" y="19636"/>
                </a:lnTo>
                <a:lnTo>
                  <a:pt x="19636" y="1964"/>
                </a:lnTo>
                <a:lnTo>
                  <a:pt x="1964" y="1964"/>
                </a:lnTo>
                <a:cubicBezTo>
                  <a:pt x="1964" y="1964"/>
                  <a:pt x="1964" y="19636"/>
                  <a:pt x="1964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7" name="Shape 2737"/>
          <p:cNvSpPr/>
          <p:nvPr/>
        </p:nvSpPr>
        <p:spPr>
          <a:xfrm>
            <a:off x="11357242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12273"/>
                  <a:pt x="12273" y="12273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1291" y="11291"/>
                </a:lnTo>
                <a:cubicBezTo>
                  <a:pt x="11291" y="11291"/>
                  <a:pt x="11291" y="19636"/>
                  <a:pt x="11291" y="19636"/>
                </a:cubicBezTo>
                <a:close/>
                <a:moveTo>
                  <a:pt x="12273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12273" y="9327"/>
                </a:lnTo>
                <a:cubicBezTo>
                  <a:pt x="12273" y="9327"/>
                  <a:pt x="12273" y="2945"/>
                  <a:pt x="12273" y="2945"/>
                </a:cubicBezTo>
                <a:close/>
                <a:moveTo>
                  <a:pt x="11291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0309"/>
                  <a:pt x="11291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945" y="2945"/>
                </a:moveTo>
                <a:lnTo>
                  <a:pt x="9327" y="2945"/>
                </a:lnTo>
                <a:lnTo>
                  <a:pt x="9327" y="9327"/>
                </a:lnTo>
                <a:lnTo>
                  <a:pt x="2945" y="9327"/>
                </a:lnTo>
                <a:cubicBezTo>
                  <a:pt x="2945" y="9327"/>
                  <a:pt x="2945" y="2945"/>
                  <a:pt x="2945" y="2945"/>
                </a:cubicBezTo>
                <a:close/>
                <a:moveTo>
                  <a:pt x="1964" y="10309"/>
                </a:moveTo>
                <a:lnTo>
                  <a:pt x="10309" y="10309"/>
                </a:lnTo>
                <a:lnTo>
                  <a:pt x="10309" y="1964"/>
                </a:lnTo>
                <a:lnTo>
                  <a:pt x="1964" y="1964"/>
                </a:lnTo>
                <a:cubicBezTo>
                  <a:pt x="1964" y="1964"/>
                  <a:pt x="1964" y="10309"/>
                  <a:pt x="1964" y="10309"/>
                </a:cubicBezTo>
                <a:close/>
                <a:moveTo>
                  <a:pt x="2945" y="12273"/>
                </a:moveTo>
                <a:lnTo>
                  <a:pt x="9327" y="12273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8" name="Shape 2738"/>
          <p:cNvSpPr/>
          <p:nvPr/>
        </p:nvSpPr>
        <p:spPr>
          <a:xfrm>
            <a:off x="1758543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45" y="2945"/>
                </a:moveTo>
                <a:lnTo>
                  <a:pt x="9327" y="2945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2945"/>
                  <a:pt x="2945" y="2945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964"/>
                </a:lnTo>
                <a:lnTo>
                  <a:pt x="1964" y="1964"/>
                </a:lnTo>
                <a:cubicBezTo>
                  <a:pt x="1964" y="1964"/>
                  <a:pt x="1964" y="19636"/>
                  <a:pt x="1964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273" y="2945"/>
                </a:moveTo>
                <a:lnTo>
                  <a:pt x="18655" y="2945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2945"/>
                  <a:pt x="12273" y="2945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9636"/>
                  <a:pt x="11291" y="1963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9" name="Shape 2739"/>
          <p:cNvSpPr/>
          <p:nvPr/>
        </p:nvSpPr>
        <p:spPr>
          <a:xfrm>
            <a:off x="2825064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45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2945" y="9327"/>
                </a:lnTo>
                <a:cubicBezTo>
                  <a:pt x="2945" y="9327"/>
                  <a:pt x="2945" y="2945"/>
                  <a:pt x="2945" y="2945"/>
                </a:cubicBezTo>
                <a:close/>
                <a:moveTo>
                  <a:pt x="1964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964" y="1964"/>
                </a:lnTo>
                <a:cubicBezTo>
                  <a:pt x="1964" y="1964"/>
                  <a:pt x="1964" y="10309"/>
                  <a:pt x="1964" y="10309"/>
                </a:cubicBezTo>
                <a:close/>
                <a:moveTo>
                  <a:pt x="2945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0" name="Shape 2740"/>
          <p:cNvSpPr/>
          <p:nvPr/>
        </p:nvSpPr>
        <p:spPr>
          <a:xfrm>
            <a:off x="3891587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2945"/>
                </a:moveTo>
                <a:lnTo>
                  <a:pt x="18655" y="2945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2945"/>
                  <a:pt x="12273" y="2945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9636"/>
                  <a:pt x="11291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945" y="2945"/>
                </a:moveTo>
                <a:lnTo>
                  <a:pt x="9327" y="2945"/>
                </a:lnTo>
                <a:lnTo>
                  <a:pt x="9327" y="9327"/>
                </a:lnTo>
                <a:lnTo>
                  <a:pt x="2945" y="9327"/>
                </a:lnTo>
                <a:cubicBezTo>
                  <a:pt x="2945" y="9327"/>
                  <a:pt x="2945" y="2945"/>
                  <a:pt x="2945" y="2945"/>
                </a:cubicBezTo>
                <a:close/>
                <a:moveTo>
                  <a:pt x="1964" y="10309"/>
                </a:moveTo>
                <a:lnTo>
                  <a:pt x="10309" y="10309"/>
                </a:lnTo>
                <a:lnTo>
                  <a:pt x="10309" y="1964"/>
                </a:lnTo>
                <a:lnTo>
                  <a:pt x="1964" y="1964"/>
                </a:lnTo>
                <a:cubicBezTo>
                  <a:pt x="1964" y="1964"/>
                  <a:pt x="1964" y="10309"/>
                  <a:pt x="1964" y="10309"/>
                </a:cubicBezTo>
                <a:close/>
                <a:moveTo>
                  <a:pt x="2945" y="12273"/>
                </a:moveTo>
                <a:lnTo>
                  <a:pt x="9327" y="12273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1" name="Shape 2741"/>
          <p:cNvSpPr/>
          <p:nvPr/>
        </p:nvSpPr>
        <p:spPr>
          <a:xfrm>
            <a:off x="4958109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273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12273" y="9327"/>
                </a:lnTo>
                <a:cubicBezTo>
                  <a:pt x="12273" y="9327"/>
                  <a:pt x="12273" y="2945"/>
                  <a:pt x="12273" y="2945"/>
                </a:cubicBezTo>
                <a:close/>
                <a:moveTo>
                  <a:pt x="11291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0309"/>
                  <a:pt x="11291" y="10309"/>
                </a:cubicBezTo>
                <a:close/>
                <a:moveTo>
                  <a:pt x="2945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  <a:moveTo>
                  <a:pt x="9327" y="9327"/>
                </a:moveTo>
                <a:lnTo>
                  <a:pt x="2945" y="9327"/>
                </a:lnTo>
                <a:lnTo>
                  <a:pt x="2945" y="2945"/>
                </a:lnTo>
                <a:lnTo>
                  <a:pt x="9327" y="2945"/>
                </a:lnTo>
                <a:cubicBezTo>
                  <a:pt x="9327" y="2945"/>
                  <a:pt x="9327" y="9327"/>
                  <a:pt x="9327" y="9327"/>
                </a:cubicBezTo>
                <a:close/>
                <a:moveTo>
                  <a:pt x="10309" y="1964"/>
                </a:moveTo>
                <a:lnTo>
                  <a:pt x="1964" y="1964"/>
                </a:lnTo>
                <a:lnTo>
                  <a:pt x="1964" y="10309"/>
                </a:lnTo>
                <a:lnTo>
                  <a:pt x="10309" y="10309"/>
                </a:lnTo>
                <a:cubicBezTo>
                  <a:pt x="10309" y="10309"/>
                  <a:pt x="10309" y="1964"/>
                  <a:pt x="10309" y="196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2" name="Shape 2742"/>
          <p:cNvSpPr/>
          <p:nvPr/>
        </p:nvSpPr>
        <p:spPr>
          <a:xfrm>
            <a:off x="6024631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12273"/>
                  <a:pt x="12273" y="12273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1291" y="11291"/>
                </a:lnTo>
                <a:cubicBezTo>
                  <a:pt x="11291" y="11291"/>
                  <a:pt x="11291" y="19636"/>
                  <a:pt x="11291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273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12273" y="9327"/>
                </a:lnTo>
                <a:cubicBezTo>
                  <a:pt x="12273" y="9327"/>
                  <a:pt x="12273" y="2945"/>
                  <a:pt x="12273" y="2945"/>
                </a:cubicBezTo>
                <a:close/>
                <a:moveTo>
                  <a:pt x="11291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0309"/>
                  <a:pt x="11291" y="10309"/>
                </a:cubicBezTo>
                <a:close/>
                <a:moveTo>
                  <a:pt x="2945" y="2945"/>
                </a:moveTo>
                <a:lnTo>
                  <a:pt x="9327" y="2945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2945"/>
                  <a:pt x="2945" y="2945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964"/>
                </a:lnTo>
                <a:lnTo>
                  <a:pt x="1964" y="1964"/>
                </a:lnTo>
                <a:cubicBezTo>
                  <a:pt x="1964" y="1964"/>
                  <a:pt x="1964" y="19636"/>
                  <a:pt x="1964" y="1963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3" name="Shape 2743"/>
          <p:cNvSpPr/>
          <p:nvPr/>
        </p:nvSpPr>
        <p:spPr>
          <a:xfrm>
            <a:off x="7091154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12273"/>
                  <a:pt x="12273" y="12273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1291" y="11291"/>
                </a:lnTo>
                <a:cubicBezTo>
                  <a:pt x="11291" y="11291"/>
                  <a:pt x="11291" y="19636"/>
                  <a:pt x="11291" y="19636"/>
                </a:cubicBezTo>
                <a:close/>
                <a:moveTo>
                  <a:pt x="2945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2945" y="9327"/>
                </a:lnTo>
                <a:cubicBezTo>
                  <a:pt x="2945" y="9327"/>
                  <a:pt x="2945" y="2945"/>
                  <a:pt x="2945" y="2945"/>
                </a:cubicBezTo>
                <a:close/>
                <a:moveTo>
                  <a:pt x="1964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964" y="1964"/>
                </a:lnTo>
                <a:cubicBezTo>
                  <a:pt x="1964" y="1964"/>
                  <a:pt x="1964" y="10309"/>
                  <a:pt x="1964" y="10309"/>
                </a:cubicBezTo>
                <a:close/>
                <a:moveTo>
                  <a:pt x="2945" y="12273"/>
                </a:moveTo>
                <a:lnTo>
                  <a:pt x="9327" y="12273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4" name="Shape 2744"/>
          <p:cNvSpPr/>
          <p:nvPr/>
        </p:nvSpPr>
        <p:spPr>
          <a:xfrm>
            <a:off x="8157677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9327"/>
                </a:moveTo>
                <a:lnTo>
                  <a:pt x="12273" y="9327"/>
                </a:lnTo>
                <a:lnTo>
                  <a:pt x="12273" y="12273"/>
                </a:lnTo>
                <a:lnTo>
                  <a:pt x="9327" y="12273"/>
                </a:lnTo>
                <a:cubicBezTo>
                  <a:pt x="9327" y="12273"/>
                  <a:pt x="9327" y="9327"/>
                  <a:pt x="9327" y="9327"/>
                </a:cubicBezTo>
                <a:close/>
                <a:moveTo>
                  <a:pt x="8345" y="13255"/>
                </a:moveTo>
                <a:lnTo>
                  <a:pt x="13255" y="13255"/>
                </a:lnTo>
                <a:lnTo>
                  <a:pt x="13255" y="8345"/>
                </a:lnTo>
                <a:lnTo>
                  <a:pt x="8345" y="8345"/>
                </a:lnTo>
                <a:cubicBezTo>
                  <a:pt x="8345" y="8345"/>
                  <a:pt x="8345" y="13255"/>
                  <a:pt x="8345" y="13255"/>
                </a:cubicBezTo>
                <a:close/>
                <a:moveTo>
                  <a:pt x="9327" y="15709"/>
                </a:moveTo>
                <a:lnTo>
                  <a:pt x="12273" y="15709"/>
                </a:lnTo>
                <a:lnTo>
                  <a:pt x="12273" y="18655"/>
                </a:lnTo>
                <a:lnTo>
                  <a:pt x="9327" y="18655"/>
                </a:lnTo>
                <a:cubicBezTo>
                  <a:pt x="9327" y="18655"/>
                  <a:pt x="9327" y="15709"/>
                  <a:pt x="9327" y="15709"/>
                </a:cubicBezTo>
                <a:close/>
                <a:moveTo>
                  <a:pt x="8345" y="19636"/>
                </a:moveTo>
                <a:lnTo>
                  <a:pt x="13255" y="19636"/>
                </a:lnTo>
                <a:lnTo>
                  <a:pt x="13255" y="14727"/>
                </a:lnTo>
                <a:lnTo>
                  <a:pt x="8345" y="14727"/>
                </a:lnTo>
                <a:cubicBezTo>
                  <a:pt x="8345" y="14727"/>
                  <a:pt x="8345" y="19636"/>
                  <a:pt x="8345" y="19636"/>
                </a:cubicBezTo>
                <a:close/>
                <a:moveTo>
                  <a:pt x="15709" y="2945"/>
                </a:moveTo>
                <a:lnTo>
                  <a:pt x="18655" y="2945"/>
                </a:lnTo>
                <a:lnTo>
                  <a:pt x="18655" y="5891"/>
                </a:lnTo>
                <a:lnTo>
                  <a:pt x="15709" y="5891"/>
                </a:lnTo>
                <a:cubicBezTo>
                  <a:pt x="15709" y="5891"/>
                  <a:pt x="15709" y="2945"/>
                  <a:pt x="15709" y="2945"/>
                </a:cubicBezTo>
                <a:close/>
                <a:moveTo>
                  <a:pt x="14727" y="6873"/>
                </a:moveTo>
                <a:lnTo>
                  <a:pt x="19636" y="6873"/>
                </a:lnTo>
                <a:lnTo>
                  <a:pt x="19636" y="1964"/>
                </a:lnTo>
                <a:lnTo>
                  <a:pt x="14727" y="1964"/>
                </a:lnTo>
                <a:cubicBezTo>
                  <a:pt x="14727" y="1964"/>
                  <a:pt x="14727" y="6873"/>
                  <a:pt x="14727" y="6873"/>
                </a:cubicBezTo>
                <a:close/>
                <a:moveTo>
                  <a:pt x="15709" y="9327"/>
                </a:moveTo>
                <a:lnTo>
                  <a:pt x="18655" y="9327"/>
                </a:lnTo>
                <a:lnTo>
                  <a:pt x="18655" y="12273"/>
                </a:lnTo>
                <a:lnTo>
                  <a:pt x="15709" y="12273"/>
                </a:lnTo>
                <a:cubicBezTo>
                  <a:pt x="15709" y="12273"/>
                  <a:pt x="15709" y="9327"/>
                  <a:pt x="15709" y="9327"/>
                </a:cubicBezTo>
                <a:close/>
                <a:moveTo>
                  <a:pt x="14727" y="13255"/>
                </a:moveTo>
                <a:lnTo>
                  <a:pt x="19636" y="13255"/>
                </a:lnTo>
                <a:lnTo>
                  <a:pt x="19636" y="8345"/>
                </a:lnTo>
                <a:lnTo>
                  <a:pt x="14727" y="8345"/>
                </a:lnTo>
                <a:cubicBezTo>
                  <a:pt x="14727" y="8345"/>
                  <a:pt x="14727" y="13255"/>
                  <a:pt x="14727" y="13255"/>
                </a:cubicBezTo>
                <a:close/>
                <a:moveTo>
                  <a:pt x="9327" y="2945"/>
                </a:moveTo>
                <a:lnTo>
                  <a:pt x="12273" y="2945"/>
                </a:lnTo>
                <a:lnTo>
                  <a:pt x="12273" y="5891"/>
                </a:lnTo>
                <a:lnTo>
                  <a:pt x="9327" y="5891"/>
                </a:lnTo>
                <a:cubicBezTo>
                  <a:pt x="9327" y="5891"/>
                  <a:pt x="9327" y="2945"/>
                  <a:pt x="9327" y="2945"/>
                </a:cubicBezTo>
                <a:close/>
                <a:moveTo>
                  <a:pt x="8345" y="6873"/>
                </a:moveTo>
                <a:lnTo>
                  <a:pt x="13255" y="6873"/>
                </a:lnTo>
                <a:lnTo>
                  <a:pt x="13255" y="1964"/>
                </a:lnTo>
                <a:lnTo>
                  <a:pt x="8345" y="1964"/>
                </a:lnTo>
                <a:cubicBezTo>
                  <a:pt x="8345" y="1964"/>
                  <a:pt x="8345" y="6873"/>
                  <a:pt x="8345" y="6873"/>
                </a:cubicBezTo>
                <a:close/>
                <a:moveTo>
                  <a:pt x="2945" y="9327"/>
                </a:moveTo>
                <a:lnTo>
                  <a:pt x="5891" y="9327"/>
                </a:lnTo>
                <a:lnTo>
                  <a:pt x="5891" y="12273"/>
                </a:lnTo>
                <a:lnTo>
                  <a:pt x="2945" y="12273"/>
                </a:lnTo>
                <a:cubicBezTo>
                  <a:pt x="2945" y="12273"/>
                  <a:pt x="2945" y="9327"/>
                  <a:pt x="2945" y="9327"/>
                </a:cubicBezTo>
                <a:close/>
                <a:moveTo>
                  <a:pt x="1964" y="13255"/>
                </a:moveTo>
                <a:lnTo>
                  <a:pt x="6873" y="13255"/>
                </a:lnTo>
                <a:lnTo>
                  <a:pt x="6873" y="8345"/>
                </a:lnTo>
                <a:lnTo>
                  <a:pt x="1964" y="8345"/>
                </a:lnTo>
                <a:cubicBezTo>
                  <a:pt x="1964" y="8345"/>
                  <a:pt x="1964" y="13255"/>
                  <a:pt x="1964" y="13255"/>
                </a:cubicBezTo>
                <a:close/>
                <a:moveTo>
                  <a:pt x="2945" y="2945"/>
                </a:moveTo>
                <a:lnTo>
                  <a:pt x="5891" y="2945"/>
                </a:lnTo>
                <a:lnTo>
                  <a:pt x="5891" y="5891"/>
                </a:lnTo>
                <a:lnTo>
                  <a:pt x="2945" y="5891"/>
                </a:lnTo>
                <a:cubicBezTo>
                  <a:pt x="2945" y="5891"/>
                  <a:pt x="2945" y="2945"/>
                  <a:pt x="2945" y="2945"/>
                </a:cubicBezTo>
                <a:close/>
                <a:moveTo>
                  <a:pt x="1964" y="6873"/>
                </a:moveTo>
                <a:lnTo>
                  <a:pt x="6873" y="6873"/>
                </a:lnTo>
                <a:lnTo>
                  <a:pt x="6873" y="1964"/>
                </a:lnTo>
                <a:lnTo>
                  <a:pt x="1964" y="1964"/>
                </a:lnTo>
                <a:cubicBezTo>
                  <a:pt x="1964" y="1964"/>
                  <a:pt x="1964" y="6873"/>
                  <a:pt x="1964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945" y="15709"/>
                </a:moveTo>
                <a:lnTo>
                  <a:pt x="5891" y="15709"/>
                </a:lnTo>
                <a:lnTo>
                  <a:pt x="5891" y="18655"/>
                </a:lnTo>
                <a:lnTo>
                  <a:pt x="2945" y="18655"/>
                </a:lnTo>
                <a:cubicBezTo>
                  <a:pt x="2945" y="18655"/>
                  <a:pt x="2945" y="15709"/>
                  <a:pt x="2945" y="15709"/>
                </a:cubicBezTo>
                <a:close/>
                <a:moveTo>
                  <a:pt x="1964" y="19636"/>
                </a:moveTo>
                <a:lnTo>
                  <a:pt x="6873" y="19636"/>
                </a:lnTo>
                <a:lnTo>
                  <a:pt x="6873" y="14727"/>
                </a:lnTo>
                <a:lnTo>
                  <a:pt x="1964" y="14727"/>
                </a:lnTo>
                <a:cubicBezTo>
                  <a:pt x="1964" y="14727"/>
                  <a:pt x="1964" y="19636"/>
                  <a:pt x="1964" y="19636"/>
                </a:cubicBezTo>
                <a:close/>
                <a:moveTo>
                  <a:pt x="15709" y="15709"/>
                </a:moveTo>
                <a:lnTo>
                  <a:pt x="18655" y="15709"/>
                </a:lnTo>
                <a:lnTo>
                  <a:pt x="18655" y="18655"/>
                </a:lnTo>
                <a:lnTo>
                  <a:pt x="15709" y="18655"/>
                </a:lnTo>
                <a:cubicBezTo>
                  <a:pt x="15709" y="18655"/>
                  <a:pt x="15709" y="15709"/>
                  <a:pt x="15709" y="15709"/>
                </a:cubicBezTo>
                <a:close/>
                <a:moveTo>
                  <a:pt x="14727" y="19636"/>
                </a:moveTo>
                <a:lnTo>
                  <a:pt x="19636" y="19636"/>
                </a:lnTo>
                <a:lnTo>
                  <a:pt x="19636" y="14727"/>
                </a:lnTo>
                <a:lnTo>
                  <a:pt x="14727" y="14727"/>
                </a:lnTo>
                <a:cubicBezTo>
                  <a:pt x="14727" y="14727"/>
                  <a:pt x="14727" y="19636"/>
                  <a:pt x="14727" y="1963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5" name="Shape 2745"/>
          <p:cNvSpPr/>
          <p:nvPr/>
        </p:nvSpPr>
        <p:spPr>
          <a:xfrm>
            <a:off x="9224197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3745" y="20618"/>
                </a:lnTo>
                <a:cubicBezTo>
                  <a:pt x="13204" y="20618"/>
                  <a:pt x="12764" y="20178"/>
                  <a:pt x="12764" y="19636"/>
                </a:cubicBezTo>
                <a:lnTo>
                  <a:pt x="12764" y="13745"/>
                </a:lnTo>
                <a:cubicBezTo>
                  <a:pt x="12764" y="13204"/>
                  <a:pt x="13204" y="12764"/>
                  <a:pt x="13745" y="12764"/>
                </a:cubicBezTo>
                <a:lnTo>
                  <a:pt x="19636" y="12764"/>
                </a:lnTo>
                <a:cubicBezTo>
                  <a:pt x="20178" y="12764"/>
                  <a:pt x="20618" y="13204"/>
                  <a:pt x="20618" y="13745"/>
                </a:cubicBezTo>
                <a:cubicBezTo>
                  <a:pt x="20618" y="13745"/>
                  <a:pt x="20618" y="19636"/>
                  <a:pt x="20618" y="19636"/>
                </a:cubicBezTo>
                <a:close/>
                <a:moveTo>
                  <a:pt x="19636" y="11782"/>
                </a:moveTo>
                <a:lnTo>
                  <a:pt x="13745" y="11782"/>
                </a:lnTo>
                <a:cubicBezTo>
                  <a:pt x="12661" y="11782"/>
                  <a:pt x="11782" y="12661"/>
                  <a:pt x="11782" y="13745"/>
                </a:cubicBezTo>
                <a:lnTo>
                  <a:pt x="11782" y="19636"/>
                </a:lnTo>
                <a:cubicBezTo>
                  <a:pt x="11782" y="20721"/>
                  <a:pt x="12661" y="21600"/>
                  <a:pt x="13745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3745"/>
                </a:lnTo>
                <a:cubicBezTo>
                  <a:pt x="21600" y="12661"/>
                  <a:pt x="20721" y="11782"/>
                  <a:pt x="19636" y="11782"/>
                </a:cubicBezTo>
                <a:moveTo>
                  <a:pt x="20618" y="7855"/>
                </a:moveTo>
                <a:cubicBezTo>
                  <a:pt x="20618" y="8396"/>
                  <a:pt x="20178" y="8836"/>
                  <a:pt x="19636" y="8836"/>
                </a:cubicBezTo>
                <a:lnTo>
                  <a:pt x="13745" y="8836"/>
                </a:lnTo>
                <a:cubicBezTo>
                  <a:pt x="13204" y="8836"/>
                  <a:pt x="12764" y="8396"/>
                  <a:pt x="12764" y="7855"/>
                </a:cubicBezTo>
                <a:lnTo>
                  <a:pt x="12764" y="1964"/>
                </a:lnTo>
                <a:cubicBezTo>
                  <a:pt x="12764" y="1422"/>
                  <a:pt x="13204" y="982"/>
                  <a:pt x="13745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7855"/>
                  <a:pt x="20618" y="7855"/>
                </a:cubicBezTo>
                <a:close/>
                <a:moveTo>
                  <a:pt x="19636" y="0"/>
                </a:moveTo>
                <a:lnTo>
                  <a:pt x="13745" y="0"/>
                </a:lnTo>
                <a:cubicBezTo>
                  <a:pt x="12661" y="0"/>
                  <a:pt x="11782" y="879"/>
                  <a:pt x="11782" y="1964"/>
                </a:cubicBezTo>
                <a:lnTo>
                  <a:pt x="11782" y="7855"/>
                </a:lnTo>
                <a:cubicBezTo>
                  <a:pt x="11782" y="8939"/>
                  <a:pt x="12661" y="9818"/>
                  <a:pt x="13745" y="9818"/>
                </a:cubicBezTo>
                <a:lnTo>
                  <a:pt x="19636" y="9818"/>
                </a:lnTo>
                <a:cubicBezTo>
                  <a:pt x="20721" y="9818"/>
                  <a:pt x="21600" y="8939"/>
                  <a:pt x="21600" y="7855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8836" y="7855"/>
                </a:moveTo>
                <a:cubicBezTo>
                  <a:pt x="8836" y="8396"/>
                  <a:pt x="8396" y="8836"/>
                  <a:pt x="7855" y="8836"/>
                </a:cubicBezTo>
                <a:lnTo>
                  <a:pt x="1964" y="8836"/>
                </a:lnTo>
                <a:cubicBezTo>
                  <a:pt x="1421" y="8836"/>
                  <a:pt x="982" y="8396"/>
                  <a:pt x="982" y="7855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7855" y="982"/>
                </a:lnTo>
                <a:cubicBezTo>
                  <a:pt x="8396" y="982"/>
                  <a:pt x="8836" y="1422"/>
                  <a:pt x="8836" y="1964"/>
                </a:cubicBezTo>
                <a:cubicBezTo>
                  <a:pt x="8836" y="1964"/>
                  <a:pt x="8836" y="7855"/>
                  <a:pt x="8836" y="7855"/>
                </a:cubicBezTo>
                <a:close/>
                <a:moveTo>
                  <a:pt x="7855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7855"/>
                </a:lnTo>
                <a:cubicBezTo>
                  <a:pt x="0" y="8939"/>
                  <a:pt x="879" y="9818"/>
                  <a:pt x="1964" y="9818"/>
                </a:cubicBezTo>
                <a:lnTo>
                  <a:pt x="7855" y="9818"/>
                </a:lnTo>
                <a:cubicBezTo>
                  <a:pt x="8939" y="9818"/>
                  <a:pt x="9818" y="8939"/>
                  <a:pt x="9818" y="7855"/>
                </a:cubicBezTo>
                <a:lnTo>
                  <a:pt x="9818" y="1964"/>
                </a:lnTo>
                <a:cubicBezTo>
                  <a:pt x="9818" y="879"/>
                  <a:pt x="8939" y="0"/>
                  <a:pt x="7855" y="0"/>
                </a:cubicBezTo>
                <a:moveTo>
                  <a:pt x="8836" y="19636"/>
                </a:moveTo>
                <a:cubicBezTo>
                  <a:pt x="8836" y="20178"/>
                  <a:pt x="8396" y="20618"/>
                  <a:pt x="7855" y="20618"/>
                </a:cubicBez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3745"/>
                </a:lnTo>
                <a:cubicBezTo>
                  <a:pt x="982" y="13204"/>
                  <a:pt x="1421" y="12764"/>
                  <a:pt x="1964" y="12764"/>
                </a:cubicBezTo>
                <a:lnTo>
                  <a:pt x="7855" y="12764"/>
                </a:lnTo>
                <a:cubicBezTo>
                  <a:pt x="8396" y="12764"/>
                  <a:pt x="8836" y="13204"/>
                  <a:pt x="8836" y="13745"/>
                </a:cubicBezTo>
                <a:cubicBezTo>
                  <a:pt x="8836" y="13745"/>
                  <a:pt x="8836" y="19636"/>
                  <a:pt x="8836" y="19636"/>
                </a:cubicBezTo>
                <a:close/>
                <a:moveTo>
                  <a:pt x="7855" y="11782"/>
                </a:moveTo>
                <a:lnTo>
                  <a:pt x="1964" y="11782"/>
                </a:lnTo>
                <a:cubicBezTo>
                  <a:pt x="879" y="11782"/>
                  <a:pt x="0" y="12661"/>
                  <a:pt x="0" y="13745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7855" y="21600"/>
                </a:lnTo>
                <a:cubicBezTo>
                  <a:pt x="8939" y="21600"/>
                  <a:pt x="9818" y="20721"/>
                  <a:pt x="9818" y="19636"/>
                </a:cubicBezTo>
                <a:lnTo>
                  <a:pt x="9818" y="13745"/>
                </a:lnTo>
                <a:cubicBezTo>
                  <a:pt x="9818" y="12661"/>
                  <a:pt x="8939" y="11782"/>
                  <a:pt x="7855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6" name="Shape 2746"/>
          <p:cNvSpPr/>
          <p:nvPr/>
        </p:nvSpPr>
        <p:spPr>
          <a:xfrm>
            <a:off x="10290720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764"/>
                </a:moveTo>
                <a:lnTo>
                  <a:pt x="16691" y="12764"/>
                </a:lnTo>
                <a:lnTo>
                  <a:pt x="16691" y="8836"/>
                </a:lnTo>
                <a:lnTo>
                  <a:pt x="20618" y="8836"/>
                </a:lnTo>
                <a:cubicBezTo>
                  <a:pt x="20618" y="8836"/>
                  <a:pt x="20618" y="12764"/>
                  <a:pt x="20618" y="12764"/>
                </a:cubicBezTo>
                <a:close/>
                <a:moveTo>
                  <a:pt x="20618" y="7855"/>
                </a:moveTo>
                <a:lnTo>
                  <a:pt x="16691" y="7855"/>
                </a:lnTo>
                <a:cubicBezTo>
                  <a:pt x="16149" y="7855"/>
                  <a:pt x="15709" y="8295"/>
                  <a:pt x="15709" y="8836"/>
                </a:cubicBezTo>
                <a:lnTo>
                  <a:pt x="15709" y="12764"/>
                </a:lnTo>
                <a:cubicBezTo>
                  <a:pt x="15709" y="13305"/>
                  <a:pt x="16149" y="13745"/>
                  <a:pt x="16691" y="13745"/>
                </a:cubicBezTo>
                <a:lnTo>
                  <a:pt x="20618" y="13745"/>
                </a:lnTo>
                <a:cubicBezTo>
                  <a:pt x="21160" y="13745"/>
                  <a:pt x="21600" y="13305"/>
                  <a:pt x="21600" y="12764"/>
                </a:cubicBezTo>
                <a:lnTo>
                  <a:pt x="21600" y="8836"/>
                </a:lnTo>
                <a:cubicBezTo>
                  <a:pt x="21600" y="8295"/>
                  <a:pt x="21160" y="7855"/>
                  <a:pt x="20618" y="7855"/>
                </a:cubicBezTo>
                <a:moveTo>
                  <a:pt x="12764" y="20618"/>
                </a:moveTo>
                <a:lnTo>
                  <a:pt x="8836" y="20618"/>
                </a:lnTo>
                <a:lnTo>
                  <a:pt x="8836" y="16691"/>
                </a:lnTo>
                <a:lnTo>
                  <a:pt x="12764" y="16691"/>
                </a:lnTo>
                <a:cubicBezTo>
                  <a:pt x="12764" y="16691"/>
                  <a:pt x="12764" y="20618"/>
                  <a:pt x="12764" y="20618"/>
                </a:cubicBezTo>
                <a:close/>
                <a:moveTo>
                  <a:pt x="12764" y="15709"/>
                </a:moveTo>
                <a:lnTo>
                  <a:pt x="8836" y="15709"/>
                </a:lnTo>
                <a:cubicBezTo>
                  <a:pt x="8295" y="15709"/>
                  <a:pt x="7855" y="16149"/>
                  <a:pt x="7855" y="16691"/>
                </a:cubicBezTo>
                <a:lnTo>
                  <a:pt x="7855" y="20618"/>
                </a:lnTo>
                <a:cubicBezTo>
                  <a:pt x="7855" y="21160"/>
                  <a:pt x="8295" y="21600"/>
                  <a:pt x="8836" y="21600"/>
                </a:cubicBezTo>
                <a:lnTo>
                  <a:pt x="12764" y="21600"/>
                </a:lnTo>
                <a:cubicBezTo>
                  <a:pt x="13305" y="21600"/>
                  <a:pt x="13745" y="21160"/>
                  <a:pt x="13745" y="20618"/>
                </a:cubicBezTo>
                <a:lnTo>
                  <a:pt x="13745" y="16691"/>
                </a:lnTo>
                <a:cubicBezTo>
                  <a:pt x="13745" y="16149"/>
                  <a:pt x="13305" y="15709"/>
                  <a:pt x="12764" y="15709"/>
                </a:cubicBezTo>
                <a:moveTo>
                  <a:pt x="12764" y="12764"/>
                </a:moveTo>
                <a:lnTo>
                  <a:pt x="8836" y="12764"/>
                </a:lnTo>
                <a:lnTo>
                  <a:pt x="8836" y="8836"/>
                </a:lnTo>
                <a:lnTo>
                  <a:pt x="12764" y="8836"/>
                </a:lnTo>
                <a:cubicBezTo>
                  <a:pt x="12764" y="8836"/>
                  <a:pt x="12764" y="12764"/>
                  <a:pt x="12764" y="12764"/>
                </a:cubicBezTo>
                <a:close/>
                <a:moveTo>
                  <a:pt x="12764" y="7855"/>
                </a:moveTo>
                <a:lnTo>
                  <a:pt x="8836" y="7855"/>
                </a:lnTo>
                <a:cubicBezTo>
                  <a:pt x="8295" y="7855"/>
                  <a:pt x="7855" y="8295"/>
                  <a:pt x="7855" y="8836"/>
                </a:cubicBezTo>
                <a:lnTo>
                  <a:pt x="7855" y="12764"/>
                </a:lnTo>
                <a:cubicBezTo>
                  <a:pt x="7855" y="13305"/>
                  <a:pt x="8295" y="13745"/>
                  <a:pt x="8836" y="13745"/>
                </a:cubicBezTo>
                <a:lnTo>
                  <a:pt x="12764" y="13745"/>
                </a:lnTo>
                <a:cubicBezTo>
                  <a:pt x="13305" y="13745"/>
                  <a:pt x="13745" y="13305"/>
                  <a:pt x="13745" y="12764"/>
                </a:cubicBezTo>
                <a:lnTo>
                  <a:pt x="13745" y="8836"/>
                </a:lnTo>
                <a:cubicBezTo>
                  <a:pt x="13745" y="8295"/>
                  <a:pt x="13305" y="7855"/>
                  <a:pt x="12764" y="7855"/>
                </a:cubicBezTo>
                <a:moveTo>
                  <a:pt x="4909" y="4909"/>
                </a:moveTo>
                <a:lnTo>
                  <a:pt x="982" y="4909"/>
                </a:lnTo>
                <a:lnTo>
                  <a:pt x="982" y="982"/>
                </a:lnTo>
                <a:lnTo>
                  <a:pt x="4909" y="982"/>
                </a:lnTo>
                <a:cubicBezTo>
                  <a:pt x="4909" y="982"/>
                  <a:pt x="4909" y="4909"/>
                  <a:pt x="4909" y="4909"/>
                </a:cubicBezTo>
                <a:close/>
                <a:moveTo>
                  <a:pt x="4909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4909"/>
                </a:lnTo>
                <a:cubicBezTo>
                  <a:pt x="0" y="5451"/>
                  <a:pt x="440" y="5891"/>
                  <a:pt x="982" y="5891"/>
                </a:cubicBezTo>
                <a:lnTo>
                  <a:pt x="4909" y="5891"/>
                </a:lnTo>
                <a:cubicBezTo>
                  <a:pt x="5451" y="5891"/>
                  <a:pt x="5891" y="5451"/>
                  <a:pt x="5891" y="4909"/>
                </a:cubicBezTo>
                <a:lnTo>
                  <a:pt x="5891" y="982"/>
                </a:lnTo>
                <a:cubicBezTo>
                  <a:pt x="5891" y="440"/>
                  <a:pt x="5451" y="0"/>
                  <a:pt x="4909" y="0"/>
                </a:cubicBezTo>
                <a:moveTo>
                  <a:pt x="20618" y="20618"/>
                </a:moveTo>
                <a:lnTo>
                  <a:pt x="16691" y="20618"/>
                </a:lnTo>
                <a:lnTo>
                  <a:pt x="16691" y="16691"/>
                </a:lnTo>
                <a:lnTo>
                  <a:pt x="20618" y="16691"/>
                </a:lnTo>
                <a:cubicBezTo>
                  <a:pt x="20618" y="16691"/>
                  <a:pt x="20618" y="20618"/>
                  <a:pt x="20618" y="20618"/>
                </a:cubicBezTo>
                <a:close/>
                <a:moveTo>
                  <a:pt x="20618" y="15709"/>
                </a:moveTo>
                <a:lnTo>
                  <a:pt x="16691" y="15709"/>
                </a:lnTo>
                <a:cubicBezTo>
                  <a:pt x="16149" y="15709"/>
                  <a:pt x="15709" y="16149"/>
                  <a:pt x="15709" y="16691"/>
                </a:cubicBezTo>
                <a:lnTo>
                  <a:pt x="15709" y="20618"/>
                </a:lnTo>
                <a:cubicBezTo>
                  <a:pt x="15709" y="21160"/>
                  <a:pt x="16149" y="21600"/>
                  <a:pt x="16691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16691"/>
                </a:lnTo>
                <a:cubicBezTo>
                  <a:pt x="21600" y="16149"/>
                  <a:pt x="21160" y="15709"/>
                  <a:pt x="20618" y="15709"/>
                </a:cubicBezTo>
                <a:moveTo>
                  <a:pt x="20618" y="4909"/>
                </a:moveTo>
                <a:lnTo>
                  <a:pt x="16691" y="4909"/>
                </a:lnTo>
                <a:lnTo>
                  <a:pt x="16691" y="982"/>
                </a:lnTo>
                <a:lnTo>
                  <a:pt x="20618" y="982"/>
                </a:lnTo>
                <a:cubicBezTo>
                  <a:pt x="20618" y="982"/>
                  <a:pt x="20618" y="4909"/>
                  <a:pt x="20618" y="4909"/>
                </a:cubicBezTo>
                <a:close/>
                <a:moveTo>
                  <a:pt x="20618" y="0"/>
                </a:moveTo>
                <a:lnTo>
                  <a:pt x="16691" y="0"/>
                </a:lnTo>
                <a:cubicBezTo>
                  <a:pt x="16149" y="0"/>
                  <a:pt x="15709" y="440"/>
                  <a:pt x="15709" y="982"/>
                </a:cubicBezTo>
                <a:lnTo>
                  <a:pt x="15709" y="4909"/>
                </a:lnTo>
                <a:cubicBezTo>
                  <a:pt x="15709" y="5451"/>
                  <a:pt x="16149" y="5891"/>
                  <a:pt x="16691" y="5891"/>
                </a:cubicBezTo>
                <a:lnTo>
                  <a:pt x="20618" y="5891"/>
                </a:lnTo>
                <a:cubicBezTo>
                  <a:pt x="21160" y="5891"/>
                  <a:pt x="21600" y="5451"/>
                  <a:pt x="21600" y="4909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909" y="20618"/>
                </a:moveTo>
                <a:lnTo>
                  <a:pt x="982" y="20618"/>
                </a:lnTo>
                <a:lnTo>
                  <a:pt x="982" y="16691"/>
                </a:lnTo>
                <a:lnTo>
                  <a:pt x="4909" y="16691"/>
                </a:lnTo>
                <a:cubicBezTo>
                  <a:pt x="4909" y="16691"/>
                  <a:pt x="4909" y="20618"/>
                  <a:pt x="4909" y="20618"/>
                </a:cubicBezTo>
                <a:close/>
                <a:moveTo>
                  <a:pt x="4909" y="15709"/>
                </a:moveTo>
                <a:lnTo>
                  <a:pt x="982" y="15709"/>
                </a:lnTo>
                <a:cubicBezTo>
                  <a:pt x="440" y="15709"/>
                  <a:pt x="0" y="16149"/>
                  <a:pt x="0" y="16691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4909" y="21600"/>
                </a:lnTo>
                <a:cubicBezTo>
                  <a:pt x="5451" y="21600"/>
                  <a:pt x="5891" y="21160"/>
                  <a:pt x="5891" y="20618"/>
                </a:cubicBezTo>
                <a:lnTo>
                  <a:pt x="5891" y="16691"/>
                </a:lnTo>
                <a:cubicBezTo>
                  <a:pt x="5891" y="16149"/>
                  <a:pt x="5451" y="15709"/>
                  <a:pt x="4909" y="15709"/>
                </a:cubicBezTo>
                <a:moveTo>
                  <a:pt x="12764" y="4909"/>
                </a:moveTo>
                <a:lnTo>
                  <a:pt x="8836" y="4909"/>
                </a:lnTo>
                <a:lnTo>
                  <a:pt x="8836" y="982"/>
                </a:lnTo>
                <a:lnTo>
                  <a:pt x="12764" y="982"/>
                </a:lnTo>
                <a:cubicBezTo>
                  <a:pt x="12764" y="982"/>
                  <a:pt x="12764" y="4909"/>
                  <a:pt x="12764" y="4909"/>
                </a:cubicBezTo>
                <a:close/>
                <a:moveTo>
                  <a:pt x="12764" y="0"/>
                </a:moveTo>
                <a:lnTo>
                  <a:pt x="8836" y="0"/>
                </a:lnTo>
                <a:cubicBezTo>
                  <a:pt x="8295" y="0"/>
                  <a:pt x="7855" y="440"/>
                  <a:pt x="7855" y="982"/>
                </a:cubicBezTo>
                <a:lnTo>
                  <a:pt x="7855" y="4909"/>
                </a:lnTo>
                <a:cubicBezTo>
                  <a:pt x="7855" y="5451"/>
                  <a:pt x="8295" y="5891"/>
                  <a:pt x="8836" y="5891"/>
                </a:cubicBezTo>
                <a:lnTo>
                  <a:pt x="12764" y="5891"/>
                </a:lnTo>
                <a:cubicBezTo>
                  <a:pt x="13305" y="5891"/>
                  <a:pt x="13745" y="5451"/>
                  <a:pt x="13745" y="4909"/>
                </a:cubicBezTo>
                <a:lnTo>
                  <a:pt x="13745" y="982"/>
                </a:lnTo>
                <a:cubicBezTo>
                  <a:pt x="13745" y="440"/>
                  <a:pt x="13305" y="0"/>
                  <a:pt x="12764" y="0"/>
                </a:cubicBezTo>
                <a:moveTo>
                  <a:pt x="4909" y="12764"/>
                </a:moveTo>
                <a:lnTo>
                  <a:pt x="982" y="12764"/>
                </a:lnTo>
                <a:lnTo>
                  <a:pt x="982" y="8836"/>
                </a:lnTo>
                <a:lnTo>
                  <a:pt x="4909" y="8836"/>
                </a:lnTo>
                <a:cubicBezTo>
                  <a:pt x="4909" y="8836"/>
                  <a:pt x="4909" y="12764"/>
                  <a:pt x="4909" y="12764"/>
                </a:cubicBezTo>
                <a:close/>
                <a:moveTo>
                  <a:pt x="4909" y="7855"/>
                </a:moveTo>
                <a:lnTo>
                  <a:pt x="982" y="7855"/>
                </a:lnTo>
                <a:cubicBezTo>
                  <a:pt x="440" y="7855"/>
                  <a:pt x="0" y="8295"/>
                  <a:pt x="0" y="8836"/>
                </a:cubicBezTo>
                <a:lnTo>
                  <a:pt x="0" y="12764"/>
                </a:lnTo>
                <a:cubicBezTo>
                  <a:pt x="0" y="13305"/>
                  <a:pt x="440" y="13745"/>
                  <a:pt x="982" y="13745"/>
                </a:cubicBezTo>
                <a:lnTo>
                  <a:pt x="4909" y="13745"/>
                </a:lnTo>
                <a:cubicBezTo>
                  <a:pt x="5451" y="13745"/>
                  <a:pt x="5891" y="13305"/>
                  <a:pt x="5891" y="12764"/>
                </a:cubicBezTo>
                <a:lnTo>
                  <a:pt x="5891" y="8836"/>
                </a:lnTo>
                <a:cubicBezTo>
                  <a:pt x="5891" y="8295"/>
                  <a:pt x="5451" y="7855"/>
                  <a:pt x="4909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7" name="Shape 2747"/>
          <p:cNvSpPr/>
          <p:nvPr/>
        </p:nvSpPr>
        <p:spPr>
          <a:xfrm>
            <a:off x="11357242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618"/>
                </a:moveTo>
                <a:lnTo>
                  <a:pt x="8836" y="20618"/>
                </a:lnTo>
                <a:lnTo>
                  <a:pt x="8836" y="8836"/>
                </a:lnTo>
                <a:lnTo>
                  <a:pt x="20618" y="8836"/>
                </a:lnTo>
                <a:cubicBezTo>
                  <a:pt x="20618" y="8836"/>
                  <a:pt x="20618" y="20618"/>
                  <a:pt x="20618" y="20618"/>
                </a:cubicBezTo>
                <a:close/>
                <a:moveTo>
                  <a:pt x="20618" y="7855"/>
                </a:moveTo>
                <a:lnTo>
                  <a:pt x="8836" y="7855"/>
                </a:lnTo>
                <a:cubicBezTo>
                  <a:pt x="8295" y="7855"/>
                  <a:pt x="7855" y="8295"/>
                  <a:pt x="7855" y="8836"/>
                </a:cubicBezTo>
                <a:lnTo>
                  <a:pt x="7855" y="20618"/>
                </a:lnTo>
                <a:cubicBezTo>
                  <a:pt x="7855" y="21160"/>
                  <a:pt x="8295" y="21600"/>
                  <a:pt x="8836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8836"/>
                </a:lnTo>
                <a:cubicBezTo>
                  <a:pt x="21600" y="8295"/>
                  <a:pt x="21160" y="7855"/>
                  <a:pt x="20618" y="7855"/>
                </a:cubicBezTo>
                <a:moveTo>
                  <a:pt x="20618" y="4909"/>
                </a:moveTo>
                <a:lnTo>
                  <a:pt x="982" y="49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4909"/>
                  <a:pt x="20618" y="490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4909"/>
                </a:lnTo>
                <a:cubicBezTo>
                  <a:pt x="0" y="5451"/>
                  <a:pt x="440" y="5891"/>
                  <a:pt x="982" y="5891"/>
                </a:cubicBezTo>
                <a:lnTo>
                  <a:pt x="20618" y="5891"/>
                </a:lnTo>
                <a:cubicBezTo>
                  <a:pt x="21160" y="5891"/>
                  <a:pt x="21600" y="5451"/>
                  <a:pt x="21600" y="4909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909" y="20618"/>
                </a:moveTo>
                <a:lnTo>
                  <a:pt x="982" y="20618"/>
                </a:lnTo>
                <a:lnTo>
                  <a:pt x="982" y="8836"/>
                </a:lnTo>
                <a:lnTo>
                  <a:pt x="4909" y="8836"/>
                </a:lnTo>
                <a:cubicBezTo>
                  <a:pt x="4909" y="8836"/>
                  <a:pt x="4909" y="20618"/>
                  <a:pt x="4909" y="20618"/>
                </a:cubicBezTo>
                <a:close/>
                <a:moveTo>
                  <a:pt x="4909" y="7855"/>
                </a:moveTo>
                <a:lnTo>
                  <a:pt x="982" y="7855"/>
                </a:lnTo>
                <a:cubicBezTo>
                  <a:pt x="440" y="7855"/>
                  <a:pt x="0" y="8295"/>
                  <a:pt x="0" y="8836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4909" y="21600"/>
                </a:lnTo>
                <a:cubicBezTo>
                  <a:pt x="5451" y="21600"/>
                  <a:pt x="5891" y="21160"/>
                  <a:pt x="5891" y="20618"/>
                </a:cubicBezTo>
                <a:lnTo>
                  <a:pt x="5891" y="8836"/>
                </a:lnTo>
                <a:cubicBezTo>
                  <a:pt x="5891" y="8295"/>
                  <a:pt x="5451" y="7855"/>
                  <a:pt x="4909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8" name="Shape 2748"/>
          <p:cNvSpPr/>
          <p:nvPr/>
        </p:nvSpPr>
        <p:spPr>
          <a:xfrm>
            <a:off x="12474551" y="821190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8280" y="18579"/>
                </a:moveTo>
                <a:cubicBezTo>
                  <a:pt x="20323" y="16614"/>
                  <a:pt x="21600" y="13859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ubicBezTo>
                  <a:pt x="4836" y="0"/>
                  <a:pt x="0" y="4835"/>
                  <a:pt x="0" y="10800"/>
                </a:cubicBezTo>
                <a:cubicBezTo>
                  <a:pt x="0" y="13859"/>
                  <a:pt x="1277" y="16614"/>
                  <a:pt x="3320" y="18579"/>
                </a:cubicBezTo>
                <a:lnTo>
                  <a:pt x="2107" y="20762"/>
                </a:lnTo>
                <a:cubicBezTo>
                  <a:pt x="2019" y="20851"/>
                  <a:pt x="1964" y="20974"/>
                  <a:pt x="1964" y="21109"/>
                </a:cubicBezTo>
                <a:cubicBezTo>
                  <a:pt x="1964" y="21380"/>
                  <a:pt x="2184" y="21600"/>
                  <a:pt x="2455" y="21600"/>
                </a:cubicBezTo>
                <a:cubicBezTo>
                  <a:pt x="2590" y="21600"/>
                  <a:pt x="2713" y="21545"/>
                  <a:pt x="2802" y="21456"/>
                </a:cubicBezTo>
                <a:cubicBezTo>
                  <a:pt x="2858" y="21400"/>
                  <a:pt x="2894" y="21327"/>
                  <a:pt x="2917" y="21248"/>
                </a:cubicBezTo>
                <a:lnTo>
                  <a:pt x="4044" y="19219"/>
                </a:lnTo>
                <a:cubicBezTo>
                  <a:pt x="5895" y="20706"/>
                  <a:pt x="8242" y="21600"/>
                  <a:pt x="10800" y="21600"/>
                </a:cubicBezTo>
                <a:cubicBezTo>
                  <a:pt x="13358" y="21600"/>
                  <a:pt x="15705" y="20706"/>
                  <a:pt x="17555" y="19219"/>
                </a:cubicBezTo>
                <a:lnTo>
                  <a:pt x="18683" y="21248"/>
                </a:lnTo>
                <a:cubicBezTo>
                  <a:pt x="18743" y="21450"/>
                  <a:pt x="18923" y="21600"/>
                  <a:pt x="19145" y="21600"/>
                </a:cubicBezTo>
                <a:cubicBezTo>
                  <a:pt x="19416" y="21600"/>
                  <a:pt x="19636" y="21380"/>
                  <a:pt x="19636" y="21109"/>
                </a:cubicBezTo>
                <a:cubicBezTo>
                  <a:pt x="19636" y="20974"/>
                  <a:pt x="19581" y="20851"/>
                  <a:pt x="19493" y="20762"/>
                </a:cubicBezTo>
                <a:cubicBezTo>
                  <a:pt x="19493" y="20762"/>
                  <a:pt x="18280" y="18579"/>
                  <a:pt x="18280" y="18579"/>
                </a:cubicBezTo>
                <a:close/>
                <a:moveTo>
                  <a:pt x="10800" y="16691"/>
                </a:moveTo>
                <a:cubicBezTo>
                  <a:pt x="7547" y="16691"/>
                  <a:pt x="4909" y="14053"/>
                  <a:pt x="4909" y="10800"/>
                </a:cubicBezTo>
                <a:cubicBezTo>
                  <a:pt x="4909" y="7547"/>
                  <a:pt x="7547" y="4909"/>
                  <a:pt x="10800" y="4909"/>
                </a:cubicBezTo>
                <a:cubicBezTo>
                  <a:pt x="14053" y="4909"/>
                  <a:pt x="16691" y="7547"/>
                  <a:pt x="16691" y="10800"/>
                </a:cubicBezTo>
                <a:cubicBezTo>
                  <a:pt x="16691" y="14053"/>
                  <a:pt x="14053" y="16691"/>
                  <a:pt x="10800" y="16691"/>
                </a:cubicBezTo>
                <a:moveTo>
                  <a:pt x="10800" y="3927"/>
                </a:moveTo>
                <a:cubicBezTo>
                  <a:pt x="7004" y="3927"/>
                  <a:pt x="3927" y="7004"/>
                  <a:pt x="3927" y="10800"/>
                </a:cubicBezTo>
                <a:cubicBezTo>
                  <a:pt x="3927" y="14596"/>
                  <a:pt x="7004" y="17673"/>
                  <a:pt x="10800" y="17673"/>
                </a:cubicBezTo>
                <a:cubicBezTo>
                  <a:pt x="14596" y="17673"/>
                  <a:pt x="17673" y="14596"/>
                  <a:pt x="17673" y="10800"/>
                </a:cubicBezTo>
                <a:cubicBezTo>
                  <a:pt x="17673" y="7004"/>
                  <a:pt x="14596" y="3927"/>
                  <a:pt x="10800" y="3927"/>
                </a:cubicBezTo>
                <a:moveTo>
                  <a:pt x="10800" y="12764"/>
                </a:move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moveTo>
                  <a:pt x="10800" y="7855"/>
                </a:moveTo>
                <a:cubicBezTo>
                  <a:pt x="9173" y="7855"/>
                  <a:pt x="7855" y="9173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9173"/>
                  <a:pt x="12427" y="7855"/>
                  <a:pt x="10800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9" name="Shape 2749"/>
          <p:cNvSpPr/>
          <p:nvPr/>
        </p:nvSpPr>
        <p:spPr>
          <a:xfrm>
            <a:off x="13642648" y="8211901"/>
            <a:ext cx="355507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2884"/>
                </a:moveTo>
                <a:cubicBezTo>
                  <a:pt x="19862" y="3005"/>
                  <a:pt x="15661" y="5580"/>
                  <a:pt x="11606" y="4718"/>
                </a:cubicBezTo>
                <a:cubicBezTo>
                  <a:pt x="9681" y="4310"/>
                  <a:pt x="8390" y="3899"/>
                  <a:pt x="7251" y="3535"/>
                </a:cubicBezTo>
                <a:cubicBezTo>
                  <a:pt x="5426" y="2953"/>
                  <a:pt x="4042" y="2513"/>
                  <a:pt x="1543" y="2647"/>
                </a:cubicBezTo>
                <a:lnTo>
                  <a:pt x="1543" y="982"/>
                </a:lnTo>
                <a:lnTo>
                  <a:pt x="20057" y="982"/>
                </a:lnTo>
                <a:cubicBezTo>
                  <a:pt x="20057" y="982"/>
                  <a:pt x="20057" y="2884"/>
                  <a:pt x="20057" y="2884"/>
                </a:cubicBezTo>
                <a:close/>
                <a:moveTo>
                  <a:pt x="20057" y="5891"/>
                </a:moveTo>
                <a:cubicBezTo>
                  <a:pt x="20057" y="9144"/>
                  <a:pt x="15912" y="11782"/>
                  <a:pt x="10800" y="11782"/>
                </a:cubicBezTo>
                <a:cubicBezTo>
                  <a:pt x="5688" y="11782"/>
                  <a:pt x="1543" y="9144"/>
                  <a:pt x="1543" y="5891"/>
                </a:cubicBezTo>
                <a:lnTo>
                  <a:pt x="1543" y="3634"/>
                </a:lnTo>
                <a:cubicBezTo>
                  <a:pt x="3681" y="3500"/>
                  <a:pt x="4767" y="3841"/>
                  <a:pt x="6560" y="4413"/>
                </a:cubicBezTo>
                <a:cubicBezTo>
                  <a:pt x="7686" y="4772"/>
                  <a:pt x="9088" y="5219"/>
                  <a:pt x="11118" y="5650"/>
                </a:cubicBezTo>
                <a:cubicBezTo>
                  <a:pt x="11869" y="5809"/>
                  <a:pt x="12616" y="5877"/>
                  <a:pt x="13343" y="5877"/>
                </a:cubicBezTo>
                <a:cubicBezTo>
                  <a:pt x="16154" y="5877"/>
                  <a:pt x="18675" y="4862"/>
                  <a:pt x="20057" y="4176"/>
                </a:cubicBezTo>
                <a:cubicBezTo>
                  <a:pt x="20057" y="4176"/>
                  <a:pt x="20057" y="5891"/>
                  <a:pt x="20057" y="5891"/>
                </a:cubicBezTo>
                <a:close/>
                <a:moveTo>
                  <a:pt x="20829" y="0"/>
                </a:moveTo>
                <a:lnTo>
                  <a:pt x="771" y="0"/>
                </a:lnTo>
                <a:cubicBezTo>
                  <a:pt x="346" y="0"/>
                  <a:pt x="0" y="220"/>
                  <a:pt x="0" y="491"/>
                </a:cubicBezTo>
                <a:lnTo>
                  <a:pt x="0" y="5891"/>
                </a:lnTo>
                <a:cubicBezTo>
                  <a:pt x="0" y="9521"/>
                  <a:pt x="4426" y="12486"/>
                  <a:pt x="10029" y="12739"/>
                </a:cubicBezTo>
                <a:lnTo>
                  <a:pt x="10029" y="20618"/>
                </a:lnTo>
                <a:lnTo>
                  <a:pt x="3857" y="20618"/>
                </a:lnTo>
                <a:cubicBezTo>
                  <a:pt x="3432" y="20618"/>
                  <a:pt x="3086" y="20838"/>
                  <a:pt x="3086" y="21109"/>
                </a:cubicBezTo>
                <a:cubicBezTo>
                  <a:pt x="3086" y="21380"/>
                  <a:pt x="3432" y="21600"/>
                  <a:pt x="3857" y="21600"/>
                </a:cubicBezTo>
                <a:lnTo>
                  <a:pt x="17743" y="21600"/>
                </a:lnTo>
                <a:cubicBezTo>
                  <a:pt x="18168" y="21600"/>
                  <a:pt x="18514" y="21380"/>
                  <a:pt x="18514" y="21109"/>
                </a:cubicBezTo>
                <a:cubicBezTo>
                  <a:pt x="18514" y="20838"/>
                  <a:pt x="18168" y="20618"/>
                  <a:pt x="17743" y="20618"/>
                </a:cubicBezTo>
                <a:lnTo>
                  <a:pt x="11571" y="20618"/>
                </a:lnTo>
                <a:lnTo>
                  <a:pt x="11571" y="12739"/>
                </a:lnTo>
                <a:cubicBezTo>
                  <a:pt x="17174" y="12486"/>
                  <a:pt x="21600" y="9521"/>
                  <a:pt x="21600" y="5891"/>
                </a:cubicBezTo>
                <a:lnTo>
                  <a:pt x="21600" y="491"/>
                </a:lnTo>
                <a:cubicBezTo>
                  <a:pt x="21600" y="220"/>
                  <a:pt x="21254" y="0"/>
                  <a:pt x="20829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0" name="Shape 2750"/>
          <p:cNvSpPr/>
          <p:nvPr/>
        </p:nvSpPr>
        <p:spPr>
          <a:xfrm>
            <a:off x="14759957" y="8211901"/>
            <a:ext cx="25393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40" y="10800"/>
                </a:moveTo>
                <a:lnTo>
                  <a:pt x="2160" y="10800"/>
                </a:lnTo>
                <a:lnTo>
                  <a:pt x="2160" y="8836"/>
                </a:lnTo>
                <a:cubicBezTo>
                  <a:pt x="2160" y="7752"/>
                  <a:pt x="4094" y="6873"/>
                  <a:pt x="6480" y="6873"/>
                </a:cubicBezTo>
                <a:lnTo>
                  <a:pt x="15120" y="6873"/>
                </a:lnTo>
                <a:cubicBezTo>
                  <a:pt x="17506" y="6873"/>
                  <a:pt x="19440" y="7752"/>
                  <a:pt x="19440" y="8836"/>
                </a:cubicBezTo>
                <a:cubicBezTo>
                  <a:pt x="19440" y="8836"/>
                  <a:pt x="19440" y="10800"/>
                  <a:pt x="19440" y="10800"/>
                </a:cubicBezTo>
                <a:close/>
                <a:moveTo>
                  <a:pt x="19440" y="15709"/>
                </a:moveTo>
                <a:lnTo>
                  <a:pt x="2160" y="15709"/>
                </a:lnTo>
                <a:lnTo>
                  <a:pt x="2160" y="11782"/>
                </a:lnTo>
                <a:lnTo>
                  <a:pt x="19440" y="11782"/>
                </a:lnTo>
                <a:cubicBezTo>
                  <a:pt x="19440" y="11782"/>
                  <a:pt x="19440" y="15709"/>
                  <a:pt x="19440" y="15709"/>
                </a:cubicBezTo>
                <a:close/>
                <a:moveTo>
                  <a:pt x="19440" y="18655"/>
                </a:moveTo>
                <a:cubicBezTo>
                  <a:pt x="19440" y="19739"/>
                  <a:pt x="17506" y="20618"/>
                  <a:pt x="15120" y="20618"/>
                </a:cubicBezTo>
                <a:lnTo>
                  <a:pt x="6480" y="20618"/>
                </a:lnTo>
                <a:cubicBezTo>
                  <a:pt x="4094" y="20618"/>
                  <a:pt x="2160" y="19739"/>
                  <a:pt x="2160" y="18655"/>
                </a:cubicBezTo>
                <a:lnTo>
                  <a:pt x="2160" y="16691"/>
                </a:lnTo>
                <a:lnTo>
                  <a:pt x="19440" y="16691"/>
                </a:lnTo>
                <a:cubicBezTo>
                  <a:pt x="19440" y="16691"/>
                  <a:pt x="19440" y="18655"/>
                  <a:pt x="19440" y="18655"/>
                </a:cubicBezTo>
                <a:close/>
                <a:moveTo>
                  <a:pt x="8640" y="2945"/>
                </a:moveTo>
                <a:lnTo>
                  <a:pt x="12960" y="2945"/>
                </a:lnTo>
                <a:lnTo>
                  <a:pt x="12960" y="5891"/>
                </a:lnTo>
                <a:lnTo>
                  <a:pt x="8640" y="5891"/>
                </a:lnTo>
                <a:cubicBezTo>
                  <a:pt x="8640" y="5891"/>
                  <a:pt x="8640" y="2945"/>
                  <a:pt x="8640" y="2945"/>
                </a:cubicBezTo>
                <a:close/>
                <a:moveTo>
                  <a:pt x="8640" y="982"/>
                </a:moveTo>
                <a:lnTo>
                  <a:pt x="12960" y="982"/>
                </a:lnTo>
                <a:lnTo>
                  <a:pt x="12960" y="1964"/>
                </a:lnTo>
                <a:lnTo>
                  <a:pt x="8640" y="1964"/>
                </a:lnTo>
                <a:cubicBezTo>
                  <a:pt x="8640" y="1964"/>
                  <a:pt x="8640" y="982"/>
                  <a:pt x="8640" y="982"/>
                </a:cubicBezTo>
                <a:close/>
                <a:moveTo>
                  <a:pt x="15120" y="5891"/>
                </a:moveTo>
                <a:lnTo>
                  <a:pt x="15120" y="982"/>
                </a:lnTo>
                <a:cubicBezTo>
                  <a:pt x="15120" y="440"/>
                  <a:pt x="14152" y="0"/>
                  <a:pt x="12960" y="0"/>
                </a:cubicBezTo>
                <a:lnTo>
                  <a:pt x="8640" y="0"/>
                </a:lnTo>
                <a:cubicBezTo>
                  <a:pt x="7448" y="0"/>
                  <a:pt x="6480" y="440"/>
                  <a:pt x="6480" y="982"/>
                </a:cubicBezTo>
                <a:lnTo>
                  <a:pt x="6480" y="5891"/>
                </a:lnTo>
                <a:cubicBezTo>
                  <a:pt x="2901" y="5891"/>
                  <a:pt x="0" y="7209"/>
                  <a:pt x="0" y="8836"/>
                </a:cubicBezTo>
                <a:lnTo>
                  <a:pt x="0" y="18655"/>
                </a:lnTo>
                <a:cubicBezTo>
                  <a:pt x="0" y="20281"/>
                  <a:pt x="2901" y="21600"/>
                  <a:pt x="6480" y="21600"/>
                </a:cubicBezTo>
                <a:lnTo>
                  <a:pt x="15120" y="21600"/>
                </a:lnTo>
                <a:cubicBezTo>
                  <a:pt x="18698" y="21600"/>
                  <a:pt x="21600" y="20281"/>
                  <a:pt x="21600" y="18655"/>
                </a:cubicBezTo>
                <a:lnTo>
                  <a:pt x="21600" y="8836"/>
                </a:lnTo>
                <a:cubicBezTo>
                  <a:pt x="21600" y="7209"/>
                  <a:pt x="18698" y="5891"/>
                  <a:pt x="15120" y="58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1" name="Shape 2751"/>
          <p:cNvSpPr/>
          <p:nvPr/>
        </p:nvSpPr>
        <p:spPr>
          <a:xfrm>
            <a:off x="15775691" y="8211901"/>
            <a:ext cx="355507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114" y="15709"/>
                </a:moveTo>
                <a:cubicBezTo>
                  <a:pt x="12689" y="15709"/>
                  <a:pt x="12343" y="15929"/>
                  <a:pt x="12343" y="16200"/>
                </a:cubicBezTo>
                <a:cubicBezTo>
                  <a:pt x="12343" y="16471"/>
                  <a:pt x="12689" y="16691"/>
                  <a:pt x="13114" y="16691"/>
                </a:cubicBezTo>
                <a:cubicBezTo>
                  <a:pt x="13540" y="16691"/>
                  <a:pt x="13886" y="16471"/>
                  <a:pt x="13886" y="16200"/>
                </a:cubicBezTo>
                <a:cubicBezTo>
                  <a:pt x="13886" y="15929"/>
                  <a:pt x="13540" y="15709"/>
                  <a:pt x="13114" y="15709"/>
                </a:cubicBezTo>
                <a:moveTo>
                  <a:pt x="13886" y="7855"/>
                </a:moveTo>
                <a:cubicBezTo>
                  <a:pt x="13034" y="7855"/>
                  <a:pt x="12343" y="8295"/>
                  <a:pt x="12343" y="8836"/>
                </a:cubicBezTo>
                <a:cubicBezTo>
                  <a:pt x="12343" y="9379"/>
                  <a:pt x="13034" y="9818"/>
                  <a:pt x="13886" y="9818"/>
                </a:cubicBezTo>
                <a:cubicBezTo>
                  <a:pt x="14737" y="9818"/>
                  <a:pt x="15429" y="9379"/>
                  <a:pt x="15429" y="8836"/>
                </a:cubicBezTo>
                <a:cubicBezTo>
                  <a:pt x="15429" y="8295"/>
                  <a:pt x="14737" y="7855"/>
                  <a:pt x="13886" y="7855"/>
                </a:cubicBezTo>
                <a:moveTo>
                  <a:pt x="8486" y="17673"/>
                </a:moveTo>
                <a:cubicBezTo>
                  <a:pt x="8060" y="17673"/>
                  <a:pt x="7714" y="17892"/>
                  <a:pt x="7714" y="18164"/>
                </a:cubicBezTo>
                <a:cubicBezTo>
                  <a:pt x="7714" y="18435"/>
                  <a:pt x="8060" y="18655"/>
                  <a:pt x="8486" y="18655"/>
                </a:cubicBezTo>
                <a:cubicBezTo>
                  <a:pt x="8911" y="18655"/>
                  <a:pt x="9257" y="18435"/>
                  <a:pt x="9257" y="18164"/>
                </a:cubicBezTo>
                <a:cubicBezTo>
                  <a:pt x="9257" y="17892"/>
                  <a:pt x="8911" y="17673"/>
                  <a:pt x="8486" y="17673"/>
                </a:cubicBezTo>
                <a:moveTo>
                  <a:pt x="9257" y="10800"/>
                </a:moveTo>
                <a:cubicBezTo>
                  <a:pt x="9257" y="10258"/>
                  <a:pt x="8566" y="9818"/>
                  <a:pt x="7714" y="9818"/>
                </a:cubicBezTo>
                <a:cubicBezTo>
                  <a:pt x="6863" y="9818"/>
                  <a:pt x="6171" y="10258"/>
                  <a:pt x="6171" y="10800"/>
                </a:cubicBezTo>
                <a:cubicBezTo>
                  <a:pt x="6171" y="11343"/>
                  <a:pt x="6863" y="11782"/>
                  <a:pt x="7714" y="11782"/>
                </a:cubicBezTo>
                <a:cubicBezTo>
                  <a:pt x="8566" y="11782"/>
                  <a:pt x="9257" y="11343"/>
                  <a:pt x="9257" y="10800"/>
                </a:cubicBezTo>
                <a:moveTo>
                  <a:pt x="10029" y="13745"/>
                </a:moveTo>
                <a:cubicBezTo>
                  <a:pt x="9603" y="13745"/>
                  <a:pt x="9257" y="13965"/>
                  <a:pt x="9257" y="14236"/>
                </a:cubicBezTo>
                <a:cubicBezTo>
                  <a:pt x="9257" y="14508"/>
                  <a:pt x="9603" y="14727"/>
                  <a:pt x="10029" y="14727"/>
                </a:cubicBezTo>
                <a:cubicBezTo>
                  <a:pt x="10454" y="14727"/>
                  <a:pt x="10800" y="14508"/>
                  <a:pt x="10800" y="14236"/>
                </a:cubicBezTo>
                <a:cubicBezTo>
                  <a:pt x="10800" y="13965"/>
                  <a:pt x="10454" y="13745"/>
                  <a:pt x="10029" y="13745"/>
                </a:cubicBezTo>
                <a:moveTo>
                  <a:pt x="20057" y="1964"/>
                </a:moveTo>
                <a:lnTo>
                  <a:pt x="1543" y="1964"/>
                </a:lnTo>
                <a:lnTo>
                  <a:pt x="1543" y="982"/>
                </a:lnTo>
                <a:lnTo>
                  <a:pt x="20057" y="982"/>
                </a:lnTo>
                <a:cubicBezTo>
                  <a:pt x="20057" y="982"/>
                  <a:pt x="20057" y="1964"/>
                  <a:pt x="20057" y="1964"/>
                </a:cubicBezTo>
                <a:close/>
                <a:moveTo>
                  <a:pt x="16971" y="4033"/>
                </a:moveTo>
                <a:cubicBezTo>
                  <a:pt x="16079" y="4186"/>
                  <a:pt x="15266" y="4419"/>
                  <a:pt x="14349" y="4691"/>
                </a:cubicBezTo>
                <a:cubicBezTo>
                  <a:pt x="13209" y="5030"/>
                  <a:pt x="11919" y="5413"/>
                  <a:pt x="9994" y="5794"/>
                </a:cubicBezTo>
                <a:cubicBezTo>
                  <a:pt x="8093" y="6170"/>
                  <a:pt x="6167" y="5840"/>
                  <a:pt x="4629" y="5373"/>
                </a:cubicBezTo>
                <a:lnTo>
                  <a:pt x="4629" y="2945"/>
                </a:lnTo>
                <a:lnTo>
                  <a:pt x="16971" y="2945"/>
                </a:lnTo>
                <a:cubicBezTo>
                  <a:pt x="16971" y="2945"/>
                  <a:pt x="16971" y="4033"/>
                  <a:pt x="16971" y="4033"/>
                </a:cubicBezTo>
                <a:close/>
                <a:moveTo>
                  <a:pt x="16971" y="16691"/>
                </a:moveTo>
                <a:cubicBezTo>
                  <a:pt x="16971" y="18860"/>
                  <a:pt x="14208" y="20618"/>
                  <a:pt x="10800" y="20618"/>
                </a:cubicBezTo>
                <a:cubicBezTo>
                  <a:pt x="7391" y="20618"/>
                  <a:pt x="4629" y="18860"/>
                  <a:pt x="4629" y="16691"/>
                </a:cubicBezTo>
                <a:lnTo>
                  <a:pt x="4629" y="6384"/>
                </a:lnTo>
                <a:cubicBezTo>
                  <a:pt x="5722" y="6667"/>
                  <a:pt x="6954" y="6874"/>
                  <a:pt x="8257" y="6874"/>
                </a:cubicBezTo>
                <a:cubicBezTo>
                  <a:pt x="8984" y="6874"/>
                  <a:pt x="9731" y="6811"/>
                  <a:pt x="10481" y="6662"/>
                </a:cubicBezTo>
                <a:cubicBezTo>
                  <a:pt x="12512" y="6261"/>
                  <a:pt x="13914" y="5844"/>
                  <a:pt x="15040" y="5510"/>
                </a:cubicBezTo>
                <a:cubicBezTo>
                  <a:pt x="15760" y="5295"/>
                  <a:pt x="16366" y="5119"/>
                  <a:pt x="16971" y="4989"/>
                </a:cubicBezTo>
                <a:cubicBezTo>
                  <a:pt x="16971" y="4989"/>
                  <a:pt x="16971" y="16691"/>
                  <a:pt x="16971" y="16691"/>
                </a:cubicBezTo>
                <a:close/>
                <a:moveTo>
                  <a:pt x="20057" y="0"/>
                </a:moveTo>
                <a:lnTo>
                  <a:pt x="1543" y="0"/>
                </a:lnTo>
                <a:cubicBezTo>
                  <a:pt x="691" y="0"/>
                  <a:pt x="0" y="440"/>
                  <a:pt x="0" y="982"/>
                </a:cubicBezTo>
                <a:lnTo>
                  <a:pt x="0" y="1964"/>
                </a:lnTo>
                <a:cubicBezTo>
                  <a:pt x="0" y="2506"/>
                  <a:pt x="691" y="2945"/>
                  <a:pt x="1543" y="2945"/>
                </a:cubicBezTo>
                <a:lnTo>
                  <a:pt x="3086" y="2945"/>
                </a:lnTo>
                <a:lnTo>
                  <a:pt x="3086" y="16691"/>
                </a:lnTo>
                <a:cubicBezTo>
                  <a:pt x="3086" y="19402"/>
                  <a:pt x="6539" y="21600"/>
                  <a:pt x="10800" y="21600"/>
                </a:cubicBezTo>
                <a:cubicBezTo>
                  <a:pt x="15061" y="21600"/>
                  <a:pt x="18514" y="19402"/>
                  <a:pt x="18514" y="16691"/>
                </a:cubicBezTo>
                <a:lnTo>
                  <a:pt x="18514" y="2945"/>
                </a:lnTo>
                <a:lnTo>
                  <a:pt x="20057" y="2945"/>
                </a:lnTo>
                <a:cubicBezTo>
                  <a:pt x="20909" y="2945"/>
                  <a:pt x="21600" y="2506"/>
                  <a:pt x="21600" y="1964"/>
                </a:cubicBezTo>
                <a:lnTo>
                  <a:pt x="21600" y="982"/>
                </a:lnTo>
                <a:cubicBezTo>
                  <a:pt x="21600" y="440"/>
                  <a:pt x="20909" y="0"/>
                  <a:pt x="20057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2" name="Shape 2752"/>
          <p:cNvSpPr/>
          <p:nvPr/>
        </p:nvSpPr>
        <p:spPr>
          <a:xfrm>
            <a:off x="16791428" y="8211901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00" y="17673"/>
                </a:moveTo>
                <a:cubicBezTo>
                  <a:pt x="12269" y="17673"/>
                  <a:pt x="12000" y="17892"/>
                  <a:pt x="12000" y="18164"/>
                </a:cubicBezTo>
                <a:cubicBezTo>
                  <a:pt x="12000" y="18435"/>
                  <a:pt x="12269" y="18655"/>
                  <a:pt x="12600" y="18655"/>
                </a:cubicBezTo>
                <a:cubicBezTo>
                  <a:pt x="12931" y="18655"/>
                  <a:pt x="13200" y="18435"/>
                  <a:pt x="13200" y="18164"/>
                </a:cubicBezTo>
                <a:cubicBezTo>
                  <a:pt x="13200" y="17892"/>
                  <a:pt x="12931" y="17673"/>
                  <a:pt x="12600" y="17673"/>
                </a:cubicBezTo>
                <a:moveTo>
                  <a:pt x="10800" y="13745"/>
                </a:moveTo>
                <a:cubicBezTo>
                  <a:pt x="10138" y="13745"/>
                  <a:pt x="9600" y="14186"/>
                  <a:pt x="9600" y="14727"/>
                </a:cubicBezTo>
                <a:cubicBezTo>
                  <a:pt x="9600" y="15269"/>
                  <a:pt x="10138" y="15709"/>
                  <a:pt x="10800" y="15709"/>
                </a:cubicBezTo>
                <a:cubicBezTo>
                  <a:pt x="11462" y="15709"/>
                  <a:pt x="12000" y="15269"/>
                  <a:pt x="12000" y="14727"/>
                </a:cubicBezTo>
                <a:cubicBezTo>
                  <a:pt x="12000" y="14186"/>
                  <a:pt x="11462" y="13745"/>
                  <a:pt x="10800" y="13745"/>
                </a:cubicBezTo>
                <a:moveTo>
                  <a:pt x="12600" y="10800"/>
                </a:moveTo>
                <a:cubicBezTo>
                  <a:pt x="12269" y="10800"/>
                  <a:pt x="12000" y="10580"/>
                  <a:pt x="12000" y="10309"/>
                </a:cubicBezTo>
                <a:cubicBezTo>
                  <a:pt x="12000" y="10038"/>
                  <a:pt x="12269" y="9818"/>
                  <a:pt x="12600" y="9818"/>
                </a:cubicBezTo>
                <a:cubicBezTo>
                  <a:pt x="12931" y="9818"/>
                  <a:pt x="13200" y="10038"/>
                  <a:pt x="13200" y="10309"/>
                </a:cubicBezTo>
                <a:cubicBezTo>
                  <a:pt x="13200" y="10580"/>
                  <a:pt x="12931" y="10800"/>
                  <a:pt x="12600" y="10800"/>
                </a:cubicBezTo>
                <a:moveTo>
                  <a:pt x="12600" y="8836"/>
                </a:moveTo>
                <a:cubicBezTo>
                  <a:pt x="11606" y="8836"/>
                  <a:pt x="10800" y="9496"/>
                  <a:pt x="10800" y="10309"/>
                </a:cubicBezTo>
                <a:cubicBezTo>
                  <a:pt x="10800" y="11123"/>
                  <a:pt x="11606" y="11782"/>
                  <a:pt x="12600" y="11782"/>
                </a:cubicBezTo>
                <a:cubicBezTo>
                  <a:pt x="13594" y="11782"/>
                  <a:pt x="14400" y="11123"/>
                  <a:pt x="14400" y="10309"/>
                </a:cubicBezTo>
                <a:cubicBezTo>
                  <a:pt x="14400" y="9496"/>
                  <a:pt x="13594" y="8836"/>
                  <a:pt x="12600" y="8836"/>
                </a:cubicBezTo>
                <a:moveTo>
                  <a:pt x="17760" y="20618"/>
                </a:moveTo>
                <a:lnTo>
                  <a:pt x="3840" y="20618"/>
                </a:lnTo>
                <a:cubicBezTo>
                  <a:pt x="2134" y="19151"/>
                  <a:pt x="1200" y="17248"/>
                  <a:pt x="1200" y="15218"/>
                </a:cubicBezTo>
                <a:cubicBezTo>
                  <a:pt x="1200" y="12593"/>
                  <a:pt x="2796" y="10152"/>
                  <a:pt x="5468" y="8688"/>
                </a:cubicBezTo>
                <a:cubicBezTo>
                  <a:pt x="5800" y="8506"/>
                  <a:pt x="6000" y="8199"/>
                  <a:pt x="6000" y="7872"/>
                </a:cubicBezTo>
                <a:lnTo>
                  <a:pt x="6000" y="6529"/>
                </a:lnTo>
                <a:cubicBezTo>
                  <a:pt x="6729" y="6758"/>
                  <a:pt x="7567" y="6924"/>
                  <a:pt x="8484" y="6924"/>
                </a:cubicBezTo>
                <a:cubicBezTo>
                  <a:pt x="9499" y="6924"/>
                  <a:pt x="10603" y="6723"/>
                  <a:pt x="11748" y="6188"/>
                </a:cubicBezTo>
                <a:cubicBezTo>
                  <a:pt x="13252" y="5485"/>
                  <a:pt x="14575" y="5306"/>
                  <a:pt x="15600" y="5323"/>
                </a:cubicBezTo>
                <a:lnTo>
                  <a:pt x="15600" y="7872"/>
                </a:lnTo>
                <a:cubicBezTo>
                  <a:pt x="15600" y="8199"/>
                  <a:pt x="15800" y="8506"/>
                  <a:pt x="16132" y="8688"/>
                </a:cubicBezTo>
                <a:cubicBezTo>
                  <a:pt x="18804" y="10152"/>
                  <a:pt x="20400" y="12593"/>
                  <a:pt x="20400" y="15218"/>
                </a:cubicBezTo>
                <a:cubicBezTo>
                  <a:pt x="20400" y="17248"/>
                  <a:pt x="19466" y="19151"/>
                  <a:pt x="17760" y="20618"/>
                </a:cubicBezTo>
                <a:moveTo>
                  <a:pt x="15600" y="2945"/>
                </a:moveTo>
                <a:lnTo>
                  <a:pt x="15600" y="4340"/>
                </a:lnTo>
                <a:cubicBezTo>
                  <a:pt x="14391" y="4322"/>
                  <a:pt x="12860" y="4538"/>
                  <a:pt x="11152" y="5336"/>
                </a:cubicBezTo>
                <a:cubicBezTo>
                  <a:pt x="9163" y="6265"/>
                  <a:pt x="7312" y="5965"/>
                  <a:pt x="6000" y="5473"/>
                </a:cubicBezTo>
                <a:lnTo>
                  <a:pt x="6000" y="2945"/>
                </a:lnTo>
                <a:cubicBezTo>
                  <a:pt x="6000" y="2945"/>
                  <a:pt x="15600" y="2945"/>
                  <a:pt x="15600" y="2945"/>
                </a:cubicBezTo>
                <a:close/>
                <a:moveTo>
                  <a:pt x="36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3600" y="1964"/>
                </a:lnTo>
                <a:cubicBezTo>
                  <a:pt x="3600" y="1964"/>
                  <a:pt x="3600" y="982"/>
                  <a:pt x="3600" y="982"/>
                </a:cubicBezTo>
                <a:close/>
                <a:moveTo>
                  <a:pt x="16800" y="7872"/>
                </a:moveTo>
                <a:lnTo>
                  <a:pt x="16800" y="2945"/>
                </a:lnTo>
                <a:lnTo>
                  <a:pt x="18000" y="2945"/>
                </a:lnTo>
                <a:cubicBezTo>
                  <a:pt x="18662" y="2945"/>
                  <a:pt x="19200" y="2505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3600" y="0"/>
                </a:lnTo>
                <a:cubicBezTo>
                  <a:pt x="2938" y="0"/>
                  <a:pt x="2400" y="440"/>
                  <a:pt x="2400" y="982"/>
                </a:cubicBezTo>
                <a:lnTo>
                  <a:pt x="2400" y="1964"/>
                </a:lnTo>
                <a:cubicBezTo>
                  <a:pt x="2400" y="2505"/>
                  <a:pt x="2938" y="2945"/>
                  <a:pt x="3600" y="2945"/>
                </a:cubicBezTo>
                <a:lnTo>
                  <a:pt x="4800" y="2945"/>
                </a:lnTo>
                <a:lnTo>
                  <a:pt x="4800" y="7872"/>
                </a:lnTo>
                <a:cubicBezTo>
                  <a:pt x="1906" y="9457"/>
                  <a:pt x="0" y="12155"/>
                  <a:pt x="0" y="15218"/>
                </a:cubicBezTo>
                <a:cubicBezTo>
                  <a:pt x="0" y="17730"/>
                  <a:pt x="1286" y="19991"/>
                  <a:pt x="3342" y="21600"/>
                </a:cubicBezTo>
                <a:lnTo>
                  <a:pt x="18258" y="21600"/>
                </a:lnTo>
                <a:cubicBezTo>
                  <a:pt x="20313" y="19991"/>
                  <a:pt x="21600" y="17730"/>
                  <a:pt x="21600" y="15218"/>
                </a:cubicBezTo>
                <a:cubicBezTo>
                  <a:pt x="21600" y="12155"/>
                  <a:pt x="19693" y="9457"/>
                  <a:pt x="16800" y="7872"/>
                </a:cubicBezTo>
                <a:moveTo>
                  <a:pt x="16200" y="15709"/>
                </a:moveTo>
                <a:cubicBezTo>
                  <a:pt x="15869" y="15709"/>
                  <a:pt x="15600" y="15929"/>
                  <a:pt x="15600" y="16200"/>
                </a:cubicBezTo>
                <a:cubicBezTo>
                  <a:pt x="15600" y="16471"/>
                  <a:pt x="15869" y="16691"/>
                  <a:pt x="16200" y="16691"/>
                </a:cubicBezTo>
                <a:cubicBezTo>
                  <a:pt x="16531" y="16691"/>
                  <a:pt x="16800" y="16471"/>
                  <a:pt x="16800" y="16200"/>
                </a:cubicBezTo>
                <a:cubicBezTo>
                  <a:pt x="16800" y="15929"/>
                  <a:pt x="16531" y="15709"/>
                  <a:pt x="16200" y="15709"/>
                </a:cubicBezTo>
                <a:moveTo>
                  <a:pt x="7800" y="11782"/>
                </a:moveTo>
                <a:cubicBezTo>
                  <a:pt x="7469" y="11782"/>
                  <a:pt x="7200" y="12001"/>
                  <a:pt x="7200" y="12273"/>
                </a:cubicBezTo>
                <a:cubicBezTo>
                  <a:pt x="7200" y="12544"/>
                  <a:pt x="7469" y="12764"/>
                  <a:pt x="7800" y="12764"/>
                </a:cubicBezTo>
                <a:cubicBezTo>
                  <a:pt x="8131" y="12764"/>
                  <a:pt x="8400" y="12544"/>
                  <a:pt x="8400" y="12273"/>
                </a:cubicBezTo>
                <a:cubicBezTo>
                  <a:pt x="8400" y="12001"/>
                  <a:pt x="8131" y="11782"/>
                  <a:pt x="7800" y="11782"/>
                </a:cubicBezTo>
                <a:moveTo>
                  <a:pt x="6000" y="15709"/>
                </a:moveTo>
                <a:cubicBezTo>
                  <a:pt x="5338" y="15709"/>
                  <a:pt x="4800" y="16149"/>
                  <a:pt x="4800" y="16691"/>
                </a:cubicBezTo>
                <a:cubicBezTo>
                  <a:pt x="4800" y="17233"/>
                  <a:pt x="5338" y="17673"/>
                  <a:pt x="6000" y="17673"/>
                </a:cubicBezTo>
                <a:cubicBezTo>
                  <a:pt x="6662" y="17673"/>
                  <a:pt x="7200" y="17233"/>
                  <a:pt x="7200" y="16691"/>
                </a:cubicBezTo>
                <a:cubicBezTo>
                  <a:pt x="7200" y="16149"/>
                  <a:pt x="6662" y="15709"/>
                  <a:pt x="6000" y="157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3" name="Shape 2753"/>
          <p:cNvSpPr/>
          <p:nvPr/>
        </p:nvSpPr>
        <p:spPr>
          <a:xfrm>
            <a:off x="17857949" y="8211901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800" y="18655"/>
                </a:moveTo>
                <a:cubicBezTo>
                  <a:pt x="13468" y="18655"/>
                  <a:pt x="13200" y="18874"/>
                  <a:pt x="13200" y="19145"/>
                </a:cubicBezTo>
                <a:cubicBezTo>
                  <a:pt x="13200" y="19417"/>
                  <a:pt x="13468" y="19636"/>
                  <a:pt x="13800" y="19636"/>
                </a:cubicBezTo>
                <a:cubicBezTo>
                  <a:pt x="14132" y="19636"/>
                  <a:pt x="14400" y="19417"/>
                  <a:pt x="14400" y="19145"/>
                </a:cubicBezTo>
                <a:cubicBezTo>
                  <a:pt x="14400" y="18874"/>
                  <a:pt x="14132" y="18655"/>
                  <a:pt x="13800" y="18655"/>
                </a:cubicBezTo>
                <a:moveTo>
                  <a:pt x="10200" y="15709"/>
                </a:moveTo>
                <a:cubicBezTo>
                  <a:pt x="9868" y="15709"/>
                  <a:pt x="9600" y="15490"/>
                  <a:pt x="9600" y="15218"/>
                </a:cubicBezTo>
                <a:cubicBezTo>
                  <a:pt x="9600" y="14947"/>
                  <a:pt x="9868" y="14727"/>
                  <a:pt x="10200" y="14727"/>
                </a:cubicBezTo>
                <a:cubicBezTo>
                  <a:pt x="10532" y="14727"/>
                  <a:pt x="10800" y="14947"/>
                  <a:pt x="10800" y="15218"/>
                </a:cubicBezTo>
                <a:cubicBezTo>
                  <a:pt x="10800" y="15490"/>
                  <a:pt x="10532" y="15709"/>
                  <a:pt x="10200" y="15709"/>
                </a:cubicBezTo>
                <a:moveTo>
                  <a:pt x="10200" y="13745"/>
                </a:moveTo>
                <a:cubicBezTo>
                  <a:pt x="9206" y="13745"/>
                  <a:pt x="8400" y="14405"/>
                  <a:pt x="8400" y="15218"/>
                </a:cubicBezTo>
                <a:cubicBezTo>
                  <a:pt x="8400" y="16031"/>
                  <a:pt x="9206" y="16691"/>
                  <a:pt x="10200" y="16691"/>
                </a:cubicBezTo>
                <a:cubicBezTo>
                  <a:pt x="11194" y="16691"/>
                  <a:pt x="12000" y="16031"/>
                  <a:pt x="12000" y="15218"/>
                </a:cubicBezTo>
                <a:cubicBezTo>
                  <a:pt x="12000" y="14405"/>
                  <a:pt x="11194" y="13745"/>
                  <a:pt x="10200" y="13745"/>
                </a:cubicBezTo>
                <a:moveTo>
                  <a:pt x="15600" y="13745"/>
                </a:moveTo>
                <a:cubicBezTo>
                  <a:pt x="14938" y="13745"/>
                  <a:pt x="14400" y="14186"/>
                  <a:pt x="14400" y="14727"/>
                </a:cubicBezTo>
                <a:cubicBezTo>
                  <a:pt x="14400" y="15269"/>
                  <a:pt x="14938" y="15709"/>
                  <a:pt x="15600" y="15709"/>
                </a:cubicBezTo>
                <a:cubicBezTo>
                  <a:pt x="16262" y="15709"/>
                  <a:pt x="16800" y="15269"/>
                  <a:pt x="16800" y="14727"/>
                </a:cubicBezTo>
                <a:cubicBezTo>
                  <a:pt x="16800" y="14186"/>
                  <a:pt x="16262" y="13745"/>
                  <a:pt x="15600" y="13745"/>
                </a:cubicBezTo>
                <a:moveTo>
                  <a:pt x="14400" y="20618"/>
                </a:moveTo>
                <a:lnTo>
                  <a:pt x="7200" y="20618"/>
                </a:lnTo>
                <a:cubicBezTo>
                  <a:pt x="3892" y="20618"/>
                  <a:pt x="1200" y="18416"/>
                  <a:pt x="1200" y="15709"/>
                </a:cubicBezTo>
                <a:cubicBezTo>
                  <a:pt x="1200" y="13123"/>
                  <a:pt x="2182" y="11620"/>
                  <a:pt x="3320" y="9880"/>
                </a:cubicBezTo>
                <a:cubicBezTo>
                  <a:pt x="3477" y="9639"/>
                  <a:pt x="3636" y="9392"/>
                  <a:pt x="3797" y="9140"/>
                </a:cubicBezTo>
                <a:cubicBezTo>
                  <a:pt x="3905" y="9093"/>
                  <a:pt x="6420" y="8038"/>
                  <a:pt x="9814" y="9625"/>
                </a:cubicBezTo>
                <a:cubicBezTo>
                  <a:pt x="10959" y="10160"/>
                  <a:pt x="12064" y="10360"/>
                  <a:pt x="13079" y="10360"/>
                </a:cubicBezTo>
                <a:cubicBezTo>
                  <a:pt x="15152" y="10360"/>
                  <a:pt x="16846" y="9523"/>
                  <a:pt x="17711" y="8991"/>
                </a:cubicBezTo>
                <a:cubicBezTo>
                  <a:pt x="17902" y="9295"/>
                  <a:pt x="18093" y="9592"/>
                  <a:pt x="18280" y="9880"/>
                </a:cubicBezTo>
                <a:cubicBezTo>
                  <a:pt x="19418" y="11620"/>
                  <a:pt x="20400" y="13123"/>
                  <a:pt x="20400" y="15709"/>
                </a:cubicBezTo>
                <a:cubicBezTo>
                  <a:pt x="20400" y="18416"/>
                  <a:pt x="17708" y="20618"/>
                  <a:pt x="14400" y="20618"/>
                </a:cubicBezTo>
                <a:moveTo>
                  <a:pt x="5967" y="2945"/>
                </a:moveTo>
                <a:lnTo>
                  <a:pt x="15633" y="2945"/>
                </a:lnTo>
                <a:cubicBezTo>
                  <a:pt x="15782" y="5133"/>
                  <a:pt x="16425" y="6735"/>
                  <a:pt x="17180" y="8090"/>
                </a:cubicBezTo>
                <a:cubicBezTo>
                  <a:pt x="16281" y="8690"/>
                  <a:pt x="13509" y="10220"/>
                  <a:pt x="10410" y="8772"/>
                </a:cubicBezTo>
                <a:cubicBezTo>
                  <a:pt x="7921" y="7609"/>
                  <a:pt x="5800" y="7679"/>
                  <a:pt x="4520" y="7912"/>
                </a:cubicBezTo>
                <a:cubicBezTo>
                  <a:pt x="5231" y="6594"/>
                  <a:pt x="5824" y="5037"/>
                  <a:pt x="5967" y="2945"/>
                </a:cubicBezTo>
                <a:moveTo>
                  <a:pt x="36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3600" y="1964"/>
                </a:lnTo>
                <a:cubicBezTo>
                  <a:pt x="3600" y="1964"/>
                  <a:pt x="3600" y="982"/>
                  <a:pt x="3600" y="982"/>
                </a:cubicBezTo>
                <a:close/>
                <a:moveTo>
                  <a:pt x="16843" y="2945"/>
                </a:moveTo>
                <a:lnTo>
                  <a:pt x="18000" y="2945"/>
                </a:lnTo>
                <a:cubicBezTo>
                  <a:pt x="18662" y="2945"/>
                  <a:pt x="19200" y="2505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3600" y="0"/>
                </a:lnTo>
                <a:cubicBezTo>
                  <a:pt x="2938" y="0"/>
                  <a:pt x="2400" y="440"/>
                  <a:pt x="2400" y="982"/>
                </a:cubicBezTo>
                <a:lnTo>
                  <a:pt x="2400" y="1964"/>
                </a:lnTo>
                <a:cubicBezTo>
                  <a:pt x="2400" y="2505"/>
                  <a:pt x="2938" y="2945"/>
                  <a:pt x="3600" y="2945"/>
                </a:cubicBezTo>
                <a:lnTo>
                  <a:pt x="4757" y="2945"/>
                </a:lnTo>
                <a:cubicBezTo>
                  <a:pt x="4322" y="8937"/>
                  <a:pt x="0" y="10114"/>
                  <a:pt x="0" y="15709"/>
                </a:cubicBezTo>
                <a:cubicBezTo>
                  <a:pt x="0" y="18962"/>
                  <a:pt x="3224" y="21600"/>
                  <a:pt x="7200" y="21600"/>
                </a:cubicBezTo>
                <a:lnTo>
                  <a:pt x="14400" y="21600"/>
                </a:lnTo>
                <a:cubicBezTo>
                  <a:pt x="18376" y="21600"/>
                  <a:pt x="21600" y="18962"/>
                  <a:pt x="21600" y="15709"/>
                </a:cubicBezTo>
                <a:cubicBezTo>
                  <a:pt x="21600" y="10114"/>
                  <a:pt x="17278" y="8937"/>
                  <a:pt x="16843" y="2945"/>
                </a:cubicBezTo>
                <a:moveTo>
                  <a:pt x="17400" y="11782"/>
                </a:moveTo>
                <a:cubicBezTo>
                  <a:pt x="17068" y="11782"/>
                  <a:pt x="16800" y="12001"/>
                  <a:pt x="16800" y="12273"/>
                </a:cubicBezTo>
                <a:cubicBezTo>
                  <a:pt x="16800" y="12544"/>
                  <a:pt x="17068" y="12764"/>
                  <a:pt x="17400" y="12764"/>
                </a:cubicBezTo>
                <a:cubicBezTo>
                  <a:pt x="17732" y="12764"/>
                  <a:pt x="18000" y="12544"/>
                  <a:pt x="18000" y="12273"/>
                </a:cubicBezTo>
                <a:cubicBezTo>
                  <a:pt x="18000" y="12001"/>
                  <a:pt x="17732" y="11782"/>
                  <a:pt x="17400" y="11782"/>
                </a:cubicBezTo>
                <a:moveTo>
                  <a:pt x="6000" y="10800"/>
                </a:moveTo>
                <a:cubicBezTo>
                  <a:pt x="5338" y="10800"/>
                  <a:pt x="4800" y="11240"/>
                  <a:pt x="4800" y="11782"/>
                </a:cubicBezTo>
                <a:cubicBezTo>
                  <a:pt x="4800" y="12324"/>
                  <a:pt x="5338" y="12764"/>
                  <a:pt x="6000" y="12764"/>
                </a:cubicBezTo>
                <a:cubicBezTo>
                  <a:pt x="6662" y="12764"/>
                  <a:pt x="7200" y="12324"/>
                  <a:pt x="7200" y="11782"/>
                </a:cubicBezTo>
                <a:cubicBezTo>
                  <a:pt x="7200" y="11240"/>
                  <a:pt x="6662" y="10800"/>
                  <a:pt x="6000" y="10800"/>
                </a:cubicBezTo>
                <a:moveTo>
                  <a:pt x="5400" y="16691"/>
                </a:moveTo>
                <a:cubicBezTo>
                  <a:pt x="5068" y="16691"/>
                  <a:pt x="4800" y="16910"/>
                  <a:pt x="4800" y="17182"/>
                </a:cubicBezTo>
                <a:cubicBezTo>
                  <a:pt x="4800" y="17453"/>
                  <a:pt x="5068" y="17673"/>
                  <a:pt x="5400" y="17673"/>
                </a:cubicBezTo>
                <a:cubicBezTo>
                  <a:pt x="5732" y="17673"/>
                  <a:pt x="6000" y="17453"/>
                  <a:pt x="6000" y="17182"/>
                </a:cubicBezTo>
                <a:cubicBezTo>
                  <a:pt x="6000" y="16910"/>
                  <a:pt x="5732" y="16691"/>
                  <a:pt x="5400" y="166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4" name="Shape 2754"/>
          <p:cNvSpPr/>
          <p:nvPr/>
        </p:nvSpPr>
        <p:spPr>
          <a:xfrm>
            <a:off x="18899079" y="8211901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709"/>
                </a:moveTo>
                <a:cubicBezTo>
                  <a:pt x="10203" y="15709"/>
                  <a:pt x="9720" y="16149"/>
                  <a:pt x="9720" y="16691"/>
                </a:cubicBezTo>
                <a:cubicBezTo>
                  <a:pt x="9720" y="17233"/>
                  <a:pt x="10203" y="17673"/>
                  <a:pt x="10800" y="17673"/>
                </a:cubicBezTo>
                <a:cubicBezTo>
                  <a:pt x="11396" y="17673"/>
                  <a:pt x="11880" y="17233"/>
                  <a:pt x="11880" y="16691"/>
                </a:cubicBezTo>
                <a:cubicBezTo>
                  <a:pt x="11880" y="16149"/>
                  <a:pt x="11396" y="15709"/>
                  <a:pt x="10800" y="15709"/>
                </a:cubicBezTo>
                <a:moveTo>
                  <a:pt x="12960" y="10800"/>
                </a:moveTo>
                <a:cubicBezTo>
                  <a:pt x="12363" y="10800"/>
                  <a:pt x="11880" y="11240"/>
                  <a:pt x="11880" y="11782"/>
                </a:cubicBezTo>
                <a:cubicBezTo>
                  <a:pt x="11880" y="12324"/>
                  <a:pt x="12363" y="12764"/>
                  <a:pt x="12960" y="12764"/>
                </a:cubicBezTo>
                <a:cubicBezTo>
                  <a:pt x="13556" y="12764"/>
                  <a:pt x="14040" y="12324"/>
                  <a:pt x="14040" y="11782"/>
                </a:cubicBezTo>
                <a:cubicBezTo>
                  <a:pt x="14040" y="11240"/>
                  <a:pt x="13556" y="10800"/>
                  <a:pt x="12960" y="10800"/>
                </a:cubicBezTo>
                <a:moveTo>
                  <a:pt x="15660" y="14727"/>
                </a:moveTo>
                <a:cubicBezTo>
                  <a:pt x="15362" y="14727"/>
                  <a:pt x="15120" y="14947"/>
                  <a:pt x="15120" y="15218"/>
                </a:cubicBezTo>
                <a:cubicBezTo>
                  <a:pt x="15120" y="15490"/>
                  <a:pt x="15362" y="15709"/>
                  <a:pt x="15660" y="15709"/>
                </a:cubicBezTo>
                <a:cubicBezTo>
                  <a:pt x="15958" y="15709"/>
                  <a:pt x="16200" y="15490"/>
                  <a:pt x="16200" y="15218"/>
                </a:cubicBezTo>
                <a:cubicBezTo>
                  <a:pt x="16200" y="14947"/>
                  <a:pt x="15958" y="14727"/>
                  <a:pt x="15660" y="14727"/>
                </a:cubicBezTo>
                <a:moveTo>
                  <a:pt x="16740" y="17673"/>
                </a:moveTo>
                <a:cubicBezTo>
                  <a:pt x="16442" y="17673"/>
                  <a:pt x="16200" y="17892"/>
                  <a:pt x="16200" y="18164"/>
                </a:cubicBezTo>
                <a:cubicBezTo>
                  <a:pt x="16200" y="18435"/>
                  <a:pt x="16442" y="18655"/>
                  <a:pt x="16740" y="18655"/>
                </a:cubicBezTo>
                <a:cubicBezTo>
                  <a:pt x="17038" y="18655"/>
                  <a:pt x="17280" y="18435"/>
                  <a:pt x="17280" y="18164"/>
                </a:cubicBezTo>
                <a:cubicBezTo>
                  <a:pt x="17280" y="17892"/>
                  <a:pt x="17038" y="17673"/>
                  <a:pt x="16740" y="17673"/>
                </a:cubicBezTo>
                <a:moveTo>
                  <a:pt x="7020" y="13745"/>
                </a:moveTo>
                <a:cubicBezTo>
                  <a:pt x="6722" y="13745"/>
                  <a:pt x="6480" y="13525"/>
                  <a:pt x="6480" y="13255"/>
                </a:cubicBezTo>
                <a:cubicBezTo>
                  <a:pt x="6480" y="12983"/>
                  <a:pt x="6722" y="12764"/>
                  <a:pt x="7020" y="12764"/>
                </a:cubicBezTo>
                <a:cubicBezTo>
                  <a:pt x="7318" y="12764"/>
                  <a:pt x="7560" y="12983"/>
                  <a:pt x="7560" y="13255"/>
                </a:cubicBezTo>
                <a:cubicBezTo>
                  <a:pt x="7560" y="13525"/>
                  <a:pt x="7318" y="13745"/>
                  <a:pt x="7020" y="13745"/>
                </a:cubicBezTo>
                <a:moveTo>
                  <a:pt x="7020" y="11782"/>
                </a:moveTo>
                <a:cubicBezTo>
                  <a:pt x="6126" y="11782"/>
                  <a:pt x="5400" y="12441"/>
                  <a:pt x="5400" y="13255"/>
                </a:cubicBezTo>
                <a:cubicBezTo>
                  <a:pt x="5400" y="14068"/>
                  <a:pt x="6126" y="14727"/>
                  <a:pt x="7020" y="14727"/>
                </a:cubicBezTo>
                <a:cubicBezTo>
                  <a:pt x="7914" y="14727"/>
                  <a:pt x="8640" y="14068"/>
                  <a:pt x="8640" y="13255"/>
                </a:cubicBezTo>
                <a:cubicBezTo>
                  <a:pt x="8640" y="12441"/>
                  <a:pt x="7914" y="11782"/>
                  <a:pt x="7020" y="11782"/>
                </a:cubicBezTo>
                <a:moveTo>
                  <a:pt x="16200" y="20618"/>
                </a:moveTo>
                <a:lnTo>
                  <a:pt x="5400" y="20618"/>
                </a:lnTo>
                <a:cubicBezTo>
                  <a:pt x="5224" y="20618"/>
                  <a:pt x="1080" y="20574"/>
                  <a:pt x="1080" y="16691"/>
                </a:cubicBezTo>
                <a:cubicBezTo>
                  <a:pt x="1080" y="12965"/>
                  <a:pt x="3149" y="11214"/>
                  <a:pt x="4975" y="9670"/>
                </a:cubicBezTo>
                <a:cubicBezTo>
                  <a:pt x="6031" y="8777"/>
                  <a:pt x="7028" y="7920"/>
                  <a:pt x="7400" y="6808"/>
                </a:cubicBezTo>
                <a:cubicBezTo>
                  <a:pt x="7683" y="6848"/>
                  <a:pt x="7974" y="6878"/>
                  <a:pt x="8279" y="6878"/>
                </a:cubicBezTo>
                <a:cubicBezTo>
                  <a:pt x="9182" y="6878"/>
                  <a:pt x="10166" y="6687"/>
                  <a:pt x="11184" y="6177"/>
                </a:cubicBezTo>
                <a:cubicBezTo>
                  <a:pt x="12256" y="5642"/>
                  <a:pt x="13226" y="5425"/>
                  <a:pt x="14040" y="5367"/>
                </a:cubicBezTo>
                <a:lnTo>
                  <a:pt x="14040" y="5891"/>
                </a:lnTo>
                <a:cubicBezTo>
                  <a:pt x="14040" y="7483"/>
                  <a:pt x="15296" y="8546"/>
                  <a:pt x="16625" y="9670"/>
                </a:cubicBezTo>
                <a:cubicBezTo>
                  <a:pt x="18451" y="11214"/>
                  <a:pt x="20520" y="12965"/>
                  <a:pt x="20520" y="16691"/>
                </a:cubicBezTo>
                <a:cubicBezTo>
                  <a:pt x="20520" y="20474"/>
                  <a:pt x="16637" y="20614"/>
                  <a:pt x="16200" y="20618"/>
                </a:cubicBezTo>
                <a:moveTo>
                  <a:pt x="14040" y="2945"/>
                </a:moveTo>
                <a:lnTo>
                  <a:pt x="14040" y="4432"/>
                </a:lnTo>
                <a:cubicBezTo>
                  <a:pt x="13069" y="4489"/>
                  <a:pt x="11917" y="4734"/>
                  <a:pt x="10654" y="5365"/>
                </a:cubicBezTo>
                <a:cubicBezTo>
                  <a:pt x="9547" y="5920"/>
                  <a:pt x="8485" y="6015"/>
                  <a:pt x="7560" y="5894"/>
                </a:cubicBezTo>
                <a:lnTo>
                  <a:pt x="7560" y="5891"/>
                </a:lnTo>
                <a:lnTo>
                  <a:pt x="7560" y="2945"/>
                </a:lnTo>
                <a:cubicBezTo>
                  <a:pt x="7560" y="2945"/>
                  <a:pt x="14040" y="2945"/>
                  <a:pt x="14040" y="2945"/>
                </a:cubicBezTo>
                <a:close/>
                <a:moveTo>
                  <a:pt x="5400" y="982"/>
                </a:moveTo>
                <a:lnTo>
                  <a:pt x="16200" y="982"/>
                </a:lnTo>
                <a:lnTo>
                  <a:pt x="16200" y="1964"/>
                </a:lnTo>
                <a:lnTo>
                  <a:pt x="5400" y="1964"/>
                </a:lnTo>
                <a:cubicBezTo>
                  <a:pt x="5400" y="1964"/>
                  <a:pt x="5400" y="982"/>
                  <a:pt x="5400" y="982"/>
                </a:cubicBezTo>
                <a:close/>
                <a:moveTo>
                  <a:pt x="15120" y="5891"/>
                </a:moveTo>
                <a:lnTo>
                  <a:pt x="15120" y="2945"/>
                </a:lnTo>
                <a:lnTo>
                  <a:pt x="16200" y="2945"/>
                </a:lnTo>
                <a:cubicBezTo>
                  <a:pt x="16796" y="2945"/>
                  <a:pt x="17280" y="2505"/>
                  <a:pt x="17280" y="1964"/>
                </a:cubicBezTo>
                <a:lnTo>
                  <a:pt x="17280" y="982"/>
                </a:lnTo>
                <a:cubicBezTo>
                  <a:pt x="17280" y="440"/>
                  <a:pt x="16796" y="0"/>
                  <a:pt x="16200" y="0"/>
                </a:cubicBezTo>
                <a:lnTo>
                  <a:pt x="5400" y="0"/>
                </a:lnTo>
                <a:cubicBezTo>
                  <a:pt x="4803" y="0"/>
                  <a:pt x="4320" y="440"/>
                  <a:pt x="4320" y="982"/>
                </a:cubicBezTo>
                <a:lnTo>
                  <a:pt x="4320" y="1964"/>
                </a:lnTo>
                <a:cubicBezTo>
                  <a:pt x="4320" y="2505"/>
                  <a:pt x="4803" y="2945"/>
                  <a:pt x="5400" y="2945"/>
                </a:cubicBezTo>
                <a:lnTo>
                  <a:pt x="6480" y="2945"/>
                </a:lnTo>
                <a:lnTo>
                  <a:pt x="6480" y="5891"/>
                </a:lnTo>
                <a:cubicBezTo>
                  <a:pt x="6480" y="8836"/>
                  <a:pt x="0" y="9818"/>
                  <a:pt x="0" y="16691"/>
                </a:cubicBezTo>
                <a:cubicBezTo>
                  <a:pt x="0" y="21600"/>
                  <a:pt x="5400" y="21600"/>
                  <a:pt x="5400" y="21600"/>
                </a:cubicBezTo>
                <a:lnTo>
                  <a:pt x="16200" y="21600"/>
                </a:lnTo>
                <a:cubicBezTo>
                  <a:pt x="16200" y="21600"/>
                  <a:pt x="21600" y="21600"/>
                  <a:pt x="21600" y="16691"/>
                </a:cubicBezTo>
                <a:cubicBezTo>
                  <a:pt x="21600" y="9818"/>
                  <a:pt x="15120" y="8836"/>
                  <a:pt x="15120" y="5891"/>
                </a:cubicBezTo>
                <a:moveTo>
                  <a:pt x="5940" y="16691"/>
                </a:moveTo>
                <a:cubicBezTo>
                  <a:pt x="5642" y="16691"/>
                  <a:pt x="5400" y="16910"/>
                  <a:pt x="5400" y="17182"/>
                </a:cubicBezTo>
                <a:cubicBezTo>
                  <a:pt x="5400" y="17453"/>
                  <a:pt x="5642" y="17673"/>
                  <a:pt x="5940" y="17673"/>
                </a:cubicBezTo>
                <a:cubicBezTo>
                  <a:pt x="6238" y="17673"/>
                  <a:pt x="6480" y="17453"/>
                  <a:pt x="6480" y="17182"/>
                </a:cubicBezTo>
                <a:cubicBezTo>
                  <a:pt x="6480" y="16910"/>
                  <a:pt x="6238" y="16691"/>
                  <a:pt x="5940" y="166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5" name="Shape 2755"/>
          <p:cNvSpPr/>
          <p:nvPr/>
        </p:nvSpPr>
        <p:spPr>
          <a:xfrm>
            <a:off x="19990992" y="8211901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4909"/>
                </a:moveTo>
                <a:lnTo>
                  <a:pt x="19200" y="4909"/>
                </a:lnTo>
                <a:lnTo>
                  <a:pt x="19200" y="2945"/>
                </a:lnTo>
                <a:cubicBezTo>
                  <a:pt x="19200" y="2674"/>
                  <a:pt x="18932" y="2455"/>
                  <a:pt x="18600" y="2455"/>
                </a:cubicBezTo>
                <a:cubicBezTo>
                  <a:pt x="18268" y="2455"/>
                  <a:pt x="18000" y="2674"/>
                  <a:pt x="18000" y="2945"/>
                </a:cubicBezTo>
                <a:lnTo>
                  <a:pt x="18000" y="4909"/>
                </a:lnTo>
                <a:lnTo>
                  <a:pt x="16800" y="4909"/>
                </a:lnTo>
                <a:lnTo>
                  <a:pt x="16800" y="2945"/>
                </a:lnTo>
                <a:cubicBezTo>
                  <a:pt x="16800" y="2674"/>
                  <a:pt x="16532" y="2455"/>
                  <a:pt x="16200" y="2455"/>
                </a:cubicBezTo>
                <a:cubicBezTo>
                  <a:pt x="15868" y="2455"/>
                  <a:pt x="15600" y="2674"/>
                  <a:pt x="15600" y="2945"/>
                </a:cubicBezTo>
                <a:lnTo>
                  <a:pt x="15600" y="4909"/>
                </a:lnTo>
                <a:lnTo>
                  <a:pt x="14400" y="4909"/>
                </a:lnTo>
                <a:lnTo>
                  <a:pt x="14400" y="2455"/>
                </a:lnTo>
                <a:cubicBezTo>
                  <a:pt x="14400" y="2183"/>
                  <a:pt x="14132" y="1964"/>
                  <a:pt x="13800" y="1964"/>
                </a:cubicBezTo>
                <a:cubicBezTo>
                  <a:pt x="13468" y="1964"/>
                  <a:pt x="13200" y="2183"/>
                  <a:pt x="13200" y="2455"/>
                </a:cubicBezTo>
                <a:lnTo>
                  <a:pt x="13200" y="4909"/>
                </a:lnTo>
                <a:lnTo>
                  <a:pt x="12000" y="4909"/>
                </a:lnTo>
                <a:lnTo>
                  <a:pt x="12000" y="2945"/>
                </a:lnTo>
                <a:cubicBezTo>
                  <a:pt x="12000" y="2674"/>
                  <a:pt x="11732" y="2455"/>
                  <a:pt x="11400" y="2455"/>
                </a:cubicBezTo>
                <a:cubicBezTo>
                  <a:pt x="11068" y="2455"/>
                  <a:pt x="10800" y="2674"/>
                  <a:pt x="10800" y="2945"/>
                </a:cubicBezTo>
                <a:lnTo>
                  <a:pt x="10800" y="4909"/>
                </a:lnTo>
                <a:lnTo>
                  <a:pt x="9600" y="4909"/>
                </a:lnTo>
                <a:lnTo>
                  <a:pt x="9600" y="2455"/>
                </a:lnTo>
                <a:cubicBezTo>
                  <a:pt x="9600" y="2183"/>
                  <a:pt x="9332" y="1964"/>
                  <a:pt x="9000" y="1964"/>
                </a:cubicBezTo>
                <a:cubicBezTo>
                  <a:pt x="8668" y="1964"/>
                  <a:pt x="8400" y="2183"/>
                  <a:pt x="8400" y="2455"/>
                </a:cubicBezTo>
                <a:lnTo>
                  <a:pt x="8400" y="4909"/>
                </a:lnTo>
                <a:lnTo>
                  <a:pt x="6000" y="4909"/>
                </a:lnTo>
                <a:lnTo>
                  <a:pt x="6000" y="2945"/>
                </a:lnTo>
                <a:cubicBezTo>
                  <a:pt x="6000" y="2674"/>
                  <a:pt x="5732" y="2455"/>
                  <a:pt x="5400" y="2455"/>
                </a:cubicBezTo>
                <a:cubicBezTo>
                  <a:pt x="5068" y="2455"/>
                  <a:pt x="4800" y="2674"/>
                  <a:pt x="4800" y="2945"/>
                </a:cubicBezTo>
                <a:lnTo>
                  <a:pt x="4800" y="4909"/>
                </a:lnTo>
                <a:lnTo>
                  <a:pt x="3600" y="4909"/>
                </a:lnTo>
                <a:lnTo>
                  <a:pt x="3600" y="2455"/>
                </a:lnTo>
                <a:cubicBezTo>
                  <a:pt x="3600" y="2183"/>
                  <a:pt x="3332" y="1964"/>
                  <a:pt x="3000" y="1964"/>
                </a:cubicBezTo>
                <a:cubicBezTo>
                  <a:pt x="2668" y="1964"/>
                  <a:pt x="2400" y="2183"/>
                  <a:pt x="2400" y="2455"/>
                </a:cubicBezTo>
                <a:lnTo>
                  <a:pt x="2400" y="4909"/>
                </a:lnTo>
                <a:lnTo>
                  <a:pt x="1200" y="4909"/>
                </a:lnTo>
                <a:lnTo>
                  <a:pt x="1200" y="982"/>
                </a:lnTo>
                <a:lnTo>
                  <a:pt x="20400" y="982"/>
                </a:lnTo>
                <a:cubicBezTo>
                  <a:pt x="20400" y="982"/>
                  <a:pt x="20400" y="4909"/>
                  <a:pt x="20400" y="4909"/>
                </a:cubicBezTo>
                <a:close/>
                <a:moveTo>
                  <a:pt x="20400" y="10309"/>
                </a:moveTo>
                <a:lnTo>
                  <a:pt x="19200" y="10309"/>
                </a:lnTo>
                <a:lnTo>
                  <a:pt x="19200" y="7855"/>
                </a:lnTo>
                <a:cubicBezTo>
                  <a:pt x="19200" y="7583"/>
                  <a:pt x="18932" y="7364"/>
                  <a:pt x="18600" y="7364"/>
                </a:cubicBezTo>
                <a:cubicBezTo>
                  <a:pt x="18268" y="7364"/>
                  <a:pt x="18000" y="7583"/>
                  <a:pt x="18000" y="7855"/>
                </a:cubicBezTo>
                <a:lnTo>
                  <a:pt x="18000" y="10309"/>
                </a:lnTo>
                <a:lnTo>
                  <a:pt x="16800" y="10309"/>
                </a:lnTo>
                <a:lnTo>
                  <a:pt x="16800" y="7364"/>
                </a:lnTo>
                <a:cubicBezTo>
                  <a:pt x="16800" y="7092"/>
                  <a:pt x="16532" y="6873"/>
                  <a:pt x="16200" y="6873"/>
                </a:cubicBezTo>
                <a:cubicBezTo>
                  <a:pt x="15868" y="6873"/>
                  <a:pt x="15600" y="7092"/>
                  <a:pt x="15600" y="7364"/>
                </a:cubicBezTo>
                <a:lnTo>
                  <a:pt x="15600" y="10309"/>
                </a:lnTo>
                <a:lnTo>
                  <a:pt x="14400" y="10309"/>
                </a:lnTo>
                <a:lnTo>
                  <a:pt x="14400" y="7855"/>
                </a:lnTo>
                <a:cubicBezTo>
                  <a:pt x="14400" y="7583"/>
                  <a:pt x="14132" y="7364"/>
                  <a:pt x="13800" y="7364"/>
                </a:cubicBezTo>
                <a:cubicBezTo>
                  <a:pt x="13468" y="7364"/>
                  <a:pt x="13200" y="7583"/>
                  <a:pt x="13200" y="7855"/>
                </a:cubicBezTo>
                <a:lnTo>
                  <a:pt x="13200" y="10309"/>
                </a:lnTo>
                <a:lnTo>
                  <a:pt x="12000" y="10309"/>
                </a:lnTo>
                <a:lnTo>
                  <a:pt x="12000" y="7364"/>
                </a:lnTo>
                <a:cubicBezTo>
                  <a:pt x="12000" y="7092"/>
                  <a:pt x="11732" y="6873"/>
                  <a:pt x="11400" y="6873"/>
                </a:cubicBezTo>
                <a:cubicBezTo>
                  <a:pt x="11068" y="6873"/>
                  <a:pt x="10800" y="7092"/>
                  <a:pt x="10800" y="7364"/>
                </a:cubicBezTo>
                <a:lnTo>
                  <a:pt x="10800" y="10309"/>
                </a:lnTo>
                <a:lnTo>
                  <a:pt x="8400" y="10309"/>
                </a:lnTo>
                <a:lnTo>
                  <a:pt x="8400" y="7855"/>
                </a:lnTo>
                <a:cubicBezTo>
                  <a:pt x="8400" y="7583"/>
                  <a:pt x="8132" y="7364"/>
                  <a:pt x="7800" y="7364"/>
                </a:cubicBezTo>
                <a:cubicBezTo>
                  <a:pt x="7468" y="7364"/>
                  <a:pt x="7200" y="7583"/>
                  <a:pt x="7200" y="7855"/>
                </a:cubicBezTo>
                <a:lnTo>
                  <a:pt x="7200" y="10309"/>
                </a:lnTo>
                <a:lnTo>
                  <a:pt x="6000" y="10309"/>
                </a:lnTo>
                <a:lnTo>
                  <a:pt x="6000" y="7855"/>
                </a:lnTo>
                <a:cubicBezTo>
                  <a:pt x="6000" y="7583"/>
                  <a:pt x="5732" y="7364"/>
                  <a:pt x="5400" y="7364"/>
                </a:cubicBezTo>
                <a:cubicBezTo>
                  <a:pt x="5068" y="7364"/>
                  <a:pt x="4800" y="7583"/>
                  <a:pt x="4800" y="7855"/>
                </a:cubicBezTo>
                <a:lnTo>
                  <a:pt x="4800" y="10309"/>
                </a:lnTo>
                <a:lnTo>
                  <a:pt x="3600" y="10309"/>
                </a:lnTo>
                <a:lnTo>
                  <a:pt x="3600" y="7364"/>
                </a:lnTo>
                <a:cubicBezTo>
                  <a:pt x="3600" y="7092"/>
                  <a:pt x="3332" y="6873"/>
                  <a:pt x="3000" y="6873"/>
                </a:cubicBezTo>
                <a:cubicBezTo>
                  <a:pt x="2668" y="6873"/>
                  <a:pt x="2400" y="7092"/>
                  <a:pt x="2400" y="7364"/>
                </a:cubicBezTo>
                <a:lnTo>
                  <a:pt x="2400" y="10309"/>
                </a:lnTo>
                <a:lnTo>
                  <a:pt x="1200" y="10309"/>
                </a:lnTo>
                <a:lnTo>
                  <a:pt x="1200" y="5891"/>
                </a:lnTo>
                <a:lnTo>
                  <a:pt x="20400" y="5891"/>
                </a:lnTo>
                <a:cubicBezTo>
                  <a:pt x="20400" y="5891"/>
                  <a:pt x="20400" y="10309"/>
                  <a:pt x="20400" y="10309"/>
                </a:cubicBezTo>
                <a:close/>
                <a:moveTo>
                  <a:pt x="20400" y="15709"/>
                </a:moveTo>
                <a:lnTo>
                  <a:pt x="19200" y="15709"/>
                </a:lnTo>
                <a:lnTo>
                  <a:pt x="19200" y="13255"/>
                </a:lnTo>
                <a:cubicBezTo>
                  <a:pt x="19200" y="12983"/>
                  <a:pt x="18932" y="12764"/>
                  <a:pt x="18600" y="12764"/>
                </a:cubicBezTo>
                <a:cubicBezTo>
                  <a:pt x="18268" y="12764"/>
                  <a:pt x="18000" y="12983"/>
                  <a:pt x="18000" y="13255"/>
                </a:cubicBezTo>
                <a:lnTo>
                  <a:pt x="18000" y="15709"/>
                </a:lnTo>
                <a:lnTo>
                  <a:pt x="16800" y="15709"/>
                </a:lnTo>
                <a:lnTo>
                  <a:pt x="16800" y="13255"/>
                </a:lnTo>
                <a:cubicBezTo>
                  <a:pt x="16800" y="12983"/>
                  <a:pt x="16532" y="12764"/>
                  <a:pt x="16200" y="12764"/>
                </a:cubicBezTo>
                <a:cubicBezTo>
                  <a:pt x="15868" y="12764"/>
                  <a:pt x="15600" y="12983"/>
                  <a:pt x="15600" y="13255"/>
                </a:cubicBezTo>
                <a:lnTo>
                  <a:pt x="15600" y="15709"/>
                </a:lnTo>
                <a:lnTo>
                  <a:pt x="13200" y="15709"/>
                </a:lnTo>
                <a:lnTo>
                  <a:pt x="13200" y="13745"/>
                </a:lnTo>
                <a:cubicBezTo>
                  <a:pt x="13200" y="13474"/>
                  <a:pt x="12932" y="13255"/>
                  <a:pt x="12600" y="13255"/>
                </a:cubicBezTo>
                <a:cubicBezTo>
                  <a:pt x="12268" y="13255"/>
                  <a:pt x="12000" y="13474"/>
                  <a:pt x="12000" y="13745"/>
                </a:cubicBezTo>
                <a:lnTo>
                  <a:pt x="12000" y="15709"/>
                </a:lnTo>
                <a:lnTo>
                  <a:pt x="10800" y="15709"/>
                </a:lnTo>
                <a:lnTo>
                  <a:pt x="10800" y="13745"/>
                </a:lnTo>
                <a:cubicBezTo>
                  <a:pt x="10800" y="13474"/>
                  <a:pt x="10532" y="13255"/>
                  <a:pt x="10200" y="13255"/>
                </a:cubicBezTo>
                <a:cubicBezTo>
                  <a:pt x="9868" y="13255"/>
                  <a:pt x="9600" y="13474"/>
                  <a:pt x="9600" y="13745"/>
                </a:cubicBezTo>
                <a:lnTo>
                  <a:pt x="9600" y="15709"/>
                </a:lnTo>
                <a:lnTo>
                  <a:pt x="8400" y="15709"/>
                </a:lnTo>
                <a:lnTo>
                  <a:pt x="8400" y="13255"/>
                </a:lnTo>
                <a:cubicBezTo>
                  <a:pt x="8400" y="12983"/>
                  <a:pt x="8132" y="12764"/>
                  <a:pt x="7800" y="12764"/>
                </a:cubicBezTo>
                <a:cubicBezTo>
                  <a:pt x="7468" y="12764"/>
                  <a:pt x="7200" y="12983"/>
                  <a:pt x="7200" y="13255"/>
                </a:cubicBezTo>
                <a:lnTo>
                  <a:pt x="7200" y="15709"/>
                </a:lnTo>
                <a:lnTo>
                  <a:pt x="6000" y="15709"/>
                </a:lnTo>
                <a:lnTo>
                  <a:pt x="6000" y="13745"/>
                </a:lnTo>
                <a:cubicBezTo>
                  <a:pt x="6000" y="13474"/>
                  <a:pt x="5732" y="13255"/>
                  <a:pt x="5400" y="13255"/>
                </a:cubicBezTo>
                <a:cubicBezTo>
                  <a:pt x="5068" y="13255"/>
                  <a:pt x="4800" y="13474"/>
                  <a:pt x="4800" y="13745"/>
                </a:cubicBezTo>
                <a:lnTo>
                  <a:pt x="4800" y="15709"/>
                </a:lnTo>
                <a:lnTo>
                  <a:pt x="1200" y="15709"/>
                </a:lnTo>
                <a:lnTo>
                  <a:pt x="1200" y="11291"/>
                </a:lnTo>
                <a:lnTo>
                  <a:pt x="20400" y="11291"/>
                </a:lnTo>
                <a:cubicBezTo>
                  <a:pt x="20400" y="11291"/>
                  <a:pt x="20400" y="15709"/>
                  <a:pt x="20400" y="15709"/>
                </a:cubicBezTo>
                <a:close/>
                <a:moveTo>
                  <a:pt x="20400" y="20618"/>
                </a:moveTo>
                <a:lnTo>
                  <a:pt x="19200" y="20618"/>
                </a:lnTo>
                <a:lnTo>
                  <a:pt x="19200" y="18655"/>
                </a:lnTo>
                <a:cubicBezTo>
                  <a:pt x="19200" y="18383"/>
                  <a:pt x="18932" y="18164"/>
                  <a:pt x="18600" y="18164"/>
                </a:cubicBezTo>
                <a:cubicBezTo>
                  <a:pt x="18268" y="18164"/>
                  <a:pt x="18000" y="18383"/>
                  <a:pt x="18000" y="18655"/>
                </a:cubicBezTo>
                <a:lnTo>
                  <a:pt x="18000" y="20618"/>
                </a:lnTo>
                <a:lnTo>
                  <a:pt x="16800" y="20618"/>
                </a:lnTo>
                <a:lnTo>
                  <a:pt x="16800" y="18655"/>
                </a:lnTo>
                <a:cubicBezTo>
                  <a:pt x="16800" y="18383"/>
                  <a:pt x="16532" y="18164"/>
                  <a:pt x="16200" y="18164"/>
                </a:cubicBezTo>
                <a:cubicBezTo>
                  <a:pt x="15868" y="18164"/>
                  <a:pt x="15600" y="18383"/>
                  <a:pt x="15600" y="18655"/>
                </a:cubicBezTo>
                <a:lnTo>
                  <a:pt x="15600" y="20618"/>
                </a:lnTo>
                <a:lnTo>
                  <a:pt x="14400" y="20618"/>
                </a:lnTo>
                <a:lnTo>
                  <a:pt x="14400" y="18164"/>
                </a:lnTo>
                <a:cubicBezTo>
                  <a:pt x="14400" y="17892"/>
                  <a:pt x="14132" y="17673"/>
                  <a:pt x="13800" y="17673"/>
                </a:cubicBezTo>
                <a:cubicBezTo>
                  <a:pt x="13468" y="17673"/>
                  <a:pt x="13200" y="17892"/>
                  <a:pt x="13200" y="18164"/>
                </a:cubicBezTo>
                <a:lnTo>
                  <a:pt x="13200" y="20618"/>
                </a:lnTo>
                <a:lnTo>
                  <a:pt x="10800" y="20618"/>
                </a:lnTo>
                <a:lnTo>
                  <a:pt x="10800" y="18164"/>
                </a:lnTo>
                <a:cubicBezTo>
                  <a:pt x="10800" y="17892"/>
                  <a:pt x="10532" y="17673"/>
                  <a:pt x="10200" y="17673"/>
                </a:cubicBezTo>
                <a:cubicBezTo>
                  <a:pt x="9868" y="17673"/>
                  <a:pt x="9600" y="17892"/>
                  <a:pt x="9600" y="18164"/>
                </a:cubicBezTo>
                <a:lnTo>
                  <a:pt x="9600" y="20618"/>
                </a:lnTo>
                <a:lnTo>
                  <a:pt x="8400" y="20618"/>
                </a:lnTo>
                <a:lnTo>
                  <a:pt x="8400" y="18655"/>
                </a:lnTo>
                <a:cubicBezTo>
                  <a:pt x="8400" y="18383"/>
                  <a:pt x="8132" y="18164"/>
                  <a:pt x="7800" y="18164"/>
                </a:cubicBezTo>
                <a:cubicBezTo>
                  <a:pt x="7468" y="18164"/>
                  <a:pt x="7200" y="18383"/>
                  <a:pt x="7200" y="18655"/>
                </a:cubicBezTo>
                <a:lnTo>
                  <a:pt x="7200" y="20618"/>
                </a:lnTo>
                <a:lnTo>
                  <a:pt x="6000" y="20618"/>
                </a:lnTo>
                <a:lnTo>
                  <a:pt x="6000" y="18164"/>
                </a:lnTo>
                <a:cubicBezTo>
                  <a:pt x="6000" y="17892"/>
                  <a:pt x="5732" y="17673"/>
                  <a:pt x="5400" y="17673"/>
                </a:cubicBezTo>
                <a:cubicBezTo>
                  <a:pt x="5068" y="17673"/>
                  <a:pt x="4800" y="17892"/>
                  <a:pt x="4800" y="18164"/>
                </a:cubicBezTo>
                <a:lnTo>
                  <a:pt x="4800" y="20618"/>
                </a:lnTo>
                <a:lnTo>
                  <a:pt x="3600" y="20618"/>
                </a:lnTo>
                <a:lnTo>
                  <a:pt x="3600" y="18655"/>
                </a:lnTo>
                <a:cubicBezTo>
                  <a:pt x="3600" y="18383"/>
                  <a:pt x="3332" y="18164"/>
                  <a:pt x="3000" y="18164"/>
                </a:cubicBezTo>
                <a:cubicBezTo>
                  <a:pt x="2668" y="18164"/>
                  <a:pt x="2400" y="18383"/>
                  <a:pt x="2400" y="18655"/>
                </a:cubicBezTo>
                <a:lnTo>
                  <a:pt x="2400" y="20618"/>
                </a:lnTo>
                <a:lnTo>
                  <a:pt x="1200" y="20618"/>
                </a:lnTo>
                <a:lnTo>
                  <a:pt x="1200" y="16691"/>
                </a:lnTo>
                <a:lnTo>
                  <a:pt x="20400" y="16691"/>
                </a:lnTo>
                <a:cubicBezTo>
                  <a:pt x="20400" y="16691"/>
                  <a:pt x="20400" y="20618"/>
                  <a:pt x="20400" y="20618"/>
                </a:cubicBezTo>
                <a:close/>
                <a:moveTo>
                  <a:pt x="20400" y="0"/>
                </a:moveTo>
                <a:lnTo>
                  <a:pt x="1200" y="0"/>
                </a:lnTo>
                <a:cubicBezTo>
                  <a:pt x="537" y="0"/>
                  <a:pt x="0" y="440"/>
                  <a:pt x="0" y="982"/>
                </a:cubicBezTo>
                <a:lnTo>
                  <a:pt x="0" y="20618"/>
                </a:lnTo>
                <a:cubicBezTo>
                  <a:pt x="0" y="21160"/>
                  <a:pt x="537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062" y="0"/>
                  <a:pt x="204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6" name="Shape 2756"/>
          <p:cNvSpPr/>
          <p:nvPr/>
        </p:nvSpPr>
        <p:spPr>
          <a:xfrm>
            <a:off x="21006730" y="8364263"/>
            <a:ext cx="558654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0" y="19440"/>
                </a:moveTo>
                <a:cubicBezTo>
                  <a:pt x="17951" y="19440"/>
                  <a:pt x="17182" y="17747"/>
                  <a:pt x="17182" y="15660"/>
                </a:cubicBezTo>
                <a:cubicBezTo>
                  <a:pt x="17182" y="14601"/>
                  <a:pt x="17381" y="13647"/>
                  <a:pt x="17700" y="12960"/>
                </a:cubicBezTo>
                <a:lnTo>
                  <a:pt x="3900" y="12960"/>
                </a:lnTo>
                <a:cubicBezTo>
                  <a:pt x="4219" y="13647"/>
                  <a:pt x="4418" y="14601"/>
                  <a:pt x="4418" y="15660"/>
                </a:cubicBezTo>
                <a:cubicBezTo>
                  <a:pt x="4418" y="17747"/>
                  <a:pt x="3649" y="19440"/>
                  <a:pt x="2700" y="19440"/>
                </a:cubicBezTo>
                <a:cubicBezTo>
                  <a:pt x="1751" y="19440"/>
                  <a:pt x="982" y="17747"/>
                  <a:pt x="982" y="15660"/>
                </a:cubicBezTo>
                <a:cubicBezTo>
                  <a:pt x="982" y="13757"/>
                  <a:pt x="1623" y="12199"/>
                  <a:pt x="2455" y="11935"/>
                </a:cubicBezTo>
                <a:lnTo>
                  <a:pt x="2455" y="11880"/>
                </a:lnTo>
                <a:cubicBezTo>
                  <a:pt x="2726" y="11880"/>
                  <a:pt x="2945" y="11397"/>
                  <a:pt x="2945" y="10800"/>
                </a:cubicBezTo>
                <a:cubicBezTo>
                  <a:pt x="2945" y="10203"/>
                  <a:pt x="2726" y="9720"/>
                  <a:pt x="2455" y="9720"/>
                </a:cubicBezTo>
                <a:lnTo>
                  <a:pt x="2455" y="9665"/>
                </a:lnTo>
                <a:cubicBezTo>
                  <a:pt x="1623" y="9401"/>
                  <a:pt x="982" y="7843"/>
                  <a:pt x="982" y="5940"/>
                </a:cubicBezTo>
                <a:cubicBezTo>
                  <a:pt x="982" y="3852"/>
                  <a:pt x="1751" y="2160"/>
                  <a:pt x="2700" y="2160"/>
                </a:cubicBezTo>
                <a:cubicBezTo>
                  <a:pt x="3649" y="2160"/>
                  <a:pt x="4418" y="3852"/>
                  <a:pt x="4418" y="5940"/>
                </a:cubicBezTo>
                <a:cubicBezTo>
                  <a:pt x="4418" y="6999"/>
                  <a:pt x="4219" y="7954"/>
                  <a:pt x="3900" y="8640"/>
                </a:cubicBezTo>
                <a:lnTo>
                  <a:pt x="17700" y="8640"/>
                </a:lnTo>
                <a:cubicBezTo>
                  <a:pt x="17381" y="7954"/>
                  <a:pt x="17182" y="6999"/>
                  <a:pt x="17182" y="5940"/>
                </a:cubicBezTo>
                <a:cubicBezTo>
                  <a:pt x="17182" y="3852"/>
                  <a:pt x="17951" y="2160"/>
                  <a:pt x="18900" y="2160"/>
                </a:cubicBezTo>
                <a:cubicBezTo>
                  <a:pt x="19849" y="2160"/>
                  <a:pt x="20618" y="3852"/>
                  <a:pt x="20618" y="5940"/>
                </a:cubicBezTo>
                <a:cubicBezTo>
                  <a:pt x="20618" y="7843"/>
                  <a:pt x="19977" y="9401"/>
                  <a:pt x="19145" y="9665"/>
                </a:cubicBezTo>
                <a:lnTo>
                  <a:pt x="19145" y="9720"/>
                </a:lnTo>
                <a:cubicBezTo>
                  <a:pt x="18874" y="9720"/>
                  <a:pt x="18655" y="10203"/>
                  <a:pt x="18655" y="10800"/>
                </a:cubicBezTo>
                <a:cubicBezTo>
                  <a:pt x="18655" y="11397"/>
                  <a:pt x="18874" y="11880"/>
                  <a:pt x="19145" y="11880"/>
                </a:cubicBezTo>
                <a:lnTo>
                  <a:pt x="19145" y="11935"/>
                </a:lnTo>
                <a:cubicBezTo>
                  <a:pt x="19977" y="12199"/>
                  <a:pt x="20618" y="13757"/>
                  <a:pt x="20618" y="15660"/>
                </a:cubicBezTo>
                <a:cubicBezTo>
                  <a:pt x="20618" y="17747"/>
                  <a:pt x="19849" y="19440"/>
                  <a:pt x="18900" y="19440"/>
                </a:cubicBezTo>
                <a:moveTo>
                  <a:pt x="20449" y="10800"/>
                </a:moveTo>
                <a:cubicBezTo>
                  <a:pt x="21145" y="9725"/>
                  <a:pt x="21600" y="7950"/>
                  <a:pt x="21600" y="5940"/>
                </a:cubicBezTo>
                <a:cubicBezTo>
                  <a:pt x="21600" y="2660"/>
                  <a:pt x="20391" y="0"/>
                  <a:pt x="18900" y="0"/>
                </a:cubicBezTo>
                <a:cubicBezTo>
                  <a:pt x="17409" y="0"/>
                  <a:pt x="16200" y="2660"/>
                  <a:pt x="16200" y="5940"/>
                </a:cubicBezTo>
                <a:cubicBezTo>
                  <a:pt x="16200" y="6124"/>
                  <a:pt x="16208" y="6301"/>
                  <a:pt x="16215" y="6480"/>
                </a:cubicBezTo>
                <a:lnTo>
                  <a:pt x="5385" y="6480"/>
                </a:lnTo>
                <a:cubicBezTo>
                  <a:pt x="5392" y="6301"/>
                  <a:pt x="5400" y="6124"/>
                  <a:pt x="5400" y="5940"/>
                </a:cubicBezTo>
                <a:cubicBezTo>
                  <a:pt x="5400" y="2660"/>
                  <a:pt x="4191" y="0"/>
                  <a:pt x="2700" y="0"/>
                </a:cubicBezTo>
                <a:cubicBezTo>
                  <a:pt x="1209" y="0"/>
                  <a:pt x="0" y="2660"/>
                  <a:pt x="0" y="5940"/>
                </a:cubicBezTo>
                <a:cubicBezTo>
                  <a:pt x="0" y="7950"/>
                  <a:pt x="455" y="9725"/>
                  <a:pt x="1151" y="10800"/>
                </a:cubicBezTo>
                <a:cubicBezTo>
                  <a:pt x="455" y="11875"/>
                  <a:pt x="0" y="13649"/>
                  <a:pt x="0" y="15660"/>
                </a:cubicBezTo>
                <a:cubicBezTo>
                  <a:pt x="0" y="18940"/>
                  <a:pt x="1209" y="21600"/>
                  <a:pt x="2700" y="21600"/>
                </a:cubicBezTo>
                <a:cubicBezTo>
                  <a:pt x="4191" y="21600"/>
                  <a:pt x="5400" y="18940"/>
                  <a:pt x="5400" y="15660"/>
                </a:cubicBezTo>
                <a:cubicBezTo>
                  <a:pt x="5400" y="15476"/>
                  <a:pt x="5392" y="15298"/>
                  <a:pt x="5385" y="15120"/>
                </a:cubicBezTo>
                <a:lnTo>
                  <a:pt x="16215" y="15120"/>
                </a:lnTo>
                <a:cubicBezTo>
                  <a:pt x="16208" y="15298"/>
                  <a:pt x="16200" y="15476"/>
                  <a:pt x="16200" y="15660"/>
                </a:cubicBezTo>
                <a:cubicBezTo>
                  <a:pt x="16200" y="18940"/>
                  <a:pt x="17409" y="21600"/>
                  <a:pt x="18900" y="21600"/>
                </a:cubicBezTo>
                <a:cubicBezTo>
                  <a:pt x="20391" y="21600"/>
                  <a:pt x="21600" y="18940"/>
                  <a:pt x="21600" y="15660"/>
                </a:cubicBezTo>
                <a:cubicBezTo>
                  <a:pt x="21600" y="13649"/>
                  <a:pt x="21145" y="11875"/>
                  <a:pt x="20449" y="10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7" name="Shape 2757"/>
          <p:cNvSpPr/>
          <p:nvPr/>
        </p:nvSpPr>
        <p:spPr>
          <a:xfrm>
            <a:off x="22073249" y="8211902"/>
            <a:ext cx="558798" cy="5588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84" h="21085" extrusionOk="0">
                <a:moveTo>
                  <a:pt x="6690" y="19632"/>
                </a:moveTo>
                <a:cubicBezTo>
                  <a:pt x="6035" y="20288"/>
                  <a:pt x="4973" y="20288"/>
                  <a:pt x="4318" y="19632"/>
                </a:cubicBezTo>
                <a:cubicBezTo>
                  <a:pt x="3731" y="19043"/>
                  <a:pt x="3675" y="18127"/>
                  <a:pt x="4141" y="17471"/>
                </a:cubicBezTo>
                <a:lnTo>
                  <a:pt x="4127" y="17458"/>
                </a:lnTo>
                <a:cubicBezTo>
                  <a:pt x="4237" y="17311"/>
                  <a:pt x="4231" y="17106"/>
                  <a:pt x="4096" y="16973"/>
                </a:cubicBezTo>
                <a:cubicBezTo>
                  <a:pt x="3963" y="16842"/>
                  <a:pt x="3758" y="16835"/>
                  <a:pt x="3610" y="16939"/>
                </a:cubicBezTo>
                <a:lnTo>
                  <a:pt x="3601" y="16931"/>
                </a:lnTo>
                <a:cubicBezTo>
                  <a:pt x="2946" y="17395"/>
                  <a:pt x="2036" y="17338"/>
                  <a:pt x="1449" y="16752"/>
                </a:cubicBezTo>
                <a:cubicBezTo>
                  <a:pt x="794" y="16097"/>
                  <a:pt x="794" y="15035"/>
                  <a:pt x="1449" y="14381"/>
                </a:cubicBezTo>
                <a:cubicBezTo>
                  <a:pt x="2104" y="13726"/>
                  <a:pt x="3166" y="13726"/>
                  <a:pt x="3821" y="14381"/>
                </a:cubicBezTo>
                <a:cubicBezTo>
                  <a:pt x="4110" y="14670"/>
                  <a:pt x="4264" y="15040"/>
                  <a:pt x="4297" y="15418"/>
                </a:cubicBezTo>
                <a:lnTo>
                  <a:pt x="9862" y="9852"/>
                </a:lnTo>
                <a:lnTo>
                  <a:pt x="15417" y="4298"/>
                </a:lnTo>
                <a:cubicBezTo>
                  <a:pt x="15038" y="4264"/>
                  <a:pt x="14669" y="4111"/>
                  <a:pt x="14380" y="3821"/>
                </a:cubicBezTo>
                <a:cubicBezTo>
                  <a:pt x="13725" y="3166"/>
                  <a:pt x="13725" y="2105"/>
                  <a:pt x="14380" y="1450"/>
                </a:cubicBezTo>
                <a:cubicBezTo>
                  <a:pt x="15034" y="795"/>
                  <a:pt x="16096" y="795"/>
                  <a:pt x="16751" y="1450"/>
                </a:cubicBezTo>
                <a:cubicBezTo>
                  <a:pt x="17332" y="2031"/>
                  <a:pt x="17394" y="2932"/>
                  <a:pt x="16943" y="3585"/>
                </a:cubicBezTo>
                <a:lnTo>
                  <a:pt x="16949" y="3592"/>
                </a:lnTo>
                <a:cubicBezTo>
                  <a:pt x="16829" y="3738"/>
                  <a:pt x="16832" y="3953"/>
                  <a:pt x="16971" y="4089"/>
                </a:cubicBezTo>
                <a:cubicBezTo>
                  <a:pt x="17109" y="4225"/>
                  <a:pt x="17323" y="4230"/>
                  <a:pt x="17473" y="4114"/>
                </a:cubicBezTo>
                <a:lnTo>
                  <a:pt x="17487" y="4129"/>
                </a:lnTo>
                <a:cubicBezTo>
                  <a:pt x="18142" y="3675"/>
                  <a:pt x="19047" y="3737"/>
                  <a:pt x="19631" y="4319"/>
                </a:cubicBezTo>
                <a:cubicBezTo>
                  <a:pt x="20287" y="4974"/>
                  <a:pt x="20287" y="6036"/>
                  <a:pt x="19631" y="6691"/>
                </a:cubicBezTo>
                <a:cubicBezTo>
                  <a:pt x="18974" y="7346"/>
                  <a:pt x="17909" y="7346"/>
                  <a:pt x="17253" y="6691"/>
                </a:cubicBezTo>
                <a:cubicBezTo>
                  <a:pt x="16962" y="6400"/>
                  <a:pt x="16807" y="6029"/>
                  <a:pt x="16775" y="5650"/>
                </a:cubicBezTo>
                <a:lnTo>
                  <a:pt x="5650" y="16775"/>
                </a:lnTo>
                <a:cubicBezTo>
                  <a:pt x="6029" y="16808"/>
                  <a:pt x="6400" y="16963"/>
                  <a:pt x="6690" y="17254"/>
                </a:cubicBezTo>
                <a:cubicBezTo>
                  <a:pt x="7344" y="17910"/>
                  <a:pt x="7344" y="18975"/>
                  <a:pt x="6690" y="19632"/>
                </a:cubicBezTo>
                <a:moveTo>
                  <a:pt x="7277" y="16503"/>
                </a:moveTo>
                <a:lnTo>
                  <a:pt x="16501" y="7278"/>
                </a:lnTo>
                <a:cubicBezTo>
                  <a:pt x="16528" y="7307"/>
                  <a:pt x="16545" y="7340"/>
                  <a:pt x="16573" y="7368"/>
                </a:cubicBezTo>
                <a:cubicBezTo>
                  <a:pt x="17605" y="8397"/>
                  <a:pt x="19278" y="8397"/>
                  <a:pt x="20310" y="7368"/>
                </a:cubicBezTo>
                <a:cubicBezTo>
                  <a:pt x="21342" y="6339"/>
                  <a:pt x="21342" y="4671"/>
                  <a:pt x="20310" y="3641"/>
                </a:cubicBezTo>
                <a:cubicBezTo>
                  <a:pt x="19726" y="3059"/>
                  <a:pt x="18937" y="2818"/>
                  <a:pt x="18175" y="2895"/>
                </a:cubicBezTo>
                <a:cubicBezTo>
                  <a:pt x="18250" y="2137"/>
                  <a:pt x="18009" y="1353"/>
                  <a:pt x="17428" y="772"/>
                </a:cubicBezTo>
                <a:cubicBezTo>
                  <a:pt x="16399" y="-257"/>
                  <a:pt x="14731" y="-257"/>
                  <a:pt x="13702" y="772"/>
                </a:cubicBezTo>
                <a:cubicBezTo>
                  <a:pt x="12673" y="1802"/>
                  <a:pt x="12673" y="3470"/>
                  <a:pt x="13702" y="4498"/>
                </a:cubicBezTo>
                <a:cubicBezTo>
                  <a:pt x="13729" y="4526"/>
                  <a:pt x="13763" y="4543"/>
                  <a:pt x="13791" y="4569"/>
                </a:cubicBezTo>
                <a:lnTo>
                  <a:pt x="4568" y="13791"/>
                </a:lnTo>
                <a:cubicBezTo>
                  <a:pt x="4542" y="13763"/>
                  <a:pt x="4526" y="13730"/>
                  <a:pt x="4498" y="13703"/>
                </a:cubicBezTo>
                <a:cubicBezTo>
                  <a:pt x="3469" y="12674"/>
                  <a:pt x="1801" y="12674"/>
                  <a:pt x="772" y="13703"/>
                </a:cubicBezTo>
                <a:cubicBezTo>
                  <a:pt x="-258" y="14732"/>
                  <a:pt x="-258" y="16400"/>
                  <a:pt x="772" y="17429"/>
                </a:cubicBezTo>
                <a:cubicBezTo>
                  <a:pt x="1353" y="18010"/>
                  <a:pt x="2136" y="18251"/>
                  <a:pt x="2895" y="18176"/>
                </a:cubicBezTo>
                <a:cubicBezTo>
                  <a:pt x="2818" y="18938"/>
                  <a:pt x="3058" y="19727"/>
                  <a:pt x="3641" y="20311"/>
                </a:cubicBezTo>
                <a:cubicBezTo>
                  <a:pt x="4670" y="21343"/>
                  <a:pt x="6338" y="21343"/>
                  <a:pt x="7367" y="20311"/>
                </a:cubicBezTo>
                <a:cubicBezTo>
                  <a:pt x="8396" y="19279"/>
                  <a:pt x="8396" y="17606"/>
                  <a:pt x="7367" y="16574"/>
                </a:cubicBezTo>
                <a:cubicBezTo>
                  <a:pt x="7339" y="16546"/>
                  <a:pt x="7306" y="16529"/>
                  <a:pt x="7277" y="16503"/>
                </a:cubicBezTo>
                <a:moveTo>
                  <a:pt x="16558" y="13703"/>
                </a:moveTo>
                <a:cubicBezTo>
                  <a:pt x="16530" y="13731"/>
                  <a:pt x="16513" y="13764"/>
                  <a:pt x="16487" y="13793"/>
                </a:cubicBezTo>
                <a:lnTo>
                  <a:pt x="14254" y="11560"/>
                </a:lnTo>
                <a:cubicBezTo>
                  <a:pt x="14067" y="11391"/>
                  <a:pt x="13780" y="11393"/>
                  <a:pt x="13601" y="11573"/>
                </a:cubicBezTo>
                <a:cubicBezTo>
                  <a:pt x="13421" y="11753"/>
                  <a:pt x="13419" y="12039"/>
                  <a:pt x="13588" y="12226"/>
                </a:cubicBezTo>
                <a:lnTo>
                  <a:pt x="13576" y="12237"/>
                </a:lnTo>
                <a:lnTo>
                  <a:pt x="16759" y="15420"/>
                </a:lnTo>
                <a:cubicBezTo>
                  <a:pt x="16792" y="15041"/>
                  <a:pt x="16947" y="14671"/>
                  <a:pt x="17238" y="14381"/>
                </a:cubicBezTo>
                <a:cubicBezTo>
                  <a:pt x="17895" y="13726"/>
                  <a:pt x="18959" y="13726"/>
                  <a:pt x="19615" y="14381"/>
                </a:cubicBezTo>
                <a:cubicBezTo>
                  <a:pt x="20273" y="15035"/>
                  <a:pt x="20273" y="16097"/>
                  <a:pt x="19615" y="16752"/>
                </a:cubicBezTo>
                <a:cubicBezTo>
                  <a:pt x="19027" y="17339"/>
                  <a:pt x="18112" y="17395"/>
                  <a:pt x="17455" y="16929"/>
                </a:cubicBezTo>
                <a:lnTo>
                  <a:pt x="17442" y="16942"/>
                </a:lnTo>
                <a:cubicBezTo>
                  <a:pt x="17295" y="16832"/>
                  <a:pt x="17090" y="16839"/>
                  <a:pt x="16957" y="16974"/>
                </a:cubicBezTo>
                <a:cubicBezTo>
                  <a:pt x="16826" y="17107"/>
                  <a:pt x="16819" y="17312"/>
                  <a:pt x="16923" y="17460"/>
                </a:cubicBezTo>
                <a:lnTo>
                  <a:pt x="16915" y="17469"/>
                </a:lnTo>
                <a:cubicBezTo>
                  <a:pt x="17379" y="18124"/>
                  <a:pt x="17322" y="19034"/>
                  <a:pt x="16736" y="19621"/>
                </a:cubicBezTo>
                <a:cubicBezTo>
                  <a:pt x="16081" y="20276"/>
                  <a:pt x="15019" y="20276"/>
                  <a:pt x="14365" y="19621"/>
                </a:cubicBezTo>
                <a:cubicBezTo>
                  <a:pt x="13710" y="18966"/>
                  <a:pt x="13710" y="17904"/>
                  <a:pt x="14365" y="17250"/>
                </a:cubicBezTo>
                <a:cubicBezTo>
                  <a:pt x="14654" y="16960"/>
                  <a:pt x="15024" y="16807"/>
                  <a:pt x="15402" y="16773"/>
                </a:cubicBezTo>
                <a:lnTo>
                  <a:pt x="12222" y="13592"/>
                </a:lnTo>
                <a:lnTo>
                  <a:pt x="12218" y="13596"/>
                </a:lnTo>
                <a:cubicBezTo>
                  <a:pt x="12031" y="13427"/>
                  <a:pt x="11744" y="13428"/>
                  <a:pt x="11565" y="13609"/>
                </a:cubicBezTo>
                <a:cubicBezTo>
                  <a:pt x="11385" y="13789"/>
                  <a:pt x="11383" y="14075"/>
                  <a:pt x="11552" y="14262"/>
                </a:cubicBezTo>
                <a:lnTo>
                  <a:pt x="13776" y="16501"/>
                </a:lnTo>
                <a:cubicBezTo>
                  <a:pt x="13748" y="16528"/>
                  <a:pt x="13714" y="16544"/>
                  <a:pt x="13687" y="16572"/>
                </a:cubicBezTo>
                <a:cubicBezTo>
                  <a:pt x="12658" y="17601"/>
                  <a:pt x="12658" y="19269"/>
                  <a:pt x="13687" y="20298"/>
                </a:cubicBezTo>
                <a:cubicBezTo>
                  <a:pt x="14716" y="21328"/>
                  <a:pt x="16384" y="21328"/>
                  <a:pt x="17413" y="20298"/>
                </a:cubicBezTo>
                <a:cubicBezTo>
                  <a:pt x="17994" y="19717"/>
                  <a:pt x="18235" y="18934"/>
                  <a:pt x="18160" y="18175"/>
                </a:cubicBezTo>
                <a:cubicBezTo>
                  <a:pt x="18922" y="18252"/>
                  <a:pt x="19711" y="18011"/>
                  <a:pt x="20295" y="17429"/>
                </a:cubicBezTo>
                <a:cubicBezTo>
                  <a:pt x="21327" y="16400"/>
                  <a:pt x="21327" y="14732"/>
                  <a:pt x="20295" y="13703"/>
                </a:cubicBezTo>
                <a:cubicBezTo>
                  <a:pt x="19263" y="12674"/>
                  <a:pt x="17590" y="12674"/>
                  <a:pt x="16558" y="13703"/>
                </a:cubicBezTo>
                <a:moveTo>
                  <a:pt x="4511" y="7368"/>
                </a:moveTo>
                <a:cubicBezTo>
                  <a:pt x="4539" y="7340"/>
                  <a:pt x="4556" y="7306"/>
                  <a:pt x="4582" y="7278"/>
                </a:cubicBezTo>
                <a:lnTo>
                  <a:pt x="6815" y="9511"/>
                </a:lnTo>
                <a:cubicBezTo>
                  <a:pt x="7002" y="9679"/>
                  <a:pt x="7289" y="9678"/>
                  <a:pt x="7468" y="9498"/>
                </a:cubicBezTo>
                <a:cubicBezTo>
                  <a:pt x="7649" y="9318"/>
                  <a:pt x="7650" y="9031"/>
                  <a:pt x="7481" y="8844"/>
                </a:cubicBezTo>
                <a:lnTo>
                  <a:pt x="7493" y="8833"/>
                </a:lnTo>
                <a:lnTo>
                  <a:pt x="4309" y="5650"/>
                </a:lnTo>
                <a:cubicBezTo>
                  <a:pt x="4277" y="6029"/>
                  <a:pt x="4122" y="6400"/>
                  <a:pt x="3831" y="6691"/>
                </a:cubicBezTo>
                <a:cubicBezTo>
                  <a:pt x="3175" y="7346"/>
                  <a:pt x="2110" y="7346"/>
                  <a:pt x="1453" y="6691"/>
                </a:cubicBezTo>
                <a:cubicBezTo>
                  <a:pt x="797" y="6036"/>
                  <a:pt x="797" y="4974"/>
                  <a:pt x="1453" y="4319"/>
                </a:cubicBezTo>
                <a:cubicBezTo>
                  <a:pt x="2042" y="3732"/>
                  <a:pt x="2957" y="3676"/>
                  <a:pt x="3614" y="4142"/>
                </a:cubicBezTo>
                <a:lnTo>
                  <a:pt x="3627" y="4128"/>
                </a:lnTo>
                <a:cubicBezTo>
                  <a:pt x="3774" y="4238"/>
                  <a:pt x="3979" y="4232"/>
                  <a:pt x="4112" y="4097"/>
                </a:cubicBezTo>
                <a:cubicBezTo>
                  <a:pt x="4243" y="3963"/>
                  <a:pt x="4250" y="3759"/>
                  <a:pt x="4146" y="3610"/>
                </a:cubicBezTo>
                <a:lnTo>
                  <a:pt x="4154" y="3602"/>
                </a:lnTo>
                <a:cubicBezTo>
                  <a:pt x="3690" y="2947"/>
                  <a:pt x="3746" y="2036"/>
                  <a:pt x="4333" y="1450"/>
                </a:cubicBezTo>
                <a:cubicBezTo>
                  <a:pt x="4988" y="795"/>
                  <a:pt x="6050" y="795"/>
                  <a:pt x="6705" y="1450"/>
                </a:cubicBezTo>
                <a:cubicBezTo>
                  <a:pt x="7359" y="2105"/>
                  <a:pt x="7359" y="3166"/>
                  <a:pt x="6705" y="3821"/>
                </a:cubicBezTo>
                <a:cubicBezTo>
                  <a:pt x="6415" y="4111"/>
                  <a:pt x="6046" y="4264"/>
                  <a:pt x="5667" y="4298"/>
                </a:cubicBezTo>
                <a:lnTo>
                  <a:pt x="8847" y="7478"/>
                </a:lnTo>
                <a:lnTo>
                  <a:pt x="8851" y="7475"/>
                </a:lnTo>
                <a:cubicBezTo>
                  <a:pt x="9038" y="7644"/>
                  <a:pt x="9325" y="7642"/>
                  <a:pt x="9504" y="7462"/>
                </a:cubicBezTo>
                <a:cubicBezTo>
                  <a:pt x="9684" y="7282"/>
                  <a:pt x="9686" y="6995"/>
                  <a:pt x="9517" y="6808"/>
                </a:cubicBezTo>
                <a:lnTo>
                  <a:pt x="7293" y="4569"/>
                </a:lnTo>
                <a:cubicBezTo>
                  <a:pt x="7321" y="4543"/>
                  <a:pt x="7355" y="4526"/>
                  <a:pt x="7382" y="4498"/>
                </a:cubicBezTo>
                <a:cubicBezTo>
                  <a:pt x="8411" y="3470"/>
                  <a:pt x="8411" y="1802"/>
                  <a:pt x="7382" y="772"/>
                </a:cubicBezTo>
                <a:cubicBezTo>
                  <a:pt x="6353" y="-257"/>
                  <a:pt x="4685" y="-257"/>
                  <a:pt x="3656" y="772"/>
                </a:cubicBezTo>
                <a:cubicBezTo>
                  <a:pt x="3075" y="1353"/>
                  <a:pt x="2834" y="2137"/>
                  <a:pt x="2909" y="2895"/>
                </a:cubicBezTo>
                <a:cubicBezTo>
                  <a:pt x="2147" y="2818"/>
                  <a:pt x="1358" y="3059"/>
                  <a:pt x="774" y="3641"/>
                </a:cubicBezTo>
                <a:cubicBezTo>
                  <a:pt x="-258" y="4671"/>
                  <a:pt x="-258" y="6339"/>
                  <a:pt x="774" y="7368"/>
                </a:cubicBezTo>
                <a:cubicBezTo>
                  <a:pt x="1806" y="8397"/>
                  <a:pt x="3479" y="8397"/>
                  <a:pt x="4511" y="736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8" name="Shape 2758"/>
          <p:cNvSpPr/>
          <p:nvPr/>
        </p:nvSpPr>
        <p:spPr>
          <a:xfrm>
            <a:off x="12474551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982" y="6873"/>
                </a:moveTo>
                <a:lnTo>
                  <a:pt x="14727" y="6873"/>
                </a:lnTo>
                <a:lnTo>
                  <a:pt x="14727" y="8836"/>
                </a:lnTo>
                <a:lnTo>
                  <a:pt x="982" y="8836"/>
                </a:lnTo>
                <a:cubicBezTo>
                  <a:pt x="982" y="8836"/>
                  <a:pt x="982" y="6873"/>
                  <a:pt x="982" y="6873"/>
                </a:cubicBezTo>
                <a:close/>
                <a:moveTo>
                  <a:pt x="982" y="9818"/>
                </a:moveTo>
                <a:lnTo>
                  <a:pt x="14727" y="9818"/>
                </a:lnTo>
                <a:cubicBezTo>
                  <a:pt x="15269" y="9818"/>
                  <a:pt x="15709" y="9378"/>
                  <a:pt x="15709" y="8836"/>
                </a:cubicBezTo>
                <a:lnTo>
                  <a:pt x="15709" y="6873"/>
                </a:lnTo>
                <a:cubicBezTo>
                  <a:pt x="15709" y="6331"/>
                  <a:pt x="15269" y="5891"/>
                  <a:pt x="14727" y="5891"/>
                </a:cubicBez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8"/>
                  <a:pt x="440" y="9818"/>
                  <a:pt x="982" y="9818"/>
                </a:cubicBezTo>
                <a:moveTo>
                  <a:pt x="14727" y="20618"/>
                </a:moveTo>
                <a:lnTo>
                  <a:pt x="982" y="20618"/>
                </a:lnTo>
                <a:lnTo>
                  <a:pt x="982" y="18655"/>
                </a:lnTo>
                <a:lnTo>
                  <a:pt x="14727" y="18655"/>
                </a:lnTo>
                <a:cubicBezTo>
                  <a:pt x="14727" y="18655"/>
                  <a:pt x="14727" y="20618"/>
                  <a:pt x="14727" y="20618"/>
                </a:cubicBezTo>
                <a:close/>
                <a:moveTo>
                  <a:pt x="14727" y="17673"/>
                </a:moveTo>
                <a:lnTo>
                  <a:pt x="982" y="17673"/>
                </a:lnTo>
                <a:cubicBezTo>
                  <a:pt x="440" y="17673"/>
                  <a:pt x="0" y="18113"/>
                  <a:pt x="0" y="18655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14727" y="21600"/>
                </a:lnTo>
                <a:cubicBezTo>
                  <a:pt x="15269" y="21600"/>
                  <a:pt x="15709" y="21160"/>
                  <a:pt x="15709" y="20618"/>
                </a:cubicBezTo>
                <a:lnTo>
                  <a:pt x="15709" y="18655"/>
                </a:lnTo>
                <a:cubicBezTo>
                  <a:pt x="15709" y="18113"/>
                  <a:pt x="15269" y="17673"/>
                  <a:pt x="14727" y="176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9" name="Shape 2759"/>
          <p:cNvSpPr/>
          <p:nvPr/>
        </p:nvSpPr>
        <p:spPr>
          <a:xfrm>
            <a:off x="13541074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3927" y="6873"/>
                </a:moveTo>
                <a:lnTo>
                  <a:pt x="17673" y="6873"/>
                </a:lnTo>
                <a:lnTo>
                  <a:pt x="17673" y="8836"/>
                </a:lnTo>
                <a:lnTo>
                  <a:pt x="3927" y="8836"/>
                </a:lnTo>
                <a:cubicBezTo>
                  <a:pt x="3927" y="8836"/>
                  <a:pt x="3927" y="6873"/>
                  <a:pt x="3927" y="6873"/>
                </a:cubicBezTo>
                <a:close/>
                <a:moveTo>
                  <a:pt x="17673" y="9818"/>
                </a:moveTo>
                <a:cubicBezTo>
                  <a:pt x="18215" y="9818"/>
                  <a:pt x="18655" y="9378"/>
                  <a:pt x="18655" y="8836"/>
                </a:cubicBezTo>
                <a:lnTo>
                  <a:pt x="18655" y="6873"/>
                </a:lnTo>
                <a:cubicBezTo>
                  <a:pt x="18655" y="6331"/>
                  <a:pt x="18215" y="5891"/>
                  <a:pt x="17673" y="5891"/>
                </a:cubicBezTo>
                <a:lnTo>
                  <a:pt x="3927" y="5891"/>
                </a:lnTo>
                <a:cubicBezTo>
                  <a:pt x="3385" y="5891"/>
                  <a:pt x="2945" y="6331"/>
                  <a:pt x="2945" y="6873"/>
                </a:cubicBezTo>
                <a:lnTo>
                  <a:pt x="2945" y="8836"/>
                </a:lnTo>
                <a:cubicBezTo>
                  <a:pt x="2945" y="9378"/>
                  <a:pt x="3385" y="9818"/>
                  <a:pt x="3927" y="9818"/>
                </a:cubicBezTo>
                <a:cubicBezTo>
                  <a:pt x="3927" y="9818"/>
                  <a:pt x="17673" y="9818"/>
                  <a:pt x="17673" y="9818"/>
                </a:cubicBezTo>
                <a:close/>
                <a:moveTo>
                  <a:pt x="17673" y="20618"/>
                </a:moveTo>
                <a:lnTo>
                  <a:pt x="3927" y="20618"/>
                </a:lnTo>
                <a:lnTo>
                  <a:pt x="3927" y="18655"/>
                </a:lnTo>
                <a:lnTo>
                  <a:pt x="17673" y="18655"/>
                </a:lnTo>
                <a:cubicBezTo>
                  <a:pt x="17673" y="18655"/>
                  <a:pt x="17673" y="20618"/>
                  <a:pt x="17673" y="20618"/>
                </a:cubicBezTo>
                <a:close/>
                <a:moveTo>
                  <a:pt x="17673" y="17673"/>
                </a:moveTo>
                <a:lnTo>
                  <a:pt x="3927" y="17673"/>
                </a:lnTo>
                <a:cubicBezTo>
                  <a:pt x="3385" y="17673"/>
                  <a:pt x="2945" y="18113"/>
                  <a:pt x="2945" y="18655"/>
                </a:cubicBezTo>
                <a:lnTo>
                  <a:pt x="2945" y="20618"/>
                </a:lnTo>
                <a:cubicBezTo>
                  <a:pt x="2945" y="21160"/>
                  <a:pt x="3385" y="21600"/>
                  <a:pt x="3927" y="21600"/>
                </a:cubicBezTo>
                <a:lnTo>
                  <a:pt x="17673" y="21600"/>
                </a:lnTo>
                <a:cubicBezTo>
                  <a:pt x="18215" y="21600"/>
                  <a:pt x="18655" y="21160"/>
                  <a:pt x="18655" y="20618"/>
                </a:cubicBezTo>
                <a:lnTo>
                  <a:pt x="18655" y="18655"/>
                </a:lnTo>
                <a:cubicBezTo>
                  <a:pt x="18655" y="18113"/>
                  <a:pt x="18215" y="17673"/>
                  <a:pt x="17673" y="176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0" name="Shape 2760"/>
          <p:cNvSpPr/>
          <p:nvPr/>
        </p:nvSpPr>
        <p:spPr>
          <a:xfrm>
            <a:off x="14607597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20618" y="8836"/>
                </a:moveTo>
                <a:lnTo>
                  <a:pt x="6873" y="8836"/>
                </a:lnTo>
                <a:lnTo>
                  <a:pt x="6873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20618" y="5891"/>
                </a:moveTo>
                <a:lnTo>
                  <a:pt x="6873" y="5891"/>
                </a:lnTo>
                <a:cubicBezTo>
                  <a:pt x="6331" y="5891"/>
                  <a:pt x="5891" y="6331"/>
                  <a:pt x="5891" y="6873"/>
                </a:cubicBezTo>
                <a:lnTo>
                  <a:pt x="5891" y="8836"/>
                </a:lnTo>
                <a:cubicBezTo>
                  <a:pt x="5891" y="9378"/>
                  <a:pt x="6331" y="9818"/>
                  <a:pt x="6873" y="9818"/>
                </a:cubicBezTo>
                <a:lnTo>
                  <a:pt x="20618" y="9818"/>
                </a:lnTo>
                <a:cubicBezTo>
                  <a:pt x="21160" y="9818"/>
                  <a:pt x="21600" y="9378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20618" y="20618"/>
                </a:moveTo>
                <a:lnTo>
                  <a:pt x="6873" y="20618"/>
                </a:lnTo>
                <a:lnTo>
                  <a:pt x="6873" y="18655"/>
                </a:lnTo>
                <a:lnTo>
                  <a:pt x="20618" y="18655"/>
                </a:lnTo>
                <a:cubicBezTo>
                  <a:pt x="20618" y="18655"/>
                  <a:pt x="20618" y="20618"/>
                  <a:pt x="20618" y="20618"/>
                </a:cubicBezTo>
                <a:close/>
                <a:moveTo>
                  <a:pt x="20618" y="17673"/>
                </a:moveTo>
                <a:lnTo>
                  <a:pt x="6873" y="17673"/>
                </a:lnTo>
                <a:cubicBezTo>
                  <a:pt x="6331" y="17673"/>
                  <a:pt x="5891" y="18113"/>
                  <a:pt x="5891" y="18655"/>
                </a:cubicBezTo>
                <a:lnTo>
                  <a:pt x="5891" y="20618"/>
                </a:lnTo>
                <a:cubicBezTo>
                  <a:pt x="5891" y="21160"/>
                  <a:pt x="6331" y="21600"/>
                  <a:pt x="6873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18655"/>
                </a:lnTo>
                <a:cubicBezTo>
                  <a:pt x="21600" y="18113"/>
                  <a:pt x="21160" y="17673"/>
                  <a:pt x="20618" y="176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1" name="Shape 2761"/>
          <p:cNvSpPr/>
          <p:nvPr/>
        </p:nvSpPr>
        <p:spPr>
          <a:xfrm>
            <a:off x="15674117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20618" y="5891"/>
                </a:move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8"/>
                  <a:pt x="440" y="9818"/>
                  <a:pt x="982" y="9818"/>
                </a:cubicBezTo>
                <a:lnTo>
                  <a:pt x="20618" y="9818"/>
                </a:lnTo>
                <a:cubicBezTo>
                  <a:pt x="21160" y="9818"/>
                  <a:pt x="21600" y="9378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20618"/>
                </a:moveTo>
                <a:lnTo>
                  <a:pt x="982" y="20618"/>
                </a:lnTo>
                <a:lnTo>
                  <a:pt x="982" y="18655"/>
                </a:lnTo>
                <a:lnTo>
                  <a:pt x="20618" y="18655"/>
                </a:lnTo>
                <a:cubicBezTo>
                  <a:pt x="20618" y="18655"/>
                  <a:pt x="20618" y="20618"/>
                  <a:pt x="20618" y="20618"/>
                </a:cubicBezTo>
                <a:close/>
                <a:moveTo>
                  <a:pt x="20618" y="17673"/>
                </a:moveTo>
                <a:lnTo>
                  <a:pt x="982" y="17673"/>
                </a:lnTo>
                <a:cubicBezTo>
                  <a:pt x="440" y="17673"/>
                  <a:pt x="0" y="18113"/>
                  <a:pt x="0" y="18655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18655"/>
                </a:lnTo>
                <a:cubicBezTo>
                  <a:pt x="21600" y="18113"/>
                  <a:pt x="21160" y="17673"/>
                  <a:pt x="20618" y="176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2" name="Shape 2762"/>
          <p:cNvSpPr/>
          <p:nvPr/>
        </p:nvSpPr>
        <p:spPr>
          <a:xfrm>
            <a:off x="16740640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982"/>
                </a:moveTo>
                <a:cubicBezTo>
                  <a:pt x="19520" y="982"/>
                  <a:pt x="20618" y="2081"/>
                  <a:pt x="20618" y="3436"/>
                </a:cubicBezTo>
                <a:cubicBezTo>
                  <a:pt x="20618" y="4792"/>
                  <a:pt x="19520" y="5891"/>
                  <a:pt x="18164" y="5891"/>
                </a:cubicBezTo>
                <a:cubicBezTo>
                  <a:pt x="16808" y="5891"/>
                  <a:pt x="15709" y="4792"/>
                  <a:pt x="15709" y="3436"/>
                </a:cubicBezTo>
                <a:cubicBezTo>
                  <a:pt x="15709" y="2081"/>
                  <a:pt x="16808" y="982"/>
                  <a:pt x="18164" y="982"/>
                </a:cubicBezTo>
                <a:moveTo>
                  <a:pt x="18164" y="6873"/>
                </a:moveTo>
                <a:cubicBezTo>
                  <a:pt x="20062" y="6873"/>
                  <a:pt x="21600" y="5334"/>
                  <a:pt x="21600" y="3436"/>
                </a:cubicBezTo>
                <a:cubicBezTo>
                  <a:pt x="21600" y="1538"/>
                  <a:pt x="20062" y="0"/>
                  <a:pt x="18164" y="0"/>
                </a:cubicBezTo>
                <a:cubicBezTo>
                  <a:pt x="16266" y="0"/>
                  <a:pt x="14727" y="1538"/>
                  <a:pt x="14727" y="3436"/>
                </a:cubicBezTo>
                <a:cubicBezTo>
                  <a:pt x="14727" y="5334"/>
                  <a:pt x="16266" y="6873"/>
                  <a:pt x="18164" y="6873"/>
                </a:cubicBezTo>
                <a:moveTo>
                  <a:pt x="18164" y="3927"/>
                </a:moveTo>
                <a:lnTo>
                  <a:pt x="18655" y="3927"/>
                </a:lnTo>
                <a:cubicBezTo>
                  <a:pt x="18925" y="3927"/>
                  <a:pt x="19145" y="3708"/>
                  <a:pt x="19145" y="3436"/>
                </a:cubicBezTo>
                <a:cubicBezTo>
                  <a:pt x="19145" y="3165"/>
                  <a:pt x="18925" y="2945"/>
                  <a:pt x="18655" y="2945"/>
                </a:cubicBezTo>
                <a:lnTo>
                  <a:pt x="18655" y="2455"/>
                </a:lnTo>
                <a:cubicBezTo>
                  <a:pt x="18655" y="2183"/>
                  <a:pt x="18434" y="1964"/>
                  <a:pt x="18164" y="1964"/>
                </a:cubicBezTo>
                <a:cubicBezTo>
                  <a:pt x="17893" y="1964"/>
                  <a:pt x="17673" y="2183"/>
                  <a:pt x="17673" y="2455"/>
                </a:cubicBezTo>
                <a:lnTo>
                  <a:pt x="17673" y="3436"/>
                </a:lnTo>
                <a:cubicBezTo>
                  <a:pt x="17673" y="3708"/>
                  <a:pt x="17893" y="3927"/>
                  <a:pt x="18164" y="3927"/>
                </a:cubicBezTo>
                <a:moveTo>
                  <a:pt x="9818" y="11782"/>
                </a:moveTo>
                <a:lnTo>
                  <a:pt x="4909" y="11782"/>
                </a:lnTo>
                <a:lnTo>
                  <a:pt x="4909" y="8836"/>
                </a:lnTo>
                <a:lnTo>
                  <a:pt x="9818" y="8836"/>
                </a:lnTo>
                <a:cubicBezTo>
                  <a:pt x="9818" y="8836"/>
                  <a:pt x="9818" y="11782"/>
                  <a:pt x="9818" y="11782"/>
                </a:cubicBezTo>
                <a:close/>
                <a:moveTo>
                  <a:pt x="21109" y="12764"/>
                </a:moveTo>
                <a:lnTo>
                  <a:pt x="11291" y="12764"/>
                </a:lnTo>
                <a:cubicBezTo>
                  <a:pt x="11562" y="12764"/>
                  <a:pt x="11782" y="12544"/>
                  <a:pt x="11782" y="12273"/>
                </a:cubicBezTo>
                <a:cubicBezTo>
                  <a:pt x="11782" y="12001"/>
                  <a:pt x="11562" y="11782"/>
                  <a:pt x="11291" y="11782"/>
                </a:cubicBezTo>
                <a:lnTo>
                  <a:pt x="10800" y="11782"/>
                </a:lnTo>
                <a:lnTo>
                  <a:pt x="10800" y="8836"/>
                </a:lnTo>
                <a:cubicBezTo>
                  <a:pt x="10800" y="8295"/>
                  <a:pt x="10360" y="7855"/>
                  <a:pt x="9818" y="7855"/>
                </a:cubicBezTo>
                <a:lnTo>
                  <a:pt x="4909" y="7855"/>
                </a:lnTo>
                <a:cubicBezTo>
                  <a:pt x="4367" y="7855"/>
                  <a:pt x="3927" y="8295"/>
                  <a:pt x="3927" y="8836"/>
                </a:cubicBezTo>
                <a:lnTo>
                  <a:pt x="3927" y="11782"/>
                </a:lnTo>
                <a:lnTo>
                  <a:pt x="3436" y="11782"/>
                </a:lnTo>
                <a:cubicBezTo>
                  <a:pt x="3166" y="11782"/>
                  <a:pt x="2945" y="12001"/>
                  <a:pt x="2945" y="12273"/>
                </a:cubicBezTo>
                <a:cubicBezTo>
                  <a:pt x="2945" y="12544"/>
                  <a:pt x="3166" y="12764"/>
                  <a:pt x="3436" y="12764"/>
                </a:cubicBezTo>
                <a:lnTo>
                  <a:pt x="491" y="12764"/>
                </a:lnTo>
                <a:cubicBezTo>
                  <a:pt x="220" y="12764"/>
                  <a:pt x="0" y="12983"/>
                  <a:pt x="0" y="13255"/>
                </a:cubicBezTo>
                <a:cubicBezTo>
                  <a:pt x="0" y="13526"/>
                  <a:pt x="220" y="13745"/>
                  <a:pt x="491" y="13745"/>
                </a:cubicBezTo>
                <a:lnTo>
                  <a:pt x="2945" y="13745"/>
                </a:lnTo>
                <a:lnTo>
                  <a:pt x="2945" y="21109"/>
                </a:lnTo>
                <a:cubicBezTo>
                  <a:pt x="2945" y="21380"/>
                  <a:pt x="3166" y="21600"/>
                  <a:pt x="3436" y="21600"/>
                </a:cubicBezTo>
                <a:cubicBezTo>
                  <a:pt x="3707" y="21600"/>
                  <a:pt x="3927" y="21380"/>
                  <a:pt x="3927" y="21109"/>
                </a:cubicBezTo>
                <a:lnTo>
                  <a:pt x="3927" y="13745"/>
                </a:lnTo>
                <a:lnTo>
                  <a:pt x="17673" y="13745"/>
                </a:lnTo>
                <a:lnTo>
                  <a:pt x="17673" y="21109"/>
                </a:lnTo>
                <a:cubicBezTo>
                  <a:pt x="17673" y="21380"/>
                  <a:pt x="17893" y="21600"/>
                  <a:pt x="18164" y="21600"/>
                </a:cubicBezTo>
                <a:cubicBezTo>
                  <a:pt x="18434" y="21600"/>
                  <a:pt x="18655" y="21380"/>
                  <a:pt x="18655" y="21109"/>
                </a:cubicBezTo>
                <a:lnTo>
                  <a:pt x="18655" y="13745"/>
                </a:lnTo>
                <a:lnTo>
                  <a:pt x="21109" y="13745"/>
                </a:lnTo>
                <a:cubicBezTo>
                  <a:pt x="21380" y="13745"/>
                  <a:pt x="21600" y="13526"/>
                  <a:pt x="21600" y="13255"/>
                </a:cubicBezTo>
                <a:cubicBezTo>
                  <a:pt x="21600" y="12983"/>
                  <a:pt x="21380" y="12764"/>
                  <a:pt x="21109" y="127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3" name="Shape 2763"/>
          <p:cNvSpPr/>
          <p:nvPr/>
        </p:nvSpPr>
        <p:spPr>
          <a:xfrm>
            <a:off x="17807162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5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585" y="2939"/>
                </a:lnTo>
                <a:lnTo>
                  <a:pt x="8836" y="6873"/>
                </a:lnTo>
                <a:lnTo>
                  <a:pt x="11291" y="9818"/>
                </a:lnTo>
                <a:lnTo>
                  <a:pt x="9327" y="14236"/>
                </a:lnTo>
                <a:lnTo>
                  <a:pt x="10800" y="16691"/>
                </a:lnTo>
                <a:lnTo>
                  <a:pt x="10432" y="14236"/>
                </a:lnTo>
                <a:lnTo>
                  <a:pt x="12365" y="9542"/>
                </a:lnTo>
                <a:lnTo>
                  <a:pt x="10002" y="6781"/>
                </a:lnTo>
                <a:lnTo>
                  <a:pt x="12069" y="2007"/>
                </a:lnTo>
                <a:cubicBezTo>
                  <a:pt x="12984" y="1345"/>
                  <a:pt x="14076" y="982"/>
                  <a:pt x="15218" y="982"/>
                </a:cubicBezTo>
                <a:cubicBezTo>
                  <a:pt x="18196" y="982"/>
                  <a:pt x="20618" y="3405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3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4" name="Shape 2764"/>
          <p:cNvSpPr/>
          <p:nvPr/>
        </p:nvSpPr>
        <p:spPr>
          <a:xfrm>
            <a:off x="18873684" y="9303817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88" y="6611"/>
                </a:moveTo>
                <a:cubicBezTo>
                  <a:pt x="20587" y="6619"/>
                  <a:pt x="20587" y="6627"/>
                  <a:pt x="20586" y="6635"/>
                </a:cubicBezTo>
                <a:cubicBezTo>
                  <a:pt x="20585" y="6640"/>
                  <a:pt x="20582" y="6674"/>
                  <a:pt x="20581" y="6680"/>
                </a:cubicBezTo>
                <a:cubicBezTo>
                  <a:pt x="20107" y="11287"/>
                  <a:pt x="14607" y="17428"/>
                  <a:pt x="12595" y="19086"/>
                </a:cubicBezTo>
                <a:lnTo>
                  <a:pt x="11905" y="15660"/>
                </a:lnTo>
                <a:lnTo>
                  <a:pt x="13960" y="10631"/>
                </a:lnTo>
                <a:lnTo>
                  <a:pt x="11429" y="7425"/>
                </a:lnTo>
                <a:lnTo>
                  <a:pt x="12699" y="2550"/>
                </a:lnTo>
                <a:cubicBezTo>
                  <a:pt x="12708" y="2540"/>
                  <a:pt x="12713" y="2534"/>
                  <a:pt x="12723" y="2524"/>
                </a:cubicBezTo>
                <a:cubicBezTo>
                  <a:pt x="13572" y="1625"/>
                  <a:pt x="14916" y="1080"/>
                  <a:pt x="16088" y="1080"/>
                </a:cubicBezTo>
                <a:cubicBezTo>
                  <a:pt x="18586" y="1080"/>
                  <a:pt x="20618" y="3315"/>
                  <a:pt x="20618" y="6063"/>
                </a:cubicBezTo>
                <a:cubicBezTo>
                  <a:pt x="20618" y="6262"/>
                  <a:pt x="20598" y="6506"/>
                  <a:pt x="20588" y="6611"/>
                </a:cubicBezTo>
                <a:moveTo>
                  <a:pt x="21600" y="6063"/>
                </a:moveTo>
                <a:cubicBezTo>
                  <a:pt x="21600" y="2715"/>
                  <a:pt x="19132" y="0"/>
                  <a:pt x="16088" y="0"/>
                </a:cubicBezTo>
                <a:cubicBezTo>
                  <a:pt x="14607" y="0"/>
                  <a:pt x="12974" y="748"/>
                  <a:pt x="11983" y="1794"/>
                </a:cubicBezTo>
                <a:lnTo>
                  <a:pt x="11985" y="1802"/>
                </a:lnTo>
                <a:cubicBezTo>
                  <a:pt x="11900" y="1871"/>
                  <a:pt x="11839" y="1965"/>
                  <a:pt x="11809" y="2079"/>
                </a:cubicBezTo>
                <a:lnTo>
                  <a:pt x="11797" y="2076"/>
                </a:lnTo>
                <a:lnTo>
                  <a:pt x="10309" y="7560"/>
                </a:lnTo>
                <a:lnTo>
                  <a:pt x="12764" y="10800"/>
                </a:lnTo>
                <a:lnTo>
                  <a:pt x="10800" y="15660"/>
                </a:lnTo>
                <a:lnTo>
                  <a:pt x="11797" y="20098"/>
                </a:lnTo>
                <a:lnTo>
                  <a:pt x="11803" y="20097"/>
                </a:lnTo>
                <a:cubicBezTo>
                  <a:pt x="11853" y="20337"/>
                  <a:pt x="12039" y="20520"/>
                  <a:pt x="12273" y="20520"/>
                </a:cubicBezTo>
                <a:cubicBezTo>
                  <a:pt x="12410" y="20520"/>
                  <a:pt x="12534" y="20457"/>
                  <a:pt x="12623" y="20357"/>
                </a:cubicBezTo>
                <a:cubicBezTo>
                  <a:pt x="14361" y="19225"/>
                  <a:pt x="20995" y="12270"/>
                  <a:pt x="21558" y="6787"/>
                </a:cubicBezTo>
                <a:lnTo>
                  <a:pt x="21558" y="6791"/>
                </a:lnTo>
                <a:cubicBezTo>
                  <a:pt x="21559" y="6791"/>
                  <a:pt x="21600" y="6399"/>
                  <a:pt x="21600" y="6063"/>
                </a:cubicBezTo>
                <a:moveTo>
                  <a:pt x="1019" y="7760"/>
                </a:moveTo>
                <a:cubicBezTo>
                  <a:pt x="1018" y="7754"/>
                  <a:pt x="1015" y="7720"/>
                  <a:pt x="1014" y="7715"/>
                </a:cubicBezTo>
                <a:cubicBezTo>
                  <a:pt x="1013" y="7707"/>
                  <a:pt x="1013" y="7699"/>
                  <a:pt x="1012" y="7691"/>
                </a:cubicBezTo>
                <a:cubicBezTo>
                  <a:pt x="1002" y="7586"/>
                  <a:pt x="982" y="7342"/>
                  <a:pt x="982" y="7143"/>
                </a:cubicBezTo>
                <a:cubicBezTo>
                  <a:pt x="982" y="4395"/>
                  <a:pt x="3014" y="2160"/>
                  <a:pt x="5512" y="2160"/>
                </a:cubicBezTo>
                <a:cubicBezTo>
                  <a:pt x="6634" y="2160"/>
                  <a:pt x="7908" y="2664"/>
                  <a:pt x="8760" y="3495"/>
                </a:cubicBezTo>
                <a:lnTo>
                  <a:pt x="7364" y="8640"/>
                </a:lnTo>
                <a:lnTo>
                  <a:pt x="9818" y="11880"/>
                </a:lnTo>
                <a:lnTo>
                  <a:pt x="7855" y="16740"/>
                </a:lnTo>
                <a:lnTo>
                  <a:pt x="8531" y="19752"/>
                </a:lnTo>
                <a:cubicBezTo>
                  <a:pt x="6242" y="17649"/>
                  <a:pt x="1459" y="12041"/>
                  <a:pt x="1019" y="7760"/>
                </a:cubicBezTo>
                <a:moveTo>
                  <a:pt x="9803" y="20925"/>
                </a:moveTo>
                <a:lnTo>
                  <a:pt x="8959" y="16740"/>
                </a:lnTo>
                <a:lnTo>
                  <a:pt x="11015" y="11711"/>
                </a:lnTo>
                <a:lnTo>
                  <a:pt x="8484" y="8505"/>
                </a:lnTo>
                <a:lnTo>
                  <a:pt x="9799" y="3457"/>
                </a:lnTo>
                <a:lnTo>
                  <a:pt x="9791" y="3454"/>
                </a:lnTo>
                <a:cubicBezTo>
                  <a:pt x="9804" y="3407"/>
                  <a:pt x="9818" y="3360"/>
                  <a:pt x="9818" y="3308"/>
                </a:cubicBezTo>
                <a:cubicBezTo>
                  <a:pt x="9818" y="3130"/>
                  <a:pt x="9736" y="2981"/>
                  <a:pt x="9615" y="2882"/>
                </a:cubicBezTo>
                <a:lnTo>
                  <a:pt x="9617" y="2874"/>
                </a:lnTo>
                <a:cubicBezTo>
                  <a:pt x="8626" y="1827"/>
                  <a:pt x="6993" y="1080"/>
                  <a:pt x="5512" y="1080"/>
                </a:cubicBezTo>
                <a:cubicBezTo>
                  <a:pt x="2468" y="1080"/>
                  <a:pt x="0" y="3795"/>
                  <a:pt x="0" y="7143"/>
                </a:cubicBezTo>
                <a:cubicBezTo>
                  <a:pt x="0" y="7479"/>
                  <a:pt x="41" y="7871"/>
                  <a:pt x="42" y="7871"/>
                </a:cubicBezTo>
                <a:lnTo>
                  <a:pt x="42" y="7867"/>
                </a:lnTo>
                <a:cubicBezTo>
                  <a:pt x="605" y="13350"/>
                  <a:pt x="7239" y="20305"/>
                  <a:pt x="8977" y="21437"/>
                </a:cubicBezTo>
                <a:cubicBezTo>
                  <a:pt x="9066" y="21537"/>
                  <a:pt x="9190" y="21600"/>
                  <a:pt x="9327" y="21600"/>
                </a:cubicBezTo>
                <a:cubicBezTo>
                  <a:pt x="9599" y="21600"/>
                  <a:pt x="9818" y="21358"/>
                  <a:pt x="9818" y="21060"/>
                </a:cubicBezTo>
                <a:cubicBezTo>
                  <a:pt x="9818" y="21013"/>
                  <a:pt x="9804" y="20971"/>
                  <a:pt x="9794" y="20927"/>
                </a:cubicBezTo>
                <a:cubicBezTo>
                  <a:pt x="9794" y="20927"/>
                  <a:pt x="9803" y="20925"/>
                  <a:pt x="9803" y="2092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5" name="Shape 2765"/>
          <p:cNvSpPr/>
          <p:nvPr/>
        </p:nvSpPr>
        <p:spPr>
          <a:xfrm>
            <a:off x="19940207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82" y="12764"/>
                </a:moveTo>
                <a:cubicBezTo>
                  <a:pt x="11510" y="12764"/>
                  <a:pt x="11291" y="12984"/>
                  <a:pt x="11291" y="13255"/>
                </a:cubicBezTo>
                <a:cubicBezTo>
                  <a:pt x="11291" y="13526"/>
                  <a:pt x="11510" y="13745"/>
                  <a:pt x="11782" y="13745"/>
                </a:cubicBezTo>
                <a:cubicBezTo>
                  <a:pt x="12053" y="13745"/>
                  <a:pt x="12273" y="13526"/>
                  <a:pt x="12273" y="13255"/>
                </a:cubicBezTo>
                <a:cubicBezTo>
                  <a:pt x="12273" y="12984"/>
                  <a:pt x="12053" y="12764"/>
                  <a:pt x="11782" y="12764"/>
                </a:cubicBezTo>
                <a:moveTo>
                  <a:pt x="14727" y="10800"/>
                </a:moveTo>
                <a:cubicBezTo>
                  <a:pt x="14999" y="10800"/>
                  <a:pt x="15218" y="10580"/>
                  <a:pt x="15218" y="10309"/>
                </a:cubicBezTo>
                <a:cubicBezTo>
                  <a:pt x="15218" y="10038"/>
                  <a:pt x="14999" y="9818"/>
                  <a:pt x="14727" y="9818"/>
                </a:cubicBezTo>
                <a:cubicBezTo>
                  <a:pt x="14456" y="9818"/>
                  <a:pt x="14236" y="10038"/>
                  <a:pt x="14236" y="10309"/>
                </a:cubicBezTo>
                <a:cubicBezTo>
                  <a:pt x="14236" y="10580"/>
                  <a:pt x="14456" y="10800"/>
                  <a:pt x="14727" y="10800"/>
                </a:cubicBezTo>
                <a:moveTo>
                  <a:pt x="19913" y="7150"/>
                </a:moveTo>
                <a:lnTo>
                  <a:pt x="19959" y="7195"/>
                </a:lnTo>
                <a:lnTo>
                  <a:pt x="19468" y="7686"/>
                </a:lnTo>
                <a:lnTo>
                  <a:pt x="19468" y="7687"/>
                </a:lnTo>
                <a:lnTo>
                  <a:pt x="17606" y="9549"/>
                </a:lnTo>
                <a:lnTo>
                  <a:pt x="12052" y="3994"/>
                </a:lnTo>
                <a:lnTo>
                  <a:pt x="13913" y="2132"/>
                </a:lnTo>
                <a:cubicBezTo>
                  <a:pt x="13914" y="2132"/>
                  <a:pt x="13914" y="2132"/>
                  <a:pt x="13914" y="2132"/>
                </a:cubicBezTo>
                <a:lnTo>
                  <a:pt x="14405" y="1641"/>
                </a:lnTo>
                <a:lnTo>
                  <a:pt x="14450" y="1687"/>
                </a:lnTo>
                <a:cubicBezTo>
                  <a:pt x="15086" y="1244"/>
                  <a:pt x="15857" y="982"/>
                  <a:pt x="16691" y="982"/>
                </a:cubicBezTo>
                <a:cubicBezTo>
                  <a:pt x="18860" y="982"/>
                  <a:pt x="20618" y="2740"/>
                  <a:pt x="20618" y="4909"/>
                </a:cubicBezTo>
                <a:cubicBezTo>
                  <a:pt x="20618" y="5743"/>
                  <a:pt x="20356" y="6514"/>
                  <a:pt x="19913" y="7150"/>
                </a:cubicBezTo>
                <a:moveTo>
                  <a:pt x="10242" y="16912"/>
                </a:moveTo>
                <a:lnTo>
                  <a:pt x="4689" y="11358"/>
                </a:lnTo>
                <a:lnTo>
                  <a:pt x="11358" y="4689"/>
                </a:lnTo>
                <a:lnTo>
                  <a:pt x="16911" y="10243"/>
                </a:lnTo>
                <a:cubicBezTo>
                  <a:pt x="16911" y="10243"/>
                  <a:pt x="10242" y="16912"/>
                  <a:pt x="10242" y="16912"/>
                </a:cubicBezTo>
                <a:close/>
                <a:moveTo>
                  <a:pt x="7686" y="19468"/>
                </a:moveTo>
                <a:cubicBezTo>
                  <a:pt x="6975" y="20179"/>
                  <a:pt x="5994" y="20618"/>
                  <a:pt x="4909" y="20618"/>
                </a:cubicBezTo>
                <a:cubicBezTo>
                  <a:pt x="2740" y="20618"/>
                  <a:pt x="982" y="18860"/>
                  <a:pt x="982" y="16691"/>
                </a:cubicBezTo>
                <a:cubicBezTo>
                  <a:pt x="982" y="15606"/>
                  <a:pt x="1421" y="14625"/>
                  <a:pt x="2132" y="13914"/>
                </a:cubicBezTo>
                <a:lnTo>
                  <a:pt x="3994" y="12052"/>
                </a:lnTo>
                <a:lnTo>
                  <a:pt x="9548" y="17606"/>
                </a:lnTo>
                <a:cubicBezTo>
                  <a:pt x="9548" y="17606"/>
                  <a:pt x="7686" y="19468"/>
                  <a:pt x="7686" y="19468"/>
                </a:cubicBezTo>
                <a:close/>
                <a:moveTo>
                  <a:pt x="21600" y="4909"/>
                </a:moveTo>
                <a:cubicBezTo>
                  <a:pt x="21600" y="2198"/>
                  <a:pt x="19402" y="0"/>
                  <a:pt x="16691" y="0"/>
                </a:cubicBezTo>
                <a:cubicBezTo>
                  <a:pt x="15586" y="0"/>
                  <a:pt x="14570" y="370"/>
                  <a:pt x="13749" y="986"/>
                </a:cubicBezTo>
                <a:lnTo>
                  <a:pt x="13710" y="947"/>
                </a:lnTo>
                <a:lnTo>
                  <a:pt x="13221" y="1437"/>
                </a:lnTo>
                <a:cubicBezTo>
                  <a:pt x="13220" y="1438"/>
                  <a:pt x="13220" y="1438"/>
                  <a:pt x="13219" y="1439"/>
                </a:cubicBezTo>
                <a:lnTo>
                  <a:pt x="1438" y="13220"/>
                </a:lnTo>
                <a:cubicBezTo>
                  <a:pt x="549" y="14108"/>
                  <a:pt x="0" y="15336"/>
                  <a:pt x="0" y="16691"/>
                </a:cubicBezTo>
                <a:cubicBezTo>
                  <a:pt x="0" y="19402"/>
                  <a:pt x="2198" y="21600"/>
                  <a:pt x="4909" y="21600"/>
                </a:cubicBezTo>
                <a:cubicBezTo>
                  <a:pt x="6265" y="21600"/>
                  <a:pt x="7492" y="21051"/>
                  <a:pt x="8380" y="20162"/>
                </a:cubicBezTo>
                <a:lnTo>
                  <a:pt x="20162" y="8381"/>
                </a:lnTo>
                <a:lnTo>
                  <a:pt x="20163" y="8380"/>
                </a:lnTo>
                <a:lnTo>
                  <a:pt x="20653" y="7890"/>
                </a:lnTo>
                <a:lnTo>
                  <a:pt x="20614" y="7851"/>
                </a:lnTo>
                <a:cubicBezTo>
                  <a:pt x="21230" y="7030"/>
                  <a:pt x="21600" y="6015"/>
                  <a:pt x="21600" y="4909"/>
                </a:cubicBezTo>
                <a:moveTo>
                  <a:pt x="10800" y="6873"/>
                </a:moveTo>
                <a:cubicBezTo>
                  <a:pt x="10800" y="7144"/>
                  <a:pt x="11020" y="7364"/>
                  <a:pt x="11291" y="7364"/>
                </a:cubicBezTo>
                <a:cubicBezTo>
                  <a:pt x="11562" y="7364"/>
                  <a:pt x="11782" y="7144"/>
                  <a:pt x="11782" y="6873"/>
                </a:cubicBezTo>
                <a:cubicBezTo>
                  <a:pt x="11782" y="6602"/>
                  <a:pt x="11562" y="6382"/>
                  <a:pt x="11291" y="6382"/>
                </a:cubicBezTo>
                <a:cubicBezTo>
                  <a:pt x="11020" y="6382"/>
                  <a:pt x="10800" y="6602"/>
                  <a:pt x="10800" y="6873"/>
                </a:cubicBezTo>
                <a:moveTo>
                  <a:pt x="13255" y="12273"/>
                </a:moveTo>
                <a:cubicBezTo>
                  <a:pt x="13526" y="12273"/>
                  <a:pt x="13745" y="12053"/>
                  <a:pt x="13745" y="11782"/>
                </a:cubicBezTo>
                <a:cubicBezTo>
                  <a:pt x="13745" y="11511"/>
                  <a:pt x="13526" y="11291"/>
                  <a:pt x="13255" y="11291"/>
                </a:cubicBezTo>
                <a:cubicBezTo>
                  <a:pt x="12983" y="11291"/>
                  <a:pt x="12764" y="11511"/>
                  <a:pt x="12764" y="11782"/>
                </a:cubicBezTo>
                <a:cubicBezTo>
                  <a:pt x="12764" y="12053"/>
                  <a:pt x="12983" y="12273"/>
                  <a:pt x="13255" y="12273"/>
                </a:cubicBezTo>
                <a:moveTo>
                  <a:pt x="12273" y="9818"/>
                </a:moveTo>
                <a:cubicBezTo>
                  <a:pt x="12544" y="9818"/>
                  <a:pt x="12764" y="9599"/>
                  <a:pt x="12764" y="9327"/>
                </a:cubicBezTo>
                <a:cubicBezTo>
                  <a:pt x="12764" y="9056"/>
                  <a:pt x="12544" y="8836"/>
                  <a:pt x="12273" y="8836"/>
                </a:cubicBezTo>
                <a:cubicBezTo>
                  <a:pt x="12001" y="8836"/>
                  <a:pt x="11782" y="9056"/>
                  <a:pt x="11782" y="9327"/>
                </a:cubicBezTo>
                <a:cubicBezTo>
                  <a:pt x="11782" y="9599"/>
                  <a:pt x="12001" y="9818"/>
                  <a:pt x="12273" y="9818"/>
                </a:cubicBezTo>
                <a:moveTo>
                  <a:pt x="10800" y="10309"/>
                </a:moveTo>
                <a:cubicBezTo>
                  <a:pt x="10529" y="10309"/>
                  <a:pt x="10309" y="10529"/>
                  <a:pt x="10309" y="10800"/>
                </a:cubicBezTo>
                <a:cubicBezTo>
                  <a:pt x="10309" y="11071"/>
                  <a:pt x="10529" y="11291"/>
                  <a:pt x="10800" y="11291"/>
                </a:cubicBezTo>
                <a:cubicBezTo>
                  <a:pt x="11071" y="11291"/>
                  <a:pt x="11291" y="11071"/>
                  <a:pt x="11291" y="10800"/>
                </a:cubicBezTo>
                <a:cubicBezTo>
                  <a:pt x="11291" y="10529"/>
                  <a:pt x="11071" y="10309"/>
                  <a:pt x="10800" y="10309"/>
                </a:cubicBezTo>
                <a:moveTo>
                  <a:pt x="10309" y="14236"/>
                </a:moveTo>
                <a:cubicBezTo>
                  <a:pt x="10038" y="14236"/>
                  <a:pt x="9818" y="14456"/>
                  <a:pt x="9818" y="14727"/>
                </a:cubicBezTo>
                <a:cubicBezTo>
                  <a:pt x="9818" y="14999"/>
                  <a:pt x="10038" y="15218"/>
                  <a:pt x="10309" y="15218"/>
                </a:cubicBezTo>
                <a:cubicBezTo>
                  <a:pt x="10580" y="15218"/>
                  <a:pt x="10800" y="14999"/>
                  <a:pt x="10800" y="14727"/>
                </a:cubicBezTo>
                <a:cubicBezTo>
                  <a:pt x="10800" y="14456"/>
                  <a:pt x="10580" y="14236"/>
                  <a:pt x="10309" y="14236"/>
                </a:cubicBezTo>
                <a:moveTo>
                  <a:pt x="9818" y="8836"/>
                </a:moveTo>
                <a:cubicBezTo>
                  <a:pt x="10090" y="8836"/>
                  <a:pt x="10309" y="8617"/>
                  <a:pt x="10309" y="8345"/>
                </a:cubicBezTo>
                <a:cubicBezTo>
                  <a:pt x="10309" y="8075"/>
                  <a:pt x="10090" y="7855"/>
                  <a:pt x="9818" y="7855"/>
                </a:cubicBezTo>
                <a:cubicBezTo>
                  <a:pt x="9547" y="7855"/>
                  <a:pt x="9327" y="8075"/>
                  <a:pt x="9327" y="8345"/>
                </a:cubicBezTo>
                <a:cubicBezTo>
                  <a:pt x="9327" y="8617"/>
                  <a:pt x="9547" y="8836"/>
                  <a:pt x="9818" y="8836"/>
                </a:cubicBezTo>
                <a:moveTo>
                  <a:pt x="6873" y="10800"/>
                </a:moveTo>
                <a:cubicBezTo>
                  <a:pt x="6601" y="10800"/>
                  <a:pt x="6382" y="11020"/>
                  <a:pt x="6382" y="11291"/>
                </a:cubicBezTo>
                <a:cubicBezTo>
                  <a:pt x="6382" y="11562"/>
                  <a:pt x="6601" y="11782"/>
                  <a:pt x="6873" y="11782"/>
                </a:cubicBezTo>
                <a:cubicBezTo>
                  <a:pt x="7144" y="11782"/>
                  <a:pt x="7364" y="11562"/>
                  <a:pt x="7364" y="11291"/>
                </a:cubicBezTo>
                <a:cubicBezTo>
                  <a:pt x="7364" y="11020"/>
                  <a:pt x="7144" y="10800"/>
                  <a:pt x="6873" y="10800"/>
                </a:cubicBezTo>
                <a:moveTo>
                  <a:pt x="8345" y="9327"/>
                </a:moveTo>
                <a:cubicBezTo>
                  <a:pt x="8074" y="9327"/>
                  <a:pt x="7855" y="9547"/>
                  <a:pt x="7855" y="9818"/>
                </a:cubicBezTo>
                <a:cubicBezTo>
                  <a:pt x="7855" y="10090"/>
                  <a:pt x="8074" y="10309"/>
                  <a:pt x="8345" y="10309"/>
                </a:cubicBezTo>
                <a:cubicBezTo>
                  <a:pt x="8617" y="10309"/>
                  <a:pt x="8836" y="10090"/>
                  <a:pt x="8836" y="9818"/>
                </a:cubicBezTo>
                <a:cubicBezTo>
                  <a:pt x="8836" y="9547"/>
                  <a:pt x="8617" y="9327"/>
                  <a:pt x="8345" y="9327"/>
                </a:cubicBezTo>
                <a:moveTo>
                  <a:pt x="9327" y="11782"/>
                </a:moveTo>
                <a:cubicBezTo>
                  <a:pt x="9056" y="11782"/>
                  <a:pt x="8836" y="12001"/>
                  <a:pt x="8836" y="12273"/>
                </a:cubicBezTo>
                <a:cubicBezTo>
                  <a:pt x="8836" y="12544"/>
                  <a:pt x="9056" y="12764"/>
                  <a:pt x="9327" y="12764"/>
                </a:cubicBezTo>
                <a:cubicBezTo>
                  <a:pt x="9599" y="12764"/>
                  <a:pt x="9818" y="12544"/>
                  <a:pt x="9818" y="12273"/>
                </a:cubicBezTo>
                <a:cubicBezTo>
                  <a:pt x="9818" y="12001"/>
                  <a:pt x="9599" y="11782"/>
                  <a:pt x="9327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6" name="Shape 2766"/>
          <p:cNvSpPr/>
          <p:nvPr/>
        </p:nvSpPr>
        <p:spPr>
          <a:xfrm>
            <a:off x="21006730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1782"/>
                </a:moveTo>
                <a:lnTo>
                  <a:pt x="11782" y="11782"/>
                </a:lnTo>
                <a:lnTo>
                  <a:pt x="11782" y="15709"/>
                </a:lnTo>
                <a:lnTo>
                  <a:pt x="9818" y="15709"/>
                </a:lnTo>
                <a:lnTo>
                  <a:pt x="9818" y="11782"/>
                </a:lnTo>
                <a:lnTo>
                  <a:pt x="5891" y="11782"/>
                </a:lnTo>
                <a:lnTo>
                  <a:pt x="5891" y="9818"/>
                </a:lnTo>
                <a:lnTo>
                  <a:pt x="9818" y="9818"/>
                </a:lnTo>
                <a:lnTo>
                  <a:pt x="9818" y="5891"/>
                </a:lnTo>
                <a:lnTo>
                  <a:pt x="11782" y="5891"/>
                </a:lnTo>
                <a:lnTo>
                  <a:pt x="11782" y="9818"/>
                </a:lnTo>
                <a:lnTo>
                  <a:pt x="15709" y="9818"/>
                </a:lnTo>
                <a:cubicBezTo>
                  <a:pt x="15709" y="9818"/>
                  <a:pt x="15709" y="11782"/>
                  <a:pt x="15709" y="11782"/>
                </a:cubicBezTo>
                <a:close/>
                <a:moveTo>
                  <a:pt x="15709" y="8836"/>
                </a:moveTo>
                <a:lnTo>
                  <a:pt x="12764" y="8836"/>
                </a:lnTo>
                <a:lnTo>
                  <a:pt x="12764" y="5891"/>
                </a:lnTo>
                <a:cubicBezTo>
                  <a:pt x="12764" y="5349"/>
                  <a:pt x="12324" y="4909"/>
                  <a:pt x="11782" y="4909"/>
                </a:cubicBezTo>
                <a:lnTo>
                  <a:pt x="9818" y="4909"/>
                </a:lnTo>
                <a:cubicBezTo>
                  <a:pt x="9276" y="4909"/>
                  <a:pt x="8836" y="5349"/>
                  <a:pt x="8836" y="5891"/>
                </a:cubicBezTo>
                <a:lnTo>
                  <a:pt x="8836" y="8836"/>
                </a:lnTo>
                <a:lnTo>
                  <a:pt x="5891" y="8836"/>
                </a:lnTo>
                <a:cubicBezTo>
                  <a:pt x="5349" y="8836"/>
                  <a:pt x="4909" y="9276"/>
                  <a:pt x="4909" y="9818"/>
                </a:cubicBezTo>
                <a:lnTo>
                  <a:pt x="4909" y="11782"/>
                </a:lnTo>
                <a:cubicBezTo>
                  <a:pt x="4909" y="12324"/>
                  <a:pt x="5349" y="12764"/>
                  <a:pt x="5891" y="12764"/>
                </a:cubicBezTo>
                <a:lnTo>
                  <a:pt x="8836" y="12764"/>
                </a:lnTo>
                <a:lnTo>
                  <a:pt x="8836" y="15709"/>
                </a:lnTo>
                <a:cubicBezTo>
                  <a:pt x="8836" y="16251"/>
                  <a:pt x="9276" y="16691"/>
                  <a:pt x="9818" y="16691"/>
                </a:cubicBezTo>
                <a:lnTo>
                  <a:pt x="11782" y="16691"/>
                </a:lnTo>
                <a:cubicBezTo>
                  <a:pt x="12324" y="16691"/>
                  <a:pt x="12764" y="16251"/>
                  <a:pt x="12764" y="15709"/>
                </a:cubicBezTo>
                <a:lnTo>
                  <a:pt x="12764" y="12764"/>
                </a:lnTo>
                <a:lnTo>
                  <a:pt x="15709" y="12764"/>
                </a:lnTo>
                <a:cubicBezTo>
                  <a:pt x="16251" y="12764"/>
                  <a:pt x="16691" y="12324"/>
                  <a:pt x="16691" y="11782"/>
                </a:cubicBezTo>
                <a:lnTo>
                  <a:pt x="16691" y="9818"/>
                </a:lnTo>
                <a:cubicBezTo>
                  <a:pt x="16691" y="9276"/>
                  <a:pt x="16251" y="8836"/>
                  <a:pt x="15709" y="8836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7" name="Shape 2767"/>
          <p:cNvSpPr/>
          <p:nvPr/>
        </p:nvSpPr>
        <p:spPr>
          <a:xfrm>
            <a:off x="22073251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1782"/>
                </a:moveTo>
                <a:lnTo>
                  <a:pt x="11782" y="11782"/>
                </a:lnTo>
                <a:lnTo>
                  <a:pt x="11782" y="15709"/>
                </a:lnTo>
                <a:lnTo>
                  <a:pt x="9818" y="15709"/>
                </a:lnTo>
                <a:lnTo>
                  <a:pt x="9818" y="11782"/>
                </a:lnTo>
                <a:lnTo>
                  <a:pt x="5891" y="11782"/>
                </a:lnTo>
                <a:lnTo>
                  <a:pt x="5891" y="9818"/>
                </a:lnTo>
                <a:lnTo>
                  <a:pt x="9818" y="9818"/>
                </a:lnTo>
                <a:lnTo>
                  <a:pt x="9818" y="5891"/>
                </a:lnTo>
                <a:lnTo>
                  <a:pt x="11782" y="5891"/>
                </a:lnTo>
                <a:lnTo>
                  <a:pt x="11782" y="9818"/>
                </a:lnTo>
                <a:lnTo>
                  <a:pt x="15709" y="9818"/>
                </a:lnTo>
                <a:cubicBezTo>
                  <a:pt x="15709" y="9818"/>
                  <a:pt x="15709" y="11782"/>
                  <a:pt x="15709" y="11782"/>
                </a:cubicBezTo>
                <a:close/>
                <a:moveTo>
                  <a:pt x="15709" y="8836"/>
                </a:moveTo>
                <a:lnTo>
                  <a:pt x="12764" y="8836"/>
                </a:lnTo>
                <a:lnTo>
                  <a:pt x="12764" y="5891"/>
                </a:lnTo>
                <a:cubicBezTo>
                  <a:pt x="12764" y="5349"/>
                  <a:pt x="12324" y="4909"/>
                  <a:pt x="11782" y="4909"/>
                </a:cubicBezTo>
                <a:lnTo>
                  <a:pt x="9818" y="4909"/>
                </a:lnTo>
                <a:cubicBezTo>
                  <a:pt x="9276" y="4909"/>
                  <a:pt x="8836" y="5349"/>
                  <a:pt x="8836" y="5891"/>
                </a:cubicBezTo>
                <a:lnTo>
                  <a:pt x="8836" y="8836"/>
                </a:lnTo>
                <a:lnTo>
                  <a:pt x="5891" y="8836"/>
                </a:lnTo>
                <a:cubicBezTo>
                  <a:pt x="5349" y="8836"/>
                  <a:pt x="4909" y="9276"/>
                  <a:pt x="4909" y="9818"/>
                </a:cubicBezTo>
                <a:lnTo>
                  <a:pt x="4909" y="11782"/>
                </a:lnTo>
                <a:cubicBezTo>
                  <a:pt x="4909" y="12324"/>
                  <a:pt x="5349" y="12764"/>
                  <a:pt x="5891" y="12764"/>
                </a:cubicBezTo>
                <a:lnTo>
                  <a:pt x="8836" y="12764"/>
                </a:lnTo>
                <a:lnTo>
                  <a:pt x="8836" y="15709"/>
                </a:lnTo>
                <a:cubicBezTo>
                  <a:pt x="8836" y="16251"/>
                  <a:pt x="9276" y="16691"/>
                  <a:pt x="9818" y="16691"/>
                </a:cubicBezTo>
                <a:lnTo>
                  <a:pt x="11782" y="16691"/>
                </a:lnTo>
                <a:cubicBezTo>
                  <a:pt x="12324" y="16691"/>
                  <a:pt x="12764" y="16251"/>
                  <a:pt x="12764" y="15709"/>
                </a:cubicBezTo>
                <a:lnTo>
                  <a:pt x="12764" y="12764"/>
                </a:lnTo>
                <a:lnTo>
                  <a:pt x="15709" y="12764"/>
                </a:lnTo>
                <a:cubicBezTo>
                  <a:pt x="16251" y="12764"/>
                  <a:pt x="16691" y="12324"/>
                  <a:pt x="16691" y="11782"/>
                </a:cubicBezTo>
                <a:lnTo>
                  <a:pt x="16691" y="9818"/>
                </a:lnTo>
                <a:cubicBezTo>
                  <a:pt x="16691" y="9276"/>
                  <a:pt x="16251" y="8836"/>
                  <a:pt x="15709" y="8836"/>
                </a:cubicBezTo>
                <a:moveTo>
                  <a:pt x="10800" y="20618"/>
                </a:moveTo>
                <a:cubicBezTo>
                  <a:pt x="5377" y="20618"/>
                  <a:pt x="982" y="16222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8" name="Shape 2768"/>
          <p:cNvSpPr/>
          <p:nvPr/>
        </p:nvSpPr>
        <p:spPr>
          <a:xfrm>
            <a:off x="12474551" y="10522698"/>
            <a:ext cx="558654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18900"/>
                </a:moveTo>
                <a:lnTo>
                  <a:pt x="11291" y="18900"/>
                </a:lnTo>
                <a:lnTo>
                  <a:pt x="11291" y="2700"/>
                </a:lnTo>
                <a:lnTo>
                  <a:pt x="17673" y="2700"/>
                </a:lnTo>
                <a:cubicBezTo>
                  <a:pt x="19300" y="2700"/>
                  <a:pt x="20618" y="6328"/>
                  <a:pt x="20618" y="10800"/>
                </a:cubicBezTo>
                <a:cubicBezTo>
                  <a:pt x="20618" y="15273"/>
                  <a:pt x="19300" y="18900"/>
                  <a:pt x="17673" y="18900"/>
                </a:cubicBezTo>
                <a:moveTo>
                  <a:pt x="6382" y="13500"/>
                </a:moveTo>
                <a:cubicBezTo>
                  <a:pt x="6111" y="13500"/>
                  <a:pt x="5891" y="12896"/>
                  <a:pt x="5891" y="12150"/>
                </a:cubicBezTo>
                <a:cubicBezTo>
                  <a:pt x="5891" y="11404"/>
                  <a:pt x="6111" y="10800"/>
                  <a:pt x="6382" y="10800"/>
                </a:cubicBezTo>
                <a:cubicBezTo>
                  <a:pt x="6653" y="10800"/>
                  <a:pt x="6873" y="11404"/>
                  <a:pt x="6873" y="12150"/>
                </a:cubicBezTo>
                <a:cubicBezTo>
                  <a:pt x="6873" y="12896"/>
                  <a:pt x="6653" y="13500"/>
                  <a:pt x="6382" y="13500"/>
                </a:cubicBezTo>
                <a:moveTo>
                  <a:pt x="3927" y="10800"/>
                </a:moveTo>
                <a:cubicBezTo>
                  <a:pt x="3385" y="10800"/>
                  <a:pt x="2945" y="9592"/>
                  <a:pt x="2945" y="8100"/>
                </a:cubicBezTo>
                <a:cubicBezTo>
                  <a:pt x="2945" y="6610"/>
                  <a:pt x="3385" y="5400"/>
                  <a:pt x="3927" y="5400"/>
                </a:cubicBezTo>
                <a:cubicBezTo>
                  <a:pt x="4469" y="5400"/>
                  <a:pt x="4909" y="6610"/>
                  <a:pt x="4909" y="8100"/>
                </a:cubicBezTo>
                <a:cubicBezTo>
                  <a:pt x="4909" y="9592"/>
                  <a:pt x="4469" y="10800"/>
                  <a:pt x="3927" y="10800"/>
                </a:cubicBezTo>
                <a:moveTo>
                  <a:pt x="17673" y="0"/>
                </a:moveTo>
                <a:lnTo>
                  <a:pt x="3927" y="0"/>
                </a:lnTo>
                <a:cubicBezTo>
                  <a:pt x="1758" y="0"/>
                  <a:pt x="0" y="4836"/>
                  <a:pt x="0" y="10800"/>
                </a:cubicBezTo>
                <a:cubicBezTo>
                  <a:pt x="0" y="16764"/>
                  <a:pt x="1758" y="21600"/>
                  <a:pt x="3927" y="21600"/>
                </a:cubicBezTo>
                <a:lnTo>
                  <a:pt x="17673" y="21600"/>
                </a:lnTo>
                <a:cubicBezTo>
                  <a:pt x="19842" y="21600"/>
                  <a:pt x="21600" y="16764"/>
                  <a:pt x="21600" y="10800"/>
                </a:cubicBezTo>
                <a:cubicBezTo>
                  <a:pt x="21600" y="4836"/>
                  <a:pt x="19842" y="0"/>
                  <a:pt x="17673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9" name="Shape 2769"/>
          <p:cNvSpPr/>
          <p:nvPr/>
        </p:nvSpPr>
        <p:spPr>
          <a:xfrm>
            <a:off x="13617255" y="10344945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0" y="8836"/>
                </a:moveTo>
                <a:cubicBezTo>
                  <a:pt x="1350" y="7752"/>
                  <a:pt x="2559" y="6873"/>
                  <a:pt x="4050" y="6873"/>
                </a:cubicBezTo>
                <a:lnTo>
                  <a:pt x="17550" y="6873"/>
                </a:lnTo>
                <a:cubicBezTo>
                  <a:pt x="19041" y="6873"/>
                  <a:pt x="20250" y="7752"/>
                  <a:pt x="20250" y="8836"/>
                </a:cubicBezTo>
                <a:cubicBezTo>
                  <a:pt x="20250" y="8836"/>
                  <a:pt x="1350" y="8836"/>
                  <a:pt x="1350" y="8836"/>
                </a:cubicBezTo>
                <a:close/>
                <a:moveTo>
                  <a:pt x="14850" y="12764"/>
                </a:moveTo>
                <a:lnTo>
                  <a:pt x="14850" y="14727"/>
                </a:lnTo>
                <a:lnTo>
                  <a:pt x="12150" y="14727"/>
                </a:lnTo>
                <a:lnTo>
                  <a:pt x="12150" y="16691"/>
                </a:lnTo>
                <a:lnTo>
                  <a:pt x="9450" y="16691"/>
                </a:lnTo>
                <a:lnTo>
                  <a:pt x="9450" y="14727"/>
                </a:lnTo>
                <a:lnTo>
                  <a:pt x="6750" y="14727"/>
                </a:lnTo>
                <a:lnTo>
                  <a:pt x="6750" y="12764"/>
                </a:lnTo>
                <a:lnTo>
                  <a:pt x="9450" y="12764"/>
                </a:lnTo>
                <a:lnTo>
                  <a:pt x="9450" y="10800"/>
                </a:lnTo>
                <a:lnTo>
                  <a:pt x="12150" y="10800"/>
                </a:lnTo>
                <a:lnTo>
                  <a:pt x="12150" y="12764"/>
                </a:lnTo>
                <a:cubicBezTo>
                  <a:pt x="12150" y="12764"/>
                  <a:pt x="14850" y="12764"/>
                  <a:pt x="14850" y="12764"/>
                </a:cubicBezTo>
                <a:close/>
                <a:moveTo>
                  <a:pt x="17550" y="20618"/>
                </a:moveTo>
                <a:lnTo>
                  <a:pt x="4050" y="20618"/>
                </a:lnTo>
                <a:cubicBezTo>
                  <a:pt x="2559" y="20618"/>
                  <a:pt x="1350" y="19739"/>
                  <a:pt x="1350" y="18655"/>
                </a:cubicBezTo>
                <a:lnTo>
                  <a:pt x="20250" y="18655"/>
                </a:lnTo>
                <a:cubicBezTo>
                  <a:pt x="20250" y="19739"/>
                  <a:pt x="19041" y="20618"/>
                  <a:pt x="17550" y="20618"/>
                </a:cubicBezTo>
                <a:moveTo>
                  <a:pt x="6750" y="2945"/>
                </a:moveTo>
                <a:lnTo>
                  <a:pt x="14850" y="2945"/>
                </a:lnTo>
                <a:lnTo>
                  <a:pt x="14850" y="4909"/>
                </a:lnTo>
                <a:lnTo>
                  <a:pt x="6750" y="4909"/>
                </a:lnTo>
                <a:cubicBezTo>
                  <a:pt x="6750" y="4909"/>
                  <a:pt x="6750" y="2945"/>
                  <a:pt x="6750" y="2945"/>
                </a:cubicBezTo>
                <a:close/>
                <a:moveTo>
                  <a:pt x="6750" y="982"/>
                </a:moveTo>
                <a:lnTo>
                  <a:pt x="14850" y="982"/>
                </a:lnTo>
                <a:lnTo>
                  <a:pt x="14850" y="1964"/>
                </a:lnTo>
                <a:lnTo>
                  <a:pt x="6750" y="1964"/>
                </a:lnTo>
                <a:cubicBezTo>
                  <a:pt x="6750" y="1964"/>
                  <a:pt x="6750" y="982"/>
                  <a:pt x="6750" y="982"/>
                </a:cubicBezTo>
                <a:close/>
                <a:moveTo>
                  <a:pt x="17550" y="5891"/>
                </a:moveTo>
                <a:lnTo>
                  <a:pt x="16200" y="5891"/>
                </a:lnTo>
                <a:lnTo>
                  <a:pt x="16200" y="4909"/>
                </a:lnTo>
                <a:lnTo>
                  <a:pt x="16200" y="982"/>
                </a:lnTo>
                <a:cubicBezTo>
                  <a:pt x="16200" y="440"/>
                  <a:pt x="15595" y="0"/>
                  <a:pt x="14850" y="0"/>
                </a:cubicBezTo>
                <a:lnTo>
                  <a:pt x="6750" y="0"/>
                </a:lnTo>
                <a:cubicBezTo>
                  <a:pt x="6005" y="0"/>
                  <a:pt x="5400" y="440"/>
                  <a:pt x="5400" y="982"/>
                </a:cubicBezTo>
                <a:lnTo>
                  <a:pt x="5400" y="4909"/>
                </a:lnTo>
                <a:lnTo>
                  <a:pt x="5400" y="5891"/>
                </a:lnTo>
                <a:lnTo>
                  <a:pt x="4050" y="5891"/>
                </a:lnTo>
                <a:cubicBezTo>
                  <a:pt x="1813" y="5891"/>
                  <a:pt x="0" y="7210"/>
                  <a:pt x="0" y="8836"/>
                </a:cubicBezTo>
                <a:lnTo>
                  <a:pt x="0" y="18655"/>
                </a:lnTo>
                <a:cubicBezTo>
                  <a:pt x="0" y="20282"/>
                  <a:pt x="1813" y="21600"/>
                  <a:pt x="4050" y="21600"/>
                </a:cubicBezTo>
                <a:lnTo>
                  <a:pt x="17550" y="21600"/>
                </a:lnTo>
                <a:cubicBezTo>
                  <a:pt x="19787" y="21600"/>
                  <a:pt x="21600" y="20282"/>
                  <a:pt x="21600" y="18655"/>
                </a:cubicBezTo>
                <a:lnTo>
                  <a:pt x="21600" y="8836"/>
                </a:lnTo>
                <a:cubicBezTo>
                  <a:pt x="21600" y="7210"/>
                  <a:pt x="19787" y="5891"/>
                  <a:pt x="17550" y="58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0" name="Shape 2770"/>
          <p:cNvSpPr/>
          <p:nvPr/>
        </p:nvSpPr>
        <p:spPr>
          <a:xfrm>
            <a:off x="14607597" y="1034494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4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7" y="21545"/>
                  <a:pt x="13610" y="21600"/>
                  <a:pt x="13745" y="21600"/>
                </a:cubicBezTo>
                <a:cubicBezTo>
                  <a:pt x="14016" y="21600"/>
                  <a:pt x="14236" y="21380"/>
                  <a:pt x="14236" y="21109"/>
                </a:cubicBezTo>
                <a:cubicBezTo>
                  <a:pt x="14236" y="20974"/>
                  <a:pt x="14181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1" name="Shape 2771"/>
          <p:cNvSpPr/>
          <p:nvPr/>
        </p:nvSpPr>
        <p:spPr>
          <a:xfrm>
            <a:off x="15674117" y="1034494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8836"/>
                </a:moveTo>
                <a:cubicBezTo>
                  <a:pt x="15812" y="8836"/>
                  <a:pt x="16691" y="9716"/>
                  <a:pt x="16691" y="10800"/>
                </a:cubicBezTo>
                <a:cubicBezTo>
                  <a:pt x="16691" y="11884"/>
                  <a:pt x="15812" y="12764"/>
                  <a:pt x="14727" y="12764"/>
                </a:cubicBezTo>
                <a:cubicBezTo>
                  <a:pt x="13643" y="12764"/>
                  <a:pt x="12764" y="11884"/>
                  <a:pt x="12764" y="10800"/>
                </a:cubicBezTo>
                <a:cubicBezTo>
                  <a:pt x="12764" y="9716"/>
                  <a:pt x="13643" y="8836"/>
                  <a:pt x="14727" y="8836"/>
                </a:cubicBezTo>
                <a:moveTo>
                  <a:pt x="14727" y="13745"/>
                </a:moveTo>
                <a:cubicBezTo>
                  <a:pt x="16354" y="13745"/>
                  <a:pt x="17673" y="12427"/>
                  <a:pt x="17673" y="10800"/>
                </a:cubicBezTo>
                <a:cubicBezTo>
                  <a:pt x="17673" y="9174"/>
                  <a:pt x="16354" y="7855"/>
                  <a:pt x="14727" y="7855"/>
                </a:cubicBezTo>
                <a:cubicBezTo>
                  <a:pt x="13100" y="7855"/>
                  <a:pt x="11782" y="9174"/>
                  <a:pt x="11782" y="10800"/>
                </a:cubicBezTo>
                <a:cubicBezTo>
                  <a:pt x="11782" y="12427"/>
                  <a:pt x="13100" y="13745"/>
                  <a:pt x="14727" y="13745"/>
                </a:cubicBezTo>
                <a:moveTo>
                  <a:pt x="6873" y="7308"/>
                </a:moveTo>
                <a:lnTo>
                  <a:pt x="8442" y="9818"/>
                </a:lnTo>
                <a:lnTo>
                  <a:pt x="5304" y="9818"/>
                </a:lnTo>
                <a:cubicBezTo>
                  <a:pt x="5304" y="9818"/>
                  <a:pt x="6873" y="7308"/>
                  <a:pt x="6873" y="7308"/>
                </a:cubicBezTo>
                <a:close/>
                <a:moveTo>
                  <a:pt x="4418" y="10800"/>
                </a:moveTo>
                <a:lnTo>
                  <a:pt x="9327" y="10800"/>
                </a:lnTo>
                <a:cubicBezTo>
                  <a:pt x="9598" y="10800"/>
                  <a:pt x="9818" y="10580"/>
                  <a:pt x="9818" y="10309"/>
                </a:cubicBezTo>
                <a:cubicBezTo>
                  <a:pt x="9818" y="10208"/>
                  <a:pt x="9780" y="10120"/>
                  <a:pt x="9728" y="10042"/>
                </a:cubicBezTo>
                <a:lnTo>
                  <a:pt x="9736" y="10037"/>
                </a:lnTo>
                <a:lnTo>
                  <a:pt x="7281" y="6110"/>
                </a:lnTo>
                <a:lnTo>
                  <a:pt x="7274" y="6114"/>
                </a:lnTo>
                <a:cubicBezTo>
                  <a:pt x="7186" y="5983"/>
                  <a:pt x="7043" y="5891"/>
                  <a:pt x="6873" y="5891"/>
                </a:cubicBezTo>
                <a:cubicBezTo>
                  <a:pt x="6702" y="5891"/>
                  <a:pt x="6560" y="5983"/>
                  <a:pt x="6472" y="6114"/>
                </a:cubicBezTo>
                <a:lnTo>
                  <a:pt x="6464" y="6110"/>
                </a:lnTo>
                <a:lnTo>
                  <a:pt x="4010" y="10037"/>
                </a:lnTo>
                <a:lnTo>
                  <a:pt x="4018" y="10042"/>
                </a:lnTo>
                <a:cubicBezTo>
                  <a:pt x="3965" y="10120"/>
                  <a:pt x="3927" y="10208"/>
                  <a:pt x="3927" y="10309"/>
                </a:cubicBezTo>
                <a:cubicBezTo>
                  <a:pt x="3927" y="10580"/>
                  <a:pt x="4147" y="10800"/>
                  <a:pt x="4418" y="10800"/>
                </a:cubicBezTo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4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7" y="21545"/>
                  <a:pt x="13610" y="21600"/>
                  <a:pt x="13745" y="21600"/>
                </a:cubicBezTo>
                <a:cubicBezTo>
                  <a:pt x="14016" y="21600"/>
                  <a:pt x="14236" y="21380"/>
                  <a:pt x="14236" y="21109"/>
                </a:cubicBezTo>
                <a:cubicBezTo>
                  <a:pt x="14236" y="20974"/>
                  <a:pt x="14181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2" name="Shape 2772"/>
          <p:cNvSpPr/>
          <p:nvPr/>
        </p:nvSpPr>
        <p:spPr>
          <a:xfrm>
            <a:off x="16740640" y="1034494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4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7" y="21545"/>
                  <a:pt x="13610" y="21600"/>
                  <a:pt x="13745" y="21600"/>
                </a:cubicBezTo>
                <a:cubicBezTo>
                  <a:pt x="14016" y="21600"/>
                  <a:pt x="14236" y="21380"/>
                  <a:pt x="14236" y="21109"/>
                </a:cubicBezTo>
                <a:cubicBezTo>
                  <a:pt x="14236" y="20974"/>
                  <a:pt x="14181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  <a:moveTo>
                  <a:pt x="12273" y="12764"/>
                </a:moveTo>
                <a:lnTo>
                  <a:pt x="17182" y="12764"/>
                </a:lnTo>
                <a:cubicBezTo>
                  <a:pt x="17453" y="12764"/>
                  <a:pt x="17673" y="12544"/>
                  <a:pt x="17673" y="12273"/>
                </a:cubicBezTo>
                <a:cubicBezTo>
                  <a:pt x="17673" y="12002"/>
                  <a:pt x="17453" y="11782"/>
                  <a:pt x="17182" y="11782"/>
                </a:cubicBezTo>
                <a:lnTo>
                  <a:pt x="12273" y="11782"/>
                </a:lnTo>
                <a:cubicBezTo>
                  <a:pt x="12002" y="11782"/>
                  <a:pt x="11782" y="12002"/>
                  <a:pt x="11782" y="12273"/>
                </a:cubicBezTo>
                <a:cubicBezTo>
                  <a:pt x="11782" y="12544"/>
                  <a:pt x="12002" y="12764"/>
                  <a:pt x="12273" y="12764"/>
                </a:cubicBezTo>
                <a:moveTo>
                  <a:pt x="4909" y="6873"/>
                </a:moveTo>
                <a:lnTo>
                  <a:pt x="8836" y="6873"/>
                </a:lnTo>
                <a:lnTo>
                  <a:pt x="8836" y="11782"/>
                </a:lnTo>
                <a:lnTo>
                  <a:pt x="4909" y="11782"/>
                </a:lnTo>
                <a:cubicBezTo>
                  <a:pt x="4909" y="11782"/>
                  <a:pt x="4909" y="6873"/>
                  <a:pt x="4909" y="6873"/>
                </a:cubicBezTo>
                <a:close/>
                <a:moveTo>
                  <a:pt x="4909" y="12764"/>
                </a:moveTo>
                <a:lnTo>
                  <a:pt x="8836" y="12764"/>
                </a:lnTo>
                <a:cubicBezTo>
                  <a:pt x="9378" y="12764"/>
                  <a:pt x="9818" y="12325"/>
                  <a:pt x="9818" y="11782"/>
                </a:cubicBezTo>
                <a:lnTo>
                  <a:pt x="9818" y="6873"/>
                </a:lnTo>
                <a:cubicBezTo>
                  <a:pt x="9818" y="6331"/>
                  <a:pt x="9378" y="5891"/>
                  <a:pt x="8836" y="5891"/>
                </a:cubicBezTo>
                <a:lnTo>
                  <a:pt x="4909" y="5891"/>
                </a:lnTo>
                <a:cubicBezTo>
                  <a:pt x="4367" y="5891"/>
                  <a:pt x="3927" y="6331"/>
                  <a:pt x="3927" y="6873"/>
                </a:cubicBezTo>
                <a:lnTo>
                  <a:pt x="3927" y="11782"/>
                </a:lnTo>
                <a:cubicBezTo>
                  <a:pt x="3927" y="12325"/>
                  <a:pt x="4367" y="12764"/>
                  <a:pt x="4909" y="12764"/>
                </a:cubicBezTo>
                <a:moveTo>
                  <a:pt x="12273" y="10800"/>
                </a:moveTo>
                <a:lnTo>
                  <a:pt x="14236" y="10800"/>
                </a:lnTo>
                <a:cubicBezTo>
                  <a:pt x="14507" y="10800"/>
                  <a:pt x="14727" y="10580"/>
                  <a:pt x="14727" y="10309"/>
                </a:cubicBezTo>
                <a:cubicBezTo>
                  <a:pt x="14727" y="10038"/>
                  <a:pt x="14507" y="9818"/>
                  <a:pt x="14236" y="9818"/>
                </a:cubicBezTo>
                <a:lnTo>
                  <a:pt x="12273" y="9818"/>
                </a:lnTo>
                <a:cubicBezTo>
                  <a:pt x="12002" y="9818"/>
                  <a:pt x="11782" y="10038"/>
                  <a:pt x="11782" y="10309"/>
                </a:cubicBezTo>
                <a:cubicBezTo>
                  <a:pt x="11782" y="10580"/>
                  <a:pt x="12002" y="10800"/>
                  <a:pt x="12273" y="10800"/>
                </a:cubicBezTo>
                <a:moveTo>
                  <a:pt x="12273" y="6873"/>
                </a:move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lnTo>
                  <a:pt x="12273" y="5891"/>
                </a:lnTo>
                <a:cubicBezTo>
                  <a:pt x="12002" y="5891"/>
                  <a:pt x="11782" y="6111"/>
                  <a:pt x="11782" y="6382"/>
                </a:cubicBezTo>
                <a:cubicBezTo>
                  <a:pt x="11782" y="6653"/>
                  <a:pt x="12002" y="6873"/>
                  <a:pt x="12273" y="6873"/>
                </a:cubicBezTo>
                <a:moveTo>
                  <a:pt x="12273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12273" y="7855"/>
                </a:lnTo>
                <a:cubicBezTo>
                  <a:pt x="12002" y="7855"/>
                  <a:pt x="11782" y="8075"/>
                  <a:pt x="11782" y="8345"/>
                </a:cubicBezTo>
                <a:cubicBezTo>
                  <a:pt x="11782" y="8617"/>
                  <a:pt x="12002" y="8836"/>
                  <a:pt x="12273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3" name="Shape 2773"/>
          <p:cNvSpPr/>
          <p:nvPr/>
        </p:nvSpPr>
        <p:spPr>
          <a:xfrm>
            <a:off x="17807162" y="1034494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8" y="20851"/>
                  <a:pt x="7364" y="20974"/>
                  <a:pt x="7364" y="21109"/>
                </a:cubicBezTo>
                <a:cubicBezTo>
                  <a:pt x="7364" y="21380"/>
                  <a:pt x="7583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8" y="21545"/>
                  <a:pt x="13610" y="21600"/>
                  <a:pt x="13745" y="21600"/>
                </a:cubicBezTo>
                <a:cubicBezTo>
                  <a:pt x="14017" y="21600"/>
                  <a:pt x="14236" y="21380"/>
                  <a:pt x="14236" y="21109"/>
                </a:cubicBezTo>
                <a:cubicBezTo>
                  <a:pt x="14236" y="20974"/>
                  <a:pt x="14182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  <a:moveTo>
                  <a:pt x="4909" y="12764"/>
                </a:moveTo>
                <a:cubicBezTo>
                  <a:pt x="5180" y="12764"/>
                  <a:pt x="5400" y="12544"/>
                  <a:pt x="5400" y="12273"/>
                </a:cubicBezTo>
                <a:cubicBezTo>
                  <a:pt x="5400" y="9290"/>
                  <a:pt x="7818" y="6873"/>
                  <a:pt x="10800" y="6873"/>
                </a:cubicBezTo>
                <a:cubicBezTo>
                  <a:pt x="13782" y="6873"/>
                  <a:pt x="16200" y="9290"/>
                  <a:pt x="16200" y="12273"/>
                </a:cubicBezTo>
                <a:cubicBezTo>
                  <a:pt x="16200" y="12544"/>
                  <a:pt x="16420" y="12764"/>
                  <a:pt x="16691" y="12764"/>
                </a:cubicBezTo>
                <a:cubicBezTo>
                  <a:pt x="16962" y="12764"/>
                  <a:pt x="17182" y="12544"/>
                  <a:pt x="17182" y="12273"/>
                </a:cubicBezTo>
                <a:cubicBezTo>
                  <a:pt x="17182" y="8748"/>
                  <a:pt x="14325" y="5891"/>
                  <a:pt x="10800" y="5891"/>
                </a:cubicBezTo>
                <a:cubicBezTo>
                  <a:pt x="7275" y="5891"/>
                  <a:pt x="4418" y="8748"/>
                  <a:pt x="4418" y="12273"/>
                </a:cubicBezTo>
                <a:cubicBezTo>
                  <a:pt x="4418" y="12544"/>
                  <a:pt x="4638" y="12764"/>
                  <a:pt x="4909" y="12764"/>
                </a:cubicBezTo>
                <a:moveTo>
                  <a:pt x="10800" y="11782"/>
                </a:moveTo>
                <a:cubicBezTo>
                  <a:pt x="10529" y="11782"/>
                  <a:pt x="10309" y="12002"/>
                  <a:pt x="10309" y="12273"/>
                </a:cubicBezTo>
                <a:cubicBezTo>
                  <a:pt x="10309" y="12544"/>
                  <a:pt x="10529" y="12764"/>
                  <a:pt x="10800" y="12764"/>
                </a:cubicBezTo>
                <a:cubicBezTo>
                  <a:pt x="11071" y="12764"/>
                  <a:pt x="11291" y="12544"/>
                  <a:pt x="11291" y="12273"/>
                </a:cubicBezTo>
                <a:cubicBezTo>
                  <a:pt x="11291" y="12002"/>
                  <a:pt x="11071" y="11782"/>
                  <a:pt x="10800" y="11782"/>
                </a:cubicBezTo>
                <a:moveTo>
                  <a:pt x="10800" y="8836"/>
                </a:moveTo>
                <a:cubicBezTo>
                  <a:pt x="8903" y="8836"/>
                  <a:pt x="7364" y="10375"/>
                  <a:pt x="7364" y="12273"/>
                </a:cubicBezTo>
                <a:cubicBezTo>
                  <a:pt x="7364" y="12544"/>
                  <a:pt x="7583" y="12764"/>
                  <a:pt x="7855" y="12764"/>
                </a:cubicBezTo>
                <a:cubicBezTo>
                  <a:pt x="8126" y="12764"/>
                  <a:pt x="8345" y="12544"/>
                  <a:pt x="8345" y="12273"/>
                </a:cubicBezTo>
                <a:cubicBezTo>
                  <a:pt x="8345" y="10917"/>
                  <a:pt x="9444" y="9818"/>
                  <a:pt x="10800" y="9818"/>
                </a:cubicBezTo>
                <a:cubicBezTo>
                  <a:pt x="12156" y="9818"/>
                  <a:pt x="13255" y="10917"/>
                  <a:pt x="13255" y="12273"/>
                </a:cubicBezTo>
                <a:cubicBezTo>
                  <a:pt x="13255" y="12544"/>
                  <a:pt x="13474" y="12764"/>
                  <a:pt x="13745" y="12764"/>
                </a:cubicBezTo>
                <a:cubicBezTo>
                  <a:pt x="14017" y="12764"/>
                  <a:pt x="14236" y="12544"/>
                  <a:pt x="14236" y="12273"/>
                </a:cubicBezTo>
                <a:cubicBezTo>
                  <a:pt x="14236" y="10375"/>
                  <a:pt x="12698" y="8836"/>
                  <a:pt x="10800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4" name="Shape 2774"/>
          <p:cNvSpPr/>
          <p:nvPr/>
        </p:nvSpPr>
        <p:spPr>
          <a:xfrm>
            <a:off x="18873684" y="1034494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7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39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39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1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3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8" y="21545"/>
                  <a:pt x="13610" y="21600"/>
                  <a:pt x="13745" y="21600"/>
                </a:cubicBezTo>
                <a:cubicBezTo>
                  <a:pt x="14017" y="21600"/>
                  <a:pt x="14236" y="21380"/>
                  <a:pt x="14236" y="21109"/>
                </a:cubicBezTo>
                <a:cubicBezTo>
                  <a:pt x="14236" y="20974"/>
                  <a:pt x="14182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  <a:moveTo>
                  <a:pt x="16200" y="5891"/>
                </a:moveTo>
                <a:cubicBezTo>
                  <a:pt x="16471" y="5891"/>
                  <a:pt x="16691" y="6111"/>
                  <a:pt x="16691" y="6382"/>
                </a:cubicBezTo>
                <a:cubicBezTo>
                  <a:pt x="16691" y="6653"/>
                  <a:pt x="16471" y="6873"/>
                  <a:pt x="16200" y="6873"/>
                </a:cubicBezTo>
                <a:cubicBezTo>
                  <a:pt x="15929" y="6873"/>
                  <a:pt x="15709" y="6653"/>
                  <a:pt x="15709" y="6382"/>
                </a:cubicBezTo>
                <a:cubicBezTo>
                  <a:pt x="15709" y="6111"/>
                  <a:pt x="15929" y="5891"/>
                  <a:pt x="16200" y="5891"/>
                </a:cubicBezTo>
                <a:moveTo>
                  <a:pt x="16200" y="7855"/>
                </a:moveTo>
                <a:cubicBezTo>
                  <a:pt x="17013" y="7855"/>
                  <a:pt x="17673" y="7196"/>
                  <a:pt x="17673" y="6382"/>
                </a:cubicBezTo>
                <a:cubicBezTo>
                  <a:pt x="17673" y="5569"/>
                  <a:pt x="17013" y="4909"/>
                  <a:pt x="16200" y="4909"/>
                </a:cubicBezTo>
                <a:cubicBezTo>
                  <a:pt x="15387" y="4909"/>
                  <a:pt x="14727" y="5569"/>
                  <a:pt x="14727" y="6382"/>
                </a:cubicBezTo>
                <a:cubicBezTo>
                  <a:pt x="14727" y="7196"/>
                  <a:pt x="15387" y="7855"/>
                  <a:pt x="16200" y="7855"/>
                </a:cubicBezTo>
                <a:moveTo>
                  <a:pt x="8422" y="8135"/>
                </a:moveTo>
                <a:lnTo>
                  <a:pt x="11926" y="11638"/>
                </a:lnTo>
                <a:cubicBezTo>
                  <a:pt x="12015" y="11727"/>
                  <a:pt x="12138" y="11782"/>
                  <a:pt x="12273" y="11782"/>
                </a:cubicBezTo>
                <a:cubicBezTo>
                  <a:pt x="12408" y="11782"/>
                  <a:pt x="12531" y="11727"/>
                  <a:pt x="12620" y="11638"/>
                </a:cubicBezTo>
                <a:lnTo>
                  <a:pt x="14183" y="10075"/>
                </a:lnTo>
                <a:lnTo>
                  <a:pt x="16200" y="12764"/>
                </a:lnTo>
                <a:lnTo>
                  <a:pt x="5336" y="12764"/>
                </a:lnTo>
                <a:cubicBezTo>
                  <a:pt x="5336" y="12764"/>
                  <a:pt x="8422" y="8135"/>
                  <a:pt x="8422" y="8135"/>
                </a:cubicBezTo>
                <a:close/>
                <a:moveTo>
                  <a:pt x="4418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cubicBezTo>
                  <a:pt x="17673" y="13144"/>
                  <a:pt x="17630" y="13047"/>
                  <a:pt x="17568" y="12965"/>
                </a:cubicBezTo>
                <a:lnTo>
                  <a:pt x="17575" y="12960"/>
                </a:lnTo>
                <a:lnTo>
                  <a:pt x="14629" y="9033"/>
                </a:lnTo>
                <a:lnTo>
                  <a:pt x="14622" y="9038"/>
                </a:lnTo>
                <a:cubicBezTo>
                  <a:pt x="14533" y="8919"/>
                  <a:pt x="14397" y="8836"/>
                  <a:pt x="14236" y="8836"/>
                </a:cubicBezTo>
                <a:cubicBezTo>
                  <a:pt x="14101" y="8836"/>
                  <a:pt x="13978" y="8891"/>
                  <a:pt x="13889" y="8980"/>
                </a:cubicBezTo>
                <a:lnTo>
                  <a:pt x="12273" y="10597"/>
                </a:lnTo>
                <a:lnTo>
                  <a:pt x="8693" y="7017"/>
                </a:lnTo>
                <a:cubicBezTo>
                  <a:pt x="8604" y="6928"/>
                  <a:pt x="8481" y="6873"/>
                  <a:pt x="8345" y="6873"/>
                </a:cubicBezTo>
                <a:cubicBezTo>
                  <a:pt x="8175" y="6873"/>
                  <a:pt x="8033" y="6965"/>
                  <a:pt x="7945" y="7097"/>
                </a:cubicBezTo>
                <a:lnTo>
                  <a:pt x="7937" y="7091"/>
                </a:lnTo>
                <a:lnTo>
                  <a:pt x="4010" y="12982"/>
                </a:lnTo>
                <a:lnTo>
                  <a:pt x="4017" y="12988"/>
                </a:lnTo>
                <a:cubicBezTo>
                  <a:pt x="3965" y="13066"/>
                  <a:pt x="3927" y="13154"/>
                  <a:pt x="3927" y="13255"/>
                </a:cubicBezTo>
                <a:cubicBezTo>
                  <a:pt x="3927" y="13526"/>
                  <a:pt x="4147" y="13745"/>
                  <a:pt x="4418" y="137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5" name="Shape 2775"/>
          <p:cNvSpPr/>
          <p:nvPr/>
        </p:nvSpPr>
        <p:spPr>
          <a:xfrm>
            <a:off x="19940207" y="10433824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755"/>
                </a:moveTo>
                <a:lnTo>
                  <a:pt x="1866" y="6075"/>
                </a:lnTo>
                <a:lnTo>
                  <a:pt x="10800" y="1395"/>
                </a:lnTo>
                <a:lnTo>
                  <a:pt x="19735" y="6075"/>
                </a:lnTo>
                <a:cubicBezTo>
                  <a:pt x="19735" y="6075"/>
                  <a:pt x="10800" y="10755"/>
                  <a:pt x="10800" y="10755"/>
                </a:cubicBezTo>
                <a:close/>
                <a:moveTo>
                  <a:pt x="18031" y="17315"/>
                </a:moveTo>
                <a:lnTo>
                  <a:pt x="14834" y="16216"/>
                </a:lnTo>
                <a:lnTo>
                  <a:pt x="14832" y="16229"/>
                </a:lnTo>
                <a:cubicBezTo>
                  <a:pt x="14797" y="16218"/>
                  <a:pt x="14765" y="16200"/>
                  <a:pt x="14727" y="16200"/>
                </a:cubicBezTo>
                <a:cubicBezTo>
                  <a:pt x="14627" y="16200"/>
                  <a:pt x="14538" y="16251"/>
                  <a:pt x="14460" y="16324"/>
                </a:cubicBezTo>
                <a:lnTo>
                  <a:pt x="14455" y="16313"/>
                </a:lnTo>
                <a:lnTo>
                  <a:pt x="10820" y="20061"/>
                </a:lnTo>
                <a:lnTo>
                  <a:pt x="7658" y="16334"/>
                </a:lnTo>
                <a:lnTo>
                  <a:pt x="7653" y="16344"/>
                </a:lnTo>
                <a:cubicBezTo>
                  <a:pt x="7571" y="16259"/>
                  <a:pt x="7474" y="16200"/>
                  <a:pt x="7364" y="16200"/>
                </a:cubicBezTo>
                <a:cubicBezTo>
                  <a:pt x="7327" y="16200"/>
                  <a:pt x="7294" y="16218"/>
                  <a:pt x="7259" y="16229"/>
                </a:cubicBezTo>
                <a:lnTo>
                  <a:pt x="7257" y="16216"/>
                </a:lnTo>
                <a:lnTo>
                  <a:pt x="4013" y="17331"/>
                </a:lnTo>
                <a:lnTo>
                  <a:pt x="4767" y="9035"/>
                </a:lnTo>
                <a:lnTo>
                  <a:pt x="10589" y="12084"/>
                </a:lnTo>
                <a:lnTo>
                  <a:pt x="10591" y="12080"/>
                </a:lnTo>
                <a:cubicBezTo>
                  <a:pt x="10655" y="12122"/>
                  <a:pt x="10724" y="12150"/>
                  <a:pt x="10800" y="12150"/>
                </a:cubicBezTo>
                <a:cubicBezTo>
                  <a:pt x="10876" y="12150"/>
                  <a:pt x="10946" y="12122"/>
                  <a:pt x="11009" y="12080"/>
                </a:cubicBezTo>
                <a:lnTo>
                  <a:pt x="11011" y="12084"/>
                </a:lnTo>
                <a:lnTo>
                  <a:pt x="16897" y="9001"/>
                </a:lnTo>
                <a:cubicBezTo>
                  <a:pt x="16897" y="9001"/>
                  <a:pt x="18031" y="17315"/>
                  <a:pt x="18031" y="17315"/>
                </a:cubicBezTo>
                <a:close/>
                <a:moveTo>
                  <a:pt x="21600" y="6075"/>
                </a:moveTo>
                <a:cubicBezTo>
                  <a:pt x="21600" y="5806"/>
                  <a:pt x="21484" y="5579"/>
                  <a:pt x="21319" y="5470"/>
                </a:cubicBezTo>
                <a:lnTo>
                  <a:pt x="21320" y="5466"/>
                </a:lnTo>
                <a:lnTo>
                  <a:pt x="21306" y="5458"/>
                </a:lnTo>
                <a:cubicBezTo>
                  <a:pt x="21301" y="5455"/>
                  <a:pt x="21296" y="5453"/>
                  <a:pt x="21292" y="5451"/>
                </a:cubicBezTo>
                <a:lnTo>
                  <a:pt x="11011" y="66"/>
                </a:lnTo>
                <a:lnTo>
                  <a:pt x="11009" y="70"/>
                </a:lnTo>
                <a:cubicBezTo>
                  <a:pt x="10946" y="28"/>
                  <a:pt x="10876" y="0"/>
                  <a:pt x="10800" y="0"/>
                </a:cubicBezTo>
                <a:cubicBezTo>
                  <a:pt x="10724" y="0"/>
                  <a:pt x="10655" y="28"/>
                  <a:pt x="10591" y="70"/>
                </a:cubicBezTo>
                <a:lnTo>
                  <a:pt x="10589" y="66"/>
                </a:lnTo>
                <a:lnTo>
                  <a:pt x="309" y="5451"/>
                </a:lnTo>
                <a:cubicBezTo>
                  <a:pt x="304" y="5453"/>
                  <a:pt x="299" y="5455"/>
                  <a:pt x="295" y="5458"/>
                </a:cubicBezTo>
                <a:lnTo>
                  <a:pt x="280" y="5466"/>
                </a:lnTo>
                <a:lnTo>
                  <a:pt x="281" y="5470"/>
                </a:lnTo>
                <a:cubicBezTo>
                  <a:pt x="116" y="5579"/>
                  <a:pt x="0" y="5806"/>
                  <a:pt x="0" y="6075"/>
                </a:cubicBezTo>
                <a:cubicBezTo>
                  <a:pt x="0" y="6344"/>
                  <a:pt x="116" y="6571"/>
                  <a:pt x="281" y="6680"/>
                </a:cubicBezTo>
                <a:lnTo>
                  <a:pt x="280" y="6684"/>
                </a:lnTo>
                <a:lnTo>
                  <a:pt x="295" y="6692"/>
                </a:lnTo>
                <a:cubicBezTo>
                  <a:pt x="299" y="6695"/>
                  <a:pt x="304" y="6697"/>
                  <a:pt x="309" y="6699"/>
                </a:cubicBezTo>
                <a:lnTo>
                  <a:pt x="1230" y="7182"/>
                </a:lnTo>
                <a:lnTo>
                  <a:pt x="608" y="13603"/>
                </a:lnTo>
                <a:cubicBezTo>
                  <a:pt x="251" y="13805"/>
                  <a:pt x="0" y="14287"/>
                  <a:pt x="0" y="14850"/>
                </a:cubicBezTo>
                <a:cubicBezTo>
                  <a:pt x="0" y="15596"/>
                  <a:pt x="439" y="16200"/>
                  <a:pt x="982" y="16200"/>
                </a:cubicBezTo>
                <a:cubicBezTo>
                  <a:pt x="1524" y="16200"/>
                  <a:pt x="1964" y="15596"/>
                  <a:pt x="1964" y="14850"/>
                </a:cubicBezTo>
                <a:cubicBezTo>
                  <a:pt x="1964" y="14416"/>
                  <a:pt x="1812" y="14034"/>
                  <a:pt x="1580" y="13787"/>
                </a:cubicBezTo>
                <a:lnTo>
                  <a:pt x="2173" y="7676"/>
                </a:lnTo>
                <a:lnTo>
                  <a:pt x="3822" y="8540"/>
                </a:lnTo>
                <a:lnTo>
                  <a:pt x="2950" y="18135"/>
                </a:lnTo>
                <a:lnTo>
                  <a:pt x="2958" y="18138"/>
                </a:lnTo>
                <a:cubicBezTo>
                  <a:pt x="2955" y="18167"/>
                  <a:pt x="2945" y="18193"/>
                  <a:pt x="2945" y="18225"/>
                </a:cubicBezTo>
                <a:cubicBezTo>
                  <a:pt x="2945" y="18598"/>
                  <a:pt x="3165" y="18900"/>
                  <a:pt x="3436" y="18900"/>
                </a:cubicBezTo>
                <a:cubicBezTo>
                  <a:pt x="3474" y="18900"/>
                  <a:pt x="3506" y="18884"/>
                  <a:pt x="3541" y="18873"/>
                </a:cubicBezTo>
                <a:lnTo>
                  <a:pt x="3543" y="18884"/>
                </a:lnTo>
                <a:lnTo>
                  <a:pt x="7238" y="17613"/>
                </a:lnTo>
                <a:lnTo>
                  <a:pt x="10506" y="21465"/>
                </a:lnTo>
                <a:lnTo>
                  <a:pt x="10510" y="21456"/>
                </a:lnTo>
                <a:cubicBezTo>
                  <a:pt x="10593" y="21541"/>
                  <a:pt x="10690" y="21600"/>
                  <a:pt x="10800" y="21600"/>
                </a:cubicBezTo>
                <a:cubicBezTo>
                  <a:pt x="10901" y="21600"/>
                  <a:pt x="10989" y="21548"/>
                  <a:pt x="11068" y="21476"/>
                </a:cubicBezTo>
                <a:lnTo>
                  <a:pt x="11072" y="21487"/>
                </a:lnTo>
                <a:lnTo>
                  <a:pt x="14834" y="17607"/>
                </a:lnTo>
                <a:lnTo>
                  <a:pt x="18548" y="18884"/>
                </a:lnTo>
                <a:lnTo>
                  <a:pt x="18550" y="18871"/>
                </a:lnTo>
                <a:cubicBezTo>
                  <a:pt x="18585" y="18882"/>
                  <a:pt x="18618" y="18900"/>
                  <a:pt x="18655" y="18900"/>
                </a:cubicBezTo>
                <a:cubicBezTo>
                  <a:pt x="18926" y="18900"/>
                  <a:pt x="19145" y="18598"/>
                  <a:pt x="19145" y="18225"/>
                </a:cubicBezTo>
                <a:cubicBezTo>
                  <a:pt x="19145" y="18181"/>
                  <a:pt x="19135" y="18143"/>
                  <a:pt x="19130" y="18102"/>
                </a:cubicBezTo>
                <a:lnTo>
                  <a:pt x="19137" y="18100"/>
                </a:lnTo>
                <a:lnTo>
                  <a:pt x="17830" y="8513"/>
                </a:lnTo>
                <a:lnTo>
                  <a:pt x="21292" y="6699"/>
                </a:lnTo>
                <a:cubicBezTo>
                  <a:pt x="21296" y="6697"/>
                  <a:pt x="21301" y="6695"/>
                  <a:pt x="21306" y="6692"/>
                </a:cubicBezTo>
                <a:lnTo>
                  <a:pt x="21320" y="6684"/>
                </a:lnTo>
                <a:lnTo>
                  <a:pt x="21319" y="6680"/>
                </a:lnTo>
                <a:cubicBezTo>
                  <a:pt x="21484" y="6571"/>
                  <a:pt x="21600" y="6344"/>
                  <a:pt x="21600" y="607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6" name="Shape 2776"/>
          <p:cNvSpPr/>
          <p:nvPr/>
        </p:nvSpPr>
        <p:spPr>
          <a:xfrm>
            <a:off x="21133694" y="10344945"/>
            <a:ext cx="30472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00" y="7855"/>
                </a:moveTo>
                <a:lnTo>
                  <a:pt x="9900" y="7855"/>
                </a:lnTo>
                <a:lnTo>
                  <a:pt x="9900" y="9818"/>
                </a:lnTo>
                <a:cubicBezTo>
                  <a:pt x="9900" y="10090"/>
                  <a:pt x="10303" y="10309"/>
                  <a:pt x="10800" y="10309"/>
                </a:cubicBezTo>
                <a:cubicBezTo>
                  <a:pt x="11297" y="10309"/>
                  <a:pt x="11700" y="10090"/>
                  <a:pt x="11700" y="9818"/>
                </a:cubicBezTo>
                <a:lnTo>
                  <a:pt x="11700" y="7855"/>
                </a:lnTo>
                <a:lnTo>
                  <a:pt x="15300" y="7855"/>
                </a:lnTo>
                <a:cubicBezTo>
                  <a:pt x="15797" y="7855"/>
                  <a:pt x="16200" y="7635"/>
                  <a:pt x="16200" y="7364"/>
                </a:cubicBezTo>
                <a:cubicBezTo>
                  <a:pt x="16200" y="7092"/>
                  <a:pt x="15797" y="6873"/>
                  <a:pt x="15300" y="6873"/>
                </a:cubicBezTo>
                <a:lnTo>
                  <a:pt x="11700" y="6873"/>
                </a:lnTo>
                <a:lnTo>
                  <a:pt x="11700" y="4909"/>
                </a:lnTo>
                <a:cubicBezTo>
                  <a:pt x="11700" y="4638"/>
                  <a:pt x="11297" y="4418"/>
                  <a:pt x="10800" y="4418"/>
                </a:cubicBezTo>
                <a:cubicBezTo>
                  <a:pt x="10303" y="4418"/>
                  <a:pt x="9900" y="4638"/>
                  <a:pt x="9900" y="4909"/>
                </a:cubicBezTo>
                <a:lnTo>
                  <a:pt x="9900" y="6873"/>
                </a:lnTo>
                <a:lnTo>
                  <a:pt x="6300" y="6873"/>
                </a:lnTo>
                <a:cubicBezTo>
                  <a:pt x="5803" y="6873"/>
                  <a:pt x="5400" y="7092"/>
                  <a:pt x="5400" y="7364"/>
                </a:cubicBezTo>
                <a:cubicBezTo>
                  <a:pt x="5400" y="7635"/>
                  <a:pt x="5803" y="7855"/>
                  <a:pt x="6300" y="7855"/>
                </a:cubicBezTo>
                <a:moveTo>
                  <a:pt x="19800" y="19847"/>
                </a:moveTo>
                <a:lnTo>
                  <a:pt x="11464" y="14886"/>
                </a:lnTo>
                <a:lnTo>
                  <a:pt x="11457" y="14889"/>
                </a:lnTo>
                <a:cubicBezTo>
                  <a:pt x="11294" y="14791"/>
                  <a:pt x="11063" y="14727"/>
                  <a:pt x="10800" y="14727"/>
                </a:cubicBezTo>
                <a:cubicBezTo>
                  <a:pt x="10537" y="14727"/>
                  <a:pt x="10306" y="14791"/>
                  <a:pt x="10142" y="14889"/>
                </a:cubicBezTo>
                <a:lnTo>
                  <a:pt x="10136" y="14886"/>
                </a:lnTo>
                <a:lnTo>
                  <a:pt x="1800" y="19847"/>
                </a:lnTo>
                <a:lnTo>
                  <a:pt x="1800" y="982"/>
                </a:lnTo>
                <a:lnTo>
                  <a:pt x="19800" y="982"/>
                </a:lnTo>
                <a:cubicBezTo>
                  <a:pt x="19800" y="982"/>
                  <a:pt x="19800" y="19847"/>
                  <a:pt x="19800" y="19847"/>
                </a:cubicBezTo>
                <a:close/>
                <a:moveTo>
                  <a:pt x="20700" y="0"/>
                </a:moveTo>
                <a:lnTo>
                  <a:pt x="900" y="0"/>
                </a:lnTo>
                <a:cubicBezTo>
                  <a:pt x="403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403" y="21600"/>
                  <a:pt x="900" y="21600"/>
                </a:cubicBezTo>
                <a:cubicBezTo>
                  <a:pt x="1163" y="21600"/>
                  <a:pt x="1394" y="21536"/>
                  <a:pt x="1559" y="21438"/>
                </a:cubicBezTo>
                <a:lnTo>
                  <a:pt x="1564" y="21441"/>
                </a:lnTo>
                <a:lnTo>
                  <a:pt x="10800" y="15945"/>
                </a:lnTo>
                <a:lnTo>
                  <a:pt x="20036" y="21441"/>
                </a:lnTo>
                <a:lnTo>
                  <a:pt x="20041" y="21438"/>
                </a:lnTo>
                <a:cubicBezTo>
                  <a:pt x="20206" y="21536"/>
                  <a:pt x="20437" y="21600"/>
                  <a:pt x="20700" y="21600"/>
                </a:cubicBezTo>
                <a:cubicBezTo>
                  <a:pt x="21197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197" y="0"/>
                  <a:pt x="207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7" name="Shape 2777"/>
          <p:cNvSpPr/>
          <p:nvPr/>
        </p:nvSpPr>
        <p:spPr>
          <a:xfrm>
            <a:off x="22149433" y="10344945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20095"/>
                </a:moveTo>
                <a:lnTo>
                  <a:pt x="11298" y="14886"/>
                </a:lnTo>
                <a:lnTo>
                  <a:pt x="11293" y="14890"/>
                </a:lnTo>
                <a:cubicBezTo>
                  <a:pt x="11170" y="14791"/>
                  <a:pt x="10997" y="14727"/>
                  <a:pt x="10800" y="14727"/>
                </a:cubicBezTo>
                <a:cubicBezTo>
                  <a:pt x="10603" y="14727"/>
                  <a:pt x="10430" y="14791"/>
                  <a:pt x="10306" y="14890"/>
                </a:cubicBezTo>
                <a:lnTo>
                  <a:pt x="10302" y="14886"/>
                </a:lnTo>
                <a:lnTo>
                  <a:pt x="1350" y="20095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20095"/>
                  <a:pt x="20250" y="20095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72" y="21600"/>
                  <a:pt x="1045" y="21537"/>
                  <a:pt x="1169" y="21438"/>
                </a:cubicBezTo>
                <a:lnTo>
                  <a:pt x="1173" y="21441"/>
                </a:lnTo>
                <a:lnTo>
                  <a:pt x="10800" y="15839"/>
                </a:lnTo>
                <a:lnTo>
                  <a:pt x="20427" y="21441"/>
                </a:lnTo>
                <a:lnTo>
                  <a:pt x="20431" y="21438"/>
                </a:lnTo>
                <a:cubicBezTo>
                  <a:pt x="20555" y="21537"/>
                  <a:pt x="2072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7337" y="7850"/>
                </a:moveTo>
                <a:lnTo>
                  <a:pt x="9710" y="7850"/>
                </a:lnTo>
                <a:lnTo>
                  <a:pt x="10039" y="7213"/>
                </a:lnTo>
                <a:lnTo>
                  <a:pt x="10800" y="5738"/>
                </a:lnTo>
                <a:lnTo>
                  <a:pt x="11561" y="7213"/>
                </a:lnTo>
                <a:lnTo>
                  <a:pt x="11890" y="7850"/>
                </a:lnTo>
                <a:lnTo>
                  <a:pt x="14263" y="7850"/>
                </a:lnTo>
                <a:lnTo>
                  <a:pt x="13014" y="8550"/>
                </a:lnTo>
                <a:lnTo>
                  <a:pt x="12253" y="8976"/>
                </a:lnTo>
                <a:lnTo>
                  <a:pt x="12557" y="9638"/>
                </a:lnTo>
                <a:lnTo>
                  <a:pt x="13240" y="11130"/>
                </a:lnTo>
                <a:lnTo>
                  <a:pt x="11598" y="10254"/>
                </a:lnTo>
                <a:lnTo>
                  <a:pt x="10800" y="9828"/>
                </a:lnTo>
                <a:lnTo>
                  <a:pt x="10002" y="10254"/>
                </a:lnTo>
                <a:lnTo>
                  <a:pt x="8360" y="11130"/>
                </a:lnTo>
                <a:lnTo>
                  <a:pt x="9043" y="9638"/>
                </a:lnTo>
                <a:lnTo>
                  <a:pt x="9347" y="8976"/>
                </a:lnTo>
                <a:lnTo>
                  <a:pt x="8586" y="8550"/>
                </a:lnTo>
                <a:cubicBezTo>
                  <a:pt x="8586" y="8550"/>
                  <a:pt x="7337" y="7850"/>
                  <a:pt x="7337" y="7850"/>
                </a:cubicBezTo>
                <a:close/>
                <a:moveTo>
                  <a:pt x="5737" y="13745"/>
                </a:moveTo>
                <a:lnTo>
                  <a:pt x="10800" y="11045"/>
                </a:lnTo>
                <a:lnTo>
                  <a:pt x="15863" y="13745"/>
                </a:lnTo>
                <a:lnTo>
                  <a:pt x="13838" y="9328"/>
                </a:lnTo>
                <a:lnTo>
                  <a:pt x="18225" y="6868"/>
                </a:lnTo>
                <a:lnTo>
                  <a:pt x="12825" y="6868"/>
                </a:lnTo>
                <a:lnTo>
                  <a:pt x="10800" y="2945"/>
                </a:lnTo>
                <a:lnTo>
                  <a:pt x="8775" y="6868"/>
                </a:lnTo>
                <a:lnTo>
                  <a:pt x="3375" y="6868"/>
                </a:lnTo>
                <a:lnTo>
                  <a:pt x="7762" y="9328"/>
                </a:lnTo>
                <a:cubicBezTo>
                  <a:pt x="7762" y="9328"/>
                  <a:pt x="5737" y="13745"/>
                  <a:pt x="5737" y="1374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8" name="Shape 2778"/>
          <p:cNvSpPr/>
          <p:nvPr/>
        </p:nvSpPr>
        <p:spPr>
          <a:xfrm>
            <a:off x="12474551" y="1141146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481" y="12956"/>
                </a:moveTo>
                <a:cubicBezTo>
                  <a:pt x="17070" y="12258"/>
                  <a:pt x="16576" y="11533"/>
                  <a:pt x="16011" y="10795"/>
                </a:cubicBezTo>
                <a:cubicBezTo>
                  <a:pt x="16573" y="10063"/>
                  <a:pt x="17072" y="9339"/>
                  <a:pt x="17481" y="8644"/>
                </a:cubicBezTo>
                <a:cubicBezTo>
                  <a:pt x="19410" y="9181"/>
                  <a:pt x="20618" y="9948"/>
                  <a:pt x="20618" y="10800"/>
                </a:cubicBezTo>
                <a:cubicBezTo>
                  <a:pt x="20618" y="11652"/>
                  <a:pt x="19410" y="12419"/>
                  <a:pt x="17481" y="12956"/>
                </a:cubicBezTo>
                <a:moveTo>
                  <a:pt x="17742" y="17743"/>
                </a:moveTo>
                <a:cubicBezTo>
                  <a:pt x="17140" y="18345"/>
                  <a:pt x="15740" y="18028"/>
                  <a:pt x="13996" y="17045"/>
                </a:cubicBezTo>
                <a:cubicBezTo>
                  <a:pt x="14198" y="16261"/>
                  <a:pt x="14365" y="15406"/>
                  <a:pt x="14487" y="14488"/>
                </a:cubicBezTo>
                <a:cubicBezTo>
                  <a:pt x="15405" y="14366"/>
                  <a:pt x="16261" y="14198"/>
                  <a:pt x="17044" y="13996"/>
                </a:cubicBezTo>
                <a:cubicBezTo>
                  <a:pt x="18028" y="15740"/>
                  <a:pt x="18345" y="17140"/>
                  <a:pt x="17742" y="17743"/>
                </a:cubicBezTo>
                <a:moveTo>
                  <a:pt x="15404" y="11561"/>
                </a:moveTo>
                <a:cubicBezTo>
                  <a:pt x="15837" y="12119"/>
                  <a:pt x="16219" y="12662"/>
                  <a:pt x="16554" y="13185"/>
                </a:cubicBezTo>
                <a:cubicBezTo>
                  <a:pt x="15950" y="13317"/>
                  <a:pt x="15295" y="13429"/>
                  <a:pt x="14597" y="13517"/>
                </a:cubicBezTo>
                <a:cubicBezTo>
                  <a:pt x="14631" y="13155"/>
                  <a:pt x="14655" y="12784"/>
                  <a:pt x="14677" y="12409"/>
                </a:cubicBezTo>
                <a:cubicBezTo>
                  <a:pt x="14930" y="12127"/>
                  <a:pt x="15170" y="11844"/>
                  <a:pt x="15404" y="11561"/>
                </a:cubicBezTo>
                <a:moveTo>
                  <a:pt x="15402" y="10032"/>
                </a:moveTo>
                <a:cubicBezTo>
                  <a:pt x="15170" y="9752"/>
                  <a:pt x="14928" y="9471"/>
                  <a:pt x="14677" y="9191"/>
                </a:cubicBezTo>
                <a:cubicBezTo>
                  <a:pt x="14655" y="8817"/>
                  <a:pt x="14631" y="8445"/>
                  <a:pt x="14597" y="8084"/>
                </a:cubicBezTo>
                <a:cubicBezTo>
                  <a:pt x="15295" y="8171"/>
                  <a:pt x="15950" y="8283"/>
                  <a:pt x="16554" y="8415"/>
                </a:cubicBezTo>
                <a:cubicBezTo>
                  <a:pt x="16221" y="8935"/>
                  <a:pt x="15832" y="9478"/>
                  <a:pt x="15402" y="10032"/>
                </a:cubicBezTo>
                <a:moveTo>
                  <a:pt x="17742" y="3857"/>
                </a:moveTo>
                <a:cubicBezTo>
                  <a:pt x="18345" y="4460"/>
                  <a:pt x="18028" y="5860"/>
                  <a:pt x="17044" y="7604"/>
                </a:cubicBezTo>
                <a:cubicBezTo>
                  <a:pt x="16261" y="7402"/>
                  <a:pt x="15405" y="7234"/>
                  <a:pt x="14487" y="7112"/>
                </a:cubicBezTo>
                <a:cubicBezTo>
                  <a:pt x="14365" y="6194"/>
                  <a:pt x="14198" y="5339"/>
                  <a:pt x="13996" y="4555"/>
                </a:cubicBezTo>
                <a:cubicBezTo>
                  <a:pt x="15740" y="3572"/>
                  <a:pt x="17140" y="3255"/>
                  <a:pt x="17742" y="3857"/>
                </a:cubicBezTo>
                <a:moveTo>
                  <a:pt x="13718" y="12012"/>
                </a:moveTo>
                <a:cubicBezTo>
                  <a:pt x="13448" y="12303"/>
                  <a:pt x="13172" y="12593"/>
                  <a:pt x="12882" y="12883"/>
                </a:cubicBezTo>
                <a:cubicBezTo>
                  <a:pt x="12593" y="13172"/>
                  <a:pt x="12303" y="13449"/>
                  <a:pt x="12012" y="13719"/>
                </a:cubicBezTo>
                <a:cubicBezTo>
                  <a:pt x="11614" y="13733"/>
                  <a:pt x="11212" y="13745"/>
                  <a:pt x="10800" y="13745"/>
                </a:cubicBezTo>
                <a:cubicBezTo>
                  <a:pt x="10387" y="13745"/>
                  <a:pt x="9985" y="13733"/>
                  <a:pt x="9587" y="13719"/>
                </a:cubicBezTo>
                <a:cubicBezTo>
                  <a:pt x="9297" y="13449"/>
                  <a:pt x="9006" y="13172"/>
                  <a:pt x="8717" y="12883"/>
                </a:cubicBezTo>
                <a:cubicBezTo>
                  <a:pt x="8428" y="12593"/>
                  <a:pt x="8152" y="12303"/>
                  <a:pt x="7881" y="12012"/>
                </a:cubicBezTo>
                <a:cubicBezTo>
                  <a:pt x="7866" y="11614"/>
                  <a:pt x="7855" y="11212"/>
                  <a:pt x="7855" y="10800"/>
                </a:cubicBezTo>
                <a:cubicBezTo>
                  <a:pt x="7855" y="10388"/>
                  <a:pt x="7866" y="9986"/>
                  <a:pt x="7881" y="9587"/>
                </a:cubicBezTo>
                <a:cubicBezTo>
                  <a:pt x="8152" y="9297"/>
                  <a:pt x="8428" y="9007"/>
                  <a:pt x="8717" y="8717"/>
                </a:cubicBezTo>
                <a:cubicBezTo>
                  <a:pt x="9006" y="8428"/>
                  <a:pt x="9297" y="8151"/>
                  <a:pt x="9587" y="7881"/>
                </a:cubicBezTo>
                <a:cubicBezTo>
                  <a:pt x="9985" y="7867"/>
                  <a:pt x="10387" y="7855"/>
                  <a:pt x="10800" y="7855"/>
                </a:cubicBezTo>
                <a:cubicBezTo>
                  <a:pt x="11212" y="7855"/>
                  <a:pt x="11614" y="7867"/>
                  <a:pt x="12012" y="7881"/>
                </a:cubicBezTo>
                <a:cubicBezTo>
                  <a:pt x="12303" y="8151"/>
                  <a:pt x="12593" y="8428"/>
                  <a:pt x="12882" y="8717"/>
                </a:cubicBezTo>
                <a:cubicBezTo>
                  <a:pt x="13172" y="9007"/>
                  <a:pt x="13448" y="9297"/>
                  <a:pt x="13718" y="9587"/>
                </a:cubicBezTo>
                <a:cubicBezTo>
                  <a:pt x="13733" y="9986"/>
                  <a:pt x="13745" y="10388"/>
                  <a:pt x="13745" y="10800"/>
                </a:cubicBezTo>
                <a:cubicBezTo>
                  <a:pt x="13745" y="11212"/>
                  <a:pt x="13733" y="11614"/>
                  <a:pt x="13718" y="12012"/>
                </a:cubicBezTo>
                <a:moveTo>
                  <a:pt x="13185" y="16555"/>
                </a:moveTo>
                <a:cubicBezTo>
                  <a:pt x="12662" y="16219"/>
                  <a:pt x="12120" y="15837"/>
                  <a:pt x="11561" y="15404"/>
                </a:cubicBezTo>
                <a:cubicBezTo>
                  <a:pt x="11844" y="15170"/>
                  <a:pt x="12127" y="14931"/>
                  <a:pt x="12409" y="14677"/>
                </a:cubicBezTo>
                <a:cubicBezTo>
                  <a:pt x="12783" y="14655"/>
                  <a:pt x="13155" y="14631"/>
                  <a:pt x="13517" y="14597"/>
                </a:cubicBezTo>
                <a:cubicBezTo>
                  <a:pt x="13429" y="15295"/>
                  <a:pt x="13316" y="15950"/>
                  <a:pt x="13185" y="16555"/>
                </a:cubicBezTo>
                <a:moveTo>
                  <a:pt x="10800" y="20618"/>
                </a:moveTo>
                <a:cubicBezTo>
                  <a:pt x="9948" y="20618"/>
                  <a:pt x="9181" y="19410"/>
                  <a:pt x="8643" y="17481"/>
                </a:cubicBezTo>
                <a:cubicBezTo>
                  <a:pt x="9339" y="17072"/>
                  <a:pt x="10062" y="16573"/>
                  <a:pt x="10795" y="16011"/>
                </a:cubicBezTo>
                <a:cubicBezTo>
                  <a:pt x="11532" y="16576"/>
                  <a:pt x="12258" y="17070"/>
                  <a:pt x="12957" y="17481"/>
                </a:cubicBezTo>
                <a:cubicBezTo>
                  <a:pt x="12419" y="19410"/>
                  <a:pt x="11652" y="20618"/>
                  <a:pt x="10800" y="20618"/>
                </a:cubicBezTo>
                <a:moveTo>
                  <a:pt x="8083" y="14597"/>
                </a:moveTo>
                <a:cubicBezTo>
                  <a:pt x="8445" y="14631"/>
                  <a:pt x="8816" y="14655"/>
                  <a:pt x="9190" y="14677"/>
                </a:cubicBezTo>
                <a:cubicBezTo>
                  <a:pt x="9471" y="14929"/>
                  <a:pt x="9751" y="15170"/>
                  <a:pt x="10032" y="15403"/>
                </a:cubicBezTo>
                <a:cubicBezTo>
                  <a:pt x="9478" y="15832"/>
                  <a:pt x="8935" y="16221"/>
                  <a:pt x="8415" y="16555"/>
                </a:cubicBezTo>
                <a:cubicBezTo>
                  <a:pt x="8283" y="15950"/>
                  <a:pt x="8171" y="15295"/>
                  <a:pt x="8083" y="14597"/>
                </a:cubicBezTo>
                <a:moveTo>
                  <a:pt x="8415" y="5045"/>
                </a:moveTo>
                <a:cubicBezTo>
                  <a:pt x="8938" y="5381"/>
                  <a:pt x="9480" y="5762"/>
                  <a:pt x="10038" y="6196"/>
                </a:cubicBezTo>
                <a:cubicBezTo>
                  <a:pt x="9756" y="6430"/>
                  <a:pt x="9473" y="6670"/>
                  <a:pt x="9190" y="6924"/>
                </a:cubicBezTo>
                <a:cubicBezTo>
                  <a:pt x="8816" y="6945"/>
                  <a:pt x="8445" y="6969"/>
                  <a:pt x="8083" y="7003"/>
                </a:cubicBezTo>
                <a:cubicBezTo>
                  <a:pt x="8171" y="6305"/>
                  <a:pt x="8283" y="5650"/>
                  <a:pt x="8415" y="5045"/>
                </a:cubicBezTo>
                <a:moveTo>
                  <a:pt x="10800" y="982"/>
                </a:moveTo>
                <a:cubicBezTo>
                  <a:pt x="11652" y="982"/>
                  <a:pt x="12419" y="2191"/>
                  <a:pt x="12957" y="4119"/>
                </a:cubicBezTo>
                <a:cubicBezTo>
                  <a:pt x="12261" y="4528"/>
                  <a:pt x="11537" y="5027"/>
                  <a:pt x="10804" y="5589"/>
                </a:cubicBezTo>
                <a:cubicBezTo>
                  <a:pt x="10067" y="5024"/>
                  <a:pt x="9341" y="4530"/>
                  <a:pt x="8643" y="4119"/>
                </a:cubicBezTo>
                <a:cubicBezTo>
                  <a:pt x="9181" y="2191"/>
                  <a:pt x="9948" y="982"/>
                  <a:pt x="10800" y="982"/>
                </a:cubicBezTo>
                <a:moveTo>
                  <a:pt x="13517" y="7003"/>
                </a:moveTo>
                <a:cubicBezTo>
                  <a:pt x="13155" y="6969"/>
                  <a:pt x="12783" y="6945"/>
                  <a:pt x="12409" y="6924"/>
                </a:cubicBezTo>
                <a:cubicBezTo>
                  <a:pt x="12129" y="6671"/>
                  <a:pt x="11848" y="6430"/>
                  <a:pt x="11568" y="6198"/>
                </a:cubicBezTo>
                <a:cubicBezTo>
                  <a:pt x="12122" y="5768"/>
                  <a:pt x="12665" y="5379"/>
                  <a:pt x="13185" y="5045"/>
                </a:cubicBezTo>
                <a:cubicBezTo>
                  <a:pt x="13316" y="5650"/>
                  <a:pt x="13429" y="6305"/>
                  <a:pt x="13517" y="7003"/>
                </a:cubicBezTo>
                <a:moveTo>
                  <a:pt x="7112" y="7112"/>
                </a:moveTo>
                <a:cubicBezTo>
                  <a:pt x="6194" y="7234"/>
                  <a:pt x="5339" y="7402"/>
                  <a:pt x="4555" y="7604"/>
                </a:cubicBezTo>
                <a:cubicBezTo>
                  <a:pt x="3572" y="5860"/>
                  <a:pt x="3255" y="4460"/>
                  <a:pt x="3858" y="3857"/>
                </a:cubicBezTo>
                <a:cubicBezTo>
                  <a:pt x="4460" y="3255"/>
                  <a:pt x="5860" y="3572"/>
                  <a:pt x="7604" y="4555"/>
                </a:cubicBezTo>
                <a:cubicBezTo>
                  <a:pt x="7402" y="5339"/>
                  <a:pt x="7234" y="6194"/>
                  <a:pt x="7112" y="7112"/>
                </a:cubicBezTo>
                <a:moveTo>
                  <a:pt x="3858" y="17743"/>
                </a:moveTo>
                <a:cubicBezTo>
                  <a:pt x="3255" y="17140"/>
                  <a:pt x="3572" y="15740"/>
                  <a:pt x="4555" y="13996"/>
                </a:cubicBezTo>
                <a:cubicBezTo>
                  <a:pt x="5339" y="14198"/>
                  <a:pt x="6194" y="14366"/>
                  <a:pt x="7112" y="14488"/>
                </a:cubicBezTo>
                <a:cubicBezTo>
                  <a:pt x="7234" y="15406"/>
                  <a:pt x="7402" y="16261"/>
                  <a:pt x="7604" y="17045"/>
                </a:cubicBezTo>
                <a:cubicBezTo>
                  <a:pt x="5860" y="18028"/>
                  <a:pt x="4460" y="18345"/>
                  <a:pt x="3858" y="17743"/>
                </a:cubicBezTo>
                <a:moveTo>
                  <a:pt x="7003" y="13517"/>
                </a:moveTo>
                <a:cubicBezTo>
                  <a:pt x="6305" y="13429"/>
                  <a:pt x="5650" y="13317"/>
                  <a:pt x="5045" y="13185"/>
                </a:cubicBezTo>
                <a:cubicBezTo>
                  <a:pt x="5379" y="12665"/>
                  <a:pt x="5768" y="12122"/>
                  <a:pt x="6197" y="11568"/>
                </a:cubicBezTo>
                <a:cubicBezTo>
                  <a:pt x="6429" y="11848"/>
                  <a:pt x="6671" y="12129"/>
                  <a:pt x="6923" y="12409"/>
                </a:cubicBezTo>
                <a:cubicBezTo>
                  <a:pt x="6944" y="12784"/>
                  <a:pt x="6968" y="13155"/>
                  <a:pt x="7003" y="13517"/>
                </a:cubicBezTo>
                <a:moveTo>
                  <a:pt x="6923" y="9191"/>
                </a:moveTo>
                <a:cubicBezTo>
                  <a:pt x="6669" y="9473"/>
                  <a:pt x="6429" y="9756"/>
                  <a:pt x="6196" y="10039"/>
                </a:cubicBezTo>
                <a:cubicBezTo>
                  <a:pt x="5763" y="9481"/>
                  <a:pt x="5381" y="8938"/>
                  <a:pt x="5045" y="8415"/>
                </a:cubicBezTo>
                <a:cubicBezTo>
                  <a:pt x="5650" y="8283"/>
                  <a:pt x="6305" y="8171"/>
                  <a:pt x="7003" y="8084"/>
                </a:cubicBezTo>
                <a:cubicBezTo>
                  <a:pt x="6968" y="8445"/>
                  <a:pt x="6944" y="8816"/>
                  <a:pt x="6923" y="9191"/>
                </a:cubicBezTo>
                <a:moveTo>
                  <a:pt x="982" y="10800"/>
                </a:moveTo>
                <a:cubicBezTo>
                  <a:pt x="982" y="9948"/>
                  <a:pt x="2190" y="9181"/>
                  <a:pt x="4119" y="8644"/>
                </a:cubicBezTo>
                <a:cubicBezTo>
                  <a:pt x="4530" y="9342"/>
                  <a:pt x="5023" y="10067"/>
                  <a:pt x="5588" y="10805"/>
                </a:cubicBezTo>
                <a:cubicBezTo>
                  <a:pt x="5027" y="11537"/>
                  <a:pt x="4528" y="12262"/>
                  <a:pt x="4119" y="12956"/>
                </a:cubicBezTo>
                <a:cubicBezTo>
                  <a:pt x="2190" y="12419"/>
                  <a:pt x="982" y="11652"/>
                  <a:pt x="982" y="10800"/>
                </a:cubicBezTo>
                <a:moveTo>
                  <a:pt x="21600" y="10800"/>
                </a:moveTo>
                <a:cubicBezTo>
                  <a:pt x="21600" y="9624"/>
                  <a:pt x="20173" y="8571"/>
                  <a:pt x="17918" y="7853"/>
                </a:cubicBezTo>
                <a:cubicBezTo>
                  <a:pt x="19002" y="5750"/>
                  <a:pt x="19269" y="3995"/>
                  <a:pt x="18437" y="3163"/>
                </a:cubicBezTo>
                <a:cubicBezTo>
                  <a:pt x="17605" y="2332"/>
                  <a:pt x="15850" y="2598"/>
                  <a:pt x="13748" y="3682"/>
                </a:cubicBezTo>
                <a:cubicBezTo>
                  <a:pt x="13029" y="1427"/>
                  <a:pt x="11976" y="0"/>
                  <a:pt x="10800" y="0"/>
                </a:cubicBezTo>
                <a:cubicBezTo>
                  <a:pt x="9623" y="0"/>
                  <a:pt x="8571" y="1427"/>
                  <a:pt x="7852" y="3682"/>
                </a:cubicBezTo>
                <a:cubicBezTo>
                  <a:pt x="5750" y="2598"/>
                  <a:pt x="3995" y="2332"/>
                  <a:pt x="3163" y="3163"/>
                </a:cubicBezTo>
                <a:cubicBezTo>
                  <a:pt x="2331" y="3995"/>
                  <a:pt x="2598" y="5750"/>
                  <a:pt x="3682" y="7853"/>
                </a:cubicBezTo>
                <a:cubicBezTo>
                  <a:pt x="1426" y="8571"/>
                  <a:pt x="0" y="9624"/>
                  <a:pt x="0" y="10800"/>
                </a:cubicBezTo>
                <a:cubicBezTo>
                  <a:pt x="0" y="11976"/>
                  <a:pt x="1426" y="13029"/>
                  <a:pt x="3682" y="13748"/>
                </a:cubicBezTo>
                <a:cubicBezTo>
                  <a:pt x="2598" y="15851"/>
                  <a:pt x="2331" y="17605"/>
                  <a:pt x="3163" y="18437"/>
                </a:cubicBezTo>
                <a:cubicBezTo>
                  <a:pt x="3995" y="19268"/>
                  <a:pt x="5750" y="19002"/>
                  <a:pt x="7852" y="17918"/>
                </a:cubicBezTo>
                <a:cubicBezTo>
                  <a:pt x="8571" y="20173"/>
                  <a:pt x="9623" y="21600"/>
                  <a:pt x="10800" y="21600"/>
                </a:cubicBezTo>
                <a:cubicBezTo>
                  <a:pt x="11976" y="21600"/>
                  <a:pt x="13029" y="20173"/>
                  <a:pt x="13748" y="17918"/>
                </a:cubicBezTo>
                <a:cubicBezTo>
                  <a:pt x="15850" y="19002"/>
                  <a:pt x="17605" y="19268"/>
                  <a:pt x="18437" y="18437"/>
                </a:cubicBezTo>
                <a:cubicBezTo>
                  <a:pt x="19269" y="17605"/>
                  <a:pt x="19002" y="15851"/>
                  <a:pt x="17918" y="13748"/>
                </a:cubicBezTo>
                <a:cubicBezTo>
                  <a:pt x="20173" y="13029"/>
                  <a:pt x="21600" y="11976"/>
                  <a:pt x="21600" y="10800"/>
                </a:cubicBezTo>
                <a:moveTo>
                  <a:pt x="10800" y="9818"/>
                </a:moveTo>
                <a:cubicBezTo>
                  <a:pt x="10258" y="9818"/>
                  <a:pt x="9818" y="10258"/>
                  <a:pt x="9818" y="10800"/>
                </a:cubicBezTo>
                <a:cubicBezTo>
                  <a:pt x="9818" y="11342"/>
                  <a:pt x="10258" y="11782"/>
                  <a:pt x="10800" y="11782"/>
                </a:cubicBezTo>
                <a:cubicBezTo>
                  <a:pt x="11342" y="11782"/>
                  <a:pt x="11782" y="11342"/>
                  <a:pt x="11782" y="10800"/>
                </a:cubicBezTo>
                <a:cubicBezTo>
                  <a:pt x="11782" y="10258"/>
                  <a:pt x="11342" y="9818"/>
                  <a:pt x="10800" y="98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9" name="Shape 2779"/>
          <p:cNvSpPr/>
          <p:nvPr/>
        </p:nvSpPr>
        <p:spPr>
          <a:xfrm>
            <a:off x="13617255" y="11411467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7" y="16691"/>
                </a:moveTo>
                <a:lnTo>
                  <a:pt x="5303" y="12525"/>
                </a:lnTo>
                <a:lnTo>
                  <a:pt x="5294" y="12521"/>
                </a:lnTo>
                <a:cubicBezTo>
                  <a:pt x="5355" y="12447"/>
                  <a:pt x="5400" y="12365"/>
                  <a:pt x="5400" y="12273"/>
                </a:cubicBezTo>
                <a:cubicBezTo>
                  <a:pt x="5400" y="12001"/>
                  <a:pt x="5098" y="11782"/>
                  <a:pt x="4725" y="11782"/>
                </a:cubicBezTo>
                <a:lnTo>
                  <a:pt x="3375" y="11782"/>
                </a:lnTo>
                <a:lnTo>
                  <a:pt x="6615" y="8640"/>
                </a:lnTo>
                <a:lnTo>
                  <a:pt x="6606" y="8635"/>
                </a:lnTo>
                <a:cubicBezTo>
                  <a:pt x="6691" y="8553"/>
                  <a:pt x="6750" y="8456"/>
                  <a:pt x="6750" y="8345"/>
                </a:cubicBezTo>
                <a:cubicBezTo>
                  <a:pt x="6750" y="8075"/>
                  <a:pt x="6448" y="7855"/>
                  <a:pt x="6075" y="7855"/>
                </a:cubicBezTo>
                <a:lnTo>
                  <a:pt x="4855" y="7855"/>
                </a:lnTo>
                <a:lnTo>
                  <a:pt x="8548" y="4785"/>
                </a:lnTo>
                <a:lnTo>
                  <a:pt x="8544" y="4782"/>
                </a:lnTo>
                <a:cubicBezTo>
                  <a:pt x="8683" y="4691"/>
                  <a:pt x="8775" y="4564"/>
                  <a:pt x="8775" y="4418"/>
                </a:cubicBezTo>
                <a:cubicBezTo>
                  <a:pt x="8775" y="4147"/>
                  <a:pt x="8473" y="3927"/>
                  <a:pt x="8100" y="3927"/>
                </a:cubicBezTo>
                <a:lnTo>
                  <a:pt x="7029" y="3927"/>
                </a:lnTo>
                <a:lnTo>
                  <a:pt x="10800" y="1185"/>
                </a:lnTo>
                <a:lnTo>
                  <a:pt x="14571" y="3927"/>
                </a:lnTo>
                <a:lnTo>
                  <a:pt x="13500" y="3927"/>
                </a:lnTo>
                <a:cubicBezTo>
                  <a:pt x="13128" y="3927"/>
                  <a:pt x="12825" y="4147"/>
                  <a:pt x="12825" y="4418"/>
                </a:cubicBezTo>
                <a:cubicBezTo>
                  <a:pt x="12825" y="4564"/>
                  <a:pt x="12917" y="4691"/>
                  <a:pt x="13056" y="4782"/>
                </a:cubicBezTo>
                <a:lnTo>
                  <a:pt x="13052" y="4785"/>
                </a:lnTo>
                <a:lnTo>
                  <a:pt x="16744" y="7855"/>
                </a:lnTo>
                <a:lnTo>
                  <a:pt x="15525" y="7855"/>
                </a:lnTo>
                <a:cubicBezTo>
                  <a:pt x="15153" y="7855"/>
                  <a:pt x="14850" y="8075"/>
                  <a:pt x="14850" y="8345"/>
                </a:cubicBezTo>
                <a:cubicBezTo>
                  <a:pt x="14850" y="8456"/>
                  <a:pt x="14909" y="8553"/>
                  <a:pt x="14994" y="8635"/>
                </a:cubicBezTo>
                <a:lnTo>
                  <a:pt x="14985" y="8640"/>
                </a:lnTo>
                <a:lnTo>
                  <a:pt x="18225" y="11782"/>
                </a:lnTo>
                <a:lnTo>
                  <a:pt x="16875" y="11782"/>
                </a:lnTo>
                <a:cubicBezTo>
                  <a:pt x="16503" y="11782"/>
                  <a:pt x="16200" y="12001"/>
                  <a:pt x="16200" y="12273"/>
                </a:cubicBezTo>
                <a:cubicBezTo>
                  <a:pt x="16200" y="12365"/>
                  <a:pt x="16244" y="12447"/>
                  <a:pt x="16306" y="12521"/>
                </a:cubicBezTo>
                <a:lnTo>
                  <a:pt x="16296" y="12525"/>
                </a:lnTo>
                <a:lnTo>
                  <a:pt x="19733" y="16691"/>
                </a:lnTo>
                <a:cubicBezTo>
                  <a:pt x="19733" y="16691"/>
                  <a:pt x="1867" y="16691"/>
                  <a:pt x="1867" y="16691"/>
                </a:cubicBezTo>
                <a:close/>
                <a:moveTo>
                  <a:pt x="12150" y="20618"/>
                </a:moveTo>
                <a:lnTo>
                  <a:pt x="9450" y="20618"/>
                </a:lnTo>
                <a:lnTo>
                  <a:pt x="9450" y="17673"/>
                </a:lnTo>
                <a:lnTo>
                  <a:pt x="12150" y="17673"/>
                </a:lnTo>
                <a:cubicBezTo>
                  <a:pt x="12150" y="17673"/>
                  <a:pt x="12150" y="20618"/>
                  <a:pt x="12150" y="20618"/>
                </a:cubicBezTo>
                <a:close/>
                <a:moveTo>
                  <a:pt x="21494" y="16933"/>
                </a:moveTo>
                <a:lnTo>
                  <a:pt x="21503" y="16929"/>
                </a:lnTo>
                <a:lnTo>
                  <a:pt x="18067" y="12764"/>
                </a:lnTo>
                <a:lnTo>
                  <a:pt x="19575" y="12764"/>
                </a:lnTo>
                <a:cubicBezTo>
                  <a:pt x="19948" y="12764"/>
                  <a:pt x="20250" y="12544"/>
                  <a:pt x="20250" y="12273"/>
                </a:cubicBezTo>
                <a:cubicBezTo>
                  <a:pt x="20250" y="12162"/>
                  <a:pt x="20191" y="12066"/>
                  <a:pt x="20106" y="11983"/>
                </a:cubicBezTo>
                <a:lnTo>
                  <a:pt x="20115" y="11978"/>
                </a:lnTo>
                <a:lnTo>
                  <a:pt x="16875" y="8836"/>
                </a:lnTo>
                <a:lnTo>
                  <a:pt x="18225" y="8836"/>
                </a:lnTo>
                <a:cubicBezTo>
                  <a:pt x="18598" y="8836"/>
                  <a:pt x="18900" y="8617"/>
                  <a:pt x="18900" y="8345"/>
                </a:cubicBezTo>
                <a:cubicBezTo>
                  <a:pt x="18900" y="8200"/>
                  <a:pt x="18808" y="8072"/>
                  <a:pt x="18669" y="7982"/>
                </a:cubicBezTo>
                <a:lnTo>
                  <a:pt x="18673" y="7978"/>
                </a:lnTo>
                <a:lnTo>
                  <a:pt x="14980" y="4909"/>
                </a:lnTo>
                <a:lnTo>
                  <a:pt x="16200" y="4909"/>
                </a:lnTo>
                <a:cubicBezTo>
                  <a:pt x="16573" y="4909"/>
                  <a:pt x="16875" y="4690"/>
                  <a:pt x="16875" y="4418"/>
                </a:cubicBezTo>
                <a:cubicBezTo>
                  <a:pt x="16875" y="4283"/>
                  <a:pt x="16800" y="4160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1" y="4160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lnTo>
                  <a:pt x="6619" y="4909"/>
                </a:lnTo>
                <a:lnTo>
                  <a:pt x="2927" y="7978"/>
                </a:lnTo>
                <a:lnTo>
                  <a:pt x="2931" y="7982"/>
                </a:lnTo>
                <a:cubicBezTo>
                  <a:pt x="2792" y="8072"/>
                  <a:pt x="2700" y="8200"/>
                  <a:pt x="2700" y="8345"/>
                </a:cubicBezTo>
                <a:cubicBezTo>
                  <a:pt x="2700" y="8617"/>
                  <a:pt x="3003" y="8836"/>
                  <a:pt x="3375" y="8836"/>
                </a:cubicBezTo>
                <a:lnTo>
                  <a:pt x="4725" y="8836"/>
                </a:lnTo>
                <a:lnTo>
                  <a:pt x="1485" y="11978"/>
                </a:lnTo>
                <a:lnTo>
                  <a:pt x="1494" y="11983"/>
                </a:lnTo>
                <a:cubicBezTo>
                  <a:pt x="1409" y="12066"/>
                  <a:pt x="1350" y="12162"/>
                  <a:pt x="1350" y="12273"/>
                </a:cubicBezTo>
                <a:cubicBezTo>
                  <a:pt x="1350" y="12544"/>
                  <a:pt x="1653" y="12764"/>
                  <a:pt x="2025" y="12764"/>
                </a:cubicBezTo>
                <a:lnTo>
                  <a:pt x="3533" y="12764"/>
                </a:lnTo>
                <a:lnTo>
                  <a:pt x="96" y="16929"/>
                </a:lnTo>
                <a:lnTo>
                  <a:pt x="106" y="16933"/>
                </a:lnTo>
                <a:cubicBezTo>
                  <a:pt x="44" y="17007"/>
                  <a:pt x="0" y="17089"/>
                  <a:pt x="0" y="17182"/>
                </a:cubicBezTo>
                <a:cubicBezTo>
                  <a:pt x="0" y="17453"/>
                  <a:pt x="303" y="17673"/>
                  <a:pt x="675" y="17673"/>
                </a:cubicBezTo>
                <a:lnTo>
                  <a:pt x="8100" y="17673"/>
                </a:lnTo>
                <a:lnTo>
                  <a:pt x="8100" y="21109"/>
                </a:lnTo>
                <a:cubicBezTo>
                  <a:pt x="8100" y="21380"/>
                  <a:pt x="8403" y="21600"/>
                  <a:pt x="8775" y="21600"/>
                </a:cubicBezTo>
                <a:lnTo>
                  <a:pt x="12825" y="21600"/>
                </a:lnTo>
                <a:cubicBezTo>
                  <a:pt x="13198" y="21600"/>
                  <a:pt x="13500" y="21380"/>
                  <a:pt x="13500" y="21109"/>
                </a:cubicBezTo>
                <a:lnTo>
                  <a:pt x="13500" y="17673"/>
                </a:lnTo>
                <a:lnTo>
                  <a:pt x="20925" y="17673"/>
                </a:lnTo>
                <a:cubicBezTo>
                  <a:pt x="21298" y="17673"/>
                  <a:pt x="21600" y="17453"/>
                  <a:pt x="21600" y="17182"/>
                </a:cubicBezTo>
                <a:cubicBezTo>
                  <a:pt x="21600" y="17089"/>
                  <a:pt x="21555" y="17007"/>
                  <a:pt x="21494" y="1693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80" name="Shape 2780"/>
          <p:cNvSpPr/>
          <p:nvPr/>
        </p:nvSpPr>
        <p:spPr>
          <a:xfrm>
            <a:off x="14759957" y="11411467"/>
            <a:ext cx="25393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40" y="14727"/>
                </a:moveTo>
                <a:lnTo>
                  <a:pt x="2160" y="14727"/>
                </a:lnTo>
                <a:lnTo>
                  <a:pt x="2160" y="4909"/>
                </a:lnTo>
                <a:cubicBezTo>
                  <a:pt x="2160" y="2740"/>
                  <a:pt x="6028" y="982"/>
                  <a:pt x="10800" y="982"/>
                </a:cubicBezTo>
                <a:cubicBezTo>
                  <a:pt x="15571" y="982"/>
                  <a:pt x="19440" y="2740"/>
                  <a:pt x="19440" y="4909"/>
                </a:cubicBezTo>
                <a:cubicBezTo>
                  <a:pt x="19440" y="4909"/>
                  <a:pt x="19440" y="14727"/>
                  <a:pt x="19440" y="14727"/>
                </a:cubicBezTo>
                <a:close/>
                <a:moveTo>
                  <a:pt x="10800" y="0"/>
                </a:moveTo>
                <a:cubicBezTo>
                  <a:pt x="4835" y="0"/>
                  <a:pt x="0" y="2198"/>
                  <a:pt x="0" y="4909"/>
                </a:cubicBezTo>
                <a:lnTo>
                  <a:pt x="0" y="14727"/>
                </a:lnTo>
                <a:cubicBezTo>
                  <a:pt x="0" y="15269"/>
                  <a:pt x="968" y="15709"/>
                  <a:pt x="2160" y="15709"/>
                </a:cubicBezTo>
                <a:lnTo>
                  <a:pt x="9720" y="15709"/>
                </a:lnTo>
                <a:lnTo>
                  <a:pt x="9720" y="21109"/>
                </a:lnTo>
                <a:cubicBezTo>
                  <a:pt x="9720" y="21380"/>
                  <a:pt x="10204" y="21600"/>
                  <a:pt x="10800" y="21600"/>
                </a:cubicBezTo>
                <a:cubicBezTo>
                  <a:pt x="11396" y="21600"/>
                  <a:pt x="11880" y="21380"/>
                  <a:pt x="11880" y="21109"/>
                </a:cubicBezTo>
                <a:lnTo>
                  <a:pt x="11880" y="15709"/>
                </a:lnTo>
                <a:lnTo>
                  <a:pt x="19440" y="15709"/>
                </a:lnTo>
                <a:cubicBezTo>
                  <a:pt x="20632" y="15709"/>
                  <a:pt x="21600" y="15269"/>
                  <a:pt x="21600" y="14727"/>
                </a:cubicBezTo>
                <a:lnTo>
                  <a:pt x="21600" y="4909"/>
                </a:lnTo>
                <a:cubicBezTo>
                  <a:pt x="21600" y="2198"/>
                  <a:pt x="16765" y="0"/>
                  <a:pt x="10800" y="0"/>
                </a:cubicBezTo>
                <a:moveTo>
                  <a:pt x="7560" y="4909"/>
                </a:moveTo>
                <a:cubicBezTo>
                  <a:pt x="6964" y="4909"/>
                  <a:pt x="6480" y="5129"/>
                  <a:pt x="6480" y="5400"/>
                </a:cubicBezTo>
                <a:lnTo>
                  <a:pt x="6480" y="12273"/>
                </a:lnTo>
                <a:cubicBezTo>
                  <a:pt x="6480" y="12544"/>
                  <a:pt x="6964" y="12764"/>
                  <a:pt x="7560" y="12764"/>
                </a:cubicBezTo>
                <a:cubicBezTo>
                  <a:pt x="8156" y="12764"/>
                  <a:pt x="8640" y="12544"/>
                  <a:pt x="8640" y="12273"/>
                </a:cubicBezTo>
                <a:lnTo>
                  <a:pt x="8640" y="5400"/>
                </a:lnTo>
                <a:cubicBezTo>
                  <a:pt x="8640" y="5129"/>
                  <a:pt x="8156" y="4909"/>
                  <a:pt x="7560" y="4909"/>
                </a:cubicBezTo>
                <a:moveTo>
                  <a:pt x="14040" y="4909"/>
                </a:moveTo>
                <a:cubicBezTo>
                  <a:pt x="13444" y="4909"/>
                  <a:pt x="12960" y="5129"/>
                  <a:pt x="12960" y="5400"/>
                </a:cubicBezTo>
                <a:lnTo>
                  <a:pt x="12960" y="12273"/>
                </a:lnTo>
                <a:cubicBezTo>
                  <a:pt x="12960" y="12544"/>
                  <a:pt x="13444" y="12764"/>
                  <a:pt x="14040" y="12764"/>
                </a:cubicBezTo>
                <a:cubicBezTo>
                  <a:pt x="14636" y="12764"/>
                  <a:pt x="15120" y="12544"/>
                  <a:pt x="15120" y="12273"/>
                </a:cubicBezTo>
                <a:lnTo>
                  <a:pt x="15120" y="5400"/>
                </a:lnTo>
                <a:cubicBezTo>
                  <a:pt x="15120" y="5129"/>
                  <a:pt x="14636" y="4909"/>
                  <a:pt x="14040" y="49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81" name="Shape 2781"/>
          <p:cNvSpPr/>
          <p:nvPr/>
        </p:nvSpPr>
        <p:spPr>
          <a:xfrm>
            <a:off x="15674117" y="1141146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6873"/>
                </a:moveTo>
                <a:cubicBezTo>
                  <a:pt x="6162" y="6873"/>
                  <a:pt x="6382" y="6653"/>
                  <a:pt x="6382" y="6382"/>
                </a:cubicBezTo>
                <a:lnTo>
                  <a:pt x="6382" y="1473"/>
                </a:lnTo>
                <a:cubicBezTo>
                  <a:pt x="6382" y="1201"/>
                  <a:pt x="6162" y="982"/>
                  <a:pt x="5891" y="982"/>
                </a:cubicBezTo>
                <a:cubicBezTo>
                  <a:pt x="5620" y="982"/>
                  <a:pt x="5400" y="1201"/>
                  <a:pt x="5400" y="1473"/>
                </a:cubicBezTo>
                <a:lnTo>
                  <a:pt x="5400" y="6382"/>
                </a:lnTo>
                <a:cubicBezTo>
                  <a:pt x="5400" y="6653"/>
                  <a:pt x="5620" y="6873"/>
                  <a:pt x="5891" y="6873"/>
                </a:cubicBezTo>
                <a:moveTo>
                  <a:pt x="2945" y="5891"/>
                </a:moveTo>
                <a:cubicBezTo>
                  <a:pt x="3216" y="5891"/>
                  <a:pt x="3436" y="5671"/>
                  <a:pt x="3436" y="5400"/>
                </a:cubicBezTo>
                <a:lnTo>
                  <a:pt x="3436" y="2455"/>
                </a:lnTo>
                <a:cubicBezTo>
                  <a:pt x="3436" y="2183"/>
                  <a:pt x="3216" y="1964"/>
                  <a:pt x="2945" y="1964"/>
                </a:cubicBezTo>
                <a:cubicBezTo>
                  <a:pt x="2675" y="1964"/>
                  <a:pt x="2455" y="2183"/>
                  <a:pt x="2455" y="2455"/>
                </a:cubicBezTo>
                <a:lnTo>
                  <a:pt x="2455" y="5400"/>
                </a:lnTo>
                <a:cubicBezTo>
                  <a:pt x="2455" y="5671"/>
                  <a:pt x="2675" y="5891"/>
                  <a:pt x="2945" y="5891"/>
                </a:cubicBezTo>
                <a:moveTo>
                  <a:pt x="18655" y="15218"/>
                </a:moveTo>
                <a:lnTo>
                  <a:pt x="17648" y="15218"/>
                </a:lnTo>
                <a:cubicBezTo>
                  <a:pt x="17660" y="15056"/>
                  <a:pt x="17673" y="14893"/>
                  <a:pt x="17673" y="14727"/>
                </a:cubicBezTo>
                <a:lnTo>
                  <a:pt x="17673" y="11291"/>
                </a:lnTo>
                <a:lnTo>
                  <a:pt x="18655" y="11291"/>
                </a:lnTo>
                <a:cubicBezTo>
                  <a:pt x="19739" y="11291"/>
                  <a:pt x="20618" y="12170"/>
                  <a:pt x="20618" y="13255"/>
                </a:cubicBezTo>
                <a:cubicBezTo>
                  <a:pt x="20618" y="14339"/>
                  <a:pt x="19739" y="15218"/>
                  <a:pt x="18655" y="15218"/>
                </a:cubicBezTo>
                <a:moveTo>
                  <a:pt x="16691" y="14727"/>
                </a:moveTo>
                <a:cubicBezTo>
                  <a:pt x="16691" y="15802"/>
                  <a:pt x="16399" y="16805"/>
                  <a:pt x="15896" y="17673"/>
                </a:cubicBezTo>
                <a:lnTo>
                  <a:pt x="1777" y="17673"/>
                </a:lnTo>
                <a:cubicBezTo>
                  <a:pt x="1274" y="16805"/>
                  <a:pt x="982" y="15802"/>
                  <a:pt x="982" y="14727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4727"/>
                  <a:pt x="16691" y="14727"/>
                </a:cubicBezTo>
                <a:close/>
                <a:moveTo>
                  <a:pt x="10800" y="20618"/>
                </a:moveTo>
                <a:lnTo>
                  <a:pt x="6873" y="20618"/>
                </a:lnTo>
                <a:cubicBezTo>
                  <a:pt x="5131" y="20618"/>
                  <a:pt x="3569" y="19857"/>
                  <a:pt x="2491" y="18655"/>
                </a:cubicBezTo>
                <a:lnTo>
                  <a:pt x="15182" y="18655"/>
                </a:lnTo>
                <a:cubicBezTo>
                  <a:pt x="14103" y="19857"/>
                  <a:pt x="12542" y="20618"/>
                  <a:pt x="10800" y="20618"/>
                </a:cubicBezTo>
                <a:moveTo>
                  <a:pt x="18655" y="10309"/>
                </a:moveTo>
                <a:lnTo>
                  <a:pt x="17673" y="10309"/>
                </a:lnTo>
                <a:lnTo>
                  <a:pt x="17673" y="8836"/>
                </a:lnTo>
                <a:cubicBezTo>
                  <a:pt x="17673" y="8295"/>
                  <a:pt x="17233" y="7855"/>
                  <a:pt x="16691" y="7855"/>
                </a:cubicBezTo>
                <a:lnTo>
                  <a:pt x="982" y="7855"/>
                </a:lnTo>
                <a:cubicBezTo>
                  <a:pt x="440" y="7855"/>
                  <a:pt x="0" y="8295"/>
                  <a:pt x="0" y="8836"/>
                </a:cubicBezTo>
                <a:lnTo>
                  <a:pt x="0" y="14727"/>
                </a:lnTo>
                <a:cubicBezTo>
                  <a:pt x="0" y="17232"/>
                  <a:pt x="1344" y="19417"/>
                  <a:pt x="3346" y="20618"/>
                </a:cubicBezTo>
                <a:lnTo>
                  <a:pt x="491" y="20618"/>
                </a:lnTo>
                <a:cubicBezTo>
                  <a:pt x="220" y="20618"/>
                  <a:pt x="0" y="20838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0"/>
                  <a:pt x="17673" y="21109"/>
                </a:cubicBezTo>
                <a:cubicBezTo>
                  <a:pt x="17673" y="20838"/>
                  <a:pt x="17453" y="20618"/>
                  <a:pt x="17182" y="20618"/>
                </a:cubicBezTo>
                <a:lnTo>
                  <a:pt x="14330" y="20618"/>
                </a:lnTo>
                <a:cubicBezTo>
                  <a:pt x="15925" y="19659"/>
                  <a:pt x="17101" y="18074"/>
                  <a:pt x="17511" y="16200"/>
                </a:cubicBezTo>
                <a:lnTo>
                  <a:pt x="18655" y="16200"/>
                </a:lnTo>
                <a:cubicBezTo>
                  <a:pt x="20281" y="16200"/>
                  <a:pt x="21600" y="14882"/>
                  <a:pt x="21600" y="13255"/>
                </a:cubicBezTo>
                <a:cubicBezTo>
                  <a:pt x="21600" y="11628"/>
                  <a:pt x="20281" y="10309"/>
                  <a:pt x="18655" y="10309"/>
                </a:cubicBezTo>
                <a:moveTo>
                  <a:pt x="11782" y="5891"/>
                </a:moveTo>
                <a:cubicBezTo>
                  <a:pt x="12053" y="5891"/>
                  <a:pt x="12273" y="5671"/>
                  <a:pt x="12273" y="5400"/>
                </a:cubicBezTo>
                <a:lnTo>
                  <a:pt x="12273" y="2455"/>
                </a:lnTo>
                <a:cubicBezTo>
                  <a:pt x="12273" y="2183"/>
                  <a:pt x="12053" y="1964"/>
                  <a:pt x="11782" y="1964"/>
                </a:cubicBezTo>
                <a:cubicBezTo>
                  <a:pt x="11511" y="1964"/>
                  <a:pt x="11291" y="2183"/>
                  <a:pt x="11291" y="2455"/>
                </a:cubicBezTo>
                <a:lnTo>
                  <a:pt x="11291" y="5400"/>
                </a:lnTo>
                <a:cubicBezTo>
                  <a:pt x="11291" y="5671"/>
                  <a:pt x="11511" y="5891"/>
                  <a:pt x="11782" y="5891"/>
                </a:cubicBezTo>
                <a:moveTo>
                  <a:pt x="14727" y="6873"/>
                </a:moveTo>
                <a:cubicBezTo>
                  <a:pt x="14998" y="6873"/>
                  <a:pt x="15218" y="6653"/>
                  <a:pt x="15218" y="6382"/>
                </a:cubicBezTo>
                <a:lnTo>
                  <a:pt x="15218" y="1473"/>
                </a:lnTo>
                <a:cubicBezTo>
                  <a:pt x="15218" y="1201"/>
                  <a:pt x="14998" y="982"/>
                  <a:pt x="14727" y="982"/>
                </a:cubicBezTo>
                <a:cubicBezTo>
                  <a:pt x="14456" y="982"/>
                  <a:pt x="14236" y="1201"/>
                  <a:pt x="14236" y="1473"/>
                </a:cubicBezTo>
                <a:lnTo>
                  <a:pt x="14236" y="6382"/>
                </a:lnTo>
                <a:cubicBezTo>
                  <a:pt x="14236" y="6653"/>
                  <a:pt x="14456" y="6873"/>
                  <a:pt x="14727" y="6873"/>
                </a:cubicBezTo>
                <a:moveTo>
                  <a:pt x="8836" y="5891"/>
                </a:moveTo>
                <a:cubicBezTo>
                  <a:pt x="9107" y="5891"/>
                  <a:pt x="9327" y="5671"/>
                  <a:pt x="9327" y="5400"/>
                </a:cubicBezTo>
                <a:lnTo>
                  <a:pt x="9327" y="491"/>
                </a:lnTo>
                <a:cubicBezTo>
                  <a:pt x="9327" y="220"/>
                  <a:pt x="9107" y="0"/>
                  <a:pt x="8836" y="0"/>
                </a:cubicBezTo>
                <a:cubicBezTo>
                  <a:pt x="8566" y="0"/>
                  <a:pt x="8345" y="220"/>
                  <a:pt x="8345" y="491"/>
                </a:cubicBezTo>
                <a:lnTo>
                  <a:pt x="8345" y="5400"/>
                </a:lnTo>
                <a:cubicBezTo>
                  <a:pt x="8345" y="5671"/>
                  <a:pt x="8566" y="5891"/>
                  <a:pt x="8836" y="58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82" name="Shape 2782"/>
          <p:cNvSpPr/>
          <p:nvPr/>
        </p:nvSpPr>
        <p:spPr>
          <a:xfrm>
            <a:off x="16740639" y="11449557"/>
            <a:ext cx="559193" cy="482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683" h="20545" extrusionOk="0">
                <a:moveTo>
                  <a:pt x="9621" y="9676"/>
                </a:moveTo>
                <a:cubicBezTo>
                  <a:pt x="9621" y="9676"/>
                  <a:pt x="9621" y="9675"/>
                  <a:pt x="9621" y="9675"/>
                </a:cubicBezTo>
                <a:lnTo>
                  <a:pt x="9620" y="9674"/>
                </a:lnTo>
                <a:cubicBezTo>
                  <a:pt x="9620" y="9674"/>
                  <a:pt x="9621" y="9676"/>
                  <a:pt x="9621" y="9676"/>
                </a:cubicBezTo>
                <a:close/>
                <a:moveTo>
                  <a:pt x="19582" y="1266"/>
                </a:moveTo>
                <a:cubicBezTo>
                  <a:pt x="18115" y="-422"/>
                  <a:pt x="15737" y="-422"/>
                  <a:pt x="14270" y="1266"/>
                </a:cubicBezTo>
                <a:lnTo>
                  <a:pt x="14934" y="2030"/>
                </a:lnTo>
                <a:cubicBezTo>
                  <a:pt x="16034" y="765"/>
                  <a:pt x="17818" y="765"/>
                  <a:pt x="18918" y="2030"/>
                </a:cubicBezTo>
                <a:cubicBezTo>
                  <a:pt x="20019" y="3297"/>
                  <a:pt x="20019" y="5351"/>
                  <a:pt x="18918" y="6618"/>
                </a:cubicBezTo>
                <a:lnTo>
                  <a:pt x="8956" y="17881"/>
                </a:lnTo>
                <a:lnTo>
                  <a:pt x="9621" y="18645"/>
                </a:lnTo>
                <a:lnTo>
                  <a:pt x="19582" y="7382"/>
                </a:lnTo>
                <a:cubicBezTo>
                  <a:pt x="21050" y="5693"/>
                  <a:pt x="21050" y="2955"/>
                  <a:pt x="19582" y="1266"/>
                </a:cubicBezTo>
                <a:moveTo>
                  <a:pt x="2315" y="17881"/>
                </a:moveTo>
                <a:cubicBezTo>
                  <a:pt x="481" y="15770"/>
                  <a:pt x="481" y="12551"/>
                  <a:pt x="2315" y="10439"/>
                </a:cubicBezTo>
                <a:cubicBezTo>
                  <a:pt x="2317" y="10437"/>
                  <a:pt x="2320" y="10434"/>
                  <a:pt x="2323" y="10431"/>
                </a:cubicBezTo>
                <a:lnTo>
                  <a:pt x="2323" y="10431"/>
                </a:lnTo>
                <a:lnTo>
                  <a:pt x="9289" y="2413"/>
                </a:lnTo>
                <a:cubicBezTo>
                  <a:pt x="9472" y="2201"/>
                  <a:pt x="9472" y="1859"/>
                  <a:pt x="9289" y="1648"/>
                </a:cubicBezTo>
                <a:cubicBezTo>
                  <a:pt x="9105" y="1437"/>
                  <a:pt x="8808" y="1437"/>
                  <a:pt x="8624" y="1648"/>
                </a:cubicBezTo>
                <a:lnTo>
                  <a:pt x="1651" y="9675"/>
                </a:lnTo>
                <a:cubicBezTo>
                  <a:pt x="-550" y="12208"/>
                  <a:pt x="-550" y="16112"/>
                  <a:pt x="1651" y="18645"/>
                </a:cubicBezTo>
                <a:cubicBezTo>
                  <a:pt x="3852" y="21178"/>
                  <a:pt x="7420" y="21178"/>
                  <a:pt x="9621" y="18645"/>
                </a:cubicBezTo>
                <a:lnTo>
                  <a:pt x="8948" y="17889"/>
                </a:lnTo>
                <a:cubicBezTo>
                  <a:pt x="7114" y="19991"/>
                  <a:pt x="4147" y="19989"/>
                  <a:pt x="2315" y="17881"/>
                </a:cubicBezTo>
                <a:moveTo>
                  <a:pt x="6300" y="13497"/>
                </a:moveTo>
                <a:cubicBezTo>
                  <a:pt x="7033" y="14341"/>
                  <a:pt x="8223" y="14341"/>
                  <a:pt x="8956" y="13497"/>
                </a:cubicBezTo>
                <a:lnTo>
                  <a:pt x="13937" y="7764"/>
                </a:lnTo>
                <a:cubicBezTo>
                  <a:pt x="14121" y="7553"/>
                  <a:pt x="14121" y="7211"/>
                  <a:pt x="13937" y="7000"/>
                </a:cubicBezTo>
                <a:cubicBezTo>
                  <a:pt x="13754" y="6789"/>
                  <a:pt x="13457" y="6789"/>
                  <a:pt x="13273" y="7000"/>
                </a:cubicBezTo>
                <a:lnTo>
                  <a:pt x="8292" y="12732"/>
                </a:lnTo>
                <a:cubicBezTo>
                  <a:pt x="7926" y="13155"/>
                  <a:pt x="7331" y="13155"/>
                  <a:pt x="6964" y="12732"/>
                </a:cubicBezTo>
                <a:cubicBezTo>
                  <a:pt x="6597" y="12310"/>
                  <a:pt x="6597" y="11626"/>
                  <a:pt x="6964" y="11204"/>
                </a:cubicBezTo>
                <a:lnTo>
                  <a:pt x="8292" y="9675"/>
                </a:lnTo>
                <a:lnTo>
                  <a:pt x="14934" y="2030"/>
                </a:lnTo>
                <a:lnTo>
                  <a:pt x="14270" y="1266"/>
                </a:lnTo>
                <a:lnTo>
                  <a:pt x="6300" y="10439"/>
                </a:lnTo>
                <a:cubicBezTo>
                  <a:pt x="5566" y="11284"/>
                  <a:pt x="5566" y="12653"/>
                  <a:pt x="6300" y="1349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83" name="Shape 2783"/>
          <p:cNvSpPr/>
          <p:nvPr/>
        </p:nvSpPr>
        <p:spPr>
          <a:xfrm>
            <a:off x="17807162" y="11449559"/>
            <a:ext cx="558654" cy="4824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855"/>
                </a:moveTo>
                <a:lnTo>
                  <a:pt x="1633" y="10800"/>
                </a:lnTo>
                <a:lnTo>
                  <a:pt x="4615" y="9156"/>
                </a:lnTo>
                <a:lnTo>
                  <a:pt x="10589" y="12450"/>
                </a:lnTo>
                <a:lnTo>
                  <a:pt x="10591" y="12446"/>
                </a:lnTo>
                <a:cubicBezTo>
                  <a:pt x="10654" y="12482"/>
                  <a:pt x="10724" y="12505"/>
                  <a:pt x="10800" y="12505"/>
                </a:cubicBezTo>
                <a:cubicBezTo>
                  <a:pt x="10876" y="12505"/>
                  <a:pt x="10946" y="12482"/>
                  <a:pt x="11009" y="12446"/>
                </a:cubicBezTo>
                <a:lnTo>
                  <a:pt x="11011" y="12450"/>
                </a:lnTo>
                <a:lnTo>
                  <a:pt x="16985" y="9156"/>
                </a:lnTo>
                <a:lnTo>
                  <a:pt x="19967" y="10800"/>
                </a:lnTo>
                <a:cubicBezTo>
                  <a:pt x="19967" y="10800"/>
                  <a:pt x="10800" y="15855"/>
                  <a:pt x="10800" y="15855"/>
                </a:cubicBezTo>
                <a:close/>
                <a:moveTo>
                  <a:pt x="19967" y="15347"/>
                </a:moveTo>
                <a:lnTo>
                  <a:pt x="10800" y="20402"/>
                </a:lnTo>
                <a:lnTo>
                  <a:pt x="1633" y="15347"/>
                </a:lnTo>
                <a:lnTo>
                  <a:pt x="4615" y="13703"/>
                </a:lnTo>
                <a:lnTo>
                  <a:pt x="10589" y="16997"/>
                </a:lnTo>
                <a:lnTo>
                  <a:pt x="10591" y="16994"/>
                </a:lnTo>
                <a:cubicBezTo>
                  <a:pt x="10654" y="17029"/>
                  <a:pt x="10724" y="17053"/>
                  <a:pt x="10800" y="17053"/>
                </a:cubicBezTo>
                <a:cubicBezTo>
                  <a:pt x="10876" y="17053"/>
                  <a:pt x="10946" y="17029"/>
                  <a:pt x="11009" y="16994"/>
                </a:cubicBezTo>
                <a:lnTo>
                  <a:pt x="11011" y="16997"/>
                </a:lnTo>
                <a:lnTo>
                  <a:pt x="16985" y="13703"/>
                </a:lnTo>
                <a:cubicBezTo>
                  <a:pt x="16985" y="13703"/>
                  <a:pt x="19967" y="15347"/>
                  <a:pt x="19967" y="15347"/>
                </a:cubicBezTo>
                <a:close/>
                <a:moveTo>
                  <a:pt x="1633" y="6253"/>
                </a:moveTo>
                <a:lnTo>
                  <a:pt x="10800" y="1198"/>
                </a:lnTo>
                <a:lnTo>
                  <a:pt x="19967" y="6253"/>
                </a:lnTo>
                <a:lnTo>
                  <a:pt x="10800" y="11307"/>
                </a:lnTo>
                <a:cubicBezTo>
                  <a:pt x="10800" y="11307"/>
                  <a:pt x="1633" y="6253"/>
                  <a:pt x="1633" y="6253"/>
                </a:cubicBezTo>
                <a:close/>
                <a:moveTo>
                  <a:pt x="21600" y="10800"/>
                </a:moveTo>
                <a:cubicBezTo>
                  <a:pt x="21600" y="10574"/>
                  <a:pt x="21484" y="10383"/>
                  <a:pt x="21319" y="10290"/>
                </a:cubicBezTo>
                <a:lnTo>
                  <a:pt x="21320" y="10287"/>
                </a:lnTo>
                <a:lnTo>
                  <a:pt x="18127" y="8526"/>
                </a:lnTo>
                <a:lnTo>
                  <a:pt x="21320" y="6766"/>
                </a:lnTo>
                <a:lnTo>
                  <a:pt x="21319" y="6762"/>
                </a:lnTo>
                <a:cubicBezTo>
                  <a:pt x="21484" y="6671"/>
                  <a:pt x="21600" y="6479"/>
                  <a:pt x="21600" y="6253"/>
                </a:cubicBezTo>
                <a:cubicBezTo>
                  <a:pt x="21600" y="6027"/>
                  <a:pt x="21484" y="5835"/>
                  <a:pt x="21319" y="5743"/>
                </a:cubicBezTo>
                <a:lnTo>
                  <a:pt x="21320" y="5740"/>
                </a:lnTo>
                <a:lnTo>
                  <a:pt x="11011" y="56"/>
                </a:lnTo>
                <a:lnTo>
                  <a:pt x="11009" y="59"/>
                </a:lnTo>
                <a:cubicBezTo>
                  <a:pt x="10946" y="23"/>
                  <a:pt x="10876" y="0"/>
                  <a:pt x="10800" y="0"/>
                </a:cubicBezTo>
                <a:cubicBezTo>
                  <a:pt x="10724" y="0"/>
                  <a:pt x="10654" y="23"/>
                  <a:pt x="10591" y="59"/>
                </a:cubicBezTo>
                <a:lnTo>
                  <a:pt x="10589" y="56"/>
                </a:lnTo>
                <a:lnTo>
                  <a:pt x="280" y="5740"/>
                </a:lnTo>
                <a:lnTo>
                  <a:pt x="281" y="5743"/>
                </a:lnTo>
                <a:cubicBezTo>
                  <a:pt x="116" y="5835"/>
                  <a:pt x="0" y="6027"/>
                  <a:pt x="0" y="6253"/>
                </a:cubicBezTo>
                <a:cubicBezTo>
                  <a:pt x="0" y="6479"/>
                  <a:pt x="116" y="6671"/>
                  <a:pt x="281" y="6762"/>
                </a:cubicBezTo>
                <a:lnTo>
                  <a:pt x="280" y="6766"/>
                </a:lnTo>
                <a:lnTo>
                  <a:pt x="3473" y="8526"/>
                </a:lnTo>
                <a:lnTo>
                  <a:pt x="280" y="10287"/>
                </a:lnTo>
                <a:lnTo>
                  <a:pt x="281" y="10290"/>
                </a:lnTo>
                <a:cubicBezTo>
                  <a:pt x="116" y="10383"/>
                  <a:pt x="0" y="10574"/>
                  <a:pt x="0" y="10800"/>
                </a:cubicBezTo>
                <a:cubicBezTo>
                  <a:pt x="0" y="11026"/>
                  <a:pt x="116" y="11218"/>
                  <a:pt x="281" y="11310"/>
                </a:cubicBezTo>
                <a:lnTo>
                  <a:pt x="280" y="11313"/>
                </a:lnTo>
                <a:lnTo>
                  <a:pt x="3473" y="13074"/>
                </a:lnTo>
                <a:lnTo>
                  <a:pt x="280" y="14834"/>
                </a:lnTo>
                <a:lnTo>
                  <a:pt x="281" y="14838"/>
                </a:lnTo>
                <a:cubicBezTo>
                  <a:pt x="116" y="14930"/>
                  <a:pt x="0" y="15121"/>
                  <a:pt x="0" y="15347"/>
                </a:cubicBezTo>
                <a:cubicBezTo>
                  <a:pt x="0" y="15574"/>
                  <a:pt x="116" y="15765"/>
                  <a:pt x="281" y="15857"/>
                </a:cubicBezTo>
                <a:lnTo>
                  <a:pt x="280" y="15860"/>
                </a:lnTo>
                <a:lnTo>
                  <a:pt x="10589" y="21544"/>
                </a:lnTo>
                <a:lnTo>
                  <a:pt x="10591" y="21541"/>
                </a:lnTo>
                <a:cubicBezTo>
                  <a:pt x="10654" y="21577"/>
                  <a:pt x="10724" y="21600"/>
                  <a:pt x="10800" y="21600"/>
                </a:cubicBezTo>
                <a:cubicBezTo>
                  <a:pt x="10876" y="21600"/>
                  <a:pt x="10946" y="21577"/>
                  <a:pt x="11009" y="21541"/>
                </a:cubicBezTo>
                <a:lnTo>
                  <a:pt x="11011" y="21544"/>
                </a:lnTo>
                <a:lnTo>
                  <a:pt x="21320" y="15860"/>
                </a:lnTo>
                <a:lnTo>
                  <a:pt x="21319" y="15857"/>
                </a:lnTo>
                <a:cubicBezTo>
                  <a:pt x="21484" y="15765"/>
                  <a:pt x="21600" y="15574"/>
                  <a:pt x="21600" y="15347"/>
                </a:cubicBezTo>
                <a:cubicBezTo>
                  <a:pt x="21600" y="15121"/>
                  <a:pt x="21484" y="14930"/>
                  <a:pt x="21319" y="14838"/>
                </a:cubicBezTo>
                <a:lnTo>
                  <a:pt x="21320" y="14834"/>
                </a:lnTo>
                <a:lnTo>
                  <a:pt x="18127" y="13074"/>
                </a:lnTo>
                <a:lnTo>
                  <a:pt x="21320" y="11313"/>
                </a:lnTo>
                <a:lnTo>
                  <a:pt x="21319" y="11310"/>
                </a:lnTo>
                <a:cubicBezTo>
                  <a:pt x="21484" y="11218"/>
                  <a:pt x="21600" y="11026"/>
                  <a:pt x="21600" y="10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84" name="Shape 2784"/>
          <p:cNvSpPr/>
          <p:nvPr/>
        </p:nvSpPr>
        <p:spPr>
          <a:xfrm>
            <a:off x="18873684" y="1141146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353" y="11229"/>
                </a:moveTo>
                <a:lnTo>
                  <a:pt x="20356" y="11234"/>
                </a:lnTo>
                <a:lnTo>
                  <a:pt x="11029" y="16143"/>
                </a:lnTo>
                <a:lnTo>
                  <a:pt x="11026" y="16138"/>
                </a:lnTo>
                <a:cubicBezTo>
                  <a:pt x="10957" y="16174"/>
                  <a:pt x="10883" y="16200"/>
                  <a:pt x="10800" y="16200"/>
                </a:cubicBezTo>
                <a:cubicBezTo>
                  <a:pt x="10717" y="16200"/>
                  <a:pt x="10643" y="16174"/>
                  <a:pt x="10574" y="16138"/>
                </a:cubicBezTo>
                <a:lnTo>
                  <a:pt x="10571" y="16143"/>
                </a:lnTo>
                <a:lnTo>
                  <a:pt x="1244" y="11234"/>
                </a:lnTo>
                <a:lnTo>
                  <a:pt x="1247" y="11229"/>
                </a:lnTo>
                <a:cubicBezTo>
                  <a:pt x="1091" y="11147"/>
                  <a:pt x="982" y="10988"/>
                  <a:pt x="982" y="10800"/>
                </a:cubicBezTo>
                <a:cubicBezTo>
                  <a:pt x="982" y="10612"/>
                  <a:pt x="1091" y="10453"/>
                  <a:pt x="1247" y="10371"/>
                </a:cubicBezTo>
                <a:lnTo>
                  <a:pt x="1244" y="10366"/>
                </a:lnTo>
                <a:lnTo>
                  <a:pt x="3562" y="9146"/>
                </a:lnTo>
                <a:lnTo>
                  <a:pt x="10113" y="12594"/>
                </a:lnTo>
                <a:lnTo>
                  <a:pt x="10117" y="12588"/>
                </a:lnTo>
                <a:cubicBezTo>
                  <a:pt x="10322" y="12697"/>
                  <a:pt x="10552" y="12764"/>
                  <a:pt x="10800" y="12764"/>
                </a:cubicBezTo>
                <a:cubicBezTo>
                  <a:pt x="11048" y="12764"/>
                  <a:pt x="11278" y="12697"/>
                  <a:pt x="11483" y="12588"/>
                </a:cubicBezTo>
                <a:lnTo>
                  <a:pt x="11486" y="12594"/>
                </a:lnTo>
                <a:lnTo>
                  <a:pt x="18038" y="9146"/>
                </a:lnTo>
                <a:lnTo>
                  <a:pt x="20356" y="10366"/>
                </a:lnTo>
                <a:lnTo>
                  <a:pt x="20353" y="10371"/>
                </a:lnTo>
                <a:cubicBezTo>
                  <a:pt x="20509" y="10453"/>
                  <a:pt x="20618" y="10612"/>
                  <a:pt x="20618" y="10800"/>
                </a:cubicBezTo>
                <a:cubicBezTo>
                  <a:pt x="20618" y="10988"/>
                  <a:pt x="20509" y="11147"/>
                  <a:pt x="20353" y="11229"/>
                </a:cubicBezTo>
                <a:moveTo>
                  <a:pt x="20356" y="14784"/>
                </a:moveTo>
                <a:lnTo>
                  <a:pt x="20353" y="14790"/>
                </a:lnTo>
                <a:cubicBezTo>
                  <a:pt x="20509" y="14872"/>
                  <a:pt x="20618" y="15030"/>
                  <a:pt x="20618" y="15218"/>
                </a:cubicBezTo>
                <a:cubicBezTo>
                  <a:pt x="20618" y="15407"/>
                  <a:pt x="20509" y="15565"/>
                  <a:pt x="20353" y="15647"/>
                </a:cubicBezTo>
                <a:lnTo>
                  <a:pt x="20356" y="15653"/>
                </a:lnTo>
                <a:lnTo>
                  <a:pt x="11029" y="20562"/>
                </a:lnTo>
                <a:lnTo>
                  <a:pt x="11026" y="20556"/>
                </a:lnTo>
                <a:cubicBezTo>
                  <a:pt x="10957" y="20592"/>
                  <a:pt x="10883" y="20618"/>
                  <a:pt x="10800" y="20618"/>
                </a:cubicBezTo>
                <a:cubicBezTo>
                  <a:pt x="10717" y="20618"/>
                  <a:pt x="10643" y="20592"/>
                  <a:pt x="10574" y="20556"/>
                </a:cubicBezTo>
                <a:lnTo>
                  <a:pt x="10571" y="20562"/>
                </a:lnTo>
                <a:lnTo>
                  <a:pt x="1244" y="15653"/>
                </a:lnTo>
                <a:lnTo>
                  <a:pt x="1247" y="15647"/>
                </a:lnTo>
                <a:cubicBezTo>
                  <a:pt x="1091" y="15565"/>
                  <a:pt x="982" y="15407"/>
                  <a:pt x="982" y="15218"/>
                </a:cubicBezTo>
                <a:cubicBezTo>
                  <a:pt x="982" y="15030"/>
                  <a:pt x="1091" y="14872"/>
                  <a:pt x="1247" y="14790"/>
                </a:cubicBezTo>
                <a:lnTo>
                  <a:pt x="1244" y="14784"/>
                </a:lnTo>
                <a:lnTo>
                  <a:pt x="3562" y="13564"/>
                </a:lnTo>
                <a:lnTo>
                  <a:pt x="10113" y="17012"/>
                </a:lnTo>
                <a:lnTo>
                  <a:pt x="10117" y="17006"/>
                </a:lnTo>
                <a:cubicBezTo>
                  <a:pt x="10322" y="17115"/>
                  <a:pt x="10552" y="17182"/>
                  <a:pt x="10800" y="17182"/>
                </a:cubicBezTo>
                <a:cubicBezTo>
                  <a:pt x="11048" y="17182"/>
                  <a:pt x="11278" y="17115"/>
                  <a:pt x="11483" y="17006"/>
                </a:cubicBezTo>
                <a:lnTo>
                  <a:pt x="11486" y="17012"/>
                </a:lnTo>
                <a:lnTo>
                  <a:pt x="18038" y="13564"/>
                </a:lnTo>
                <a:cubicBezTo>
                  <a:pt x="18038" y="13564"/>
                  <a:pt x="20356" y="14784"/>
                  <a:pt x="20356" y="14784"/>
                </a:cubicBezTo>
                <a:close/>
                <a:moveTo>
                  <a:pt x="1244" y="6816"/>
                </a:moveTo>
                <a:lnTo>
                  <a:pt x="1247" y="6811"/>
                </a:lnTo>
                <a:cubicBezTo>
                  <a:pt x="1091" y="6728"/>
                  <a:pt x="982" y="6570"/>
                  <a:pt x="982" y="6382"/>
                </a:cubicBezTo>
                <a:cubicBezTo>
                  <a:pt x="982" y="6194"/>
                  <a:pt x="1091" y="6035"/>
                  <a:pt x="1247" y="5953"/>
                </a:cubicBezTo>
                <a:lnTo>
                  <a:pt x="1244" y="5947"/>
                </a:lnTo>
                <a:lnTo>
                  <a:pt x="10571" y="1038"/>
                </a:lnTo>
                <a:lnTo>
                  <a:pt x="10574" y="1044"/>
                </a:lnTo>
                <a:cubicBezTo>
                  <a:pt x="10643" y="1008"/>
                  <a:pt x="10717" y="982"/>
                  <a:pt x="10800" y="982"/>
                </a:cubicBezTo>
                <a:cubicBezTo>
                  <a:pt x="10883" y="982"/>
                  <a:pt x="10957" y="1008"/>
                  <a:pt x="11026" y="1044"/>
                </a:cubicBezTo>
                <a:lnTo>
                  <a:pt x="11029" y="1038"/>
                </a:lnTo>
                <a:lnTo>
                  <a:pt x="20356" y="5947"/>
                </a:lnTo>
                <a:lnTo>
                  <a:pt x="20353" y="5953"/>
                </a:lnTo>
                <a:cubicBezTo>
                  <a:pt x="20509" y="6035"/>
                  <a:pt x="20618" y="6194"/>
                  <a:pt x="20618" y="6382"/>
                </a:cubicBezTo>
                <a:cubicBezTo>
                  <a:pt x="20618" y="6570"/>
                  <a:pt x="20509" y="6728"/>
                  <a:pt x="20353" y="6811"/>
                </a:cubicBezTo>
                <a:lnTo>
                  <a:pt x="20356" y="6816"/>
                </a:lnTo>
                <a:lnTo>
                  <a:pt x="11029" y="11725"/>
                </a:lnTo>
                <a:lnTo>
                  <a:pt x="11026" y="11720"/>
                </a:lnTo>
                <a:cubicBezTo>
                  <a:pt x="10957" y="11756"/>
                  <a:pt x="10883" y="11782"/>
                  <a:pt x="10800" y="11782"/>
                </a:cubicBezTo>
                <a:cubicBezTo>
                  <a:pt x="10717" y="11782"/>
                  <a:pt x="10643" y="11756"/>
                  <a:pt x="10574" y="11720"/>
                </a:cubicBezTo>
                <a:lnTo>
                  <a:pt x="10571" y="11725"/>
                </a:lnTo>
                <a:cubicBezTo>
                  <a:pt x="10571" y="11725"/>
                  <a:pt x="1244" y="6816"/>
                  <a:pt x="1244" y="6816"/>
                </a:cubicBezTo>
                <a:close/>
                <a:moveTo>
                  <a:pt x="21600" y="10800"/>
                </a:moveTo>
                <a:cubicBezTo>
                  <a:pt x="21600" y="10234"/>
                  <a:pt x="21278" y="9749"/>
                  <a:pt x="20810" y="9503"/>
                </a:cubicBezTo>
                <a:lnTo>
                  <a:pt x="20813" y="9497"/>
                </a:lnTo>
                <a:lnTo>
                  <a:pt x="19092" y="8591"/>
                </a:lnTo>
                <a:lnTo>
                  <a:pt x="20813" y="7685"/>
                </a:lnTo>
                <a:lnTo>
                  <a:pt x="20810" y="7679"/>
                </a:lnTo>
                <a:cubicBezTo>
                  <a:pt x="21278" y="7433"/>
                  <a:pt x="21600" y="6948"/>
                  <a:pt x="21600" y="6382"/>
                </a:cubicBezTo>
                <a:cubicBezTo>
                  <a:pt x="21600" y="5816"/>
                  <a:pt x="21278" y="5331"/>
                  <a:pt x="20810" y="5085"/>
                </a:cubicBezTo>
                <a:lnTo>
                  <a:pt x="20813" y="5079"/>
                </a:lnTo>
                <a:lnTo>
                  <a:pt x="11486" y="170"/>
                </a:lnTo>
                <a:lnTo>
                  <a:pt x="11483" y="175"/>
                </a:lnTo>
                <a:cubicBezTo>
                  <a:pt x="11278" y="67"/>
                  <a:pt x="11048" y="0"/>
                  <a:pt x="10800" y="0"/>
                </a:cubicBezTo>
                <a:cubicBezTo>
                  <a:pt x="10552" y="0"/>
                  <a:pt x="10322" y="67"/>
                  <a:pt x="10117" y="175"/>
                </a:cubicBezTo>
                <a:lnTo>
                  <a:pt x="10113" y="170"/>
                </a:lnTo>
                <a:lnTo>
                  <a:pt x="786" y="5079"/>
                </a:lnTo>
                <a:lnTo>
                  <a:pt x="790" y="5085"/>
                </a:lnTo>
                <a:cubicBezTo>
                  <a:pt x="322" y="5331"/>
                  <a:pt x="0" y="5816"/>
                  <a:pt x="0" y="6382"/>
                </a:cubicBezTo>
                <a:cubicBezTo>
                  <a:pt x="0" y="6948"/>
                  <a:pt x="322" y="7433"/>
                  <a:pt x="790" y="7679"/>
                </a:cubicBezTo>
                <a:lnTo>
                  <a:pt x="786" y="7685"/>
                </a:lnTo>
                <a:lnTo>
                  <a:pt x="2508" y="8591"/>
                </a:lnTo>
                <a:lnTo>
                  <a:pt x="786" y="9497"/>
                </a:lnTo>
                <a:lnTo>
                  <a:pt x="790" y="9503"/>
                </a:lnTo>
                <a:cubicBezTo>
                  <a:pt x="322" y="9749"/>
                  <a:pt x="0" y="10234"/>
                  <a:pt x="0" y="10800"/>
                </a:cubicBezTo>
                <a:cubicBezTo>
                  <a:pt x="0" y="11366"/>
                  <a:pt x="322" y="11851"/>
                  <a:pt x="790" y="12097"/>
                </a:cubicBezTo>
                <a:lnTo>
                  <a:pt x="786" y="12103"/>
                </a:lnTo>
                <a:lnTo>
                  <a:pt x="2508" y="13009"/>
                </a:lnTo>
                <a:lnTo>
                  <a:pt x="786" y="13915"/>
                </a:lnTo>
                <a:lnTo>
                  <a:pt x="790" y="13921"/>
                </a:lnTo>
                <a:cubicBezTo>
                  <a:pt x="322" y="14167"/>
                  <a:pt x="0" y="14652"/>
                  <a:pt x="0" y="15218"/>
                </a:cubicBezTo>
                <a:cubicBezTo>
                  <a:pt x="0" y="15784"/>
                  <a:pt x="322" y="16269"/>
                  <a:pt x="790" y="16515"/>
                </a:cubicBezTo>
                <a:lnTo>
                  <a:pt x="786" y="16521"/>
                </a:lnTo>
                <a:lnTo>
                  <a:pt x="10113" y="21430"/>
                </a:lnTo>
                <a:lnTo>
                  <a:pt x="10117" y="21425"/>
                </a:lnTo>
                <a:cubicBezTo>
                  <a:pt x="10322" y="21533"/>
                  <a:pt x="10552" y="21600"/>
                  <a:pt x="10800" y="21600"/>
                </a:cubicBezTo>
                <a:cubicBezTo>
                  <a:pt x="11048" y="21600"/>
                  <a:pt x="11278" y="21533"/>
                  <a:pt x="11483" y="21425"/>
                </a:cubicBezTo>
                <a:lnTo>
                  <a:pt x="11486" y="21430"/>
                </a:lnTo>
                <a:lnTo>
                  <a:pt x="20813" y="16521"/>
                </a:lnTo>
                <a:lnTo>
                  <a:pt x="20810" y="16515"/>
                </a:lnTo>
                <a:cubicBezTo>
                  <a:pt x="21278" y="16269"/>
                  <a:pt x="21600" y="15784"/>
                  <a:pt x="21600" y="15218"/>
                </a:cubicBezTo>
                <a:cubicBezTo>
                  <a:pt x="21600" y="14652"/>
                  <a:pt x="21278" y="14167"/>
                  <a:pt x="20810" y="13921"/>
                </a:cubicBezTo>
                <a:lnTo>
                  <a:pt x="20813" y="13915"/>
                </a:lnTo>
                <a:lnTo>
                  <a:pt x="19092" y="13009"/>
                </a:lnTo>
                <a:lnTo>
                  <a:pt x="20813" y="12103"/>
                </a:lnTo>
                <a:lnTo>
                  <a:pt x="20810" y="12097"/>
                </a:lnTo>
                <a:cubicBezTo>
                  <a:pt x="21278" y="11851"/>
                  <a:pt x="21600" y="11366"/>
                  <a:pt x="21600" y="10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85" name="Shape 2785"/>
          <p:cNvSpPr/>
          <p:nvPr/>
        </p:nvSpPr>
        <p:spPr>
          <a:xfrm>
            <a:off x="19940207" y="11462253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400"/>
                </a:moveTo>
                <a:cubicBezTo>
                  <a:pt x="14522" y="20400"/>
                  <a:pt x="12764" y="18251"/>
                  <a:pt x="12764" y="15600"/>
                </a:cubicBezTo>
                <a:cubicBezTo>
                  <a:pt x="12764" y="12949"/>
                  <a:pt x="14522" y="10800"/>
                  <a:pt x="16691" y="10800"/>
                </a:cubicBezTo>
                <a:cubicBezTo>
                  <a:pt x="18860" y="10800"/>
                  <a:pt x="20618" y="12949"/>
                  <a:pt x="20618" y="15600"/>
                </a:cubicBezTo>
                <a:cubicBezTo>
                  <a:pt x="20618" y="18251"/>
                  <a:pt x="18860" y="20400"/>
                  <a:pt x="16691" y="20400"/>
                </a:cubicBezTo>
                <a:moveTo>
                  <a:pt x="12762" y="3393"/>
                </a:moveTo>
                <a:lnTo>
                  <a:pt x="12781" y="3388"/>
                </a:lnTo>
                <a:cubicBezTo>
                  <a:pt x="12870" y="2164"/>
                  <a:pt x="13702" y="1200"/>
                  <a:pt x="14727" y="1200"/>
                </a:cubicBezTo>
                <a:cubicBezTo>
                  <a:pt x="15521" y="1200"/>
                  <a:pt x="16202" y="1779"/>
                  <a:pt x="16511" y="2609"/>
                </a:cubicBezTo>
                <a:lnTo>
                  <a:pt x="16509" y="2609"/>
                </a:lnTo>
                <a:lnTo>
                  <a:pt x="19162" y="10421"/>
                </a:lnTo>
                <a:cubicBezTo>
                  <a:pt x="18436" y="9902"/>
                  <a:pt x="17593" y="9600"/>
                  <a:pt x="16691" y="9600"/>
                </a:cubicBezTo>
                <a:cubicBezTo>
                  <a:pt x="15082" y="9600"/>
                  <a:pt x="13658" y="10550"/>
                  <a:pt x="12763" y="12012"/>
                </a:cubicBezTo>
                <a:cubicBezTo>
                  <a:pt x="12763" y="12012"/>
                  <a:pt x="12762" y="3393"/>
                  <a:pt x="12762" y="3393"/>
                </a:cubicBezTo>
                <a:close/>
                <a:moveTo>
                  <a:pt x="11782" y="13200"/>
                </a:moveTo>
                <a:lnTo>
                  <a:pt x="9818" y="13200"/>
                </a:lnTo>
                <a:lnTo>
                  <a:pt x="9818" y="4800"/>
                </a:lnTo>
                <a:lnTo>
                  <a:pt x="11782" y="4800"/>
                </a:lnTo>
                <a:cubicBezTo>
                  <a:pt x="11782" y="4800"/>
                  <a:pt x="11782" y="13200"/>
                  <a:pt x="11782" y="13200"/>
                </a:cubicBezTo>
                <a:close/>
                <a:moveTo>
                  <a:pt x="11782" y="15600"/>
                </a:moveTo>
                <a:lnTo>
                  <a:pt x="9818" y="156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15600"/>
                  <a:pt x="11782" y="15600"/>
                </a:cubicBezTo>
                <a:close/>
                <a:moveTo>
                  <a:pt x="8837" y="12012"/>
                </a:moveTo>
                <a:cubicBezTo>
                  <a:pt x="7942" y="10550"/>
                  <a:pt x="6518" y="9600"/>
                  <a:pt x="4909" y="9600"/>
                </a:cubicBezTo>
                <a:cubicBezTo>
                  <a:pt x="4007" y="9600"/>
                  <a:pt x="3164" y="9902"/>
                  <a:pt x="2438" y="10421"/>
                </a:cubicBezTo>
                <a:lnTo>
                  <a:pt x="5091" y="2609"/>
                </a:lnTo>
                <a:lnTo>
                  <a:pt x="5089" y="2609"/>
                </a:lnTo>
                <a:cubicBezTo>
                  <a:pt x="5398" y="1779"/>
                  <a:pt x="6079" y="1200"/>
                  <a:pt x="6873" y="1200"/>
                </a:cubicBezTo>
                <a:cubicBezTo>
                  <a:pt x="7898" y="1200"/>
                  <a:pt x="8730" y="2164"/>
                  <a:pt x="8819" y="3388"/>
                </a:cubicBezTo>
                <a:lnTo>
                  <a:pt x="8838" y="3393"/>
                </a:lnTo>
                <a:cubicBezTo>
                  <a:pt x="8838" y="3393"/>
                  <a:pt x="8837" y="12012"/>
                  <a:pt x="8837" y="12012"/>
                </a:cubicBezTo>
                <a:close/>
                <a:moveTo>
                  <a:pt x="4909" y="20400"/>
                </a:moveTo>
                <a:cubicBezTo>
                  <a:pt x="2740" y="20400"/>
                  <a:pt x="982" y="18251"/>
                  <a:pt x="982" y="15600"/>
                </a:cubicBezTo>
                <a:cubicBezTo>
                  <a:pt x="982" y="12949"/>
                  <a:pt x="2740" y="10800"/>
                  <a:pt x="4909" y="10800"/>
                </a:cubicBezTo>
                <a:cubicBezTo>
                  <a:pt x="7078" y="10800"/>
                  <a:pt x="8836" y="12949"/>
                  <a:pt x="8836" y="15600"/>
                </a:cubicBezTo>
                <a:cubicBezTo>
                  <a:pt x="8836" y="18251"/>
                  <a:pt x="7078" y="20400"/>
                  <a:pt x="4909" y="20400"/>
                </a:cubicBezTo>
                <a:moveTo>
                  <a:pt x="21102" y="12980"/>
                </a:moveTo>
                <a:lnTo>
                  <a:pt x="17504" y="2400"/>
                </a:lnTo>
                <a:lnTo>
                  <a:pt x="17493" y="2402"/>
                </a:lnTo>
                <a:cubicBezTo>
                  <a:pt x="17088" y="1006"/>
                  <a:pt x="16009" y="0"/>
                  <a:pt x="14727" y="0"/>
                </a:cubicBezTo>
                <a:cubicBezTo>
                  <a:pt x="13101" y="0"/>
                  <a:pt x="11782" y="1612"/>
                  <a:pt x="11782" y="3600"/>
                </a:cubicBezTo>
                <a:lnTo>
                  <a:pt x="9818" y="3600"/>
                </a:lnTo>
                <a:cubicBezTo>
                  <a:pt x="9818" y="1612"/>
                  <a:pt x="8499" y="0"/>
                  <a:pt x="6873" y="0"/>
                </a:cubicBezTo>
                <a:cubicBezTo>
                  <a:pt x="5592" y="0"/>
                  <a:pt x="4512" y="1006"/>
                  <a:pt x="4107" y="2402"/>
                </a:cubicBezTo>
                <a:lnTo>
                  <a:pt x="4096" y="2400"/>
                </a:lnTo>
                <a:lnTo>
                  <a:pt x="498" y="12980"/>
                </a:lnTo>
                <a:cubicBezTo>
                  <a:pt x="182" y="13772"/>
                  <a:pt x="0" y="14659"/>
                  <a:pt x="0" y="15600"/>
                </a:cubicBezTo>
                <a:cubicBezTo>
                  <a:pt x="0" y="18914"/>
                  <a:pt x="2198" y="21600"/>
                  <a:pt x="4909" y="21600"/>
                </a:cubicBezTo>
                <a:cubicBezTo>
                  <a:pt x="7284" y="21600"/>
                  <a:pt x="9265" y="19539"/>
                  <a:pt x="9719" y="16800"/>
                </a:cubicBezTo>
                <a:lnTo>
                  <a:pt x="11881" y="16800"/>
                </a:lnTo>
                <a:cubicBezTo>
                  <a:pt x="12335" y="19539"/>
                  <a:pt x="14316" y="21600"/>
                  <a:pt x="16691" y="21600"/>
                </a:cubicBezTo>
                <a:cubicBezTo>
                  <a:pt x="19402" y="21600"/>
                  <a:pt x="21600" y="18914"/>
                  <a:pt x="21600" y="15600"/>
                </a:cubicBezTo>
                <a:cubicBezTo>
                  <a:pt x="21600" y="14659"/>
                  <a:pt x="21418" y="13772"/>
                  <a:pt x="21102" y="12980"/>
                </a:cubicBezTo>
                <a:moveTo>
                  <a:pt x="16691" y="12000"/>
                </a:moveTo>
                <a:cubicBezTo>
                  <a:pt x="15064" y="12000"/>
                  <a:pt x="13745" y="13612"/>
                  <a:pt x="13745" y="15600"/>
                </a:cubicBezTo>
                <a:cubicBezTo>
                  <a:pt x="13745" y="15932"/>
                  <a:pt x="13965" y="16200"/>
                  <a:pt x="14236" y="16200"/>
                </a:cubicBezTo>
                <a:cubicBezTo>
                  <a:pt x="14508" y="16200"/>
                  <a:pt x="14727" y="15932"/>
                  <a:pt x="14727" y="15600"/>
                </a:cubicBezTo>
                <a:cubicBezTo>
                  <a:pt x="14727" y="14275"/>
                  <a:pt x="15606" y="13200"/>
                  <a:pt x="16691" y="13200"/>
                </a:cubicBezTo>
                <a:cubicBezTo>
                  <a:pt x="16962" y="13200"/>
                  <a:pt x="17182" y="12932"/>
                  <a:pt x="17182" y="12600"/>
                </a:cubicBezTo>
                <a:cubicBezTo>
                  <a:pt x="17182" y="12268"/>
                  <a:pt x="16962" y="12000"/>
                  <a:pt x="16691" y="12000"/>
                </a:cubicBezTo>
                <a:moveTo>
                  <a:pt x="4909" y="12000"/>
                </a:moveTo>
                <a:cubicBezTo>
                  <a:pt x="3282" y="12000"/>
                  <a:pt x="1964" y="13612"/>
                  <a:pt x="1964" y="15600"/>
                </a:cubicBezTo>
                <a:cubicBezTo>
                  <a:pt x="1964" y="15932"/>
                  <a:pt x="2183" y="16200"/>
                  <a:pt x="2455" y="16200"/>
                </a:cubicBezTo>
                <a:cubicBezTo>
                  <a:pt x="2726" y="16200"/>
                  <a:pt x="2945" y="15932"/>
                  <a:pt x="2945" y="15600"/>
                </a:cubicBezTo>
                <a:cubicBezTo>
                  <a:pt x="2945" y="14275"/>
                  <a:pt x="3825" y="13200"/>
                  <a:pt x="4909" y="13200"/>
                </a:cubicBezTo>
                <a:cubicBezTo>
                  <a:pt x="5180" y="13200"/>
                  <a:pt x="5400" y="12932"/>
                  <a:pt x="5400" y="12600"/>
                </a:cubicBezTo>
                <a:cubicBezTo>
                  <a:pt x="5400" y="12268"/>
                  <a:pt x="5180" y="12000"/>
                  <a:pt x="4909" y="120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86" name="Shape 2786"/>
          <p:cNvSpPr/>
          <p:nvPr/>
        </p:nvSpPr>
        <p:spPr>
          <a:xfrm>
            <a:off x="21006729" y="11436861"/>
            <a:ext cx="558253" cy="5078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79" h="20458" extrusionOk="0">
                <a:moveTo>
                  <a:pt x="8629" y="9718"/>
                </a:moveTo>
                <a:cubicBezTo>
                  <a:pt x="8364" y="9718"/>
                  <a:pt x="8150" y="9946"/>
                  <a:pt x="8150" y="10229"/>
                </a:cubicBezTo>
                <a:cubicBezTo>
                  <a:pt x="8150" y="10512"/>
                  <a:pt x="8364" y="10740"/>
                  <a:pt x="8629" y="10740"/>
                </a:cubicBezTo>
                <a:cubicBezTo>
                  <a:pt x="8894" y="10740"/>
                  <a:pt x="9109" y="10512"/>
                  <a:pt x="9109" y="10229"/>
                </a:cubicBezTo>
                <a:cubicBezTo>
                  <a:pt x="9109" y="9946"/>
                  <a:pt x="8894" y="9718"/>
                  <a:pt x="8629" y="9718"/>
                </a:cubicBezTo>
                <a:moveTo>
                  <a:pt x="19841" y="17227"/>
                </a:moveTo>
                <a:cubicBezTo>
                  <a:pt x="18962" y="17974"/>
                  <a:pt x="18122" y="17900"/>
                  <a:pt x="18122" y="17900"/>
                </a:cubicBezTo>
                <a:cubicBezTo>
                  <a:pt x="17681" y="17900"/>
                  <a:pt x="16277" y="16919"/>
                  <a:pt x="9448" y="11852"/>
                </a:cubicBezTo>
                <a:lnTo>
                  <a:pt x="10866" y="10844"/>
                </a:lnTo>
                <a:cubicBezTo>
                  <a:pt x="10866" y="10844"/>
                  <a:pt x="19841" y="17227"/>
                  <a:pt x="19841" y="17227"/>
                </a:cubicBezTo>
                <a:close/>
                <a:moveTo>
                  <a:pt x="6661" y="12605"/>
                </a:moveTo>
                <a:cubicBezTo>
                  <a:pt x="6010" y="12349"/>
                  <a:pt x="5264" y="12239"/>
                  <a:pt x="4521" y="12267"/>
                </a:cubicBezTo>
                <a:cubicBezTo>
                  <a:pt x="15686" y="3965"/>
                  <a:pt x="17591" y="2558"/>
                  <a:pt x="18122" y="2558"/>
                </a:cubicBezTo>
                <a:cubicBezTo>
                  <a:pt x="18122" y="2558"/>
                  <a:pt x="18962" y="2484"/>
                  <a:pt x="19841" y="3231"/>
                </a:cubicBezTo>
                <a:cubicBezTo>
                  <a:pt x="19841" y="3231"/>
                  <a:pt x="6661" y="12605"/>
                  <a:pt x="6661" y="12605"/>
                </a:cubicBezTo>
                <a:close/>
                <a:moveTo>
                  <a:pt x="5586" y="19031"/>
                </a:moveTo>
                <a:cubicBezTo>
                  <a:pt x="4111" y="19863"/>
                  <a:pt x="2224" y="19369"/>
                  <a:pt x="1372" y="17927"/>
                </a:cubicBezTo>
                <a:cubicBezTo>
                  <a:pt x="520" y="16485"/>
                  <a:pt x="1026" y="14640"/>
                  <a:pt x="2501" y="13808"/>
                </a:cubicBezTo>
                <a:cubicBezTo>
                  <a:pt x="3977" y="12975"/>
                  <a:pt x="6532" y="13092"/>
                  <a:pt x="7383" y="14534"/>
                </a:cubicBezTo>
                <a:cubicBezTo>
                  <a:pt x="8235" y="15977"/>
                  <a:pt x="7062" y="18198"/>
                  <a:pt x="5586" y="19031"/>
                </a:cubicBezTo>
                <a:moveTo>
                  <a:pt x="4521" y="8191"/>
                </a:moveTo>
                <a:cubicBezTo>
                  <a:pt x="5264" y="8219"/>
                  <a:pt x="6010" y="8109"/>
                  <a:pt x="6661" y="7853"/>
                </a:cubicBezTo>
                <a:lnTo>
                  <a:pt x="7765" y="8638"/>
                </a:lnTo>
                <a:cubicBezTo>
                  <a:pt x="7345" y="8950"/>
                  <a:pt x="6901" y="9281"/>
                  <a:pt x="6443" y="9621"/>
                </a:cubicBezTo>
                <a:cubicBezTo>
                  <a:pt x="5833" y="9167"/>
                  <a:pt x="5200" y="8696"/>
                  <a:pt x="4521" y="8191"/>
                </a:cubicBezTo>
                <a:moveTo>
                  <a:pt x="2501" y="6650"/>
                </a:moveTo>
                <a:cubicBezTo>
                  <a:pt x="1026" y="5818"/>
                  <a:pt x="520" y="3973"/>
                  <a:pt x="1372" y="2531"/>
                </a:cubicBezTo>
                <a:cubicBezTo>
                  <a:pt x="2224" y="1089"/>
                  <a:pt x="4111" y="595"/>
                  <a:pt x="5586" y="1427"/>
                </a:cubicBezTo>
                <a:cubicBezTo>
                  <a:pt x="7062" y="2260"/>
                  <a:pt x="8235" y="4481"/>
                  <a:pt x="7383" y="5924"/>
                </a:cubicBezTo>
                <a:cubicBezTo>
                  <a:pt x="6532" y="7366"/>
                  <a:pt x="3977" y="7483"/>
                  <a:pt x="2501" y="6650"/>
                </a:cubicBezTo>
                <a:moveTo>
                  <a:pt x="21079" y="3580"/>
                </a:moveTo>
                <a:cubicBezTo>
                  <a:pt x="21079" y="2451"/>
                  <a:pt x="19262" y="1535"/>
                  <a:pt x="18203" y="1535"/>
                </a:cubicBezTo>
                <a:lnTo>
                  <a:pt x="18122" y="1535"/>
                </a:lnTo>
                <a:cubicBezTo>
                  <a:pt x="17404" y="1535"/>
                  <a:pt x="17139" y="1673"/>
                  <a:pt x="8610" y="8009"/>
                </a:cubicBezTo>
                <a:lnTo>
                  <a:pt x="7613" y="7300"/>
                </a:lnTo>
                <a:cubicBezTo>
                  <a:pt x="7876" y="7084"/>
                  <a:pt x="8104" y="6833"/>
                  <a:pt x="8275" y="6534"/>
                </a:cubicBezTo>
                <a:cubicBezTo>
                  <a:pt x="9372" y="4611"/>
                  <a:pt x="7861" y="1650"/>
                  <a:pt x="5960" y="539"/>
                </a:cubicBezTo>
                <a:cubicBezTo>
                  <a:pt x="4060" y="-571"/>
                  <a:pt x="1629" y="88"/>
                  <a:pt x="532" y="2011"/>
                </a:cubicBezTo>
                <a:cubicBezTo>
                  <a:pt x="-521" y="3857"/>
                  <a:pt x="41" y="6194"/>
                  <a:pt x="1769" y="7361"/>
                </a:cubicBezTo>
                <a:cubicBezTo>
                  <a:pt x="3185" y="8414"/>
                  <a:pt x="4458" y="9360"/>
                  <a:pt x="5626" y="10229"/>
                </a:cubicBezTo>
                <a:cubicBezTo>
                  <a:pt x="4461" y="11096"/>
                  <a:pt x="3178" y="12049"/>
                  <a:pt x="1769" y="13097"/>
                </a:cubicBezTo>
                <a:cubicBezTo>
                  <a:pt x="40" y="14264"/>
                  <a:pt x="-521" y="16601"/>
                  <a:pt x="532" y="18447"/>
                </a:cubicBezTo>
                <a:cubicBezTo>
                  <a:pt x="1629" y="20371"/>
                  <a:pt x="4060" y="21029"/>
                  <a:pt x="5960" y="19919"/>
                </a:cubicBezTo>
                <a:cubicBezTo>
                  <a:pt x="7861" y="18808"/>
                  <a:pt x="9372" y="15847"/>
                  <a:pt x="8275" y="13924"/>
                </a:cubicBezTo>
                <a:cubicBezTo>
                  <a:pt x="8104" y="13625"/>
                  <a:pt x="7876" y="13374"/>
                  <a:pt x="7613" y="13158"/>
                </a:cubicBezTo>
                <a:lnTo>
                  <a:pt x="8610" y="12449"/>
                </a:lnTo>
                <a:cubicBezTo>
                  <a:pt x="17134" y="18781"/>
                  <a:pt x="17404" y="18923"/>
                  <a:pt x="18122" y="18923"/>
                </a:cubicBezTo>
                <a:lnTo>
                  <a:pt x="18203" y="18923"/>
                </a:lnTo>
                <a:cubicBezTo>
                  <a:pt x="19262" y="18923"/>
                  <a:pt x="21079" y="18007"/>
                  <a:pt x="21079" y="16878"/>
                </a:cubicBezTo>
                <a:lnTo>
                  <a:pt x="11731" y="10229"/>
                </a:lnTo>
                <a:cubicBezTo>
                  <a:pt x="11731" y="10229"/>
                  <a:pt x="21079" y="3580"/>
                  <a:pt x="21079" y="3580"/>
                </a:cubicBezTo>
                <a:close/>
                <a:moveTo>
                  <a:pt x="4639" y="16789"/>
                </a:moveTo>
                <a:cubicBezTo>
                  <a:pt x="4496" y="16859"/>
                  <a:pt x="4332" y="16897"/>
                  <a:pt x="4162" y="16897"/>
                </a:cubicBezTo>
                <a:cubicBezTo>
                  <a:pt x="3846" y="16897"/>
                  <a:pt x="3544" y="16764"/>
                  <a:pt x="3411" y="16567"/>
                </a:cubicBezTo>
                <a:cubicBezTo>
                  <a:pt x="3347" y="16471"/>
                  <a:pt x="3351" y="16406"/>
                  <a:pt x="3362" y="16361"/>
                </a:cubicBezTo>
                <a:cubicBezTo>
                  <a:pt x="3392" y="16240"/>
                  <a:pt x="3511" y="16117"/>
                  <a:pt x="3682" y="16034"/>
                </a:cubicBezTo>
                <a:cubicBezTo>
                  <a:pt x="3891" y="15930"/>
                  <a:pt x="4198" y="15869"/>
                  <a:pt x="4503" y="15869"/>
                </a:cubicBezTo>
                <a:cubicBezTo>
                  <a:pt x="4935" y="15869"/>
                  <a:pt x="5194" y="15988"/>
                  <a:pt x="5273" y="16050"/>
                </a:cubicBezTo>
                <a:cubicBezTo>
                  <a:pt x="5252" y="16207"/>
                  <a:pt x="5019" y="16601"/>
                  <a:pt x="4639" y="16789"/>
                </a:cubicBezTo>
                <a:moveTo>
                  <a:pt x="4503" y="14845"/>
                </a:moveTo>
                <a:cubicBezTo>
                  <a:pt x="4065" y="14845"/>
                  <a:pt x="3621" y="14936"/>
                  <a:pt x="3279" y="15105"/>
                </a:cubicBezTo>
                <a:cubicBezTo>
                  <a:pt x="2435" y="15522"/>
                  <a:pt x="2147" y="16443"/>
                  <a:pt x="2633" y="17165"/>
                </a:cubicBezTo>
                <a:cubicBezTo>
                  <a:pt x="2960" y="17649"/>
                  <a:pt x="3553" y="17919"/>
                  <a:pt x="4162" y="17919"/>
                </a:cubicBezTo>
                <a:cubicBezTo>
                  <a:pt x="4461" y="17919"/>
                  <a:pt x="4764" y="17854"/>
                  <a:pt x="5041" y="17717"/>
                </a:cubicBezTo>
                <a:cubicBezTo>
                  <a:pt x="5885" y="17300"/>
                  <a:pt x="6555" y="16190"/>
                  <a:pt x="6069" y="15469"/>
                </a:cubicBezTo>
                <a:cubicBezTo>
                  <a:pt x="5779" y="15040"/>
                  <a:pt x="5146" y="14845"/>
                  <a:pt x="4503" y="14845"/>
                </a:cubicBezTo>
                <a:moveTo>
                  <a:pt x="4503" y="4590"/>
                </a:moveTo>
                <a:cubicBezTo>
                  <a:pt x="4198" y="4590"/>
                  <a:pt x="3891" y="4528"/>
                  <a:pt x="3682" y="4425"/>
                </a:cubicBezTo>
                <a:cubicBezTo>
                  <a:pt x="3511" y="4341"/>
                  <a:pt x="3392" y="4219"/>
                  <a:pt x="3362" y="4098"/>
                </a:cubicBezTo>
                <a:cubicBezTo>
                  <a:pt x="3351" y="4052"/>
                  <a:pt x="3347" y="3987"/>
                  <a:pt x="3411" y="3891"/>
                </a:cubicBezTo>
                <a:cubicBezTo>
                  <a:pt x="3544" y="3694"/>
                  <a:pt x="3846" y="3561"/>
                  <a:pt x="4162" y="3561"/>
                </a:cubicBezTo>
                <a:cubicBezTo>
                  <a:pt x="4332" y="3561"/>
                  <a:pt x="4496" y="3599"/>
                  <a:pt x="4639" y="3669"/>
                </a:cubicBezTo>
                <a:cubicBezTo>
                  <a:pt x="5019" y="3857"/>
                  <a:pt x="5252" y="4252"/>
                  <a:pt x="5273" y="4408"/>
                </a:cubicBezTo>
                <a:cubicBezTo>
                  <a:pt x="5194" y="4470"/>
                  <a:pt x="4935" y="4590"/>
                  <a:pt x="4503" y="4590"/>
                </a:cubicBezTo>
                <a:moveTo>
                  <a:pt x="5041" y="2741"/>
                </a:moveTo>
                <a:cubicBezTo>
                  <a:pt x="4764" y="2604"/>
                  <a:pt x="4461" y="2539"/>
                  <a:pt x="4162" y="2539"/>
                </a:cubicBezTo>
                <a:cubicBezTo>
                  <a:pt x="3553" y="2539"/>
                  <a:pt x="2960" y="2809"/>
                  <a:pt x="2633" y="3294"/>
                </a:cubicBezTo>
                <a:cubicBezTo>
                  <a:pt x="2147" y="4015"/>
                  <a:pt x="2435" y="4937"/>
                  <a:pt x="3279" y="5353"/>
                </a:cubicBezTo>
                <a:cubicBezTo>
                  <a:pt x="3621" y="5522"/>
                  <a:pt x="4065" y="5613"/>
                  <a:pt x="4503" y="5613"/>
                </a:cubicBezTo>
                <a:cubicBezTo>
                  <a:pt x="5146" y="5613"/>
                  <a:pt x="5779" y="5418"/>
                  <a:pt x="6069" y="4990"/>
                </a:cubicBezTo>
                <a:cubicBezTo>
                  <a:pt x="6555" y="4268"/>
                  <a:pt x="5885" y="3158"/>
                  <a:pt x="5041" y="274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87" name="Shape 2787"/>
          <p:cNvSpPr/>
          <p:nvPr/>
        </p:nvSpPr>
        <p:spPr>
          <a:xfrm>
            <a:off x="22073251" y="11411467"/>
            <a:ext cx="558309" cy="5586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86" h="21600" extrusionOk="0">
                <a:moveTo>
                  <a:pt x="11502" y="10309"/>
                </a:moveTo>
                <a:cubicBezTo>
                  <a:pt x="11767" y="10309"/>
                  <a:pt x="11981" y="10090"/>
                  <a:pt x="11981" y="9818"/>
                </a:cubicBezTo>
                <a:cubicBezTo>
                  <a:pt x="11981" y="9547"/>
                  <a:pt x="11767" y="9327"/>
                  <a:pt x="11502" y="9327"/>
                </a:cubicBezTo>
                <a:cubicBezTo>
                  <a:pt x="11237" y="9327"/>
                  <a:pt x="11022" y="9547"/>
                  <a:pt x="11022" y="9818"/>
                </a:cubicBezTo>
                <a:cubicBezTo>
                  <a:pt x="11022" y="10090"/>
                  <a:pt x="11237" y="10309"/>
                  <a:pt x="11502" y="10309"/>
                </a:cubicBezTo>
                <a:moveTo>
                  <a:pt x="15818" y="4909"/>
                </a:moveTo>
                <a:cubicBezTo>
                  <a:pt x="16083" y="4909"/>
                  <a:pt x="16297" y="5129"/>
                  <a:pt x="16297" y="5400"/>
                </a:cubicBezTo>
                <a:cubicBezTo>
                  <a:pt x="16297" y="5672"/>
                  <a:pt x="16083" y="5891"/>
                  <a:pt x="15818" y="5891"/>
                </a:cubicBezTo>
                <a:cubicBezTo>
                  <a:pt x="15553" y="5891"/>
                  <a:pt x="15338" y="5672"/>
                  <a:pt x="15338" y="5400"/>
                </a:cubicBezTo>
                <a:cubicBezTo>
                  <a:pt x="15338" y="5129"/>
                  <a:pt x="15553" y="4909"/>
                  <a:pt x="15818" y="4909"/>
                </a:cubicBezTo>
                <a:moveTo>
                  <a:pt x="15818" y="6873"/>
                </a:moveTo>
                <a:cubicBezTo>
                  <a:pt x="16612" y="6873"/>
                  <a:pt x="17256" y="6213"/>
                  <a:pt x="17256" y="5400"/>
                </a:cubicBezTo>
                <a:cubicBezTo>
                  <a:pt x="17256" y="4587"/>
                  <a:pt x="16612" y="3928"/>
                  <a:pt x="15818" y="3928"/>
                </a:cubicBezTo>
                <a:cubicBezTo>
                  <a:pt x="15023" y="3928"/>
                  <a:pt x="14379" y="4587"/>
                  <a:pt x="14379" y="5400"/>
                </a:cubicBezTo>
                <a:cubicBezTo>
                  <a:pt x="14379" y="6213"/>
                  <a:pt x="15023" y="6873"/>
                  <a:pt x="15818" y="6873"/>
                </a:cubicBezTo>
                <a:moveTo>
                  <a:pt x="12941" y="11782"/>
                </a:moveTo>
                <a:cubicBezTo>
                  <a:pt x="13206" y="11782"/>
                  <a:pt x="13420" y="11562"/>
                  <a:pt x="13420" y="11291"/>
                </a:cubicBezTo>
                <a:cubicBezTo>
                  <a:pt x="13420" y="11020"/>
                  <a:pt x="13206" y="10800"/>
                  <a:pt x="12941" y="10800"/>
                </a:cubicBezTo>
                <a:cubicBezTo>
                  <a:pt x="12675" y="10800"/>
                  <a:pt x="12461" y="11020"/>
                  <a:pt x="12461" y="11291"/>
                </a:cubicBezTo>
                <a:cubicBezTo>
                  <a:pt x="12461" y="11562"/>
                  <a:pt x="12675" y="11782"/>
                  <a:pt x="12941" y="11782"/>
                </a:cubicBezTo>
                <a:moveTo>
                  <a:pt x="10063" y="7855"/>
                </a:moveTo>
                <a:cubicBezTo>
                  <a:pt x="9798" y="7855"/>
                  <a:pt x="9584" y="8074"/>
                  <a:pt x="9584" y="8346"/>
                </a:cubicBezTo>
                <a:cubicBezTo>
                  <a:pt x="9584" y="8617"/>
                  <a:pt x="9798" y="8836"/>
                  <a:pt x="10063" y="8836"/>
                </a:cubicBezTo>
                <a:cubicBezTo>
                  <a:pt x="10328" y="8836"/>
                  <a:pt x="10543" y="8617"/>
                  <a:pt x="10543" y="8346"/>
                </a:cubicBezTo>
                <a:cubicBezTo>
                  <a:pt x="10543" y="8074"/>
                  <a:pt x="10328" y="7855"/>
                  <a:pt x="10063" y="7855"/>
                </a:cubicBezTo>
                <a:moveTo>
                  <a:pt x="1718" y="19842"/>
                </a:moveTo>
                <a:lnTo>
                  <a:pt x="3451" y="15392"/>
                </a:lnTo>
                <a:cubicBezTo>
                  <a:pt x="3684" y="15834"/>
                  <a:pt x="3973" y="16253"/>
                  <a:pt x="4312" y="16642"/>
                </a:cubicBezTo>
                <a:cubicBezTo>
                  <a:pt x="4824" y="17230"/>
                  <a:pt x="5418" y="17711"/>
                  <a:pt x="6061" y="18068"/>
                </a:cubicBezTo>
                <a:cubicBezTo>
                  <a:pt x="6061" y="18068"/>
                  <a:pt x="1718" y="19842"/>
                  <a:pt x="1718" y="19842"/>
                </a:cubicBezTo>
                <a:close/>
                <a:moveTo>
                  <a:pt x="3717" y="12060"/>
                </a:moveTo>
                <a:lnTo>
                  <a:pt x="0" y="21600"/>
                </a:lnTo>
                <a:lnTo>
                  <a:pt x="9319" y="17795"/>
                </a:lnTo>
                <a:cubicBezTo>
                  <a:pt x="9153" y="17815"/>
                  <a:pt x="8987" y="17824"/>
                  <a:pt x="8822" y="17824"/>
                </a:cubicBezTo>
                <a:cubicBezTo>
                  <a:pt x="5971" y="17824"/>
                  <a:pt x="3389" y="15002"/>
                  <a:pt x="3717" y="12060"/>
                </a:cubicBezTo>
                <a:moveTo>
                  <a:pt x="16115" y="10657"/>
                </a:moveTo>
                <a:cubicBezTo>
                  <a:pt x="15925" y="10851"/>
                  <a:pt x="15627" y="11171"/>
                  <a:pt x="15280" y="11542"/>
                </a:cubicBezTo>
                <a:cubicBezTo>
                  <a:pt x="14662" y="12204"/>
                  <a:pt x="13712" y="13221"/>
                  <a:pt x="13147" y="13753"/>
                </a:cubicBezTo>
                <a:lnTo>
                  <a:pt x="7665" y="8141"/>
                </a:lnTo>
                <a:cubicBezTo>
                  <a:pt x="8185" y="7563"/>
                  <a:pt x="9179" y="6590"/>
                  <a:pt x="9825" y="5958"/>
                </a:cubicBezTo>
                <a:cubicBezTo>
                  <a:pt x="10188" y="5603"/>
                  <a:pt x="10500" y="5298"/>
                  <a:pt x="10690" y="5103"/>
                </a:cubicBezTo>
                <a:cubicBezTo>
                  <a:pt x="13284" y="2447"/>
                  <a:pt x="18271" y="993"/>
                  <a:pt x="20136" y="982"/>
                </a:cubicBezTo>
                <a:cubicBezTo>
                  <a:pt x="20132" y="2572"/>
                  <a:pt x="18824" y="7884"/>
                  <a:pt x="16115" y="10657"/>
                </a:cubicBezTo>
                <a:moveTo>
                  <a:pt x="12477" y="14563"/>
                </a:moveTo>
                <a:cubicBezTo>
                  <a:pt x="12127" y="15873"/>
                  <a:pt x="11665" y="17072"/>
                  <a:pt x="11154" y="18035"/>
                </a:cubicBezTo>
                <a:cubicBezTo>
                  <a:pt x="10943" y="17454"/>
                  <a:pt x="10642" y="16798"/>
                  <a:pt x="10214" y="16110"/>
                </a:cubicBezTo>
                <a:cubicBezTo>
                  <a:pt x="10035" y="15823"/>
                  <a:pt x="9728" y="15656"/>
                  <a:pt x="9405" y="15656"/>
                </a:cubicBezTo>
                <a:cubicBezTo>
                  <a:pt x="9329" y="15656"/>
                  <a:pt x="9252" y="15665"/>
                  <a:pt x="9176" y="15684"/>
                </a:cubicBezTo>
                <a:cubicBezTo>
                  <a:pt x="8990" y="15731"/>
                  <a:pt x="8799" y="15755"/>
                  <a:pt x="8610" y="15755"/>
                </a:cubicBezTo>
                <a:cubicBezTo>
                  <a:pt x="7905" y="15755"/>
                  <a:pt x="7217" y="15432"/>
                  <a:pt x="6621" y="14822"/>
                </a:cubicBezTo>
                <a:cubicBezTo>
                  <a:pt x="5861" y="14044"/>
                  <a:pt x="5561" y="13114"/>
                  <a:pt x="5779" y="12206"/>
                </a:cubicBezTo>
                <a:cubicBezTo>
                  <a:pt x="5877" y="11797"/>
                  <a:pt x="5709" y="11370"/>
                  <a:pt x="5363" y="11144"/>
                </a:cubicBezTo>
                <a:cubicBezTo>
                  <a:pt x="4690" y="10706"/>
                  <a:pt x="4050" y="10398"/>
                  <a:pt x="3482" y="10183"/>
                </a:cubicBezTo>
                <a:cubicBezTo>
                  <a:pt x="4423" y="9658"/>
                  <a:pt x="5594" y="9186"/>
                  <a:pt x="6874" y="8827"/>
                </a:cubicBezTo>
                <a:cubicBezTo>
                  <a:pt x="6900" y="8820"/>
                  <a:pt x="6921" y="8803"/>
                  <a:pt x="6946" y="8793"/>
                </a:cubicBezTo>
                <a:lnTo>
                  <a:pt x="12510" y="14490"/>
                </a:lnTo>
                <a:cubicBezTo>
                  <a:pt x="12501" y="14515"/>
                  <a:pt x="12484" y="14536"/>
                  <a:pt x="12477" y="14563"/>
                </a:cubicBezTo>
                <a:moveTo>
                  <a:pt x="20922" y="167"/>
                </a:moveTo>
                <a:cubicBezTo>
                  <a:pt x="20813" y="55"/>
                  <a:pt x="20545" y="0"/>
                  <a:pt x="20157" y="0"/>
                </a:cubicBezTo>
                <a:cubicBezTo>
                  <a:pt x="18131" y="0"/>
                  <a:pt x="12842" y="1511"/>
                  <a:pt x="10012" y="4409"/>
                </a:cubicBezTo>
                <a:cubicBezTo>
                  <a:pt x="9345" y="5092"/>
                  <a:pt x="7134" y="7175"/>
                  <a:pt x="6621" y="7880"/>
                </a:cubicBezTo>
                <a:cubicBezTo>
                  <a:pt x="4961" y="8346"/>
                  <a:pt x="2544" y="9277"/>
                  <a:pt x="1196" y="10657"/>
                </a:cubicBezTo>
                <a:cubicBezTo>
                  <a:pt x="1196" y="10657"/>
                  <a:pt x="2841" y="10663"/>
                  <a:pt x="4848" y="11972"/>
                </a:cubicBezTo>
                <a:cubicBezTo>
                  <a:pt x="4556" y="13190"/>
                  <a:pt x="4926" y="14475"/>
                  <a:pt x="5943" y="15516"/>
                </a:cubicBezTo>
                <a:cubicBezTo>
                  <a:pt x="6735" y="16327"/>
                  <a:pt x="7672" y="16737"/>
                  <a:pt x="8610" y="16737"/>
                </a:cubicBezTo>
                <a:cubicBezTo>
                  <a:pt x="8876" y="16737"/>
                  <a:pt x="9142" y="16704"/>
                  <a:pt x="9405" y="16637"/>
                </a:cubicBezTo>
                <a:cubicBezTo>
                  <a:pt x="10683" y="18692"/>
                  <a:pt x="10690" y="20376"/>
                  <a:pt x="10690" y="20376"/>
                </a:cubicBezTo>
                <a:cubicBezTo>
                  <a:pt x="12038" y="18996"/>
                  <a:pt x="12948" y="16521"/>
                  <a:pt x="13402" y="14822"/>
                </a:cubicBezTo>
                <a:cubicBezTo>
                  <a:pt x="14091" y="14297"/>
                  <a:pt x="16126" y="12034"/>
                  <a:pt x="16793" y="11351"/>
                </a:cubicBezTo>
                <a:cubicBezTo>
                  <a:pt x="20164" y="7900"/>
                  <a:pt x="21600" y="861"/>
                  <a:pt x="20922" y="16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55" name="Shape 2707"/>
          <p:cNvSpPr/>
          <p:nvPr/>
        </p:nvSpPr>
        <p:spPr>
          <a:xfrm>
            <a:off x="11226486" y="1750431"/>
            <a:ext cx="1981548" cy="6309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8090" tIns="38090" rIns="38090" bIns="38090" anchor="ctr">
            <a:spAutoFit/>
          </a:bodyPr>
          <a:lstStyle>
            <a:lvl1pPr algn="l">
              <a:defRPr sz="3000" b="1" cap="none" spc="-90">
                <a:solidFill>
                  <a:srgbClr val="1C1D21"/>
                </a:solidFill>
                <a:latin typeface="+mj-lt"/>
                <a:ea typeface="+mj-ea"/>
                <a:cs typeface="+mj-cs"/>
                <a:sym typeface="Karla"/>
              </a:defRPr>
            </a:lvl1pPr>
          </a:lstStyle>
          <a:p>
            <a:pPr algn="ctr"/>
            <a:r>
              <a:rPr lang="en-US" sz="3600" b="0" dirty="0">
                <a:solidFill>
                  <a:schemeClr val="tx1"/>
                </a:solidFill>
                <a:latin typeface="Calibri" panose="020F0502020204030204" pitchFamily="34" charset="0"/>
                <a:ea typeface="Avenir Book" charset="0"/>
                <a:cs typeface="Calibri" panose="020F0502020204030204" pitchFamily="34" charset="0"/>
              </a:rPr>
              <a:t>Electronics</a:t>
            </a:r>
          </a:p>
        </p:txBody>
      </p:sp>
      <p:sp>
        <p:nvSpPr>
          <p:cNvPr id="157" name="Shape 2707"/>
          <p:cNvSpPr/>
          <p:nvPr/>
        </p:nvSpPr>
        <p:spPr>
          <a:xfrm>
            <a:off x="10915310" y="7125143"/>
            <a:ext cx="2603898" cy="6309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8090" tIns="38090" rIns="38090" bIns="38090" anchor="ctr">
            <a:spAutoFit/>
          </a:bodyPr>
          <a:lstStyle>
            <a:lvl1pPr algn="l">
              <a:defRPr sz="3000" b="1" cap="none" spc="-90">
                <a:solidFill>
                  <a:srgbClr val="1C1D21"/>
                </a:solidFill>
                <a:latin typeface="+mj-lt"/>
                <a:ea typeface="+mj-ea"/>
                <a:cs typeface="+mj-cs"/>
                <a:sym typeface="Karla"/>
              </a:defRPr>
            </a:lvl1pPr>
          </a:lstStyle>
          <a:p>
            <a:pPr algn="ctr"/>
            <a:r>
              <a:rPr lang="en-US" sz="3600" b="0" dirty="0">
                <a:solidFill>
                  <a:schemeClr val="tx1"/>
                </a:solidFill>
                <a:latin typeface="Calibri" panose="020F0502020204030204" pitchFamily="34" charset="0"/>
                <a:ea typeface="Avenir Book" charset="0"/>
                <a:cs typeface="Calibri" panose="020F0502020204030204" pitchFamily="34" charset="0"/>
              </a:rPr>
              <a:t>Miscellaneous</a:t>
            </a:r>
          </a:p>
        </p:txBody>
      </p:sp>
    </p:spTree>
    <p:extLst>
      <p:ext uri="{BB962C8B-B14F-4D97-AF65-F5344CB8AC3E}">
        <p14:creationId xmlns:p14="http://schemas.microsoft.com/office/powerpoint/2010/main" val="990148561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0" name="Shape 2790"/>
          <p:cNvSpPr/>
          <p:nvPr/>
        </p:nvSpPr>
        <p:spPr>
          <a:xfrm>
            <a:off x="1758543" y="2929267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17550"/>
                </a:moveTo>
                <a:lnTo>
                  <a:pt x="10309" y="17550"/>
                </a:lnTo>
                <a:cubicBezTo>
                  <a:pt x="10580" y="17550"/>
                  <a:pt x="10800" y="17248"/>
                  <a:pt x="10800" y="16875"/>
                </a:cubicBezTo>
                <a:cubicBezTo>
                  <a:pt x="10800" y="16503"/>
                  <a:pt x="10580" y="16200"/>
                  <a:pt x="10309" y="16200"/>
                </a:cubicBezTo>
                <a:lnTo>
                  <a:pt x="3436" y="16200"/>
                </a:lnTo>
                <a:cubicBezTo>
                  <a:pt x="3166" y="16200"/>
                  <a:pt x="2945" y="16503"/>
                  <a:pt x="2945" y="16875"/>
                </a:cubicBezTo>
                <a:cubicBezTo>
                  <a:pt x="2945" y="17248"/>
                  <a:pt x="3166" y="17550"/>
                  <a:pt x="3436" y="17550"/>
                </a:cubicBezTo>
                <a:moveTo>
                  <a:pt x="3436" y="14850"/>
                </a:moveTo>
                <a:lnTo>
                  <a:pt x="12273" y="14850"/>
                </a:lnTo>
                <a:cubicBezTo>
                  <a:pt x="12544" y="14850"/>
                  <a:pt x="12764" y="14548"/>
                  <a:pt x="12764" y="14175"/>
                </a:cubicBezTo>
                <a:cubicBezTo>
                  <a:pt x="12764" y="13803"/>
                  <a:pt x="12544" y="13500"/>
                  <a:pt x="12273" y="13500"/>
                </a:cubicBezTo>
                <a:lnTo>
                  <a:pt x="3436" y="13500"/>
                </a:lnTo>
                <a:cubicBezTo>
                  <a:pt x="3166" y="13500"/>
                  <a:pt x="2945" y="13803"/>
                  <a:pt x="2945" y="14175"/>
                </a:cubicBezTo>
                <a:cubicBezTo>
                  <a:pt x="2945" y="14548"/>
                  <a:pt x="3166" y="14850"/>
                  <a:pt x="3436" y="14850"/>
                </a:cubicBezTo>
                <a:moveTo>
                  <a:pt x="20618" y="4050"/>
                </a:moveTo>
                <a:lnTo>
                  <a:pt x="982" y="40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4050"/>
                  <a:pt x="20618" y="4050"/>
                </a:cubicBezTo>
                <a:close/>
                <a:moveTo>
                  <a:pt x="20618" y="20250"/>
                </a:moveTo>
                <a:lnTo>
                  <a:pt x="982" y="20250"/>
                </a:lnTo>
                <a:lnTo>
                  <a:pt x="982" y="9450"/>
                </a:lnTo>
                <a:lnTo>
                  <a:pt x="20618" y="9450"/>
                </a:lnTo>
                <a:cubicBezTo>
                  <a:pt x="20618" y="94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16200" y="17550"/>
                </a:moveTo>
                <a:lnTo>
                  <a:pt x="18164" y="17550"/>
                </a:lnTo>
                <a:cubicBezTo>
                  <a:pt x="18434" y="17550"/>
                  <a:pt x="18655" y="17248"/>
                  <a:pt x="18655" y="16875"/>
                </a:cubicBezTo>
                <a:lnTo>
                  <a:pt x="18655" y="14175"/>
                </a:lnTo>
                <a:cubicBezTo>
                  <a:pt x="18655" y="13803"/>
                  <a:pt x="18434" y="13500"/>
                  <a:pt x="18164" y="13500"/>
                </a:cubicBezTo>
                <a:lnTo>
                  <a:pt x="16200" y="13500"/>
                </a:lnTo>
                <a:cubicBezTo>
                  <a:pt x="15929" y="13500"/>
                  <a:pt x="15709" y="13803"/>
                  <a:pt x="15709" y="14175"/>
                </a:cubicBezTo>
                <a:lnTo>
                  <a:pt x="15709" y="16875"/>
                </a:lnTo>
                <a:cubicBezTo>
                  <a:pt x="15709" y="17248"/>
                  <a:pt x="15929" y="17550"/>
                  <a:pt x="16200" y="1755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1" name="Shape 2791"/>
          <p:cNvSpPr/>
          <p:nvPr/>
        </p:nvSpPr>
        <p:spPr>
          <a:xfrm>
            <a:off x="2825064" y="2903872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538"/>
                  <a:pt x="3927" y="1200"/>
                </a:cubicBezTo>
                <a:lnTo>
                  <a:pt x="3927" y="3000"/>
                </a:lnTo>
                <a:cubicBezTo>
                  <a:pt x="3927" y="3332"/>
                  <a:pt x="4147" y="3600"/>
                  <a:pt x="4418" y="3600"/>
                </a:cubicBezTo>
                <a:cubicBezTo>
                  <a:pt x="4689" y="3600"/>
                  <a:pt x="4909" y="3332"/>
                  <a:pt x="4909" y="3000"/>
                </a:cubicBezTo>
                <a:lnTo>
                  <a:pt x="4909" y="1200"/>
                </a:lnTo>
                <a:lnTo>
                  <a:pt x="20618" y="1200"/>
                </a:lnTo>
                <a:lnTo>
                  <a:pt x="20618" y="15600"/>
                </a:lnTo>
                <a:lnTo>
                  <a:pt x="19145" y="15600"/>
                </a:lnTo>
                <a:cubicBezTo>
                  <a:pt x="18875" y="15600"/>
                  <a:pt x="18655" y="15869"/>
                  <a:pt x="18655" y="16200"/>
                </a:cubicBezTo>
                <a:cubicBezTo>
                  <a:pt x="18655" y="16532"/>
                  <a:pt x="18875" y="16800"/>
                  <a:pt x="19145" y="16800"/>
                </a:cubicBezTo>
                <a:lnTo>
                  <a:pt x="20618" y="16800"/>
                </a:lnTo>
                <a:cubicBezTo>
                  <a:pt x="21160" y="16800"/>
                  <a:pt x="21600" y="16262"/>
                  <a:pt x="21600" y="15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6691" y="8400"/>
                </a:moveTo>
                <a:lnTo>
                  <a:pt x="982" y="8400"/>
                </a:lnTo>
                <a:lnTo>
                  <a:pt x="982" y="6000"/>
                </a:lnTo>
                <a:lnTo>
                  <a:pt x="16691" y="6000"/>
                </a:lnTo>
                <a:cubicBezTo>
                  <a:pt x="16691" y="6000"/>
                  <a:pt x="16691" y="8400"/>
                  <a:pt x="16691" y="8400"/>
                </a:cubicBezTo>
                <a:close/>
                <a:moveTo>
                  <a:pt x="16691" y="20400"/>
                </a:moveTo>
                <a:lnTo>
                  <a:pt x="982" y="20400"/>
                </a:lnTo>
                <a:lnTo>
                  <a:pt x="982" y="12000"/>
                </a:lnTo>
                <a:lnTo>
                  <a:pt x="16691" y="12000"/>
                </a:lnTo>
                <a:cubicBezTo>
                  <a:pt x="16691" y="12000"/>
                  <a:pt x="16691" y="20400"/>
                  <a:pt x="16691" y="20400"/>
                </a:cubicBezTo>
                <a:close/>
                <a:moveTo>
                  <a:pt x="16691" y="4800"/>
                </a:moveTo>
                <a:lnTo>
                  <a:pt x="982" y="4800"/>
                </a:lnTo>
                <a:cubicBezTo>
                  <a:pt x="440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062"/>
                  <a:pt x="17673" y="20400"/>
                </a:cubicBezTo>
                <a:lnTo>
                  <a:pt x="17673" y="6000"/>
                </a:lnTo>
                <a:cubicBezTo>
                  <a:pt x="17673" y="5338"/>
                  <a:pt x="17233" y="4800"/>
                  <a:pt x="16691" y="4800"/>
                </a:cubicBezTo>
                <a:moveTo>
                  <a:pt x="3436" y="18000"/>
                </a:moveTo>
                <a:lnTo>
                  <a:pt x="7364" y="18000"/>
                </a:lnTo>
                <a:cubicBezTo>
                  <a:pt x="7634" y="18000"/>
                  <a:pt x="7855" y="17732"/>
                  <a:pt x="7855" y="17400"/>
                </a:cubicBezTo>
                <a:cubicBezTo>
                  <a:pt x="7855" y="17069"/>
                  <a:pt x="7634" y="16800"/>
                  <a:pt x="7364" y="16800"/>
                </a:cubicBezTo>
                <a:lnTo>
                  <a:pt x="3436" y="16800"/>
                </a:lnTo>
                <a:cubicBezTo>
                  <a:pt x="3166" y="16800"/>
                  <a:pt x="2945" y="17069"/>
                  <a:pt x="2945" y="17400"/>
                </a:cubicBezTo>
                <a:cubicBezTo>
                  <a:pt x="2945" y="17732"/>
                  <a:pt x="3166" y="18000"/>
                  <a:pt x="3436" y="18000"/>
                </a:cubicBezTo>
                <a:moveTo>
                  <a:pt x="3436" y="15600"/>
                </a:moveTo>
                <a:lnTo>
                  <a:pt x="9327" y="15600"/>
                </a:lnTo>
                <a:cubicBezTo>
                  <a:pt x="9598" y="15600"/>
                  <a:pt x="9818" y="15332"/>
                  <a:pt x="9818" y="15000"/>
                </a:cubicBezTo>
                <a:cubicBezTo>
                  <a:pt x="9818" y="14668"/>
                  <a:pt x="9598" y="14400"/>
                  <a:pt x="9327" y="14400"/>
                </a:cubicBezTo>
                <a:lnTo>
                  <a:pt x="3436" y="14400"/>
                </a:lnTo>
                <a:cubicBezTo>
                  <a:pt x="3166" y="14400"/>
                  <a:pt x="2945" y="14668"/>
                  <a:pt x="2945" y="15000"/>
                </a:cubicBezTo>
                <a:cubicBezTo>
                  <a:pt x="2945" y="15332"/>
                  <a:pt x="3166" y="15600"/>
                  <a:pt x="3436" y="15600"/>
                </a:cubicBezTo>
                <a:moveTo>
                  <a:pt x="12273" y="18000"/>
                </a:moveTo>
                <a:lnTo>
                  <a:pt x="14236" y="18000"/>
                </a:lnTo>
                <a:cubicBezTo>
                  <a:pt x="14507" y="18000"/>
                  <a:pt x="14727" y="17732"/>
                  <a:pt x="14727" y="17400"/>
                </a:cubicBezTo>
                <a:lnTo>
                  <a:pt x="14727" y="15000"/>
                </a:lnTo>
                <a:cubicBezTo>
                  <a:pt x="14727" y="14668"/>
                  <a:pt x="14507" y="14400"/>
                  <a:pt x="14236" y="14400"/>
                </a:cubicBezTo>
                <a:lnTo>
                  <a:pt x="12273" y="14400"/>
                </a:lnTo>
                <a:cubicBezTo>
                  <a:pt x="12002" y="14400"/>
                  <a:pt x="11782" y="14668"/>
                  <a:pt x="11782" y="15000"/>
                </a:cubicBezTo>
                <a:lnTo>
                  <a:pt x="11782" y="17400"/>
                </a:lnTo>
                <a:cubicBezTo>
                  <a:pt x="11782" y="17732"/>
                  <a:pt x="12002" y="18000"/>
                  <a:pt x="12273" y="180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2" name="Shape 2792"/>
          <p:cNvSpPr/>
          <p:nvPr/>
        </p:nvSpPr>
        <p:spPr>
          <a:xfrm>
            <a:off x="3891587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949" y="13580"/>
                </a:moveTo>
                <a:cubicBezTo>
                  <a:pt x="11701" y="13784"/>
                  <a:pt x="11474" y="13901"/>
                  <a:pt x="11085" y="13931"/>
                </a:cubicBezTo>
                <a:lnTo>
                  <a:pt x="11085" y="11339"/>
                </a:lnTo>
                <a:cubicBezTo>
                  <a:pt x="11251" y="11383"/>
                  <a:pt x="11321" y="11435"/>
                  <a:pt x="11479" y="11494"/>
                </a:cubicBezTo>
                <a:cubicBezTo>
                  <a:pt x="11638" y="11554"/>
                  <a:pt x="11780" y="11632"/>
                  <a:pt x="11906" y="11728"/>
                </a:cubicBezTo>
                <a:cubicBezTo>
                  <a:pt x="12032" y="11824"/>
                  <a:pt x="12133" y="11943"/>
                  <a:pt x="12208" y="12084"/>
                </a:cubicBezTo>
                <a:cubicBezTo>
                  <a:pt x="12284" y="12225"/>
                  <a:pt x="12322" y="12399"/>
                  <a:pt x="12322" y="12607"/>
                </a:cubicBezTo>
                <a:cubicBezTo>
                  <a:pt x="12322" y="13052"/>
                  <a:pt x="12198" y="13376"/>
                  <a:pt x="11949" y="13580"/>
                </a:cubicBezTo>
                <a:moveTo>
                  <a:pt x="10437" y="9837"/>
                </a:moveTo>
                <a:cubicBezTo>
                  <a:pt x="10286" y="9800"/>
                  <a:pt x="10228" y="9753"/>
                  <a:pt x="10081" y="9698"/>
                </a:cubicBezTo>
                <a:cubicBezTo>
                  <a:pt x="9933" y="9642"/>
                  <a:pt x="9803" y="9570"/>
                  <a:pt x="9692" y="9481"/>
                </a:cubicBezTo>
                <a:cubicBezTo>
                  <a:pt x="9581" y="9392"/>
                  <a:pt x="9489" y="9285"/>
                  <a:pt x="9417" y="9159"/>
                </a:cubicBezTo>
                <a:cubicBezTo>
                  <a:pt x="9345" y="9032"/>
                  <a:pt x="9309" y="8880"/>
                  <a:pt x="9309" y="8702"/>
                </a:cubicBezTo>
                <a:cubicBezTo>
                  <a:pt x="9309" y="8309"/>
                  <a:pt x="9415" y="8030"/>
                  <a:pt x="9627" y="7862"/>
                </a:cubicBezTo>
                <a:cubicBezTo>
                  <a:pt x="9839" y="7696"/>
                  <a:pt x="10048" y="7612"/>
                  <a:pt x="10437" y="7612"/>
                </a:cubicBezTo>
                <a:cubicBezTo>
                  <a:pt x="10437" y="7612"/>
                  <a:pt x="10437" y="9837"/>
                  <a:pt x="10437" y="9837"/>
                </a:cubicBezTo>
                <a:close/>
                <a:moveTo>
                  <a:pt x="12765" y="10727"/>
                </a:moveTo>
                <a:cubicBezTo>
                  <a:pt x="12527" y="10542"/>
                  <a:pt x="12253" y="10390"/>
                  <a:pt x="11944" y="10271"/>
                </a:cubicBezTo>
                <a:cubicBezTo>
                  <a:pt x="11634" y="10153"/>
                  <a:pt x="11410" y="10049"/>
                  <a:pt x="11085" y="9959"/>
                </a:cubicBezTo>
                <a:lnTo>
                  <a:pt x="11085" y="7612"/>
                </a:lnTo>
                <a:cubicBezTo>
                  <a:pt x="11474" y="7612"/>
                  <a:pt x="11665" y="7713"/>
                  <a:pt x="11841" y="7913"/>
                </a:cubicBezTo>
                <a:cubicBezTo>
                  <a:pt x="12017" y="8113"/>
                  <a:pt x="12113" y="8402"/>
                  <a:pt x="12127" y="8781"/>
                </a:cubicBezTo>
                <a:lnTo>
                  <a:pt x="13359" y="8781"/>
                </a:lnTo>
                <a:cubicBezTo>
                  <a:pt x="13359" y="8417"/>
                  <a:pt x="13295" y="8098"/>
                  <a:pt x="13170" y="7824"/>
                </a:cubicBezTo>
                <a:cubicBezTo>
                  <a:pt x="13043" y="7550"/>
                  <a:pt x="12875" y="7323"/>
                  <a:pt x="12662" y="7145"/>
                </a:cubicBezTo>
                <a:cubicBezTo>
                  <a:pt x="12449" y="6967"/>
                  <a:pt x="12200" y="6833"/>
                  <a:pt x="11911" y="6744"/>
                </a:cubicBezTo>
                <a:cubicBezTo>
                  <a:pt x="11623" y="6656"/>
                  <a:pt x="11410" y="6611"/>
                  <a:pt x="11085" y="6611"/>
                </a:cubicBezTo>
                <a:lnTo>
                  <a:pt x="11085" y="5881"/>
                </a:lnTo>
                <a:lnTo>
                  <a:pt x="10437" y="5881"/>
                </a:lnTo>
                <a:lnTo>
                  <a:pt x="10437" y="6611"/>
                </a:lnTo>
                <a:cubicBezTo>
                  <a:pt x="10113" y="6611"/>
                  <a:pt x="9895" y="6659"/>
                  <a:pt x="9600" y="6756"/>
                </a:cubicBezTo>
                <a:cubicBezTo>
                  <a:pt x="9305" y="6852"/>
                  <a:pt x="9044" y="6991"/>
                  <a:pt x="8817" y="7173"/>
                </a:cubicBezTo>
                <a:cubicBezTo>
                  <a:pt x="8590" y="7355"/>
                  <a:pt x="8410" y="7581"/>
                  <a:pt x="8277" y="7852"/>
                </a:cubicBezTo>
                <a:cubicBezTo>
                  <a:pt x="8144" y="8122"/>
                  <a:pt x="8077" y="8436"/>
                  <a:pt x="8077" y="8791"/>
                </a:cubicBezTo>
                <a:cubicBezTo>
                  <a:pt x="8077" y="9199"/>
                  <a:pt x="8150" y="9541"/>
                  <a:pt x="8293" y="9815"/>
                </a:cubicBezTo>
                <a:cubicBezTo>
                  <a:pt x="8438" y="10089"/>
                  <a:pt x="8626" y="10317"/>
                  <a:pt x="8860" y="10499"/>
                </a:cubicBezTo>
                <a:cubicBezTo>
                  <a:pt x="9094" y="10681"/>
                  <a:pt x="9357" y="10829"/>
                  <a:pt x="9649" y="10944"/>
                </a:cubicBezTo>
                <a:cubicBezTo>
                  <a:pt x="9940" y="11059"/>
                  <a:pt x="10142" y="11157"/>
                  <a:pt x="10437" y="11239"/>
                </a:cubicBezTo>
                <a:lnTo>
                  <a:pt x="10437" y="13931"/>
                </a:lnTo>
                <a:cubicBezTo>
                  <a:pt x="9940" y="13916"/>
                  <a:pt x="9676" y="13768"/>
                  <a:pt x="9460" y="13486"/>
                </a:cubicBezTo>
                <a:cubicBezTo>
                  <a:pt x="9244" y="13204"/>
                  <a:pt x="9139" y="12818"/>
                  <a:pt x="9147" y="12329"/>
                </a:cubicBezTo>
                <a:lnTo>
                  <a:pt x="7915" y="12329"/>
                </a:lnTo>
                <a:cubicBezTo>
                  <a:pt x="7908" y="12744"/>
                  <a:pt x="7967" y="13111"/>
                  <a:pt x="8094" y="13430"/>
                </a:cubicBezTo>
                <a:cubicBezTo>
                  <a:pt x="8220" y="13749"/>
                  <a:pt x="8397" y="14018"/>
                  <a:pt x="8628" y="14236"/>
                </a:cubicBezTo>
                <a:cubicBezTo>
                  <a:pt x="8858" y="14455"/>
                  <a:pt x="9136" y="14624"/>
                  <a:pt x="9460" y="14743"/>
                </a:cubicBezTo>
                <a:cubicBezTo>
                  <a:pt x="9784" y="14861"/>
                  <a:pt x="10048" y="14924"/>
                  <a:pt x="10437" y="14932"/>
                </a:cubicBezTo>
                <a:lnTo>
                  <a:pt x="10437" y="15692"/>
                </a:lnTo>
                <a:lnTo>
                  <a:pt x="11085" y="15692"/>
                </a:lnTo>
                <a:lnTo>
                  <a:pt x="11085" y="14932"/>
                </a:lnTo>
                <a:cubicBezTo>
                  <a:pt x="11446" y="14917"/>
                  <a:pt x="11688" y="14856"/>
                  <a:pt x="11998" y="14748"/>
                </a:cubicBezTo>
                <a:cubicBezTo>
                  <a:pt x="12307" y="14641"/>
                  <a:pt x="12578" y="14485"/>
                  <a:pt x="12808" y="14281"/>
                </a:cubicBezTo>
                <a:cubicBezTo>
                  <a:pt x="13038" y="14077"/>
                  <a:pt x="13220" y="13821"/>
                  <a:pt x="13353" y="13513"/>
                </a:cubicBezTo>
                <a:cubicBezTo>
                  <a:pt x="13486" y="13206"/>
                  <a:pt x="13553" y="12844"/>
                  <a:pt x="13553" y="12429"/>
                </a:cubicBezTo>
                <a:cubicBezTo>
                  <a:pt x="13553" y="12028"/>
                  <a:pt x="13481" y="11691"/>
                  <a:pt x="13337" y="11417"/>
                </a:cubicBezTo>
                <a:cubicBezTo>
                  <a:pt x="13193" y="11142"/>
                  <a:pt x="13002" y="10912"/>
                  <a:pt x="12765" y="107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3" name="Shape 2793"/>
          <p:cNvSpPr/>
          <p:nvPr/>
        </p:nvSpPr>
        <p:spPr>
          <a:xfrm>
            <a:off x="4958109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86" y="14720"/>
                </a:moveTo>
                <a:cubicBezTo>
                  <a:pt x="9513" y="14863"/>
                  <a:pt x="9355" y="14945"/>
                  <a:pt x="9084" y="14965"/>
                </a:cubicBezTo>
                <a:lnTo>
                  <a:pt x="9084" y="13151"/>
                </a:lnTo>
                <a:cubicBezTo>
                  <a:pt x="9199" y="13182"/>
                  <a:pt x="9248" y="13219"/>
                  <a:pt x="9358" y="13260"/>
                </a:cubicBezTo>
                <a:cubicBezTo>
                  <a:pt x="9469" y="13302"/>
                  <a:pt x="9568" y="13357"/>
                  <a:pt x="9656" y="13424"/>
                </a:cubicBezTo>
                <a:cubicBezTo>
                  <a:pt x="9744" y="13491"/>
                  <a:pt x="9814" y="13575"/>
                  <a:pt x="9867" y="13673"/>
                </a:cubicBezTo>
                <a:cubicBezTo>
                  <a:pt x="9920" y="13772"/>
                  <a:pt x="9946" y="13894"/>
                  <a:pt x="9946" y="14039"/>
                </a:cubicBezTo>
                <a:cubicBezTo>
                  <a:pt x="9946" y="14350"/>
                  <a:pt x="9859" y="14577"/>
                  <a:pt x="9686" y="14720"/>
                </a:cubicBezTo>
                <a:moveTo>
                  <a:pt x="8631" y="12100"/>
                </a:moveTo>
                <a:cubicBezTo>
                  <a:pt x="8526" y="12074"/>
                  <a:pt x="8486" y="12041"/>
                  <a:pt x="8383" y="12003"/>
                </a:cubicBezTo>
                <a:cubicBezTo>
                  <a:pt x="8280" y="11964"/>
                  <a:pt x="8189" y="11913"/>
                  <a:pt x="8112" y="11851"/>
                </a:cubicBezTo>
                <a:cubicBezTo>
                  <a:pt x="8034" y="11789"/>
                  <a:pt x="7969" y="11714"/>
                  <a:pt x="7919" y="11625"/>
                </a:cubicBezTo>
                <a:cubicBezTo>
                  <a:pt x="7869" y="11537"/>
                  <a:pt x="7844" y="11431"/>
                  <a:pt x="7844" y="11306"/>
                </a:cubicBezTo>
                <a:cubicBezTo>
                  <a:pt x="7844" y="11031"/>
                  <a:pt x="7918" y="10835"/>
                  <a:pt x="8067" y="10718"/>
                </a:cubicBezTo>
                <a:cubicBezTo>
                  <a:pt x="8214" y="10601"/>
                  <a:pt x="8360" y="10543"/>
                  <a:pt x="8631" y="10543"/>
                </a:cubicBezTo>
                <a:cubicBezTo>
                  <a:pt x="8631" y="10543"/>
                  <a:pt x="8631" y="12100"/>
                  <a:pt x="8631" y="12100"/>
                </a:cubicBezTo>
                <a:close/>
                <a:moveTo>
                  <a:pt x="10255" y="12723"/>
                </a:moveTo>
                <a:cubicBezTo>
                  <a:pt x="10089" y="12593"/>
                  <a:pt x="9898" y="12487"/>
                  <a:pt x="9683" y="12404"/>
                </a:cubicBezTo>
                <a:cubicBezTo>
                  <a:pt x="9466" y="12321"/>
                  <a:pt x="9310" y="12248"/>
                  <a:pt x="9084" y="12186"/>
                </a:cubicBezTo>
                <a:lnTo>
                  <a:pt x="9084" y="10543"/>
                </a:lnTo>
                <a:cubicBezTo>
                  <a:pt x="9355" y="10543"/>
                  <a:pt x="9488" y="10613"/>
                  <a:pt x="9611" y="10753"/>
                </a:cubicBezTo>
                <a:cubicBezTo>
                  <a:pt x="9734" y="10893"/>
                  <a:pt x="9800" y="11096"/>
                  <a:pt x="9810" y="11361"/>
                </a:cubicBezTo>
                <a:lnTo>
                  <a:pt x="10669" y="11361"/>
                </a:lnTo>
                <a:cubicBezTo>
                  <a:pt x="10669" y="11106"/>
                  <a:pt x="10625" y="10883"/>
                  <a:pt x="10537" y="10690"/>
                </a:cubicBezTo>
                <a:cubicBezTo>
                  <a:pt x="10450" y="10499"/>
                  <a:pt x="10331" y="10340"/>
                  <a:pt x="10183" y="10216"/>
                </a:cubicBezTo>
                <a:cubicBezTo>
                  <a:pt x="10035" y="10091"/>
                  <a:pt x="9860" y="9998"/>
                  <a:pt x="9659" y="9935"/>
                </a:cubicBezTo>
                <a:cubicBezTo>
                  <a:pt x="9459" y="9873"/>
                  <a:pt x="9310" y="9842"/>
                  <a:pt x="9084" y="9842"/>
                </a:cubicBezTo>
                <a:lnTo>
                  <a:pt x="9084" y="9331"/>
                </a:lnTo>
                <a:lnTo>
                  <a:pt x="8631" y="9331"/>
                </a:lnTo>
                <a:lnTo>
                  <a:pt x="8631" y="9842"/>
                </a:lnTo>
                <a:cubicBezTo>
                  <a:pt x="8405" y="9842"/>
                  <a:pt x="8253" y="9876"/>
                  <a:pt x="8048" y="9943"/>
                </a:cubicBezTo>
                <a:cubicBezTo>
                  <a:pt x="7842" y="10011"/>
                  <a:pt x="7660" y="10108"/>
                  <a:pt x="7501" y="10235"/>
                </a:cubicBezTo>
                <a:cubicBezTo>
                  <a:pt x="7343" y="10363"/>
                  <a:pt x="7218" y="10521"/>
                  <a:pt x="7125" y="10710"/>
                </a:cubicBezTo>
                <a:cubicBezTo>
                  <a:pt x="7032" y="10899"/>
                  <a:pt x="6985" y="11119"/>
                  <a:pt x="6985" y="11368"/>
                </a:cubicBezTo>
                <a:cubicBezTo>
                  <a:pt x="6985" y="11654"/>
                  <a:pt x="7035" y="11892"/>
                  <a:pt x="7136" y="12085"/>
                </a:cubicBezTo>
                <a:cubicBezTo>
                  <a:pt x="7237" y="12277"/>
                  <a:pt x="7368" y="12436"/>
                  <a:pt x="7531" y="12563"/>
                </a:cubicBezTo>
                <a:cubicBezTo>
                  <a:pt x="7694" y="12691"/>
                  <a:pt x="7878" y="12794"/>
                  <a:pt x="8081" y="12875"/>
                </a:cubicBezTo>
                <a:cubicBezTo>
                  <a:pt x="8285" y="12956"/>
                  <a:pt x="8426" y="13024"/>
                  <a:pt x="8631" y="13081"/>
                </a:cubicBezTo>
                <a:lnTo>
                  <a:pt x="8631" y="14965"/>
                </a:lnTo>
                <a:cubicBezTo>
                  <a:pt x="8285" y="14955"/>
                  <a:pt x="8100" y="14852"/>
                  <a:pt x="7950" y="14654"/>
                </a:cubicBezTo>
                <a:cubicBezTo>
                  <a:pt x="7799" y="14457"/>
                  <a:pt x="7726" y="14187"/>
                  <a:pt x="7731" y="13844"/>
                </a:cubicBezTo>
                <a:lnTo>
                  <a:pt x="6872" y="13844"/>
                </a:lnTo>
                <a:cubicBezTo>
                  <a:pt x="6867" y="14135"/>
                  <a:pt x="6908" y="14392"/>
                  <a:pt x="6996" y="14615"/>
                </a:cubicBezTo>
                <a:cubicBezTo>
                  <a:pt x="7085" y="14839"/>
                  <a:pt x="7209" y="15027"/>
                  <a:pt x="7369" y="15180"/>
                </a:cubicBezTo>
                <a:cubicBezTo>
                  <a:pt x="7530" y="15333"/>
                  <a:pt x="7723" y="15451"/>
                  <a:pt x="7950" y="15534"/>
                </a:cubicBezTo>
                <a:cubicBezTo>
                  <a:pt x="8176" y="15617"/>
                  <a:pt x="8360" y="15661"/>
                  <a:pt x="8631" y="15667"/>
                </a:cubicBezTo>
                <a:lnTo>
                  <a:pt x="8631" y="16199"/>
                </a:lnTo>
                <a:lnTo>
                  <a:pt x="9084" y="16199"/>
                </a:lnTo>
                <a:lnTo>
                  <a:pt x="9084" y="15667"/>
                </a:lnTo>
                <a:cubicBezTo>
                  <a:pt x="9335" y="15656"/>
                  <a:pt x="9504" y="15613"/>
                  <a:pt x="9720" y="15538"/>
                </a:cubicBezTo>
                <a:cubicBezTo>
                  <a:pt x="9936" y="15463"/>
                  <a:pt x="10124" y="15354"/>
                  <a:pt x="10285" y="15211"/>
                </a:cubicBezTo>
                <a:cubicBezTo>
                  <a:pt x="10445" y="15068"/>
                  <a:pt x="10573" y="14889"/>
                  <a:pt x="10666" y="14673"/>
                </a:cubicBezTo>
                <a:cubicBezTo>
                  <a:pt x="10758" y="14459"/>
                  <a:pt x="10805" y="14205"/>
                  <a:pt x="10805" y="13914"/>
                </a:cubicBezTo>
                <a:cubicBezTo>
                  <a:pt x="10805" y="13634"/>
                  <a:pt x="10755" y="13398"/>
                  <a:pt x="10654" y="13206"/>
                </a:cubicBezTo>
                <a:cubicBezTo>
                  <a:pt x="10554" y="13014"/>
                  <a:pt x="10421" y="12853"/>
                  <a:pt x="10255" y="12723"/>
                </a:cubicBezTo>
                <a:moveTo>
                  <a:pt x="12764" y="0"/>
                </a:moveTo>
                <a:cubicBezTo>
                  <a:pt x="9919" y="0"/>
                  <a:pt x="7396" y="1350"/>
                  <a:pt x="5779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9" y="987"/>
                  <a:pt x="20613" y="4502"/>
                  <a:pt x="20613" y="8836"/>
                </a:cubicBezTo>
                <a:cubicBezTo>
                  <a:pt x="20613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8836" y="20613"/>
                </a:moveTo>
                <a:cubicBezTo>
                  <a:pt x="4501" y="20613"/>
                  <a:pt x="987" y="17098"/>
                  <a:pt x="987" y="12764"/>
                </a:cubicBezTo>
                <a:cubicBezTo>
                  <a:pt x="987" y="8429"/>
                  <a:pt x="4501" y="4915"/>
                  <a:pt x="8836" y="4915"/>
                </a:cubicBezTo>
                <a:cubicBezTo>
                  <a:pt x="13172" y="4915"/>
                  <a:pt x="16685" y="8429"/>
                  <a:pt x="16685" y="12764"/>
                </a:cubicBezTo>
                <a:cubicBezTo>
                  <a:pt x="16685" y="17098"/>
                  <a:pt x="13172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6" y="21600"/>
                  <a:pt x="17673" y="17644"/>
                  <a:pt x="17673" y="12764"/>
                </a:cubicBezTo>
                <a:cubicBezTo>
                  <a:pt x="17673" y="7884"/>
                  <a:pt x="13716" y="3927"/>
                  <a:pt x="8836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4" name="Shape 2794"/>
          <p:cNvSpPr/>
          <p:nvPr/>
        </p:nvSpPr>
        <p:spPr>
          <a:xfrm>
            <a:off x="6024631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535" y="7724"/>
                </a:moveTo>
                <a:cubicBezTo>
                  <a:pt x="12082" y="7724"/>
                  <a:pt x="12586" y="7961"/>
                  <a:pt x="13047" y="8436"/>
                </a:cubicBezTo>
                <a:lnTo>
                  <a:pt x="13544" y="7424"/>
                </a:lnTo>
                <a:cubicBezTo>
                  <a:pt x="12888" y="6964"/>
                  <a:pt x="12248" y="6734"/>
                  <a:pt x="11621" y="6734"/>
                </a:cubicBezTo>
                <a:cubicBezTo>
                  <a:pt x="10757" y="6734"/>
                  <a:pt x="10048" y="7019"/>
                  <a:pt x="9494" y="7590"/>
                </a:cubicBezTo>
                <a:cubicBezTo>
                  <a:pt x="9019" y="8087"/>
                  <a:pt x="8691" y="8762"/>
                  <a:pt x="8510" y="9615"/>
                </a:cubicBezTo>
                <a:lnTo>
                  <a:pt x="7938" y="9615"/>
                </a:lnTo>
                <a:lnTo>
                  <a:pt x="7658" y="10327"/>
                </a:lnTo>
                <a:lnTo>
                  <a:pt x="8435" y="10327"/>
                </a:lnTo>
                <a:cubicBezTo>
                  <a:pt x="8428" y="10409"/>
                  <a:pt x="8423" y="10483"/>
                  <a:pt x="8419" y="10549"/>
                </a:cubicBezTo>
                <a:cubicBezTo>
                  <a:pt x="8415" y="10616"/>
                  <a:pt x="8414" y="10675"/>
                  <a:pt x="8414" y="10727"/>
                </a:cubicBezTo>
                <a:cubicBezTo>
                  <a:pt x="8414" y="10794"/>
                  <a:pt x="8415" y="10857"/>
                  <a:pt x="8419" y="10916"/>
                </a:cubicBezTo>
                <a:cubicBezTo>
                  <a:pt x="8423" y="10976"/>
                  <a:pt x="8428" y="11032"/>
                  <a:pt x="8435" y="11083"/>
                </a:cubicBezTo>
                <a:lnTo>
                  <a:pt x="7949" y="11083"/>
                </a:lnTo>
                <a:lnTo>
                  <a:pt x="7658" y="11784"/>
                </a:lnTo>
                <a:lnTo>
                  <a:pt x="8489" y="11784"/>
                </a:lnTo>
                <a:cubicBezTo>
                  <a:pt x="8604" y="12674"/>
                  <a:pt x="8896" y="13382"/>
                  <a:pt x="9364" y="13908"/>
                </a:cubicBezTo>
                <a:cubicBezTo>
                  <a:pt x="9904" y="14517"/>
                  <a:pt x="10656" y="14821"/>
                  <a:pt x="11621" y="14821"/>
                </a:cubicBezTo>
                <a:cubicBezTo>
                  <a:pt x="12219" y="14821"/>
                  <a:pt x="12762" y="14658"/>
                  <a:pt x="13252" y="14331"/>
                </a:cubicBezTo>
                <a:lnTo>
                  <a:pt x="13252" y="13097"/>
                </a:lnTo>
                <a:cubicBezTo>
                  <a:pt x="12978" y="13356"/>
                  <a:pt x="12733" y="13542"/>
                  <a:pt x="12517" y="13653"/>
                </a:cubicBezTo>
                <a:cubicBezTo>
                  <a:pt x="12280" y="13772"/>
                  <a:pt x="11981" y="13831"/>
                  <a:pt x="11621" y="13831"/>
                </a:cubicBezTo>
                <a:cubicBezTo>
                  <a:pt x="11067" y="13831"/>
                  <a:pt x="10627" y="13620"/>
                  <a:pt x="10304" y="13197"/>
                </a:cubicBezTo>
                <a:cubicBezTo>
                  <a:pt x="10023" y="12855"/>
                  <a:pt x="9839" y="12385"/>
                  <a:pt x="9753" y="11784"/>
                </a:cubicBezTo>
                <a:lnTo>
                  <a:pt x="11924" y="11784"/>
                </a:lnTo>
                <a:lnTo>
                  <a:pt x="12193" y="11083"/>
                </a:lnTo>
                <a:lnTo>
                  <a:pt x="9699" y="11083"/>
                </a:lnTo>
                <a:cubicBezTo>
                  <a:pt x="9692" y="11046"/>
                  <a:pt x="9688" y="10932"/>
                  <a:pt x="9688" y="10739"/>
                </a:cubicBezTo>
                <a:lnTo>
                  <a:pt x="9688" y="10483"/>
                </a:lnTo>
                <a:cubicBezTo>
                  <a:pt x="9688" y="10416"/>
                  <a:pt x="9692" y="10364"/>
                  <a:pt x="9699" y="10327"/>
                </a:cubicBezTo>
                <a:lnTo>
                  <a:pt x="12344" y="10327"/>
                </a:lnTo>
                <a:lnTo>
                  <a:pt x="12626" y="9615"/>
                </a:lnTo>
                <a:lnTo>
                  <a:pt x="9775" y="9615"/>
                </a:lnTo>
                <a:cubicBezTo>
                  <a:pt x="9868" y="9096"/>
                  <a:pt x="10051" y="8662"/>
                  <a:pt x="10325" y="8314"/>
                </a:cubicBezTo>
                <a:cubicBezTo>
                  <a:pt x="10649" y="7920"/>
                  <a:pt x="11052" y="7724"/>
                  <a:pt x="11535" y="772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5" name="Shape 2795"/>
          <p:cNvSpPr/>
          <p:nvPr/>
        </p:nvSpPr>
        <p:spPr>
          <a:xfrm>
            <a:off x="7091154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5" y="1349"/>
                  <a:pt x="5780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2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9292" y="10539"/>
                </a:moveTo>
                <a:cubicBezTo>
                  <a:pt x="9702" y="10539"/>
                  <a:pt x="10080" y="10712"/>
                  <a:pt x="10426" y="11057"/>
                </a:cubicBezTo>
                <a:lnTo>
                  <a:pt x="10798" y="10320"/>
                </a:lnTo>
                <a:cubicBezTo>
                  <a:pt x="10307" y="9985"/>
                  <a:pt x="9826" y="9817"/>
                  <a:pt x="9356" y="9817"/>
                </a:cubicBezTo>
                <a:cubicBezTo>
                  <a:pt x="8708" y="9817"/>
                  <a:pt x="8176" y="10026"/>
                  <a:pt x="7761" y="10441"/>
                </a:cubicBezTo>
                <a:cubicBezTo>
                  <a:pt x="7404" y="10804"/>
                  <a:pt x="7158" y="11296"/>
                  <a:pt x="7023" y="11917"/>
                </a:cubicBezTo>
                <a:lnTo>
                  <a:pt x="6594" y="11917"/>
                </a:lnTo>
                <a:lnTo>
                  <a:pt x="6384" y="12435"/>
                </a:lnTo>
                <a:lnTo>
                  <a:pt x="6967" y="12435"/>
                </a:lnTo>
                <a:cubicBezTo>
                  <a:pt x="6961" y="12495"/>
                  <a:pt x="6957" y="12549"/>
                  <a:pt x="6955" y="12598"/>
                </a:cubicBezTo>
                <a:cubicBezTo>
                  <a:pt x="6952" y="12646"/>
                  <a:pt x="6950" y="12690"/>
                  <a:pt x="6950" y="12727"/>
                </a:cubicBezTo>
                <a:cubicBezTo>
                  <a:pt x="6950" y="12776"/>
                  <a:pt x="6952" y="12822"/>
                  <a:pt x="6955" y="12865"/>
                </a:cubicBezTo>
                <a:cubicBezTo>
                  <a:pt x="6957" y="12908"/>
                  <a:pt x="6961" y="12949"/>
                  <a:pt x="6967" y="12987"/>
                </a:cubicBezTo>
                <a:lnTo>
                  <a:pt x="6602" y="12987"/>
                </a:lnTo>
                <a:lnTo>
                  <a:pt x="6384" y="13497"/>
                </a:lnTo>
                <a:lnTo>
                  <a:pt x="7007" y="13497"/>
                </a:lnTo>
                <a:cubicBezTo>
                  <a:pt x="7093" y="14146"/>
                  <a:pt x="7313" y="14662"/>
                  <a:pt x="7663" y="15045"/>
                </a:cubicBezTo>
                <a:cubicBezTo>
                  <a:pt x="8068" y="15489"/>
                  <a:pt x="8633" y="15710"/>
                  <a:pt x="9356" y="15710"/>
                </a:cubicBezTo>
                <a:cubicBezTo>
                  <a:pt x="9805" y="15710"/>
                  <a:pt x="10212" y="15591"/>
                  <a:pt x="10579" y="15354"/>
                </a:cubicBezTo>
                <a:lnTo>
                  <a:pt x="10579" y="14454"/>
                </a:lnTo>
                <a:cubicBezTo>
                  <a:pt x="10374" y="14643"/>
                  <a:pt x="10191" y="14778"/>
                  <a:pt x="10029" y="14859"/>
                </a:cubicBezTo>
                <a:cubicBezTo>
                  <a:pt x="9850" y="14945"/>
                  <a:pt x="9626" y="14989"/>
                  <a:pt x="9356" y="14989"/>
                </a:cubicBezTo>
                <a:cubicBezTo>
                  <a:pt x="8940" y="14989"/>
                  <a:pt x="8611" y="14834"/>
                  <a:pt x="8368" y="14527"/>
                </a:cubicBezTo>
                <a:cubicBezTo>
                  <a:pt x="8158" y="14279"/>
                  <a:pt x="8020" y="13935"/>
                  <a:pt x="7955" y="13497"/>
                </a:cubicBezTo>
                <a:lnTo>
                  <a:pt x="9583" y="13497"/>
                </a:lnTo>
                <a:lnTo>
                  <a:pt x="9786" y="12987"/>
                </a:lnTo>
                <a:lnTo>
                  <a:pt x="7914" y="12987"/>
                </a:lnTo>
                <a:cubicBezTo>
                  <a:pt x="7909" y="12960"/>
                  <a:pt x="7906" y="12876"/>
                  <a:pt x="7906" y="12735"/>
                </a:cubicBezTo>
                <a:lnTo>
                  <a:pt x="7906" y="12549"/>
                </a:lnTo>
                <a:cubicBezTo>
                  <a:pt x="7906" y="12500"/>
                  <a:pt x="7909" y="12462"/>
                  <a:pt x="7914" y="12435"/>
                </a:cubicBezTo>
                <a:lnTo>
                  <a:pt x="9899" y="12435"/>
                </a:lnTo>
                <a:lnTo>
                  <a:pt x="10110" y="11917"/>
                </a:lnTo>
                <a:lnTo>
                  <a:pt x="7972" y="11917"/>
                </a:lnTo>
                <a:cubicBezTo>
                  <a:pt x="8042" y="11539"/>
                  <a:pt x="8179" y="11222"/>
                  <a:pt x="8384" y="10968"/>
                </a:cubicBezTo>
                <a:cubicBezTo>
                  <a:pt x="8627" y="10682"/>
                  <a:pt x="8929" y="10539"/>
                  <a:pt x="9292" y="1053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6" name="Shape 2796"/>
          <p:cNvSpPr/>
          <p:nvPr/>
        </p:nvSpPr>
        <p:spPr>
          <a:xfrm>
            <a:off x="8157677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7" name="Shape 2797"/>
          <p:cNvSpPr/>
          <p:nvPr/>
        </p:nvSpPr>
        <p:spPr>
          <a:xfrm>
            <a:off x="9224197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52" y="12079"/>
                </a:moveTo>
                <a:cubicBezTo>
                  <a:pt x="9878" y="12752"/>
                  <a:pt x="8799" y="12411"/>
                  <a:pt x="8449" y="12327"/>
                </a:cubicBezTo>
                <a:lnTo>
                  <a:pt x="8758" y="11138"/>
                </a:lnTo>
                <a:cubicBezTo>
                  <a:pt x="9107" y="11222"/>
                  <a:pt x="10234" y="11378"/>
                  <a:pt x="10052" y="12079"/>
                </a:cubicBezTo>
                <a:moveTo>
                  <a:pt x="9860" y="13998"/>
                </a:moveTo>
                <a:cubicBezTo>
                  <a:pt x="9669" y="14737"/>
                  <a:pt x="8373" y="14338"/>
                  <a:pt x="7953" y="14238"/>
                </a:cubicBezTo>
                <a:lnTo>
                  <a:pt x="8293" y="12927"/>
                </a:lnTo>
                <a:cubicBezTo>
                  <a:pt x="8714" y="13027"/>
                  <a:pt x="10060" y="13227"/>
                  <a:pt x="9860" y="13998"/>
                </a:cubicBezTo>
                <a:moveTo>
                  <a:pt x="10034" y="10721"/>
                </a:moveTo>
                <a:lnTo>
                  <a:pt x="10288" y="9743"/>
                </a:lnTo>
                <a:lnTo>
                  <a:pt x="9668" y="9595"/>
                </a:lnTo>
                <a:lnTo>
                  <a:pt x="9421" y="10547"/>
                </a:lnTo>
                <a:cubicBezTo>
                  <a:pt x="9258" y="10508"/>
                  <a:pt x="9090" y="10471"/>
                  <a:pt x="8925" y="10434"/>
                </a:cubicBezTo>
                <a:lnTo>
                  <a:pt x="9173" y="9476"/>
                </a:lnTo>
                <a:lnTo>
                  <a:pt x="8554" y="9328"/>
                </a:lnTo>
                <a:lnTo>
                  <a:pt x="8300" y="10306"/>
                </a:lnTo>
                <a:cubicBezTo>
                  <a:pt x="8165" y="10276"/>
                  <a:pt x="8033" y="10247"/>
                  <a:pt x="7904" y="10216"/>
                </a:cubicBezTo>
                <a:lnTo>
                  <a:pt x="7904" y="10213"/>
                </a:lnTo>
                <a:lnTo>
                  <a:pt x="7050" y="10008"/>
                </a:lnTo>
                <a:lnTo>
                  <a:pt x="6885" y="10644"/>
                </a:lnTo>
                <a:cubicBezTo>
                  <a:pt x="6885" y="10644"/>
                  <a:pt x="7345" y="10745"/>
                  <a:pt x="7335" y="10751"/>
                </a:cubicBezTo>
                <a:cubicBezTo>
                  <a:pt x="7586" y="10812"/>
                  <a:pt x="7632" y="10971"/>
                  <a:pt x="7624" y="11098"/>
                </a:cubicBezTo>
                <a:lnTo>
                  <a:pt x="7335" y="12213"/>
                </a:lnTo>
                <a:cubicBezTo>
                  <a:pt x="7352" y="12216"/>
                  <a:pt x="7375" y="12222"/>
                  <a:pt x="7399" y="12232"/>
                </a:cubicBezTo>
                <a:cubicBezTo>
                  <a:pt x="7379" y="12227"/>
                  <a:pt x="7357" y="12222"/>
                  <a:pt x="7334" y="12216"/>
                </a:cubicBezTo>
                <a:lnTo>
                  <a:pt x="6928" y="13777"/>
                </a:lnTo>
                <a:cubicBezTo>
                  <a:pt x="6898" y="13851"/>
                  <a:pt x="6820" y="13960"/>
                  <a:pt x="6645" y="13919"/>
                </a:cubicBezTo>
                <a:cubicBezTo>
                  <a:pt x="6651" y="13928"/>
                  <a:pt x="6194" y="13811"/>
                  <a:pt x="6194" y="13811"/>
                </a:cubicBezTo>
                <a:lnTo>
                  <a:pt x="5886" y="14492"/>
                </a:lnTo>
                <a:lnTo>
                  <a:pt x="6692" y="14686"/>
                </a:lnTo>
                <a:cubicBezTo>
                  <a:pt x="6843" y="14721"/>
                  <a:pt x="6990" y="14759"/>
                  <a:pt x="7134" y="14795"/>
                </a:cubicBezTo>
                <a:lnTo>
                  <a:pt x="6878" y="15784"/>
                </a:lnTo>
                <a:lnTo>
                  <a:pt x="7497" y="15933"/>
                </a:lnTo>
                <a:lnTo>
                  <a:pt x="7751" y="14954"/>
                </a:lnTo>
                <a:cubicBezTo>
                  <a:pt x="7921" y="14998"/>
                  <a:pt x="8085" y="15039"/>
                  <a:pt x="8245" y="15077"/>
                </a:cubicBezTo>
                <a:lnTo>
                  <a:pt x="7992" y="16051"/>
                </a:lnTo>
                <a:lnTo>
                  <a:pt x="8612" y="16200"/>
                </a:lnTo>
                <a:lnTo>
                  <a:pt x="8868" y="15212"/>
                </a:lnTo>
                <a:cubicBezTo>
                  <a:pt x="9926" y="15404"/>
                  <a:pt x="10720" y="15327"/>
                  <a:pt x="11055" y="14408"/>
                </a:cubicBezTo>
                <a:cubicBezTo>
                  <a:pt x="11324" y="13669"/>
                  <a:pt x="11041" y="13242"/>
                  <a:pt x="10485" y="12965"/>
                </a:cubicBezTo>
                <a:cubicBezTo>
                  <a:pt x="10890" y="12875"/>
                  <a:pt x="11195" y="12619"/>
                  <a:pt x="11277" y="12090"/>
                </a:cubicBezTo>
                <a:cubicBezTo>
                  <a:pt x="11389" y="11368"/>
                  <a:pt x="10816" y="10980"/>
                  <a:pt x="10034" y="10721"/>
                </a:cubicBezTo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8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1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09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8" name="Shape 2798"/>
          <p:cNvSpPr/>
          <p:nvPr/>
        </p:nvSpPr>
        <p:spPr>
          <a:xfrm>
            <a:off x="10290720" y="2980052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02" y="11838"/>
                </a:moveTo>
                <a:cubicBezTo>
                  <a:pt x="11425" y="11731"/>
                  <a:pt x="11338" y="11646"/>
                  <a:pt x="11242" y="11581"/>
                </a:cubicBezTo>
                <a:cubicBezTo>
                  <a:pt x="11144" y="11515"/>
                  <a:pt x="11102" y="11458"/>
                  <a:pt x="11001" y="11410"/>
                </a:cubicBezTo>
                <a:lnTo>
                  <a:pt x="11001" y="14261"/>
                </a:lnTo>
                <a:cubicBezTo>
                  <a:pt x="11238" y="14227"/>
                  <a:pt x="11377" y="14100"/>
                  <a:pt x="11528" y="13875"/>
                </a:cubicBezTo>
                <a:cubicBezTo>
                  <a:pt x="11680" y="13651"/>
                  <a:pt x="11756" y="13293"/>
                  <a:pt x="11756" y="12804"/>
                </a:cubicBezTo>
                <a:cubicBezTo>
                  <a:pt x="11756" y="12576"/>
                  <a:pt x="11733" y="12384"/>
                  <a:pt x="11686" y="12229"/>
                </a:cubicBezTo>
                <a:cubicBezTo>
                  <a:pt x="11640" y="12074"/>
                  <a:pt x="11579" y="11944"/>
                  <a:pt x="11502" y="11838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9" y="16200"/>
                  <a:pt x="15709" y="16602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2"/>
                  <a:pt x="17453" y="16200"/>
                  <a:pt x="17182" y="16200"/>
                </a:cubicBezTo>
                <a:moveTo>
                  <a:pt x="9917" y="8509"/>
                </a:moveTo>
                <a:cubicBezTo>
                  <a:pt x="9917" y="8706"/>
                  <a:pt x="9938" y="8872"/>
                  <a:pt x="9982" y="9011"/>
                </a:cubicBezTo>
                <a:cubicBezTo>
                  <a:pt x="10026" y="9150"/>
                  <a:pt x="10082" y="9268"/>
                  <a:pt x="10150" y="9366"/>
                </a:cubicBezTo>
                <a:cubicBezTo>
                  <a:pt x="10219" y="9464"/>
                  <a:pt x="10298" y="9544"/>
                  <a:pt x="10388" y="9605"/>
                </a:cubicBezTo>
                <a:cubicBezTo>
                  <a:pt x="10478" y="9665"/>
                  <a:pt x="10513" y="9717"/>
                  <a:pt x="10605" y="9757"/>
                </a:cubicBezTo>
                <a:lnTo>
                  <a:pt x="10605" y="7311"/>
                </a:lnTo>
                <a:cubicBezTo>
                  <a:pt x="10368" y="7311"/>
                  <a:pt x="10241" y="7402"/>
                  <a:pt x="10111" y="7585"/>
                </a:cubicBezTo>
                <a:cubicBezTo>
                  <a:pt x="9981" y="7769"/>
                  <a:pt x="9917" y="8077"/>
                  <a:pt x="9917" y="8509"/>
                </a:cubicBezTo>
                <a:moveTo>
                  <a:pt x="20127" y="3600"/>
                </a:moveTo>
                <a:cubicBezTo>
                  <a:pt x="19856" y="3600"/>
                  <a:pt x="19636" y="3197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9" y="1800"/>
                  <a:pt x="20618" y="2203"/>
                  <a:pt x="20618" y="2700"/>
                </a:cubicBezTo>
                <a:cubicBezTo>
                  <a:pt x="20618" y="3197"/>
                  <a:pt x="20399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08"/>
                  <a:pt x="18655" y="18900"/>
                </a:cubicBezTo>
                <a:cubicBezTo>
                  <a:pt x="18655" y="19217"/>
                  <a:pt x="18690" y="19517"/>
                  <a:pt x="18745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8"/>
                  <a:pt x="2286" y="16200"/>
                  <a:pt x="1473" y="16200"/>
                </a:cubicBezTo>
                <a:cubicBezTo>
                  <a:pt x="1300" y="16200"/>
                  <a:pt x="1136" y="16265"/>
                  <a:pt x="982" y="16365"/>
                </a:cubicBezTo>
                <a:lnTo>
                  <a:pt x="982" y="5234"/>
                </a:lnTo>
                <a:cubicBezTo>
                  <a:pt x="1136" y="5335"/>
                  <a:pt x="1300" y="5400"/>
                  <a:pt x="1473" y="5400"/>
                </a:cubicBezTo>
                <a:cubicBezTo>
                  <a:pt x="2286" y="5400"/>
                  <a:pt x="2945" y="4191"/>
                  <a:pt x="2945" y="2700"/>
                </a:cubicBezTo>
                <a:cubicBezTo>
                  <a:pt x="2945" y="2382"/>
                  <a:pt x="2910" y="2083"/>
                  <a:pt x="2855" y="1800"/>
                </a:cubicBezTo>
                <a:lnTo>
                  <a:pt x="18745" y="1800"/>
                </a:lnTo>
                <a:cubicBezTo>
                  <a:pt x="18690" y="2083"/>
                  <a:pt x="18655" y="2382"/>
                  <a:pt x="18655" y="2700"/>
                </a:cubicBezTo>
                <a:cubicBezTo>
                  <a:pt x="18655" y="4191"/>
                  <a:pt x="19314" y="5400"/>
                  <a:pt x="20127" y="5400"/>
                </a:cubicBezTo>
                <a:cubicBezTo>
                  <a:pt x="20300" y="5400"/>
                  <a:pt x="20464" y="5335"/>
                  <a:pt x="20618" y="5234"/>
                </a:cubicBezTo>
                <a:cubicBezTo>
                  <a:pt x="20618" y="5234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9" y="18000"/>
                  <a:pt x="20618" y="18403"/>
                  <a:pt x="20618" y="18900"/>
                </a:cubicBezTo>
                <a:cubicBezTo>
                  <a:pt x="20618" y="19397"/>
                  <a:pt x="20399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7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7"/>
                  <a:pt x="1744" y="3600"/>
                  <a:pt x="1473" y="3600"/>
                </a:cubicBezTo>
                <a:cubicBezTo>
                  <a:pt x="1201" y="3600"/>
                  <a:pt x="982" y="3197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  <a:moveTo>
                  <a:pt x="12385" y="13801"/>
                </a:moveTo>
                <a:cubicBezTo>
                  <a:pt x="12304" y="14141"/>
                  <a:pt x="12193" y="14422"/>
                  <a:pt x="12052" y="14646"/>
                </a:cubicBezTo>
                <a:cubicBezTo>
                  <a:pt x="11912" y="14871"/>
                  <a:pt x="11747" y="15042"/>
                  <a:pt x="11558" y="15160"/>
                </a:cubicBezTo>
                <a:cubicBezTo>
                  <a:pt x="11369" y="15278"/>
                  <a:pt x="11221" y="15345"/>
                  <a:pt x="11001" y="15362"/>
                </a:cubicBezTo>
                <a:lnTo>
                  <a:pt x="11001" y="16198"/>
                </a:lnTo>
                <a:lnTo>
                  <a:pt x="10605" y="16198"/>
                </a:lnTo>
                <a:lnTo>
                  <a:pt x="10605" y="15362"/>
                </a:lnTo>
                <a:cubicBezTo>
                  <a:pt x="10368" y="15353"/>
                  <a:pt x="10206" y="15284"/>
                  <a:pt x="10009" y="15154"/>
                </a:cubicBezTo>
                <a:cubicBezTo>
                  <a:pt x="9811" y="15023"/>
                  <a:pt x="9642" y="14837"/>
                  <a:pt x="9501" y="14596"/>
                </a:cubicBezTo>
                <a:cubicBezTo>
                  <a:pt x="9361" y="14356"/>
                  <a:pt x="9252" y="14061"/>
                  <a:pt x="9175" y="13710"/>
                </a:cubicBezTo>
                <a:cubicBezTo>
                  <a:pt x="9098" y="13359"/>
                  <a:pt x="9062" y="12956"/>
                  <a:pt x="9066" y="12498"/>
                </a:cubicBezTo>
                <a:lnTo>
                  <a:pt x="9818" y="12498"/>
                </a:lnTo>
                <a:cubicBezTo>
                  <a:pt x="9813" y="13036"/>
                  <a:pt x="9877" y="13461"/>
                  <a:pt x="10009" y="13770"/>
                </a:cubicBezTo>
                <a:cubicBezTo>
                  <a:pt x="10140" y="14081"/>
                  <a:pt x="10302" y="14244"/>
                  <a:pt x="10605" y="14261"/>
                </a:cubicBezTo>
                <a:lnTo>
                  <a:pt x="10605" y="11299"/>
                </a:lnTo>
                <a:cubicBezTo>
                  <a:pt x="10425" y="11209"/>
                  <a:pt x="10302" y="11101"/>
                  <a:pt x="10124" y="10974"/>
                </a:cubicBezTo>
                <a:cubicBezTo>
                  <a:pt x="9946" y="10849"/>
                  <a:pt x="9786" y="10686"/>
                  <a:pt x="9643" y="10485"/>
                </a:cubicBezTo>
                <a:cubicBezTo>
                  <a:pt x="9500" y="10285"/>
                  <a:pt x="9385" y="10035"/>
                  <a:pt x="9297" y="9733"/>
                </a:cubicBezTo>
                <a:cubicBezTo>
                  <a:pt x="9209" y="9431"/>
                  <a:pt x="9165" y="9056"/>
                  <a:pt x="9165" y="8607"/>
                </a:cubicBezTo>
                <a:cubicBezTo>
                  <a:pt x="9165" y="8216"/>
                  <a:pt x="9206" y="7871"/>
                  <a:pt x="9287" y="7574"/>
                </a:cubicBezTo>
                <a:cubicBezTo>
                  <a:pt x="9369" y="7276"/>
                  <a:pt x="9478" y="7026"/>
                  <a:pt x="9617" y="6827"/>
                </a:cubicBezTo>
                <a:cubicBezTo>
                  <a:pt x="9755" y="6627"/>
                  <a:pt x="9914" y="6474"/>
                  <a:pt x="10094" y="6368"/>
                </a:cubicBezTo>
                <a:cubicBezTo>
                  <a:pt x="10275" y="6262"/>
                  <a:pt x="10408" y="6209"/>
                  <a:pt x="10605" y="6209"/>
                </a:cubicBezTo>
                <a:lnTo>
                  <a:pt x="10605" y="5406"/>
                </a:lnTo>
                <a:lnTo>
                  <a:pt x="11001" y="5406"/>
                </a:lnTo>
                <a:lnTo>
                  <a:pt x="11001" y="6209"/>
                </a:lnTo>
                <a:cubicBezTo>
                  <a:pt x="11199" y="6209"/>
                  <a:pt x="11329" y="6257"/>
                  <a:pt x="11505" y="6356"/>
                </a:cubicBezTo>
                <a:cubicBezTo>
                  <a:pt x="11681" y="6454"/>
                  <a:pt x="11834" y="6601"/>
                  <a:pt x="11963" y="6796"/>
                </a:cubicBezTo>
                <a:cubicBezTo>
                  <a:pt x="12093" y="6992"/>
                  <a:pt x="12196" y="7241"/>
                  <a:pt x="12273" y="7543"/>
                </a:cubicBezTo>
                <a:cubicBezTo>
                  <a:pt x="12350" y="7845"/>
                  <a:pt x="12389" y="8195"/>
                  <a:pt x="12389" y="8594"/>
                </a:cubicBezTo>
                <a:lnTo>
                  <a:pt x="11637" y="8594"/>
                </a:lnTo>
                <a:cubicBezTo>
                  <a:pt x="11628" y="8179"/>
                  <a:pt x="11570" y="7860"/>
                  <a:pt x="11463" y="7641"/>
                </a:cubicBezTo>
                <a:cubicBezTo>
                  <a:pt x="11355" y="7420"/>
                  <a:pt x="11238" y="7311"/>
                  <a:pt x="11001" y="7311"/>
                </a:cubicBezTo>
                <a:lnTo>
                  <a:pt x="11001" y="9892"/>
                </a:lnTo>
                <a:cubicBezTo>
                  <a:pt x="11199" y="9990"/>
                  <a:pt x="11336" y="10104"/>
                  <a:pt x="11525" y="10235"/>
                </a:cubicBezTo>
                <a:cubicBezTo>
                  <a:pt x="11714" y="10365"/>
                  <a:pt x="11881" y="10532"/>
                  <a:pt x="12026" y="10736"/>
                </a:cubicBezTo>
                <a:cubicBezTo>
                  <a:pt x="12171" y="10940"/>
                  <a:pt x="12287" y="11193"/>
                  <a:pt x="12375" y="11495"/>
                </a:cubicBezTo>
                <a:cubicBezTo>
                  <a:pt x="12463" y="11797"/>
                  <a:pt x="12507" y="12168"/>
                  <a:pt x="12507" y="12608"/>
                </a:cubicBezTo>
                <a:cubicBezTo>
                  <a:pt x="12507" y="13065"/>
                  <a:pt x="12466" y="13463"/>
                  <a:pt x="12385" y="13801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6"/>
                  <a:pt x="8631" y="18000"/>
                  <a:pt x="10800" y="18000"/>
                </a:cubicBezTo>
                <a:cubicBezTo>
                  <a:pt x="12969" y="18000"/>
                  <a:pt x="14727" y="14776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2"/>
                  <a:pt x="3927" y="4500"/>
                </a:cubicBezTo>
                <a:cubicBezTo>
                  <a:pt x="3927" y="4997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7"/>
                  <a:pt x="5891" y="4500"/>
                </a:cubicBezTo>
                <a:cubicBezTo>
                  <a:pt x="5891" y="4002"/>
                  <a:pt x="5671" y="3600"/>
                  <a:pt x="5400" y="36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9" name="Shape 2799"/>
          <p:cNvSpPr/>
          <p:nvPr/>
        </p:nvSpPr>
        <p:spPr>
          <a:xfrm>
            <a:off x="11357242" y="2929267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16" y="11782"/>
                </a:moveTo>
                <a:cubicBezTo>
                  <a:pt x="9916" y="11929"/>
                  <a:pt x="9939" y="12054"/>
                  <a:pt x="9982" y="12159"/>
                </a:cubicBezTo>
                <a:cubicBezTo>
                  <a:pt x="10026" y="12263"/>
                  <a:pt x="10082" y="12351"/>
                  <a:pt x="10151" y="12425"/>
                </a:cubicBezTo>
                <a:cubicBezTo>
                  <a:pt x="10219" y="12498"/>
                  <a:pt x="10298" y="12557"/>
                  <a:pt x="10388" y="12604"/>
                </a:cubicBezTo>
                <a:cubicBezTo>
                  <a:pt x="10478" y="12650"/>
                  <a:pt x="10513" y="12688"/>
                  <a:pt x="10605" y="12719"/>
                </a:cubicBezTo>
                <a:lnTo>
                  <a:pt x="10605" y="10882"/>
                </a:lnTo>
                <a:cubicBezTo>
                  <a:pt x="10368" y="10882"/>
                  <a:pt x="10241" y="10952"/>
                  <a:pt x="10111" y="11090"/>
                </a:cubicBezTo>
                <a:cubicBezTo>
                  <a:pt x="9981" y="11227"/>
                  <a:pt x="9916" y="11458"/>
                  <a:pt x="9916" y="11782"/>
                </a:cubicBezTo>
                <a:moveTo>
                  <a:pt x="11501" y="14278"/>
                </a:moveTo>
                <a:cubicBezTo>
                  <a:pt x="11425" y="14199"/>
                  <a:pt x="11338" y="14135"/>
                  <a:pt x="11242" y="14086"/>
                </a:cubicBezTo>
                <a:cubicBezTo>
                  <a:pt x="11145" y="14037"/>
                  <a:pt x="11102" y="13994"/>
                  <a:pt x="11001" y="13958"/>
                </a:cubicBezTo>
                <a:lnTo>
                  <a:pt x="11001" y="16096"/>
                </a:lnTo>
                <a:cubicBezTo>
                  <a:pt x="11238" y="16071"/>
                  <a:pt x="11377" y="15975"/>
                  <a:pt x="11528" y="15806"/>
                </a:cubicBezTo>
                <a:cubicBezTo>
                  <a:pt x="11680" y="15638"/>
                  <a:pt x="11756" y="15371"/>
                  <a:pt x="11756" y="15004"/>
                </a:cubicBezTo>
                <a:cubicBezTo>
                  <a:pt x="11756" y="14833"/>
                  <a:pt x="11733" y="14689"/>
                  <a:pt x="11686" y="14572"/>
                </a:cubicBezTo>
                <a:cubicBezTo>
                  <a:pt x="11640" y="14456"/>
                  <a:pt x="11579" y="14358"/>
                  <a:pt x="11501" y="14278"/>
                </a:cubicBezTo>
                <a:moveTo>
                  <a:pt x="12385" y="15751"/>
                </a:moveTo>
                <a:cubicBezTo>
                  <a:pt x="12304" y="16006"/>
                  <a:pt x="12193" y="16216"/>
                  <a:pt x="12052" y="16385"/>
                </a:cubicBezTo>
                <a:cubicBezTo>
                  <a:pt x="11911" y="16553"/>
                  <a:pt x="11747" y="16681"/>
                  <a:pt x="11558" y="16770"/>
                </a:cubicBezTo>
                <a:cubicBezTo>
                  <a:pt x="11369" y="16859"/>
                  <a:pt x="11221" y="16910"/>
                  <a:pt x="11001" y="16922"/>
                </a:cubicBezTo>
                <a:lnTo>
                  <a:pt x="11001" y="17549"/>
                </a:lnTo>
                <a:lnTo>
                  <a:pt x="10605" y="17549"/>
                </a:lnTo>
                <a:lnTo>
                  <a:pt x="10605" y="16922"/>
                </a:lnTo>
                <a:cubicBezTo>
                  <a:pt x="10368" y="16915"/>
                  <a:pt x="10206" y="16863"/>
                  <a:pt x="10009" y="16766"/>
                </a:cubicBezTo>
                <a:cubicBezTo>
                  <a:pt x="9811" y="16667"/>
                  <a:pt x="9642" y="16528"/>
                  <a:pt x="9501" y="16348"/>
                </a:cubicBezTo>
                <a:cubicBezTo>
                  <a:pt x="9361" y="16168"/>
                  <a:pt x="9252" y="15946"/>
                  <a:pt x="9175" y="15683"/>
                </a:cubicBezTo>
                <a:cubicBezTo>
                  <a:pt x="9098" y="15420"/>
                  <a:pt x="9062" y="15117"/>
                  <a:pt x="9066" y="14775"/>
                </a:cubicBezTo>
                <a:lnTo>
                  <a:pt x="9818" y="14775"/>
                </a:lnTo>
                <a:cubicBezTo>
                  <a:pt x="9813" y="15178"/>
                  <a:pt x="9877" y="15496"/>
                  <a:pt x="10009" y="15729"/>
                </a:cubicBezTo>
                <a:cubicBezTo>
                  <a:pt x="10140" y="15961"/>
                  <a:pt x="10302" y="16083"/>
                  <a:pt x="10605" y="16096"/>
                </a:cubicBezTo>
                <a:lnTo>
                  <a:pt x="10605" y="13875"/>
                </a:lnTo>
                <a:cubicBezTo>
                  <a:pt x="10425" y="13807"/>
                  <a:pt x="10302" y="13726"/>
                  <a:pt x="10124" y="13631"/>
                </a:cubicBezTo>
                <a:cubicBezTo>
                  <a:pt x="9946" y="13537"/>
                  <a:pt x="9786" y="13414"/>
                  <a:pt x="9643" y="13264"/>
                </a:cubicBezTo>
                <a:cubicBezTo>
                  <a:pt x="9500" y="13115"/>
                  <a:pt x="9385" y="12927"/>
                  <a:pt x="9297" y="12700"/>
                </a:cubicBezTo>
                <a:cubicBezTo>
                  <a:pt x="9209" y="12474"/>
                  <a:pt x="9165" y="12192"/>
                  <a:pt x="9165" y="11855"/>
                </a:cubicBezTo>
                <a:cubicBezTo>
                  <a:pt x="9165" y="11562"/>
                  <a:pt x="9206" y="11304"/>
                  <a:pt x="9287" y="11080"/>
                </a:cubicBezTo>
                <a:cubicBezTo>
                  <a:pt x="9369" y="10857"/>
                  <a:pt x="9478" y="10670"/>
                  <a:pt x="9617" y="10520"/>
                </a:cubicBezTo>
                <a:cubicBezTo>
                  <a:pt x="9755" y="10370"/>
                  <a:pt x="9914" y="10256"/>
                  <a:pt x="10094" y="10176"/>
                </a:cubicBezTo>
                <a:cubicBezTo>
                  <a:pt x="10274" y="10097"/>
                  <a:pt x="10407" y="10057"/>
                  <a:pt x="10605" y="10057"/>
                </a:cubicBezTo>
                <a:lnTo>
                  <a:pt x="10605" y="9455"/>
                </a:lnTo>
                <a:lnTo>
                  <a:pt x="11001" y="9455"/>
                </a:lnTo>
                <a:lnTo>
                  <a:pt x="11001" y="10057"/>
                </a:lnTo>
                <a:cubicBezTo>
                  <a:pt x="11199" y="10057"/>
                  <a:pt x="11329" y="10093"/>
                  <a:pt x="11505" y="10167"/>
                </a:cubicBezTo>
                <a:cubicBezTo>
                  <a:pt x="11681" y="10240"/>
                  <a:pt x="11834" y="10350"/>
                  <a:pt x="11963" y="10498"/>
                </a:cubicBezTo>
                <a:cubicBezTo>
                  <a:pt x="12093" y="10644"/>
                  <a:pt x="12196" y="10831"/>
                  <a:pt x="12273" y="11057"/>
                </a:cubicBezTo>
                <a:cubicBezTo>
                  <a:pt x="12350" y="11284"/>
                  <a:pt x="12388" y="11547"/>
                  <a:pt x="12388" y="11847"/>
                </a:cubicBezTo>
                <a:lnTo>
                  <a:pt x="11637" y="11847"/>
                </a:lnTo>
                <a:cubicBezTo>
                  <a:pt x="11628" y="11534"/>
                  <a:pt x="11570" y="11296"/>
                  <a:pt x="11463" y="11130"/>
                </a:cubicBezTo>
                <a:cubicBezTo>
                  <a:pt x="11355" y="10965"/>
                  <a:pt x="11238" y="10882"/>
                  <a:pt x="11001" y="10882"/>
                </a:cubicBezTo>
                <a:lnTo>
                  <a:pt x="11001" y="12819"/>
                </a:lnTo>
                <a:cubicBezTo>
                  <a:pt x="11199" y="12894"/>
                  <a:pt x="11336" y="12978"/>
                  <a:pt x="11525" y="13076"/>
                </a:cubicBezTo>
                <a:cubicBezTo>
                  <a:pt x="11714" y="13175"/>
                  <a:pt x="11881" y="13300"/>
                  <a:pt x="12026" y="13453"/>
                </a:cubicBezTo>
                <a:cubicBezTo>
                  <a:pt x="12171" y="13605"/>
                  <a:pt x="12287" y="13795"/>
                  <a:pt x="12375" y="14021"/>
                </a:cubicBezTo>
                <a:cubicBezTo>
                  <a:pt x="12463" y="14248"/>
                  <a:pt x="12507" y="14526"/>
                  <a:pt x="12507" y="14857"/>
                </a:cubicBezTo>
                <a:cubicBezTo>
                  <a:pt x="12507" y="15199"/>
                  <a:pt x="12466" y="15497"/>
                  <a:pt x="12385" y="15751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3"/>
                  <a:pt x="8631" y="18900"/>
                  <a:pt x="10800" y="18900"/>
                </a:cubicBezTo>
                <a:cubicBezTo>
                  <a:pt x="12969" y="18900"/>
                  <a:pt x="14727" y="16483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6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6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0" name="Shape 2800"/>
          <p:cNvSpPr/>
          <p:nvPr/>
        </p:nvSpPr>
        <p:spPr>
          <a:xfrm>
            <a:off x="1758543" y="4021180"/>
            <a:ext cx="558654" cy="3555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208" y="15258"/>
                </a:moveTo>
                <a:cubicBezTo>
                  <a:pt x="10138" y="15500"/>
                  <a:pt x="10044" y="15701"/>
                  <a:pt x="9923" y="15861"/>
                </a:cubicBezTo>
                <a:cubicBezTo>
                  <a:pt x="9802" y="16022"/>
                  <a:pt x="9660" y="16144"/>
                  <a:pt x="9499" y="16228"/>
                </a:cubicBezTo>
                <a:cubicBezTo>
                  <a:pt x="9362" y="16300"/>
                  <a:pt x="9243" y="16340"/>
                  <a:pt x="9097" y="16360"/>
                </a:cubicBezTo>
                <a:lnTo>
                  <a:pt x="9097" y="16971"/>
                </a:lnTo>
                <a:lnTo>
                  <a:pt x="8606" y="16971"/>
                </a:lnTo>
                <a:lnTo>
                  <a:pt x="8606" y="16361"/>
                </a:lnTo>
                <a:cubicBezTo>
                  <a:pt x="8446" y="16345"/>
                  <a:pt x="8316" y="16304"/>
                  <a:pt x="8171" y="16224"/>
                </a:cubicBezTo>
                <a:cubicBezTo>
                  <a:pt x="8001" y="16130"/>
                  <a:pt x="7856" y="15998"/>
                  <a:pt x="7736" y="15826"/>
                </a:cubicBezTo>
                <a:cubicBezTo>
                  <a:pt x="7615" y="15655"/>
                  <a:pt x="7522" y="15443"/>
                  <a:pt x="7456" y="15193"/>
                </a:cubicBezTo>
                <a:cubicBezTo>
                  <a:pt x="7390" y="14942"/>
                  <a:pt x="7359" y="14654"/>
                  <a:pt x="7363" y="14327"/>
                </a:cubicBezTo>
                <a:lnTo>
                  <a:pt x="8007" y="14327"/>
                </a:lnTo>
                <a:cubicBezTo>
                  <a:pt x="8003" y="14712"/>
                  <a:pt x="8058" y="15015"/>
                  <a:pt x="8171" y="15236"/>
                </a:cubicBezTo>
                <a:cubicBezTo>
                  <a:pt x="8270" y="15431"/>
                  <a:pt x="8403" y="15530"/>
                  <a:pt x="8606" y="15563"/>
                </a:cubicBezTo>
                <a:lnTo>
                  <a:pt x="8606" y="13432"/>
                </a:lnTo>
                <a:cubicBezTo>
                  <a:pt x="8492" y="13376"/>
                  <a:pt x="8395" y="13313"/>
                  <a:pt x="8270" y="13239"/>
                </a:cubicBezTo>
                <a:cubicBezTo>
                  <a:pt x="8118" y="13149"/>
                  <a:pt x="7980" y="13033"/>
                  <a:pt x="7857" y="12890"/>
                </a:cubicBezTo>
                <a:cubicBezTo>
                  <a:pt x="7735" y="12746"/>
                  <a:pt x="7636" y="12568"/>
                  <a:pt x="7561" y="12352"/>
                </a:cubicBezTo>
                <a:cubicBezTo>
                  <a:pt x="7485" y="12136"/>
                  <a:pt x="7448" y="11868"/>
                  <a:pt x="7448" y="11548"/>
                </a:cubicBezTo>
                <a:cubicBezTo>
                  <a:pt x="7448" y="11268"/>
                  <a:pt x="7483" y="11023"/>
                  <a:pt x="7553" y="10809"/>
                </a:cubicBezTo>
                <a:cubicBezTo>
                  <a:pt x="7622" y="10596"/>
                  <a:pt x="7716" y="10419"/>
                  <a:pt x="7835" y="10276"/>
                </a:cubicBezTo>
                <a:cubicBezTo>
                  <a:pt x="7954" y="10134"/>
                  <a:pt x="8090" y="10024"/>
                  <a:pt x="8244" y="9948"/>
                </a:cubicBezTo>
                <a:cubicBezTo>
                  <a:pt x="8373" y="9885"/>
                  <a:pt x="8479" y="9855"/>
                  <a:pt x="8606" y="9844"/>
                </a:cubicBezTo>
                <a:lnTo>
                  <a:pt x="8606" y="9257"/>
                </a:lnTo>
                <a:lnTo>
                  <a:pt x="9097" y="9257"/>
                </a:lnTo>
                <a:lnTo>
                  <a:pt x="9097" y="9844"/>
                </a:lnTo>
                <a:cubicBezTo>
                  <a:pt x="9224" y="9853"/>
                  <a:pt x="9328" y="9881"/>
                  <a:pt x="9453" y="9939"/>
                </a:cubicBezTo>
                <a:cubicBezTo>
                  <a:pt x="9605" y="10009"/>
                  <a:pt x="9735" y="10114"/>
                  <a:pt x="9847" y="10255"/>
                </a:cubicBezTo>
                <a:cubicBezTo>
                  <a:pt x="9957" y="10394"/>
                  <a:pt x="10046" y="10572"/>
                  <a:pt x="10112" y="10788"/>
                </a:cubicBezTo>
                <a:cubicBezTo>
                  <a:pt x="10178" y="11003"/>
                  <a:pt x="10211" y="11254"/>
                  <a:pt x="10211" y="11540"/>
                </a:cubicBezTo>
                <a:lnTo>
                  <a:pt x="9567" y="11540"/>
                </a:lnTo>
                <a:cubicBezTo>
                  <a:pt x="9559" y="11242"/>
                  <a:pt x="9509" y="11015"/>
                  <a:pt x="9417" y="10857"/>
                </a:cubicBezTo>
                <a:cubicBezTo>
                  <a:pt x="9339" y="10725"/>
                  <a:pt x="9243" y="10661"/>
                  <a:pt x="9097" y="10640"/>
                </a:cubicBezTo>
                <a:lnTo>
                  <a:pt x="9097" y="12504"/>
                </a:lnTo>
                <a:cubicBezTo>
                  <a:pt x="9226" y="12565"/>
                  <a:pt x="9336" y="12633"/>
                  <a:pt x="9471" y="12710"/>
                </a:cubicBezTo>
                <a:cubicBezTo>
                  <a:pt x="9633" y="12804"/>
                  <a:pt x="9776" y="12923"/>
                  <a:pt x="9900" y="13069"/>
                </a:cubicBezTo>
                <a:cubicBezTo>
                  <a:pt x="10024" y="13215"/>
                  <a:pt x="10124" y="13395"/>
                  <a:pt x="10200" y="13610"/>
                </a:cubicBezTo>
                <a:cubicBezTo>
                  <a:pt x="10275" y="13827"/>
                  <a:pt x="10312" y="14091"/>
                  <a:pt x="10312" y="14407"/>
                </a:cubicBezTo>
                <a:cubicBezTo>
                  <a:pt x="10312" y="14732"/>
                  <a:pt x="10278" y="15016"/>
                  <a:pt x="10208" y="152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6"/>
                  <a:pt x="6938" y="18514"/>
                  <a:pt x="8836" y="18514"/>
                </a:cubicBezTo>
                <a:cubicBezTo>
                  <a:pt x="10734" y="18514"/>
                  <a:pt x="12273" y="16096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0"/>
                  <a:pt x="3927" y="1543"/>
                </a:cubicBezTo>
                <a:lnTo>
                  <a:pt x="3927" y="2314"/>
                </a:lnTo>
                <a:cubicBezTo>
                  <a:pt x="3927" y="2740"/>
                  <a:pt x="4147" y="3086"/>
                  <a:pt x="4418" y="3086"/>
                </a:cubicBezTo>
                <a:cubicBezTo>
                  <a:pt x="4689" y="3086"/>
                  <a:pt x="4909" y="2740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0"/>
                  <a:pt x="21600" y="15429"/>
                </a:cubicBezTo>
                <a:lnTo>
                  <a:pt x="21600" y="1543"/>
                </a:lnTo>
                <a:cubicBezTo>
                  <a:pt x="21600" y="690"/>
                  <a:pt x="21160" y="0"/>
                  <a:pt x="20618" y="0"/>
                </a:cubicBezTo>
                <a:moveTo>
                  <a:pt x="9451" y="13856"/>
                </a:moveTo>
                <a:cubicBezTo>
                  <a:pt x="9385" y="13780"/>
                  <a:pt x="9310" y="13718"/>
                  <a:pt x="9228" y="13671"/>
                </a:cubicBezTo>
                <a:cubicBezTo>
                  <a:pt x="9175" y="13642"/>
                  <a:pt x="9137" y="13616"/>
                  <a:pt x="9097" y="13590"/>
                </a:cubicBezTo>
                <a:lnTo>
                  <a:pt x="9097" y="15560"/>
                </a:lnTo>
                <a:cubicBezTo>
                  <a:pt x="9250" y="15523"/>
                  <a:pt x="9363" y="15447"/>
                  <a:pt x="9473" y="15311"/>
                </a:cubicBezTo>
                <a:cubicBezTo>
                  <a:pt x="9604" y="15151"/>
                  <a:pt x="9668" y="14896"/>
                  <a:pt x="9668" y="14545"/>
                </a:cubicBezTo>
                <a:cubicBezTo>
                  <a:pt x="9668" y="14383"/>
                  <a:pt x="9649" y="14246"/>
                  <a:pt x="9609" y="14135"/>
                </a:cubicBezTo>
                <a:cubicBezTo>
                  <a:pt x="9570" y="14024"/>
                  <a:pt x="9517" y="13931"/>
                  <a:pt x="9451" y="13856"/>
                </a:cubicBezTo>
                <a:moveTo>
                  <a:pt x="13255" y="16971"/>
                </a:moveTo>
                <a:cubicBezTo>
                  <a:pt x="12983" y="16971"/>
                  <a:pt x="12764" y="17316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6"/>
                  <a:pt x="13525" y="16971"/>
                  <a:pt x="13255" y="16971"/>
                </a:cubicBezTo>
                <a:moveTo>
                  <a:pt x="16200" y="7714"/>
                </a:moveTo>
                <a:cubicBezTo>
                  <a:pt x="15928" y="7714"/>
                  <a:pt x="15709" y="7369"/>
                  <a:pt x="15709" y="6943"/>
                </a:cubicBezTo>
                <a:cubicBezTo>
                  <a:pt x="15709" y="6516"/>
                  <a:pt x="15928" y="6171"/>
                  <a:pt x="16200" y="6171"/>
                </a:cubicBezTo>
                <a:cubicBezTo>
                  <a:pt x="16471" y="6171"/>
                  <a:pt x="16691" y="6516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7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7"/>
                  <a:pt x="14762" y="19814"/>
                  <a:pt x="14817" y="20057"/>
                </a:cubicBezTo>
                <a:lnTo>
                  <a:pt x="2855" y="20057"/>
                </a:lnTo>
                <a:cubicBezTo>
                  <a:pt x="2910" y="19814"/>
                  <a:pt x="2945" y="19557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7"/>
                  <a:pt x="982" y="17113"/>
                </a:cubicBezTo>
                <a:lnTo>
                  <a:pt x="982" y="9115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1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2" y="6414"/>
                  <a:pt x="14727" y="6671"/>
                  <a:pt x="14727" y="6943"/>
                </a:cubicBezTo>
                <a:cubicBezTo>
                  <a:pt x="14727" y="8221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5"/>
                </a:cubicBezTo>
                <a:cubicBezTo>
                  <a:pt x="16691" y="9115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8" y="20057"/>
                  <a:pt x="15709" y="19712"/>
                  <a:pt x="15709" y="19286"/>
                </a:cubicBezTo>
                <a:cubicBezTo>
                  <a:pt x="15709" y="18859"/>
                  <a:pt x="15928" y="18514"/>
                  <a:pt x="16200" y="18514"/>
                </a:cubicBezTo>
                <a:cubicBezTo>
                  <a:pt x="16471" y="18514"/>
                  <a:pt x="16691" y="18859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59"/>
                  <a:pt x="1201" y="18514"/>
                  <a:pt x="1473" y="18514"/>
                </a:cubicBezTo>
                <a:cubicBezTo>
                  <a:pt x="1744" y="18514"/>
                  <a:pt x="1964" y="18859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6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6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39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39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092" y="11478"/>
                </a:moveTo>
                <a:cubicBezTo>
                  <a:pt x="8092" y="11618"/>
                  <a:pt x="8111" y="11738"/>
                  <a:pt x="8149" y="11836"/>
                </a:cubicBezTo>
                <a:cubicBezTo>
                  <a:pt x="8186" y="11936"/>
                  <a:pt x="8234" y="12020"/>
                  <a:pt x="8293" y="12090"/>
                </a:cubicBezTo>
                <a:cubicBezTo>
                  <a:pt x="8351" y="12160"/>
                  <a:pt x="8419" y="12217"/>
                  <a:pt x="8496" y="12260"/>
                </a:cubicBezTo>
                <a:cubicBezTo>
                  <a:pt x="8542" y="12286"/>
                  <a:pt x="8573" y="12310"/>
                  <a:pt x="8606" y="12330"/>
                </a:cubicBezTo>
                <a:lnTo>
                  <a:pt x="8606" y="10637"/>
                </a:lnTo>
                <a:cubicBezTo>
                  <a:pt x="8457" y="10653"/>
                  <a:pt x="8353" y="10708"/>
                  <a:pt x="8258" y="10818"/>
                </a:cubicBezTo>
                <a:cubicBezTo>
                  <a:pt x="8147" y="10949"/>
                  <a:pt x="8092" y="11170"/>
                  <a:pt x="8092" y="11478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1" name="Shape 2801"/>
          <p:cNvSpPr/>
          <p:nvPr/>
        </p:nvSpPr>
        <p:spPr>
          <a:xfrm>
            <a:off x="2825064" y="4046574"/>
            <a:ext cx="558654" cy="3047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58" y="9506"/>
                </a:moveTo>
                <a:lnTo>
                  <a:pt x="11671" y="10299"/>
                </a:lnTo>
                <a:lnTo>
                  <a:pt x="9907" y="10299"/>
                </a:lnTo>
                <a:cubicBezTo>
                  <a:pt x="9902" y="10340"/>
                  <a:pt x="9900" y="10398"/>
                  <a:pt x="9900" y="10472"/>
                </a:cubicBezTo>
                <a:lnTo>
                  <a:pt x="9900" y="10757"/>
                </a:lnTo>
                <a:cubicBezTo>
                  <a:pt x="9900" y="10972"/>
                  <a:pt x="9902" y="11100"/>
                  <a:pt x="9907" y="11141"/>
                </a:cubicBezTo>
                <a:lnTo>
                  <a:pt x="11570" y="11141"/>
                </a:lnTo>
                <a:lnTo>
                  <a:pt x="11390" y="11921"/>
                </a:lnTo>
                <a:lnTo>
                  <a:pt x="9943" y="11921"/>
                </a:lnTo>
                <a:cubicBezTo>
                  <a:pt x="10001" y="12589"/>
                  <a:pt x="10123" y="13114"/>
                  <a:pt x="10311" y="13494"/>
                </a:cubicBezTo>
                <a:cubicBezTo>
                  <a:pt x="10527" y="13964"/>
                  <a:pt x="10819" y="14199"/>
                  <a:pt x="11189" y="14199"/>
                </a:cubicBezTo>
                <a:cubicBezTo>
                  <a:pt x="11429" y="14199"/>
                  <a:pt x="11628" y="14134"/>
                  <a:pt x="11786" y="14001"/>
                </a:cubicBezTo>
                <a:cubicBezTo>
                  <a:pt x="11930" y="13878"/>
                  <a:pt x="12093" y="13671"/>
                  <a:pt x="12276" y="13382"/>
                </a:cubicBezTo>
                <a:lnTo>
                  <a:pt x="12276" y="14756"/>
                </a:lnTo>
                <a:cubicBezTo>
                  <a:pt x="11949" y="15119"/>
                  <a:pt x="11587" y="15301"/>
                  <a:pt x="11189" y="15301"/>
                </a:cubicBezTo>
                <a:cubicBezTo>
                  <a:pt x="10546" y="15301"/>
                  <a:pt x="10044" y="14963"/>
                  <a:pt x="9683" y="14287"/>
                </a:cubicBezTo>
                <a:cubicBezTo>
                  <a:pt x="9372" y="13700"/>
                  <a:pt x="9177" y="12912"/>
                  <a:pt x="9100" y="11921"/>
                </a:cubicBezTo>
                <a:lnTo>
                  <a:pt x="8546" y="11921"/>
                </a:lnTo>
                <a:lnTo>
                  <a:pt x="8740" y="11141"/>
                </a:lnTo>
                <a:lnTo>
                  <a:pt x="9065" y="11141"/>
                </a:lnTo>
                <a:cubicBezTo>
                  <a:pt x="9060" y="11083"/>
                  <a:pt x="9056" y="11022"/>
                  <a:pt x="9054" y="10955"/>
                </a:cubicBezTo>
                <a:cubicBezTo>
                  <a:pt x="9051" y="10889"/>
                  <a:pt x="9050" y="10819"/>
                  <a:pt x="9050" y="10744"/>
                </a:cubicBezTo>
                <a:cubicBezTo>
                  <a:pt x="9050" y="10687"/>
                  <a:pt x="9051" y="10620"/>
                  <a:pt x="9054" y="10547"/>
                </a:cubicBezTo>
                <a:cubicBezTo>
                  <a:pt x="9056" y="10472"/>
                  <a:pt x="9060" y="10389"/>
                  <a:pt x="9065" y="10299"/>
                </a:cubicBezTo>
                <a:lnTo>
                  <a:pt x="8546" y="10299"/>
                </a:lnTo>
                <a:lnTo>
                  <a:pt x="8734" y="9506"/>
                </a:lnTo>
                <a:lnTo>
                  <a:pt x="9115" y="9506"/>
                </a:lnTo>
                <a:cubicBezTo>
                  <a:pt x="9235" y="8557"/>
                  <a:pt x="9453" y="7806"/>
                  <a:pt x="9770" y="7253"/>
                </a:cubicBezTo>
                <a:cubicBezTo>
                  <a:pt x="10140" y="6617"/>
                  <a:pt x="10612" y="6299"/>
                  <a:pt x="11189" y="6299"/>
                </a:cubicBezTo>
                <a:cubicBezTo>
                  <a:pt x="11606" y="6299"/>
                  <a:pt x="12034" y="6555"/>
                  <a:pt x="12470" y="7066"/>
                </a:cubicBezTo>
                <a:lnTo>
                  <a:pt x="12139" y="8193"/>
                </a:lnTo>
                <a:cubicBezTo>
                  <a:pt x="11832" y="7666"/>
                  <a:pt x="11496" y="7401"/>
                  <a:pt x="11131" y="7401"/>
                </a:cubicBezTo>
                <a:cubicBezTo>
                  <a:pt x="10809" y="7401"/>
                  <a:pt x="10541" y="7620"/>
                  <a:pt x="10325" y="8058"/>
                </a:cubicBezTo>
                <a:cubicBezTo>
                  <a:pt x="10142" y="8445"/>
                  <a:pt x="10020" y="8929"/>
                  <a:pt x="9957" y="9506"/>
                </a:cubicBezTo>
                <a:cubicBezTo>
                  <a:pt x="9957" y="9506"/>
                  <a:pt x="11858" y="9506"/>
                  <a:pt x="11858" y="9506"/>
                </a:cubicBezTo>
                <a:close/>
                <a:moveTo>
                  <a:pt x="10800" y="3601"/>
                </a:moveTo>
                <a:cubicBezTo>
                  <a:pt x="8631" y="3601"/>
                  <a:pt x="6873" y="6824"/>
                  <a:pt x="6873" y="10799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799"/>
                </a:cubicBezTo>
                <a:cubicBezTo>
                  <a:pt x="14727" y="6824"/>
                  <a:pt x="12969" y="3601"/>
                  <a:pt x="10800" y="3601"/>
                </a:cubicBezTo>
                <a:moveTo>
                  <a:pt x="5400" y="3601"/>
                </a:moveTo>
                <a:lnTo>
                  <a:pt x="4418" y="3601"/>
                </a:lnTo>
                <a:cubicBezTo>
                  <a:pt x="4147" y="3601"/>
                  <a:pt x="3927" y="4003"/>
                  <a:pt x="3927" y="4501"/>
                </a:cubicBezTo>
                <a:cubicBezTo>
                  <a:pt x="3927" y="4998"/>
                  <a:pt x="4147" y="5401"/>
                  <a:pt x="4418" y="5401"/>
                </a:cubicBezTo>
                <a:lnTo>
                  <a:pt x="5400" y="5401"/>
                </a:lnTo>
                <a:cubicBezTo>
                  <a:pt x="5671" y="5401"/>
                  <a:pt x="5891" y="4998"/>
                  <a:pt x="5891" y="4501"/>
                </a:cubicBezTo>
                <a:cubicBezTo>
                  <a:pt x="5891" y="4003"/>
                  <a:pt x="5671" y="3601"/>
                  <a:pt x="5400" y="3601"/>
                </a:cubicBezTo>
                <a:moveTo>
                  <a:pt x="17182" y="16199"/>
                </a:moveTo>
                <a:lnTo>
                  <a:pt x="16200" y="16199"/>
                </a:lnTo>
                <a:cubicBezTo>
                  <a:pt x="15929" y="16199"/>
                  <a:pt x="15709" y="16603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3"/>
                  <a:pt x="17453" y="16199"/>
                  <a:pt x="17182" y="16199"/>
                </a:cubicBezTo>
                <a:moveTo>
                  <a:pt x="20127" y="3601"/>
                </a:moveTo>
                <a:cubicBezTo>
                  <a:pt x="19856" y="3601"/>
                  <a:pt x="19636" y="3198"/>
                  <a:pt x="19636" y="2701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1"/>
                </a:cubicBezTo>
                <a:cubicBezTo>
                  <a:pt x="20618" y="3198"/>
                  <a:pt x="20398" y="3601"/>
                  <a:pt x="20127" y="3601"/>
                </a:cubicBezTo>
                <a:moveTo>
                  <a:pt x="20618" y="16365"/>
                </a:moveTo>
                <a:cubicBezTo>
                  <a:pt x="20464" y="16264"/>
                  <a:pt x="20300" y="16199"/>
                  <a:pt x="20127" y="16199"/>
                </a:cubicBezTo>
                <a:cubicBezTo>
                  <a:pt x="19314" y="16199"/>
                  <a:pt x="18655" y="17409"/>
                  <a:pt x="18655" y="18900"/>
                </a:cubicBezTo>
                <a:cubicBezTo>
                  <a:pt x="18655" y="19217"/>
                  <a:pt x="18689" y="19517"/>
                  <a:pt x="18744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9"/>
                  <a:pt x="2286" y="16199"/>
                  <a:pt x="1473" y="16199"/>
                </a:cubicBezTo>
                <a:cubicBezTo>
                  <a:pt x="1299" y="16199"/>
                  <a:pt x="1136" y="16264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1"/>
                  <a:pt x="1473" y="5401"/>
                </a:cubicBezTo>
                <a:cubicBezTo>
                  <a:pt x="2286" y="5401"/>
                  <a:pt x="2945" y="4192"/>
                  <a:pt x="2945" y="2701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89" y="2083"/>
                  <a:pt x="18655" y="2383"/>
                  <a:pt x="18655" y="2701"/>
                </a:cubicBezTo>
                <a:cubicBezTo>
                  <a:pt x="18655" y="4192"/>
                  <a:pt x="19314" y="5401"/>
                  <a:pt x="20127" y="5401"/>
                </a:cubicBezTo>
                <a:cubicBezTo>
                  <a:pt x="20300" y="5401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2"/>
                  <a:pt x="19856" y="18000"/>
                  <a:pt x="20127" y="18000"/>
                </a:cubicBezTo>
                <a:cubicBezTo>
                  <a:pt x="20398" y="18000"/>
                  <a:pt x="20618" y="18402"/>
                  <a:pt x="20618" y="18900"/>
                </a:cubicBezTo>
                <a:cubicBezTo>
                  <a:pt x="20618" y="19397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2" y="19800"/>
                  <a:pt x="982" y="19397"/>
                  <a:pt x="982" y="18900"/>
                </a:cubicBezTo>
                <a:cubicBezTo>
                  <a:pt x="982" y="18402"/>
                  <a:pt x="1202" y="18000"/>
                  <a:pt x="1473" y="18000"/>
                </a:cubicBezTo>
                <a:cubicBezTo>
                  <a:pt x="1744" y="18000"/>
                  <a:pt x="1964" y="18402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1"/>
                </a:cubicBezTo>
                <a:cubicBezTo>
                  <a:pt x="1964" y="3198"/>
                  <a:pt x="1744" y="3601"/>
                  <a:pt x="1473" y="3601"/>
                </a:cubicBezTo>
                <a:cubicBezTo>
                  <a:pt x="1202" y="3601"/>
                  <a:pt x="982" y="3198"/>
                  <a:pt x="982" y="2701"/>
                </a:cubicBezTo>
                <a:cubicBezTo>
                  <a:pt x="982" y="2203"/>
                  <a:pt x="1202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3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2" name="Shape 2802"/>
          <p:cNvSpPr/>
          <p:nvPr/>
        </p:nvSpPr>
        <p:spPr>
          <a:xfrm>
            <a:off x="3891587" y="3995789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  <a:moveTo>
                  <a:pt x="11858" y="12529"/>
                </a:moveTo>
                <a:lnTo>
                  <a:pt x="11671" y="13124"/>
                </a:lnTo>
                <a:lnTo>
                  <a:pt x="9908" y="13124"/>
                </a:lnTo>
                <a:cubicBezTo>
                  <a:pt x="9902" y="13155"/>
                  <a:pt x="9900" y="13198"/>
                  <a:pt x="9900" y="13254"/>
                </a:cubicBezTo>
                <a:lnTo>
                  <a:pt x="9900" y="13468"/>
                </a:lnTo>
                <a:cubicBezTo>
                  <a:pt x="9900" y="13629"/>
                  <a:pt x="9902" y="13725"/>
                  <a:pt x="9908" y="13756"/>
                </a:cubicBezTo>
                <a:lnTo>
                  <a:pt x="11570" y="13756"/>
                </a:lnTo>
                <a:lnTo>
                  <a:pt x="11391" y="14340"/>
                </a:lnTo>
                <a:lnTo>
                  <a:pt x="9943" y="14340"/>
                </a:lnTo>
                <a:cubicBezTo>
                  <a:pt x="10001" y="14842"/>
                  <a:pt x="10124" y="15236"/>
                  <a:pt x="10311" y="15520"/>
                </a:cubicBezTo>
                <a:cubicBezTo>
                  <a:pt x="10527" y="15873"/>
                  <a:pt x="10819" y="16050"/>
                  <a:pt x="11189" y="16050"/>
                </a:cubicBezTo>
                <a:cubicBezTo>
                  <a:pt x="11429" y="16050"/>
                  <a:pt x="11628" y="16000"/>
                  <a:pt x="11787" y="15901"/>
                </a:cubicBezTo>
                <a:cubicBezTo>
                  <a:pt x="11930" y="15808"/>
                  <a:pt x="12093" y="15654"/>
                  <a:pt x="12276" y="15437"/>
                </a:cubicBezTo>
                <a:lnTo>
                  <a:pt x="12276" y="16468"/>
                </a:lnTo>
                <a:cubicBezTo>
                  <a:pt x="11950" y="16741"/>
                  <a:pt x="11587" y="16876"/>
                  <a:pt x="11189" y="16876"/>
                </a:cubicBezTo>
                <a:cubicBezTo>
                  <a:pt x="10546" y="16876"/>
                  <a:pt x="10044" y="16623"/>
                  <a:pt x="9684" y="16114"/>
                </a:cubicBezTo>
                <a:cubicBezTo>
                  <a:pt x="9372" y="15676"/>
                  <a:pt x="9177" y="15084"/>
                  <a:pt x="9101" y="14340"/>
                </a:cubicBezTo>
                <a:lnTo>
                  <a:pt x="8547" y="14340"/>
                </a:lnTo>
                <a:lnTo>
                  <a:pt x="8741" y="13756"/>
                </a:lnTo>
                <a:lnTo>
                  <a:pt x="9065" y="13756"/>
                </a:lnTo>
                <a:cubicBezTo>
                  <a:pt x="9060" y="13712"/>
                  <a:pt x="9056" y="13666"/>
                  <a:pt x="9054" y="13617"/>
                </a:cubicBezTo>
                <a:cubicBezTo>
                  <a:pt x="9051" y="13567"/>
                  <a:pt x="9050" y="13515"/>
                  <a:pt x="9050" y="13458"/>
                </a:cubicBezTo>
                <a:cubicBezTo>
                  <a:pt x="9050" y="13416"/>
                  <a:pt x="9051" y="13366"/>
                  <a:pt x="9054" y="13310"/>
                </a:cubicBezTo>
                <a:cubicBezTo>
                  <a:pt x="9056" y="13254"/>
                  <a:pt x="9060" y="13192"/>
                  <a:pt x="9065" y="13124"/>
                </a:cubicBezTo>
                <a:lnTo>
                  <a:pt x="8547" y="13124"/>
                </a:lnTo>
                <a:lnTo>
                  <a:pt x="8734" y="12529"/>
                </a:lnTo>
                <a:lnTo>
                  <a:pt x="9115" y="12529"/>
                </a:lnTo>
                <a:cubicBezTo>
                  <a:pt x="9235" y="11818"/>
                  <a:pt x="9453" y="11254"/>
                  <a:pt x="9770" y="10840"/>
                </a:cubicBezTo>
                <a:cubicBezTo>
                  <a:pt x="10140" y="10363"/>
                  <a:pt x="10613" y="10124"/>
                  <a:pt x="11189" y="10124"/>
                </a:cubicBezTo>
                <a:cubicBezTo>
                  <a:pt x="11607" y="10124"/>
                  <a:pt x="12034" y="10316"/>
                  <a:pt x="12470" y="10700"/>
                </a:cubicBezTo>
                <a:lnTo>
                  <a:pt x="12139" y="11545"/>
                </a:lnTo>
                <a:cubicBezTo>
                  <a:pt x="11832" y="11150"/>
                  <a:pt x="11496" y="10951"/>
                  <a:pt x="11131" y="10951"/>
                </a:cubicBezTo>
                <a:cubicBezTo>
                  <a:pt x="10809" y="10951"/>
                  <a:pt x="10541" y="11115"/>
                  <a:pt x="10325" y="11443"/>
                </a:cubicBezTo>
                <a:cubicBezTo>
                  <a:pt x="10143" y="11734"/>
                  <a:pt x="10020" y="12097"/>
                  <a:pt x="9958" y="12529"/>
                </a:cubicBezTo>
                <a:cubicBezTo>
                  <a:pt x="9958" y="12529"/>
                  <a:pt x="11858" y="12529"/>
                  <a:pt x="11858" y="12529"/>
                </a:cubicBezTo>
                <a:close/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8" y="6750"/>
                  <a:pt x="20618" y="7052"/>
                  <a:pt x="20618" y="7425"/>
                </a:cubicBezTo>
                <a:cubicBezTo>
                  <a:pt x="20618" y="7798"/>
                  <a:pt x="20398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9"/>
                  <a:pt x="18745" y="20250"/>
                </a:cubicBezTo>
                <a:lnTo>
                  <a:pt x="2855" y="20250"/>
                </a:lnTo>
                <a:cubicBezTo>
                  <a:pt x="2910" y="20039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299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299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8" y="18900"/>
                  <a:pt x="20618" y="19203"/>
                  <a:pt x="20618" y="19575"/>
                </a:cubicBezTo>
                <a:cubicBezTo>
                  <a:pt x="20618" y="19948"/>
                  <a:pt x="20398" y="20250"/>
                  <a:pt x="20127" y="20250"/>
                </a:cubicBezTo>
                <a:moveTo>
                  <a:pt x="1473" y="20250"/>
                </a:moveTo>
                <a:cubicBezTo>
                  <a:pt x="1202" y="20250"/>
                  <a:pt x="982" y="19948"/>
                  <a:pt x="982" y="19575"/>
                </a:cubicBezTo>
                <a:cubicBezTo>
                  <a:pt x="982" y="19203"/>
                  <a:pt x="1202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2" y="8100"/>
                  <a:pt x="982" y="7798"/>
                  <a:pt x="982" y="7425"/>
                </a:cubicBezTo>
                <a:cubicBezTo>
                  <a:pt x="982" y="7052"/>
                  <a:pt x="1202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5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5"/>
                  <a:pt x="21160" y="5400"/>
                  <a:pt x="20618" y="54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6" y="4050"/>
                  <a:pt x="19636" y="3748"/>
                  <a:pt x="19636" y="3375"/>
                </a:cubicBezTo>
                <a:cubicBezTo>
                  <a:pt x="19636" y="3002"/>
                  <a:pt x="19416" y="2700"/>
                  <a:pt x="19145" y="2700"/>
                </a:cubicBezTo>
                <a:lnTo>
                  <a:pt x="2455" y="2700"/>
                </a:lnTo>
                <a:cubicBezTo>
                  <a:pt x="2184" y="2700"/>
                  <a:pt x="1964" y="3002"/>
                  <a:pt x="1964" y="3375"/>
                </a:cubicBezTo>
                <a:cubicBezTo>
                  <a:pt x="1964" y="3748"/>
                  <a:pt x="2184" y="4050"/>
                  <a:pt x="2455" y="405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3" name="Shape 2803"/>
          <p:cNvSpPr/>
          <p:nvPr/>
        </p:nvSpPr>
        <p:spPr>
          <a:xfrm>
            <a:off x="4958109" y="4021180"/>
            <a:ext cx="558654" cy="3555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34" y="12227"/>
                </a:moveTo>
                <a:lnTo>
                  <a:pt x="9494" y="12771"/>
                </a:lnTo>
                <a:lnTo>
                  <a:pt x="8171" y="12771"/>
                </a:lnTo>
                <a:cubicBezTo>
                  <a:pt x="8167" y="12799"/>
                  <a:pt x="8165" y="12839"/>
                  <a:pt x="8165" y="12890"/>
                </a:cubicBezTo>
                <a:lnTo>
                  <a:pt x="8165" y="13085"/>
                </a:lnTo>
                <a:cubicBezTo>
                  <a:pt x="8165" y="13232"/>
                  <a:pt x="8167" y="13320"/>
                  <a:pt x="8171" y="13348"/>
                </a:cubicBezTo>
                <a:lnTo>
                  <a:pt x="9418" y="13348"/>
                </a:lnTo>
                <a:lnTo>
                  <a:pt x="9283" y="13883"/>
                </a:lnTo>
                <a:lnTo>
                  <a:pt x="8198" y="13883"/>
                </a:lnTo>
                <a:cubicBezTo>
                  <a:pt x="8241" y="14342"/>
                  <a:pt x="8333" y="14701"/>
                  <a:pt x="8473" y="14961"/>
                </a:cubicBezTo>
                <a:cubicBezTo>
                  <a:pt x="8635" y="15284"/>
                  <a:pt x="8855" y="15445"/>
                  <a:pt x="9132" y="15445"/>
                </a:cubicBezTo>
                <a:cubicBezTo>
                  <a:pt x="9312" y="15445"/>
                  <a:pt x="9461" y="15401"/>
                  <a:pt x="9580" y="15310"/>
                </a:cubicBezTo>
                <a:cubicBezTo>
                  <a:pt x="9688" y="15225"/>
                  <a:pt x="9810" y="15084"/>
                  <a:pt x="9947" y="14885"/>
                </a:cubicBezTo>
                <a:lnTo>
                  <a:pt x="9947" y="15828"/>
                </a:lnTo>
                <a:cubicBezTo>
                  <a:pt x="9702" y="16076"/>
                  <a:pt x="9430" y="16202"/>
                  <a:pt x="9132" y="16202"/>
                </a:cubicBezTo>
                <a:cubicBezTo>
                  <a:pt x="8649" y="16202"/>
                  <a:pt x="8273" y="15970"/>
                  <a:pt x="8003" y="15505"/>
                </a:cubicBezTo>
                <a:cubicBezTo>
                  <a:pt x="7769" y="15104"/>
                  <a:pt x="7623" y="14562"/>
                  <a:pt x="7566" y="13883"/>
                </a:cubicBezTo>
                <a:lnTo>
                  <a:pt x="7150" y="13883"/>
                </a:lnTo>
                <a:lnTo>
                  <a:pt x="7296" y="13348"/>
                </a:lnTo>
                <a:lnTo>
                  <a:pt x="7539" y="13348"/>
                </a:lnTo>
                <a:cubicBezTo>
                  <a:pt x="7536" y="13309"/>
                  <a:pt x="7532" y="13267"/>
                  <a:pt x="7530" y="13221"/>
                </a:cubicBezTo>
                <a:cubicBezTo>
                  <a:pt x="7529" y="13175"/>
                  <a:pt x="7528" y="13127"/>
                  <a:pt x="7528" y="13077"/>
                </a:cubicBezTo>
                <a:cubicBezTo>
                  <a:pt x="7528" y="13037"/>
                  <a:pt x="7529" y="12991"/>
                  <a:pt x="7530" y="12941"/>
                </a:cubicBezTo>
                <a:cubicBezTo>
                  <a:pt x="7532" y="12890"/>
                  <a:pt x="7536" y="12833"/>
                  <a:pt x="7539" y="12771"/>
                </a:cubicBezTo>
                <a:lnTo>
                  <a:pt x="7150" y="12771"/>
                </a:lnTo>
                <a:lnTo>
                  <a:pt x="7291" y="12227"/>
                </a:lnTo>
                <a:lnTo>
                  <a:pt x="7577" y="12227"/>
                </a:lnTo>
                <a:cubicBezTo>
                  <a:pt x="7667" y="11576"/>
                  <a:pt x="7831" y="11061"/>
                  <a:pt x="8068" y="10682"/>
                </a:cubicBezTo>
                <a:cubicBezTo>
                  <a:pt x="8345" y="10247"/>
                  <a:pt x="8700" y="10028"/>
                  <a:pt x="9132" y="10028"/>
                </a:cubicBezTo>
                <a:cubicBezTo>
                  <a:pt x="9445" y="10028"/>
                  <a:pt x="9766" y="10203"/>
                  <a:pt x="10093" y="10554"/>
                </a:cubicBezTo>
                <a:lnTo>
                  <a:pt x="9845" y="11327"/>
                </a:lnTo>
                <a:cubicBezTo>
                  <a:pt x="9614" y="10965"/>
                  <a:pt x="9362" y="10783"/>
                  <a:pt x="9089" y="10783"/>
                </a:cubicBezTo>
                <a:cubicBezTo>
                  <a:pt x="8847" y="10783"/>
                  <a:pt x="8646" y="10934"/>
                  <a:pt x="8484" y="11234"/>
                </a:cubicBezTo>
                <a:cubicBezTo>
                  <a:pt x="8347" y="11500"/>
                  <a:pt x="8255" y="11831"/>
                  <a:pt x="8209" y="12227"/>
                </a:cubicBezTo>
                <a:cubicBezTo>
                  <a:pt x="8209" y="12227"/>
                  <a:pt x="9634" y="12227"/>
                  <a:pt x="9634" y="12227"/>
                </a:cubicBezTo>
                <a:close/>
                <a:moveTo>
                  <a:pt x="8836" y="7714"/>
                </a:moveTo>
                <a:cubicBezTo>
                  <a:pt x="6938" y="7714"/>
                  <a:pt x="5400" y="10133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3"/>
                  <a:pt x="10734" y="7714"/>
                  <a:pt x="8836" y="7714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8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8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2" y="20057"/>
                  <a:pt x="982" y="19712"/>
                  <a:pt x="982" y="19286"/>
                </a:cubicBezTo>
                <a:cubicBezTo>
                  <a:pt x="982" y="18860"/>
                  <a:pt x="1202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2" y="7714"/>
                  <a:pt x="982" y="7369"/>
                  <a:pt x="982" y="6943"/>
                </a:cubicBezTo>
                <a:cubicBezTo>
                  <a:pt x="982" y="6517"/>
                  <a:pt x="1202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89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5" y="15429"/>
                  <a:pt x="18655" y="15775"/>
                  <a:pt x="18655" y="16200"/>
                </a:cubicBezTo>
                <a:cubicBezTo>
                  <a:pt x="18655" y="16626"/>
                  <a:pt x="18875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3255" y="16971"/>
                </a:moveTo>
                <a:cubicBezTo>
                  <a:pt x="12984" y="16971"/>
                  <a:pt x="12764" y="17317"/>
                  <a:pt x="12764" y="17743"/>
                </a:cubicBezTo>
                <a:cubicBezTo>
                  <a:pt x="12764" y="18169"/>
                  <a:pt x="12984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7"/>
                  <a:pt x="13525" y="16971"/>
                  <a:pt x="13255" y="1697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4" name="Shape 2804"/>
          <p:cNvSpPr/>
          <p:nvPr/>
        </p:nvSpPr>
        <p:spPr>
          <a:xfrm>
            <a:off x="6024631" y="4046574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1057"/>
                </a:moveTo>
                <a:lnTo>
                  <a:pt x="10114" y="13116"/>
                </a:lnTo>
                <a:cubicBezTo>
                  <a:pt x="10458" y="13273"/>
                  <a:pt x="11518" y="13902"/>
                  <a:pt x="11675" y="12740"/>
                </a:cubicBezTo>
                <a:cubicBezTo>
                  <a:pt x="11839" y="11528"/>
                  <a:pt x="10736" y="11215"/>
                  <a:pt x="10393" y="11057"/>
                </a:cubicBezTo>
                <a:moveTo>
                  <a:pt x="10772" y="8246"/>
                </a:moveTo>
                <a:lnTo>
                  <a:pt x="10520" y="10114"/>
                </a:lnTo>
                <a:cubicBezTo>
                  <a:pt x="10806" y="10246"/>
                  <a:pt x="11689" y="10782"/>
                  <a:pt x="11832" y="9726"/>
                </a:cubicBezTo>
                <a:cubicBezTo>
                  <a:pt x="11981" y="8623"/>
                  <a:pt x="11059" y="8378"/>
                  <a:pt x="10772" y="8246"/>
                </a:cubicBezTo>
                <a:moveTo>
                  <a:pt x="12833" y="9742"/>
                </a:moveTo>
                <a:cubicBezTo>
                  <a:pt x="12767" y="10572"/>
                  <a:pt x="12517" y="10974"/>
                  <a:pt x="12186" y="11116"/>
                </a:cubicBezTo>
                <a:cubicBezTo>
                  <a:pt x="12641" y="11552"/>
                  <a:pt x="12872" y="12224"/>
                  <a:pt x="12652" y="13386"/>
                </a:cubicBezTo>
                <a:cubicBezTo>
                  <a:pt x="12378" y="14828"/>
                  <a:pt x="11728" y="14950"/>
                  <a:pt x="10863" y="14648"/>
                </a:cubicBezTo>
                <a:lnTo>
                  <a:pt x="10653" y="16200"/>
                </a:lnTo>
                <a:lnTo>
                  <a:pt x="10146" y="15966"/>
                </a:lnTo>
                <a:lnTo>
                  <a:pt x="10353" y="14435"/>
                </a:lnTo>
                <a:cubicBezTo>
                  <a:pt x="10222" y="14376"/>
                  <a:pt x="10088" y="14311"/>
                  <a:pt x="9949" y="14242"/>
                </a:cubicBezTo>
                <a:lnTo>
                  <a:pt x="9741" y="15780"/>
                </a:lnTo>
                <a:lnTo>
                  <a:pt x="9235" y="15548"/>
                </a:lnTo>
                <a:lnTo>
                  <a:pt x="9444" y="13993"/>
                </a:lnTo>
                <a:cubicBezTo>
                  <a:pt x="9326" y="13936"/>
                  <a:pt x="9206" y="13877"/>
                  <a:pt x="9083" y="13820"/>
                </a:cubicBezTo>
                <a:lnTo>
                  <a:pt x="8423" y="13517"/>
                </a:lnTo>
                <a:lnTo>
                  <a:pt x="8675" y="12446"/>
                </a:lnTo>
                <a:cubicBezTo>
                  <a:pt x="8675" y="12446"/>
                  <a:pt x="9049" y="12629"/>
                  <a:pt x="9043" y="12615"/>
                </a:cubicBezTo>
                <a:cubicBezTo>
                  <a:pt x="9187" y="12681"/>
                  <a:pt x="9251" y="12509"/>
                  <a:pt x="9276" y="12393"/>
                </a:cubicBezTo>
                <a:lnTo>
                  <a:pt x="9607" y="9940"/>
                </a:lnTo>
                <a:cubicBezTo>
                  <a:pt x="9626" y="9949"/>
                  <a:pt x="9644" y="9957"/>
                  <a:pt x="9661" y="9965"/>
                </a:cubicBezTo>
                <a:cubicBezTo>
                  <a:pt x="9641" y="9950"/>
                  <a:pt x="9623" y="9940"/>
                  <a:pt x="9608" y="9933"/>
                </a:cubicBezTo>
                <a:lnTo>
                  <a:pt x="9845" y="8183"/>
                </a:lnTo>
                <a:cubicBezTo>
                  <a:pt x="9851" y="7984"/>
                  <a:pt x="9814" y="7733"/>
                  <a:pt x="9608" y="7639"/>
                </a:cubicBezTo>
                <a:cubicBezTo>
                  <a:pt x="9616" y="7629"/>
                  <a:pt x="9240" y="7469"/>
                  <a:pt x="9240" y="7469"/>
                </a:cubicBezTo>
                <a:lnTo>
                  <a:pt x="9375" y="6471"/>
                </a:lnTo>
                <a:lnTo>
                  <a:pt x="10074" y="6793"/>
                </a:lnTo>
                <a:lnTo>
                  <a:pt x="10074" y="6798"/>
                </a:lnTo>
                <a:cubicBezTo>
                  <a:pt x="10179" y="6845"/>
                  <a:pt x="10288" y="6892"/>
                  <a:pt x="10398" y="6937"/>
                </a:cubicBezTo>
                <a:lnTo>
                  <a:pt x="10606" y="5401"/>
                </a:lnTo>
                <a:lnTo>
                  <a:pt x="11113" y="5634"/>
                </a:lnTo>
                <a:lnTo>
                  <a:pt x="10909" y="7140"/>
                </a:lnTo>
                <a:cubicBezTo>
                  <a:pt x="11045" y="7197"/>
                  <a:pt x="11182" y="7255"/>
                  <a:pt x="11315" y="7317"/>
                </a:cubicBezTo>
                <a:lnTo>
                  <a:pt x="11517" y="5821"/>
                </a:lnTo>
                <a:lnTo>
                  <a:pt x="12025" y="6054"/>
                </a:lnTo>
                <a:lnTo>
                  <a:pt x="11817" y="7590"/>
                </a:lnTo>
                <a:cubicBezTo>
                  <a:pt x="12457" y="7998"/>
                  <a:pt x="12926" y="8607"/>
                  <a:pt x="12833" y="9742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8" y="16200"/>
                  <a:pt x="15709" y="16603"/>
                  <a:pt x="15709" y="17100"/>
                </a:cubicBezTo>
                <a:cubicBezTo>
                  <a:pt x="15709" y="17598"/>
                  <a:pt x="15928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8"/>
                  <a:pt x="17673" y="17100"/>
                </a:cubicBezTo>
                <a:cubicBezTo>
                  <a:pt x="17673" y="16603"/>
                  <a:pt x="17453" y="16200"/>
                  <a:pt x="17182" y="162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3"/>
                  <a:pt x="3927" y="4500"/>
                </a:cubicBezTo>
                <a:cubicBezTo>
                  <a:pt x="3927" y="4998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8"/>
                  <a:pt x="5891" y="4500"/>
                </a:cubicBezTo>
                <a:cubicBezTo>
                  <a:pt x="5891" y="4003"/>
                  <a:pt x="5671" y="3600"/>
                  <a:pt x="5400" y="3600"/>
                </a:cubicBezTo>
                <a:moveTo>
                  <a:pt x="20127" y="3600"/>
                </a:moveTo>
                <a:cubicBezTo>
                  <a:pt x="19856" y="3600"/>
                  <a:pt x="19636" y="3198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0"/>
                </a:cubicBezTo>
                <a:cubicBezTo>
                  <a:pt x="20618" y="3198"/>
                  <a:pt x="20398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10"/>
                  <a:pt x="18655" y="18900"/>
                </a:cubicBezTo>
                <a:cubicBezTo>
                  <a:pt x="18655" y="19217"/>
                  <a:pt x="18690" y="19518"/>
                  <a:pt x="18744" y="19800"/>
                </a:cubicBezTo>
                <a:lnTo>
                  <a:pt x="2855" y="19800"/>
                </a:lnTo>
                <a:cubicBezTo>
                  <a:pt x="2910" y="19518"/>
                  <a:pt x="2945" y="19217"/>
                  <a:pt x="2945" y="18900"/>
                </a:cubicBezTo>
                <a:cubicBezTo>
                  <a:pt x="2945" y="17410"/>
                  <a:pt x="2286" y="16200"/>
                  <a:pt x="1473" y="16200"/>
                </a:cubicBezTo>
                <a:cubicBezTo>
                  <a:pt x="1299" y="16200"/>
                  <a:pt x="1136" y="16265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0"/>
                  <a:pt x="1473" y="5400"/>
                </a:cubicBezTo>
                <a:cubicBezTo>
                  <a:pt x="2286" y="5400"/>
                  <a:pt x="2945" y="4192"/>
                  <a:pt x="2945" y="2700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90" y="2083"/>
                  <a:pt x="18655" y="2383"/>
                  <a:pt x="18655" y="2700"/>
                </a:cubicBezTo>
                <a:cubicBezTo>
                  <a:pt x="18655" y="4192"/>
                  <a:pt x="19314" y="5400"/>
                  <a:pt x="20127" y="5400"/>
                </a:cubicBezTo>
                <a:cubicBezTo>
                  <a:pt x="20300" y="5400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8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8" y="18000"/>
                  <a:pt x="20618" y="18403"/>
                  <a:pt x="20618" y="18900"/>
                </a:cubicBezTo>
                <a:cubicBezTo>
                  <a:pt x="20618" y="19398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8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8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8"/>
                  <a:pt x="1744" y="3600"/>
                  <a:pt x="1473" y="3600"/>
                </a:cubicBezTo>
                <a:cubicBezTo>
                  <a:pt x="1201" y="3600"/>
                  <a:pt x="982" y="3198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5" name="Shape 2805"/>
          <p:cNvSpPr/>
          <p:nvPr/>
        </p:nvSpPr>
        <p:spPr>
          <a:xfrm>
            <a:off x="7091154" y="3995789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3692"/>
                </a:moveTo>
                <a:lnTo>
                  <a:pt x="10114" y="15237"/>
                </a:lnTo>
                <a:cubicBezTo>
                  <a:pt x="10458" y="15355"/>
                  <a:pt x="11518" y="15826"/>
                  <a:pt x="11675" y="14955"/>
                </a:cubicBezTo>
                <a:cubicBezTo>
                  <a:pt x="11839" y="14046"/>
                  <a:pt x="10737" y="13811"/>
                  <a:pt x="10393" y="13692"/>
                </a:cubicBezTo>
                <a:moveTo>
                  <a:pt x="12834" y="12706"/>
                </a:moveTo>
                <a:cubicBezTo>
                  <a:pt x="12767" y="13329"/>
                  <a:pt x="12517" y="13631"/>
                  <a:pt x="12186" y="13737"/>
                </a:cubicBezTo>
                <a:cubicBezTo>
                  <a:pt x="12641" y="14064"/>
                  <a:pt x="12873" y="14567"/>
                  <a:pt x="12652" y="15439"/>
                </a:cubicBezTo>
                <a:cubicBezTo>
                  <a:pt x="12378" y="16521"/>
                  <a:pt x="11728" y="16613"/>
                  <a:pt x="10863" y="16386"/>
                </a:cubicBezTo>
                <a:lnTo>
                  <a:pt x="10653" y="17550"/>
                </a:lnTo>
                <a:lnTo>
                  <a:pt x="10147" y="17375"/>
                </a:lnTo>
                <a:lnTo>
                  <a:pt x="10354" y="16227"/>
                </a:lnTo>
                <a:cubicBezTo>
                  <a:pt x="10222" y="16182"/>
                  <a:pt x="10088" y="16133"/>
                  <a:pt x="9950" y="16081"/>
                </a:cubicBezTo>
                <a:lnTo>
                  <a:pt x="9741" y="17235"/>
                </a:lnTo>
                <a:lnTo>
                  <a:pt x="9235" y="17061"/>
                </a:lnTo>
                <a:lnTo>
                  <a:pt x="9445" y="15894"/>
                </a:lnTo>
                <a:cubicBezTo>
                  <a:pt x="9326" y="15852"/>
                  <a:pt x="9206" y="15808"/>
                  <a:pt x="9083" y="15765"/>
                </a:cubicBezTo>
                <a:lnTo>
                  <a:pt x="8424" y="15538"/>
                </a:lnTo>
                <a:lnTo>
                  <a:pt x="8675" y="14735"/>
                </a:lnTo>
                <a:cubicBezTo>
                  <a:pt x="8675" y="14735"/>
                  <a:pt x="9049" y="14872"/>
                  <a:pt x="9044" y="14862"/>
                </a:cubicBezTo>
                <a:cubicBezTo>
                  <a:pt x="9187" y="14911"/>
                  <a:pt x="9251" y="14781"/>
                  <a:pt x="9276" y="14695"/>
                </a:cubicBezTo>
                <a:lnTo>
                  <a:pt x="9608" y="12855"/>
                </a:lnTo>
                <a:cubicBezTo>
                  <a:pt x="9626" y="12862"/>
                  <a:pt x="9645" y="12868"/>
                  <a:pt x="9661" y="12874"/>
                </a:cubicBezTo>
                <a:cubicBezTo>
                  <a:pt x="9641" y="12862"/>
                  <a:pt x="9623" y="12855"/>
                  <a:pt x="9609" y="12850"/>
                </a:cubicBezTo>
                <a:lnTo>
                  <a:pt x="9845" y="11537"/>
                </a:lnTo>
                <a:cubicBezTo>
                  <a:pt x="9852" y="11388"/>
                  <a:pt x="9814" y="11200"/>
                  <a:pt x="9609" y="11129"/>
                </a:cubicBezTo>
                <a:cubicBezTo>
                  <a:pt x="9617" y="11121"/>
                  <a:pt x="9241" y="11002"/>
                  <a:pt x="9241" y="11002"/>
                </a:cubicBezTo>
                <a:lnTo>
                  <a:pt x="9376" y="10253"/>
                </a:lnTo>
                <a:lnTo>
                  <a:pt x="10075" y="10494"/>
                </a:lnTo>
                <a:lnTo>
                  <a:pt x="10074" y="10498"/>
                </a:lnTo>
                <a:cubicBezTo>
                  <a:pt x="10180" y="10534"/>
                  <a:pt x="10288" y="10569"/>
                  <a:pt x="10398" y="10603"/>
                </a:cubicBezTo>
                <a:lnTo>
                  <a:pt x="10606" y="9451"/>
                </a:lnTo>
                <a:lnTo>
                  <a:pt x="11113" y="9626"/>
                </a:lnTo>
                <a:lnTo>
                  <a:pt x="10909" y="10755"/>
                </a:lnTo>
                <a:cubicBezTo>
                  <a:pt x="11045" y="10798"/>
                  <a:pt x="11182" y="10842"/>
                  <a:pt x="11316" y="10887"/>
                </a:cubicBezTo>
                <a:lnTo>
                  <a:pt x="11518" y="9765"/>
                </a:lnTo>
                <a:lnTo>
                  <a:pt x="12025" y="9940"/>
                </a:lnTo>
                <a:lnTo>
                  <a:pt x="11817" y="11093"/>
                </a:lnTo>
                <a:cubicBezTo>
                  <a:pt x="12457" y="11398"/>
                  <a:pt x="12926" y="11855"/>
                  <a:pt x="12834" y="12706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2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2"/>
                  <a:pt x="5671" y="8100"/>
                  <a:pt x="54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3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3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10773" y="11584"/>
                </a:moveTo>
                <a:lnTo>
                  <a:pt x="10520" y="12985"/>
                </a:lnTo>
                <a:cubicBezTo>
                  <a:pt x="10807" y="13084"/>
                  <a:pt x="11689" y="13487"/>
                  <a:pt x="11832" y="12694"/>
                </a:cubicBezTo>
                <a:cubicBezTo>
                  <a:pt x="11981" y="11867"/>
                  <a:pt x="11059" y="11683"/>
                  <a:pt x="10773" y="11584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5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5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6" name="Shape 2806"/>
          <p:cNvSpPr/>
          <p:nvPr/>
        </p:nvSpPr>
        <p:spPr>
          <a:xfrm>
            <a:off x="8157677" y="4021180"/>
            <a:ext cx="558654" cy="3555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442" y="12358"/>
                </a:moveTo>
                <a:cubicBezTo>
                  <a:pt x="10390" y="12952"/>
                  <a:pt x="10196" y="13240"/>
                  <a:pt x="9938" y="13340"/>
                </a:cubicBezTo>
                <a:cubicBezTo>
                  <a:pt x="10292" y="13653"/>
                  <a:pt x="10472" y="14131"/>
                  <a:pt x="10300" y="14961"/>
                </a:cubicBezTo>
                <a:cubicBezTo>
                  <a:pt x="10088" y="15991"/>
                  <a:pt x="9582" y="16078"/>
                  <a:pt x="8910" y="15863"/>
                </a:cubicBezTo>
                <a:lnTo>
                  <a:pt x="8746" y="16971"/>
                </a:lnTo>
                <a:lnTo>
                  <a:pt x="8352" y="16805"/>
                </a:lnTo>
                <a:lnTo>
                  <a:pt x="8513" y="15711"/>
                </a:lnTo>
                <a:cubicBezTo>
                  <a:pt x="8411" y="15668"/>
                  <a:pt x="8306" y="15622"/>
                  <a:pt x="8199" y="15573"/>
                </a:cubicBezTo>
                <a:lnTo>
                  <a:pt x="8037" y="16672"/>
                </a:lnTo>
                <a:lnTo>
                  <a:pt x="7643" y="16505"/>
                </a:lnTo>
                <a:lnTo>
                  <a:pt x="7806" y="15395"/>
                </a:lnTo>
                <a:cubicBezTo>
                  <a:pt x="7714" y="15355"/>
                  <a:pt x="7621" y="15312"/>
                  <a:pt x="7525" y="15272"/>
                </a:cubicBezTo>
                <a:lnTo>
                  <a:pt x="7012" y="15055"/>
                </a:lnTo>
                <a:lnTo>
                  <a:pt x="7207" y="14290"/>
                </a:lnTo>
                <a:cubicBezTo>
                  <a:pt x="7207" y="14290"/>
                  <a:pt x="7498" y="14421"/>
                  <a:pt x="7495" y="14412"/>
                </a:cubicBezTo>
                <a:cubicBezTo>
                  <a:pt x="7606" y="14459"/>
                  <a:pt x="7656" y="14335"/>
                  <a:pt x="7675" y="14252"/>
                </a:cubicBezTo>
                <a:lnTo>
                  <a:pt x="7933" y="12501"/>
                </a:lnTo>
                <a:cubicBezTo>
                  <a:pt x="7948" y="12506"/>
                  <a:pt x="7961" y="12512"/>
                  <a:pt x="7974" y="12518"/>
                </a:cubicBezTo>
                <a:cubicBezTo>
                  <a:pt x="7959" y="12507"/>
                  <a:pt x="7945" y="12501"/>
                  <a:pt x="7934" y="12495"/>
                </a:cubicBezTo>
                <a:lnTo>
                  <a:pt x="8118" y="11245"/>
                </a:lnTo>
                <a:cubicBezTo>
                  <a:pt x="8122" y="11103"/>
                  <a:pt x="8093" y="10924"/>
                  <a:pt x="7934" y="10856"/>
                </a:cubicBezTo>
                <a:cubicBezTo>
                  <a:pt x="7940" y="10849"/>
                  <a:pt x="7647" y="10735"/>
                  <a:pt x="7647" y="10735"/>
                </a:cubicBezTo>
                <a:lnTo>
                  <a:pt x="7752" y="10022"/>
                </a:lnTo>
                <a:lnTo>
                  <a:pt x="8297" y="10252"/>
                </a:lnTo>
                <a:lnTo>
                  <a:pt x="8296" y="10255"/>
                </a:lnTo>
                <a:cubicBezTo>
                  <a:pt x="8378" y="10289"/>
                  <a:pt x="8462" y="10322"/>
                  <a:pt x="8548" y="10356"/>
                </a:cubicBezTo>
                <a:lnTo>
                  <a:pt x="8709" y="9258"/>
                </a:lnTo>
                <a:lnTo>
                  <a:pt x="9103" y="9424"/>
                </a:lnTo>
                <a:lnTo>
                  <a:pt x="8945" y="10500"/>
                </a:lnTo>
                <a:cubicBezTo>
                  <a:pt x="9051" y="10541"/>
                  <a:pt x="9158" y="10582"/>
                  <a:pt x="9261" y="10627"/>
                </a:cubicBezTo>
                <a:lnTo>
                  <a:pt x="9418" y="9557"/>
                </a:lnTo>
                <a:lnTo>
                  <a:pt x="9813" y="9724"/>
                </a:lnTo>
                <a:lnTo>
                  <a:pt x="9651" y="10822"/>
                </a:lnTo>
                <a:cubicBezTo>
                  <a:pt x="10149" y="11112"/>
                  <a:pt x="10513" y="11548"/>
                  <a:pt x="10442" y="123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13255" y="16971"/>
                </a:moveTo>
                <a:cubicBezTo>
                  <a:pt x="12983" y="16971"/>
                  <a:pt x="12764" y="17318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6" y="18514"/>
                  <a:pt x="13745" y="18169"/>
                  <a:pt x="13745" y="17743"/>
                </a:cubicBezTo>
                <a:cubicBezTo>
                  <a:pt x="13745" y="17318"/>
                  <a:pt x="13526" y="16971"/>
                  <a:pt x="13255" y="16971"/>
                </a:cubicBezTo>
                <a:moveTo>
                  <a:pt x="8839" y="11290"/>
                </a:moveTo>
                <a:lnTo>
                  <a:pt x="8643" y="12624"/>
                </a:lnTo>
                <a:cubicBezTo>
                  <a:pt x="8865" y="12718"/>
                  <a:pt x="9552" y="13102"/>
                  <a:pt x="9663" y="12347"/>
                </a:cubicBezTo>
                <a:cubicBezTo>
                  <a:pt x="9778" y="11559"/>
                  <a:pt x="9062" y="11384"/>
                  <a:pt x="8839" y="11290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90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7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7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300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300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7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60"/>
                  <a:pt x="1201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7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543" y="13297"/>
                </a:moveTo>
                <a:lnTo>
                  <a:pt x="8327" y="14769"/>
                </a:lnTo>
                <a:cubicBezTo>
                  <a:pt x="8595" y="14882"/>
                  <a:pt x="9419" y="15330"/>
                  <a:pt x="9541" y="14500"/>
                </a:cubicBezTo>
                <a:cubicBezTo>
                  <a:pt x="9669" y="13634"/>
                  <a:pt x="8811" y="13410"/>
                  <a:pt x="8543" y="13297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90" y="9257"/>
                  <a:pt x="4909" y="8912"/>
                  <a:pt x="4909" y="8486"/>
                </a:cubicBezTo>
                <a:cubicBezTo>
                  <a:pt x="4909" y="8060"/>
                  <a:pt x="4690" y="7714"/>
                  <a:pt x="4418" y="771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7" name="Shape 2807"/>
          <p:cNvSpPr/>
          <p:nvPr/>
        </p:nvSpPr>
        <p:spPr>
          <a:xfrm>
            <a:off x="9224197" y="3995789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2150"/>
                </a:moveTo>
                <a:lnTo>
                  <a:pt x="17294" y="9450"/>
                </a:lnTo>
                <a:lnTo>
                  <a:pt x="19843" y="9450"/>
                </a:lnTo>
                <a:lnTo>
                  <a:pt x="19406" y="12150"/>
                </a:lnTo>
                <a:cubicBezTo>
                  <a:pt x="19406" y="12150"/>
                  <a:pt x="17075" y="12150"/>
                  <a:pt x="17075" y="12150"/>
                </a:cubicBezTo>
                <a:close/>
                <a:moveTo>
                  <a:pt x="18752" y="16200"/>
                </a:moveTo>
                <a:lnTo>
                  <a:pt x="16748" y="16200"/>
                </a:lnTo>
                <a:lnTo>
                  <a:pt x="16967" y="13500"/>
                </a:lnTo>
                <a:lnTo>
                  <a:pt x="19188" y="13500"/>
                </a:lnTo>
                <a:cubicBezTo>
                  <a:pt x="19188" y="13500"/>
                  <a:pt x="18752" y="16200"/>
                  <a:pt x="18752" y="16200"/>
                </a:cubicBezTo>
                <a:close/>
                <a:moveTo>
                  <a:pt x="17673" y="20250"/>
                </a:moveTo>
                <a:cubicBezTo>
                  <a:pt x="17131" y="20250"/>
                  <a:pt x="16691" y="19645"/>
                  <a:pt x="16691" y="18900"/>
                </a:cubicBezTo>
                <a:cubicBezTo>
                  <a:pt x="16691" y="18155"/>
                  <a:pt x="17131" y="17550"/>
                  <a:pt x="17673" y="17550"/>
                </a:cubicBezTo>
                <a:cubicBezTo>
                  <a:pt x="18215" y="17550"/>
                  <a:pt x="18655" y="18155"/>
                  <a:pt x="18655" y="18900"/>
                </a:cubicBezTo>
                <a:cubicBezTo>
                  <a:pt x="18655" y="19645"/>
                  <a:pt x="18215" y="20250"/>
                  <a:pt x="17673" y="20250"/>
                </a:cubicBezTo>
                <a:moveTo>
                  <a:pt x="16415" y="8100"/>
                </a:moveTo>
                <a:lnTo>
                  <a:pt x="13745" y="8100"/>
                </a:lnTo>
                <a:lnTo>
                  <a:pt x="13745" y="5400"/>
                </a:lnTo>
                <a:lnTo>
                  <a:pt x="16633" y="5400"/>
                </a:lnTo>
                <a:cubicBezTo>
                  <a:pt x="16633" y="5400"/>
                  <a:pt x="16415" y="8100"/>
                  <a:pt x="16415" y="8100"/>
                </a:cubicBezTo>
                <a:close/>
                <a:moveTo>
                  <a:pt x="16088" y="12150"/>
                </a:moveTo>
                <a:lnTo>
                  <a:pt x="13745" y="12150"/>
                </a:lnTo>
                <a:lnTo>
                  <a:pt x="13745" y="9450"/>
                </a:lnTo>
                <a:lnTo>
                  <a:pt x="16306" y="9450"/>
                </a:lnTo>
                <a:cubicBezTo>
                  <a:pt x="16306" y="9450"/>
                  <a:pt x="16088" y="12150"/>
                  <a:pt x="16088" y="12150"/>
                </a:cubicBezTo>
                <a:close/>
                <a:moveTo>
                  <a:pt x="15761" y="16200"/>
                </a:moveTo>
                <a:lnTo>
                  <a:pt x="13745" y="16200"/>
                </a:lnTo>
                <a:lnTo>
                  <a:pt x="13745" y="13500"/>
                </a:lnTo>
                <a:lnTo>
                  <a:pt x="15979" y="13500"/>
                </a:lnTo>
                <a:cubicBezTo>
                  <a:pt x="15979" y="13500"/>
                  <a:pt x="15761" y="16200"/>
                  <a:pt x="15761" y="16200"/>
                </a:cubicBezTo>
                <a:close/>
                <a:moveTo>
                  <a:pt x="12764" y="8100"/>
                </a:moveTo>
                <a:lnTo>
                  <a:pt x="10094" y="8100"/>
                </a:lnTo>
                <a:lnTo>
                  <a:pt x="9876" y="5400"/>
                </a:lnTo>
                <a:lnTo>
                  <a:pt x="12764" y="5400"/>
                </a:lnTo>
                <a:cubicBezTo>
                  <a:pt x="12764" y="5400"/>
                  <a:pt x="12764" y="8100"/>
                  <a:pt x="12764" y="8100"/>
                </a:cubicBezTo>
                <a:close/>
                <a:moveTo>
                  <a:pt x="12764" y="12150"/>
                </a:moveTo>
                <a:lnTo>
                  <a:pt x="10421" y="12150"/>
                </a:lnTo>
                <a:lnTo>
                  <a:pt x="10203" y="9450"/>
                </a:lnTo>
                <a:lnTo>
                  <a:pt x="12764" y="9450"/>
                </a:lnTo>
                <a:cubicBezTo>
                  <a:pt x="12764" y="9450"/>
                  <a:pt x="12764" y="12150"/>
                  <a:pt x="12764" y="12150"/>
                </a:cubicBezTo>
                <a:close/>
                <a:moveTo>
                  <a:pt x="12764" y="16200"/>
                </a:moveTo>
                <a:lnTo>
                  <a:pt x="10748" y="16200"/>
                </a:lnTo>
                <a:lnTo>
                  <a:pt x="10531" y="13500"/>
                </a:lnTo>
                <a:lnTo>
                  <a:pt x="12764" y="13500"/>
                </a:lnTo>
                <a:cubicBezTo>
                  <a:pt x="12764" y="13500"/>
                  <a:pt x="12764" y="16200"/>
                  <a:pt x="12764" y="16200"/>
                </a:cubicBezTo>
                <a:close/>
                <a:moveTo>
                  <a:pt x="8836" y="20250"/>
                </a:moveTo>
                <a:cubicBezTo>
                  <a:pt x="8294" y="20250"/>
                  <a:pt x="7855" y="19645"/>
                  <a:pt x="7855" y="18900"/>
                </a:cubicBezTo>
                <a:cubicBezTo>
                  <a:pt x="7855" y="18155"/>
                  <a:pt x="8294" y="17550"/>
                  <a:pt x="8836" y="17550"/>
                </a:cubicBezTo>
                <a:cubicBezTo>
                  <a:pt x="9379" y="17550"/>
                  <a:pt x="9818" y="18155"/>
                  <a:pt x="9818" y="18900"/>
                </a:cubicBezTo>
                <a:cubicBezTo>
                  <a:pt x="9818" y="19645"/>
                  <a:pt x="9379" y="20250"/>
                  <a:pt x="8836" y="20250"/>
                </a:cubicBezTo>
                <a:moveTo>
                  <a:pt x="7213" y="13500"/>
                </a:moveTo>
                <a:lnTo>
                  <a:pt x="9543" y="13500"/>
                </a:lnTo>
                <a:lnTo>
                  <a:pt x="9761" y="16200"/>
                </a:lnTo>
                <a:lnTo>
                  <a:pt x="7740" y="16200"/>
                </a:lnTo>
                <a:cubicBezTo>
                  <a:pt x="7740" y="16200"/>
                  <a:pt x="7213" y="13500"/>
                  <a:pt x="7213" y="13500"/>
                </a:cubicBezTo>
                <a:close/>
                <a:moveTo>
                  <a:pt x="6950" y="12150"/>
                </a:moveTo>
                <a:lnTo>
                  <a:pt x="6423" y="9450"/>
                </a:lnTo>
                <a:lnTo>
                  <a:pt x="9215" y="9450"/>
                </a:lnTo>
                <a:lnTo>
                  <a:pt x="9434" y="12150"/>
                </a:lnTo>
                <a:cubicBezTo>
                  <a:pt x="9434" y="12150"/>
                  <a:pt x="6950" y="12150"/>
                  <a:pt x="6950" y="12150"/>
                </a:cubicBezTo>
                <a:close/>
                <a:moveTo>
                  <a:pt x="5633" y="5400"/>
                </a:moveTo>
                <a:lnTo>
                  <a:pt x="8888" y="5400"/>
                </a:lnTo>
                <a:lnTo>
                  <a:pt x="9106" y="8100"/>
                </a:lnTo>
                <a:lnTo>
                  <a:pt x="6160" y="8100"/>
                </a:lnTo>
                <a:cubicBezTo>
                  <a:pt x="6160" y="8100"/>
                  <a:pt x="5633" y="5400"/>
                  <a:pt x="5633" y="5400"/>
                </a:cubicBezTo>
                <a:close/>
                <a:moveTo>
                  <a:pt x="17621" y="5400"/>
                </a:moveTo>
                <a:lnTo>
                  <a:pt x="20497" y="5400"/>
                </a:lnTo>
                <a:lnTo>
                  <a:pt x="20061" y="8100"/>
                </a:lnTo>
                <a:lnTo>
                  <a:pt x="17403" y="8100"/>
                </a:lnTo>
                <a:cubicBezTo>
                  <a:pt x="17403" y="8100"/>
                  <a:pt x="17621" y="5400"/>
                  <a:pt x="17621" y="5400"/>
                </a:cubicBezTo>
                <a:close/>
                <a:moveTo>
                  <a:pt x="19619" y="17038"/>
                </a:moveTo>
                <a:lnTo>
                  <a:pt x="19622" y="17038"/>
                </a:lnTo>
                <a:lnTo>
                  <a:pt x="21586" y="4889"/>
                </a:lnTo>
                <a:lnTo>
                  <a:pt x="21577" y="4886"/>
                </a:lnTo>
                <a:cubicBezTo>
                  <a:pt x="21586" y="4833"/>
                  <a:pt x="21600" y="4782"/>
                  <a:pt x="21600" y="4725"/>
                </a:cubicBezTo>
                <a:cubicBezTo>
                  <a:pt x="21600" y="4352"/>
                  <a:pt x="21380" y="4050"/>
                  <a:pt x="21109" y="4050"/>
                </a:cubicBezTo>
                <a:lnTo>
                  <a:pt x="5370" y="4050"/>
                </a:lnTo>
                <a:lnTo>
                  <a:pt x="4674" y="481"/>
                </a:lnTo>
                <a:lnTo>
                  <a:pt x="4667" y="484"/>
                </a:lnTo>
                <a:cubicBezTo>
                  <a:pt x="4605" y="207"/>
                  <a:pt x="4425" y="0"/>
                  <a:pt x="4203" y="0"/>
                </a:cubicBezTo>
                <a:lnTo>
                  <a:pt x="491" y="0"/>
                </a:lnTo>
                <a:cubicBezTo>
                  <a:pt x="220" y="0"/>
                  <a:pt x="0" y="302"/>
                  <a:pt x="0" y="675"/>
                </a:cubicBezTo>
                <a:cubicBezTo>
                  <a:pt x="0" y="1048"/>
                  <a:pt x="220" y="1350"/>
                  <a:pt x="491" y="1350"/>
                </a:cubicBezTo>
                <a:lnTo>
                  <a:pt x="3827" y="1350"/>
                </a:lnTo>
                <a:lnTo>
                  <a:pt x="6893" y="17069"/>
                </a:lnTo>
                <a:lnTo>
                  <a:pt x="6894" y="17069"/>
                </a:lnTo>
                <a:cubicBezTo>
                  <a:pt x="6936" y="17259"/>
                  <a:pt x="7037" y="17414"/>
                  <a:pt x="7168" y="17493"/>
                </a:cubicBezTo>
                <a:cubicBezTo>
                  <a:pt x="6984" y="17903"/>
                  <a:pt x="6873" y="18383"/>
                  <a:pt x="6873" y="18900"/>
                </a:cubicBezTo>
                <a:cubicBezTo>
                  <a:pt x="6873" y="20391"/>
                  <a:pt x="7752" y="21600"/>
                  <a:pt x="8836" y="21600"/>
                </a:cubicBezTo>
                <a:cubicBezTo>
                  <a:pt x="9921" y="21600"/>
                  <a:pt x="10800" y="20391"/>
                  <a:pt x="10800" y="18900"/>
                </a:cubicBezTo>
                <a:cubicBezTo>
                  <a:pt x="10800" y="18406"/>
                  <a:pt x="10696" y="17949"/>
                  <a:pt x="10528" y="17550"/>
                </a:cubicBezTo>
                <a:lnTo>
                  <a:pt x="15981" y="17550"/>
                </a:lnTo>
                <a:cubicBezTo>
                  <a:pt x="15813" y="17949"/>
                  <a:pt x="15709" y="18406"/>
                  <a:pt x="15709" y="18900"/>
                </a:cubicBezTo>
                <a:cubicBezTo>
                  <a:pt x="15709" y="20391"/>
                  <a:pt x="16588" y="21600"/>
                  <a:pt x="17673" y="21600"/>
                </a:cubicBezTo>
                <a:cubicBezTo>
                  <a:pt x="18757" y="21600"/>
                  <a:pt x="19636" y="20391"/>
                  <a:pt x="19636" y="18900"/>
                </a:cubicBezTo>
                <a:cubicBezTo>
                  <a:pt x="19636" y="18383"/>
                  <a:pt x="19525" y="17903"/>
                  <a:pt x="19341" y="17493"/>
                </a:cubicBezTo>
                <a:cubicBezTo>
                  <a:pt x="19479" y="17410"/>
                  <a:pt x="19581" y="17242"/>
                  <a:pt x="19619" y="1703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8" name="Shape 2808"/>
          <p:cNvSpPr/>
          <p:nvPr/>
        </p:nvSpPr>
        <p:spPr>
          <a:xfrm>
            <a:off x="10290720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5" y="14727"/>
                  <a:pt x="17075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6" y="9447"/>
                </a:lnTo>
                <a:lnTo>
                  <a:pt x="21577" y="9444"/>
                </a:lnTo>
                <a:cubicBezTo>
                  <a:pt x="21586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6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1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2907" y="7711"/>
                </a:moveTo>
                <a:cubicBezTo>
                  <a:pt x="12996" y="7800"/>
                  <a:pt x="13119" y="7855"/>
                  <a:pt x="13255" y="7855"/>
                </a:cubicBezTo>
                <a:cubicBezTo>
                  <a:pt x="13390" y="7855"/>
                  <a:pt x="13513" y="7800"/>
                  <a:pt x="13602" y="7711"/>
                </a:cubicBezTo>
                <a:lnTo>
                  <a:pt x="15565" y="5747"/>
                </a:lnTo>
                <a:cubicBezTo>
                  <a:pt x="15654" y="5658"/>
                  <a:pt x="15709" y="5536"/>
                  <a:pt x="15709" y="5400"/>
                </a:cubicBezTo>
                <a:cubicBezTo>
                  <a:pt x="15709" y="5129"/>
                  <a:pt x="15490" y="4910"/>
                  <a:pt x="15218" y="4910"/>
                </a:cubicBezTo>
                <a:cubicBezTo>
                  <a:pt x="15083" y="4910"/>
                  <a:pt x="14960" y="4964"/>
                  <a:pt x="14871" y="5053"/>
                </a:cubicBezTo>
                <a:lnTo>
                  <a:pt x="13745" y="6179"/>
                </a:lnTo>
                <a:lnTo>
                  <a:pt x="13745" y="491"/>
                </a:lnTo>
                <a:lnTo>
                  <a:pt x="13745" y="491"/>
                </a:lnTo>
                <a:cubicBezTo>
                  <a:pt x="13745" y="220"/>
                  <a:pt x="13526" y="0"/>
                  <a:pt x="13255" y="0"/>
                </a:cubicBezTo>
                <a:cubicBezTo>
                  <a:pt x="12983" y="0"/>
                  <a:pt x="12764" y="220"/>
                  <a:pt x="12764" y="491"/>
                </a:cubicBezTo>
                <a:lnTo>
                  <a:pt x="12764" y="6179"/>
                </a:lnTo>
                <a:lnTo>
                  <a:pt x="11638" y="5053"/>
                </a:lnTo>
                <a:cubicBezTo>
                  <a:pt x="11549" y="4964"/>
                  <a:pt x="11427" y="4910"/>
                  <a:pt x="11291" y="4910"/>
                </a:cubicBezTo>
                <a:cubicBezTo>
                  <a:pt x="11020" y="4910"/>
                  <a:pt x="10800" y="5129"/>
                  <a:pt x="10800" y="5400"/>
                </a:cubicBezTo>
                <a:cubicBezTo>
                  <a:pt x="10800" y="5536"/>
                  <a:pt x="10855" y="5658"/>
                  <a:pt x="10944" y="5747"/>
                </a:cubicBezTo>
                <a:cubicBezTo>
                  <a:pt x="10944" y="5747"/>
                  <a:pt x="12907" y="7711"/>
                  <a:pt x="12907" y="7711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9" name="Shape 2809"/>
          <p:cNvSpPr/>
          <p:nvPr/>
        </p:nvSpPr>
        <p:spPr>
          <a:xfrm>
            <a:off x="11357242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6" y="14727"/>
                  <a:pt x="17076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5" y="9447"/>
                </a:lnTo>
                <a:lnTo>
                  <a:pt x="21577" y="9444"/>
                </a:lnTo>
                <a:cubicBezTo>
                  <a:pt x="21587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5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2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1291" y="2945"/>
                </a:moveTo>
                <a:cubicBezTo>
                  <a:pt x="11427" y="2945"/>
                  <a:pt x="11549" y="2891"/>
                  <a:pt x="11638" y="2802"/>
                </a:cubicBezTo>
                <a:lnTo>
                  <a:pt x="12764" y="1676"/>
                </a:lnTo>
                <a:lnTo>
                  <a:pt x="12764" y="7364"/>
                </a:lnTo>
                <a:cubicBezTo>
                  <a:pt x="12764" y="7634"/>
                  <a:pt x="12983" y="7855"/>
                  <a:pt x="13255" y="7855"/>
                </a:cubicBezTo>
                <a:cubicBezTo>
                  <a:pt x="13526" y="7855"/>
                  <a:pt x="13745" y="7634"/>
                  <a:pt x="13745" y="7364"/>
                </a:cubicBezTo>
                <a:lnTo>
                  <a:pt x="13745" y="1676"/>
                </a:lnTo>
                <a:lnTo>
                  <a:pt x="14871" y="2802"/>
                </a:lnTo>
                <a:cubicBezTo>
                  <a:pt x="14959" y="2891"/>
                  <a:pt x="15082" y="2945"/>
                  <a:pt x="15218" y="2945"/>
                </a:cubicBezTo>
                <a:cubicBezTo>
                  <a:pt x="15490" y="2945"/>
                  <a:pt x="15709" y="2726"/>
                  <a:pt x="15709" y="2455"/>
                </a:cubicBezTo>
                <a:cubicBezTo>
                  <a:pt x="15709" y="2319"/>
                  <a:pt x="15654" y="2196"/>
                  <a:pt x="15565" y="2107"/>
                </a:cubicBezTo>
                <a:lnTo>
                  <a:pt x="13602" y="144"/>
                </a:lnTo>
                <a:cubicBezTo>
                  <a:pt x="13513" y="55"/>
                  <a:pt x="13390" y="0"/>
                  <a:pt x="13255" y="0"/>
                </a:cubicBezTo>
                <a:cubicBezTo>
                  <a:pt x="13118" y="0"/>
                  <a:pt x="12996" y="55"/>
                  <a:pt x="12907" y="144"/>
                </a:cubicBezTo>
                <a:lnTo>
                  <a:pt x="10944" y="2107"/>
                </a:lnTo>
                <a:cubicBezTo>
                  <a:pt x="10855" y="2196"/>
                  <a:pt x="10800" y="2319"/>
                  <a:pt x="10800" y="2455"/>
                </a:cubicBezTo>
                <a:cubicBezTo>
                  <a:pt x="10800" y="2726"/>
                  <a:pt x="11020" y="2945"/>
                  <a:pt x="11291" y="29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0" name="Shape 2810"/>
          <p:cNvSpPr/>
          <p:nvPr/>
        </p:nvSpPr>
        <p:spPr>
          <a:xfrm>
            <a:off x="12455060" y="287848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5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9327" y="3240"/>
                </a:moveTo>
                <a:lnTo>
                  <a:pt x="15015" y="3240"/>
                </a:lnTo>
                <a:lnTo>
                  <a:pt x="13889" y="4478"/>
                </a:lnTo>
                <a:cubicBezTo>
                  <a:pt x="13801" y="4577"/>
                  <a:pt x="13745" y="4711"/>
                  <a:pt x="13745" y="4860"/>
                </a:cubicBezTo>
                <a:cubicBezTo>
                  <a:pt x="13745" y="5159"/>
                  <a:pt x="13966" y="5400"/>
                  <a:pt x="14236" y="5400"/>
                </a:cubicBezTo>
                <a:cubicBezTo>
                  <a:pt x="14373" y="5400"/>
                  <a:pt x="14495" y="5340"/>
                  <a:pt x="14583" y="5242"/>
                </a:cubicBezTo>
                <a:lnTo>
                  <a:pt x="16547" y="3082"/>
                </a:lnTo>
                <a:cubicBezTo>
                  <a:pt x="16636" y="2984"/>
                  <a:pt x="16691" y="2849"/>
                  <a:pt x="16691" y="2700"/>
                </a:cubicBezTo>
                <a:cubicBezTo>
                  <a:pt x="16691" y="2552"/>
                  <a:pt x="16636" y="2417"/>
                  <a:pt x="16547" y="2318"/>
                </a:cubicBezTo>
                <a:lnTo>
                  <a:pt x="14583" y="158"/>
                </a:lnTo>
                <a:cubicBezTo>
                  <a:pt x="14495" y="61"/>
                  <a:pt x="14373" y="0"/>
                  <a:pt x="14236" y="0"/>
                </a:cubicBezTo>
                <a:cubicBezTo>
                  <a:pt x="13966" y="0"/>
                  <a:pt x="13745" y="242"/>
                  <a:pt x="13745" y="540"/>
                </a:cubicBezTo>
                <a:cubicBezTo>
                  <a:pt x="13745" y="689"/>
                  <a:pt x="13801" y="824"/>
                  <a:pt x="13889" y="922"/>
                </a:cubicBezTo>
                <a:lnTo>
                  <a:pt x="15015" y="2160"/>
                </a:lnTo>
                <a:lnTo>
                  <a:pt x="9327" y="2160"/>
                </a:lnTo>
                <a:cubicBezTo>
                  <a:pt x="9056" y="2160"/>
                  <a:pt x="8836" y="2402"/>
                  <a:pt x="8836" y="2700"/>
                </a:cubicBezTo>
                <a:cubicBezTo>
                  <a:pt x="8836" y="2999"/>
                  <a:pt x="9056" y="3240"/>
                  <a:pt x="9327" y="324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1" name="Shape 2811"/>
          <p:cNvSpPr/>
          <p:nvPr/>
        </p:nvSpPr>
        <p:spPr>
          <a:xfrm>
            <a:off x="13521583" y="287848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944" y="5242"/>
                </a:moveTo>
                <a:cubicBezTo>
                  <a:pt x="11033" y="5340"/>
                  <a:pt x="11155" y="5400"/>
                  <a:pt x="11291" y="5400"/>
                </a:cubicBezTo>
                <a:cubicBezTo>
                  <a:pt x="11562" y="5400"/>
                  <a:pt x="11782" y="5159"/>
                  <a:pt x="11782" y="4860"/>
                </a:cubicBezTo>
                <a:cubicBezTo>
                  <a:pt x="11782" y="4711"/>
                  <a:pt x="11727" y="4577"/>
                  <a:pt x="11638" y="4478"/>
                </a:cubicBezTo>
                <a:lnTo>
                  <a:pt x="10512" y="3240"/>
                </a:lnTo>
                <a:lnTo>
                  <a:pt x="16200" y="3240"/>
                </a:lnTo>
                <a:cubicBezTo>
                  <a:pt x="16471" y="3240"/>
                  <a:pt x="16691" y="2999"/>
                  <a:pt x="16691" y="2700"/>
                </a:cubicBezTo>
                <a:cubicBezTo>
                  <a:pt x="16691" y="2402"/>
                  <a:pt x="16471" y="2160"/>
                  <a:pt x="16200" y="2160"/>
                </a:cubicBezTo>
                <a:lnTo>
                  <a:pt x="10512" y="2160"/>
                </a:lnTo>
                <a:lnTo>
                  <a:pt x="11638" y="922"/>
                </a:lnTo>
                <a:cubicBezTo>
                  <a:pt x="11727" y="824"/>
                  <a:pt x="11782" y="689"/>
                  <a:pt x="11782" y="540"/>
                </a:cubicBezTo>
                <a:cubicBezTo>
                  <a:pt x="11782" y="242"/>
                  <a:pt x="11562" y="0"/>
                  <a:pt x="11291" y="0"/>
                </a:cubicBezTo>
                <a:cubicBezTo>
                  <a:pt x="11155" y="0"/>
                  <a:pt x="11033" y="61"/>
                  <a:pt x="10944" y="158"/>
                </a:cubicBezTo>
                <a:lnTo>
                  <a:pt x="8980" y="2318"/>
                </a:lnTo>
                <a:cubicBezTo>
                  <a:pt x="8891" y="2417"/>
                  <a:pt x="8836" y="2552"/>
                  <a:pt x="8836" y="2700"/>
                </a:cubicBezTo>
                <a:cubicBezTo>
                  <a:pt x="8836" y="2849"/>
                  <a:pt x="8891" y="2984"/>
                  <a:pt x="8980" y="3082"/>
                </a:cubicBezTo>
                <a:cubicBezTo>
                  <a:pt x="8980" y="3082"/>
                  <a:pt x="10944" y="5242"/>
                  <a:pt x="10944" y="5242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2" name="Shape 2812"/>
          <p:cNvSpPr/>
          <p:nvPr/>
        </p:nvSpPr>
        <p:spPr>
          <a:xfrm>
            <a:off x="14588106" y="287848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5" y="18643"/>
                  <a:pt x="19341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800" y="3780"/>
                </a:moveTo>
                <a:lnTo>
                  <a:pt x="12764" y="3780"/>
                </a:lnTo>
                <a:lnTo>
                  <a:pt x="12764" y="5940"/>
                </a:lnTo>
                <a:cubicBezTo>
                  <a:pt x="12764" y="6239"/>
                  <a:pt x="12984" y="6480"/>
                  <a:pt x="13255" y="6480"/>
                </a:cubicBezTo>
                <a:cubicBezTo>
                  <a:pt x="13526" y="6480"/>
                  <a:pt x="13745" y="6239"/>
                  <a:pt x="13745" y="5940"/>
                </a:cubicBezTo>
                <a:lnTo>
                  <a:pt x="13745" y="3780"/>
                </a:lnTo>
                <a:lnTo>
                  <a:pt x="15709" y="3780"/>
                </a:lnTo>
                <a:cubicBezTo>
                  <a:pt x="15980" y="3780"/>
                  <a:pt x="16200" y="3539"/>
                  <a:pt x="16200" y="3240"/>
                </a:cubicBezTo>
                <a:cubicBezTo>
                  <a:pt x="16200" y="2942"/>
                  <a:pt x="15980" y="2700"/>
                  <a:pt x="15709" y="2700"/>
                </a:cubicBezTo>
                <a:lnTo>
                  <a:pt x="13745" y="2700"/>
                </a:lnTo>
                <a:lnTo>
                  <a:pt x="13745" y="540"/>
                </a:lnTo>
                <a:cubicBezTo>
                  <a:pt x="13745" y="242"/>
                  <a:pt x="13526" y="0"/>
                  <a:pt x="13255" y="0"/>
                </a:cubicBezTo>
                <a:cubicBezTo>
                  <a:pt x="12984" y="0"/>
                  <a:pt x="12764" y="242"/>
                  <a:pt x="12764" y="540"/>
                </a:cubicBezTo>
                <a:lnTo>
                  <a:pt x="12764" y="2700"/>
                </a:lnTo>
                <a:lnTo>
                  <a:pt x="10800" y="2700"/>
                </a:lnTo>
                <a:cubicBezTo>
                  <a:pt x="10529" y="2700"/>
                  <a:pt x="10309" y="2942"/>
                  <a:pt x="10309" y="3240"/>
                </a:cubicBezTo>
                <a:cubicBezTo>
                  <a:pt x="10309" y="3539"/>
                  <a:pt x="10529" y="3780"/>
                  <a:pt x="10800" y="378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3" name="Shape 2813"/>
          <p:cNvSpPr/>
          <p:nvPr/>
        </p:nvSpPr>
        <p:spPr>
          <a:xfrm>
            <a:off x="15654626" y="2916566"/>
            <a:ext cx="558654" cy="4443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2960"/>
                </a:moveTo>
                <a:lnTo>
                  <a:pt x="17294" y="10491"/>
                </a:lnTo>
                <a:lnTo>
                  <a:pt x="19843" y="10491"/>
                </a:lnTo>
                <a:lnTo>
                  <a:pt x="19407" y="12960"/>
                </a:lnTo>
                <a:cubicBezTo>
                  <a:pt x="19407" y="12960"/>
                  <a:pt x="17076" y="12960"/>
                  <a:pt x="17076" y="12960"/>
                </a:cubicBezTo>
                <a:close/>
                <a:moveTo>
                  <a:pt x="18752" y="16663"/>
                </a:moveTo>
                <a:lnTo>
                  <a:pt x="16748" y="16663"/>
                </a:lnTo>
                <a:lnTo>
                  <a:pt x="16967" y="14194"/>
                </a:lnTo>
                <a:lnTo>
                  <a:pt x="19188" y="14194"/>
                </a:lnTo>
                <a:cubicBezTo>
                  <a:pt x="19188" y="14194"/>
                  <a:pt x="18752" y="16663"/>
                  <a:pt x="18752" y="16663"/>
                </a:cubicBezTo>
                <a:close/>
                <a:moveTo>
                  <a:pt x="17673" y="20366"/>
                </a:moveTo>
                <a:cubicBezTo>
                  <a:pt x="17131" y="20366"/>
                  <a:pt x="16691" y="19813"/>
                  <a:pt x="16691" y="19131"/>
                </a:cubicBezTo>
                <a:cubicBezTo>
                  <a:pt x="16691" y="18450"/>
                  <a:pt x="17131" y="17897"/>
                  <a:pt x="17673" y="17897"/>
                </a:cubicBezTo>
                <a:cubicBezTo>
                  <a:pt x="18215" y="17897"/>
                  <a:pt x="18655" y="18450"/>
                  <a:pt x="18655" y="19131"/>
                </a:cubicBezTo>
                <a:cubicBezTo>
                  <a:pt x="18655" y="19813"/>
                  <a:pt x="18215" y="20366"/>
                  <a:pt x="17673" y="20366"/>
                </a:cubicBezTo>
                <a:moveTo>
                  <a:pt x="16415" y="9257"/>
                </a:moveTo>
                <a:lnTo>
                  <a:pt x="13745" y="9257"/>
                </a:lnTo>
                <a:lnTo>
                  <a:pt x="13745" y="6789"/>
                </a:lnTo>
                <a:lnTo>
                  <a:pt x="16634" y="6789"/>
                </a:lnTo>
                <a:cubicBezTo>
                  <a:pt x="16634" y="6789"/>
                  <a:pt x="16415" y="9257"/>
                  <a:pt x="16415" y="9257"/>
                </a:cubicBezTo>
                <a:close/>
                <a:moveTo>
                  <a:pt x="16088" y="12960"/>
                </a:moveTo>
                <a:lnTo>
                  <a:pt x="13745" y="12960"/>
                </a:lnTo>
                <a:lnTo>
                  <a:pt x="13745" y="10491"/>
                </a:lnTo>
                <a:lnTo>
                  <a:pt x="16307" y="10491"/>
                </a:lnTo>
                <a:cubicBezTo>
                  <a:pt x="16307" y="10491"/>
                  <a:pt x="16088" y="12960"/>
                  <a:pt x="16088" y="12960"/>
                </a:cubicBezTo>
                <a:close/>
                <a:moveTo>
                  <a:pt x="15761" y="16663"/>
                </a:moveTo>
                <a:lnTo>
                  <a:pt x="13745" y="16663"/>
                </a:lnTo>
                <a:lnTo>
                  <a:pt x="13745" y="14194"/>
                </a:lnTo>
                <a:lnTo>
                  <a:pt x="15979" y="14194"/>
                </a:lnTo>
                <a:cubicBezTo>
                  <a:pt x="15979" y="14194"/>
                  <a:pt x="15761" y="16663"/>
                  <a:pt x="15761" y="16663"/>
                </a:cubicBezTo>
                <a:close/>
                <a:moveTo>
                  <a:pt x="12764" y="9257"/>
                </a:moveTo>
                <a:lnTo>
                  <a:pt x="10094" y="9257"/>
                </a:lnTo>
                <a:lnTo>
                  <a:pt x="9876" y="6789"/>
                </a:lnTo>
                <a:lnTo>
                  <a:pt x="12764" y="6789"/>
                </a:lnTo>
                <a:cubicBezTo>
                  <a:pt x="12764" y="6789"/>
                  <a:pt x="12764" y="9257"/>
                  <a:pt x="12764" y="9257"/>
                </a:cubicBezTo>
                <a:close/>
                <a:moveTo>
                  <a:pt x="12764" y="12960"/>
                </a:moveTo>
                <a:lnTo>
                  <a:pt x="10422" y="12960"/>
                </a:lnTo>
                <a:lnTo>
                  <a:pt x="10203" y="10491"/>
                </a:lnTo>
                <a:lnTo>
                  <a:pt x="12764" y="10491"/>
                </a:lnTo>
                <a:cubicBezTo>
                  <a:pt x="12764" y="10491"/>
                  <a:pt x="12764" y="12960"/>
                  <a:pt x="12764" y="12960"/>
                </a:cubicBezTo>
                <a:close/>
                <a:moveTo>
                  <a:pt x="12764" y="16663"/>
                </a:moveTo>
                <a:lnTo>
                  <a:pt x="10748" y="16663"/>
                </a:lnTo>
                <a:lnTo>
                  <a:pt x="10531" y="14194"/>
                </a:lnTo>
                <a:lnTo>
                  <a:pt x="12764" y="14194"/>
                </a:lnTo>
                <a:cubicBezTo>
                  <a:pt x="12764" y="14194"/>
                  <a:pt x="12764" y="16663"/>
                  <a:pt x="12764" y="16663"/>
                </a:cubicBezTo>
                <a:close/>
                <a:moveTo>
                  <a:pt x="8836" y="20366"/>
                </a:moveTo>
                <a:cubicBezTo>
                  <a:pt x="8294" y="20366"/>
                  <a:pt x="7855" y="19813"/>
                  <a:pt x="7855" y="19131"/>
                </a:cubicBezTo>
                <a:cubicBezTo>
                  <a:pt x="7855" y="18450"/>
                  <a:pt x="8294" y="17897"/>
                  <a:pt x="8836" y="17897"/>
                </a:cubicBezTo>
                <a:cubicBezTo>
                  <a:pt x="9379" y="17897"/>
                  <a:pt x="9818" y="18450"/>
                  <a:pt x="9818" y="19131"/>
                </a:cubicBezTo>
                <a:cubicBezTo>
                  <a:pt x="9818" y="19813"/>
                  <a:pt x="9379" y="20366"/>
                  <a:pt x="8836" y="20366"/>
                </a:cubicBezTo>
                <a:moveTo>
                  <a:pt x="7214" y="14194"/>
                </a:moveTo>
                <a:lnTo>
                  <a:pt x="9543" y="14194"/>
                </a:lnTo>
                <a:lnTo>
                  <a:pt x="9761" y="16663"/>
                </a:lnTo>
                <a:lnTo>
                  <a:pt x="7740" y="16663"/>
                </a:lnTo>
                <a:cubicBezTo>
                  <a:pt x="7740" y="16663"/>
                  <a:pt x="7214" y="14194"/>
                  <a:pt x="7214" y="14194"/>
                </a:cubicBezTo>
                <a:close/>
                <a:moveTo>
                  <a:pt x="6950" y="12960"/>
                </a:moveTo>
                <a:lnTo>
                  <a:pt x="6424" y="10491"/>
                </a:lnTo>
                <a:lnTo>
                  <a:pt x="9215" y="10491"/>
                </a:lnTo>
                <a:lnTo>
                  <a:pt x="9434" y="12960"/>
                </a:lnTo>
                <a:cubicBezTo>
                  <a:pt x="9434" y="12960"/>
                  <a:pt x="6950" y="12960"/>
                  <a:pt x="6950" y="12960"/>
                </a:cubicBezTo>
                <a:close/>
                <a:moveTo>
                  <a:pt x="5633" y="6789"/>
                </a:moveTo>
                <a:lnTo>
                  <a:pt x="8888" y="6789"/>
                </a:lnTo>
                <a:lnTo>
                  <a:pt x="9107" y="9257"/>
                </a:lnTo>
                <a:lnTo>
                  <a:pt x="6160" y="9257"/>
                </a:lnTo>
                <a:cubicBezTo>
                  <a:pt x="6160" y="9257"/>
                  <a:pt x="5633" y="6789"/>
                  <a:pt x="5633" y="6789"/>
                </a:cubicBezTo>
                <a:close/>
                <a:moveTo>
                  <a:pt x="17621" y="6789"/>
                </a:moveTo>
                <a:lnTo>
                  <a:pt x="20498" y="6789"/>
                </a:lnTo>
                <a:lnTo>
                  <a:pt x="20061" y="9257"/>
                </a:lnTo>
                <a:lnTo>
                  <a:pt x="17403" y="9257"/>
                </a:lnTo>
                <a:cubicBezTo>
                  <a:pt x="17403" y="9257"/>
                  <a:pt x="17621" y="6789"/>
                  <a:pt x="17621" y="6789"/>
                </a:cubicBezTo>
                <a:close/>
                <a:moveTo>
                  <a:pt x="19619" y="17429"/>
                </a:moveTo>
                <a:lnTo>
                  <a:pt x="19622" y="17429"/>
                </a:lnTo>
                <a:lnTo>
                  <a:pt x="21585" y="6321"/>
                </a:lnTo>
                <a:lnTo>
                  <a:pt x="21577" y="6318"/>
                </a:lnTo>
                <a:cubicBezTo>
                  <a:pt x="21586" y="6270"/>
                  <a:pt x="21600" y="6224"/>
                  <a:pt x="21600" y="6171"/>
                </a:cubicBezTo>
                <a:cubicBezTo>
                  <a:pt x="21600" y="5830"/>
                  <a:pt x="21380" y="5554"/>
                  <a:pt x="21109" y="5554"/>
                </a:cubicBezTo>
                <a:lnTo>
                  <a:pt x="5370" y="5554"/>
                </a:lnTo>
                <a:lnTo>
                  <a:pt x="4674" y="2291"/>
                </a:lnTo>
                <a:lnTo>
                  <a:pt x="4667" y="2294"/>
                </a:lnTo>
                <a:cubicBezTo>
                  <a:pt x="4606" y="2040"/>
                  <a:pt x="4426" y="1851"/>
                  <a:pt x="4204" y="1851"/>
                </a:cubicBezTo>
                <a:lnTo>
                  <a:pt x="491" y="1851"/>
                </a:lnTo>
                <a:cubicBezTo>
                  <a:pt x="220" y="1851"/>
                  <a:pt x="0" y="2127"/>
                  <a:pt x="0" y="2469"/>
                </a:cubicBezTo>
                <a:cubicBezTo>
                  <a:pt x="0" y="2810"/>
                  <a:pt x="220" y="3086"/>
                  <a:pt x="491" y="3086"/>
                </a:cubicBezTo>
                <a:lnTo>
                  <a:pt x="3827" y="3086"/>
                </a:lnTo>
                <a:lnTo>
                  <a:pt x="6893" y="17457"/>
                </a:lnTo>
                <a:lnTo>
                  <a:pt x="6894" y="17457"/>
                </a:lnTo>
                <a:cubicBezTo>
                  <a:pt x="6936" y="17631"/>
                  <a:pt x="7037" y="17772"/>
                  <a:pt x="7168" y="17845"/>
                </a:cubicBezTo>
                <a:cubicBezTo>
                  <a:pt x="6984" y="18220"/>
                  <a:pt x="6873" y="18658"/>
                  <a:pt x="6873" y="19131"/>
                </a:cubicBezTo>
                <a:cubicBezTo>
                  <a:pt x="6873" y="20495"/>
                  <a:pt x="7752" y="21600"/>
                  <a:pt x="8836" y="21600"/>
                </a:cubicBezTo>
                <a:cubicBezTo>
                  <a:pt x="9921" y="21600"/>
                  <a:pt x="10800" y="20495"/>
                  <a:pt x="10800" y="19131"/>
                </a:cubicBezTo>
                <a:cubicBezTo>
                  <a:pt x="10800" y="18680"/>
                  <a:pt x="10696" y="18262"/>
                  <a:pt x="10528" y="17897"/>
                </a:cubicBezTo>
                <a:lnTo>
                  <a:pt x="15982" y="17897"/>
                </a:lnTo>
                <a:cubicBezTo>
                  <a:pt x="15813" y="18262"/>
                  <a:pt x="15709" y="18680"/>
                  <a:pt x="15709" y="19131"/>
                </a:cubicBezTo>
                <a:cubicBezTo>
                  <a:pt x="15709" y="20495"/>
                  <a:pt x="16588" y="21600"/>
                  <a:pt x="17673" y="21600"/>
                </a:cubicBezTo>
                <a:cubicBezTo>
                  <a:pt x="18757" y="21600"/>
                  <a:pt x="19636" y="20495"/>
                  <a:pt x="19636" y="19131"/>
                </a:cubicBezTo>
                <a:cubicBezTo>
                  <a:pt x="19636" y="18658"/>
                  <a:pt x="19525" y="18220"/>
                  <a:pt x="19341" y="17845"/>
                </a:cubicBezTo>
                <a:cubicBezTo>
                  <a:pt x="19479" y="17769"/>
                  <a:pt x="19581" y="17615"/>
                  <a:pt x="19619" y="17429"/>
                </a:cubicBezTo>
                <a:moveTo>
                  <a:pt x="10800" y="1234"/>
                </a:moveTo>
                <a:lnTo>
                  <a:pt x="15709" y="1234"/>
                </a:lnTo>
                <a:cubicBezTo>
                  <a:pt x="15980" y="1234"/>
                  <a:pt x="16200" y="959"/>
                  <a:pt x="16200" y="617"/>
                </a:cubicBezTo>
                <a:cubicBezTo>
                  <a:pt x="16200" y="276"/>
                  <a:pt x="15980" y="0"/>
                  <a:pt x="15709" y="0"/>
                </a:cubicBezTo>
                <a:lnTo>
                  <a:pt x="10800" y="0"/>
                </a:lnTo>
                <a:cubicBezTo>
                  <a:pt x="10529" y="0"/>
                  <a:pt x="10309" y="276"/>
                  <a:pt x="10309" y="617"/>
                </a:cubicBezTo>
                <a:cubicBezTo>
                  <a:pt x="10309" y="959"/>
                  <a:pt x="10529" y="1234"/>
                  <a:pt x="10800" y="123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4" name="Shape 2814"/>
          <p:cNvSpPr/>
          <p:nvPr/>
        </p:nvSpPr>
        <p:spPr>
          <a:xfrm>
            <a:off x="16771937" y="2853085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0800"/>
                </a:moveTo>
                <a:lnTo>
                  <a:pt x="13200" y="10800"/>
                </a:lnTo>
                <a:lnTo>
                  <a:pt x="13200" y="11782"/>
                </a:lnTo>
                <a:lnTo>
                  <a:pt x="14400" y="11782"/>
                </a:lnTo>
                <a:cubicBezTo>
                  <a:pt x="14400" y="11782"/>
                  <a:pt x="14400" y="10800"/>
                  <a:pt x="14400" y="10800"/>
                </a:cubicBezTo>
                <a:close/>
                <a:moveTo>
                  <a:pt x="15600" y="11782"/>
                </a:moveTo>
                <a:lnTo>
                  <a:pt x="16800" y="11782"/>
                </a:lnTo>
                <a:lnTo>
                  <a:pt x="16800" y="10800"/>
                </a:lnTo>
                <a:lnTo>
                  <a:pt x="15600" y="10800"/>
                </a:lnTo>
                <a:cubicBezTo>
                  <a:pt x="15600" y="10800"/>
                  <a:pt x="15600" y="11782"/>
                  <a:pt x="15600" y="11782"/>
                </a:cubicBezTo>
                <a:close/>
                <a:moveTo>
                  <a:pt x="15600" y="15709"/>
                </a:moveTo>
                <a:lnTo>
                  <a:pt x="19200" y="15709"/>
                </a:lnTo>
                <a:lnTo>
                  <a:pt x="19200" y="14727"/>
                </a:lnTo>
                <a:lnTo>
                  <a:pt x="15600" y="14727"/>
                </a:lnTo>
                <a:cubicBezTo>
                  <a:pt x="15600" y="14727"/>
                  <a:pt x="15600" y="15709"/>
                  <a:pt x="15600" y="15709"/>
                </a:cubicBezTo>
                <a:close/>
                <a:moveTo>
                  <a:pt x="14400" y="8836"/>
                </a:moveTo>
                <a:lnTo>
                  <a:pt x="13200" y="8836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8836"/>
                  <a:pt x="14400" y="8836"/>
                </a:cubicBezTo>
                <a:close/>
                <a:moveTo>
                  <a:pt x="16800" y="8836"/>
                </a:moveTo>
                <a:lnTo>
                  <a:pt x="15600" y="8836"/>
                </a:lnTo>
                <a:lnTo>
                  <a:pt x="15600" y="9818"/>
                </a:lnTo>
                <a:lnTo>
                  <a:pt x="16800" y="9818"/>
                </a:lnTo>
                <a:cubicBezTo>
                  <a:pt x="16800" y="9818"/>
                  <a:pt x="16800" y="8836"/>
                  <a:pt x="16800" y="8836"/>
                </a:cubicBezTo>
                <a:close/>
                <a:moveTo>
                  <a:pt x="19200" y="6873"/>
                </a:moveTo>
                <a:lnTo>
                  <a:pt x="13200" y="6873"/>
                </a:lnTo>
                <a:lnTo>
                  <a:pt x="13200" y="7855"/>
                </a:lnTo>
                <a:lnTo>
                  <a:pt x="19200" y="7855"/>
                </a:lnTo>
                <a:cubicBezTo>
                  <a:pt x="19200" y="7855"/>
                  <a:pt x="19200" y="6873"/>
                  <a:pt x="19200" y="6873"/>
                </a:cubicBezTo>
                <a:close/>
                <a:moveTo>
                  <a:pt x="18000" y="9818"/>
                </a:moveTo>
                <a:lnTo>
                  <a:pt x="19200" y="9818"/>
                </a:lnTo>
                <a:lnTo>
                  <a:pt x="19200" y="8836"/>
                </a:lnTo>
                <a:lnTo>
                  <a:pt x="18000" y="8836"/>
                </a:lnTo>
                <a:cubicBezTo>
                  <a:pt x="18000" y="8836"/>
                  <a:pt x="18000" y="9818"/>
                  <a:pt x="18000" y="9818"/>
                </a:cubicBezTo>
                <a:close/>
                <a:moveTo>
                  <a:pt x="18000" y="11782"/>
                </a:moveTo>
                <a:lnTo>
                  <a:pt x="19200" y="11782"/>
                </a:lnTo>
                <a:lnTo>
                  <a:pt x="19200" y="10800"/>
                </a:lnTo>
                <a:lnTo>
                  <a:pt x="18000" y="10800"/>
                </a:lnTo>
                <a:cubicBezTo>
                  <a:pt x="18000" y="10800"/>
                  <a:pt x="18000" y="11782"/>
                  <a:pt x="18000" y="11782"/>
                </a:cubicBezTo>
                <a:close/>
                <a:moveTo>
                  <a:pt x="15600" y="13745"/>
                </a:moveTo>
                <a:lnTo>
                  <a:pt x="16800" y="13745"/>
                </a:lnTo>
                <a:lnTo>
                  <a:pt x="16800" y="12764"/>
                </a:lnTo>
                <a:lnTo>
                  <a:pt x="15600" y="12764"/>
                </a:lnTo>
                <a:cubicBezTo>
                  <a:pt x="15600" y="12764"/>
                  <a:pt x="15600" y="13745"/>
                  <a:pt x="15600" y="13745"/>
                </a:cubicBezTo>
                <a:close/>
                <a:moveTo>
                  <a:pt x="18000" y="13745"/>
                </a:moveTo>
                <a:lnTo>
                  <a:pt x="19200" y="13745"/>
                </a:lnTo>
                <a:lnTo>
                  <a:pt x="19200" y="12764"/>
                </a:lnTo>
                <a:lnTo>
                  <a:pt x="18000" y="12764"/>
                </a:lnTo>
                <a:cubicBezTo>
                  <a:pt x="18000" y="12764"/>
                  <a:pt x="18000" y="13745"/>
                  <a:pt x="18000" y="13745"/>
                </a:cubicBezTo>
                <a:close/>
                <a:moveTo>
                  <a:pt x="20400" y="16691"/>
                </a:moveTo>
                <a:lnTo>
                  <a:pt x="1200" y="16691"/>
                </a:lnTo>
                <a:lnTo>
                  <a:pt x="1200" y="5891"/>
                </a:lnTo>
                <a:lnTo>
                  <a:pt x="20400" y="5891"/>
                </a:lnTo>
                <a:cubicBezTo>
                  <a:pt x="20400" y="5891"/>
                  <a:pt x="20400" y="16691"/>
                  <a:pt x="20400" y="166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17673"/>
                </a:lnTo>
                <a:lnTo>
                  <a:pt x="20400" y="17673"/>
                </a:lnTo>
                <a:cubicBezTo>
                  <a:pt x="20400" y="17673"/>
                  <a:pt x="20400" y="20618"/>
                  <a:pt x="20400" y="20618"/>
                </a:cubicBezTo>
                <a:close/>
                <a:moveTo>
                  <a:pt x="15000" y="4909"/>
                </a:moveTo>
                <a:lnTo>
                  <a:pt x="13800" y="4909"/>
                </a:lnTo>
                <a:lnTo>
                  <a:pt x="13800" y="2945"/>
                </a:lnTo>
                <a:lnTo>
                  <a:pt x="15000" y="2945"/>
                </a:lnTo>
                <a:cubicBezTo>
                  <a:pt x="15000" y="2945"/>
                  <a:pt x="15000" y="4909"/>
                  <a:pt x="15000" y="4909"/>
                </a:cubicBezTo>
                <a:close/>
                <a:moveTo>
                  <a:pt x="132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13200" y="1964"/>
                </a:lnTo>
                <a:cubicBezTo>
                  <a:pt x="13200" y="1964"/>
                  <a:pt x="13200" y="982"/>
                  <a:pt x="13200" y="982"/>
                </a:cubicBezTo>
                <a:close/>
                <a:moveTo>
                  <a:pt x="12000" y="1964"/>
                </a:moveTo>
                <a:lnTo>
                  <a:pt x="10800" y="1964"/>
                </a:lnTo>
                <a:lnTo>
                  <a:pt x="10800" y="982"/>
                </a:lnTo>
                <a:lnTo>
                  <a:pt x="12000" y="982"/>
                </a:lnTo>
                <a:cubicBezTo>
                  <a:pt x="12000" y="982"/>
                  <a:pt x="12000" y="1964"/>
                  <a:pt x="12000" y="1964"/>
                </a:cubicBezTo>
                <a:close/>
                <a:moveTo>
                  <a:pt x="20400" y="4909"/>
                </a:moveTo>
                <a:lnTo>
                  <a:pt x="16200" y="4909"/>
                </a:lnTo>
                <a:lnTo>
                  <a:pt x="16200" y="2945"/>
                </a:lnTo>
                <a:lnTo>
                  <a:pt x="18000" y="2945"/>
                </a:lnTo>
                <a:cubicBezTo>
                  <a:pt x="18662" y="2945"/>
                  <a:pt x="19200" y="2506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10800" y="0"/>
                </a:lnTo>
                <a:cubicBezTo>
                  <a:pt x="10138" y="0"/>
                  <a:pt x="9600" y="440"/>
                  <a:pt x="9600" y="982"/>
                </a:cubicBezTo>
                <a:lnTo>
                  <a:pt x="9600" y="1964"/>
                </a:lnTo>
                <a:cubicBezTo>
                  <a:pt x="9600" y="2506"/>
                  <a:pt x="10138" y="2945"/>
                  <a:pt x="10800" y="2945"/>
                </a:cubicBezTo>
                <a:lnTo>
                  <a:pt x="12600" y="2945"/>
                </a:lnTo>
                <a:lnTo>
                  <a:pt x="12600" y="4909"/>
                </a:lnTo>
                <a:lnTo>
                  <a:pt x="1200" y="4909"/>
                </a:lnTo>
                <a:cubicBezTo>
                  <a:pt x="538" y="4909"/>
                  <a:pt x="0" y="5349"/>
                  <a:pt x="0" y="5891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5891"/>
                </a:lnTo>
                <a:cubicBezTo>
                  <a:pt x="21600" y="5349"/>
                  <a:pt x="21062" y="4909"/>
                  <a:pt x="20400" y="4909"/>
                </a:cubicBezTo>
                <a:moveTo>
                  <a:pt x="3600" y="14727"/>
                </a:moveTo>
                <a:lnTo>
                  <a:pt x="2400" y="14727"/>
                </a:lnTo>
                <a:lnTo>
                  <a:pt x="2400" y="15709"/>
                </a:lnTo>
                <a:lnTo>
                  <a:pt x="3600" y="15709"/>
                </a:lnTo>
                <a:cubicBezTo>
                  <a:pt x="3600" y="15709"/>
                  <a:pt x="3600" y="14727"/>
                  <a:pt x="3600" y="14727"/>
                </a:cubicBezTo>
                <a:close/>
                <a:moveTo>
                  <a:pt x="4800" y="15709"/>
                </a:moveTo>
                <a:lnTo>
                  <a:pt x="6000" y="15709"/>
                </a:lnTo>
                <a:lnTo>
                  <a:pt x="6000" y="14727"/>
                </a:lnTo>
                <a:lnTo>
                  <a:pt x="4800" y="14727"/>
                </a:lnTo>
                <a:cubicBezTo>
                  <a:pt x="4800" y="14727"/>
                  <a:pt x="4800" y="15709"/>
                  <a:pt x="4800" y="15709"/>
                </a:cubicBezTo>
                <a:close/>
                <a:moveTo>
                  <a:pt x="9000" y="19636"/>
                </a:moveTo>
                <a:lnTo>
                  <a:pt x="12600" y="19636"/>
                </a:lnTo>
                <a:cubicBezTo>
                  <a:pt x="12931" y="19636"/>
                  <a:pt x="13200" y="19417"/>
                  <a:pt x="13200" y="19145"/>
                </a:cubicBezTo>
                <a:cubicBezTo>
                  <a:pt x="13200" y="18875"/>
                  <a:pt x="12931" y="18655"/>
                  <a:pt x="12600" y="18655"/>
                </a:cubicBezTo>
                <a:lnTo>
                  <a:pt x="9000" y="18655"/>
                </a:lnTo>
                <a:cubicBezTo>
                  <a:pt x="8669" y="18655"/>
                  <a:pt x="8400" y="18875"/>
                  <a:pt x="8400" y="19145"/>
                </a:cubicBezTo>
                <a:cubicBezTo>
                  <a:pt x="8400" y="19417"/>
                  <a:pt x="8669" y="19636"/>
                  <a:pt x="9000" y="19636"/>
                </a:cubicBezTo>
                <a:moveTo>
                  <a:pt x="7200" y="15709"/>
                </a:moveTo>
                <a:lnTo>
                  <a:pt x="8400" y="15709"/>
                </a:lnTo>
                <a:lnTo>
                  <a:pt x="8400" y="14727"/>
                </a:lnTo>
                <a:lnTo>
                  <a:pt x="7200" y="14727"/>
                </a:lnTo>
                <a:cubicBezTo>
                  <a:pt x="7200" y="14727"/>
                  <a:pt x="7200" y="15709"/>
                  <a:pt x="7200" y="15709"/>
                </a:cubicBezTo>
                <a:close/>
                <a:moveTo>
                  <a:pt x="14400" y="12764"/>
                </a:moveTo>
                <a:lnTo>
                  <a:pt x="13200" y="12764"/>
                </a:lnTo>
                <a:lnTo>
                  <a:pt x="13200" y="13745"/>
                </a:lnTo>
                <a:lnTo>
                  <a:pt x="14400" y="13745"/>
                </a:lnTo>
                <a:cubicBezTo>
                  <a:pt x="14400" y="13745"/>
                  <a:pt x="14400" y="12764"/>
                  <a:pt x="14400" y="12764"/>
                </a:cubicBezTo>
                <a:close/>
                <a:moveTo>
                  <a:pt x="10800" y="12764"/>
                </a:moveTo>
                <a:lnTo>
                  <a:pt x="3600" y="12764"/>
                </a:lnTo>
                <a:lnTo>
                  <a:pt x="3600" y="7855"/>
                </a:lnTo>
                <a:lnTo>
                  <a:pt x="10800" y="7855"/>
                </a:lnTo>
                <a:cubicBezTo>
                  <a:pt x="10800" y="7855"/>
                  <a:pt x="10800" y="12764"/>
                  <a:pt x="10800" y="12764"/>
                </a:cubicBezTo>
                <a:close/>
                <a:moveTo>
                  <a:pt x="12000" y="6873"/>
                </a:moveTo>
                <a:lnTo>
                  <a:pt x="2400" y="6873"/>
                </a:lnTo>
                <a:lnTo>
                  <a:pt x="2400" y="13745"/>
                </a:lnTo>
                <a:lnTo>
                  <a:pt x="12000" y="13745"/>
                </a:lnTo>
                <a:cubicBezTo>
                  <a:pt x="12000" y="13745"/>
                  <a:pt x="12000" y="6873"/>
                  <a:pt x="12000" y="6873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5" name="Shape 2815"/>
          <p:cNvSpPr/>
          <p:nvPr/>
        </p:nvSpPr>
        <p:spPr>
          <a:xfrm>
            <a:off x="17813066" y="2853085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7" y="20618"/>
                </a:moveTo>
                <a:lnTo>
                  <a:pt x="1300" y="19636"/>
                </a:lnTo>
                <a:lnTo>
                  <a:pt x="20300" y="19636"/>
                </a:lnTo>
                <a:lnTo>
                  <a:pt x="20443" y="20618"/>
                </a:lnTo>
                <a:cubicBezTo>
                  <a:pt x="20443" y="20618"/>
                  <a:pt x="1157" y="20618"/>
                  <a:pt x="1157" y="20618"/>
                </a:cubicBezTo>
                <a:close/>
                <a:moveTo>
                  <a:pt x="3172" y="6873"/>
                </a:moveTo>
                <a:lnTo>
                  <a:pt x="6480" y="6873"/>
                </a:lnTo>
                <a:lnTo>
                  <a:pt x="6480" y="8973"/>
                </a:lnTo>
                <a:cubicBezTo>
                  <a:pt x="6158" y="9143"/>
                  <a:pt x="5940" y="9456"/>
                  <a:pt x="5940" y="9818"/>
                </a:cubicBezTo>
                <a:cubicBezTo>
                  <a:pt x="5940" y="10360"/>
                  <a:pt x="6424" y="10800"/>
                  <a:pt x="7020" y="10800"/>
                </a:cubicBezTo>
                <a:cubicBezTo>
                  <a:pt x="7616" y="10800"/>
                  <a:pt x="8100" y="10360"/>
                  <a:pt x="8100" y="9818"/>
                </a:cubicBezTo>
                <a:cubicBezTo>
                  <a:pt x="8100" y="9456"/>
                  <a:pt x="7882" y="9143"/>
                  <a:pt x="7560" y="8973"/>
                </a:cubicBezTo>
                <a:lnTo>
                  <a:pt x="7560" y="6873"/>
                </a:lnTo>
                <a:lnTo>
                  <a:pt x="14040" y="6873"/>
                </a:lnTo>
                <a:lnTo>
                  <a:pt x="14040" y="8973"/>
                </a:lnTo>
                <a:cubicBezTo>
                  <a:pt x="13718" y="9143"/>
                  <a:pt x="13500" y="9456"/>
                  <a:pt x="13500" y="9818"/>
                </a:cubicBezTo>
                <a:cubicBezTo>
                  <a:pt x="13500" y="10360"/>
                  <a:pt x="13984" y="10800"/>
                  <a:pt x="14580" y="10800"/>
                </a:cubicBezTo>
                <a:cubicBezTo>
                  <a:pt x="15176" y="10800"/>
                  <a:pt x="15660" y="10360"/>
                  <a:pt x="15660" y="9818"/>
                </a:cubicBezTo>
                <a:cubicBezTo>
                  <a:pt x="15660" y="9456"/>
                  <a:pt x="15442" y="9143"/>
                  <a:pt x="15120" y="8973"/>
                </a:cubicBezTo>
                <a:lnTo>
                  <a:pt x="15120" y="6873"/>
                </a:lnTo>
                <a:lnTo>
                  <a:pt x="18428" y="6873"/>
                </a:lnTo>
                <a:lnTo>
                  <a:pt x="20155" y="18655"/>
                </a:lnTo>
                <a:lnTo>
                  <a:pt x="1445" y="18655"/>
                </a:lnTo>
                <a:cubicBezTo>
                  <a:pt x="1445" y="18655"/>
                  <a:pt x="3172" y="6873"/>
                  <a:pt x="3172" y="6873"/>
                </a:cubicBezTo>
                <a:close/>
                <a:moveTo>
                  <a:pt x="7560" y="3927"/>
                </a:moveTo>
                <a:cubicBezTo>
                  <a:pt x="7560" y="2301"/>
                  <a:pt x="9011" y="982"/>
                  <a:pt x="10800" y="982"/>
                </a:cubicBezTo>
                <a:cubicBezTo>
                  <a:pt x="12590" y="982"/>
                  <a:pt x="14040" y="2301"/>
                  <a:pt x="14040" y="3927"/>
                </a:cubicBezTo>
                <a:lnTo>
                  <a:pt x="14040" y="5891"/>
                </a:lnTo>
                <a:lnTo>
                  <a:pt x="7560" y="5891"/>
                </a:lnTo>
                <a:cubicBezTo>
                  <a:pt x="7560" y="5891"/>
                  <a:pt x="7560" y="3927"/>
                  <a:pt x="7560" y="3927"/>
                </a:cubicBezTo>
                <a:close/>
                <a:moveTo>
                  <a:pt x="21586" y="21045"/>
                </a:moveTo>
                <a:lnTo>
                  <a:pt x="21595" y="21044"/>
                </a:lnTo>
                <a:lnTo>
                  <a:pt x="19435" y="6317"/>
                </a:lnTo>
                <a:lnTo>
                  <a:pt x="19426" y="6318"/>
                </a:lnTo>
                <a:cubicBezTo>
                  <a:pt x="19390" y="6079"/>
                  <a:pt x="19173" y="5891"/>
                  <a:pt x="18900" y="5891"/>
                </a:cubicBezTo>
                <a:lnTo>
                  <a:pt x="15120" y="5891"/>
                </a:lnTo>
                <a:lnTo>
                  <a:pt x="15120" y="3927"/>
                </a:lnTo>
                <a:cubicBezTo>
                  <a:pt x="15120" y="1758"/>
                  <a:pt x="13186" y="0"/>
                  <a:pt x="10800" y="0"/>
                </a:cubicBezTo>
                <a:cubicBezTo>
                  <a:pt x="8414" y="0"/>
                  <a:pt x="6480" y="1758"/>
                  <a:pt x="6480" y="3927"/>
                </a:cubicBezTo>
                <a:lnTo>
                  <a:pt x="6480" y="5891"/>
                </a:lnTo>
                <a:lnTo>
                  <a:pt x="2700" y="5891"/>
                </a:lnTo>
                <a:cubicBezTo>
                  <a:pt x="2427" y="5891"/>
                  <a:pt x="2210" y="6079"/>
                  <a:pt x="2174" y="6318"/>
                </a:cubicBezTo>
                <a:lnTo>
                  <a:pt x="2165" y="6317"/>
                </a:lnTo>
                <a:lnTo>
                  <a:pt x="5" y="21044"/>
                </a:lnTo>
                <a:lnTo>
                  <a:pt x="14" y="21045"/>
                </a:lnTo>
                <a:cubicBezTo>
                  <a:pt x="11" y="21067"/>
                  <a:pt x="0" y="21087"/>
                  <a:pt x="0" y="21109"/>
                </a:cubicBezTo>
                <a:cubicBezTo>
                  <a:pt x="0" y="21381"/>
                  <a:pt x="242" y="21600"/>
                  <a:pt x="540" y="21600"/>
                </a:cubicBezTo>
                <a:lnTo>
                  <a:pt x="21060" y="21600"/>
                </a:lnTo>
                <a:cubicBezTo>
                  <a:pt x="21358" y="21600"/>
                  <a:pt x="21600" y="21381"/>
                  <a:pt x="21600" y="21109"/>
                </a:cubicBezTo>
                <a:cubicBezTo>
                  <a:pt x="21600" y="21087"/>
                  <a:pt x="21589" y="21067"/>
                  <a:pt x="21586" y="210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6" name="Shape 2816"/>
          <p:cNvSpPr/>
          <p:nvPr/>
        </p:nvSpPr>
        <p:spPr>
          <a:xfrm>
            <a:off x="18841498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87" y="18100"/>
                </a:moveTo>
                <a:lnTo>
                  <a:pt x="21596" y="18099"/>
                </a:lnTo>
                <a:lnTo>
                  <a:pt x="20614" y="5335"/>
                </a:lnTo>
                <a:lnTo>
                  <a:pt x="20605" y="5337"/>
                </a:lnTo>
                <a:cubicBezTo>
                  <a:pt x="20573" y="5097"/>
                  <a:pt x="20376" y="4909"/>
                  <a:pt x="20127" y="4909"/>
                </a:cubicBezTo>
                <a:lnTo>
                  <a:pt x="16691" y="4909"/>
                </a:lnTo>
                <a:lnTo>
                  <a:pt x="16691" y="3927"/>
                </a:lnTo>
                <a:cubicBezTo>
                  <a:pt x="16691" y="1758"/>
                  <a:pt x="14932" y="0"/>
                  <a:pt x="12764" y="0"/>
                </a:cubicBezTo>
                <a:cubicBezTo>
                  <a:pt x="11300" y="0"/>
                  <a:pt x="10025" y="803"/>
                  <a:pt x="9350" y="1991"/>
                </a:cubicBezTo>
                <a:cubicBezTo>
                  <a:pt x="9705" y="2027"/>
                  <a:pt x="10048" y="2105"/>
                  <a:pt x="10377" y="2214"/>
                </a:cubicBezTo>
                <a:cubicBezTo>
                  <a:pt x="10911" y="1470"/>
                  <a:pt x="11778" y="982"/>
                  <a:pt x="12764" y="982"/>
                </a:cubicBezTo>
                <a:cubicBezTo>
                  <a:pt x="14390" y="982"/>
                  <a:pt x="15709" y="2301"/>
                  <a:pt x="15709" y="3927"/>
                </a:cubicBezTo>
                <a:lnTo>
                  <a:pt x="15709" y="4909"/>
                </a:lnTo>
                <a:lnTo>
                  <a:pt x="13337" y="4909"/>
                </a:lnTo>
                <a:cubicBezTo>
                  <a:pt x="13474" y="5221"/>
                  <a:pt x="13581" y="5549"/>
                  <a:pt x="13651" y="5891"/>
                </a:cubicBezTo>
                <a:lnTo>
                  <a:pt x="15709" y="5891"/>
                </a:lnTo>
                <a:lnTo>
                  <a:pt x="15709" y="6873"/>
                </a:lnTo>
                <a:lnTo>
                  <a:pt x="16204" y="6873"/>
                </a:lnTo>
                <a:cubicBezTo>
                  <a:pt x="16375" y="6873"/>
                  <a:pt x="16537" y="6905"/>
                  <a:pt x="16691" y="6961"/>
                </a:cubicBezTo>
                <a:lnTo>
                  <a:pt x="16691" y="5891"/>
                </a:lnTo>
                <a:lnTo>
                  <a:pt x="19674" y="5891"/>
                </a:lnTo>
                <a:lnTo>
                  <a:pt x="20429" y="15709"/>
                </a:lnTo>
                <a:lnTo>
                  <a:pt x="18247" y="15709"/>
                </a:lnTo>
                <a:lnTo>
                  <a:pt x="18323" y="16691"/>
                </a:lnTo>
                <a:lnTo>
                  <a:pt x="20504" y="16691"/>
                </a:lnTo>
                <a:lnTo>
                  <a:pt x="20580" y="17673"/>
                </a:lnTo>
                <a:lnTo>
                  <a:pt x="18398" y="17673"/>
                </a:lnTo>
                <a:lnTo>
                  <a:pt x="18474" y="18655"/>
                </a:lnTo>
                <a:lnTo>
                  <a:pt x="21109" y="18655"/>
                </a:lnTo>
                <a:cubicBezTo>
                  <a:pt x="21380" y="18655"/>
                  <a:pt x="21600" y="18435"/>
                  <a:pt x="21600" y="18164"/>
                </a:cubicBezTo>
                <a:cubicBezTo>
                  <a:pt x="21600" y="18141"/>
                  <a:pt x="21590" y="18122"/>
                  <a:pt x="21587" y="18100"/>
                </a:cubicBezTo>
                <a:moveTo>
                  <a:pt x="1020" y="20618"/>
                </a:moveTo>
                <a:lnTo>
                  <a:pt x="1096" y="19636"/>
                </a:lnTo>
                <a:lnTo>
                  <a:pt x="16577" y="19636"/>
                </a:lnTo>
                <a:lnTo>
                  <a:pt x="16653" y="20618"/>
                </a:lnTo>
                <a:cubicBezTo>
                  <a:pt x="16653" y="20618"/>
                  <a:pt x="1020" y="20618"/>
                  <a:pt x="1020" y="20618"/>
                </a:cubicBezTo>
                <a:close/>
                <a:moveTo>
                  <a:pt x="1926" y="8836"/>
                </a:moveTo>
                <a:lnTo>
                  <a:pt x="4909" y="8836"/>
                </a:lnTo>
                <a:lnTo>
                  <a:pt x="4909" y="10936"/>
                </a:lnTo>
                <a:cubicBezTo>
                  <a:pt x="4617" y="11106"/>
                  <a:pt x="4418" y="11420"/>
                  <a:pt x="4418" y="11782"/>
                </a:cubicBezTo>
                <a:cubicBezTo>
                  <a:pt x="4418" y="12324"/>
                  <a:pt x="4858" y="12764"/>
                  <a:pt x="5400" y="12764"/>
                </a:cubicBezTo>
                <a:cubicBezTo>
                  <a:pt x="5942" y="12764"/>
                  <a:pt x="6382" y="12324"/>
                  <a:pt x="6382" y="11782"/>
                </a:cubicBezTo>
                <a:cubicBezTo>
                  <a:pt x="6382" y="11420"/>
                  <a:pt x="6183" y="11106"/>
                  <a:pt x="5891" y="10936"/>
                </a:cubicBezTo>
                <a:lnTo>
                  <a:pt x="5891" y="8836"/>
                </a:lnTo>
                <a:lnTo>
                  <a:pt x="11782" y="8836"/>
                </a:lnTo>
                <a:lnTo>
                  <a:pt x="11782" y="10936"/>
                </a:lnTo>
                <a:cubicBezTo>
                  <a:pt x="11489" y="11106"/>
                  <a:pt x="11291" y="11420"/>
                  <a:pt x="11291" y="11782"/>
                </a:cubicBezTo>
                <a:cubicBezTo>
                  <a:pt x="11291" y="12324"/>
                  <a:pt x="11731" y="12764"/>
                  <a:pt x="12273" y="12764"/>
                </a:cubicBezTo>
                <a:cubicBezTo>
                  <a:pt x="12815" y="12764"/>
                  <a:pt x="13255" y="12324"/>
                  <a:pt x="13255" y="11782"/>
                </a:cubicBezTo>
                <a:cubicBezTo>
                  <a:pt x="13255" y="11420"/>
                  <a:pt x="13056" y="11106"/>
                  <a:pt x="12764" y="10936"/>
                </a:cubicBezTo>
                <a:lnTo>
                  <a:pt x="12764" y="8836"/>
                </a:lnTo>
                <a:lnTo>
                  <a:pt x="15746" y="8836"/>
                </a:lnTo>
                <a:lnTo>
                  <a:pt x="16502" y="18655"/>
                </a:lnTo>
                <a:lnTo>
                  <a:pt x="1172" y="18655"/>
                </a:lnTo>
                <a:cubicBezTo>
                  <a:pt x="1172" y="18655"/>
                  <a:pt x="1926" y="8836"/>
                  <a:pt x="1926" y="8836"/>
                </a:cubicBezTo>
                <a:close/>
                <a:moveTo>
                  <a:pt x="5891" y="6873"/>
                </a:moveTo>
                <a:cubicBezTo>
                  <a:pt x="5891" y="5246"/>
                  <a:pt x="7210" y="3927"/>
                  <a:pt x="8836" y="3927"/>
                </a:cubicBezTo>
                <a:cubicBezTo>
                  <a:pt x="10463" y="3927"/>
                  <a:pt x="11782" y="5246"/>
                  <a:pt x="11782" y="6873"/>
                </a:cubicBezTo>
                <a:lnTo>
                  <a:pt x="11782" y="7855"/>
                </a:lnTo>
                <a:lnTo>
                  <a:pt x="5891" y="7855"/>
                </a:lnTo>
                <a:cubicBezTo>
                  <a:pt x="5891" y="7855"/>
                  <a:pt x="5891" y="6873"/>
                  <a:pt x="5891" y="6873"/>
                </a:cubicBezTo>
                <a:close/>
                <a:moveTo>
                  <a:pt x="17668" y="21044"/>
                </a:moveTo>
                <a:lnTo>
                  <a:pt x="16687" y="8281"/>
                </a:lnTo>
                <a:lnTo>
                  <a:pt x="16678" y="8282"/>
                </a:lnTo>
                <a:cubicBezTo>
                  <a:pt x="16646" y="8043"/>
                  <a:pt x="16448" y="7855"/>
                  <a:pt x="16200" y="7855"/>
                </a:cubicBezTo>
                <a:lnTo>
                  <a:pt x="12764" y="7855"/>
                </a:lnTo>
                <a:lnTo>
                  <a:pt x="12764" y="6873"/>
                </a:lnTo>
                <a:cubicBezTo>
                  <a:pt x="12764" y="4704"/>
                  <a:pt x="11005" y="2945"/>
                  <a:pt x="8836" y="2945"/>
                </a:cubicBezTo>
                <a:cubicBezTo>
                  <a:pt x="6668" y="2945"/>
                  <a:pt x="4909" y="4704"/>
                  <a:pt x="4909" y="6873"/>
                </a:cubicBezTo>
                <a:lnTo>
                  <a:pt x="4909" y="7855"/>
                </a:lnTo>
                <a:lnTo>
                  <a:pt x="1473" y="7855"/>
                </a:lnTo>
                <a:cubicBezTo>
                  <a:pt x="1224" y="7855"/>
                  <a:pt x="1027" y="8043"/>
                  <a:pt x="995" y="8282"/>
                </a:cubicBezTo>
                <a:lnTo>
                  <a:pt x="986" y="8281"/>
                </a:lnTo>
                <a:lnTo>
                  <a:pt x="4" y="21044"/>
                </a:lnTo>
                <a:lnTo>
                  <a:pt x="13" y="21045"/>
                </a:lnTo>
                <a:cubicBezTo>
                  <a:pt x="10" y="21067"/>
                  <a:pt x="0" y="21087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1"/>
                  <a:pt x="17673" y="21109"/>
                </a:cubicBezTo>
                <a:cubicBezTo>
                  <a:pt x="17673" y="21087"/>
                  <a:pt x="17663" y="21067"/>
                  <a:pt x="17660" y="21045"/>
                </a:cubicBezTo>
                <a:cubicBezTo>
                  <a:pt x="17660" y="21045"/>
                  <a:pt x="17668" y="21044"/>
                  <a:pt x="17668" y="2104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7" name="Shape 2817"/>
          <p:cNvSpPr/>
          <p:nvPr/>
        </p:nvSpPr>
        <p:spPr>
          <a:xfrm>
            <a:off x="19920717" y="2903872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982" y="9600"/>
                </a:lnTo>
                <a:lnTo>
                  <a:pt x="982" y="8400"/>
                </a:lnTo>
                <a:lnTo>
                  <a:pt x="20618" y="8400"/>
                </a:lnTo>
                <a:cubicBezTo>
                  <a:pt x="20618" y="8400"/>
                  <a:pt x="20618" y="9600"/>
                  <a:pt x="20618" y="9600"/>
                </a:cubicBezTo>
                <a:close/>
                <a:moveTo>
                  <a:pt x="19006" y="13200"/>
                </a:moveTo>
                <a:lnTo>
                  <a:pt x="15735" y="13200"/>
                </a:lnTo>
                <a:lnTo>
                  <a:pt x="16045" y="10800"/>
                </a:lnTo>
                <a:lnTo>
                  <a:pt x="19419" y="10800"/>
                </a:lnTo>
                <a:cubicBezTo>
                  <a:pt x="19419" y="10800"/>
                  <a:pt x="19006" y="13200"/>
                  <a:pt x="19006" y="13200"/>
                </a:cubicBezTo>
                <a:close/>
                <a:moveTo>
                  <a:pt x="18386" y="16800"/>
                </a:moveTo>
                <a:lnTo>
                  <a:pt x="15270" y="16800"/>
                </a:lnTo>
                <a:lnTo>
                  <a:pt x="15580" y="14400"/>
                </a:lnTo>
                <a:lnTo>
                  <a:pt x="18799" y="14400"/>
                </a:lnTo>
                <a:cubicBezTo>
                  <a:pt x="18799" y="14400"/>
                  <a:pt x="18386" y="16800"/>
                  <a:pt x="18386" y="16800"/>
                </a:cubicBezTo>
                <a:close/>
                <a:moveTo>
                  <a:pt x="17766" y="20400"/>
                </a:moveTo>
                <a:lnTo>
                  <a:pt x="14805" y="20400"/>
                </a:lnTo>
                <a:lnTo>
                  <a:pt x="15115" y="18000"/>
                </a:lnTo>
                <a:lnTo>
                  <a:pt x="18179" y="18000"/>
                </a:lnTo>
                <a:cubicBezTo>
                  <a:pt x="18179" y="18000"/>
                  <a:pt x="17766" y="20400"/>
                  <a:pt x="17766" y="20400"/>
                </a:cubicBezTo>
                <a:close/>
                <a:moveTo>
                  <a:pt x="11291" y="13200"/>
                </a:moveTo>
                <a:lnTo>
                  <a:pt x="11291" y="10800"/>
                </a:lnTo>
                <a:lnTo>
                  <a:pt x="15063" y="10800"/>
                </a:lnTo>
                <a:lnTo>
                  <a:pt x="14753" y="13200"/>
                </a:lnTo>
                <a:cubicBezTo>
                  <a:pt x="14753" y="13200"/>
                  <a:pt x="11291" y="13200"/>
                  <a:pt x="11291" y="13200"/>
                </a:cubicBezTo>
                <a:close/>
                <a:moveTo>
                  <a:pt x="14289" y="16800"/>
                </a:moveTo>
                <a:lnTo>
                  <a:pt x="11291" y="16800"/>
                </a:lnTo>
                <a:lnTo>
                  <a:pt x="11291" y="14400"/>
                </a:lnTo>
                <a:lnTo>
                  <a:pt x="14598" y="14400"/>
                </a:lnTo>
                <a:cubicBezTo>
                  <a:pt x="14598" y="14400"/>
                  <a:pt x="14289" y="16800"/>
                  <a:pt x="14289" y="16800"/>
                </a:cubicBezTo>
                <a:close/>
                <a:moveTo>
                  <a:pt x="13823" y="20400"/>
                </a:moveTo>
                <a:lnTo>
                  <a:pt x="11291" y="20400"/>
                </a:lnTo>
                <a:lnTo>
                  <a:pt x="11291" y="18000"/>
                </a:lnTo>
                <a:lnTo>
                  <a:pt x="14133" y="18000"/>
                </a:lnTo>
                <a:cubicBezTo>
                  <a:pt x="14133" y="18000"/>
                  <a:pt x="13823" y="20400"/>
                  <a:pt x="13823" y="20400"/>
                </a:cubicBezTo>
                <a:close/>
                <a:moveTo>
                  <a:pt x="10309" y="13200"/>
                </a:moveTo>
                <a:lnTo>
                  <a:pt x="6847" y="13200"/>
                </a:lnTo>
                <a:lnTo>
                  <a:pt x="6537" y="10800"/>
                </a:lnTo>
                <a:lnTo>
                  <a:pt x="10309" y="10800"/>
                </a:lnTo>
                <a:cubicBezTo>
                  <a:pt x="10309" y="10800"/>
                  <a:pt x="10309" y="13200"/>
                  <a:pt x="10309" y="13200"/>
                </a:cubicBezTo>
                <a:close/>
                <a:moveTo>
                  <a:pt x="10309" y="16800"/>
                </a:moveTo>
                <a:lnTo>
                  <a:pt x="7311" y="16800"/>
                </a:lnTo>
                <a:lnTo>
                  <a:pt x="7002" y="14400"/>
                </a:lnTo>
                <a:lnTo>
                  <a:pt x="10309" y="14400"/>
                </a:lnTo>
                <a:cubicBezTo>
                  <a:pt x="10309" y="14400"/>
                  <a:pt x="10309" y="16800"/>
                  <a:pt x="10309" y="16800"/>
                </a:cubicBezTo>
                <a:close/>
                <a:moveTo>
                  <a:pt x="10309" y="20400"/>
                </a:moveTo>
                <a:lnTo>
                  <a:pt x="7777" y="20400"/>
                </a:lnTo>
                <a:lnTo>
                  <a:pt x="7467" y="18000"/>
                </a:lnTo>
                <a:lnTo>
                  <a:pt x="10309" y="18000"/>
                </a:lnTo>
                <a:cubicBezTo>
                  <a:pt x="10309" y="18000"/>
                  <a:pt x="10309" y="20400"/>
                  <a:pt x="10309" y="20400"/>
                </a:cubicBezTo>
                <a:close/>
                <a:moveTo>
                  <a:pt x="3834" y="20400"/>
                </a:moveTo>
                <a:lnTo>
                  <a:pt x="3421" y="18000"/>
                </a:lnTo>
                <a:lnTo>
                  <a:pt x="6485" y="18000"/>
                </a:lnTo>
                <a:lnTo>
                  <a:pt x="6795" y="20400"/>
                </a:lnTo>
                <a:cubicBezTo>
                  <a:pt x="6795" y="20400"/>
                  <a:pt x="3834" y="20400"/>
                  <a:pt x="3834" y="20400"/>
                </a:cubicBezTo>
                <a:close/>
                <a:moveTo>
                  <a:pt x="2801" y="14400"/>
                </a:moveTo>
                <a:lnTo>
                  <a:pt x="6020" y="14400"/>
                </a:lnTo>
                <a:lnTo>
                  <a:pt x="6330" y="16800"/>
                </a:lnTo>
                <a:lnTo>
                  <a:pt x="3214" y="16800"/>
                </a:lnTo>
                <a:cubicBezTo>
                  <a:pt x="3214" y="16800"/>
                  <a:pt x="2801" y="14400"/>
                  <a:pt x="2801" y="14400"/>
                </a:cubicBezTo>
                <a:close/>
                <a:moveTo>
                  <a:pt x="2181" y="10800"/>
                </a:moveTo>
                <a:lnTo>
                  <a:pt x="5555" y="10800"/>
                </a:lnTo>
                <a:lnTo>
                  <a:pt x="5865" y="13200"/>
                </a:lnTo>
                <a:lnTo>
                  <a:pt x="2594" y="13200"/>
                </a:lnTo>
                <a:cubicBezTo>
                  <a:pt x="2594" y="13200"/>
                  <a:pt x="2181" y="10800"/>
                  <a:pt x="2181" y="10800"/>
                </a:cubicBezTo>
                <a:close/>
                <a:moveTo>
                  <a:pt x="10800" y="1320"/>
                </a:moveTo>
                <a:lnTo>
                  <a:pt x="17616" y="7200"/>
                </a:lnTo>
                <a:lnTo>
                  <a:pt x="3984" y="7200"/>
                </a:lnTo>
                <a:cubicBezTo>
                  <a:pt x="3984" y="7200"/>
                  <a:pt x="10800" y="1320"/>
                  <a:pt x="10800" y="1320"/>
                </a:cubicBezTo>
                <a:close/>
                <a:moveTo>
                  <a:pt x="20618" y="7200"/>
                </a:moveTo>
                <a:lnTo>
                  <a:pt x="19284" y="7200"/>
                </a:lnTo>
                <a:lnTo>
                  <a:pt x="11157" y="188"/>
                </a:lnTo>
                <a:lnTo>
                  <a:pt x="11155" y="190"/>
                </a:lnTo>
                <a:cubicBezTo>
                  <a:pt x="11066" y="74"/>
                  <a:pt x="10941" y="0"/>
                  <a:pt x="10800" y="0"/>
                </a:cubicBezTo>
                <a:cubicBezTo>
                  <a:pt x="10659" y="0"/>
                  <a:pt x="10534" y="74"/>
                  <a:pt x="10445" y="190"/>
                </a:cubicBezTo>
                <a:lnTo>
                  <a:pt x="10443" y="188"/>
                </a:lnTo>
                <a:lnTo>
                  <a:pt x="2316" y="7200"/>
                </a:lnTo>
                <a:lnTo>
                  <a:pt x="982" y="7200"/>
                </a:lnTo>
                <a:cubicBezTo>
                  <a:pt x="439" y="7200"/>
                  <a:pt x="0" y="7738"/>
                  <a:pt x="0" y="8400"/>
                </a:cubicBezTo>
                <a:lnTo>
                  <a:pt x="0" y="9600"/>
                </a:lnTo>
                <a:cubicBezTo>
                  <a:pt x="0" y="10262"/>
                  <a:pt x="439" y="10800"/>
                  <a:pt x="982" y="10800"/>
                </a:cubicBezTo>
                <a:lnTo>
                  <a:pt x="1178" y="10800"/>
                </a:lnTo>
                <a:lnTo>
                  <a:pt x="2960" y="21145"/>
                </a:lnTo>
                <a:lnTo>
                  <a:pt x="2969" y="21143"/>
                </a:lnTo>
                <a:cubicBezTo>
                  <a:pt x="3023" y="2140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03"/>
                  <a:pt x="18631" y="21143"/>
                </a:cubicBezTo>
                <a:lnTo>
                  <a:pt x="18640" y="21145"/>
                </a:lnTo>
                <a:lnTo>
                  <a:pt x="20422" y="10800"/>
                </a:ln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8400"/>
                </a:lnTo>
                <a:cubicBezTo>
                  <a:pt x="21600" y="7738"/>
                  <a:pt x="21160" y="7200"/>
                  <a:pt x="20618" y="7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8" name="Shape 2818"/>
          <p:cNvSpPr/>
          <p:nvPr/>
        </p:nvSpPr>
        <p:spPr>
          <a:xfrm>
            <a:off x="20987237" y="287848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10453" y="7402"/>
                </a:moveTo>
                <a:cubicBezTo>
                  <a:pt x="10542" y="7500"/>
                  <a:pt x="10665" y="7560"/>
                  <a:pt x="10800" y="7560"/>
                </a:cubicBezTo>
                <a:cubicBezTo>
                  <a:pt x="10936" y="7560"/>
                  <a:pt x="11058" y="7500"/>
                  <a:pt x="11147" y="7402"/>
                </a:cubicBezTo>
                <a:lnTo>
                  <a:pt x="13111" y="5242"/>
                </a:lnTo>
                <a:cubicBezTo>
                  <a:pt x="13200" y="5144"/>
                  <a:pt x="13255" y="5009"/>
                  <a:pt x="13255" y="4860"/>
                </a:cubicBezTo>
                <a:cubicBezTo>
                  <a:pt x="13255" y="4562"/>
                  <a:pt x="13035" y="4320"/>
                  <a:pt x="12764" y="4320"/>
                </a:cubicBezTo>
                <a:cubicBezTo>
                  <a:pt x="12628" y="4320"/>
                  <a:pt x="12506" y="4381"/>
                  <a:pt x="12417" y="4478"/>
                </a:cubicBezTo>
                <a:lnTo>
                  <a:pt x="11291" y="57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5716"/>
                </a:lnTo>
                <a:lnTo>
                  <a:pt x="9183" y="4478"/>
                </a:lnTo>
                <a:cubicBezTo>
                  <a:pt x="9095" y="4381"/>
                  <a:pt x="8972" y="4320"/>
                  <a:pt x="8836" y="4320"/>
                </a:cubicBezTo>
                <a:cubicBezTo>
                  <a:pt x="8565" y="4320"/>
                  <a:pt x="8345" y="4562"/>
                  <a:pt x="8345" y="4860"/>
                </a:cubicBezTo>
                <a:cubicBezTo>
                  <a:pt x="8345" y="5009"/>
                  <a:pt x="8400" y="5144"/>
                  <a:pt x="8489" y="5242"/>
                </a:cubicBezTo>
                <a:cubicBezTo>
                  <a:pt x="8489" y="5242"/>
                  <a:pt x="10453" y="7402"/>
                  <a:pt x="10453" y="7402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9" name="Shape 2819"/>
          <p:cNvSpPr/>
          <p:nvPr/>
        </p:nvSpPr>
        <p:spPr>
          <a:xfrm>
            <a:off x="22053760" y="287848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836" y="3240"/>
                </a:moveTo>
                <a:cubicBezTo>
                  <a:pt x="8972" y="3240"/>
                  <a:pt x="9095" y="3179"/>
                  <a:pt x="9183" y="3082"/>
                </a:cubicBezTo>
                <a:lnTo>
                  <a:pt x="10309" y="1844"/>
                </a:lnTo>
                <a:lnTo>
                  <a:pt x="10309" y="7020"/>
                </a:lnTo>
                <a:cubicBezTo>
                  <a:pt x="10309" y="7318"/>
                  <a:pt x="10529" y="7560"/>
                  <a:pt x="10800" y="7560"/>
                </a:cubicBezTo>
                <a:cubicBezTo>
                  <a:pt x="11071" y="7560"/>
                  <a:pt x="11291" y="7318"/>
                  <a:pt x="11291" y="7020"/>
                </a:cubicBezTo>
                <a:lnTo>
                  <a:pt x="11291" y="1844"/>
                </a:lnTo>
                <a:lnTo>
                  <a:pt x="12417" y="3082"/>
                </a:lnTo>
                <a:cubicBezTo>
                  <a:pt x="12505" y="3179"/>
                  <a:pt x="12628" y="3240"/>
                  <a:pt x="12764" y="3240"/>
                </a:cubicBezTo>
                <a:cubicBezTo>
                  <a:pt x="13035" y="3240"/>
                  <a:pt x="13255" y="2998"/>
                  <a:pt x="13255" y="2700"/>
                </a:cubicBezTo>
                <a:cubicBezTo>
                  <a:pt x="13255" y="2551"/>
                  <a:pt x="13199" y="2416"/>
                  <a:pt x="13111" y="231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0"/>
                  <a:pt x="10453" y="158"/>
                </a:cubicBezTo>
                <a:lnTo>
                  <a:pt x="8489" y="2318"/>
                </a:lnTo>
                <a:cubicBezTo>
                  <a:pt x="8400" y="2416"/>
                  <a:pt x="8345" y="2551"/>
                  <a:pt x="8345" y="2700"/>
                </a:cubicBezTo>
                <a:cubicBezTo>
                  <a:pt x="8345" y="2998"/>
                  <a:pt x="8565" y="3240"/>
                  <a:pt x="8836" y="324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0" name="Shape 2820"/>
          <p:cNvSpPr/>
          <p:nvPr/>
        </p:nvSpPr>
        <p:spPr>
          <a:xfrm>
            <a:off x="12455060" y="3945002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507" y="3082"/>
                </a:moveTo>
                <a:lnTo>
                  <a:pt x="7507" y="3082"/>
                </a:lnTo>
                <a:lnTo>
                  <a:pt x="9471" y="5242"/>
                </a:lnTo>
                <a:cubicBezTo>
                  <a:pt x="9560" y="5340"/>
                  <a:pt x="9683" y="5400"/>
                  <a:pt x="9818" y="5400"/>
                </a:cubicBezTo>
                <a:cubicBezTo>
                  <a:pt x="10089" y="5400"/>
                  <a:pt x="10309" y="5158"/>
                  <a:pt x="10309" y="4860"/>
                </a:cubicBezTo>
                <a:cubicBezTo>
                  <a:pt x="10309" y="4712"/>
                  <a:pt x="10254" y="4577"/>
                  <a:pt x="10165" y="4478"/>
                </a:cubicBezTo>
                <a:lnTo>
                  <a:pt x="9040" y="3240"/>
                </a:lnTo>
                <a:lnTo>
                  <a:pt x="13745" y="3240"/>
                </a:lnTo>
                <a:lnTo>
                  <a:pt x="13745" y="3240"/>
                </a:lnTo>
                <a:cubicBezTo>
                  <a:pt x="14016" y="3240"/>
                  <a:pt x="14236" y="2998"/>
                  <a:pt x="14236" y="2700"/>
                </a:cubicBezTo>
                <a:cubicBezTo>
                  <a:pt x="14236" y="2402"/>
                  <a:pt x="14016" y="2160"/>
                  <a:pt x="13745" y="2160"/>
                </a:cubicBezTo>
                <a:lnTo>
                  <a:pt x="9040" y="2160"/>
                </a:lnTo>
                <a:lnTo>
                  <a:pt x="10165" y="922"/>
                </a:lnTo>
                <a:cubicBezTo>
                  <a:pt x="10254" y="824"/>
                  <a:pt x="10309" y="689"/>
                  <a:pt x="10309" y="540"/>
                </a:cubicBezTo>
                <a:cubicBezTo>
                  <a:pt x="10309" y="242"/>
                  <a:pt x="10089" y="0"/>
                  <a:pt x="9818" y="0"/>
                </a:cubicBezTo>
                <a:cubicBezTo>
                  <a:pt x="9683" y="0"/>
                  <a:pt x="9560" y="61"/>
                  <a:pt x="9471" y="158"/>
                </a:cubicBezTo>
                <a:lnTo>
                  <a:pt x="7507" y="2318"/>
                </a:lnTo>
                <a:lnTo>
                  <a:pt x="7507" y="2318"/>
                </a:lnTo>
                <a:cubicBezTo>
                  <a:pt x="7419" y="2417"/>
                  <a:pt x="7364" y="2552"/>
                  <a:pt x="7364" y="2700"/>
                </a:cubicBezTo>
                <a:cubicBezTo>
                  <a:pt x="7364" y="2849"/>
                  <a:pt x="7419" y="2984"/>
                  <a:pt x="7507" y="30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1" name="Shape 2821"/>
          <p:cNvSpPr/>
          <p:nvPr/>
        </p:nvSpPr>
        <p:spPr>
          <a:xfrm>
            <a:off x="13521583" y="3945002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855" y="3240"/>
                </a:moveTo>
                <a:lnTo>
                  <a:pt x="7855" y="3240"/>
                </a:lnTo>
                <a:lnTo>
                  <a:pt x="12560" y="3240"/>
                </a:lnTo>
                <a:lnTo>
                  <a:pt x="11435" y="4478"/>
                </a:lnTo>
                <a:cubicBezTo>
                  <a:pt x="11346" y="4577"/>
                  <a:pt x="11291" y="4712"/>
                  <a:pt x="11291" y="4860"/>
                </a:cubicBezTo>
                <a:cubicBezTo>
                  <a:pt x="11291" y="5158"/>
                  <a:pt x="11511" y="5400"/>
                  <a:pt x="11782" y="5400"/>
                </a:cubicBezTo>
                <a:cubicBezTo>
                  <a:pt x="11917" y="5400"/>
                  <a:pt x="12040" y="5340"/>
                  <a:pt x="12129" y="5242"/>
                </a:cubicBezTo>
                <a:lnTo>
                  <a:pt x="14093" y="3082"/>
                </a:lnTo>
                <a:cubicBezTo>
                  <a:pt x="14181" y="2984"/>
                  <a:pt x="14236" y="2849"/>
                  <a:pt x="14236" y="2700"/>
                </a:cubicBezTo>
                <a:cubicBezTo>
                  <a:pt x="14236" y="2552"/>
                  <a:pt x="14181" y="2417"/>
                  <a:pt x="14093" y="2318"/>
                </a:cubicBezTo>
                <a:lnTo>
                  <a:pt x="12129" y="158"/>
                </a:lnTo>
                <a:cubicBezTo>
                  <a:pt x="12040" y="61"/>
                  <a:pt x="11917" y="0"/>
                  <a:pt x="11782" y="0"/>
                </a:cubicBezTo>
                <a:cubicBezTo>
                  <a:pt x="11511" y="0"/>
                  <a:pt x="11291" y="242"/>
                  <a:pt x="11291" y="540"/>
                </a:cubicBezTo>
                <a:cubicBezTo>
                  <a:pt x="11291" y="689"/>
                  <a:pt x="11346" y="824"/>
                  <a:pt x="11435" y="922"/>
                </a:cubicBezTo>
                <a:lnTo>
                  <a:pt x="12560" y="2160"/>
                </a:lnTo>
                <a:lnTo>
                  <a:pt x="7855" y="2160"/>
                </a:lnTo>
                <a:cubicBezTo>
                  <a:pt x="7584" y="2160"/>
                  <a:pt x="7364" y="2402"/>
                  <a:pt x="7364" y="2700"/>
                </a:cubicBezTo>
                <a:cubicBezTo>
                  <a:pt x="7364" y="2998"/>
                  <a:pt x="7584" y="3240"/>
                  <a:pt x="7855" y="324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2" name="Shape 2822"/>
          <p:cNvSpPr/>
          <p:nvPr/>
        </p:nvSpPr>
        <p:spPr>
          <a:xfrm>
            <a:off x="14588106" y="3945002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345" y="3780"/>
                </a:moveTo>
                <a:lnTo>
                  <a:pt x="10309" y="3780"/>
                </a:lnTo>
                <a:lnTo>
                  <a:pt x="10309" y="5940"/>
                </a:lnTo>
                <a:cubicBezTo>
                  <a:pt x="10309" y="6238"/>
                  <a:pt x="10529" y="6480"/>
                  <a:pt x="10800" y="6480"/>
                </a:cubicBezTo>
                <a:cubicBezTo>
                  <a:pt x="11071" y="6480"/>
                  <a:pt x="11291" y="6238"/>
                  <a:pt x="11291" y="5940"/>
                </a:cubicBezTo>
                <a:lnTo>
                  <a:pt x="11291" y="3780"/>
                </a:lnTo>
                <a:lnTo>
                  <a:pt x="13255" y="3780"/>
                </a:lnTo>
                <a:cubicBezTo>
                  <a:pt x="13525" y="3780"/>
                  <a:pt x="13745" y="3538"/>
                  <a:pt x="13745" y="3240"/>
                </a:cubicBezTo>
                <a:cubicBezTo>
                  <a:pt x="13745" y="2942"/>
                  <a:pt x="13525" y="2700"/>
                  <a:pt x="13255" y="2700"/>
                </a:cubicBezTo>
                <a:lnTo>
                  <a:pt x="11291" y="2700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2700"/>
                </a:lnTo>
                <a:lnTo>
                  <a:pt x="8345" y="2700"/>
                </a:lnTo>
                <a:cubicBezTo>
                  <a:pt x="8075" y="2700"/>
                  <a:pt x="7855" y="2942"/>
                  <a:pt x="7855" y="3240"/>
                </a:cubicBezTo>
                <a:cubicBezTo>
                  <a:pt x="7855" y="3538"/>
                  <a:pt x="8075" y="3780"/>
                  <a:pt x="8345" y="378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3" name="Shape 2823"/>
          <p:cNvSpPr/>
          <p:nvPr/>
        </p:nvSpPr>
        <p:spPr>
          <a:xfrm>
            <a:off x="15654626" y="3983089"/>
            <a:ext cx="558654" cy="4443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257"/>
                </a:moveTo>
                <a:lnTo>
                  <a:pt x="982" y="9257"/>
                </a:lnTo>
                <a:lnTo>
                  <a:pt x="982" y="8023"/>
                </a:lnTo>
                <a:lnTo>
                  <a:pt x="20618" y="8023"/>
                </a:lnTo>
                <a:cubicBezTo>
                  <a:pt x="20618" y="8023"/>
                  <a:pt x="20618" y="9257"/>
                  <a:pt x="20618" y="9257"/>
                </a:cubicBezTo>
                <a:close/>
                <a:moveTo>
                  <a:pt x="19006" y="12960"/>
                </a:moveTo>
                <a:lnTo>
                  <a:pt x="15735" y="12960"/>
                </a:lnTo>
                <a:lnTo>
                  <a:pt x="16045" y="10491"/>
                </a:lnTo>
                <a:lnTo>
                  <a:pt x="19419" y="10491"/>
                </a:lnTo>
                <a:cubicBezTo>
                  <a:pt x="19419" y="10491"/>
                  <a:pt x="19006" y="12960"/>
                  <a:pt x="19006" y="12960"/>
                </a:cubicBezTo>
                <a:close/>
                <a:moveTo>
                  <a:pt x="18386" y="16663"/>
                </a:moveTo>
                <a:lnTo>
                  <a:pt x="15270" y="16663"/>
                </a:lnTo>
                <a:lnTo>
                  <a:pt x="15580" y="14194"/>
                </a:lnTo>
                <a:lnTo>
                  <a:pt x="18799" y="14194"/>
                </a:lnTo>
                <a:cubicBezTo>
                  <a:pt x="18799" y="14194"/>
                  <a:pt x="18386" y="16663"/>
                  <a:pt x="18386" y="16663"/>
                </a:cubicBezTo>
                <a:close/>
                <a:moveTo>
                  <a:pt x="17765" y="20366"/>
                </a:moveTo>
                <a:lnTo>
                  <a:pt x="14805" y="20366"/>
                </a:lnTo>
                <a:lnTo>
                  <a:pt x="15115" y="17897"/>
                </a:lnTo>
                <a:lnTo>
                  <a:pt x="18179" y="17897"/>
                </a:lnTo>
                <a:cubicBezTo>
                  <a:pt x="18179" y="17897"/>
                  <a:pt x="17765" y="20366"/>
                  <a:pt x="17765" y="20366"/>
                </a:cubicBezTo>
                <a:close/>
                <a:moveTo>
                  <a:pt x="11291" y="12960"/>
                </a:moveTo>
                <a:lnTo>
                  <a:pt x="11291" y="10491"/>
                </a:lnTo>
                <a:lnTo>
                  <a:pt x="15063" y="10491"/>
                </a:lnTo>
                <a:lnTo>
                  <a:pt x="14753" y="12960"/>
                </a:lnTo>
                <a:cubicBezTo>
                  <a:pt x="14753" y="12960"/>
                  <a:pt x="11291" y="12960"/>
                  <a:pt x="11291" y="12960"/>
                </a:cubicBezTo>
                <a:close/>
                <a:moveTo>
                  <a:pt x="14288" y="16663"/>
                </a:moveTo>
                <a:lnTo>
                  <a:pt x="11291" y="16663"/>
                </a:lnTo>
                <a:lnTo>
                  <a:pt x="11291" y="14194"/>
                </a:lnTo>
                <a:lnTo>
                  <a:pt x="14598" y="14194"/>
                </a:lnTo>
                <a:cubicBezTo>
                  <a:pt x="14598" y="14194"/>
                  <a:pt x="14288" y="16663"/>
                  <a:pt x="14288" y="16663"/>
                </a:cubicBezTo>
                <a:close/>
                <a:moveTo>
                  <a:pt x="13823" y="20366"/>
                </a:moveTo>
                <a:lnTo>
                  <a:pt x="11291" y="20366"/>
                </a:lnTo>
                <a:lnTo>
                  <a:pt x="11291" y="17897"/>
                </a:lnTo>
                <a:lnTo>
                  <a:pt x="14133" y="17897"/>
                </a:lnTo>
                <a:cubicBezTo>
                  <a:pt x="14133" y="17897"/>
                  <a:pt x="13823" y="20366"/>
                  <a:pt x="13823" y="20366"/>
                </a:cubicBezTo>
                <a:close/>
                <a:moveTo>
                  <a:pt x="10309" y="12960"/>
                </a:moveTo>
                <a:lnTo>
                  <a:pt x="6847" y="12960"/>
                </a:lnTo>
                <a:lnTo>
                  <a:pt x="6537" y="10491"/>
                </a:lnTo>
                <a:lnTo>
                  <a:pt x="10309" y="10491"/>
                </a:lnTo>
                <a:cubicBezTo>
                  <a:pt x="10309" y="10491"/>
                  <a:pt x="10309" y="12960"/>
                  <a:pt x="10309" y="12960"/>
                </a:cubicBezTo>
                <a:close/>
                <a:moveTo>
                  <a:pt x="10309" y="16663"/>
                </a:moveTo>
                <a:lnTo>
                  <a:pt x="7312" y="16663"/>
                </a:lnTo>
                <a:lnTo>
                  <a:pt x="7002" y="14194"/>
                </a:lnTo>
                <a:lnTo>
                  <a:pt x="10309" y="14194"/>
                </a:lnTo>
                <a:cubicBezTo>
                  <a:pt x="10309" y="14194"/>
                  <a:pt x="10309" y="16663"/>
                  <a:pt x="10309" y="16663"/>
                </a:cubicBezTo>
                <a:close/>
                <a:moveTo>
                  <a:pt x="10309" y="20366"/>
                </a:moveTo>
                <a:lnTo>
                  <a:pt x="7777" y="20366"/>
                </a:lnTo>
                <a:lnTo>
                  <a:pt x="7467" y="17897"/>
                </a:lnTo>
                <a:lnTo>
                  <a:pt x="10309" y="17897"/>
                </a:lnTo>
                <a:cubicBezTo>
                  <a:pt x="10309" y="17897"/>
                  <a:pt x="10309" y="20366"/>
                  <a:pt x="10309" y="20366"/>
                </a:cubicBezTo>
                <a:close/>
                <a:moveTo>
                  <a:pt x="3834" y="20366"/>
                </a:moveTo>
                <a:lnTo>
                  <a:pt x="3421" y="17897"/>
                </a:lnTo>
                <a:lnTo>
                  <a:pt x="6485" y="17897"/>
                </a:lnTo>
                <a:lnTo>
                  <a:pt x="6795" y="20366"/>
                </a:lnTo>
                <a:cubicBezTo>
                  <a:pt x="6795" y="20366"/>
                  <a:pt x="3834" y="20366"/>
                  <a:pt x="3834" y="20366"/>
                </a:cubicBezTo>
                <a:close/>
                <a:moveTo>
                  <a:pt x="2801" y="14194"/>
                </a:moveTo>
                <a:lnTo>
                  <a:pt x="6020" y="14194"/>
                </a:lnTo>
                <a:lnTo>
                  <a:pt x="6330" y="16663"/>
                </a:lnTo>
                <a:lnTo>
                  <a:pt x="3214" y="16663"/>
                </a:lnTo>
                <a:cubicBezTo>
                  <a:pt x="3214" y="16663"/>
                  <a:pt x="2801" y="14194"/>
                  <a:pt x="2801" y="14194"/>
                </a:cubicBezTo>
                <a:close/>
                <a:moveTo>
                  <a:pt x="2181" y="10491"/>
                </a:moveTo>
                <a:lnTo>
                  <a:pt x="5555" y="10491"/>
                </a:lnTo>
                <a:lnTo>
                  <a:pt x="5865" y="12960"/>
                </a:lnTo>
                <a:lnTo>
                  <a:pt x="2594" y="12960"/>
                </a:lnTo>
                <a:cubicBezTo>
                  <a:pt x="2594" y="12960"/>
                  <a:pt x="2181" y="10491"/>
                  <a:pt x="2181" y="10491"/>
                </a:cubicBezTo>
                <a:close/>
                <a:moveTo>
                  <a:pt x="20618" y="6789"/>
                </a:moveTo>
                <a:lnTo>
                  <a:pt x="982" y="6789"/>
                </a:lnTo>
                <a:cubicBezTo>
                  <a:pt x="440" y="6789"/>
                  <a:pt x="0" y="7342"/>
                  <a:pt x="0" y="8023"/>
                </a:cubicBezTo>
                <a:lnTo>
                  <a:pt x="0" y="9257"/>
                </a:lnTo>
                <a:cubicBezTo>
                  <a:pt x="0" y="9939"/>
                  <a:pt x="440" y="10491"/>
                  <a:pt x="982" y="10491"/>
                </a:cubicBezTo>
                <a:lnTo>
                  <a:pt x="1178" y="10491"/>
                </a:lnTo>
                <a:lnTo>
                  <a:pt x="2960" y="21133"/>
                </a:lnTo>
                <a:lnTo>
                  <a:pt x="2969" y="21130"/>
                </a:lnTo>
                <a:cubicBezTo>
                  <a:pt x="3023" y="21398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398"/>
                  <a:pt x="18631" y="21130"/>
                </a:cubicBezTo>
                <a:lnTo>
                  <a:pt x="18640" y="21133"/>
                </a:lnTo>
                <a:lnTo>
                  <a:pt x="20422" y="10491"/>
                </a:lnTo>
                <a:lnTo>
                  <a:pt x="20618" y="10491"/>
                </a:lnTo>
                <a:cubicBezTo>
                  <a:pt x="21160" y="10491"/>
                  <a:pt x="21600" y="9939"/>
                  <a:pt x="21600" y="9257"/>
                </a:cubicBezTo>
                <a:lnTo>
                  <a:pt x="21600" y="8023"/>
                </a:lnTo>
                <a:cubicBezTo>
                  <a:pt x="21600" y="7342"/>
                  <a:pt x="21160" y="6789"/>
                  <a:pt x="20618" y="6789"/>
                </a:cubicBezTo>
                <a:moveTo>
                  <a:pt x="8345" y="1234"/>
                </a:moveTo>
                <a:lnTo>
                  <a:pt x="13255" y="1234"/>
                </a:lnTo>
                <a:cubicBezTo>
                  <a:pt x="13525" y="1234"/>
                  <a:pt x="13745" y="958"/>
                  <a:pt x="13745" y="617"/>
                </a:cubicBezTo>
                <a:cubicBezTo>
                  <a:pt x="13745" y="276"/>
                  <a:pt x="13525" y="0"/>
                  <a:pt x="13255" y="0"/>
                </a:cubicBezTo>
                <a:lnTo>
                  <a:pt x="8345" y="0"/>
                </a:lnTo>
                <a:cubicBezTo>
                  <a:pt x="8075" y="0"/>
                  <a:pt x="7855" y="276"/>
                  <a:pt x="7855" y="617"/>
                </a:cubicBezTo>
                <a:cubicBezTo>
                  <a:pt x="7855" y="958"/>
                  <a:pt x="8075" y="1234"/>
                  <a:pt x="8345" y="123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4" name="Shape 2824"/>
          <p:cNvSpPr/>
          <p:nvPr/>
        </p:nvSpPr>
        <p:spPr>
          <a:xfrm>
            <a:off x="16721149" y="3919607"/>
            <a:ext cx="558654" cy="558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88" extrusionOk="0">
                <a:moveTo>
                  <a:pt x="10309" y="9720"/>
                </a:moveTo>
                <a:lnTo>
                  <a:pt x="9327" y="9720"/>
                </a:lnTo>
                <a:cubicBezTo>
                  <a:pt x="9056" y="9720"/>
                  <a:pt x="8836" y="9937"/>
                  <a:pt x="8836" y="10206"/>
                </a:cubicBezTo>
                <a:cubicBezTo>
                  <a:pt x="8836" y="10475"/>
                  <a:pt x="9056" y="10692"/>
                  <a:pt x="9327" y="10692"/>
                </a:cubicBezTo>
                <a:lnTo>
                  <a:pt x="10309" y="10692"/>
                </a:lnTo>
                <a:cubicBezTo>
                  <a:pt x="10580" y="10692"/>
                  <a:pt x="10800" y="10475"/>
                  <a:pt x="10800" y="10206"/>
                </a:cubicBezTo>
                <a:cubicBezTo>
                  <a:pt x="10800" y="9937"/>
                  <a:pt x="10580" y="9720"/>
                  <a:pt x="10309" y="9720"/>
                </a:cubicBezTo>
                <a:moveTo>
                  <a:pt x="13255" y="18471"/>
                </a:moveTo>
                <a:lnTo>
                  <a:pt x="12273" y="18471"/>
                </a:lnTo>
                <a:cubicBezTo>
                  <a:pt x="12002" y="18471"/>
                  <a:pt x="11782" y="18689"/>
                  <a:pt x="11782" y="18957"/>
                </a:cubicBezTo>
                <a:cubicBezTo>
                  <a:pt x="11782" y="19226"/>
                  <a:pt x="12002" y="19443"/>
                  <a:pt x="12273" y="19443"/>
                </a:cubicBezTo>
                <a:lnTo>
                  <a:pt x="13255" y="19443"/>
                </a:lnTo>
                <a:cubicBezTo>
                  <a:pt x="13525" y="19443"/>
                  <a:pt x="13745" y="19226"/>
                  <a:pt x="13745" y="18957"/>
                </a:cubicBezTo>
                <a:cubicBezTo>
                  <a:pt x="13745" y="18689"/>
                  <a:pt x="13525" y="18471"/>
                  <a:pt x="13255" y="18471"/>
                </a:cubicBezTo>
                <a:moveTo>
                  <a:pt x="10309" y="18471"/>
                </a:moveTo>
                <a:lnTo>
                  <a:pt x="9327" y="18471"/>
                </a:lnTo>
                <a:cubicBezTo>
                  <a:pt x="9056" y="18471"/>
                  <a:pt x="8836" y="18689"/>
                  <a:pt x="8836" y="18957"/>
                </a:cubicBezTo>
                <a:cubicBezTo>
                  <a:pt x="8836" y="19226"/>
                  <a:pt x="9056" y="19443"/>
                  <a:pt x="9327" y="19443"/>
                </a:cubicBezTo>
                <a:lnTo>
                  <a:pt x="10309" y="19443"/>
                </a:lnTo>
                <a:cubicBezTo>
                  <a:pt x="10580" y="19443"/>
                  <a:pt x="10800" y="19226"/>
                  <a:pt x="10800" y="18957"/>
                </a:cubicBezTo>
                <a:cubicBezTo>
                  <a:pt x="10800" y="18689"/>
                  <a:pt x="10580" y="18471"/>
                  <a:pt x="10309" y="18471"/>
                </a:cubicBezTo>
                <a:moveTo>
                  <a:pt x="20618" y="15554"/>
                </a:moveTo>
                <a:cubicBezTo>
                  <a:pt x="20618" y="16091"/>
                  <a:pt x="20178" y="16526"/>
                  <a:pt x="19636" y="16526"/>
                </a:cubicBezTo>
                <a:lnTo>
                  <a:pt x="16691" y="16526"/>
                </a:lnTo>
                <a:cubicBezTo>
                  <a:pt x="16149" y="16526"/>
                  <a:pt x="15709" y="16091"/>
                  <a:pt x="15709" y="15554"/>
                </a:cubicBezTo>
                <a:lnTo>
                  <a:pt x="15709" y="13609"/>
                </a:lnTo>
                <a:cubicBezTo>
                  <a:pt x="15709" y="13073"/>
                  <a:pt x="16149" y="12637"/>
                  <a:pt x="16691" y="12637"/>
                </a:cubicBezTo>
                <a:lnTo>
                  <a:pt x="19636" y="12637"/>
                </a:lnTo>
                <a:cubicBezTo>
                  <a:pt x="20178" y="12637"/>
                  <a:pt x="20618" y="13073"/>
                  <a:pt x="20618" y="13609"/>
                </a:cubicBezTo>
                <a:cubicBezTo>
                  <a:pt x="20618" y="13609"/>
                  <a:pt x="20618" y="15554"/>
                  <a:pt x="20618" y="15554"/>
                </a:cubicBezTo>
                <a:close/>
                <a:moveTo>
                  <a:pt x="18655" y="19443"/>
                </a:moveTo>
                <a:cubicBezTo>
                  <a:pt x="18655" y="19980"/>
                  <a:pt x="18215" y="20416"/>
                  <a:pt x="17673" y="20416"/>
                </a:cubicBezTo>
                <a:lnTo>
                  <a:pt x="1964" y="20416"/>
                </a:lnTo>
                <a:cubicBezTo>
                  <a:pt x="1422" y="20416"/>
                  <a:pt x="982" y="19980"/>
                  <a:pt x="982" y="19443"/>
                </a:cubicBezTo>
                <a:lnTo>
                  <a:pt x="982" y="9720"/>
                </a:lnTo>
                <a:cubicBezTo>
                  <a:pt x="982" y="9183"/>
                  <a:pt x="1422" y="8747"/>
                  <a:pt x="1964" y="8747"/>
                </a:cubicBezTo>
                <a:lnTo>
                  <a:pt x="17673" y="8747"/>
                </a:lnTo>
                <a:cubicBezTo>
                  <a:pt x="18215" y="8747"/>
                  <a:pt x="18655" y="9183"/>
                  <a:pt x="18655" y="9720"/>
                </a:cubicBezTo>
                <a:lnTo>
                  <a:pt x="18655" y="11664"/>
                </a:lnTo>
                <a:lnTo>
                  <a:pt x="16691" y="11664"/>
                </a:lnTo>
                <a:cubicBezTo>
                  <a:pt x="15606" y="11664"/>
                  <a:pt x="14727" y="12535"/>
                  <a:pt x="14727" y="13609"/>
                </a:cubicBezTo>
                <a:lnTo>
                  <a:pt x="14727" y="15554"/>
                </a:lnTo>
                <a:cubicBezTo>
                  <a:pt x="14727" y="16628"/>
                  <a:pt x="15606" y="17499"/>
                  <a:pt x="16691" y="17499"/>
                </a:cubicBezTo>
                <a:lnTo>
                  <a:pt x="18655" y="17499"/>
                </a:lnTo>
                <a:cubicBezTo>
                  <a:pt x="18655" y="17499"/>
                  <a:pt x="18655" y="19443"/>
                  <a:pt x="18655" y="19443"/>
                </a:cubicBezTo>
                <a:close/>
                <a:moveTo>
                  <a:pt x="982" y="7775"/>
                </a:moveTo>
                <a:cubicBezTo>
                  <a:pt x="982" y="7238"/>
                  <a:pt x="1422" y="6803"/>
                  <a:pt x="1964" y="6803"/>
                </a:cubicBezTo>
                <a:lnTo>
                  <a:pt x="2555" y="6803"/>
                </a:lnTo>
                <a:lnTo>
                  <a:pt x="2817" y="7775"/>
                </a:lnTo>
                <a:lnTo>
                  <a:pt x="1964" y="7775"/>
                </a:lnTo>
                <a:cubicBezTo>
                  <a:pt x="1604" y="7775"/>
                  <a:pt x="1271" y="7878"/>
                  <a:pt x="982" y="8045"/>
                </a:cubicBezTo>
                <a:cubicBezTo>
                  <a:pt x="982" y="8045"/>
                  <a:pt x="982" y="7775"/>
                  <a:pt x="982" y="7775"/>
                </a:cubicBezTo>
                <a:close/>
                <a:moveTo>
                  <a:pt x="3721" y="3600"/>
                </a:moveTo>
                <a:lnTo>
                  <a:pt x="13629" y="1005"/>
                </a:lnTo>
                <a:cubicBezTo>
                  <a:pt x="14152" y="866"/>
                  <a:pt x="14690" y="1174"/>
                  <a:pt x="14831" y="1693"/>
                </a:cubicBezTo>
                <a:lnTo>
                  <a:pt x="15085" y="2631"/>
                </a:lnTo>
                <a:lnTo>
                  <a:pt x="3281" y="5731"/>
                </a:lnTo>
                <a:lnTo>
                  <a:pt x="3026" y="4791"/>
                </a:lnTo>
                <a:cubicBezTo>
                  <a:pt x="2886" y="4272"/>
                  <a:pt x="3197" y="3739"/>
                  <a:pt x="3721" y="3600"/>
                </a:cubicBezTo>
                <a:moveTo>
                  <a:pt x="15847" y="5448"/>
                </a:moveTo>
                <a:lnTo>
                  <a:pt x="16476" y="7775"/>
                </a:lnTo>
                <a:lnTo>
                  <a:pt x="6989" y="7775"/>
                </a:lnTo>
                <a:cubicBezTo>
                  <a:pt x="6989" y="7775"/>
                  <a:pt x="15847" y="5448"/>
                  <a:pt x="15847" y="5448"/>
                </a:cubicBezTo>
                <a:close/>
                <a:moveTo>
                  <a:pt x="17673" y="6803"/>
                </a:moveTo>
                <a:cubicBezTo>
                  <a:pt x="18215" y="6803"/>
                  <a:pt x="18655" y="7238"/>
                  <a:pt x="18655" y="7775"/>
                </a:cubicBezTo>
                <a:lnTo>
                  <a:pt x="18655" y="8045"/>
                </a:lnTo>
                <a:cubicBezTo>
                  <a:pt x="18365" y="7878"/>
                  <a:pt x="18032" y="7775"/>
                  <a:pt x="17673" y="7775"/>
                </a:cubicBezTo>
                <a:lnTo>
                  <a:pt x="17493" y="7775"/>
                </a:lnTo>
                <a:lnTo>
                  <a:pt x="17230" y="6803"/>
                </a:lnTo>
                <a:cubicBezTo>
                  <a:pt x="17230" y="6803"/>
                  <a:pt x="17673" y="6803"/>
                  <a:pt x="17673" y="6803"/>
                </a:cubicBezTo>
                <a:close/>
                <a:moveTo>
                  <a:pt x="19636" y="11664"/>
                </a:moveTo>
                <a:lnTo>
                  <a:pt x="19636" y="7775"/>
                </a:lnTo>
                <a:cubicBezTo>
                  <a:pt x="19636" y="6701"/>
                  <a:pt x="18757" y="5830"/>
                  <a:pt x="17673" y="5830"/>
                </a:cubicBezTo>
                <a:lnTo>
                  <a:pt x="16967" y="5830"/>
                </a:lnTo>
                <a:lnTo>
                  <a:pt x="15779" y="1441"/>
                </a:lnTo>
                <a:cubicBezTo>
                  <a:pt x="15498" y="404"/>
                  <a:pt x="14422" y="-212"/>
                  <a:pt x="13374" y="66"/>
                </a:cubicBezTo>
                <a:lnTo>
                  <a:pt x="3467" y="2660"/>
                </a:lnTo>
                <a:cubicBezTo>
                  <a:pt x="2419" y="2939"/>
                  <a:pt x="1798" y="4005"/>
                  <a:pt x="2078" y="5042"/>
                </a:cubicBezTo>
                <a:lnTo>
                  <a:pt x="2291" y="5830"/>
                </a:lnTo>
                <a:lnTo>
                  <a:pt x="1964" y="5830"/>
                </a:lnTo>
                <a:cubicBezTo>
                  <a:pt x="879" y="5830"/>
                  <a:pt x="0" y="6701"/>
                  <a:pt x="0" y="7775"/>
                </a:cubicBezTo>
                <a:lnTo>
                  <a:pt x="0" y="19443"/>
                </a:lnTo>
                <a:cubicBezTo>
                  <a:pt x="0" y="20517"/>
                  <a:pt x="879" y="21388"/>
                  <a:pt x="1964" y="21388"/>
                </a:cubicBezTo>
                <a:lnTo>
                  <a:pt x="17673" y="21388"/>
                </a:lnTo>
                <a:cubicBezTo>
                  <a:pt x="18757" y="21388"/>
                  <a:pt x="19636" y="20517"/>
                  <a:pt x="19636" y="19443"/>
                </a:cubicBezTo>
                <a:lnTo>
                  <a:pt x="19636" y="17499"/>
                </a:lnTo>
                <a:cubicBezTo>
                  <a:pt x="20721" y="17499"/>
                  <a:pt x="21600" y="16628"/>
                  <a:pt x="21600" y="15554"/>
                </a:cubicBezTo>
                <a:lnTo>
                  <a:pt x="21600" y="13609"/>
                </a:lnTo>
                <a:cubicBezTo>
                  <a:pt x="21600" y="12535"/>
                  <a:pt x="20721" y="11664"/>
                  <a:pt x="19636" y="11664"/>
                </a:cubicBezTo>
                <a:moveTo>
                  <a:pt x="13255" y="9720"/>
                </a:moveTo>
                <a:lnTo>
                  <a:pt x="12273" y="9720"/>
                </a:lnTo>
                <a:cubicBezTo>
                  <a:pt x="12002" y="9720"/>
                  <a:pt x="11782" y="9937"/>
                  <a:pt x="11782" y="10206"/>
                </a:cubicBezTo>
                <a:cubicBezTo>
                  <a:pt x="11782" y="10475"/>
                  <a:pt x="12002" y="10692"/>
                  <a:pt x="12273" y="10692"/>
                </a:cubicBezTo>
                <a:lnTo>
                  <a:pt x="13255" y="10692"/>
                </a:lnTo>
                <a:cubicBezTo>
                  <a:pt x="13525" y="10692"/>
                  <a:pt x="13745" y="10475"/>
                  <a:pt x="13745" y="10206"/>
                </a:cubicBezTo>
                <a:cubicBezTo>
                  <a:pt x="13745" y="9937"/>
                  <a:pt x="13525" y="9720"/>
                  <a:pt x="13255" y="9720"/>
                </a:cubicBezTo>
                <a:moveTo>
                  <a:pt x="7364" y="9720"/>
                </a:moveTo>
                <a:lnTo>
                  <a:pt x="6382" y="9720"/>
                </a:lnTo>
                <a:cubicBezTo>
                  <a:pt x="6111" y="9720"/>
                  <a:pt x="5891" y="9937"/>
                  <a:pt x="5891" y="10206"/>
                </a:cubicBezTo>
                <a:cubicBezTo>
                  <a:pt x="5891" y="10475"/>
                  <a:pt x="6111" y="10692"/>
                  <a:pt x="6382" y="10692"/>
                </a:cubicBezTo>
                <a:lnTo>
                  <a:pt x="7364" y="10692"/>
                </a:lnTo>
                <a:cubicBezTo>
                  <a:pt x="7634" y="10692"/>
                  <a:pt x="7855" y="10475"/>
                  <a:pt x="7855" y="10206"/>
                </a:cubicBezTo>
                <a:cubicBezTo>
                  <a:pt x="7855" y="9937"/>
                  <a:pt x="7634" y="9720"/>
                  <a:pt x="7364" y="9720"/>
                </a:cubicBezTo>
                <a:moveTo>
                  <a:pt x="17182" y="14095"/>
                </a:moveTo>
                <a:cubicBezTo>
                  <a:pt x="16911" y="14095"/>
                  <a:pt x="16691" y="14313"/>
                  <a:pt x="16691" y="14581"/>
                </a:cubicBezTo>
                <a:cubicBezTo>
                  <a:pt x="16691" y="14850"/>
                  <a:pt x="16911" y="15068"/>
                  <a:pt x="17182" y="15068"/>
                </a:cubicBezTo>
                <a:cubicBezTo>
                  <a:pt x="17453" y="15068"/>
                  <a:pt x="17673" y="14850"/>
                  <a:pt x="17673" y="14581"/>
                </a:cubicBezTo>
                <a:cubicBezTo>
                  <a:pt x="17673" y="14313"/>
                  <a:pt x="17453" y="14095"/>
                  <a:pt x="17182" y="14095"/>
                </a:cubicBezTo>
                <a:moveTo>
                  <a:pt x="16200" y="18471"/>
                </a:moveTo>
                <a:lnTo>
                  <a:pt x="15218" y="18471"/>
                </a:lnTo>
                <a:cubicBezTo>
                  <a:pt x="14947" y="18471"/>
                  <a:pt x="14727" y="18689"/>
                  <a:pt x="14727" y="18957"/>
                </a:cubicBezTo>
                <a:cubicBezTo>
                  <a:pt x="14727" y="19226"/>
                  <a:pt x="14947" y="19443"/>
                  <a:pt x="15218" y="19443"/>
                </a:cubicBezTo>
                <a:lnTo>
                  <a:pt x="16200" y="19443"/>
                </a:lnTo>
                <a:cubicBezTo>
                  <a:pt x="16471" y="19443"/>
                  <a:pt x="16691" y="19226"/>
                  <a:pt x="16691" y="18957"/>
                </a:cubicBezTo>
                <a:cubicBezTo>
                  <a:pt x="16691" y="18689"/>
                  <a:pt x="16471" y="18471"/>
                  <a:pt x="16200" y="18471"/>
                </a:cubicBezTo>
                <a:moveTo>
                  <a:pt x="15218" y="10692"/>
                </a:moveTo>
                <a:lnTo>
                  <a:pt x="16200" y="10692"/>
                </a:lnTo>
                <a:cubicBezTo>
                  <a:pt x="16471" y="10692"/>
                  <a:pt x="16691" y="10475"/>
                  <a:pt x="16691" y="10206"/>
                </a:cubicBezTo>
                <a:cubicBezTo>
                  <a:pt x="16691" y="9937"/>
                  <a:pt x="16471" y="9720"/>
                  <a:pt x="16200" y="9720"/>
                </a:cubicBezTo>
                <a:lnTo>
                  <a:pt x="15218" y="9720"/>
                </a:lnTo>
                <a:cubicBezTo>
                  <a:pt x="14947" y="9720"/>
                  <a:pt x="14727" y="9937"/>
                  <a:pt x="14727" y="10206"/>
                </a:cubicBezTo>
                <a:cubicBezTo>
                  <a:pt x="14727" y="10475"/>
                  <a:pt x="14947" y="10692"/>
                  <a:pt x="15218" y="10692"/>
                </a:cubicBezTo>
                <a:moveTo>
                  <a:pt x="4418" y="18471"/>
                </a:moveTo>
                <a:lnTo>
                  <a:pt x="3436" y="18471"/>
                </a:lnTo>
                <a:cubicBezTo>
                  <a:pt x="3166" y="18471"/>
                  <a:pt x="2945" y="18689"/>
                  <a:pt x="2945" y="18957"/>
                </a:cubicBezTo>
                <a:cubicBezTo>
                  <a:pt x="2945" y="19226"/>
                  <a:pt x="3166" y="19443"/>
                  <a:pt x="3436" y="19443"/>
                </a:cubicBezTo>
                <a:lnTo>
                  <a:pt x="4418" y="19443"/>
                </a:lnTo>
                <a:cubicBezTo>
                  <a:pt x="4689" y="19443"/>
                  <a:pt x="4909" y="19226"/>
                  <a:pt x="4909" y="18957"/>
                </a:cubicBezTo>
                <a:cubicBezTo>
                  <a:pt x="4909" y="18689"/>
                  <a:pt x="4689" y="18471"/>
                  <a:pt x="4418" y="18471"/>
                </a:cubicBezTo>
                <a:moveTo>
                  <a:pt x="7364" y="18471"/>
                </a:moveTo>
                <a:lnTo>
                  <a:pt x="6382" y="18471"/>
                </a:lnTo>
                <a:cubicBezTo>
                  <a:pt x="6111" y="18471"/>
                  <a:pt x="5891" y="18689"/>
                  <a:pt x="5891" y="18957"/>
                </a:cubicBezTo>
                <a:cubicBezTo>
                  <a:pt x="5891" y="19226"/>
                  <a:pt x="6111" y="19443"/>
                  <a:pt x="6382" y="19443"/>
                </a:cubicBezTo>
                <a:lnTo>
                  <a:pt x="7364" y="19443"/>
                </a:lnTo>
                <a:cubicBezTo>
                  <a:pt x="7634" y="19443"/>
                  <a:pt x="7855" y="19226"/>
                  <a:pt x="7855" y="18957"/>
                </a:cubicBezTo>
                <a:cubicBezTo>
                  <a:pt x="7855" y="18689"/>
                  <a:pt x="7634" y="18471"/>
                  <a:pt x="7364" y="18471"/>
                </a:cubicBezTo>
                <a:moveTo>
                  <a:pt x="4418" y="9720"/>
                </a:moveTo>
                <a:lnTo>
                  <a:pt x="3436" y="9720"/>
                </a:lnTo>
                <a:cubicBezTo>
                  <a:pt x="3166" y="9720"/>
                  <a:pt x="2945" y="9937"/>
                  <a:pt x="2945" y="10206"/>
                </a:cubicBezTo>
                <a:cubicBezTo>
                  <a:pt x="2945" y="10475"/>
                  <a:pt x="3166" y="10692"/>
                  <a:pt x="3436" y="10692"/>
                </a:cubicBezTo>
                <a:lnTo>
                  <a:pt x="4418" y="10692"/>
                </a:lnTo>
                <a:cubicBezTo>
                  <a:pt x="4689" y="10692"/>
                  <a:pt x="4909" y="10475"/>
                  <a:pt x="4909" y="10206"/>
                </a:cubicBezTo>
                <a:cubicBezTo>
                  <a:pt x="4909" y="9937"/>
                  <a:pt x="4689" y="9720"/>
                  <a:pt x="4418" y="972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5" name="Shape 2825"/>
          <p:cNvSpPr/>
          <p:nvPr/>
        </p:nvSpPr>
        <p:spPr>
          <a:xfrm>
            <a:off x="17787671" y="3995789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17550"/>
                </a:moveTo>
                <a:lnTo>
                  <a:pt x="12273" y="17550"/>
                </a:lnTo>
                <a:cubicBezTo>
                  <a:pt x="12001" y="17550"/>
                  <a:pt x="11782" y="17853"/>
                  <a:pt x="11782" y="18225"/>
                </a:cubicBezTo>
                <a:cubicBezTo>
                  <a:pt x="11782" y="18598"/>
                  <a:pt x="12001" y="18900"/>
                  <a:pt x="12273" y="18900"/>
                </a:cubicBezTo>
                <a:lnTo>
                  <a:pt x="13255" y="18900"/>
                </a:lnTo>
                <a:cubicBezTo>
                  <a:pt x="13526" y="18900"/>
                  <a:pt x="13745" y="18598"/>
                  <a:pt x="13745" y="18225"/>
                </a:cubicBezTo>
                <a:cubicBezTo>
                  <a:pt x="13745" y="17853"/>
                  <a:pt x="13526" y="17550"/>
                  <a:pt x="13255" y="17550"/>
                </a:cubicBezTo>
                <a:moveTo>
                  <a:pt x="10309" y="5400"/>
                </a:moveTo>
                <a:lnTo>
                  <a:pt x="9327" y="5400"/>
                </a:lnTo>
                <a:cubicBezTo>
                  <a:pt x="9056" y="5400"/>
                  <a:pt x="8836" y="5702"/>
                  <a:pt x="8836" y="6075"/>
                </a:cubicBezTo>
                <a:cubicBezTo>
                  <a:pt x="8836" y="6448"/>
                  <a:pt x="9056" y="6750"/>
                  <a:pt x="9327" y="6750"/>
                </a:cubicBezTo>
                <a:lnTo>
                  <a:pt x="10309" y="6750"/>
                </a:lnTo>
                <a:cubicBezTo>
                  <a:pt x="10580" y="6750"/>
                  <a:pt x="10800" y="6448"/>
                  <a:pt x="10800" y="6075"/>
                </a:cubicBezTo>
                <a:cubicBezTo>
                  <a:pt x="10800" y="5702"/>
                  <a:pt x="10580" y="5400"/>
                  <a:pt x="10309" y="5400"/>
                </a:cubicBezTo>
                <a:moveTo>
                  <a:pt x="16200" y="17550"/>
                </a:moveTo>
                <a:lnTo>
                  <a:pt x="15218" y="17550"/>
                </a:lnTo>
                <a:cubicBezTo>
                  <a:pt x="14947" y="17550"/>
                  <a:pt x="14727" y="17853"/>
                  <a:pt x="14727" y="18225"/>
                </a:cubicBezTo>
                <a:cubicBezTo>
                  <a:pt x="14727" y="18598"/>
                  <a:pt x="14947" y="18900"/>
                  <a:pt x="15218" y="18900"/>
                </a:cubicBezTo>
                <a:lnTo>
                  <a:pt x="16200" y="18900"/>
                </a:lnTo>
                <a:cubicBezTo>
                  <a:pt x="16471" y="18900"/>
                  <a:pt x="16691" y="18598"/>
                  <a:pt x="16691" y="18225"/>
                </a:cubicBezTo>
                <a:cubicBezTo>
                  <a:pt x="16691" y="17853"/>
                  <a:pt x="16471" y="17550"/>
                  <a:pt x="16200" y="17550"/>
                </a:cubicBezTo>
                <a:moveTo>
                  <a:pt x="13255" y="5400"/>
                </a:moveTo>
                <a:lnTo>
                  <a:pt x="12273" y="5400"/>
                </a:lnTo>
                <a:cubicBezTo>
                  <a:pt x="12001" y="5400"/>
                  <a:pt x="11782" y="5702"/>
                  <a:pt x="11782" y="6075"/>
                </a:cubicBezTo>
                <a:cubicBezTo>
                  <a:pt x="11782" y="6448"/>
                  <a:pt x="12001" y="6750"/>
                  <a:pt x="12273" y="6750"/>
                </a:cubicBezTo>
                <a:lnTo>
                  <a:pt x="13255" y="6750"/>
                </a:lnTo>
                <a:cubicBezTo>
                  <a:pt x="13526" y="6750"/>
                  <a:pt x="13745" y="6448"/>
                  <a:pt x="13745" y="6075"/>
                </a:cubicBezTo>
                <a:cubicBezTo>
                  <a:pt x="13745" y="5702"/>
                  <a:pt x="13526" y="5400"/>
                  <a:pt x="13255" y="5400"/>
                </a:cubicBezTo>
                <a:moveTo>
                  <a:pt x="10309" y="17550"/>
                </a:moveTo>
                <a:lnTo>
                  <a:pt x="9327" y="17550"/>
                </a:lnTo>
                <a:cubicBezTo>
                  <a:pt x="9056" y="17550"/>
                  <a:pt x="8836" y="17853"/>
                  <a:pt x="8836" y="18225"/>
                </a:cubicBezTo>
                <a:cubicBezTo>
                  <a:pt x="8836" y="18598"/>
                  <a:pt x="9056" y="18900"/>
                  <a:pt x="9327" y="18900"/>
                </a:cubicBezTo>
                <a:lnTo>
                  <a:pt x="10309" y="18900"/>
                </a:lnTo>
                <a:cubicBezTo>
                  <a:pt x="10580" y="18900"/>
                  <a:pt x="10800" y="18598"/>
                  <a:pt x="10800" y="18225"/>
                </a:cubicBezTo>
                <a:cubicBezTo>
                  <a:pt x="10800" y="17853"/>
                  <a:pt x="10580" y="17550"/>
                  <a:pt x="10309" y="17550"/>
                </a:cubicBezTo>
                <a:moveTo>
                  <a:pt x="4418" y="17550"/>
                </a:moveTo>
                <a:lnTo>
                  <a:pt x="3436" y="17550"/>
                </a:lnTo>
                <a:cubicBezTo>
                  <a:pt x="3165" y="17550"/>
                  <a:pt x="2945" y="17853"/>
                  <a:pt x="2945" y="18225"/>
                </a:cubicBezTo>
                <a:cubicBezTo>
                  <a:pt x="2945" y="18598"/>
                  <a:pt x="3165" y="18900"/>
                  <a:pt x="3436" y="18900"/>
                </a:cubicBezTo>
                <a:lnTo>
                  <a:pt x="4418" y="18900"/>
                </a:lnTo>
                <a:cubicBezTo>
                  <a:pt x="4690" y="18900"/>
                  <a:pt x="4909" y="18598"/>
                  <a:pt x="4909" y="18225"/>
                </a:cubicBezTo>
                <a:cubicBezTo>
                  <a:pt x="4909" y="17853"/>
                  <a:pt x="4690" y="17550"/>
                  <a:pt x="4418" y="17550"/>
                </a:cubicBezTo>
                <a:moveTo>
                  <a:pt x="15218" y="6750"/>
                </a:moveTo>
                <a:lnTo>
                  <a:pt x="16200" y="6750"/>
                </a:lnTo>
                <a:cubicBezTo>
                  <a:pt x="16471" y="6750"/>
                  <a:pt x="16691" y="6448"/>
                  <a:pt x="16691" y="6075"/>
                </a:cubicBezTo>
                <a:cubicBezTo>
                  <a:pt x="16691" y="5702"/>
                  <a:pt x="16471" y="5400"/>
                  <a:pt x="16200" y="5400"/>
                </a:cubicBezTo>
                <a:lnTo>
                  <a:pt x="15218" y="5400"/>
                </a:lnTo>
                <a:cubicBezTo>
                  <a:pt x="14947" y="5400"/>
                  <a:pt x="14727" y="5702"/>
                  <a:pt x="14727" y="6075"/>
                </a:cubicBezTo>
                <a:cubicBezTo>
                  <a:pt x="14727" y="6448"/>
                  <a:pt x="14947" y="6750"/>
                  <a:pt x="15218" y="6750"/>
                </a:cubicBezTo>
                <a:moveTo>
                  <a:pt x="20618" y="13500"/>
                </a:moveTo>
                <a:cubicBezTo>
                  <a:pt x="20618" y="14245"/>
                  <a:pt x="20178" y="14850"/>
                  <a:pt x="19636" y="14850"/>
                </a:cubicBezTo>
                <a:lnTo>
                  <a:pt x="16691" y="14850"/>
                </a:lnTo>
                <a:cubicBezTo>
                  <a:pt x="16149" y="14850"/>
                  <a:pt x="15709" y="14245"/>
                  <a:pt x="15709" y="13500"/>
                </a:cubicBezTo>
                <a:lnTo>
                  <a:pt x="15709" y="10800"/>
                </a:lnTo>
                <a:cubicBezTo>
                  <a:pt x="15709" y="10055"/>
                  <a:pt x="16149" y="9450"/>
                  <a:pt x="16691" y="9450"/>
                </a:cubicBezTo>
                <a:lnTo>
                  <a:pt x="19636" y="9450"/>
                </a:lnTo>
                <a:cubicBezTo>
                  <a:pt x="20178" y="9450"/>
                  <a:pt x="20618" y="10055"/>
                  <a:pt x="20618" y="10800"/>
                </a:cubicBezTo>
                <a:cubicBezTo>
                  <a:pt x="20618" y="10800"/>
                  <a:pt x="20618" y="13500"/>
                  <a:pt x="20618" y="13500"/>
                </a:cubicBezTo>
                <a:close/>
                <a:moveTo>
                  <a:pt x="18655" y="18900"/>
                </a:moveTo>
                <a:cubicBezTo>
                  <a:pt x="18655" y="19645"/>
                  <a:pt x="18214" y="20250"/>
                  <a:pt x="17673" y="20250"/>
                </a:cubicBezTo>
                <a:lnTo>
                  <a:pt x="1964" y="20250"/>
                </a:lnTo>
                <a:cubicBezTo>
                  <a:pt x="1422" y="20250"/>
                  <a:pt x="982" y="19645"/>
                  <a:pt x="982" y="18900"/>
                </a:cubicBezTo>
                <a:lnTo>
                  <a:pt x="982" y="5400"/>
                </a:lnTo>
                <a:cubicBezTo>
                  <a:pt x="982" y="4655"/>
                  <a:pt x="1422" y="4050"/>
                  <a:pt x="1964" y="4050"/>
                </a:cubicBezTo>
                <a:lnTo>
                  <a:pt x="17673" y="4050"/>
                </a:lnTo>
                <a:cubicBezTo>
                  <a:pt x="18214" y="4050"/>
                  <a:pt x="18655" y="4655"/>
                  <a:pt x="18655" y="5400"/>
                </a:cubicBezTo>
                <a:lnTo>
                  <a:pt x="18655" y="8100"/>
                </a:lnTo>
                <a:lnTo>
                  <a:pt x="16691" y="8100"/>
                </a:lnTo>
                <a:cubicBezTo>
                  <a:pt x="15606" y="8100"/>
                  <a:pt x="14727" y="9309"/>
                  <a:pt x="14727" y="10800"/>
                </a:cubicBezTo>
                <a:lnTo>
                  <a:pt x="14727" y="13500"/>
                </a:lnTo>
                <a:cubicBezTo>
                  <a:pt x="14727" y="14991"/>
                  <a:pt x="15606" y="16200"/>
                  <a:pt x="16691" y="16200"/>
                </a:cubicBezTo>
                <a:lnTo>
                  <a:pt x="18655" y="16200"/>
                </a:lnTo>
                <a:cubicBezTo>
                  <a:pt x="18655" y="16200"/>
                  <a:pt x="18655" y="18900"/>
                  <a:pt x="18655" y="18900"/>
                </a:cubicBezTo>
                <a:close/>
                <a:moveTo>
                  <a:pt x="982" y="2700"/>
                </a:moveTo>
                <a:cubicBezTo>
                  <a:pt x="982" y="1955"/>
                  <a:pt x="1422" y="1350"/>
                  <a:pt x="1964" y="1350"/>
                </a:cubicBezTo>
                <a:lnTo>
                  <a:pt x="17673" y="1350"/>
                </a:lnTo>
                <a:cubicBezTo>
                  <a:pt x="18214" y="1350"/>
                  <a:pt x="18655" y="1955"/>
                  <a:pt x="18655" y="2700"/>
                </a:cubicBezTo>
                <a:lnTo>
                  <a:pt x="18655" y="3075"/>
                </a:lnTo>
                <a:cubicBezTo>
                  <a:pt x="18365" y="2842"/>
                  <a:pt x="18032" y="2700"/>
                  <a:pt x="17673" y="2700"/>
                </a:cubicBezTo>
                <a:lnTo>
                  <a:pt x="1964" y="2700"/>
                </a:lnTo>
                <a:cubicBezTo>
                  <a:pt x="1604" y="2700"/>
                  <a:pt x="1271" y="2842"/>
                  <a:pt x="982" y="3075"/>
                </a:cubicBezTo>
                <a:cubicBezTo>
                  <a:pt x="982" y="3075"/>
                  <a:pt x="982" y="2700"/>
                  <a:pt x="982" y="2700"/>
                </a:cubicBezTo>
                <a:close/>
                <a:moveTo>
                  <a:pt x="19636" y="8100"/>
                </a:moveTo>
                <a:lnTo>
                  <a:pt x="19636" y="2700"/>
                </a:lnTo>
                <a:cubicBezTo>
                  <a:pt x="19636" y="1209"/>
                  <a:pt x="18757" y="0"/>
                  <a:pt x="17673" y="0"/>
                </a:cubicBez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391"/>
                  <a:pt x="19636" y="18900"/>
                </a:cubicBezTo>
                <a:lnTo>
                  <a:pt x="19636" y="16200"/>
                </a:lnTo>
                <a:cubicBezTo>
                  <a:pt x="20721" y="16200"/>
                  <a:pt x="21600" y="14991"/>
                  <a:pt x="21600" y="13500"/>
                </a:cubicBezTo>
                <a:lnTo>
                  <a:pt x="21600" y="10800"/>
                </a:lnTo>
                <a:cubicBezTo>
                  <a:pt x="21600" y="9309"/>
                  <a:pt x="20721" y="8100"/>
                  <a:pt x="19636" y="8100"/>
                </a:cubicBezTo>
                <a:moveTo>
                  <a:pt x="17182" y="11475"/>
                </a:moveTo>
                <a:cubicBezTo>
                  <a:pt x="16910" y="11475"/>
                  <a:pt x="16691" y="11777"/>
                  <a:pt x="16691" y="12150"/>
                </a:cubicBezTo>
                <a:cubicBezTo>
                  <a:pt x="16691" y="12523"/>
                  <a:pt x="16910" y="12825"/>
                  <a:pt x="17182" y="12825"/>
                </a:cubicBezTo>
                <a:cubicBezTo>
                  <a:pt x="17453" y="12825"/>
                  <a:pt x="17673" y="12523"/>
                  <a:pt x="17673" y="12150"/>
                </a:cubicBezTo>
                <a:cubicBezTo>
                  <a:pt x="17673" y="11777"/>
                  <a:pt x="17453" y="11475"/>
                  <a:pt x="17182" y="11475"/>
                </a:cubicBezTo>
                <a:moveTo>
                  <a:pt x="7364" y="17550"/>
                </a:moveTo>
                <a:lnTo>
                  <a:pt x="6382" y="17550"/>
                </a:lnTo>
                <a:cubicBezTo>
                  <a:pt x="6110" y="17550"/>
                  <a:pt x="5891" y="17853"/>
                  <a:pt x="5891" y="18225"/>
                </a:cubicBezTo>
                <a:cubicBezTo>
                  <a:pt x="5891" y="18598"/>
                  <a:pt x="6110" y="18900"/>
                  <a:pt x="6382" y="18900"/>
                </a:cubicBezTo>
                <a:lnTo>
                  <a:pt x="7364" y="18900"/>
                </a:lnTo>
                <a:cubicBezTo>
                  <a:pt x="7635" y="18900"/>
                  <a:pt x="7855" y="18598"/>
                  <a:pt x="7855" y="18225"/>
                </a:cubicBezTo>
                <a:cubicBezTo>
                  <a:pt x="7855" y="17853"/>
                  <a:pt x="7635" y="17550"/>
                  <a:pt x="7364" y="17550"/>
                </a:cubicBezTo>
                <a:moveTo>
                  <a:pt x="7364" y="5400"/>
                </a:moveTo>
                <a:lnTo>
                  <a:pt x="6382" y="5400"/>
                </a:lnTo>
                <a:cubicBezTo>
                  <a:pt x="6110" y="5400"/>
                  <a:pt x="5891" y="5702"/>
                  <a:pt x="5891" y="6075"/>
                </a:cubicBezTo>
                <a:cubicBezTo>
                  <a:pt x="5891" y="6448"/>
                  <a:pt x="6110" y="6750"/>
                  <a:pt x="6382" y="6750"/>
                </a:cubicBezTo>
                <a:lnTo>
                  <a:pt x="7364" y="6750"/>
                </a:lnTo>
                <a:cubicBezTo>
                  <a:pt x="7635" y="6750"/>
                  <a:pt x="7855" y="6448"/>
                  <a:pt x="7855" y="6075"/>
                </a:cubicBezTo>
                <a:cubicBezTo>
                  <a:pt x="7855" y="5702"/>
                  <a:pt x="7635" y="5400"/>
                  <a:pt x="7364" y="5400"/>
                </a:cubicBezTo>
                <a:moveTo>
                  <a:pt x="4418" y="5400"/>
                </a:moveTo>
                <a:lnTo>
                  <a:pt x="3436" y="5400"/>
                </a:lnTo>
                <a:cubicBezTo>
                  <a:pt x="3165" y="5400"/>
                  <a:pt x="2945" y="5702"/>
                  <a:pt x="2945" y="6075"/>
                </a:cubicBezTo>
                <a:cubicBezTo>
                  <a:pt x="2945" y="6448"/>
                  <a:pt x="3165" y="6750"/>
                  <a:pt x="3436" y="6750"/>
                </a:cubicBezTo>
                <a:lnTo>
                  <a:pt x="4418" y="6750"/>
                </a:lnTo>
                <a:cubicBezTo>
                  <a:pt x="4690" y="6750"/>
                  <a:pt x="4909" y="6448"/>
                  <a:pt x="4909" y="6075"/>
                </a:cubicBezTo>
                <a:cubicBezTo>
                  <a:pt x="4909" y="5702"/>
                  <a:pt x="4690" y="5400"/>
                  <a:pt x="4418" y="54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6" name="Shape 2826"/>
          <p:cNvSpPr/>
          <p:nvPr/>
        </p:nvSpPr>
        <p:spPr>
          <a:xfrm>
            <a:off x="18854194" y="3970392"/>
            <a:ext cx="558654" cy="4575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7214"/>
                </a:moveTo>
                <a:lnTo>
                  <a:pt x="9327" y="7214"/>
                </a:lnTo>
                <a:cubicBezTo>
                  <a:pt x="9056" y="7214"/>
                  <a:pt x="8836" y="7482"/>
                  <a:pt x="8836" y="7813"/>
                </a:cubicBezTo>
                <a:cubicBezTo>
                  <a:pt x="8836" y="8145"/>
                  <a:pt x="9056" y="8413"/>
                  <a:pt x="9327" y="8413"/>
                </a:cubicBezTo>
                <a:lnTo>
                  <a:pt x="10309" y="8413"/>
                </a:lnTo>
                <a:cubicBezTo>
                  <a:pt x="10580" y="8413"/>
                  <a:pt x="10800" y="8145"/>
                  <a:pt x="10800" y="7813"/>
                </a:cubicBezTo>
                <a:cubicBezTo>
                  <a:pt x="10800" y="7482"/>
                  <a:pt x="10580" y="7214"/>
                  <a:pt x="10309" y="7214"/>
                </a:cubicBezTo>
                <a:moveTo>
                  <a:pt x="7364" y="7214"/>
                </a:moveTo>
                <a:lnTo>
                  <a:pt x="6382" y="7214"/>
                </a:lnTo>
                <a:cubicBezTo>
                  <a:pt x="6110" y="7214"/>
                  <a:pt x="5891" y="7482"/>
                  <a:pt x="5891" y="7813"/>
                </a:cubicBezTo>
                <a:cubicBezTo>
                  <a:pt x="5891" y="8145"/>
                  <a:pt x="6110" y="8413"/>
                  <a:pt x="6382" y="8413"/>
                </a:cubicBezTo>
                <a:lnTo>
                  <a:pt x="7364" y="8413"/>
                </a:lnTo>
                <a:cubicBezTo>
                  <a:pt x="7635" y="8413"/>
                  <a:pt x="7855" y="8145"/>
                  <a:pt x="7855" y="7813"/>
                </a:cubicBezTo>
                <a:cubicBezTo>
                  <a:pt x="7855" y="7482"/>
                  <a:pt x="7635" y="7214"/>
                  <a:pt x="7364" y="7214"/>
                </a:cubicBezTo>
                <a:moveTo>
                  <a:pt x="10309" y="18004"/>
                </a:moveTo>
                <a:lnTo>
                  <a:pt x="9327" y="18004"/>
                </a:lnTo>
                <a:cubicBezTo>
                  <a:pt x="9056" y="18004"/>
                  <a:pt x="8836" y="18272"/>
                  <a:pt x="8836" y="18603"/>
                </a:cubicBezTo>
                <a:cubicBezTo>
                  <a:pt x="8836" y="18935"/>
                  <a:pt x="9056" y="19202"/>
                  <a:pt x="9327" y="19202"/>
                </a:cubicBezTo>
                <a:lnTo>
                  <a:pt x="10309" y="19202"/>
                </a:lnTo>
                <a:cubicBezTo>
                  <a:pt x="10580" y="19202"/>
                  <a:pt x="10800" y="18935"/>
                  <a:pt x="10800" y="18603"/>
                </a:cubicBezTo>
                <a:cubicBezTo>
                  <a:pt x="10800" y="18272"/>
                  <a:pt x="10580" y="18004"/>
                  <a:pt x="10309" y="18004"/>
                </a:cubicBezTo>
                <a:moveTo>
                  <a:pt x="13255" y="18004"/>
                </a:moveTo>
                <a:lnTo>
                  <a:pt x="12273" y="18004"/>
                </a:lnTo>
                <a:cubicBezTo>
                  <a:pt x="12001" y="18004"/>
                  <a:pt x="11782" y="18272"/>
                  <a:pt x="11782" y="18603"/>
                </a:cubicBezTo>
                <a:cubicBezTo>
                  <a:pt x="11782" y="18935"/>
                  <a:pt x="12001" y="19202"/>
                  <a:pt x="12273" y="19202"/>
                </a:cubicBezTo>
                <a:lnTo>
                  <a:pt x="13255" y="19202"/>
                </a:lnTo>
                <a:cubicBezTo>
                  <a:pt x="13526" y="19202"/>
                  <a:pt x="13745" y="18935"/>
                  <a:pt x="13745" y="18603"/>
                </a:cubicBezTo>
                <a:cubicBezTo>
                  <a:pt x="13745" y="18272"/>
                  <a:pt x="13526" y="18004"/>
                  <a:pt x="13255" y="18004"/>
                </a:cubicBezTo>
                <a:moveTo>
                  <a:pt x="20618" y="14407"/>
                </a:moveTo>
                <a:cubicBezTo>
                  <a:pt x="20618" y="15069"/>
                  <a:pt x="20178" y="15606"/>
                  <a:pt x="19636" y="15606"/>
                </a:cubicBezTo>
                <a:lnTo>
                  <a:pt x="16691" y="15606"/>
                </a:lnTo>
                <a:cubicBezTo>
                  <a:pt x="16148" y="15606"/>
                  <a:pt x="15709" y="15069"/>
                  <a:pt x="15709" y="14407"/>
                </a:cubicBezTo>
                <a:lnTo>
                  <a:pt x="15709" y="12009"/>
                </a:lnTo>
                <a:cubicBezTo>
                  <a:pt x="15709" y="11348"/>
                  <a:pt x="16148" y="10811"/>
                  <a:pt x="16691" y="10811"/>
                </a:cubicBezTo>
                <a:lnTo>
                  <a:pt x="19636" y="10811"/>
                </a:lnTo>
                <a:cubicBezTo>
                  <a:pt x="20178" y="10811"/>
                  <a:pt x="20618" y="11348"/>
                  <a:pt x="20618" y="12009"/>
                </a:cubicBezTo>
                <a:cubicBezTo>
                  <a:pt x="20618" y="12009"/>
                  <a:pt x="20618" y="14407"/>
                  <a:pt x="20618" y="14407"/>
                </a:cubicBezTo>
                <a:close/>
                <a:moveTo>
                  <a:pt x="18655" y="19202"/>
                </a:moveTo>
                <a:cubicBezTo>
                  <a:pt x="18655" y="19864"/>
                  <a:pt x="18214" y="20401"/>
                  <a:pt x="17673" y="20401"/>
                </a:cubicBezTo>
                <a:lnTo>
                  <a:pt x="1964" y="20401"/>
                </a:lnTo>
                <a:cubicBezTo>
                  <a:pt x="1421" y="20401"/>
                  <a:pt x="982" y="19864"/>
                  <a:pt x="982" y="19202"/>
                </a:cubicBezTo>
                <a:lnTo>
                  <a:pt x="982" y="7214"/>
                </a:lnTo>
                <a:cubicBezTo>
                  <a:pt x="982" y="6553"/>
                  <a:pt x="1421" y="6015"/>
                  <a:pt x="1964" y="6015"/>
                </a:cubicBezTo>
                <a:lnTo>
                  <a:pt x="17673" y="6015"/>
                </a:lnTo>
                <a:cubicBezTo>
                  <a:pt x="18214" y="6015"/>
                  <a:pt x="18655" y="6553"/>
                  <a:pt x="18655" y="7214"/>
                </a:cubicBezTo>
                <a:lnTo>
                  <a:pt x="18655" y="9612"/>
                </a:lnTo>
                <a:lnTo>
                  <a:pt x="16691" y="9612"/>
                </a:lnTo>
                <a:cubicBezTo>
                  <a:pt x="15606" y="9612"/>
                  <a:pt x="14727" y="10685"/>
                  <a:pt x="14727" y="12009"/>
                </a:cubicBezTo>
                <a:lnTo>
                  <a:pt x="14727" y="14407"/>
                </a:lnTo>
                <a:cubicBezTo>
                  <a:pt x="14727" y="15731"/>
                  <a:pt x="15606" y="16805"/>
                  <a:pt x="16691" y="16805"/>
                </a:cubicBezTo>
                <a:lnTo>
                  <a:pt x="18655" y="16805"/>
                </a:lnTo>
                <a:cubicBezTo>
                  <a:pt x="18655" y="16805"/>
                  <a:pt x="18655" y="19202"/>
                  <a:pt x="18655" y="19202"/>
                </a:cubicBezTo>
                <a:close/>
                <a:moveTo>
                  <a:pt x="982" y="4816"/>
                </a:moveTo>
                <a:cubicBezTo>
                  <a:pt x="982" y="4155"/>
                  <a:pt x="1420" y="3618"/>
                  <a:pt x="1963" y="3618"/>
                </a:cubicBezTo>
                <a:lnTo>
                  <a:pt x="1692" y="4850"/>
                </a:lnTo>
                <a:cubicBezTo>
                  <a:pt x="1436" y="4894"/>
                  <a:pt x="1197" y="4996"/>
                  <a:pt x="982" y="5149"/>
                </a:cubicBezTo>
                <a:cubicBezTo>
                  <a:pt x="982" y="5149"/>
                  <a:pt x="982" y="4816"/>
                  <a:pt x="982" y="4816"/>
                </a:cubicBezTo>
                <a:close/>
                <a:moveTo>
                  <a:pt x="3451" y="1468"/>
                </a:moveTo>
                <a:lnTo>
                  <a:pt x="13684" y="4816"/>
                </a:lnTo>
                <a:lnTo>
                  <a:pt x="2716" y="4816"/>
                </a:lnTo>
                <a:cubicBezTo>
                  <a:pt x="2716" y="4816"/>
                  <a:pt x="3451" y="1468"/>
                  <a:pt x="3451" y="1468"/>
                </a:cubicBezTo>
                <a:close/>
                <a:moveTo>
                  <a:pt x="16776" y="2582"/>
                </a:moveTo>
                <a:lnTo>
                  <a:pt x="16982" y="4654"/>
                </a:lnTo>
                <a:lnTo>
                  <a:pt x="12560" y="3208"/>
                </a:lnTo>
                <a:cubicBezTo>
                  <a:pt x="12560" y="3208"/>
                  <a:pt x="16776" y="2582"/>
                  <a:pt x="16776" y="2582"/>
                </a:cubicBezTo>
                <a:close/>
                <a:moveTo>
                  <a:pt x="18655" y="4816"/>
                </a:moveTo>
                <a:lnTo>
                  <a:pt x="18655" y="5149"/>
                </a:lnTo>
                <a:cubicBezTo>
                  <a:pt x="18453" y="5005"/>
                  <a:pt x="18231" y="4904"/>
                  <a:pt x="17992" y="4856"/>
                </a:cubicBezTo>
                <a:lnTo>
                  <a:pt x="17871" y="3642"/>
                </a:lnTo>
                <a:cubicBezTo>
                  <a:pt x="18318" y="3754"/>
                  <a:pt x="18655" y="4237"/>
                  <a:pt x="18655" y="4816"/>
                </a:cubicBezTo>
                <a:moveTo>
                  <a:pt x="19636" y="9612"/>
                </a:moveTo>
                <a:lnTo>
                  <a:pt x="19636" y="4816"/>
                </a:lnTo>
                <a:cubicBezTo>
                  <a:pt x="19636" y="3525"/>
                  <a:pt x="18798" y="2479"/>
                  <a:pt x="17750" y="2428"/>
                </a:cubicBezTo>
                <a:lnTo>
                  <a:pt x="17633" y="1247"/>
                </a:lnTo>
                <a:lnTo>
                  <a:pt x="10020" y="2377"/>
                </a:lnTo>
                <a:lnTo>
                  <a:pt x="2757" y="0"/>
                </a:lnTo>
                <a:lnTo>
                  <a:pt x="2226" y="2419"/>
                </a:lnTo>
                <a:lnTo>
                  <a:pt x="1964" y="2419"/>
                </a:lnTo>
                <a:cubicBezTo>
                  <a:pt x="879" y="2419"/>
                  <a:pt x="0" y="3492"/>
                  <a:pt x="0" y="4816"/>
                </a:cubicBezTo>
                <a:lnTo>
                  <a:pt x="0" y="19202"/>
                </a:lnTo>
                <a:cubicBezTo>
                  <a:pt x="0" y="20526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526"/>
                  <a:pt x="19636" y="19202"/>
                </a:cubicBezTo>
                <a:lnTo>
                  <a:pt x="19636" y="16805"/>
                </a:lnTo>
                <a:cubicBezTo>
                  <a:pt x="20721" y="16805"/>
                  <a:pt x="21600" y="15731"/>
                  <a:pt x="21600" y="14407"/>
                </a:cubicBezTo>
                <a:lnTo>
                  <a:pt x="21600" y="12009"/>
                </a:lnTo>
                <a:cubicBezTo>
                  <a:pt x="21600" y="10685"/>
                  <a:pt x="20721" y="9612"/>
                  <a:pt x="19636" y="9612"/>
                </a:cubicBezTo>
                <a:moveTo>
                  <a:pt x="13255" y="7214"/>
                </a:moveTo>
                <a:lnTo>
                  <a:pt x="12273" y="7214"/>
                </a:lnTo>
                <a:cubicBezTo>
                  <a:pt x="12001" y="7214"/>
                  <a:pt x="11782" y="7482"/>
                  <a:pt x="11782" y="7813"/>
                </a:cubicBezTo>
                <a:cubicBezTo>
                  <a:pt x="11782" y="8145"/>
                  <a:pt x="12001" y="8413"/>
                  <a:pt x="12273" y="8413"/>
                </a:cubicBezTo>
                <a:lnTo>
                  <a:pt x="13255" y="8413"/>
                </a:lnTo>
                <a:cubicBezTo>
                  <a:pt x="13526" y="8413"/>
                  <a:pt x="13745" y="8145"/>
                  <a:pt x="13745" y="7813"/>
                </a:cubicBezTo>
                <a:cubicBezTo>
                  <a:pt x="13745" y="7482"/>
                  <a:pt x="13526" y="7214"/>
                  <a:pt x="13255" y="7214"/>
                </a:cubicBezTo>
                <a:moveTo>
                  <a:pt x="16200" y="18004"/>
                </a:moveTo>
                <a:lnTo>
                  <a:pt x="15218" y="18004"/>
                </a:lnTo>
                <a:cubicBezTo>
                  <a:pt x="14947" y="18004"/>
                  <a:pt x="14727" y="18272"/>
                  <a:pt x="14727" y="18603"/>
                </a:cubicBezTo>
                <a:cubicBezTo>
                  <a:pt x="14727" y="18935"/>
                  <a:pt x="14947" y="19202"/>
                  <a:pt x="15218" y="19202"/>
                </a:cubicBezTo>
                <a:lnTo>
                  <a:pt x="16200" y="19202"/>
                </a:lnTo>
                <a:cubicBezTo>
                  <a:pt x="16471" y="19202"/>
                  <a:pt x="16691" y="18935"/>
                  <a:pt x="16691" y="18603"/>
                </a:cubicBezTo>
                <a:cubicBezTo>
                  <a:pt x="16691" y="18272"/>
                  <a:pt x="16471" y="18004"/>
                  <a:pt x="16200" y="18004"/>
                </a:cubicBezTo>
                <a:moveTo>
                  <a:pt x="17182" y="12609"/>
                </a:moveTo>
                <a:cubicBezTo>
                  <a:pt x="16910" y="12609"/>
                  <a:pt x="16691" y="12877"/>
                  <a:pt x="16691" y="13208"/>
                </a:cubicBezTo>
                <a:cubicBezTo>
                  <a:pt x="16691" y="13540"/>
                  <a:pt x="16910" y="13808"/>
                  <a:pt x="17182" y="13808"/>
                </a:cubicBezTo>
                <a:cubicBezTo>
                  <a:pt x="17453" y="13808"/>
                  <a:pt x="17673" y="13540"/>
                  <a:pt x="17673" y="13208"/>
                </a:cubicBezTo>
                <a:cubicBezTo>
                  <a:pt x="17673" y="12877"/>
                  <a:pt x="17453" y="12609"/>
                  <a:pt x="17182" y="12609"/>
                </a:cubicBezTo>
                <a:moveTo>
                  <a:pt x="4418" y="7214"/>
                </a:moveTo>
                <a:lnTo>
                  <a:pt x="3436" y="7214"/>
                </a:lnTo>
                <a:cubicBezTo>
                  <a:pt x="3165" y="7214"/>
                  <a:pt x="2945" y="7482"/>
                  <a:pt x="2945" y="7813"/>
                </a:cubicBezTo>
                <a:cubicBezTo>
                  <a:pt x="2945" y="8145"/>
                  <a:pt x="3165" y="8413"/>
                  <a:pt x="3436" y="8413"/>
                </a:cubicBezTo>
                <a:lnTo>
                  <a:pt x="4418" y="8413"/>
                </a:lnTo>
                <a:cubicBezTo>
                  <a:pt x="4690" y="8413"/>
                  <a:pt x="4909" y="8145"/>
                  <a:pt x="4909" y="7813"/>
                </a:cubicBezTo>
                <a:cubicBezTo>
                  <a:pt x="4909" y="7482"/>
                  <a:pt x="4690" y="7214"/>
                  <a:pt x="4418" y="7214"/>
                </a:cubicBezTo>
                <a:moveTo>
                  <a:pt x="15218" y="8413"/>
                </a:moveTo>
                <a:lnTo>
                  <a:pt x="16200" y="8413"/>
                </a:lnTo>
                <a:cubicBezTo>
                  <a:pt x="16471" y="8413"/>
                  <a:pt x="16691" y="8145"/>
                  <a:pt x="16691" y="7813"/>
                </a:cubicBezTo>
                <a:cubicBezTo>
                  <a:pt x="16691" y="7482"/>
                  <a:pt x="16471" y="7214"/>
                  <a:pt x="16200" y="7214"/>
                </a:cubicBezTo>
                <a:lnTo>
                  <a:pt x="15218" y="7214"/>
                </a:lnTo>
                <a:cubicBezTo>
                  <a:pt x="14947" y="7214"/>
                  <a:pt x="14727" y="7482"/>
                  <a:pt x="14727" y="7813"/>
                </a:cubicBezTo>
                <a:cubicBezTo>
                  <a:pt x="14727" y="8145"/>
                  <a:pt x="14947" y="8413"/>
                  <a:pt x="15218" y="8413"/>
                </a:cubicBezTo>
                <a:moveTo>
                  <a:pt x="7364" y="18004"/>
                </a:moveTo>
                <a:lnTo>
                  <a:pt x="6382" y="18004"/>
                </a:lnTo>
                <a:cubicBezTo>
                  <a:pt x="6110" y="18004"/>
                  <a:pt x="5891" y="18272"/>
                  <a:pt x="5891" y="18603"/>
                </a:cubicBezTo>
                <a:cubicBezTo>
                  <a:pt x="5891" y="18935"/>
                  <a:pt x="6110" y="19202"/>
                  <a:pt x="6382" y="19202"/>
                </a:cubicBezTo>
                <a:lnTo>
                  <a:pt x="7364" y="19202"/>
                </a:lnTo>
                <a:cubicBezTo>
                  <a:pt x="7635" y="19202"/>
                  <a:pt x="7855" y="18935"/>
                  <a:pt x="7855" y="18603"/>
                </a:cubicBezTo>
                <a:cubicBezTo>
                  <a:pt x="7855" y="18272"/>
                  <a:pt x="7635" y="18004"/>
                  <a:pt x="7364" y="18004"/>
                </a:cubicBezTo>
                <a:moveTo>
                  <a:pt x="4418" y="18004"/>
                </a:moveTo>
                <a:lnTo>
                  <a:pt x="3436" y="18004"/>
                </a:lnTo>
                <a:cubicBezTo>
                  <a:pt x="3165" y="18004"/>
                  <a:pt x="2945" y="18272"/>
                  <a:pt x="2945" y="18603"/>
                </a:cubicBezTo>
                <a:cubicBezTo>
                  <a:pt x="2945" y="18935"/>
                  <a:pt x="3165" y="19202"/>
                  <a:pt x="3436" y="19202"/>
                </a:cubicBezTo>
                <a:lnTo>
                  <a:pt x="4418" y="19202"/>
                </a:lnTo>
                <a:cubicBezTo>
                  <a:pt x="4690" y="19202"/>
                  <a:pt x="4909" y="18935"/>
                  <a:pt x="4909" y="18603"/>
                </a:cubicBezTo>
                <a:cubicBezTo>
                  <a:pt x="4909" y="18272"/>
                  <a:pt x="4690" y="18004"/>
                  <a:pt x="4418" y="1800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7" name="Shape 2827"/>
          <p:cNvSpPr/>
          <p:nvPr/>
        </p:nvSpPr>
        <p:spPr>
          <a:xfrm>
            <a:off x="19996897" y="3919607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00" y="9818"/>
                </a:moveTo>
                <a:lnTo>
                  <a:pt x="2700" y="9818"/>
                </a:lnTo>
                <a:lnTo>
                  <a:pt x="2700" y="10800"/>
                </a:lnTo>
                <a:lnTo>
                  <a:pt x="13500" y="10800"/>
                </a:lnTo>
                <a:cubicBezTo>
                  <a:pt x="13500" y="10800"/>
                  <a:pt x="13500" y="9818"/>
                  <a:pt x="13500" y="9818"/>
                </a:cubicBezTo>
                <a:close/>
                <a:moveTo>
                  <a:pt x="18900" y="11782"/>
                </a:moveTo>
                <a:lnTo>
                  <a:pt x="2700" y="11782"/>
                </a:lnTo>
                <a:lnTo>
                  <a:pt x="2700" y="12764"/>
                </a:lnTo>
                <a:lnTo>
                  <a:pt x="18900" y="12764"/>
                </a:lnTo>
                <a:cubicBezTo>
                  <a:pt x="18900" y="12764"/>
                  <a:pt x="18900" y="11782"/>
                  <a:pt x="18900" y="11782"/>
                </a:cubicBezTo>
                <a:close/>
                <a:moveTo>
                  <a:pt x="4050" y="1964"/>
                </a:moveTo>
                <a:lnTo>
                  <a:pt x="2700" y="1964"/>
                </a:lnTo>
                <a:lnTo>
                  <a:pt x="2700" y="7855"/>
                </a:lnTo>
                <a:lnTo>
                  <a:pt x="4050" y="7855"/>
                </a:lnTo>
                <a:cubicBezTo>
                  <a:pt x="4050" y="7855"/>
                  <a:pt x="4050" y="1964"/>
                  <a:pt x="4050" y="1964"/>
                </a:cubicBezTo>
                <a:close/>
                <a:moveTo>
                  <a:pt x="18900" y="13745"/>
                </a:moveTo>
                <a:lnTo>
                  <a:pt x="2700" y="13745"/>
                </a:lnTo>
                <a:lnTo>
                  <a:pt x="2700" y="14727"/>
                </a:lnTo>
                <a:lnTo>
                  <a:pt x="18900" y="14727"/>
                </a:lnTo>
                <a:cubicBezTo>
                  <a:pt x="18900" y="14727"/>
                  <a:pt x="18900" y="13745"/>
                  <a:pt x="18900" y="13745"/>
                </a:cubicBezTo>
                <a:close/>
                <a:moveTo>
                  <a:pt x="16200" y="15709"/>
                </a:moveTo>
                <a:lnTo>
                  <a:pt x="2700" y="15709"/>
                </a:lnTo>
                <a:lnTo>
                  <a:pt x="2700" y="16691"/>
                </a:lnTo>
                <a:lnTo>
                  <a:pt x="16200" y="16691"/>
                </a:lnTo>
                <a:cubicBezTo>
                  <a:pt x="16200" y="16691"/>
                  <a:pt x="16200" y="15709"/>
                  <a:pt x="16200" y="15709"/>
                </a:cubicBezTo>
                <a:close/>
                <a:moveTo>
                  <a:pt x="20250" y="19924"/>
                </a:moveTo>
                <a:lnTo>
                  <a:pt x="18702" y="18798"/>
                </a:lnTo>
                <a:cubicBezTo>
                  <a:pt x="18580" y="18710"/>
                  <a:pt x="18412" y="18655"/>
                  <a:pt x="18225" y="18655"/>
                </a:cubicBezTo>
                <a:cubicBezTo>
                  <a:pt x="18039" y="18655"/>
                  <a:pt x="17870" y="18710"/>
                  <a:pt x="17748" y="18798"/>
                </a:cubicBezTo>
                <a:lnTo>
                  <a:pt x="15525" y="20415"/>
                </a:lnTo>
                <a:lnTo>
                  <a:pt x="13302" y="18798"/>
                </a:lnTo>
                <a:cubicBezTo>
                  <a:pt x="13180" y="18710"/>
                  <a:pt x="13012" y="18655"/>
                  <a:pt x="12825" y="18655"/>
                </a:cubicBezTo>
                <a:cubicBezTo>
                  <a:pt x="12604" y="18655"/>
                  <a:pt x="12418" y="18737"/>
                  <a:pt x="12294" y="18856"/>
                </a:cubicBezTo>
                <a:lnTo>
                  <a:pt x="12285" y="18851"/>
                </a:lnTo>
                <a:lnTo>
                  <a:pt x="10800" y="20291"/>
                </a:lnTo>
                <a:lnTo>
                  <a:pt x="9315" y="18851"/>
                </a:lnTo>
                <a:lnTo>
                  <a:pt x="9306" y="18856"/>
                </a:lnTo>
                <a:cubicBezTo>
                  <a:pt x="9182" y="18737"/>
                  <a:pt x="8996" y="18655"/>
                  <a:pt x="8775" y="18655"/>
                </a:cubicBezTo>
                <a:cubicBezTo>
                  <a:pt x="8589" y="18655"/>
                  <a:pt x="8420" y="18710"/>
                  <a:pt x="8298" y="18798"/>
                </a:cubicBezTo>
                <a:lnTo>
                  <a:pt x="6075" y="20415"/>
                </a:lnTo>
                <a:lnTo>
                  <a:pt x="3852" y="18798"/>
                </a:lnTo>
                <a:cubicBezTo>
                  <a:pt x="3730" y="18710"/>
                  <a:pt x="3562" y="18655"/>
                  <a:pt x="3375" y="18655"/>
                </a:cubicBezTo>
                <a:cubicBezTo>
                  <a:pt x="3188" y="18655"/>
                  <a:pt x="3020" y="18710"/>
                  <a:pt x="2898" y="18798"/>
                </a:cubicBezTo>
                <a:lnTo>
                  <a:pt x="1350" y="19924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19924"/>
                  <a:pt x="20250" y="19924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62" y="21600"/>
                  <a:pt x="1031" y="21545"/>
                  <a:pt x="1152" y="21456"/>
                </a:cubicBezTo>
                <a:lnTo>
                  <a:pt x="3375" y="19840"/>
                </a:lnTo>
                <a:lnTo>
                  <a:pt x="5598" y="21456"/>
                </a:lnTo>
                <a:cubicBezTo>
                  <a:pt x="5720" y="21545"/>
                  <a:pt x="5888" y="21600"/>
                  <a:pt x="6075" y="21600"/>
                </a:cubicBezTo>
                <a:cubicBezTo>
                  <a:pt x="6262" y="21600"/>
                  <a:pt x="6431" y="21545"/>
                  <a:pt x="6552" y="21456"/>
                </a:cubicBezTo>
                <a:lnTo>
                  <a:pt x="8702" y="19893"/>
                </a:lnTo>
                <a:lnTo>
                  <a:pt x="10260" y="21404"/>
                </a:lnTo>
                <a:lnTo>
                  <a:pt x="10269" y="21399"/>
                </a:lnTo>
                <a:cubicBezTo>
                  <a:pt x="10393" y="21518"/>
                  <a:pt x="10579" y="21600"/>
                  <a:pt x="10800" y="21600"/>
                </a:cubicBezTo>
                <a:cubicBezTo>
                  <a:pt x="11021" y="21600"/>
                  <a:pt x="11207" y="21518"/>
                  <a:pt x="11331" y="21399"/>
                </a:cubicBezTo>
                <a:lnTo>
                  <a:pt x="11340" y="21404"/>
                </a:lnTo>
                <a:lnTo>
                  <a:pt x="12898" y="19893"/>
                </a:lnTo>
                <a:lnTo>
                  <a:pt x="15048" y="21456"/>
                </a:lnTo>
                <a:cubicBezTo>
                  <a:pt x="15170" y="21545"/>
                  <a:pt x="15338" y="21600"/>
                  <a:pt x="15525" y="21600"/>
                </a:cubicBezTo>
                <a:cubicBezTo>
                  <a:pt x="15712" y="21600"/>
                  <a:pt x="15881" y="21545"/>
                  <a:pt x="16002" y="21456"/>
                </a:cubicBezTo>
                <a:lnTo>
                  <a:pt x="18225" y="19840"/>
                </a:lnTo>
                <a:lnTo>
                  <a:pt x="20448" y="21456"/>
                </a:lnTo>
                <a:cubicBezTo>
                  <a:pt x="20570" y="21545"/>
                  <a:pt x="2073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16200" y="1964"/>
                </a:moveTo>
                <a:lnTo>
                  <a:pt x="14850" y="1964"/>
                </a:lnTo>
                <a:lnTo>
                  <a:pt x="14850" y="7855"/>
                </a:lnTo>
                <a:lnTo>
                  <a:pt x="16200" y="7855"/>
                </a:lnTo>
                <a:cubicBezTo>
                  <a:pt x="16200" y="7855"/>
                  <a:pt x="16200" y="1964"/>
                  <a:pt x="16200" y="1964"/>
                </a:cubicBezTo>
                <a:close/>
                <a:moveTo>
                  <a:pt x="18900" y="1964"/>
                </a:moveTo>
                <a:lnTo>
                  <a:pt x="17550" y="1964"/>
                </a:lnTo>
                <a:lnTo>
                  <a:pt x="17550" y="7855"/>
                </a:lnTo>
                <a:lnTo>
                  <a:pt x="18900" y="7855"/>
                </a:lnTo>
                <a:cubicBezTo>
                  <a:pt x="18900" y="7855"/>
                  <a:pt x="18900" y="1964"/>
                  <a:pt x="18900" y="1964"/>
                </a:cubicBezTo>
                <a:close/>
                <a:moveTo>
                  <a:pt x="10800" y="1964"/>
                </a:moveTo>
                <a:lnTo>
                  <a:pt x="9450" y="1964"/>
                </a:lnTo>
                <a:lnTo>
                  <a:pt x="9450" y="7855"/>
                </a:lnTo>
                <a:lnTo>
                  <a:pt x="10800" y="7855"/>
                </a:lnTo>
                <a:cubicBezTo>
                  <a:pt x="10800" y="7855"/>
                  <a:pt x="10800" y="1964"/>
                  <a:pt x="10800" y="1964"/>
                </a:cubicBezTo>
                <a:close/>
                <a:moveTo>
                  <a:pt x="8100" y="1964"/>
                </a:moveTo>
                <a:lnTo>
                  <a:pt x="5400" y="1964"/>
                </a:lnTo>
                <a:lnTo>
                  <a:pt x="5400" y="7855"/>
                </a:lnTo>
                <a:lnTo>
                  <a:pt x="8100" y="7855"/>
                </a:lnTo>
                <a:cubicBezTo>
                  <a:pt x="8100" y="7855"/>
                  <a:pt x="8100" y="1964"/>
                  <a:pt x="8100" y="1964"/>
                </a:cubicBezTo>
                <a:close/>
                <a:moveTo>
                  <a:pt x="13500" y="1964"/>
                </a:moveTo>
                <a:lnTo>
                  <a:pt x="12150" y="1964"/>
                </a:lnTo>
                <a:lnTo>
                  <a:pt x="12150" y="7855"/>
                </a:lnTo>
                <a:lnTo>
                  <a:pt x="13500" y="7855"/>
                </a:lnTo>
                <a:cubicBezTo>
                  <a:pt x="13500" y="7855"/>
                  <a:pt x="13500" y="1964"/>
                  <a:pt x="13500" y="196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8" name="Shape 2828"/>
          <p:cNvSpPr/>
          <p:nvPr/>
        </p:nvSpPr>
        <p:spPr>
          <a:xfrm>
            <a:off x="21038023" y="391960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2400" y="13745"/>
                </a:lnTo>
                <a:lnTo>
                  <a:pt x="2400" y="14727"/>
                </a:lnTo>
                <a:lnTo>
                  <a:pt x="14400" y="14727"/>
                </a:lnTo>
                <a:cubicBezTo>
                  <a:pt x="14400" y="14727"/>
                  <a:pt x="14400" y="13745"/>
                  <a:pt x="14400" y="13745"/>
                </a:cubicBezTo>
                <a:close/>
                <a:moveTo>
                  <a:pt x="15600" y="20092"/>
                </a:moveTo>
                <a:lnTo>
                  <a:pt x="13624" y="18798"/>
                </a:lnTo>
                <a:cubicBezTo>
                  <a:pt x="13515" y="18710"/>
                  <a:pt x="13366" y="18655"/>
                  <a:pt x="13200" y="18655"/>
                </a:cubicBezTo>
                <a:cubicBezTo>
                  <a:pt x="13035" y="18655"/>
                  <a:pt x="12885" y="18710"/>
                  <a:pt x="12776" y="18798"/>
                </a:cubicBezTo>
                <a:lnTo>
                  <a:pt x="10800" y="20415"/>
                </a:lnTo>
                <a:lnTo>
                  <a:pt x="8824" y="18798"/>
                </a:lnTo>
                <a:cubicBezTo>
                  <a:pt x="8716" y="18710"/>
                  <a:pt x="8566" y="18655"/>
                  <a:pt x="8400" y="18655"/>
                </a:cubicBezTo>
                <a:cubicBezTo>
                  <a:pt x="8235" y="18655"/>
                  <a:pt x="8085" y="18710"/>
                  <a:pt x="7976" y="18798"/>
                </a:cubicBezTo>
                <a:lnTo>
                  <a:pt x="6000" y="20415"/>
                </a:lnTo>
                <a:lnTo>
                  <a:pt x="4024" y="18798"/>
                </a:lnTo>
                <a:cubicBezTo>
                  <a:pt x="3915" y="18710"/>
                  <a:pt x="3766" y="18655"/>
                  <a:pt x="3600" y="18655"/>
                </a:cubicBezTo>
                <a:cubicBezTo>
                  <a:pt x="3435" y="18655"/>
                  <a:pt x="3285" y="18710"/>
                  <a:pt x="3176" y="18798"/>
                </a:cubicBezTo>
                <a:lnTo>
                  <a:pt x="1200" y="20092"/>
                </a:lnTo>
                <a:lnTo>
                  <a:pt x="1200" y="3927"/>
                </a:lnTo>
                <a:lnTo>
                  <a:pt x="15600" y="3927"/>
                </a:lnTo>
                <a:cubicBezTo>
                  <a:pt x="15600" y="3927"/>
                  <a:pt x="15600" y="20092"/>
                  <a:pt x="15600" y="20092"/>
                </a:cubicBezTo>
                <a:close/>
                <a:moveTo>
                  <a:pt x="16200" y="2945"/>
                </a:moveTo>
                <a:lnTo>
                  <a:pt x="600" y="2945"/>
                </a:lnTo>
                <a:cubicBezTo>
                  <a:pt x="268" y="2945"/>
                  <a:pt x="0" y="3165"/>
                  <a:pt x="0" y="3436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766" y="21600"/>
                  <a:pt x="916" y="21545"/>
                  <a:pt x="1024" y="21456"/>
                </a:cubicBezTo>
                <a:lnTo>
                  <a:pt x="3553" y="19801"/>
                </a:lnTo>
                <a:lnTo>
                  <a:pt x="5576" y="21456"/>
                </a:lnTo>
                <a:cubicBezTo>
                  <a:pt x="5684" y="21545"/>
                  <a:pt x="5834" y="21600"/>
                  <a:pt x="6000" y="21600"/>
                </a:cubicBezTo>
                <a:cubicBezTo>
                  <a:pt x="6166" y="21600"/>
                  <a:pt x="6316" y="21545"/>
                  <a:pt x="6424" y="21456"/>
                </a:cubicBezTo>
                <a:lnTo>
                  <a:pt x="8400" y="19840"/>
                </a:lnTo>
                <a:lnTo>
                  <a:pt x="10376" y="21456"/>
                </a:lnTo>
                <a:cubicBezTo>
                  <a:pt x="10484" y="21545"/>
                  <a:pt x="10634" y="21600"/>
                  <a:pt x="10800" y="21600"/>
                </a:cubicBezTo>
                <a:cubicBezTo>
                  <a:pt x="10966" y="21600"/>
                  <a:pt x="11116" y="21545"/>
                  <a:pt x="11224" y="21456"/>
                </a:cubicBezTo>
                <a:lnTo>
                  <a:pt x="13247" y="19801"/>
                </a:lnTo>
                <a:lnTo>
                  <a:pt x="15776" y="21456"/>
                </a:lnTo>
                <a:cubicBezTo>
                  <a:pt x="15884" y="21545"/>
                  <a:pt x="16034" y="21600"/>
                  <a:pt x="16200" y="21600"/>
                </a:cubicBezTo>
                <a:cubicBezTo>
                  <a:pt x="16532" y="21600"/>
                  <a:pt x="16800" y="21380"/>
                  <a:pt x="16800" y="21109"/>
                </a:cubicBezTo>
                <a:lnTo>
                  <a:pt x="16800" y="3436"/>
                </a:lnTo>
                <a:cubicBezTo>
                  <a:pt x="16800" y="3165"/>
                  <a:pt x="16532" y="2945"/>
                  <a:pt x="16200" y="2945"/>
                </a:cubicBezTo>
                <a:moveTo>
                  <a:pt x="8400" y="11782"/>
                </a:moveTo>
                <a:lnTo>
                  <a:pt x="2400" y="11782"/>
                </a:lnTo>
                <a:lnTo>
                  <a:pt x="2400" y="12764"/>
                </a:lnTo>
                <a:lnTo>
                  <a:pt x="8400" y="12764"/>
                </a:lnTo>
                <a:cubicBezTo>
                  <a:pt x="8400" y="12764"/>
                  <a:pt x="8400" y="11782"/>
                  <a:pt x="8400" y="11782"/>
                </a:cubicBezTo>
                <a:close/>
                <a:moveTo>
                  <a:pt x="21000" y="0"/>
                </a:moveTo>
                <a:lnTo>
                  <a:pt x="5400" y="0"/>
                </a:lnTo>
                <a:cubicBezTo>
                  <a:pt x="5068" y="0"/>
                  <a:pt x="4800" y="220"/>
                  <a:pt x="4800" y="491"/>
                </a:cubicBezTo>
                <a:lnTo>
                  <a:pt x="4800" y="1964"/>
                </a:lnTo>
                <a:lnTo>
                  <a:pt x="6000" y="1964"/>
                </a:lnTo>
                <a:lnTo>
                  <a:pt x="6000" y="982"/>
                </a:lnTo>
                <a:lnTo>
                  <a:pt x="20400" y="982"/>
                </a:lnTo>
                <a:lnTo>
                  <a:pt x="20400" y="17146"/>
                </a:lnTo>
                <a:lnTo>
                  <a:pt x="18424" y="15853"/>
                </a:lnTo>
                <a:cubicBezTo>
                  <a:pt x="18316" y="15764"/>
                  <a:pt x="18166" y="15709"/>
                  <a:pt x="18000" y="15709"/>
                </a:cubicBezTo>
                <a:lnTo>
                  <a:pt x="18000" y="16894"/>
                </a:lnTo>
                <a:lnTo>
                  <a:pt x="18047" y="16856"/>
                </a:lnTo>
                <a:lnTo>
                  <a:pt x="20576" y="18511"/>
                </a:lnTo>
                <a:cubicBezTo>
                  <a:pt x="20684" y="18599"/>
                  <a:pt x="20834" y="18655"/>
                  <a:pt x="21000" y="18655"/>
                </a:cubicBezTo>
                <a:cubicBezTo>
                  <a:pt x="21332" y="18655"/>
                  <a:pt x="21600" y="18435"/>
                  <a:pt x="21600" y="18164"/>
                </a:cubicBezTo>
                <a:lnTo>
                  <a:pt x="21600" y="491"/>
                </a:lnTo>
                <a:cubicBezTo>
                  <a:pt x="21600" y="220"/>
                  <a:pt x="21332" y="0"/>
                  <a:pt x="21000" y="0"/>
                </a:cubicBezTo>
                <a:moveTo>
                  <a:pt x="10800" y="15709"/>
                </a:moveTo>
                <a:lnTo>
                  <a:pt x="2400" y="15709"/>
                </a:lnTo>
                <a:lnTo>
                  <a:pt x="2400" y="16691"/>
                </a:lnTo>
                <a:lnTo>
                  <a:pt x="10800" y="16691"/>
                </a:lnTo>
                <a:cubicBezTo>
                  <a:pt x="10800" y="16691"/>
                  <a:pt x="10800" y="15709"/>
                  <a:pt x="10800" y="15709"/>
                </a:cubicBezTo>
                <a:close/>
                <a:moveTo>
                  <a:pt x="12000" y="4909"/>
                </a:moveTo>
                <a:lnTo>
                  <a:pt x="10800" y="4909"/>
                </a:lnTo>
                <a:lnTo>
                  <a:pt x="10800" y="9818"/>
                </a:lnTo>
                <a:lnTo>
                  <a:pt x="12000" y="9818"/>
                </a:lnTo>
                <a:cubicBezTo>
                  <a:pt x="12000" y="9818"/>
                  <a:pt x="12000" y="4909"/>
                  <a:pt x="12000" y="4909"/>
                </a:cubicBezTo>
                <a:close/>
                <a:moveTo>
                  <a:pt x="14400" y="4909"/>
                </a:moveTo>
                <a:lnTo>
                  <a:pt x="13200" y="4909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4909"/>
                  <a:pt x="14400" y="4909"/>
                </a:cubicBezTo>
                <a:close/>
                <a:moveTo>
                  <a:pt x="7200" y="4909"/>
                </a:moveTo>
                <a:lnTo>
                  <a:pt x="4800" y="4909"/>
                </a:lnTo>
                <a:lnTo>
                  <a:pt x="4800" y="9818"/>
                </a:lnTo>
                <a:lnTo>
                  <a:pt x="7200" y="9818"/>
                </a:lnTo>
                <a:cubicBezTo>
                  <a:pt x="7200" y="9818"/>
                  <a:pt x="7200" y="4909"/>
                  <a:pt x="7200" y="4909"/>
                </a:cubicBezTo>
                <a:close/>
                <a:moveTo>
                  <a:pt x="3600" y="4909"/>
                </a:moveTo>
                <a:lnTo>
                  <a:pt x="2400" y="4909"/>
                </a:lnTo>
                <a:lnTo>
                  <a:pt x="2400" y="9818"/>
                </a:lnTo>
                <a:lnTo>
                  <a:pt x="3600" y="9818"/>
                </a:lnTo>
                <a:cubicBezTo>
                  <a:pt x="3600" y="9818"/>
                  <a:pt x="3600" y="4909"/>
                  <a:pt x="3600" y="4909"/>
                </a:cubicBezTo>
                <a:close/>
                <a:moveTo>
                  <a:pt x="9600" y="4909"/>
                </a:moveTo>
                <a:lnTo>
                  <a:pt x="8400" y="4909"/>
                </a:lnTo>
                <a:lnTo>
                  <a:pt x="8400" y="9818"/>
                </a:lnTo>
                <a:lnTo>
                  <a:pt x="9600" y="9818"/>
                </a:lnTo>
                <a:cubicBezTo>
                  <a:pt x="9600" y="9818"/>
                  <a:pt x="9600" y="4909"/>
                  <a:pt x="9600" y="4909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9" name="Shape 2829"/>
          <p:cNvSpPr/>
          <p:nvPr/>
        </p:nvSpPr>
        <p:spPr>
          <a:xfrm>
            <a:off x="22053760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2764"/>
                </a:moveTo>
                <a:cubicBezTo>
                  <a:pt x="10529" y="12764"/>
                  <a:pt x="10309" y="12544"/>
                  <a:pt x="10309" y="12273"/>
                </a:cubicBezTo>
                <a:cubicBezTo>
                  <a:pt x="10309" y="12001"/>
                  <a:pt x="10529" y="11782"/>
                  <a:pt x="10800" y="11782"/>
                </a:cubicBezTo>
                <a:cubicBezTo>
                  <a:pt x="11071" y="11782"/>
                  <a:pt x="11291" y="12001"/>
                  <a:pt x="11291" y="12273"/>
                </a:cubicBezTo>
                <a:cubicBezTo>
                  <a:pt x="11291" y="12544"/>
                  <a:pt x="11071" y="12764"/>
                  <a:pt x="10800" y="12764"/>
                </a:cubicBezTo>
                <a:moveTo>
                  <a:pt x="10800" y="10800"/>
                </a:moveTo>
                <a:cubicBezTo>
                  <a:pt x="9987" y="10800"/>
                  <a:pt x="9327" y="11460"/>
                  <a:pt x="9327" y="12273"/>
                </a:cubicBezTo>
                <a:cubicBezTo>
                  <a:pt x="9327" y="13086"/>
                  <a:pt x="9987" y="13745"/>
                  <a:pt x="10800" y="13745"/>
                </a:cubicBezTo>
                <a:cubicBezTo>
                  <a:pt x="11613" y="13745"/>
                  <a:pt x="12273" y="13086"/>
                  <a:pt x="12273" y="12273"/>
                </a:cubicBezTo>
                <a:cubicBezTo>
                  <a:pt x="12273" y="11460"/>
                  <a:pt x="11613" y="10800"/>
                  <a:pt x="10800" y="10800"/>
                </a:cubicBezTo>
                <a:moveTo>
                  <a:pt x="20469" y="11563"/>
                </a:moveTo>
                <a:lnTo>
                  <a:pt x="19745" y="13686"/>
                </a:lnTo>
                <a:cubicBezTo>
                  <a:pt x="17492" y="14931"/>
                  <a:pt x="14436" y="15709"/>
                  <a:pt x="11045" y="15709"/>
                </a:cubicBezTo>
                <a:cubicBezTo>
                  <a:pt x="7337" y="15709"/>
                  <a:pt x="4024" y="14783"/>
                  <a:pt x="1732" y="13326"/>
                </a:cubicBezTo>
                <a:lnTo>
                  <a:pt x="1132" y="11568"/>
                </a:lnTo>
                <a:cubicBezTo>
                  <a:pt x="1132" y="11568"/>
                  <a:pt x="982" y="11171"/>
                  <a:pt x="982" y="10800"/>
                </a:cubicBezTo>
                <a:cubicBezTo>
                  <a:pt x="982" y="9718"/>
                  <a:pt x="1863" y="8836"/>
                  <a:pt x="2945" y="8836"/>
                </a:cubicBezTo>
                <a:lnTo>
                  <a:pt x="18655" y="8836"/>
                </a:lnTo>
                <a:cubicBezTo>
                  <a:pt x="19738" y="8836"/>
                  <a:pt x="20618" y="9718"/>
                  <a:pt x="20618" y="10800"/>
                </a:cubicBezTo>
                <a:cubicBezTo>
                  <a:pt x="20618" y="11173"/>
                  <a:pt x="20469" y="11563"/>
                  <a:pt x="20469" y="11563"/>
                </a:cubicBezTo>
                <a:moveTo>
                  <a:pt x="17640" y="19860"/>
                </a:moveTo>
                <a:cubicBezTo>
                  <a:pt x="17636" y="19861"/>
                  <a:pt x="17438" y="20618"/>
                  <a:pt x="16691" y="20618"/>
                </a:cubicBezTo>
                <a:lnTo>
                  <a:pt x="4909" y="20618"/>
                </a:lnTo>
                <a:cubicBezTo>
                  <a:pt x="4169" y="20618"/>
                  <a:pt x="3960" y="19860"/>
                  <a:pt x="3960" y="19860"/>
                </a:cubicBezTo>
                <a:lnTo>
                  <a:pt x="2196" y="14687"/>
                </a:lnTo>
                <a:cubicBezTo>
                  <a:pt x="4567" y="15928"/>
                  <a:pt x="7651" y="16691"/>
                  <a:pt x="11045" y="16691"/>
                </a:cubicBezTo>
                <a:cubicBezTo>
                  <a:pt x="14163" y="16691"/>
                  <a:pt x="17019" y="16046"/>
                  <a:pt x="19304" y="14981"/>
                </a:cubicBezTo>
                <a:cubicBezTo>
                  <a:pt x="19304" y="14981"/>
                  <a:pt x="17640" y="19860"/>
                  <a:pt x="17640" y="19860"/>
                </a:cubicBezTo>
                <a:close/>
                <a:moveTo>
                  <a:pt x="10800" y="982"/>
                </a:moveTo>
                <a:cubicBezTo>
                  <a:pt x="13436" y="982"/>
                  <a:pt x="15657" y="3875"/>
                  <a:pt x="16409" y="7855"/>
                </a:cubicBezTo>
                <a:lnTo>
                  <a:pt x="5191" y="7855"/>
                </a:lnTo>
                <a:cubicBezTo>
                  <a:pt x="5943" y="3875"/>
                  <a:pt x="8164" y="982"/>
                  <a:pt x="10800" y="982"/>
                </a:cubicBezTo>
                <a:moveTo>
                  <a:pt x="18655" y="7855"/>
                </a:moveTo>
                <a:lnTo>
                  <a:pt x="17401" y="7855"/>
                </a:lnTo>
                <a:cubicBezTo>
                  <a:pt x="16584" y="3325"/>
                  <a:pt x="13944" y="0"/>
                  <a:pt x="10800" y="0"/>
                </a:cubicBezTo>
                <a:cubicBezTo>
                  <a:pt x="7656" y="0"/>
                  <a:pt x="5016" y="3325"/>
                  <a:pt x="4200" y="7855"/>
                </a:cubicBezTo>
                <a:lnTo>
                  <a:pt x="2945" y="7855"/>
                </a:lnTo>
                <a:cubicBezTo>
                  <a:pt x="1319" y="7855"/>
                  <a:pt x="0" y="9174"/>
                  <a:pt x="0" y="10800"/>
                </a:cubicBezTo>
                <a:cubicBezTo>
                  <a:pt x="0" y="11348"/>
                  <a:pt x="151" y="11732"/>
                  <a:pt x="151" y="11732"/>
                </a:cubicBezTo>
                <a:lnTo>
                  <a:pt x="3118" y="20435"/>
                </a:lnTo>
                <a:cubicBezTo>
                  <a:pt x="3118" y="20435"/>
                  <a:pt x="3452" y="21600"/>
                  <a:pt x="4909" y="21600"/>
                </a:cubicBezTo>
                <a:lnTo>
                  <a:pt x="16691" y="21600"/>
                </a:lnTo>
                <a:cubicBezTo>
                  <a:pt x="18153" y="21600"/>
                  <a:pt x="18565" y="20194"/>
                  <a:pt x="18570" y="20177"/>
                </a:cubicBezTo>
                <a:lnTo>
                  <a:pt x="21437" y="11727"/>
                </a:lnTo>
                <a:cubicBezTo>
                  <a:pt x="21534" y="11434"/>
                  <a:pt x="21600" y="11126"/>
                  <a:pt x="21600" y="10800"/>
                </a:cubicBezTo>
                <a:cubicBezTo>
                  <a:pt x="21600" y="9174"/>
                  <a:pt x="20281" y="7855"/>
                  <a:pt x="18655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1" name="Shape 2831"/>
          <p:cNvSpPr/>
          <p:nvPr/>
        </p:nvSpPr>
        <p:spPr>
          <a:xfrm>
            <a:off x="1834724" y="6662093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  <a:moveTo>
                  <a:pt x="5400" y="12764"/>
                </a:moveTo>
                <a:cubicBezTo>
                  <a:pt x="5028" y="12764"/>
                  <a:pt x="4725" y="12983"/>
                  <a:pt x="4725" y="13255"/>
                </a:cubicBezTo>
                <a:cubicBezTo>
                  <a:pt x="4725" y="13390"/>
                  <a:pt x="4800" y="13513"/>
                  <a:pt x="4923" y="13602"/>
                </a:cubicBezTo>
                <a:lnTo>
                  <a:pt x="10323" y="17529"/>
                </a:lnTo>
                <a:cubicBezTo>
                  <a:pt x="10445" y="17618"/>
                  <a:pt x="10614" y="17673"/>
                  <a:pt x="10800" y="17673"/>
                </a:cubicBezTo>
                <a:cubicBezTo>
                  <a:pt x="10986" y="17673"/>
                  <a:pt x="11155" y="17618"/>
                  <a:pt x="11277" y="17529"/>
                </a:cubicBezTo>
                <a:lnTo>
                  <a:pt x="16677" y="13602"/>
                </a:lnTo>
                <a:cubicBezTo>
                  <a:pt x="16800" y="13513"/>
                  <a:pt x="16875" y="13390"/>
                  <a:pt x="16875" y="13255"/>
                </a:cubicBezTo>
                <a:cubicBezTo>
                  <a:pt x="16875" y="12983"/>
                  <a:pt x="16572" y="12764"/>
                  <a:pt x="16200" y="12764"/>
                </a:cubicBezTo>
                <a:cubicBezTo>
                  <a:pt x="16014" y="12764"/>
                  <a:pt x="15845" y="12819"/>
                  <a:pt x="15723" y="12907"/>
                </a:cubicBezTo>
                <a:lnTo>
                  <a:pt x="11475" y="15997"/>
                </a:lnTo>
                <a:lnTo>
                  <a:pt x="11475" y="491"/>
                </a:lnTo>
                <a:cubicBezTo>
                  <a:pt x="11475" y="220"/>
                  <a:pt x="11172" y="0"/>
                  <a:pt x="10800" y="0"/>
                </a:cubicBezTo>
                <a:cubicBezTo>
                  <a:pt x="10428" y="0"/>
                  <a:pt x="10125" y="220"/>
                  <a:pt x="10125" y="491"/>
                </a:cubicBezTo>
                <a:lnTo>
                  <a:pt x="10125" y="15997"/>
                </a:lnTo>
                <a:lnTo>
                  <a:pt x="5877" y="12907"/>
                </a:lnTo>
                <a:cubicBezTo>
                  <a:pt x="5755" y="12819"/>
                  <a:pt x="5586" y="12764"/>
                  <a:pt x="5400" y="127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2" name="Shape 2832"/>
          <p:cNvSpPr/>
          <p:nvPr/>
        </p:nvSpPr>
        <p:spPr>
          <a:xfrm>
            <a:off x="2901247" y="6662093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4909"/>
                </a:moveTo>
                <a:cubicBezTo>
                  <a:pt x="5586" y="4909"/>
                  <a:pt x="5755" y="4855"/>
                  <a:pt x="5877" y="4765"/>
                </a:cubicBezTo>
                <a:lnTo>
                  <a:pt x="10125" y="1676"/>
                </a:lnTo>
                <a:lnTo>
                  <a:pt x="10125" y="17182"/>
                </a:lnTo>
                <a:cubicBezTo>
                  <a:pt x="10125" y="17453"/>
                  <a:pt x="10428" y="17673"/>
                  <a:pt x="10800" y="17673"/>
                </a:cubicBezTo>
                <a:cubicBezTo>
                  <a:pt x="11172" y="17673"/>
                  <a:pt x="11475" y="17453"/>
                  <a:pt x="11475" y="17182"/>
                </a:cubicBezTo>
                <a:lnTo>
                  <a:pt x="11475" y="1676"/>
                </a:lnTo>
                <a:lnTo>
                  <a:pt x="15723" y="4765"/>
                </a:lnTo>
                <a:cubicBezTo>
                  <a:pt x="15845" y="4855"/>
                  <a:pt x="16014" y="4909"/>
                  <a:pt x="16200" y="4909"/>
                </a:cubicBezTo>
                <a:cubicBezTo>
                  <a:pt x="16572" y="4909"/>
                  <a:pt x="16875" y="4690"/>
                  <a:pt x="16875" y="4418"/>
                </a:cubicBezTo>
                <a:cubicBezTo>
                  <a:pt x="16875" y="4283"/>
                  <a:pt x="16800" y="4161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0" y="4161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3" name="Shape 2833"/>
          <p:cNvSpPr/>
          <p:nvPr/>
        </p:nvSpPr>
        <p:spPr>
          <a:xfrm>
            <a:off x="3891587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  <a:moveTo>
                  <a:pt x="7140" y="14181"/>
                </a:moveTo>
                <a:cubicBezTo>
                  <a:pt x="6970" y="13741"/>
                  <a:pt x="6873" y="13264"/>
                  <a:pt x="6873" y="12764"/>
                </a:cubicBezTo>
                <a:cubicBezTo>
                  <a:pt x="6873" y="10595"/>
                  <a:pt x="8631" y="8836"/>
                  <a:pt x="10800" y="8836"/>
                </a:cubicBezTo>
                <a:cubicBezTo>
                  <a:pt x="11300" y="8836"/>
                  <a:pt x="11777" y="8934"/>
                  <a:pt x="12217" y="9104"/>
                </a:cubicBezTo>
                <a:lnTo>
                  <a:pt x="13217" y="8494"/>
                </a:lnTo>
                <a:cubicBezTo>
                  <a:pt x="12503" y="8089"/>
                  <a:pt x="11680" y="7855"/>
                  <a:pt x="10800" y="7855"/>
                </a:cubicBezTo>
                <a:cubicBezTo>
                  <a:pt x="8089" y="7855"/>
                  <a:pt x="5891" y="10053"/>
                  <a:pt x="5891" y="12764"/>
                </a:cubicBezTo>
                <a:cubicBezTo>
                  <a:pt x="5891" y="13643"/>
                  <a:pt x="6125" y="14467"/>
                  <a:pt x="6530" y="15181"/>
                </a:cubicBezTo>
                <a:cubicBezTo>
                  <a:pt x="6530" y="15181"/>
                  <a:pt x="7140" y="14181"/>
                  <a:pt x="7140" y="14181"/>
                </a:cubicBezTo>
                <a:close/>
                <a:moveTo>
                  <a:pt x="14460" y="11347"/>
                </a:moveTo>
                <a:cubicBezTo>
                  <a:pt x="14630" y="11787"/>
                  <a:pt x="14727" y="12263"/>
                  <a:pt x="14727" y="12764"/>
                </a:cubicBezTo>
                <a:cubicBezTo>
                  <a:pt x="14727" y="14932"/>
                  <a:pt x="12969" y="16691"/>
                  <a:pt x="10800" y="16691"/>
                </a:cubicBezTo>
                <a:cubicBezTo>
                  <a:pt x="10300" y="16691"/>
                  <a:pt x="9823" y="16594"/>
                  <a:pt x="9383" y="16423"/>
                </a:cubicBezTo>
                <a:lnTo>
                  <a:pt x="8383" y="17034"/>
                </a:lnTo>
                <a:cubicBezTo>
                  <a:pt x="9097" y="17439"/>
                  <a:pt x="9920" y="17673"/>
                  <a:pt x="10800" y="17673"/>
                </a:cubicBezTo>
                <a:cubicBezTo>
                  <a:pt x="13511" y="17673"/>
                  <a:pt x="15709" y="15475"/>
                  <a:pt x="15709" y="12764"/>
                </a:cubicBezTo>
                <a:cubicBezTo>
                  <a:pt x="15709" y="11884"/>
                  <a:pt x="15475" y="11061"/>
                  <a:pt x="15070" y="10346"/>
                </a:cubicBezTo>
                <a:cubicBezTo>
                  <a:pt x="15070" y="10346"/>
                  <a:pt x="14460" y="11347"/>
                  <a:pt x="14460" y="11347"/>
                </a:cubicBezTo>
                <a:close/>
                <a:moveTo>
                  <a:pt x="10453" y="12417"/>
                </a:moveTo>
                <a:cubicBezTo>
                  <a:pt x="10645" y="12225"/>
                  <a:pt x="10955" y="12225"/>
                  <a:pt x="11147" y="12417"/>
                </a:cubicBezTo>
                <a:cubicBezTo>
                  <a:pt x="11339" y="12609"/>
                  <a:pt x="11339" y="12919"/>
                  <a:pt x="11147" y="13111"/>
                </a:cubicBezTo>
                <a:cubicBezTo>
                  <a:pt x="10955" y="13303"/>
                  <a:pt x="10645" y="13303"/>
                  <a:pt x="10453" y="13111"/>
                </a:cubicBezTo>
                <a:cubicBezTo>
                  <a:pt x="10261" y="12919"/>
                  <a:pt x="10261" y="12609"/>
                  <a:pt x="10453" y="12417"/>
                </a:cubicBezTo>
                <a:moveTo>
                  <a:pt x="6144" y="17420"/>
                </a:moveTo>
                <a:lnTo>
                  <a:pt x="11842" y="13805"/>
                </a:lnTo>
                <a:lnTo>
                  <a:pt x="15456" y="8107"/>
                </a:lnTo>
                <a:lnTo>
                  <a:pt x="9759" y="11722"/>
                </a:lnTo>
                <a:cubicBezTo>
                  <a:pt x="9759" y="11722"/>
                  <a:pt x="6144" y="17420"/>
                  <a:pt x="6144" y="1742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4" name="Shape 2834"/>
          <p:cNvSpPr/>
          <p:nvPr/>
        </p:nvSpPr>
        <p:spPr>
          <a:xfrm>
            <a:off x="4958109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5" name="Shape 2835"/>
          <p:cNvSpPr/>
          <p:nvPr/>
        </p:nvSpPr>
        <p:spPr>
          <a:xfrm>
            <a:off x="6024631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18" y="5891"/>
                </a:moveTo>
                <a:lnTo>
                  <a:pt x="8345" y="5891"/>
                </a:lnTo>
                <a:cubicBezTo>
                  <a:pt x="8075" y="5891"/>
                  <a:pt x="7855" y="6111"/>
                  <a:pt x="7855" y="6382"/>
                </a:cubicBezTo>
                <a:cubicBezTo>
                  <a:pt x="7855" y="6653"/>
                  <a:pt x="8075" y="6873"/>
                  <a:pt x="8345" y="6873"/>
                </a:cubicBez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moveTo>
                  <a:pt x="6382" y="5891"/>
                </a:moveTo>
                <a:cubicBezTo>
                  <a:pt x="6111" y="5891"/>
                  <a:pt x="5891" y="6111"/>
                  <a:pt x="5891" y="6382"/>
                </a:cubicBezTo>
                <a:cubicBezTo>
                  <a:pt x="5891" y="6653"/>
                  <a:pt x="6111" y="6873"/>
                  <a:pt x="6382" y="6873"/>
                </a:cubicBezTo>
                <a:cubicBezTo>
                  <a:pt x="6653" y="6873"/>
                  <a:pt x="6873" y="6653"/>
                  <a:pt x="6873" y="6382"/>
                </a:cubicBezTo>
                <a:cubicBezTo>
                  <a:pt x="6873" y="6111"/>
                  <a:pt x="6653" y="5891"/>
                  <a:pt x="6382" y="5891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0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5891"/>
                </a:moveTo>
                <a:cubicBezTo>
                  <a:pt x="2184" y="5891"/>
                  <a:pt x="1964" y="6111"/>
                  <a:pt x="1964" y="6382"/>
                </a:cubicBezTo>
                <a:cubicBezTo>
                  <a:pt x="1964" y="6653"/>
                  <a:pt x="2184" y="6873"/>
                  <a:pt x="2455" y="6873"/>
                </a:cubicBezTo>
                <a:cubicBezTo>
                  <a:pt x="2725" y="6873"/>
                  <a:pt x="2945" y="6653"/>
                  <a:pt x="2945" y="6382"/>
                </a:cubicBezTo>
                <a:cubicBezTo>
                  <a:pt x="2945" y="6111"/>
                  <a:pt x="2725" y="5891"/>
                  <a:pt x="2455" y="5891"/>
                </a:cubicBezTo>
                <a:moveTo>
                  <a:pt x="4418" y="5891"/>
                </a:moveTo>
                <a:cubicBezTo>
                  <a:pt x="4147" y="5891"/>
                  <a:pt x="3927" y="6111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cubicBezTo>
                  <a:pt x="4689" y="6873"/>
                  <a:pt x="4909" y="6653"/>
                  <a:pt x="4909" y="6382"/>
                </a:cubicBezTo>
                <a:cubicBezTo>
                  <a:pt x="4909" y="6111"/>
                  <a:pt x="4689" y="5891"/>
                  <a:pt x="4418" y="5891"/>
                </a:cubicBezTo>
                <a:moveTo>
                  <a:pt x="16691" y="7855"/>
                </a:moveTo>
                <a:lnTo>
                  <a:pt x="982" y="7855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7855"/>
                  <a:pt x="16691" y="7855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6" name="Shape 2836"/>
          <p:cNvSpPr/>
          <p:nvPr/>
        </p:nvSpPr>
        <p:spPr>
          <a:xfrm>
            <a:off x="7091154" y="6738275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7" name="Shape 2837"/>
          <p:cNvSpPr/>
          <p:nvPr/>
        </p:nvSpPr>
        <p:spPr>
          <a:xfrm>
            <a:off x="8157677" y="6725578"/>
            <a:ext cx="558654" cy="4316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8667"/>
                </a:moveTo>
                <a:lnTo>
                  <a:pt x="12576" y="13341"/>
                </a:lnTo>
                <a:lnTo>
                  <a:pt x="16691" y="8016"/>
                </a:lnTo>
                <a:cubicBezTo>
                  <a:pt x="16691" y="8016"/>
                  <a:pt x="16691" y="18667"/>
                  <a:pt x="16691" y="18667"/>
                </a:cubicBezTo>
                <a:close/>
                <a:moveTo>
                  <a:pt x="15709" y="20329"/>
                </a:moveTo>
                <a:lnTo>
                  <a:pt x="1964" y="20329"/>
                </a:lnTo>
                <a:cubicBezTo>
                  <a:pt x="1719" y="20329"/>
                  <a:pt x="1498" y="20210"/>
                  <a:pt x="1326" y="20018"/>
                </a:cubicBezTo>
                <a:lnTo>
                  <a:pt x="5791" y="14240"/>
                </a:lnTo>
                <a:lnTo>
                  <a:pt x="7477" y="16421"/>
                </a:lnTo>
                <a:cubicBezTo>
                  <a:pt x="7853" y="16907"/>
                  <a:pt x="8344" y="17150"/>
                  <a:pt x="8836" y="17150"/>
                </a:cubicBezTo>
                <a:cubicBezTo>
                  <a:pt x="9329" y="17150"/>
                  <a:pt x="9821" y="16907"/>
                  <a:pt x="10195" y="16421"/>
                </a:cubicBezTo>
                <a:lnTo>
                  <a:pt x="11882" y="14240"/>
                </a:lnTo>
                <a:lnTo>
                  <a:pt x="16347" y="20018"/>
                </a:lnTo>
                <a:cubicBezTo>
                  <a:pt x="16175" y="20210"/>
                  <a:pt x="15954" y="20329"/>
                  <a:pt x="15709" y="20329"/>
                </a:cubicBezTo>
                <a:moveTo>
                  <a:pt x="982" y="8016"/>
                </a:moveTo>
                <a:lnTo>
                  <a:pt x="5097" y="13341"/>
                </a:lnTo>
                <a:lnTo>
                  <a:pt x="982" y="18667"/>
                </a:lnTo>
                <a:cubicBezTo>
                  <a:pt x="982" y="18667"/>
                  <a:pt x="982" y="8016"/>
                  <a:pt x="982" y="8016"/>
                </a:cubicBezTo>
                <a:close/>
                <a:moveTo>
                  <a:pt x="1964" y="6353"/>
                </a:moveTo>
                <a:lnTo>
                  <a:pt x="15709" y="6353"/>
                </a:lnTo>
                <a:cubicBezTo>
                  <a:pt x="15954" y="6353"/>
                  <a:pt x="16175" y="6474"/>
                  <a:pt x="16347" y="6665"/>
                </a:cubicBezTo>
                <a:lnTo>
                  <a:pt x="9502" y="15523"/>
                </a:lnTo>
                <a:cubicBezTo>
                  <a:pt x="9324" y="15752"/>
                  <a:pt x="9088" y="15880"/>
                  <a:pt x="8836" y="15880"/>
                </a:cubicBezTo>
                <a:cubicBezTo>
                  <a:pt x="8585" y="15880"/>
                  <a:pt x="8349" y="15752"/>
                  <a:pt x="8170" y="15523"/>
                </a:cubicBezTo>
                <a:lnTo>
                  <a:pt x="1326" y="6664"/>
                </a:lnTo>
                <a:cubicBezTo>
                  <a:pt x="1498" y="6474"/>
                  <a:pt x="1719" y="6353"/>
                  <a:pt x="1964" y="6353"/>
                </a:cubicBezTo>
                <a:moveTo>
                  <a:pt x="15709" y="5082"/>
                </a:moveTo>
                <a:lnTo>
                  <a:pt x="1964" y="5082"/>
                </a:lnTo>
                <a:cubicBezTo>
                  <a:pt x="879" y="5082"/>
                  <a:pt x="0" y="6220"/>
                  <a:pt x="0" y="7624"/>
                </a:cubicBezTo>
                <a:lnTo>
                  <a:pt x="0" y="19059"/>
                </a:lnTo>
                <a:cubicBezTo>
                  <a:pt x="0" y="20462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462"/>
                  <a:pt x="17673" y="19059"/>
                </a:cubicBezTo>
                <a:lnTo>
                  <a:pt x="17673" y="7624"/>
                </a:lnTo>
                <a:cubicBezTo>
                  <a:pt x="17673" y="6220"/>
                  <a:pt x="16794" y="5082"/>
                  <a:pt x="15709" y="5082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1138"/>
                  <a:pt x="3927" y="2541"/>
                </a:cubicBezTo>
                <a:lnTo>
                  <a:pt x="3927" y="3176"/>
                </a:lnTo>
                <a:cubicBezTo>
                  <a:pt x="3927" y="3528"/>
                  <a:pt x="4147" y="3812"/>
                  <a:pt x="4418" y="3812"/>
                </a:cubicBezTo>
                <a:cubicBezTo>
                  <a:pt x="4690" y="3812"/>
                  <a:pt x="4909" y="3528"/>
                  <a:pt x="4909" y="3176"/>
                </a:cubicBezTo>
                <a:lnTo>
                  <a:pt x="4909" y="2541"/>
                </a:lnTo>
                <a:cubicBezTo>
                  <a:pt x="4909" y="1840"/>
                  <a:pt x="5348" y="1271"/>
                  <a:pt x="5891" y="1271"/>
                </a:cubicBezTo>
                <a:lnTo>
                  <a:pt x="19636" y="1271"/>
                </a:lnTo>
                <a:cubicBezTo>
                  <a:pt x="20178" y="1271"/>
                  <a:pt x="20618" y="1840"/>
                  <a:pt x="20618" y="2541"/>
                </a:cubicBezTo>
                <a:lnTo>
                  <a:pt x="20618" y="13976"/>
                </a:lnTo>
                <a:cubicBezTo>
                  <a:pt x="20618" y="14678"/>
                  <a:pt x="20178" y="15247"/>
                  <a:pt x="19636" y="15247"/>
                </a:cubicBezTo>
                <a:lnTo>
                  <a:pt x="19145" y="15247"/>
                </a:lnTo>
                <a:cubicBezTo>
                  <a:pt x="18874" y="15247"/>
                  <a:pt x="18655" y="15532"/>
                  <a:pt x="18655" y="15882"/>
                </a:cubicBezTo>
                <a:cubicBezTo>
                  <a:pt x="18655" y="16234"/>
                  <a:pt x="18874" y="16518"/>
                  <a:pt x="19145" y="16518"/>
                </a:cubicBezTo>
                <a:lnTo>
                  <a:pt x="19636" y="16518"/>
                </a:lnTo>
                <a:cubicBezTo>
                  <a:pt x="20721" y="16518"/>
                  <a:pt x="21600" y="15380"/>
                  <a:pt x="21600" y="13976"/>
                </a:cubicBezTo>
                <a:lnTo>
                  <a:pt x="21600" y="2541"/>
                </a:lnTo>
                <a:cubicBezTo>
                  <a:pt x="21600" y="1138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8" name="Shape 2838"/>
          <p:cNvSpPr/>
          <p:nvPr/>
        </p:nvSpPr>
        <p:spPr>
          <a:xfrm>
            <a:off x="9224197" y="6712880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4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5" y="12000"/>
                  <a:pt x="13745" y="12269"/>
                  <a:pt x="13745" y="12600"/>
                </a:cubicBezTo>
                <a:cubicBezTo>
                  <a:pt x="13745" y="14589"/>
                  <a:pt x="12426" y="16200"/>
                  <a:pt x="10800" y="16200"/>
                </a:cubicBezTo>
                <a:cubicBezTo>
                  <a:pt x="9173" y="16200"/>
                  <a:pt x="7855" y="14589"/>
                  <a:pt x="7855" y="12600"/>
                </a:cubicBezTo>
                <a:cubicBezTo>
                  <a:pt x="7855" y="12269"/>
                  <a:pt x="7635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5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5"/>
                </a:lnTo>
                <a:cubicBezTo>
                  <a:pt x="23" y="12415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5"/>
                  <a:pt x="21543" y="1233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9" name="Shape 2839"/>
          <p:cNvSpPr/>
          <p:nvPr/>
        </p:nvSpPr>
        <p:spPr>
          <a:xfrm>
            <a:off x="10290720" y="6687488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4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3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4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2764" y="2160"/>
                </a:lnTo>
                <a:cubicBezTo>
                  <a:pt x="12492" y="2160"/>
                  <a:pt x="12273" y="2402"/>
                  <a:pt x="12273" y="2700"/>
                </a:cubicBezTo>
                <a:cubicBezTo>
                  <a:pt x="12273" y="2999"/>
                  <a:pt x="12492" y="3240"/>
                  <a:pt x="12764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8836" y="3240"/>
                </a:lnTo>
                <a:cubicBezTo>
                  <a:pt x="9108" y="3240"/>
                  <a:pt x="9327" y="2999"/>
                  <a:pt x="9327" y="2700"/>
                </a:cubicBezTo>
                <a:cubicBezTo>
                  <a:pt x="9327" y="2402"/>
                  <a:pt x="9108" y="2160"/>
                  <a:pt x="8836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3" y="13261"/>
                </a:cubicBezTo>
                <a:moveTo>
                  <a:pt x="7855" y="8640"/>
                </a:moveTo>
                <a:cubicBezTo>
                  <a:pt x="7583" y="8640"/>
                  <a:pt x="7364" y="8882"/>
                  <a:pt x="7364" y="9180"/>
                </a:cubicBezTo>
                <a:cubicBezTo>
                  <a:pt x="7364" y="9329"/>
                  <a:pt x="7418" y="9464"/>
                  <a:pt x="7507" y="9562"/>
                </a:cubicBezTo>
                <a:lnTo>
                  <a:pt x="10453" y="12802"/>
                </a:lnTo>
                <a:cubicBezTo>
                  <a:pt x="10542" y="12900"/>
                  <a:pt x="10665" y="12960"/>
                  <a:pt x="10800" y="12960"/>
                </a:cubicBezTo>
                <a:cubicBezTo>
                  <a:pt x="10936" y="12960"/>
                  <a:pt x="11058" y="12900"/>
                  <a:pt x="11147" y="12802"/>
                </a:cubicBezTo>
                <a:lnTo>
                  <a:pt x="14093" y="9562"/>
                </a:lnTo>
                <a:cubicBezTo>
                  <a:pt x="14182" y="9464"/>
                  <a:pt x="14236" y="9329"/>
                  <a:pt x="14236" y="9180"/>
                </a:cubicBezTo>
                <a:cubicBezTo>
                  <a:pt x="14236" y="8882"/>
                  <a:pt x="14017" y="8640"/>
                  <a:pt x="13745" y="8640"/>
                </a:cubicBezTo>
                <a:cubicBezTo>
                  <a:pt x="13610" y="8640"/>
                  <a:pt x="13487" y="8701"/>
                  <a:pt x="13398" y="8798"/>
                </a:cubicBezTo>
                <a:lnTo>
                  <a:pt x="11291" y="111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11116"/>
                </a:lnTo>
                <a:lnTo>
                  <a:pt x="8202" y="8798"/>
                </a:lnTo>
                <a:cubicBezTo>
                  <a:pt x="8113" y="8701"/>
                  <a:pt x="7990" y="8640"/>
                  <a:pt x="7855" y="864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0" name="Shape 2840"/>
          <p:cNvSpPr/>
          <p:nvPr/>
        </p:nvSpPr>
        <p:spPr>
          <a:xfrm>
            <a:off x="11357242" y="6687488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3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4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5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5709" y="2160"/>
                </a:lnTo>
                <a:cubicBezTo>
                  <a:pt x="15438" y="2160"/>
                  <a:pt x="15218" y="2402"/>
                  <a:pt x="15218" y="2700"/>
                </a:cubicBezTo>
                <a:cubicBezTo>
                  <a:pt x="15218" y="2999"/>
                  <a:pt x="15438" y="3240"/>
                  <a:pt x="15709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5891" y="3240"/>
                </a:lnTo>
                <a:cubicBezTo>
                  <a:pt x="6162" y="3240"/>
                  <a:pt x="6382" y="2999"/>
                  <a:pt x="6382" y="2700"/>
                </a:cubicBezTo>
                <a:cubicBezTo>
                  <a:pt x="6382" y="2402"/>
                  <a:pt x="6162" y="2160"/>
                  <a:pt x="5891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4" y="13261"/>
                </a:cubicBezTo>
                <a:moveTo>
                  <a:pt x="7855" y="4320"/>
                </a:moveTo>
                <a:cubicBezTo>
                  <a:pt x="7990" y="4320"/>
                  <a:pt x="8113" y="4260"/>
                  <a:pt x="8202" y="4162"/>
                </a:cubicBezTo>
                <a:lnTo>
                  <a:pt x="10309" y="1844"/>
                </a:lnTo>
                <a:lnTo>
                  <a:pt x="10309" y="12420"/>
                </a:lnTo>
                <a:cubicBezTo>
                  <a:pt x="10309" y="12719"/>
                  <a:pt x="10529" y="12960"/>
                  <a:pt x="10800" y="12960"/>
                </a:cubicBezTo>
                <a:cubicBezTo>
                  <a:pt x="11071" y="12960"/>
                  <a:pt x="11291" y="12719"/>
                  <a:pt x="11291" y="12420"/>
                </a:cubicBezTo>
                <a:lnTo>
                  <a:pt x="11291" y="1844"/>
                </a:lnTo>
                <a:lnTo>
                  <a:pt x="13398" y="4162"/>
                </a:lnTo>
                <a:cubicBezTo>
                  <a:pt x="13487" y="4260"/>
                  <a:pt x="13610" y="4320"/>
                  <a:pt x="13745" y="4320"/>
                </a:cubicBezTo>
                <a:cubicBezTo>
                  <a:pt x="14017" y="4320"/>
                  <a:pt x="14236" y="4079"/>
                  <a:pt x="14236" y="3780"/>
                </a:cubicBezTo>
                <a:cubicBezTo>
                  <a:pt x="14236" y="3631"/>
                  <a:pt x="14181" y="3497"/>
                  <a:pt x="14093" y="339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1"/>
                  <a:pt x="10453" y="158"/>
                </a:cubicBezTo>
                <a:lnTo>
                  <a:pt x="7507" y="3398"/>
                </a:lnTo>
                <a:cubicBezTo>
                  <a:pt x="7419" y="3497"/>
                  <a:pt x="7364" y="3631"/>
                  <a:pt x="7364" y="3780"/>
                </a:cubicBezTo>
                <a:cubicBezTo>
                  <a:pt x="7364" y="4079"/>
                  <a:pt x="7583" y="4320"/>
                  <a:pt x="7855" y="432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1" name="Shape 2841"/>
          <p:cNvSpPr/>
          <p:nvPr/>
        </p:nvSpPr>
        <p:spPr>
          <a:xfrm>
            <a:off x="1758543" y="7779402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3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6" y="12000"/>
                  <a:pt x="13745" y="12269"/>
                  <a:pt x="13745" y="12600"/>
                </a:cubicBezTo>
                <a:cubicBezTo>
                  <a:pt x="13745" y="14588"/>
                  <a:pt x="12427" y="16200"/>
                  <a:pt x="10800" y="16200"/>
                </a:cubicBezTo>
                <a:cubicBezTo>
                  <a:pt x="9173" y="16200"/>
                  <a:pt x="7855" y="14588"/>
                  <a:pt x="7855" y="12600"/>
                </a:cubicBezTo>
                <a:cubicBezTo>
                  <a:pt x="7855" y="12269"/>
                  <a:pt x="7634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4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4"/>
                </a:lnTo>
                <a:cubicBezTo>
                  <a:pt x="23" y="12416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6"/>
                  <a:pt x="21543" y="12334"/>
                </a:cubicBezTo>
                <a:moveTo>
                  <a:pt x="16691" y="9000"/>
                </a:moveTo>
                <a:cubicBezTo>
                  <a:pt x="16691" y="8669"/>
                  <a:pt x="16471" y="8400"/>
                  <a:pt x="16200" y="8400"/>
                </a:cubicBezTo>
                <a:lnTo>
                  <a:pt x="5400" y="8400"/>
                </a:lnTo>
                <a:cubicBezTo>
                  <a:pt x="5129" y="8400"/>
                  <a:pt x="4909" y="8669"/>
                  <a:pt x="4909" y="9000"/>
                </a:cubicBezTo>
                <a:cubicBezTo>
                  <a:pt x="4909" y="9332"/>
                  <a:pt x="5129" y="9600"/>
                  <a:pt x="5400" y="9600"/>
                </a:cubicBez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moveTo>
                  <a:pt x="6382" y="7200"/>
                </a:moveTo>
                <a:lnTo>
                  <a:pt x="15218" y="7200"/>
                </a:lnTo>
                <a:cubicBezTo>
                  <a:pt x="15489" y="7200"/>
                  <a:pt x="15709" y="6932"/>
                  <a:pt x="15709" y="6600"/>
                </a:cubicBezTo>
                <a:cubicBezTo>
                  <a:pt x="15709" y="6269"/>
                  <a:pt x="15489" y="6000"/>
                  <a:pt x="15218" y="6000"/>
                </a:cubicBezTo>
                <a:lnTo>
                  <a:pt x="6382" y="6000"/>
                </a:lnTo>
                <a:cubicBezTo>
                  <a:pt x="6111" y="6000"/>
                  <a:pt x="5891" y="6269"/>
                  <a:pt x="5891" y="6600"/>
                </a:cubicBezTo>
                <a:cubicBezTo>
                  <a:pt x="5891" y="6932"/>
                  <a:pt x="6111" y="7200"/>
                  <a:pt x="6382" y="7200"/>
                </a:cubicBezTo>
                <a:moveTo>
                  <a:pt x="7364" y="4800"/>
                </a:moveTo>
                <a:lnTo>
                  <a:pt x="14236" y="4800"/>
                </a:lnTo>
                <a:cubicBezTo>
                  <a:pt x="14507" y="4800"/>
                  <a:pt x="14727" y="4532"/>
                  <a:pt x="14727" y="4200"/>
                </a:cubicBezTo>
                <a:cubicBezTo>
                  <a:pt x="14727" y="3869"/>
                  <a:pt x="14507" y="3600"/>
                  <a:pt x="14236" y="3600"/>
                </a:cubicBezTo>
                <a:lnTo>
                  <a:pt x="7364" y="3600"/>
                </a:lnTo>
                <a:cubicBezTo>
                  <a:pt x="7093" y="3600"/>
                  <a:pt x="6873" y="3869"/>
                  <a:pt x="6873" y="4200"/>
                </a:cubicBezTo>
                <a:cubicBezTo>
                  <a:pt x="6873" y="4532"/>
                  <a:pt x="7093" y="4800"/>
                  <a:pt x="7364" y="4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2" name="Shape 2842"/>
          <p:cNvSpPr/>
          <p:nvPr/>
        </p:nvSpPr>
        <p:spPr>
          <a:xfrm>
            <a:off x="2825064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6907" y="6873"/>
                </a:lnTo>
                <a:cubicBezTo>
                  <a:pt x="7149" y="8810"/>
                  <a:pt x="8798" y="10309"/>
                  <a:pt x="10800" y="10309"/>
                </a:cubicBezTo>
                <a:cubicBezTo>
                  <a:pt x="12802" y="10309"/>
                  <a:pt x="14451" y="8810"/>
                  <a:pt x="14693" y="6873"/>
                </a:cubicBezTo>
                <a:lnTo>
                  <a:pt x="20618" y="6873"/>
                </a:lnTo>
                <a:cubicBezTo>
                  <a:pt x="20618" y="6873"/>
                  <a:pt x="20618" y="11782"/>
                  <a:pt x="20618" y="11782"/>
                </a:cubicBezTo>
                <a:close/>
                <a:moveTo>
                  <a:pt x="20264" y="14727"/>
                </a:moveTo>
                <a:lnTo>
                  <a:pt x="14236" y="14727"/>
                </a:lnTo>
                <a:cubicBezTo>
                  <a:pt x="13966" y="14727"/>
                  <a:pt x="13745" y="14947"/>
                  <a:pt x="13745" y="15218"/>
                </a:cubicBezTo>
                <a:cubicBezTo>
                  <a:pt x="13745" y="16845"/>
                  <a:pt x="12427" y="18164"/>
                  <a:pt x="10800" y="18164"/>
                </a:cubicBezTo>
                <a:cubicBezTo>
                  <a:pt x="9173" y="18164"/>
                  <a:pt x="7855" y="16845"/>
                  <a:pt x="7855" y="15218"/>
                </a:cubicBezTo>
                <a:cubicBezTo>
                  <a:pt x="7855" y="14947"/>
                  <a:pt x="7634" y="14727"/>
                  <a:pt x="7364" y="14727"/>
                </a:cubicBezTo>
                <a:lnTo>
                  <a:pt x="1336" y="14727"/>
                </a:lnTo>
                <a:lnTo>
                  <a:pt x="2682" y="12764"/>
                </a:lnTo>
                <a:lnTo>
                  <a:pt x="18918" y="12764"/>
                </a:lnTo>
                <a:cubicBezTo>
                  <a:pt x="18918" y="12764"/>
                  <a:pt x="20264" y="14727"/>
                  <a:pt x="20264" y="14727"/>
                </a:cubicBezTo>
                <a:close/>
                <a:moveTo>
                  <a:pt x="20618" y="20618"/>
                </a:moveTo>
                <a:lnTo>
                  <a:pt x="982" y="20618"/>
                </a:lnTo>
                <a:lnTo>
                  <a:pt x="982" y="15709"/>
                </a:lnTo>
                <a:lnTo>
                  <a:pt x="6907" y="15709"/>
                </a:lnTo>
                <a:cubicBezTo>
                  <a:pt x="7149" y="17646"/>
                  <a:pt x="8798" y="19145"/>
                  <a:pt x="10800" y="19145"/>
                </a:cubicBezTo>
                <a:cubicBezTo>
                  <a:pt x="12802" y="19145"/>
                  <a:pt x="14451" y="17646"/>
                  <a:pt x="14693" y="15709"/>
                </a:cubicBezTo>
                <a:lnTo>
                  <a:pt x="20618" y="15709"/>
                </a:lnTo>
                <a:cubicBezTo>
                  <a:pt x="20618" y="15709"/>
                  <a:pt x="20618" y="20618"/>
                  <a:pt x="20618" y="20618"/>
                </a:cubicBezTo>
                <a:close/>
                <a:moveTo>
                  <a:pt x="4702" y="982"/>
                </a:moveTo>
                <a:lnTo>
                  <a:pt x="16898" y="982"/>
                </a:lnTo>
                <a:lnTo>
                  <a:pt x="20264" y="5891"/>
                </a:lnTo>
                <a:lnTo>
                  <a:pt x="14236" y="5891"/>
                </a:lnTo>
                <a:cubicBezTo>
                  <a:pt x="13966" y="5891"/>
                  <a:pt x="13745" y="6111"/>
                  <a:pt x="13745" y="6382"/>
                </a:cubicBezTo>
                <a:cubicBezTo>
                  <a:pt x="13745" y="8009"/>
                  <a:pt x="12427" y="9327"/>
                  <a:pt x="10800" y="9327"/>
                </a:cubicBezTo>
                <a:cubicBezTo>
                  <a:pt x="9173" y="9327"/>
                  <a:pt x="7855" y="8009"/>
                  <a:pt x="7855" y="6382"/>
                </a:cubicBezTo>
                <a:cubicBezTo>
                  <a:pt x="7855" y="6111"/>
                  <a:pt x="7634" y="5891"/>
                  <a:pt x="7364" y="5891"/>
                </a:cubicBezTo>
                <a:lnTo>
                  <a:pt x="1336" y="5891"/>
                </a:lnTo>
                <a:cubicBezTo>
                  <a:pt x="1336" y="5891"/>
                  <a:pt x="4702" y="982"/>
                  <a:pt x="4702" y="982"/>
                </a:cubicBezTo>
                <a:close/>
                <a:moveTo>
                  <a:pt x="21600" y="12273"/>
                </a:moveTo>
                <a:lnTo>
                  <a:pt x="21600" y="6382"/>
                </a:lnTo>
                <a:cubicBezTo>
                  <a:pt x="21600" y="6303"/>
                  <a:pt x="21577" y="6231"/>
                  <a:pt x="21543" y="6165"/>
                </a:cubicBezTo>
                <a:lnTo>
                  <a:pt x="21548" y="6162"/>
                </a:lnTo>
                <a:lnTo>
                  <a:pt x="17621" y="272"/>
                </a:lnTo>
                <a:lnTo>
                  <a:pt x="17616" y="274"/>
                </a:lnTo>
                <a:cubicBezTo>
                  <a:pt x="17536" y="113"/>
                  <a:pt x="17374" y="0"/>
                  <a:pt x="17182" y="0"/>
                </a:cubicBezTo>
                <a:lnTo>
                  <a:pt x="4418" y="0"/>
                </a:lnTo>
                <a:cubicBezTo>
                  <a:pt x="4226" y="0"/>
                  <a:pt x="4064" y="113"/>
                  <a:pt x="3984" y="274"/>
                </a:cubicBezTo>
                <a:lnTo>
                  <a:pt x="3979" y="272"/>
                </a:lnTo>
                <a:lnTo>
                  <a:pt x="52" y="6162"/>
                </a:lnTo>
                <a:lnTo>
                  <a:pt x="57" y="6165"/>
                </a:lnTo>
                <a:cubicBezTo>
                  <a:pt x="23" y="6231"/>
                  <a:pt x="0" y="6303"/>
                  <a:pt x="0" y="6382"/>
                </a:cubicBezTo>
                <a:lnTo>
                  <a:pt x="0" y="12273"/>
                </a:lnTo>
                <a:cubicBezTo>
                  <a:pt x="0" y="12544"/>
                  <a:pt x="220" y="12764"/>
                  <a:pt x="491" y="12764"/>
                </a:cubicBezTo>
                <a:lnTo>
                  <a:pt x="1542" y="12764"/>
                </a:lnTo>
                <a:lnTo>
                  <a:pt x="52" y="14999"/>
                </a:lnTo>
                <a:lnTo>
                  <a:pt x="57" y="15001"/>
                </a:lnTo>
                <a:cubicBezTo>
                  <a:pt x="23" y="15067"/>
                  <a:pt x="0" y="15139"/>
                  <a:pt x="0" y="15218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15218"/>
                </a:lnTo>
                <a:cubicBezTo>
                  <a:pt x="21600" y="15139"/>
                  <a:pt x="21577" y="15067"/>
                  <a:pt x="21543" y="15001"/>
                </a:cubicBezTo>
                <a:lnTo>
                  <a:pt x="21548" y="14999"/>
                </a:lnTo>
                <a:lnTo>
                  <a:pt x="20058" y="12764"/>
                </a:lnTo>
                <a:lnTo>
                  <a:pt x="21109" y="12764"/>
                </a:lnTo>
                <a:cubicBezTo>
                  <a:pt x="21380" y="12764"/>
                  <a:pt x="21600" y="12544"/>
                  <a:pt x="21600" y="122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3" name="Shape 2843"/>
          <p:cNvSpPr/>
          <p:nvPr/>
        </p:nvSpPr>
        <p:spPr>
          <a:xfrm>
            <a:off x="3891587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4" name="Shape 2844"/>
          <p:cNvSpPr/>
          <p:nvPr/>
        </p:nvSpPr>
        <p:spPr>
          <a:xfrm>
            <a:off x="4958109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982"/>
                </a:move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cubicBezTo>
                  <a:pt x="762" y="11291"/>
                  <a:pt x="982" y="11071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7588" y="20618"/>
                  <a:pt x="4740" y="19075"/>
                  <a:pt x="2948" y="16691"/>
                </a:cubicBezTo>
                <a:lnTo>
                  <a:pt x="6873" y="16691"/>
                </a:lnTo>
                <a:cubicBezTo>
                  <a:pt x="7144" y="16691"/>
                  <a:pt x="7364" y="16471"/>
                  <a:pt x="7364" y="16200"/>
                </a:cubicBezTo>
                <a:cubicBezTo>
                  <a:pt x="7364" y="15929"/>
                  <a:pt x="7144" y="15709"/>
                  <a:pt x="6873" y="15709"/>
                </a:cubicBezTo>
                <a:lnTo>
                  <a:pt x="1964" y="15709"/>
                </a:lnTo>
                <a:cubicBezTo>
                  <a:pt x="1693" y="15709"/>
                  <a:pt x="1473" y="15929"/>
                  <a:pt x="1473" y="16200"/>
                </a:cubicBezTo>
                <a:lnTo>
                  <a:pt x="1473" y="21109"/>
                </a:lnTo>
                <a:cubicBezTo>
                  <a:pt x="1473" y="21380"/>
                  <a:pt x="1693" y="21600"/>
                  <a:pt x="1964" y="21600"/>
                </a:cubicBezTo>
                <a:cubicBezTo>
                  <a:pt x="2234" y="21600"/>
                  <a:pt x="2455" y="21380"/>
                  <a:pt x="2455" y="21109"/>
                </a:cubicBezTo>
                <a:lnTo>
                  <a:pt x="2455" y="17639"/>
                </a:lnTo>
                <a:cubicBezTo>
                  <a:pt x="4434" y="20054"/>
                  <a:pt x="7433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5" name="Shape 2845"/>
          <p:cNvSpPr/>
          <p:nvPr/>
        </p:nvSpPr>
        <p:spPr>
          <a:xfrm>
            <a:off x="6075418" y="7728615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00" y="1408"/>
                </a:moveTo>
                <a:lnTo>
                  <a:pt x="17518" y="4418"/>
                </a:lnTo>
                <a:lnTo>
                  <a:pt x="12000" y="7429"/>
                </a:lnTo>
                <a:cubicBezTo>
                  <a:pt x="12000" y="7429"/>
                  <a:pt x="12000" y="1408"/>
                  <a:pt x="12000" y="1408"/>
                </a:cubicBezTo>
                <a:close/>
                <a:moveTo>
                  <a:pt x="21000" y="12273"/>
                </a:moveTo>
                <a:cubicBezTo>
                  <a:pt x="20669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0800" y="8345"/>
                </a:lnTo>
                <a:cubicBezTo>
                  <a:pt x="10800" y="8617"/>
                  <a:pt x="11069" y="8836"/>
                  <a:pt x="11400" y="8836"/>
                </a:cubicBezTo>
                <a:cubicBezTo>
                  <a:pt x="11524" y="8836"/>
                  <a:pt x="11631" y="8799"/>
                  <a:pt x="11726" y="8747"/>
                </a:cubicBezTo>
                <a:lnTo>
                  <a:pt x="11733" y="8754"/>
                </a:lnTo>
                <a:lnTo>
                  <a:pt x="18933" y="4827"/>
                </a:lnTo>
                <a:lnTo>
                  <a:pt x="18926" y="4819"/>
                </a:lnTo>
                <a:cubicBezTo>
                  <a:pt x="19087" y="4731"/>
                  <a:pt x="19200" y="4589"/>
                  <a:pt x="19200" y="4418"/>
                </a:cubicBezTo>
                <a:cubicBezTo>
                  <a:pt x="19200" y="4248"/>
                  <a:pt x="19087" y="4106"/>
                  <a:pt x="18926" y="4017"/>
                </a:cubicBezTo>
                <a:lnTo>
                  <a:pt x="18933" y="4010"/>
                </a:lnTo>
                <a:lnTo>
                  <a:pt x="11733" y="82"/>
                </a:lnTo>
                <a:lnTo>
                  <a:pt x="11726" y="90"/>
                </a:lnTo>
                <a:cubicBezTo>
                  <a:pt x="11631" y="38"/>
                  <a:pt x="11524" y="0"/>
                  <a:pt x="11400" y="0"/>
                </a:cubicBezTo>
                <a:cubicBezTo>
                  <a:pt x="11069" y="0"/>
                  <a:pt x="10800" y="220"/>
                  <a:pt x="10800" y="491"/>
                </a:cubicBezTo>
                <a:lnTo>
                  <a:pt x="10800" y="3927"/>
                </a:lnTo>
                <a:cubicBezTo>
                  <a:pt x="4835" y="3927"/>
                  <a:pt x="0" y="7883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1" y="12273"/>
                  <a:pt x="21000" y="122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6" name="Shape 2846"/>
          <p:cNvSpPr/>
          <p:nvPr/>
        </p:nvSpPr>
        <p:spPr>
          <a:xfrm>
            <a:off x="7141939" y="7728615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00" y="12273"/>
                </a:moveTo>
                <a:cubicBezTo>
                  <a:pt x="20668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4768" y="4909"/>
                </a:lnTo>
                <a:lnTo>
                  <a:pt x="11067" y="7937"/>
                </a:lnTo>
                <a:lnTo>
                  <a:pt x="11073" y="7945"/>
                </a:lnTo>
                <a:cubicBezTo>
                  <a:pt x="10912" y="8033"/>
                  <a:pt x="10800" y="8175"/>
                  <a:pt x="10800" y="8345"/>
                </a:cubicBezTo>
                <a:cubicBezTo>
                  <a:pt x="10800" y="8617"/>
                  <a:pt x="11068" y="8836"/>
                  <a:pt x="11400" y="8836"/>
                </a:cubicBezTo>
                <a:cubicBezTo>
                  <a:pt x="11523" y="8836"/>
                  <a:pt x="11631" y="8798"/>
                  <a:pt x="11727" y="8747"/>
                </a:cubicBezTo>
                <a:lnTo>
                  <a:pt x="11733" y="8754"/>
                </a:lnTo>
                <a:lnTo>
                  <a:pt x="11774" y="8721"/>
                </a:lnTo>
                <a:cubicBezTo>
                  <a:pt x="11805" y="8700"/>
                  <a:pt x="11832" y="8677"/>
                  <a:pt x="11858" y="8651"/>
                </a:cubicBezTo>
                <a:lnTo>
                  <a:pt x="16533" y="4827"/>
                </a:lnTo>
                <a:lnTo>
                  <a:pt x="16527" y="4819"/>
                </a:lnTo>
                <a:cubicBezTo>
                  <a:pt x="16688" y="4731"/>
                  <a:pt x="16800" y="4589"/>
                  <a:pt x="16800" y="4418"/>
                </a:cubicBezTo>
                <a:cubicBezTo>
                  <a:pt x="16800" y="4248"/>
                  <a:pt x="16688" y="4106"/>
                  <a:pt x="16527" y="4018"/>
                </a:cubicBezTo>
                <a:lnTo>
                  <a:pt x="16533" y="4010"/>
                </a:lnTo>
                <a:lnTo>
                  <a:pt x="11858" y="185"/>
                </a:lnTo>
                <a:cubicBezTo>
                  <a:pt x="11832" y="159"/>
                  <a:pt x="11805" y="137"/>
                  <a:pt x="11774" y="116"/>
                </a:cubicBezTo>
                <a:lnTo>
                  <a:pt x="11733" y="82"/>
                </a:lnTo>
                <a:lnTo>
                  <a:pt x="11727" y="90"/>
                </a:lnTo>
                <a:cubicBezTo>
                  <a:pt x="11631" y="38"/>
                  <a:pt x="11523" y="0"/>
                  <a:pt x="11400" y="0"/>
                </a:cubicBezTo>
                <a:cubicBezTo>
                  <a:pt x="11068" y="0"/>
                  <a:pt x="10800" y="220"/>
                  <a:pt x="10800" y="491"/>
                </a:cubicBezTo>
                <a:cubicBezTo>
                  <a:pt x="10800" y="662"/>
                  <a:pt x="10912" y="804"/>
                  <a:pt x="11073" y="892"/>
                </a:cubicBezTo>
                <a:lnTo>
                  <a:pt x="11067" y="899"/>
                </a:lnTo>
                <a:lnTo>
                  <a:pt x="14768" y="3927"/>
                </a:lnTo>
                <a:lnTo>
                  <a:pt x="10800" y="3927"/>
                </a:lnTo>
                <a:cubicBezTo>
                  <a:pt x="4835" y="3927"/>
                  <a:pt x="0" y="7884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2" y="12273"/>
                  <a:pt x="21000" y="122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7" name="Shape 2847"/>
          <p:cNvSpPr/>
          <p:nvPr/>
        </p:nvSpPr>
        <p:spPr>
          <a:xfrm>
            <a:off x="8157677" y="7728616"/>
            <a:ext cx="558654" cy="5586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6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7673"/>
                </a:moveTo>
                <a:cubicBezTo>
                  <a:pt x="13610" y="17673"/>
                  <a:pt x="13488" y="17728"/>
                  <a:pt x="13398" y="17817"/>
                </a:cubicBezTo>
                <a:lnTo>
                  <a:pt x="11291" y="19924"/>
                </a:lnTo>
                <a:lnTo>
                  <a:pt x="11291" y="8346"/>
                </a:lnTo>
                <a:cubicBezTo>
                  <a:pt x="11291" y="8074"/>
                  <a:pt x="11071" y="7855"/>
                  <a:pt x="10800" y="7855"/>
                </a:cubicBezTo>
                <a:cubicBezTo>
                  <a:pt x="10529" y="7855"/>
                  <a:pt x="10309" y="8074"/>
                  <a:pt x="10309" y="8346"/>
                </a:cubicBez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9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4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8" name="Shape 2848"/>
          <p:cNvSpPr/>
          <p:nvPr/>
        </p:nvSpPr>
        <p:spPr>
          <a:xfrm>
            <a:off x="9224197" y="7728616"/>
            <a:ext cx="558654" cy="5586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7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1782"/>
                </a:moveTo>
                <a:cubicBezTo>
                  <a:pt x="14017" y="11782"/>
                  <a:pt x="14236" y="11562"/>
                  <a:pt x="14236" y="11291"/>
                </a:cubicBezTo>
                <a:cubicBezTo>
                  <a:pt x="14236" y="11156"/>
                  <a:pt x="14182" y="11033"/>
                  <a:pt x="14093" y="10944"/>
                </a:cubicBezTo>
                <a:lnTo>
                  <a:pt x="11147" y="7998"/>
                </a:lnTo>
                <a:cubicBezTo>
                  <a:pt x="11058" y="7910"/>
                  <a:pt x="10936" y="7855"/>
                  <a:pt x="10800" y="7855"/>
                </a:cubicBezTo>
                <a:cubicBezTo>
                  <a:pt x="10665" y="7855"/>
                  <a:pt x="10542" y="7910"/>
                  <a:pt x="10453" y="7998"/>
                </a:cubicBezTo>
                <a:lnTo>
                  <a:pt x="7507" y="10944"/>
                </a:lnTo>
                <a:cubicBezTo>
                  <a:pt x="7419" y="11033"/>
                  <a:pt x="7364" y="11156"/>
                  <a:pt x="7364" y="11291"/>
                </a:cubicBezTo>
                <a:cubicBezTo>
                  <a:pt x="7364" y="11562"/>
                  <a:pt x="7583" y="11782"/>
                  <a:pt x="7855" y="11782"/>
                </a:cubicBezTo>
                <a:cubicBezTo>
                  <a:pt x="7990" y="11782"/>
                  <a:pt x="8113" y="11727"/>
                  <a:pt x="8202" y="11638"/>
                </a:cubicBezTo>
                <a:lnTo>
                  <a:pt x="10309" y="9531"/>
                </a:lnTo>
                <a:lnTo>
                  <a:pt x="10309" y="21109"/>
                </a:lnTo>
                <a:cubicBezTo>
                  <a:pt x="10309" y="21380"/>
                  <a:pt x="10529" y="21600"/>
                  <a:pt x="10800" y="21600"/>
                </a:cubicBezTo>
                <a:cubicBezTo>
                  <a:pt x="11071" y="21600"/>
                  <a:pt x="11291" y="21380"/>
                  <a:pt x="11291" y="21109"/>
                </a:cubicBezTo>
                <a:lnTo>
                  <a:pt x="11291" y="9531"/>
                </a:lnTo>
                <a:lnTo>
                  <a:pt x="13398" y="11638"/>
                </a:lnTo>
                <a:cubicBezTo>
                  <a:pt x="13488" y="11727"/>
                  <a:pt x="13610" y="11782"/>
                  <a:pt x="13745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9" name="Shape 2849"/>
          <p:cNvSpPr/>
          <p:nvPr/>
        </p:nvSpPr>
        <p:spPr>
          <a:xfrm>
            <a:off x="10290720" y="7766706"/>
            <a:ext cx="558654" cy="4829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2" extrusionOk="0">
                <a:moveTo>
                  <a:pt x="13421" y="20466"/>
                </a:moveTo>
                <a:lnTo>
                  <a:pt x="12630" y="20221"/>
                </a:lnTo>
                <a:cubicBezTo>
                  <a:pt x="13305" y="19604"/>
                  <a:pt x="13745" y="18664"/>
                  <a:pt x="13745" y="17589"/>
                </a:cubicBezTo>
                <a:cubicBezTo>
                  <a:pt x="13745" y="16189"/>
                  <a:pt x="13013" y="14988"/>
                  <a:pt x="11967" y="14465"/>
                </a:cubicBezTo>
                <a:lnTo>
                  <a:pt x="11702" y="15585"/>
                </a:lnTo>
                <a:cubicBezTo>
                  <a:pt x="12330" y="15964"/>
                  <a:pt x="12764" y="16715"/>
                  <a:pt x="12764" y="17589"/>
                </a:cubicBezTo>
                <a:cubicBezTo>
                  <a:pt x="12764" y="18299"/>
                  <a:pt x="12477" y="18923"/>
                  <a:pt x="12035" y="19336"/>
                </a:cubicBezTo>
                <a:lnTo>
                  <a:pt x="12296" y="18213"/>
                </a:lnTo>
                <a:cubicBezTo>
                  <a:pt x="12327" y="18073"/>
                  <a:pt x="12314" y="17918"/>
                  <a:pt x="12246" y="17782"/>
                </a:cubicBezTo>
                <a:cubicBezTo>
                  <a:pt x="12111" y="17511"/>
                  <a:pt x="11811" y="17418"/>
                  <a:pt x="11576" y="17574"/>
                </a:cubicBezTo>
                <a:cubicBezTo>
                  <a:pt x="11459" y="17653"/>
                  <a:pt x="11380" y="17779"/>
                  <a:pt x="11347" y="17920"/>
                </a:cubicBezTo>
                <a:lnTo>
                  <a:pt x="10808" y="20244"/>
                </a:lnTo>
                <a:cubicBezTo>
                  <a:pt x="10776" y="20384"/>
                  <a:pt x="10789" y="20539"/>
                  <a:pt x="10857" y="20675"/>
                </a:cubicBezTo>
                <a:cubicBezTo>
                  <a:pt x="10920" y="20802"/>
                  <a:pt x="11021" y="20885"/>
                  <a:pt x="11133" y="20927"/>
                </a:cubicBezTo>
                <a:lnTo>
                  <a:pt x="11126" y="20956"/>
                </a:lnTo>
                <a:cubicBezTo>
                  <a:pt x="11142" y="20954"/>
                  <a:pt x="11158" y="20948"/>
                  <a:pt x="11173" y="20945"/>
                </a:cubicBezTo>
                <a:lnTo>
                  <a:pt x="13166" y="21562"/>
                </a:lnTo>
                <a:cubicBezTo>
                  <a:pt x="13288" y="21600"/>
                  <a:pt x="13422" y="21584"/>
                  <a:pt x="13539" y="21506"/>
                </a:cubicBezTo>
                <a:cubicBezTo>
                  <a:pt x="13774" y="21350"/>
                  <a:pt x="13855" y="21002"/>
                  <a:pt x="13719" y="20730"/>
                </a:cubicBezTo>
                <a:cubicBezTo>
                  <a:pt x="13651" y="20595"/>
                  <a:pt x="13542" y="20503"/>
                  <a:pt x="13421" y="20466"/>
                </a:cubicBezTo>
                <a:moveTo>
                  <a:pt x="18634" y="7273"/>
                </a:moveTo>
                <a:cubicBezTo>
                  <a:pt x="18643" y="7119"/>
                  <a:pt x="18655" y="6966"/>
                  <a:pt x="18655" y="6809"/>
                </a:cubicBezTo>
                <a:cubicBezTo>
                  <a:pt x="18655" y="3049"/>
                  <a:pt x="16017" y="0"/>
                  <a:pt x="12764" y="0"/>
                </a:cubicBezTo>
                <a:cubicBezTo>
                  <a:pt x="10499" y="0"/>
                  <a:pt x="8536" y="1479"/>
                  <a:pt x="7550" y="3645"/>
                </a:cubicBezTo>
                <a:cubicBezTo>
                  <a:pt x="7185" y="3492"/>
                  <a:pt x="6793" y="3404"/>
                  <a:pt x="6382" y="3404"/>
                </a:cubicBezTo>
                <a:cubicBezTo>
                  <a:pt x="4484" y="3404"/>
                  <a:pt x="2945" y="5183"/>
                  <a:pt x="2945" y="7376"/>
                </a:cubicBezTo>
                <a:cubicBezTo>
                  <a:pt x="2945" y="7662"/>
                  <a:pt x="2973" y="7940"/>
                  <a:pt x="3022" y="8208"/>
                </a:cubicBezTo>
                <a:cubicBezTo>
                  <a:pt x="1267" y="8884"/>
                  <a:pt x="0" y="10794"/>
                  <a:pt x="0" y="13050"/>
                </a:cubicBezTo>
                <a:cubicBezTo>
                  <a:pt x="0" y="15871"/>
                  <a:pt x="1978" y="18157"/>
                  <a:pt x="4418" y="18157"/>
                </a:cubicBezTo>
                <a:lnTo>
                  <a:pt x="6382" y="18157"/>
                </a:lnTo>
                <a:cubicBezTo>
                  <a:pt x="6653" y="18157"/>
                  <a:pt x="6873" y="17903"/>
                  <a:pt x="6873" y="17589"/>
                </a:cubicBezTo>
                <a:cubicBezTo>
                  <a:pt x="6873" y="17276"/>
                  <a:pt x="6653" y="17022"/>
                  <a:pt x="6382" y="17022"/>
                </a:cubicBezTo>
                <a:lnTo>
                  <a:pt x="4418" y="17022"/>
                </a:lnTo>
                <a:cubicBezTo>
                  <a:pt x="2524" y="17022"/>
                  <a:pt x="982" y="15240"/>
                  <a:pt x="982" y="13050"/>
                </a:cubicBezTo>
                <a:cubicBezTo>
                  <a:pt x="982" y="11339"/>
                  <a:pt x="1926" y="9826"/>
                  <a:pt x="3333" y="9284"/>
                </a:cubicBezTo>
                <a:lnTo>
                  <a:pt x="4165" y="8964"/>
                </a:lnTo>
                <a:lnTo>
                  <a:pt x="3982" y="7971"/>
                </a:lnTo>
                <a:cubicBezTo>
                  <a:pt x="3946" y="7773"/>
                  <a:pt x="3927" y="7572"/>
                  <a:pt x="3927" y="7376"/>
                </a:cubicBezTo>
                <a:cubicBezTo>
                  <a:pt x="3927" y="5812"/>
                  <a:pt x="5028" y="4539"/>
                  <a:pt x="6382" y="4539"/>
                </a:cubicBezTo>
                <a:cubicBezTo>
                  <a:pt x="6661" y="4539"/>
                  <a:pt x="6942" y="4597"/>
                  <a:pt x="7215" y="4712"/>
                </a:cubicBezTo>
                <a:lnTo>
                  <a:pt x="8019" y="5049"/>
                </a:lnTo>
                <a:lnTo>
                  <a:pt x="8418" y="4173"/>
                </a:lnTo>
                <a:cubicBezTo>
                  <a:pt x="9272" y="2299"/>
                  <a:pt x="10937" y="1135"/>
                  <a:pt x="12764" y="1135"/>
                </a:cubicBezTo>
                <a:cubicBezTo>
                  <a:pt x="15470" y="1135"/>
                  <a:pt x="17673" y="3680"/>
                  <a:pt x="17673" y="6809"/>
                </a:cubicBezTo>
                <a:cubicBezTo>
                  <a:pt x="17673" y="6908"/>
                  <a:pt x="17666" y="7005"/>
                  <a:pt x="17660" y="7102"/>
                </a:cubicBezTo>
                <a:lnTo>
                  <a:pt x="17655" y="7199"/>
                </a:lnTo>
                <a:lnTo>
                  <a:pt x="17610" y="7998"/>
                </a:lnTo>
                <a:lnTo>
                  <a:pt x="18245" y="8315"/>
                </a:lnTo>
                <a:cubicBezTo>
                  <a:pt x="19687" y="9034"/>
                  <a:pt x="20618" y="10670"/>
                  <a:pt x="20618" y="12483"/>
                </a:cubicBezTo>
                <a:cubicBezTo>
                  <a:pt x="20618" y="14986"/>
                  <a:pt x="18856" y="17022"/>
                  <a:pt x="16691" y="17022"/>
                </a:cubicBezTo>
                <a:lnTo>
                  <a:pt x="15218" y="17022"/>
                </a:lnTo>
                <a:cubicBezTo>
                  <a:pt x="14947" y="17022"/>
                  <a:pt x="14727" y="17276"/>
                  <a:pt x="14727" y="17589"/>
                </a:cubicBezTo>
                <a:cubicBezTo>
                  <a:pt x="14727" y="17903"/>
                  <a:pt x="14947" y="18157"/>
                  <a:pt x="15218" y="18157"/>
                </a:cubicBezTo>
                <a:lnTo>
                  <a:pt x="16691" y="18157"/>
                </a:lnTo>
                <a:cubicBezTo>
                  <a:pt x="19402" y="18157"/>
                  <a:pt x="21600" y="15617"/>
                  <a:pt x="21600" y="12483"/>
                </a:cubicBezTo>
                <a:cubicBezTo>
                  <a:pt x="21600" y="10147"/>
                  <a:pt x="20378" y="8143"/>
                  <a:pt x="18634" y="7273"/>
                </a:cubicBezTo>
                <a:moveTo>
                  <a:pt x="10773" y="14522"/>
                </a:moveTo>
                <a:cubicBezTo>
                  <a:pt x="10711" y="14398"/>
                  <a:pt x="10613" y="14316"/>
                  <a:pt x="10504" y="14274"/>
                </a:cubicBezTo>
                <a:lnTo>
                  <a:pt x="10517" y="14218"/>
                </a:lnTo>
                <a:cubicBezTo>
                  <a:pt x="10484" y="14221"/>
                  <a:pt x="10451" y="14231"/>
                  <a:pt x="10418" y="14240"/>
                </a:cubicBezTo>
                <a:lnTo>
                  <a:pt x="8463" y="13634"/>
                </a:lnTo>
                <a:lnTo>
                  <a:pt x="8463" y="13635"/>
                </a:lnTo>
                <a:cubicBezTo>
                  <a:pt x="8343" y="13598"/>
                  <a:pt x="8209" y="13613"/>
                  <a:pt x="8091" y="13692"/>
                </a:cubicBezTo>
                <a:cubicBezTo>
                  <a:pt x="7856" y="13848"/>
                  <a:pt x="7776" y="14195"/>
                  <a:pt x="7911" y="14466"/>
                </a:cubicBezTo>
                <a:cubicBezTo>
                  <a:pt x="7979" y="14602"/>
                  <a:pt x="8088" y="14693"/>
                  <a:pt x="8210" y="14731"/>
                </a:cubicBezTo>
                <a:lnTo>
                  <a:pt x="8965" y="14964"/>
                </a:lnTo>
                <a:cubicBezTo>
                  <a:pt x="8292" y="15580"/>
                  <a:pt x="7855" y="16518"/>
                  <a:pt x="7855" y="17589"/>
                </a:cubicBezTo>
                <a:cubicBezTo>
                  <a:pt x="7855" y="19007"/>
                  <a:pt x="8604" y="20220"/>
                  <a:pt x="9671" y="20732"/>
                </a:cubicBezTo>
                <a:lnTo>
                  <a:pt x="9934" y="19617"/>
                </a:lnTo>
                <a:cubicBezTo>
                  <a:pt x="9286" y="19246"/>
                  <a:pt x="8836" y="18482"/>
                  <a:pt x="8836" y="17589"/>
                </a:cubicBezTo>
                <a:cubicBezTo>
                  <a:pt x="8836" y="16857"/>
                  <a:pt x="9142" y="16215"/>
                  <a:pt x="9609" y="15802"/>
                </a:cubicBezTo>
                <a:lnTo>
                  <a:pt x="9335" y="16984"/>
                </a:lnTo>
                <a:cubicBezTo>
                  <a:pt x="9303" y="17124"/>
                  <a:pt x="9317" y="17279"/>
                  <a:pt x="9384" y="17415"/>
                </a:cubicBezTo>
                <a:cubicBezTo>
                  <a:pt x="9520" y="17686"/>
                  <a:pt x="9820" y="17779"/>
                  <a:pt x="10055" y="17623"/>
                </a:cubicBezTo>
                <a:cubicBezTo>
                  <a:pt x="10172" y="17544"/>
                  <a:pt x="10251" y="17418"/>
                  <a:pt x="10283" y="17278"/>
                </a:cubicBezTo>
                <a:lnTo>
                  <a:pt x="10823" y="14952"/>
                </a:lnTo>
                <a:cubicBezTo>
                  <a:pt x="10855" y="14812"/>
                  <a:pt x="10841" y="14658"/>
                  <a:pt x="10773" y="1452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0" name="Shape 2850"/>
          <p:cNvSpPr/>
          <p:nvPr/>
        </p:nvSpPr>
        <p:spPr>
          <a:xfrm>
            <a:off x="11357242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" y="0"/>
                </a:move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cubicBezTo>
                  <a:pt x="11607" y="982"/>
                  <a:pt x="20618" y="9993"/>
                  <a:pt x="20618" y="21109"/>
                </a:cubicBezTo>
                <a:cubicBezTo>
                  <a:pt x="20618" y="21380"/>
                  <a:pt x="20838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9451"/>
                  <a:pt x="12149" y="0"/>
                  <a:pt x="491" y="0"/>
                </a:cubicBezTo>
                <a:moveTo>
                  <a:pt x="491" y="9818"/>
                </a:moveTo>
                <a:cubicBezTo>
                  <a:pt x="220" y="9818"/>
                  <a:pt x="0" y="10038"/>
                  <a:pt x="0" y="10309"/>
                </a:cubicBezTo>
                <a:cubicBezTo>
                  <a:pt x="0" y="10581"/>
                  <a:pt x="220" y="10800"/>
                  <a:pt x="491" y="10800"/>
                </a:cubicBezTo>
                <a:cubicBezTo>
                  <a:pt x="6184" y="10800"/>
                  <a:pt x="10800" y="15416"/>
                  <a:pt x="10800" y="21109"/>
                </a:cubicBezTo>
                <a:cubicBezTo>
                  <a:pt x="10800" y="21380"/>
                  <a:pt x="11020" y="21600"/>
                  <a:pt x="11291" y="21600"/>
                </a:cubicBezTo>
                <a:cubicBezTo>
                  <a:pt x="11562" y="21600"/>
                  <a:pt x="11782" y="21380"/>
                  <a:pt x="11782" y="21109"/>
                </a:cubicBezTo>
                <a:cubicBezTo>
                  <a:pt x="11782" y="14873"/>
                  <a:pt x="6727" y="9818"/>
                  <a:pt x="491" y="9818"/>
                </a:cubicBezTo>
                <a:moveTo>
                  <a:pt x="491" y="4909"/>
                </a:moveTo>
                <a:cubicBezTo>
                  <a:pt x="220" y="4909"/>
                  <a:pt x="0" y="5129"/>
                  <a:pt x="0" y="5400"/>
                </a:cubicBezTo>
                <a:cubicBezTo>
                  <a:pt x="0" y="5672"/>
                  <a:pt x="220" y="5891"/>
                  <a:pt x="491" y="5891"/>
                </a:cubicBezTo>
                <a:cubicBezTo>
                  <a:pt x="8896" y="5891"/>
                  <a:pt x="15709" y="12705"/>
                  <a:pt x="15709" y="21109"/>
                </a:cubicBez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cubicBezTo>
                  <a:pt x="16691" y="12162"/>
                  <a:pt x="9438" y="4909"/>
                  <a:pt x="491" y="4909"/>
                </a:cubicBezTo>
                <a:moveTo>
                  <a:pt x="2945" y="20618"/>
                </a:moveTo>
                <a:cubicBezTo>
                  <a:pt x="1861" y="20618"/>
                  <a:pt x="982" y="19739"/>
                  <a:pt x="982" y="18655"/>
                </a:cubicBezTo>
                <a:cubicBezTo>
                  <a:pt x="982" y="17570"/>
                  <a:pt x="1861" y="16691"/>
                  <a:pt x="2945" y="16691"/>
                </a:cubicBezTo>
                <a:cubicBezTo>
                  <a:pt x="4030" y="16691"/>
                  <a:pt x="4909" y="17570"/>
                  <a:pt x="4909" y="18655"/>
                </a:cubicBezTo>
                <a:cubicBezTo>
                  <a:pt x="4909" y="19739"/>
                  <a:pt x="4030" y="20618"/>
                  <a:pt x="2945" y="20618"/>
                </a:cubicBezTo>
                <a:moveTo>
                  <a:pt x="2945" y="15709"/>
                </a:moveTo>
                <a:cubicBezTo>
                  <a:pt x="1319" y="15709"/>
                  <a:pt x="0" y="17028"/>
                  <a:pt x="0" y="18655"/>
                </a:cubicBezTo>
                <a:cubicBezTo>
                  <a:pt x="0" y="20281"/>
                  <a:pt x="1319" y="21600"/>
                  <a:pt x="2945" y="21600"/>
                </a:cubicBezTo>
                <a:cubicBezTo>
                  <a:pt x="4573" y="21600"/>
                  <a:pt x="5891" y="20281"/>
                  <a:pt x="5891" y="18655"/>
                </a:cubicBezTo>
                <a:cubicBezTo>
                  <a:pt x="5891" y="17028"/>
                  <a:pt x="4573" y="15709"/>
                  <a:pt x="2945" y="157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1" name="Shape 2851"/>
          <p:cNvSpPr/>
          <p:nvPr/>
        </p:nvSpPr>
        <p:spPr>
          <a:xfrm>
            <a:off x="1758543" y="879513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10309"/>
                </a:moveTo>
                <a:lnTo>
                  <a:pt x="4909" y="10309"/>
                </a:lnTo>
                <a:cubicBezTo>
                  <a:pt x="4638" y="10309"/>
                  <a:pt x="4418" y="10529"/>
                  <a:pt x="4418" y="10800"/>
                </a:cubicBezTo>
                <a:cubicBezTo>
                  <a:pt x="4418" y="11071"/>
                  <a:pt x="4638" y="11291"/>
                  <a:pt x="4909" y="11291"/>
                </a:cubicBezTo>
                <a:lnTo>
                  <a:pt x="5891" y="11291"/>
                </a:lnTo>
                <a:cubicBezTo>
                  <a:pt x="8331" y="11291"/>
                  <a:pt x="10309" y="13269"/>
                  <a:pt x="10309" y="15709"/>
                </a:cubicBezTo>
                <a:lnTo>
                  <a:pt x="10309" y="16691"/>
                </a:lnTo>
                <a:cubicBezTo>
                  <a:pt x="10309" y="16962"/>
                  <a:pt x="10529" y="17182"/>
                  <a:pt x="10800" y="17182"/>
                </a:cubicBezTo>
                <a:cubicBezTo>
                  <a:pt x="11071" y="17182"/>
                  <a:pt x="11291" y="16962"/>
                  <a:pt x="11291" y="16691"/>
                </a:cubicBezTo>
                <a:lnTo>
                  <a:pt x="11291" y="15709"/>
                </a:lnTo>
                <a:cubicBezTo>
                  <a:pt x="11291" y="12727"/>
                  <a:pt x="8873" y="10309"/>
                  <a:pt x="5891" y="10309"/>
                </a:cubicBezTo>
                <a:moveTo>
                  <a:pt x="5891" y="7364"/>
                </a:moveTo>
                <a:lnTo>
                  <a:pt x="4909" y="7364"/>
                </a:lnTo>
                <a:cubicBezTo>
                  <a:pt x="4638" y="7364"/>
                  <a:pt x="4418" y="7583"/>
                  <a:pt x="4418" y="7855"/>
                </a:cubicBezTo>
                <a:cubicBezTo>
                  <a:pt x="4418" y="8126"/>
                  <a:pt x="4638" y="8345"/>
                  <a:pt x="4909" y="8345"/>
                </a:cubicBezTo>
                <a:lnTo>
                  <a:pt x="5891" y="8345"/>
                </a:lnTo>
                <a:cubicBezTo>
                  <a:pt x="9958" y="8345"/>
                  <a:pt x="13255" y="11642"/>
                  <a:pt x="13255" y="15709"/>
                </a:cubicBezTo>
                <a:lnTo>
                  <a:pt x="13255" y="16691"/>
                </a:lnTo>
                <a:cubicBezTo>
                  <a:pt x="13255" y="16962"/>
                  <a:pt x="13475" y="17182"/>
                  <a:pt x="13745" y="17182"/>
                </a:cubicBezTo>
                <a:cubicBezTo>
                  <a:pt x="14016" y="17182"/>
                  <a:pt x="14236" y="16962"/>
                  <a:pt x="14236" y="16691"/>
                </a:cubicBezTo>
                <a:lnTo>
                  <a:pt x="14236" y="15709"/>
                </a:lnTo>
                <a:cubicBezTo>
                  <a:pt x="14236" y="11100"/>
                  <a:pt x="10500" y="7364"/>
                  <a:pt x="5891" y="7364"/>
                </a:cubicBezTo>
                <a:moveTo>
                  <a:pt x="6382" y="16200"/>
                </a:moveTo>
                <a:cubicBezTo>
                  <a:pt x="5840" y="16200"/>
                  <a:pt x="5400" y="15761"/>
                  <a:pt x="5400" y="15218"/>
                </a:cubicBezTo>
                <a:cubicBezTo>
                  <a:pt x="5400" y="14676"/>
                  <a:pt x="5840" y="14236"/>
                  <a:pt x="6382" y="14236"/>
                </a:cubicBezTo>
                <a:cubicBezTo>
                  <a:pt x="6924" y="14236"/>
                  <a:pt x="7364" y="14676"/>
                  <a:pt x="7364" y="15218"/>
                </a:cubicBezTo>
                <a:cubicBezTo>
                  <a:pt x="7364" y="15761"/>
                  <a:pt x="6924" y="16200"/>
                  <a:pt x="6382" y="16200"/>
                </a:cubicBezTo>
                <a:moveTo>
                  <a:pt x="6382" y="13255"/>
                </a:moveTo>
                <a:cubicBezTo>
                  <a:pt x="5297" y="13255"/>
                  <a:pt x="4418" y="14134"/>
                  <a:pt x="4418" y="15218"/>
                </a:cubicBezTo>
                <a:cubicBezTo>
                  <a:pt x="4418" y="16303"/>
                  <a:pt x="5297" y="17182"/>
                  <a:pt x="6382" y="17182"/>
                </a:cubicBezTo>
                <a:cubicBezTo>
                  <a:pt x="7466" y="17182"/>
                  <a:pt x="8345" y="16303"/>
                  <a:pt x="8345" y="15218"/>
                </a:cubicBezTo>
                <a:cubicBezTo>
                  <a:pt x="8345" y="14134"/>
                  <a:pt x="7466" y="13255"/>
                  <a:pt x="6382" y="13255"/>
                </a:cubicBezTo>
                <a:moveTo>
                  <a:pt x="5891" y="4418"/>
                </a:moveTo>
                <a:lnTo>
                  <a:pt x="4909" y="4418"/>
                </a:lnTo>
                <a:cubicBezTo>
                  <a:pt x="4638" y="4418"/>
                  <a:pt x="4418" y="4638"/>
                  <a:pt x="4418" y="4909"/>
                </a:cubicBezTo>
                <a:cubicBezTo>
                  <a:pt x="4418" y="5180"/>
                  <a:pt x="4638" y="5400"/>
                  <a:pt x="4909" y="5400"/>
                </a:cubicBezTo>
                <a:lnTo>
                  <a:pt x="5891" y="5400"/>
                </a:lnTo>
                <a:cubicBezTo>
                  <a:pt x="11585" y="5400"/>
                  <a:pt x="16200" y="10016"/>
                  <a:pt x="16200" y="15709"/>
                </a:cubicBezTo>
                <a:lnTo>
                  <a:pt x="16200" y="16691"/>
                </a:lnTo>
                <a:cubicBezTo>
                  <a:pt x="16200" y="16962"/>
                  <a:pt x="16420" y="17182"/>
                  <a:pt x="16691" y="17182"/>
                </a:cubicBezTo>
                <a:cubicBezTo>
                  <a:pt x="16962" y="17182"/>
                  <a:pt x="17182" y="16962"/>
                  <a:pt x="17182" y="16691"/>
                </a:cubicBezTo>
                <a:lnTo>
                  <a:pt x="17182" y="15709"/>
                </a:lnTo>
                <a:cubicBezTo>
                  <a:pt x="17182" y="9473"/>
                  <a:pt x="12127" y="4418"/>
                  <a:pt x="5891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2" name="Shape 2852"/>
          <p:cNvSpPr/>
          <p:nvPr/>
        </p:nvSpPr>
        <p:spPr>
          <a:xfrm>
            <a:off x="2850460" y="8795137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44" y="12617"/>
                </a:moveTo>
                <a:cubicBezTo>
                  <a:pt x="14459" y="12872"/>
                  <a:pt x="14634" y="13163"/>
                  <a:pt x="14771" y="13485"/>
                </a:cubicBezTo>
                <a:cubicBezTo>
                  <a:pt x="16295" y="12407"/>
                  <a:pt x="17280" y="10728"/>
                  <a:pt x="17280" y="8836"/>
                </a:cubicBezTo>
                <a:cubicBezTo>
                  <a:pt x="17280" y="5583"/>
                  <a:pt x="14379" y="2945"/>
                  <a:pt x="10800" y="2945"/>
                </a:cubicBezTo>
                <a:cubicBezTo>
                  <a:pt x="7221" y="2945"/>
                  <a:pt x="4320" y="5583"/>
                  <a:pt x="4320" y="8836"/>
                </a:cubicBezTo>
                <a:cubicBezTo>
                  <a:pt x="4320" y="10714"/>
                  <a:pt x="5289" y="12382"/>
                  <a:pt x="6794" y="13461"/>
                </a:cubicBezTo>
                <a:cubicBezTo>
                  <a:pt x="6928" y="13135"/>
                  <a:pt x="7106" y="12845"/>
                  <a:pt x="7323" y="12590"/>
                </a:cubicBezTo>
                <a:cubicBezTo>
                  <a:pt x="6148" y="11689"/>
                  <a:pt x="5400" y="10343"/>
                  <a:pt x="5400" y="8836"/>
                </a:cubicBezTo>
                <a:cubicBezTo>
                  <a:pt x="5400" y="6125"/>
                  <a:pt x="7818" y="3927"/>
                  <a:pt x="10800" y="3927"/>
                </a:cubicBezTo>
                <a:cubicBezTo>
                  <a:pt x="13782" y="3927"/>
                  <a:pt x="16200" y="6125"/>
                  <a:pt x="16200" y="8836"/>
                </a:cubicBezTo>
                <a:cubicBezTo>
                  <a:pt x="16200" y="10358"/>
                  <a:pt x="15439" y="11717"/>
                  <a:pt x="14244" y="12617"/>
                </a:cubicBezTo>
                <a:moveTo>
                  <a:pt x="10800" y="0"/>
                </a:moveTo>
                <a:cubicBezTo>
                  <a:pt x="4836" y="0"/>
                  <a:pt x="0" y="4396"/>
                  <a:pt x="0" y="9818"/>
                </a:cubicBezTo>
                <a:cubicBezTo>
                  <a:pt x="0" y="14007"/>
                  <a:pt x="2891" y="17573"/>
                  <a:pt x="6953" y="18983"/>
                </a:cubicBezTo>
                <a:cubicBezTo>
                  <a:pt x="6874" y="18609"/>
                  <a:pt x="6803" y="18223"/>
                  <a:pt x="6741" y="17840"/>
                </a:cubicBezTo>
                <a:cubicBezTo>
                  <a:pt x="3402" y="16441"/>
                  <a:pt x="1080" y="13379"/>
                  <a:pt x="1080" y="9818"/>
                </a:cubicBezTo>
                <a:cubicBezTo>
                  <a:pt x="1080" y="4938"/>
                  <a:pt x="5432" y="982"/>
                  <a:pt x="10800" y="982"/>
                </a:cubicBezTo>
                <a:cubicBezTo>
                  <a:pt x="16168" y="982"/>
                  <a:pt x="20520" y="4938"/>
                  <a:pt x="20520" y="9818"/>
                </a:cubicBezTo>
                <a:cubicBezTo>
                  <a:pt x="20520" y="13374"/>
                  <a:pt x="18204" y="16431"/>
                  <a:pt x="14874" y="17833"/>
                </a:cubicBezTo>
                <a:cubicBezTo>
                  <a:pt x="14812" y="18216"/>
                  <a:pt x="14740" y="18603"/>
                  <a:pt x="14660" y="18979"/>
                </a:cubicBezTo>
                <a:cubicBezTo>
                  <a:pt x="18716" y="17565"/>
                  <a:pt x="21600" y="14002"/>
                  <a:pt x="21600" y="9818"/>
                </a:cubicBezTo>
                <a:cubicBezTo>
                  <a:pt x="21600" y="4396"/>
                  <a:pt x="16765" y="0"/>
                  <a:pt x="10800" y="0"/>
                </a:cubicBezTo>
                <a:moveTo>
                  <a:pt x="10800" y="7364"/>
                </a:moveTo>
                <a:cubicBezTo>
                  <a:pt x="11695" y="7364"/>
                  <a:pt x="12420" y="8023"/>
                  <a:pt x="12420" y="8836"/>
                </a:cubicBezTo>
                <a:cubicBezTo>
                  <a:pt x="12420" y="9649"/>
                  <a:pt x="11695" y="10309"/>
                  <a:pt x="10800" y="10309"/>
                </a:cubicBezTo>
                <a:cubicBezTo>
                  <a:pt x="9905" y="10309"/>
                  <a:pt x="9180" y="9649"/>
                  <a:pt x="9180" y="8836"/>
                </a:cubicBezTo>
                <a:cubicBezTo>
                  <a:pt x="9180" y="8023"/>
                  <a:pt x="9905" y="7364"/>
                  <a:pt x="10800" y="7364"/>
                </a:cubicBezTo>
                <a:moveTo>
                  <a:pt x="10800" y="11291"/>
                </a:moveTo>
                <a:cubicBezTo>
                  <a:pt x="12292" y="11291"/>
                  <a:pt x="13500" y="10192"/>
                  <a:pt x="13500" y="8836"/>
                </a:cubicBezTo>
                <a:cubicBezTo>
                  <a:pt x="13500" y="7481"/>
                  <a:pt x="12292" y="6382"/>
                  <a:pt x="10800" y="6382"/>
                </a:cubicBezTo>
                <a:cubicBezTo>
                  <a:pt x="9309" y="6382"/>
                  <a:pt x="8100" y="7481"/>
                  <a:pt x="8100" y="8836"/>
                </a:cubicBezTo>
                <a:cubicBezTo>
                  <a:pt x="8100" y="10192"/>
                  <a:pt x="9309" y="11291"/>
                  <a:pt x="10800" y="11291"/>
                </a:cubicBezTo>
                <a:moveTo>
                  <a:pt x="11994" y="20179"/>
                </a:moveTo>
                <a:cubicBezTo>
                  <a:pt x="11855" y="20433"/>
                  <a:pt x="11737" y="20560"/>
                  <a:pt x="11673" y="20618"/>
                </a:cubicBezTo>
                <a:lnTo>
                  <a:pt x="9927" y="20618"/>
                </a:lnTo>
                <a:cubicBezTo>
                  <a:pt x="9862" y="20560"/>
                  <a:pt x="9745" y="20433"/>
                  <a:pt x="9606" y="20179"/>
                </a:cubicBezTo>
                <a:cubicBezTo>
                  <a:pt x="9182" y="19408"/>
                  <a:pt x="8640" y="16626"/>
                  <a:pt x="8640" y="15218"/>
                </a:cubicBezTo>
                <a:cubicBezTo>
                  <a:pt x="8640" y="13768"/>
                  <a:pt x="9205" y="13255"/>
                  <a:pt x="10800" y="13255"/>
                </a:cubicBezTo>
                <a:cubicBezTo>
                  <a:pt x="12395" y="13255"/>
                  <a:pt x="12960" y="13768"/>
                  <a:pt x="12960" y="15218"/>
                </a:cubicBezTo>
                <a:cubicBezTo>
                  <a:pt x="12960" y="16626"/>
                  <a:pt x="12418" y="19408"/>
                  <a:pt x="11994" y="20179"/>
                </a:cubicBezTo>
                <a:moveTo>
                  <a:pt x="10800" y="12273"/>
                </a:moveTo>
                <a:cubicBezTo>
                  <a:pt x="8100" y="12273"/>
                  <a:pt x="7560" y="13745"/>
                  <a:pt x="7560" y="15218"/>
                </a:cubicBezTo>
                <a:cubicBezTo>
                  <a:pt x="7560" y="16691"/>
                  <a:pt x="8100" y="19636"/>
                  <a:pt x="8640" y="20618"/>
                </a:cubicBezTo>
                <a:cubicBezTo>
                  <a:pt x="9180" y="21600"/>
                  <a:pt x="9720" y="21600"/>
                  <a:pt x="9720" y="21600"/>
                </a:cubicBezTo>
                <a:lnTo>
                  <a:pt x="11880" y="21600"/>
                </a:lnTo>
                <a:cubicBezTo>
                  <a:pt x="11880" y="21600"/>
                  <a:pt x="12420" y="21600"/>
                  <a:pt x="12960" y="20618"/>
                </a:cubicBezTo>
                <a:cubicBezTo>
                  <a:pt x="13500" y="19636"/>
                  <a:pt x="14040" y="16691"/>
                  <a:pt x="14040" y="15218"/>
                </a:cubicBezTo>
                <a:cubicBezTo>
                  <a:pt x="14040" y="13745"/>
                  <a:pt x="13500" y="12273"/>
                  <a:pt x="10800" y="122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3" name="Shape 2853"/>
          <p:cNvSpPr/>
          <p:nvPr/>
        </p:nvSpPr>
        <p:spPr>
          <a:xfrm>
            <a:off x="3942375" y="879513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8836"/>
                </a:moveTo>
                <a:cubicBezTo>
                  <a:pt x="9600" y="8295"/>
                  <a:pt x="10138" y="7855"/>
                  <a:pt x="10800" y="7855"/>
                </a:cubicBezTo>
                <a:cubicBezTo>
                  <a:pt x="11462" y="7855"/>
                  <a:pt x="12000" y="8295"/>
                  <a:pt x="12000" y="8836"/>
                </a:cubicBezTo>
                <a:cubicBezTo>
                  <a:pt x="12000" y="9378"/>
                  <a:pt x="11462" y="9818"/>
                  <a:pt x="10800" y="9818"/>
                </a:cubicBezTo>
                <a:cubicBezTo>
                  <a:pt x="10138" y="9818"/>
                  <a:pt x="9600" y="9378"/>
                  <a:pt x="9600" y="8836"/>
                </a:cubicBezTo>
                <a:moveTo>
                  <a:pt x="13200" y="8836"/>
                </a:moveTo>
                <a:cubicBezTo>
                  <a:pt x="13200" y="7752"/>
                  <a:pt x="12125" y="6873"/>
                  <a:pt x="10800" y="6873"/>
                </a:cubicBezTo>
                <a:cubicBezTo>
                  <a:pt x="9475" y="6873"/>
                  <a:pt x="8400" y="7752"/>
                  <a:pt x="8400" y="8836"/>
                </a:cubicBezTo>
                <a:cubicBezTo>
                  <a:pt x="8400" y="9921"/>
                  <a:pt x="9475" y="10800"/>
                  <a:pt x="10800" y="10800"/>
                </a:cubicBezTo>
                <a:cubicBezTo>
                  <a:pt x="12125" y="10800"/>
                  <a:pt x="13200" y="9921"/>
                  <a:pt x="13200" y="8836"/>
                </a:cubicBezTo>
                <a:moveTo>
                  <a:pt x="17400" y="8836"/>
                </a:moveTo>
                <a:cubicBezTo>
                  <a:pt x="17400" y="5854"/>
                  <a:pt x="14445" y="3436"/>
                  <a:pt x="10800" y="3436"/>
                </a:cubicBezTo>
                <a:cubicBezTo>
                  <a:pt x="7155" y="3436"/>
                  <a:pt x="4200" y="5854"/>
                  <a:pt x="4200" y="8836"/>
                </a:cubicBezTo>
                <a:cubicBezTo>
                  <a:pt x="4200" y="10437"/>
                  <a:pt x="5056" y="11870"/>
                  <a:pt x="6408" y="12860"/>
                </a:cubicBezTo>
                <a:cubicBezTo>
                  <a:pt x="6570" y="12537"/>
                  <a:pt x="6778" y="12249"/>
                  <a:pt x="7035" y="12000"/>
                </a:cubicBezTo>
                <a:cubicBezTo>
                  <a:pt x="6028" y="11198"/>
                  <a:pt x="5400" y="10078"/>
                  <a:pt x="5400" y="8836"/>
                </a:cubicBezTo>
                <a:cubicBezTo>
                  <a:pt x="5400" y="6396"/>
                  <a:pt x="7818" y="4418"/>
                  <a:pt x="10800" y="4418"/>
                </a:cubicBezTo>
                <a:cubicBezTo>
                  <a:pt x="13783" y="4418"/>
                  <a:pt x="16200" y="6396"/>
                  <a:pt x="16200" y="8836"/>
                </a:cubicBezTo>
                <a:cubicBezTo>
                  <a:pt x="16200" y="10094"/>
                  <a:pt x="15555" y="11226"/>
                  <a:pt x="14524" y="12030"/>
                </a:cubicBezTo>
                <a:cubicBezTo>
                  <a:pt x="14780" y="12280"/>
                  <a:pt x="14989" y="12568"/>
                  <a:pt x="15154" y="12887"/>
                </a:cubicBezTo>
                <a:cubicBezTo>
                  <a:pt x="16528" y="11898"/>
                  <a:pt x="17400" y="10452"/>
                  <a:pt x="17400" y="8836"/>
                </a:cubicBezTo>
                <a:moveTo>
                  <a:pt x="10800" y="0"/>
                </a:moveTo>
                <a:cubicBezTo>
                  <a:pt x="4835" y="0"/>
                  <a:pt x="0" y="3957"/>
                  <a:pt x="0" y="8836"/>
                </a:cubicBezTo>
                <a:cubicBezTo>
                  <a:pt x="0" y="12363"/>
                  <a:pt x="2531" y="15397"/>
                  <a:pt x="6181" y="16815"/>
                </a:cubicBezTo>
                <a:cubicBezTo>
                  <a:pt x="6125" y="16401"/>
                  <a:pt x="6080" y="16009"/>
                  <a:pt x="6049" y="15656"/>
                </a:cubicBezTo>
                <a:cubicBezTo>
                  <a:pt x="3155" y="14303"/>
                  <a:pt x="1200" y="11759"/>
                  <a:pt x="1200" y="8836"/>
                </a:cubicBezTo>
                <a:cubicBezTo>
                  <a:pt x="1200" y="4499"/>
                  <a:pt x="5498" y="982"/>
                  <a:pt x="10800" y="982"/>
                </a:cubicBezTo>
                <a:cubicBezTo>
                  <a:pt x="16102" y="982"/>
                  <a:pt x="20400" y="4499"/>
                  <a:pt x="20400" y="8836"/>
                </a:cubicBezTo>
                <a:cubicBezTo>
                  <a:pt x="20400" y="11756"/>
                  <a:pt x="18449" y="14298"/>
                  <a:pt x="15560" y="15652"/>
                </a:cubicBezTo>
                <a:cubicBezTo>
                  <a:pt x="15532" y="16000"/>
                  <a:pt x="15490" y="16392"/>
                  <a:pt x="15433" y="16809"/>
                </a:cubicBezTo>
                <a:cubicBezTo>
                  <a:pt x="19076" y="15390"/>
                  <a:pt x="21600" y="12358"/>
                  <a:pt x="21600" y="8836"/>
                </a:cubicBezTo>
                <a:cubicBezTo>
                  <a:pt x="21600" y="3957"/>
                  <a:pt x="16765" y="0"/>
                  <a:pt x="10800" y="0"/>
                </a:cubicBezTo>
                <a:moveTo>
                  <a:pt x="12127" y="20179"/>
                </a:moveTo>
                <a:cubicBezTo>
                  <a:pt x="11972" y="20432"/>
                  <a:pt x="11842" y="20560"/>
                  <a:pt x="11770" y="20618"/>
                </a:cubicBezTo>
                <a:lnTo>
                  <a:pt x="9830" y="20618"/>
                </a:lnTo>
                <a:cubicBezTo>
                  <a:pt x="9758" y="20560"/>
                  <a:pt x="9628" y="20432"/>
                  <a:pt x="9473" y="20179"/>
                </a:cubicBezTo>
                <a:cubicBezTo>
                  <a:pt x="9032" y="19457"/>
                  <a:pt x="8400" y="16247"/>
                  <a:pt x="8400" y="14727"/>
                </a:cubicBezTo>
                <a:cubicBezTo>
                  <a:pt x="8400" y="13278"/>
                  <a:pt x="9028" y="12764"/>
                  <a:pt x="10800" y="12764"/>
                </a:cubicBezTo>
                <a:cubicBezTo>
                  <a:pt x="12572" y="12764"/>
                  <a:pt x="13200" y="13278"/>
                  <a:pt x="13200" y="14727"/>
                </a:cubicBezTo>
                <a:cubicBezTo>
                  <a:pt x="13200" y="16247"/>
                  <a:pt x="12568" y="19457"/>
                  <a:pt x="12127" y="20179"/>
                </a:cubicBezTo>
                <a:moveTo>
                  <a:pt x="10800" y="11782"/>
                </a:moveTo>
                <a:cubicBezTo>
                  <a:pt x="7800" y="11782"/>
                  <a:pt x="7200" y="13255"/>
                  <a:pt x="7200" y="14727"/>
                </a:cubicBezTo>
                <a:cubicBezTo>
                  <a:pt x="7200" y="16200"/>
                  <a:pt x="7800" y="19636"/>
                  <a:pt x="8400" y="20618"/>
                </a:cubicBezTo>
                <a:cubicBezTo>
                  <a:pt x="9000" y="21600"/>
                  <a:pt x="9600" y="21600"/>
                  <a:pt x="9600" y="21600"/>
                </a:cubicBezTo>
                <a:lnTo>
                  <a:pt x="12000" y="21600"/>
                </a:lnTo>
                <a:cubicBezTo>
                  <a:pt x="12000" y="21600"/>
                  <a:pt x="12600" y="21600"/>
                  <a:pt x="13200" y="20618"/>
                </a:cubicBezTo>
                <a:cubicBezTo>
                  <a:pt x="13800" y="19636"/>
                  <a:pt x="14400" y="16200"/>
                  <a:pt x="14400" y="14727"/>
                </a:cubicBezTo>
                <a:cubicBezTo>
                  <a:pt x="14400" y="13255"/>
                  <a:pt x="13800" y="11782"/>
                  <a:pt x="10800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4" name="Shape 2854"/>
          <p:cNvSpPr/>
          <p:nvPr/>
        </p:nvSpPr>
        <p:spPr>
          <a:xfrm>
            <a:off x="4958109" y="8795137"/>
            <a:ext cx="558525" cy="5585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52" y="3921"/>
                </a:moveTo>
                <a:cubicBezTo>
                  <a:pt x="18338" y="3921"/>
                  <a:pt x="17679" y="3262"/>
                  <a:pt x="17679" y="2448"/>
                </a:cubicBezTo>
                <a:cubicBezTo>
                  <a:pt x="17679" y="1634"/>
                  <a:pt x="18338" y="975"/>
                  <a:pt x="19152" y="975"/>
                </a:cubicBezTo>
                <a:cubicBezTo>
                  <a:pt x="19966" y="975"/>
                  <a:pt x="20625" y="1634"/>
                  <a:pt x="20625" y="2448"/>
                </a:cubicBezTo>
                <a:cubicBezTo>
                  <a:pt x="20625" y="3262"/>
                  <a:pt x="19966" y="3921"/>
                  <a:pt x="19152" y="3921"/>
                </a:cubicBezTo>
                <a:moveTo>
                  <a:pt x="10804" y="12269"/>
                </a:moveTo>
                <a:cubicBezTo>
                  <a:pt x="9991" y="12269"/>
                  <a:pt x="9331" y="11609"/>
                  <a:pt x="9331" y="10795"/>
                </a:cubicBezTo>
                <a:cubicBezTo>
                  <a:pt x="9331" y="9981"/>
                  <a:pt x="9991" y="9322"/>
                  <a:pt x="10804" y="9322"/>
                </a:cubicBezTo>
                <a:cubicBezTo>
                  <a:pt x="11618" y="9322"/>
                  <a:pt x="12278" y="9981"/>
                  <a:pt x="12278" y="10795"/>
                </a:cubicBezTo>
                <a:cubicBezTo>
                  <a:pt x="12278" y="11609"/>
                  <a:pt x="11618" y="12269"/>
                  <a:pt x="10804" y="12269"/>
                </a:cubicBezTo>
                <a:moveTo>
                  <a:pt x="3930" y="19143"/>
                </a:moveTo>
                <a:cubicBezTo>
                  <a:pt x="3930" y="19956"/>
                  <a:pt x="3271" y="20616"/>
                  <a:pt x="2457" y="20616"/>
                </a:cubicBezTo>
                <a:cubicBezTo>
                  <a:pt x="1643" y="20616"/>
                  <a:pt x="984" y="19956"/>
                  <a:pt x="984" y="19143"/>
                </a:cubicBezTo>
                <a:cubicBezTo>
                  <a:pt x="984" y="18329"/>
                  <a:pt x="1643" y="17669"/>
                  <a:pt x="2457" y="17669"/>
                </a:cubicBezTo>
                <a:cubicBezTo>
                  <a:pt x="3271" y="17669"/>
                  <a:pt x="3930" y="18329"/>
                  <a:pt x="3930" y="19143"/>
                </a:cubicBezTo>
                <a:moveTo>
                  <a:pt x="19148" y="0"/>
                </a:moveTo>
                <a:cubicBezTo>
                  <a:pt x="17793" y="0"/>
                  <a:pt x="16695" y="1098"/>
                  <a:pt x="16695" y="2452"/>
                </a:cubicBezTo>
                <a:cubicBezTo>
                  <a:pt x="16695" y="3640"/>
                  <a:pt x="17539" y="4630"/>
                  <a:pt x="18660" y="4856"/>
                </a:cubicBezTo>
                <a:lnTo>
                  <a:pt x="18660" y="10306"/>
                </a:lnTo>
                <a:lnTo>
                  <a:pt x="13203" y="10306"/>
                </a:lnTo>
                <a:cubicBezTo>
                  <a:pt x="12974" y="9187"/>
                  <a:pt x="11985" y="8347"/>
                  <a:pt x="10800" y="8347"/>
                </a:cubicBezTo>
                <a:cubicBezTo>
                  <a:pt x="9615" y="8347"/>
                  <a:pt x="8626" y="9187"/>
                  <a:pt x="8398" y="10306"/>
                </a:cubicBezTo>
                <a:lnTo>
                  <a:pt x="2456" y="10306"/>
                </a:lnTo>
                <a:cubicBezTo>
                  <a:pt x="2184" y="10306"/>
                  <a:pt x="1965" y="10525"/>
                  <a:pt x="1965" y="10796"/>
                </a:cubicBezTo>
                <a:lnTo>
                  <a:pt x="1965" y="16744"/>
                </a:lnTo>
                <a:cubicBezTo>
                  <a:pt x="844" y="16970"/>
                  <a:pt x="0" y="17960"/>
                  <a:pt x="0" y="19147"/>
                </a:cubicBezTo>
                <a:cubicBezTo>
                  <a:pt x="0" y="20502"/>
                  <a:pt x="1098" y="21600"/>
                  <a:pt x="2453" y="21600"/>
                </a:cubicBezTo>
                <a:cubicBezTo>
                  <a:pt x="3807" y="21600"/>
                  <a:pt x="4905" y="20502"/>
                  <a:pt x="4905" y="19147"/>
                </a:cubicBezTo>
                <a:cubicBezTo>
                  <a:pt x="4905" y="17961"/>
                  <a:pt x="4065" y="16973"/>
                  <a:pt x="2947" y="16744"/>
                </a:cubicBezTo>
                <a:lnTo>
                  <a:pt x="2947" y="11287"/>
                </a:lnTo>
                <a:lnTo>
                  <a:pt x="8397" y="11287"/>
                </a:lnTo>
                <a:cubicBezTo>
                  <a:pt x="8623" y="12408"/>
                  <a:pt x="9613" y="13253"/>
                  <a:pt x="10800" y="13253"/>
                </a:cubicBezTo>
                <a:cubicBezTo>
                  <a:pt x="11988" y="13253"/>
                  <a:pt x="12978" y="12408"/>
                  <a:pt x="13203" y="11287"/>
                </a:cubicBezTo>
                <a:lnTo>
                  <a:pt x="19151" y="11287"/>
                </a:lnTo>
                <a:cubicBezTo>
                  <a:pt x="19422" y="11287"/>
                  <a:pt x="19642" y="11068"/>
                  <a:pt x="19642" y="10796"/>
                </a:cubicBezTo>
                <a:lnTo>
                  <a:pt x="19642" y="4855"/>
                </a:lnTo>
                <a:cubicBezTo>
                  <a:pt x="20759" y="4626"/>
                  <a:pt x="21600" y="3638"/>
                  <a:pt x="21600" y="2452"/>
                </a:cubicBezTo>
                <a:cubicBezTo>
                  <a:pt x="21600" y="1098"/>
                  <a:pt x="20502" y="0"/>
                  <a:pt x="19148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5" name="Shape 2855"/>
          <p:cNvSpPr/>
          <p:nvPr/>
        </p:nvSpPr>
        <p:spPr>
          <a:xfrm>
            <a:off x="6050025" y="8795137"/>
            <a:ext cx="507738" cy="5585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7" y="20616"/>
                </a:moveTo>
                <a:cubicBezTo>
                  <a:pt x="18012" y="20616"/>
                  <a:pt x="17287" y="19956"/>
                  <a:pt x="17287" y="19143"/>
                </a:cubicBezTo>
                <a:cubicBezTo>
                  <a:pt x="17287" y="18329"/>
                  <a:pt x="18012" y="17669"/>
                  <a:pt x="18907" y="17669"/>
                </a:cubicBezTo>
                <a:cubicBezTo>
                  <a:pt x="19802" y="17669"/>
                  <a:pt x="20527" y="18329"/>
                  <a:pt x="20527" y="19143"/>
                </a:cubicBezTo>
                <a:cubicBezTo>
                  <a:pt x="20527" y="19956"/>
                  <a:pt x="19802" y="20616"/>
                  <a:pt x="18907" y="20616"/>
                </a:cubicBezTo>
                <a:moveTo>
                  <a:pt x="2703" y="12269"/>
                </a:moveTo>
                <a:cubicBezTo>
                  <a:pt x="1808" y="12269"/>
                  <a:pt x="1082" y="11609"/>
                  <a:pt x="1082" y="10795"/>
                </a:cubicBezTo>
                <a:cubicBezTo>
                  <a:pt x="1082" y="9981"/>
                  <a:pt x="1808" y="9322"/>
                  <a:pt x="2703" y="9322"/>
                </a:cubicBezTo>
                <a:cubicBezTo>
                  <a:pt x="3598" y="9322"/>
                  <a:pt x="4323" y="9981"/>
                  <a:pt x="4323" y="10795"/>
                </a:cubicBezTo>
                <a:cubicBezTo>
                  <a:pt x="4323" y="11609"/>
                  <a:pt x="3598" y="12269"/>
                  <a:pt x="2703" y="12269"/>
                </a:cubicBezTo>
                <a:moveTo>
                  <a:pt x="18907" y="975"/>
                </a:moveTo>
                <a:cubicBezTo>
                  <a:pt x="19802" y="975"/>
                  <a:pt x="20527" y="1634"/>
                  <a:pt x="20527" y="2448"/>
                </a:cubicBezTo>
                <a:cubicBezTo>
                  <a:pt x="20527" y="3262"/>
                  <a:pt x="19802" y="3921"/>
                  <a:pt x="18907" y="3921"/>
                </a:cubicBezTo>
                <a:cubicBezTo>
                  <a:pt x="18012" y="3921"/>
                  <a:pt x="17287" y="3262"/>
                  <a:pt x="17287" y="2448"/>
                </a:cubicBezTo>
                <a:cubicBezTo>
                  <a:pt x="17287" y="1634"/>
                  <a:pt x="18012" y="975"/>
                  <a:pt x="18907" y="975"/>
                </a:cubicBezTo>
                <a:moveTo>
                  <a:pt x="18902" y="16695"/>
                </a:moveTo>
                <a:cubicBezTo>
                  <a:pt x="18092" y="16695"/>
                  <a:pt x="17374" y="17026"/>
                  <a:pt x="16879" y="17540"/>
                </a:cubicBezTo>
                <a:lnTo>
                  <a:pt x="5253" y="11551"/>
                </a:lnTo>
                <a:cubicBezTo>
                  <a:pt x="5338" y="11314"/>
                  <a:pt x="5396" y="11064"/>
                  <a:pt x="5396" y="10800"/>
                </a:cubicBezTo>
                <a:cubicBezTo>
                  <a:pt x="5396" y="10536"/>
                  <a:pt x="5338" y="10286"/>
                  <a:pt x="5253" y="10048"/>
                </a:cubicBezTo>
                <a:lnTo>
                  <a:pt x="16879" y="4059"/>
                </a:lnTo>
                <a:cubicBezTo>
                  <a:pt x="17373" y="4574"/>
                  <a:pt x="18092" y="4905"/>
                  <a:pt x="18902" y="4905"/>
                </a:cubicBezTo>
                <a:cubicBezTo>
                  <a:pt x="20392" y="4905"/>
                  <a:pt x="21600" y="3807"/>
                  <a:pt x="21600" y="2452"/>
                </a:cubicBezTo>
                <a:cubicBezTo>
                  <a:pt x="21600" y="1098"/>
                  <a:pt x="20392" y="0"/>
                  <a:pt x="18902" y="0"/>
                </a:cubicBezTo>
                <a:cubicBezTo>
                  <a:pt x="17412" y="0"/>
                  <a:pt x="16204" y="1098"/>
                  <a:pt x="16204" y="2452"/>
                </a:cubicBezTo>
                <a:cubicBezTo>
                  <a:pt x="16204" y="2716"/>
                  <a:pt x="16262" y="2966"/>
                  <a:pt x="16347" y="3204"/>
                </a:cubicBezTo>
                <a:lnTo>
                  <a:pt x="4722" y="9193"/>
                </a:lnTo>
                <a:cubicBezTo>
                  <a:pt x="4227" y="8679"/>
                  <a:pt x="3509" y="8347"/>
                  <a:pt x="2698" y="8347"/>
                </a:cubicBezTo>
                <a:cubicBezTo>
                  <a:pt x="1208" y="8347"/>
                  <a:pt x="0" y="9445"/>
                  <a:pt x="0" y="10800"/>
                </a:cubicBezTo>
                <a:cubicBezTo>
                  <a:pt x="0" y="12155"/>
                  <a:pt x="1208" y="13253"/>
                  <a:pt x="2698" y="13253"/>
                </a:cubicBezTo>
                <a:cubicBezTo>
                  <a:pt x="3509" y="13253"/>
                  <a:pt x="4227" y="12921"/>
                  <a:pt x="4722" y="12406"/>
                </a:cubicBezTo>
                <a:lnTo>
                  <a:pt x="16347" y="18395"/>
                </a:lnTo>
                <a:cubicBezTo>
                  <a:pt x="16262" y="18633"/>
                  <a:pt x="16204" y="18883"/>
                  <a:pt x="16204" y="19147"/>
                </a:cubicBezTo>
                <a:cubicBezTo>
                  <a:pt x="16204" y="20502"/>
                  <a:pt x="17412" y="21600"/>
                  <a:pt x="18902" y="21600"/>
                </a:cubicBezTo>
                <a:cubicBezTo>
                  <a:pt x="20392" y="21600"/>
                  <a:pt x="21600" y="20502"/>
                  <a:pt x="21600" y="19147"/>
                </a:cubicBezTo>
                <a:cubicBezTo>
                  <a:pt x="21600" y="17792"/>
                  <a:pt x="20392" y="16695"/>
                  <a:pt x="18902" y="1669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6" name="Shape 2856"/>
          <p:cNvSpPr/>
          <p:nvPr/>
        </p:nvSpPr>
        <p:spPr>
          <a:xfrm>
            <a:off x="7091152" y="8795138"/>
            <a:ext cx="558928" cy="5587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75" y="14735"/>
                </a:moveTo>
                <a:cubicBezTo>
                  <a:pt x="12008" y="15178"/>
                  <a:pt x="11621" y="15531"/>
                  <a:pt x="11226" y="15783"/>
                </a:cubicBezTo>
                <a:cubicBezTo>
                  <a:pt x="10834" y="16035"/>
                  <a:pt x="10421" y="16209"/>
                  <a:pt x="10002" y="16302"/>
                </a:cubicBezTo>
                <a:cubicBezTo>
                  <a:pt x="9027" y="16517"/>
                  <a:pt x="8105" y="16493"/>
                  <a:pt x="7342" y="16179"/>
                </a:cubicBezTo>
                <a:cubicBezTo>
                  <a:pt x="6912" y="16003"/>
                  <a:pt x="6537" y="15755"/>
                  <a:pt x="6227" y="15442"/>
                </a:cubicBezTo>
                <a:cubicBezTo>
                  <a:pt x="5915" y="15129"/>
                  <a:pt x="5669" y="14758"/>
                  <a:pt x="5493" y="14340"/>
                </a:cubicBezTo>
                <a:cubicBezTo>
                  <a:pt x="5317" y="13924"/>
                  <a:pt x="5228" y="13459"/>
                  <a:pt x="5228" y="12958"/>
                </a:cubicBezTo>
                <a:cubicBezTo>
                  <a:pt x="5228" y="12161"/>
                  <a:pt x="5386" y="11302"/>
                  <a:pt x="5698" y="10406"/>
                </a:cubicBezTo>
                <a:cubicBezTo>
                  <a:pt x="6010" y="9509"/>
                  <a:pt x="6454" y="8665"/>
                  <a:pt x="7018" y="7900"/>
                </a:cubicBezTo>
                <a:cubicBezTo>
                  <a:pt x="7579" y="7140"/>
                  <a:pt x="8265" y="6498"/>
                  <a:pt x="9058" y="5993"/>
                </a:cubicBezTo>
                <a:cubicBezTo>
                  <a:pt x="9839" y="5496"/>
                  <a:pt x="10706" y="5245"/>
                  <a:pt x="11636" y="5245"/>
                </a:cubicBezTo>
                <a:cubicBezTo>
                  <a:pt x="12014" y="5245"/>
                  <a:pt x="12413" y="5288"/>
                  <a:pt x="12821" y="5373"/>
                </a:cubicBezTo>
                <a:cubicBezTo>
                  <a:pt x="13224" y="5457"/>
                  <a:pt x="13613" y="5599"/>
                  <a:pt x="13978" y="5795"/>
                </a:cubicBezTo>
                <a:cubicBezTo>
                  <a:pt x="14337" y="5989"/>
                  <a:pt x="14658" y="6246"/>
                  <a:pt x="14931" y="6561"/>
                </a:cubicBezTo>
                <a:cubicBezTo>
                  <a:pt x="15189" y="6858"/>
                  <a:pt x="15389" y="7238"/>
                  <a:pt x="15526" y="7692"/>
                </a:cubicBezTo>
                <a:lnTo>
                  <a:pt x="13353" y="13035"/>
                </a:lnTo>
                <a:cubicBezTo>
                  <a:pt x="13072" y="13720"/>
                  <a:pt x="12743" y="14292"/>
                  <a:pt x="12375" y="14735"/>
                </a:cubicBezTo>
                <a:moveTo>
                  <a:pt x="20215" y="16108"/>
                </a:moveTo>
                <a:cubicBezTo>
                  <a:pt x="19749" y="16741"/>
                  <a:pt x="19196" y="17344"/>
                  <a:pt x="18569" y="17900"/>
                </a:cubicBezTo>
                <a:cubicBezTo>
                  <a:pt x="17943" y="18456"/>
                  <a:pt x="17242" y="18946"/>
                  <a:pt x="16484" y="19359"/>
                </a:cubicBezTo>
                <a:cubicBezTo>
                  <a:pt x="15729" y="19770"/>
                  <a:pt x="14914" y="20096"/>
                  <a:pt x="14064" y="20327"/>
                </a:cubicBezTo>
                <a:cubicBezTo>
                  <a:pt x="13217" y="20556"/>
                  <a:pt x="12316" y="20673"/>
                  <a:pt x="11388" y="20673"/>
                </a:cubicBezTo>
                <a:cubicBezTo>
                  <a:pt x="9991" y="20673"/>
                  <a:pt x="8647" y="20458"/>
                  <a:pt x="7393" y="20036"/>
                </a:cubicBezTo>
                <a:cubicBezTo>
                  <a:pt x="6143" y="19615"/>
                  <a:pt x="5029" y="18981"/>
                  <a:pt x="4083" y="18149"/>
                </a:cubicBezTo>
                <a:cubicBezTo>
                  <a:pt x="3138" y="17320"/>
                  <a:pt x="2378" y="16274"/>
                  <a:pt x="1823" y="15041"/>
                </a:cubicBezTo>
                <a:cubicBezTo>
                  <a:pt x="1269" y="13809"/>
                  <a:pt x="989" y="12357"/>
                  <a:pt x="989" y="10727"/>
                </a:cubicBezTo>
                <a:cubicBezTo>
                  <a:pt x="989" y="9370"/>
                  <a:pt x="1254" y="8086"/>
                  <a:pt x="1777" y="6911"/>
                </a:cubicBezTo>
                <a:cubicBezTo>
                  <a:pt x="2301" y="5736"/>
                  <a:pt x="3037" y="4693"/>
                  <a:pt x="3964" y="3814"/>
                </a:cubicBezTo>
                <a:cubicBezTo>
                  <a:pt x="4892" y="2933"/>
                  <a:pt x="6002" y="2230"/>
                  <a:pt x="7264" y="1722"/>
                </a:cubicBezTo>
                <a:cubicBezTo>
                  <a:pt x="8526" y="1215"/>
                  <a:pt x="9914" y="958"/>
                  <a:pt x="11388" y="958"/>
                </a:cubicBezTo>
                <a:cubicBezTo>
                  <a:pt x="12700" y="958"/>
                  <a:pt x="13940" y="1156"/>
                  <a:pt x="15072" y="1549"/>
                </a:cubicBezTo>
                <a:cubicBezTo>
                  <a:pt x="16200" y="1942"/>
                  <a:pt x="17185" y="2497"/>
                  <a:pt x="17998" y="3203"/>
                </a:cubicBezTo>
                <a:cubicBezTo>
                  <a:pt x="18809" y="3906"/>
                  <a:pt x="19455" y="4765"/>
                  <a:pt x="19917" y="5754"/>
                </a:cubicBezTo>
                <a:cubicBezTo>
                  <a:pt x="20377" y="6743"/>
                  <a:pt x="20611" y="7843"/>
                  <a:pt x="20611" y="9023"/>
                </a:cubicBezTo>
                <a:cubicBezTo>
                  <a:pt x="20611" y="10070"/>
                  <a:pt x="20418" y="11059"/>
                  <a:pt x="20038" y="11962"/>
                </a:cubicBezTo>
                <a:cubicBezTo>
                  <a:pt x="19656" y="12869"/>
                  <a:pt x="19171" y="13663"/>
                  <a:pt x="18598" y="14320"/>
                </a:cubicBezTo>
                <a:cubicBezTo>
                  <a:pt x="18028" y="14976"/>
                  <a:pt x="17393" y="15502"/>
                  <a:pt x="16714" y="15880"/>
                </a:cubicBezTo>
                <a:cubicBezTo>
                  <a:pt x="16044" y="16255"/>
                  <a:pt x="15398" y="16444"/>
                  <a:pt x="14792" y="16444"/>
                </a:cubicBezTo>
                <a:cubicBezTo>
                  <a:pt x="14424" y="16444"/>
                  <a:pt x="14151" y="16374"/>
                  <a:pt x="13980" y="16235"/>
                </a:cubicBezTo>
                <a:cubicBezTo>
                  <a:pt x="13810" y="16098"/>
                  <a:pt x="13710" y="15916"/>
                  <a:pt x="13675" y="15677"/>
                </a:cubicBezTo>
                <a:cubicBezTo>
                  <a:pt x="13638" y="15420"/>
                  <a:pt x="13667" y="15109"/>
                  <a:pt x="13764" y="14754"/>
                </a:cubicBezTo>
                <a:cubicBezTo>
                  <a:pt x="13864" y="14385"/>
                  <a:pt x="14007" y="13983"/>
                  <a:pt x="14190" y="13556"/>
                </a:cubicBezTo>
                <a:lnTo>
                  <a:pt x="17729" y="4845"/>
                </a:lnTo>
                <a:lnTo>
                  <a:pt x="16677" y="4845"/>
                </a:lnTo>
                <a:lnTo>
                  <a:pt x="16026" y="6544"/>
                </a:lnTo>
                <a:cubicBezTo>
                  <a:pt x="15715" y="5890"/>
                  <a:pt x="15207" y="5363"/>
                  <a:pt x="14512" y="4972"/>
                </a:cubicBezTo>
                <a:cubicBezTo>
                  <a:pt x="13703" y="4517"/>
                  <a:pt x="12777" y="4287"/>
                  <a:pt x="11759" y="4287"/>
                </a:cubicBezTo>
                <a:cubicBezTo>
                  <a:pt x="10637" y="4287"/>
                  <a:pt x="9596" y="4568"/>
                  <a:pt x="8663" y="5121"/>
                </a:cubicBezTo>
                <a:cubicBezTo>
                  <a:pt x="7739" y="5669"/>
                  <a:pt x="6940" y="6381"/>
                  <a:pt x="6289" y="7238"/>
                </a:cubicBezTo>
                <a:cubicBezTo>
                  <a:pt x="5641" y="8091"/>
                  <a:pt x="5132" y="9032"/>
                  <a:pt x="4777" y="10034"/>
                </a:cubicBezTo>
                <a:cubicBezTo>
                  <a:pt x="4420" y="11037"/>
                  <a:pt x="4240" y="12021"/>
                  <a:pt x="4240" y="12958"/>
                </a:cubicBezTo>
                <a:cubicBezTo>
                  <a:pt x="4240" y="13568"/>
                  <a:pt x="4354" y="14151"/>
                  <a:pt x="4579" y="14689"/>
                </a:cubicBezTo>
                <a:cubicBezTo>
                  <a:pt x="4804" y="15227"/>
                  <a:pt x="5113" y="15701"/>
                  <a:pt x="5499" y="16097"/>
                </a:cubicBezTo>
                <a:cubicBezTo>
                  <a:pt x="5887" y="16495"/>
                  <a:pt x="6354" y="16815"/>
                  <a:pt x="6889" y="17048"/>
                </a:cubicBezTo>
                <a:cubicBezTo>
                  <a:pt x="8063" y="17561"/>
                  <a:pt x="9489" y="17484"/>
                  <a:pt x="10904" y="17025"/>
                </a:cubicBezTo>
                <a:cubicBezTo>
                  <a:pt x="11562" y="16811"/>
                  <a:pt x="12160" y="16412"/>
                  <a:pt x="12689" y="15835"/>
                </a:cubicBezTo>
                <a:cubicBezTo>
                  <a:pt x="12715" y="16226"/>
                  <a:pt x="12874" y="16561"/>
                  <a:pt x="13164" y="16837"/>
                </a:cubicBezTo>
                <a:cubicBezTo>
                  <a:pt x="13559" y="17211"/>
                  <a:pt x="14086" y="17402"/>
                  <a:pt x="14731" y="17402"/>
                </a:cubicBezTo>
                <a:cubicBezTo>
                  <a:pt x="15501" y="17402"/>
                  <a:pt x="16307" y="17176"/>
                  <a:pt x="17124" y="16733"/>
                </a:cubicBezTo>
                <a:cubicBezTo>
                  <a:pt x="17934" y="16294"/>
                  <a:pt x="18680" y="15687"/>
                  <a:pt x="19342" y="14930"/>
                </a:cubicBezTo>
                <a:cubicBezTo>
                  <a:pt x="20001" y="14176"/>
                  <a:pt x="20548" y="13284"/>
                  <a:pt x="20967" y="12281"/>
                </a:cubicBezTo>
                <a:cubicBezTo>
                  <a:pt x="21387" y="11274"/>
                  <a:pt x="21600" y="10178"/>
                  <a:pt x="21600" y="9023"/>
                </a:cubicBezTo>
                <a:cubicBezTo>
                  <a:pt x="21600" y="7651"/>
                  <a:pt x="21328" y="6389"/>
                  <a:pt x="20793" y="5274"/>
                </a:cubicBezTo>
                <a:cubicBezTo>
                  <a:pt x="20258" y="4158"/>
                  <a:pt x="19518" y="3199"/>
                  <a:pt x="18594" y="2422"/>
                </a:cubicBezTo>
                <a:cubicBezTo>
                  <a:pt x="17672" y="1647"/>
                  <a:pt x="16579" y="1043"/>
                  <a:pt x="15346" y="627"/>
                </a:cubicBezTo>
                <a:cubicBezTo>
                  <a:pt x="14116" y="211"/>
                  <a:pt x="12784" y="0"/>
                  <a:pt x="11388" y="0"/>
                </a:cubicBezTo>
                <a:cubicBezTo>
                  <a:pt x="9845" y="0"/>
                  <a:pt x="8365" y="271"/>
                  <a:pt x="6989" y="805"/>
                </a:cubicBezTo>
                <a:cubicBezTo>
                  <a:pt x="5612" y="1340"/>
                  <a:pt x="4389" y="2093"/>
                  <a:pt x="3356" y="3045"/>
                </a:cubicBezTo>
                <a:cubicBezTo>
                  <a:pt x="2321" y="3996"/>
                  <a:pt x="1495" y="5137"/>
                  <a:pt x="899" y="6436"/>
                </a:cubicBezTo>
                <a:cubicBezTo>
                  <a:pt x="302" y="7737"/>
                  <a:pt x="0" y="9181"/>
                  <a:pt x="0" y="10727"/>
                </a:cubicBezTo>
                <a:cubicBezTo>
                  <a:pt x="0" y="12605"/>
                  <a:pt x="334" y="14252"/>
                  <a:pt x="993" y="15622"/>
                </a:cubicBezTo>
                <a:cubicBezTo>
                  <a:pt x="1652" y="16992"/>
                  <a:pt x="2528" y="18134"/>
                  <a:pt x="3595" y="19018"/>
                </a:cubicBezTo>
                <a:cubicBezTo>
                  <a:pt x="4661" y="19900"/>
                  <a:pt x="5890" y="20559"/>
                  <a:pt x="7249" y="20975"/>
                </a:cubicBezTo>
                <a:cubicBezTo>
                  <a:pt x="8601" y="21390"/>
                  <a:pt x="9994" y="21600"/>
                  <a:pt x="11388" y="21600"/>
                </a:cubicBezTo>
                <a:cubicBezTo>
                  <a:pt x="12348" y="21600"/>
                  <a:pt x="13317" y="21474"/>
                  <a:pt x="14267" y="21228"/>
                </a:cubicBezTo>
                <a:cubicBezTo>
                  <a:pt x="15214" y="20981"/>
                  <a:pt x="16128" y="20624"/>
                  <a:pt x="16983" y="20169"/>
                </a:cubicBezTo>
                <a:cubicBezTo>
                  <a:pt x="17839" y="19713"/>
                  <a:pt x="18642" y="19152"/>
                  <a:pt x="19372" y="18499"/>
                </a:cubicBezTo>
                <a:cubicBezTo>
                  <a:pt x="20104" y="17845"/>
                  <a:pt x="20729" y="17110"/>
                  <a:pt x="21232" y="16316"/>
                </a:cubicBezTo>
                <a:lnTo>
                  <a:pt x="21411" y="16033"/>
                </a:lnTo>
                <a:lnTo>
                  <a:pt x="20270" y="16033"/>
                </a:lnTo>
                <a:cubicBezTo>
                  <a:pt x="20270" y="16033"/>
                  <a:pt x="20215" y="16108"/>
                  <a:pt x="20215" y="16108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7" name="Shape 2857"/>
          <p:cNvSpPr/>
          <p:nvPr/>
        </p:nvSpPr>
        <p:spPr>
          <a:xfrm>
            <a:off x="8157677" y="879513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7"/>
                  <a:pt x="17673" y="7364"/>
                </a:cubicBezTo>
                <a:cubicBezTo>
                  <a:pt x="17673" y="6787"/>
                  <a:pt x="17339" y="6294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89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5"/>
                  <a:pt x="10556" y="16200"/>
                  <a:pt x="10800" y="16200"/>
                </a:cubicBezTo>
                <a:cubicBezTo>
                  <a:pt x="11273" y="16200"/>
                  <a:pt x="11689" y="15973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2"/>
                </a:moveTo>
                <a:cubicBezTo>
                  <a:pt x="3476" y="16840"/>
                  <a:pt x="3436" y="16279"/>
                  <a:pt x="3436" y="15709"/>
                </a:cubicBezTo>
                <a:cubicBezTo>
                  <a:pt x="3436" y="14763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6"/>
                </a:cubicBezTo>
                <a:cubicBezTo>
                  <a:pt x="9431" y="15253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6"/>
                </a:cubicBezTo>
                <a:cubicBezTo>
                  <a:pt x="3608" y="17469"/>
                  <a:pt x="3573" y="17430"/>
                  <a:pt x="3539" y="17392"/>
                </a:cubicBezTo>
                <a:moveTo>
                  <a:pt x="3075" y="11369"/>
                </a:moveTo>
                <a:cubicBezTo>
                  <a:pt x="2361" y="10869"/>
                  <a:pt x="1683" y="10321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6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3"/>
                  <a:pt x="3936" y="11937"/>
                </a:cubicBezTo>
                <a:cubicBezTo>
                  <a:pt x="4379" y="10266"/>
                  <a:pt x="5100" y="8708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4"/>
                  <a:pt x="7855" y="5891"/>
                </a:cubicBezTo>
                <a:cubicBezTo>
                  <a:pt x="7855" y="5688"/>
                  <a:pt x="7813" y="5493"/>
                  <a:pt x="7739" y="5317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0"/>
                  <a:pt x="11005" y="1707"/>
                  <a:pt x="10354" y="2081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5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7"/>
                  <a:pt x="15149" y="8393"/>
                </a:cubicBezTo>
                <a:cubicBezTo>
                  <a:pt x="14827" y="9199"/>
                  <a:pt x="14443" y="9973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3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8" name="Shape 2858"/>
          <p:cNvSpPr/>
          <p:nvPr/>
        </p:nvSpPr>
        <p:spPr>
          <a:xfrm>
            <a:off x="9274983" y="879513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98" y="4909"/>
                  <a:pt x="1200" y="4030"/>
                  <a:pt x="1200" y="2945"/>
                </a:cubicBezTo>
                <a:cubicBezTo>
                  <a:pt x="1200" y="1861"/>
                  <a:pt x="5498" y="982"/>
                  <a:pt x="10800" y="982"/>
                </a:cubicBezTo>
                <a:cubicBezTo>
                  <a:pt x="16102" y="982"/>
                  <a:pt x="20400" y="1861"/>
                  <a:pt x="20400" y="2945"/>
                </a:cubicBezTo>
                <a:cubicBezTo>
                  <a:pt x="20400" y="4030"/>
                  <a:pt x="16102" y="4909"/>
                  <a:pt x="10800" y="4909"/>
                </a:cubicBezTo>
                <a:moveTo>
                  <a:pt x="20400" y="6873"/>
                </a:moveTo>
                <a:cubicBezTo>
                  <a:pt x="20400" y="7957"/>
                  <a:pt x="16102" y="8836"/>
                  <a:pt x="10800" y="8836"/>
                </a:cubicBezTo>
                <a:cubicBezTo>
                  <a:pt x="5498" y="8836"/>
                  <a:pt x="1200" y="7957"/>
                  <a:pt x="1200" y="6873"/>
                </a:cubicBezTo>
                <a:lnTo>
                  <a:pt x="1200" y="4291"/>
                </a:lnTo>
                <a:cubicBezTo>
                  <a:pt x="2993" y="5240"/>
                  <a:pt x="6615" y="5891"/>
                  <a:pt x="10800" y="5891"/>
                </a:cubicBezTo>
                <a:cubicBezTo>
                  <a:pt x="14986" y="5891"/>
                  <a:pt x="18607" y="5240"/>
                  <a:pt x="20400" y="4291"/>
                </a:cubicBezTo>
                <a:cubicBezTo>
                  <a:pt x="20400" y="4291"/>
                  <a:pt x="20400" y="6873"/>
                  <a:pt x="20400" y="6873"/>
                </a:cubicBezTo>
                <a:close/>
                <a:moveTo>
                  <a:pt x="10800" y="10800"/>
                </a:moveTo>
                <a:cubicBezTo>
                  <a:pt x="5498" y="10800"/>
                  <a:pt x="1200" y="9921"/>
                  <a:pt x="1200" y="8836"/>
                </a:cubicBezTo>
                <a:cubicBezTo>
                  <a:pt x="1200" y="8672"/>
                  <a:pt x="1309" y="8514"/>
                  <a:pt x="1494" y="8362"/>
                </a:cubicBezTo>
                <a:cubicBezTo>
                  <a:pt x="3370" y="9232"/>
                  <a:pt x="6830" y="9818"/>
                  <a:pt x="10800" y="9818"/>
                </a:cubicBezTo>
                <a:cubicBezTo>
                  <a:pt x="14770" y="9818"/>
                  <a:pt x="18230" y="9232"/>
                  <a:pt x="20106" y="8362"/>
                </a:cubicBezTo>
                <a:cubicBezTo>
                  <a:pt x="20291" y="8514"/>
                  <a:pt x="20400" y="8672"/>
                  <a:pt x="20400" y="8836"/>
                </a:cubicBezTo>
                <a:cubicBezTo>
                  <a:pt x="20400" y="9921"/>
                  <a:pt x="16102" y="10800"/>
                  <a:pt x="10800" y="10800"/>
                </a:cubicBezTo>
                <a:moveTo>
                  <a:pt x="20400" y="12764"/>
                </a:moveTo>
                <a:cubicBezTo>
                  <a:pt x="20400" y="13848"/>
                  <a:pt x="16102" y="14727"/>
                  <a:pt x="10800" y="14727"/>
                </a:cubicBezTo>
                <a:cubicBezTo>
                  <a:pt x="5498" y="14727"/>
                  <a:pt x="1200" y="13848"/>
                  <a:pt x="1200" y="12764"/>
                </a:cubicBezTo>
                <a:lnTo>
                  <a:pt x="1200" y="10182"/>
                </a:lnTo>
                <a:cubicBezTo>
                  <a:pt x="2993" y="11131"/>
                  <a:pt x="6615" y="11782"/>
                  <a:pt x="10800" y="11782"/>
                </a:cubicBezTo>
                <a:cubicBezTo>
                  <a:pt x="14986" y="11782"/>
                  <a:pt x="18607" y="11131"/>
                  <a:pt x="20400" y="10182"/>
                </a:cubicBezTo>
                <a:cubicBezTo>
                  <a:pt x="20400" y="10182"/>
                  <a:pt x="20400" y="12764"/>
                  <a:pt x="20400" y="12764"/>
                </a:cubicBezTo>
                <a:close/>
                <a:moveTo>
                  <a:pt x="10800" y="16691"/>
                </a:moveTo>
                <a:cubicBezTo>
                  <a:pt x="5498" y="16691"/>
                  <a:pt x="1200" y="15812"/>
                  <a:pt x="1200" y="14727"/>
                </a:cubicBezTo>
                <a:cubicBezTo>
                  <a:pt x="1200" y="14563"/>
                  <a:pt x="1309" y="14405"/>
                  <a:pt x="1494" y="14253"/>
                </a:cubicBezTo>
                <a:cubicBezTo>
                  <a:pt x="3370" y="15123"/>
                  <a:pt x="6830" y="15709"/>
                  <a:pt x="10800" y="15709"/>
                </a:cubicBezTo>
                <a:cubicBezTo>
                  <a:pt x="14770" y="15709"/>
                  <a:pt x="18230" y="15123"/>
                  <a:pt x="20106" y="14253"/>
                </a:cubicBezTo>
                <a:cubicBezTo>
                  <a:pt x="20291" y="14405"/>
                  <a:pt x="20400" y="14563"/>
                  <a:pt x="20400" y="14727"/>
                </a:cubicBezTo>
                <a:cubicBezTo>
                  <a:pt x="20400" y="15812"/>
                  <a:pt x="16102" y="16691"/>
                  <a:pt x="10800" y="16691"/>
                </a:cubicBezTo>
                <a:moveTo>
                  <a:pt x="20400" y="18655"/>
                </a:moveTo>
                <a:cubicBezTo>
                  <a:pt x="20400" y="19739"/>
                  <a:pt x="16102" y="20618"/>
                  <a:pt x="10800" y="20618"/>
                </a:cubicBezTo>
                <a:cubicBezTo>
                  <a:pt x="5498" y="20618"/>
                  <a:pt x="1200" y="19739"/>
                  <a:pt x="1200" y="18655"/>
                </a:cubicBezTo>
                <a:lnTo>
                  <a:pt x="1200" y="16073"/>
                </a:lnTo>
                <a:cubicBezTo>
                  <a:pt x="2993" y="17022"/>
                  <a:pt x="6615" y="17673"/>
                  <a:pt x="10800" y="17673"/>
                </a:cubicBezTo>
                <a:cubicBezTo>
                  <a:pt x="14986" y="17673"/>
                  <a:pt x="18607" y="17022"/>
                  <a:pt x="20400" y="16073"/>
                </a:cubicBezTo>
                <a:cubicBezTo>
                  <a:pt x="20400" y="16073"/>
                  <a:pt x="20400" y="18655"/>
                  <a:pt x="20400" y="18655"/>
                </a:cubicBezTo>
                <a:close/>
                <a:moveTo>
                  <a:pt x="21600" y="2945"/>
                </a:moveTo>
                <a:cubicBezTo>
                  <a:pt x="21600" y="1319"/>
                  <a:pt x="16765" y="0"/>
                  <a:pt x="10800" y="0"/>
                </a:cubicBezTo>
                <a:cubicBezTo>
                  <a:pt x="4835" y="0"/>
                  <a:pt x="0" y="1319"/>
                  <a:pt x="0" y="2945"/>
                </a:cubicBezTo>
                <a:lnTo>
                  <a:pt x="0" y="6873"/>
                </a:lnTo>
                <a:cubicBezTo>
                  <a:pt x="0" y="7218"/>
                  <a:pt x="229" y="7547"/>
                  <a:pt x="628" y="7855"/>
                </a:cubicBezTo>
                <a:cubicBezTo>
                  <a:pt x="229" y="8162"/>
                  <a:pt x="0" y="8492"/>
                  <a:pt x="0" y="8836"/>
                </a:cubicBezTo>
                <a:lnTo>
                  <a:pt x="0" y="12764"/>
                </a:lnTo>
                <a:cubicBezTo>
                  <a:pt x="0" y="13109"/>
                  <a:pt x="229" y="13438"/>
                  <a:pt x="628" y="13745"/>
                </a:cubicBezTo>
                <a:cubicBezTo>
                  <a:pt x="229" y="14053"/>
                  <a:pt x="0" y="14383"/>
                  <a:pt x="0" y="14727"/>
                </a:cubicBezTo>
                <a:lnTo>
                  <a:pt x="0" y="18655"/>
                </a:lnTo>
                <a:cubicBezTo>
                  <a:pt x="0" y="20281"/>
                  <a:pt x="4835" y="21600"/>
                  <a:pt x="10800" y="21600"/>
                </a:cubicBezTo>
                <a:cubicBezTo>
                  <a:pt x="16765" y="21600"/>
                  <a:pt x="21600" y="20281"/>
                  <a:pt x="21600" y="18655"/>
                </a:cubicBezTo>
                <a:lnTo>
                  <a:pt x="21600" y="14727"/>
                </a:lnTo>
                <a:cubicBezTo>
                  <a:pt x="21600" y="14383"/>
                  <a:pt x="21371" y="14053"/>
                  <a:pt x="20972" y="13745"/>
                </a:cubicBezTo>
                <a:cubicBezTo>
                  <a:pt x="21371" y="13438"/>
                  <a:pt x="21600" y="13109"/>
                  <a:pt x="21600" y="12764"/>
                </a:cubicBezTo>
                <a:lnTo>
                  <a:pt x="21600" y="8836"/>
                </a:lnTo>
                <a:cubicBezTo>
                  <a:pt x="21600" y="8492"/>
                  <a:pt x="21371" y="8162"/>
                  <a:pt x="20972" y="7855"/>
                </a:cubicBezTo>
                <a:cubicBezTo>
                  <a:pt x="21371" y="7547"/>
                  <a:pt x="21600" y="7218"/>
                  <a:pt x="21600" y="6873"/>
                </a:cubicBezTo>
                <a:cubicBezTo>
                  <a:pt x="21600" y="6873"/>
                  <a:pt x="21600" y="2945"/>
                  <a:pt x="21600" y="294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9" name="Shape 2859"/>
          <p:cNvSpPr/>
          <p:nvPr/>
        </p:nvSpPr>
        <p:spPr>
          <a:xfrm>
            <a:off x="10290720" y="879513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79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5" y="7236"/>
                </a:cubicBezTo>
                <a:cubicBezTo>
                  <a:pt x="6892" y="7530"/>
                  <a:pt x="6793" y="7869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6" y="9635"/>
                </a:cubicBezTo>
                <a:cubicBezTo>
                  <a:pt x="6776" y="9644"/>
                  <a:pt x="6776" y="9651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5" y="11661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40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5" y="14727"/>
                  <a:pt x="15201" y="11706"/>
                  <a:pt x="15201" y="9086"/>
                </a:cubicBezTo>
                <a:cubicBezTo>
                  <a:pt x="15201" y="9000"/>
                  <a:pt x="15199" y="8915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0" name="Shape 2860"/>
          <p:cNvSpPr/>
          <p:nvPr/>
        </p:nvSpPr>
        <p:spPr>
          <a:xfrm>
            <a:off x="11357242" y="879513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4" y="7858"/>
                </a:lnTo>
                <a:lnTo>
                  <a:pt x="13244" y="6381"/>
                </a:lnTo>
                <a:lnTo>
                  <a:pt x="11938" y="6381"/>
                </a:lnTo>
                <a:cubicBezTo>
                  <a:pt x="10369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1" name="Shape 2861"/>
          <p:cNvSpPr/>
          <p:nvPr/>
        </p:nvSpPr>
        <p:spPr>
          <a:xfrm>
            <a:off x="12499946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19" y="12090"/>
                  <a:pt x="14019" y="12428"/>
                  <a:pt x="14019" y="12428"/>
                </a:cubicBezTo>
                <a:lnTo>
                  <a:pt x="14019" y="12863"/>
                </a:lnTo>
                <a:lnTo>
                  <a:pt x="14628" y="12863"/>
                </a:lnTo>
                <a:lnTo>
                  <a:pt x="14628" y="12428"/>
                </a:lnTo>
                <a:cubicBezTo>
                  <a:pt x="14628" y="12428"/>
                  <a:pt x="14628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19" y="13348"/>
                </a:lnTo>
                <a:lnTo>
                  <a:pt x="14019" y="14072"/>
                </a:lnTo>
                <a:cubicBezTo>
                  <a:pt x="14019" y="14072"/>
                  <a:pt x="14019" y="14411"/>
                  <a:pt x="14324" y="14411"/>
                </a:cubicBezTo>
                <a:cubicBezTo>
                  <a:pt x="14628" y="14411"/>
                  <a:pt x="14628" y="14072"/>
                  <a:pt x="14628" y="14072"/>
                </a:cubicBezTo>
                <a:lnTo>
                  <a:pt x="14628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1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8" y="11782"/>
                  <a:pt x="12036" y="11558"/>
                  <a:pt x="12347" y="11558"/>
                </a:cubicBezTo>
                <a:cubicBezTo>
                  <a:pt x="12752" y="11558"/>
                  <a:pt x="12904" y="11896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3" y="11074"/>
                </a:lnTo>
                <a:lnTo>
                  <a:pt x="6363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0" y="9334"/>
                  <a:pt x="7074" y="9430"/>
                  <a:pt x="7074" y="9430"/>
                </a:cubicBezTo>
                <a:cubicBezTo>
                  <a:pt x="6233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5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0"/>
                  <a:pt x="14527" y="943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0"/>
                </a:moveTo>
                <a:cubicBezTo>
                  <a:pt x="11860" y="12090"/>
                  <a:pt x="11757" y="12168"/>
                  <a:pt x="11687" y="12243"/>
                </a:cubicBezTo>
                <a:lnTo>
                  <a:pt x="11687" y="14276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0"/>
                  <a:pt x="11992" y="1209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1"/>
                </a:moveTo>
                <a:cubicBezTo>
                  <a:pt x="12802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49" y="8348"/>
                  <a:pt x="12549" y="8196"/>
                  <a:pt x="12549" y="8196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1"/>
                  <a:pt x="12397" y="8801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2" name="Shape 2862"/>
          <p:cNvSpPr/>
          <p:nvPr/>
        </p:nvSpPr>
        <p:spPr>
          <a:xfrm>
            <a:off x="13566466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672" y="6382"/>
                </a:moveTo>
                <a:cubicBezTo>
                  <a:pt x="10464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9" y="11643"/>
                </a:cubicBezTo>
                <a:cubicBezTo>
                  <a:pt x="8462" y="11568"/>
                  <a:pt x="8536" y="11425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7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7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7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2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7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1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3" name="Shape 2863"/>
          <p:cNvSpPr/>
          <p:nvPr/>
        </p:nvSpPr>
        <p:spPr>
          <a:xfrm>
            <a:off x="14632989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5" y="8897"/>
                  <a:pt x="11997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4" y="9937"/>
                  <a:pt x="12643" y="10393"/>
                  <a:pt x="12232" y="10991"/>
                </a:cubicBezTo>
                <a:cubicBezTo>
                  <a:pt x="11821" y="11589"/>
                  <a:pt x="11513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5"/>
                  <a:pt x="8774" y="6973"/>
                </a:cubicBezTo>
                <a:cubicBezTo>
                  <a:pt x="8450" y="7000"/>
                  <a:pt x="7966" y="7272"/>
                  <a:pt x="7320" y="7789"/>
                </a:cubicBezTo>
                <a:cubicBezTo>
                  <a:pt x="6849" y="8183"/>
                  <a:pt x="6372" y="8577"/>
                  <a:pt x="5888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2"/>
                </a:cubicBezTo>
                <a:cubicBezTo>
                  <a:pt x="8333" y="11460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2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8"/>
                  <a:pt x="14281" y="687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4" name="Shape 2864"/>
          <p:cNvSpPr/>
          <p:nvPr/>
        </p:nvSpPr>
        <p:spPr>
          <a:xfrm>
            <a:off x="15699511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5" y="7359"/>
                </a:moveTo>
                <a:lnTo>
                  <a:pt x="13743" y="7359"/>
                </a:lnTo>
                <a:lnTo>
                  <a:pt x="13743" y="8833"/>
                </a:lnTo>
                <a:lnTo>
                  <a:pt x="12265" y="8833"/>
                </a:lnTo>
                <a:lnTo>
                  <a:pt x="12265" y="9816"/>
                </a:lnTo>
                <a:lnTo>
                  <a:pt x="13743" y="9816"/>
                </a:lnTo>
                <a:lnTo>
                  <a:pt x="13743" y="11283"/>
                </a:lnTo>
                <a:lnTo>
                  <a:pt x="14725" y="11283"/>
                </a:lnTo>
                <a:lnTo>
                  <a:pt x="14725" y="9816"/>
                </a:lnTo>
                <a:lnTo>
                  <a:pt x="16205" y="9816"/>
                </a:lnTo>
                <a:lnTo>
                  <a:pt x="16205" y="8833"/>
                </a:lnTo>
                <a:lnTo>
                  <a:pt x="14725" y="8833"/>
                </a:lnTo>
                <a:cubicBezTo>
                  <a:pt x="14725" y="8833"/>
                  <a:pt x="14725" y="7359"/>
                  <a:pt x="14725" y="7359"/>
                </a:cubicBezTo>
                <a:close/>
                <a:moveTo>
                  <a:pt x="9321" y="13946"/>
                </a:moveTo>
                <a:cubicBezTo>
                  <a:pt x="8620" y="13946"/>
                  <a:pt x="8071" y="13495"/>
                  <a:pt x="8071" y="12919"/>
                </a:cubicBezTo>
                <a:cubicBezTo>
                  <a:pt x="8071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47" y="11723"/>
                </a:lnTo>
                <a:lnTo>
                  <a:pt x="9465" y="11929"/>
                </a:lnTo>
                <a:cubicBezTo>
                  <a:pt x="9624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40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5" y="8362"/>
                  <a:pt x="8574" y="8014"/>
                  <a:pt x="8754" y="7806"/>
                </a:cubicBezTo>
                <a:cubicBezTo>
                  <a:pt x="8864" y="7680"/>
                  <a:pt x="9006" y="7613"/>
                  <a:pt x="9164" y="7613"/>
                </a:cubicBez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5" y="9596"/>
                  <a:pt x="9970" y="9809"/>
                </a:cubicBezTo>
                <a:cubicBezTo>
                  <a:pt x="9860" y="9935"/>
                  <a:pt x="9722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6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6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5"/>
                  <a:pt x="11386" y="8784"/>
                </a:cubicBezTo>
                <a:cubicBezTo>
                  <a:pt x="11386" y="8342"/>
                  <a:pt x="11262" y="7947"/>
                  <a:pt x="11050" y="7659"/>
                </a:cubicBezTo>
                <a:lnTo>
                  <a:pt x="11238" y="7659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5" y="6873"/>
                  <a:pt x="7345" y="7759"/>
                  <a:pt x="7345" y="8769"/>
                </a:cubicBezTo>
                <a:cubicBezTo>
                  <a:pt x="7345" y="9812"/>
                  <a:pt x="8109" y="10605"/>
                  <a:pt x="9137" y="10648"/>
                </a:cubicBezTo>
                <a:cubicBezTo>
                  <a:pt x="9121" y="10722"/>
                  <a:pt x="9113" y="10795"/>
                  <a:pt x="9113" y="10868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3" y="11309"/>
                  <a:pt x="6870" y="12161"/>
                  <a:pt x="6870" y="13167"/>
                </a:cubicBezTo>
                <a:cubicBezTo>
                  <a:pt x="6870" y="14071"/>
                  <a:pt x="7903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5" name="Shape 2865"/>
          <p:cNvSpPr/>
          <p:nvPr/>
        </p:nvSpPr>
        <p:spPr>
          <a:xfrm>
            <a:off x="16766033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3430" y="9320"/>
                </a:moveTo>
                <a:cubicBezTo>
                  <a:pt x="11975" y="9320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0"/>
                  <a:pt x="13430" y="9320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0"/>
                </a:lnTo>
                <a:lnTo>
                  <a:pt x="6873" y="9320"/>
                </a:lnTo>
                <a:cubicBezTo>
                  <a:pt x="6873" y="9320"/>
                  <a:pt x="6873" y="14727"/>
                  <a:pt x="6873" y="14727"/>
                </a:cubicBezTo>
                <a:close/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6" name="Shape 2866"/>
          <p:cNvSpPr/>
          <p:nvPr/>
        </p:nvSpPr>
        <p:spPr>
          <a:xfrm>
            <a:off x="17832556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591" y="13291"/>
                </a:moveTo>
                <a:cubicBezTo>
                  <a:pt x="11452" y="13214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9" y="13478"/>
                  <a:pt x="9448" y="13667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20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6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1" y="132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7" name="Shape 2867"/>
          <p:cNvSpPr/>
          <p:nvPr/>
        </p:nvSpPr>
        <p:spPr>
          <a:xfrm>
            <a:off x="18899079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2"/>
                </a:lnTo>
                <a:cubicBezTo>
                  <a:pt x="13281" y="13032"/>
                  <a:pt x="13386" y="13050"/>
                  <a:pt x="13473" y="13085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7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8" y="14187"/>
                  <a:pt x="12550" y="14335"/>
                  <a:pt x="12631" y="14459"/>
                </a:cubicBezTo>
                <a:cubicBezTo>
                  <a:pt x="12706" y="14574"/>
                  <a:pt x="12831" y="14661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6"/>
                  <a:pt x="13722" y="13990"/>
                  <a:pt x="13643" y="13857"/>
                </a:cubicBezTo>
                <a:cubicBezTo>
                  <a:pt x="13567" y="13732"/>
                  <a:pt x="13439" y="13644"/>
                  <a:pt x="13280" y="13606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98" y="6884"/>
                </a:moveTo>
                <a:lnTo>
                  <a:pt x="12930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2" y="6884"/>
                </a:lnTo>
                <a:lnTo>
                  <a:pt x="9988" y="10156"/>
                </a:lnTo>
                <a:lnTo>
                  <a:pt x="8067" y="6873"/>
                </a:lnTo>
                <a:lnTo>
                  <a:pt x="8000" y="6891"/>
                </a:lnTo>
                <a:cubicBezTo>
                  <a:pt x="7739" y="6962"/>
                  <a:pt x="7347" y="6960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6"/>
                  <a:pt x="10190" y="14646"/>
                  <a:pt x="10449" y="14719"/>
                </a:cubicBezTo>
                <a:lnTo>
                  <a:pt x="10573" y="14722"/>
                </a:lnTo>
                <a:lnTo>
                  <a:pt x="10512" y="11391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5" y="7029"/>
                </a:cubicBezTo>
                <a:cubicBezTo>
                  <a:pt x="13015" y="7029"/>
                  <a:pt x="13098" y="6884"/>
                  <a:pt x="13098" y="688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8" name="Shape 2868"/>
          <p:cNvSpPr/>
          <p:nvPr/>
        </p:nvSpPr>
        <p:spPr>
          <a:xfrm>
            <a:off x="19965600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2965" y="14699"/>
                </a:moveTo>
                <a:lnTo>
                  <a:pt x="12958" y="14707"/>
                </a:lnTo>
                <a:lnTo>
                  <a:pt x="10801" y="13100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0" y="14627"/>
                </a:lnTo>
                <a:lnTo>
                  <a:pt x="14000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2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75" y="13002"/>
                </a:lnTo>
                <a:lnTo>
                  <a:pt x="8631" y="13516"/>
                </a:lnTo>
                <a:lnTo>
                  <a:pt x="10063" y="12429"/>
                </a:lnTo>
                <a:lnTo>
                  <a:pt x="10780" y="11880"/>
                </a:lnTo>
                <a:lnTo>
                  <a:pt x="10782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5" y="11880"/>
                </a:lnTo>
                <a:lnTo>
                  <a:pt x="12509" y="13148"/>
                </a:lnTo>
                <a:lnTo>
                  <a:pt x="13007" y="13515"/>
                </a:lnTo>
                <a:lnTo>
                  <a:pt x="16198" y="11575"/>
                </a:lnTo>
                <a:lnTo>
                  <a:pt x="13925" y="9727"/>
                </a:lnTo>
                <a:lnTo>
                  <a:pt x="10788" y="11715"/>
                </a:lnTo>
                <a:cubicBezTo>
                  <a:pt x="10788" y="11715"/>
                  <a:pt x="7642" y="9766"/>
                  <a:pt x="7642" y="9766"/>
                </a:cubicBezTo>
                <a:close/>
                <a:moveTo>
                  <a:pt x="13925" y="9727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7"/>
                  <a:pt x="13925" y="9727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9" name="Shape 2869"/>
          <p:cNvSpPr/>
          <p:nvPr/>
        </p:nvSpPr>
        <p:spPr>
          <a:xfrm>
            <a:off x="21032122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7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7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6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0" name="Shape 2870"/>
          <p:cNvSpPr/>
          <p:nvPr/>
        </p:nvSpPr>
        <p:spPr>
          <a:xfrm>
            <a:off x="22098644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7"/>
                </a:lnTo>
                <a:cubicBezTo>
                  <a:pt x="15118" y="9995"/>
                  <a:pt x="15213" y="9425"/>
                  <a:pt x="15213" y="8919"/>
                </a:cubicBezTo>
                <a:cubicBezTo>
                  <a:pt x="15213" y="8812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7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1" y="8413"/>
                </a:cubicBezTo>
                <a:cubicBezTo>
                  <a:pt x="9351" y="8413"/>
                  <a:pt x="9605" y="8444"/>
                  <a:pt x="9874" y="8460"/>
                </a:cubicBezTo>
                <a:lnTo>
                  <a:pt x="10651" y="10590"/>
                </a:lnTo>
                <a:lnTo>
                  <a:pt x="9559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1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5" y="8063"/>
                  <a:pt x="6726" y="8060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90" y="12162"/>
                </a:cubicBezTo>
                <a:lnTo>
                  <a:pt x="13291" y="13825"/>
                </a:lnTo>
                <a:cubicBezTo>
                  <a:pt x="13291" y="13825"/>
                  <a:pt x="11487" y="8460"/>
                  <a:pt x="11487" y="8460"/>
                </a:cubicBezTo>
                <a:close/>
                <a:moveTo>
                  <a:pt x="10800" y="15709"/>
                </a:moveTo>
                <a:cubicBezTo>
                  <a:pt x="10320" y="15709"/>
                  <a:pt x="9857" y="15637"/>
                  <a:pt x="9417" y="15508"/>
                </a:cubicBezTo>
                <a:lnTo>
                  <a:pt x="10887" y="11237"/>
                </a:lnTo>
                <a:cubicBezTo>
                  <a:pt x="10887" y="11237"/>
                  <a:pt x="12211" y="14864"/>
                  <a:pt x="12426" y="15428"/>
                </a:cubicBezTo>
                <a:cubicBezTo>
                  <a:pt x="11916" y="15607"/>
                  <a:pt x="11370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8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4" y="16691"/>
                  <a:pt x="16691" y="14054"/>
                  <a:pt x="16691" y="10800"/>
                </a:cubicBezTo>
                <a:cubicBezTo>
                  <a:pt x="16691" y="7547"/>
                  <a:pt x="14054" y="4909"/>
                  <a:pt x="10800" y="49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1" name="Shape 2871"/>
          <p:cNvSpPr/>
          <p:nvPr/>
        </p:nvSpPr>
        <p:spPr>
          <a:xfrm>
            <a:off x="12499946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36" y="10309"/>
                </a:moveTo>
                <a:cubicBezTo>
                  <a:pt x="13552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9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9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1" y="10800"/>
                  <a:pt x="9313" y="10470"/>
                  <a:pt x="10852" y="9873"/>
                </a:cubicBezTo>
                <a:cubicBezTo>
                  <a:pt x="11016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9"/>
                  <a:pt x="10353" y="9000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3"/>
                  <a:pt x="7547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2" name="Shape 2872"/>
          <p:cNvSpPr/>
          <p:nvPr/>
        </p:nvSpPr>
        <p:spPr>
          <a:xfrm>
            <a:off x="13566466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40" y="7246"/>
                  <a:pt x="15108" y="7411"/>
                  <a:pt x="14650" y="7499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6" y="7236"/>
                </a:cubicBezTo>
                <a:cubicBezTo>
                  <a:pt x="6892" y="7529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1"/>
                  <a:pt x="7483" y="11638"/>
                </a:cubicBezTo>
                <a:cubicBezTo>
                  <a:pt x="7739" y="12426"/>
                  <a:pt x="8482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3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29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0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3" name="Shape 2873"/>
          <p:cNvSpPr/>
          <p:nvPr/>
        </p:nvSpPr>
        <p:spPr>
          <a:xfrm>
            <a:off x="14632989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8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4" name="Shape 2874"/>
          <p:cNvSpPr/>
          <p:nvPr/>
        </p:nvSpPr>
        <p:spPr>
          <a:xfrm>
            <a:off x="15699511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20" y="12090"/>
                  <a:pt x="14020" y="12429"/>
                  <a:pt x="14020" y="12429"/>
                </a:cubicBezTo>
                <a:lnTo>
                  <a:pt x="14020" y="12863"/>
                </a:lnTo>
                <a:lnTo>
                  <a:pt x="14629" y="12863"/>
                </a:lnTo>
                <a:lnTo>
                  <a:pt x="14629" y="12429"/>
                </a:lnTo>
                <a:cubicBezTo>
                  <a:pt x="14629" y="12429"/>
                  <a:pt x="14629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20" y="13348"/>
                </a:lnTo>
                <a:lnTo>
                  <a:pt x="14020" y="14072"/>
                </a:lnTo>
                <a:cubicBezTo>
                  <a:pt x="14020" y="14072"/>
                  <a:pt x="14020" y="14411"/>
                  <a:pt x="14324" y="14411"/>
                </a:cubicBezTo>
                <a:cubicBezTo>
                  <a:pt x="14629" y="14411"/>
                  <a:pt x="14629" y="14072"/>
                  <a:pt x="14629" y="14072"/>
                </a:cubicBezTo>
                <a:lnTo>
                  <a:pt x="14629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2" y="14266"/>
                  <a:pt x="13412" y="14266"/>
                </a:cubicBezTo>
                <a:lnTo>
                  <a:pt x="13412" y="12380"/>
                </a:lnTo>
                <a:cubicBezTo>
                  <a:pt x="13412" y="12380"/>
                  <a:pt x="13412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5" y="14169"/>
                </a:moveTo>
                <a:cubicBezTo>
                  <a:pt x="12905" y="14169"/>
                  <a:pt x="12905" y="14943"/>
                  <a:pt x="12347" y="14943"/>
                </a:cubicBezTo>
                <a:cubicBezTo>
                  <a:pt x="12005" y="14943"/>
                  <a:pt x="11798" y="14762"/>
                  <a:pt x="11688" y="14621"/>
                </a:cubicBezTo>
                <a:lnTo>
                  <a:pt x="11688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8" y="10446"/>
                </a:lnTo>
                <a:lnTo>
                  <a:pt x="11688" y="11888"/>
                </a:lnTo>
                <a:cubicBezTo>
                  <a:pt x="11788" y="11782"/>
                  <a:pt x="12037" y="11558"/>
                  <a:pt x="12347" y="11558"/>
                </a:cubicBezTo>
                <a:cubicBezTo>
                  <a:pt x="12752" y="11558"/>
                  <a:pt x="12905" y="11896"/>
                  <a:pt x="12905" y="12332"/>
                </a:cubicBezTo>
                <a:cubicBezTo>
                  <a:pt x="12905" y="12332"/>
                  <a:pt x="12905" y="14169"/>
                  <a:pt x="12905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4" y="11074"/>
                </a:lnTo>
                <a:lnTo>
                  <a:pt x="6364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1" y="9334"/>
                  <a:pt x="7074" y="9430"/>
                  <a:pt x="7074" y="9430"/>
                </a:cubicBezTo>
                <a:cubicBezTo>
                  <a:pt x="6234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4" y="16104"/>
                  <a:pt x="7074" y="16104"/>
                </a:cubicBezTo>
                <a:cubicBezTo>
                  <a:pt x="7074" y="16104"/>
                  <a:pt x="8905" y="16200"/>
                  <a:pt x="10800" y="16200"/>
                </a:cubicBezTo>
                <a:cubicBezTo>
                  <a:pt x="12631" y="16200"/>
                  <a:pt x="14527" y="16104"/>
                  <a:pt x="14527" y="16104"/>
                </a:cubicBezTo>
                <a:cubicBezTo>
                  <a:pt x="15367" y="16104"/>
                  <a:pt x="16049" y="15454"/>
                  <a:pt x="16049" y="14652"/>
                </a:cubicBezTo>
                <a:cubicBezTo>
                  <a:pt x="16049" y="14652"/>
                  <a:pt x="16200" y="13700"/>
                  <a:pt x="16200" y="12767"/>
                </a:cubicBezTo>
                <a:cubicBezTo>
                  <a:pt x="16200" y="11814"/>
                  <a:pt x="16049" y="10881"/>
                  <a:pt x="16049" y="10881"/>
                </a:cubicBezTo>
                <a:cubicBezTo>
                  <a:pt x="16049" y="10080"/>
                  <a:pt x="15367" y="9430"/>
                  <a:pt x="14527" y="9430"/>
                </a:cubicBezTo>
                <a:moveTo>
                  <a:pt x="11992" y="12090"/>
                </a:moveTo>
                <a:cubicBezTo>
                  <a:pt x="11860" y="12090"/>
                  <a:pt x="11757" y="12167"/>
                  <a:pt x="11688" y="12243"/>
                </a:cubicBezTo>
                <a:lnTo>
                  <a:pt x="11688" y="14276"/>
                </a:lnTo>
                <a:cubicBezTo>
                  <a:pt x="11751" y="14345"/>
                  <a:pt x="11848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9"/>
                </a:lnTo>
                <a:cubicBezTo>
                  <a:pt x="12296" y="12429"/>
                  <a:pt x="12245" y="12090"/>
                  <a:pt x="11992" y="12090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0166" y="6634"/>
                </a:moveTo>
                <a:cubicBezTo>
                  <a:pt x="10166" y="6467"/>
                  <a:pt x="10303" y="6332"/>
                  <a:pt x="10471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1" y="8348"/>
                </a:cubicBezTo>
                <a:cubicBezTo>
                  <a:pt x="10303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7"/>
                  <a:pt x="10572" y="5877"/>
                </a:cubicBezTo>
                <a:lnTo>
                  <a:pt x="10369" y="5877"/>
                </a:lnTo>
                <a:cubicBezTo>
                  <a:pt x="9921" y="5877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  <a:moveTo>
                  <a:pt x="12398" y="8801"/>
                </a:moveTo>
                <a:cubicBezTo>
                  <a:pt x="12803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7" y="8751"/>
                </a:lnTo>
                <a:lnTo>
                  <a:pt x="13767" y="5877"/>
                </a:lnTo>
                <a:lnTo>
                  <a:pt x="13158" y="5877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50" y="8348"/>
                  <a:pt x="12550" y="8197"/>
                  <a:pt x="12550" y="8197"/>
                </a:cubicBezTo>
                <a:lnTo>
                  <a:pt x="12550" y="5877"/>
                </a:lnTo>
                <a:lnTo>
                  <a:pt x="11941" y="5877"/>
                </a:lnTo>
                <a:lnTo>
                  <a:pt x="11941" y="8398"/>
                </a:lnTo>
                <a:cubicBezTo>
                  <a:pt x="11941" y="8398"/>
                  <a:pt x="11992" y="8801"/>
                  <a:pt x="12398" y="880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5" name="Shape 2875"/>
          <p:cNvSpPr/>
          <p:nvPr/>
        </p:nvSpPr>
        <p:spPr>
          <a:xfrm>
            <a:off x="16766033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672" y="6382"/>
                </a:moveTo>
                <a:cubicBezTo>
                  <a:pt x="10463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8" y="11643"/>
                </a:cubicBezTo>
                <a:cubicBezTo>
                  <a:pt x="8462" y="11568"/>
                  <a:pt x="8536" y="11424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6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6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8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1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8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2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6" name="Shape 2876"/>
          <p:cNvSpPr/>
          <p:nvPr/>
        </p:nvSpPr>
        <p:spPr>
          <a:xfrm>
            <a:off x="17832556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4" y="8897"/>
                  <a:pt x="11998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3" y="9937"/>
                  <a:pt x="12643" y="10393"/>
                  <a:pt x="12232" y="10991"/>
                </a:cubicBezTo>
                <a:cubicBezTo>
                  <a:pt x="11821" y="11589"/>
                  <a:pt x="11512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4"/>
                  <a:pt x="8773" y="6972"/>
                </a:cubicBezTo>
                <a:cubicBezTo>
                  <a:pt x="8450" y="7000"/>
                  <a:pt x="7966" y="7272"/>
                  <a:pt x="7320" y="7788"/>
                </a:cubicBezTo>
                <a:cubicBezTo>
                  <a:pt x="6849" y="8183"/>
                  <a:pt x="6372" y="8577"/>
                  <a:pt x="5887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3"/>
                </a:cubicBezTo>
                <a:cubicBezTo>
                  <a:pt x="8333" y="11461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1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9"/>
                  <a:pt x="14281" y="6871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7" name="Shape 2877"/>
          <p:cNvSpPr/>
          <p:nvPr/>
        </p:nvSpPr>
        <p:spPr>
          <a:xfrm>
            <a:off x="18899079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4" y="7360"/>
                </a:moveTo>
                <a:lnTo>
                  <a:pt x="13742" y="7360"/>
                </a:lnTo>
                <a:lnTo>
                  <a:pt x="13742" y="8833"/>
                </a:lnTo>
                <a:lnTo>
                  <a:pt x="12265" y="8833"/>
                </a:lnTo>
                <a:lnTo>
                  <a:pt x="12265" y="9815"/>
                </a:lnTo>
                <a:lnTo>
                  <a:pt x="13742" y="9815"/>
                </a:lnTo>
                <a:lnTo>
                  <a:pt x="13742" y="11283"/>
                </a:lnTo>
                <a:lnTo>
                  <a:pt x="14724" y="11283"/>
                </a:lnTo>
                <a:lnTo>
                  <a:pt x="14724" y="9815"/>
                </a:lnTo>
                <a:lnTo>
                  <a:pt x="16204" y="9815"/>
                </a:lnTo>
                <a:lnTo>
                  <a:pt x="16204" y="8833"/>
                </a:lnTo>
                <a:lnTo>
                  <a:pt x="14724" y="8833"/>
                </a:lnTo>
                <a:cubicBezTo>
                  <a:pt x="14724" y="8833"/>
                  <a:pt x="14724" y="7360"/>
                  <a:pt x="14724" y="7360"/>
                </a:cubicBezTo>
                <a:close/>
                <a:moveTo>
                  <a:pt x="9321" y="13946"/>
                </a:moveTo>
                <a:cubicBezTo>
                  <a:pt x="8620" y="13946"/>
                  <a:pt x="8070" y="13495"/>
                  <a:pt x="8070" y="12919"/>
                </a:cubicBezTo>
                <a:cubicBezTo>
                  <a:pt x="8070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65" y="11929"/>
                </a:lnTo>
                <a:cubicBezTo>
                  <a:pt x="9623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39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4" y="8362"/>
                  <a:pt x="8574" y="8014"/>
                  <a:pt x="8754" y="7806"/>
                </a:cubicBezTo>
                <a:cubicBezTo>
                  <a:pt x="8864" y="7680"/>
                  <a:pt x="9006" y="7612"/>
                  <a:pt x="9163" y="7612"/>
                </a:cubicBezTo>
                <a:lnTo>
                  <a:pt x="9163" y="7409"/>
                </a:ln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4" y="9595"/>
                  <a:pt x="9969" y="9809"/>
                </a:cubicBezTo>
                <a:cubicBezTo>
                  <a:pt x="9860" y="9935"/>
                  <a:pt x="9721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5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7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6"/>
                  <a:pt x="11386" y="8784"/>
                </a:cubicBezTo>
                <a:cubicBezTo>
                  <a:pt x="11386" y="8342"/>
                  <a:pt x="11262" y="7947"/>
                  <a:pt x="11049" y="7660"/>
                </a:cubicBezTo>
                <a:lnTo>
                  <a:pt x="11238" y="7660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4" y="6873"/>
                  <a:pt x="7345" y="7760"/>
                  <a:pt x="7345" y="8769"/>
                </a:cubicBezTo>
                <a:cubicBezTo>
                  <a:pt x="7345" y="9812"/>
                  <a:pt x="8109" y="10605"/>
                  <a:pt x="9136" y="10648"/>
                </a:cubicBezTo>
                <a:cubicBezTo>
                  <a:pt x="9121" y="10722"/>
                  <a:pt x="9113" y="10795"/>
                  <a:pt x="9113" y="10867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2" y="11309"/>
                  <a:pt x="6869" y="12161"/>
                  <a:pt x="6869" y="13167"/>
                </a:cubicBezTo>
                <a:cubicBezTo>
                  <a:pt x="6869" y="14071"/>
                  <a:pt x="7902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8" name="Shape 2878"/>
          <p:cNvSpPr/>
          <p:nvPr/>
        </p:nvSpPr>
        <p:spPr>
          <a:xfrm>
            <a:off x="19965600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430" y="9321"/>
                </a:moveTo>
                <a:cubicBezTo>
                  <a:pt x="11975" y="9321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1"/>
                  <a:pt x="13430" y="9321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1"/>
                </a:lnTo>
                <a:lnTo>
                  <a:pt x="6873" y="9321"/>
                </a:lnTo>
                <a:cubicBezTo>
                  <a:pt x="6873" y="9321"/>
                  <a:pt x="6873" y="14727"/>
                  <a:pt x="6873" y="14727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9" name="Shape 2879"/>
          <p:cNvSpPr/>
          <p:nvPr/>
        </p:nvSpPr>
        <p:spPr>
          <a:xfrm>
            <a:off x="21032122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1592" y="13291"/>
                </a:moveTo>
                <a:cubicBezTo>
                  <a:pt x="11452" y="13213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8" y="13478"/>
                  <a:pt x="9448" y="13666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19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5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2" y="132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0" name="Shape 2880"/>
          <p:cNvSpPr/>
          <p:nvPr/>
        </p:nvSpPr>
        <p:spPr>
          <a:xfrm>
            <a:off x="22098644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1"/>
                </a:lnTo>
                <a:cubicBezTo>
                  <a:pt x="13281" y="13031"/>
                  <a:pt x="13386" y="13050"/>
                  <a:pt x="13473" y="13084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6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9" y="14187"/>
                  <a:pt x="12549" y="14335"/>
                  <a:pt x="12630" y="14459"/>
                </a:cubicBezTo>
                <a:cubicBezTo>
                  <a:pt x="12706" y="14574"/>
                  <a:pt x="12831" y="14660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5"/>
                  <a:pt x="13722" y="13989"/>
                  <a:pt x="13642" y="13858"/>
                </a:cubicBezTo>
                <a:cubicBezTo>
                  <a:pt x="13567" y="13733"/>
                  <a:pt x="13439" y="13643"/>
                  <a:pt x="13280" y="13606"/>
                </a:cubicBezTo>
                <a:moveTo>
                  <a:pt x="13014" y="7028"/>
                </a:moveTo>
                <a:lnTo>
                  <a:pt x="13098" y="6884"/>
                </a:lnTo>
                <a:lnTo>
                  <a:pt x="12931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1" y="6884"/>
                </a:lnTo>
                <a:lnTo>
                  <a:pt x="9988" y="10156"/>
                </a:lnTo>
                <a:lnTo>
                  <a:pt x="8067" y="6872"/>
                </a:lnTo>
                <a:lnTo>
                  <a:pt x="8000" y="6890"/>
                </a:lnTo>
                <a:cubicBezTo>
                  <a:pt x="7739" y="6962"/>
                  <a:pt x="7347" y="6961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5"/>
                  <a:pt x="10190" y="14645"/>
                  <a:pt x="10449" y="14719"/>
                </a:cubicBezTo>
                <a:lnTo>
                  <a:pt x="10573" y="14722"/>
                </a:lnTo>
                <a:lnTo>
                  <a:pt x="10512" y="11390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4" y="702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1" name="Shape 2881"/>
          <p:cNvSpPr/>
          <p:nvPr/>
        </p:nvSpPr>
        <p:spPr>
          <a:xfrm>
            <a:off x="12499946" y="879513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3925" y="9726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6"/>
                  <a:pt x="13925" y="9726"/>
                </a:cubicBezTo>
                <a:close/>
                <a:moveTo>
                  <a:pt x="12965" y="14699"/>
                </a:moveTo>
                <a:lnTo>
                  <a:pt x="12959" y="14707"/>
                </a:lnTo>
                <a:lnTo>
                  <a:pt x="10801" y="13101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1" y="14627"/>
                </a:lnTo>
                <a:lnTo>
                  <a:pt x="14001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1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42" y="12982"/>
                </a:lnTo>
                <a:lnTo>
                  <a:pt x="8631" y="13516"/>
                </a:lnTo>
                <a:lnTo>
                  <a:pt x="10060" y="12431"/>
                </a:lnTo>
                <a:lnTo>
                  <a:pt x="10780" y="11879"/>
                </a:lnTo>
                <a:lnTo>
                  <a:pt x="10783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4" y="11879"/>
                </a:lnTo>
                <a:lnTo>
                  <a:pt x="12515" y="13153"/>
                </a:lnTo>
                <a:lnTo>
                  <a:pt x="13007" y="13515"/>
                </a:lnTo>
                <a:lnTo>
                  <a:pt x="16199" y="11575"/>
                </a:lnTo>
                <a:lnTo>
                  <a:pt x="13925" y="9726"/>
                </a:lnTo>
                <a:lnTo>
                  <a:pt x="10787" y="11715"/>
                </a:lnTo>
                <a:cubicBezTo>
                  <a:pt x="10787" y="11715"/>
                  <a:pt x="7641" y="9766"/>
                  <a:pt x="7641" y="976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2" name="Shape 2882"/>
          <p:cNvSpPr/>
          <p:nvPr/>
        </p:nvSpPr>
        <p:spPr>
          <a:xfrm>
            <a:off x="13566466" y="879513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3" name="Shape 2883"/>
          <p:cNvSpPr/>
          <p:nvPr/>
        </p:nvSpPr>
        <p:spPr>
          <a:xfrm>
            <a:off x="14632989" y="879513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6"/>
                </a:lnTo>
                <a:cubicBezTo>
                  <a:pt x="15118" y="9994"/>
                  <a:pt x="15213" y="9425"/>
                  <a:pt x="15213" y="8918"/>
                </a:cubicBezTo>
                <a:cubicBezTo>
                  <a:pt x="15213" y="8811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8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0" y="8413"/>
                </a:cubicBezTo>
                <a:cubicBezTo>
                  <a:pt x="9350" y="8413"/>
                  <a:pt x="9605" y="8444"/>
                  <a:pt x="9874" y="8460"/>
                </a:cubicBezTo>
                <a:lnTo>
                  <a:pt x="10652" y="10591"/>
                </a:lnTo>
                <a:lnTo>
                  <a:pt x="9560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2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4" y="8063"/>
                  <a:pt x="6727" y="8061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89" y="12162"/>
                </a:cubicBezTo>
                <a:lnTo>
                  <a:pt x="13291" y="13825"/>
                </a:lnTo>
                <a:cubicBezTo>
                  <a:pt x="13291" y="13825"/>
                  <a:pt x="11488" y="8460"/>
                  <a:pt x="11488" y="8460"/>
                </a:cubicBezTo>
                <a:close/>
                <a:moveTo>
                  <a:pt x="10800" y="15709"/>
                </a:moveTo>
                <a:cubicBezTo>
                  <a:pt x="10319" y="15709"/>
                  <a:pt x="9857" y="15637"/>
                  <a:pt x="9418" y="15508"/>
                </a:cubicBezTo>
                <a:lnTo>
                  <a:pt x="10887" y="11236"/>
                </a:lnTo>
                <a:cubicBezTo>
                  <a:pt x="10887" y="11236"/>
                  <a:pt x="12211" y="14865"/>
                  <a:pt x="12425" y="15428"/>
                </a:cubicBezTo>
                <a:cubicBezTo>
                  <a:pt x="11916" y="15607"/>
                  <a:pt x="11371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9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4" name="Shape 2884"/>
          <p:cNvSpPr/>
          <p:nvPr/>
        </p:nvSpPr>
        <p:spPr>
          <a:xfrm>
            <a:off x="15699511" y="879513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36" y="10309"/>
                </a:moveTo>
                <a:cubicBezTo>
                  <a:pt x="13551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8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8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0" y="10800"/>
                  <a:pt x="9312" y="10469"/>
                  <a:pt x="10852" y="9873"/>
                </a:cubicBezTo>
                <a:cubicBezTo>
                  <a:pt x="11015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8"/>
                  <a:pt x="10353" y="9001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5" name="Shape 2885"/>
          <p:cNvSpPr/>
          <p:nvPr/>
        </p:nvSpPr>
        <p:spPr>
          <a:xfrm>
            <a:off x="16816820" y="879513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00" y="13698"/>
                </a:moveTo>
                <a:cubicBezTo>
                  <a:pt x="15500" y="14629"/>
                  <a:pt x="14906" y="15067"/>
                  <a:pt x="13996" y="15061"/>
                </a:cubicBezTo>
                <a:cubicBezTo>
                  <a:pt x="13870" y="15061"/>
                  <a:pt x="13731" y="15061"/>
                  <a:pt x="13646" y="15044"/>
                </a:cubicBezTo>
                <a:lnTo>
                  <a:pt x="13646" y="12497"/>
                </a:lnTo>
                <a:cubicBezTo>
                  <a:pt x="13731" y="12480"/>
                  <a:pt x="13877" y="12463"/>
                  <a:pt x="14101" y="12463"/>
                </a:cubicBezTo>
                <a:cubicBezTo>
                  <a:pt x="14966" y="12463"/>
                  <a:pt x="15507" y="12890"/>
                  <a:pt x="15500" y="13698"/>
                </a:cubicBezTo>
                <a:moveTo>
                  <a:pt x="12636" y="11868"/>
                </a:moveTo>
                <a:lnTo>
                  <a:pt x="12636" y="15691"/>
                </a:lnTo>
                <a:cubicBezTo>
                  <a:pt x="12886" y="15720"/>
                  <a:pt x="13256" y="15748"/>
                  <a:pt x="13778" y="15748"/>
                </a:cubicBezTo>
                <a:cubicBezTo>
                  <a:pt x="14649" y="15748"/>
                  <a:pt x="15362" y="15587"/>
                  <a:pt x="15830" y="15246"/>
                </a:cubicBezTo>
                <a:cubicBezTo>
                  <a:pt x="16260" y="14929"/>
                  <a:pt x="16570" y="14415"/>
                  <a:pt x="16570" y="13670"/>
                </a:cubicBezTo>
                <a:cubicBezTo>
                  <a:pt x="16570" y="12982"/>
                  <a:pt x="16279" y="12503"/>
                  <a:pt x="15817" y="12203"/>
                </a:cubicBezTo>
                <a:cubicBezTo>
                  <a:pt x="15388" y="11919"/>
                  <a:pt x="14840" y="11787"/>
                  <a:pt x="13996" y="11787"/>
                </a:cubicBezTo>
                <a:cubicBezTo>
                  <a:pt x="13487" y="11787"/>
                  <a:pt x="13005" y="11815"/>
                  <a:pt x="12636" y="11868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5"/>
                </a:moveTo>
                <a:cubicBezTo>
                  <a:pt x="20400" y="20178"/>
                  <a:pt x="19863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5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5"/>
                  <a:pt x="20400" y="19635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8"/>
                  <a:pt x="0" y="1964"/>
                </a:cubicBezTo>
                <a:lnTo>
                  <a:pt x="0" y="19635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5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769" y="13658"/>
                </a:moveTo>
                <a:cubicBezTo>
                  <a:pt x="6624" y="13658"/>
                  <a:pt x="6519" y="13652"/>
                  <a:pt x="6433" y="13635"/>
                </a:cubicBezTo>
                <a:lnTo>
                  <a:pt x="6433" y="12486"/>
                </a:lnTo>
                <a:cubicBezTo>
                  <a:pt x="6505" y="12468"/>
                  <a:pt x="6644" y="12451"/>
                  <a:pt x="6848" y="12451"/>
                </a:cubicBezTo>
                <a:cubicBezTo>
                  <a:pt x="7350" y="12451"/>
                  <a:pt x="7634" y="12665"/>
                  <a:pt x="7634" y="13023"/>
                </a:cubicBezTo>
                <a:cubicBezTo>
                  <a:pt x="7634" y="13421"/>
                  <a:pt x="7304" y="13658"/>
                  <a:pt x="6769" y="13658"/>
                </a:cubicBezTo>
                <a:moveTo>
                  <a:pt x="6796" y="11787"/>
                </a:moveTo>
                <a:cubicBezTo>
                  <a:pt x="6182" y="11787"/>
                  <a:pt x="5746" y="11821"/>
                  <a:pt x="5436" y="11868"/>
                </a:cubicBezTo>
                <a:lnTo>
                  <a:pt x="5436" y="15708"/>
                </a:lnTo>
                <a:lnTo>
                  <a:pt x="6433" y="15708"/>
                </a:lnTo>
                <a:lnTo>
                  <a:pt x="6433" y="14316"/>
                </a:lnTo>
                <a:cubicBezTo>
                  <a:pt x="6524" y="14328"/>
                  <a:pt x="6644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5" y="13704"/>
                  <a:pt x="8630" y="13381"/>
                  <a:pt x="8630" y="13000"/>
                </a:cubicBezTo>
                <a:cubicBezTo>
                  <a:pt x="8630" y="12618"/>
                  <a:pt x="8439" y="12296"/>
                  <a:pt x="8155" y="12099"/>
                </a:cubicBezTo>
                <a:cubicBezTo>
                  <a:pt x="7858" y="11891"/>
                  <a:pt x="7416" y="11787"/>
                  <a:pt x="6796" y="11787"/>
                </a:cubicBezTo>
                <a:moveTo>
                  <a:pt x="10765" y="13398"/>
                </a:moveTo>
                <a:cubicBezTo>
                  <a:pt x="10191" y="13208"/>
                  <a:pt x="9940" y="13098"/>
                  <a:pt x="9940" y="12850"/>
                </a:cubicBezTo>
                <a:cubicBezTo>
                  <a:pt x="9940" y="12648"/>
                  <a:pt x="10151" y="12474"/>
                  <a:pt x="10587" y="12474"/>
                </a:cubicBezTo>
                <a:cubicBezTo>
                  <a:pt x="11023" y="12474"/>
                  <a:pt x="11339" y="12583"/>
                  <a:pt x="11517" y="12659"/>
                </a:cubicBezTo>
                <a:lnTo>
                  <a:pt x="11742" y="11949"/>
                </a:lnTo>
                <a:cubicBezTo>
                  <a:pt x="11478" y="11845"/>
                  <a:pt x="11108" y="11752"/>
                  <a:pt x="10607" y="11752"/>
                </a:cubicBezTo>
                <a:cubicBezTo>
                  <a:pt x="9558" y="11752"/>
                  <a:pt x="8924" y="12260"/>
                  <a:pt x="8924" y="12924"/>
                </a:cubicBezTo>
                <a:cubicBezTo>
                  <a:pt x="8924" y="13490"/>
                  <a:pt x="9405" y="13849"/>
                  <a:pt x="10145" y="14074"/>
                </a:cubicBezTo>
                <a:cubicBezTo>
                  <a:pt x="10679" y="14241"/>
                  <a:pt x="10891" y="14380"/>
                  <a:pt x="10891" y="14623"/>
                </a:cubicBezTo>
                <a:cubicBezTo>
                  <a:pt x="10891" y="14877"/>
                  <a:pt x="10646" y="15044"/>
                  <a:pt x="10184" y="15044"/>
                </a:cubicBezTo>
                <a:cubicBezTo>
                  <a:pt x="9755" y="15044"/>
                  <a:pt x="9339" y="14923"/>
                  <a:pt x="9069" y="14802"/>
                </a:cubicBezTo>
                <a:lnTo>
                  <a:pt x="8864" y="15529"/>
                </a:lnTo>
                <a:cubicBezTo>
                  <a:pt x="9115" y="15651"/>
                  <a:pt x="9616" y="15766"/>
                  <a:pt x="10124" y="15766"/>
                </a:cubicBezTo>
                <a:cubicBezTo>
                  <a:pt x="11346" y="15766"/>
                  <a:pt x="11920" y="15211"/>
                  <a:pt x="11920" y="14559"/>
                </a:cubicBezTo>
                <a:cubicBezTo>
                  <a:pt x="11920" y="14010"/>
                  <a:pt x="11551" y="13652"/>
                  <a:pt x="10765" y="1339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6" name="Shape 2886"/>
          <p:cNvSpPr/>
          <p:nvPr/>
        </p:nvSpPr>
        <p:spPr>
          <a:xfrm>
            <a:off x="17883341" y="879513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36" y="15709"/>
                </a:moveTo>
                <a:lnTo>
                  <a:pt x="13646" y="15709"/>
                </a:lnTo>
                <a:lnTo>
                  <a:pt x="13646" y="11816"/>
                </a:lnTo>
                <a:lnTo>
                  <a:pt x="12636" y="11816"/>
                </a:lnTo>
                <a:cubicBezTo>
                  <a:pt x="12636" y="11816"/>
                  <a:pt x="12636" y="15709"/>
                  <a:pt x="126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9618" y="14051"/>
                </a:moveTo>
                <a:lnTo>
                  <a:pt x="9881" y="13225"/>
                </a:lnTo>
                <a:cubicBezTo>
                  <a:pt x="9954" y="13000"/>
                  <a:pt x="10020" y="12706"/>
                  <a:pt x="10086" y="12475"/>
                </a:cubicBezTo>
                <a:lnTo>
                  <a:pt x="10099" y="12475"/>
                </a:lnTo>
                <a:cubicBezTo>
                  <a:pt x="10165" y="12706"/>
                  <a:pt x="10245" y="12994"/>
                  <a:pt x="10324" y="13225"/>
                </a:cubicBezTo>
                <a:lnTo>
                  <a:pt x="10601" y="14051"/>
                </a:lnTo>
                <a:cubicBezTo>
                  <a:pt x="10601" y="14051"/>
                  <a:pt x="9618" y="14051"/>
                  <a:pt x="9618" y="14051"/>
                </a:cubicBezTo>
                <a:close/>
                <a:moveTo>
                  <a:pt x="9472" y="11816"/>
                </a:moveTo>
                <a:lnTo>
                  <a:pt x="8113" y="15709"/>
                </a:lnTo>
                <a:lnTo>
                  <a:pt x="9155" y="15709"/>
                </a:lnTo>
                <a:lnTo>
                  <a:pt x="9472" y="14710"/>
                </a:lnTo>
                <a:lnTo>
                  <a:pt x="10746" y="14710"/>
                </a:lnTo>
                <a:lnTo>
                  <a:pt x="11089" y="15709"/>
                </a:lnTo>
                <a:lnTo>
                  <a:pt x="12172" y="15709"/>
                </a:lnTo>
                <a:lnTo>
                  <a:pt x="10792" y="11816"/>
                </a:lnTo>
                <a:cubicBezTo>
                  <a:pt x="10792" y="11816"/>
                  <a:pt x="9472" y="11816"/>
                  <a:pt x="9472" y="1181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7" name="Shape 2887"/>
          <p:cNvSpPr/>
          <p:nvPr/>
        </p:nvSpPr>
        <p:spPr>
          <a:xfrm>
            <a:off x="18949863" y="879513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836" y="15709"/>
                </a:moveTo>
                <a:lnTo>
                  <a:pt x="14845" y="15709"/>
                </a:lnTo>
                <a:lnTo>
                  <a:pt x="14845" y="14144"/>
                </a:lnTo>
                <a:lnTo>
                  <a:pt x="16443" y="14144"/>
                </a:lnTo>
                <a:lnTo>
                  <a:pt x="16443" y="13428"/>
                </a:lnTo>
                <a:lnTo>
                  <a:pt x="14845" y="13428"/>
                </a:lnTo>
                <a:lnTo>
                  <a:pt x="14845" y="12538"/>
                </a:lnTo>
                <a:lnTo>
                  <a:pt x="16555" y="12538"/>
                </a:lnTo>
                <a:lnTo>
                  <a:pt x="16555" y="11816"/>
                </a:lnTo>
                <a:lnTo>
                  <a:pt x="13836" y="11816"/>
                </a:lnTo>
                <a:cubicBezTo>
                  <a:pt x="13836" y="11816"/>
                  <a:pt x="13836" y="15709"/>
                  <a:pt x="138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0396" y="15062"/>
                </a:moveTo>
                <a:cubicBezTo>
                  <a:pt x="10270" y="15062"/>
                  <a:pt x="10131" y="15062"/>
                  <a:pt x="10045" y="15045"/>
                </a:cubicBezTo>
                <a:lnTo>
                  <a:pt x="10045" y="12498"/>
                </a:lnTo>
                <a:cubicBezTo>
                  <a:pt x="10131" y="12480"/>
                  <a:pt x="10277" y="12463"/>
                  <a:pt x="10501" y="12463"/>
                </a:cubicBezTo>
                <a:cubicBezTo>
                  <a:pt x="11366" y="12463"/>
                  <a:pt x="11907" y="12891"/>
                  <a:pt x="11900" y="13699"/>
                </a:cubicBezTo>
                <a:cubicBezTo>
                  <a:pt x="11900" y="14629"/>
                  <a:pt x="11306" y="15068"/>
                  <a:pt x="10396" y="15062"/>
                </a:cubicBezTo>
                <a:moveTo>
                  <a:pt x="10396" y="11787"/>
                </a:moveTo>
                <a:cubicBezTo>
                  <a:pt x="9887" y="11787"/>
                  <a:pt x="9405" y="11816"/>
                  <a:pt x="9036" y="11868"/>
                </a:cubicBezTo>
                <a:lnTo>
                  <a:pt x="9036" y="15691"/>
                </a:lnTo>
                <a:cubicBezTo>
                  <a:pt x="9287" y="15720"/>
                  <a:pt x="9656" y="15749"/>
                  <a:pt x="10178" y="15749"/>
                </a:cubicBezTo>
                <a:cubicBezTo>
                  <a:pt x="11048" y="15749"/>
                  <a:pt x="11762" y="15587"/>
                  <a:pt x="12231" y="15246"/>
                </a:cubicBezTo>
                <a:cubicBezTo>
                  <a:pt x="12660" y="14929"/>
                  <a:pt x="12970" y="14415"/>
                  <a:pt x="12970" y="13670"/>
                </a:cubicBezTo>
                <a:cubicBezTo>
                  <a:pt x="12970" y="12983"/>
                  <a:pt x="12680" y="12503"/>
                  <a:pt x="12217" y="12203"/>
                </a:cubicBezTo>
                <a:cubicBezTo>
                  <a:pt x="11788" y="11920"/>
                  <a:pt x="11241" y="11787"/>
                  <a:pt x="10396" y="11787"/>
                </a:cubicBezTo>
                <a:moveTo>
                  <a:pt x="6769" y="13659"/>
                </a:moveTo>
                <a:cubicBezTo>
                  <a:pt x="6623" y="13659"/>
                  <a:pt x="6518" y="13653"/>
                  <a:pt x="6432" y="13636"/>
                </a:cubicBezTo>
                <a:lnTo>
                  <a:pt x="6432" y="12486"/>
                </a:lnTo>
                <a:cubicBezTo>
                  <a:pt x="6505" y="12469"/>
                  <a:pt x="6643" y="12452"/>
                  <a:pt x="6848" y="12452"/>
                </a:cubicBezTo>
                <a:cubicBezTo>
                  <a:pt x="7350" y="12452"/>
                  <a:pt x="7634" y="12665"/>
                  <a:pt x="7634" y="13023"/>
                </a:cubicBezTo>
                <a:cubicBezTo>
                  <a:pt x="7634" y="13422"/>
                  <a:pt x="7304" y="13659"/>
                  <a:pt x="6769" y="13659"/>
                </a:cubicBezTo>
                <a:moveTo>
                  <a:pt x="6796" y="11787"/>
                </a:moveTo>
                <a:cubicBezTo>
                  <a:pt x="6182" y="11787"/>
                  <a:pt x="5746" y="11822"/>
                  <a:pt x="5436" y="11868"/>
                </a:cubicBezTo>
                <a:lnTo>
                  <a:pt x="5436" y="15709"/>
                </a:lnTo>
                <a:lnTo>
                  <a:pt x="6432" y="15709"/>
                </a:lnTo>
                <a:lnTo>
                  <a:pt x="6432" y="14317"/>
                </a:lnTo>
                <a:cubicBezTo>
                  <a:pt x="6525" y="14328"/>
                  <a:pt x="6643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6" y="13705"/>
                  <a:pt x="8631" y="13381"/>
                  <a:pt x="8631" y="13000"/>
                </a:cubicBezTo>
                <a:cubicBezTo>
                  <a:pt x="8631" y="12619"/>
                  <a:pt x="8439" y="12296"/>
                  <a:pt x="8155" y="12099"/>
                </a:cubicBezTo>
                <a:cubicBezTo>
                  <a:pt x="7859" y="11892"/>
                  <a:pt x="7416" y="11787"/>
                  <a:pt x="6796" y="1178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8" name="Shape 2888"/>
          <p:cNvSpPr/>
          <p:nvPr/>
        </p:nvSpPr>
        <p:spPr>
          <a:xfrm>
            <a:off x="20016388" y="879513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36" y="15709"/>
                </a:moveTo>
                <a:lnTo>
                  <a:pt x="13945" y="15709"/>
                </a:lnTo>
                <a:lnTo>
                  <a:pt x="13945" y="14144"/>
                </a:lnTo>
                <a:lnTo>
                  <a:pt x="15543" y="14144"/>
                </a:lnTo>
                <a:lnTo>
                  <a:pt x="15543" y="13428"/>
                </a:lnTo>
                <a:lnTo>
                  <a:pt x="13945" y="13428"/>
                </a:lnTo>
                <a:lnTo>
                  <a:pt x="13945" y="12538"/>
                </a:lnTo>
                <a:lnTo>
                  <a:pt x="15655" y="12538"/>
                </a:lnTo>
                <a:lnTo>
                  <a:pt x="15655" y="11816"/>
                </a:lnTo>
                <a:lnTo>
                  <a:pt x="12936" y="11816"/>
                </a:lnTo>
                <a:cubicBezTo>
                  <a:pt x="12936" y="11816"/>
                  <a:pt x="12936" y="15709"/>
                  <a:pt x="129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1136" y="15709"/>
                </a:moveTo>
                <a:lnTo>
                  <a:pt x="12145" y="15709"/>
                </a:lnTo>
                <a:lnTo>
                  <a:pt x="12145" y="11816"/>
                </a:lnTo>
                <a:lnTo>
                  <a:pt x="11136" y="11816"/>
                </a:lnTo>
                <a:cubicBezTo>
                  <a:pt x="11136" y="11816"/>
                  <a:pt x="11136" y="15709"/>
                  <a:pt x="11136" y="15709"/>
                </a:cubicBezTo>
                <a:close/>
                <a:moveTo>
                  <a:pt x="8395" y="14167"/>
                </a:moveTo>
                <a:lnTo>
                  <a:pt x="9082" y="14167"/>
                </a:lnTo>
                <a:lnTo>
                  <a:pt x="9082" y="14981"/>
                </a:lnTo>
                <a:cubicBezTo>
                  <a:pt x="9002" y="15015"/>
                  <a:pt x="8818" y="15039"/>
                  <a:pt x="8586" y="15039"/>
                </a:cubicBezTo>
                <a:cubicBezTo>
                  <a:pt x="7761" y="15039"/>
                  <a:pt x="7187" y="14565"/>
                  <a:pt x="7187" y="13762"/>
                </a:cubicBezTo>
                <a:cubicBezTo>
                  <a:pt x="7187" y="12919"/>
                  <a:pt x="7821" y="12503"/>
                  <a:pt x="8659" y="12503"/>
                </a:cubicBezTo>
                <a:cubicBezTo>
                  <a:pt x="9148" y="12503"/>
                  <a:pt x="9451" y="12579"/>
                  <a:pt x="9696" y="12672"/>
                </a:cubicBezTo>
                <a:lnTo>
                  <a:pt x="9907" y="11966"/>
                </a:lnTo>
                <a:cubicBezTo>
                  <a:pt x="9689" y="11874"/>
                  <a:pt x="9247" y="11776"/>
                  <a:pt x="8672" y="11776"/>
                </a:cubicBezTo>
                <a:cubicBezTo>
                  <a:pt x="7213" y="11776"/>
                  <a:pt x="6138" y="12515"/>
                  <a:pt x="6131" y="13809"/>
                </a:cubicBezTo>
                <a:cubicBezTo>
                  <a:pt x="6124" y="14381"/>
                  <a:pt x="6349" y="14888"/>
                  <a:pt x="6758" y="15223"/>
                </a:cubicBezTo>
                <a:cubicBezTo>
                  <a:pt x="7167" y="15570"/>
                  <a:pt x="7755" y="15749"/>
                  <a:pt x="8566" y="15749"/>
                </a:cubicBezTo>
                <a:cubicBezTo>
                  <a:pt x="9155" y="15749"/>
                  <a:pt x="9742" y="15622"/>
                  <a:pt x="10052" y="15530"/>
                </a:cubicBezTo>
                <a:lnTo>
                  <a:pt x="10052" y="13479"/>
                </a:lnTo>
                <a:lnTo>
                  <a:pt x="8395" y="13479"/>
                </a:lnTo>
                <a:cubicBezTo>
                  <a:pt x="8395" y="13479"/>
                  <a:pt x="8395" y="14167"/>
                  <a:pt x="8395" y="14167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9" name="Shape 2889"/>
          <p:cNvSpPr/>
          <p:nvPr/>
        </p:nvSpPr>
        <p:spPr>
          <a:xfrm>
            <a:off x="21082909" y="879513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69" y="13659"/>
                </a:moveTo>
                <a:cubicBezTo>
                  <a:pt x="9923" y="13659"/>
                  <a:pt x="9818" y="13653"/>
                  <a:pt x="9732" y="13636"/>
                </a:cubicBezTo>
                <a:lnTo>
                  <a:pt x="9732" y="12486"/>
                </a:lnTo>
                <a:cubicBezTo>
                  <a:pt x="9805" y="12469"/>
                  <a:pt x="9943" y="12452"/>
                  <a:pt x="10148" y="12452"/>
                </a:cubicBezTo>
                <a:cubicBezTo>
                  <a:pt x="10650" y="12452"/>
                  <a:pt x="10934" y="12665"/>
                  <a:pt x="10934" y="13023"/>
                </a:cubicBezTo>
                <a:cubicBezTo>
                  <a:pt x="10934" y="13422"/>
                  <a:pt x="10604" y="13659"/>
                  <a:pt x="10069" y="13659"/>
                </a:cubicBezTo>
                <a:moveTo>
                  <a:pt x="10096" y="11787"/>
                </a:moveTo>
                <a:cubicBezTo>
                  <a:pt x="9481" y="11787"/>
                  <a:pt x="9046" y="11822"/>
                  <a:pt x="8736" y="11869"/>
                </a:cubicBezTo>
                <a:lnTo>
                  <a:pt x="8736" y="15709"/>
                </a:lnTo>
                <a:lnTo>
                  <a:pt x="9732" y="15709"/>
                </a:lnTo>
                <a:lnTo>
                  <a:pt x="9732" y="14317"/>
                </a:lnTo>
                <a:cubicBezTo>
                  <a:pt x="9825" y="14328"/>
                  <a:pt x="9943" y="14334"/>
                  <a:pt x="10076" y="14334"/>
                </a:cubicBezTo>
                <a:cubicBezTo>
                  <a:pt x="10670" y="14334"/>
                  <a:pt x="11178" y="14207"/>
                  <a:pt x="11521" y="13924"/>
                </a:cubicBezTo>
                <a:cubicBezTo>
                  <a:pt x="11786" y="13705"/>
                  <a:pt x="11931" y="13382"/>
                  <a:pt x="11931" y="13000"/>
                </a:cubicBezTo>
                <a:cubicBezTo>
                  <a:pt x="11931" y="12619"/>
                  <a:pt x="11739" y="12296"/>
                  <a:pt x="11455" y="12099"/>
                </a:cubicBezTo>
                <a:cubicBezTo>
                  <a:pt x="11159" y="11891"/>
                  <a:pt x="10716" y="11787"/>
                  <a:pt x="10096" y="11787"/>
                </a:cubicBezTo>
                <a:moveTo>
                  <a:pt x="12131" y="13809"/>
                </a:moveTo>
                <a:cubicBezTo>
                  <a:pt x="12124" y="14381"/>
                  <a:pt x="12349" y="14888"/>
                  <a:pt x="12758" y="15224"/>
                </a:cubicBezTo>
                <a:cubicBezTo>
                  <a:pt x="13167" y="15571"/>
                  <a:pt x="13755" y="15749"/>
                  <a:pt x="14566" y="15749"/>
                </a:cubicBezTo>
                <a:cubicBezTo>
                  <a:pt x="15155" y="15749"/>
                  <a:pt x="15742" y="15622"/>
                  <a:pt x="16052" y="15530"/>
                </a:cubicBezTo>
                <a:lnTo>
                  <a:pt x="16052" y="13479"/>
                </a:lnTo>
                <a:lnTo>
                  <a:pt x="14395" y="13479"/>
                </a:lnTo>
                <a:lnTo>
                  <a:pt x="14395" y="14167"/>
                </a:lnTo>
                <a:lnTo>
                  <a:pt x="15081" y="14167"/>
                </a:lnTo>
                <a:lnTo>
                  <a:pt x="15081" y="14981"/>
                </a:lnTo>
                <a:cubicBezTo>
                  <a:pt x="15002" y="15015"/>
                  <a:pt x="14818" y="15039"/>
                  <a:pt x="14586" y="15039"/>
                </a:cubicBezTo>
                <a:cubicBezTo>
                  <a:pt x="13761" y="15039"/>
                  <a:pt x="13187" y="14566"/>
                  <a:pt x="13187" y="13762"/>
                </a:cubicBezTo>
                <a:cubicBezTo>
                  <a:pt x="13187" y="12919"/>
                  <a:pt x="13821" y="12503"/>
                  <a:pt x="14659" y="12503"/>
                </a:cubicBezTo>
                <a:cubicBezTo>
                  <a:pt x="15148" y="12503"/>
                  <a:pt x="15451" y="12579"/>
                  <a:pt x="15696" y="12671"/>
                </a:cubicBezTo>
                <a:lnTo>
                  <a:pt x="15906" y="11966"/>
                </a:lnTo>
                <a:cubicBezTo>
                  <a:pt x="15689" y="11874"/>
                  <a:pt x="15247" y="11776"/>
                  <a:pt x="14672" y="11776"/>
                </a:cubicBezTo>
                <a:cubicBezTo>
                  <a:pt x="13213" y="11776"/>
                  <a:pt x="12138" y="12515"/>
                  <a:pt x="12131" y="13809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606" y="14265"/>
                </a:moveTo>
                <a:cubicBezTo>
                  <a:pt x="6606" y="14872"/>
                  <a:pt x="6343" y="15039"/>
                  <a:pt x="5920" y="15039"/>
                </a:cubicBezTo>
                <a:cubicBezTo>
                  <a:pt x="5722" y="15039"/>
                  <a:pt x="5544" y="15010"/>
                  <a:pt x="5406" y="14969"/>
                </a:cubicBezTo>
                <a:lnTo>
                  <a:pt x="5293" y="15680"/>
                </a:lnTo>
                <a:cubicBezTo>
                  <a:pt x="5491" y="15738"/>
                  <a:pt x="5795" y="15773"/>
                  <a:pt x="6026" y="15773"/>
                </a:cubicBezTo>
                <a:cubicBezTo>
                  <a:pt x="7003" y="15773"/>
                  <a:pt x="7610" y="15385"/>
                  <a:pt x="7610" y="14276"/>
                </a:cubicBezTo>
                <a:lnTo>
                  <a:pt x="7610" y="11816"/>
                </a:lnTo>
                <a:lnTo>
                  <a:pt x="6606" y="11816"/>
                </a:lnTo>
                <a:cubicBezTo>
                  <a:pt x="6606" y="11816"/>
                  <a:pt x="6606" y="14265"/>
                  <a:pt x="6606" y="1426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90" name="Shape 2890"/>
          <p:cNvSpPr/>
          <p:nvPr/>
        </p:nvSpPr>
        <p:spPr>
          <a:xfrm>
            <a:off x="22149431" y="879513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3031" y="13809"/>
                </a:moveTo>
                <a:cubicBezTo>
                  <a:pt x="13024" y="14381"/>
                  <a:pt x="13249" y="14888"/>
                  <a:pt x="13658" y="15223"/>
                </a:cubicBezTo>
                <a:cubicBezTo>
                  <a:pt x="14067" y="15570"/>
                  <a:pt x="14655" y="15749"/>
                  <a:pt x="15467" y="15749"/>
                </a:cubicBezTo>
                <a:cubicBezTo>
                  <a:pt x="16054" y="15749"/>
                  <a:pt x="16642" y="15622"/>
                  <a:pt x="16952" y="15530"/>
                </a:cubicBezTo>
                <a:lnTo>
                  <a:pt x="16952" y="13479"/>
                </a:lnTo>
                <a:lnTo>
                  <a:pt x="15295" y="13479"/>
                </a:lnTo>
                <a:lnTo>
                  <a:pt x="15295" y="14167"/>
                </a:lnTo>
                <a:lnTo>
                  <a:pt x="15981" y="14167"/>
                </a:lnTo>
                <a:lnTo>
                  <a:pt x="15981" y="14981"/>
                </a:lnTo>
                <a:cubicBezTo>
                  <a:pt x="15902" y="15015"/>
                  <a:pt x="15718" y="15039"/>
                  <a:pt x="15486" y="15039"/>
                </a:cubicBezTo>
                <a:cubicBezTo>
                  <a:pt x="14661" y="15039"/>
                  <a:pt x="14087" y="14565"/>
                  <a:pt x="14087" y="13762"/>
                </a:cubicBezTo>
                <a:cubicBezTo>
                  <a:pt x="14087" y="12919"/>
                  <a:pt x="14721" y="12503"/>
                  <a:pt x="15559" y="12503"/>
                </a:cubicBezTo>
                <a:cubicBezTo>
                  <a:pt x="16048" y="12503"/>
                  <a:pt x="16351" y="12579"/>
                  <a:pt x="16596" y="12671"/>
                </a:cubicBezTo>
                <a:lnTo>
                  <a:pt x="16807" y="11966"/>
                </a:lnTo>
                <a:cubicBezTo>
                  <a:pt x="16589" y="11874"/>
                  <a:pt x="16147" y="11776"/>
                  <a:pt x="15572" y="11776"/>
                </a:cubicBezTo>
                <a:cubicBezTo>
                  <a:pt x="14113" y="11776"/>
                  <a:pt x="13037" y="12515"/>
                  <a:pt x="13031" y="13809"/>
                </a:cubicBezTo>
                <a:moveTo>
                  <a:pt x="6169" y="13659"/>
                </a:moveTo>
                <a:cubicBezTo>
                  <a:pt x="6023" y="13659"/>
                  <a:pt x="5918" y="13653"/>
                  <a:pt x="5832" y="13636"/>
                </a:cubicBezTo>
                <a:lnTo>
                  <a:pt x="5832" y="12486"/>
                </a:lnTo>
                <a:cubicBezTo>
                  <a:pt x="5905" y="12469"/>
                  <a:pt x="6043" y="12452"/>
                  <a:pt x="6248" y="12452"/>
                </a:cubicBezTo>
                <a:cubicBezTo>
                  <a:pt x="6750" y="12452"/>
                  <a:pt x="7034" y="12665"/>
                  <a:pt x="7034" y="13023"/>
                </a:cubicBezTo>
                <a:cubicBezTo>
                  <a:pt x="7034" y="13422"/>
                  <a:pt x="6704" y="13659"/>
                  <a:pt x="6169" y="13659"/>
                </a:cubicBezTo>
                <a:moveTo>
                  <a:pt x="6196" y="11787"/>
                </a:moveTo>
                <a:cubicBezTo>
                  <a:pt x="5582" y="11787"/>
                  <a:pt x="5146" y="11822"/>
                  <a:pt x="4836" y="11868"/>
                </a:cubicBezTo>
                <a:lnTo>
                  <a:pt x="4836" y="15709"/>
                </a:lnTo>
                <a:lnTo>
                  <a:pt x="5832" y="15709"/>
                </a:lnTo>
                <a:lnTo>
                  <a:pt x="5832" y="14317"/>
                </a:lnTo>
                <a:cubicBezTo>
                  <a:pt x="5925" y="14328"/>
                  <a:pt x="6043" y="14334"/>
                  <a:pt x="6176" y="14334"/>
                </a:cubicBezTo>
                <a:cubicBezTo>
                  <a:pt x="6770" y="14334"/>
                  <a:pt x="7278" y="14207"/>
                  <a:pt x="7621" y="13924"/>
                </a:cubicBezTo>
                <a:cubicBezTo>
                  <a:pt x="7886" y="13705"/>
                  <a:pt x="8031" y="13381"/>
                  <a:pt x="8031" y="13000"/>
                </a:cubicBezTo>
                <a:cubicBezTo>
                  <a:pt x="8031" y="12619"/>
                  <a:pt x="7839" y="12296"/>
                  <a:pt x="7555" y="12099"/>
                </a:cubicBezTo>
                <a:cubicBezTo>
                  <a:pt x="7259" y="11892"/>
                  <a:pt x="6816" y="11787"/>
                  <a:pt x="6196" y="11787"/>
                </a:cubicBezTo>
                <a:moveTo>
                  <a:pt x="11195" y="12954"/>
                </a:moveTo>
                <a:cubicBezTo>
                  <a:pt x="11195" y="13537"/>
                  <a:pt x="11215" y="14063"/>
                  <a:pt x="11280" y="14577"/>
                </a:cubicBezTo>
                <a:lnTo>
                  <a:pt x="11261" y="14577"/>
                </a:lnTo>
                <a:cubicBezTo>
                  <a:pt x="11062" y="14138"/>
                  <a:pt x="10799" y="13653"/>
                  <a:pt x="10535" y="13243"/>
                </a:cubicBezTo>
                <a:lnTo>
                  <a:pt x="9611" y="11816"/>
                </a:lnTo>
                <a:lnTo>
                  <a:pt x="8436" y="11816"/>
                </a:lnTo>
                <a:lnTo>
                  <a:pt x="8436" y="15709"/>
                </a:lnTo>
                <a:lnTo>
                  <a:pt x="9360" y="15709"/>
                </a:lnTo>
                <a:lnTo>
                  <a:pt x="9360" y="14536"/>
                </a:lnTo>
                <a:cubicBezTo>
                  <a:pt x="9360" y="13901"/>
                  <a:pt x="9347" y="13352"/>
                  <a:pt x="9320" y="12838"/>
                </a:cubicBezTo>
                <a:lnTo>
                  <a:pt x="9340" y="12833"/>
                </a:lnTo>
                <a:cubicBezTo>
                  <a:pt x="9558" y="13289"/>
                  <a:pt x="9848" y="13791"/>
                  <a:pt x="10112" y="14207"/>
                </a:cubicBezTo>
                <a:lnTo>
                  <a:pt x="11062" y="15709"/>
                </a:lnTo>
                <a:lnTo>
                  <a:pt x="12119" y="15709"/>
                </a:lnTo>
                <a:lnTo>
                  <a:pt x="12119" y="11816"/>
                </a:lnTo>
                <a:lnTo>
                  <a:pt x="11195" y="11816"/>
                </a:lnTo>
                <a:cubicBezTo>
                  <a:pt x="11195" y="11816"/>
                  <a:pt x="11195" y="12954"/>
                  <a:pt x="11195" y="1295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04" name="Shape 2707"/>
          <p:cNvSpPr/>
          <p:nvPr/>
        </p:nvSpPr>
        <p:spPr>
          <a:xfrm>
            <a:off x="11055304" y="1571207"/>
            <a:ext cx="2308945" cy="6309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8090" tIns="38090" rIns="38090" bIns="38090" anchor="ctr">
            <a:spAutoFit/>
          </a:bodyPr>
          <a:lstStyle>
            <a:lvl1pPr algn="l">
              <a:defRPr sz="3000" b="1" cap="none" spc="-90">
                <a:solidFill>
                  <a:srgbClr val="1C1D21"/>
                </a:solidFill>
                <a:latin typeface="+mj-lt"/>
                <a:ea typeface="+mj-ea"/>
                <a:cs typeface="+mj-cs"/>
                <a:sym typeface="Karla"/>
              </a:defRPr>
            </a:lvl1pPr>
          </a:lstStyle>
          <a:p>
            <a:pPr algn="ctr"/>
            <a:r>
              <a:rPr lang="en-US" sz="3600" b="0" dirty="0">
                <a:solidFill>
                  <a:schemeClr val="tx1"/>
                </a:solidFill>
                <a:latin typeface="Calibri" panose="020F0502020204030204" pitchFamily="34" charset="0"/>
                <a:ea typeface="Avenir Book" charset="0"/>
                <a:cs typeface="Calibri" panose="020F0502020204030204" pitchFamily="34" charset="0"/>
              </a:rPr>
              <a:t>E-commerce</a:t>
            </a:r>
          </a:p>
        </p:txBody>
      </p:sp>
      <p:sp>
        <p:nvSpPr>
          <p:cNvPr id="105" name="Shape 2707"/>
          <p:cNvSpPr/>
          <p:nvPr/>
        </p:nvSpPr>
        <p:spPr>
          <a:xfrm>
            <a:off x="11756263" y="5447768"/>
            <a:ext cx="907023" cy="6309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8090" tIns="38090" rIns="38090" bIns="38090" anchor="ctr">
            <a:spAutoFit/>
          </a:bodyPr>
          <a:lstStyle>
            <a:lvl1pPr algn="l">
              <a:defRPr sz="3000" b="1" cap="none" spc="-90">
                <a:solidFill>
                  <a:srgbClr val="1C1D21"/>
                </a:solidFill>
                <a:latin typeface="+mj-lt"/>
                <a:ea typeface="+mj-ea"/>
                <a:cs typeface="+mj-cs"/>
                <a:sym typeface="Karla"/>
              </a:defRPr>
            </a:lvl1pPr>
          </a:lstStyle>
          <a:p>
            <a:pPr algn="ctr"/>
            <a:r>
              <a:rPr lang="en-US" sz="3600" b="0" dirty="0">
                <a:solidFill>
                  <a:schemeClr val="tx1"/>
                </a:solidFill>
                <a:latin typeface="Calibri" panose="020F0502020204030204" pitchFamily="34" charset="0"/>
                <a:ea typeface="Avenir Book" charset="0"/>
                <a:cs typeface="Calibri" panose="020F0502020204030204" pitchFamily="34" charset="0"/>
              </a:rPr>
              <a:t>Web</a:t>
            </a:r>
          </a:p>
        </p:txBody>
      </p:sp>
    </p:spTree>
    <p:extLst>
      <p:ext uri="{BB962C8B-B14F-4D97-AF65-F5344CB8AC3E}">
        <p14:creationId xmlns:p14="http://schemas.microsoft.com/office/powerpoint/2010/main" val="285057196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3" name="Shape 2893"/>
          <p:cNvSpPr/>
          <p:nvPr/>
        </p:nvSpPr>
        <p:spPr>
          <a:xfrm>
            <a:off x="1758543" y="286620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07" y="14380"/>
                </a:moveTo>
                <a:cubicBezTo>
                  <a:pt x="12819" y="14469"/>
                  <a:pt x="12764" y="14592"/>
                  <a:pt x="12764" y="14727"/>
                </a:cubicBezTo>
                <a:cubicBezTo>
                  <a:pt x="12764" y="14999"/>
                  <a:pt x="12984" y="15218"/>
                  <a:pt x="13255" y="15218"/>
                </a:cubicBezTo>
                <a:cubicBezTo>
                  <a:pt x="13390" y="15218"/>
                  <a:pt x="13513" y="15164"/>
                  <a:pt x="13602" y="15074"/>
                </a:cubicBezTo>
                <a:lnTo>
                  <a:pt x="17529" y="11147"/>
                </a:lnTo>
                <a:cubicBezTo>
                  <a:pt x="17618" y="11058"/>
                  <a:pt x="17673" y="10936"/>
                  <a:pt x="17673" y="10800"/>
                </a:cubicBezTo>
                <a:cubicBezTo>
                  <a:pt x="17673" y="10665"/>
                  <a:pt x="17618" y="10542"/>
                  <a:pt x="17529" y="10453"/>
                </a:cubicBezTo>
                <a:lnTo>
                  <a:pt x="13602" y="6526"/>
                </a:lnTo>
                <a:cubicBezTo>
                  <a:pt x="13513" y="6437"/>
                  <a:pt x="13390" y="6382"/>
                  <a:pt x="13255" y="6382"/>
                </a:cubicBezTo>
                <a:cubicBezTo>
                  <a:pt x="12984" y="6382"/>
                  <a:pt x="12764" y="6601"/>
                  <a:pt x="12764" y="6873"/>
                </a:cubicBezTo>
                <a:cubicBezTo>
                  <a:pt x="12764" y="7008"/>
                  <a:pt x="12819" y="7131"/>
                  <a:pt x="12907" y="7220"/>
                </a:cubicBezTo>
                <a:lnTo>
                  <a:pt x="15997" y="10309"/>
                </a:lnTo>
                <a:lnTo>
                  <a:pt x="491" y="10309"/>
                </a:lnTo>
                <a:cubicBezTo>
                  <a:pt x="220" y="10309"/>
                  <a:pt x="0" y="10529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lnTo>
                  <a:pt x="15997" y="11291"/>
                </a:lnTo>
                <a:cubicBezTo>
                  <a:pt x="15997" y="11291"/>
                  <a:pt x="12907" y="14380"/>
                  <a:pt x="12907" y="14380"/>
                </a:cubicBezTo>
                <a:close/>
                <a:moveTo>
                  <a:pt x="21109" y="0"/>
                </a:moveTo>
                <a:lnTo>
                  <a:pt x="3436" y="0"/>
                </a:lnTo>
                <a:cubicBezTo>
                  <a:pt x="3166" y="0"/>
                  <a:pt x="2945" y="220"/>
                  <a:pt x="2945" y="491"/>
                </a:cubicBezTo>
                <a:lnTo>
                  <a:pt x="2945" y="7855"/>
                </a:lnTo>
                <a:cubicBezTo>
                  <a:pt x="2945" y="8126"/>
                  <a:pt x="3166" y="8345"/>
                  <a:pt x="3436" y="8345"/>
                </a:cubicBezTo>
                <a:cubicBezTo>
                  <a:pt x="3707" y="8345"/>
                  <a:pt x="3927" y="8126"/>
                  <a:pt x="3927" y="7855"/>
                </a:cubicBezTo>
                <a:lnTo>
                  <a:pt x="3927" y="982"/>
                </a:lnTo>
                <a:lnTo>
                  <a:pt x="20618" y="982"/>
                </a:lnTo>
                <a:lnTo>
                  <a:pt x="20618" y="20618"/>
                </a:lnTo>
                <a:lnTo>
                  <a:pt x="3927" y="20618"/>
                </a:lnTo>
                <a:lnTo>
                  <a:pt x="3927" y="13745"/>
                </a:lnTo>
                <a:cubicBezTo>
                  <a:pt x="3927" y="13475"/>
                  <a:pt x="3707" y="13255"/>
                  <a:pt x="3436" y="13255"/>
                </a:cubicBezTo>
                <a:cubicBezTo>
                  <a:pt x="3166" y="13255"/>
                  <a:pt x="2945" y="13475"/>
                  <a:pt x="2945" y="13745"/>
                </a:cubicBezTo>
                <a:lnTo>
                  <a:pt x="2945" y="21109"/>
                </a:lnTo>
                <a:cubicBezTo>
                  <a:pt x="2945" y="21380"/>
                  <a:pt x="3166" y="21600"/>
                  <a:pt x="3436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380" y="0"/>
                  <a:pt x="21109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894" name="Shape 2894"/>
          <p:cNvSpPr/>
          <p:nvPr/>
        </p:nvSpPr>
        <p:spPr>
          <a:xfrm>
            <a:off x="2825064" y="286620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0309"/>
                </a:moveTo>
                <a:lnTo>
                  <a:pt x="5604" y="10309"/>
                </a:lnTo>
                <a:lnTo>
                  <a:pt x="8693" y="7220"/>
                </a:lnTo>
                <a:cubicBezTo>
                  <a:pt x="8781" y="7131"/>
                  <a:pt x="8836" y="7008"/>
                  <a:pt x="8836" y="6873"/>
                </a:cubicBezTo>
                <a:cubicBezTo>
                  <a:pt x="8836" y="6601"/>
                  <a:pt x="8616" y="6382"/>
                  <a:pt x="8345" y="6382"/>
                </a:cubicBezTo>
                <a:cubicBezTo>
                  <a:pt x="8210" y="6382"/>
                  <a:pt x="8087" y="6437"/>
                  <a:pt x="7998" y="6526"/>
                </a:cubicBezTo>
                <a:lnTo>
                  <a:pt x="4071" y="10453"/>
                </a:lnTo>
                <a:cubicBezTo>
                  <a:pt x="3982" y="10542"/>
                  <a:pt x="3927" y="10665"/>
                  <a:pt x="3927" y="10800"/>
                </a:cubicBezTo>
                <a:cubicBezTo>
                  <a:pt x="3927" y="10936"/>
                  <a:pt x="3982" y="11058"/>
                  <a:pt x="4071" y="11147"/>
                </a:cubicBezTo>
                <a:lnTo>
                  <a:pt x="7998" y="15074"/>
                </a:lnTo>
                <a:cubicBezTo>
                  <a:pt x="8087" y="15164"/>
                  <a:pt x="8210" y="15218"/>
                  <a:pt x="8345" y="15218"/>
                </a:cubicBezTo>
                <a:cubicBezTo>
                  <a:pt x="8616" y="15218"/>
                  <a:pt x="8836" y="14999"/>
                  <a:pt x="8836" y="14727"/>
                </a:cubicBezTo>
                <a:cubicBezTo>
                  <a:pt x="8836" y="14592"/>
                  <a:pt x="8781" y="14469"/>
                  <a:pt x="8693" y="14380"/>
                </a:cubicBezTo>
                <a:lnTo>
                  <a:pt x="5604" y="11291"/>
                </a:lnTo>
                <a:lnTo>
                  <a:pt x="21109" y="11291"/>
                </a:lnTo>
                <a:cubicBezTo>
                  <a:pt x="21380" y="11291"/>
                  <a:pt x="21600" y="11071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  <a:moveTo>
                  <a:pt x="18164" y="13255"/>
                </a:moveTo>
                <a:cubicBezTo>
                  <a:pt x="17893" y="13255"/>
                  <a:pt x="17673" y="13475"/>
                  <a:pt x="17673" y="13745"/>
                </a:cubicBezTo>
                <a:lnTo>
                  <a:pt x="17673" y="20618"/>
                </a:lnTo>
                <a:lnTo>
                  <a:pt x="982" y="20618"/>
                </a:lnTo>
                <a:lnTo>
                  <a:pt x="982" y="982"/>
                </a:lnTo>
                <a:lnTo>
                  <a:pt x="17673" y="982"/>
                </a:lnTo>
                <a:lnTo>
                  <a:pt x="17673" y="7855"/>
                </a:lnTo>
                <a:cubicBezTo>
                  <a:pt x="17673" y="8126"/>
                  <a:pt x="17893" y="8345"/>
                  <a:pt x="18164" y="8345"/>
                </a:cubicBezTo>
                <a:cubicBezTo>
                  <a:pt x="18434" y="8345"/>
                  <a:pt x="18655" y="8126"/>
                  <a:pt x="18655" y="7855"/>
                </a:cubicBezTo>
                <a:lnTo>
                  <a:pt x="18655" y="491"/>
                </a:lnTo>
                <a:cubicBezTo>
                  <a:pt x="18655" y="220"/>
                  <a:pt x="18434" y="0"/>
                  <a:pt x="18164" y="0"/>
                </a:cubicBezTo>
                <a:lnTo>
                  <a:pt x="491" y="0"/>
                </a:lnTo>
                <a:cubicBezTo>
                  <a:pt x="220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18164" y="21600"/>
                </a:lnTo>
                <a:cubicBezTo>
                  <a:pt x="18434" y="21600"/>
                  <a:pt x="18655" y="21380"/>
                  <a:pt x="18655" y="21109"/>
                </a:cubicBezTo>
                <a:lnTo>
                  <a:pt x="18655" y="13745"/>
                </a:lnTo>
                <a:cubicBezTo>
                  <a:pt x="18655" y="13475"/>
                  <a:pt x="18434" y="13255"/>
                  <a:pt x="18164" y="132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895" name="Shape 2895"/>
          <p:cNvSpPr/>
          <p:nvPr/>
        </p:nvSpPr>
        <p:spPr>
          <a:xfrm>
            <a:off x="4031252" y="2866201"/>
            <a:ext cx="27932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5709"/>
                </a:moveTo>
                <a:cubicBezTo>
                  <a:pt x="20347" y="15709"/>
                  <a:pt x="20102" y="15764"/>
                  <a:pt x="19924" y="15853"/>
                </a:cubicBezTo>
                <a:lnTo>
                  <a:pt x="11782" y="19924"/>
                </a:lnTo>
                <a:lnTo>
                  <a:pt x="11782" y="491"/>
                </a:lnTo>
                <a:cubicBezTo>
                  <a:pt x="11782" y="220"/>
                  <a:pt x="11342" y="0"/>
                  <a:pt x="10800" y="0"/>
                </a:cubicBezTo>
                <a:cubicBezTo>
                  <a:pt x="10258" y="0"/>
                  <a:pt x="9818" y="220"/>
                  <a:pt x="9818" y="491"/>
                </a:cubicBezTo>
                <a:lnTo>
                  <a:pt x="9818" y="19924"/>
                </a:lnTo>
                <a:lnTo>
                  <a:pt x="1676" y="15853"/>
                </a:lnTo>
                <a:cubicBezTo>
                  <a:pt x="1498" y="15764"/>
                  <a:pt x="1253" y="15709"/>
                  <a:pt x="982" y="15709"/>
                </a:cubicBezTo>
                <a:cubicBezTo>
                  <a:pt x="440" y="15709"/>
                  <a:pt x="0" y="15929"/>
                  <a:pt x="0" y="16200"/>
                </a:cubicBezTo>
                <a:cubicBezTo>
                  <a:pt x="0" y="16336"/>
                  <a:pt x="110" y="16458"/>
                  <a:pt x="288" y="16547"/>
                </a:cubicBezTo>
                <a:lnTo>
                  <a:pt x="10106" y="21456"/>
                </a:lnTo>
                <a:cubicBezTo>
                  <a:pt x="10284" y="21545"/>
                  <a:pt x="10529" y="21600"/>
                  <a:pt x="10800" y="21600"/>
                </a:cubicBezTo>
                <a:cubicBezTo>
                  <a:pt x="11071" y="21600"/>
                  <a:pt x="11316" y="21545"/>
                  <a:pt x="11494" y="21456"/>
                </a:cubicBezTo>
                <a:lnTo>
                  <a:pt x="21312" y="16547"/>
                </a:lnTo>
                <a:cubicBezTo>
                  <a:pt x="21490" y="16458"/>
                  <a:pt x="21600" y="16336"/>
                  <a:pt x="21600" y="16200"/>
                </a:cubicBezTo>
                <a:cubicBezTo>
                  <a:pt x="21600" y="15929"/>
                  <a:pt x="21160" y="15709"/>
                  <a:pt x="20618" y="157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896" name="Shape 2896"/>
          <p:cNvSpPr/>
          <p:nvPr/>
        </p:nvSpPr>
        <p:spPr>
          <a:xfrm>
            <a:off x="5097774" y="2866201"/>
            <a:ext cx="27932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312" y="5053"/>
                </a:moveTo>
                <a:lnTo>
                  <a:pt x="11494" y="144"/>
                </a:lnTo>
                <a:cubicBezTo>
                  <a:pt x="11316" y="55"/>
                  <a:pt x="11071" y="0"/>
                  <a:pt x="10800" y="0"/>
                </a:cubicBezTo>
                <a:cubicBezTo>
                  <a:pt x="10529" y="0"/>
                  <a:pt x="10284" y="55"/>
                  <a:pt x="10106" y="144"/>
                </a:cubicBezTo>
                <a:lnTo>
                  <a:pt x="288" y="5053"/>
                </a:lnTo>
                <a:cubicBezTo>
                  <a:pt x="110" y="5142"/>
                  <a:pt x="0" y="5264"/>
                  <a:pt x="0" y="5400"/>
                </a:cubicBezTo>
                <a:cubicBezTo>
                  <a:pt x="0" y="5671"/>
                  <a:pt x="440" y="5891"/>
                  <a:pt x="982" y="5891"/>
                </a:cubicBezTo>
                <a:cubicBezTo>
                  <a:pt x="1253" y="5891"/>
                  <a:pt x="1498" y="5836"/>
                  <a:pt x="1676" y="5747"/>
                </a:cubicBezTo>
                <a:lnTo>
                  <a:pt x="9818" y="1676"/>
                </a:lnTo>
                <a:lnTo>
                  <a:pt x="9818" y="21109"/>
                </a:lnTo>
                <a:cubicBezTo>
                  <a:pt x="9818" y="21380"/>
                  <a:pt x="10258" y="21600"/>
                  <a:pt x="10800" y="21600"/>
                </a:cubicBezTo>
                <a:cubicBezTo>
                  <a:pt x="11342" y="21600"/>
                  <a:pt x="11782" y="21380"/>
                  <a:pt x="11782" y="21109"/>
                </a:cubicBezTo>
                <a:lnTo>
                  <a:pt x="11782" y="1676"/>
                </a:lnTo>
                <a:lnTo>
                  <a:pt x="19924" y="5747"/>
                </a:lnTo>
                <a:cubicBezTo>
                  <a:pt x="20102" y="5836"/>
                  <a:pt x="20347" y="5891"/>
                  <a:pt x="20618" y="5891"/>
                </a:cubicBezTo>
                <a:cubicBezTo>
                  <a:pt x="21160" y="5891"/>
                  <a:pt x="21600" y="5671"/>
                  <a:pt x="21600" y="5400"/>
                </a:cubicBezTo>
                <a:cubicBezTo>
                  <a:pt x="21600" y="5264"/>
                  <a:pt x="21490" y="5142"/>
                  <a:pt x="21312" y="505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897" name="Shape 2897"/>
          <p:cNvSpPr/>
          <p:nvPr/>
        </p:nvSpPr>
        <p:spPr>
          <a:xfrm>
            <a:off x="6024631" y="3005864"/>
            <a:ext cx="558654" cy="2793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9818"/>
                </a:moveTo>
                <a:lnTo>
                  <a:pt x="1676" y="9818"/>
                </a:lnTo>
                <a:lnTo>
                  <a:pt x="5747" y="1676"/>
                </a:lnTo>
                <a:cubicBezTo>
                  <a:pt x="5836" y="1499"/>
                  <a:pt x="5891" y="1253"/>
                  <a:pt x="5891" y="982"/>
                </a:cubicBezTo>
                <a:cubicBezTo>
                  <a:pt x="5891" y="439"/>
                  <a:pt x="5671" y="0"/>
                  <a:pt x="5400" y="0"/>
                </a:cubicBezTo>
                <a:cubicBezTo>
                  <a:pt x="5265" y="0"/>
                  <a:pt x="5142" y="110"/>
                  <a:pt x="5053" y="288"/>
                </a:cubicBezTo>
                <a:lnTo>
                  <a:pt x="144" y="10106"/>
                </a:lnTo>
                <a:cubicBezTo>
                  <a:pt x="55" y="10284"/>
                  <a:pt x="0" y="10530"/>
                  <a:pt x="0" y="10800"/>
                </a:cubicBezTo>
                <a:cubicBezTo>
                  <a:pt x="0" y="11071"/>
                  <a:pt x="55" y="11317"/>
                  <a:pt x="144" y="11494"/>
                </a:cubicBezTo>
                <a:lnTo>
                  <a:pt x="5053" y="21312"/>
                </a:lnTo>
                <a:cubicBezTo>
                  <a:pt x="5142" y="21491"/>
                  <a:pt x="5265" y="21600"/>
                  <a:pt x="5400" y="21600"/>
                </a:cubicBezTo>
                <a:cubicBezTo>
                  <a:pt x="5671" y="21600"/>
                  <a:pt x="5891" y="21161"/>
                  <a:pt x="5891" y="20618"/>
                </a:cubicBezTo>
                <a:cubicBezTo>
                  <a:pt x="5891" y="20348"/>
                  <a:pt x="5836" y="20102"/>
                  <a:pt x="5747" y="19924"/>
                </a:cubicBezTo>
                <a:lnTo>
                  <a:pt x="1676" y="11782"/>
                </a:lnTo>
                <a:lnTo>
                  <a:pt x="21109" y="11782"/>
                </a:lnTo>
                <a:cubicBezTo>
                  <a:pt x="21380" y="11782"/>
                  <a:pt x="21600" y="11343"/>
                  <a:pt x="21600" y="10800"/>
                </a:cubicBezTo>
                <a:cubicBezTo>
                  <a:pt x="21600" y="10257"/>
                  <a:pt x="21380" y="9818"/>
                  <a:pt x="21109" y="98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898" name="Shape 2898"/>
          <p:cNvSpPr/>
          <p:nvPr/>
        </p:nvSpPr>
        <p:spPr>
          <a:xfrm>
            <a:off x="7091154" y="3005864"/>
            <a:ext cx="558654" cy="2793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456" y="10106"/>
                </a:moveTo>
                <a:lnTo>
                  <a:pt x="16547" y="288"/>
                </a:lnTo>
                <a:cubicBezTo>
                  <a:pt x="16458" y="110"/>
                  <a:pt x="16336" y="0"/>
                  <a:pt x="16200" y="0"/>
                </a:cubicBezTo>
                <a:cubicBezTo>
                  <a:pt x="15929" y="0"/>
                  <a:pt x="15709" y="439"/>
                  <a:pt x="15709" y="982"/>
                </a:cubicBezTo>
                <a:cubicBezTo>
                  <a:pt x="15709" y="1253"/>
                  <a:pt x="15764" y="1499"/>
                  <a:pt x="15853" y="1676"/>
                </a:cubicBezTo>
                <a:lnTo>
                  <a:pt x="19924" y="9818"/>
                </a:lnTo>
                <a:lnTo>
                  <a:pt x="491" y="9818"/>
                </a:lnTo>
                <a:cubicBezTo>
                  <a:pt x="220" y="9818"/>
                  <a:pt x="0" y="10257"/>
                  <a:pt x="0" y="10800"/>
                </a:cubicBezTo>
                <a:cubicBezTo>
                  <a:pt x="0" y="11343"/>
                  <a:pt x="220" y="11782"/>
                  <a:pt x="491" y="11782"/>
                </a:cubicBezTo>
                <a:lnTo>
                  <a:pt x="19924" y="11782"/>
                </a:lnTo>
                <a:lnTo>
                  <a:pt x="15853" y="19924"/>
                </a:lnTo>
                <a:cubicBezTo>
                  <a:pt x="15764" y="20102"/>
                  <a:pt x="15709" y="20347"/>
                  <a:pt x="15709" y="20618"/>
                </a:cubicBezTo>
                <a:cubicBezTo>
                  <a:pt x="15709" y="21161"/>
                  <a:pt x="15929" y="21600"/>
                  <a:pt x="16200" y="21600"/>
                </a:cubicBezTo>
                <a:cubicBezTo>
                  <a:pt x="16336" y="21600"/>
                  <a:pt x="16458" y="21491"/>
                  <a:pt x="16547" y="21312"/>
                </a:cubicBezTo>
                <a:lnTo>
                  <a:pt x="21456" y="11494"/>
                </a:lnTo>
                <a:cubicBezTo>
                  <a:pt x="21545" y="11317"/>
                  <a:pt x="21600" y="11071"/>
                  <a:pt x="21600" y="10800"/>
                </a:cubicBezTo>
                <a:cubicBezTo>
                  <a:pt x="21600" y="10529"/>
                  <a:pt x="21545" y="10284"/>
                  <a:pt x="21456" y="1010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899" name="Shape 2899"/>
          <p:cNvSpPr/>
          <p:nvPr/>
        </p:nvSpPr>
        <p:spPr>
          <a:xfrm>
            <a:off x="8183070" y="3018562"/>
            <a:ext cx="507869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60" y="0"/>
                </a:moveTo>
                <a:cubicBezTo>
                  <a:pt x="20911" y="0"/>
                  <a:pt x="20776" y="121"/>
                  <a:pt x="20678" y="316"/>
                </a:cubicBezTo>
                <a:lnTo>
                  <a:pt x="10800" y="19033"/>
                </a:lnTo>
                <a:lnTo>
                  <a:pt x="922" y="316"/>
                </a:lnTo>
                <a:cubicBezTo>
                  <a:pt x="824" y="121"/>
                  <a:pt x="689" y="0"/>
                  <a:pt x="540" y="0"/>
                </a:cubicBezTo>
                <a:cubicBezTo>
                  <a:pt x="242" y="0"/>
                  <a:pt x="0" y="483"/>
                  <a:pt x="0" y="1080"/>
                </a:cubicBezTo>
                <a:cubicBezTo>
                  <a:pt x="0" y="1378"/>
                  <a:pt x="60" y="1648"/>
                  <a:pt x="158" y="1844"/>
                </a:cubicBezTo>
                <a:lnTo>
                  <a:pt x="10418" y="21284"/>
                </a:lnTo>
                <a:cubicBezTo>
                  <a:pt x="10516" y="21480"/>
                  <a:pt x="10651" y="21600"/>
                  <a:pt x="10800" y="21600"/>
                </a:cubicBezTo>
                <a:cubicBezTo>
                  <a:pt x="10949" y="21600"/>
                  <a:pt x="11084" y="21480"/>
                  <a:pt x="11182" y="21284"/>
                </a:cubicBezTo>
                <a:lnTo>
                  <a:pt x="21442" y="1844"/>
                </a:lnTo>
                <a:cubicBezTo>
                  <a:pt x="21540" y="1648"/>
                  <a:pt x="21600" y="1378"/>
                  <a:pt x="21600" y="1080"/>
                </a:cubicBezTo>
                <a:cubicBezTo>
                  <a:pt x="21600" y="483"/>
                  <a:pt x="21358" y="0"/>
                  <a:pt x="2106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00" name="Shape 2900"/>
          <p:cNvSpPr/>
          <p:nvPr/>
        </p:nvSpPr>
        <p:spPr>
          <a:xfrm>
            <a:off x="9249593" y="3018562"/>
            <a:ext cx="507869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442" y="19756"/>
                </a:moveTo>
                <a:lnTo>
                  <a:pt x="11182" y="316"/>
                </a:lnTo>
                <a:cubicBezTo>
                  <a:pt x="11084" y="121"/>
                  <a:pt x="10949" y="0"/>
                  <a:pt x="10800" y="0"/>
                </a:cubicBezTo>
                <a:cubicBezTo>
                  <a:pt x="10651" y="0"/>
                  <a:pt x="10516" y="121"/>
                  <a:pt x="10418" y="316"/>
                </a:cubicBezTo>
                <a:lnTo>
                  <a:pt x="158" y="19756"/>
                </a:lnTo>
                <a:cubicBezTo>
                  <a:pt x="60" y="19953"/>
                  <a:pt x="0" y="20222"/>
                  <a:pt x="0" y="20520"/>
                </a:cubicBezTo>
                <a:cubicBezTo>
                  <a:pt x="0" y="21117"/>
                  <a:pt x="242" y="21600"/>
                  <a:pt x="540" y="21600"/>
                </a:cubicBezTo>
                <a:cubicBezTo>
                  <a:pt x="689" y="21600"/>
                  <a:pt x="824" y="21480"/>
                  <a:pt x="922" y="21284"/>
                </a:cubicBezTo>
                <a:lnTo>
                  <a:pt x="10800" y="2567"/>
                </a:lnTo>
                <a:lnTo>
                  <a:pt x="20678" y="21284"/>
                </a:lnTo>
                <a:cubicBezTo>
                  <a:pt x="20776" y="21480"/>
                  <a:pt x="20911" y="21600"/>
                  <a:pt x="21060" y="21600"/>
                </a:cubicBezTo>
                <a:cubicBezTo>
                  <a:pt x="21358" y="21600"/>
                  <a:pt x="21600" y="21117"/>
                  <a:pt x="21600" y="20520"/>
                </a:cubicBezTo>
                <a:cubicBezTo>
                  <a:pt x="21600" y="20222"/>
                  <a:pt x="21540" y="19953"/>
                  <a:pt x="21442" y="1975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01" name="Shape 2901"/>
          <p:cNvSpPr/>
          <p:nvPr/>
        </p:nvSpPr>
        <p:spPr>
          <a:xfrm>
            <a:off x="10443082" y="2891595"/>
            <a:ext cx="253935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567" y="10800"/>
                </a:moveTo>
                <a:lnTo>
                  <a:pt x="21284" y="922"/>
                </a:lnTo>
                <a:cubicBezTo>
                  <a:pt x="21480" y="824"/>
                  <a:pt x="21600" y="689"/>
                  <a:pt x="21600" y="540"/>
                </a:cubicBezTo>
                <a:cubicBezTo>
                  <a:pt x="21600" y="242"/>
                  <a:pt x="21117" y="0"/>
                  <a:pt x="20520" y="0"/>
                </a:cubicBezTo>
                <a:cubicBezTo>
                  <a:pt x="20222" y="0"/>
                  <a:pt x="19953" y="61"/>
                  <a:pt x="19756" y="158"/>
                </a:cubicBezTo>
                <a:lnTo>
                  <a:pt x="316" y="10418"/>
                </a:lnTo>
                <a:cubicBezTo>
                  <a:pt x="121" y="10516"/>
                  <a:pt x="0" y="10651"/>
                  <a:pt x="0" y="10800"/>
                </a:cubicBezTo>
                <a:cubicBezTo>
                  <a:pt x="0" y="10949"/>
                  <a:pt x="120" y="11084"/>
                  <a:pt x="316" y="11182"/>
                </a:cubicBezTo>
                <a:lnTo>
                  <a:pt x="19756" y="21442"/>
                </a:lnTo>
                <a:cubicBezTo>
                  <a:pt x="19953" y="21540"/>
                  <a:pt x="20222" y="21600"/>
                  <a:pt x="20520" y="21600"/>
                </a:cubicBezTo>
                <a:cubicBezTo>
                  <a:pt x="21117" y="21600"/>
                  <a:pt x="21600" y="21358"/>
                  <a:pt x="21600" y="21060"/>
                </a:cubicBezTo>
                <a:cubicBezTo>
                  <a:pt x="21600" y="20911"/>
                  <a:pt x="21480" y="20776"/>
                  <a:pt x="21284" y="20678"/>
                </a:cubicBezTo>
                <a:cubicBezTo>
                  <a:pt x="21284" y="20678"/>
                  <a:pt x="2567" y="10800"/>
                  <a:pt x="2567" y="108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02" name="Shape 2902"/>
          <p:cNvSpPr/>
          <p:nvPr/>
        </p:nvSpPr>
        <p:spPr>
          <a:xfrm>
            <a:off x="11509604" y="2891595"/>
            <a:ext cx="253935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284" y="10418"/>
                </a:moveTo>
                <a:lnTo>
                  <a:pt x="1844" y="158"/>
                </a:lnTo>
                <a:cubicBezTo>
                  <a:pt x="1648" y="61"/>
                  <a:pt x="1378" y="0"/>
                  <a:pt x="1080" y="0"/>
                </a:cubicBezTo>
                <a:cubicBezTo>
                  <a:pt x="483" y="0"/>
                  <a:pt x="0" y="242"/>
                  <a:pt x="0" y="540"/>
                </a:cubicBezTo>
                <a:cubicBezTo>
                  <a:pt x="0" y="689"/>
                  <a:pt x="121" y="824"/>
                  <a:pt x="316" y="922"/>
                </a:cubicBezTo>
                <a:lnTo>
                  <a:pt x="19033" y="10800"/>
                </a:lnTo>
                <a:lnTo>
                  <a:pt x="316" y="20678"/>
                </a:lnTo>
                <a:cubicBezTo>
                  <a:pt x="121" y="20776"/>
                  <a:pt x="0" y="20911"/>
                  <a:pt x="0" y="21060"/>
                </a:cubicBezTo>
                <a:cubicBezTo>
                  <a:pt x="0" y="21358"/>
                  <a:pt x="483" y="21600"/>
                  <a:pt x="1080" y="21600"/>
                </a:cubicBezTo>
                <a:cubicBezTo>
                  <a:pt x="1378" y="21600"/>
                  <a:pt x="1648" y="21540"/>
                  <a:pt x="1844" y="21442"/>
                </a:cubicBezTo>
                <a:lnTo>
                  <a:pt x="21284" y="11182"/>
                </a:lnTo>
                <a:cubicBezTo>
                  <a:pt x="21479" y="11084"/>
                  <a:pt x="21600" y="10949"/>
                  <a:pt x="21600" y="10800"/>
                </a:cubicBezTo>
                <a:cubicBezTo>
                  <a:pt x="21600" y="10651"/>
                  <a:pt x="21479" y="10516"/>
                  <a:pt x="21284" y="104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03" name="Shape 2903"/>
          <p:cNvSpPr/>
          <p:nvPr/>
        </p:nvSpPr>
        <p:spPr>
          <a:xfrm>
            <a:off x="1758543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6223"/>
                  <a:pt x="16222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6200" y="8836"/>
                </a:moveTo>
                <a:cubicBezTo>
                  <a:pt x="16065" y="8836"/>
                  <a:pt x="15942" y="8891"/>
                  <a:pt x="15852" y="8980"/>
                </a:cubicBezTo>
                <a:lnTo>
                  <a:pt x="10800" y="13574"/>
                </a:lnTo>
                <a:lnTo>
                  <a:pt x="5747" y="8980"/>
                </a:lnTo>
                <a:cubicBezTo>
                  <a:pt x="5658" y="8891"/>
                  <a:pt x="5535" y="8836"/>
                  <a:pt x="5400" y="8836"/>
                </a:cubicBezTo>
                <a:cubicBezTo>
                  <a:pt x="5129" y="8836"/>
                  <a:pt x="4909" y="9056"/>
                  <a:pt x="4909" y="9327"/>
                </a:cubicBezTo>
                <a:cubicBezTo>
                  <a:pt x="4909" y="9463"/>
                  <a:pt x="4964" y="9586"/>
                  <a:pt x="5053" y="9674"/>
                </a:cubicBezTo>
                <a:lnTo>
                  <a:pt x="10453" y="14583"/>
                </a:lnTo>
                <a:cubicBezTo>
                  <a:pt x="10542" y="14673"/>
                  <a:pt x="10665" y="14727"/>
                  <a:pt x="10800" y="14727"/>
                </a:cubicBezTo>
                <a:cubicBezTo>
                  <a:pt x="10935" y="14727"/>
                  <a:pt x="11058" y="14673"/>
                  <a:pt x="11147" y="14583"/>
                </a:cubicBezTo>
                <a:lnTo>
                  <a:pt x="16547" y="9674"/>
                </a:lnTo>
                <a:cubicBezTo>
                  <a:pt x="16636" y="9586"/>
                  <a:pt x="16691" y="9463"/>
                  <a:pt x="16691" y="9327"/>
                </a:cubicBezTo>
                <a:cubicBezTo>
                  <a:pt x="16691" y="9056"/>
                  <a:pt x="16471" y="8836"/>
                  <a:pt x="16200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04" name="Shape 2904"/>
          <p:cNvSpPr/>
          <p:nvPr/>
        </p:nvSpPr>
        <p:spPr>
          <a:xfrm>
            <a:off x="2825064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147" y="7017"/>
                </a:moveTo>
                <a:cubicBezTo>
                  <a:pt x="11058" y="6927"/>
                  <a:pt x="10935" y="6873"/>
                  <a:pt x="10800" y="6873"/>
                </a:cubicBezTo>
                <a:cubicBezTo>
                  <a:pt x="10665" y="6873"/>
                  <a:pt x="10542" y="6927"/>
                  <a:pt x="10453" y="7017"/>
                </a:cubicBezTo>
                <a:lnTo>
                  <a:pt x="5053" y="11926"/>
                </a:lnTo>
                <a:cubicBezTo>
                  <a:pt x="4964" y="12015"/>
                  <a:pt x="4909" y="12138"/>
                  <a:pt x="4909" y="12273"/>
                </a:cubicBezTo>
                <a:cubicBezTo>
                  <a:pt x="4909" y="12544"/>
                  <a:pt x="5129" y="12764"/>
                  <a:pt x="5400" y="12764"/>
                </a:cubicBezTo>
                <a:cubicBezTo>
                  <a:pt x="5535" y="12764"/>
                  <a:pt x="5658" y="12709"/>
                  <a:pt x="5747" y="12620"/>
                </a:cubicBezTo>
                <a:lnTo>
                  <a:pt x="10800" y="8026"/>
                </a:lnTo>
                <a:lnTo>
                  <a:pt x="15853" y="12620"/>
                </a:lnTo>
                <a:cubicBezTo>
                  <a:pt x="15942" y="12709"/>
                  <a:pt x="16065" y="12764"/>
                  <a:pt x="16200" y="12764"/>
                </a:cubicBezTo>
                <a:cubicBezTo>
                  <a:pt x="16471" y="12764"/>
                  <a:pt x="16691" y="12544"/>
                  <a:pt x="16691" y="12273"/>
                </a:cubicBezTo>
                <a:cubicBezTo>
                  <a:pt x="16691" y="12138"/>
                  <a:pt x="16636" y="12015"/>
                  <a:pt x="16547" y="11926"/>
                </a:cubicBezTo>
                <a:cubicBezTo>
                  <a:pt x="16547" y="11926"/>
                  <a:pt x="11147" y="7017"/>
                  <a:pt x="11147" y="7017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6223"/>
                  <a:pt x="16222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05" name="Shape 2905"/>
          <p:cNvSpPr/>
          <p:nvPr/>
        </p:nvSpPr>
        <p:spPr>
          <a:xfrm>
            <a:off x="3891587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2764" y="5400"/>
                </a:moveTo>
                <a:cubicBezTo>
                  <a:pt x="12764" y="5129"/>
                  <a:pt x="12544" y="4909"/>
                  <a:pt x="12273" y="4909"/>
                </a:cubicBezTo>
                <a:cubicBezTo>
                  <a:pt x="12137" y="4909"/>
                  <a:pt x="12015" y="4964"/>
                  <a:pt x="11926" y="5053"/>
                </a:cubicBezTo>
                <a:lnTo>
                  <a:pt x="7017" y="10453"/>
                </a:lnTo>
                <a:cubicBezTo>
                  <a:pt x="6928" y="10542"/>
                  <a:pt x="6873" y="10665"/>
                  <a:pt x="6873" y="10800"/>
                </a:cubicBezTo>
                <a:cubicBezTo>
                  <a:pt x="6873" y="10936"/>
                  <a:pt x="6928" y="11058"/>
                  <a:pt x="7017" y="11147"/>
                </a:cubicBezTo>
                <a:lnTo>
                  <a:pt x="11926" y="16547"/>
                </a:lnTo>
                <a:cubicBezTo>
                  <a:pt x="12015" y="16636"/>
                  <a:pt x="12137" y="16691"/>
                  <a:pt x="12273" y="16691"/>
                </a:cubicBezTo>
                <a:cubicBezTo>
                  <a:pt x="12544" y="16691"/>
                  <a:pt x="12764" y="16471"/>
                  <a:pt x="12764" y="16200"/>
                </a:cubicBezTo>
                <a:cubicBezTo>
                  <a:pt x="12764" y="16065"/>
                  <a:pt x="12709" y="15942"/>
                  <a:pt x="12620" y="15853"/>
                </a:cubicBezTo>
                <a:lnTo>
                  <a:pt x="8026" y="10800"/>
                </a:lnTo>
                <a:lnTo>
                  <a:pt x="12620" y="5747"/>
                </a:lnTo>
                <a:cubicBezTo>
                  <a:pt x="12709" y="5658"/>
                  <a:pt x="12764" y="5536"/>
                  <a:pt x="12764" y="54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06" name="Shape 2906"/>
          <p:cNvSpPr/>
          <p:nvPr/>
        </p:nvSpPr>
        <p:spPr>
          <a:xfrm>
            <a:off x="4958109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9674" y="5053"/>
                </a:moveTo>
                <a:cubicBezTo>
                  <a:pt x="9585" y="4964"/>
                  <a:pt x="9463" y="4909"/>
                  <a:pt x="9327" y="4909"/>
                </a:cubicBezTo>
                <a:cubicBezTo>
                  <a:pt x="9056" y="4909"/>
                  <a:pt x="8836" y="5129"/>
                  <a:pt x="8836" y="5400"/>
                </a:cubicBezTo>
                <a:cubicBezTo>
                  <a:pt x="8836" y="5536"/>
                  <a:pt x="8891" y="5658"/>
                  <a:pt x="8980" y="5747"/>
                </a:cubicBezTo>
                <a:lnTo>
                  <a:pt x="13574" y="10800"/>
                </a:lnTo>
                <a:lnTo>
                  <a:pt x="8980" y="15853"/>
                </a:lnTo>
                <a:cubicBezTo>
                  <a:pt x="8891" y="15942"/>
                  <a:pt x="8836" y="16065"/>
                  <a:pt x="8836" y="16200"/>
                </a:cubicBezTo>
                <a:cubicBezTo>
                  <a:pt x="8836" y="16471"/>
                  <a:pt x="9056" y="16691"/>
                  <a:pt x="9327" y="16691"/>
                </a:cubicBezTo>
                <a:cubicBezTo>
                  <a:pt x="9463" y="16691"/>
                  <a:pt x="9585" y="16636"/>
                  <a:pt x="9674" y="16547"/>
                </a:cubicBezTo>
                <a:lnTo>
                  <a:pt x="14583" y="11147"/>
                </a:lnTo>
                <a:cubicBezTo>
                  <a:pt x="14672" y="11058"/>
                  <a:pt x="14727" y="10936"/>
                  <a:pt x="14727" y="10800"/>
                </a:cubicBezTo>
                <a:cubicBezTo>
                  <a:pt x="14727" y="10665"/>
                  <a:pt x="14672" y="10542"/>
                  <a:pt x="14583" y="10453"/>
                </a:cubicBezTo>
                <a:cubicBezTo>
                  <a:pt x="14583" y="10453"/>
                  <a:pt x="9674" y="5053"/>
                  <a:pt x="9674" y="5053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07" name="Shape 2907"/>
          <p:cNvSpPr/>
          <p:nvPr/>
        </p:nvSpPr>
        <p:spPr>
          <a:xfrm>
            <a:off x="6024631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73" y="235"/>
                </a:moveTo>
                <a:cubicBezTo>
                  <a:pt x="12909" y="205"/>
                  <a:pt x="12840" y="184"/>
                  <a:pt x="12764" y="184"/>
                </a:cubicBezTo>
                <a:cubicBezTo>
                  <a:pt x="12493" y="184"/>
                  <a:pt x="12273" y="404"/>
                  <a:pt x="12273" y="675"/>
                </a:cubicBezTo>
                <a:cubicBezTo>
                  <a:pt x="12273" y="946"/>
                  <a:pt x="12493" y="1166"/>
                  <a:pt x="12764" y="1166"/>
                </a:cubicBezTo>
                <a:lnTo>
                  <a:pt x="12764" y="1179"/>
                </a:lnTo>
                <a:cubicBezTo>
                  <a:pt x="17245" y="2089"/>
                  <a:pt x="20618" y="6050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6050"/>
                  <a:pt x="4355" y="2089"/>
                  <a:pt x="8836" y="1179"/>
                </a:cubicBezTo>
                <a:lnTo>
                  <a:pt x="8836" y="1166"/>
                </a:lnTo>
                <a:cubicBezTo>
                  <a:pt x="9107" y="1166"/>
                  <a:pt x="9327" y="946"/>
                  <a:pt x="9327" y="675"/>
                </a:cubicBezTo>
                <a:cubicBezTo>
                  <a:pt x="9327" y="404"/>
                  <a:pt x="9107" y="184"/>
                  <a:pt x="8836" y="184"/>
                </a:cubicBezTo>
                <a:cubicBezTo>
                  <a:pt x="8761" y="184"/>
                  <a:pt x="8691" y="205"/>
                  <a:pt x="8627" y="235"/>
                </a:cubicBezTo>
                <a:cubicBezTo>
                  <a:pt x="3706" y="1243"/>
                  <a:pt x="0" y="5582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5582"/>
                  <a:pt x="17893" y="1243"/>
                  <a:pt x="12973" y="235"/>
                </a:cubicBezTo>
                <a:moveTo>
                  <a:pt x="6873" y="9818"/>
                </a:moveTo>
                <a:cubicBezTo>
                  <a:pt x="6602" y="9818"/>
                  <a:pt x="6382" y="10038"/>
                  <a:pt x="6382" y="10309"/>
                </a:cubicBezTo>
                <a:cubicBezTo>
                  <a:pt x="6382" y="10445"/>
                  <a:pt x="6437" y="10567"/>
                  <a:pt x="6526" y="10656"/>
                </a:cubicBezTo>
                <a:lnTo>
                  <a:pt x="10453" y="14583"/>
                </a:lnTo>
                <a:cubicBezTo>
                  <a:pt x="10542" y="14673"/>
                  <a:pt x="10664" y="14727"/>
                  <a:pt x="10800" y="14727"/>
                </a:cubicBezTo>
                <a:cubicBezTo>
                  <a:pt x="10936" y="14727"/>
                  <a:pt x="11059" y="14673"/>
                  <a:pt x="11147" y="14583"/>
                </a:cubicBezTo>
                <a:lnTo>
                  <a:pt x="15074" y="10656"/>
                </a:lnTo>
                <a:cubicBezTo>
                  <a:pt x="15163" y="10567"/>
                  <a:pt x="15218" y="10445"/>
                  <a:pt x="15218" y="10309"/>
                </a:cubicBezTo>
                <a:cubicBezTo>
                  <a:pt x="15218" y="10038"/>
                  <a:pt x="14998" y="9818"/>
                  <a:pt x="14727" y="9818"/>
                </a:cubicBezTo>
                <a:cubicBezTo>
                  <a:pt x="14592" y="9818"/>
                  <a:pt x="14469" y="9873"/>
                  <a:pt x="14380" y="9962"/>
                </a:cubicBezTo>
                <a:lnTo>
                  <a:pt x="11291" y="13051"/>
                </a:ln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3051"/>
                </a:lnTo>
                <a:lnTo>
                  <a:pt x="7220" y="9962"/>
                </a:lnTo>
                <a:cubicBezTo>
                  <a:pt x="7131" y="9873"/>
                  <a:pt x="7009" y="9818"/>
                  <a:pt x="6873" y="98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08" name="Shape 2908"/>
          <p:cNvSpPr/>
          <p:nvPr/>
        </p:nvSpPr>
        <p:spPr>
          <a:xfrm>
            <a:off x="7091154" y="4059688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9397"/>
                </a:moveTo>
                <a:lnTo>
                  <a:pt x="1638" y="1800"/>
                </a:lnTo>
                <a:lnTo>
                  <a:pt x="19962" y="1800"/>
                </a:lnTo>
                <a:cubicBezTo>
                  <a:pt x="19962" y="1800"/>
                  <a:pt x="10800" y="19397"/>
                  <a:pt x="10800" y="19397"/>
                </a:cubicBezTo>
                <a:close/>
                <a:moveTo>
                  <a:pt x="21600" y="900"/>
                </a:moveTo>
                <a:cubicBezTo>
                  <a:pt x="21600" y="403"/>
                  <a:pt x="21380" y="0"/>
                  <a:pt x="21109" y="0"/>
                </a:cubicBezTo>
                <a:lnTo>
                  <a:pt x="491" y="0"/>
                </a:lnTo>
                <a:cubicBezTo>
                  <a:pt x="220" y="0"/>
                  <a:pt x="0" y="403"/>
                  <a:pt x="0" y="900"/>
                </a:cubicBezTo>
                <a:cubicBezTo>
                  <a:pt x="0" y="1141"/>
                  <a:pt x="53" y="1357"/>
                  <a:pt x="137" y="1519"/>
                </a:cubicBezTo>
                <a:lnTo>
                  <a:pt x="136" y="1521"/>
                </a:lnTo>
                <a:lnTo>
                  <a:pt x="10445" y="21321"/>
                </a:lnTo>
                <a:lnTo>
                  <a:pt x="10446" y="21319"/>
                </a:lnTo>
                <a:cubicBezTo>
                  <a:pt x="10536" y="21491"/>
                  <a:pt x="10660" y="21600"/>
                  <a:pt x="10800" y="21600"/>
                </a:cubicBezTo>
                <a:cubicBezTo>
                  <a:pt x="10940" y="21600"/>
                  <a:pt x="11064" y="21491"/>
                  <a:pt x="11154" y="21319"/>
                </a:cubicBezTo>
                <a:lnTo>
                  <a:pt x="11155" y="21321"/>
                </a:lnTo>
                <a:lnTo>
                  <a:pt x="21464" y="1521"/>
                </a:lnTo>
                <a:lnTo>
                  <a:pt x="21463" y="1519"/>
                </a:lnTo>
                <a:cubicBezTo>
                  <a:pt x="21547" y="1357"/>
                  <a:pt x="21600" y="1141"/>
                  <a:pt x="21600" y="9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09" name="Shape 2909"/>
          <p:cNvSpPr/>
          <p:nvPr/>
        </p:nvSpPr>
        <p:spPr>
          <a:xfrm>
            <a:off x="8157677" y="4059688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38" y="19800"/>
                </a:moveTo>
                <a:lnTo>
                  <a:pt x="10800" y="2203"/>
                </a:lnTo>
                <a:lnTo>
                  <a:pt x="19962" y="19800"/>
                </a:lnTo>
                <a:cubicBezTo>
                  <a:pt x="19962" y="19800"/>
                  <a:pt x="1638" y="19800"/>
                  <a:pt x="1638" y="19800"/>
                </a:cubicBezTo>
                <a:close/>
                <a:moveTo>
                  <a:pt x="21463" y="20081"/>
                </a:moveTo>
                <a:lnTo>
                  <a:pt x="21464" y="20079"/>
                </a:lnTo>
                <a:lnTo>
                  <a:pt x="11155" y="279"/>
                </a:lnTo>
                <a:lnTo>
                  <a:pt x="11154" y="282"/>
                </a:lnTo>
                <a:cubicBezTo>
                  <a:pt x="11064" y="109"/>
                  <a:pt x="10940" y="0"/>
                  <a:pt x="10800" y="0"/>
                </a:cubicBezTo>
                <a:cubicBezTo>
                  <a:pt x="10660" y="0"/>
                  <a:pt x="10536" y="109"/>
                  <a:pt x="10446" y="282"/>
                </a:cubicBezTo>
                <a:lnTo>
                  <a:pt x="10445" y="279"/>
                </a:lnTo>
                <a:lnTo>
                  <a:pt x="136" y="20079"/>
                </a:lnTo>
                <a:lnTo>
                  <a:pt x="137" y="20081"/>
                </a:lnTo>
                <a:cubicBezTo>
                  <a:pt x="54" y="20243"/>
                  <a:pt x="0" y="20459"/>
                  <a:pt x="0" y="20700"/>
                </a:cubicBezTo>
                <a:cubicBezTo>
                  <a:pt x="0" y="21197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197"/>
                  <a:pt x="21600" y="20700"/>
                </a:cubicBezTo>
                <a:cubicBezTo>
                  <a:pt x="21600" y="20459"/>
                  <a:pt x="21547" y="20243"/>
                  <a:pt x="21463" y="2008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10" name="Shape 2910"/>
          <p:cNvSpPr/>
          <p:nvPr/>
        </p:nvSpPr>
        <p:spPr>
          <a:xfrm>
            <a:off x="9351163" y="3932724"/>
            <a:ext cx="30472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800" y="19962"/>
                </a:moveTo>
                <a:lnTo>
                  <a:pt x="2203" y="10800"/>
                </a:lnTo>
                <a:lnTo>
                  <a:pt x="19800" y="1638"/>
                </a:lnTo>
                <a:cubicBezTo>
                  <a:pt x="19800" y="1638"/>
                  <a:pt x="19800" y="19962"/>
                  <a:pt x="19800" y="19962"/>
                </a:cubicBezTo>
                <a:close/>
                <a:moveTo>
                  <a:pt x="20700" y="0"/>
                </a:moveTo>
                <a:cubicBezTo>
                  <a:pt x="20459" y="0"/>
                  <a:pt x="20243" y="53"/>
                  <a:pt x="20080" y="137"/>
                </a:cubicBezTo>
                <a:lnTo>
                  <a:pt x="20079" y="136"/>
                </a:lnTo>
                <a:lnTo>
                  <a:pt x="279" y="10445"/>
                </a:lnTo>
                <a:lnTo>
                  <a:pt x="281" y="10446"/>
                </a:lnTo>
                <a:cubicBezTo>
                  <a:pt x="109" y="10536"/>
                  <a:pt x="0" y="10660"/>
                  <a:pt x="0" y="10800"/>
                </a:cubicBezTo>
                <a:cubicBezTo>
                  <a:pt x="0" y="10940"/>
                  <a:pt x="109" y="11065"/>
                  <a:pt x="281" y="11154"/>
                </a:cubicBezTo>
                <a:lnTo>
                  <a:pt x="279" y="11155"/>
                </a:lnTo>
                <a:lnTo>
                  <a:pt x="20079" y="21465"/>
                </a:lnTo>
                <a:lnTo>
                  <a:pt x="20080" y="21463"/>
                </a:lnTo>
                <a:cubicBezTo>
                  <a:pt x="20243" y="21547"/>
                  <a:pt x="20459" y="21600"/>
                  <a:pt x="20700" y="21600"/>
                </a:cubicBezTo>
                <a:cubicBezTo>
                  <a:pt x="21197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197" y="0"/>
                  <a:pt x="207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11" name="Shape 2911"/>
          <p:cNvSpPr/>
          <p:nvPr/>
        </p:nvSpPr>
        <p:spPr>
          <a:xfrm>
            <a:off x="10417688" y="3932724"/>
            <a:ext cx="30472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0" y="19962"/>
                </a:moveTo>
                <a:lnTo>
                  <a:pt x="1800" y="1638"/>
                </a:lnTo>
                <a:lnTo>
                  <a:pt x="19397" y="10800"/>
                </a:lnTo>
                <a:cubicBezTo>
                  <a:pt x="19397" y="10800"/>
                  <a:pt x="1800" y="19962"/>
                  <a:pt x="1800" y="19962"/>
                </a:cubicBezTo>
                <a:close/>
                <a:moveTo>
                  <a:pt x="21600" y="10800"/>
                </a:moveTo>
                <a:cubicBezTo>
                  <a:pt x="21600" y="10660"/>
                  <a:pt x="21491" y="10536"/>
                  <a:pt x="21318" y="10446"/>
                </a:cubicBezTo>
                <a:lnTo>
                  <a:pt x="21321" y="10445"/>
                </a:lnTo>
                <a:lnTo>
                  <a:pt x="1521" y="136"/>
                </a:lnTo>
                <a:lnTo>
                  <a:pt x="1519" y="137"/>
                </a:lnTo>
                <a:cubicBezTo>
                  <a:pt x="1357" y="53"/>
                  <a:pt x="1141" y="0"/>
                  <a:pt x="900" y="0"/>
                </a:cubicBezTo>
                <a:cubicBezTo>
                  <a:pt x="403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403" y="21600"/>
                  <a:pt x="900" y="21600"/>
                </a:cubicBezTo>
                <a:cubicBezTo>
                  <a:pt x="1141" y="21600"/>
                  <a:pt x="1357" y="21547"/>
                  <a:pt x="1519" y="21463"/>
                </a:cubicBezTo>
                <a:lnTo>
                  <a:pt x="1521" y="21465"/>
                </a:lnTo>
                <a:lnTo>
                  <a:pt x="21321" y="11155"/>
                </a:lnTo>
                <a:lnTo>
                  <a:pt x="21318" y="11154"/>
                </a:lnTo>
                <a:cubicBezTo>
                  <a:pt x="21491" y="11065"/>
                  <a:pt x="21600" y="10940"/>
                  <a:pt x="21600" y="10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12" name="Shape 2912"/>
          <p:cNvSpPr/>
          <p:nvPr/>
        </p:nvSpPr>
        <p:spPr>
          <a:xfrm>
            <a:off x="11357242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456" y="10453"/>
                </a:moveTo>
                <a:lnTo>
                  <a:pt x="18511" y="7507"/>
                </a:lnTo>
                <a:cubicBezTo>
                  <a:pt x="18422" y="7419"/>
                  <a:pt x="18299" y="7364"/>
                  <a:pt x="18164" y="7364"/>
                </a:cubicBezTo>
                <a:cubicBezTo>
                  <a:pt x="17892" y="7364"/>
                  <a:pt x="17673" y="7584"/>
                  <a:pt x="17673" y="7855"/>
                </a:cubicBezTo>
                <a:cubicBezTo>
                  <a:pt x="17673" y="7990"/>
                  <a:pt x="17728" y="8113"/>
                  <a:pt x="17817" y="8202"/>
                </a:cubicBezTo>
                <a:lnTo>
                  <a:pt x="19924" y="10309"/>
                </a:lnTo>
                <a:lnTo>
                  <a:pt x="11291" y="10309"/>
                </a:lnTo>
                <a:lnTo>
                  <a:pt x="11291" y="1676"/>
                </a:lnTo>
                <a:lnTo>
                  <a:pt x="13398" y="3783"/>
                </a:lnTo>
                <a:cubicBezTo>
                  <a:pt x="13487" y="3873"/>
                  <a:pt x="13610" y="3927"/>
                  <a:pt x="13745" y="3927"/>
                </a:cubicBezTo>
                <a:cubicBezTo>
                  <a:pt x="14017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6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8" y="3178"/>
                  <a:pt x="7364" y="3301"/>
                  <a:pt x="7364" y="3436"/>
                </a:cubicBezTo>
                <a:cubicBezTo>
                  <a:pt x="7364" y="3708"/>
                  <a:pt x="7583" y="3927"/>
                  <a:pt x="7855" y="3927"/>
                </a:cubicBezTo>
                <a:cubicBezTo>
                  <a:pt x="7990" y="3927"/>
                  <a:pt x="8113" y="3873"/>
                  <a:pt x="8202" y="3783"/>
                </a:cubicBezTo>
                <a:lnTo>
                  <a:pt x="10309" y="1676"/>
                </a:lnTo>
                <a:lnTo>
                  <a:pt x="10309" y="10309"/>
                </a:lnTo>
                <a:lnTo>
                  <a:pt x="1676" y="10309"/>
                </a:lnTo>
                <a:lnTo>
                  <a:pt x="3783" y="8202"/>
                </a:lnTo>
                <a:cubicBezTo>
                  <a:pt x="3873" y="8113"/>
                  <a:pt x="3927" y="7990"/>
                  <a:pt x="3927" y="7855"/>
                </a:cubicBezTo>
                <a:cubicBezTo>
                  <a:pt x="3927" y="7584"/>
                  <a:pt x="3708" y="7364"/>
                  <a:pt x="3436" y="7364"/>
                </a:cubicBezTo>
                <a:cubicBezTo>
                  <a:pt x="3301" y="7364"/>
                  <a:pt x="3178" y="7419"/>
                  <a:pt x="3089" y="7507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0936"/>
                  <a:pt x="55" y="11058"/>
                  <a:pt x="144" y="11148"/>
                </a:cubicBezTo>
                <a:lnTo>
                  <a:pt x="3089" y="14093"/>
                </a:lnTo>
                <a:cubicBezTo>
                  <a:pt x="3178" y="14182"/>
                  <a:pt x="3301" y="14236"/>
                  <a:pt x="3436" y="14236"/>
                </a:cubicBezTo>
                <a:cubicBezTo>
                  <a:pt x="3708" y="14236"/>
                  <a:pt x="3927" y="14017"/>
                  <a:pt x="3927" y="13745"/>
                </a:cubicBezTo>
                <a:cubicBezTo>
                  <a:pt x="3927" y="13610"/>
                  <a:pt x="3873" y="13488"/>
                  <a:pt x="3783" y="13398"/>
                </a:cubicBezTo>
                <a:lnTo>
                  <a:pt x="1676" y="11291"/>
                </a:lnTo>
                <a:lnTo>
                  <a:pt x="10309" y="11291"/>
                </a:ln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8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5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  <a:cubicBezTo>
                  <a:pt x="13610" y="17673"/>
                  <a:pt x="13487" y="17728"/>
                  <a:pt x="13398" y="17817"/>
                </a:cubicBezTo>
                <a:lnTo>
                  <a:pt x="11291" y="19924"/>
                </a:lnTo>
                <a:lnTo>
                  <a:pt x="11291" y="11291"/>
                </a:lnTo>
                <a:lnTo>
                  <a:pt x="19924" y="11291"/>
                </a:lnTo>
                <a:lnTo>
                  <a:pt x="17817" y="13398"/>
                </a:lnTo>
                <a:cubicBezTo>
                  <a:pt x="17728" y="13488"/>
                  <a:pt x="17673" y="13610"/>
                  <a:pt x="17673" y="13745"/>
                </a:cubicBezTo>
                <a:cubicBezTo>
                  <a:pt x="17673" y="14017"/>
                  <a:pt x="17892" y="14236"/>
                  <a:pt x="18164" y="14236"/>
                </a:cubicBezTo>
                <a:cubicBezTo>
                  <a:pt x="18299" y="14236"/>
                  <a:pt x="18422" y="14182"/>
                  <a:pt x="18511" y="14093"/>
                </a:cubicBezTo>
                <a:lnTo>
                  <a:pt x="21456" y="11148"/>
                </a:lnTo>
                <a:cubicBezTo>
                  <a:pt x="21545" y="11058"/>
                  <a:pt x="21600" y="10936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13" name="Shape 2913"/>
          <p:cNvSpPr/>
          <p:nvPr/>
        </p:nvSpPr>
        <p:spPr>
          <a:xfrm>
            <a:off x="12423765" y="286620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6200" y="7855"/>
                </a:moveTo>
                <a:cubicBezTo>
                  <a:pt x="16073" y="7855"/>
                  <a:pt x="15959" y="7905"/>
                  <a:pt x="15873" y="7985"/>
                </a:cubicBezTo>
                <a:lnTo>
                  <a:pt x="15870" y="7982"/>
                </a:lnTo>
                <a:lnTo>
                  <a:pt x="10800" y="12591"/>
                </a:lnTo>
                <a:lnTo>
                  <a:pt x="5730" y="7982"/>
                </a:lnTo>
                <a:lnTo>
                  <a:pt x="5727" y="7985"/>
                </a:lnTo>
                <a:cubicBezTo>
                  <a:pt x="5641" y="7905"/>
                  <a:pt x="5527" y="7855"/>
                  <a:pt x="5400" y="7855"/>
                </a:cubicBezTo>
                <a:cubicBezTo>
                  <a:pt x="5129" y="7855"/>
                  <a:pt x="4909" y="8074"/>
                  <a:pt x="4909" y="8345"/>
                </a:cubicBezTo>
                <a:cubicBezTo>
                  <a:pt x="4909" y="8489"/>
                  <a:pt x="4973" y="8616"/>
                  <a:pt x="5073" y="8706"/>
                </a:cubicBezTo>
                <a:lnTo>
                  <a:pt x="5070" y="8709"/>
                </a:lnTo>
                <a:lnTo>
                  <a:pt x="10470" y="13618"/>
                </a:lnTo>
                <a:lnTo>
                  <a:pt x="10473" y="13615"/>
                </a:lnTo>
                <a:cubicBezTo>
                  <a:pt x="10559" y="13695"/>
                  <a:pt x="10673" y="13745"/>
                  <a:pt x="10800" y="13745"/>
                </a:cubicBezTo>
                <a:cubicBezTo>
                  <a:pt x="10927" y="13745"/>
                  <a:pt x="11041" y="13695"/>
                  <a:pt x="11127" y="13615"/>
                </a:cubicBezTo>
                <a:lnTo>
                  <a:pt x="11130" y="13618"/>
                </a:lnTo>
                <a:lnTo>
                  <a:pt x="16530" y="8709"/>
                </a:lnTo>
                <a:lnTo>
                  <a:pt x="16527" y="8706"/>
                </a:lnTo>
                <a:cubicBezTo>
                  <a:pt x="16627" y="8616"/>
                  <a:pt x="16691" y="8489"/>
                  <a:pt x="16691" y="8345"/>
                </a:cubicBezTo>
                <a:cubicBezTo>
                  <a:pt x="16691" y="8074"/>
                  <a:pt x="16471" y="7855"/>
                  <a:pt x="16200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14" name="Shape 2914"/>
          <p:cNvSpPr/>
          <p:nvPr/>
        </p:nvSpPr>
        <p:spPr>
          <a:xfrm>
            <a:off x="13490288" y="286620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530" y="12891"/>
                </a:moveTo>
                <a:lnTo>
                  <a:pt x="11130" y="7982"/>
                </a:lnTo>
                <a:lnTo>
                  <a:pt x="11128" y="7985"/>
                </a:lnTo>
                <a:cubicBezTo>
                  <a:pt x="11040" y="7906"/>
                  <a:pt x="10927" y="7855"/>
                  <a:pt x="10800" y="7855"/>
                </a:cubicBezTo>
                <a:cubicBezTo>
                  <a:pt x="10673" y="7855"/>
                  <a:pt x="10559" y="7906"/>
                  <a:pt x="10473" y="7985"/>
                </a:cubicBezTo>
                <a:lnTo>
                  <a:pt x="10469" y="7982"/>
                </a:lnTo>
                <a:lnTo>
                  <a:pt x="5069" y="12891"/>
                </a:lnTo>
                <a:lnTo>
                  <a:pt x="5073" y="12895"/>
                </a:lnTo>
                <a:cubicBezTo>
                  <a:pt x="4973" y="12984"/>
                  <a:pt x="4909" y="13111"/>
                  <a:pt x="4909" y="13255"/>
                </a:cubicBezTo>
                <a:cubicBezTo>
                  <a:pt x="4909" y="13526"/>
                  <a:pt x="5129" y="13745"/>
                  <a:pt x="5400" y="13745"/>
                </a:cubicBezTo>
                <a:cubicBezTo>
                  <a:pt x="5527" y="13745"/>
                  <a:pt x="5640" y="13694"/>
                  <a:pt x="5728" y="13615"/>
                </a:cubicBezTo>
                <a:lnTo>
                  <a:pt x="5730" y="13618"/>
                </a:lnTo>
                <a:lnTo>
                  <a:pt x="10800" y="9009"/>
                </a:lnTo>
                <a:lnTo>
                  <a:pt x="15869" y="13618"/>
                </a:lnTo>
                <a:lnTo>
                  <a:pt x="15873" y="13615"/>
                </a:lnTo>
                <a:cubicBezTo>
                  <a:pt x="15959" y="13694"/>
                  <a:pt x="16073" y="13745"/>
                  <a:pt x="16200" y="13745"/>
                </a:cubicBezTo>
                <a:cubicBezTo>
                  <a:pt x="16471" y="13745"/>
                  <a:pt x="16691" y="13526"/>
                  <a:pt x="16691" y="13255"/>
                </a:cubicBezTo>
                <a:cubicBezTo>
                  <a:pt x="16691" y="13111"/>
                  <a:pt x="16627" y="12984"/>
                  <a:pt x="16527" y="12895"/>
                </a:cubicBezTo>
                <a:cubicBezTo>
                  <a:pt x="16527" y="12895"/>
                  <a:pt x="16530" y="12891"/>
                  <a:pt x="16530" y="12891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15" name="Shape 2915"/>
          <p:cNvSpPr/>
          <p:nvPr/>
        </p:nvSpPr>
        <p:spPr>
          <a:xfrm>
            <a:off x="14556808" y="286620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273" y="4909"/>
                </a:moveTo>
                <a:cubicBezTo>
                  <a:pt x="12128" y="4909"/>
                  <a:pt x="12002" y="4974"/>
                  <a:pt x="11912" y="5073"/>
                </a:cubicBezTo>
                <a:lnTo>
                  <a:pt x="11909" y="5070"/>
                </a:lnTo>
                <a:lnTo>
                  <a:pt x="7000" y="10470"/>
                </a:lnTo>
                <a:lnTo>
                  <a:pt x="7003" y="10473"/>
                </a:lnTo>
                <a:cubicBezTo>
                  <a:pt x="6924" y="10559"/>
                  <a:pt x="6873" y="10673"/>
                  <a:pt x="6873" y="10800"/>
                </a:cubicBezTo>
                <a:cubicBezTo>
                  <a:pt x="6873" y="10927"/>
                  <a:pt x="6924" y="11041"/>
                  <a:pt x="7003" y="11127"/>
                </a:cubicBezTo>
                <a:lnTo>
                  <a:pt x="7000" y="11130"/>
                </a:lnTo>
                <a:lnTo>
                  <a:pt x="11909" y="16530"/>
                </a:lnTo>
                <a:lnTo>
                  <a:pt x="11912" y="16527"/>
                </a:lnTo>
                <a:cubicBezTo>
                  <a:pt x="12002" y="16627"/>
                  <a:pt x="12128" y="16691"/>
                  <a:pt x="12273" y="16691"/>
                </a:cubicBezTo>
                <a:cubicBezTo>
                  <a:pt x="12544" y="16691"/>
                  <a:pt x="12764" y="16471"/>
                  <a:pt x="12764" y="16200"/>
                </a:cubicBezTo>
                <a:cubicBezTo>
                  <a:pt x="12764" y="16073"/>
                  <a:pt x="12713" y="15960"/>
                  <a:pt x="12633" y="15873"/>
                </a:cubicBezTo>
                <a:lnTo>
                  <a:pt x="12636" y="15870"/>
                </a:lnTo>
                <a:lnTo>
                  <a:pt x="8027" y="10800"/>
                </a:lnTo>
                <a:lnTo>
                  <a:pt x="12636" y="5730"/>
                </a:lnTo>
                <a:lnTo>
                  <a:pt x="12633" y="5728"/>
                </a:lnTo>
                <a:cubicBezTo>
                  <a:pt x="12713" y="5641"/>
                  <a:pt x="12764" y="5527"/>
                  <a:pt x="12764" y="5400"/>
                </a:cubicBezTo>
                <a:cubicBezTo>
                  <a:pt x="12764" y="5129"/>
                  <a:pt x="12544" y="4909"/>
                  <a:pt x="12273" y="49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16" name="Shape 2916"/>
          <p:cNvSpPr/>
          <p:nvPr/>
        </p:nvSpPr>
        <p:spPr>
          <a:xfrm>
            <a:off x="15623331" y="286620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597" y="10473"/>
                </a:moveTo>
                <a:lnTo>
                  <a:pt x="14600" y="10470"/>
                </a:lnTo>
                <a:lnTo>
                  <a:pt x="9691" y="5070"/>
                </a:lnTo>
                <a:lnTo>
                  <a:pt x="9688" y="5073"/>
                </a:lnTo>
                <a:cubicBezTo>
                  <a:pt x="9598" y="4974"/>
                  <a:pt x="9471" y="4909"/>
                  <a:pt x="9327" y="4909"/>
                </a:cubicBezTo>
                <a:cubicBezTo>
                  <a:pt x="9056" y="4909"/>
                  <a:pt x="8836" y="5129"/>
                  <a:pt x="8836" y="5400"/>
                </a:cubicBezTo>
                <a:cubicBezTo>
                  <a:pt x="8836" y="5527"/>
                  <a:pt x="8887" y="5641"/>
                  <a:pt x="8967" y="5728"/>
                </a:cubicBezTo>
                <a:lnTo>
                  <a:pt x="8964" y="5730"/>
                </a:lnTo>
                <a:lnTo>
                  <a:pt x="13573" y="10800"/>
                </a:lnTo>
                <a:lnTo>
                  <a:pt x="8964" y="15870"/>
                </a:lnTo>
                <a:lnTo>
                  <a:pt x="8967" y="15873"/>
                </a:lnTo>
                <a:cubicBezTo>
                  <a:pt x="8887" y="15960"/>
                  <a:pt x="8836" y="16073"/>
                  <a:pt x="8836" y="16200"/>
                </a:cubicBezTo>
                <a:cubicBezTo>
                  <a:pt x="8836" y="16471"/>
                  <a:pt x="9056" y="16691"/>
                  <a:pt x="9327" y="16691"/>
                </a:cubicBezTo>
                <a:cubicBezTo>
                  <a:pt x="9471" y="16691"/>
                  <a:pt x="9598" y="16627"/>
                  <a:pt x="9688" y="16527"/>
                </a:cubicBezTo>
                <a:lnTo>
                  <a:pt x="9691" y="16530"/>
                </a:lnTo>
                <a:lnTo>
                  <a:pt x="14600" y="11130"/>
                </a:lnTo>
                <a:lnTo>
                  <a:pt x="14597" y="11127"/>
                </a:lnTo>
                <a:cubicBezTo>
                  <a:pt x="14676" y="11041"/>
                  <a:pt x="14727" y="10927"/>
                  <a:pt x="14727" y="10800"/>
                </a:cubicBezTo>
                <a:cubicBezTo>
                  <a:pt x="14727" y="10673"/>
                  <a:pt x="14676" y="10559"/>
                  <a:pt x="14597" y="104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17" name="Shape 2917"/>
          <p:cNvSpPr/>
          <p:nvPr/>
        </p:nvSpPr>
        <p:spPr>
          <a:xfrm>
            <a:off x="16778730" y="2866201"/>
            <a:ext cx="38090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415"/>
                </a:moveTo>
                <a:lnTo>
                  <a:pt x="2459" y="14727"/>
                </a:lnTo>
                <a:lnTo>
                  <a:pt x="8640" y="14727"/>
                </a:lnTo>
                <a:lnTo>
                  <a:pt x="8640" y="1964"/>
                </a:lnTo>
                <a:cubicBezTo>
                  <a:pt x="8640" y="1422"/>
                  <a:pt x="9285" y="982"/>
                  <a:pt x="10080" y="982"/>
                </a:cubicBezTo>
                <a:lnTo>
                  <a:pt x="11520" y="982"/>
                </a:lnTo>
                <a:cubicBezTo>
                  <a:pt x="12315" y="982"/>
                  <a:pt x="12960" y="1422"/>
                  <a:pt x="12960" y="1964"/>
                </a:cubicBezTo>
                <a:lnTo>
                  <a:pt x="12960" y="14727"/>
                </a:lnTo>
                <a:lnTo>
                  <a:pt x="19142" y="14727"/>
                </a:lnTo>
                <a:cubicBezTo>
                  <a:pt x="19142" y="14727"/>
                  <a:pt x="10800" y="20415"/>
                  <a:pt x="10800" y="20415"/>
                </a:cubicBezTo>
                <a:close/>
                <a:moveTo>
                  <a:pt x="20880" y="13745"/>
                </a:moveTo>
                <a:lnTo>
                  <a:pt x="14400" y="13745"/>
                </a:lnTo>
                <a:lnTo>
                  <a:pt x="14400" y="1964"/>
                </a:lnTo>
                <a:cubicBezTo>
                  <a:pt x="14400" y="879"/>
                  <a:pt x="13110" y="0"/>
                  <a:pt x="11520" y="0"/>
                </a:cubicBezTo>
                <a:lnTo>
                  <a:pt x="10080" y="0"/>
                </a:lnTo>
                <a:cubicBezTo>
                  <a:pt x="8490" y="0"/>
                  <a:pt x="7200" y="879"/>
                  <a:pt x="7200" y="1964"/>
                </a:cubicBezTo>
                <a:lnTo>
                  <a:pt x="7200" y="13745"/>
                </a:lnTo>
                <a:lnTo>
                  <a:pt x="720" y="13745"/>
                </a:lnTo>
                <a:cubicBezTo>
                  <a:pt x="323" y="13745"/>
                  <a:pt x="0" y="13966"/>
                  <a:pt x="0" y="14236"/>
                </a:cubicBezTo>
                <a:cubicBezTo>
                  <a:pt x="0" y="14373"/>
                  <a:pt x="81" y="14495"/>
                  <a:pt x="212" y="14584"/>
                </a:cubicBezTo>
                <a:lnTo>
                  <a:pt x="10290" y="21456"/>
                </a:lnTo>
                <a:cubicBezTo>
                  <a:pt x="10421" y="21545"/>
                  <a:pt x="10601" y="21600"/>
                  <a:pt x="10800" y="21600"/>
                </a:cubicBezTo>
                <a:cubicBezTo>
                  <a:pt x="10999" y="21600"/>
                  <a:pt x="11179" y="21545"/>
                  <a:pt x="11310" y="21456"/>
                </a:cubicBezTo>
                <a:lnTo>
                  <a:pt x="21388" y="14584"/>
                </a:lnTo>
                <a:cubicBezTo>
                  <a:pt x="21519" y="14495"/>
                  <a:pt x="21600" y="14373"/>
                  <a:pt x="21600" y="14236"/>
                </a:cubicBezTo>
                <a:cubicBezTo>
                  <a:pt x="21600" y="13966"/>
                  <a:pt x="21277" y="13745"/>
                  <a:pt x="20880" y="137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18" name="Shape 2918"/>
          <p:cNvSpPr/>
          <p:nvPr/>
        </p:nvSpPr>
        <p:spPr>
          <a:xfrm>
            <a:off x="17845252" y="2866201"/>
            <a:ext cx="38090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60" y="6873"/>
                </a:moveTo>
                <a:lnTo>
                  <a:pt x="12960" y="19636"/>
                </a:lnTo>
                <a:cubicBezTo>
                  <a:pt x="12960" y="20178"/>
                  <a:pt x="12315" y="20618"/>
                  <a:pt x="11520" y="20618"/>
                </a:cubicBezTo>
                <a:lnTo>
                  <a:pt x="10080" y="20618"/>
                </a:lnTo>
                <a:cubicBezTo>
                  <a:pt x="9285" y="20618"/>
                  <a:pt x="8640" y="20178"/>
                  <a:pt x="8640" y="19636"/>
                </a:cubicBezTo>
                <a:lnTo>
                  <a:pt x="8640" y="6873"/>
                </a:lnTo>
                <a:lnTo>
                  <a:pt x="2458" y="6873"/>
                </a:lnTo>
                <a:lnTo>
                  <a:pt x="10800" y="1185"/>
                </a:lnTo>
                <a:lnTo>
                  <a:pt x="19142" y="6873"/>
                </a:lnTo>
                <a:cubicBezTo>
                  <a:pt x="19142" y="6873"/>
                  <a:pt x="12960" y="6873"/>
                  <a:pt x="12960" y="6873"/>
                </a:cubicBezTo>
                <a:close/>
                <a:moveTo>
                  <a:pt x="21389" y="7017"/>
                </a:moveTo>
                <a:lnTo>
                  <a:pt x="11309" y="144"/>
                </a:lnTo>
                <a:cubicBezTo>
                  <a:pt x="11179" y="55"/>
                  <a:pt x="10999" y="0"/>
                  <a:pt x="10800" y="0"/>
                </a:cubicBezTo>
                <a:cubicBezTo>
                  <a:pt x="10601" y="0"/>
                  <a:pt x="10422" y="55"/>
                  <a:pt x="10291" y="144"/>
                </a:cubicBezTo>
                <a:lnTo>
                  <a:pt x="211" y="7017"/>
                </a:lnTo>
                <a:cubicBezTo>
                  <a:pt x="81" y="7106"/>
                  <a:pt x="0" y="7228"/>
                  <a:pt x="0" y="7364"/>
                </a:cubicBezTo>
                <a:cubicBezTo>
                  <a:pt x="0" y="7635"/>
                  <a:pt x="322" y="7855"/>
                  <a:pt x="720" y="7855"/>
                </a:cubicBezTo>
                <a:lnTo>
                  <a:pt x="7200" y="7855"/>
                </a:lnTo>
                <a:lnTo>
                  <a:pt x="7200" y="19636"/>
                </a:lnTo>
                <a:cubicBezTo>
                  <a:pt x="7200" y="20721"/>
                  <a:pt x="8490" y="21600"/>
                  <a:pt x="10080" y="21600"/>
                </a:cubicBezTo>
                <a:lnTo>
                  <a:pt x="11520" y="21600"/>
                </a:lnTo>
                <a:cubicBezTo>
                  <a:pt x="13110" y="21600"/>
                  <a:pt x="14400" y="20721"/>
                  <a:pt x="14400" y="19636"/>
                </a:cubicBezTo>
                <a:lnTo>
                  <a:pt x="14400" y="7855"/>
                </a:lnTo>
                <a:lnTo>
                  <a:pt x="20880" y="7855"/>
                </a:lnTo>
                <a:cubicBezTo>
                  <a:pt x="21278" y="7855"/>
                  <a:pt x="21600" y="7635"/>
                  <a:pt x="21600" y="7364"/>
                </a:cubicBezTo>
                <a:cubicBezTo>
                  <a:pt x="21600" y="7228"/>
                  <a:pt x="21519" y="7106"/>
                  <a:pt x="21389" y="701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19" name="Shape 2919"/>
          <p:cNvSpPr/>
          <p:nvPr/>
        </p:nvSpPr>
        <p:spPr>
          <a:xfrm>
            <a:off x="18822898" y="2955076"/>
            <a:ext cx="558654" cy="380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520"/>
                </a:moveTo>
                <a:cubicBezTo>
                  <a:pt x="20618" y="12315"/>
                  <a:pt x="20178" y="12960"/>
                  <a:pt x="19636" y="12960"/>
                </a:cubicBezTo>
                <a:lnTo>
                  <a:pt x="6873" y="12960"/>
                </a:lnTo>
                <a:lnTo>
                  <a:pt x="6873" y="19142"/>
                </a:lnTo>
                <a:lnTo>
                  <a:pt x="1185" y="10800"/>
                </a:lnTo>
                <a:lnTo>
                  <a:pt x="6873" y="2458"/>
                </a:lnTo>
                <a:lnTo>
                  <a:pt x="6873" y="8640"/>
                </a:lnTo>
                <a:lnTo>
                  <a:pt x="19636" y="8640"/>
                </a:lnTo>
                <a:cubicBezTo>
                  <a:pt x="20178" y="8640"/>
                  <a:pt x="20618" y="9285"/>
                  <a:pt x="20618" y="10080"/>
                </a:cubicBezTo>
                <a:cubicBezTo>
                  <a:pt x="20618" y="10080"/>
                  <a:pt x="20618" y="11520"/>
                  <a:pt x="20618" y="11520"/>
                </a:cubicBezTo>
                <a:close/>
                <a:moveTo>
                  <a:pt x="19636" y="7200"/>
                </a:moveTo>
                <a:lnTo>
                  <a:pt x="7855" y="7200"/>
                </a:lnTo>
                <a:lnTo>
                  <a:pt x="7855" y="720"/>
                </a:lnTo>
                <a:cubicBezTo>
                  <a:pt x="7855" y="322"/>
                  <a:pt x="7635" y="0"/>
                  <a:pt x="7364" y="0"/>
                </a:cubicBezTo>
                <a:cubicBezTo>
                  <a:pt x="7228" y="0"/>
                  <a:pt x="7105" y="81"/>
                  <a:pt x="7017" y="212"/>
                </a:cubicBezTo>
                <a:lnTo>
                  <a:pt x="144" y="10291"/>
                </a:lnTo>
                <a:cubicBezTo>
                  <a:pt x="55" y="10422"/>
                  <a:pt x="0" y="10602"/>
                  <a:pt x="0" y="10800"/>
                </a:cubicBezTo>
                <a:cubicBezTo>
                  <a:pt x="0" y="11000"/>
                  <a:pt x="55" y="11180"/>
                  <a:pt x="144" y="11310"/>
                </a:cubicBezTo>
                <a:lnTo>
                  <a:pt x="7017" y="21389"/>
                </a:lnTo>
                <a:cubicBezTo>
                  <a:pt x="7105" y="21520"/>
                  <a:pt x="7228" y="21600"/>
                  <a:pt x="7364" y="21600"/>
                </a:cubicBezTo>
                <a:cubicBezTo>
                  <a:pt x="7635" y="21600"/>
                  <a:pt x="7855" y="21278"/>
                  <a:pt x="7855" y="20880"/>
                </a:cubicBezTo>
                <a:lnTo>
                  <a:pt x="7855" y="14400"/>
                </a:lnTo>
                <a:lnTo>
                  <a:pt x="19636" y="14400"/>
                </a:lnTo>
                <a:cubicBezTo>
                  <a:pt x="20721" y="14400"/>
                  <a:pt x="21600" y="13110"/>
                  <a:pt x="21600" y="11520"/>
                </a:cubicBezTo>
                <a:lnTo>
                  <a:pt x="21600" y="10080"/>
                </a:lnTo>
                <a:cubicBezTo>
                  <a:pt x="21600" y="8490"/>
                  <a:pt x="20721" y="7200"/>
                  <a:pt x="19636" y="7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20" name="Shape 2920"/>
          <p:cNvSpPr/>
          <p:nvPr/>
        </p:nvSpPr>
        <p:spPr>
          <a:xfrm>
            <a:off x="19889419" y="2955076"/>
            <a:ext cx="558654" cy="380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9142"/>
                </a:moveTo>
                <a:lnTo>
                  <a:pt x="14727" y="12960"/>
                </a:lnTo>
                <a:lnTo>
                  <a:pt x="1964" y="12960"/>
                </a:lnTo>
                <a:cubicBezTo>
                  <a:pt x="1421" y="12960"/>
                  <a:pt x="982" y="12316"/>
                  <a:pt x="982" y="11520"/>
                </a:cubicBezTo>
                <a:lnTo>
                  <a:pt x="982" y="10080"/>
                </a:lnTo>
                <a:cubicBezTo>
                  <a:pt x="982" y="9285"/>
                  <a:pt x="1421" y="8640"/>
                  <a:pt x="1964" y="8640"/>
                </a:cubicBezTo>
                <a:lnTo>
                  <a:pt x="14727" y="8640"/>
                </a:lnTo>
                <a:lnTo>
                  <a:pt x="14727" y="2458"/>
                </a:lnTo>
                <a:lnTo>
                  <a:pt x="20415" y="10800"/>
                </a:lnTo>
                <a:cubicBezTo>
                  <a:pt x="20415" y="10800"/>
                  <a:pt x="14727" y="19142"/>
                  <a:pt x="14727" y="19142"/>
                </a:cubicBezTo>
                <a:close/>
                <a:moveTo>
                  <a:pt x="21456" y="10291"/>
                </a:moveTo>
                <a:lnTo>
                  <a:pt x="14584" y="212"/>
                </a:lnTo>
                <a:cubicBezTo>
                  <a:pt x="14495" y="81"/>
                  <a:pt x="14372" y="0"/>
                  <a:pt x="14236" y="0"/>
                </a:cubicBezTo>
                <a:cubicBezTo>
                  <a:pt x="13965" y="0"/>
                  <a:pt x="13745" y="322"/>
                  <a:pt x="13745" y="720"/>
                </a:cubicBezTo>
                <a:lnTo>
                  <a:pt x="13745" y="7200"/>
                </a:lnTo>
                <a:lnTo>
                  <a:pt x="1964" y="7200"/>
                </a:lnTo>
                <a:cubicBezTo>
                  <a:pt x="879" y="7200"/>
                  <a:pt x="0" y="8490"/>
                  <a:pt x="0" y="10080"/>
                </a:cubicBezTo>
                <a:lnTo>
                  <a:pt x="0" y="11520"/>
                </a:lnTo>
                <a:cubicBezTo>
                  <a:pt x="0" y="13110"/>
                  <a:pt x="879" y="14400"/>
                  <a:pt x="1964" y="14400"/>
                </a:cubicBezTo>
                <a:lnTo>
                  <a:pt x="13745" y="14400"/>
                </a:lnTo>
                <a:lnTo>
                  <a:pt x="13745" y="20880"/>
                </a:lnTo>
                <a:cubicBezTo>
                  <a:pt x="13745" y="21278"/>
                  <a:pt x="13965" y="21600"/>
                  <a:pt x="14236" y="21600"/>
                </a:cubicBezTo>
                <a:cubicBezTo>
                  <a:pt x="14372" y="21600"/>
                  <a:pt x="14495" y="21520"/>
                  <a:pt x="14583" y="21389"/>
                </a:cubicBezTo>
                <a:lnTo>
                  <a:pt x="21456" y="11310"/>
                </a:lnTo>
                <a:cubicBezTo>
                  <a:pt x="21545" y="11180"/>
                  <a:pt x="21600" y="11000"/>
                  <a:pt x="21600" y="10800"/>
                </a:cubicBezTo>
                <a:cubicBezTo>
                  <a:pt x="21600" y="10601"/>
                  <a:pt x="21545" y="10421"/>
                  <a:pt x="21456" y="102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21" name="Shape 2921"/>
          <p:cNvSpPr/>
          <p:nvPr/>
        </p:nvSpPr>
        <p:spPr>
          <a:xfrm>
            <a:off x="21032124" y="2866201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402" y="5052"/>
                </a:moveTo>
                <a:lnTo>
                  <a:pt x="14652" y="144"/>
                </a:lnTo>
                <a:cubicBezTo>
                  <a:pt x="14530" y="55"/>
                  <a:pt x="14362" y="0"/>
                  <a:pt x="14175" y="0"/>
                </a:cubicBezTo>
                <a:cubicBezTo>
                  <a:pt x="13802" y="0"/>
                  <a:pt x="13500" y="220"/>
                  <a:pt x="13500" y="491"/>
                </a:cubicBezTo>
                <a:cubicBezTo>
                  <a:pt x="13500" y="627"/>
                  <a:pt x="13576" y="749"/>
                  <a:pt x="13698" y="838"/>
                </a:cubicBezTo>
                <a:lnTo>
                  <a:pt x="19296" y="4909"/>
                </a:lnTo>
                <a:lnTo>
                  <a:pt x="675" y="4909"/>
                </a:lnTo>
                <a:cubicBezTo>
                  <a:pt x="302" y="4909"/>
                  <a:pt x="0" y="5129"/>
                  <a:pt x="0" y="5400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1048" y="21600"/>
                  <a:pt x="1350" y="21380"/>
                  <a:pt x="1350" y="21109"/>
                </a:cubicBezTo>
                <a:lnTo>
                  <a:pt x="1350" y="5891"/>
                </a:lnTo>
                <a:lnTo>
                  <a:pt x="19296" y="5891"/>
                </a:lnTo>
                <a:lnTo>
                  <a:pt x="13698" y="9962"/>
                </a:lnTo>
                <a:cubicBezTo>
                  <a:pt x="13575" y="10051"/>
                  <a:pt x="13500" y="10173"/>
                  <a:pt x="13500" y="10309"/>
                </a:cubicBezTo>
                <a:cubicBezTo>
                  <a:pt x="13500" y="10580"/>
                  <a:pt x="13802" y="10800"/>
                  <a:pt x="14175" y="10800"/>
                </a:cubicBezTo>
                <a:cubicBezTo>
                  <a:pt x="14362" y="10800"/>
                  <a:pt x="14531" y="10745"/>
                  <a:pt x="14653" y="10656"/>
                </a:cubicBezTo>
                <a:lnTo>
                  <a:pt x="21402" y="5747"/>
                </a:lnTo>
                <a:cubicBezTo>
                  <a:pt x="21525" y="5658"/>
                  <a:pt x="21600" y="5536"/>
                  <a:pt x="21600" y="5400"/>
                </a:cubicBezTo>
                <a:cubicBezTo>
                  <a:pt x="21600" y="5264"/>
                  <a:pt x="21524" y="5142"/>
                  <a:pt x="21402" y="505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22" name="Shape 2922"/>
          <p:cNvSpPr/>
          <p:nvPr/>
        </p:nvSpPr>
        <p:spPr>
          <a:xfrm>
            <a:off x="22022464" y="2942382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2546"/>
                </a:moveTo>
                <a:lnTo>
                  <a:pt x="16691" y="2304"/>
                </a:lnTo>
                <a:lnTo>
                  <a:pt x="20415" y="7425"/>
                </a:lnTo>
                <a:cubicBezTo>
                  <a:pt x="20415" y="7425"/>
                  <a:pt x="16691" y="12546"/>
                  <a:pt x="16691" y="12546"/>
                </a:cubicBezTo>
                <a:close/>
                <a:moveTo>
                  <a:pt x="21456" y="6948"/>
                </a:moveTo>
                <a:lnTo>
                  <a:pt x="16548" y="198"/>
                </a:lnTo>
                <a:cubicBezTo>
                  <a:pt x="16458" y="76"/>
                  <a:pt x="16336" y="0"/>
                  <a:pt x="16200" y="0"/>
                </a:cubicBezTo>
                <a:cubicBezTo>
                  <a:pt x="15929" y="0"/>
                  <a:pt x="15709" y="302"/>
                  <a:pt x="15709" y="675"/>
                </a:cubicBezTo>
                <a:lnTo>
                  <a:pt x="15709" y="6750"/>
                </a:lnTo>
                <a:lnTo>
                  <a:pt x="491" y="6750"/>
                </a:lnTo>
                <a:cubicBezTo>
                  <a:pt x="220" y="6750"/>
                  <a:pt x="0" y="7052"/>
                  <a:pt x="0" y="7425"/>
                </a:cubicBezTo>
                <a:lnTo>
                  <a:pt x="0" y="20925"/>
                </a:lnTo>
                <a:cubicBezTo>
                  <a:pt x="0" y="21298"/>
                  <a:pt x="220" y="21600"/>
                  <a:pt x="491" y="21600"/>
                </a:cubicBezTo>
                <a:cubicBezTo>
                  <a:pt x="762" y="21600"/>
                  <a:pt x="982" y="21298"/>
                  <a:pt x="982" y="20925"/>
                </a:cubicBezTo>
                <a:lnTo>
                  <a:pt x="982" y="8100"/>
                </a:lnTo>
                <a:lnTo>
                  <a:pt x="15709" y="8100"/>
                </a:lnTo>
                <a:lnTo>
                  <a:pt x="15709" y="14175"/>
                </a:lnTo>
                <a:cubicBezTo>
                  <a:pt x="15709" y="14548"/>
                  <a:pt x="15929" y="14850"/>
                  <a:pt x="16200" y="14850"/>
                </a:cubicBezTo>
                <a:cubicBezTo>
                  <a:pt x="16336" y="14850"/>
                  <a:pt x="16458" y="14775"/>
                  <a:pt x="16547" y="14652"/>
                </a:cubicBezTo>
                <a:lnTo>
                  <a:pt x="21456" y="7903"/>
                </a:lnTo>
                <a:cubicBezTo>
                  <a:pt x="21545" y="7781"/>
                  <a:pt x="21600" y="7612"/>
                  <a:pt x="21600" y="7425"/>
                </a:cubicBezTo>
                <a:cubicBezTo>
                  <a:pt x="21600" y="7238"/>
                  <a:pt x="21545" y="7070"/>
                  <a:pt x="21456" y="694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23" name="Shape 2923"/>
          <p:cNvSpPr/>
          <p:nvPr/>
        </p:nvSpPr>
        <p:spPr>
          <a:xfrm>
            <a:off x="12423765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0"/>
                </a:moveTo>
                <a:lnTo>
                  <a:pt x="14236" y="0"/>
                </a:lnTo>
                <a:cubicBezTo>
                  <a:pt x="13966" y="0"/>
                  <a:pt x="13745" y="220"/>
                  <a:pt x="13745" y="491"/>
                </a:cubicBezTo>
                <a:cubicBezTo>
                  <a:pt x="13745" y="762"/>
                  <a:pt x="13966" y="982"/>
                  <a:pt x="14236" y="982"/>
                </a:cubicBezTo>
                <a:lnTo>
                  <a:pt x="19924" y="982"/>
                </a:lnTo>
                <a:lnTo>
                  <a:pt x="11926" y="8980"/>
                </a:lnTo>
                <a:cubicBezTo>
                  <a:pt x="11837" y="9069"/>
                  <a:pt x="11782" y="9192"/>
                  <a:pt x="11782" y="9327"/>
                </a:cubicBezTo>
                <a:cubicBezTo>
                  <a:pt x="11782" y="9599"/>
                  <a:pt x="12002" y="9818"/>
                  <a:pt x="12273" y="9818"/>
                </a:cubicBezTo>
                <a:cubicBezTo>
                  <a:pt x="12408" y="9818"/>
                  <a:pt x="12531" y="9764"/>
                  <a:pt x="12620" y="9674"/>
                </a:cubicBezTo>
                <a:lnTo>
                  <a:pt x="20618" y="1676"/>
                </a:lnTo>
                <a:lnTo>
                  <a:pt x="20618" y="7364"/>
                </a:lnTo>
                <a:cubicBezTo>
                  <a:pt x="20618" y="7635"/>
                  <a:pt x="20838" y="7855"/>
                  <a:pt x="21109" y="7855"/>
                </a:cubicBezTo>
                <a:cubicBezTo>
                  <a:pt x="21380" y="7855"/>
                  <a:pt x="21600" y="7635"/>
                  <a:pt x="21600" y="7364"/>
                </a:cubicBezTo>
                <a:lnTo>
                  <a:pt x="21600" y="491"/>
                </a:lnTo>
                <a:cubicBezTo>
                  <a:pt x="21600" y="220"/>
                  <a:pt x="21380" y="0"/>
                  <a:pt x="21109" y="0"/>
                </a:cubicBezTo>
                <a:moveTo>
                  <a:pt x="9327" y="11782"/>
                </a:moveTo>
                <a:cubicBezTo>
                  <a:pt x="9192" y="11782"/>
                  <a:pt x="9069" y="11837"/>
                  <a:pt x="8980" y="11926"/>
                </a:cubicBezTo>
                <a:lnTo>
                  <a:pt x="982" y="19924"/>
                </a:lnTo>
                <a:lnTo>
                  <a:pt x="982" y="14236"/>
                </a:lnTo>
                <a:cubicBezTo>
                  <a:pt x="982" y="13966"/>
                  <a:pt x="762" y="13745"/>
                  <a:pt x="491" y="13745"/>
                </a:cubicBezTo>
                <a:cubicBezTo>
                  <a:pt x="220" y="13745"/>
                  <a:pt x="0" y="13966"/>
                  <a:pt x="0" y="14236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7364" y="21600"/>
                </a:lnTo>
                <a:cubicBezTo>
                  <a:pt x="7634" y="21600"/>
                  <a:pt x="7855" y="21380"/>
                  <a:pt x="7855" y="21109"/>
                </a:cubicBezTo>
                <a:cubicBezTo>
                  <a:pt x="7855" y="20838"/>
                  <a:pt x="7634" y="20618"/>
                  <a:pt x="7364" y="20618"/>
                </a:cubicBezTo>
                <a:lnTo>
                  <a:pt x="1676" y="20618"/>
                </a:lnTo>
                <a:lnTo>
                  <a:pt x="9674" y="12620"/>
                </a:lnTo>
                <a:cubicBezTo>
                  <a:pt x="9763" y="12531"/>
                  <a:pt x="9818" y="12408"/>
                  <a:pt x="9818" y="12273"/>
                </a:cubicBezTo>
                <a:cubicBezTo>
                  <a:pt x="9818" y="12002"/>
                  <a:pt x="9598" y="11782"/>
                  <a:pt x="9327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24" name="Shape 2924"/>
          <p:cNvSpPr/>
          <p:nvPr/>
        </p:nvSpPr>
        <p:spPr>
          <a:xfrm>
            <a:off x="13490288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0974" y="0"/>
                  <a:pt x="20851" y="55"/>
                  <a:pt x="20762" y="144"/>
                </a:cubicBezTo>
                <a:lnTo>
                  <a:pt x="12764" y="8142"/>
                </a:lnTo>
                <a:lnTo>
                  <a:pt x="12764" y="2455"/>
                </a:lnTo>
                <a:cubicBezTo>
                  <a:pt x="12764" y="2184"/>
                  <a:pt x="12544" y="1964"/>
                  <a:pt x="12273" y="1964"/>
                </a:cubicBezTo>
                <a:cubicBezTo>
                  <a:pt x="12002" y="1964"/>
                  <a:pt x="11782" y="2184"/>
                  <a:pt x="11782" y="2455"/>
                </a:cubicBezTo>
                <a:lnTo>
                  <a:pt x="11782" y="9327"/>
                </a:lnTo>
                <a:cubicBezTo>
                  <a:pt x="11782" y="9599"/>
                  <a:pt x="12002" y="9818"/>
                  <a:pt x="12273" y="9818"/>
                </a:cubicBezTo>
                <a:lnTo>
                  <a:pt x="19145" y="9818"/>
                </a:lnTo>
                <a:cubicBezTo>
                  <a:pt x="19416" y="9818"/>
                  <a:pt x="19636" y="9599"/>
                  <a:pt x="19636" y="9327"/>
                </a:cubicBezTo>
                <a:cubicBezTo>
                  <a:pt x="19636" y="9056"/>
                  <a:pt x="19416" y="8836"/>
                  <a:pt x="19145" y="8836"/>
                </a:cubicBezTo>
                <a:lnTo>
                  <a:pt x="13458" y="8836"/>
                </a:lnTo>
                <a:lnTo>
                  <a:pt x="21456" y="838"/>
                </a:lnTo>
                <a:cubicBezTo>
                  <a:pt x="21545" y="750"/>
                  <a:pt x="21600" y="627"/>
                  <a:pt x="21600" y="491"/>
                </a:cubicBezTo>
                <a:moveTo>
                  <a:pt x="9327" y="11782"/>
                </a:moveTo>
                <a:lnTo>
                  <a:pt x="2455" y="11782"/>
                </a:lnTo>
                <a:cubicBezTo>
                  <a:pt x="2184" y="11782"/>
                  <a:pt x="1964" y="12002"/>
                  <a:pt x="1964" y="12273"/>
                </a:cubicBezTo>
                <a:cubicBezTo>
                  <a:pt x="1964" y="12544"/>
                  <a:pt x="2184" y="12764"/>
                  <a:pt x="2455" y="12764"/>
                </a:cubicBezTo>
                <a:lnTo>
                  <a:pt x="8142" y="12764"/>
                </a:lnTo>
                <a:lnTo>
                  <a:pt x="144" y="20762"/>
                </a:lnTo>
                <a:cubicBezTo>
                  <a:pt x="55" y="20851"/>
                  <a:pt x="0" y="20973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cubicBezTo>
                  <a:pt x="626" y="21600"/>
                  <a:pt x="749" y="21545"/>
                  <a:pt x="838" y="21456"/>
                </a:cubicBezTo>
                <a:lnTo>
                  <a:pt x="8836" y="13458"/>
                </a:lnTo>
                <a:lnTo>
                  <a:pt x="8836" y="19145"/>
                </a:lnTo>
                <a:cubicBezTo>
                  <a:pt x="8836" y="19417"/>
                  <a:pt x="9056" y="19636"/>
                  <a:pt x="9327" y="19636"/>
                </a:cubicBezTo>
                <a:cubicBezTo>
                  <a:pt x="9598" y="19636"/>
                  <a:pt x="9818" y="19417"/>
                  <a:pt x="9818" y="19145"/>
                </a:cubicBezTo>
                <a:lnTo>
                  <a:pt x="9818" y="12273"/>
                </a:lnTo>
                <a:cubicBezTo>
                  <a:pt x="9818" y="12002"/>
                  <a:pt x="9598" y="11782"/>
                  <a:pt x="9327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25" name="Shape 2925"/>
          <p:cNvSpPr/>
          <p:nvPr/>
        </p:nvSpPr>
        <p:spPr>
          <a:xfrm>
            <a:off x="14556808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0"/>
                </a:moveTo>
                <a:lnTo>
                  <a:pt x="16200" y="0"/>
                </a:lnTo>
                <a:cubicBezTo>
                  <a:pt x="15929" y="0"/>
                  <a:pt x="15709" y="220"/>
                  <a:pt x="15709" y="491"/>
                </a:cubicBezTo>
                <a:cubicBezTo>
                  <a:pt x="15709" y="762"/>
                  <a:pt x="15929" y="982"/>
                  <a:pt x="16200" y="982"/>
                </a:cubicBezTo>
                <a:lnTo>
                  <a:pt x="19924" y="982"/>
                </a:lnTo>
                <a:lnTo>
                  <a:pt x="6035" y="14871"/>
                </a:lnTo>
                <a:cubicBezTo>
                  <a:pt x="5946" y="14960"/>
                  <a:pt x="5891" y="15083"/>
                  <a:pt x="5891" y="15218"/>
                </a:cubicBezTo>
                <a:cubicBezTo>
                  <a:pt x="5891" y="15489"/>
                  <a:pt x="6111" y="15709"/>
                  <a:pt x="6382" y="15709"/>
                </a:cubicBezTo>
                <a:cubicBezTo>
                  <a:pt x="6517" y="15709"/>
                  <a:pt x="6640" y="15654"/>
                  <a:pt x="6729" y="15565"/>
                </a:cubicBezTo>
                <a:lnTo>
                  <a:pt x="20618" y="1676"/>
                </a:lnTo>
                <a:lnTo>
                  <a:pt x="20618" y="5400"/>
                </a:lnTo>
                <a:cubicBezTo>
                  <a:pt x="20618" y="5671"/>
                  <a:pt x="20838" y="5890"/>
                  <a:pt x="21109" y="5890"/>
                </a:cubicBezTo>
                <a:cubicBezTo>
                  <a:pt x="21380" y="5890"/>
                  <a:pt x="21600" y="5671"/>
                  <a:pt x="21600" y="5400"/>
                </a:cubicBezTo>
                <a:lnTo>
                  <a:pt x="21600" y="491"/>
                </a:lnTo>
                <a:cubicBezTo>
                  <a:pt x="21600" y="220"/>
                  <a:pt x="21380" y="0"/>
                  <a:pt x="21109" y="0"/>
                </a:cubicBezTo>
                <a:moveTo>
                  <a:pt x="17182" y="6873"/>
                </a:moveTo>
                <a:cubicBezTo>
                  <a:pt x="16911" y="6873"/>
                  <a:pt x="16691" y="7092"/>
                  <a:pt x="16691" y="7364"/>
                </a:cubicBezTo>
                <a:lnTo>
                  <a:pt x="16691" y="20618"/>
                </a:lnTo>
                <a:lnTo>
                  <a:pt x="982" y="20618"/>
                </a:lnTo>
                <a:lnTo>
                  <a:pt x="982" y="4909"/>
                </a:lnTo>
                <a:lnTo>
                  <a:pt x="14236" y="4909"/>
                </a:lnTo>
                <a:cubicBezTo>
                  <a:pt x="14507" y="4909"/>
                  <a:pt x="14727" y="4689"/>
                  <a:pt x="14727" y="4418"/>
                </a:cubicBezTo>
                <a:cubicBezTo>
                  <a:pt x="14727" y="4147"/>
                  <a:pt x="14507" y="3927"/>
                  <a:pt x="14236" y="3927"/>
                </a:cubicBezTo>
                <a:lnTo>
                  <a:pt x="491" y="3927"/>
                </a:lnTo>
                <a:cubicBezTo>
                  <a:pt x="220" y="3927"/>
                  <a:pt x="0" y="4147"/>
                  <a:pt x="0" y="4418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0"/>
                  <a:pt x="17673" y="21109"/>
                </a:cubicBezTo>
                <a:lnTo>
                  <a:pt x="17673" y="7364"/>
                </a:lnTo>
                <a:cubicBezTo>
                  <a:pt x="17673" y="7092"/>
                  <a:pt x="17453" y="6873"/>
                  <a:pt x="17182" y="68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26" name="Shape 2926"/>
          <p:cNvSpPr/>
          <p:nvPr/>
        </p:nvSpPr>
        <p:spPr>
          <a:xfrm>
            <a:off x="15623331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20383"/>
                </a:moveTo>
                <a:lnTo>
                  <a:pt x="11424" y="15709"/>
                </a:lnTo>
                <a:lnTo>
                  <a:pt x="13255" y="15709"/>
                </a:lnTo>
                <a:cubicBezTo>
                  <a:pt x="13525" y="15709"/>
                  <a:pt x="13745" y="15490"/>
                  <a:pt x="13745" y="15218"/>
                </a:cubicBezTo>
                <a:lnTo>
                  <a:pt x="13745" y="14727"/>
                </a:lnTo>
                <a:cubicBezTo>
                  <a:pt x="13635" y="12724"/>
                  <a:pt x="12844" y="5590"/>
                  <a:pt x="7448" y="1949"/>
                </a:cubicBezTo>
                <a:cubicBezTo>
                  <a:pt x="16407" y="4809"/>
                  <a:pt x="17536" y="12588"/>
                  <a:pt x="17673" y="14727"/>
                </a:cubicBezTo>
                <a:lnTo>
                  <a:pt x="17673" y="15218"/>
                </a:lnTo>
                <a:cubicBezTo>
                  <a:pt x="17673" y="15490"/>
                  <a:pt x="17893" y="15709"/>
                  <a:pt x="18164" y="15709"/>
                </a:cubicBezTo>
                <a:lnTo>
                  <a:pt x="19994" y="15709"/>
                </a:lnTo>
                <a:cubicBezTo>
                  <a:pt x="19994" y="15709"/>
                  <a:pt x="15709" y="20383"/>
                  <a:pt x="15709" y="20383"/>
                </a:cubicBezTo>
                <a:close/>
                <a:moveTo>
                  <a:pt x="21109" y="14727"/>
                </a:moveTo>
                <a:lnTo>
                  <a:pt x="18658" y="14727"/>
                </a:lnTo>
                <a:cubicBezTo>
                  <a:pt x="18450" y="12130"/>
                  <a:pt x="16610" y="0"/>
                  <a:pt x="491" y="0"/>
                </a:cubicBezTo>
                <a:cubicBezTo>
                  <a:pt x="219" y="0"/>
                  <a:pt x="0" y="220"/>
                  <a:pt x="0" y="491"/>
                </a:cubicBezTo>
                <a:cubicBezTo>
                  <a:pt x="0" y="762"/>
                  <a:pt x="219" y="982"/>
                  <a:pt x="491" y="982"/>
                </a:cubicBezTo>
                <a:cubicBezTo>
                  <a:pt x="5558" y="982"/>
                  <a:pt x="9160" y="3417"/>
                  <a:pt x="11196" y="8250"/>
                </a:cubicBezTo>
                <a:cubicBezTo>
                  <a:pt x="12394" y="11093"/>
                  <a:pt x="12657" y="13684"/>
                  <a:pt x="12715" y="14727"/>
                </a:cubicBezTo>
                <a:lnTo>
                  <a:pt x="10309" y="14727"/>
                </a:lnTo>
                <a:cubicBezTo>
                  <a:pt x="10038" y="14727"/>
                  <a:pt x="9818" y="14947"/>
                  <a:pt x="9818" y="15218"/>
                </a:cubicBezTo>
                <a:cubicBezTo>
                  <a:pt x="9818" y="15354"/>
                  <a:pt x="9873" y="15477"/>
                  <a:pt x="9962" y="15566"/>
                </a:cubicBezTo>
                <a:lnTo>
                  <a:pt x="15362" y="21456"/>
                </a:lnTo>
                <a:cubicBezTo>
                  <a:pt x="15450" y="21545"/>
                  <a:pt x="15574" y="21600"/>
                  <a:pt x="15709" y="21600"/>
                </a:cubicBezTo>
                <a:cubicBezTo>
                  <a:pt x="15845" y="21600"/>
                  <a:pt x="15967" y="21545"/>
                  <a:pt x="16056" y="21456"/>
                </a:cubicBezTo>
                <a:lnTo>
                  <a:pt x="21456" y="15566"/>
                </a:lnTo>
                <a:cubicBezTo>
                  <a:pt x="21545" y="15477"/>
                  <a:pt x="21600" y="15354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27" name="Shape 2927"/>
          <p:cNvSpPr/>
          <p:nvPr/>
        </p:nvSpPr>
        <p:spPr>
          <a:xfrm>
            <a:off x="16689853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5891"/>
                </a:moveTo>
                <a:cubicBezTo>
                  <a:pt x="17893" y="5891"/>
                  <a:pt x="17673" y="6111"/>
                  <a:pt x="17673" y="6382"/>
                </a:cubicBezTo>
                <a:lnTo>
                  <a:pt x="17673" y="6873"/>
                </a:lnTo>
                <a:cubicBezTo>
                  <a:pt x="17536" y="9012"/>
                  <a:pt x="16407" y="16791"/>
                  <a:pt x="7448" y="19651"/>
                </a:cubicBezTo>
                <a:cubicBezTo>
                  <a:pt x="12844" y="16010"/>
                  <a:pt x="13635" y="8876"/>
                  <a:pt x="13745" y="6873"/>
                </a:cubicBezTo>
                <a:lnTo>
                  <a:pt x="13745" y="6382"/>
                </a:lnTo>
                <a:cubicBezTo>
                  <a:pt x="13745" y="6111"/>
                  <a:pt x="13525" y="5891"/>
                  <a:pt x="13255" y="5891"/>
                </a:cubicBezTo>
                <a:lnTo>
                  <a:pt x="11424" y="5891"/>
                </a:lnTo>
                <a:lnTo>
                  <a:pt x="15709" y="1217"/>
                </a:lnTo>
                <a:lnTo>
                  <a:pt x="19994" y="5891"/>
                </a:lnTo>
                <a:cubicBezTo>
                  <a:pt x="19994" y="5891"/>
                  <a:pt x="18164" y="5891"/>
                  <a:pt x="18164" y="5891"/>
                </a:cubicBezTo>
                <a:close/>
                <a:moveTo>
                  <a:pt x="21456" y="6035"/>
                </a:moveTo>
                <a:lnTo>
                  <a:pt x="16056" y="144"/>
                </a:lnTo>
                <a:cubicBezTo>
                  <a:pt x="15967" y="55"/>
                  <a:pt x="15845" y="0"/>
                  <a:pt x="15709" y="0"/>
                </a:cubicBezTo>
                <a:cubicBezTo>
                  <a:pt x="15573" y="0"/>
                  <a:pt x="15450" y="55"/>
                  <a:pt x="15362" y="144"/>
                </a:cubicBezTo>
                <a:lnTo>
                  <a:pt x="9962" y="6035"/>
                </a:lnTo>
                <a:cubicBezTo>
                  <a:pt x="9873" y="6124"/>
                  <a:pt x="9818" y="6247"/>
                  <a:pt x="9818" y="6382"/>
                </a:cubicBezTo>
                <a:cubicBezTo>
                  <a:pt x="9818" y="6653"/>
                  <a:pt x="10038" y="6873"/>
                  <a:pt x="10309" y="6873"/>
                </a:cubicBezTo>
                <a:lnTo>
                  <a:pt x="12715" y="6873"/>
                </a:lnTo>
                <a:cubicBezTo>
                  <a:pt x="12657" y="7916"/>
                  <a:pt x="12394" y="10507"/>
                  <a:pt x="11196" y="13351"/>
                </a:cubicBezTo>
                <a:cubicBezTo>
                  <a:pt x="9160" y="18184"/>
                  <a:pt x="5558" y="20618"/>
                  <a:pt x="491" y="20618"/>
                </a:cubicBezTo>
                <a:cubicBezTo>
                  <a:pt x="219" y="20618"/>
                  <a:pt x="0" y="20838"/>
                  <a:pt x="0" y="21109"/>
                </a:cubicBezTo>
                <a:cubicBezTo>
                  <a:pt x="0" y="21380"/>
                  <a:pt x="219" y="21600"/>
                  <a:pt x="491" y="21600"/>
                </a:cubicBezTo>
                <a:cubicBezTo>
                  <a:pt x="16610" y="21600"/>
                  <a:pt x="18450" y="9470"/>
                  <a:pt x="18658" y="6873"/>
                </a:cubicBezTo>
                <a:lnTo>
                  <a:pt x="21109" y="6873"/>
                </a:lnTo>
                <a:cubicBezTo>
                  <a:pt x="21380" y="6873"/>
                  <a:pt x="21600" y="6653"/>
                  <a:pt x="21600" y="6382"/>
                </a:cubicBezTo>
                <a:cubicBezTo>
                  <a:pt x="21600" y="6247"/>
                  <a:pt x="21545" y="6124"/>
                  <a:pt x="21456" y="603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28" name="Shape 2928"/>
          <p:cNvSpPr/>
          <p:nvPr/>
        </p:nvSpPr>
        <p:spPr>
          <a:xfrm>
            <a:off x="17756375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873" y="7855"/>
                </a:moveTo>
                <a:lnTo>
                  <a:pt x="6382" y="7855"/>
                </a:lnTo>
                <a:cubicBezTo>
                  <a:pt x="6110" y="7855"/>
                  <a:pt x="5891" y="8075"/>
                  <a:pt x="5891" y="8345"/>
                </a:cubicBezTo>
                <a:lnTo>
                  <a:pt x="5891" y="10176"/>
                </a:lnTo>
                <a:lnTo>
                  <a:pt x="1216" y="5891"/>
                </a:lnTo>
                <a:lnTo>
                  <a:pt x="5891" y="1606"/>
                </a:lnTo>
                <a:lnTo>
                  <a:pt x="5891" y="3436"/>
                </a:lnTo>
                <a:cubicBezTo>
                  <a:pt x="5891" y="3708"/>
                  <a:pt x="6110" y="3927"/>
                  <a:pt x="6382" y="3927"/>
                </a:cubicBezTo>
                <a:lnTo>
                  <a:pt x="6873" y="3927"/>
                </a:lnTo>
                <a:cubicBezTo>
                  <a:pt x="9012" y="4064"/>
                  <a:pt x="16791" y="5193"/>
                  <a:pt x="19651" y="14152"/>
                </a:cubicBezTo>
                <a:cubicBezTo>
                  <a:pt x="16010" y="8756"/>
                  <a:pt x="8876" y="7965"/>
                  <a:pt x="6873" y="7855"/>
                </a:cubicBezTo>
                <a:moveTo>
                  <a:pt x="6873" y="2942"/>
                </a:moveTo>
                <a:lnTo>
                  <a:pt x="6873" y="491"/>
                </a:lnTo>
                <a:cubicBezTo>
                  <a:pt x="6873" y="220"/>
                  <a:pt x="6653" y="0"/>
                  <a:pt x="6382" y="0"/>
                </a:cubicBezTo>
                <a:cubicBezTo>
                  <a:pt x="6246" y="0"/>
                  <a:pt x="6123" y="55"/>
                  <a:pt x="6035" y="144"/>
                </a:cubicBezTo>
                <a:lnTo>
                  <a:pt x="144" y="5544"/>
                </a:lnTo>
                <a:cubicBezTo>
                  <a:pt x="55" y="5633"/>
                  <a:pt x="0" y="5756"/>
                  <a:pt x="0" y="5891"/>
                </a:cubicBezTo>
                <a:cubicBezTo>
                  <a:pt x="0" y="6027"/>
                  <a:pt x="55" y="6150"/>
                  <a:pt x="144" y="6238"/>
                </a:cubicBezTo>
                <a:lnTo>
                  <a:pt x="6035" y="11638"/>
                </a:lnTo>
                <a:cubicBezTo>
                  <a:pt x="6123" y="11727"/>
                  <a:pt x="6246" y="11782"/>
                  <a:pt x="6382" y="11782"/>
                </a:cubicBezTo>
                <a:cubicBezTo>
                  <a:pt x="6653" y="11782"/>
                  <a:pt x="6873" y="11562"/>
                  <a:pt x="6873" y="11291"/>
                </a:cubicBezTo>
                <a:lnTo>
                  <a:pt x="6873" y="8884"/>
                </a:lnTo>
                <a:cubicBezTo>
                  <a:pt x="7916" y="8943"/>
                  <a:pt x="10507" y="9206"/>
                  <a:pt x="13350" y="10404"/>
                </a:cubicBezTo>
                <a:cubicBezTo>
                  <a:pt x="18183" y="12440"/>
                  <a:pt x="20618" y="16042"/>
                  <a:pt x="20618" y="21109"/>
                </a:cubicBezTo>
                <a:cubicBezTo>
                  <a:pt x="20618" y="21380"/>
                  <a:pt x="20838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4990"/>
                  <a:pt x="9470" y="3150"/>
                  <a:pt x="6873" y="294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29" name="Shape 2929"/>
          <p:cNvSpPr/>
          <p:nvPr/>
        </p:nvSpPr>
        <p:spPr>
          <a:xfrm>
            <a:off x="18822898" y="3932724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176"/>
                </a:moveTo>
                <a:lnTo>
                  <a:pt x="15709" y="8345"/>
                </a:lnTo>
                <a:cubicBezTo>
                  <a:pt x="15709" y="8075"/>
                  <a:pt x="15490" y="7855"/>
                  <a:pt x="15218" y="7855"/>
                </a:cubicBezTo>
                <a:lnTo>
                  <a:pt x="14727" y="7855"/>
                </a:lnTo>
                <a:cubicBezTo>
                  <a:pt x="12724" y="7965"/>
                  <a:pt x="5590" y="8756"/>
                  <a:pt x="1949" y="14152"/>
                </a:cubicBezTo>
                <a:cubicBezTo>
                  <a:pt x="4809" y="5193"/>
                  <a:pt x="12588" y="4064"/>
                  <a:pt x="14727" y="3927"/>
                </a:cubicBezTo>
                <a:lnTo>
                  <a:pt x="15218" y="3927"/>
                </a:lnTo>
                <a:cubicBezTo>
                  <a:pt x="15490" y="3927"/>
                  <a:pt x="15709" y="3708"/>
                  <a:pt x="15709" y="3436"/>
                </a:cubicBezTo>
                <a:lnTo>
                  <a:pt x="15709" y="1606"/>
                </a:lnTo>
                <a:lnTo>
                  <a:pt x="20383" y="5891"/>
                </a:lnTo>
                <a:cubicBezTo>
                  <a:pt x="20383" y="5891"/>
                  <a:pt x="15709" y="10176"/>
                  <a:pt x="15709" y="10176"/>
                </a:cubicBezTo>
                <a:close/>
                <a:moveTo>
                  <a:pt x="21456" y="5544"/>
                </a:moveTo>
                <a:lnTo>
                  <a:pt x="15565" y="144"/>
                </a:lnTo>
                <a:cubicBezTo>
                  <a:pt x="15477" y="55"/>
                  <a:pt x="15354" y="0"/>
                  <a:pt x="15218" y="0"/>
                </a:cubicBezTo>
                <a:cubicBezTo>
                  <a:pt x="14947" y="0"/>
                  <a:pt x="14727" y="220"/>
                  <a:pt x="14727" y="491"/>
                </a:cubicBezTo>
                <a:lnTo>
                  <a:pt x="14727" y="2942"/>
                </a:lnTo>
                <a:cubicBezTo>
                  <a:pt x="12130" y="3150"/>
                  <a:pt x="0" y="4991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cubicBezTo>
                  <a:pt x="762" y="21600"/>
                  <a:pt x="982" y="21380"/>
                  <a:pt x="982" y="21109"/>
                </a:cubicBezTo>
                <a:cubicBezTo>
                  <a:pt x="982" y="16042"/>
                  <a:pt x="3417" y="12440"/>
                  <a:pt x="8250" y="10404"/>
                </a:cubicBezTo>
                <a:cubicBezTo>
                  <a:pt x="11093" y="9206"/>
                  <a:pt x="13684" y="8943"/>
                  <a:pt x="14727" y="8884"/>
                </a:cubicBezTo>
                <a:lnTo>
                  <a:pt x="14727" y="11291"/>
                </a:lnTo>
                <a:cubicBezTo>
                  <a:pt x="14727" y="11562"/>
                  <a:pt x="14947" y="11782"/>
                  <a:pt x="15218" y="11782"/>
                </a:cubicBezTo>
                <a:cubicBezTo>
                  <a:pt x="15354" y="11782"/>
                  <a:pt x="15477" y="11727"/>
                  <a:pt x="15565" y="11638"/>
                </a:cubicBezTo>
                <a:lnTo>
                  <a:pt x="21456" y="6238"/>
                </a:lnTo>
                <a:cubicBezTo>
                  <a:pt x="21545" y="6150"/>
                  <a:pt x="21600" y="6027"/>
                  <a:pt x="21600" y="5891"/>
                </a:cubicBezTo>
                <a:cubicBezTo>
                  <a:pt x="21600" y="5756"/>
                  <a:pt x="21545" y="5633"/>
                  <a:pt x="21456" y="554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30" name="Shape 2930"/>
          <p:cNvSpPr/>
          <p:nvPr/>
        </p:nvSpPr>
        <p:spPr>
          <a:xfrm>
            <a:off x="19889419" y="4034297"/>
            <a:ext cx="558654" cy="3555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955" y="1543"/>
                </a:moveTo>
                <a:cubicBezTo>
                  <a:pt x="12837" y="1543"/>
                  <a:pt x="10309" y="5515"/>
                  <a:pt x="10309" y="10414"/>
                </a:cubicBezTo>
                <a:lnTo>
                  <a:pt x="10309" y="11186"/>
                </a:lnTo>
                <a:cubicBezTo>
                  <a:pt x="10309" y="15233"/>
                  <a:pt x="8221" y="18514"/>
                  <a:pt x="5645" y="18514"/>
                </a:cubicBezTo>
                <a:cubicBezTo>
                  <a:pt x="3070" y="18514"/>
                  <a:pt x="982" y="15233"/>
                  <a:pt x="982" y="11186"/>
                </a:cubicBezTo>
                <a:lnTo>
                  <a:pt x="982" y="10414"/>
                </a:lnTo>
                <a:cubicBezTo>
                  <a:pt x="982" y="6367"/>
                  <a:pt x="3070" y="3086"/>
                  <a:pt x="5645" y="3086"/>
                </a:cubicBezTo>
                <a:cubicBezTo>
                  <a:pt x="6670" y="3086"/>
                  <a:pt x="7575" y="3630"/>
                  <a:pt x="8321" y="4629"/>
                </a:cubicBezTo>
                <a:lnTo>
                  <a:pt x="6382" y="4629"/>
                </a:lnTo>
                <a:cubicBezTo>
                  <a:pt x="6110" y="4629"/>
                  <a:pt x="5891" y="4974"/>
                  <a:pt x="5891" y="5400"/>
                </a:cubicBezTo>
                <a:cubicBezTo>
                  <a:pt x="5891" y="5826"/>
                  <a:pt x="6110" y="6171"/>
                  <a:pt x="6382" y="6171"/>
                </a:cubicBezTo>
                <a:lnTo>
                  <a:pt x="9327" y="6171"/>
                </a:lnTo>
                <a:cubicBezTo>
                  <a:pt x="9599" y="6171"/>
                  <a:pt x="9818" y="5826"/>
                  <a:pt x="9818" y="5400"/>
                </a:cubicBezTo>
                <a:lnTo>
                  <a:pt x="9818" y="771"/>
                </a:lnTo>
                <a:cubicBezTo>
                  <a:pt x="9818" y="346"/>
                  <a:pt x="9599" y="0"/>
                  <a:pt x="9327" y="0"/>
                </a:cubicBezTo>
                <a:cubicBezTo>
                  <a:pt x="9056" y="0"/>
                  <a:pt x="8836" y="346"/>
                  <a:pt x="8836" y="771"/>
                </a:cubicBezTo>
                <a:lnTo>
                  <a:pt x="8836" y="3321"/>
                </a:lnTo>
                <a:cubicBezTo>
                  <a:pt x="7879" y="2160"/>
                  <a:pt x="6706" y="1543"/>
                  <a:pt x="5645" y="1543"/>
                </a:cubicBezTo>
                <a:cubicBezTo>
                  <a:pt x="2527" y="1543"/>
                  <a:pt x="0" y="5515"/>
                  <a:pt x="0" y="10414"/>
                </a:cubicBezTo>
                <a:lnTo>
                  <a:pt x="0" y="11186"/>
                </a:lnTo>
                <a:cubicBezTo>
                  <a:pt x="0" y="16085"/>
                  <a:pt x="2527" y="20057"/>
                  <a:pt x="5645" y="20057"/>
                </a:cubicBezTo>
                <a:cubicBezTo>
                  <a:pt x="8763" y="20057"/>
                  <a:pt x="11291" y="16085"/>
                  <a:pt x="11291" y="11186"/>
                </a:cubicBezTo>
                <a:lnTo>
                  <a:pt x="11291" y="10414"/>
                </a:lnTo>
                <a:cubicBezTo>
                  <a:pt x="11291" y="6367"/>
                  <a:pt x="13379" y="3086"/>
                  <a:pt x="15955" y="3086"/>
                </a:cubicBezTo>
                <a:cubicBezTo>
                  <a:pt x="18530" y="3086"/>
                  <a:pt x="20618" y="6367"/>
                  <a:pt x="20618" y="10414"/>
                </a:cubicBezTo>
                <a:lnTo>
                  <a:pt x="20618" y="11186"/>
                </a:lnTo>
                <a:cubicBezTo>
                  <a:pt x="20618" y="15233"/>
                  <a:pt x="18530" y="18514"/>
                  <a:pt x="15955" y="18514"/>
                </a:cubicBezTo>
                <a:cubicBezTo>
                  <a:pt x="14930" y="18514"/>
                  <a:pt x="14025" y="17970"/>
                  <a:pt x="13279" y="16971"/>
                </a:cubicBezTo>
                <a:lnTo>
                  <a:pt x="15218" y="16971"/>
                </a:lnTo>
                <a:cubicBezTo>
                  <a:pt x="15490" y="16971"/>
                  <a:pt x="15709" y="16626"/>
                  <a:pt x="15709" y="16200"/>
                </a:cubicBezTo>
                <a:cubicBezTo>
                  <a:pt x="15709" y="15774"/>
                  <a:pt x="15490" y="15429"/>
                  <a:pt x="15218" y="15429"/>
                </a:cubicBezTo>
                <a:lnTo>
                  <a:pt x="12273" y="15429"/>
                </a:lnTo>
                <a:cubicBezTo>
                  <a:pt x="12001" y="15429"/>
                  <a:pt x="11782" y="15774"/>
                  <a:pt x="11782" y="16200"/>
                </a:cubicBezTo>
                <a:lnTo>
                  <a:pt x="11782" y="20829"/>
                </a:lnTo>
                <a:cubicBezTo>
                  <a:pt x="11782" y="21255"/>
                  <a:pt x="12001" y="21600"/>
                  <a:pt x="12273" y="21600"/>
                </a:cubicBezTo>
                <a:cubicBezTo>
                  <a:pt x="12544" y="21600"/>
                  <a:pt x="12764" y="21255"/>
                  <a:pt x="12764" y="20829"/>
                </a:cubicBezTo>
                <a:lnTo>
                  <a:pt x="12764" y="18279"/>
                </a:lnTo>
                <a:cubicBezTo>
                  <a:pt x="13721" y="19441"/>
                  <a:pt x="14894" y="20057"/>
                  <a:pt x="15955" y="20057"/>
                </a:cubicBezTo>
                <a:cubicBezTo>
                  <a:pt x="19073" y="20057"/>
                  <a:pt x="21600" y="16085"/>
                  <a:pt x="21600" y="11186"/>
                </a:cubicBezTo>
                <a:lnTo>
                  <a:pt x="21600" y="10414"/>
                </a:lnTo>
                <a:cubicBezTo>
                  <a:pt x="21600" y="5515"/>
                  <a:pt x="19073" y="1543"/>
                  <a:pt x="15955" y="154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31" name="Shape 2931"/>
          <p:cNvSpPr/>
          <p:nvPr/>
        </p:nvSpPr>
        <p:spPr>
          <a:xfrm>
            <a:off x="20955942" y="4008904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924" y="4050"/>
                </a:moveTo>
                <a:lnTo>
                  <a:pt x="18798" y="5598"/>
                </a:lnTo>
                <a:cubicBezTo>
                  <a:pt x="18709" y="5720"/>
                  <a:pt x="18655" y="5889"/>
                  <a:pt x="18655" y="6075"/>
                </a:cubicBezTo>
                <a:cubicBezTo>
                  <a:pt x="18655" y="6448"/>
                  <a:pt x="18874" y="6750"/>
                  <a:pt x="19145" y="6750"/>
                </a:cubicBezTo>
                <a:cubicBezTo>
                  <a:pt x="19281" y="6750"/>
                  <a:pt x="19404" y="6674"/>
                  <a:pt x="19493" y="6552"/>
                </a:cubicBezTo>
                <a:lnTo>
                  <a:pt x="21456" y="3853"/>
                </a:lnTo>
                <a:cubicBezTo>
                  <a:pt x="21545" y="3731"/>
                  <a:pt x="21600" y="3562"/>
                  <a:pt x="21600" y="3375"/>
                </a:cubicBezTo>
                <a:cubicBezTo>
                  <a:pt x="21600" y="3189"/>
                  <a:pt x="21545" y="3020"/>
                  <a:pt x="21456" y="2898"/>
                </a:cubicBezTo>
                <a:lnTo>
                  <a:pt x="19493" y="198"/>
                </a:lnTo>
                <a:cubicBezTo>
                  <a:pt x="19403" y="76"/>
                  <a:pt x="19281" y="0"/>
                  <a:pt x="19145" y="0"/>
                </a:cubicBezTo>
                <a:cubicBezTo>
                  <a:pt x="18874" y="0"/>
                  <a:pt x="18655" y="303"/>
                  <a:pt x="18655" y="675"/>
                </a:cubicBezTo>
                <a:cubicBezTo>
                  <a:pt x="18655" y="862"/>
                  <a:pt x="18709" y="1031"/>
                  <a:pt x="18799" y="1153"/>
                </a:cubicBezTo>
                <a:lnTo>
                  <a:pt x="19924" y="2700"/>
                </a:lnTo>
                <a:lnTo>
                  <a:pt x="15218" y="2700"/>
                </a:lnTo>
                <a:cubicBezTo>
                  <a:pt x="15065" y="2700"/>
                  <a:pt x="14933" y="2803"/>
                  <a:pt x="14843" y="2954"/>
                </a:cubicBezTo>
                <a:lnTo>
                  <a:pt x="14838" y="2948"/>
                </a:lnTo>
                <a:lnTo>
                  <a:pt x="6149" y="17550"/>
                </a:lnTo>
                <a:lnTo>
                  <a:pt x="491" y="17550"/>
                </a:lnTo>
                <a:cubicBezTo>
                  <a:pt x="220" y="17550"/>
                  <a:pt x="0" y="17853"/>
                  <a:pt x="0" y="18225"/>
                </a:cubicBezTo>
                <a:cubicBezTo>
                  <a:pt x="0" y="18598"/>
                  <a:pt x="220" y="18900"/>
                  <a:pt x="491" y="18900"/>
                </a:cubicBezTo>
                <a:lnTo>
                  <a:pt x="6382" y="18900"/>
                </a:lnTo>
                <a:cubicBezTo>
                  <a:pt x="6535" y="18900"/>
                  <a:pt x="6667" y="18798"/>
                  <a:pt x="6757" y="18647"/>
                </a:cubicBezTo>
                <a:lnTo>
                  <a:pt x="6762" y="18652"/>
                </a:lnTo>
                <a:lnTo>
                  <a:pt x="15451" y="4050"/>
                </a:lnTo>
                <a:cubicBezTo>
                  <a:pt x="15451" y="4050"/>
                  <a:pt x="19924" y="4050"/>
                  <a:pt x="19924" y="4050"/>
                </a:cubicBezTo>
                <a:close/>
                <a:moveTo>
                  <a:pt x="19493" y="15048"/>
                </a:moveTo>
                <a:cubicBezTo>
                  <a:pt x="19403" y="14926"/>
                  <a:pt x="19281" y="14850"/>
                  <a:pt x="19145" y="14850"/>
                </a:cubicBezTo>
                <a:cubicBezTo>
                  <a:pt x="18874" y="14850"/>
                  <a:pt x="18655" y="15153"/>
                  <a:pt x="18655" y="15525"/>
                </a:cubicBezTo>
                <a:cubicBezTo>
                  <a:pt x="18655" y="15712"/>
                  <a:pt x="18709" y="15880"/>
                  <a:pt x="18798" y="16002"/>
                </a:cubicBezTo>
                <a:lnTo>
                  <a:pt x="19924" y="17550"/>
                </a:lnTo>
                <a:lnTo>
                  <a:pt x="15451" y="17550"/>
                </a:lnTo>
                <a:lnTo>
                  <a:pt x="12386" y="12399"/>
                </a:lnTo>
                <a:lnTo>
                  <a:pt x="11751" y="13465"/>
                </a:lnTo>
                <a:lnTo>
                  <a:pt x="14838" y="18652"/>
                </a:lnTo>
                <a:lnTo>
                  <a:pt x="14843" y="18647"/>
                </a:lnTo>
                <a:cubicBezTo>
                  <a:pt x="14933" y="18798"/>
                  <a:pt x="15065" y="18900"/>
                  <a:pt x="15218" y="18900"/>
                </a:cubicBezTo>
                <a:lnTo>
                  <a:pt x="19924" y="18900"/>
                </a:lnTo>
                <a:lnTo>
                  <a:pt x="18798" y="20448"/>
                </a:lnTo>
                <a:cubicBezTo>
                  <a:pt x="18709" y="20570"/>
                  <a:pt x="18655" y="20739"/>
                  <a:pt x="18655" y="20925"/>
                </a:cubicBezTo>
                <a:cubicBezTo>
                  <a:pt x="18655" y="21298"/>
                  <a:pt x="18874" y="21600"/>
                  <a:pt x="19145" y="21600"/>
                </a:cubicBezTo>
                <a:cubicBezTo>
                  <a:pt x="19281" y="21600"/>
                  <a:pt x="19403" y="21525"/>
                  <a:pt x="19493" y="21402"/>
                </a:cubicBezTo>
                <a:lnTo>
                  <a:pt x="21456" y="18702"/>
                </a:lnTo>
                <a:cubicBezTo>
                  <a:pt x="21545" y="18580"/>
                  <a:pt x="21600" y="18412"/>
                  <a:pt x="21600" y="18225"/>
                </a:cubicBezTo>
                <a:cubicBezTo>
                  <a:pt x="21600" y="18039"/>
                  <a:pt x="21545" y="17870"/>
                  <a:pt x="21456" y="17748"/>
                </a:cubicBezTo>
                <a:cubicBezTo>
                  <a:pt x="21456" y="17748"/>
                  <a:pt x="19493" y="15048"/>
                  <a:pt x="19493" y="15048"/>
                </a:cubicBezTo>
                <a:close/>
                <a:moveTo>
                  <a:pt x="491" y="4050"/>
                </a:moveTo>
                <a:lnTo>
                  <a:pt x="6148" y="4050"/>
                </a:lnTo>
                <a:lnTo>
                  <a:pt x="9214" y="9201"/>
                </a:lnTo>
                <a:lnTo>
                  <a:pt x="9849" y="8136"/>
                </a:lnTo>
                <a:lnTo>
                  <a:pt x="6762" y="2948"/>
                </a:lnTo>
                <a:lnTo>
                  <a:pt x="6756" y="2954"/>
                </a:lnTo>
                <a:cubicBezTo>
                  <a:pt x="6667" y="2803"/>
                  <a:pt x="6535" y="2700"/>
                  <a:pt x="6382" y="2700"/>
                </a:cubicBezTo>
                <a:lnTo>
                  <a:pt x="491" y="2700"/>
                </a:lnTo>
                <a:cubicBezTo>
                  <a:pt x="220" y="2700"/>
                  <a:pt x="0" y="3003"/>
                  <a:pt x="0" y="3375"/>
                </a:cubicBezTo>
                <a:cubicBezTo>
                  <a:pt x="0" y="3748"/>
                  <a:pt x="220" y="4050"/>
                  <a:pt x="491" y="405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32" name="Shape 2932"/>
          <p:cNvSpPr/>
          <p:nvPr/>
        </p:nvSpPr>
        <p:spPr>
          <a:xfrm>
            <a:off x="22022464" y="3983508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12000"/>
                </a:moveTo>
                <a:cubicBezTo>
                  <a:pt x="1421" y="12000"/>
                  <a:pt x="982" y="11462"/>
                  <a:pt x="982" y="10800"/>
                </a:cubicBezTo>
                <a:cubicBezTo>
                  <a:pt x="982" y="10138"/>
                  <a:pt x="1421" y="9600"/>
                  <a:pt x="1964" y="9600"/>
                </a:cubicBezTo>
                <a:cubicBezTo>
                  <a:pt x="2505" y="9600"/>
                  <a:pt x="2945" y="10138"/>
                  <a:pt x="2945" y="10800"/>
                </a:cubicBezTo>
                <a:cubicBezTo>
                  <a:pt x="2945" y="11462"/>
                  <a:pt x="2505" y="12000"/>
                  <a:pt x="1964" y="12000"/>
                </a:cubicBezTo>
                <a:moveTo>
                  <a:pt x="21456" y="10376"/>
                </a:moveTo>
                <a:lnTo>
                  <a:pt x="18511" y="6776"/>
                </a:lnTo>
                <a:cubicBezTo>
                  <a:pt x="18422" y="6667"/>
                  <a:pt x="18299" y="6600"/>
                  <a:pt x="18164" y="6600"/>
                </a:cubicBezTo>
                <a:cubicBezTo>
                  <a:pt x="17892" y="6600"/>
                  <a:pt x="17673" y="6869"/>
                  <a:pt x="17673" y="7200"/>
                </a:cubicBezTo>
                <a:cubicBezTo>
                  <a:pt x="17673" y="7366"/>
                  <a:pt x="17728" y="7516"/>
                  <a:pt x="17817" y="7624"/>
                </a:cubicBezTo>
                <a:lnTo>
                  <a:pt x="19924" y="10200"/>
                </a:lnTo>
                <a:lnTo>
                  <a:pt x="8058" y="10200"/>
                </a:lnTo>
                <a:lnTo>
                  <a:pt x="14727" y="2048"/>
                </a:lnTo>
                <a:lnTo>
                  <a:pt x="14727" y="5400"/>
                </a:lnTo>
                <a:cubicBezTo>
                  <a:pt x="14727" y="5732"/>
                  <a:pt x="14947" y="6000"/>
                  <a:pt x="15218" y="6000"/>
                </a:cubicBezTo>
                <a:cubicBezTo>
                  <a:pt x="15489" y="6000"/>
                  <a:pt x="15709" y="5732"/>
                  <a:pt x="15709" y="5400"/>
                </a:cubicBezTo>
                <a:lnTo>
                  <a:pt x="15709" y="600"/>
                </a:lnTo>
                <a:cubicBezTo>
                  <a:pt x="15709" y="269"/>
                  <a:pt x="15489" y="0"/>
                  <a:pt x="15218" y="0"/>
                </a:cubicBezTo>
                <a:lnTo>
                  <a:pt x="11291" y="0"/>
                </a:lnTo>
                <a:cubicBezTo>
                  <a:pt x="11020" y="0"/>
                  <a:pt x="10800" y="269"/>
                  <a:pt x="10800" y="600"/>
                </a:cubicBezTo>
                <a:cubicBezTo>
                  <a:pt x="10800" y="932"/>
                  <a:pt x="11020" y="1200"/>
                  <a:pt x="11291" y="1200"/>
                </a:cubicBezTo>
                <a:lnTo>
                  <a:pt x="14033" y="1200"/>
                </a:lnTo>
                <a:lnTo>
                  <a:pt x="6669" y="10200"/>
                </a:lnTo>
                <a:lnTo>
                  <a:pt x="3858" y="10200"/>
                </a:lnTo>
                <a:cubicBezTo>
                  <a:pt x="3639" y="9167"/>
                  <a:pt x="2877" y="8400"/>
                  <a:pt x="1964" y="8400"/>
                </a:cubicBezTo>
                <a:cubicBezTo>
                  <a:pt x="879" y="8400"/>
                  <a:pt x="0" y="9475"/>
                  <a:pt x="0" y="10800"/>
                </a:cubicBezTo>
                <a:cubicBezTo>
                  <a:pt x="0" y="12125"/>
                  <a:pt x="879" y="13200"/>
                  <a:pt x="1964" y="13200"/>
                </a:cubicBezTo>
                <a:cubicBezTo>
                  <a:pt x="2877" y="13200"/>
                  <a:pt x="3639" y="12434"/>
                  <a:pt x="3858" y="11400"/>
                </a:cubicBezTo>
                <a:lnTo>
                  <a:pt x="6669" y="11400"/>
                </a:lnTo>
                <a:lnTo>
                  <a:pt x="14033" y="20400"/>
                </a:lnTo>
                <a:lnTo>
                  <a:pt x="11291" y="20400"/>
                </a:lnTo>
                <a:cubicBezTo>
                  <a:pt x="11020" y="20400"/>
                  <a:pt x="10800" y="20669"/>
                  <a:pt x="10800" y="21000"/>
                </a:cubicBezTo>
                <a:cubicBezTo>
                  <a:pt x="10800" y="21332"/>
                  <a:pt x="11020" y="21600"/>
                  <a:pt x="11291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6200"/>
                </a:lnTo>
                <a:cubicBezTo>
                  <a:pt x="15709" y="15869"/>
                  <a:pt x="15489" y="15600"/>
                  <a:pt x="15218" y="15600"/>
                </a:cubicBezTo>
                <a:cubicBezTo>
                  <a:pt x="14947" y="15600"/>
                  <a:pt x="14727" y="15869"/>
                  <a:pt x="14727" y="16200"/>
                </a:cubicBezTo>
                <a:lnTo>
                  <a:pt x="14727" y="19552"/>
                </a:lnTo>
                <a:lnTo>
                  <a:pt x="8058" y="11400"/>
                </a:lnTo>
                <a:lnTo>
                  <a:pt x="19924" y="11400"/>
                </a:lnTo>
                <a:lnTo>
                  <a:pt x="17817" y="13976"/>
                </a:lnTo>
                <a:cubicBezTo>
                  <a:pt x="17728" y="14085"/>
                  <a:pt x="17673" y="14235"/>
                  <a:pt x="17673" y="14400"/>
                </a:cubicBezTo>
                <a:cubicBezTo>
                  <a:pt x="17673" y="14732"/>
                  <a:pt x="17892" y="15000"/>
                  <a:pt x="18164" y="15000"/>
                </a:cubicBezTo>
                <a:cubicBezTo>
                  <a:pt x="18299" y="15000"/>
                  <a:pt x="18422" y="14933"/>
                  <a:pt x="18511" y="14824"/>
                </a:cubicBezTo>
                <a:lnTo>
                  <a:pt x="21456" y="11224"/>
                </a:lnTo>
                <a:cubicBezTo>
                  <a:pt x="21545" y="11116"/>
                  <a:pt x="21600" y="10966"/>
                  <a:pt x="21600" y="10800"/>
                </a:cubicBezTo>
                <a:cubicBezTo>
                  <a:pt x="21600" y="10635"/>
                  <a:pt x="21545" y="10485"/>
                  <a:pt x="21456" y="1037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34" name="Shape 2934"/>
          <p:cNvSpPr/>
          <p:nvPr/>
        </p:nvSpPr>
        <p:spPr>
          <a:xfrm>
            <a:off x="1834724" y="6591790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800"/>
                </a:moveTo>
                <a:cubicBezTo>
                  <a:pt x="8563" y="10800"/>
                  <a:pt x="6750" y="9481"/>
                  <a:pt x="6750" y="7855"/>
                </a:cubicBezTo>
                <a:cubicBezTo>
                  <a:pt x="6750" y="6228"/>
                  <a:pt x="8563" y="4909"/>
                  <a:pt x="10800" y="4909"/>
                </a:cubicBezTo>
                <a:cubicBezTo>
                  <a:pt x="13037" y="4909"/>
                  <a:pt x="14850" y="6228"/>
                  <a:pt x="14850" y="7855"/>
                </a:cubicBezTo>
                <a:cubicBezTo>
                  <a:pt x="14850" y="9481"/>
                  <a:pt x="13037" y="10800"/>
                  <a:pt x="10800" y="10800"/>
                </a:cubicBezTo>
                <a:moveTo>
                  <a:pt x="10800" y="3927"/>
                </a:moveTo>
                <a:cubicBezTo>
                  <a:pt x="7817" y="3927"/>
                  <a:pt x="5400" y="5686"/>
                  <a:pt x="5400" y="7855"/>
                </a:cubicBezTo>
                <a:cubicBezTo>
                  <a:pt x="5400" y="10023"/>
                  <a:pt x="7817" y="11782"/>
                  <a:pt x="10800" y="11782"/>
                </a:cubicBezTo>
                <a:cubicBezTo>
                  <a:pt x="13783" y="11782"/>
                  <a:pt x="16200" y="10023"/>
                  <a:pt x="16200" y="7855"/>
                </a:cubicBezTo>
                <a:cubicBezTo>
                  <a:pt x="16200" y="5686"/>
                  <a:pt x="13783" y="3927"/>
                  <a:pt x="10800" y="3927"/>
                </a:cubicBezTo>
                <a:moveTo>
                  <a:pt x="10800" y="20127"/>
                </a:moveTo>
                <a:cubicBezTo>
                  <a:pt x="10800" y="20127"/>
                  <a:pt x="1350" y="13745"/>
                  <a:pt x="1350" y="7855"/>
                </a:cubicBezTo>
                <a:cubicBezTo>
                  <a:pt x="1350" y="4059"/>
                  <a:pt x="5581" y="982"/>
                  <a:pt x="10800" y="982"/>
                </a:cubicBezTo>
                <a:cubicBezTo>
                  <a:pt x="16019" y="982"/>
                  <a:pt x="20250" y="4059"/>
                  <a:pt x="20250" y="7855"/>
                </a:cubicBezTo>
                <a:cubicBezTo>
                  <a:pt x="20250" y="13745"/>
                  <a:pt x="10800" y="20127"/>
                  <a:pt x="10800" y="20127"/>
                </a:cubicBezTo>
                <a:moveTo>
                  <a:pt x="10800" y="0"/>
                </a:moveTo>
                <a:cubicBezTo>
                  <a:pt x="4836" y="0"/>
                  <a:pt x="0" y="3517"/>
                  <a:pt x="0" y="7855"/>
                </a:cubicBezTo>
                <a:cubicBezTo>
                  <a:pt x="0" y="14236"/>
                  <a:pt x="10800" y="21600"/>
                  <a:pt x="10800" y="21600"/>
                </a:cubicBezTo>
                <a:cubicBezTo>
                  <a:pt x="10800" y="21600"/>
                  <a:pt x="21600" y="14236"/>
                  <a:pt x="21600" y="7855"/>
                </a:cubicBezTo>
                <a:cubicBezTo>
                  <a:pt x="21600" y="3517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35" name="Shape 2935"/>
          <p:cNvSpPr/>
          <p:nvPr/>
        </p:nvSpPr>
        <p:spPr>
          <a:xfrm>
            <a:off x="2825063" y="6591790"/>
            <a:ext cx="558252" cy="5583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600" extrusionOk="0">
                <a:moveTo>
                  <a:pt x="6365" y="15409"/>
                </a:moveTo>
                <a:cubicBezTo>
                  <a:pt x="5782" y="14888"/>
                  <a:pt x="4858" y="14006"/>
                  <a:pt x="3935" y="12895"/>
                </a:cubicBezTo>
                <a:cubicBezTo>
                  <a:pt x="2587" y="11273"/>
                  <a:pt x="979" y="8835"/>
                  <a:pt x="979" y="6430"/>
                </a:cubicBezTo>
                <a:cubicBezTo>
                  <a:pt x="979" y="3427"/>
                  <a:pt x="3396" y="982"/>
                  <a:pt x="6366" y="982"/>
                </a:cubicBezTo>
                <a:cubicBezTo>
                  <a:pt x="9336" y="982"/>
                  <a:pt x="11752" y="3427"/>
                  <a:pt x="11752" y="6430"/>
                </a:cubicBezTo>
                <a:cubicBezTo>
                  <a:pt x="11752" y="10208"/>
                  <a:pt x="7888" y="14044"/>
                  <a:pt x="6365" y="15409"/>
                </a:cubicBezTo>
                <a:moveTo>
                  <a:pt x="6366" y="0"/>
                </a:moveTo>
                <a:cubicBezTo>
                  <a:pt x="2850" y="0"/>
                  <a:pt x="0" y="2879"/>
                  <a:pt x="0" y="6430"/>
                </a:cubicBezTo>
                <a:cubicBezTo>
                  <a:pt x="0" y="11655"/>
                  <a:pt x="6366" y="16701"/>
                  <a:pt x="6366" y="16701"/>
                </a:cubicBezTo>
                <a:cubicBezTo>
                  <a:pt x="6366" y="16701"/>
                  <a:pt x="12732" y="11655"/>
                  <a:pt x="12732" y="6430"/>
                </a:cubicBezTo>
                <a:cubicBezTo>
                  <a:pt x="12732" y="2879"/>
                  <a:pt x="9882" y="0"/>
                  <a:pt x="6366" y="0"/>
                </a:cubicBezTo>
                <a:moveTo>
                  <a:pt x="17357" y="19604"/>
                </a:moveTo>
                <a:cubicBezTo>
                  <a:pt x="17127" y="19764"/>
                  <a:pt x="16856" y="19909"/>
                  <a:pt x="16554" y="20033"/>
                </a:cubicBezTo>
                <a:cubicBezTo>
                  <a:pt x="16304" y="20137"/>
                  <a:pt x="16185" y="20424"/>
                  <a:pt x="16288" y="20675"/>
                </a:cubicBezTo>
                <a:cubicBezTo>
                  <a:pt x="16365" y="20865"/>
                  <a:pt x="16548" y="20979"/>
                  <a:pt x="16740" y="20979"/>
                </a:cubicBezTo>
                <a:cubicBezTo>
                  <a:pt x="16802" y="20979"/>
                  <a:pt x="16866" y="20967"/>
                  <a:pt x="16926" y="20942"/>
                </a:cubicBezTo>
                <a:cubicBezTo>
                  <a:pt x="17294" y="20790"/>
                  <a:pt x="17627" y="20611"/>
                  <a:pt x="17915" y="20411"/>
                </a:cubicBezTo>
                <a:cubicBezTo>
                  <a:pt x="18138" y="20256"/>
                  <a:pt x="18193" y="19950"/>
                  <a:pt x="18039" y="19727"/>
                </a:cubicBezTo>
                <a:cubicBezTo>
                  <a:pt x="17885" y="19505"/>
                  <a:pt x="17579" y="19449"/>
                  <a:pt x="17357" y="19604"/>
                </a:cubicBezTo>
                <a:moveTo>
                  <a:pt x="16249" y="13042"/>
                </a:moveTo>
                <a:cubicBezTo>
                  <a:pt x="16109" y="12790"/>
                  <a:pt x="16024" y="12529"/>
                  <a:pt x="15995" y="12265"/>
                </a:cubicBezTo>
                <a:cubicBezTo>
                  <a:pt x="15966" y="11995"/>
                  <a:pt x="15731" y="11801"/>
                  <a:pt x="15456" y="11829"/>
                </a:cubicBezTo>
                <a:cubicBezTo>
                  <a:pt x="15187" y="11859"/>
                  <a:pt x="14992" y="12100"/>
                  <a:pt x="15022" y="12370"/>
                </a:cubicBezTo>
                <a:cubicBezTo>
                  <a:pt x="15064" y="12767"/>
                  <a:pt x="15190" y="13154"/>
                  <a:pt x="15395" y="13522"/>
                </a:cubicBezTo>
                <a:cubicBezTo>
                  <a:pt x="15484" y="13682"/>
                  <a:pt x="15651" y="13773"/>
                  <a:pt x="15822" y="13773"/>
                </a:cubicBezTo>
                <a:cubicBezTo>
                  <a:pt x="15904" y="13773"/>
                  <a:pt x="15985" y="13753"/>
                  <a:pt x="16061" y="13710"/>
                </a:cubicBezTo>
                <a:cubicBezTo>
                  <a:pt x="16297" y="13578"/>
                  <a:pt x="16382" y="13279"/>
                  <a:pt x="16249" y="13042"/>
                </a:cubicBezTo>
                <a:moveTo>
                  <a:pt x="18249" y="15254"/>
                </a:moveTo>
                <a:cubicBezTo>
                  <a:pt x="18041" y="14981"/>
                  <a:pt x="17803" y="14708"/>
                  <a:pt x="17538" y="14439"/>
                </a:cubicBezTo>
                <a:cubicBezTo>
                  <a:pt x="17349" y="14246"/>
                  <a:pt x="17039" y="14244"/>
                  <a:pt x="16845" y="14434"/>
                </a:cubicBezTo>
                <a:cubicBezTo>
                  <a:pt x="16653" y="14624"/>
                  <a:pt x="16651" y="14935"/>
                  <a:pt x="16841" y="15129"/>
                </a:cubicBezTo>
                <a:cubicBezTo>
                  <a:pt x="17076" y="15368"/>
                  <a:pt x="17288" y="15612"/>
                  <a:pt x="17471" y="15851"/>
                </a:cubicBezTo>
                <a:cubicBezTo>
                  <a:pt x="17568" y="15977"/>
                  <a:pt x="17713" y="16043"/>
                  <a:pt x="17860" y="16043"/>
                </a:cubicBezTo>
                <a:cubicBezTo>
                  <a:pt x="17964" y="16043"/>
                  <a:pt x="18068" y="16011"/>
                  <a:pt x="18157" y="15942"/>
                </a:cubicBezTo>
                <a:cubicBezTo>
                  <a:pt x="18373" y="15777"/>
                  <a:pt x="18413" y="15469"/>
                  <a:pt x="18249" y="15254"/>
                </a:cubicBezTo>
                <a:moveTo>
                  <a:pt x="21476" y="5928"/>
                </a:moveTo>
                <a:cubicBezTo>
                  <a:pt x="21352" y="5687"/>
                  <a:pt x="21057" y="5592"/>
                  <a:pt x="20817" y="5717"/>
                </a:cubicBezTo>
                <a:cubicBezTo>
                  <a:pt x="20817" y="5717"/>
                  <a:pt x="20650" y="5803"/>
                  <a:pt x="20371" y="5962"/>
                </a:cubicBezTo>
                <a:cubicBezTo>
                  <a:pt x="20136" y="6096"/>
                  <a:pt x="20054" y="6396"/>
                  <a:pt x="20188" y="6632"/>
                </a:cubicBezTo>
                <a:cubicBezTo>
                  <a:pt x="20278" y="6791"/>
                  <a:pt x="20444" y="6880"/>
                  <a:pt x="20614" y="6880"/>
                </a:cubicBezTo>
                <a:cubicBezTo>
                  <a:pt x="20697" y="6880"/>
                  <a:pt x="20780" y="6859"/>
                  <a:pt x="20856" y="6815"/>
                </a:cubicBezTo>
                <a:cubicBezTo>
                  <a:pt x="21108" y="6672"/>
                  <a:pt x="21261" y="6592"/>
                  <a:pt x="21265" y="6590"/>
                </a:cubicBezTo>
                <a:cubicBezTo>
                  <a:pt x="21506" y="6466"/>
                  <a:pt x="21600" y="6170"/>
                  <a:pt x="21476" y="5928"/>
                </a:cubicBezTo>
                <a:moveTo>
                  <a:pt x="18659" y="16886"/>
                </a:moveTo>
                <a:cubicBezTo>
                  <a:pt x="18395" y="16941"/>
                  <a:pt x="18225" y="17201"/>
                  <a:pt x="18280" y="17467"/>
                </a:cubicBezTo>
                <a:cubicBezTo>
                  <a:pt x="18312" y="17625"/>
                  <a:pt x="18330" y="17781"/>
                  <a:pt x="18330" y="17929"/>
                </a:cubicBezTo>
                <a:cubicBezTo>
                  <a:pt x="18330" y="18050"/>
                  <a:pt x="18318" y="18171"/>
                  <a:pt x="18296" y="18287"/>
                </a:cubicBezTo>
                <a:cubicBezTo>
                  <a:pt x="18244" y="18554"/>
                  <a:pt x="18418" y="18811"/>
                  <a:pt x="18683" y="18862"/>
                </a:cubicBezTo>
                <a:cubicBezTo>
                  <a:pt x="18715" y="18869"/>
                  <a:pt x="18746" y="18871"/>
                  <a:pt x="18777" y="18871"/>
                </a:cubicBezTo>
                <a:cubicBezTo>
                  <a:pt x="19007" y="18871"/>
                  <a:pt x="19212" y="18708"/>
                  <a:pt x="19257" y="18473"/>
                </a:cubicBezTo>
                <a:cubicBezTo>
                  <a:pt x="19292" y="18296"/>
                  <a:pt x="19309" y="18114"/>
                  <a:pt x="19309" y="17929"/>
                </a:cubicBezTo>
                <a:cubicBezTo>
                  <a:pt x="19309" y="17715"/>
                  <a:pt x="19285" y="17492"/>
                  <a:pt x="19239" y="17267"/>
                </a:cubicBezTo>
                <a:cubicBezTo>
                  <a:pt x="19183" y="17001"/>
                  <a:pt x="18923" y="16832"/>
                  <a:pt x="18659" y="16886"/>
                </a:cubicBezTo>
                <a:moveTo>
                  <a:pt x="18590" y="7106"/>
                </a:moveTo>
                <a:cubicBezTo>
                  <a:pt x="18317" y="7303"/>
                  <a:pt x="18035" y="7518"/>
                  <a:pt x="17756" y="7745"/>
                </a:cubicBezTo>
                <a:cubicBezTo>
                  <a:pt x="17546" y="7917"/>
                  <a:pt x="17515" y="8226"/>
                  <a:pt x="17686" y="8436"/>
                </a:cubicBezTo>
                <a:cubicBezTo>
                  <a:pt x="17783" y="8556"/>
                  <a:pt x="17924" y="8617"/>
                  <a:pt x="18066" y="8617"/>
                </a:cubicBezTo>
                <a:cubicBezTo>
                  <a:pt x="18174" y="8617"/>
                  <a:pt x="18284" y="8581"/>
                  <a:pt x="18374" y="8507"/>
                </a:cubicBezTo>
                <a:cubicBezTo>
                  <a:pt x="18637" y="8292"/>
                  <a:pt x="18903" y="8090"/>
                  <a:pt x="19161" y="7905"/>
                </a:cubicBezTo>
                <a:cubicBezTo>
                  <a:pt x="19380" y="7747"/>
                  <a:pt x="19431" y="7440"/>
                  <a:pt x="19273" y="7220"/>
                </a:cubicBezTo>
                <a:cubicBezTo>
                  <a:pt x="19116" y="6999"/>
                  <a:pt x="18810" y="6949"/>
                  <a:pt x="18590" y="7106"/>
                </a:cubicBezTo>
                <a:moveTo>
                  <a:pt x="14704" y="20512"/>
                </a:moveTo>
                <a:cubicBezTo>
                  <a:pt x="14393" y="20556"/>
                  <a:pt x="14065" y="20590"/>
                  <a:pt x="13729" y="20611"/>
                </a:cubicBezTo>
                <a:cubicBezTo>
                  <a:pt x="13459" y="20629"/>
                  <a:pt x="13254" y="20863"/>
                  <a:pt x="13272" y="21134"/>
                </a:cubicBezTo>
                <a:cubicBezTo>
                  <a:pt x="13289" y="21394"/>
                  <a:pt x="13504" y="21593"/>
                  <a:pt x="13760" y="21593"/>
                </a:cubicBezTo>
                <a:cubicBezTo>
                  <a:pt x="13771" y="21593"/>
                  <a:pt x="13781" y="21592"/>
                  <a:pt x="13792" y="21592"/>
                </a:cubicBezTo>
                <a:cubicBezTo>
                  <a:pt x="14152" y="21568"/>
                  <a:pt x="14506" y="21533"/>
                  <a:pt x="14842" y="21485"/>
                </a:cubicBezTo>
                <a:cubicBezTo>
                  <a:pt x="15110" y="21447"/>
                  <a:pt x="15296" y="21198"/>
                  <a:pt x="15258" y="20929"/>
                </a:cubicBezTo>
                <a:cubicBezTo>
                  <a:pt x="15220" y="20661"/>
                  <a:pt x="14973" y="20472"/>
                  <a:pt x="14704" y="20512"/>
                </a:cubicBezTo>
                <a:moveTo>
                  <a:pt x="8893" y="20109"/>
                </a:moveTo>
                <a:cubicBezTo>
                  <a:pt x="8582" y="19997"/>
                  <a:pt x="8299" y="19866"/>
                  <a:pt x="8052" y="19721"/>
                </a:cubicBezTo>
                <a:cubicBezTo>
                  <a:pt x="7818" y="19582"/>
                  <a:pt x="7519" y="19663"/>
                  <a:pt x="7382" y="19896"/>
                </a:cubicBezTo>
                <a:cubicBezTo>
                  <a:pt x="7244" y="20130"/>
                  <a:pt x="7323" y="20432"/>
                  <a:pt x="7556" y="20568"/>
                </a:cubicBezTo>
                <a:cubicBezTo>
                  <a:pt x="7856" y="20744"/>
                  <a:pt x="8194" y="20901"/>
                  <a:pt x="8562" y="21034"/>
                </a:cubicBezTo>
                <a:cubicBezTo>
                  <a:pt x="8617" y="21053"/>
                  <a:pt x="8672" y="21062"/>
                  <a:pt x="8728" y="21062"/>
                </a:cubicBezTo>
                <a:cubicBezTo>
                  <a:pt x="8928" y="21062"/>
                  <a:pt x="9117" y="20938"/>
                  <a:pt x="9189" y="20737"/>
                </a:cubicBezTo>
                <a:cubicBezTo>
                  <a:pt x="9280" y="20482"/>
                  <a:pt x="9148" y="20200"/>
                  <a:pt x="8893" y="20109"/>
                </a:cubicBezTo>
                <a:moveTo>
                  <a:pt x="11751" y="20618"/>
                </a:moveTo>
                <a:cubicBezTo>
                  <a:pt x="11412" y="20600"/>
                  <a:pt x="11082" y="20572"/>
                  <a:pt x="10771" y="20533"/>
                </a:cubicBezTo>
                <a:cubicBezTo>
                  <a:pt x="10502" y="20493"/>
                  <a:pt x="10258" y="20690"/>
                  <a:pt x="10225" y="20959"/>
                </a:cubicBezTo>
                <a:cubicBezTo>
                  <a:pt x="10191" y="21229"/>
                  <a:pt x="10382" y="21474"/>
                  <a:pt x="10650" y="21507"/>
                </a:cubicBezTo>
                <a:cubicBezTo>
                  <a:pt x="10984" y="21549"/>
                  <a:pt x="11337" y="21580"/>
                  <a:pt x="11699" y="21600"/>
                </a:cubicBezTo>
                <a:cubicBezTo>
                  <a:pt x="11708" y="21600"/>
                  <a:pt x="11716" y="21600"/>
                  <a:pt x="11725" y="21600"/>
                </a:cubicBezTo>
                <a:cubicBezTo>
                  <a:pt x="11984" y="21600"/>
                  <a:pt x="12200" y="21397"/>
                  <a:pt x="12214" y="21135"/>
                </a:cubicBezTo>
                <a:cubicBezTo>
                  <a:pt x="12228" y="20863"/>
                  <a:pt x="12021" y="20632"/>
                  <a:pt x="11751" y="20618"/>
                </a:cubicBezTo>
                <a:moveTo>
                  <a:pt x="6840" y="18180"/>
                </a:moveTo>
                <a:cubicBezTo>
                  <a:pt x="6836" y="17912"/>
                  <a:pt x="6619" y="17696"/>
                  <a:pt x="6351" y="17696"/>
                </a:cubicBezTo>
                <a:cubicBezTo>
                  <a:pt x="6080" y="17696"/>
                  <a:pt x="5861" y="17916"/>
                  <a:pt x="5861" y="18188"/>
                </a:cubicBezTo>
                <a:cubicBezTo>
                  <a:pt x="5861" y="18234"/>
                  <a:pt x="5867" y="18484"/>
                  <a:pt x="5997" y="18834"/>
                </a:cubicBezTo>
                <a:cubicBezTo>
                  <a:pt x="6070" y="19033"/>
                  <a:pt x="6257" y="19155"/>
                  <a:pt x="6456" y="19155"/>
                </a:cubicBezTo>
                <a:cubicBezTo>
                  <a:pt x="6512" y="19155"/>
                  <a:pt x="6570" y="19145"/>
                  <a:pt x="6626" y="19124"/>
                </a:cubicBezTo>
                <a:cubicBezTo>
                  <a:pt x="6880" y="19030"/>
                  <a:pt x="7009" y="18748"/>
                  <a:pt x="6915" y="18493"/>
                </a:cubicBezTo>
                <a:cubicBezTo>
                  <a:pt x="6849" y="18314"/>
                  <a:pt x="6841" y="18191"/>
                  <a:pt x="6840" y="18180"/>
                </a:cubicBezTo>
                <a:moveTo>
                  <a:pt x="15760" y="10798"/>
                </a:moveTo>
                <a:cubicBezTo>
                  <a:pt x="15838" y="10844"/>
                  <a:pt x="15924" y="10866"/>
                  <a:pt x="16008" y="10866"/>
                </a:cubicBezTo>
                <a:cubicBezTo>
                  <a:pt x="16176" y="10866"/>
                  <a:pt x="16339" y="10780"/>
                  <a:pt x="16431" y="10625"/>
                </a:cubicBezTo>
                <a:cubicBezTo>
                  <a:pt x="16577" y="10376"/>
                  <a:pt x="16761" y="10120"/>
                  <a:pt x="16977" y="9861"/>
                </a:cubicBezTo>
                <a:cubicBezTo>
                  <a:pt x="17151" y="9653"/>
                  <a:pt x="17124" y="9343"/>
                  <a:pt x="16917" y="9169"/>
                </a:cubicBezTo>
                <a:cubicBezTo>
                  <a:pt x="16709" y="8994"/>
                  <a:pt x="16400" y="9022"/>
                  <a:pt x="16227" y="9230"/>
                </a:cubicBezTo>
                <a:cubicBezTo>
                  <a:pt x="15976" y="9529"/>
                  <a:pt x="15761" y="9832"/>
                  <a:pt x="15587" y="10125"/>
                </a:cubicBezTo>
                <a:cubicBezTo>
                  <a:pt x="15450" y="10359"/>
                  <a:pt x="15527" y="10659"/>
                  <a:pt x="15760" y="10798"/>
                </a:cubicBezTo>
                <a:moveTo>
                  <a:pt x="6366" y="8841"/>
                </a:moveTo>
                <a:cubicBezTo>
                  <a:pt x="5014" y="8841"/>
                  <a:pt x="3917" y="7741"/>
                  <a:pt x="3917" y="6384"/>
                </a:cubicBezTo>
                <a:cubicBezTo>
                  <a:pt x="3917" y="5027"/>
                  <a:pt x="5014" y="3927"/>
                  <a:pt x="6366" y="3927"/>
                </a:cubicBezTo>
                <a:cubicBezTo>
                  <a:pt x="7719" y="3927"/>
                  <a:pt x="8814" y="5027"/>
                  <a:pt x="8814" y="6384"/>
                </a:cubicBezTo>
                <a:cubicBezTo>
                  <a:pt x="8814" y="7741"/>
                  <a:pt x="7719" y="8841"/>
                  <a:pt x="6366" y="8841"/>
                </a:cubicBezTo>
                <a:moveTo>
                  <a:pt x="6366" y="2955"/>
                </a:moveTo>
                <a:cubicBezTo>
                  <a:pt x="4473" y="2955"/>
                  <a:pt x="2938" y="4494"/>
                  <a:pt x="2938" y="6392"/>
                </a:cubicBezTo>
                <a:cubicBezTo>
                  <a:pt x="2938" y="8291"/>
                  <a:pt x="4473" y="9831"/>
                  <a:pt x="6366" y="9831"/>
                </a:cubicBezTo>
                <a:cubicBezTo>
                  <a:pt x="8259" y="9831"/>
                  <a:pt x="9794" y="8291"/>
                  <a:pt x="9794" y="6392"/>
                </a:cubicBezTo>
                <a:cubicBezTo>
                  <a:pt x="9794" y="4494"/>
                  <a:pt x="8259" y="2955"/>
                  <a:pt x="6366" y="29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36" name="Shape 2936"/>
          <p:cNvSpPr/>
          <p:nvPr/>
        </p:nvSpPr>
        <p:spPr>
          <a:xfrm>
            <a:off x="4043949" y="6591790"/>
            <a:ext cx="25393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964"/>
                </a:moveTo>
                <a:cubicBezTo>
                  <a:pt x="10800" y="1964"/>
                  <a:pt x="4320" y="1964"/>
                  <a:pt x="4320" y="4909"/>
                </a:cubicBezTo>
                <a:cubicBezTo>
                  <a:pt x="4320" y="5180"/>
                  <a:pt x="4804" y="5400"/>
                  <a:pt x="5400" y="5400"/>
                </a:cubicBezTo>
                <a:cubicBezTo>
                  <a:pt x="5996" y="5400"/>
                  <a:pt x="6480" y="5180"/>
                  <a:pt x="6480" y="4909"/>
                </a:cubicBezTo>
                <a:cubicBezTo>
                  <a:pt x="6480" y="2945"/>
                  <a:pt x="10800" y="2945"/>
                  <a:pt x="10800" y="2945"/>
                </a:cubicBezTo>
                <a:cubicBezTo>
                  <a:pt x="11396" y="2945"/>
                  <a:pt x="11880" y="2726"/>
                  <a:pt x="11880" y="2455"/>
                </a:cubicBezTo>
                <a:cubicBezTo>
                  <a:pt x="11880" y="2183"/>
                  <a:pt x="11396" y="1964"/>
                  <a:pt x="10800" y="1964"/>
                </a:cubicBezTo>
                <a:moveTo>
                  <a:pt x="10800" y="8836"/>
                </a:moveTo>
                <a:cubicBezTo>
                  <a:pt x="6029" y="8836"/>
                  <a:pt x="2160" y="7078"/>
                  <a:pt x="2160" y="4909"/>
                </a:cubicBezTo>
                <a:cubicBezTo>
                  <a:pt x="2160" y="2740"/>
                  <a:pt x="6029" y="982"/>
                  <a:pt x="10800" y="982"/>
                </a:cubicBezTo>
                <a:cubicBezTo>
                  <a:pt x="15571" y="982"/>
                  <a:pt x="19440" y="2740"/>
                  <a:pt x="19440" y="4909"/>
                </a:cubicBezTo>
                <a:cubicBezTo>
                  <a:pt x="19440" y="7078"/>
                  <a:pt x="15571" y="8836"/>
                  <a:pt x="10800" y="8836"/>
                </a:cubicBezTo>
                <a:moveTo>
                  <a:pt x="10800" y="17182"/>
                </a:moveTo>
                <a:lnTo>
                  <a:pt x="8154" y="9664"/>
                </a:lnTo>
                <a:cubicBezTo>
                  <a:pt x="9002" y="9761"/>
                  <a:pt x="9885" y="9818"/>
                  <a:pt x="10800" y="9818"/>
                </a:cubicBezTo>
                <a:cubicBezTo>
                  <a:pt x="11715" y="9818"/>
                  <a:pt x="12598" y="9761"/>
                  <a:pt x="13446" y="9664"/>
                </a:cubicBezTo>
                <a:cubicBezTo>
                  <a:pt x="13446" y="9664"/>
                  <a:pt x="10800" y="17182"/>
                  <a:pt x="10800" y="17182"/>
                </a:cubicBezTo>
                <a:close/>
                <a:moveTo>
                  <a:pt x="10800" y="0"/>
                </a:moveTo>
                <a:cubicBezTo>
                  <a:pt x="4835" y="0"/>
                  <a:pt x="0" y="2199"/>
                  <a:pt x="0" y="4909"/>
                </a:cubicBezTo>
                <a:cubicBezTo>
                  <a:pt x="0" y="6830"/>
                  <a:pt x="2431" y="8487"/>
                  <a:pt x="5966" y="9295"/>
                </a:cubicBezTo>
                <a:lnTo>
                  <a:pt x="10800" y="21600"/>
                </a:lnTo>
                <a:lnTo>
                  <a:pt x="15635" y="9295"/>
                </a:lnTo>
                <a:cubicBezTo>
                  <a:pt x="19169" y="8487"/>
                  <a:pt x="21600" y="6830"/>
                  <a:pt x="21600" y="4909"/>
                </a:cubicBezTo>
                <a:cubicBezTo>
                  <a:pt x="21600" y="2199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37" name="Shape 2937"/>
          <p:cNvSpPr/>
          <p:nvPr/>
        </p:nvSpPr>
        <p:spPr>
          <a:xfrm>
            <a:off x="4958109" y="659179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20593"/>
                </a:moveTo>
                <a:lnTo>
                  <a:pt x="11291" y="19145"/>
                </a:lnTo>
                <a:cubicBezTo>
                  <a:pt x="11291" y="18875"/>
                  <a:pt x="11071" y="18655"/>
                  <a:pt x="10800" y="18655"/>
                </a:cubicBezTo>
                <a:cubicBezTo>
                  <a:pt x="10529" y="18655"/>
                  <a:pt x="10309" y="18875"/>
                  <a:pt x="10309" y="19145"/>
                </a:cubicBezTo>
                <a:lnTo>
                  <a:pt x="10309" y="20593"/>
                </a:lnTo>
                <a:cubicBezTo>
                  <a:pt x="5280" y="20344"/>
                  <a:pt x="1255" y="16319"/>
                  <a:pt x="1006" y="11291"/>
                </a:cubicBezTo>
                <a:lnTo>
                  <a:pt x="2455" y="11291"/>
                </a:lnTo>
                <a:cubicBezTo>
                  <a:pt x="2725" y="11291"/>
                  <a:pt x="2945" y="11071"/>
                  <a:pt x="2945" y="10800"/>
                </a:cubicBezTo>
                <a:cubicBezTo>
                  <a:pt x="2945" y="10529"/>
                  <a:pt x="2725" y="10309"/>
                  <a:pt x="2455" y="10309"/>
                </a:cubicBezTo>
                <a:lnTo>
                  <a:pt x="1006" y="10309"/>
                </a:lnTo>
                <a:cubicBezTo>
                  <a:pt x="1255" y="5281"/>
                  <a:pt x="5280" y="1256"/>
                  <a:pt x="10309" y="1007"/>
                </a:cubicBezTo>
                <a:lnTo>
                  <a:pt x="10309" y="2455"/>
                </a:lnTo>
                <a:cubicBezTo>
                  <a:pt x="10309" y="2726"/>
                  <a:pt x="10529" y="2945"/>
                  <a:pt x="10800" y="2945"/>
                </a:cubicBezTo>
                <a:cubicBezTo>
                  <a:pt x="11071" y="2945"/>
                  <a:pt x="11291" y="2726"/>
                  <a:pt x="11291" y="2455"/>
                </a:cubicBezTo>
                <a:lnTo>
                  <a:pt x="11291" y="1007"/>
                </a:lnTo>
                <a:cubicBezTo>
                  <a:pt x="16320" y="1256"/>
                  <a:pt x="20345" y="5281"/>
                  <a:pt x="20594" y="10309"/>
                </a:cubicBezTo>
                <a:lnTo>
                  <a:pt x="19145" y="10309"/>
                </a:lnTo>
                <a:cubicBezTo>
                  <a:pt x="18875" y="10309"/>
                  <a:pt x="18655" y="10529"/>
                  <a:pt x="18655" y="10800"/>
                </a:cubicBezTo>
                <a:cubicBezTo>
                  <a:pt x="18655" y="11071"/>
                  <a:pt x="18875" y="11291"/>
                  <a:pt x="19145" y="11291"/>
                </a:cubicBezTo>
                <a:lnTo>
                  <a:pt x="20594" y="11291"/>
                </a:lnTo>
                <a:cubicBezTo>
                  <a:pt x="20345" y="16319"/>
                  <a:pt x="16320" y="20344"/>
                  <a:pt x="11291" y="20593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965" y="6634"/>
                </a:moveTo>
                <a:lnTo>
                  <a:pt x="12189" y="12188"/>
                </a:lnTo>
                <a:lnTo>
                  <a:pt x="6635" y="14966"/>
                </a:lnTo>
                <a:lnTo>
                  <a:pt x="9411" y="9412"/>
                </a:lnTo>
                <a:cubicBezTo>
                  <a:pt x="9411" y="9412"/>
                  <a:pt x="14965" y="6634"/>
                  <a:pt x="14965" y="6634"/>
                </a:cubicBezTo>
                <a:close/>
                <a:moveTo>
                  <a:pt x="4552" y="17048"/>
                </a:moveTo>
                <a:lnTo>
                  <a:pt x="12883" y="12883"/>
                </a:lnTo>
                <a:lnTo>
                  <a:pt x="17048" y="4551"/>
                </a:lnTo>
                <a:lnTo>
                  <a:pt x="8717" y="8717"/>
                </a:lnTo>
                <a:cubicBezTo>
                  <a:pt x="8717" y="8717"/>
                  <a:pt x="4552" y="17048"/>
                  <a:pt x="4552" y="17048"/>
                </a:cubicBezTo>
                <a:close/>
                <a:moveTo>
                  <a:pt x="11494" y="11494"/>
                </a:moveTo>
                <a:cubicBezTo>
                  <a:pt x="11877" y="11111"/>
                  <a:pt x="11877" y="10489"/>
                  <a:pt x="11494" y="10106"/>
                </a:cubicBezTo>
                <a:cubicBezTo>
                  <a:pt x="11111" y="9722"/>
                  <a:pt x="10489" y="9722"/>
                  <a:pt x="10106" y="10106"/>
                </a:cubicBezTo>
                <a:cubicBezTo>
                  <a:pt x="9723" y="10489"/>
                  <a:pt x="9723" y="11111"/>
                  <a:pt x="10106" y="11494"/>
                </a:cubicBezTo>
                <a:cubicBezTo>
                  <a:pt x="10489" y="11878"/>
                  <a:pt x="11111" y="11878"/>
                  <a:pt x="11494" y="1149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38" name="Shape 2938"/>
          <p:cNvSpPr/>
          <p:nvPr/>
        </p:nvSpPr>
        <p:spPr>
          <a:xfrm>
            <a:off x="6024631" y="659179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58"/>
                </a:moveTo>
                <a:lnTo>
                  <a:pt x="14727" y="18775"/>
                </a:lnTo>
                <a:lnTo>
                  <a:pt x="14727" y="1142"/>
                </a:lnTo>
                <a:lnTo>
                  <a:pt x="20618" y="2825"/>
                </a:lnTo>
                <a:cubicBezTo>
                  <a:pt x="20618" y="2825"/>
                  <a:pt x="20618" y="20458"/>
                  <a:pt x="20618" y="20458"/>
                </a:cubicBezTo>
                <a:close/>
                <a:moveTo>
                  <a:pt x="13745" y="18775"/>
                </a:moveTo>
                <a:lnTo>
                  <a:pt x="7855" y="20458"/>
                </a:lnTo>
                <a:lnTo>
                  <a:pt x="7855" y="2825"/>
                </a:lnTo>
                <a:lnTo>
                  <a:pt x="13745" y="1142"/>
                </a:lnTo>
                <a:cubicBezTo>
                  <a:pt x="13745" y="1142"/>
                  <a:pt x="13745" y="18775"/>
                  <a:pt x="13745" y="18775"/>
                </a:cubicBezTo>
                <a:close/>
                <a:moveTo>
                  <a:pt x="6873" y="20458"/>
                </a:moveTo>
                <a:lnTo>
                  <a:pt x="982" y="18775"/>
                </a:lnTo>
                <a:lnTo>
                  <a:pt x="982" y="1142"/>
                </a:lnTo>
                <a:lnTo>
                  <a:pt x="6873" y="2825"/>
                </a:lnTo>
                <a:cubicBezTo>
                  <a:pt x="6873" y="2825"/>
                  <a:pt x="6873" y="20458"/>
                  <a:pt x="6873" y="20458"/>
                </a:cubicBezTo>
                <a:close/>
                <a:moveTo>
                  <a:pt x="21242" y="1990"/>
                </a:moveTo>
                <a:lnTo>
                  <a:pt x="21244" y="1983"/>
                </a:lnTo>
                <a:lnTo>
                  <a:pt x="14371" y="19"/>
                </a:lnTo>
                <a:lnTo>
                  <a:pt x="14369" y="27"/>
                </a:lnTo>
                <a:cubicBezTo>
                  <a:pt x="14326" y="14"/>
                  <a:pt x="14284" y="0"/>
                  <a:pt x="14236" y="0"/>
                </a:cubicBezTo>
                <a:cubicBezTo>
                  <a:pt x="14189" y="0"/>
                  <a:pt x="14147" y="14"/>
                  <a:pt x="14104" y="27"/>
                </a:cubicBezTo>
                <a:lnTo>
                  <a:pt x="14102" y="19"/>
                </a:lnTo>
                <a:lnTo>
                  <a:pt x="7364" y="1944"/>
                </a:lnTo>
                <a:lnTo>
                  <a:pt x="626" y="19"/>
                </a:lnTo>
                <a:lnTo>
                  <a:pt x="623" y="27"/>
                </a:lnTo>
                <a:cubicBezTo>
                  <a:pt x="581" y="14"/>
                  <a:pt x="538" y="0"/>
                  <a:pt x="491" y="0"/>
                </a:cubicBezTo>
                <a:cubicBezTo>
                  <a:pt x="220" y="0"/>
                  <a:pt x="0" y="220"/>
                  <a:pt x="0" y="491"/>
                </a:cubicBezTo>
                <a:lnTo>
                  <a:pt x="0" y="19145"/>
                </a:lnTo>
                <a:cubicBezTo>
                  <a:pt x="0" y="19370"/>
                  <a:pt x="153" y="19551"/>
                  <a:pt x="358" y="19610"/>
                </a:cubicBezTo>
                <a:lnTo>
                  <a:pt x="356" y="19618"/>
                </a:lnTo>
                <a:lnTo>
                  <a:pt x="7229" y="21581"/>
                </a:lnTo>
                <a:lnTo>
                  <a:pt x="7231" y="21573"/>
                </a:lnTo>
                <a:cubicBezTo>
                  <a:pt x="7274" y="21586"/>
                  <a:pt x="7316" y="21600"/>
                  <a:pt x="7364" y="21600"/>
                </a:cubicBezTo>
                <a:cubicBezTo>
                  <a:pt x="7411" y="21600"/>
                  <a:pt x="7454" y="21586"/>
                  <a:pt x="7496" y="21573"/>
                </a:cubicBezTo>
                <a:lnTo>
                  <a:pt x="7499" y="21581"/>
                </a:lnTo>
                <a:lnTo>
                  <a:pt x="14236" y="19656"/>
                </a:lnTo>
                <a:lnTo>
                  <a:pt x="20975" y="21581"/>
                </a:lnTo>
                <a:lnTo>
                  <a:pt x="20977" y="21573"/>
                </a:lnTo>
                <a:cubicBezTo>
                  <a:pt x="21020" y="21586"/>
                  <a:pt x="21062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lnTo>
                  <a:pt x="21600" y="2455"/>
                </a:lnTo>
                <a:cubicBezTo>
                  <a:pt x="21600" y="2231"/>
                  <a:pt x="21447" y="2049"/>
                  <a:pt x="21242" y="199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39" name="Shape 2939"/>
          <p:cNvSpPr/>
          <p:nvPr/>
        </p:nvSpPr>
        <p:spPr>
          <a:xfrm>
            <a:off x="7091154" y="659179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47" y="12509"/>
                </a:moveTo>
                <a:lnTo>
                  <a:pt x="18520" y="12645"/>
                </a:lnTo>
                <a:cubicBezTo>
                  <a:pt x="18572" y="12276"/>
                  <a:pt x="18589" y="11922"/>
                  <a:pt x="18572" y="11593"/>
                </a:cubicBezTo>
                <a:lnTo>
                  <a:pt x="17592" y="11644"/>
                </a:lnTo>
                <a:cubicBezTo>
                  <a:pt x="17606" y="11910"/>
                  <a:pt x="17591" y="12201"/>
                  <a:pt x="17547" y="12509"/>
                </a:cubicBezTo>
                <a:moveTo>
                  <a:pt x="17444" y="10833"/>
                </a:moveTo>
                <a:lnTo>
                  <a:pt x="18374" y="10520"/>
                </a:lnTo>
                <a:cubicBezTo>
                  <a:pt x="18262" y="10187"/>
                  <a:pt x="18104" y="9869"/>
                  <a:pt x="17890" y="9546"/>
                </a:cubicBezTo>
                <a:lnTo>
                  <a:pt x="17072" y="10089"/>
                </a:lnTo>
                <a:cubicBezTo>
                  <a:pt x="17237" y="10339"/>
                  <a:pt x="17359" y="10582"/>
                  <a:pt x="17444" y="10833"/>
                </a:cubicBezTo>
                <a:moveTo>
                  <a:pt x="17529" y="13890"/>
                </a:moveTo>
                <a:cubicBezTo>
                  <a:pt x="17440" y="13801"/>
                  <a:pt x="17317" y="13745"/>
                  <a:pt x="17182" y="13745"/>
                </a:cubicBezTo>
                <a:cubicBezTo>
                  <a:pt x="16910" y="13745"/>
                  <a:pt x="16691" y="13965"/>
                  <a:pt x="16691" y="14236"/>
                </a:cubicBezTo>
                <a:cubicBezTo>
                  <a:pt x="16691" y="14372"/>
                  <a:pt x="16746" y="14495"/>
                  <a:pt x="16835" y="14583"/>
                </a:cubicBezTo>
                <a:lnTo>
                  <a:pt x="17469" y="15218"/>
                </a:lnTo>
                <a:lnTo>
                  <a:pt x="16835" y="15853"/>
                </a:lnTo>
                <a:cubicBezTo>
                  <a:pt x="16746" y="15942"/>
                  <a:pt x="16691" y="16064"/>
                  <a:pt x="16691" y="16200"/>
                </a:cubicBezTo>
                <a:cubicBezTo>
                  <a:pt x="16691" y="16471"/>
                  <a:pt x="16910" y="16691"/>
                  <a:pt x="17182" y="16691"/>
                </a:cubicBezTo>
                <a:cubicBezTo>
                  <a:pt x="17317" y="16691"/>
                  <a:pt x="17440" y="16636"/>
                  <a:pt x="17529" y="16547"/>
                </a:cubicBezTo>
                <a:lnTo>
                  <a:pt x="18164" y="15912"/>
                </a:lnTo>
                <a:lnTo>
                  <a:pt x="18798" y="16547"/>
                </a:lnTo>
                <a:cubicBezTo>
                  <a:pt x="18887" y="16636"/>
                  <a:pt x="19010" y="16691"/>
                  <a:pt x="19145" y="16691"/>
                </a:cubicBezTo>
                <a:cubicBezTo>
                  <a:pt x="19417" y="16691"/>
                  <a:pt x="19636" y="16471"/>
                  <a:pt x="19636" y="16200"/>
                </a:cubicBezTo>
                <a:cubicBezTo>
                  <a:pt x="19636" y="16064"/>
                  <a:pt x="19582" y="15942"/>
                  <a:pt x="19493" y="15853"/>
                </a:cubicBezTo>
                <a:lnTo>
                  <a:pt x="18858" y="15218"/>
                </a:lnTo>
                <a:lnTo>
                  <a:pt x="19493" y="14583"/>
                </a:lnTo>
                <a:cubicBezTo>
                  <a:pt x="19582" y="14495"/>
                  <a:pt x="19636" y="14372"/>
                  <a:pt x="19636" y="14236"/>
                </a:cubicBezTo>
                <a:cubicBezTo>
                  <a:pt x="19636" y="13965"/>
                  <a:pt x="19417" y="13745"/>
                  <a:pt x="19145" y="13745"/>
                </a:cubicBezTo>
                <a:cubicBezTo>
                  <a:pt x="19009" y="13745"/>
                  <a:pt x="18887" y="13801"/>
                  <a:pt x="18798" y="13890"/>
                </a:cubicBezTo>
                <a:lnTo>
                  <a:pt x="18164" y="14524"/>
                </a:lnTo>
                <a:cubicBezTo>
                  <a:pt x="18164" y="14524"/>
                  <a:pt x="17529" y="13890"/>
                  <a:pt x="17529" y="13890"/>
                </a:cubicBezTo>
                <a:close/>
                <a:moveTo>
                  <a:pt x="20618" y="20458"/>
                </a:moveTo>
                <a:lnTo>
                  <a:pt x="14727" y="18775"/>
                </a:lnTo>
                <a:lnTo>
                  <a:pt x="14727" y="7698"/>
                </a:lnTo>
                <a:cubicBezTo>
                  <a:pt x="14950" y="7802"/>
                  <a:pt x="15155" y="7914"/>
                  <a:pt x="15324" y="8034"/>
                </a:cubicBezTo>
                <a:lnTo>
                  <a:pt x="15893" y="7234"/>
                </a:lnTo>
                <a:cubicBezTo>
                  <a:pt x="15627" y="7044"/>
                  <a:pt x="15313" y="6872"/>
                  <a:pt x="14959" y="6721"/>
                </a:cubicBezTo>
                <a:lnTo>
                  <a:pt x="14727" y="7263"/>
                </a:lnTo>
                <a:lnTo>
                  <a:pt x="14727" y="1142"/>
                </a:lnTo>
                <a:lnTo>
                  <a:pt x="20618" y="2825"/>
                </a:lnTo>
                <a:cubicBezTo>
                  <a:pt x="20618" y="2825"/>
                  <a:pt x="20618" y="20458"/>
                  <a:pt x="20618" y="20458"/>
                </a:cubicBezTo>
                <a:close/>
                <a:moveTo>
                  <a:pt x="13745" y="18775"/>
                </a:moveTo>
                <a:lnTo>
                  <a:pt x="7855" y="20458"/>
                </a:lnTo>
                <a:lnTo>
                  <a:pt x="7855" y="9347"/>
                </a:lnTo>
                <a:lnTo>
                  <a:pt x="8249" y="10199"/>
                </a:lnTo>
                <a:cubicBezTo>
                  <a:pt x="8580" y="10045"/>
                  <a:pt x="8881" y="9843"/>
                  <a:pt x="9168" y="9581"/>
                </a:cubicBezTo>
                <a:lnTo>
                  <a:pt x="8505" y="8857"/>
                </a:lnTo>
                <a:cubicBezTo>
                  <a:pt x="8297" y="9048"/>
                  <a:pt x="8088" y="9187"/>
                  <a:pt x="7855" y="9299"/>
                </a:cubicBezTo>
                <a:lnTo>
                  <a:pt x="7855" y="2825"/>
                </a:lnTo>
                <a:lnTo>
                  <a:pt x="13745" y="1142"/>
                </a:lnTo>
                <a:cubicBezTo>
                  <a:pt x="13745" y="1142"/>
                  <a:pt x="13745" y="18775"/>
                  <a:pt x="13745" y="18775"/>
                </a:cubicBezTo>
                <a:close/>
                <a:moveTo>
                  <a:pt x="6873" y="20458"/>
                </a:moveTo>
                <a:lnTo>
                  <a:pt x="982" y="18775"/>
                </a:lnTo>
                <a:lnTo>
                  <a:pt x="982" y="1142"/>
                </a:lnTo>
                <a:lnTo>
                  <a:pt x="6873" y="2825"/>
                </a:lnTo>
                <a:cubicBezTo>
                  <a:pt x="6873" y="2825"/>
                  <a:pt x="6873" y="20458"/>
                  <a:pt x="6873" y="20458"/>
                </a:cubicBezTo>
                <a:close/>
                <a:moveTo>
                  <a:pt x="21241" y="1990"/>
                </a:moveTo>
                <a:lnTo>
                  <a:pt x="21244" y="1983"/>
                </a:lnTo>
                <a:lnTo>
                  <a:pt x="14372" y="19"/>
                </a:lnTo>
                <a:lnTo>
                  <a:pt x="14369" y="27"/>
                </a:lnTo>
                <a:cubicBezTo>
                  <a:pt x="14326" y="14"/>
                  <a:pt x="14283" y="0"/>
                  <a:pt x="14236" y="0"/>
                </a:cubicBezTo>
                <a:cubicBezTo>
                  <a:pt x="14189" y="0"/>
                  <a:pt x="14147" y="14"/>
                  <a:pt x="14104" y="27"/>
                </a:cubicBezTo>
                <a:lnTo>
                  <a:pt x="14102" y="19"/>
                </a:lnTo>
                <a:lnTo>
                  <a:pt x="7364" y="1944"/>
                </a:lnTo>
                <a:lnTo>
                  <a:pt x="626" y="19"/>
                </a:lnTo>
                <a:lnTo>
                  <a:pt x="623" y="27"/>
                </a:lnTo>
                <a:cubicBezTo>
                  <a:pt x="580" y="14"/>
                  <a:pt x="538" y="0"/>
                  <a:pt x="491" y="0"/>
                </a:cubicBezTo>
                <a:cubicBezTo>
                  <a:pt x="220" y="0"/>
                  <a:pt x="0" y="220"/>
                  <a:pt x="0" y="491"/>
                </a:cubicBezTo>
                <a:lnTo>
                  <a:pt x="0" y="19145"/>
                </a:lnTo>
                <a:cubicBezTo>
                  <a:pt x="0" y="19370"/>
                  <a:pt x="153" y="19551"/>
                  <a:pt x="359" y="19610"/>
                </a:cubicBezTo>
                <a:lnTo>
                  <a:pt x="356" y="19618"/>
                </a:lnTo>
                <a:lnTo>
                  <a:pt x="7228" y="21581"/>
                </a:lnTo>
                <a:lnTo>
                  <a:pt x="7231" y="21573"/>
                </a:lnTo>
                <a:cubicBezTo>
                  <a:pt x="7274" y="21586"/>
                  <a:pt x="7317" y="21600"/>
                  <a:pt x="7364" y="21600"/>
                </a:cubicBezTo>
                <a:cubicBezTo>
                  <a:pt x="7411" y="21600"/>
                  <a:pt x="7453" y="21586"/>
                  <a:pt x="7496" y="21573"/>
                </a:cubicBezTo>
                <a:lnTo>
                  <a:pt x="7499" y="21581"/>
                </a:lnTo>
                <a:lnTo>
                  <a:pt x="14236" y="19656"/>
                </a:lnTo>
                <a:lnTo>
                  <a:pt x="20975" y="21581"/>
                </a:lnTo>
                <a:lnTo>
                  <a:pt x="20977" y="21573"/>
                </a:lnTo>
                <a:cubicBezTo>
                  <a:pt x="21020" y="21586"/>
                  <a:pt x="21062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lnTo>
                  <a:pt x="21600" y="2455"/>
                </a:lnTo>
                <a:cubicBezTo>
                  <a:pt x="21600" y="2231"/>
                  <a:pt x="21447" y="2049"/>
                  <a:pt x="21241" y="1990"/>
                </a:cubicBezTo>
                <a:moveTo>
                  <a:pt x="16435" y="9275"/>
                </a:moveTo>
                <a:lnTo>
                  <a:pt x="16518" y="9374"/>
                </a:lnTo>
                <a:lnTo>
                  <a:pt x="17269" y="8740"/>
                </a:lnTo>
                <a:lnTo>
                  <a:pt x="17184" y="8640"/>
                </a:lnTo>
                <a:cubicBezTo>
                  <a:pt x="17013" y="8438"/>
                  <a:pt x="16840" y="8236"/>
                  <a:pt x="16677" y="8019"/>
                </a:cubicBezTo>
                <a:lnTo>
                  <a:pt x="15891" y="8606"/>
                </a:lnTo>
                <a:cubicBezTo>
                  <a:pt x="16066" y="8840"/>
                  <a:pt x="16251" y="9059"/>
                  <a:pt x="16435" y="9275"/>
                </a:cubicBezTo>
                <a:moveTo>
                  <a:pt x="6270" y="11022"/>
                </a:moveTo>
                <a:lnTo>
                  <a:pt x="5739" y="10196"/>
                </a:lnTo>
                <a:cubicBezTo>
                  <a:pt x="5432" y="10394"/>
                  <a:pt x="5153" y="10605"/>
                  <a:pt x="4909" y="10825"/>
                </a:cubicBezTo>
                <a:lnTo>
                  <a:pt x="5568" y="11554"/>
                </a:lnTo>
                <a:cubicBezTo>
                  <a:pt x="5772" y="11370"/>
                  <a:pt x="6008" y="11191"/>
                  <a:pt x="6270" y="11022"/>
                </a:cubicBezTo>
                <a:moveTo>
                  <a:pt x="5004" y="12185"/>
                </a:moveTo>
                <a:lnTo>
                  <a:pt x="4196" y="11628"/>
                </a:lnTo>
                <a:cubicBezTo>
                  <a:pt x="3975" y="11949"/>
                  <a:pt x="3812" y="12288"/>
                  <a:pt x="3713" y="12634"/>
                </a:cubicBezTo>
                <a:lnTo>
                  <a:pt x="4656" y="12906"/>
                </a:lnTo>
                <a:cubicBezTo>
                  <a:pt x="4727" y="12661"/>
                  <a:pt x="4844" y="12418"/>
                  <a:pt x="5004" y="12185"/>
                </a:cubicBezTo>
                <a:moveTo>
                  <a:pt x="10467" y="8318"/>
                </a:moveTo>
                <a:lnTo>
                  <a:pt x="9972" y="7470"/>
                </a:lnTo>
                <a:cubicBezTo>
                  <a:pt x="9623" y="7674"/>
                  <a:pt x="9362" y="7936"/>
                  <a:pt x="9132" y="8189"/>
                </a:cubicBezTo>
                <a:lnTo>
                  <a:pt x="9857" y="8850"/>
                </a:lnTo>
                <a:cubicBezTo>
                  <a:pt x="10063" y="8624"/>
                  <a:pt x="10245" y="8448"/>
                  <a:pt x="10467" y="8318"/>
                </a:cubicBezTo>
                <a:moveTo>
                  <a:pt x="3927" y="15709"/>
                </a:moveTo>
                <a:cubicBezTo>
                  <a:pt x="4469" y="15709"/>
                  <a:pt x="4909" y="15270"/>
                  <a:pt x="4909" y="14727"/>
                </a:cubicBezTo>
                <a:cubicBezTo>
                  <a:pt x="4909" y="14185"/>
                  <a:pt x="4469" y="13745"/>
                  <a:pt x="3927" y="13745"/>
                </a:cubicBezTo>
                <a:cubicBezTo>
                  <a:pt x="3385" y="13745"/>
                  <a:pt x="2945" y="14185"/>
                  <a:pt x="2945" y="14727"/>
                </a:cubicBezTo>
                <a:cubicBezTo>
                  <a:pt x="2945" y="15270"/>
                  <a:pt x="3385" y="15709"/>
                  <a:pt x="3927" y="15709"/>
                </a:cubicBezTo>
                <a:moveTo>
                  <a:pt x="12273" y="7855"/>
                </a:moveTo>
                <a:cubicBezTo>
                  <a:pt x="12815" y="7855"/>
                  <a:pt x="13255" y="7415"/>
                  <a:pt x="13255" y="6873"/>
                </a:cubicBezTo>
                <a:cubicBezTo>
                  <a:pt x="13255" y="6331"/>
                  <a:pt x="12815" y="5891"/>
                  <a:pt x="12273" y="5891"/>
                </a:cubicBezTo>
                <a:cubicBezTo>
                  <a:pt x="11730" y="5891"/>
                  <a:pt x="11291" y="6331"/>
                  <a:pt x="11291" y="6873"/>
                </a:cubicBezTo>
                <a:cubicBezTo>
                  <a:pt x="11291" y="7415"/>
                  <a:pt x="11730" y="7855"/>
                  <a:pt x="12273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40" name="Shape 2940"/>
          <p:cNvSpPr/>
          <p:nvPr/>
        </p:nvSpPr>
        <p:spPr>
          <a:xfrm>
            <a:off x="8157677" y="659179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345"/>
                </a:moveTo>
                <a:cubicBezTo>
                  <a:pt x="9444" y="8345"/>
                  <a:pt x="8345" y="9444"/>
                  <a:pt x="8345" y="10800"/>
                </a:cubicBezTo>
                <a:cubicBezTo>
                  <a:pt x="8345" y="12156"/>
                  <a:pt x="9444" y="13255"/>
                  <a:pt x="10800" y="13255"/>
                </a:cubicBezTo>
                <a:cubicBezTo>
                  <a:pt x="12156" y="13255"/>
                  <a:pt x="13255" y="12156"/>
                  <a:pt x="13255" y="10800"/>
                </a:cubicBezTo>
                <a:cubicBezTo>
                  <a:pt x="13255" y="9444"/>
                  <a:pt x="12156" y="8345"/>
                  <a:pt x="10800" y="8345"/>
                </a:cubicBezTo>
                <a:moveTo>
                  <a:pt x="11291" y="20593"/>
                </a:moveTo>
                <a:lnTo>
                  <a:pt x="11291" y="17182"/>
                </a:lnTo>
                <a:cubicBezTo>
                  <a:pt x="11291" y="16910"/>
                  <a:pt x="11071" y="16691"/>
                  <a:pt x="10800" y="16691"/>
                </a:cubicBezTo>
                <a:cubicBezTo>
                  <a:pt x="10529" y="16691"/>
                  <a:pt x="10309" y="16910"/>
                  <a:pt x="10309" y="17182"/>
                </a:cubicBezTo>
                <a:lnTo>
                  <a:pt x="10309" y="20593"/>
                </a:lnTo>
                <a:cubicBezTo>
                  <a:pt x="5280" y="20344"/>
                  <a:pt x="1255" y="16319"/>
                  <a:pt x="1006" y="11291"/>
                </a:cubicBezTo>
                <a:lnTo>
                  <a:pt x="4418" y="11291"/>
                </a:lnTo>
                <a:cubicBezTo>
                  <a:pt x="4690" y="11291"/>
                  <a:pt x="4909" y="11071"/>
                  <a:pt x="4909" y="10800"/>
                </a:cubicBezTo>
                <a:cubicBezTo>
                  <a:pt x="4909" y="10529"/>
                  <a:pt x="4690" y="10309"/>
                  <a:pt x="4418" y="10309"/>
                </a:cubicBezTo>
                <a:lnTo>
                  <a:pt x="1006" y="10309"/>
                </a:lnTo>
                <a:cubicBezTo>
                  <a:pt x="1255" y="5281"/>
                  <a:pt x="5280" y="1256"/>
                  <a:pt x="10309" y="1007"/>
                </a:cubicBezTo>
                <a:lnTo>
                  <a:pt x="10309" y="4418"/>
                </a:lnTo>
                <a:cubicBezTo>
                  <a:pt x="10309" y="4690"/>
                  <a:pt x="10529" y="4909"/>
                  <a:pt x="10800" y="4909"/>
                </a:cubicBezTo>
                <a:cubicBezTo>
                  <a:pt x="11071" y="4909"/>
                  <a:pt x="11291" y="4690"/>
                  <a:pt x="11291" y="4418"/>
                </a:cubicBezTo>
                <a:lnTo>
                  <a:pt x="11291" y="1007"/>
                </a:lnTo>
                <a:cubicBezTo>
                  <a:pt x="16320" y="1256"/>
                  <a:pt x="20345" y="5281"/>
                  <a:pt x="20594" y="10309"/>
                </a:cubicBezTo>
                <a:lnTo>
                  <a:pt x="17182" y="10309"/>
                </a:lnTo>
                <a:cubicBezTo>
                  <a:pt x="16910" y="10309"/>
                  <a:pt x="16691" y="10529"/>
                  <a:pt x="16691" y="10800"/>
                </a:cubicBezTo>
                <a:cubicBezTo>
                  <a:pt x="16691" y="11071"/>
                  <a:pt x="16910" y="11291"/>
                  <a:pt x="17182" y="11291"/>
                </a:cubicBezTo>
                <a:lnTo>
                  <a:pt x="20594" y="11291"/>
                </a:lnTo>
                <a:cubicBezTo>
                  <a:pt x="20345" y="16319"/>
                  <a:pt x="16320" y="20344"/>
                  <a:pt x="11291" y="20593"/>
                </a:cubicBezTo>
                <a:moveTo>
                  <a:pt x="10800" y="0"/>
                </a:moveTo>
                <a:cubicBezTo>
                  <a:pt x="10800" y="0"/>
                  <a:pt x="10800" y="0"/>
                  <a:pt x="10800" y="0"/>
                </a:cubicBezTo>
                <a:cubicBezTo>
                  <a:pt x="10800" y="0"/>
                  <a:pt x="10800" y="0"/>
                  <a:pt x="10800" y="0"/>
                </a:cubicBez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41" name="Shape 2941"/>
          <p:cNvSpPr/>
          <p:nvPr/>
        </p:nvSpPr>
        <p:spPr>
          <a:xfrm>
            <a:off x="9224197" y="659179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20593"/>
                </a:moveTo>
                <a:lnTo>
                  <a:pt x="11291" y="17648"/>
                </a:lnTo>
                <a:cubicBezTo>
                  <a:pt x="14694" y="17407"/>
                  <a:pt x="17408" y="14693"/>
                  <a:pt x="17649" y="11291"/>
                </a:cubicBezTo>
                <a:lnTo>
                  <a:pt x="20594" y="11291"/>
                </a:lnTo>
                <a:cubicBezTo>
                  <a:pt x="20345" y="16319"/>
                  <a:pt x="16320" y="20344"/>
                  <a:pt x="11291" y="20593"/>
                </a:cubicBezTo>
                <a:moveTo>
                  <a:pt x="11291" y="13205"/>
                </a:moveTo>
                <a:cubicBezTo>
                  <a:pt x="12252" y="13010"/>
                  <a:pt x="13005" y="12252"/>
                  <a:pt x="13201" y="11291"/>
                </a:cubicBezTo>
                <a:lnTo>
                  <a:pt x="16667" y="11291"/>
                </a:lnTo>
                <a:cubicBezTo>
                  <a:pt x="16431" y="14152"/>
                  <a:pt x="14152" y="16429"/>
                  <a:pt x="11291" y="16666"/>
                </a:cubicBezTo>
                <a:cubicBezTo>
                  <a:pt x="11291" y="16666"/>
                  <a:pt x="11291" y="13205"/>
                  <a:pt x="11291" y="13205"/>
                </a:cubicBezTo>
                <a:close/>
                <a:moveTo>
                  <a:pt x="11291" y="4934"/>
                </a:moveTo>
                <a:cubicBezTo>
                  <a:pt x="12233" y="5012"/>
                  <a:pt x="13111" y="5315"/>
                  <a:pt x="13875" y="5784"/>
                </a:cubicBezTo>
                <a:cubicBezTo>
                  <a:pt x="13793" y="5967"/>
                  <a:pt x="13745" y="6168"/>
                  <a:pt x="13745" y="6382"/>
                </a:cubicBezTo>
                <a:cubicBezTo>
                  <a:pt x="13745" y="7195"/>
                  <a:pt x="14405" y="7855"/>
                  <a:pt x="15218" y="7855"/>
                </a:cubicBezTo>
                <a:cubicBezTo>
                  <a:pt x="15432" y="7855"/>
                  <a:pt x="15633" y="7807"/>
                  <a:pt x="15816" y="7725"/>
                </a:cubicBezTo>
                <a:cubicBezTo>
                  <a:pt x="16286" y="8489"/>
                  <a:pt x="16589" y="9367"/>
                  <a:pt x="16667" y="10309"/>
                </a:cubicBezTo>
                <a:lnTo>
                  <a:pt x="13201" y="10309"/>
                </a:lnTo>
                <a:cubicBezTo>
                  <a:pt x="13005" y="9348"/>
                  <a:pt x="12252" y="8590"/>
                  <a:pt x="11291" y="8395"/>
                </a:cubicBezTo>
                <a:cubicBezTo>
                  <a:pt x="11291" y="8395"/>
                  <a:pt x="11291" y="4934"/>
                  <a:pt x="11291" y="4934"/>
                </a:cubicBezTo>
                <a:close/>
                <a:moveTo>
                  <a:pt x="11291" y="1007"/>
                </a:moveTo>
                <a:cubicBezTo>
                  <a:pt x="16320" y="1256"/>
                  <a:pt x="20345" y="5281"/>
                  <a:pt x="20594" y="10309"/>
                </a:cubicBezTo>
                <a:lnTo>
                  <a:pt x="17649" y="10309"/>
                </a:lnTo>
                <a:cubicBezTo>
                  <a:pt x="17563" y="9102"/>
                  <a:pt x="17162" y="7985"/>
                  <a:pt x="16534" y="7031"/>
                </a:cubicBezTo>
                <a:cubicBezTo>
                  <a:pt x="16631" y="6835"/>
                  <a:pt x="16691" y="6616"/>
                  <a:pt x="16691" y="6382"/>
                </a:cubicBezTo>
                <a:cubicBezTo>
                  <a:pt x="16691" y="5569"/>
                  <a:pt x="16032" y="4909"/>
                  <a:pt x="15218" y="4909"/>
                </a:cubicBezTo>
                <a:cubicBezTo>
                  <a:pt x="14984" y="4909"/>
                  <a:pt x="14765" y="4969"/>
                  <a:pt x="14568" y="5066"/>
                </a:cubicBezTo>
                <a:cubicBezTo>
                  <a:pt x="13614" y="4439"/>
                  <a:pt x="12498" y="4038"/>
                  <a:pt x="11291" y="3952"/>
                </a:cubicBezTo>
                <a:cubicBezTo>
                  <a:pt x="11291" y="3952"/>
                  <a:pt x="11291" y="1007"/>
                  <a:pt x="11291" y="1007"/>
                </a:cubicBezTo>
                <a:close/>
                <a:moveTo>
                  <a:pt x="10309" y="3949"/>
                </a:moveTo>
                <a:cubicBezTo>
                  <a:pt x="7225" y="4167"/>
                  <a:pt x="4703" y="6417"/>
                  <a:pt x="4078" y="9370"/>
                </a:cubicBezTo>
                <a:cubicBezTo>
                  <a:pt x="3590" y="9486"/>
                  <a:pt x="3196" y="9843"/>
                  <a:pt x="3030" y="10309"/>
                </a:cubicBezTo>
                <a:lnTo>
                  <a:pt x="1006" y="10309"/>
                </a:lnTo>
                <a:cubicBezTo>
                  <a:pt x="1255" y="5281"/>
                  <a:pt x="5280" y="1256"/>
                  <a:pt x="10309" y="1007"/>
                </a:cubicBezTo>
                <a:cubicBezTo>
                  <a:pt x="10309" y="1007"/>
                  <a:pt x="10309" y="3949"/>
                  <a:pt x="10309" y="3949"/>
                </a:cubicBezTo>
                <a:close/>
                <a:moveTo>
                  <a:pt x="10309" y="8395"/>
                </a:moveTo>
                <a:cubicBezTo>
                  <a:pt x="9348" y="8590"/>
                  <a:pt x="8595" y="9348"/>
                  <a:pt x="8399" y="10309"/>
                </a:cubicBezTo>
                <a:lnTo>
                  <a:pt x="5796" y="10309"/>
                </a:lnTo>
                <a:cubicBezTo>
                  <a:pt x="5666" y="9948"/>
                  <a:pt x="5405" y="9649"/>
                  <a:pt x="5062" y="9482"/>
                </a:cubicBezTo>
                <a:cubicBezTo>
                  <a:pt x="5626" y="7018"/>
                  <a:pt x="7730" y="5144"/>
                  <a:pt x="10309" y="4930"/>
                </a:cubicBezTo>
                <a:cubicBezTo>
                  <a:pt x="10309" y="4930"/>
                  <a:pt x="10309" y="8395"/>
                  <a:pt x="10309" y="8395"/>
                </a:cubicBezTo>
                <a:close/>
                <a:moveTo>
                  <a:pt x="10309" y="16670"/>
                </a:moveTo>
                <a:cubicBezTo>
                  <a:pt x="7730" y="16456"/>
                  <a:pt x="5626" y="14582"/>
                  <a:pt x="5062" y="12118"/>
                </a:cubicBezTo>
                <a:cubicBezTo>
                  <a:pt x="5405" y="11951"/>
                  <a:pt x="5666" y="11652"/>
                  <a:pt x="5796" y="11291"/>
                </a:cubicBezTo>
                <a:lnTo>
                  <a:pt x="8399" y="11291"/>
                </a:lnTo>
                <a:cubicBezTo>
                  <a:pt x="8595" y="12252"/>
                  <a:pt x="9348" y="13010"/>
                  <a:pt x="10309" y="13205"/>
                </a:cubicBezTo>
                <a:cubicBezTo>
                  <a:pt x="10309" y="13205"/>
                  <a:pt x="10309" y="16670"/>
                  <a:pt x="10309" y="16670"/>
                </a:cubicBezTo>
                <a:close/>
                <a:moveTo>
                  <a:pt x="10309" y="20593"/>
                </a:moveTo>
                <a:cubicBezTo>
                  <a:pt x="5280" y="20344"/>
                  <a:pt x="1255" y="16319"/>
                  <a:pt x="1006" y="11291"/>
                </a:cubicBezTo>
                <a:lnTo>
                  <a:pt x="3030" y="11291"/>
                </a:lnTo>
                <a:cubicBezTo>
                  <a:pt x="3196" y="11757"/>
                  <a:pt x="3590" y="12114"/>
                  <a:pt x="4078" y="12230"/>
                </a:cubicBezTo>
                <a:cubicBezTo>
                  <a:pt x="4703" y="15183"/>
                  <a:pt x="7225" y="17434"/>
                  <a:pt x="10309" y="17651"/>
                </a:cubicBezTo>
                <a:cubicBezTo>
                  <a:pt x="10309" y="17651"/>
                  <a:pt x="10309" y="20593"/>
                  <a:pt x="10309" y="20593"/>
                </a:cubicBezTo>
                <a:close/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42" name="Shape 2942"/>
          <p:cNvSpPr/>
          <p:nvPr/>
        </p:nvSpPr>
        <p:spPr>
          <a:xfrm>
            <a:off x="10341508" y="6591790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2524"/>
                </a:moveTo>
                <a:cubicBezTo>
                  <a:pt x="19362" y="12218"/>
                  <a:pt x="17455" y="11782"/>
                  <a:pt x="15000" y="11782"/>
                </a:cubicBezTo>
                <a:cubicBezTo>
                  <a:pt x="12625" y="11782"/>
                  <a:pt x="11514" y="12089"/>
                  <a:pt x="10534" y="12360"/>
                </a:cubicBezTo>
                <a:cubicBezTo>
                  <a:pt x="9751" y="12577"/>
                  <a:pt x="9076" y="12764"/>
                  <a:pt x="7800" y="12764"/>
                </a:cubicBezTo>
                <a:cubicBezTo>
                  <a:pt x="6097" y="12764"/>
                  <a:pt x="5268" y="12537"/>
                  <a:pt x="4390" y="12298"/>
                </a:cubicBezTo>
                <a:cubicBezTo>
                  <a:pt x="3564" y="12073"/>
                  <a:pt x="2709" y="11842"/>
                  <a:pt x="1200" y="11792"/>
                </a:cubicBezTo>
                <a:lnTo>
                  <a:pt x="1200" y="992"/>
                </a:lnTo>
                <a:cubicBezTo>
                  <a:pt x="2511" y="1038"/>
                  <a:pt x="3242" y="1238"/>
                  <a:pt x="4010" y="1448"/>
                </a:cubicBezTo>
                <a:cubicBezTo>
                  <a:pt x="4941" y="1701"/>
                  <a:pt x="5903" y="1964"/>
                  <a:pt x="7800" y="1964"/>
                </a:cubicBezTo>
                <a:cubicBezTo>
                  <a:pt x="9273" y="1964"/>
                  <a:pt x="10109" y="1733"/>
                  <a:pt x="10918" y="1508"/>
                </a:cubicBezTo>
                <a:cubicBezTo>
                  <a:pt x="11854" y="1250"/>
                  <a:pt x="12823" y="982"/>
                  <a:pt x="15000" y="982"/>
                </a:cubicBezTo>
                <a:cubicBezTo>
                  <a:pt x="17661" y="982"/>
                  <a:pt x="19648" y="1545"/>
                  <a:pt x="20400" y="1794"/>
                </a:cubicBezTo>
                <a:cubicBezTo>
                  <a:pt x="20400" y="1794"/>
                  <a:pt x="20400" y="12524"/>
                  <a:pt x="20400" y="12524"/>
                </a:cubicBezTo>
                <a:close/>
                <a:moveTo>
                  <a:pt x="21594" y="1473"/>
                </a:moveTo>
                <a:cubicBezTo>
                  <a:pt x="21594" y="1293"/>
                  <a:pt x="21478" y="1120"/>
                  <a:pt x="21268" y="1034"/>
                </a:cubicBezTo>
                <a:cubicBezTo>
                  <a:pt x="21165" y="991"/>
                  <a:pt x="18699" y="0"/>
                  <a:pt x="15000" y="0"/>
                </a:cubicBezTo>
                <a:cubicBezTo>
                  <a:pt x="12625" y="0"/>
                  <a:pt x="11514" y="308"/>
                  <a:pt x="10534" y="579"/>
                </a:cubicBezTo>
                <a:cubicBezTo>
                  <a:pt x="9751" y="795"/>
                  <a:pt x="9076" y="982"/>
                  <a:pt x="7800" y="982"/>
                </a:cubicBezTo>
                <a:cubicBezTo>
                  <a:pt x="6097" y="982"/>
                  <a:pt x="5268" y="756"/>
                  <a:pt x="4390" y="516"/>
                </a:cubicBezTo>
                <a:cubicBezTo>
                  <a:pt x="3459" y="263"/>
                  <a:pt x="2497" y="0"/>
                  <a:pt x="600" y="0"/>
                </a:cubicBezTo>
                <a:cubicBezTo>
                  <a:pt x="268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932" y="21600"/>
                  <a:pt x="1200" y="21380"/>
                  <a:pt x="1200" y="21109"/>
                </a:cubicBezTo>
                <a:lnTo>
                  <a:pt x="1200" y="12774"/>
                </a:lnTo>
                <a:cubicBezTo>
                  <a:pt x="2511" y="12820"/>
                  <a:pt x="3242" y="13020"/>
                  <a:pt x="4010" y="13230"/>
                </a:cubicBezTo>
                <a:cubicBezTo>
                  <a:pt x="4941" y="13483"/>
                  <a:pt x="5903" y="13745"/>
                  <a:pt x="7800" y="13745"/>
                </a:cubicBezTo>
                <a:cubicBezTo>
                  <a:pt x="9273" y="13745"/>
                  <a:pt x="10109" y="13514"/>
                  <a:pt x="10918" y="13291"/>
                </a:cubicBezTo>
                <a:cubicBezTo>
                  <a:pt x="11854" y="13031"/>
                  <a:pt x="12823" y="12764"/>
                  <a:pt x="15000" y="12764"/>
                </a:cubicBezTo>
                <a:cubicBezTo>
                  <a:pt x="18400" y="12764"/>
                  <a:pt x="20709" y="13685"/>
                  <a:pt x="20733" y="13694"/>
                </a:cubicBezTo>
                <a:cubicBezTo>
                  <a:pt x="21029" y="13814"/>
                  <a:pt x="21389" y="13716"/>
                  <a:pt x="21537" y="13473"/>
                </a:cubicBezTo>
                <a:cubicBezTo>
                  <a:pt x="21580" y="13403"/>
                  <a:pt x="21594" y="13328"/>
                  <a:pt x="21594" y="13255"/>
                </a:cubicBezTo>
                <a:lnTo>
                  <a:pt x="21600" y="13255"/>
                </a:lnTo>
                <a:lnTo>
                  <a:pt x="21600" y="1473"/>
                </a:lnTo>
                <a:cubicBezTo>
                  <a:pt x="21600" y="1473"/>
                  <a:pt x="21594" y="1473"/>
                  <a:pt x="21594" y="1473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43" name="Shape 2943"/>
          <p:cNvSpPr/>
          <p:nvPr/>
        </p:nvSpPr>
        <p:spPr>
          <a:xfrm>
            <a:off x="11408029" y="6591790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11782"/>
                </a:moveTo>
                <a:lnTo>
                  <a:pt x="9600" y="10800"/>
                </a:lnTo>
                <a:lnTo>
                  <a:pt x="11400" y="10800"/>
                </a:lnTo>
                <a:cubicBezTo>
                  <a:pt x="11732" y="10800"/>
                  <a:pt x="12000" y="10580"/>
                  <a:pt x="12000" y="10309"/>
                </a:cubicBezTo>
                <a:lnTo>
                  <a:pt x="12000" y="2945"/>
                </a:lnTo>
                <a:lnTo>
                  <a:pt x="19940" y="2945"/>
                </a:lnTo>
                <a:lnTo>
                  <a:pt x="16886" y="7111"/>
                </a:lnTo>
                <a:lnTo>
                  <a:pt x="16894" y="7115"/>
                </a:lnTo>
                <a:cubicBezTo>
                  <a:pt x="16840" y="7189"/>
                  <a:pt x="16800" y="7272"/>
                  <a:pt x="16800" y="7364"/>
                </a:cubicBezTo>
                <a:cubicBezTo>
                  <a:pt x="16800" y="7457"/>
                  <a:pt x="16840" y="7538"/>
                  <a:pt x="16894" y="7612"/>
                </a:cubicBezTo>
                <a:lnTo>
                  <a:pt x="16886" y="7616"/>
                </a:lnTo>
                <a:lnTo>
                  <a:pt x="19940" y="11782"/>
                </a:lnTo>
                <a:cubicBezTo>
                  <a:pt x="19940" y="11782"/>
                  <a:pt x="9600" y="11782"/>
                  <a:pt x="9600" y="11782"/>
                </a:cubicBezTo>
                <a:close/>
                <a:moveTo>
                  <a:pt x="1200" y="982"/>
                </a:moveTo>
                <a:lnTo>
                  <a:pt x="10800" y="982"/>
                </a:lnTo>
                <a:lnTo>
                  <a:pt x="10800" y="9818"/>
                </a:lnTo>
                <a:lnTo>
                  <a:pt x="1200" y="9818"/>
                </a:lnTo>
                <a:cubicBezTo>
                  <a:pt x="1200" y="9818"/>
                  <a:pt x="1200" y="982"/>
                  <a:pt x="1200" y="982"/>
                </a:cubicBezTo>
                <a:close/>
                <a:moveTo>
                  <a:pt x="21514" y="12020"/>
                </a:moveTo>
                <a:lnTo>
                  <a:pt x="18100" y="7364"/>
                </a:lnTo>
                <a:lnTo>
                  <a:pt x="21514" y="2707"/>
                </a:lnTo>
                <a:lnTo>
                  <a:pt x="21506" y="2703"/>
                </a:lnTo>
                <a:cubicBezTo>
                  <a:pt x="21560" y="2629"/>
                  <a:pt x="21600" y="2547"/>
                  <a:pt x="21600" y="2455"/>
                </a:cubicBezTo>
                <a:cubicBezTo>
                  <a:pt x="21600" y="2183"/>
                  <a:pt x="21332" y="1964"/>
                  <a:pt x="21000" y="1964"/>
                </a:cubicBezTo>
                <a:lnTo>
                  <a:pt x="12000" y="1964"/>
                </a:lnTo>
                <a:lnTo>
                  <a:pt x="12000" y="491"/>
                </a:lnTo>
                <a:cubicBezTo>
                  <a:pt x="12000" y="220"/>
                  <a:pt x="11732" y="0"/>
                  <a:pt x="11400" y="0"/>
                </a:cubicBezTo>
                <a:lnTo>
                  <a:pt x="600" y="0"/>
                </a:lnTo>
                <a:cubicBezTo>
                  <a:pt x="268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932" y="21600"/>
                  <a:pt x="1200" y="21380"/>
                  <a:pt x="1200" y="21109"/>
                </a:cubicBezTo>
                <a:lnTo>
                  <a:pt x="1200" y="10800"/>
                </a:lnTo>
                <a:lnTo>
                  <a:pt x="8400" y="10800"/>
                </a:lnTo>
                <a:lnTo>
                  <a:pt x="8400" y="12273"/>
                </a:lnTo>
                <a:cubicBezTo>
                  <a:pt x="8400" y="12544"/>
                  <a:pt x="8668" y="12764"/>
                  <a:pt x="9000" y="12764"/>
                </a:cubicBezTo>
                <a:lnTo>
                  <a:pt x="21000" y="12764"/>
                </a:lnTo>
                <a:cubicBezTo>
                  <a:pt x="21332" y="12764"/>
                  <a:pt x="21600" y="12544"/>
                  <a:pt x="21600" y="12273"/>
                </a:cubicBezTo>
                <a:cubicBezTo>
                  <a:pt x="21600" y="12181"/>
                  <a:pt x="21560" y="12098"/>
                  <a:pt x="21506" y="12024"/>
                </a:cubicBezTo>
                <a:cubicBezTo>
                  <a:pt x="21506" y="12024"/>
                  <a:pt x="21514" y="12020"/>
                  <a:pt x="21514" y="1202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44" name="Shape 2944"/>
          <p:cNvSpPr/>
          <p:nvPr/>
        </p:nvSpPr>
        <p:spPr>
          <a:xfrm>
            <a:off x="12499946" y="657867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45" name="Shape 2945"/>
          <p:cNvSpPr/>
          <p:nvPr/>
        </p:nvSpPr>
        <p:spPr>
          <a:xfrm>
            <a:off x="13566466" y="657867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58" y="8342"/>
                </a:moveTo>
                <a:cubicBezTo>
                  <a:pt x="17614" y="6914"/>
                  <a:pt x="17383" y="5576"/>
                  <a:pt x="17008" y="4408"/>
                </a:cubicBezTo>
                <a:cubicBezTo>
                  <a:pt x="17543" y="4130"/>
                  <a:pt x="18018" y="3797"/>
                  <a:pt x="18435" y="3427"/>
                </a:cubicBezTo>
                <a:cubicBezTo>
                  <a:pt x="19673" y="4722"/>
                  <a:pt x="20474" y="6437"/>
                  <a:pt x="20593" y="8342"/>
                </a:cubicBezTo>
                <a:cubicBezTo>
                  <a:pt x="20593" y="8342"/>
                  <a:pt x="17658" y="8342"/>
                  <a:pt x="17658" y="8342"/>
                </a:cubicBezTo>
                <a:close/>
                <a:moveTo>
                  <a:pt x="15485" y="1482"/>
                </a:moveTo>
                <a:cubicBezTo>
                  <a:pt x="16306" y="1786"/>
                  <a:pt x="17058" y="2226"/>
                  <a:pt x="17723" y="2769"/>
                </a:cubicBezTo>
                <a:cubicBezTo>
                  <a:pt x="17412" y="3036"/>
                  <a:pt x="17056" y="3275"/>
                  <a:pt x="16666" y="3486"/>
                </a:cubicBezTo>
                <a:cubicBezTo>
                  <a:pt x="16337" y="2707"/>
                  <a:pt x="15939" y="2026"/>
                  <a:pt x="15485" y="1482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7"/>
                </a:cubicBezTo>
                <a:cubicBezTo>
                  <a:pt x="6514" y="3197"/>
                  <a:pt x="7287" y="3044"/>
                  <a:pt x="8086" y="2983"/>
                </a:cubicBezTo>
                <a:cubicBezTo>
                  <a:pt x="7991" y="2912"/>
                  <a:pt x="7892" y="2844"/>
                  <a:pt x="7804" y="2769"/>
                </a:cubicBezTo>
                <a:cubicBezTo>
                  <a:pt x="8469" y="2226"/>
                  <a:pt x="9222" y="1786"/>
                  <a:pt x="10042" y="1482"/>
                </a:cubicBezTo>
                <a:cubicBezTo>
                  <a:pt x="9694" y="1899"/>
                  <a:pt x="9380" y="2398"/>
                  <a:pt x="9104" y="2959"/>
                </a:cubicBezTo>
                <a:cubicBezTo>
                  <a:pt x="9451" y="2968"/>
                  <a:pt x="9793" y="2996"/>
                  <a:pt x="10131" y="3040"/>
                </a:cubicBezTo>
                <a:cubicBezTo>
                  <a:pt x="10712" y="1983"/>
                  <a:pt x="11449" y="1263"/>
                  <a:pt x="12269" y="1056"/>
                </a:cubicBezTo>
                <a:lnTo>
                  <a:pt x="12269" y="3575"/>
                </a:lnTo>
                <a:cubicBezTo>
                  <a:pt x="12608" y="3701"/>
                  <a:pt x="12938" y="3844"/>
                  <a:pt x="13258" y="4006"/>
                </a:cubicBezTo>
                <a:lnTo>
                  <a:pt x="13258" y="1056"/>
                </a:lnTo>
                <a:cubicBezTo>
                  <a:pt x="14282" y="1315"/>
                  <a:pt x="15181" y="2363"/>
                  <a:pt x="15801" y="3883"/>
                </a:cubicBezTo>
                <a:cubicBezTo>
                  <a:pt x="15207" y="4107"/>
                  <a:pt x="14555" y="4261"/>
                  <a:pt x="13865" y="4342"/>
                </a:cubicBezTo>
                <a:cubicBezTo>
                  <a:pt x="14263" y="4581"/>
                  <a:pt x="14647" y="4840"/>
                  <a:pt x="15006" y="5131"/>
                </a:cubicBezTo>
                <a:cubicBezTo>
                  <a:pt x="15391" y="5041"/>
                  <a:pt x="15767" y="4935"/>
                  <a:pt x="16122" y="4801"/>
                </a:cubicBezTo>
                <a:cubicBezTo>
                  <a:pt x="16296" y="5379"/>
                  <a:pt x="16430" y="6009"/>
                  <a:pt x="16526" y="6670"/>
                </a:cubicBezTo>
                <a:cubicBezTo>
                  <a:pt x="17157" y="7466"/>
                  <a:pt x="17663" y="8363"/>
                  <a:pt x="18025" y="9331"/>
                </a:cubicBezTo>
                <a:lnTo>
                  <a:pt x="20593" y="9331"/>
                </a:lnTo>
                <a:cubicBezTo>
                  <a:pt x="20478" y="11173"/>
                  <a:pt x="19721" y="12834"/>
                  <a:pt x="18551" y="14114"/>
                </a:cubicBezTo>
                <a:cubicBezTo>
                  <a:pt x="18470" y="14700"/>
                  <a:pt x="18342" y="15272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13731" y="12269"/>
                </a:moveTo>
                <a:cubicBezTo>
                  <a:pt x="13687" y="10842"/>
                  <a:pt x="13456" y="9504"/>
                  <a:pt x="13081" y="8335"/>
                </a:cubicBezTo>
                <a:cubicBezTo>
                  <a:pt x="13616" y="8057"/>
                  <a:pt x="14091" y="7725"/>
                  <a:pt x="14507" y="7354"/>
                </a:cubicBezTo>
                <a:cubicBezTo>
                  <a:pt x="15746" y="8649"/>
                  <a:pt x="16547" y="10365"/>
                  <a:pt x="16666" y="12269"/>
                </a:cubicBezTo>
                <a:cubicBezTo>
                  <a:pt x="16666" y="12269"/>
                  <a:pt x="13731" y="12269"/>
                  <a:pt x="13731" y="12269"/>
                </a:cubicBezTo>
                <a:close/>
                <a:moveTo>
                  <a:pt x="14507" y="18173"/>
                </a:moveTo>
                <a:cubicBezTo>
                  <a:pt x="14091" y="17803"/>
                  <a:pt x="13616" y="17470"/>
                  <a:pt x="13081" y="17192"/>
                </a:cubicBezTo>
                <a:cubicBezTo>
                  <a:pt x="13456" y="16024"/>
                  <a:pt x="13687" y="14686"/>
                  <a:pt x="13731" y="13258"/>
                </a:cubicBezTo>
                <a:lnTo>
                  <a:pt x="16666" y="13258"/>
                </a:lnTo>
                <a:cubicBezTo>
                  <a:pt x="16547" y="15163"/>
                  <a:pt x="15746" y="16878"/>
                  <a:pt x="14507" y="18173"/>
                </a:cubicBezTo>
                <a:moveTo>
                  <a:pt x="11558" y="20118"/>
                </a:moveTo>
                <a:cubicBezTo>
                  <a:pt x="12012" y="19574"/>
                  <a:pt x="12409" y="18893"/>
                  <a:pt x="12738" y="18114"/>
                </a:cubicBezTo>
                <a:cubicBezTo>
                  <a:pt x="13129" y="18325"/>
                  <a:pt x="13485" y="18564"/>
                  <a:pt x="13796" y="18831"/>
                </a:cubicBezTo>
                <a:cubicBezTo>
                  <a:pt x="13131" y="19374"/>
                  <a:pt x="12378" y="19814"/>
                  <a:pt x="11558" y="20118"/>
                </a:cubicBezTo>
                <a:moveTo>
                  <a:pt x="9331" y="20544"/>
                </a:moveTo>
                <a:lnTo>
                  <a:pt x="9331" y="17204"/>
                </a:lnTo>
                <a:cubicBezTo>
                  <a:pt x="10246" y="17253"/>
                  <a:pt x="11108" y="17428"/>
                  <a:pt x="11874" y="17717"/>
                </a:cubicBezTo>
                <a:cubicBezTo>
                  <a:pt x="11254" y="19237"/>
                  <a:pt x="10355" y="20286"/>
                  <a:pt x="9331" y="20544"/>
                </a:cubicBezTo>
                <a:moveTo>
                  <a:pt x="9331" y="13258"/>
                </a:moveTo>
                <a:lnTo>
                  <a:pt x="12749" y="13258"/>
                </a:lnTo>
                <a:cubicBezTo>
                  <a:pt x="12709" y="14550"/>
                  <a:pt x="12510" y="15752"/>
                  <a:pt x="12195" y="16799"/>
                </a:cubicBezTo>
                <a:cubicBezTo>
                  <a:pt x="11327" y="16471"/>
                  <a:pt x="10357" y="16273"/>
                  <a:pt x="9331" y="16223"/>
                </a:cubicBezTo>
                <a:cubicBezTo>
                  <a:pt x="9331" y="16223"/>
                  <a:pt x="9331" y="13258"/>
                  <a:pt x="9331" y="13258"/>
                </a:cubicBezTo>
                <a:close/>
                <a:moveTo>
                  <a:pt x="9331" y="9305"/>
                </a:moveTo>
                <a:cubicBezTo>
                  <a:pt x="10357" y="9254"/>
                  <a:pt x="11327" y="9056"/>
                  <a:pt x="12195" y="8728"/>
                </a:cubicBezTo>
                <a:cubicBezTo>
                  <a:pt x="12510" y="9775"/>
                  <a:pt x="12709" y="10977"/>
                  <a:pt x="12749" y="12269"/>
                </a:cubicBezTo>
                <a:lnTo>
                  <a:pt x="9331" y="12269"/>
                </a:lnTo>
                <a:cubicBezTo>
                  <a:pt x="9331" y="12269"/>
                  <a:pt x="9331" y="9305"/>
                  <a:pt x="9331" y="9305"/>
                </a:cubicBezTo>
                <a:close/>
                <a:moveTo>
                  <a:pt x="9331" y="4983"/>
                </a:moveTo>
                <a:cubicBezTo>
                  <a:pt x="10355" y="5242"/>
                  <a:pt x="11254" y="6290"/>
                  <a:pt x="11874" y="7810"/>
                </a:cubicBezTo>
                <a:cubicBezTo>
                  <a:pt x="11108" y="8099"/>
                  <a:pt x="10246" y="8275"/>
                  <a:pt x="9331" y="8323"/>
                </a:cubicBezTo>
                <a:cubicBezTo>
                  <a:pt x="9331" y="8323"/>
                  <a:pt x="9331" y="4983"/>
                  <a:pt x="9331" y="4983"/>
                </a:cubicBezTo>
                <a:close/>
                <a:moveTo>
                  <a:pt x="13796" y="6696"/>
                </a:moveTo>
                <a:cubicBezTo>
                  <a:pt x="13485" y="6963"/>
                  <a:pt x="13129" y="7203"/>
                  <a:pt x="12738" y="7413"/>
                </a:cubicBezTo>
                <a:cubicBezTo>
                  <a:pt x="12409" y="6634"/>
                  <a:pt x="12012" y="5954"/>
                  <a:pt x="11557" y="5410"/>
                </a:cubicBezTo>
                <a:cubicBezTo>
                  <a:pt x="12378" y="5714"/>
                  <a:pt x="13131" y="6153"/>
                  <a:pt x="13796" y="6696"/>
                </a:cubicBezTo>
                <a:moveTo>
                  <a:pt x="8342" y="8323"/>
                </a:moveTo>
                <a:cubicBezTo>
                  <a:pt x="7427" y="8275"/>
                  <a:pt x="6564" y="8099"/>
                  <a:pt x="5799" y="7810"/>
                </a:cubicBezTo>
                <a:cubicBezTo>
                  <a:pt x="6419" y="6290"/>
                  <a:pt x="7318" y="5242"/>
                  <a:pt x="8342" y="4983"/>
                </a:cubicBezTo>
                <a:cubicBezTo>
                  <a:pt x="8342" y="4983"/>
                  <a:pt x="8342" y="8323"/>
                  <a:pt x="8342" y="8323"/>
                </a:cubicBezTo>
                <a:close/>
                <a:moveTo>
                  <a:pt x="8342" y="12269"/>
                </a:moveTo>
                <a:lnTo>
                  <a:pt x="4923" y="12269"/>
                </a:lnTo>
                <a:cubicBezTo>
                  <a:pt x="4964" y="10977"/>
                  <a:pt x="5163" y="9775"/>
                  <a:pt x="5478" y="8728"/>
                </a:cubicBezTo>
                <a:cubicBezTo>
                  <a:pt x="6346" y="9056"/>
                  <a:pt x="7316" y="9254"/>
                  <a:pt x="8342" y="9305"/>
                </a:cubicBezTo>
                <a:cubicBezTo>
                  <a:pt x="8342" y="9305"/>
                  <a:pt x="8342" y="12269"/>
                  <a:pt x="8342" y="12269"/>
                </a:cubicBezTo>
                <a:close/>
                <a:moveTo>
                  <a:pt x="8342" y="16223"/>
                </a:moveTo>
                <a:cubicBezTo>
                  <a:pt x="7316" y="16273"/>
                  <a:pt x="6346" y="16471"/>
                  <a:pt x="5478" y="16799"/>
                </a:cubicBezTo>
                <a:cubicBezTo>
                  <a:pt x="5163" y="15752"/>
                  <a:pt x="4964" y="14550"/>
                  <a:pt x="4923" y="13258"/>
                </a:cubicBezTo>
                <a:lnTo>
                  <a:pt x="8342" y="13258"/>
                </a:lnTo>
                <a:cubicBezTo>
                  <a:pt x="8342" y="13258"/>
                  <a:pt x="8342" y="16223"/>
                  <a:pt x="8342" y="16223"/>
                </a:cubicBezTo>
                <a:close/>
                <a:moveTo>
                  <a:pt x="8342" y="20544"/>
                </a:moveTo>
                <a:cubicBezTo>
                  <a:pt x="7318" y="20286"/>
                  <a:pt x="6419" y="19237"/>
                  <a:pt x="5799" y="17717"/>
                </a:cubicBezTo>
                <a:cubicBezTo>
                  <a:pt x="6564" y="17428"/>
                  <a:pt x="7427" y="17253"/>
                  <a:pt x="8342" y="17204"/>
                </a:cubicBezTo>
                <a:cubicBezTo>
                  <a:pt x="8342" y="17204"/>
                  <a:pt x="8342" y="20544"/>
                  <a:pt x="8342" y="20544"/>
                </a:cubicBezTo>
                <a:close/>
                <a:moveTo>
                  <a:pt x="3877" y="18831"/>
                </a:moveTo>
                <a:cubicBezTo>
                  <a:pt x="4188" y="18564"/>
                  <a:pt x="4544" y="18325"/>
                  <a:pt x="4935" y="18114"/>
                </a:cubicBezTo>
                <a:cubicBezTo>
                  <a:pt x="5264" y="18893"/>
                  <a:pt x="5661" y="19574"/>
                  <a:pt x="6115" y="20118"/>
                </a:cubicBezTo>
                <a:cubicBezTo>
                  <a:pt x="5295" y="19814"/>
                  <a:pt x="4541" y="19374"/>
                  <a:pt x="3877" y="18831"/>
                </a:cubicBezTo>
                <a:moveTo>
                  <a:pt x="1007" y="13258"/>
                </a:moveTo>
                <a:lnTo>
                  <a:pt x="3942" y="13258"/>
                </a:lnTo>
                <a:cubicBezTo>
                  <a:pt x="3986" y="14686"/>
                  <a:pt x="4217" y="16024"/>
                  <a:pt x="4591" y="17192"/>
                </a:cubicBezTo>
                <a:cubicBezTo>
                  <a:pt x="4057" y="17470"/>
                  <a:pt x="3582" y="17803"/>
                  <a:pt x="3166" y="18173"/>
                </a:cubicBezTo>
                <a:cubicBezTo>
                  <a:pt x="1927" y="16878"/>
                  <a:pt x="1126" y="15163"/>
                  <a:pt x="1007" y="13258"/>
                </a:cubicBezTo>
                <a:moveTo>
                  <a:pt x="3166" y="7354"/>
                </a:moveTo>
                <a:cubicBezTo>
                  <a:pt x="3582" y="7725"/>
                  <a:pt x="4057" y="8057"/>
                  <a:pt x="4591" y="8335"/>
                </a:cubicBezTo>
                <a:cubicBezTo>
                  <a:pt x="4217" y="9504"/>
                  <a:pt x="3986" y="10842"/>
                  <a:pt x="3942" y="12269"/>
                </a:cubicBezTo>
                <a:lnTo>
                  <a:pt x="1007" y="12269"/>
                </a:lnTo>
                <a:cubicBezTo>
                  <a:pt x="1126" y="10365"/>
                  <a:pt x="1927" y="8649"/>
                  <a:pt x="3166" y="7354"/>
                </a:cubicBezTo>
                <a:moveTo>
                  <a:pt x="6115" y="5410"/>
                </a:moveTo>
                <a:cubicBezTo>
                  <a:pt x="5661" y="5954"/>
                  <a:pt x="5264" y="6634"/>
                  <a:pt x="4935" y="7413"/>
                </a:cubicBezTo>
                <a:cubicBezTo>
                  <a:pt x="4544" y="7203"/>
                  <a:pt x="4188" y="6963"/>
                  <a:pt x="3877" y="6696"/>
                </a:cubicBezTo>
                <a:cubicBezTo>
                  <a:pt x="4542" y="6153"/>
                  <a:pt x="5295" y="5714"/>
                  <a:pt x="6115" y="5410"/>
                </a:cubicBezTo>
                <a:moveTo>
                  <a:pt x="8836" y="3927"/>
                </a:moveTo>
                <a:cubicBezTo>
                  <a:pt x="3956" y="3927"/>
                  <a:pt x="0" y="7883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3"/>
                  <a:pt x="13717" y="3927"/>
                  <a:pt x="8836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46" name="Shape 2946"/>
          <p:cNvSpPr/>
          <p:nvPr/>
        </p:nvSpPr>
        <p:spPr>
          <a:xfrm>
            <a:off x="14632989" y="657867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595" y="9980"/>
                </a:moveTo>
                <a:cubicBezTo>
                  <a:pt x="19587" y="9894"/>
                  <a:pt x="19575" y="9811"/>
                  <a:pt x="19565" y="9726"/>
                </a:cubicBezTo>
                <a:cubicBezTo>
                  <a:pt x="19542" y="9539"/>
                  <a:pt x="19514" y="9355"/>
                  <a:pt x="19480" y="9172"/>
                </a:cubicBezTo>
                <a:cubicBezTo>
                  <a:pt x="19463" y="9078"/>
                  <a:pt x="19444" y="8986"/>
                  <a:pt x="19424" y="8893"/>
                </a:cubicBezTo>
                <a:cubicBezTo>
                  <a:pt x="19384" y="8712"/>
                  <a:pt x="19337" y="8533"/>
                  <a:pt x="19286" y="8356"/>
                </a:cubicBezTo>
                <a:cubicBezTo>
                  <a:pt x="19263" y="8276"/>
                  <a:pt x="19244" y="8195"/>
                  <a:pt x="19218" y="8116"/>
                </a:cubicBezTo>
                <a:cubicBezTo>
                  <a:pt x="19143" y="7879"/>
                  <a:pt x="19057" y="7646"/>
                  <a:pt x="18963" y="7418"/>
                </a:cubicBezTo>
                <a:cubicBezTo>
                  <a:pt x="18923" y="7321"/>
                  <a:pt x="18876" y="7229"/>
                  <a:pt x="18833" y="7134"/>
                </a:cubicBezTo>
                <a:cubicBezTo>
                  <a:pt x="18771" y="6999"/>
                  <a:pt x="18708" y="6865"/>
                  <a:pt x="18640" y="6734"/>
                </a:cubicBezTo>
                <a:cubicBezTo>
                  <a:pt x="18580" y="6618"/>
                  <a:pt x="18516" y="6504"/>
                  <a:pt x="18450" y="6391"/>
                </a:cubicBezTo>
                <a:cubicBezTo>
                  <a:pt x="18392" y="6291"/>
                  <a:pt x="18331" y="6192"/>
                  <a:pt x="18269" y="6094"/>
                </a:cubicBezTo>
                <a:cubicBezTo>
                  <a:pt x="18192" y="5971"/>
                  <a:pt x="18114" y="5849"/>
                  <a:pt x="18031" y="5731"/>
                </a:cubicBezTo>
                <a:cubicBezTo>
                  <a:pt x="17986" y="5667"/>
                  <a:pt x="17936" y="5605"/>
                  <a:pt x="17889" y="5541"/>
                </a:cubicBezTo>
                <a:cubicBezTo>
                  <a:pt x="17544" y="5080"/>
                  <a:pt x="17159" y="4651"/>
                  <a:pt x="16732" y="4265"/>
                </a:cubicBezTo>
                <a:cubicBezTo>
                  <a:pt x="16705" y="4241"/>
                  <a:pt x="16679" y="4216"/>
                  <a:pt x="16652" y="4192"/>
                </a:cubicBezTo>
                <a:cubicBezTo>
                  <a:pt x="16499" y="4058"/>
                  <a:pt x="16343" y="3927"/>
                  <a:pt x="16181" y="3803"/>
                </a:cubicBezTo>
                <a:cubicBezTo>
                  <a:pt x="16173" y="3796"/>
                  <a:pt x="16165" y="3790"/>
                  <a:pt x="16156" y="3784"/>
                </a:cubicBezTo>
                <a:cubicBezTo>
                  <a:pt x="15459" y="3252"/>
                  <a:pt x="14680" y="2821"/>
                  <a:pt x="13842" y="2513"/>
                </a:cubicBezTo>
                <a:cubicBezTo>
                  <a:pt x="13592" y="2912"/>
                  <a:pt x="13337" y="3420"/>
                  <a:pt x="13040" y="3590"/>
                </a:cubicBezTo>
                <a:cubicBezTo>
                  <a:pt x="12610" y="3835"/>
                  <a:pt x="12641" y="4817"/>
                  <a:pt x="13469" y="4725"/>
                </a:cubicBezTo>
                <a:cubicBezTo>
                  <a:pt x="13469" y="4725"/>
                  <a:pt x="13224" y="4970"/>
                  <a:pt x="13469" y="5860"/>
                </a:cubicBezTo>
                <a:cubicBezTo>
                  <a:pt x="13715" y="6750"/>
                  <a:pt x="14126" y="6943"/>
                  <a:pt x="15341" y="6443"/>
                </a:cubicBezTo>
                <a:cubicBezTo>
                  <a:pt x="15862" y="6228"/>
                  <a:pt x="16258" y="6340"/>
                  <a:pt x="16200" y="6873"/>
                </a:cubicBezTo>
                <a:cubicBezTo>
                  <a:pt x="16077" y="8008"/>
                  <a:pt x="15202" y="7960"/>
                  <a:pt x="15862" y="9788"/>
                </a:cubicBezTo>
                <a:cubicBezTo>
                  <a:pt x="16261" y="10892"/>
                  <a:pt x="17243" y="11322"/>
                  <a:pt x="17611" y="12181"/>
                </a:cubicBezTo>
                <a:cubicBezTo>
                  <a:pt x="17814" y="12653"/>
                  <a:pt x="18591" y="13088"/>
                  <a:pt x="19250" y="13384"/>
                </a:cubicBezTo>
                <a:cubicBezTo>
                  <a:pt x="19321" y="13153"/>
                  <a:pt x="19380" y="12917"/>
                  <a:pt x="19432" y="12677"/>
                </a:cubicBezTo>
                <a:cubicBezTo>
                  <a:pt x="19452" y="12587"/>
                  <a:pt x="19467" y="12494"/>
                  <a:pt x="19484" y="12402"/>
                </a:cubicBezTo>
                <a:cubicBezTo>
                  <a:pt x="19517" y="12224"/>
                  <a:pt x="19545" y="12044"/>
                  <a:pt x="19566" y="11862"/>
                </a:cubicBezTo>
                <a:cubicBezTo>
                  <a:pt x="19576" y="11776"/>
                  <a:pt x="19588" y="11691"/>
                  <a:pt x="19596" y="11604"/>
                </a:cubicBezTo>
                <a:cubicBezTo>
                  <a:pt x="19620" y="11340"/>
                  <a:pt x="19636" y="11072"/>
                  <a:pt x="19636" y="10800"/>
                </a:cubicBezTo>
                <a:cubicBezTo>
                  <a:pt x="19636" y="10523"/>
                  <a:pt x="19620" y="10250"/>
                  <a:pt x="19595" y="998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6223"/>
                  <a:pt x="1622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8407" y="9726"/>
                </a:moveTo>
                <a:cubicBezTo>
                  <a:pt x="8468" y="9020"/>
                  <a:pt x="9603" y="8284"/>
                  <a:pt x="10370" y="7947"/>
                </a:cubicBezTo>
                <a:cubicBezTo>
                  <a:pt x="11137" y="7609"/>
                  <a:pt x="11843" y="7486"/>
                  <a:pt x="11751" y="6903"/>
                </a:cubicBezTo>
                <a:cubicBezTo>
                  <a:pt x="11659" y="6320"/>
                  <a:pt x="11444" y="5891"/>
                  <a:pt x="10248" y="5891"/>
                </a:cubicBezTo>
                <a:cubicBezTo>
                  <a:pt x="9051" y="5891"/>
                  <a:pt x="9573" y="7486"/>
                  <a:pt x="8591" y="6535"/>
                </a:cubicBezTo>
                <a:cubicBezTo>
                  <a:pt x="7609" y="5584"/>
                  <a:pt x="8805" y="5830"/>
                  <a:pt x="9296" y="5615"/>
                </a:cubicBezTo>
                <a:cubicBezTo>
                  <a:pt x="9787" y="5400"/>
                  <a:pt x="10278" y="4510"/>
                  <a:pt x="9419" y="4449"/>
                </a:cubicBezTo>
                <a:cubicBezTo>
                  <a:pt x="8560" y="4388"/>
                  <a:pt x="8744" y="4817"/>
                  <a:pt x="8069" y="4572"/>
                </a:cubicBezTo>
                <a:cubicBezTo>
                  <a:pt x="7394" y="4326"/>
                  <a:pt x="7087" y="5431"/>
                  <a:pt x="6658" y="5277"/>
                </a:cubicBezTo>
                <a:cubicBezTo>
                  <a:pt x="6373" y="5176"/>
                  <a:pt x="5613" y="4605"/>
                  <a:pt x="5110" y="4044"/>
                </a:cubicBezTo>
                <a:cubicBezTo>
                  <a:pt x="4094" y="4900"/>
                  <a:pt x="3277" y="5982"/>
                  <a:pt x="2729" y="7212"/>
                </a:cubicBezTo>
                <a:cubicBezTo>
                  <a:pt x="2875" y="8862"/>
                  <a:pt x="3774" y="9726"/>
                  <a:pt x="3774" y="9726"/>
                </a:cubicBezTo>
                <a:cubicBezTo>
                  <a:pt x="3774" y="9726"/>
                  <a:pt x="4234" y="10800"/>
                  <a:pt x="6995" y="12119"/>
                </a:cubicBezTo>
                <a:cubicBezTo>
                  <a:pt x="6995" y="12119"/>
                  <a:pt x="7517" y="12150"/>
                  <a:pt x="6903" y="11536"/>
                </a:cubicBezTo>
                <a:cubicBezTo>
                  <a:pt x="6290" y="10923"/>
                  <a:pt x="5615" y="10156"/>
                  <a:pt x="6382" y="9757"/>
                </a:cubicBezTo>
                <a:cubicBezTo>
                  <a:pt x="7149" y="9358"/>
                  <a:pt x="7364" y="9389"/>
                  <a:pt x="7548" y="10125"/>
                </a:cubicBezTo>
                <a:cubicBezTo>
                  <a:pt x="7732" y="10861"/>
                  <a:pt x="8345" y="10432"/>
                  <a:pt x="8407" y="9726"/>
                </a:cubicBezTo>
                <a:moveTo>
                  <a:pt x="16246" y="12871"/>
                </a:moveTo>
                <a:cubicBezTo>
                  <a:pt x="15893" y="13086"/>
                  <a:pt x="15908" y="13561"/>
                  <a:pt x="16200" y="13822"/>
                </a:cubicBezTo>
                <a:cubicBezTo>
                  <a:pt x="16491" y="14083"/>
                  <a:pt x="17074" y="14420"/>
                  <a:pt x="17258" y="13822"/>
                </a:cubicBezTo>
                <a:cubicBezTo>
                  <a:pt x="17442" y="13224"/>
                  <a:pt x="16599" y="12656"/>
                  <a:pt x="16246" y="12871"/>
                </a:cubicBezTo>
                <a:moveTo>
                  <a:pt x="12027" y="12948"/>
                </a:moveTo>
                <a:cubicBezTo>
                  <a:pt x="10984" y="12058"/>
                  <a:pt x="11107" y="11659"/>
                  <a:pt x="9787" y="11659"/>
                </a:cubicBezTo>
                <a:cubicBezTo>
                  <a:pt x="8468" y="11659"/>
                  <a:pt x="7640" y="11966"/>
                  <a:pt x="7977" y="13807"/>
                </a:cubicBezTo>
                <a:cubicBezTo>
                  <a:pt x="8315" y="15648"/>
                  <a:pt x="9296" y="14819"/>
                  <a:pt x="9205" y="16231"/>
                </a:cubicBezTo>
                <a:cubicBezTo>
                  <a:pt x="9112" y="17642"/>
                  <a:pt x="9450" y="17949"/>
                  <a:pt x="9665" y="18286"/>
                </a:cubicBezTo>
                <a:cubicBezTo>
                  <a:pt x="9880" y="18624"/>
                  <a:pt x="10524" y="19606"/>
                  <a:pt x="10769" y="18225"/>
                </a:cubicBezTo>
                <a:cubicBezTo>
                  <a:pt x="11015" y="16844"/>
                  <a:pt x="11475" y="16077"/>
                  <a:pt x="11996" y="15402"/>
                </a:cubicBezTo>
                <a:cubicBezTo>
                  <a:pt x="12518" y="14727"/>
                  <a:pt x="13070" y="13837"/>
                  <a:pt x="12027" y="1294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47" name="Shape 2947"/>
          <p:cNvSpPr/>
          <p:nvPr/>
        </p:nvSpPr>
        <p:spPr>
          <a:xfrm>
            <a:off x="15699511" y="657867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367" y="17673"/>
                </a:moveTo>
                <a:lnTo>
                  <a:pt x="20127" y="17673"/>
                </a:lnTo>
                <a:cubicBezTo>
                  <a:pt x="20398" y="17673"/>
                  <a:pt x="20618" y="17453"/>
                  <a:pt x="20618" y="17182"/>
                </a:cubicBezTo>
                <a:cubicBezTo>
                  <a:pt x="20618" y="16910"/>
                  <a:pt x="20398" y="16691"/>
                  <a:pt x="20127" y="16691"/>
                </a:cubicBezTo>
                <a:lnTo>
                  <a:pt x="17182" y="16691"/>
                </a:lnTo>
                <a:cubicBezTo>
                  <a:pt x="16911" y="16691"/>
                  <a:pt x="16691" y="16910"/>
                  <a:pt x="16691" y="17182"/>
                </a:cubicBezTo>
                <a:lnTo>
                  <a:pt x="16691" y="20127"/>
                </a:lnTo>
                <a:cubicBezTo>
                  <a:pt x="16691" y="20399"/>
                  <a:pt x="16911" y="20618"/>
                  <a:pt x="17182" y="20618"/>
                </a:cubicBezTo>
                <a:cubicBezTo>
                  <a:pt x="17453" y="20618"/>
                  <a:pt x="17673" y="20399"/>
                  <a:pt x="17673" y="20127"/>
                </a:cubicBezTo>
                <a:lnTo>
                  <a:pt x="17673" y="18367"/>
                </a:lnTo>
                <a:lnTo>
                  <a:pt x="20762" y="21456"/>
                </a:lnTo>
                <a:cubicBezTo>
                  <a:pt x="20851" y="21545"/>
                  <a:pt x="20974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8367" y="17673"/>
                  <a:pt x="18367" y="17673"/>
                </a:cubicBezTo>
                <a:close/>
                <a:moveTo>
                  <a:pt x="4418" y="16691"/>
                </a:moveTo>
                <a:lnTo>
                  <a:pt x="1473" y="16691"/>
                </a:lnTo>
                <a:cubicBezTo>
                  <a:pt x="1202" y="16691"/>
                  <a:pt x="982" y="16910"/>
                  <a:pt x="982" y="17182"/>
                </a:cubicBezTo>
                <a:cubicBezTo>
                  <a:pt x="982" y="17453"/>
                  <a:pt x="1202" y="17673"/>
                  <a:pt x="1473" y="17673"/>
                </a:cubicBezTo>
                <a:lnTo>
                  <a:pt x="3233" y="17673"/>
                </a:lnTo>
                <a:lnTo>
                  <a:pt x="144" y="20762"/>
                </a:lnTo>
                <a:cubicBezTo>
                  <a:pt x="55" y="20851"/>
                  <a:pt x="0" y="20974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cubicBezTo>
                  <a:pt x="626" y="21600"/>
                  <a:pt x="749" y="21545"/>
                  <a:pt x="838" y="21456"/>
                </a:cubicBezTo>
                <a:lnTo>
                  <a:pt x="3927" y="18367"/>
                </a:lnTo>
                <a:lnTo>
                  <a:pt x="3927" y="20127"/>
                </a:lnTo>
                <a:cubicBezTo>
                  <a:pt x="3927" y="20399"/>
                  <a:pt x="4147" y="20618"/>
                  <a:pt x="4418" y="20618"/>
                </a:cubicBezTo>
                <a:cubicBezTo>
                  <a:pt x="4689" y="20618"/>
                  <a:pt x="4909" y="20399"/>
                  <a:pt x="4909" y="20127"/>
                </a:cubicBezTo>
                <a:lnTo>
                  <a:pt x="4909" y="17182"/>
                </a:lnTo>
                <a:cubicBezTo>
                  <a:pt x="4909" y="16910"/>
                  <a:pt x="4689" y="16691"/>
                  <a:pt x="4418" y="16691"/>
                </a:cubicBezTo>
                <a:moveTo>
                  <a:pt x="14578" y="13923"/>
                </a:moveTo>
                <a:cubicBezTo>
                  <a:pt x="14366" y="13756"/>
                  <a:pt x="14123" y="13606"/>
                  <a:pt x="13863" y="13470"/>
                </a:cubicBezTo>
                <a:cubicBezTo>
                  <a:pt x="14060" y="12810"/>
                  <a:pt x="14189" y="12080"/>
                  <a:pt x="14228" y="11304"/>
                </a:cubicBezTo>
                <a:lnTo>
                  <a:pt x="15676" y="11304"/>
                </a:lnTo>
                <a:cubicBezTo>
                  <a:pt x="15574" y="12295"/>
                  <a:pt x="15177" y="13195"/>
                  <a:pt x="14578" y="13923"/>
                </a:cubicBezTo>
                <a:moveTo>
                  <a:pt x="13136" y="15120"/>
                </a:moveTo>
                <a:cubicBezTo>
                  <a:pt x="13280" y="14892"/>
                  <a:pt x="13410" y="14641"/>
                  <a:pt x="13529" y="14374"/>
                </a:cubicBezTo>
                <a:cubicBezTo>
                  <a:pt x="13660" y="14445"/>
                  <a:pt x="13781" y="14521"/>
                  <a:pt x="13893" y="14602"/>
                </a:cubicBezTo>
                <a:cubicBezTo>
                  <a:pt x="13656" y="14795"/>
                  <a:pt x="13407" y="14973"/>
                  <a:pt x="13136" y="15120"/>
                </a:cubicBezTo>
                <a:moveTo>
                  <a:pt x="11304" y="12785"/>
                </a:moveTo>
                <a:lnTo>
                  <a:pt x="11304" y="11304"/>
                </a:lnTo>
                <a:lnTo>
                  <a:pt x="13226" y="11304"/>
                </a:lnTo>
                <a:cubicBezTo>
                  <a:pt x="13193" y="11948"/>
                  <a:pt x="13093" y="12547"/>
                  <a:pt x="12949" y="13093"/>
                </a:cubicBezTo>
                <a:cubicBezTo>
                  <a:pt x="12443" y="12931"/>
                  <a:pt x="11890" y="12824"/>
                  <a:pt x="11304" y="12785"/>
                </a:cubicBezTo>
                <a:moveTo>
                  <a:pt x="11304" y="15605"/>
                </a:moveTo>
                <a:lnTo>
                  <a:pt x="11304" y="13766"/>
                </a:lnTo>
                <a:cubicBezTo>
                  <a:pt x="11784" y="13800"/>
                  <a:pt x="12233" y="13886"/>
                  <a:pt x="12642" y="14009"/>
                </a:cubicBezTo>
                <a:cubicBezTo>
                  <a:pt x="12301" y="14805"/>
                  <a:pt x="11837" y="15382"/>
                  <a:pt x="11304" y="15605"/>
                </a:cubicBezTo>
                <a:moveTo>
                  <a:pt x="11304" y="8815"/>
                </a:moveTo>
                <a:cubicBezTo>
                  <a:pt x="11890" y="8776"/>
                  <a:pt x="12443" y="8669"/>
                  <a:pt x="12949" y="8507"/>
                </a:cubicBezTo>
                <a:cubicBezTo>
                  <a:pt x="13093" y="9053"/>
                  <a:pt x="13193" y="9652"/>
                  <a:pt x="13226" y="10297"/>
                </a:cubicBezTo>
                <a:lnTo>
                  <a:pt x="11304" y="10297"/>
                </a:lnTo>
                <a:cubicBezTo>
                  <a:pt x="11304" y="10297"/>
                  <a:pt x="11304" y="8815"/>
                  <a:pt x="11304" y="8815"/>
                </a:cubicBezTo>
                <a:close/>
                <a:moveTo>
                  <a:pt x="11304" y="5995"/>
                </a:moveTo>
                <a:cubicBezTo>
                  <a:pt x="11837" y="6218"/>
                  <a:pt x="12301" y="6795"/>
                  <a:pt x="12642" y="7591"/>
                </a:cubicBezTo>
                <a:cubicBezTo>
                  <a:pt x="12233" y="7714"/>
                  <a:pt x="11784" y="7800"/>
                  <a:pt x="11304" y="7835"/>
                </a:cubicBezTo>
                <a:cubicBezTo>
                  <a:pt x="11304" y="7835"/>
                  <a:pt x="11304" y="5995"/>
                  <a:pt x="11304" y="5995"/>
                </a:cubicBezTo>
                <a:close/>
                <a:moveTo>
                  <a:pt x="13893" y="6998"/>
                </a:moveTo>
                <a:cubicBezTo>
                  <a:pt x="13781" y="7079"/>
                  <a:pt x="13660" y="7155"/>
                  <a:pt x="13529" y="7227"/>
                </a:cubicBezTo>
                <a:cubicBezTo>
                  <a:pt x="13410" y="6960"/>
                  <a:pt x="13280" y="6708"/>
                  <a:pt x="13136" y="6480"/>
                </a:cubicBezTo>
                <a:cubicBezTo>
                  <a:pt x="13407" y="6627"/>
                  <a:pt x="13656" y="6805"/>
                  <a:pt x="13893" y="6998"/>
                </a:cubicBezTo>
                <a:moveTo>
                  <a:pt x="15676" y="10297"/>
                </a:moveTo>
                <a:lnTo>
                  <a:pt x="14228" y="10297"/>
                </a:lnTo>
                <a:cubicBezTo>
                  <a:pt x="14189" y="9520"/>
                  <a:pt x="14060" y="8790"/>
                  <a:pt x="13863" y="8130"/>
                </a:cubicBezTo>
                <a:cubicBezTo>
                  <a:pt x="14123" y="7994"/>
                  <a:pt x="14366" y="7844"/>
                  <a:pt x="14578" y="7677"/>
                </a:cubicBezTo>
                <a:cubicBezTo>
                  <a:pt x="15177" y="8405"/>
                  <a:pt x="15574" y="9305"/>
                  <a:pt x="15676" y="10297"/>
                </a:cubicBezTo>
                <a:moveTo>
                  <a:pt x="10296" y="7835"/>
                </a:moveTo>
                <a:cubicBezTo>
                  <a:pt x="9816" y="7800"/>
                  <a:pt x="9367" y="7714"/>
                  <a:pt x="8958" y="7591"/>
                </a:cubicBezTo>
                <a:cubicBezTo>
                  <a:pt x="9299" y="6795"/>
                  <a:pt x="9764" y="6218"/>
                  <a:pt x="10296" y="5995"/>
                </a:cubicBezTo>
                <a:cubicBezTo>
                  <a:pt x="10296" y="5995"/>
                  <a:pt x="10296" y="7835"/>
                  <a:pt x="10296" y="7835"/>
                </a:cubicBezTo>
                <a:close/>
                <a:moveTo>
                  <a:pt x="10296" y="10297"/>
                </a:moveTo>
                <a:lnTo>
                  <a:pt x="8374" y="10297"/>
                </a:lnTo>
                <a:cubicBezTo>
                  <a:pt x="8407" y="9652"/>
                  <a:pt x="8507" y="9053"/>
                  <a:pt x="8651" y="8507"/>
                </a:cubicBezTo>
                <a:cubicBezTo>
                  <a:pt x="9158" y="8669"/>
                  <a:pt x="9710" y="8776"/>
                  <a:pt x="10296" y="8815"/>
                </a:cubicBezTo>
                <a:cubicBezTo>
                  <a:pt x="10296" y="8815"/>
                  <a:pt x="10296" y="10297"/>
                  <a:pt x="10296" y="10297"/>
                </a:cubicBezTo>
                <a:close/>
                <a:moveTo>
                  <a:pt x="10296" y="12785"/>
                </a:moveTo>
                <a:cubicBezTo>
                  <a:pt x="9710" y="12824"/>
                  <a:pt x="9158" y="12931"/>
                  <a:pt x="8651" y="13093"/>
                </a:cubicBezTo>
                <a:cubicBezTo>
                  <a:pt x="8507" y="12547"/>
                  <a:pt x="8407" y="11948"/>
                  <a:pt x="8374" y="11304"/>
                </a:cubicBezTo>
                <a:lnTo>
                  <a:pt x="10296" y="11304"/>
                </a:lnTo>
                <a:cubicBezTo>
                  <a:pt x="10296" y="11304"/>
                  <a:pt x="10296" y="12785"/>
                  <a:pt x="10296" y="12785"/>
                </a:cubicBezTo>
                <a:close/>
                <a:moveTo>
                  <a:pt x="10296" y="15605"/>
                </a:moveTo>
                <a:cubicBezTo>
                  <a:pt x="9764" y="15382"/>
                  <a:pt x="9299" y="14805"/>
                  <a:pt x="8958" y="14009"/>
                </a:cubicBezTo>
                <a:cubicBezTo>
                  <a:pt x="9367" y="13886"/>
                  <a:pt x="9816" y="13800"/>
                  <a:pt x="10296" y="13766"/>
                </a:cubicBezTo>
                <a:cubicBezTo>
                  <a:pt x="10296" y="13766"/>
                  <a:pt x="10296" y="15605"/>
                  <a:pt x="10296" y="15605"/>
                </a:cubicBezTo>
                <a:close/>
                <a:moveTo>
                  <a:pt x="7707" y="14602"/>
                </a:moveTo>
                <a:cubicBezTo>
                  <a:pt x="7819" y="14521"/>
                  <a:pt x="7941" y="14445"/>
                  <a:pt x="8071" y="14374"/>
                </a:cubicBezTo>
                <a:cubicBezTo>
                  <a:pt x="8190" y="14641"/>
                  <a:pt x="8321" y="14892"/>
                  <a:pt x="8464" y="15120"/>
                </a:cubicBezTo>
                <a:cubicBezTo>
                  <a:pt x="8193" y="14973"/>
                  <a:pt x="7944" y="14795"/>
                  <a:pt x="7707" y="14602"/>
                </a:cubicBezTo>
                <a:moveTo>
                  <a:pt x="5925" y="11304"/>
                </a:moveTo>
                <a:lnTo>
                  <a:pt x="7372" y="11304"/>
                </a:lnTo>
                <a:cubicBezTo>
                  <a:pt x="7411" y="12080"/>
                  <a:pt x="7540" y="12810"/>
                  <a:pt x="7737" y="13470"/>
                </a:cubicBezTo>
                <a:cubicBezTo>
                  <a:pt x="7477" y="13606"/>
                  <a:pt x="7235" y="13756"/>
                  <a:pt x="7022" y="13923"/>
                </a:cubicBezTo>
                <a:cubicBezTo>
                  <a:pt x="6423" y="13195"/>
                  <a:pt x="6026" y="12295"/>
                  <a:pt x="5925" y="11304"/>
                </a:cubicBezTo>
                <a:moveTo>
                  <a:pt x="7022" y="7677"/>
                </a:moveTo>
                <a:cubicBezTo>
                  <a:pt x="7235" y="7844"/>
                  <a:pt x="7477" y="7994"/>
                  <a:pt x="7737" y="8130"/>
                </a:cubicBezTo>
                <a:cubicBezTo>
                  <a:pt x="7540" y="8790"/>
                  <a:pt x="7411" y="9520"/>
                  <a:pt x="7372" y="10297"/>
                </a:cubicBezTo>
                <a:lnTo>
                  <a:pt x="5925" y="10297"/>
                </a:lnTo>
                <a:cubicBezTo>
                  <a:pt x="6026" y="9305"/>
                  <a:pt x="6423" y="8405"/>
                  <a:pt x="7022" y="7677"/>
                </a:cubicBezTo>
                <a:moveTo>
                  <a:pt x="8464" y="6480"/>
                </a:moveTo>
                <a:cubicBezTo>
                  <a:pt x="8321" y="6708"/>
                  <a:pt x="8190" y="6960"/>
                  <a:pt x="8071" y="7227"/>
                </a:cubicBezTo>
                <a:cubicBezTo>
                  <a:pt x="7941" y="7155"/>
                  <a:pt x="7819" y="7079"/>
                  <a:pt x="7707" y="6998"/>
                </a:cubicBezTo>
                <a:cubicBezTo>
                  <a:pt x="7944" y="6805"/>
                  <a:pt x="8193" y="6627"/>
                  <a:pt x="8464" y="6480"/>
                </a:cubicBezTo>
                <a:moveTo>
                  <a:pt x="10800" y="4909"/>
                </a:moveTo>
                <a:cubicBezTo>
                  <a:pt x="7546" y="4909"/>
                  <a:pt x="4909" y="7546"/>
                  <a:pt x="4909" y="10800"/>
                </a:cubicBezTo>
                <a:cubicBezTo>
                  <a:pt x="4909" y="14053"/>
                  <a:pt x="7546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6"/>
                  <a:pt x="14053" y="4909"/>
                  <a:pt x="10800" y="4909"/>
                </a:cubicBezTo>
                <a:moveTo>
                  <a:pt x="3233" y="3927"/>
                </a:moveTo>
                <a:lnTo>
                  <a:pt x="1473" y="3927"/>
                </a:lnTo>
                <a:cubicBezTo>
                  <a:pt x="1202" y="3927"/>
                  <a:pt x="982" y="4147"/>
                  <a:pt x="982" y="4418"/>
                </a:cubicBezTo>
                <a:cubicBezTo>
                  <a:pt x="982" y="4690"/>
                  <a:pt x="1202" y="4909"/>
                  <a:pt x="1473" y="4909"/>
                </a:cubicBezTo>
                <a:lnTo>
                  <a:pt x="4418" y="4909"/>
                </a:lnTo>
                <a:cubicBezTo>
                  <a:pt x="4689" y="4909"/>
                  <a:pt x="4909" y="4690"/>
                  <a:pt x="4909" y="4418"/>
                </a:cubicBezTo>
                <a:lnTo>
                  <a:pt x="4909" y="1473"/>
                </a:lnTo>
                <a:cubicBezTo>
                  <a:pt x="4909" y="1201"/>
                  <a:pt x="4689" y="982"/>
                  <a:pt x="4418" y="982"/>
                </a:cubicBezTo>
                <a:cubicBezTo>
                  <a:pt x="4147" y="982"/>
                  <a:pt x="3927" y="1201"/>
                  <a:pt x="3927" y="1473"/>
                </a:cubicBezTo>
                <a:lnTo>
                  <a:pt x="3927" y="3233"/>
                </a:lnTo>
                <a:lnTo>
                  <a:pt x="838" y="144"/>
                </a:lnTo>
                <a:cubicBezTo>
                  <a:pt x="749" y="55"/>
                  <a:pt x="626" y="0"/>
                  <a:pt x="491" y="0"/>
                </a:cubicBezTo>
                <a:cubicBezTo>
                  <a:pt x="220" y="0"/>
                  <a:pt x="0" y="220"/>
                  <a:pt x="0" y="491"/>
                </a:cubicBezTo>
                <a:cubicBezTo>
                  <a:pt x="0" y="627"/>
                  <a:pt x="55" y="749"/>
                  <a:pt x="144" y="838"/>
                </a:cubicBezTo>
                <a:cubicBezTo>
                  <a:pt x="144" y="838"/>
                  <a:pt x="3233" y="3927"/>
                  <a:pt x="3233" y="3927"/>
                </a:cubicBezTo>
                <a:close/>
                <a:moveTo>
                  <a:pt x="17182" y="4909"/>
                </a:moveTo>
                <a:lnTo>
                  <a:pt x="20127" y="4909"/>
                </a:lnTo>
                <a:cubicBezTo>
                  <a:pt x="20398" y="4909"/>
                  <a:pt x="20618" y="4690"/>
                  <a:pt x="20618" y="4418"/>
                </a:cubicBezTo>
                <a:cubicBezTo>
                  <a:pt x="20618" y="4147"/>
                  <a:pt x="20398" y="3927"/>
                  <a:pt x="20127" y="3927"/>
                </a:cubicBezTo>
                <a:lnTo>
                  <a:pt x="18367" y="3927"/>
                </a:lnTo>
                <a:lnTo>
                  <a:pt x="21456" y="838"/>
                </a:lnTo>
                <a:cubicBezTo>
                  <a:pt x="21545" y="749"/>
                  <a:pt x="21600" y="627"/>
                  <a:pt x="21600" y="491"/>
                </a:cubicBezTo>
                <a:cubicBezTo>
                  <a:pt x="21600" y="220"/>
                  <a:pt x="21380" y="0"/>
                  <a:pt x="21109" y="0"/>
                </a:cubicBezTo>
                <a:cubicBezTo>
                  <a:pt x="20974" y="0"/>
                  <a:pt x="20851" y="55"/>
                  <a:pt x="20762" y="144"/>
                </a:cubicBezTo>
                <a:lnTo>
                  <a:pt x="17673" y="3233"/>
                </a:lnTo>
                <a:lnTo>
                  <a:pt x="17673" y="1473"/>
                </a:lnTo>
                <a:cubicBezTo>
                  <a:pt x="17673" y="1201"/>
                  <a:pt x="17453" y="982"/>
                  <a:pt x="17182" y="982"/>
                </a:cubicBezTo>
                <a:cubicBezTo>
                  <a:pt x="16911" y="982"/>
                  <a:pt x="16691" y="1201"/>
                  <a:pt x="16691" y="1473"/>
                </a:cubicBezTo>
                <a:lnTo>
                  <a:pt x="16691" y="4418"/>
                </a:lnTo>
                <a:cubicBezTo>
                  <a:pt x="16691" y="4690"/>
                  <a:pt x="16911" y="4909"/>
                  <a:pt x="17182" y="49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48" name="Shape 2948"/>
          <p:cNvSpPr/>
          <p:nvPr/>
        </p:nvSpPr>
        <p:spPr>
          <a:xfrm>
            <a:off x="16842215" y="6578673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275" y="6273"/>
                </a:moveTo>
                <a:cubicBezTo>
                  <a:pt x="6275" y="6273"/>
                  <a:pt x="6661" y="6914"/>
                  <a:pt x="8976" y="7703"/>
                </a:cubicBezTo>
                <a:cubicBezTo>
                  <a:pt x="8976" y="7703"/>
                  <a:pt x="9413" y="7721"/>
                  <a:pt x="8899" y="7354"/>
                </a:cubicBezTo>
                <a:cubicBezTo>
                  <a:pt x="8384" y="6987"/>
                  <a:pt x="7819" y="6529"/>
                  <a:pt x="8462" y="6291"/>
                </a:cubicBezTo>
                <a:cubicBezTo>
                  <a:pt x="9104" y="6052"/>
                  <a:pt x="9285" y="6071"/>
                  <a:pt x="9439" y="6511"/>
                </a:cubicBezTo>
                <a:cubicBezTo>
                  <a:pt x="9594" y="6950"/>
                  <a:pt x="10108" y="6694"/>
                  <a:pt x="10159" y="6273"/>
                </a:cubicBezTo>
                <a:cubicBezTo>
                  <a:pt x="10211" y="5851"/>
                  <a:pt x="11163" y="5411"/>
                  <a:pt x="11806" y="5209"/>
                </a:cubicBezTo>
                <a:cubicBezTo>
                  <a:pt x="12449" y="5007"/>
                  <a:pt x="13040" y="4934"/>
                  <a:pt x="12963" y="4585"/>
                </a:cubicBezTo>
                <a:cubicBezTo>
                  <a:pt x="12886" y="4237"/>
                  <a:pt x="12706" y="3980"/>
                  <a:pt x="11703" y="3980"/>
                </a:cubicBezTo>
                <a:cubicBezTo>
                  <a:pt x="10699" y="3980"/>
                  <a:pt x="11137" y="4934"/>
                  <a:pt x="10314" y="4365"/>
                </a:cubicBezTo>
                <a:cubicBezTo>
                  <a:pt x="9491" y="3797"/>
                  <a:pt x="10493" y="3944"/>
                  <a:pt x="10905" y="3816"/>
                </a:cubicBezTo>
                <a:cubicBezTo>
                  <a:pt x="11317" y="3687"/>
                  <a:pt x="11729" y="3155"/>
                  <a:pt x="11009" y="3119"/>
                </a:cubicBezTo>
                <a:cubicBezTo>
                  <a:pt x="10287" y="3082"/>
                  <a:pt x="10442" y="3339"/>
                  <a:pt x="9876" y="3192"/>
                </a:cubicBezTo>
                <a:cubicBezTo>
                  <a:pt x="9310" y="3045"/>
                  <a:pt x="9053" y="3706"/>
                  <a:pt x="8693" y="3614"/>
                </a:cubicBezTo>
                <a:cubicBezTo>
                  <a:pt x="8519" y="3570"/>
                  <a:pt x="8131" y="3374"/>
                  <a:pt x="7770" y="3142"/>
                </a:cubicBezTo>
                <a:cubicBezTo>
                  <a:pt x="6767" y="3765"/>
                  <a:pt x="6022" y="4597"/>
                  <a:pt x="5656" y="5546"/>
                </a:cubicBezTo>
                <a:cubicBezTo>
                  <a:pt x="5919" y="6021"/>
                  <a:pt x="6275" y="6273"/>
                  <a:pt x="6275" y="6273"/>
                </a:cubicBezTo>
                <a:moveTo>
                  <a:pt x="20588" y="12027"/>
                </a:moveTo>
                <a:cubicBezTo>
                  <a:pt x="20407" y="12027"/>
                  <a:pt x="20245" y="12080"/>
                  <a:pt x="20124" y="12164"/>
                </a:cubicBezTo>
                <a:lnTo>
                  <a:pt x="20119" y="12161"/>
                </a:lnTo>
                <a:cubicBezTo>
                  <a:pt x="18145" y="13734"/>
                  <a:pt x="15310" y="14727"/>
                  <a:pt x="12150" y="14727"/>
                </a:cubicBezTo>
                <a:cubicBezTo>
                  <a:pt x="6186" y="14727"/>
                  <a:pt x="1350" y="11211"/>
                  <a:pt x="1350" y="6873"/>
                </a:cubicBezTo>
                <a:cubicBezTo>
                  <a:pt x="1350" y="4606"/>
                  <a:pt x="2678" y="2571"/>
                  <a:pt x="4788" y="1137"/>
                </a:cubicBezTo>
                <a:lnTo>
                  <a:pt x="4777" y="1127"/>
                </a:lnTo>
                <a:cubicBezTo>
                  <a:pt x="4945" y="1037"/>
                  <a:pt x="5062" y="900"/>
                  <a:pt x="5062" y="736"/>
                </a:cubicBezTo>
                <a:cubicBezTo>
                  <a:pt x="5062" y="465"/>
                  <a:pt x="4760" y="245"/>
                  <a:pt x="4388" y="245"/>
                </a:cubicBezTo>
                <a:cubicBezTo>
                  <a:pt x="4192" y="245"/>
                  <a:pt x="4020" y="308"/>
                  <a:pt x="3897" y="405"/>
                </a:cubicBezTo>
                <a:lnTo>
                  <a:pt x="3895" y="403"/>
                </a:lnTo>
                <a:cubicBezTo>
                  <a:pt x="1505" y="2016"/>
                  <a:pt x="0" y="4314"/>
                  <a:pt x="0" y="6873"/>
                </a:cubicBezTo>
                <a:cubicBezTo>
                  <a:pt x="0" y="11587"/>
                  <a:pt x="5081" y="15428"/>
                  <a:pt x="11475" y="15684"/>
                </a:cubicBezTo>
                <a:lnTo>
                  <a:pt x="11475" y="20618"/>
                </a:lnTo>
                <a:lnTo>
                  <a:pt x="7425" y="20618"/>
                </a:lnTo>
                <a:cubicBezTo>
                  <a:pt x="7052" y="20618"/>
                  <a:pt x="6750" y="20838"/>
                  <a:pt x="6750" y="21109"/>
                </a:cubicBezTo>
                <a:cubicBezTo>
                  <a:pt x="6750" y="21380"/>
                  <a:pt x="7052" y="21600"/>
                  <a:pt x="7425" y="21600"/>
                </a:cubicBezTo>
                <a:lnTo>
                  <a:pt x="16875" y="21600"/>
                </a:lnTo>
                <a:cubicBezTo>
                  <a:pt x="17247" y="21600"/>
                  <a:pt x="17550" y="21380"/>
                  <a:pt x="17550" y="21109"/>
                </a:cubicBezTo>
                <a:cubicBezTo>
                  <a:pt x="17550" y="20838"/>
                  <a:pt x="17247" y="20618"/>
                  <a:pt x="16875" y="20618"/>
                </a:cubicBezTo>
                <a:lnTo>
                  <a:pt x="12825" y="20618"/>
                </a:lnTo>
                <a:lnTo>
                  <a:pt x="12825" y="15684"/>
                </a:lnTo>
                <a:cubicBezTo>
                  <a:pt x="16068" y="15554"/>
                  <a:pt x="18970" y="14500"/>
                  <a:pt x="21045" y="12880"/>
                </a:cubicBezTo>
                <a:lnTo>
                  <a:pt x="21041" y="12877"/>
                </a:lnTo>
                <a:cubicBezTo>
                  <a:pt x="21175" y="12788"/>
                  <a:pt x="21262" y="12661"/>
                  <a:pt x="21262" y="12518"/>
                </a:cubicBezTo>
                <a:cubicBezTo>
                  <a:pt x="21262" y="12247"/>
                  <a:pt x="20960" y="12027"/>
                  <a:pt x="20588" y="12027"/>
                </a:cubicBezTo>
                <a:moveTo>
                  <a:pt x="12150" y="982"/>
                </a:moveTo>
                <a:cubicBezTo>
                  <a:pt x="16623" y="982"/>
                  <a:pt x="20250" y="3619"/>
                  <a:pt x="20250" y="6873"/>
                </a:cubicBezTo>
                <a:cubicBezTo>
                  <a:pt x="20250" y="10127"/>
                  <a:pt x="16623" y="12764"/>
                  <a:pt x="12150" y="12764"/>
                </a:cubicBezTo>
                <a:cubicBezTo>
                  <a:pt x="7677" y="12764"/>
                  <a:pt x="4050" y="10127"/>
                  <a:pt x="4050" y="6873"/>
                </a:cubicBezTo>
                <a:cubicBezTo>
                  <a:pt x="4050" y="3619"/>
                  <a:pt x="7677" y="982"/>
                  <a:pt x="12150" y="982"/>
                </a:cubicBezTo>
                <a:moveTo>
                  <a:pt x="12150" y="13745"/>
                </a:moveTo>
                <a:cubicBezTo>
                  <a:pt x="17369" y="13745"/>
                  <a:pt x="21600" y="10669"/>
                  <a:pt x="21600" y="6873"/>
                </a:cubicBezTo>
                <a:cubicBezTo>
                  <a:pt x="21600" y="3077"/>
                  <a:pt x="17369" y="0"/>
                  <a:pt x="12150" y="0"/>
                </a:cubicBezTo>
                <a:cubicBezTo>
                  <a:pt x="6931" y="0"/>
                  <a:pt x="2700" y="3077"/>
                  <a:pt x="2700" y="6873"/>
                </a:cubicBezTo>
                <a:cubicBezTo>
                  <a:pt x="2700" y="10669"/>
                  <a:pt x="6931" y="13745"/>
                  <a:pt x="12150" y="13745"/>
                </a:cubicBezTo>
                <a:moveTo>
                  <a:pt x="16733" y="8152"/>
                </a:moveTo>
                <a:cubicBezTo>
                  <a:pt x="16437" y="8280"/>
                  <a:pt x="16449" y="8564"/>
                  <a:pt x="16693" y="8720"/>
                </a:cubicBezTo>
                <a:cubicBezTo>
                  <a:pt x="16938" y="8876"/>
                  <a:pt x="17427" y="9078"/>
                  <a:pt x="17581" y="8720"/>
                </a:cubicBezTo>
                <a:cubicBezTo>
                  <a:pt x="17736" y="8362"/>
                  <a:pt x="17028" y="8023"/>
                  <a:pt x="16733" y="8152"/>
                </a:cubicBezTo>
                <a:moveTo>
                  <a:pt x="11317" y="7428"/>
                </a:moveTo>
                <a:cubicBezTo>
                  <a:pt x="10211" y="7428"/>
                  <a:pt x="9516" y="7611"/>
                  <a:pt x="9800" y="8711"/>
                </a:cubicBezTo>
                <a:cubicBezTo>
                  <a:pt x="10082" y="9811"/>
                  <a:pt x="10905" y="9316"/>
                  <a:pt x="10828" y="10160"/>
                </a:cubicBezTo>
                <a:cubicBezTo>
                  <a:pt x="10751" y="11003"/>
                  <a:pt x="11034" y="11186"/>
                  <a:pt x="11214" y="11388"/>
                </a:cubicBezTo>
                <a:cubicBezTo>
                  <a:pt x="11315" y="11501"/>
                  <a:pt x="11532" y="11731"/>
                  <a:pt x="11738" y="11767"/>
                </a:cubicBezTo>
                <a:cubicBezTo>
                  <a:pt x="11768" y="11768"/>
                  <a:pt x="11798" y="11769"/>
                  <a:pt x="11828" y="11770"/>
                </a:cubicBezTo>
                <a:cubicBezTo>
                  <a:pt x="11954" y="11751"/>
                  <a:pt x="12068" y="11642"/>
                  <a:pt x="12140" y="11351"/>
                </a:cubicBezTo>
                <a:cubicBezTo>
                  <a:pt x="12346" y="10526"/>
                  <a:pt x="12732" y="10067"/>
                  <a:pt x="13169" y="9664"/>
                </a:cubicBezTo>
                <a:cubicBezTo>
                  <a:pt x="13606" y="9261"/>
                  <a:pt x="14070" y="8729"/>
                  <a:pt x="13195" y="8197"/>
                </a:cubicBezTo>
                <a:cubicBezTo>
                  <a:pt x="12320" y="7666"/>
                  <a:pt x="12423" y="7428"/>
                  <a:pt x="11317" y="7428"/>
                </a:cubicBezTo>
                <a:moveTo>
                  <a:pt x="14404" y="3284"/>
                </a:moveTo>
                <a:cubicBezTo>
                  <a:pt x="14404" y="3284"/>
                  <a:pt x="14198" y="3431"/>
                  <a:pt x="14404" y="3962"/>
                </a:cubicBezTo>
                <a:cubicBezTo>
                  <a:pt x="14610" y="4494"/>
                  <a:pt x="14955" y="4609"/>
                  <a:pt x="15974" y="4311"/>
                </a:cubicBezTo>
                <a:cubicBezTo>
                  <a:pt x="16411" y="4182"/>
                  <a:pt x="16742" y="4248"/>
                  <a:pt x="16693" y="4567"/>
                </a:cubicBezTo>
                <a:cubicBezTo>
                  <a:pt x="16591" y="5246"/>
                  <a:pt x="15858" y="5217"/>
                  <a:pt x="16411" y="6309"/>
                </a:cubicBezTo>
                <a:cubicBezTo>
                  <a:pt x="16745" y="6969"/>
                  <a:pt x="17568" y="7226"/>
                  <a:pt x="17877" y="7739"/>
                </a:cubicBezTo>
                <a:cubicBezTo>
                  <a:pt x="17984" y="7918"/>
                  <a:pt x="18288" y="8083"/>
                  <a:pt x="18633" y="8228"/>
                </a:cubicBezTo>
                <a:cubicBezTo>
                  <a:pt x="18803" y="7797"/>
                  <a:pt x="18900" y="7344"/>
                  <a:pt x="18900" y="6873"/>
                </a:cubicBezTo>
                <a:cubicBezTo>
                  <a:pt x="18900" y="4752"/>
                  <a:pt x="17047" y="2950"/>
                  <a:pt x="14457" y="2264"/>
                </a:cubicBezTo>
                <a:cubicBezTo>
                  <a:pt x="14328" y="2411"/>
                  <a:pt x="14192" y="2545"/>
                  <a:pt x="14044" y="2605"/>
                </a:cubicBezTo>
                <a:cubicBezTo>
                  <a:pt x="13684" y="2752"/>
                  <a:pt x="13710" y="3339"/>
                  <a:pt x="14404" y="328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49" name="Shape 2949"/>
          <p:cNvSpPr/>
          <p:nvPr/>
        </p:nvSpPr>
        <p:spPr>
          <a:xfrm>
            <a:off x="17883341" y="6578673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52" y="16691"/>
                </a:moveTo>
                <a:lnTo>
                  <a:pt x="3600" y="16691"/>
                </a:lnTo>
                <a:lnTo>
                  <a:pt x="3600" y="11782"/>
                </a:lnTo>
                <a:lnTo>
                  <a:pt x="17152" y="11782"/>
                </a:lnTo>
                <a:lnTo>
                  <a:pt x="20152" y="14236"/>
                </a:lnTo>
                <a:cubicBezTo>
                  <a:pt x="20152" y="14236"/>
                  <a:pt x="17152" y="16691"/>
                  <a:pt x="17152" y="16691"/>
                </a:cubicBezTo>
                <a:close/>
                <a:moveTo>
                  <a:pt x="11400" y="20618"/>
                </a:moveTo>
                <a:lnTo>
                  <a:pt x="10200" y="20618"/>
                </a:lnTo>
                <a:lnTo>
                  <a:pt x="10200" y="17673"/>
                </a:lnTo>
                <a:lnTo>
                  <a:pt x="11400" y="17673"/>
                </a:lnTo>
                <a:cubicBezTo>
                  <a:pt x="11400" y="17673"/>
                  <a:pt x="11400" y="20618"/>
                  <a:pt x="11400" y="20618"/>
                </a:cubicBezTo>
                <a:close/>
                <a:moveTo>
                  <a:pt x="11400" y="10800"/>
                </a:moveTo>
                <a:lnTo>
                  <a:pt x="10200" y="10800"/>
                </a:lnTo>
                <a:lnTo>
                  <a:pt x="10200" y="8836"/>
                </a:lnTo>
                <a:lnTo>
                  <a:pt x="11400" y="8836"/>
                </a:lnTo>
                <a:cubicBezTo>
                  <a:pt x="11400" y="8836"/>
                  <a:pt x="11400" y="10800"/>
                  <a:pt x="11400" y="10800"/>
                </a:cubicBezTo>
                <a:close/>
                <a:moveTo>
                  <a:pt x="4448" y="7855"/>
                </a:moveTo>
                <a:lnTo>
                  <a:pt x="1448" y="5400"/>
                </a:lnTo>
                <a:lnTo>
                  <a:pt x="4448" y="2945"/>
                </a:lnTo>
                <a:lnTo>
                  <a:pt x="18000" y="2945"/>
                </a:lnTo>
                <a:lnTo>
                  <a:pt x="18000" y="7855"/>
                </a:lnTo>
                <a:cubicBezTo>
                  <a:pt x="18000" y="7855"/>
                  <a:pt x="4448" y="7855"/>
                  <a:pt x="4448" y="7855"/>
                </a:cubicBezTo>
                <a:close/>
                <a:moveTo>
                  <a:pt x="10200" y="982"/>
                </a:moveTo>
                <a:lnTo>
                  <a:pt x="11400" y="982"/>
                </a:lnTo>
                <a:lnTo>
                  <a:pt x="11400" y="1964"/>
                </a:lnTo>
                <a:lnTo>
                  <a:pt x="10200" y="1964"/>
                </a:lnTo>
                <a:cubicBezTo>
                  <a:pt x="10200" y="1964"/>
                  <a:pt x="10200" y="982"/>
                  <a:pt x="10200" y="982"/>
                </a:cubicBezTo>
                <a:close/>
                <a:moveTo>
                  <a:pt x="21424" y="13889"/>
                </a:moveTo>
                <a:lnTo>
                  <a:pt x="17824" y="10944"/>
                </a:lnTo>
                <a:cubicBezTo>
                  <a:pt x="17715" y="10855"/>
                  <a:pt x="17565" y="10800"/>
                  <a:pt x="17400" y="10800"/>
                </a:cubicBezTo>
                <a:lnTo>
                  <a:pt x="12600" y="10800"/>
                </a:lnTo>
                <a:lnTo>
                  <a:pt x="12600" y="8836"/>
                </a:lnTo>
                <a:lnTo>
                  <a:pt x="18600" y="8836"/>
                </a:lnTo>
                <a:cubicBezTo>
                  <a:pt x="18932" y="8836"/>
                  <a:pt x="19200" y="8616"/>
                  <a:pt x="19200" y="8345"/>
                </a:cubicBezTo>
                <a:lnTo>
                  <a:pt x="19200" y="2455"/>
                </a:lnTo>
                <a:cubicBezTo>
                  <a:pt x="19200" y="2184"/>
                  <a:pt x="18932" y="1964"/>
                  <a:pt x="18600" y="1964"/>
                </a:cubicBezTo>
                <a:lnTo>
                  <a:pt x="12600" y="1964"/>
                </a:lnTo>
                <a:lnTo>
                  <a:pt x="12600" y="982"/>
                </a:lnTo>
                <a:cubicBezTo>
                  <a:pt x="12600" y="440"/>
                  <a:pt x="12063" y="0"/>
                  <a:pt x="11400" y="0"/>
                </a:cubicBezTo>
                <a:lnTo>
                  <a:pt x="10200" y="0"/>
                </a:lnTo>
                <a:cubicBezTo>
                  <a:pt x="9537" y="0"/>
                  <a:pt x="9000" y="440"/>
                  <a:pt x="9000" y="982"/>
                </a:cubicBezTo>
                <a:lnTo>
                  <a:pt x="9000" y="1964"/>
                </a:lnTo>
                <a:lnTo>
                  <a:pt x="4200" y="1964"/>
                </a:lnTo>
                <a:cubicBezTo>
                  <a:pt x="4034" y="1964"/>
                  <a:pt x="3885" y="2019"/>
                  <a:pt x="3776" y="2107"/>
                </a:cubicBezTo>
                <a:lnTo>
                  <a:pt x="176" y="5053"/>
                </a:lnTo>
                <a:cubicBezTo>
                  <a:pt x="67" y="5142"/>
                  <a:pt x="0" y="5265"/>
                  <a:pt x="0" y="5400"/>
                </a:cubicBezTo>
                <a:cubicBezTo>
                  <a:pt x="0" y="5536"/>
                  <a:pt x="67" y="5658"/>
                  <a:pt x="176" y="5747"/>
                </a:cubicBezTo>
                <a:lnTo>
                  <a:pt x="3776" y="8693"/>
                </a:lnTo>
                <a:cubicBezTo>
                  <a:pt x="3885" y="8782"/>
                  <a:pt x="4034" y="8836"/>
                  <a:pt x="4200" y="8836"/>
                </a:cubicBezTo>
                <a:lnTo>
                  <a:pt x="9000" y="8836"/>
                </a:lnTo>
                <a:lnTo>
                  <a:pt x="9000" y="10800"/>
                </a:lnTo>
                <a:lnTo>
                  <a:pt x="3000" y="10800"/>
                </a:lnTo>
                <a:cubicBezTo>
                  <a:pt x="2668" y="10800"/>
                  <a:pt x="2400" y="11020"/>
                  <a:pt x="2400" y="11291"/>
                </a:cubicBezTo>
                <a:lnTo>
                  <a:pt x="2400" y="17182"/>
                </a:lnTo>
                <a:cubicBezTo>
                  <a:pt x="2400" y="17453"/>
                  <a:pt x="2668" y="17673"/>
                  <a:pt x="3000" y="17673"/>
                </a:cubicBezTo>
                <a:lnTo>
                  <a:pt x="9000" y="17673"/>
                </a:lnTo>
                <a:lnTo>
                  <a:pt x="9000" y="20618"/>
                </a:lnTo>
                <a:cubicBezTo>
                  <a:pt x="9000" y="21160"/>
                  <a:pt x="9537" y="21600"/>
                  <a:pt x="10200" y="21600"/>
                </a:cubicBezTo>
                <a:lnTo>
                  <a:pt x="11400" y="21600"/>
                </a:lnTo>
                <a:cubicBezTo>
                  <a:pt x="12063" y="21600"/>
                  <a:pt x="12600" y="21160"/>
                  <a:pt x="12600" y="20618"/>
                </a:cubicBezTo>
                <a:lnTo>
                  <a:pt x="12600" y="17673"/>
                </a:lnTo>
                <a:lnTo>
                  <a:pt x="17400" y="17673"/>
                </a:lnTo>
                <a:cubicBezTo>
                  <a:pt x="17565" y="17673"/>
                  <a:pt x="17715" y="17618"/>
                  <a:pt x="17824" y="17529"/>
                </a:cubicBezTo>
                <a:lnTo>
                  <a:pt x="21424" y="14583"/>
                </a:lnTo>
                <a:cubicBezTo>
                  <a:pt x="21533" y="14495"/>
                  <a:pt x="21600" y="14372"/>
                  <a:pt x="21600" y="14236"/>
                </a:cubicBezTo>
                <a:cubicBezTo>
                  <a:pt x="21600" y="14101"/>
                  <a:pt x="21533" y="13978"/>
                  <a:pt x="21424" y="1388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50" name="Shape 2950"/>
          <p:cNvSpPr/>
          <p:nvPr/>
        </p:nvSpPr>
        <p:spPr>
          <a:xfrm>
            <a:off x="18949863" y="6578673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200" y="7855"/>
                </a:moveTo>
                <a:lnTo>
                  <a:pt x="7800" y="7855"/>
                </a:lnTo>
                <a:cubicBezTo>
                  <a:pt x="8132" y="7855"/>
                  <a:pt x="8400" y="7635"/>
                  <a:pt x="8400" y="7364"/>
                </a:cubicBezTo>
                <a:cubicBezTo>
                  <a:pt x="8400" y="7092"/>
                  <a:pt x="8132" y="6873"/>
                  <a:pt x="7800" y="6873"/>
                </a:cubicBezTo>
                <a:lnTo>
                  <a:pt x="4200" y="6873"/>
                </a:lnTo>
                <a:cubicBezTo>
                  <a:pt x="3868" y="6873"/>
                  <a:pt x="3600" y="7092"/>
                  <a:pt x="3600" y="7364"/>
                </a:cubicBezTo>
                <a:cubicBezTo>
                  <a:pt x="3600" y="7635"/>
                  <a:pt x="3868" y="7855"/>
                  <a:pt x="4200" y="7855"/>
                </a:cubicBezTo>
                <a:moveTo>
                  <a:pt x="4200" y="11782"/>
                </a:moveTo>
                <a:lnTo>
                  <a:pt x="16200" y="11782"/>
                </a:lnTo>
                <a:cubicBezTo>
                  <a:pt x="16532" y="11782"/>
                  <a:pt x="16800" y="11562"/>
                  <a:pt x="16800" y="11291"/>
                </a:cubicBezTo>
                <a:cubicBezTo>
                  <a:pt x="16800" y="11020"/>
                  <a:pt x="16532" y="10800"/>
                  <a:pt x="16200" y="10800"/>
                </a:cubicBezTo>
                <a:lnTo>
                  <a:pt x="4200" y="10800"/>
                </a:lnTo>
                <a:cubicBezTo>
                  <a:pt x="3868" y="10800"/>
                  <a:pt x="3600" y="11020"/>
                  <a:pt x="3600" y="11291"/>
                </a:cubicBezTo>
                <a:cubicBezTo>
                  <a:pt x="3600" y="11562"/>
                  <a:pt x="3868" y="11782"/>
                  <a:pt x="4200" y="11782"/>
                </a:cubicBezTo>
                <a:moveTo>
                  <a:pt x="4200" y="9818"/>
                </a:moveTo>
                <a:lnTo>
                  <a:pt x="11400" y="9818"/>
                </a:lnTo>
                <a:cubicBezTo>
                  <a:pt x="11732" y="9818"/>
                  <a:pt x="12000" y="9599"/>
                  <a:pt x="12000" y="9327"/>
                </a:cubicBezTo>
                <a:cubicBezTo>
                  <a:pt x="12000" y="9056"/>
                  <a:pt x="11732" y="8836"/>
                  <a:pt x="114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4200" y="5891"/>
                </a:moveTo>
                <a:lnTo>
                  <a:pt x="15000" y="5891"/>
                </a:lnTo>
                <a:cubicBezTo>
                  <a:pt x="15332" y="5891"/>
                  <a:pt x="15600" y="5671"/>
                  <a:pt x="15600" y="5400"/>
                </a:cubicBezTo>
                <a:cubicBezTo>
                  <a:pt x="15600" y="5129"/>
                  <a:pt x="15332" y="4909"/>
                  <a:pt x="15000" y="4909"/>
                </a:cubicBezTo>
                <a:lnTo>
                  <a:pt x="4200" y="4909"/>
                </a:lnTo>
                <a:cubicBezTo>
                  <a:pt x="3868" y="4909"/>
                  <a:pt x="3600" y="5129"/>
                  <a:pt x="3600" y="5400"/>
                </a:cubicBezTo>
                <a:cubicBezTo>
                  <a:pt x="3600" y="5671"/>
                  <a:pt x="3868" y="5891"/>
                  <a:pt x="4200" y="5891"/>
                </a:cubicBezTo>
                <a:moveTo>
                  <a:pt x="20400" y="13745"/>
                </a:moveTo>
                <a:lnTo>
                  <a:pt x="1200" y="13745"/>
                </a:lnTo>
                <a:lnTo>
                  <a:pt x="1200" y="2945"/>
                </a:lnTo>
                <a:lnTo>
                  <a:pt x="20400" y="2945"/>
                </a:lnTo>
                <a:cubicBezTo>
                  <a:pt x="20400" y="2945"/>
                  <a:pt x="20400" y="13745"/>
                  <a:pt x="20400" y="13745"/>
                </a:cubicBezTo>
                <a:close/>
                <a:moveTo>
                  <a:pt x="11400" y="20618"/>
                </a:moveTo>
                <a:lnTo>
                  <a:pt x="10200" y="20618"/>
                </a:lnTo>
                <a:lnTo>
                  <a:pt x="10200" y="14727"/>
                </a:lnTo>
                <a:lnTo>
                  <a:pt x="11400" y="14727"/>
                </a:lnTo>
                <a:cubicBezTo>
                  <a:pt x="11400" y="14727"/>
                  <a:pt x="11400" y="20618"/>
                  <a:pt x="11400" y="20618"/>
                </a:cubicBezTo>
                <a:close/>
                <a:moveTo>
                  <a:pt x="10200" y="982"/>
                </a:moveTo>
                <a:lnTo>
                  <a:pt x="11400" y="982"/>
                </a:lnTo>
                <a:lnTo>
                  <a:pt x="11400" y="1964"/>
                </a:lnTo>
                <a:lnTo>
                  <a:pt x="10200" y="1964"/>
                </a:lnTo>
                <a:cubicBezTo>
                  <a:pt x="10200" y="1964"/>
                  <a:pt x="10200" y="982"/>
                  <a:pt x="10200" y="982"/>
                </a:cubicBezTo>
                <a:close/>
                <a:moveTo>
                  <a:pt x="20400" y="1964"/>
                </a:moveTo>
                <a:lnTo>
                  <a:pt x="12600" y="1964"/>
                </a:lnTo>
                <a:lnTo>
                  <a:pt x="12600" y="982"/>
                </a:lnTo>
                <a:cubicBezTo>
                  <a:pt x="12600" y="440"/>
                  <a:pt x="12062" y="0"/>
                  <a:pt x="11400" y="0"/>
                </a:cubicBezTo>
                <a:lnTo>
                  <a:pt x="10200" y="0"/>
                </a:lnTo>
                <a:cubicBezTo>
                  <a:pt x="9537" y="0"/>
                  <a:pt x="9000" y="440"/>
                  <a:pt x="9000" y="982"/>
                </a:cubicBezTo>
                <a:lnTo>
                  <a:pt x="9000" y="1964"/>
                </a:lnTo>
                <a:lnTo>
                  <a:pt x="1200" y="1964"/>
                </a:lnTo>
                <a:cubicBezTo>
                  <a:pt x="537" y="1964"/>
                  <a:pt x="0" y="2404"/>
                  <a:pt x="0" y="2945"/>
                </a:cubicBezTo>
                <a:lnTo>
                  <a:pt x="0" y="13745"/>
                </a:lnTo>
                <a:cubicBezTo>
                  <a:pt x="0" y="14287"/>
                  <a:pt x="537" y="14727"/>
                  <a:pt x="1200" y="14727"/>
                </a:cubicBezTo>
                <a:lnTo>
                  <a:pt x="9000" y="14727"/>
                </a:lnTo>
                <a:lnTo>
                  <a:pt x="9000" y="20618"/>
                </a:lnTo>
                <a:cubicBezTo>
                  <a:pt x="9000" y="21160"/>
                  <a:pt x="9537" y="21600"/>
                  <a:pt x="10200" y="21600"/>
                </a:cubicBezTo>
                <a:lnTo>
                  <a:pt x="11400" y="21600"/>
                </a:lnTo>
                <a:cubicBezTo>
                  <a:pt x="12062" y="21600"/>
                  <a:pt x="12600" y="21160"/>
                  <a:pt x="12600" y="20618"/>
                </a:cubicBezTo>
                <a:lnTo>
                  <a:pt x="12600" y="14727"/>
                </a:lnTo>
                <a:lnTo>
                  <a:pt x="20400" y="14727"/>
                </a:lnTo>
                <a:cubicBezTo>
                  <a:pt x="21062" y="14727"/>
                  <a:pt x="21600" y="14287"/>
                  <a:pt x="21600" y="13745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17400" y="8836"/>
                </a:moveTo>
                <a:lnTo>
                  <a:pt x="13800" y="8836"/>
                </a:lnTo>
                <a:cubicBezTo>
                  <a:pt x="13468" y="8836"/>
                  <a:pt x="13200" y="9056"/>
                  <a:pt x="13200" y="9327"/>
                </a:cubicBezTo>
                <a:cubicBezTo>
                  <a:pt x="13200" y="9599"/>
                  <a:pt x="13468" y="9818"/>
                  <a:pt x="13800" y="9818"/>
                </a:cubicBezTo>
                <a:lnTo>
                  <a:pt x="17400" y="9818"/>
                </a:lnTo>
                <a:cubicBezTo>
                  <a:pt x="17732" y="9818"/>
                  <a:pt x="18000" y="9599"/>
                  <a:pt x="18000" y="9327"/>
                </a:cubicBezTo>
                <a:cubicBezTo>
                  <a:pt x="18000" y="9056"/>
                  <a:pt x="17732" y="8836"/>
                  <a:pt x="17400" y="8836"/>
                </a:cubicBezTo>
                <a:moveTo>
                  <a:pt x="9600" y="7364"/>
                </a:moveTo>
                <a:cubicBezTo>
                  <a:pt x="9600" y="7635"/>
                  <a:pt x="9868" y="7855"/>
                  <a:pt x="10200" y="7855"/>
                </a:cubicBezTo>
                <a:lnTo>
                  <a:pt x="17400" y="7855"/>
                </a:lnTo>
                <a:cubicBezTo>
                  <a:pt x="17732" y="7855"/>
                  <a:pt x="18000" y="7635"/>
                  <a:pt x="18000" y="7364"/>
                </a:cubicBezTo>
                <a:cubicBezTo>
                  <a:pt x="18000" y="7092"/>
                  <a:pt x="17732" y="6873"/>
                  <a:pt x="17400" y="6873"/>
                </a:cubicBezTo>
                <a:lnTo>
                  <a:pt x="10200" y="6873"/>
                </a:lnTo>
                <a:cubicBezTo>
                  <a:pt x="9868" y="6873"/>
                  <a:pt x="9600" y="7092"/>
                  <a:pt x="9600" y="73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51" name="Shape 2951"/>
          <p:cNvSpPr/>
          <p:nvPr/>
        </p:nvSpPr>
        <p:spPr>
          <a:xfrm>
            <a:off x="19965600" y="6629462"/>
            <a:ext cx="558654" cy="4570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6" y="18796"/>
                  <a:pt x="1048" y="18735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5" y="1873"/>
                </a:lnTo>
                <a:cubicBezTo>
                  <a:pt x="9929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5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3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7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5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5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3255" y="8400"/>
                </a:moveTo>
                <a:lnTo>
                  <a:pt x="10309" y="8400"/>
                </a:lnTo>
                <a:cubicBezTo>
                  <a:pt x="10038" y="8400"/>
                  <a:pt x="9818" y="8668"/>
                  <a:pt x="9818" y="9000"/>
                </a:cubicBezTo>
                <a:cubicBezTo>
                  <a:pt x="9818" y="9332"/>
                  <a:pt x="10038" y="9600"/>
                  <a:pt x="10309" y="9600"/>
                </a:cubicBezTo>
                <a:lnTo>
                  <a:pt x="11821" y="9600"/>
                </a:lnTo>
                <a:cubicBezTo>
                  <a:pt x="10310" y="11177"/>
                  <a:pt x="7852" y="14224"/>
                  <a:pt x="7852" y="17384"/>
                </a:cubicBezTo>
                <a:lnTo>
                  <a:pt x="7857" y="17384"/>
                </a:lnTo>
                <a:cubicBezTo>
                  <a:pt x="7857" y="17389"/>
                  <a:pt x="7855" y="17394"/>
                  <a:pt x="7855" y="17400"/>
                </a:cubicBezTo>
                <a:cubicBezTo>
                  <a:pt x="7855" y="17732"/>
                  <a:pt x="8074" y="18000"/>
                  <a:pt x="8345" y="18000"/>
                </a:cubicBezTo>
                <a:cubicBezTo>
                  <a:pt x="8617" y="18000"/>
                  <a:pt x="8836" y="17732"/>
                  <a:pt x="8836" y="17400"/>
                </a:cubicBezTo>
                <a:cubicBezTo>
                  <a:pt x="8836" y="17394"/>
                  <a:pt x="8833" y="17389"/>
                  <a:pt x="8833" y="17384"/>
                </a:cubicBezTo>
                <a:cubicBezTo>
                  <a:pt x="8833" y="14516"/>
                  <a:pt x="11431" y="11542"/>
                  <a:pt x="12764" y="10204"/>
                </a:cubicBezTo>
                <a:lnTo>
                  <a:pt x="12764" y="12600"/>
                </a:lnTo>
                <a:cubicBezTo>
                  <a:pt x="12764" y="12932"/>
                  <a:pt x="12983" y="13200"/>
                  <a:pt x="13255" y="13200"/>
                </a:cubicBezTo>
                <a:cubicBezTo>
                  <a:pt x="13526" y="13200"/>
                  <a:pt x="13745" y="12932"/>
                  <a:pt x="13745" y="12600"/>
                </a:cubicBezTo>
                <a:lnTo>
                  <a:pt x="13745" y="9000"/>
                </a:lnTo>
                <a:cubicBezTo>
                  <a:pt x="13745" y="8668"/>
                  <a:pt x="13526" y="8400"/>
                  <a:pt x="13255" y="84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52" name="Shape 2952"/>
          <p:cNvSpPr/>
          <p:nvPr/>
        </p:nvSpPr>
        <p:spPr>
          <a:xfrm>
            <a:off x="21032122" y="657867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3745"/>
                </a:moveTo>
                <a:lnTo>
                  <a:pt x="982" y="13745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3745"/>
                  <a:pt x="20618" y="13745"/>
                </a:cubicBezTo>
                <a:close/>
                <a:moveTo>
                  <a:pt x="17673" y="15015"/>
                </a:moveTo>
                <a:lnTo>
                  <a:pt x="16691" y="15997"/>
                </a:lnTo>
                <a:lnTo>
                  <a:pt x="16691" y="14727"/>
                </a:lnTo>
                <a:lnTo>
                  <a:pt x="17673" y="14727"/>
                </a:lnTo>
                <a:cubicBezTo>
                  <a:pt x="17673" y="14727"/>
                  <a:pt x="17673" y="15015"/>
                  <a:pt x="17673" y="15015"/>
                </a:cubicBezTo>
                <a:close/>
                <a:moveTo>
                  <a:pt x="17673" y="17960"/>
                </a:moveTo>
                <a:lnTo>
                  <a:pt x="16894" y="17182"/>
                </a:lnTo>
                <a:lnTo>
                  <a:pt x="17673" y="16403"/>
                </a:lnTo>
                <a:cubicBezTo>
                  <a:pt x="17673" y="16403"/>
                  <a:pt x="17673" y="17960"/>
                  <a:pt x="17673" y="17960"/>
                </a:cubicBezTo>
                <a:close/>
                <a:moveTo>
                  <a:pt x="16691" y="19924"/>
                </a:moveTo>
                <a:lnTo>
                  <a:pt x="16691" y="18367"/>
                </a:lnTo>
                <a:lnTo>
                  <a:pt x="17469" y="19145"/>
                </a:lnTo>
                <a:cubicBezTo>
                  <a:pt x="17469" y="19145"/>
                  <a:pt x="16691" y="19924"/>
                  <a:pt x="16691" y="19924"/>
                </a:cubicBezTo>
                <a:close/>
                <a:moveTo>
                  <a:pt x="4909" y="15997"/>
                </a:moveTo>
                <a:lnTo>
                  <a:pt x="3927" y="15015"/>
                </a:lnTo>
                <a:lnTo>
                  <a:pt x="3927" y="14727"/>
                </a:lnTo>
                <a:lnTo>
                  <a:pt x="4909" y="14727"/>
                </a:lnTo>
                <a:cubicBezTo>
                  <a:pt x="4909" y="14727"/>
                  <a:pt x="4909" y="15997"/>
                  <a:pt x="4909" y="15997"/>
                </a:cubicBezTo>
                <a:close/>
                <a:moveTo>
                  <a:pt x="3927" y="17960"/>
                </a:moveTo>
                <a:lnTo>
                  <a:pt x="3927" y="16403"/>
                </a:lnTo>
                <a:lnTo>
                  <a:pt x="4706" y="17182"/>
                </a:lnTo>
                <a:cubicBezTo>
                  <a:pt x="4706" y="17182"/>
                  <a:pt x="3927" y="17960"/>
                  <a:pt x="3927" y="17960"/>
                </a:cubicBezTo>
                <a:close/>
                <a:moveTo>
                  <a:pt x="4909" y="19924"/>
                </a:moveTo>
                <a:lnTo>
                  <a:pt x="4131" y="19145"/>
                </a:lnTo>
                <a:lnTo>
                  <a:pt x="4909" y="18367"/>
                </a:lnTo>
                <a:cubicBezTo>
                  <a:pt x="4909" y="18367"/>
                  <a:pt x="4909" y="19924"/>
                  <a:pt x="4909" y="19924"/>
                </a:cubicBezTo>
                <a:close/>
                <a:moveTo>
                  <a:pt x="1964" y="1964"/>
                </a:moveTo>
                <a:lnTo>
                  <a:pt x="19636" y="1964"/>
                </a:lnTo>
                <a:lnTo>
                  <a:pt x="19636" y="11782"/>
                </a:lnTo>
                <a:lnTo>
                  <a:pt x="1964" y="11782"/>
                </a:lnTo>
                <a:cubicBezTo>
                  <a:pt x="1964" y="11782"/>
                  <a:pt x="1964" y="1964"/>
                  <a:pt x="1964" y="1964"/>
                </a:cubicBezTo>
                <a:close/>
                <a:moveTo>
                  <a:pt x="20618" y="11782"/>
                </a:moveTo>
                <a:lnTo>
                  <a:pt x="20618" y="1964"/>
                </a:lnTo>
                <a:cubicBezTo>
                  <a:pt x="20618" y="1422"/>
                  <a:pt x="20178" y="982"/>
                  <a:pt x="19636" y="982"/>
                </a:cubicBezTo>
                <a:lnTo>
                  <a:pt x="17673" y="982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982"/>
                </a:lnTo>
                <a:lnTo>
                  <a:pt x="4909" y="982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982"/>
                </a:lnTo>
                <a:lnTo>
                  <a:pt x="1964" y="982"/>
                </a:lnTo>
                <a:cubicBezTo>
                  <a:pt x="1422" y="982"/>
                  <a:pt x="982" y="1422"/>
                  <a:pt x="982" y="1964"/>
                </a:cubicBez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3745"/>
                </a:lnTo>
                <a:cubicBezTo>
                  <a:pt x="0" y="14287"/>
                  <a:pt x="440" y="14727"/>
                  <a:pt x="982" y="14727"/>
                </a:cubicBezTo>
                <a:lnTo>
                  <a:pt x="2945" y="14727"/>
                </a:lnTo>
                <a:lnTo>
                  <a:pt x="2945" y="21109"/>
                </a:lnTo>
                <a:cubicBezTo>
                  <a:pt x="2945" y="21380"/>
                  <a:pt x="3165" y="21600"/>
                  <a:pt x="3436" y="21600"/>
                </a:cubicBezTo>
                <a:cubicBezTo>
                  <a:pt x="3708" y="21600"/>
                  <a:pt x="3927" y="21380"/>
                  <a:pt x="3927" y="21109"/>
                </a:cubicBezTo>
                <a:lnTo>
                  <a:pt x="3927" y="20331"/>
                </a:lnTo>
                <a:lnTo>
                  <a:pt x="5053" y="21456"/>
                </a:lnTo>
                <a:cubicBezTo>
                  <a:pt x="5141" y="21545"/>
                  <a:pt x="5264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4727"/>
                </a:lnTo>
                <a:lnTo>
                  <a:pt x="15709" y="14727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336" y="21600"/>
                  <a:pt x="16459" y="21545"/>
                  <a:pt x="16548" y="21456"/>
                </a:cubicBezTo>
                <a:lnTo>
                  <a:pt x="17673" y="20331"/>
                </a:lnTo>
                <a:lnTo>
                  <a:pt x="17673" y="21109"/>
                </a:lnTo>
                <a:cubicBezTo>
                  <a:pt x="17673" y="21380"/>
                  <a:pt x="17892" y="21600"/>
                  <a:pt x="18164" y="21600"/>
                </a:cubicBezTo>
                <a:cubicBezTo>
                  <a:pt x="18435" y="21600"/>
                  <a:pt x="18655" y="21380"/>
                  <a:pt x="18655" y="21109"/>
                </a:cubicBezTo>
                <a:lnTo>
                  <a:pt x="18655" y="14727"/>
                </a:lnTo>
                <a:lnTo>
                  <a:pt x="20618" y="14727"/>
                </a:lnTo>
                <a:cubicBezTo>
                  <a:pt x="21160" y="14727"/>
                  <a:pt x="21600" y="14287"/>
                  <a:pt x="21600" y="13745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53" name="Shape 2953"/>
          <p:cNvSpPr/>
          <p:nvPr/>
        </p:nvSpPr>
        <p:spPr>
          <a:xfrm>
            <a:off x="22098644" y="657867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3745"/>
                </a:moveTo>
                <a:lnTo>
                  <a:pt x="982" y="13745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3745"/>
                  <a:pt x="20618" y="13745"/>
                </a:cubicBezTo>
                <a:close/>
                <a:moveTo>
                  <a:pt x="17673" y="15015"/>
                </a:moveTo>
                <a:lnTo>
                  <a:pt x="16691" y="15997"/>
                </a:lnTo>
                <a:lnTo>
                  <a:pt x="16691" y="14727"/>
                </a:lnTo>
                <a:lnTo>
                  <a:pt x="17673" y="14727"/>
                </a:lnTo>
                <a:cubicBezTo>
                  <a:pt x="17673" y="14727"/>
                  <a:pt x="17673" y="15015"/>
                  <a:pt x="17673" y="15015"/>
                </a:cubicBezTo>
                <a:close/>
                <a:moveTo>
                  <a:pt x="17673" y="17960"/>
                </a:moveTo>
                <a:lnTo>
                  <a:pt x="16894" y="17182"/>
                </a:lnTo>
                <a:lnTo>
                  <a:pt x="17673" y="16403"/>
                </a:lnTo>
                <a:cubicBezTo>
                  <a:pt x="17673" y="16403"/>
                  <a:pt x="17673" y="17960"/>
                  <a:pt x="17673" y="17960"/>
                </a:cubicBezTo>
                <a:close/>
                <a:moveTo>
                  <a:pt x="16691" y="19924"/>
                </a:moveTo>
                <a:lnTo>
                  <a:pt x="16691" y="18367"/>
                </a:lnTo>
                <a:lnTo>
                  <a:pt x="17469" y="19145"/>
                </a:lnTo>
                <a:cubicBezTo>
                  <a:pt x="17469" y="19145"/>
                  <a:pt x="16691" y="19924"/>
                  <a:pt x="16691" y="19924"/>
                </a:cubicBezTo>
                <a:close/>
                <a:moveTo>
                  <a:pt x="4909" y="15997"/>
                </a:moveTo>
                <a:lnTo>
                  <a:pt x="3927" y="15015"/>
                </a:lnTo>
                <a:lnTo>
                  <a:pt x="3927" y="14727"/>
                </a:lnTo>
                <a:lnTo>
                  <a:pt x="4909" y="14727"/>
                </a:lnTo>
                <a:cubicBezTo>
                  <a:pt x="4909" y="14727"/>
                  <a:pt x="4909" y="15997"/>
                  <a:pt x="4909" y="15997"/>
                </a:cubicBezTo>
                <a:close/>
                <a:moveTo>
                  <a:pt x="3927" y="17960"/>
                </a:moveTo>
                <a:lnTo>
                  <a:pt x="3927" y="16403"/>
                </a:lnTo>
                <a:lnTo>
                  <a:pt x="4706" y="17182"/>
                </a:lnTo>
                <a:cubicBezTo>
                  <a:pt x="4706" y="17182"/>
                  <a:pt x="3927" y="17960"/>
                  <a:pt x="3927" y="17960"/>
                </a:cubicBezTo>
                <a:close/>
                <a:moveTo>
                  <a:pt x="4909" y="19924"/>
                </a:moveTo>
                <a:lnTo>
                  <a:pt x="4131" y="19145"/>
                </a:lnTo>
                <a:lnTo>
                  <a:pt x="4909" y="18367"/>
                </a:lnTo>
                <a:cubicBezTo>
                  <a:pt x="4909" y="18367"/>
                  <a:pt x="4909" y="19924"/>
                  <a:pt x="4909" y="19924"/>
                </a:cubicBezTo>
                <a:close/>
                <a:moveTo>
                  <a:pt x="1964" y="1964"/>
                </a:moveTo>
                <a:lnTo>
                  <a:pt x="19636" y="1964"/>
                </a:lnTo>
                <a:lnTo>
                  <a:pt x="19636" y="11782"/>
                </a:lnTo>
                <a:lnTo>
                  <a:pt x="1964" y="11782"/>
                </a:lnTo>
                <a:cubicBezTo>
                  <a:pt x="1964" y="11782"/>
                  <a:pt x="1964" y="1964"/>
                  <a:pt x="1964" y="1964"/>
                </a:cubicBezTo>
                <a:close/>
                <a:moveTo>
                  <a:pt x="20618" y="11782"/>
                </a:moveTo>
                <a:lnTo>
                  <a:pt x="20618" y="1964"/>
                </a:lnTo>
                <a:cubicBezTo>
                  <a:pt x="20618" y="1422"/>
                  <a:pt x="20178" y="982"/>
                  <a:pt x="19636" y="982"/>
                </a:cubicBezTo>
                <a:lnTo>
                  <a:pt x="17673" y="982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982"/>
                </a:lnTo>
                <a:lnTo>
                  <a:pt x="4909" y="982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982"/>
                </a:lnTo>
                <a:lnTo>
                  <a:pt x="1964" y="982"/>
                </a:lnTo>
                <a:cubicBezTo>
                  <a:pt x="1422" y="982"/>
                  <a:pt x="982" y="1422"/>
                  <a:pt x="982" y="1964"/>
                </a:cubicBez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3745"/>
                </a:lnTo>
                <a:cubicBezTo>
                  <a:pt x="0" y="14287"/>
                  <a:pt x="440" y="14727"/>
                  <a:pt x="982" y="14727"/>
                </a:cubicBezTo>
                <a:lnTo>
                  <a:pt x="2945" y="14727"/>
                </a:lnTo>
                <a:lnTo>
                  <a:pt x="2945" y="21109"/>
                </a:lnTo>
                <a:cubicBezTo>
                  <a:pt x="2945" y="21380"/>
                  <a:pt x="3165" y="21600"/>
                  <a:pt x="3436" y="21600"/>
                </a:cubicBezTo>
                <a:cubicBezTo>
                  <a:pt x="3708" y="21600"/>
                  <a:pt x="3927" y="21380"/>
                  <a:pt x="3927" y="21109"/>
                </a:cubicBezTo>
                <a:lnTo>
                  <a:pt x="3927" y="20331"/>
                </a:lnTo>
                <a:lnTo>
                  <a:pt x="5053" y="21456"/>
                </a:lnTo>
                <a:cubicBezTo>
                  <a:pt x="5141" y="21545"/>
                  <a:pt x="5264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4727"/>
                </a:lnTo>
                <a:lnTo>
                  <a:pt x="15709" y="14727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336" y="21600"/>
                  <a:pt x="16458" y="21545"/>
                  <a:pt x="16548" y="21456"/>
                </a:cubicBezTo>
                <a:lnTo>
                  <a:pt x="17673" y="20331"/>
                </a:lnTo>
                <a:lnTo>
                  <a:pt x="17673" y="21109"/>
                </a:lnTo>
                <a:cubicBezTo>
                  <a:pt x="17673" y="21380"/>
                  <a:pt x="17892" y="21600"/>
                  <a:pt x="18164" y="21600"/>
                </a:cubicBezTo>
                <a:cubicBezTo>
                  <a:pt x="18435" y="21600"/>
                  <a:pt x="18655" y="21380"/>
                  <a:pt x="18655" y="21109"/>
                </a:cubicBezTo>
                <a:lnTo>
                  <a:pt x="18655" y="14727"/>
                </a:lnTo>
                <a:lnTo>
                  <a:pt x="20618" y="14727"/>
                </a:lnTo>
                <a:cubicBezTo>
                  <a:pt x="21160" y="14727"/>
                  <a:pt x="21600" y="14287"/>
                  <a:pt x="21600" y="13745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12620" y="4072"/>
                </a:moveTo>
                <a:cubicBezTo>
                  <a:pt x="12531" y="3982"/>
                  <a:pt x="12408" y="3927"/>
                  <a:pt x="12273" y="3927"/>
                </a:cubicBezTo>
                <a:cubicBezTo>
                  <a:pt x="12001" y="3927"/>
                  <a:pt x="11782" y="4147"/>
                  <a:pt x="11782" y="4418"/>
                </a:cubicBezTo>
                <a:cubicBezTo>
                  <a:pt x="11782" y="4554"/>
                  <a:pt x="11837" y="4677"/>
                  <a:pt x="11926" y="4765"/>
                </a:cubicBezTo>
                <a:lnTo>
                  <a:pt x="13542" y="6382"/>
                </a:lnTo>
                <a:lnTo>
                  <a:pt x="6873" y="6382"/>
                </a:lnTo>
                <a:cubicBezTo>
                  <a:pt x="6601" y="6382"/>
                  <a:pt x="6382" y="6602"/>
                  <a:pt x="6382" y="6873"/>
                </a:cubicBezTo>
                <a:cubicBezTo>
                  <a:pt x="6382" y="7144"/>
                  <a:pt x="6601" y="7364"/>
                  <a:pt x="6873" y="7364"/>
                </a:cubicBezTo>
                <a:lnTo>
                  <a:pt x="13542" y="7364"/>
                </a:lnTo>
                <a:lnTo>
                  <a:pt x="11926" y="8980"/>
                </a:lnTo>
                <a:cubicBezTo>
                  <a:pt x="11837" y="9069"/>
                  <a:pt x="11782" y="9192"/>
                  <a:pt x="11782" y="9327"/>
                </a:cubicBezTo>
                <a:cubicBezTo>
                  <a:pt x="11782" y="9599"/>
                  <a:pt x="12001" y="9818"/>
                  <a:pt x="12273" y="9818"/>
                </a:cubicBezTo>
                <a:cubicBezTo>
                  <a:pt x="12408" y="9818"/>
                  <a:pt x="12531" y="9764"/>
                  <a:pt x="12620" y="9674"/>
                </a:cubicBezTo>
                <a:lnTo>
                  <a:pt x="15074" y="7220"/>
                </a:lnTo>
                <a:cubicBezTo>
                  <a:pt x="15163" y="7131"/>
                  <a:pt x="15218" y="7008"/>
                  <a:pt x="15218" y="6873"/>
                </a:cubicBezTo>
                <a:cubicBezTo>
                  <a:pt x="15218" y="6738"/>
                  <a:pt x="15163" y="6614"/>
                  <a:pt x="15074" y="6526"/>
                </a:cubicBezTo>
                <a:cubicBezTo>
                  <a:pt x="15074" y="6526"/>
                  <a:pt x="12620" y="4072"/>
                  <a:pt x="12620" y="4072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55" name="Shape 2955"/>
          <p:cNvSpPr/>
          <p:nvPr/>
        </p:nvSpPr>
        <p:spPr>
          <a:xfrm>
            <a:off x="1758543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7673"/>
                </a:moveTo>
                <a:cubicBezTo>
                  <a:pt x="10529" y="17673"/>
                  <a:pt x="10309" y="17892"/>
                  <a:pt x="10309" y="18164"/>
                </a:cubicBezTo>
                <a:lnTo>
                  <a:pt x="10309" y="21109"/>
                </a:lnTo>
                <a:cubicBezTo>
                  <a:pt x="10309" y="21380"/>
                  <a:pt x="10529" y="21600"/>
                  <a:pt x="10800" y="21600"/>
                </a:cubicBezTo>
                <a:cubicBezTo>
                  <a:pt x="11071" y="21600"/>
                  <a:pt x="11291" y="21380"/>
                  <a:pt x="11291" y="21109"/>
                </a:cubicBezTo>
                <a:lnTo>
                  <a:pt x="11291" y="18164"/>
                </a:lnTo>
                <a:cubicBezTo>
                  <a:pt x="11291" y="17892"/>
                  <a:pt x="11071" y="17673"/>
                  <a:pt x="10800" y="17673"/>
                </a:cubicBezTo>
                <a:moveTo>
                  <a:pt x="10800" y="15709"/>
                </a:moveTo>
                <a:cubicBezTo>
                  <a:pt x="8089" y="15709"/>
                  <a:pt x="5891" y="13511"/>
                  <a:pt x="5891" y="10800"/>
                </a:cubicBezTo>
                <a:cubicBezTo>
                  <a:pt x="5891" y="8088"/>
                  <a:pt x="8089" y="5891"/>
                  <a:pt x="10800" y="5891"/>
                </a:cubicBezTo>
                <a:cubicBezTo>
                  <a:pt x="13511" y="5891"/>
                  <a:pt x="15709" y="8088"/>
                  <a:pt x="15709" y="10800"/>
                </a:cubicBezTo>
                <a:cubicBezTo>
                  <a:pt x="15709" y="13511"/>
                  <a:pt x="13511" y="15709"/>
                  <a:pt x="10800" y="15709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16354" y="15660"/>
                </a:moveTo>
                <a:cubicBezTo>
                  <a:pt x="16162" y="15468"/>
                  <a:pt x="15851" y="15468"/>
                  <a:pt x="15659" y="15660"/>
                </a:cubicBezTo>
                <a:cubicBezTo>
                  <a:pt x="15468" y="15851"/>
                  <a:pt x="15468" y="16163"/>
                  <a:pt x="15659" y="16354"/>
                </a:cubicBezTo>
                <a:lnTo>
                  <a:pt x="17742" y="18437"/>
                </a:lnTo>
                <a:cubicBezTo>
                  <a:pt x="17934" y="18629"/>
                  <a:pt x="18245" y="18629"/>
                  <a:pt x="18437" y="18437"/>
                </a:cubicBezTo>
                <a:cubicBezTo>
                  <a:pt x="18628" y="18245"/>
                  <a:pt x="18628" y="17934"/>
                  <a:pt x="18437" y="17743"/>
                </a:cubicBezTo>
                <a:cubicBezTo>
                  <a:pt x="18437" y="17743"/>
                  <a:pt x="16354" y="15660"/>
                  <a:pt x="16354" y="15660"/>
                </a:cubicBezTo>
                <a:close/>
                <a:moveTo>
                  <a:pt x="21109" y="10309"/>
                </a:moveTo>
                <a:lnTo>
                  <a:pt x="18164" y="10309"/>
                </a:lnTo>
                <a:cubicBezTo>
                  <a:pt x="17893" y="10309"/>
                  <a:pt x="17673" y="10529"/>
                  <a:pt x="17673" y="10800"/>
                </a:cubicBezTo>
                <a:cubicBezTo>
                  <a:pt x="17673" y="11071"/>
                  <a:pt x="17893" y="11291"/>
                  <a:pt x="18164" y="11291"/>
                </a:cubicBezTo>
                <a:lnTo>
                  <a:pt x="21109" y="11291"/>
                </a:lnTo>
                <a:cubicBezTo>
                  <a:pt x="21380" y="11291"/>
                  <a:pt x="21600" y="11071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  <a:moveTo>
                  <a:pt x="5246" y="15660"/>
                </a:moveTo>
                <a:lnTo>
                  <a:pt x="3163" y="17743"/>
                </a:lnTo>
                <a:cubicBezTo>
                  <a:pt x="2972" y="17934"/>
                  <a:pt x="2972" y="18245"/>
                  <a:pt x="3163" y="18437"/>
                </a:cubicBezTo>
                <a:cubicBezTo>
                  <a:pt x="3355" y="18629"/>
                  <a:pt x="3666" y="18629"/>
                  <a:pt x="3858" y="18437"/>
                </a:cubicBezTo>
                <a:lnTo>
                  <a:pt x="5941" y="16354"/>
                </a:lnTo>
                <a:cubicBezTo>
                  <a:pt x="6132" y="16163"/>
                  <a:pt x="6132" y="15851"/>
                  <a:pt x="5941" y="15660"/>
                </a:cubicBezTo>
                <a:cubicBezTo>
                  <a:pt x="5749" y="15468"/>
                  <a:pt x="5438" y="15468"/>
                  <a:pt x="5246" y="15660"/>
                </a:cubicBezTo>
                <a:moveTo>
                  <a:pt x="16354" y="5941"/>
                </a:moveTo>
                <a:lnTo>
                  <a:pt x="18437" y="3857"/>
                </a:lnTo>
                <a:cubicBezTo>
                  <a:pt x="18628" y="3666"/>
                  <a:pt x="18628" y="3355"/>
                  <a:pt x="18437" y="3163"/>
                </a:cubicBezTo>
                <a:cubicBezTo>
                  <a:pt x="18245" y="2971"/>
                  <a:pt x="17934" y="2971"/>
                  <a:pt x="17742" y="3163"/>
                </a:cubicBezTo>
                <a:lnTo>
                  <a:pt x="15659" y="5247"/>
                </a:lnTo>
                <a:cubicBezTo>
                  <a:pt x="15468" y="5437"/>
                  <a:pt x="15468" y="5749"/>
                  <a:pt x="15659" y="5941"/>
                </a:cubicBezTo>
                <a:cubicBezTo>
                  <a:pt x="15851" y="6132"/>
                  <a:pt x="16162" y="6132"/>
                  <a:pt x="16354" y="5941"/>
                </a:cubicBezTo>
                <a:moveTo>
                  <a:pt x="10800" y="3927"/>
                </a:moveTo>
                <a:cubicBezTo>
                  <a:pt x="11071" y="3927"/>
                  <a:pt x="11291" y="3708"/>
                  <a:pt x="11291" y="3436"/>
                </a:cubicBez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3436"/>
                </a:lnTo>
                <a:cubicBezTo>
                  <a:pt x="10309" y="3708"/>
                  <a:pt x="10529" y="3927"/>
                  <a:pt x="10800" y="3927"/>
                </a:cubicBezTo>
                <a:moveTo>
                  <a:pt x="3927" y="10800"/>
                </a:moveTo>
                <a:cubicBezTo>
                  <a:pt x="3927" y="10529"/>
                  <a:pt x="3707" y="10309"/>
                  <a:pt x="3436" y="10309"/>
                </a:cubicBezTo>
                <a:lnTo>
                  <a:pt x="491" y="10309"/>
                </a:lnTo>
                <a:cubicBezTo>
                  <a:pt x="220" y="10309"/>
                  <a:pt x="0" y="10529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lnTo>
                  <a:pt x="3436" y="11291"/>
                </a:lnTo>
                <a:cubicBezTo>
                  <a:pt x="3707" y="11291"/>
                  <a:pt x="3927" y="11071"/>
                  <a:pt x="3927" y="10800"/>
                </a:cubicBezTo>
                <a:moveTo>
                  <a:pt x="5246" y="5941"/>
                </a:moveTo>
                <a:cubicBezTo>
                  <a:pt x="5438" y="6132"/>
                  <a:pt x="5749" y="6132"/>
                  <a:pt x="5941" y="5941"/>
                </a:cubicBezTo>
                <a:cubicBezTo>
                  <a:pt x="6132" y="5749"/>
                  <a:pt x="6132" y="5437"/>
                  <a:pt x="5941" y="5247"/>
                </a:cubicBezTo>
                <a:lnTo>
                  <a:pt x="3858" y="3163"/>
                </a:lnTo>
                <a:cubicBezTo>
                  <a:pt x="3666" y="2971"/>
                  <a:pt x="3355" y="2971"/>
                  <a:pt x="3163" y="3163"/>
                </a:cubicBezTo>
                <a:cubicBezTo>
                  <a:pt x="2972" y="3355"/>
                  <a:pt x="2972" y="3666"/>
                  <a:pt x="3163" y="3857"/>
                </a:cubicBezTo>
                <a:cubicBezTo>
                  <a:pt x="3163" y="3857"/>
                  <a:pt x="5246" y="5941"/>
                  <a:pt x="5246" y="5941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56" name="Shape 2956"/>
          <p:cNvSpPr/>
          <p:nvPr/>
        </p:nvSpPr>
        <p:spPr>
          <a:xfrm>
            <a:off x="2825064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415"/>
                </a:moveTo>
                <a:lnTo>
                  <a:pt x="9040" y="18655"/>
                </a:lnTo>
                <a:lnTo>
                  <a:pt x="9327" y="18655"/>
                </a:lnTo>
                <a:cubicBezTo>
                  <a:pt x="9598" y="18655"/>
                  <a:pt x="9818" y="18435"/>
                  <a:pt x="9818" y="18164"/>
                </a:cubicBezTo>
                <a:lnTo>
                  <a:pt x="9818" y="15709"/>
                </a:lnTo>
                <a:lnTo>
                  <a:pt x="11782" y="15709"/>
                </a:lnTo>
                <a:lnTo>
                  <a:pt x="11782" y="18164"/>
                </a:lnTo>
                <a:cubicBezTo>
                  <a:pt x="11782" y="18435"/>
                  <a:pt x="12002" y="18655"/>
                  <a:pt x="12273" y="18655"/>
                </a:cubicBezTo>
                <a:lnTo>
                  <a:pt x="12560" y="18655"/>
                </a:lnTo>
                <a:cubicBezTo>
                  <a:pt x="12560" y="18655"/>
                  <a:pt x="10800" y="20415"/>
                  <a:pt x="10800" y="20415"/>
                </a:cubicBezTo>
                <a:close/>
                <a:moveTo>
                  <a:pt x="13745" y="17673"/>
                </a:moveTo>
                <a:lnTo>
                  <a:pt x="12764" y="17673"/>
                </a:lnTo>
                <a:lnTo>
                  <a:pt x="12764" y="15218"/>
                </a:lnTo>
                <a:cubicBezTo>
                  <a:pt x="12764" y="14947"/>
                  <a:pt x="12544" y="14727"/>
                  <a:pt x="12273" y="14727"/>
                </a:cubicBezTo>
                <a:lnTo>
                  <a:pt x="9327" y="14727"/>
                </a:lnTo>
                <a:cubicBezTo>
                  <a:pt x="9056" y="14727"/>
                  <a:pt x="8836" y="14947"/>
                  <a:pt x="8836" y="15218"/>
                </a:cubicBezTo>
                <a:lnTo>
                  <a:pt x="8836" y="17673"/>
                </a:lnTo>
                <a:lnTo>
                  <a:pt x="7855" y="17673"/>
                </a:lnTo>
                <a:cubicBezTo>
                  <a:pt x="7584" y="17673"/>
                  <a:pt x="7364" y="17892"/>
                  <a:pt x="7364" y="18164"/>
                </a:cubicBezTo>
                <a:cubicBezTo>
                  <a:pt x="7364" y="18299"/>
                  <a:pt x="7419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5" y="21600"/>
                  <a:pt x="10800" y="21600"/>
                </a:cubicBezTo>
                <a:cubicBezTo>
                  <a:pt x="10935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1" y="18422"/>
                  <a:pt x="14236" y="18299"/>
                  <a:pt x="14236" y="18164"/>
                </a:cubicBezTo>
                <a:cubicBezTo>
                  <a:pt x="14236" y="17892"/>
                  <a:pt x="14016" y="17673"/>
                  <a:pt x="13745" y="17673"/>
                </a:cubicBezTo>
                <a:moveTo>
                  <a:pt x="5891" y="10800"/>
                </a:moveTo>
                <a:cubicBezTo>
                  <a:pt x="5891" y="8088"/>
                  <a:pt x="8089" y="5891"/>
                  <a:pt x="10800" y="5891"/>
                </a:cubicBezTo>
                <a:cubicBezTo>
                  <a:pt x="13511" y="5891"/>
                  <a:pt x="15709" y="8088"/>
                  <a:pt x="15709" y="10800"/>
                </a:cubicBezTo>
                <a:cubicBezTo>
                  <a:pt x="15709" y="10800"/>
                  <a:pt x="5891" y="10800"/>
                  <a:pt x="5891" y="10800"/>
                </a:cubicBezTo>
                <a:close/>
                <a:moveTo>
                  <a:pt x="21109" y="10800"/>
                </a:moveTo>
                <a:lnTo>
                  <a:pt x="16691" y="10800"/>
                </a:lnTo>
                <a:cubicBezTo>
                  <a:pt x="16691" y="7547"/>
                  <a:pt x="14053" y="4909"/>
                  <a:pt x="10800" y="4909"/>
                </a:cubicBezTo>
                <a:cubicBezTo>
                  <a:pt x="7547" y="4909"/>
                  <a:pt x="4909" y="7547"/>
                  <a:pt x="4909" y="10800"/>
                </a:cubicBezTo>
                <a:lnTo>
                  <a:pt x="491" y="10800"/>
                </a:lnTo>
                <a:cubicBezTo>
                  <a:pt x="220" y="10800"/>
                  <a:pt x="0" y="11020"/>
                  <a:pt x="0" y="11291"/>
                </a:cubicBezTo>
                <a:cubicBezTo>
                  <a:pt x="0" y="11562"/>
                  <a:pt x="220" y="11782"/>
                  <a:pt x="491" y="11782"/>
                </a:cubicBezTo>
                <a:lnTo>
                  <a:pt x="21109" y="11782"/>
                </a:lnTo>
                <a:cubicBezTo>
                  <a:pt x="21380" y="11782"/>
                  <a:pt x="21600" y="11562"/>
                  <a:pt x="21600" y="11291"/>
                </a:cubicBezTo>
                <a:cubicBezTo>
                  <a:pt x="21600" y="11020"/>
                  <a:pt x="21380" y="10800"/>
                  <a:pt x="21109" y="10800"/>
                </a:cubicBezTo>
                <a:moveTo>
                  <a:pt x="10800" y="3927"/>
                </a:moveTo>
                <a:cubicBezTo>
                  <a:pt x="11071" y="3927"/>
                  <a:pt x="11291" y="3708"/>
                  <a:pt x="11291" y="3436"/>
                </a:cubicBez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3436"/>
                </a:lnTo>
                <a:cubicBezTo>
                  <a:pt x="10309" y="3708"/>
                  <a:pt x="10529" y="3927"/>
                  <a:pt x="10800" y="3927"/>
                </a:cubicBezTo>
                <a:moveTo>
                  <a:pt x="16354" y="5940"/>
                </a:moveTo>
                <a:lnTo>
                  <a:pt x="18437" y="3857"/>
                </a:lnTo>
                <a:cubicBezTo>
                  <a:pt x="18628" y="3666"/>
                  <a:pt x="18628" y="3355"/>
                  <a:pt x="18437" y="3163"/>
                </a:cubicBezTo>
                <a:cubicBezTo>
                  <a:pt x="18245" y="2971"/>
                  <a:pt x="17934" y="2971"/>
                  <a:pt x="17742" y="3163"/>
                </a:cubicBezTo>
                <a:lnTo>
                  <a:pt x="15659" y="5247"/>
                </a:lnTo>
                <a:cubicBezTo>
                  <a:pt x="15468" y="5437"/>
                  <a:pt x="15468" y="5749"/>
                  <a:pt x="15659" y="5940"/>
                </a:cubicBezTo>
                <a:cubicBezTo>
                  <a:pt x="15851" y="6132"/>
                  <a:pt x="16162" y="6132"/>
                  <a:pt x="16354" y="5940"/>
                </a:cubicBezTo>
                <a:moveTo>
                  <a:pt x="5246" y="5940"/>
                </a:moveTo>
                <a:cubicBezTo>
                  <a:pt x="5438" y="6132"/>
                  <a:pt x="5749" y="6132"/>
                  <a:pt x="5941" y="5940"/>
                </a:cubicBezTo>
                <a:cubicBezTo>
                  <a:pt x="6132" y="5749"/>
                  <a:pt x="6132" y="5437"/>
                  <a:pt x="5941" y="5247"/>
                </a:cubicBezTo>
                <a:lnTo>
                  <a:pt x="3858" y="3163"/>
                </a:lnTo>
                <a:cubicBezTo>
                  <a:pt x="3666" y="2971"/>
                  <a:pt x="3355" y="2971"/>
                  <a:pt x="3163" y="3163"/>
                </a:cubicBezTo>
                <a:cubicBezTo>
                  <a:pt x="2972" y="3355"/>
                  <a:pt x="2972" y="3666"/>
                  <a:pt x="3163" y="3857"/>
                </a:cubicBezTo>
                <a:cubicBezTo>
                  <a:pt x="3163" y="3857"/>
                  <a:pt x="5246" y="5940"/>
                  <a:pt x="5246" y="594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57" name="Shape 2957"/>
          <p:cNvSpPr/>
          <p:nvPr/>
        </p:nvSpPr>
        <p:spPr>
          <a:xfrm>
            <a:off x="3891587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185"/>
                </a:moveTo>
                <a:lnTo>
                  <a:pt x="12560" y="2945"/>
                </a:lnTo>
                <a:lnTo>
                  <a:pt x="12273" y="2945"/>
                </a:lnTo>
                <a:cubicBezTo>
                  <a:pt x="12002" y="2945"/>
                  <a:pt x="11782" y="3165"/>
                  <a:pt x="11782" y="3436"/>
                </a:cubicBezTo>
                <a:lnTo>
                  <a:pt x="11782" y="5891"/>
                </a:lnTo>
                <a:lnTo>
                  <a:pt x="9818" y="5891"/>
                </a:lnTo>
                <a:lnTo>
                  <a:pt x="9818" y="3436"/>
                </a:lnTo>
                <a:cubicBezTo>
                  <a:pt x="9818" y="3165"/>
                  <a:pt x="9598" y="2945"/>
                  <a:pt x="9327" y="2945"/>
                </a:cubicBezTo>
                <a:lnTo>
                  <a:pt x="9040" y="2945"/>
                </a:lnTo>
                <a:cubicBezTo>
                  <a:pt x="9040" y="2945"/>
                  <a:pt x="10800" y="1185"/>
                  <a:pt x="10800" y="1185"/>
                </a:cubicBezTo>
                <a:close/>
                <a:moveTo>
                  <a:pt x="7855" y="3927"/>
                </a:moveTo>
                <a:lnTo>
                  <a:pt x="8836" y="3927"/>
                </a:lnTo>
                <a:lnTo>
                  <a:pt x="8836" y="6382"/>
                </a:lnTo>
                <a:cubicBezTo>
                  <a:pt x="8836" y="6653"/>
                  <a:pt x="9056" y="6873"/>
                  <a:pt x="9327" y="6873"/>
                </a:cubicBezTo>
                <a:lnTo>
                  <a:pt x="12273" y="6873"/>
                </a:lnTo>
                <a:cubicBezTo>
                  <a:pt x="12544" y="6873"/>
                  <a:pt x="12764" y="6653"/>
                  <a:pt x="12764" y="6382"/>
                </a:cubicBezTo>
                <a:lnTo>
                  <a:pt x="12764" y="3927"/>
                </a:lnTo>
                <a:lnTo>
                  <a:pt x="13745" y="3927"/>
                </a:lnTo>
                <a:cubicBezTo>
                  <a:pt x="14016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9" y="55"/>
                  <a:pt x="10935" y="0"/>
                  <a:pt x="10800" y="0"/>
                </a:cubicBezTo>
                <a:cubicBezTo>
                  <a:pt x="10665" y="0"/>
                  <a:pt x="10542" y="55"/>
                  <a:pt x="10452" y="144"/>
                </a:cubicBezTo>
                <a:lnTo>
                  <a:pt x="7507" y="3089"/>
                </a:lnTo>
                <a:cubicBezTo>
                  <a:pt x="7419" y="3178"/>
                  <a:pt x="7364" y="3301"/>
                  <a:pt x="7364" y="3436"/>
                </a:cubicBezTo>
                <a:cubicBezTo>
                  <a:pt x="7364" y="3708"/>
                  <a:pt x="7584" y="3927"/>
                  <a:pt x="7855" y="3927"/>
                </a:cubicBezTo>
                <a:moveTo>
                  <a:pt x="5246" y="15759"/>
                </a:moveTo>
                <a:cubicBezTo>
                  <a:pt x="5438" y="15950"/>
                  <a:pt x="5749" y="15950"/>
                  <a:pt x="5941" y="15759"/>
                </a:cubicBezTo>
                <a:cubicBezTo>
                  <a:pt x="6132" y="15567"/>
                  <a:pt x="6132" y="15256"/>
                  <a:pt x="5941" y="15064"/>
                </a:cubicBezTo>
                <a:lnTo>
                  <a:pt x="3858" y="12981"/>
                </a:lnTo>
                <a:cubicBezTo>
                  <a:pt x="3666" y="12790"/>
                  <a:pt x="3355" y="12790"/>
                  <a:pt x="3163" y="12981"/>
                </a:cubicBezTo>
                <a:cubicBezTo>
                  <a:pt x="2971" y="13173"/>
                  <a:pt x="2971" y="13484"/>
                  <a:pt x="3163" y="13675"/>
                </a:cubicBezTo>
                <a:cubicBezTo>
                  <a:pt x="3163" y="13675"/>
                  <a:pt x="5246" y="15759"/>
                  <a:pt x="5246" y="15759"/>
                </a:cubicBezTo>
                <a:close/>
                <a:moveTo>
                  <a:pt x="10309" y="10309"/>
                </a:moveTo>
                <a:lnTo>
                  <a:pt x="10309" y="13255"/>
                </a:lnTo>
                <a:cubicBezTo>
                  <a:pt x="10309" y="13526"/>
                  <a:pt x="10529" y="13745"/>
                  <a:pt x="10800" y="13745"/>
                </a:cubicBezTo>
                <a:cubicBezTo>
                  <a:pt x="11071" y="13745"/>
                  <a:pt x="11291" y="13526"/>
                  <a:pt x="11291" y="13255"/>
                </a:cubicBezTo>
                <a:lnTo>
                  <a:pt x="11291" y="10309"/>
                </a:lnTo>
                <a:cubicBezTo>
                  <a:pt x="11291" y="10038"/>
                  <a:pt x="11071" y="9818"/>
                  <a:pt x="10800" y="9818"/>
                </a:cubicBezTo>
                <a:cubicBezTo>
                  <a:pt x="10529" y="9818"/>
                  <a:pt x="10309" y="10038"/>
                  <a:pt x="10309" y="10309"/>
                </a:cubicBezTo>
                <a:moveTo>
                  <a:pt x="16354" y="15759"/>
                </a:moveTo>
                <a:lnTo>
                  <a:pt x="18437" y="13675"/>
                </a:lnTo>
                <a:cubicBezTo>
                  <a:pt x="18628" y="13484"/>
                  <a:pt x="18628" y="13173"/>
                  <a:pt x="18437" y="12981"/>
                </a:cubicBezTo>
                <a:cubicBezTo>
                  <a:pt x="18245" y="12790"/>
                  <a:pt x="17934" y="12790"/>
                  <a:pt x="17742" y="12981"/>
                </a:cubicBezTo>
                <a:lnTo>
                  <a:pt x="15659" y="15064"/>
                </a:lnTo>
                <a:cubicBezTo>
                  <a:pt x="15468" y="15256"/>
                  <a:pt x="15468" y="15567"/>
                  <a:pt x="15659" y="15759"/>
                </a:cubicBezTo>
                <a:cubicBezTo>
                  <a:pt x="15851" y="15950"/>
                  <a:pt x="16162" y="15950"/>
                  <a:pt x="16354" y="15759"/>
                </a:cubicBezTo>
                <a:moveTo>
                  <a:pt x="5891" y="20618"/>
                </a:moveTo>
                <a:cubicBezTo>
                  <a:pt x="5891" y="17907"/>
                  <a:pt x="8089" y="15709"/>
                  <a:pt x="10800" y="15709"/>
                </a:cubicBezTo>
                <a:cubicBezTo>
                  <a:pt x="13511" y="15709"/>
                  <a:pt x="15709" y="17907"/>
                  <a:pt x="15709" y="20618"/>
                </a:cubicBezTo>
                <a:cubicBezTo>
                  <a:pt x="15709" y="20618"/>
                  <a:pt x="5891" y="20618"/>
                  <a:pt x="5891" y="20618"/>
                </a:cubicBezTo>
                <a:close/>
                <a:moveTo>
                  <a:pt x="21109" y="20618"/>
                </a:moveTo>
                <a:lnTo>
                  <a:pt x="16691" y="20618"/>
                </a:lnTo>
                <a:cubicBezTo>
                  <a:pt x="16691" y="17365"/>
                  <a:pt x="14053" y="14727"/>
                  <a:pt x="10800" y="14727"/>
                </a:cubicBezTo>
                <a:cubicBezTo>
                  <a:pt x="7547" y="14727"/>
                  <a:pt x="4909" y="17365"/>
                  <a:pt x="4909" y="20618"/>
                </a:cubicBezTo>
                <a:lnTo>
                  <a:pt x="491" y="20618"/>
                </a:lnTo>
                <a:cubicBezTo>
                  <a:pt x="220" y="20618"/>
                  <a:pt x="0" y="20838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cubicBezTo>
                  <a:pt x="21600" y="20838"/>
                  <a:pt x="21380" y="20618"/>
                  <a:pt x="21109" y="206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58" name="Shape 2958"/>
          <p:cNvSpPr/>
          <p:nvPr/>
        </p:nvSpPr>
        <p:spPr>
          <a:xfrm>
            <a:off x="4958109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964"/>
                </a:moveTo>
                <a:lnTo>
                  <a:pt x="19636" y="1964"/>
                </a:lnTo>
                <a:lnTo>
                  <a:pt x="18900" y="0"/>
                </a:lnTo>
                <a:lnTo>
                  <a:pt x="18164" y="1964"/>
                </a:lnTo>
                <a:lnTo>
                  <a:pt x="16200" y="1964"/>
                </a:lnTo>
                <a:lnTo>
                  <a:pt x="17795" y="3191"/>
                </a:lnTo>
                <a:lnTo>
                  <a:pt x="17059" y="5400"/>
                </a:lnTo>
                <a:lnTo>
                  <a:pt x="18900" y="4050"/>
                </a:lnTo>
                <a:lnTo>
                  <a:pt x="20741" y="5400"/>
                </a:lnTo>
                <a:lnTo>
                  <a:pt x="20005" y="3191"/>
                </a:lnTo>
                <a:cubicBezTo>
                  <a:pt x="20005" y="3191"/>
                  <a:pt x="21600" y="1964"/>
                  <a:pt x="21600" y="1964"/>
                </a:cubicBezTo>
                <a:close/>
                <a:moveTo>
                  <a:pt x="10800" y="20616"/>
                </a:moveTo>
                <a:cubicBezTo>
                  <a:pt x="5386" y="20616"/>
                  <a:pt x="982" y="16203"/>
                  <a:pt x="982" y="10777"/>
                </a:cubicBezTo>
                <a:cubicBezTo>
                  <a:pt x="982" y="6434"/>
                  <a:pt x="3745" y="2741"/>
                  <a:pt x="7690" y="1441"/>
                </a:cubicBezTo>
                <a:cubicBezTo>
                  <a:pt x="6837" y="3102"/>
                  <a:pt x="6382" y="4957"/>
                  <a:pt x="6382" y="6841"/>
                </a:cubicBezTo>
                <a:cubicBezTo>
                  <a:pt x="6382" y="13004"/>
                  <a:pt x="11118" y="18079"/>
                  <a:pt x="17134" y="18604"/>
                </a:cubicBezTo>
                <a:cubicBezTo>
                  <a:pt x="15361" y="19863"/>
                  <a:pt x="13065" y="20616"/>
                  <a:pt x="10800" y="20616"/>
                </a:cubicBezTo>
                <a:moveTo>
                  <a:pt x="7364" y="6841"/>
                </a:moveTo>
                <a:cubicBezTo>
                  <a:pt x="7364" y="4248"/>
                  <a:pt x="8276" y="1870"/>
                  <a:pt x="9794" y="5"/>
                </a:cubicBezTo>
                <a:cubicBezTo>
                  <a:pt x="4302" y="514"/>
                  <a:pt x="0" y="5140"/>
                  <a:pt x="0" y="10777"/>
                </a:cubicBezTo>
                <a:cubicBezTo>
                  <a:pt x="0" y="16755"/>
                  <a:pt x="4836" y="21600"/>
                  <a:pt x="10800" y="21600"/>
                </a:cubicBezTo>
                <a:cubicBezTo>
                  <a:pt x="14176" y="21600"/>
                  <a:pt x="17656" y="20045"/>
                  <a:pt x="19636" y="17613"/>
                </a:cubicBezTo>
                <a:cubicBezTo>
                  <a:pt x="19305" y="17644"/>
                  <a:pt x="18503" y="17665"/>
                  <a:pt x="18164" y="17665"/>
                </a:cubicBezTo>
                <a:cubicBezTo>
                  <a:pt x="12199" y="17665"/>
                  <a:pt x="7364" y="12819"/>
                  <a:pt x="7364" y="6841"/>
                </a:cubicBezTo>
                <a:moveTo>
                  <a:pt x="17673" y="10309"/>
                </a:moveTo>
                <a:lnTo>
                  <a:pt x="17137" y="11737"/>
                </a:lnTo>
                <a:lnTo>
                  <a:pt x="15709" y="11737"/>
                </a:lnTo>
                <a:lnTo>
                  <a:pt x="16869" y="12629"/>
                </a:lnTo>
                <a:lnTo>
                  <a:pt x="16334" y="14236"/>
                </a:lnTo>
                <a:lnTo>
                  <a:pt x="17673" y="13255"/>
                </a:lnTo>
                <a:lnTo>
                  <a:pt x="19011" y="14236"/>
                </a:lnTo>
                <a:lnTo>
                  <a:pt x="18476" y="12629"/>
                </a:lnTo>
                <a:lnTo>
                  <a:pt x="19636" y="11737"/>
                </a:lnTo>
                <a:lnTo>
                  <a:pt x="18208" y="11737"/>
                </a:lnTo>
                <a:cubicBezTo>
                  <a:pt x="18208" y="11737"/>
                  <a:pt x="17673" y="10309"/>
                  <a:pt x="17673" y="10309"/>
                </a:cubicBezTo>
                <a:close/>
                <a:moveTo>
                  <a:pt x="11425" y="9327"/>
                </a:moveTo>
                <a:lnTo>
                  <a:pt x="12764" y="8345"/>
                </a:lnTo>
                <a:lnTo>
                  <a:pt x="14102" y="9327"/>
                </a:lnTo>
                <a:lnTo>
                  <a:pt x="13567" y="7721"/>
                </a:lnTo>
                <a:lnTo>
                  <a:pt x="14727" y="6828"/>
                </a:lnTo>
                <a:lnTo>
                  <a:pt x="13299" y="6828"/>
                </a:lnTo>
                <a:lnTo>
                  <a:pt x="12764" y="5400"/>
                </a:lnTo>
                <a:lnTo>
                  <a:pt x="12228" y="6828"/>
                </a:lnTo>
                <a:lnTo>
                  <a:pt x="10800" y="6828"/>
                </a:lnTo>
                <a:lnTo>
                  <a:pt x="11960" y="7721"/>
                </a:lnTo>
                <a:cubicBezTo>
                  <a:pt x="11960" y="7721"/>
                  <a:pt x="11425" y="9327"/>
                  <a:pt x="11425" y="9327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59" name="Shape 2959"/>
          <p:cNvSpPr/>
          <p:nvPr/>
        </p:nvSpPr>
        <p:spPr>
          <a:xfrm>
            <a:off x="6024631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8836"/>
                </a:moveTo>
                <a:cubicBezTo>
                  <a:pt x="6770" y="8836"/>
                  <a:pt x="5891" y="7957"/>
                  <a:pt x="5891" y="6873"/>
                </a:cubicBezTo>
                <a:cubicBezTo>
                  <a:pt x="5891" y="5788"/>
                  <a:pt x="6770" y="4909"/>
                  <a:pt x="7855" y="4909"/>
                </a:cubicBezTo>
                <a:cubicBezTo>
                  <a:pt x="8939" y="4909"/>
                  <a:pt x="9818" y="5788"/>
                  <a:pt x="9818" y="6873"/>
                </a:cubicBezTo>
                <a:cubicBezTo>
                  <a:pt x="9818" y="7957"/>
                  <a:pt x="8939" y="8836"/>
                  <a:pt x="7855" y="8836"/>
                </a:cubicBezTo>
                <a:moveTo>
                  <a:pt x="7855" y="3927"/>
                </a:moveTo>
                <a:cubicBezTo>
                  <a:pt x="6228" y="3927"/>
                  <a:pt x="4909" y="5247"/>
                  <a:pt x="4909" y="6873"/>
                </a:cubicBezTo>
                <a:cubicBezTo>
                  <a:pt x="4909" y="8500"/>
                  <a:pt x="6228" y="9818"/>
                  <a:pt x="7855" y="9818"/>
                </a:cubicBezTo>
                <a:cubicBezTo>
                  <a:pt x="9481" y="9818"/>
                  <a:pt x="10800" y="8500"/>
                  <a:pt x="10800" y="6873"/>
                </a:cubicBezTo>
                <a:cubicBezTo>
                  <a:pt x="10800" y="5247"/>
                  <a:pt x="9481" y="3927"/>
                  <a:pt x="7855" y="3927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2273" y="10800"/>
                </a:moveTo>
                <a:cubicBezTo>
                  <a:pt x="12002" y="10800"/>
                  <a:pt x="11782" y="11020"/>
                  <a:pt x="11782" y="11291"/>
                </a:cubicBezTo>
                <a:cubicBezTo>
                  <a:pt x="11782" y="11562"/>
                  <a:pt x="12002" y="11782"/>
                  <a:pt x="12273" y="11782"/>
                </a:cubicBezTo>
                <a:cubicBezTo>
                  <a:pt x="12544" y="11782"/>
                  <a:pt x="12764" y="11562"/>
                  <a:pt x="12764" y="11291"/>
                </a:cubicBezTo>
                <a:cubicBezTo>
                  <a:pt x="12764" y="11020"/>
                  <a:pt x="12544" y="10800"/>
                  <a:pt x="12273" y="10800"/>
                </a:cubicBezTo>
                <a:moveTo>
                  <a:pt x="9327" y="15709"/>
                </a:moveTo>
                <a:cubicBezTo>
                  <a:pt x="9056" y="15709"/>
                  <a:pt x="8836" y="15490"/>
                  <a:pt x="8836" y="15218"/>
                </a:cubicBezTo>
                <a:cubicBezTo>
                  <a:pt x="8836" y="14947"/>
                  <a:pt x="9056" y="14727"/>
                  <a:pt x="9327" y="14727"/>
                </a:cubicBezTo>
                <a:cubicBezTo>
                  <a:pt x="9598" y="14727"/>
                  <a:pt x="9818" y="14947"/>
                  <a:pt x="9818" y="15218"/>
                </a:cubicBezTo>
                <a:cubicBezTo>
                  <a:pt x="9818" y="15490"/>
                  <a:pt x="9598" y="15709"/>
                  <a:pt x="9327" y="15709"/>
                </a:cubicBezTo>
                <a:moveTo>
                  <a:pt x="9327" y="13745"/>
                </a:moveTo>
                <a:cubicBezTo>
                  <a:pt x="8514" y="13745"/>
                  <a:pt x="7855" y="14405"/>
                  <a:pt x="7855" y="15218"/>
                </a:cubicBezTo>
                <a:cubicBezTo>
                  <a:pt x="7855" y="16032"/>
                  <a:pt x="8514" y="16691"/>
                  <a:pt x="9327" y="16691"/>
                </a:cubicBezTo>
                <a:cubicBezTo>
                  <a:pt x="10141" y="16691"/>
                  <a:pt x="10800" y="16032"/>
                  <a:pt x="10800" y="15218"/>
                </a:cubicBezTo>
                <a:cubicBezTo>
                  <a:pt x="10800" y="14405"/>
                  <a:pt x="10141" y="13745"/>
                  <a:pt x="9327" y="13745"/>
                </a:cubicBezTo>
                <a:moveTo>
                  <a:pt x="4909" y="11782"/>
                </a:moveTo>
                <a:cubicBezTo>
                  <a:pt x="4367" y="11782"/>
                  <a:pt x="3927" y="12222"/>
                  <a:pt x="3927" y="12764"/>
                </a:cubicBezTo>
                <a:cubicBezTo>
                  <a:pt x="3927" y="13305"/>
                  <a:pt x="4367" y="13745"/>
                  <a:pt x="4909" y="13745"/>
                </a:cubicBezTo>
                <a:cubicBezTo>
                  <a:pt x="5451" y="13745"/>
                  <a:pt x="5891" y="13305"/>
                  <a:pt x="5891" y="12764"/>
                </a:cubicBezTo>
                <a:cubicBezTo>
                  <a:pt x="5891" y="12222"/>
                  <a:pt x="5451" y="11782"/>
                  <a:pt x="4909" y="11782"/>
                </a:cubicBezTo>
                <a:moveTo>
                  <a:pt x="14236" y="16691"/>
                </a:moveTo>
                <a:cubicBezTo>
                  <a:pt x="13966" y="16691"/>
                  <a:pt x="13745" y="16911"/>
                  <a:pt x="13745" y="17182"/>
                </a:cubicBezTo>
                <a:cubicBezTo>
                  <a:pt x="13745" y="17453"/>
                  <a:pt x="13966" y="17673"/>
                  <a:pt x="14236" y="17673"/>
                </a:cubicBezTo>
                <a:cubicBezTo>
                  <a:pt x="14507" y="17673"/>
                  <a:pt x="14727" y="17453"/>
                  <a:pt x="14727" y="17182"/>
                </a:cubicBezTo>
                <a:cubicBezTo>
                  <a:pt x="14727" y="16911"/>
                  <a:pt x="14507" y="16691"/>
                  <a:pt x="14236" y="16691"/>
                </a:cubicBezTo>
                <a:moveTo>
                  <a:pt x="16691" y="11782"/>
                </a:moveTo>
                <a:cubicBezTo>
                  <a:pt x="16149" y="11782"/>
                  <a:pt x="15709" y="11342"/>
                  <a:pt x="15709" y="10800"/>
                </a:cubicBezTo>
                <a:cubicBezTo>
                  <a:pt x="15709" y="10258"/>
                  <a:pt x="16149" y="9818"/>
                  <a:pt x="16691" y="9818"/>
                </a:cubicBezTo>
                <a:cubicBezTo>
                  <a:pt x="17233" y="9818"/>
                  <a:pt x="17673" y="10258"/>
                  <a:pt x="17673" y="10800"/>
                </a:cubicBezTo>
                <a:cubicBezTo>
                  <a:pt x="17673" y="11342"/>
                  <a:pt x="17233" y="11782"/>
                  <a:pt x="16691" y="11782"/>
                </a:cubicBezTo>
                <a:moveTo>
                  <a:pt x="16691" y="8836"/>
                </a:moveTo>
                <a:cubicBezTo>
                  <a:pt x="15606" y="8836"/>
                  <a:pt x="14727" y="9716"/>
                  <a:pt x="14727" y="10800"/>
                </a:cubicBezTo>
                <a:cubicBezTo>
                  <a:pt x="14727" y="11884"/>
                  <a:pt x="15606" y="12764"/>
                  <a:pt x="16691" y="12764"/>
                </a:cubicBezTo>
                <a:cubicBezTo>
                  <a:pt x="17775" y="12764"/>
                  <a:pt x="18655" y="11884"/>
                  <a:pt x="18655" y="10800"/>
                </a:cubicBezTo>
                <a:cubicBezTo>
                  <a:pt x="18655" y="9716"/>
                  <a:pt x="17775" y="8836"/>
                  <a:pt x="16691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60" name="Shape 2960"/>
          <p:cNvSpPr/>
          <p:nvPr/>
        </p:nvSpPr>
        <p:spPr>
          <a:xfrm>
            <a:off x="7091151" y="9354631"/>
            <a:ext cx="55872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16" h="21600" extrusionOk="0">
                <a:moveTo>
                  <a:pt x="17140" y="11946"/>
                </a:moveTo>
                <a:cubicBezTo>
                  <a:pt x="15736" y="13192"/>
                  <a:pt x="13853" y="14375"/>
                  <a:pt x="11542" y="15211"/>
                </a:cubicBezTo>
                <a:cubicBezTo>
                  <a:pt x="9755" y="15857"/>
                  <a:pt x="7947" y="16197"/>
                  <a:pt x="6315" y="16197"/>
                </a:cubicBezTo>
                <a:cubicBezTo>
                  <a:pt x="5843" y="16197"/>
                  <a:pt x="5401" y="16158"/>
                  <a:pt x="4974" y="16102"/>
                </a:cubicBezTo>
                <a:cubicBezTo>
                  <a:pt x="4247" y="14590"/>
                  <a:pt x="3822" y="12766"/>
                  <a:pt x="3822" y="10800"/>
                </a:cubicBezTo>
                <a:cubicBezTo>
                  <a:pt x="3822" y="5581"/>
                  <a:pt x="6815" y="1350"/>
                  <a:pt x="10508" y="1350"/>
                </a:cubicBezTo>
                <a:cubicBezTo>
                  <a:pt x="14201" y="1350"/>
                  <a:pt x="17194" y="5581"/>
                  <a:pt x="17194" y="10800"/>
                </a:cubicBezTo>
                <a:cubicBezTo>
                  <a:pt x="17194" y="11189"/>
                  <a:pt x="17172" y="11570"/>
                  <a:pt x="17140" y="11946"/>
                </a:cubicBezTo>
                <a:moveTo>
                  <a:pt x="10508" y="20250"/>
                </a:moveTo>
                <a:cubicBezTo>
                  <a:pt x="8681" y="20250"/>
                  <a:pt x="7028" y="19212"/>
                  <a:pt x="5821" y="17534"/>
                </a:cubicBezTo>
                <a:cubicBezTo>
                  <a:pt x="5984" y="17541"/>
                  <a:pt x="6147" y="17547"/>
                  <a:pt x="6315" y="17547"/>
                </a:cubicBezTo>
                <a:cubicBezTo>
                  <a:pt x="7976" y="17547"/>
                  <a:pt x="9848" y="17215"/>
                  <a:pt x="11778" y="16518"/>
                </a:cubicBezTo>
                <a:cubicBezTo>
                  <a:pt x="13697" y="15824"/>
                  <a:pt x="15425" y="14854"/>
                  <a:pt x="16859" y="13742"/>
                </a:cubicBezTo>
                <a:cubicBezTo>
                  <a:pt x="15984" y="17519"/>
                  <a:pt x="13473" y="20250"/>
                  <a:pt x="10508" y="20250"/>
                </a:cubicBezTo>
                <a:moveTo>
                  <a:pt x="20938" y="6356"/>
                </a:moveTo>
                <a:cubicBezTo>
                  <a:pt x="20592" y="4617"/>
                  <a:pt x="19141" y="3452"/>
                  <a:pt x="17072" y="2964"/>
                </a:cubicBezTo>
                <a:cubicBezTo>
                  <a:pt x="17380" y="3481"/>
                  <a:pt x="17660" y="4034"/>
                  <a:pt x="17905" y="4620"/>
                </a:cubicBezTo>
                <a:cubicBezTo>
                  <a:pt x="19058" y="5088"/>
                  <a:pt x="19838" y="5815"/>
                  <a:pt x="20018" y="6721"/>
                </a:cubicBezTo>
                <a:cubicBezTo>
                  <a:pt x="20123" y="7246"/>
                  <a:pt x="20033" y="7861"/>
                  <a:pt x="19752" y="8549"/>
                </a:cubicBezTo>
                <a:cubicBezTo>
                  <a:pt x="19449" y="9292"/>
                  <a:pt x="18904" y="10122"/>
                  <a:pt x="18143" y="10958"/>
                </a:cubicBezTo>
                <a:cubicBezTo>
                  <a:pt x="18144" y="10905"/>
                  <a:pt x="18149" y="10853"/>
                  <a:pt x="18149" y="10800"/>
                </a:cubicBezTo>
                <a:cubicBezTo>
                  <a:pt x="18149" y="4835"/>
                  <a:pt x="14728" y="0"/>
                  <a:pt x="10508" y="0"/>
                </a:cubicBezTo>
                <a:cubicBezTo>
                  <a:pt x="6288" y="0"/>
                  <a:pt x="2867" y="4835"/>
                  <a:pt x="2867" y="10800"/>
                </a:cubicBezTo>
                <a:cubicBezTo>
                  <a:pt x="2867" y="12627"/>
                  <a:pt x="3190" y="14345"/>
                  <a:pt x="3756" y="15853"/>
                </a:cubicBezTo>
                <a:cubicBezTo>
                  <a:pt x="2245" y="15418"/>
                  <a:pt x="1209" y="14595"/>
                  <a:pt x="997" y="13528"/>
                </a:cubicBezTo>
                <a:cubicBezTo>
                  <a:pt x="893" y="13003"/>
                  <a:pt x="982" y="12389"/>
                  <a:pt x="1263" y="11700"/>
                </a:cubicBezTo>
                <a:cubicBezTo>
                  <a:pt x="1416" y="11327"/>
                  <a:pt x="1650" y="10926"/>
                  <a:pt x="1922" y="10518"/>
                </a:cubicBezTo>
                <a:cubicBezTo>
                  <a:pt x="1933" y="9817"/>
                  <a:pt x="1982" y="9128"/>
                  <a:pt x="2074" y="8461"/>
                </a:cubicBezTo>
                <a:cubicBezTo>
                  <a:pt x="528" y="10248"/>
                  <a:pt x="-261" y="12188"/>
                  <a:pt x="78" y="13893"/>
                </a:cubicBezTo>
                <a:cubicBezTo>
                  <a:pt x="452" y="15777"/>
                  <a:pt x="2118" y="16988"/>
                  <a:pt x="4465" y="17394"/>
                </a:cubicBezTo>
                <a:cubicBezTo>
                  <a:pt x="5863" y="19948"/>
                  <a:pt x="8046" y="21600"/>
                  <a:pt x="10508" y="21600"/>
                </a:cubicBezTo>
                <a:cubicBezTo>
                  <a:pt x="14255" y="21600"/>
                  <a:pt x="17365" y="17785"/>
                  <a:pt x="18017" y="12755"/>
                </a:cubicBezTo>
                <a:cubicBezTo>
                  <a:pt x="20167" y="10724"/>
                  <a:pt x="21339" y="8374"/>
                  <a:pt x="20938" y="635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61" name="Shape 2961"/>
          <p:cNvSpPr/>
          <p:nvPr/>
        </p:nvSpPr>
        <p:spPr>
          <a:xfrm>
            <a:off x="8233857" y="9278448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581" y="20618"/>
                  <a:pt x="1350" y="17422"/>
                  <a:pt x="1350" y="13478"/>
                </a:cubicBezTo>
                <a:cubicBezTo>
                  <a:pt x="1350" y="8836"/>
                  <a:pt x="10125" y="1166"/>
                  <a:pt x="10800" y="1166"/>
                </a:cubicBezTo>
                <a:cubicBezTo>
                  <a:pt x="11475" y="1166"/>
                  <a:pt x="20250" y="8836"/>
                  <a:pt x="20250" y="13478"/>
                </a:cubicBezTo>
                <a:cubicBezTo>
                  <a:pt x="20250" y="17422"/>
                  <a:pt x="16019" y="20618"/>
                  <a:pt x="10800" y="20618"/>
                </a:cubicBezTo>
                <a:moveTo>
                  <a:pt x="10800" y="0"/>
                </a:moveTo>
                <a:cubicBezTo>
                  <a:pt x="9450" y="0"/>
                  <a:pt x="0" y="8345"/>
                  <a:pt x="0" y="13745"/>
                </a:cubicBezTo>
                <a:cubicBezTo>
                  <a:pt x="0" y="18083"/>
                  <a:pt x="4836" y="21600"/>
                  <a:pt x="10800" y="21600"/>
                </a:cubicBezTo>
                <a:cubicBezTo>
                  <a:pt x="16765" y="21600"/>
                  <a:pt x="21600" y="18083"/>
                  <a:pt x="21600" y="13745"/>
                </a:cubicBezTo>
                <a:cubicBezTo>
                  <a:pt x="21600" y="8345"/>
                  <a:pt x="12150" y="0"/>
                  <a:pt x="10800" y="0"/>
                </a:cubicBezTo>
                <a:moveTo>
                  <a:pt x="10800" y="18655"/>
                </a:moveTo>
                <a:cubicBezTo>
                  <a:pt x="7072" y="18655"/>
                  <a:pt x="4050" y="16456"/>
                  <a:pt x="4050" y="13745"/>
                </a:cubicBezTo>
                <a:cubicBezTo>
                  <a:pt x="4050" y="13474"/>
                  <a:pt x="3748" y="13255"/>
                  <a:pt x="3375" y="13255"/>
                </a:cubicBezTo>
                <a:cubicBezTo>
                  <a:pt x="3002" y="13255"/>
                  <a:pt x="2700" y="13474"/>
                  <a:pt x="2700" y="13745"/>
                </a:cubicBezTo>
                <a:cubicBezTo>
                  <a:pt x="2700" y="16999"/>
                  <a:pt x="6327" y="19636"/>
                  <a:pt x="10800" y="19636"/>
                </a:cubicBezTo>
                <a:cubicBezTo>
                  <a:pt x="11173" y="19636"/>
                  <a:pt x="11475" y="19417"/>
                  <a:pt x="11475" y="19145"/>
                </a:cubicBezTo>
                <a:cubicBezTo>
                  <a:pt x="11475" y="18875"/>
                  <a:pt x="11173" y="18655"/>
                  <a:pt x="10800" y="186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62" name="Shape 2962"/>
          <p:cNvSpPr/>
          <p:nvPr/>
        </p:nvSpPr>
        <p:spPr>
          <a:xfrm>
            <a:off x="9224197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745" y="3927"/>
                </a:moveTo>
                <a:cubicBezTo>
                  <a:pt x="13204" y="3927"/>
                  <a:pt x="12764" y="4367"/>
                  <a:pt x="12764" y="4909"/>
                </a:cubicBezTo>
                <a:cubicBezTo>
                  <a:pt x="12764" y="5451"/>
                  <a:pt x="13204" y="5891"/>
                  <a:pt x="13745" y="5891"/>
                </a:cubicBezTo>
                <a:cubicBezTo>
                  <a:pt x="14287" y="5891"/>
                  <a:pt x="14727" y="5451"/>
                  <a:pt x="14727" y="4909"/>
                </a:cubicBezTo>
                <a:cubicBezTo>
                  <a:pt x="14727" y="4367"/>
                  <a:pt x="14287" y="3927"/>
                  <a:pt x="13745" y="3927"/>
                </a:cubicBezTo>
                <a:moveTo>
                  <a:pt x="16691" y="7855"/>
                </a:moveTo>
                <a:cubicBezTo>
                  <a:pt x="16149" y="7855"/>
                  <a:pt x="15709" y="8295"/>
                  <a:pt x="15709" y="8836"/>
                </a:cubicBezTo>
                <a:cubicBezTo>
                  <a:pt x="15709" y="9378"/>
                  <a:pt x="16149" y="9818"/>
                  <a:pt x="16691" y="9818"/>
                </a:cubicBezTo>
                <a:cubicBezTo>
                  <a:pt x="17233" y="9818"/>
                  <a:pt x="17673" y="9378"/>
                  <a:pt x="17673" y="8836"/>
                </a:cubicBezTo>
                <a:cubicBezTo>
                  <a:pt x="17673" y="8295"/>
                  <a:pt x="17233" y="7855"/>
                  <a:pt x="16691" y="7855"/>
                </a:cubicBezTo>
                <a:moveTo>
                  <a:pt x="7855" y="4909"/>
                </a:moveTo>
                <a:cubicBezTo>
                  <a:pt x="7313" y="4909"/>
                  <a:pt x="6873" y="5349"/>
                  <a:pt x="6873" y="5891"/>
                </a:cubicBezTo>
                <a:cubicBezTo>
                  <a:pt x="6873" y="6433"/>
                  <a:pt x="7313" y="6873"/>
                  <a:pt x="7855" y="6873"/>
                </a:cubicBezTo>
                <a:cubicBezTo>
                  <a:pt x="8396" y="6873"/>
                  <a:pt x="8836" y="6433"/>
                  <a:pt x="8836" y="5891"/>
                </a:cubicBezTo>
                <a:cubicBezTo>
                  <a:pt x="8836" y="5349"/>
                  <a:pt x="8396" y="4909"/>
                  <a:pt x="7855" y="4909"/>
                </a:cubicBezTo>
                <a:moveTo>
                  <a:pt x="3927" y="7855"/>
                </a:moveTo>
                <a:cubicBezTo>
                  <a:pt x="3385" y="7855"/>
                  <a:pt x="2945" y="8295"/>
                  <a:pt x="2945" y="8836"/>
                </a:cubicBezTo>
                <a:cubicBezTo>
                  <a:pt x="2945" y="9378"/>
                  <a:pt x="3385" y="9818"/>
                  <a:pt x="3927" y="9818"/>
                </a:cubicBezTo>
                <a:cubicBezTo>
                  <a:pt x="4469" y="9818"/>
                  <a:pt x="4909" y="9378"/>
                  <a:pt x="4909" y="8836"/>
                </a:cubicBezTo>
                <a:cubicBezTo>
                  <a:pt x="4909" y="8295"/>
                  <a:pt x="4469" y="7855"/>
                  <a:pt x="3927" y="7855"/>
                </a:cubicBezTo>
                <a:moveTo>
                  <a:pt x="1008" y="10800"/>
                </a:moveTo>
                <a:cubicBezTo>
                  <a:pt x="1278" y="5878"/>
                  <a:pt x="5552" y="1964"/>
                  <a:pt x="10800" y="1964"/>
                </a:cubicBezTo>
                <a:cubicBezTo>
                  <a:pt x="16048" y="1964"/>
                  <a:pt x="20322" y="5878"/>
                  <a:pt x="20592" y="10800"/>
                </a:cubicBezTo>
                <a:cubicBezTo>
                  <a:pt x="20592" y="10800"/>
                  <a:pt x="1008" y="10800"/>
                  <a:pt x="1008" y="10800"/>
                </a:cubicBezTo>
                <a:close/>
                <a:moveTo>
                  <a:pt x="11291" y="1005"/>
                </a:move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005"/>
                </a:lnTo>
                <a:cubicBezTo>
                  <a:pt x="4574" y="1252"/>
                  <a:pt x="0" y="5756"/>
                  <a:pt x="0" y="11291"/>
                </a:cubicBezTo>
                <a:cubicBezTo>
                  <a:pt x="0" y="11562"/>
                  <a:pt x="220" y="11782"/>
                  <a:pt x="491" y="11782"/>
                </a:cubicBezTo>
                <a:lnTo>
                  <a:pt x="10309" y="11782"/>
                </a:lnTo>
                <a:lnTo>
                  <a:pt x="10309" y="18655"/>
                </a:lnTo>
                <a:cubicBezTo>
                  <a:pt x="10309" y="19739"/>
                  <a:pt x="9430" y="20618"/>
                  <a:pt x="8345" y="20618"/>
                </a:cubicBezTo>
                <a:cubicBezTo>
                  <a:pt x="7261" y="20618"/>
                  <a:pt x="6382" y="19739"/>
                  <a:pt x="6382" y="18655"/>
                </a:cubicBezTo>
                <a:cubicBezTo>
                  <a:pt x="6382" y="18383"/>
                  <a:pt x="6162" y="18164"/>
                  <a:pt x="5891" y="18164"/>
                </a:cubicBezTo>
                <a:cubicBezTo>
                  <a:pt x="5620" y="18164"/>
                  <a:pt x="5400" y="18383"/>
                  <a:pt x="5400" y="18655"/>
                </a:cubicBezTo>
                <a:cubicBezTo>
                  <a:pt x="5400" y="20281"/>
                  <a:pt x="6719" y="21600"/>
                  <a:pt x="8345" y="21600"/>
                </a:cubicBezTo>
                <a:cubicBezTo>
                  <a:pt x="9804" y="21600"/>
                  <a:pt x="11007" y="20537"/>
                  <a:pt x="11242" y="19145"/>
                </a:cubicBezTo>
                <a:lnTo>
                  <a:pt x="11291" y="19145"/>
                </a:lnTo>
                <a:lnTo>
                  <a:pt x="11291" y="11782"/>
                </a:lnTo>
                <a:lnTo>
                  <a:pt x="21109" y="11782"/>
                </a:lnTo>
                <a:cubicBezTo>
                  <a:pt x="21380" y="11782"/>
                  <a:pt x="21600" y="11562"/>
                  <a:pt x="21600" y="11291"/>
                </a:cubicBezTo>
                <a:cubicBezTo>
                  <a:pt x="21600" y="5756"/>
                  <a:pt x="17026" y="1252"/>
                  <a:pt x="11291" y="1005"/>
                </a:cubicBezTo>
                <a:moveTo>
                  <a:pt x="10800" y="6873"/>
                </a:moveTo>
                <a:cubicBezTo>
                  <a:pt x="10258" y="6873"/>
                  <a:pt x="9818" y="7313"/>
                  <a:pt x="9818" y="7855"/>
                </a:cubicBezTo>
                <a:cubicBezTo>
                  <a:pt x="9818" y="8396"/>
                  <a:pt x="10258" y="8836"/>
                  <a:pt x="10800" y="8836"/>
                </a:cubicBezTo>
                <a:cubicBezTo>
                  <a:pt x="11342" y="8836"/>
                  <a:pt x="11782" y="8396"/>
                  <a:pt x="11782" y="7855"/>
                </a:cubicBezTo>
                <a:cubicBezTo>
                  <a:pt x="11782" y="7313"/>
                  <a:pt x="11342" y="6873"/>
                  <a:pt x="10800" y="68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63" name="Shape 2963"/>
          <p:cNvSpPr/>
          <p:nvPr/>
        </p:nvSpPr>
        <p:spPr>
          <a:xfrm>
            <a:off x="10290720" y="9405417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2" y="19800"/>
                </a:moveTo>
                <a:cubicBezTo>
                  <a:pt x="18391" y="11772"/>
                  <a:pt x="14982" y="5400"/>
                  <a:pt x="10800" y="5400"/>
                </a:cubicBezTo>
                <a:cubicBezTo>
                  <a:pt x="6618" y="5400"/>
                  <a:pt x="3209" y="11772"/>
                  <a:pt x="2968" y="19800"/>
                </a:cubicBezTo>
                <a:lnTo>
                  <a:pt x="1005" y="19800"/>
                </a:lnTo>
                <a:cubicBezTo>
                  <a:pt x="1251" y="9783"/>
                  <a:pt x="5535" y="1800"/>
                  <a:pt x="10800" y="1800"/>
                </a:cubicBezTo>
                <a:cubicBezTo>
                  <a:pt x="16065" y="1800"/>
                  <a:pt x="20349" y="9783"/>
                  <a:pt x="20595" y="19800"/>
                </a:cubicBezTo>
                <a:cubicBezTo>
                  <a:pt x="20595" y="19800"/>
                  <a:pt x="18632" y="19800"/>
                  <a:pt x="18632" y="19800"/>
                </a:cubicBezTo>
                <a:close/>
                <a:moveTo>
                  <a:pt x="15687" y="19800"/>
                </a:moveTo>
                <a:cubicBezTo>
                  <a:pt x="15461" y="14755"/>
                  <a:pt x="13360" y="10800"/>
                  <a:pt x="10800" y="10800"/>
                </a:cubicBezTo>
                <a:cubicBezTo>
                  <a:pt x="8240" y="10800"/>
                  <a:pt x="6139" y="14755"/>
                  <a:pt x="5913" y="19800"/>
                </a:cubicBezTo>
                <a:lnTo>
                  <a:pt x="3950" y="19800"/>
                </a:lnTo>
                <a:cubicBezTo>
                  <a:pt x="4187" y="12767"/>
                  <a:pt x="7159" y="7200"/>
                  <a:pt x="10800" y="7200"/>
                </a:cubicBezTo>
                <a:cubicBezTo>
                  <a:pt x="14441" y="7200"/>
                  <a:pt x="17413" y="12767"/>
                  <a:pt x="17650" y="19800"/>
                </a:cubicBezTo>
                <a:cubicBezTo>
                  <a:pt x="17650" y="19800"/>
                  <a:pt x="15687" y="19800"/>
                  <a:pt x="15687" y="19800"/>
                </a:cubicBezTo>
                <a:close/>
                <a:moveTo>
                  <a:pt x="12724" y="19800"/>
                </a:moveTo>
                <a:cubicBezTo>
                  <a:pt x="12542" y="17747"/>
                  <a:pt x="11750" y="16200"/>
                  <a:pt x="10800" y="16200"/>
                </a:cubicBezTo>
                <a:cubicBezTo>
                  <a:pt x="9850" y="16200"/>
                  <a:pt x="9058" y="17747"/>
                  <a:pt x="8876" y="19800"/>
                </a:cubicBezTo>
                <a:lnTo>
                  <a:pt x="6899" y="19800"/>
                </a:lnTo>
                <a:cubicBezTo>
                  <a:pt x="7115" y="15751"/>
                  <a:pt x="8779" y="12600"/>
                  <a:pt x="10800" y="12600"/>
                </a:cubicBezTo>
                <a:cubicBezTo>
                  <a:pt x="12821" y="12600"/>
                  <a:pt x="14485" y="15751"/>
                  <a:pt x="14701" y="19800"/>
                </a:cubicBezTo>
                <a:cubicBezTo>
                  <a:pt x="14701" y="19800"/>
                  <a:pt x="12724" y="19800"/>
                  <a:pt x="12724" y="19800"/>
                </a:cubicBezTo>
                <a:close/>
                <a:moveTo>
                  <a:pt x="10800" y="0"/>
                </a:moveTo>
                <a:cubicBezTo>
                  <a:pt x="4835" y="0"/>
                  <a:pt x="0" y="9268"/>
                  <a:pt x="0" y="20700"/>
                </a:cubicBezTo>
                <a:cubicBezTo>
                  <a:pt x="0" y="21197"/>
                  <a:pt x="220" y="21600"/>
                  <a:pt x="491" y="21600"/>
                </a:cubicBezTo>
                <a:lnTo>
                  <a:pt x="9327" y="21600"/>
                </a:lnTo>
                <a:cubicBezTo>
                  <a:pt x="9599" y="21600"/>
                  <a:pt x="9818" y="21197"/>
                  <a:pt x="9818" y="20700"/>
                </a:cubicBezTo>
                <a:cubicBezTo>
                  <a:pt x="9818" y="19209"/>
                  <a:pt x="10258" y="18000"/>
                  <a:pt x="10800" y="18000"/>
                </a:cubicBezTo>
                <a:cubicBezTo>
                  <a:pt x="11342" y="18000"/>
                  <a:pt x="11782" y="19209"/>
                  <a:pt x="11782" y="20700"/>
                </a:cubicBezTo>
                <a:cubicBezTo>
                  <a:pt x="11782" y="21197"/>
                  <a:pt x="12001" y="21600"/>
                  <a:pt x="12273" y="21600"/>
                </a:cubicBezTo>
                <a:lnTo>
                  <a:pt x="21109" y="21600"/>
                </a:lnTo>
                <a:cubicBezTo>
                  <a:pt x="21380" y="21600"/>
                  <a:pt x="21600" y="21197"/>
                  <a:pt x="21600" y="20700"/>
                </a:cubicBezTo>
                <a:cubicBezTo>
                  <a:pt x="21600" y="9268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64" name="Shape 2964"/>
          <p:cNvSpPr/>
          <p:nvPr/>
        </p:nvSpPr>
        <p:spPr>
          <a:xfrm>
            <a:off x="11357242" y="9354631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250"/>
                </a:moveTo>
                <a:lnTo>
                  <a:pt x="4418" y="20250"/>
                </a:lnTo>
                <a:cubicBezTo>
                  <a:pt x="2524" y="20250"/>
                  <a:pt x="982" y="18130"/>
                  <a:pt x="982" y="15525"/>
                </a:cubicBezTo>
                <a:cubicBezTo>
                  <a:pt x="982" y="13489"/>
                  <a:pt x="1926" y="11690"/>
                  <a:pt x="3333" y="11045"/>
                </a:cubicBezTo>
                <a:lnTo>
                  <a:pt x="4165" y="10664"/>
                </a:lnTo>
                <a:lnTo>
                  <a:pt x="3982" y="9484"/>
                </a:lnTo>
                <a:cubicBezTo>
                  <a:pt x="3946" y="9247"/>
                  <a:pt x="3927" y="9008"/>
                  <a:pt x="3927" y="8775"/>
                </a:cubicBezTo>
                <a:cubicBezTo>
                  <a:pt x="3927" y="6914"/>
                  <a:pt x="5028" y="5400"/>
                  <a:pt x="6382" y="5400"/>
                </a:cubicBezTo>
                <a:cubicBezTo>
                  <a:pt x="6662" y="5400"/>
                  <a:pt x="6942" y="5470"/>
                  <a:pt x="7215" y="5605"/>
                </a:cubicBezTo>
                <a:lnTo>
                  <a:pt x="8019" y="6006"/>
                </a:lnTo>
                <a:lnTo>
                  <a:pt x="8418" y="4965"/>
                </a:lnTo>
                <a:cubicBezTo>
                  <a:pt x="9272" y="2735"/>
                  <a:pt x="10937" y="1350"/>
                  <a:pt x="12764" y="1350"/>
                </a:cubicBezTo>
                <a:cubicBezTo>
                  <a:pt x="15470" y="1350"/>
                  <a:pt x="17673" y="4378"/>
                  <a:pt x="17673" y="8100"/>
                </a:cubicBezTo>
                <a:cubicBezTo>
                  <a:pt x="17673" y="8218"/>
                  <a:pt x="17666" y="8333"/>
                  <a:pt x="17660" y="8449"/>
                </a:cubicBezTo>
                <a:lnTo>
                  <a:pt x="17655" y="8565"/>
                </a:lnTo>
                <a:lnTo>
                  <a:pt x="17610" y="9515"/>
                </a:lnTo>
                <a:lnTo>
                  <a:pt x="18245" y="9892"/>
                </a:lnTo>
                <a:cubicBezTo>
                  <a:pt x="19687" y="10747"/>
                  <a:pt x="20618" y="12693"/>
                  <a:pt x="20618" y="14850"/>
                </a:cubicBezTo>
                <a:cubicBezTo>
                  <a:pt x="20618" y="17828"/>
                  <a:pt x="18856" y="20250"/>
                  <a:pt x="16691" y="20250"/>
                </a:cubicBezTo>
                <a:moveTo>
                  <a:pt x="18634" y="8652"/>
                </a:moveTo>
                <a:cubicBezTo>
                  <a:pt x="18643" y="8469"/>
                  <a:pt x="18655" y="8287"/>
                  <a:pt x="18655" y="8100"/>
                </a:cubicBezTo>
                <a:cubicBezTo>
                  <a:pt x="18655" y="3627"/>
                  <a:pt x="16017" y="0"/>
                  <a:pt x="12764" y="0"/>
                </a:cubicBezTo>
                <a:cubicBezTo>
                  <a:pt x="10499" y="0"/>
                  <a:pt x="8536" y="1759"/>
                  <a:pt x="7550" y="4336"/>
                </a:cubicBezTo>
                <a:cubicBezTo>
                  <a:pt x="7185" y="4154"/>
                  <a:pt x="6793" y="4050"/>
                  <a:pt x="6382" y="4050"/>
                </a:cubicBezTo>
                <a:cubicBezTo>
                  <a:pt x="4484" y="4050"/>
                  <a:pt x="2945" y="6165"/>
                  <a:pt x="2945" y="8775"/>
                </a:cubicBezTo>
                <a:cubicBezTo>
                  <a:pt x="2945" y="9114"/>
                  <a:pt x="2973" y="9445"/>
                  <a:pt x="3022" y="9764"/>
                </a:cubicBezTo>
                <a:cubicBezTo>
                  <a:pt x="1267" y="10569"/>
                  <a:pt x="0" y="12841"/>
                  <a:pt x="0" y="15525"/>
                </a:cubicBezTo>
                <a:cubicBezTo>
                  <a:pt x="0" y="18880"/>
                  <a:pt x="1978" y="21600"/>
                  <a:pt x="4418" y="21600"/>
                </a:cubicBezTo>
                <a:lnTo>
                  <a:pt x="16691" y="21600"/>
                </a:lnTo>
                <a:cubicBezTo>
                  <a:pt x="19401" y="21600"/>
                  <a:pt x="21600" y="18578"/>
                  <a:pt x="21600" y="14850"/>
                </a:cubicBezTo>
                <a:cubicBezTo>
                  <a:pt x="21600" y="12072"/>
                  <a:pt x="20378" y="9687"/>
                  <a:pt x="18634" y="865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65" name="Shape 2965"/>
          <p:cNvSpPr/>
          <p:nvPr/>
        </p:nvSpPr>
        <p:spPr>
          <a:xfrm>
            <a:off x="1758543" y="10471939"/>
            <a:ext cx="558654" cy="3301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19938"/>
                </a:moveTo>
                <a:lnTo>
                  <a:pt x="3927" y="19938"/>
                </a:lnTo>
                <a:cubicBezTo>
                  <a:pt x="2303" y="19938"/>
                  <a:pt x="982" y="17703"/>
                  <a:pt x="982" y="14954"/>
                </a:cubicBezTo>
                <a:cubicBezTo>
                  <a:pt x="982" y="12638"/>
                  <a:pt x="1912" y="10647"/>
                  <a:pt x="3244" y="10110"/>
                </a:cubicBezTo>
                <a:cubicBezTo>
                  <a:pt x="3634" y="9954"/>
                  <a:pt x="3929" y="9410"/>
                  <a:pt x="3988" y="8739"/>
                </a:cubicBezTo>
                <a:cubicBezTo>
                  <a:pt x="4343" y="4704"/>
                  <a:pt x="6427" y="1662"/>
                  <a:pt x="8836" y="1662"/>
                </a:cubicBezTo>
                <a:cubicBezTo>
                  <a:pt x="10501" y="1662"/>
                  <a:pt x="12038" y="3081"/>
                  <a:pt x="12948" y="5461"/>
                </a:cubicBezTo>
                <a:cubicBezTo>
                  <a:pt x="13103" y="5866"/>
                  <a:pt x="13354" y="6137"/>
                  <a:pt x="13636" y="6203"/>
                </a:cubicBezTo>
                <a:cubicBezTo>
                  <a:pt x="13682" y="6215"/>
                  <a:pt x="13727" y="6219"/>
                  <a:pt x="13773" y="6219"/>
                </a:cubicBezTo>
                <a:cubicBezTo>
                  <a:pt x="14009" y="6219"/>
                  <a:pt x="14238" y="6076"/>
                  <a:pt x="14419" y="5809"/>
                </a:cubicBezTo>
                <a:cubicBezTo>
                  <a:pt x="14777" y="5278"/>
                  <a:pt x="15236" y="4985"/>
                  <a:pt x="15709" y="4985"/>
                </a:cubicBezTo>
                <a:cubicBezTo>
                  <a:pt x="16792" y="4985"/>
                  <a:pt x="17673" y="6476"/>
                  <a:pt x="17671" y="8326"/>
                </a:cubicBezTo>
                <a:lnTo>
                  <a:pt x="17667" y="8447"/>
                </a:lnTo>
                <a:cubicBezTo>
                  <a:pt x="17646" y="9234"/>
                  <a:pt x="17953" y="9937"/>
                  <a:pt x="18404" y="10132"/>
                </a:cubicBezTo>
                <a:cubicBezTo>
                  <a:pt x="19708" y="10697"/>
                  <a:pt x="20618" y="12680"/>
                  <a:pt x="20618" y="14954"/>
                </a:cubicBezTo>
                <a:cubicBezTo>
                  <a:pt x="20618" y="17703"/>
                  <a:pt x="19297" y="19938"/>
                  <a:pt x="17673" y="19938"/>
                </a:cubicBezTo>
                <a:moveTo>
                  <a:pt x="18648" y="8523"/>
                </a:moveTo>
                <a:cubicBezTo>
                  <a:pt x="18650" y="8451"/>
                  <a:pt x="18655" y="8381"/>
                  <a:pt x="18655" y="8308"/>
                </a:cubicBezTo>
                <a:cubicBezTo>
                  <a:pt x="18655" y="5556"/>
                  <a:pt x="17335" y="3323"/>
                  <a:pt x="15709" y="3323"/>
                </a:cubicBezTo>
                <a:cubicBezTo>
                  <a:pt x="14967" y="3323"/>
                  <a:pt x="14290" y="3791"/>
                  <a:pt x="13773" y="4558"/>
                </a:cubicBezTo>
                <a:cubicBezTo>
                  <a:pt x="12724" y="1819"/>
                  <a:pt x="10909" y="0"/>
                  <a:pt x="8836" y="0"/>
                </a:cubicBezTo>
                <a:cubicBezTo>
                  <a:pt x="5880" y="0"/>
                  <a:pt x="3439" y="3690"/>
                  <a:pt x="3017" y="8494"/>
                </a:cubicBezTo>
                <a:cubicBezTo>
                  <a:pt x="1288" y="9190"/>
                  <a:pt x="0" y="11814"/>
                  <a:pt x="0" y="14954"/>
                </a:cubicBezTo>
                <a:cubicBezTo>
                  <a:pt x="0" y="18624"/>
                  <a:pt x="1758" y="21600"/>
                  <a:pt x="3927" y="21600"/>
                </a:cubicBezTo>
                <a:lnTo>
                  <a:pt x="17673" y="21600"/>
                </a:lnTo>
                <a:cubicBezTo>
                  <a:pt x="19842" y="21600"/>
                  <a:pt x="21600" y="18624"/>
                  <a:pt x="21600" y="14954"/>
                </a:cubicBezTo>
                <a:cubicBezTo>
                  <a:pt x="21600" y="11855"/>
                  <a:pt x="20344" y="9259"/>
                  <a:pt x="18648" y="852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66" name="Shape 2966"/>
          <p:cNvSpPr/>
          <p:nvPr/>
        </p:nvSpPr>
        <p:spPr>
          <a:xfrm>
            <a:off x="2825064" y="10395759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20400"/>
                </a:moveTo>
                <a:lnTo>
                  <a:pt x="3927" y="20400"/>
                </a:lnTo>
                <a:cubicBezTo>
                  <a:pt x="2303" y="20400"/>
                  <a:pt x="982" y="18785"/>
                  <a:pt x="982" y="16800"/>
                </a:cubicBezTo>
                <a:cubicBezTo>
                  <a:pt x="982" y="15128"/>
                  <a:pt x="1912" y="13690"/>
                  <a:pt x="3244" y="13302"/>
                </a:cubicBezTo>
                <a:cubicBezTo>
                  <a:pt x="3634" y="13189"/>
                  <a:pt x="3929" y="12796"/>
                  <a:pt x="3988" y="12312"/>
                </a:cubicBezTo>
                <a:cubicBezTo>
                  <a:pt x="4343" y="9397"/>
                  <a:pt x="6427" y="7200"/>
                  <a:pt x="8836" y="7200"/>
                </a:cubicBezTo>
                <a:cubicBezTo>
                  <a:pt x="10501" y="7200"/>
                  <a:pt x="11547" y="7626"/>
                  <a:pt x="12457" y="9344"/>
                </a:cubicBezTo>
                <a:cubicBezTo>
                  <a:pt x="12612" y="9636"/>
                  <a:pt x="13354" y="10432"/>
                  <a:pt x="13636" y="10480"/>
                </a:cubicBezTo>
                <a:cubicBezTo>
                  <a:pt x="13682" y="10488"/>
                  <a:pt x="13773" y="10492"/>
                  <a:pt x="13773" y="10492"/>
                </a:cubicBezTo>
                <a:cubicBezTo>
                  <a:pt x="14009" y="10492"/>
                  <a:pt x="14238" y="10388"/>
                  <a:pt x="14419" y="10195"/>
                </a:cubicBezTo>
                <a:cubicBezTo>
                  <a:pt x="14777" y="9812"/>
                  <a:pt x="15236" y="9600"/>
                  <a:pt x="15709" y="9600"/>
                </a:cubicBezTo>
                <a:cubicBezTo>
                  <a:pt x="16792" y="9600"/>
                  <a:pt x="17673" y="10677"/>
                  <a:pt x="17671" y="12013"/>
                </a:cubicBezTo>
                <a:lnTo>
                  <a:pt x="17667" y="12101"/>
                </a:lnTo>
                <a:cubicBezTo>
                  <a:pt x="17646" y="12669"/>
                  <a:pt x="17953" y="13177"/>
                  <a:pt x="18404" y="13318"/>
                </a:cubicBezTo>
                <a:cubicBezTo>
                  <a:pt x="19708" y="13726"/>
                  <a:pt x="20618" y="15158"/>
                  <a:pt x="20618" y="16800"/>
                </a:cubicBezTo>
                <a:cubicBezTo>
                  <a:pt x="20618" y="18785"/>
                  <a:pt x="19297" y="20400"/>
                  <a:pt x="17673" y="20400"/>
                </a:cubicBezTo>
                <a:moveTo>
                  <a:pt x="15709" y="1200"/>
                </a:moveTo>
                <a:cubicBezTo>
                  <a:pt x="18420" y="1200"/>
                  <a:pt x="20618" y="3887"/>
                  <a:pt x="20618" y="7200"/>
                </a:cubicBezTo>
                <a:cubicBezTo>
                  <a:pt x="20618" y="9162"/>
                  <a:pt x="19844" y="10898"/>
                  <a:pt x="18654" y="11992"/>
                </a:cubicBezTo>
                <a:cubicBezTo>
                  <a:pt x="18651" y="10008"/>
                  <a:pt x="17334" y="8400"/>
                  <a:pt x="15709" y="8400"/>
                </a:cubicBezTo>
                <a:cubicBezTo>
                  <a:pt x="14967" y="8400"/>
                  <a:pt x="14290" y="8738"/>
                  <a:pt x="13773" y="9292"/>
                </a:cubicBezTo>
                <a:cubicBezTo>
                  <a:pt x="13082" y="7989"/>
                  <a:pt x="12054" y="6984"/>
                  <a:pt x="10843" y="6443"/>
                </a:cubicBezTo>
                <a:cubicBezTo>
                  <a:pt x="11149" y="3488"/>
                  <a:pt x="13208" y="1200"/>
                  <a:pt x="15709" y="1200"/>
                </a:cubicBezTo>
                <a:moveTo>
                  <a:pt x="19575" y="12625"/>
                </a:moveTo>
                <a:cubicBezTo>
                  <a:pt x="20814" y="11304"/>
                  <a:pt x="21600" y="9367"/>
                  <a:pt x="21600" y="7200"/>
                </a:cubicBezTo>
                <a:cubicBezTo>
                  <a:pt x="21600" y="3224"/>
                  <a:pt x="18962" y="0"/>
                  <a:pt x="15709" y="0"/>
                </a:cubicBezTo>
                <a:cubicBezTo>
                  <a:pt x="12754" y="0"/>
                  <a:pt x="10314" y="2663"/>
                  <a:pt x="9890" y="6130"/>
                </a:cubicBezTo>
                <a:cubicBezTo>
                  <a:pt x="9547" y="6053"/>
                  <a:pt x="9198" y="6000"/>
                  <a:pt x="8836" y="6000"/>
                </a:cubicBezTo>
                <a:cubicBezTo>
                  <a:pt x="5880" y="6000"/>
                  <a:pt x="3439" y="8665"/>
                  <a:pt x="3017" y="12135"/>
                </a:cubicBezTo>
                <a:cubicBezTo>
                  <a:pt x="1288" y="12638"/>
                  <a:pt x="0" y="14532"/>
                  <a:pt x="0" y="16800"/>
                </a:cubicBezTo>
                <a:cubicBezTo>
                  <a:pt x="0" y="19451"/>
                  <a:pt x="1758" y="21600"/>
                  <a:pt x="3927" y="21600"/>
                </a:cubicBezTo>
                <a:lnTo>
                  <a:pt x="17673" y="21600"/>
                </a:lnTo>
                <a:cubicBezTo>
                  <a:pt x="19842" y="21600"/>
                  <a:pt x="21600" y="19451"/>
                  <a:pt x="21600" y="16800"/>
                </a:cubicBezTo>
                <a:cubicBezTo>
                  <a:pt x="21600" y="14997"/>
                  <a:pt x="20778" y="13443"/>
                  <a:pt x="19575" y="1262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67" name="Shape 2967"/>
          <p:cNvSpPr/>
          <p:nvPr/>
        </p:nvSpPr>
        <p:spPr>
          <a:xfrm>
            <a:off x="3891587" y="10370366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9440"/>
                </a:moveTo>
                <a:cubicBezTo>
                  <a:pt x="14727" y="20036"/>
                  <a:pt x="15167" y="20520"/>
                  <a:pt x="15709" y="20520"/>
                </a:cubicBezTo>
                <a:cubicBezTo>
                  <a:pt x="16251" y="20520"/>
                  <a:pt x="16691" y="20036"/>
                  <a:pt x="16691" y="19440"/>
                </a:cubicBezTo>
                <a:cubicBezTo>
                  <a:pt x="16691" y="18360"/>
                  <a:pt x="15709" y="17280"/>
                  <a:pt x="15709" y="17280"/>
                </a:cubicBezTo>
                <a:cubicBezTo>
                  <a:pt x="15709" y="17280"/>
                  <a:pt x="14727" y="18360"/>
                  <a:pt x="14727" y="19440"/>
                </a:cubicBezTo>
                <a:moveTo>
                  <a:pt x="4909" y="20520"/>
                </a:moveTo>
                <a:cubicBezTo>
                  <a:pt x="4909" y="21117"/>
                  <a:pt x="5349" y="21600"/>
                  <a:pt x="5891" y="21600"/>
                </a:cubicBezTo>
                <a:cubicBezTo>
                  <a:pt x="6433" y="21600"/>
                  <a:pt x="6873" y="21117"/>
                  <a:pt x="6873" y="20520"/>
                </a:cubicBezTo>
                <a:cubicBezTo>
                  <a:pt x="6873" y="19440"/>
                  <a:pt x="5891" y="18360"/>
                  <a:pt x="5891" y="18360"/>
                </a:cubicBezTo>
                <a:cubicBezTo>
                  <a:pt x="5891" y="18360"/>
                  <a:pt x="4909" y="19440"/>
                  <a:pt x="4909" y="20520"/>
                </a:cubicBezTo>
                <a:moveTo>
                  <a:pt x="9818" y="17280"/>
                </a:moveTo>
                <a:cubicBezTo>
                  <a:pt x="9818" y="17876"/>
                  <a:pt x="10258" y="18360"/>
                  <a:pt x="10800" y="18360"/>
                </a:cubicBezTo>
                <a:cubicBezTo>
                  <a:pt x="11342" y="18360"/>
                  <a:pt x="11782" y="17876"/>
                  <a:pt x="11782" y="17280"/>
                </a:cubicBezTo>
                <a:cubicBezTo>
                  <a:pt x="11782" y="16200"/>
                  <a:pt x="10800" y="15120"/>
                  <a:pt x="10800" y="15120"/>
                </a:cubicBezTo>
                <a:cubicBezTo>
                  <a:pt x="10800" y="15120"/>
                  <a:pt x="9818" y="16200"/>
                  <a:pt x="9818" y="17280"/>
                </a:cubicBezTo>
                <a:moveTo>
                  <a:pt x="17673" y="12960"/>
                </a:moveTo>
                <a:lnTo>
                  <a:pt x="3927" y="12960"/>
                </a:lnTo>
                <a:cubicBezTo>
                  <a:pt x="2303" y="12960"/>
                  <a:pt x="982" y="11507"/>
                  <a:pt x="982" y="9720"/>
                </a:cubicBezTo>
                <a:cubicBezTo>
                  <a:pt x="982" y="8215"/>
                  <a:pt x="1912" y="6920"/>
                  <a:pt x="3244" y="6572"/>
                </a:cubicBezTo>
                <a:cubicBezTo>
                  <a:pt x="3634" y="6470"/>
                  <a:pt x="3929" y="6117"/>
                  <a:pt x="3988" y="5681"/>
                </a:cubicBezTo>
                <a:cubicBezTo>
                  <a:pt x="4343" y="3058"/>
                  <a:pt x="6427" y="1080"/>
                  <a:pt x="8836" y="1080"/>
                </a:cubicBezTo>
                <a:cubicBezTo>
                  <a:pt x="10501" y="1080"/>
                  <a:pt x="11547" y="1463"/>
                  <a:pt x="12457" y="3010"/>
                </a:cubicBezTo>
                <a:cubicBezTo>
                  <a:pt x="12612" y="3273"/>
                  <a:pt x="13354" y="3989"/>
                  <a:pt x="13636" y="4032"/>
                </a:cubicBezTo>
                <a:cubicBezTo>
                  <a:pt x="13682" y="4039"/>
                  <a:pt x="13773" y="4043"/>
                  <a:pt x="13773" y="4043"/>
                </a:cubicBezTo>
                <a:cubicBezTo>
                  <a:pt x="14009" y="4043"/>
                  <a:pt x="14238" y="3949"/>
                  <a:pt x="14419" y="3776"/>
                </a:cubicBezTo>
                <a:cubicBezTo>
                  <a:pt x="14777" y="3431"/>
                  <a:pt x="15236" y="3240"/>
                  <a:pt x="15709" y="3240"/>
                </a:cubicBezTo>
                <a:cubicBezTo>
                  <a:pt x="16792" y="3240"/>
                  <a:pt x="17673" y="4209"/>
                  <a:pt x="17671" y="5412"/>
                </a:cubicBezTo>
                <a:lnTo>
                  <a:pt x="17667" y="5491"/>
                </a:lnTo>
                <a:cubicBezTo>
                  <a:pt x="17646" y="6002"/>
                  <a:pt x="17953" y="6459"/>
                  <a:pt x="18404" y="6586"/>
                </a:cubicBezTo>
                <a:cubicBezTo>
                  <a:pt x="19708" y="6954"/>
                  <a:pt x="20618" y="8242"/>
                  <a:pt x="20618" y="9720"/>
                </a:cubicBezTo>
                <a:cubicBezTo>
                  <a:pt x="20618" y="11507"/>
                  <a:pt x="19297" y="12960"/>
                  <a:pt x="17673" y="12960"/>
                </a:cubicBezTo>
                <a:moveTo>
                  <a:pt x="18648" y="5540"/>
                </a:moveTo>
                <a:cubicBezTo>
                  <a:pt x="18650" y="5493"/>
                  <a:pt x="18655" y="5447"/>
                  <a:pt x="18655" y="5400"/>
                </a:cubicBezTo>
                <a:cubicBezTo>
                  <a:pt x="18655" y="3611"/>
                  <a:pt x="17335" y="2160"/>
                  <a:pt x="15709" y="2160"/>
                </a:cubicBezTo>
                <a:cubicBezTo>
                  <a:pt x="14967" y="2160"/>
                  <a:pt x="14290" y="2464"/>
                  <a:pt x="13773" y="2963"/>
                </a:cubicBezTo>
                <a:cubicBezTo>
                  <a:pt x="12724" y="1182"/>
                  <a:pt x="10909" y="0"/>
                  <a:pt x="8836" y="0"/>
                </a:cubicBezTo>
                <a:cubicBezTo>
                  <a:pt x="5880" y="0"/>
                  <a:pt x="3439" y="2398"/>
                  <a:pt x="3017" y="5521"/>
                </a:cubicBezTo>
                <a:cubicBezTo>
                  <a:pt x="1288" y="5974"/>
                  <a:pt x="0" y="7679"/>
                  <a:pt x="0" y="9720"/>
                </a:cubicBezTo>
                <a:cubicBezTo>
                  <a:pt x="0" y="12106"/>
                  <a:pt x="1758" y="14040"/>
                  <a:pt x="3927" y="14040"/>
                </a:cubicBezTo>
                <a:lnTo>
                  <a:pt x="17673" y="14040"/>
                </a:lnTo>
                <a:cubicBezTo>
                  <a:pt x="19842" y="14040"/>
                  <a:pt x="21600" y="12106"/>
                  <a:pt x="21600" y="9720"/>
                </a:cubicBezTo>
                <a:cubicBezTo>
                  <a:pt x="21600" y="7706"/>
                  <a:pt x="20344" y="6018"/>
                  <a:pt x="18648" y="554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68" name="Shape 2968"/>
          <p:cNvSpPr/>
          <p:nvPr/>
        </p:nvSpPr>
        <p:spPr>
          <a:xfrm>
            <a:off x="4958109" y="10395759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14400"/>
                </a:moveTo>
                <a:lnTo>
                  <a:pt x="3927" y="14400"/>
                </a:lnTo>
                <a:cubicBezTo>
                  <a:pt x="2303" y="14400"/>
                  <a:pt x="982" y="12785"/>
                  <a:pt x="982" y="10800"/>
                </a:cubicBezTo>
                <a:cubicBezTo>
                  <a:pt x="982" y="9128"/>
                  <a:pt x="1912" y="7690"/>
                  <a:pt x="3244" y="7302"/>
                </a:cubicBezTo>
                <a:cubicBezTo>
                  <a:pt x="3634" y="7189"/>
                  <a:pt x="3929" y="6796"/>
                  <a:pt x="3988" y="6312"/>
                </a:cubicBezTo>
                <a:cubicBezTo>
                  <a:pt x="4343" y="3397"/>
                  <a:pt x="6427" y="1200"/>
                  <a:pt x="8836" y="1200"/>
                </a:cubicBezTo>
                <a:cubicBezTo>
                  <a:pt x="10501" y="1200"/>
                  <a:pt x="11547" y="1626"/>
                  <a:pt x="12457" y="3344"/>
                </a:cubicBezTo>
                <a:cubicBezTo>
                  <a:pt x="12612" y="3636"/>
                  <a:pt x="13354" y="4432"/>
                  <a:pt x="13636" y="4480"/>
                </a:cubicBezTo>
                <a:cubicBezTo>
                  <a:pt x="13682" y="4488"/>
                  <a:pt x="13773" y="4492"/>
                  <a:pt x="13773" y="4492"/>
                </a:cubicBezTo>
                <a:cubicBezTo>
                  <a:pt x="14009" y="4492"/>
                  <a:pt x="14238" y="4388"/>
                  <a:pt x="14419" y="4195"/>
                </a:cubicBezTo>
                <a:cubicBezTo>
                  <a:pt x="14777" y="3812"/>
                  <a:pt x="15236" y="3600"/>
                  <a:pt x="15709" y="3600"/>
                </a:cubicBezTo>
                <a:cubicBezTo>
                  <a:pt x="16792" y="3600"/>
                  <a:pt x="17673" y="4676"/>
                  <a:pt x="17671" y="6013"/>
                </a:cubicBezTo>
                <a:lnTo>
                  <a:pt x="17667" y="6101"/>
                </a:lnTo>
                <a:cubicBezTo>
                  <a:pt x="17646" y="6669"/>
                  <a:pt x="17953" y="7177"/>
                  <a:pt x="18404" y="7318"/>
                </a:cubicBezTo>
                <a:cubicBezTo>
                  <a:pt x="19708" y="7726"/>
                  <a:pt x="20618" y="9158"/>
                  <a:pt x="20618" y="10800"/>
                </a:cubicBezTo>
                <a:cubicBezTo>
                  <a:pt x="20618" y="12785"/>
                  <a:pt x="19297" y="14400"/>
                  <a:pt x="17673" y="14400"/>
                </a:cubicBezTo>
                <a:moveTo>
                  <a:pt x="18648" y="6156"/>
                </a:moveTo>
                <a:cubicBezTo>
                  <a:pt x="18650" y="6104"/>
                  <a:pt x="18655" y="6053"/>
                  <a:pt x="18655" y="6000"/>
                </a:cubicBezTo>
                <a:cubicBezTo>
                  <a:pt x="18655" y="4012"/>
                  <a:pt x="17335" y="2400"/>
                  <a:pt x="15709" y="2400"/>
                </a:cubicBezTo>
                <a:cubicBezTo>
                  <a:pt x="14967" y="2400"/>
                  <a:pt x="14290" y="2738"/>
                  <a:pt x="13773" y="3292"/>
                </a:cubicBezTo>
                <a:cubicBezTo>
                  <a:pt x="12724" y="1314"/>
                  <a:pt x="10909" y="0"/>
                  <a:pt x="8836" y="0"/>
                </a:cubicBezTo>
                <a:cubicBezTo>
                  <a:pt x="5880" y="0"/>
                  <a:pt x="3439" y="2665"/>
                  <a:pt x="3017" y="6135"/>
                </a:cubicBezTo>
                <a:cubicBezTo>
                  <a:pt x="1288" y="6638"/>
                  <a:pt x="0" y="8532"/>
                  <a:pt x="0" y="10800"/>
                </a:cubicBezTo>
                <a:cubicBezTo>
                  <a:pt x="0" y="13451"/>
                  <a:pt x="1758" y="15600"/>
                  <a:pt x="3927" y="15600"/>
                </a:cubicBezTo>
                <a:lnTo>
                  <a:pt x="17673" y="15600"/>
                </a:lnTo>
                <a:cubicBezTo>
                  <a:pt x="19842" y="15600"/>
                  <a:pt x="21600" y="13451"/>
                  <a:pt x="21600" y="10800"/>
                </a:cubicBezTo>
                <a:cubicBezTo>
                  <a:pt x="21600" y="8562"/>
                  <a:pt x="20344" y="6687"/>
                  <a:pt x="18648" y="6156"/>
                </a:cubicBezTo>
                <a:moveTo>
                  <a:pt x="15218" y="16800"/>
                </a:moveTo>
                <a:cubicBezTo>
                  <a:pt x="15083" y="16800"/>
                  <a:pt x="14960" y="16867"/>
                  <a:pt x="14871" y="16976"/>
                </a:cubicBezTo>
                <a:lnTo>
                  <a:pt x="11926" y="20575"/>
                </a:lnTo>
                <a:cubicBezTo>
                  <a:pt x="11837" y="20685"/>
                  <a:pt x="11782" y="20835"/>
                  <a:pt x="11782" y="21000"/>
                </a:cubicBezTo>
                <a:cubicBezTo>
                  <a:pt x="11782" y="21332"/>
                  <a:pt x="12002" y="21600"/>
                  <a:pt x="12273" y="21600"/>
                </a:cubicBezTo>
                <a:cubicBezTo>
                  <a:pt x="12408" y="21600"/>
                  <a:pt x="12531" y="21533"/>
                  <a:pt x="12620" y="21424"/>
                </a:cubicBezTo>
                <a:lnTo>
                  <a:pt x="15565" y="17824"/>
                </a:lnTo>
                <a:cubicBezTo>
                  <a:pt x="15654" y="17716"/>
                  <a:pt x="15709" y="17566"/>
                  <a:pt x="15709" y="17400"/>
                </a:cubicBezTo>
                <a:cubicBezTo>
                  <a:pt x="15709" y="17069"/>
                  <a:pt x="15489" y="16800"/>
                  <a:pt x="15218" y="16800"/>
                </a:cubicBezTo>
                <a:moveTo>
                  <a:pt x="12764" y="17400"/>
                </a:moveTo>
                <a:cubicBezTo>
                  <a:pt x="12764" y="17069"/>
                  <a:pt x="12544" y="16800"/>
                  <a:pt x="12273" y="16800"/>
                </a:cubicBezTo>
                <a:cubicBezTo>
                  <a:pt x="12137" y="16800"/>
                  <a:pt x="12015" y="16867"/>
                  <a:pt x="11925" y="16976"/>
                </a:cubicBezTo>
                <a:lnTo>
                  <a:pt x="8981" y="20575"/>
                </a:lnTo>
                <a:cubicBezTo>
                  <a:pt x="8891" y="20685"/>
                  <a:pt x="8836" y="20835"/>
                  <a:pt x="8836" y="21000"/>
                </a:cubicBezTo>
                <a:cubicBezTo>
                  <a:pt x="8836" y="21332"/>
                  <a:pt x="9056" y="21600"/>
                  <a:pt x="9327" y="21600"/>
                </a:cubicBezTo>
                <a:cubicBezTo>
                  <a:pt x="9463" y="21600"/>
                  <a:pt x="9585" y="21533"/>
                  <a:pt x="9674" y="21424"/>
                </a:cubicBezTo>
                <a:lnTo>
                  <a:pt x="12620" y="17824"/>
                </a:lnTo>
                <a:cubicBezTo>
                  <a:pt x="12709" y="17716"/>
                  <a:pt x="12764" y="17566"/>
                  <a:pt x="12764" y="17400"/>
                </a:cubicBezTo>
                <a:moveTo>
                  <a:pt x="6873" y="17400"/>
                </a:moveTo>
                <a:cubicBezTo>
                  <a:pt x="6873" y="17069"/>
                  <a:pt x="6653" y="16800"/>
                  <a:pt x="6382" y="16800"/>
                </a:cubicBezTo>
                <a:cubicBezTo>
                  <a:pt x="6246" y="16800"/>
                  <a:pt x="6124" y="16867"/>
                  <a:pt x="6034" y="16976"/>
                </a:cubicBezTo>
                <a:lnTo>
                  <a:pt x="3090" y="20575"/>
                </a:lnTo>
                <a:cubicBezTo>
                  <a:pt x="3000" y="20685"/>
                  <a:pt x="2945" y="20835"/>
                  <a:pt x="2945" y="21000"/>
                </a:cubicBezTo>
                <a:cubicBezTo>
                  <a:pt x="2945" y="21332"/>
                  <a:pt x="3166" y="21600"/>
                  <a:pt x="3436" y="21600"/>
                </a:cubicBezTo>
                <a:cubicBezTo>
                  <a:pt x="3572" y="21600"/>
                  <a:pt x="3695" y="21533"/>
                  <a:pt x="3783" y="21424"/>
                </a:cubicBezTo>
                <a:lnTo>
                  <a:pt x="6729" y="17824"/>
                </a:lnTo>
                <a:cubicBezTo>
                  <a:pt x="6818" y="17716"/>
                  <a:pt x="6873" y="17566"/>
                  <a:pt x="6873" y="17400"/>
                </a:cubicBezTo>
                <a:moveTo>
                  <a:pt x="9818" y="17400"/>
                </a:moveTo>
                <a:cubicBezTo>
                  <a:pt x="9818" y="17069"/>
                  <a:pt x="9598" y="16800"/>
                  <a:pt x="9327" y="16800"/>
                </a:cubicBezTo>
                <a:cubicBezTo>
                  <a:pt x="9192" y="16800"/>
                  <a:pt x="9069" y="16867"/>
                  <a:pt x="8980" y="16976"/>
                </a:cubicBezTo>
                <a:lnTo>
                  <a:pt x="6035" y="20575"/>
                </a:lnTo>
                <a:cubicBezTo>
                  <a:pt x="5946" y="20685"/>
                  <a:pt x="5891" y="20835"/>
                  <a:pt x="5891" y="21000"/>
                </a:cubicBezTo>
                <a:cubicBezTo>
                  <a:pt x="5891" y="21332"/>
                  <a:pt x="6111" y="21600"/>
                  <a:pt x="6382" y="21600"/>
                </a:cubicBezTo>
                <a:cubicBezTo>
                  <a:pt x="6517" y="21600"/>
                  <a:pt x="6640" y="21533"/>
                  <a:pt x="6729" y="21424"/>
                </a:cubicBezTo>
                <a:lnTo>
                  <a:pt x="9674" y="17824"/>
                </a:lnTo>
                <a:cubicBezTo>
                  <a:pt x="9763" y="17716"/>
                  <a:pt x="9818" y="17566"/>
                  <a:pt x="9818" y="174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69" name="Shape 2969"/>
          <p:cNvSpPr/>
          <p:nvPr/>
        </p:nvSpPr>
        <p:spPr>
          <a:xfrm>
            <a:off x="6024631" y="10370366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15120"/>
                </a:moveTo>
                <a:cubicBezTo>
                  <a:pt x="17893" y="15120"/>
                  <a:pt x="17673" y="15362"/>
                  <a:pt x="17673" y="15660"/>
                </a:cubicBezTo>
                <a:lnTo>
                  <a:pt x="17673" y="17820"/>
                </a:lnTo>
                <a:cubicBezTo>
                  <a:pt x="17673" y="18118"/>
                  <a:pt x="17893" y="18360"/>
                  <a:pt x="18164" y="18360"/>
                </a:cubicBezTo>
                <a:cubicBezTo>
                  <a:pt x="18434" y="18360"/>
                  <a:pt x="18655" y="18118"/>
                  <a:pt x="18655" y="17820"/>
                </a:cubicBezTo>
                <a:lnTo>
                  <a:pt x="18655" y="15660"/>
                </a:lnTo>
                <a:cubicBezTo>
                  <a:pt x="18655" y="15362"/>
                  <a:pt x="18434" y="15120"/>
                  <a:pt x="18164" y="15120"/>
                </a:cubicBezTo>
                <a:moveTo>
                  <a:pt x="15218" y="15120"/>
                </a:moveTo>
                <a:cubicBezTo>
                  <a:pt x="14947" y="15120"/>
                  <a:pt x="14727" y="15362"/>
                  <a:pt x="14727" y="15660"/>
                </a:cubicBezTo>
                <a:lnTo>
                  <a:pt x="14727" y="18900"/>
                </a:lnTo>
                <a:cubicBezTo>
                  <a:pt x="14727" y="19198"/>
                  <a:pt x="14947" y="19440"/>
                  <a:pt x="15218" y="19440"/>
                </a:cubicBezTo>
                <a:cubicBezTo>
                  <a:pt x="15489" y="19440"/>
                  <a:pt x="15709" y="19198"/>
                  <a:pt x="15709" y="18900"/>
                </a:cubicBezTo>
                <a:lnTo>
                  <a:pt x="15709" y="15660"/>
                </a:lnTo>
                <a:cubicBezTo>
                  <a:pt x="15709" y="15362"/>
                  <a:pt x="15489" y="15120"/>
                  <a:pt x="15218" y="15120"/>
                </a:cubicBezTo>
                <a:moveTo>
                  <a:pt x="17673" y="12960"/>
                </a:moveTo>
                <a:lnTo>
                  <a:pt x="3927" y="12960"/>
                </a:lnTo>
                <a:cubicBezTo>
                  <a:pt x="2303" y="12960"/>
                  <a:pt x="982" y="11507"/>
                  <a:pt x="982" y="9720"/>
                </a:cubicBezTo>
                <a:cubicBezTo>
                  <a:pt x="982" y="8215"/>
                  <a:pt x="1912" y="6920"/>
                  <a:pt x="3244" y="6572"/>
                </a:cubicBezTo>
                <a:cubicBezTo>
                  <a:pt x="3634" y="6470"/>
                  <a:pt x="3929" y="6117"/>
                  <a:pt x="3988" y="5681"/>
                </a:cubicBezTo>
                <a:cubicBezTo>
                  <a:pt x="4343" y="3058"/>
                  <a:pt x="6427" y="1080"/>
                  <a:pt x="8836" y="1080"/>
                </a:cubicBezTo>
                <a:cubicBezTo>
                  <a:pt x="10501" y="1080"/>
                  <a:pt x="11547" y="1463"/>
                  <a:pt x="12457" y="3010"/>
                </a:cubicBezTo>
                <a:cubicBezTo>
                  <a:pt x="12612" y="3273"/>
                  <a:pt x="13354" y="3989"/>
                  <a:pt x="13636" y="4032"/>
                </a:cubicBezTo>
                <a:cubicBezTo>
                  <a:pt x="13682" y="4039"/>
                  <a:pt x="13773" y="4043"/>
                  <a:pt x="13773" y="4043"/>
                </a:cubicBezTo>
                <a:cubicBezTo>
                  <a:pt x="14009" y="4043"/>
                  <a:pt x="14238" y="3949"/>
                  <a:pt x="14419" y="3776"/>
                </a:cubicBezTo>
                <a:cubicBezTo>
                  <a:pt x="14777" y="3431"/>
                  <a:pt x="15236" y="3240"/>
                  <a:pt x="15709" y="3240"/>
                </a:cubicBezTo>
                <a:cubicBezTo>
                  <a:pt x="16792" y="3240"/>
                  <a:pt x="17673" y="4209"/>
                  <a:pt x="17671" y="5412"/>
                </a:cubicBezTo>
                <a:lnTo>
                  <a:pt x="17667" y="5491"/>
                </a:lnTo>
                <a:cubicBezTo>
                  <a:pt x="17646" y="6002"/>
                  <a:pt x="17953" y="6459"/>
                  <a:pt x="18404" y="6586"/>
                </a:cubicBezTo>
                <a:cubicBezTo>
                  <a:pt x="19708" y="6954"/>
                  <a:pt x="20618" y="8242"/>
                  <a:pt x="20618" y="9720"/>
                </a:cubicBezTo>
                <a:cubicBezTo>
                  <a:pt x="20618" y="11507"/>
                  <a:pt x="19297" y="12960"/>
                  <a:pt x="17673" y="12960"/>
                </a:cubicBezTo>
                <a:moveTo>
                  <a:pt x="18648" y="5540"/>
                </a:moveTo>
                <a:cubicBezTo>
                  <a:pt x="18650" y="5493"/>
                  <a:pt x="18655" y="5447"/>
                  <a:pt x="18655" y="5400"/>
                </a:cubicBezTo>
                <a:cubicBezTo>
                  <a:pt x="18655" y="3611"/>
                  <a:pt x="17335" y="2160"/>
                  <a:pt x="15709" y="2160"/>
                </a:cubicBezTo>
                <a:cubicBezTo>
                  <a:pt x="14967" y="2160"/>
                  <a:pt x="14290" y="2464"/>
                  <a:pt x="13773" y="2963"/>
                </a:cubicBezTo>
                <a:cubicBezTo>
                  <a:pt x="12724" y="1182"/>
                  <a:pt x="10909" y="0"/>
                  <a:pt x="8836" y="0"/>
                </a:cubicBezTo>
                <a:cubicBezTo>
                  <a:pt x="5880" y="0"/>
                  <a:pt x="3439" y="2398"/>
                  <a:pt x="3017" y="5521"/>
                </a:cubicBezTo>
                <a:cubicBezTo>
                  <a:pt x="1288" y="5974"/>
                  <a:pt x="0" y="7679"/>
                  <a:pt x="0" y="9720"/>
                </a:cubicBezTo>
                <a:cubicBezTo>
                  <a:pt x="0" y="12106"/>
                  <a:pt x="1758" y="14040"/>
                  <a:pt x="3927" y="14040"/>
                </a:cubicBezTo>
                <a:lnTo>
                  <a:pt x="17673" y="14040"/>
                </a:lnTo>
                <a:cubicBezTo>
                  <a:pt x="19842" y="14040"/>
                  <a:pt x="21600" y="12106"/>
                  <a:pt x="21600" y="9720"/>
                </a:cubicBezTo>
                <a:cubicBezTo>
                  <a:pt x="21600" y="7706"/>
                  <a:pt x="20344" y="6018"/>
                  <a:pt x="18648" y="5540"/>
                </a:cubicBezTo>
                <a:moveTo>
                  <a:pt x="6382" y="16200"/>
                </a:moveTo>
                <a:cubicBezTo>
                  <a:pt x="6111" y="16200"/>
                  <a:pt x="5891" y="16442"/>
                  <a:pt x="5891" y="16740"/>
                </a:cubicBezTo>
                <a:lnTo>
                  <a:pt x="5891" y="18900"/>
                </a:lnTo>
                <a:cubicBezTo>
                  <a:pt x="5891" y="19198"/>
                  <a:pt x="6111" y="19440"/>
                  <a:pt x="6382" y="19440"/>
                </a:cubicBezTo>
                <a:cubicBezTo>
                  <a:pt x="6653" y="19440"/>
                  <a:pt x="6873" y="19198"/>
                  <a:pt x="6873" y="18900"/>
                </a:cubicBezTo>
                <a:lnTo>
                  <a:pt x="6873" y="16740"/>
                </a:lnTo>
                <a:cubicBezTo>
                  <a:pt x="6873" y="16442"/>
                  <a:pt x="6653" y="16200"/>
                  <a:pt x="6382" y="16200"/>
                </a:cubicBezTo>
                <a:moveTo>
                  <a:pt x="3436" y="15120"/>
                </a:moveTo>
                <a:cubicBezTo>
                  <a:pt x="3166" y="15120"/>
                  <a:pt x="2945" y="15362"/>
                  <a:pt x="2945" y="15660"/>
                </a:cubicBezTo>
                <a:lnTo>
                  <a:pt x="2945" y="18900"/>
                </a:lnTo>
                <a:cubicBezTo>
                  <a:pt x="2945" y="19198"/>
                  <a:pt x="3166" y="19440"/>
                  <a:pt x="3436" y="19440"/>
                </a:cubicBezTo>
                <a:cubicBezTo>
                  <a:pt x="3707" y="19440"/>
                  <a:pt x="3927" y="19198"/>
                  <a:pt x="3927" y="18900"/>
                </a:cubicBezTo>
                <a:lnTo>
                  <a:pt x="3927" y="15660"/>
                </a:lnTo>
                <a:cubicBezTo>
                  <a:pt x="3927" y="15362"/>
                  <a:pt x="3707" y="15120"/>
                  <a:pt x="3436" y="15120"/>
                </a:cubicBezTo>
                <a:moveTo>
                  <a:pt x="12273" y="16200"/>
                </a:moveTo>
                <a:cubicBezTo>
                  <a:pt x="12002" y="16200"/>
                  <a:pt x="11782" y="16442"/>
                  <a:pt x="11782" y="16740"/>
                </a:cubicBezTo>
                <a:lnTo>
                  <a:pt x="11782" y="19980"/>
                </a:lnTo>
                <a:cubicBezTo>
                  <a:pt x="11782" y="20278"/>
                  <a:pt x="12002" y="20520"/>
                  <a:pt x="12273" y="20520"/>
                </a:cubicBezTo>
                <a:cubicBezTo>
                  <a:pt x="12544" y="20520"/>
                  <a:pt x="12764" y="20278"/>
                  <a:pt x="12764" y="19980"/>
                </a:cubicBezTo>
                <a:lnTo>
                  <a:pt x="12764" y="16740"/>
                </a:lnTo>
                <a:cubicBezTo>
                  <a:pt x="12764" y="16442"/>
                  <a:pt x="12544" y="16200"/>
                  <a:pt x="12273" y="16200"/>
                </a:cubicBezTo>
                <a:moveTo>
                  <a:pt x="9327" y="17280"/>
                </a:moveTo>
                <a:cubicBezTo>
                  <a:pt x="9056" y="17280"/>
                  <a:pt x="8836" y="17522"/>
                  <a:pt x="8836" y="17820"/>
                </a:cubicBezTo>
                <a:lnTo>
                  <a:pt x="8836" y="21060"/>
                </a:lnTo>
                <a:cubicBezTo>
                  <a:pt x="8836" y="21358"/>
                  <a:pt x="9056" y="21600"/>
                  <a:pt x="9327" y="21600"/>
                </a:cubicBezTo>
                <a:cubicBezTo>
                  <a:pt x="9598" y="21600"/>
                  <a:pt x="9818" y="21358"/>
                  <a:pt x="9818" y="21060"/>
                </a:cubicBezTo>
                <a:lnTo>
                  <a:pt x="9818" y="17820"/>
                </a:lnTo>
                <a:cubicBezTo>
                  <a:pt x="9818" y="17522"/>
                  <a:pt x="9598" y="17280"/>
                  <a:pt x="9327" y="1728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70" name="Shape 2970"/>
          <p:cNvSpPr/>
          <p:nvPr/>
        </p:nvSpPr>
        <p:spPr>
          <a:xfrm>
            <a:off x="7091154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9636"/>
                </a:moveTo>
                <a:cubicBezTo>
                  <a:pt x="15167" y="19636"/>
                  <a:pt x="14727" y="20076"/>
                  <a:pt x="14727" y="20618"/>
                </a:cubicBezTo>
                <a:cubicBezTo>
                  <a:pt x="14727" y="21160"/>
                  <a:pt x="15167" y="21600"/>
                  <a:pt x="15709" y="21600"/>
                </a:cubicBezTo>
                <a:cubicBezTo>
                  <a:pt x="16251" y="21600"/>
                  <a:pt x="16691" y="21160"/>
                  <a:pt x="16691" y="20618"/>
                </a:cubicBezTo>
                <a:cubicBezTo>
                  <a:pt x="16691" y="20076"/>
                  <a:pt x="16251" y="19636"/>
                  <a:pt x="15709" y="19636"/>
                </a:cubicBezTo>
                <a:moveTo>
                  <a:pt x="18655" y="16691"/>
                </a:moveTo>
                <a:cubicBezTo>
                  <a:pt x="18113" y="16691"/>
                  <a:pt x="17673" y="17131"/>
                  <a:pt x="17673" y="17673"/>
                </a:cubicBezTo>
                <a:cubicBezTo>
                  <a:pt x="17673" y="18215"/>
                  <a:pt x="18113" y="18655"/>
                  <a:pt x="18655" y="18655"/>
                </a:cubicBezTo>
                <a:cubicBezTo>
                  <a:pt x="19196" y="18655"/>
                  <a:pt x="19636" y="18215"/>
                  <a:pt x="19636" y="17673"/>
                </a:cubicBezTo>
                <a:cubicBezTo>
                  <a:pt x="19636" y="17131"/>
                  <a:pt x="19196" y="16691"/>
                  <a:pt x="18655" y="16691"/>
                </a:cubicBezTo>
                <a:moveTo>
                  <a:pt x="17673" y="11782"/>
                </a:moveTo>
                <a:lnTo>
                  <a:pt x="3927" y="11782"/>
                </a:lnTo>
                <a:cubicBezTo>
                  <a:pt x="2303" y="11782"/>
                  <a:pt x="982" y="10461"/>
                  <a:pt x="982" y="8836"/>
                </a:cubicBezTo>
                <a:cubicBezTo>
                  <a:pt x="982" y="7468"/>
                  <a:pt x="1911" y="6292"/>
                  <a:pt x="3244" y="5975"/>
                </a:cubicBezTo>
                <a:cubicBezTo>
                  <a:pt x="3634" y="5882"/>
                  <a:pt x="3929" y="5561"/>
                  <a:pt x="3988" y="5164"/>
                </a:cubicBezTo>
                <a:cubicBezTo>
                  <a:pt x="4342" y="2780"/>
                  <a:pt x="6427" y="982"/>
                  <a:pt x="8836" y="982"/>
                </a:cubicBezTo>
                <a:cubicBezTo>
                  <a:pt x="10501" y="982"/>
                  <a:pt x="11547" y="1330"/>
                  <a:pt x="12457" y="2736"/>
                </a:cubicBezTo>
                <a:cubicBezTo>
                  <a:pt x="12612" y="2975"/>
                  <a:pt x="13354" y="3626"/>
                  <a:pt x="13636" y="3666"/>
                </a:cubicBezTo>
                <a:cubicBezTo>
                  <a:pt x="13682" y="3672"/>
                  <a:pt x="13772" y="3675"/>
                  <a:pt x="13772" y="3675"/>
                </a:cubicBezTo>
                <a:cubicBezTo>
                  <a:pt x="14009" y="3675"/>
                  <a:pt x="14238" y="3590"/>
                  <a:pt x="14419" y="3433"/>
                </a:cubicBezTo>
                <a:cubicBezTo>
                  <a:pt x="14777" y="3119"/>
                  <a:pt x="15236" y="2945"/>
                  <a:pt x="15709" y="2945"/>
                </a:cubicBezTo>
                <a:cubicBezTo>
                  <a:pt x="16792" y="2945"/>
                  <a:pt x="17673" y="3826"/>
                  <a:pt x="17671" y="4920"/>
                </a:cubicBezTo>
                <a:lnTo>
                  <a:pt x="17667" y="4992"/>
                </a:lnTo>
                <a:cubicBezTo>
                  <a:pt x="17646" y="5457"/>
                  <a:pt x="17954" y="5872"/>
                  <a:pt x="18404" y="5987"/>
                </a:cubicBezTo>
                <a:cubicBezTo>
                  <a:pt x="19708" y="6321"/>
                  <a:pt x="20618" y="7493"/>
                  <a:pt x="20618" y="8836"/>
                </a:cubicBezTo>
                <a:cubicBezTo>
                  <a:pt x="20618" y="10461"/>
                  <a:pt x="19297" y="11782"/>
                  <a:pt x="17673" y="11782"/>
                </a:cubicBezTo>
                <a:moveTo>
                  <a:pt x="18648" y="5036"/>
                </a:moveTo>
                <a:cubicBezTo>
                  <a:pt x="18650" y="4994"/>
                  <a:pt x="18655" y="4952"/>
                  <a:pt x="18655" y="4909"/>
                </a:cubicBezTo>
                <a:cubicBezTo>
                  <a:pt x="18655" y="3283"/>
                  <a:pt x="17335" y="1964"/>
                  <a:pt x="15709" y="1964"/>
                </a:cubicBezTo>
                <a:cubicBezTo>
                  <a:pt x="14967" y="1964"/>
                  <a:pt x="14291" y="2240"/>
                  <a:pt x="13772" y="2693"/>
                </a:cubicBezTo>
                <a:cubicBezTo>
                  <a:pt x="12724" y="1075"/>
                  <a:pt x="10909" y="0"/>
                  <a:pt x="8836" y="0"/>
                </a:cubicBezTo>
                <a:cubicBezTo>
                  <a:pt x="5879" y="0"/>
                  <a:pt x="3439" y="2180"/>
                  <a:pt x="3017" y="5019"/>
                </a:cubicBezTo>
                <a:cubicBezTo>
                  <a:pt x="1288" y="5431"/>
                  <a:pt x="0" y="6981"/>
                  <a:pt x="0" y="8836"/>
                </a:cubicBezTo>
                <a:cubicBezTo>
                  <a:pt x="0" y="11005"/>
                  <a:pt x="1758" y="12764"/>
                  <a:pt x="3927" y="12764"/>
                </a:cubicBezTo>
                <a:lnTo>
                  <a:pt x="17673" y="12764"/>
                </a:lnTo>
                <a:cubicBezTo>
                  <a:pt x="19842" y="12764"/>
                  <a:pt x="21600" y="11005"/>
                  <a:pt x="21600" y="8836"/>
                </a:cubicBezTo>
                <a:cubicBezTo>
                  <a:pt x="21600" y="7005"/>
                  <a:pt x="20344" y="5471"/>
                  <a:pt x="18648" y="5036"/>
                </a:cubicBezTo>
                <a:moveTo>
                  <a:pt x="15709" y="15709"/>
                </a:moveTo>
                <a:cubicBezTo>
                  <a:pt x="15709" y="15167"/>
                  <a:pt x="15269" y="14727"/>
                  <a:pt x="14727" y="14727"/>
                </a:cubicBezTo>
                <a:cubicBezTo>
                  <a:pt x="14186" y="14727"/>
                  <a:pt x="13745" y="15167"/>
                  <a:pt x="13745" y="15709"/>
                </a:cubicBezTo>
                <a:cubicBezTo>
                  <a:pt x="13745" y="16252"/>
                  <a:pt x="14186" y="16691"/>
                  <a:pt x="14727" y="16691"/>
                </a:cubicBezTo>
                <a:cubicBezTo>
                  <a:pt x="15269" y="16691"/>
                  <a:pt x="15709" y="16252"/>
                  <a:pt x="15709" y="15709"/>
                </a:cubicBezTo>
                <a:moveTo>
                  <a:pt x="10800" y="17673"/>
                </a:moveTo>
                <a:cubicBezTo>
                  <a:pt x="10258" y="17673"/>
                  <a:pt x="9818" y="18113"/>
                  <a:pt x="9818" y="18655"/>
                </a:cubicBezTo>
                <a:cubicBezTo>
                  <a:pt x="9818" y="19196"/>
                  <a:pt x="10258" y="19636"/>
                  <a:pt x="10800" y="19636"/>
                </a:cubicBezTo>
                <a:cubicBezTo>
                  <a:pt x="11342" y="19636"/>
                  <a:pt x="11782" y="19196"/>
                  <a:pt x="11782" y="18655"/>
                </a:cubicBezTo>
                <a:cubicBezTo>
                  <a:pt x="11782" y="18113"/>
                  <a:pt x="11342" y="17673"/>
                  <a:pt x="10800" y="17673"/>
                </a:cubicBezTo>
                <a:moveTo>
                  <a:pt x="2945" y="15709"/>
                </a:moveTo>
                <a:cubicBezTo>
                  <a:pt x="2404" y="15709"/>
                  <a:pt x="1964" y="16149"/>
                  <a:pt x="1964" y="16691"/>
                </a:cubicBezTo>
                <a:cubicBezTo>
                  <a:pt x="1964" y="17233"/>
                  <a:pt x="2404" y="17673"/>
                  <a:pt x="2945" y="17673"/>
                </a:cubicBezTo>
                <a:cubicBezTo>
                  <a:pt x="3487" y="17673"/>
                  <a:pt x="3927" y="17233"/>
                  <a:pt x="3927" y="16691"/>
                </a:cubicBezTo>
                <a:cubicBezTo>
                  <a:pt x="3927" y="16149"/>
                  <a:pt x="3487" y="15709"/>
                  <a:pt x="2945" y="15709"/>
                </a:cubicBezTo>
                <a:moveTo>
                  <a:pt x="4909" y="18655"/>
                </a:moveTo>
                <a:cubicBezTo>
                  <a:pt x="4367" y="18655"/>
                  <a:pt x="3927" y="19095"/>
                  <a:pt x="3927" y="19636"/>
                </a:cubicBezTo>
                <a:cubicBezTo>
                  <a:pt x="3927" y="20179"/>
                  <a:pt x="4367" y="20618"/>
                  <a:pt x="4909" y="20618"/>
                </a:cubicBezTo>
                <a:cubicBezTo>
                  <a:pt x="5451" y="20618"/>
                  <a:pt x="5891" y="20179"/>
                  <a:pt x="5891" y="19636"/>
                </a:cubicBezTo>
                <a:cubicBezTo>
                  <a:pt x="5891" y="19095"/>
                  <a:pt x="5451" y="18655"/>
                  <a:pt x="4909" y="18655"/>
                </a:cubicBezTo>
                <a:moveTo>
                  <a:pt x="7855" y="13745"/>
                </a:moveTo>
                <a:cubicBezTo>
                  <a:pt x="7313" y="13745"/>
                  <a:pt x="6873" y="14186"/>
                  <a:pt x="6873" y="14727"/>
                </a:cubicBezTo>
                <a:cubicBezTo>
                  <a:pt x="6873" y="15270"/>
                  <a:pt x="7313" y="15709"/>
                  <a:pt x="7855" y="15709"/>
                </a:cubicBezTo>
                <a:cubicBezTo>
                  <a:pt x="8396" y="15709"/>
                  <a:pt x="8836" y="15270"/>
                  <a:pt x="8836" y="14727"/>
                </a:cubicBezTo>
                <a:cubicBezTo>
                  <a:pt x="8836" y="14186"/>
                  <a:pt x="8396" y="13745"/>
                  <a:pt x="7855" y="137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71" name="Shape 2971"/>
          <p:cNvSpPr/>
          <p:nvPr/>
        </p:nvSpPr>
        <p:spPr>
          <a:xfrm>
            <a:off x="8157677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5709"/>
                </a:moveTo>
                <a:cubicBezTo>
                  <a:pt x="16555" y="15709"/>
                  <a:pt x="16433" y="15764"/>
                  <a:pt x="16344" y="15853"/>
                </a:cubicBezTo>
                <a:lnTo>
                  <a:pt x="13399" y="18798"/>
                </a:lnTo>
                <a:cubicBezTo>
                  <a:pt x="13310" y="18888"/>
                  <a:pt x="13255" y="19010"/>
                  <a:pt x="13255" y="19145"/>
                </a:cubicBezTo>
                <a:cubicBezTo>
                  <a:pt x="13255" y="19417"/>
                  <a:pt x="13474" y="19636"/>
                  <a:pt x="13745" y="19636"/>
                </a:cubicBezTo>
                <a:cubicBezTo>
                  <a:pt x="13881" y="19636"/>
                  <a:pt x="14003" y="19582"/>
                  <a:pt x="14093" y="19493"/>
                </a:cubicBezTo>
                <a:lnTo>
                  <a:pt x="17038" y="16547"/>
                </a:lnTo>
                <a:cubicBezTo>
                  <a:pt x="17127" y="16458"/>
                  <a:pt x="17182" y="16336"/>
                  <a:pt x="17182" y="16200"/>
                </a:cubicBezTo>
                <a:cubicBezTo>
                  <a:pt x="17182" y="15929"/>
                  <a:pt x="16962" y="15709"/>
                  <a:pt x="16691" y="15709"/>
                </a:cubicBezTo>
                <a:moveTo>
                  <a:pt x="17673" y="11782"/>
                </a:moveTo>
                <a:lnTo>
                  <a:pt x="3927" y="11782"/>
                </a:lnTo>
                <a:cubicBezTo>
                  <a:pt x="2303" y="11782"/>
                  <a:pt x="982" y="10461"/>
                  <a:pt x="982" y="8836"/>
                </a:cubicBezTo>
                <a:cubicBezTo>
                  <a:pt x="982" y="7468"/>
                  <a:pt x="1911" y="6292"/>
                  <a:pt x="3244" y="5975"/>
                </a:cubicBezTo>
                <a:cubicBezTo>
                  <a:pt x="3634" y="5882"/>
                  <a:pt x="3929" y="5561"/>
                  <a:pt x="3988" y="5164"/>
                </a:cubicBezTo>
                <a:cubicBezTo>
                  <a:pt x="4342" y="2780"/>
                  <a:pt x="6427" y="982"/>
                  <a:pt x="8836" y="982"/>
                </a:cubicBezTo>
                <a:cubicBezTo>
                  <a:pt x="10501" y="982"/>
                  <a:pt x="11547" y="1330"/>
                  <a:pt x="12457" y="2736"/>
                </a:cubicBezTo>
                <a:cubicBezTo>
                  <a:pt x="12612" y="2975"/>
                  <a:pt x="13354" y="3626"/>
                  <a:pt x="13636" y="3666"/>
                </a:cubicBezTo>
                <a:cubicBezTo>
                  <a:pt x="13682" y="3672"/>
                  <a:pt x="13772" y="3675"/>
                  <a:pt x="13772" y="3675"/>
                </a:cubicBezTo>
                <a:cubicBezTo>
                  <a:pt x="14009" y="3675"/>
                  <a:pt x="14238" y="3590"/>
                  <a:pt x="14419" y="3433"/>
                </a:cubicBezTo>
                <a:cubicBezTo>
                  <a:pt x="14777" y="3119"/>
                  <a:pt x="15236" y="2945"/>
                  <a:pt x="15709" y="2945"/>
                </a:cubicBezTo>
                <a:cubicBezTo>
                  <a:pt x="16792" y="2945"/>
                  <a:pt x="17673" y="3826"/>
                  <a:pt x="17671" y="4920"/>
                </a:cubicBezTo>
                <a:lnTo>
                  <a:pt x="17667" y="4992"/>
                </a:lnTo>
                <a:cubicBezTo>
                  <a:pt x="17646" y="5457"/>
                  <a:pt x="17954" y="5872"/>
                  <a:pt x="18404" y="5987"/>
                </a:cubicBezTo>
                <a:cubicBezTo>
                  <a:pt x="19707" y="6321"/>
                  <a:pt x="20618" y="7493"/>
                  <a:pt x="20618" y="8836"/>
                </a:cubicBezTo>
                <a:cubicBezTo>
                  <a:pt x="20618" y="10461"/>
                  <a:pt x="19297" y="11782"/>
                  <a:pt x="17673" y="11782"/>
                </a:cubicBezTo>
                <a:moveTo>
                  <a:pt x="18648" y="5037"/>
                </a:moveTo>
                <a:cubicBezTo>
                  <a:pt x="18650" y="4994"/>
                  <a:pt x="18655" y="4952"/>
                  <a:pt x="18655" y="4909"/>
                </a:cubicBezTo>
                <a:cubicBezTo>
                  <a:pt x="18655" y="3283"/>
                  <a:pt x="17335" y="1964"/>
                  <a:pt x="15709" y="1964"/>
                </a:cubicBezTo>
                <a:cubicBezTo>
                  <a:pt x="14967" y="1964"/>
                  <a:pt x="14291" y="2240"/>
                  <a:pt x="13772" y="2693"/>
                </a:cubicBezTo>
                <a:cubicBezTo>
                  <a:pt x="12724" y="1075"/>
                  <a:pt x="10909" y="0"/>
                  <a:pt x="8836" y="0"/>
                </a:cubicBezTo>
                <a:cubicBezTo>
                  <a:pt x="5879" y="0"/>
                  <a:pt x="3439" y="2180"/>
                  <a:pt x="3016" y="5019"/>
                </a:cubicBezTo>
                <a:cubicBezTo>
                  <a:pt x="1288" y="5431"/>
                  <a:pt x="0" y="6981"/>
                  <a:pt x="0" y="8836"/>
                </a:cubicBezTo>
                <a:cubicBezTo>
                  <a:pt x="0" y="11005"/>
                  <a:pt x="1758" y="12764"/>
                  <a:pt x="3927" y="12764"/>
                </a:cubicBezTo>
                <a:lnTo>
                  <a:pt x="17673" y="12764"/>
                </a:lnTo>
                <a:cubicBezTo>
                  <a:pt x="19842" y="12764"/>
                  <a:pt x="21600" y="11005"/>
                  <a:pt x="21600" y="8836"/>
                </a:cubicBezTo>
                <a:cubicBezTo>
                  <a:pt x="21600" y="7005"/>
                  <a:pt x="20344" y="5471"/>
                  <a:pt x="18648" y="5037"/>
                </a:cubicBezTo>
                <a:moveTo>
                  <a:pt x="6382" y="15709"/>
                </a:moveTo>
                <a:cubicBezTo>
                  <a:pt x="6246" y="15709"/>
                  <a:pt x="6123" y="15764"/>
                  <a:pt x="6035" y="15853"/>
                </a:cubicBezTo>
                <a:lnTo>
                  <a:pt x="3090" y="18798"/>
                </a:lnTo>
                <a:cubicBezTo>
                  <a:pt x="3001" y="18888"/>
                  <a:pt x="2945" y="19010"/>
                  <a:pt x="2945" y="19145"/>
                </a:cubicBezTo>
                <a:cubicBezTo>
                  <a:pt x="2945" y="19417"/>
                  <a:pt x="3165" y="19636"/>
                  <a:pt x="3436" y="19636"/>
                </a:cubicBezTo>
                <a:cubicBezTo>
                  <a:pt x="3572" y="19636"/>
                  <a:pt x="3695" y="19582"/>
                  <a:pt x="3783" y="19493"/>
                </a:cubicBezTo>
                <a:lnTo>
                  <a:pt x="6729" y="16547"/>
                </a:lnTo>
                <a:cubicBezTo>
                  <a:pt x="6818" y="16458"/>
                  <a:pt x="6873" y="16336"/>
                  <a:pt x="6873" y="16200"/>
                </a:cubicBezTo>
                <a:cubicBezTo>
                  <a:pt x="6873" y="15929"/>
                  <a:pt x="6653" y="15709"/>
                  <a:pt x="6382" y="15709"/>
                </a:cubicBezTo>
                <a:moveTo>
                  <a:pt x="11782" y="15218"/>
                </a:moveTo>
                <a:cubicBezTo>
                  <a:pt x="11782" y="14947"/>
                  <a:pt x="11562" y="14727"/>
                  <a:pt x="11291" y="14727"/>
                </a:cubicBezTo>
                <a:cubicBezTo>
                  <a:pt x="11155" y="14727"/>
                  <a:pt x="11032" y="14782"/>
                  <a:pt x="10944" y="14872"/>
                </a:cubicBezTo>
                <a:lnTo>
                  <a:pt x="7999" y="17816"/>
                </a:lnTo>
                <a:cubicBezTo>
                  <a:pt x="7910" y="17906"/>
                  <a:pt x="7855" y="18028"/>
                  <a:pt x="7855" y="18164"/>
                </a:cubicBezTo>
                <a:cubicBezTo>
                  <a:pt x="7855" y="18435"/>
                  <a:pt x="8074" y="18655"/>
                  <a:pt x="8345" y="18655"/>
                </a:cubicBezTo>
                <a:lnTo>
                  <a:pt x="10106" y="18655"/>
                </a:lnTo>
                <a:lnTo>
                  <a:pt x="7998" y="20762"/>
                </a:lnTo>
                <a:cubicBezTo>
                  <a:pt x="7910" y="20851"/>
                  <a:pt x="7855" y="20974"/>
                  <a:pt x="7855" y="21109"/>
                </a:cubicBezTo>
                <a:cubicBezTo>
                  <a:pt x="7855" y="21380"/>
                  <a:pt x="8074" y="21600"/>
                  <a:pt x="8345" y="21600"/>
                </a:cubicBezTo>
                <a:cubicBezTo>
                  <a:pt x="8481" y="21600"/>
                  <a:pt x="8604" y="21545"/>
                  <a:pt x="8693" y="21456"/>
                </a:cubicBezTo>
                <a:lnTo>
                  <a:pt x="11638" y="18511"/>
                </a:lnTo>
                <a:cubicBezTo>
                  <a:pt x="11727" y="18422"/>
                  <a:pt x="11782" y="18299"/>
                  <a:pt x="11782" y="18164"/>
                </a:cubicBezTo>
                <a:cubicBezTo>
                  <a:pt x="11782" y="17892"/>
                  <a:pt x="11562" y="17673"/>
                  <a:pt x="11291" y="17673"/>
                </a:cubicBezTo>
                <a:lnTo>
                  <a:pt x="11290" y="17673"/>
                </a:lnTo>
                <a:lnTo>
                  <a:pt x="9531" y="17673"/>
                </a:lnTo>
                <a:lnTo>
                  <a:pt x="11638" y="15565"/>
                </a:lnTo>
                <a:cubicBezTo>
                  <a:pt x="11727" y="15477"/>
                  <a:pt x="11782" y="15354"/>
                  <a:pt x="11782" y="152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72" name="Shape 2972"/>
          <p:cNvSpPr/>
          <p:nvPr/>
        </p:nvSpPr>
        <p:spPr>
          <a:xfrm>
            <a:off x="9224197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11782"/>
                </a:moveTo>
                <a:lnTo>
                  <a:pt x="3927" y="11782"/>
                </a:lnTo>
                <a:cubicBezTo>
                  <a:pt x="2303" y="11782"/>
                  <a:pt x="982" y="10461"/>
                  <a:pt x="982" y="8836"/>
                </a:cubicBezTo>
                <a:cubicBezTo>
                  <a:pt x="982" y="7468"/>
                  <a:pt x="1911" y="6292"/>
                  <a:pt x="3244" y="5975"/>
                </a:cubicBezTo>
                <a:cubicBezTo>
                  <a:pt x="3634" y="5882"/>
                  <a:pt x="3929" y="5561"/>
                  <a:pt x="3988" y="5164"/>
                </a:cubicBezTo>
                <a:cubicBezTo>
                  <a:pt x="4342" y="2780"/>
                  <a:pt x="6427" y="982"/>
                  <a:pt x="8836" y="982"/>
                </a:cubicBezTo>
                <a:cubicBezTo>
                  <a:pt x="10501" y="982"/>
                  <a:pt x="11547" y="1330"/>
                  <a:pt x="12457" y="2736"/>
                </a:cubicBezTo>
                <a:cubicBezTo>
                  <a:pt x="12612" y="2975"/>
                  <a:pt x="13354" y="3626"/>
                  <a:pt x="13636" y="3666"/>
                </a:cubicBezTo>
                <a:cubicBezTo>
                  <a:pt x="13682" y="3672"/>
                  <a:pt x="13772" y="3675"/>
                  <a:pt x="13772" y="3675"/>
                </a:cubicBezTo>
                <a:cubicBezTo>
                  <a:pt x="14009" y="3675"/>
                  <a:pt x="14238" y="3590"/>
                  <a:pt x="14419" y="3433"/>
                </a:cubicBezTo>
                <a:cubicBezTo>
                  <a:pt x="14777" y="3119"/>
                  <a:pt x="15236" y="2945"/>
                  <a:pt x="15709" y="2945"/>
                </a:cubicBezTo>
                <a:cubicBezTo>
                  <a:pt x="16792" y="2945"/>
                  <a:pt x="17673" y="3826"/>
                  <a:pt x="17671" y="4920"/>
                </a:cubicBezTo>
                <a:lnTo>
                  <a:pt x="17667" y="4992"/>
                </a:lnTo>
                <a:cubicBezTo>
                  <a:pt x="17646" y="5457"/>
                  <a:pt x="17954" y="5872"/>
                  <a:pt x="18404" y="5987"/>
                </a:cubicBezTo>
                <a:cubicBezTo>
                  <a:pt x="19708" y="6321"/>
                  <a:pt x="20618" y="7493"/>
                  <a:pt x="20618" y="8836"/>
                </a:cubicBezTo>
                <a:cubicBezTo>
                  <a:pt x="20618" y="10461"/>
                  <a:pt x="19297" y="11782"/>
                  <a:pt x="17673" y="11782"/>
                </a:cubicBezTo>
                <a:moveTo>
                  <a:pt x="18648" y="5037"/>
                </a:moveTo>
                <a:cubicBezTo>
                  <a:pt x="18650" y="4994"/>
                  <a:pt x="18655" y="4952"/>
                  <a:pt x="18655" y="4909"/>
                </a:cubicBezTo>
                <a:cubicBezTo>
                  <a:pt x="18655" y="3283"/>
                  <a:pt x="17335" y="1964"/>
                  <a:pt x="15709" y="1964"/>
                </a:cubicBezTo>
                <a:cubicBezTo>
                  <a:pt x="14967" y="1964"/>
                  <a:pt x="14291" y="2240"/>
                  <a:pt x="13772" y="2693"/>
                </a:cubicBezTo>
                <a:cubicBezTo>
                  <a:pt x="12724" y="1075"/>
                  <a:pt x="10909" y="0"/>
                  <a:pt x="8836" y="0"/>
                </a:cubicBezTo>
                <a:cubicBezTo>
                  <a:pt x="5879" y="0"/>
                  <a:pt x="3439" y="2180"/>
                  <a:pt x="3016" y="5019"/>
                </a:cubicBezTo>
                <a:cubicBezTo>
                  <a:pt x="1288" y="5431"/>
                  <a:pt x="0" y="6981"/>
                  <a:pt x="0" y="8836"/>
                </a:cubicBezTo>
                <a:cubicBezTo>
                  <a:pt x="0" y="11005"/>
                  <a:pt x="1758" y="12764"/>
                  <a:pt x="3927" y="12764"/>
                </a:cubicBezTo>
                <a:lnTo>
                  <a:pt x="17673" y="12764"/>
                </a:lnTo>
                <a:cubicBezTo>
                  <a:pt x="19842" y="12764"/>
                  <a:pt x="21600" y="11005"/>
                  <a:pt x="21600" y="8836"/>
                </a:cubicBezTo>
                <a:cubicBezTo>
                  <a:pt x="21600" y="7005"/>
                  <a:pt x="20344" y="5471"/>
                  <a:pt x="18648" y="5037"/>
                </a:cubicBezTo>
                <a:moveTo>
                  <a:pt x="11782" y="15218"/>
                </a:moveTo>
                <a:cubicBezTo>
                  <a:pt x="11782" y="14947"/>
                  <a:pt x="11562" y="14727"/>
                  <a:pt x="11291" y="14727"/>
                </a:cubicBezTo>
                <a:cubicBezTo>
                  <a:pt x="11155" y="14727"/>
                  <a:pt x="11032" y="14782"/>
                  <a:pt x="10944" y="14872"/>
                </a:cubicBezTo>
                <a:lnTo>
                  <a:pt x="7999" y="17816"/>
                </a:lnTo>
                <a:cubicBezTo>
                  <a:pt x="7910" y="17906"/>
                  <a:pt x="7855" y="18028"/>
                  <a:pt x="7855" y="18164"/>
                </a:cubicBezTo>
                <a:cubicBezTo>
                  <a:pt x="7855" y="18435"/>
                  <a:pt x="8074" y="18655"/>
                  <a:pt x="8345" y="18655"/>
                </a:cubicBezTo>
                <a:lnTo>
                  <a:pt x="10106" y="18655"/>
                </a:lnTo>
                <a:lnTo>
                  <a:pt x="7998" y="20762"/>
                </a:lnTo>
                <a:cubicBezTo>
                  <a:pt x="7909" y="20851"/>
                  <a:pt x="7855" y="20974"/>
                  <a:pt x="7855" y="21109"/>
                </a:cubicBezTo>
                <a:cubicBezTo>
                  <a:pt x="7855" y="21380"/>
                  <a:pt x="8074" y="21600"/>
                  <a:pt x="8345" y="21600"/>
                </a:cubicBezTo>
                <a:cubicBezTo>
                  <a:pt x="8481" y="21600"/>
                  <a:pt x="8603" y="21545"/>
                  <a:pt x="8693" y="21456"/>
                </a:cubicBezTo>
                <a:lnTo>
                  <a:pt x="11638" y="18511"/>
                </a:lnTo>
                <a:cubicBezTo>
                  <a:pt x="11727" y="18422"/>
                  <a:pt x="11782" y="18299"/>
                  <a:pt x="11782" y="18164"/>
                </a:cubicBezTo>
                <a:cubicBezTo>
                  <a:pt x="11782" y="17892"/>
                  <a:pt x="11562" y="17673"/>
                  <a:pt x="11291" y="17673"/>
                </a:cubicBezTo>
                <a:lnTo>
                  <a:pt x="11290" y="17673"/>
                </a:lnTo>
                <a:lnTo>
                  <a:pt x="9531" y="17673"/>
                </a:lnTo>
                <a:lnTo>
                  <a:pt x="11638" y="15565"/>
                </a:lnTo>
                <a:cubicBezTo>
                  <a:pt x="11727" y="15477"/>
                  <a:pt x="11782" y="15354"/>
                  <a:pt x="11782" y="152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73" name="Shape 2973"/>
          <p:cNvSpPr/>
          <p:nvPr/>
        </p:nvSpPr>
        <p:spPr>
          <a:xfrm>
            <a:off x="10290720" y="10383062"/>
            <a:ext cx="558654" cy="4824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82" y="12505"/>
                </a:moveTo>
                <a:lnTo>
                  <a:pt x="4418" y="12505"/>
                </a:lnTo>
                <a:cubicBezTo>
                  <a:pt x="4147" y="12505"/>
                  <a:pt x="3927" y="12759"/>
                  <a:pt x="3927" y="13074"/>
                </a:cubicBezTo>
                <a:cubicBezTo>
                  <a:pt x="3927" y="13388"/>
                  <a:pt x="4147" y="13642"/>
                  <a:pt x="4418" y="13642"/>
                </a:cubicBezTo>
                <a:lnTo>
                  <a:pt x="11782" y="13642"/>
                </a:lnTo>
                <a:cubicBezTo>
                  <a:pt x="13408" y="13642"/>
                  <a:pt x="14727" y="15170"/>
                  <a:pt x="14727" y="17053"/>
                </a:cubicBezTo>
                <a:cubicBezTo>
                  <a:pt x="14727" y="18937"/>
                  <a:pt x="13408" y="20463"/>
                  <a:pt x="11782" y="20463"/>
                </a:cubicBezTo>
                <a:lnTo>
                  <a:pt x="11291" y="20463"/>
                </a:lnTo>
                <a:cubicBezTo>
                  <a:pt x="11020" y="20463"/>
                  <a:pt x="10800" y="20717"/>
                  <a:pt x="10800" y="21032"/>
                </a:cubicBezTo>
                <a:cubicBezTo>
                  <a:pt x="10800" y="21346"/>
                  <a:pt x="11020" y="21600"/>
                  <a:pt x="11291" y="21600"/>
                </a:cubicBezTo>
                <a:lnTo>
                  <a:pt x="11782" y="21600"/>
                </a:lnTo>
                <a:cubicBezTo>
                  <a:pt x="13951" y="21600"/>
                  <a:pt x="15709" y="19564"/>
                  <a:pt x="15709" y="17053"/>
                </a:cubicBezTo>
                <a:cubicBezTo>
                  <a:pt x="15709" y="14541"/>
                  <a:pt x="13951" y="12505"/>
                  <a:pt x="11782" y="12505"/>
                </a:cubicBezTo>
                <a:moveTo>
                  <a:pt x="18655" y="10232"/>
                </a:moveTo>
                <a:lnTo>
                  <a:pt x="2455" y="10232"/>
                </a:lnTo>
                <a:cubicBezTo>
                  <a:pt x="2183" y="10232"/>
                  <a:pt x="1964" y="10486"/>
                  <a:pt x="1964" y="10800"/>
                </a:cubicBezTo>
                <a:cubicBezTo>
                  <a:pt x="1964" y="11114"/>
                  <a:pt x="2183" y="11368"/>
                  <a:pt x="2455" y="11368"/>
                </a:cubicBezTo>
                <a:lnTo>
                  <a:pt x="18655" y="11368"/>
                </a:lnTo>
                <a:cubicBezTo>
                  <a:pt x="19739" y="11368"/>
                  <a:pt x="20618" y="12386"/>
                  <a:pt x="20618" y="13642"/>
                </a:cubicBezTo>
                <a:cubicBezTo>
                  <a:pt x="20618" y="14898"/>
                  <a:pt x="19739" y="15916"/>
                  <a:pt x="18655" y="15916"/>
                </a:cubicBezTo>
                <a:lnTo>
                  <a:pt x="18164" y="15916"/>
                </a:lnTo>
                <a:cubicBezTo>
                  <a:pt x="17892" y="15916"/>
                  <a:pt x="17673" y="16170"/>
                  <a:pt x="17673" y="16484"/>
                </a:cubicBezTo>
                <a:cubicBezTo>
                  <a:pt x="17673" y="16798"/>
                  <a:pt x="17892" y="17053"/>
                  <a:pt x="18164" y="17053"/>
                </a:cubicBezTo>
                <a:lnTo>
                  <a:pt x="18655" y="17053"/>
                </a:lnTo>
                <a:cubicBezTo>
                  <a:pt x="20281" y="17053"/>
                  <a:pt x="21600" y="15526"/>
                  <a:pt x="21600" y="13642"/>
                </a:cubicBezTo>
                <a:cubicBezTo>
                  <a:pt x="21600" y="11759"/>
                  <a:pt x="20281" y="10232"/>
                  <a:pt x="18655" y="10232"/>
                </a:cubicBezTo>
                <a:moveTo>
                  <a:pt x="17673" y="6821"/>
                </a:moveTo>
                <a:cubicBezTo>
                  <a:pt x="17673" y="5565"/>
                  <a:pt x="16794" y="4547"/>
                  <a:pt x="15709" y="4547"/>
                </a:cubicBezTo>
                <a:lnTo>
                  <a:pt x="15218" y="4547"/>
                </a:lnTo>
                <a:cubicBezTo>
                  <a:pt x="14947" y="4547"/>
                  <a:pt x="14727" y="4802"/>
                  <a:pt x="14727" y="5116"/>
                </a:cubicBezTo>
                <a:cubicBezTo>
                  <a:pt x="14727" y="5430"/>
                  <a:pt x="14947" y="5684"/>
                  <a:pt x="15218" y="5684"/>
                </a:cubicBezTo>
                <a:lnTo>
                  <a:pt x="15709" y="5684"/>
                </a:lnTo>
                <a:cubicBezTo>
                  <a:pt x="16251" y="5684"/>
                  <a:pt x="16691" y="6194"/>
                  <a:pt x="16691" y="6821"/>
                </a:cubicBezTo>
                <a:cubicBezTo>
                  <a:pt x="16691" y="7448"/>
                  <a:pt x="16251" y="7958"/>
                  <a:pt x="15709" y="7958"/>
                </a:cubicBezTo>
                <a:lnTo>
                  <a:pt x="491" y="7958"/>
                </a:lnTo>
                <a:cubicBezTo>
                  <a:pt x="220" y="7958"/>
                  <a:pt x="0" y="8212"/>
                  <a:pt x="0" y="8526"/>
                </a:cubicBezTo>
                <a:cubicBezTo>
                  <a:pt x="0" y="8841"/>
                  <a:pt x="220" y="9095"/>
                  <a:pt x="491" y="9095"/>
                </a:cubicBezTo>
                <a:lnTo>
                  <a:pt x="15709" y="9095"/>
                </a:lnTo>
                <a:cubicBezTo>
                  <a:pt x="16794" y="9095"/>
                  <a:pt x="17673" y="8077"/>
                  <a:pt x="17673" y="6821"/>
                </a:cubicBezTo>
                <a:moveTo>
                  <a:pt x="2455" y="6821"/>
                </a:moveTo>
                <a:lnTo>
                  <a:pt x="9818" y="6821"/>
                </a:lnTo>
                <a:cubicBezTo>
                  <a:pt x="11444" y="6821"/>
                  <a:pt x="12764" y="5294"/>
                  <a:pt x="12764" y="3411"/>
                </a:cubicBezTo>
                <a:cubicBezTo>
                  <a:pt x="12764" y="1528"/>
                  <a:pt x="11444" y="0"/>
                  <a:pt x="9818" y="0"/>
                </a:cubicBezTo>
                <a:lnTo>
                  <a:pt x="9327" y="0"/>
                </a:lnTo>
                <a:cubicBezTo>
                  <a:pt x="9056" y="0"/>
                  <a:pt x="8836" y="254"/>
                  <a:pt x="8836" y="568"/>
                </a:cubicBezTo>
                <a:cubicBezTo>
                  <a:pt x="8836" y="883"/>
                  <a:pt x="9056" y="1137"/>
                  <a:pt x="9327" y="1137"/>
                </a:cubicBezTo>
                <a:lnTo>
                  <a:pt x="9818" y="1137"/>
                </a:lnTo>
                <a:cubicBezTo>
                  <a:pt x="10903" y="1137"/>
                  <a:pt x="11782" y="2155"/>
                  <a:pt x="11782" y="3411"/>
                </a:cubicBezTo>
                <a:cubicBezTo>
                  <a:pt x="11782" y="4666"/>
                  <a:pt x="10903" y="5684"/>
                  <a:pt x="9818" y="5684"/>
                </a:cubicBezTo>
                <a:lnTo>
                  <a:pt x="2455" y="5684"/>
                </a:lnTo>
                <a:cubicBezTo>
                  <a:pt x="2183" y="5684"/>
                  <a:pt x="1964" y="5938"/>
                  <a:pt x="1964" y="6253"/>
                </a:cubicBezTo>
                <a:cubicBezTo>
                  <a:pt x="1964" y="6567"/>
                  <a:pt x="2183" y="6821"/>
                  <a:pt x="2455" y="682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74" name="Shape 2974"/>
          <p:cNvSpPr/>
          <p:nvPr/>
        </p:nvSpPr>
        <p:spPr>
          <a:xfrm>
            <a:off x="11357242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480" y="13937"/>
                </a:moveTo>
                <a:cubicBezTo>
                  <a:pt x="14147" y="14117"/>
                  <a:pt x="13804" y="14208"/>
                  <a:pt x="13451" y="14208"/>
                </a:cubicBezTo>
                <a:cubicBezTo>
                  <a:pt x="12999" y="14208"/>
                  <a:pt x="12590" y="14119"/>
                  <a:pt x="12225" y="13943"/>
                </a:cubicBezTo>
                <a:cubicBezTo>
                  <a:pt x="11859" y="13768"/>
                  <a:pt x="11545" y="13525"/>
                  <a:pt x="11282" y="13217"/>
                </a:cubicBezTo>
                <a:cubicBezTo>
                  <a:pt x="11020" y="12909"/>
                  <a:pt x="10816" y="12544"/>
                  <a:pt x="10672" y="12121"/>
                </a:cubicBezTo>
                <a:cubicBezTo>
                  <a:pt x="10529" y="11698"/>
                  <a:pt x="10457" y="11236"/>
                  <a:pt x="10457" y="10734"/>
                </a:cubicBezTo>
                <a:cubicBezTo>
                  <a:pt x="10457" y="10268"/>
                  <a:pt x="10529" y="9832"/>
                  <a:pt x="10672" y="9427"/>
                </a:cubicBezTo>
                <a:cubicBezTo>
                  <a:pt x="10816" y="9022"/>
                  <a:pt x="11020" y="8668"/>
                  <a:pt x="11282" y="8364"/>
                </a:cubicBezTo>
                <a:cubicBezTo>
                  <a:pt x="11545" y="8060"/>
                  <a:pt x="11859" y="7823"/>
                  <a:pt x="12225" y="7651"/>
                </a:cubicBezTo>
                <a:cubicBezTo>
                  <a:pt x="12590" y="7479"/>
                  <a:pt x="12999" y="7393"/>
                  <a:pt x="13451" y="7393"/>
                </a:cubicBezTo>
                <a:cubicBezTo>
                  <a:pt x="13755" y="7393"/>
                  <a:pt x="14057" y="7456"/>
                  <a:pt x="14357" y="7579"/>
                </a:cubicBezTo>
                <a:cubicBezTo>
                  <a:pt x="14656" y="7702"/>
                  <a:pt x="14966" y="7948"/>
                  <a:pt x="15287" y="8318"/>
                </a:cubicBezTo>
                <a:lnTo>
                  <a:pt x="16494" y="7367"/>
                </a:lnTo>
                <a:cubicBezTo>
                  <a:pt x="16059" y="6830"/>
                  <a:pt x="15589" y="6449"/>
                  <a:pt x="15083" y="6225"/>
                </a:cubicBezTo>
                <a:cubicBezTo>
                  <a:pt x="14578" y="6000"/>
                  <a:pt x="14030" y="5888"/>
                  <a:pt x="13439" y="5888"/>
                </a:cubicBezTo>
                <a:cubicBezTo>
                  <a:pt x="12765" y="5888"/>
                  <a:pt x="12147" y="6005"/>
                  <a:pt x="11584" y="6238"/>
                </a:cubicBezTo>
                <a:cubicBezTo>
                  <a:pt x="11021" y="6471"/>
                  <a:pt x="10537" y="6804"/>
                  <a:pt x="10131" y="7235"/>
                </a:cubicBezTo>
                <a:cubicBezTo>
                  <a:pt x="9724" y="7666"/>
                  <a:pt x="9405" y="8188"/>
                  <a:pt x="9176" y="8800"/>
                </a:cubicBezTo>
                <a:cubicBezTo>
                  <a:pt x="8946" y="9412"/>
                  <a:pt x="8831" y="10092"/>
                  <a:pt x="8831" y="10840"/>
                </a:cubicBezTo>
                <a:cubicBezTo>
                  <a:pt x="8831" y="11571"/>
                  <a:pt x="8946" y="12235"/>
                  <a:pt x="9176" y="12835"/>
                </a:cubicBezTo>
                <a:cubicBezTo>
                  <a:pt x="9405" y="13433"/>
                  <a:pt x="9724" y="13946"/>
                  <a:pt x="10131" y="14373"/>
                </a:cubicBezTo>
                <a:cubicBezTo>
                  <a:pt x="10537" y="14800"/>
                  <a:pt x="11021" y="15130"/>
                  <a:pt x="11584" y="15363"/>
                </a:cubicBezTo>
                <a:cubicBezTo>
                  <a:pt x="12147" y="15597"/>
                  <a:pt x="12765" y="15713"/>
                  <a:pt x="13439" y="15713"/>
                </a:cubicBezTo>
                <a:cubicBezTo>
                  <a:pt x="14079" y="15713"/>
                  <a:pt x="14683" y="15581"/>
                  <a:pt x="15250" y="15317"/>
                </a:cubicBezTo>
                <a:cubicBezTo>
                  <a:pt x="15816" y="15053"/>
                  <a:pt x="16297" y="14630"/>
                  <a:pt x="16691" y="14049"/>
                </a:cubicBezTo>
                <a:lnTo>
                  <a:pt x="15410" y="13072"/>
                </a:lnTo>
                <a:cubicBezTo>
                  <a:pt x="15122" y="13468"/>
                  <a:pt x="14813" y="13756"/>
                  <a:pt x="14480" y="13937"/>
                </a:cubicBezTo>
                <a:moveTo>
                  <a:pt x="5891" y="6873"/>
                </a:moveTo>
                <a:cubicBezTo>
                  <a:pt x="5349" y="6873"/>
                  <a:pt x="4909" y="6433"/>
                  <a:pt x="4909" y="5891"/>
                </a:cubicBezTo>
                <a:cubicBezTo>
                  <a:pt x="4909" y="5349"/>
                  <a:pt x="5349" y="4909"/>
                  <a:pt x="5891" y="4909"/>
                </a:cubicBezTo>
                <a:cubicBezTo>
                  <a:pt x="6433" y="4909"/>
                  <a:pt x="6873" y="5349"/>
                  <a:pt x="6873" y="5891"/>
                </a:cubicBezTo>
                <a:cubicBezTo>
                  <a:pt x="6873" y="6433"/>
                  <a:pt x="6433" y="6873"/>
                  <a:pt x="5891" y="6873"/>
                </a:cubicBezTo>
                <a:moveTo>
                  <a:pt x="5891" y="3927"/>
                </a:moveTo>
                <a:cubicBezTo>
                  <a:pt x="4806" y="3927"/>
                  <a:pt x="3927" y="4806"/>
                  <a:pt x="3927" y="5891"/>
                </a:cubicBezTo>
                <a:cubicBezTo>
                  <a:pt x="3927" y="6975"/>
                  <a:pt x="4806" y="7855"/>
                  <a:pt x="5891" y="7855"/>
                </a:cubicBezTo>
                <a:cubicBezTo>
                  <a:pt x="6975" y="7855"/>
                  <a:pt x="7855" y="6975"/>
                  <a:pt x="7855" y="5891"/>
                </a:cubicBezTo>
                <a:cubicBezTo>
                  <a:pt x="7855" y="4806"/>
                  <a:pt x="6975" y="3927"/>
                  <a:pt x="5891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75" name="Shape 2975"/>
          <p:cNvSpPr/>
          <p:nvPr/>
        </p:nvSpPr>
        <p:spPr>
          <a:xfrm>
            <a:off x="12576124" y="93546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9825" y="15704"/>
                </a:moveTo>
                <a:lnTo>
                  <a:pt x="11291" y="15709"/>
                </a:lnTo>
                <a:lnTo>
                  <a:pt x="11291" y="11782"/>
                </a:lnTo>
                <a:lnTo>
                  <a:pt x="15218" y="11782"/>
                </a:lnTo>
                <a:lnTo>
                  <a:pt x="15218" y="10309"/>
                </a:lnTo>
                <a:lnTo>
                  <a:pt x="11291" y="10309"/>
                </a:lnTo>
                <a:lnTo>
                  <a:pt x="11291" y="7364"/>
                </a:lnTo>
                <a:lnTo>
                  <a:pt x="15709" y="7364"/>
                </a:lnTo>
                <a:lnTo>
                  <a:pt x="15711" y="5897"/>
                </a:lnTo>
                <a:lnTo>
                  <a:pt x="9825" y="5897"/>
                </a:lnTo>
                <a:cubicBezTo>
                  <a:pt x="9825" y="5897"/>
                  <a:pt x="9825" y="15704"/>
                  <a:pt x="9825" y="15704"/>
                </a:cubicBezTo>
                <a:close/>
                <a:moveTo>
                  <a:pt x="5891" y="6873"/>
                </a:moveTo>
                <a:cubicBezTo>
                  <a:pt x="5349" y="6873"/>
                  <a:pt x="4909" y="6434"/>
                  <a:pt x="4909" y="5891"/>
                </a:cubicBezTo>
                <a:cubicBezTo>
                  <a:pt x="4909" y="5349"/>
                  <a:pt x="5349" y="4909"/>
                  <a:pt x="5891" y="4909"/>
                </a:cubicBezTo>
                <a:cubicBezTo>
                  <a:pt x="6433" y="4909"/>
                  <a:pt x="6873" y="5349"/>
                  <a:pt x="6873" y="5891"/>
                </a:cubicBezTo>
                <a:cubicBezTo>
                  <a:pt x="6873" y="6434"/>
                  <a:pt x="6433" y="6873"/>
                  <a:pt x="5891" y="6873"/>
                </a:cubicBezTo>
                <a:moveTo>
                  <a:pt x="5891" y="3927"/>
                </a:moveTo>
                <a:cubicBezTo>
                  <a:pt x="4806" y="3927"/>
                  <a:pt x="3927" y="4806"/>
                  <a:pt x="3927" y="5891"/>
                </a:cubicBezTo>
                <a:cubicBezTo>
                  <a:pt x="3927" y="6975"/>
                  <a:pt x="4806" y="7855"/>
                  <a:pt x="5891" y="7855"/>
                </a:cubicBezTo>
                <a:cubicBezTo>
                  <a:pt x="6975" y="7855"/>
                  <a:pt x="7855" y="6975"/>
                  <a:pt x="7855" y="5891"/>
                </a:cubicBezTo>
                <a:cubicBezTo>
                  <a:pt x="7855" y="4806"/>
                  <a:pt x="6975" y="3927"/>
                  <a:pt x="5891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76" name="Shape 2976"/>
          <p:cNvSpPr/>
          <p:nvPr/>
        </p:nvSpPr>
        <p:spPr>
          <a:xfrm>
            <a:off x="13642647" y="93546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77" name="Shape 2977"/>
          <p:cNvSpPr/>
          <p:nvPr/>
        </p:nvSpPr>
        <p:spPr>
          <a:xfrm>
            <a:off x="14709169" y="93546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86" y="20524"/>
                </a:moveTo>
                <a:cubicBezTo>
                  <a:pt x="11664" y="20580"/>
                  <a:pt x="11237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1237" y="982"/>
                  <a:pt x="11665" y="1020"/>
                  <a:pt x="12086" y="1076"/>
                </a:cubicBezTo>
                <a:cubicBezTo>
                  <a:pt x="14339" y="3664"/>
                  <a:pt x="15709" y="7100"/>
                  <a:pt x="15709" y="10800"/>
                </a:cubicBezTo>
                <a:cubicBezTo>
                  <a:pt x="15709" y="14500"/>
                  <a:pt x="14339" y="17936"/>
                  <a:pt x="12086" y="20524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78" name="Shape 2978"/>
          <p:cNvSpPr/>
          <p:nvPr/>
        </p:nvSpPr>
        <p:spPr>
          <a:xfrm>
            <a:off x="15775691" y="93546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0800" y="982"/>
                  <a:pt x="10800" y="20618"/>
                  <a:pt x="10800" y="20618"/>
                </a:cubicBezTo>
                <a:close/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79" name="Shape 2979"/>
          <p:cNvSpPr/>
          <p:nvPr/>
        </p:nvSpPr>
        <p:spPr>
          <a:xfrm>
            <a:off x="16842214" y="93546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70" y="20533"/>
                </a:moveTo>
                <a:cubicBezTo>
                  <a:pt x="4730" y="19927"/>
                  <a:pt x="982" y="15805"/>
                  <a:pt x="982" y="10800"/>
                </a:cubicBezTo>
                <a:cubicBezTo>
                  <a:pt x="982" y="5795"/>
                  <a:pt x="4730" y="1673"/>
                  <a:pt x="9570" y="1067"/>
                </a:cubicBezTo>
                <a:cubicBezTo>
                  <a:pt x="7282" y="3663"/>
                  <a:pt x="5891" y="7068"/>
                  <a:pt x="5891" y="10800"/>
                </a:cubicBezTo>
                <a:cubicBezTo>
                  <a:pt x="5891" y="14532"/>
                  <a:pt x="7282" y="17937"/>
                  <a:pt x="9570" y="20533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80" name="Shape 2980"/>
          <p:cNvSpPr/>
          <p:nvPr/>
        </p:nvSpPr>
        <p:spPr>
          <a:xfrm>
            <a:off x="17908737" y="9354629"/>
            <a:ext cx="558654" cy="558654"/>
          </a:xfrm>
          <a:prstGeom prst="ellipse">
            <a:avLst/>
          </a:pr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81" name="Shape 2981"/>
          <p:cNvSpPr/>
          <p:nvPr/>
        </p:nvSpPr>
        <p:spPr>
          <a:xfrm>
            <a:off x="18975257" y="93546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30" y="20533"/>
                </a:moveTo>
                <a:cubicBezTo>
                  <a:pt x="14318" y="17937"/>
                  <a:pt x="15709" y="14532"/>
                  <a:pt x="15709" y="10800"/>
                </a:cubicBezTo>
                <a:cubicBezTo>
                  <a:pt x="15709" y="7068"/>
                  <a:pt x="14318" y="3663"/>
                  <a:pt x="12030" y="1067"/>
                </a:cubicBezTo>
                <a:cubicBezTo>
                  <a:pt x="16870" y="1673"/>
                  <a:pt x="20618" y="5795"/>
                  <a:pt x="20618" y="10800"/>
                </a:cubicBezTo>
                <a:cubicBezTo>
                  <a:pt x="20618" y="15805"/>
                  <a:pt x="16870" y="19927"/>
                  <a:pt x="12030" y="20533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82" name="Shape 2982"/>
          <p:cNvSpPr/>
          <p:nvPr/>
        </p:nvSpPr>
        <p:spPr>
          <a:xfrm>
            <a:off x="20041780" y="93546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lnTo>
                  <a:pt x="10800" y="982"/>
                </a:ln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83" name="Shape 2983"/>
          <p:cNvSpPr/>
          <p:nvPr/>
        </p:nvSpPr>
        <p:spPr>
          <a:xfrm>
            <a:off x="21108302" y="93546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10378" y="20618"/>
                  <a:pt x="9964" y="20583"/>
                  <a:pt x="9556" y="20531"/>
                </a:cubicBezTo>
                <a:cubicBezTo>
                  <a:pt x="7276" y="17937"/>
                  <a:pt x="5891" y="14524"/>
                  <a:pt x="5891" y="10800"/>
                </a:cubicBezTo>
                <a:cubicBezTo>
                  <a:pt x="5891" y="7076"/>
                  <a:pt x="7276" y="3663"/>
                  <a:pt x="9556" y="1069"/>
                </a:cubicBezTo>
                <a:cubicBezTo>
                  <a:pt x="9964" y="1017"/>
                  <a:pt x="10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2984" name="Shape 2984"/>
          <p:cNvSpPr/>
          <p:nvPr/>
        </p:nvSpPr>
        <p:spPr>
          <a:xfrm>
            <a:off x="22327186" y="9354629"/>
            <a:ext cx="25393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6029" y="20618"/>
                  <a:pt x="2160" y="18860"/>
                  <a:pt x="2160" y="16691"/>
                </a:cubicBezTo>
                <a:cubicBezTo>
                  <a:pt x="2160" y="15238"/>
                  <a:pt x="3900" y="13973"/>
                  <a:pt x="6480" y="13293"/>
                </a:cubicBezTo>
                <a:lnTo>
                  <a:pt x="6480" y="2945"/>
                </a:lnTo>
                <a:cubicBezTo>
                  <a:pt x="6480" y="1861"/>
                  <a:pt x="8414" y="982"/>
                  <a:pt x="10800" y="982"/>
                </a:cubicBezTo>
                <a:cubicBezTo>
                  <a:pt x="13186" y="982"/>
                  <a:pt x="15120" y="1861"/>
                  <a:pt x="15120" y="2945"/>
                </a:cubicBezTo>
                <a:lnTo>
                  <a:pt x="15120" y="13293"/>
                </a:lnTo>
                <a:cubicBezTo>
                  <a:pt x="17700" y="13973"/>
                  <a:pt x="19440" y="15238"/>
                  <a:pt x="19440" y="16691"/>
                </a:cubicBezTo>
                <a:cubicBezTo>
                  <a:pt x="19440" y="18860"/>
                  <a:pt x="15571" y="20618"/>
                  <a:pt x="10800" y="20618"/>
                </a:cubicBezTo>
                <a:moveTo>
                  <a:pt x="17280" y="12770"/>
                </a:moveTo>
                <a:lnTo>
                  <a:pt x="17280" y="2945"/>
                </a:lnTo>
                <a:cubicBezTo>
                  <a:pt x="17280" y="1318"/>
                  <a:pt x="14378" y="0"/>
                  <a:pt x="10800" y="0"/>
                </a:cubicBezTo>
                <a:cubicBezTo>
                  <a:pt x="7221" y="0"/>
                  <a:pt x="4320" y="1318"/>
                  <a:pt x="4320" y="2945"/>
                </a:cubicBezTo>
                <a:lnTo>
                  <a:pt x="4320" y="12770"/>
                </a:lnTo>
                <a:cubicBezTo>
                  <a:pt x="1701" y="13666"/>
                  <a:pt x="0" y="15087"/>
                  <a:pt x="0" y="16691"/>
                </a:cubicBezTo>
                <a:cubicBezTo>
                  <a:pt x="0" y="19402"/>
                  <a:pt x="4835" y="21600"/>
                  <a:pt x="10800" y="21600"/>
                </a:cubicBezTo>
                <a:cubicBezTo>
                  <a:pt x="16763" y="21600"/>
                  <a:pt x="21600" y="19402"/>
                  <a:pt x="21600" y="16691"/>
                </a:cubicBezTo>
                <a:cubicBezTo>
                  <a:pt x="21600" y="15087"/>
                  <a:pt x="19899" y="13666"/>
                  <a:pt x="17280" y="12770"/>
                </a:cubicBezTo>
                <a:moveTo>
                  <a:pt x="12960" y="13917"/>
                </a:moveTo>
                <a:lnTo>
                  <a:pt x="12960" y="7855"/>
                </a:lnTo>
                <a:cubicBezTo>
                  <a:pt x="12960" y="7313"/>
                  <a:pt x="11992" y="6873"/>
                  <a:pt x="10800" y="6873"/>
                </a:cubicBezTo>
                <a:cubicBezTo>
                  <a:pt x="9608" y="6873"/>
                  <a:pt x="8640" y="7313"/>
                  <a:pt x="8640" y="7855"/>
                </a:cubicBezTo>
                <a:lnTo>
                  <a:pt x="8640" y="13917"/>
                </a:lnTo>
                <a:cubicBezTo>
                  <a:pt x="6126" y="14322"/>
                  <a:pt x="4320" y="15409"/>
                  <a:pt x="4320" y="16691"/>
                </a:cubicBezTo>
                <a:cubicBezTo>
                  <a:pt x="4320" y="18318"/>
                  <a:pt x="7221" y="19636"/>
                  <a:pt x="10800" y="19636"/>
                </a:cubicBezTo>
                <a:cubicBezTo>
                  <a:pt x="14378" y="19636"/>
                  <a:pt x="17280" y="18318"/>
                  <a:pt x="17280" y="16691"/>
                </a:cubicBezTo>
                <a:cubicBezTo>
                  <a:pt x="17280" y="15409"/>
                  <a:pt x="15475" y="14322"/>
                  <a:pt x="12960" y="1391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Calibri" panose="020F0502020204030204" pitchFamily="34" charset="0"/>
              <a:ea typeface="Avenir Book" charset="0"/>
              <a:cs typeface="Calibri" panose="020F0502020204030204" pitchFamily="34" charset="0"/>
            </a:endParaRPr>
          </a:p>
        </p:txBody>
      </p:sp>
      <p:sp>
        <p:nvSpPr>
          <p:cNvPr id="96" name="Shape 2707"/>
          <p:cNvSpPr/>
          <p:nvPr/>
        </p:nvSpPr>
        <p:spPr>
          <a:xfrm>
            <a:off x="11406215" y="8208685"/>
            <a:ext cx="1621193" cy="6309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8090" tIns="38090" rIns="38090" bIns="38090" anchor="ctr">
            <a:spAutoFit/>
          </a:bodyPr>
          <a:lstStyle>
            <a:lvl1pPr algn="l">
              <a:defRPr sz="3000" b="1" cap="none" spc="-90">
                <a:solidFill>
                  <a:srgbClr val="1C1D21"/>
                </a:solidFill>
                <a:latin typeface="+mj-lt"/>
                <a:ea typeface="+mj-ea"/>
                <a:cs typeface="+mj-cs"/>
                <a:sym typeface="Karla"/>
              </a:defRPr>
            </a:lvl1pPr>
          </a:lstStyle>
          <a:p>
            <a:pPr algn="ctr"/>
            <a:r>
              <a:rPr lang="en-US" sz="3600" b="0" dirty="0">
                <a:solidFill>
                  <a:schemeClr val="tx1"/>
                </a:solidFill>
                <a:latin typeface="Calibri" panose="020F0502020204030204" pitchFamily="34" charset="0"/>
                <a:ea typeface="Avenir Book" charset="0"/>
                <a:cs typeface="Calibri" panose="020F0502020204030204" pitchFamily="34" charset="0"/>
              </a:rPr>
              <a:t>Weather</a:t>
            </a:r>
          </a:p>
        </p:txBody>
      </p:sp>
      <p:sp>
        <p:nvSpPr>
          <p:cNvPr id="97" name="Shape 2707"/>
          <p:cNvSpPr/>
          <p:nvPr/>
        </p:nvSpPr>
        <p:spPr>
          <a:xfrm>
            <a:off x="11547948" y="1753101"/>
            <a:ext cx="1337718" cy="6309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8090" tIns="38090" rIns="38090" bIns="38090" anchor="ctr">
            <a:spAutoFit/>
          </a:bodyPr>
          <a:lstStyle>
            <a:lvl1pPr algn="l">
              <a:defRPr sz="3000" b="1" cap="none" spc="-90">
                <a:solidFill>
                  <a:srgbClr val="1C1D21"/>
                </a:solidFill>
                <a:latin typeface="+mj-lt"/>
                <a:ea typeface="+mj-ea"/>
                <a:cs typeface="+mj-cs"/>
                <a:sym typeface="Karla"/>
              </a:defRPr>
            </a:lvl1pPr>
          </a:lstStyle>
          <a:p>
            <a:pPr algn="ctr"/>
            <a:r>
              <a:rPr lang="en-US" sz="3600" b="0" dirty="0">
                <a:solidFill>
                  <a:schemeClr val="tx1"/>
                </a:solidFill>
                <a:latin typeface="Calibri" panose="020F0502020204030204" pitchFamily="34" charset="0"/>
                <a:ea typeface="Avenir Book" charset="0"/>
                <a:cs typeface="Calibri" panose="020F0502020204030204" pitchFamily="34" charset="0"/>
              </a:rPr>
              <a:t>Arrows</a:t>
            </a:r>
          </a:p>
        </p:txBody>
      </p:sp>
      <p:sp>
        <p:nvSpPr>
          <p:cNvPr id="98" name="Shape 2707"/>
          <p:cNvSpPr/>
          <p:nvPr/>
        </p:nvSpPr>
        <p:spPr>
          <a:xfrm>
            <a:off x="11428688" y="5478000"/>
            <a:ext cx="1576245" cy="6309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8090" tIns="38090" rIns="38090" bIns="38090" anchor="ctr">
            <a:spAutoFit/>
          </a:bodyPr>
          <a:lstStyle>
            <a:lvl1pPr algn="l">
              <a:defRPr sz="3000" b="1" cap="none" spc="-90">
                <a:solidFill>
                  <a:srgbClr val="1C1D21"/>
                </a:solidFill>
                <a:latin typeface="+mj-lt"/>
                <a:ea typeface="+mj-ea"/>
                <a:cs typeface="+mj-cs"/>
                <a:sym typeface="Karla"/>
              </a:defRPr>
            </a:lvl1pPr>
          </a:lstStyle>
          <a:p>
            <a:pPr algn="ctr"/>
            <a:r>
              <a:rPr lang="en-US" sz="3600" b="0" dirty="0">
                <a:solidFill>
                  <a:schemeClr val="tx1"/>
                </a:solidFill>
                <a:latin typeface="Calibri" panose="020F0502020204030204" pitchFamily="34" charset="0"/>
                <a:ea typeface="Avenir Book" charset="0"/>
                <a:cs typeface="Calibri" panose="020F0502020204030204" pitchFamily="34" charset="0"/>
              </a:rPr>
              <a:t>Location</a:t>
            </a:r>
          </a:p>
        </p:txBody>
      </p:sp>
    </p:spTree>
    <p:extLst>
      <p:ext uri="{BB962C8B-B14F-4D97-AF65-F5344CB8AC3E}">
        <p14:creationId xmlns:p14="http://schemas.microsoft.com/office/powerpoint/2010/main" val="3111821567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E92B297-2718-4AEA-8377-FF5676DB7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3" name="Group 2"/>
          <p:cNvGrpSpPr/>
          <p:nvPr/>
        </p:nvGrpSpPr>
        <p:grpSpPr>
          <a:xfrm>
            <a:off x="4010597" y="2897188"/>
            <a:ext cx="16356457" cy="9269412"/>
            <a:chOff x="418560" y="1482712"/>
            <a:chExt cx="8350563" cy="4732370"/>
          </a:xfrm>
        </p:grpSpPr>
        <p:sp>
          <p:nvSpPr>
            <p:cNvPr id="99" name="Freeform 5"/>
            <p:cNvSpPr>
              <a:spLocks noChangeAspect="1" noEditPoints="1"/>
            </p:cNvSpPr>
            <p:nvPr/>
          </p:nvSpPr>
          <p:spPr bwMode="gray">
            <a:xfrm>
              <a:off x="419031" y="1514307"/>
              <a:ext cx="291600" cy="271627"/>
            </a:xfrm>
            <a:custGeom>
              <a:avLst/>
              <a:gdLst/>
              <a:ahLst/>
              <a:cxnLst>
                <a:cxn ang="0">
                  <a:pos x="45" y="8"/>
                </a:cxn>
                <a:cxn ang="0">
                  <a:pos x="30" y="8"/>
                </a:cxn>
                <a:cxn ang="0">
                  <a:pos x="63" y="18"/>
                </a:cxn>
                <a:cxn ang="0">
                  <a:pos x="63" y="3"/>
                </a:cxn>
                <a:cxn ang="0">
                  <a:pos x="63" y="18"/>
                </a:cxn>
                <a:cxn ang="0">
                  <a:pos x="19" y="16"/>
                </a:cxn>
                <a:cxn ang="0">
                  <a:pos x="7" y="16"/>
                </a:cxn>
                <a:cxn ang="0">
                  <a:pos x="88" y="21"/>
                </a:cxn>
                <a:cxn ang="0">
                  <a:pos x="88" y="8"/>
                </a:cxn>
                <a:cxn ang="0">
                  <a:pos x="88" y="21"/>
                </a:cxn>
                <a:cxn ang="0">
                  <a:pos x="81" y="24"/>
                </a:cxn>
                <a:cxn ang="0">
                  <a:pos x="71" y="21"/>
                </a:cxn>
                <a:cxn ang="0">
                  <a:pos x="51" y="23"/>
                </a:cxn>
                <a:cxn ang="0">
                  <a:pos x="30" y="20"/>
                </a:cxn>
                <a:cxn ang="0">
                  <a:pos x="18" y="26"/>
                </a:cxn>
                <a:cxn ang="0">
                  <a:pos x="0" y="34"/>
                </a:cxn>
                <a:cxn ang="0">
                  <a:pos x="2" y="56"/>
                </a:cxn>
                <a:cxn ang="0">
                  <a:pos x="4" y="32"/>
                </a:cxn>
                <a:cxn ang="0">
                  <a:pos x="7" y="83"/>
                </a:cxn>
                <a:cxn ang="0">
                  <a:pos x="15" y="88"/>
                </a:cxn>
                <a:cxn ang="0">
                  <a:pos x="19" y="32"/>
                </a:cxn>
                <a:cxn ang="0">
                  <a:pos x="22" y="54"/>
                </a:cxn>
                <a:cxn ang="0">
                  <a:pos x="27" y="53"/>
                </a:cxn>
                <a:cxn ang="0">
                  <a:pos x="30" y="29"/>
                </a:cxn>
                <a:cxn ang="0">
                  <a:pos x="35" y="95"/>
                </a:cxn>
                <a:cxn ang="0">
                  <a:pos x="46" y="87"/>
                </a:cxn>
                <a:cxn ang="0">
                  <a:pos x="48" y="29"/>
                </a:cxn>
                <a:cxn ang="0">
                  <a:pos x="51" y="56"/>
                </a:cxn>
                <a:cxn ang="0">
                  <a:pos x="53" y="30"/>
                </a:cxn>
                <a:cxn ang="0">
                  <a:pos x="55" y="87"/>
                </a:cxn>
                <a:cxn ang="0">
                  <a:pos x="67" y="94"/>
                </a:cxn>
                <a:cxn ang="0">
                  <a:pos x="72" y="30"/>
                </a:cxn>
                <a:cxn ang="0">
                  <a:pos x="75" y="53"/>
                </a:cxn>
                <a:cxn ang="0">
                  <a:pos x="79" y="54"/>
                </a:cxn>
                <a:cxn ang="0">
                  <a:pos x="82" y="32"/>
                </a:cxn>
                <a:cxn ang="0">
                  <a:pos x="85" y="86"/>
                </a:cxn>
                <a:cxn ang="0">
                  <a:pos x="94" y="79"/>
                </a:cxn>
                <a:cxn ang="0">
                  <a:pos x="97" y="32"/>
                </a:cxn>
                <a:cxn ang="0">
                  <a:pos x="99" y="56"/>
                </a:cxn>
                <a:cxn ang="0">
                  <a:pos x="102" y="33"/>
                </a:cxn>
              </a:cxnLst>
              <a:rect l="0" t="0" r="r" b="b"/>
              <a:pathLst>
                <a:path w="102" h="95">
                  <a:moveTo>
                    <a:pt x="37" y="16"/>
                  </a:moveTo>
                  <a:cubicBezTo>
                    <a:pt x="41" y="16"/>
                    <a:pt x="45" y="12"/>
                    <a:pt x="45" y="8"/>
                  </a:cubicBezTo>
                  <a:cubicBezTo>
                    <a:pt x="45" y="4"/>
                    <a:pt x="41" y="0"/>
                    <a:pt x="37" y="0"/>
                  </a:cubicBezTo>
                  <a:cubicBezTo>
                    <a:pt x="33" y="0"/>
                    <a:pt x="30" y="4"/>
                    <a:pt x="30" y="8"/>
                  </a:cubicBezTo>
                  <a:cubicBezTo>
                    <a:pt x="30" y="12"/>
                    <a:pt x="33" y="16"/>
                    <a:pt x="37" y="16"/>
                  </a:cubicBezTo>
                  <a:close/>
                  <a:moveTo>
                    <a:pt x="63" y="18"/>
                  </a:moveTo>
                  <a:cubicBezTo>
                    <a:pt x="68" y="18"/>
                    <a:pt x="71" y="14"/>
                    <a:pt x="71" y="10"/>
                  </a:cubicBezTo>
                  <a:cubicBezTo>
                    <a:pt x="71" y="6"/>
                    <a:pt x="68" y="3"/>
                    <a:pt x="63" y="3"/>
                  </a:cubicBezTo>
                  <a:cubicBezTo>
                    <a:pt x="59" y="3"/>
                    <a:pt x="56" y="6"/>
                    <a:pt x="56" y="10"/>
                  </a:cubicBezTo>
                  <a:cubicBezTo>
                    <a:pt x="56" y="14"/>
                    <a:pt x="59" y="18"/>
                    <a:pt x="63" y="18"/>
                  </a:cubicBezTo>
                  <a:close/>
                  <a:moveTo>
                    <a:pt x="13" y="23"/>
                  </a:moveTo>
                  <a:cubicBezTo>
                    <a:pt x="16" y="23"/>
                    <a:pt x="19" y="20"/>
                    <a:pt x="19" y="16"/>
                  </a:cubicBezTo>
                  <a:cubicBezTo>
                    <a:pt x="19" y="13"/>
                    <a:pt x="16" y="10"/>
                    <a:pt x="13" y="10"/>
                  </a:cubicBezTo>
                  <a:cubicBezTo>
                    <a:pt x="10" y="10"/>
                    <a:pt x="7" y="13"/>
                    <a:pt x="7" y="16"/>
                  </a:cubicBezTo>
                  <a:cubicBezTo>
                    <a:pt x="7" y="20"/>
                    <a:pt x="10" y="23"/>
                    <a:pt x="13" y="23"/>
                  </a:cubicBezTo>
                  <a:close/>
                  <a:moveTo>
                    <a:pt x="88" y="21"/>
                  </a:moveTo>
                  <a:cubicBezTo>
                    <a:pt x="91" y="21"/>
                    <a:pt x="94" y="18"/>
                    <a:pt x="94" y="15"/>
                  </a:cubicBezTo>
                  <a:cubicBezTo>
                    <a:pt x="94" y="11"/>
                    <a:pt x="91" y="8"/>
                    <a:pt x="88" y="8"/>
                  </a:cubicBezTo>
                  <a:cubicBezTo>
                    <a:pt x="84" y="8"/>
                    <a:pt x="81" y="11"/>
                    <a:pt x="81" y="15"/>
                  </a:cubicBezTo>
                  <a:cubicBezTo>
                    <a:pt x="81" y="18"/>
                    <a:pt x="84" y="21"/>
                    <a:pt x="88" y="21"/>
                  </a:cubicBezTo>
                  <a:close/>
                  <a:moveTo>
                    <a:pt x="95" y="24"/>
                  </a:moveTo>
                  <a:cubicBezTo>
                    <a:pt x="81" y="24"/>
                    <a:pt x="81" y="24"/>
                    <a:pt x="81" y="24"/>
                  </a:cubicBezTo>
                  <a:cubicBezTo>
                    <a:pt x="80" y="24"/>
                    <a:pt x="79" y="24"/>
                    <a:pt x="78" y="25"/>
                  </a:cubicBezTo>
                  <a:cubicBezTo>
                    <a:pt x="76" y="22"/>
                    <a:pt x="74" y="21"/>
                    <a:pt x="71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4" y="21"/>
                    <a:pt x="52" y="21"/>
                    <a:pt x="51" y="23"/>
                  </a:cubicBezTo>
                  <a:cubicBezTo>
                    <a:pt x="49" y="21"/>
                    <a:pt x="47" y="20"/>
                    <a:pt x="45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7" y="20"/>
                    <a:pt x="24" y="23"/>
                    <a:pt x="23" y="26"/>
                  </a:cubicBezTo>
                  <a:cubicBezTo>
                    <a:pt x="22" y="26"/>
                    <a:pt x="19" y="26"/>
                    <a:pt x="18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3" y="26"/>
                    <a:pt x="0" y="29"/>
                    <a:pt x="0" y="34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5"/>
                    <a:pt x="0" y="56"/>
                    <a:pt x="2" y="56"/>
                  </a:cubicBezTo>
                  <a:cubicBezTo>
                    <a:pt x="4" y="56"/>
                    <a:pt x="4" y="55"/>
                    <a:pt x="4" y="53"/>
                  </a:cubicBezTo>
                  <a:cubicBezTo>
                    <a:pt x="4" y="51"/>
                    <a:pt x="4" y="32"/>
                    <a:pt x="4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80"/>
                    <a:pt x="7" y="83"/>
                  </a:cubicBezTo>
                  <a:cubicBezTo>
                    <a:pt x="7" y="88"/>
                    <a:pt x="10" y="88"/>
                    <a:pt x="12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7" y="88"/>
                    <a:pt x="19" y="88"/>
                    <a:pt x="19" y="82"/>
                  </a:cubicBezTo>
                  <a:cubicBezTo>
                    <a:pt x="19" y="79"/>
                    <a:pt x="19" y="32"/>
                    <a:pt x="19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6"/>
                    <a:pt x="23" y="56"/>
                    <a:pt x="25" y="56"/>
                  </a:cubicBezTo>
                  <a:cubicBezTo>
                    <a:pt x="26" y="56"/>
                    <a:pt x="27" y="55"/>
                    <a:pt x="27" y="53"/>
                  </a:cubicBezTo>
                  <a:cubicBezTo>
                    <a:pt x="27" y="52"/>
                    <a:pt x="27" y="29"/>
                    <a:pt x="27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29" y="84"/>
                    <a:pt x="30" y="88"/>
                  </a:cubicBezTo>
                  <a:cubicBezTo>
                    <a:pt x="30" y="94"/>
                    <a:pt x="33" y="95"/>
                    <a:pt x="35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3" y="95"/>
                    <a:pt x="45" y="94"/>
                    <a:pt x="46" y="87"/>
                  </a:cubicBezTo>
                  <a:cubicBezTo>
                    <a:pt x="46" y="84"/>
                    <a:pt x="46" y="29"/>
                    <a:pt x="46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51"/>
                    <a:pt x="48" y="53"/>
                  </a:cubicBezTo>
                  <a:cubicBezTo>
                    <a:pt x="48" y="55"/>
                    <a:pt x="49" y="56"/>
                    <a:pt x="51" y="56"/>
                  </a:cubicBezTo>
                  <a:cubicBezTo>
                    <a:pt x="52" y="56"/>
                    <a:pt x="52" y="55"/>
                    <a:pt x="52" y="53"/>
                  </a:cubicBezTo>
                  <a:cubicBezTo>
                    <a:pt x="52" y="52"/>
                    <a:pt x="53" y="30"/>
                    <a:pt x="53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30"/>
                    <a:pt x="55" y="83"/>
                    <a:pt x="55" y="87"/>
                  </a:cubicBezTo>
                  <a:cubicBezTo>
                    <a:pt x="56" y="93"/>
                    <a:pt x="59" y="94"/>
                    <a:pt x="61" y="94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69" y="94"/>
                    <a:pt x="71" y="93"/>
                    <a:pt x="72" y="86"/>
                  </a:cubicBezTo>
                  <a:cubicBezTo>
                    <a:pt x="72" y="83"/>
                    <a:pt x="72" y="30"/>
                    <a:pt x="72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5" y="30"/>
                    <a:pt x="75" y="51"/>
                    <a:pt x="75" y="53"/>
                  </a:cubicBezTo>
                  <a:cubicBezTo>
                    <a:pt x="75" y="55"/>
                    <a:pt x="75" y="56"/>
                    <a:pt x="77" y="56"/>
                  </a:cubicBezTo>
                  <a:cubicBezTo>
                    <a:pt x="78" y="56"/>
                    <a:pt x="79" y="55"/>
                    <a:pt x="79" y="54"/>
                  </a:cubicBezTo>
                  <a:cubicBezTo>
                    <a:pt x="79" y="57"/>
                    <a:pt x="79" y="32"/>
                    <a:pt x="79" y="32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2" y="32"/>
                    <a:pt x="82" y="79"/>
                    <a:pt x="82" y="80"/>
                  </a:cubicBezTo>
                  <a:cubicBezTo>
                    <a:pt x="82" y="85"/>
                    <a:pt x="84" y="86"/>
                    <a:pt x="85" y="86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2" y="86"/>
                    <a:pt x="94" y="85"/>
                    <a:pt x="94" y="79"/>
                  </a:cubicBezTo>
                  <a:cubicBezTo>
                    <a:pt x="94" y="76"/>
                    <a:pt x="94" y="32"/>
                    <a:pt x="94" y="32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32"/>
                    <a:pt x="97" y="53"/>
                    <a:pt x="97" y="54"/>
                  </a:cubicBezTo>
                  <a:cubicBezTo>
                    <a:pt x="97" y="55"/>
                    <a:pt x="98" y="56"/>
                    <a:pt x="99" y="56"/>
                  </a:cubicBezTo>
                  <a:cubicBezTo>
                    <a:pt x="101" y="56"/>
                    <a:pt x="102" y="55"/>
                    <a:pt x="102" y="54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29"/>
                    <a:pt x="98" y="24"/>
                    <a:pt x="95" y="24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0" name="Freeform 9"/>
            <p:cNvSpPr>
              <a:spLocks noChangeAspect="1" noEditPoints="1"/>
            </p:cNvSpPr>
            <p:nvPr/>
          </p:nvSpPr>
          <p:spPr bwMode="gray">
            <a:xfrm>
              <a:off x="1016857" y="1504312"/>
              <a:ext cx="114640" cy="291600"/>
            </a:xfrm>
            <a:custGeom>
              <a:avLst/>
              <a:gdLst/>
              <a:ahLst/>
              <a:cxnLst>
                <a:cxn ang="0">
                  <a:pos x="12" y="8"/>
                </a:cxn>
                <a:cxn ang="0">
                  <a:pos x="21" y="0"/>
                </a:cxn>
                <a:cxn ang="0">
                  <a:pos x="29" y="8"/>
                </a:cxn>
                <a:cxn ang="0">
                  <a:pos x="21" y="17"/>
                </a:cxn>
                <a:cxn ang="0">
                  <a:pos x="12" y="8"/>
                </a:cxn>
                <a:cxn ang="0">
                  <a:pos x="30" y="21"/>
                </a:cxn>
                <a:cxn ang="0">
                  <a:pos x="11" y="21"/>
                </a:cxn>
                <a:cxn ang="0">
                  <a:pos x="0" y="32"/>
                </a:cxn>
                <a:cxn ang="0">
                  <a:pos x="0" y="58"/>
                </a:cxn>
                <a:cxn ang="0">
                  <a:pos x="4" y="62"/>
                </a:cxn>
                <a:cxn ang="0">
                  <a:pos x="7" y="58"/>
                </a:cxn>
                <a:cxn ang="0">
                  <a:pos x="7" y="34"/>
                </a:cxn>
                <a:cxn ang="0">
                  <a:pos x="11" y="34"/>
                </a:cxn>
                <a:cxn ang="0">
                  <a:pos x="11" y="102"/>
                </a:cxn>
                <a:cxn ang="0">
                  <a:pos x="15" y="106"/>
                </a:cxn>
                <a:cxn ang="0">
                  <a:pos x="19" y="102"/>
                </a:cxn>
                <a:cxn ang="0">
                  <a:pos x="19" y="62"/>
                </a:cxn>
                <a:cxn ang="0">
                  <a:pos x="23" y="62"/>
                </a:cxn>
                <a:cxn ang="0">
                  <a:pos x="23" y="102"/>
                </a:cxn>
                <a:cxn ang="0">
                  <a:pos x="27" y="106"/>
                </a:cxn>
                <a:cxn ang="0">
                  <a:pos x="31" y="102"/>
                </a:cxn>
                <a:cxn ang="0">
                  <a:pos x="31" y="34"/>
                </a:cxn>
                <a:cxn ang="0">
                  <a:pos x="35" y="34"/>
                </a:cxn>
                <a:cxn ang="0">
                  <a:pos x="35" y="58"/>
                </a:cxn>
                <a:cxn ang="0">
                  <a:pos x="38" y="62"/>
                </a:cxn>
                <a:cxn ang="0">
                  <a:pos x="41" y="58"/>
                </a:cxn>
                <a:cxn ang="0">
                  <a:pos x="41" y="32"/>
                </a:cxn>
                <a:cxn ang="0">
                  <a:pos x="30" y="21"/>
                </a:cxn>
              </a:cxnLst>
              <a:rect l="0" t="0" r="r" b="b"/>
              <a:pathLst>
                <a:path w="41" h="106">
                  <a:moveTo>
                    <a:pt x="12" y="8"/>
                  </a:moveTo>
                  <a:cubicBezTo>
                    <a:pt x="12" y="3"/>
                    <a:pt x="16" y="0"/>
                    <a:pt x="21" y="0"/>
                  </a:cubicBezTo>
                  <a:cubicBezTo>
                    <a:pt x="26" y="0"/>
                    <a:pt x="29" y="3"/>
                    <a:pt x="29" y="8"/>
                  </a:cubicBezTo>
                  <a:cubicBezTo>
                    <a:pt x="29" y="13"/>
                    <a:pt x="26" y="17"/>
                    <a:pt x="21" y="17"/>
                  </a:cubicBezTo>
                  <a:cubicBezTo>
                    <a:pt x="16" y="17"/>
                    <a:pt x="12" y="13"/>
                    <a:pt x="12" y="8"/>
                  </a:cubicBezTo>
                  <a:close/>
                  <a:moveTo>
                    <a:pt x="30" y="21"/>
                  </a:moveTo>
                  <a:cubicBezTo>
                    <a:pt x="27" y="21"/>
                    <a:pt x="14" y="21"/>
                    <a:pt x="11" y="21"/>
                  </a:cubicBezTo>
                  <a:cubicBezTo>
                    <a:pt x="5" y="21"/>
                    <a:pt x="0" y="26"/>
                    <a:pt x="0" y="32"/>
                  </a:cubicBezTo>
                  <a:cubicBezTo>
                    <a:pt x="0" y="35"/>
                    <a:pt x="0" y="56"/>
                    <a:pt x="0" y="58"/>
                  </a:cubicBezTo>
                  <a:cubicBezTo>
                    <a:pt x="0" y="60"/>
                    <a:pt x="1" y="62"/>
                    <a:pt x="4" y="62"/>
                  </a:cubicBezTo>
                  <a:cubicBezTo>
                    <a:pt x="6" y="62"/>
                    <a:pt x="7" y="60"/>
                    <a:pt x="7" y="58"/>
                  </a:cubicBezTo>
                  <a:cubicBezTo>
                    <a:pt x="7" y="56"/>
                    <a:pt x="7" y="34"/>
                    <a:pt x="7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97"/>
                    <a:pt x="11" y="102"/>
                  </a:cubicBezTo>
                  <a:cubicBezTo>
                    <a:pt x="11" y="104"/>
                    <a:pt x="12" y="106"/>
                    <a:pt x="15" y="106"/>
                  </a:cubicBezTo>
                  <a:cubicBezTo>
                    <a:pt x="18" y="106"/>
                    <a:pt x="19" y="104"/>
                    <a:pt x="19" y="102"/>
                  </a:cubicBezTo>
                  <a:cubicBezTo>
                    <a:pt x="19" y="97"/>
                    <a:pt x="19" y="62"/>
                    <a:pt x="19" y="62"/>
                  </a:cubicBezTo>
                  <a:cubicBezTo>
                    <a:pt x="23" y="62"/>
                    <a:pt x="23" y="62"/>
                    <a:pt x="23" y="62"/>
                  </a:cubicBezTo>
                  <a:cubicBezTo>
                    <a:pt x="23" y="62"/>
                    <a:pt x="23" y="97"/>
                    <a:pt x="23" y="102"/>
                  </a:cubicBezTo>
                  <a:cubicBezTo>
                    <a:pt x="23" y="104"/>
                    <a:pt x="24" y="106"/>
                    <a:pt x="27" y="106"/>
                  </a:cubicBezTo>
                  <a:cubicBezTo>
                    <a:pt x="30" y="106"/>
                    <a:pt x="31" y="104"/>
                    <a:pt x="31" y="102"/>
                  </a:cubicBezTo>
                  <a:cubicBezTo>
                    <a:pt x="31" y="97"/>
                    <a:pt x="31" y="34"/>
                    <a:pt x="31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4"/>
                    <a:pt x="35" y="56"/>
                    <a:pt x="35" y="58"/>
                  </a:cubicBezTo>
                  <a:cubicBezTo>
                    <a:pt x="35" y="60"/>
                    <a:pt x="36" y="62"/>
                    <a:pt x="38" y="62"/>
                  </a:cubicBezTo>
                  <a:cubicBezTo>
                    <a:pt x="40" y="62"/>
                    <a:pt x="41" y="60"/>
                    <a:pt x="41" y="58"/>
                  </a:cubicBezTo>
                  <a:cubicBezTo>
                    <a:pt x="41" y="56"/>
                    <a:pt x="41" y="35"/>
                    <a:pt x="41" y="32"/>
                  </a:cubicBezTo>
                  <a:cubicBezTo>
                    <a:pt x="41" y="26"/>
                    <a:pt x="36" y="21"/>
                    <a:pt x="30" y="21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1" name="Freeform 13"/>
            <p:cNvSpPr>
              <a:spLocks noChangeAspect="1" noEditPoints="1"/>
            </p:cNvSpPr>
            <p:nvPr/>
          </p:nvSpPr>
          <p:spPr bwMode="gray">
            <a:xfrm>
              <a:off x="1508378" y="1502512"/>
              <a:ext cx="137864" cy="295200"/>
            </a:xfrm>
            <a:custGeom>
              <a:avLst/>
              <a:gdLst/>
              <a:ahLst/>
              <a:cxnLst>
                <a:cxn ang="0">
                  <a:pos x="16" y="8"/>
                </a:cxn>
                <a:cxn ang="0">
                  <a:pos x="24" y="0"/>
                </a:cxn>
                <a:cxn ang="0">
                  <a:pos x="33" y="8"/>
                </a:cxn>
                <a:cxn ang="0">
                  <a:pos x="24" y="17"/>
                </a:cxn>
                <a:cxn ang="0">
                  <a:pos x="16" y="8"/>
                </a:cxn>
                <a:cxn ang="0">
                  <a:pos x="48" y="53"/>
                </a:cxn>
                <a:cxn ang="0">
                  <a:pos x="42" y="30"/>
                </a:cxn>
                <a:cxn ang="0">
                  <a:pos x="31" y="21"/>
                </a:cxn>
                <a:cxn ang="0">
                  <a:pos x="24" y="21"/>
                </a:cxn>
                <a:cxn ang="0">
                  <a:pos x="18" y="21"/>
                </a:cxn>
                <a:cxn ang="0">
                  <a:pos x="7" y="30"/>
                </a:cxn>
                <a:cxn ang="0">
                  <a:pos x="1" y="53"/>
                </a:cxn>
                <a:cxn ang="0">
                  <a:pos x="2" y="58"/>
                </a:cxn>
                <a:cxn ang="0">
                  <a:pos x="6" y="55"/>
                </a:cxn>
                <a:cxn ang="0">
                  <a:pos x="13" y="33"/>
                </a:cxn>
                <a:cxn ang="0">
                  <a:pos x="17" y="33"/>
                </a:cxn>
                <a:cxn ang="0">
                  <a:pos x="6" y="73"/>
                </a:cxn>
                <a:cxn ang="0">
                  <a:pos x="15" y="73"/>
                </a:cxn>
                <a:cxn ang="0">
                  <a:pos x="15" y="73"/>
                </a:cxn>
                <a:cxn ang="0">
                  <a:pos x="15" y="102"/>
                </a:cxn>
                <a:cxn ang="0">
                  <a:pos x="19" y="106"/>
                </a:cxn>
                <a:cxn ang="0">
                  <a:pos x="22" y="102"/>
                </a:cxn>
                <a:cxn ang="0">
                  <a:pos x="22" y="73"/>
                </a:cxn>
                <a:cxn ang="0">
                  <a:pos x="26" y="73"/>
                </a:cxn>
                <a:cxn ang="0">
                  <a:pos x="26" y="102"/>
                </a:cxn>
                <a:cxn ang="0">
                  <a:pos x="30" y="106"/>
                </a:cxn>
                <a:cxn ang="0">
                  <a:pos x="34" y="102"/>
                </a:cxn>
                <a:cxn ang="0">
                  <a:pos x="34" y="73"/>
                </a:cxn>
                <a:cxn ang="0">
                  <a:pos x="34" y="73"/>
                </a:cxn>
                <a:cxn ang="0">
                  <a:pos x="43" y="73"/>
                </a:cxn>
                <a:cxn ang="0">
                  <a:pos x="32" y="33"/>
                </a:cxn>
                <a:cxn ang="0">
                  <a:pos x="36" y="33"/>
                </a:cxn>
                <a:cxn ang="0">
                  <a:pos x="42" y="55"/>
                </a:cxn>
                <a:cxn ang="0">
                  <a:pos x="46" y="58"/>
                </a:cxn>
                <a:cxn ang="0">
                  <a:pos x="48" y="53"/>
                </a:cxn>
              </a:cxnLst>
              <a:rect l="0" t="0" r="r" b="b"/>
              <a:pathLst>
                <a:path w="49" h="106">
                  <a:moveTo>
                    <a:pt x="16" y="8"/>
                  </a:moveTo>
                  <a:cubicBezTo>
                    <a:pt x="16" y="3"/>
                    <a:pt x="20" y="0"/>
                    <a:pt x="24" y="0"/>
                  </a:cubicBezTo>
                  <a:cubicBezTo>
                    <a:pt x="29" y="0"/>
                    <a:pt x="33" y="3"/>
                    <a:pt x="33" y="8"/>
                  </a:cubicBezTo>
                  <a:cubicBezTo>
                    <a:pt x="33" y="13"/>
                    <a:pt x="29" y="17"/>
                    <a:pt x="24" y="17"/>
                  </a:cubicBezTo>
                  <a:cubicBezTo>
                    <a:pt x="20" y="17"/>
                    <a:pt x="16" y="13"/>
                    <a:pt x="16" y="8"/>
                  </a:cubicBezTo>
                  <a:close/>
                  <a:moveTo>
                    <a:pt x="48" y="53"/>
                  </a:moveTo>
                  <a:cubicBezTo>
                    <a:pt x="42" y="30"/>
                    <a:pt x="42" y="30"/>
                    <a:pt x="42" y="30"/>
                  </a:cubicBezTo>
                  <a:cubicBezTo>
                    <a:pt x="39" y="20"/>
                    <a:pt x="31" y="21"/>
                    <a:pt x="31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0" y="20"/>
                    <a:pt x="7" y="30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0" y="55"/>
                    <a:pt x="0" y="57"/>
                    <a:pt x="2" y="58"/>
                  </a:cubicBezTo>
                  <a:cubicBezTo>
                    <a:pt x="4" y="58"/>
                    <a:pt x="6" y="57"/>
                    <a:pt x="6" y="55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6" y="73"/>
                    <a:pt x="6" y="73"/>
                    <a:pt x="6" y="73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5"/>
                    <a:pt x="17" y="106"/>
                    <a:pt x="19" y="106"/>
                  </a:cubicBezTo>
                  <a:cubicBezTo>
                    <a:pt x="21" y="106"/>
                    <a:pt x="22" y="105"/>
                    <a:pt x="22" y="102"/>
                  </a:cubicBezTo>
                  <a:cubicBezTo>
                    <a:pt x="22" y="73"/>
                    <a:pt x="22" y="73"/>
                    <a:pt x="22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6" y="105"/>
                    <a:pt x="28" y="106"/>
                    <a:pt x="30" y="106"/>
                  </a:cubicBezTo>
                  <a:cubicBezTo>
                    <a:pt x="32" y="106"/>
                    <a:pt x="34" y="105"/>
                    <a:pt x="34" y="102"/>
                  </a:cubicBezTo>
                  <a:cubicBezTo>
                    <a:pt x="34" y="73"/>
                    <a:pt x="34" y="73"/>
                    <a:pt x="34" y="73"/>
                  </a:cubicBezTo>
                  <a:cubicBezTo>
                    <a:pt x="34" y="73"/>
                    <a:pt x="34" y="73"/>
                    <a:pt x="34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3" y="57"/>
                    <a:pt x="44" y="58"/>
                    <a:pt x="46" y="58"/>
                  </a:cubicBezTo>
                  <a:cubicBezTo>
                    <a:pt x="48" y="57"/>
                    <a:pt x="49" y="55"/>
                    <a:pt x="48" y="53"/>
                  </a:cubicBez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" name="Freeform 17"/>
            <p:cNvSpPr>
              <a:spLocks noChangeAspect="1" noEditPoints="1"/>
            </p:cNvSpPr>
            <p:nvPr/>
          </p:nvSpPr>
          <p:spPr bwMode="gray">
            <a:xfrm>
              <a:off x="1966828" y="1544454"/>
              <a:ext cx="234000" cy="211316"/>
            </a:xfrm>
            <a:custGeom>
              <a:avLst/>
              <a:gdLst/>
              <a:ahLst/>
              <a:cxnLst>
                <a:cxn ang="0">
                  <a:pos x="51" y="55"/>
                </a:cxn>
                <a:cxn ang="0">
                  <a:pos x="37" y="42"/>
                </a:cxn>
                <a:cxn ang="0">
                  <a:pos x="42" y="32"/>
                </a:cxn>
                <a:cxn ang="0">
                  <a:pos x="46" y="25"/>
                </a:cxn>
                <a:cxn ang="0">
                  <a:pos x="44" y="21"/>
                </a:cxn>
                <a:cxn ang="0">
                  <a:pos x="45" y="14"/>
                </a:cxn>
                <a:cxn ang="0">
                  <a:pos x="29" y="0"/>
                </a:cxn>
                <a:cxn ang="0">
                  <a:pos x="12" y="14"/>
                </a:cxn>
                <a:cxn ang="0">
                  <a:pos x="13" y="21"/>
                </a:cxn>
                <a:cxn ang="0">
                  <a:pos x="12" y="25"/>
                </a:cxn>
                <a:cxn ang="0">
                  <a:pos x="16" y="32"/>
                </a:cxn>
                <a:cxn ang="0">
                  <a:pos x="20" y="42"/>
                </a:cxn>
                <a:cxn ang="0">
                  <a:pos x="7" y="55"/>
                </a:cxn>
                <a:cxn ang="0">
                  <a:pos x="0" y="57"/>
                </a:cxn>
                <a:cxn ang="0">
                  <a:pos x="0" y="74"/>
                </a:cxn>
                <a:cxn ang="0">
                  <a:pos x="66" y="74"/>
                </a:cxn>
                <a:cxn ang="0">
                  <a:pos x="66" y="65"/>
                </a:cxn>
                <a:cxn ang="0">
                  <a:pos x="51" y="55"/>
                </a:cxn>
                <a:cxn ang="0">
                  <a:pos x="70" y="33"/>
                </a:cxn>
                <a:cxn ang="0">
                  <a:pos x="70" y="20"/>
                </a:cxn>
                <a:cxn ang="0">
                  <a:pos x="61" y="20"/>
                </a:cxn>
                <a:cxn ang="0">
                  <a:pos x="61" y="33"/>
                </a:cxn>
                <a:cxn ang="0">
                  <a:pos x="49" y="33"/>
                </a:cxn>
                <a:cxn ang="0">
                  <a:pos x="49" y="41"/>
                </a:cxn>
                <a:cxn ang="0">
                  <a:pos x="61" y="41"/>
                </a:cxn>
                <a:cxn ang="0">
                  <a:pos x="61" y="53"/>
                </a:cxn>
                <a:cxn ang="0">
                  <a:pos x="70" y="53"/>
                </a:cxn>
                <a:cxn ang="0">
                  <a:pos x="70" y="41"/>
                </a:cxn>
                <a:cxn ang="0">
                  <a:pos x="82" y="41"/>
                </a:cxn>
                <a:cxn ang="0">
                  <a:pos x="82" y="33"/>
                </a:cxn>
                <a:cxn ang="0">
                  <a:pos x="70" y="33"/>
                </a:cxn>
              </a:cxnLst>
              <a:rect l="0" t="0" r="r" b="b"/>
              <a:pathLst>
                <a:path w="82" h="74">
                  <a:moveTo>
                    <a:pt x="51" y="55"/>
                  </a:moveTo>
                  <a:cubicBezTo>
                    <a:pt x="40" y="51"/>
                    <a:pt x="37" y="48"/>
                    <a:pt x="37" y="42"/>
                  </a:cubicBezTo>
                  <a:cubicBezTo>
                    <a:pt x="37" y="38"/>
                    <a:pt x="40" y="39"/>
                    <a:pt x="42" y="32"/>
                  </a:cubicBezTo>
                  <a:cubicBezTo>
                    <a:pt x="42" y="29"/>
                    <a:pt x="45" y="31"/>
                    <a:pt x="46" y="25"/>
                  </a:cubicBezTo>
                  <a:cubicBezTo>
                    <a:pt x="46" y="22"/>
                    <a:pt x="44" y="21"/>
                    <a:pt x="44" y="21"/>
                  </a:cubicBezTo>
                  <a:cubicBezTo>
                    <a:pt x="44" y="21"/>
                    <a:pt x="45" y="17"/>
                    <a:pt x="45" y="14"/>
                  </a:cubicBezTo>
                  <a:cubicBezTo>
                    <a:pt x="45" y="10"/>
                    <a:pt x="43" y="0"/>
                    <a:pt x="29" y="0"/>
                  </a:cubicBezTo>
                  <a:cubicBezTo>
                    <a:pt x="15" y="0"/>
                    <a:pt x="12" y="10"/>
                    <a:pt x="12" y="14"/>
                  </a:cubicBezTo>
                  <a:cubicBezTo>
                    <a:pt x="13" y="17"/>
                    <a:pt x="13" y="21"/>
                    <a:pt x="13" y="21"/>
                  </a:cubicBezTo>
                  <a:cubicBezTo>
                    <a:pt x="13" y="21"/>
                    <a:pt x="12" y="22"/>
                    <a:pt x="12" y="25"/>
                  </a:cubicBezTo>
                  <a:cubicBezTo>
                    <a:pt x="12" y="31"/>
                    <a:pt x="15" y="29"/>
                    <a:pt x="16" y="32"/>
                  </a:cubicBezTo>
                  <a:cubicBezTo>
                    <a:pt x="17" y="39"/>
                    <a:pt x="20" y="38"/>
                    <a:pt x="20" y="42"/>
                  </a:cubicBezTo>
                  <a:cubicBezTo>
                    <a:pt x="20" y="48"/>
                    <a:pt x="17" y="51"/>
                    <a:pt x="7" y="55"/>
                  </a:cubicBezTo>
                  <a:cubicBezTo>
                    <a:pt x="5" y="55"/>
                    <a:pt x="3" y="56"/>
                    <a:pt x="0" y="5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66" y="74"/>
                    <a:pt x="66" y="74"/>
                    <a:pt x="66" y="74"/>
                  </a:cubicBezTo>
                  <a:cubicBezTo>
                    <a:pt x="66" y="74"/>
                    <a:pt x="66" y="68"/>
                    <a:pt x="66" y="65"/>
                  </a:cubicBezTo>
                  <a:cubicBezTo>
                    <a:pt x="66" y="62"/>
                    <a:pt x="61" y="59"/>
                    <a:pt x="51" y="55"/>
                  </a:cubicBezTo>
                  <a:close/>
                  <a:moveTo>
                    <a:pt x="70" y="33"/>
                  </a:moveTo>
                  <a:cubicBezTo>
                    <a:pt x="70" y="20"/>
                    <a:pt x="70" y="20"/>
                    <a:pt x="70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33"/>
                    <a:pt x="82" y="33"/>
                    <a:pt x="82" y="33"/>
                  </a:cubicBezTo>
                  <a:lnTo>
                    <a:pt x="70" y="33"/>
                  </a:ln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" name="Freeform 21"/>
            <p:cNvSpPr>
              <a:spLocks noChangeAspect="1"/>
            </p:cNvSpPr>
            <p:nvPr/>
          </p:nvSpPr>
          <p:spPr bwMode="gray">
            <a:xfrm>
              <a:off x="2472508" y="1544680"/>
              <a:ext cx="219600" cy="210864"/>
            </a:xfrm>
            <a:custGeom>
              <a:avLst/>
              <a:gdLst/>
              <a:ahLst/>
              <a:cxnLst>
                <a:cxn ang="0">
                  <a:pos x="60" y="55"/>
                </a:cxn>
                <a:cxn ang="0">
                  <a:pos x="47" y="42"/>
                </a:cxn>
                <a:cxn ang="0">
                  <a:pos x="52" y="32"/>
                </a:cxn>
                <a:cxn ang="0">
                  <a:pos x="55" y="25"/>
                </a:cxn>
                <a:cxn ang="0">
                  <a:pos x="54" y="21"/>
                </a:cxn>
                <a:cxn ang="0">
                  <a:pos x="55" y="14"/>
                </a:cxn>
                <a:cxn ang="0">
                  <a:pos x="39" y="0"/>
                </a:cxn>
                <a:cxn ang="0">
                  <a:pos x="22" y="14"/>
                </a:cxn>
                <a:cxn ang="0">
                  <a:pos x="23" y="21"/>
                </a:cxn>
                <a:cxn ang="0">
                  <a:pos x="22" y="25"/>
                </a:cxn>
                <a:cxn ang="0">
                  <a:pos x="26" y="32"/>
                </a:cxn>
                <a:cxn ang="0">
                  <a:pos x="30" y="42"/>
                </a:cxn>
                <a:cxn ang="0">
                  <a:pos x="17" y="55"/>
                </a:cxn>
                <a:cxn ang="0">
                  <a:pos x="0" y="65"/>
                </a:cxn>
                <a:cxn ang="0">
                  <a:pos x="0" y="74"/>
                </a:cxn>
                <a:cxn ang="0">
                  <a:pos x="39" y="74"/>
                </a:cxn>
                <a:cxn ang="0">
                  <a:pos x="77" y="74"/>
                </a:cxn>
                <a:cxn ang="0">
                  <a:pos x="77" y="65"/>
                </a:cxn>
                <a:cxn ang="0">
                  <a:pos x="60" y="55"/>
                </a:cxn>
              </a:cxnLst>
              <a:rect l="0" t="0" r="r" b="b"/>
              <a:pathLst>
                <a:path w="77" h="74">
                  <a:moveTo>
                    <a:pt x="60" y="55"/>
                  </a:moveTo>
                  <a:cubicBezTo>
                    <a:pt x="50" y="51"/>
                    <a:pt x="47" y="48"/>
                    <a:pt x="47" y="42"/>
                  </a:cubicBezTo>
                  <a:cubicBezTo>
                    <a:pt x="47" y="38"/>
                    <a:pt x="50" y="39"/>
                    <a:pt x="52" y="32"/>
                  </a:cubicBezTo>
                  <a:cubicBezTo>
                    <a:pt x="52" y="29"/>
                    <a:pt x="55" y="31"/>
                    <a:pt x="55" y="25"/>
                  </a:cubicBezTo>
                  <a:cubicBezTo>
                    <a:pt x="55" y="22"/>
                    <a:pt x="54" y="21"/>
                    <a:pt x="54" y="21"/>
                  </a:cubicBezTo>
                  <a:cubicBezTo>
                    <a:pt x="54" y="21"/>
                    <a:pt x="55" y="17"/>
                    <a:pt x="55" y="14"/>
                  </a:cubicBezTo>
                  <a:cubicBezTo>
                    <a:pt x="55" y="10"/>
                    <a:pt x="53" y="0"/>
                    <a:pt x="39" y="0"/>
                  </a:cubicBezTo>
                  <a:cubicBezTo>
                    <a:pt x="25" y="0"/>
                    <a:pt x="22" y="10"/>
                    <a:pt x="22" y="14"/>
                  </a:cubicBezTo>
                  <a:cubicBezTo>
                    <a:pt x="23" y="17"/>
                    <a:pt x="23" y="21"/>
                    <a:pt x="23" y="21"/>
                  </a:cubicBezTo>
                  <a:cubicBezTo>
                    <a:pt x="23" y="21"/>
                    <a:pt x="22" y="22"/>
                    <a:pt x="22" y="25"/>
                  </a:cubicBezTo>
                  <a:cubicBezTo>
                    <a:pt x="22" y="31"/>
                    <a:pt x="25" y="29"/>
                    <a:pt x="26" y="32"/>
                  </a:cubicBezTo>
                  <a:cubicBezTo>
                    <a:pt x="27" y="39"/>
                    <a:pt x="30" y="38"/>
                    <a:pt x="30" y="42"/>
                  </a:cubicBezTo>
                  <a:cubicBezTo>
                    <a:pt x="30" y="48"/>
                    <a:pt x="27" y="51"/>
                    <a:pt x="17" y="55"/>
                  </a:cubicBezTo>
                  <a:cubicBezTo>
                    <a:pt x="7" y="59"/>
                    <a:pt x="0" y="62"/>
                    <a:pt x="0" y="65"/>
                  </a:cubicBezTo>
                  <a:cubicBezTo>
                    <a:pt x="0" y="68"/>
                    <a:pt x="0" y="74"/>
                    <a:pt x="0" y="74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77" y="74"/>
                    <a:pt x="77" y="74"/>
                    <a:pt x="77" y="74"/>
                  </a:cubicBezTo>
                  <a:cubicBezTo>
                    <a:pt x="77" y="74"/>
                    <a:pt x="77" y="68"/>
                    <a:pt x="77" y="65"/>
                  </a:cubicBezTo>
                  <a:cubicBezTo>
                    <a:pt x="77" y="62"/>
                    <a:pt x="71" y="59"/>
                    <a:pt x="60" y="55"/>
                  </a:cubicBez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" name="Freeform 25"/>
            <p:cNvSpPr>
              <a:spLocks noChangeAspect="1" noEditPoints="1"/>
            </p:cNvSpPr>
            <p:nvPr/>
          </p:nvSpPr>
          <p:spPr bwMode="gray">
            <a:xfrm>
              <a:off x="2956938" y="1547248"/>
              <a:ext cx="234000" cy="205745"/>
            </a:xfrm>
            <a:custGeom>
              <a:avLst/>
              <a:gdLst/>
              <a:ahLst/>
              <a:cxnLst>
                <a:cxn ang="0">
                  <a:pos x="82" y="72"/>
                </a:cxn>
                <a:cxn ang="0">
                  <a:pos x="81" y="55"/>
                </a:cxn>
                <a:cxn ang="0">
                  <a:pos x="70" y="49"/>
                </a:cxn>
                <a:cxn ang="0">
                  <a:pos x="62" y="39"/>
                </a:cxn>
                <a:cxn ang="0">
                  <a:pos x="65" y="32"/>
                </a:cxn>
                <a:cxn ang="0">
                  <a:pos x="67" y="28"/>
                </a:cxn>
                <a:cxn ang="0">
                  <a:pos x="66" y="25"/>
                </a:cxn>
                <a:cxn ang="0">
                  <a:pos x="67" y="20"/>
                </a:cxn>
                <a:cxn ang="0">
                  <a:pos x="57" y="11"/>
                </a:cxn>
                <a:cxn ang="0">
                  <a:pos x="47" y="20"/>
                </a:cxn>
                <a:cxn ang="0">
                  <a:pos x="48" y="25"/>
                </a:cxn>
                <a:cxn ang="0">
                  <a:pos x="47" y="28"/>
                </a:cxn>
                <a:cxn ang="0">
                  <a:pos x="49" y="32"/>
                </a:cxn>
                <a:cxn ang="0">
                  <a:pos x="52" y="39"/>
                </a:cxn>
                <a:cxn ang="0">
                  <a:pos x="48" y="46"/>
                </a:cxn>
                <a:cxn ang="0">
                  <a:pos x="63" y="60"/>
                </a:cxn>
                <a:cxn ang="0">
                  <a:pos x="63" y="72"/>
                </a:cxn>
                <a:cxn ang="0">
                  <a:pos x="82" y="72"/>
                </a:cxn>
                <a:cxn ang="0">
                  <a:pos x="42" y="51"/>
                </a:cxn>
                <a:cxn ang="0">
                  <a:pos x="31" y="39"/>
                </a:cxn>
                <a:cxn ang="0">
                  <a:pos x="35" y="29"/>
                </a:cxn>
                <a:cxn ang="0">
                  <a:pos x="38" y="23"/>
                </a:cxn>
                <a:cxn ang="0">
                  <a:pos x="37" y="20"/>
                </a:cxn>
                <a:cxn ang="0">
                  <a:pos x="37" y="13"/>
                </a:cxn>
                <a:cxn ang="0">
                  <a:pos x="24" y="0"/>
                </a:cxn>
                <a:cxn ang="0">
                  <a:pos x="11" y="13"/>
                </a:cxn>
                <a:cxn ang="0">
                  <a:pos x="12" y="20"/>
                </a:cxn>
                <a:cxn ang="0">
                  <a:pos x="11" y="23"/>
                </a:cxn>
                <a:cxn ang="0">
                  <a:pos x="14" y="29"/>
                </a:cxn>
                <a:cxn ang="0">
                  <a:pos x="18" y="39"/>
                </a:cxn>
                <a:cxn ang="0">
                  <a:pos x="7" y="51"/>
                </a:cxn>
                <a:cxn ang="0">
                  <a:pos x="0" y="57"/>
                </a:cxn>
                <a:cxn ang="0">
                  <a:pos x="0" y="72"/>
                </a:cxn>
                <a:cxn ang="0">
                  <a:pos x="57" y="72"/>
                </a:cxn>
                <a:cxn ang="0">
                  <a:pos x="57" y="61"/>
                </a:cxn>
                <a:cxn ang="0">
                  <a:pos x="42" y="51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cubicBezTo>
                    <a:pt x="82" y="72"/>
                    <a:pt x="82" y="57"/>
                    <a:pt x="81" y="55"/>
                  </a:cubicBezTo>
                  <a:cubicBezTo>
                    <a:pt x="79" y="53"/>
                    <a:pt x="76" y="51"/>
                    <a:pt x="70" y="49"/>
                  </a:cubicBezTo>
                  <a:cubicBezTo>
                    <a:pt x="64" y="46"/>
                    <a:pt x="62" y="44"/>
                    <a:pt x="62" y="39"/>
                  </a:cubicBezTo>
                  <a:cubicBezTo>
                    <a:pt x="62" y="37"/>
                    <a:pt x="64" y="37"/>
                    <a:pt x="65" y="32"/>
                  </a:cubicBezTo>
                  <a:cubicBezTo>
                    <a:pt x="65" y="30"/>
                    <a:pt x="67" y="32"/>
                    <a:pt x="67" y="28"/>
                  </a:cubicBezTo>
                  <a:cubicBezTo>
                    <a:pt x="67" y="26"/>
                    <a:pt x="66" y="25"/>
                    <a:pt x="66" y="25"/>
                  </a:cubicBezTo>
                  <a:cubicBezTo>
                    <a:pt x="66" y="25"/>
                    <a:pt x="67" y="22"/>
                    <a:pt x="67" y="20"/>
                  </a:cubicBezTo>
                  <a:cubicBezTo>
                    <a:pt x="67" y="18"/>
                    <a:pt x="65" y="11"/>
                    <a:pt x="57" y="11"/>
                  </a:cubicBezTo>
                  <a:cubicBezTo>
                    <a:pt x="49" y="11"/>
                    <a:pt x="47" y="18"/>
                    <a:pt x="47" y="20"/>
                  </a:cubicBezTo>
                  <a:cubicBezTo>
                    <a:pt x="47" y="22"/>
                    <a:pt x="48" y="25"/>
                    <a:pt x="48" y="25"/>
                  </a:cubicBezTo>
                  <a:cubicBezTo>
                    <a:pt x="48" y="25"/>
                    <a:pt x="47" y="26"/>
                    <a:pt x="47" y="28"/>
                  </a:cubicBezTo>
                  <a:cubicBezTo>
                    <a:pt x="47" y="32"/>
                    <a:pt x="49" y="30"/>
                    <a:pt x="49" y="32"/>
                  </a:cubicBezTo>
                  <a:cubicBezTo>
                    <a:pt x="50" y="37"/>
                    <a:pt x="52" y="37"/>
                    <a:pt x="52" y="39"/>
                  </a:cubicBezTo>
                  <a:cubicBezTo>
                    <a:pt x="52" y="42"/>
                    <a:pt x="51" y="44"/>
                    <a:pt x="48" y="46"/>
                  </a:cubicBezTo>
                  <a:cubicBezTo>
                    <a:pt x="62" y="53"/>
                    <a:pt x="63" y="54"/>
                    <a:pt x="63" y="60"/>
                  </a:cubicBezTo>
                  <a:cubicBezTo>
                    <a:pt x="63" y="72"/>
                    <a:pt x="63" y="72"/>
                    <a:pt x="63" y="72"/>
                  </a:cubicBezTo>
                  <a:lnTo>
                    <a:pt x="82" y="72"/>
                  </a:lnTo>
                  <a:close/>
                  <a:moveTo>
                    <a:pt x="42" y="51"/>
                  </a:moveTo>
                  <a:cubicBezTo>
                    <a:pt x="34" y="47"/>
                    <a:pt x="31" y="45"/>
                    <a:pt x="31" y="39"/>
                  </a:cubicBezTo>
                  <a:cubicBezTo>
                    <a:pt x="31" y="35"/>
                    <a:pt x="34" y="36"/>
                    <a:pt x="35" y="29"/>
                  </a:cubicBezTo>
                  <a:cubicBezTo>
                    <a:pt x="35" y="27"/>
                    <a:pt x="37" y="29"/>
                    <a:pt x="38" y="23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16"/>
                    <a:pt x="37" y="13"/>
                  </a:cubicBezTo>
                  <a:cubicBezTo>
                    <a:pt x="38" y="10"/>
                    <a:pt x="36" y="0"/>
                    <a:pt x="24" y="0"/>
                  </a:cubicBezTo>
                  <a:cubicBezTo>
                    <a:pt x="13" y="0"/>
                    <a:pt x="11" y="10"/>
                    <a:pt x="11" y="13"/>
                  </a:cubicBezTo>
                  <a:cubicBezTo>
                    <a:pt x="12" y="16"/>
                    <a:pt x="12" y="20"/>
                    <a:pt x="12" y="20"/>
                  </a:cubicBezTo>
                  <a:cubicBezTo>
                    <a:pt x="12" y="20"/>
                    <a:pt x="11" y="20"/>
                    <a:pt x="11" y="23"/>
                  </a:cubicBezTo>
                  <a:cubicBezTo>
                    <a:pt x="11" y="29"/>
                    <a:pt x="14" y="27"/>
                    <a:pt x="14" y="29"/>
                  </a:cubicBezTo>
                  <a:cubicBezTo>
                    <a:pt x="15" y="36"/>
                    <a:pt x="18" y="35"/>
                    <a:pt x="18" y="39"/>
                  </a:cubicBezTo>
                  <a:cubicBezTo>
                    <a:pt x="18" y="45"/>
                    <a:pt x="15" y="47"/>
                    <a:pt x="7" y="51"/>
                  </a:cubicBezTo>
                  <a:cubicBezTo>
                    <a:pt x="4" y="52"/>
                    <a:pt x="0" y="53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63"/>
                    <a:pt x="57" y="61"/>
                  </a:cubicBezTo>
                  <a:cubicBezTo>
                    <a:pt x="57" y="58"/>
                    <a:pt x="50" y="54"/>
                    <a:pt x="42" y="51"/>
                  </a:cubicBezTo>
                  <a:close/>
                </a:path>
              </a:pathLst>
            </a:custGeom>
            <a:solidFill>
              <a:srgbClr val="BDD20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5" name="Freeform 29"/>
            <p:cNvSpPr>
              <a:spLocks noChangeAspect="1" noEditPoints="1"/>
            </p:cNvSpPr>
            <p:nvPr/>
          </p:nvSpPr>
          <p:spPr bwMode="gray">
            <a:xfrm>
              <a:off x="3493355" y="1540653"/>
              <a:ext cx="190800" cy="218918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54" y="3"/>
                </a:cxn>
                <a:cxn ang="0">
                  <a:pos x="35" y="21"/>
                </a:cxn>
                <a:cxn ang="0">
                  <a:pos x="17" y="37"/>
                </a:cxn>
                <a:cxn ang="0">
                  <a:pos x="17" y="65"/>
                </a:cxn>
                <a:cxn ang="0">
                  <a:pos x="52" y="76"/>
                </a:cxn>
                <a:cxn ang="0">
                  <a:pos x="66" y="35"/>
                </a:cxn>
                <a:cxn ang="0">
                  <a:pos x="48" y="28"/>
                </a:cxn>
                <a:cxn ang="0">
                  <a:pos x="12" y="29"/>
                </a:cxn>
                <a:cxn ang="0">
                  <a:pos x="0" y="41"/>
                </a:cxn>
                <a:cxn ang="0">
                  <a:pos x="0" y="61"/>
                </a:cxn>
                <a:cxn ang="0">
                  <a:pos x="12" y="74"/>
                </a:cxn>
                <a:cxn ang="0">
                  <a:pos x="8" y="64"/>
                </a:cxn>
                <a:cxn ang="0">
                  <a:pos x="8" y="38"/>
                </a:cxn>
                <a:cxn ang="0">
                  <a:pos x="12" y="29"/>
                </a:cxn>
              </a:cxnLst>
              <a:rect l="0" t="0" r="r" b="b"/>
              <a:pathLst>
                <a:path w="66" h="76">
                  <a:moveTo>
                    <a:pt x="48" y="28"/>
                  </a:moveTo>
                  <a:cubicBezTo>
                    <a:pt x="47" y="27"/>
                    <a:pt x="62" y="13"/>
                    <a:pt x="54" y="3"/>
                  </a:cubicBezTo>
                  <a:cubicBezTo>
                    <a:pt x="51" y="0"/>
                    <a:pt x="45" y="15"/>
                    <a:pt x="35" y="21"/>
                  </a:cubicBezTo>
                  <a:cubicBezTo>
                    <a:pt x="29" y="25"/>
                    <a:pt x="17" y="33"/>
                    <a:pt x="17" y="37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70"/>
                    <a:pt x="37" y="76"/>
                    <a:pt x="52" y="76"/>
                  </a:cubicBezTo>
                  <a:cubicBezTo>
                    <a:pt x="58" y="76"/>
                    <a:pt x="66" y="41"/>
                    <a:pt x="66" y="35"/>
                  </a:cubicBezTo>
                  <a:cubicBezTo>
                    <a:pt x="66" y="30"/>
                    <a:pt x="48" y="30"/>
                    <a:pt x="48" y="28"/>
                  </a:cubicBezTo>
                  <a:close/>
                  <a:moveTo>
                    <a:pt x="12" y="29"/>
                  </a:moveTo>
                  <a:cubicBezTo>
                    <a:pt x="10" y="29"/>
                    <a:pt x="0" y="30"/>
                    <a:pt x="0" y="4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72"/>
                    <a:pt x="10" y="74"/>
                    <a:pt x="12" y="74"/>
                  </a:cubicBezTo>
                  <a:cubicBezTo>
                    <a:pt x="15" y="74"/>
                    <a:pt x="8" y="71"/>
                    <a:pt x="8" y="64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1"/>
                    <a:pt x="15" y="29"/>
                    <a:pt x="12" y="29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6" name="Freeform 33"/>
            <p:cNvSpPr>
              <a:spLocks noChangeAspect="1" noEditPoints="1"/>
            </p:cNvSpPr>
            <p:nvPr/>
          </p:nvSpPr>
          <p:spPr bwMode="gray">
            <a:xfrm>
              <a:off x="3991962" y="1540452"/>
              <a:ext cx="190800" cy="219320"/>
            </a:xfrm>
            <a:custGeom>
              <a:avLst/>
              <a:gdLst/>
              <a:ahLst/>
              <a:cxnLst>
                <a:cxn ang="0">
                  <a:pos x="18" y="47"/>
                </a:cxn>
                <a:cxn ang="0">
                  <a:pos x="12" y="73"/>
                </a:cxn>
                <a:cxn ang="0">
                  <a:pos x="31" y="54"/>
                </a:cxn>
                <a:cxn ang="0">
                  <a:pos x="50" y="38"/>
                </a:cxn>
                <a:cxn ang="0">
                  <a:pos x="50" y="10"/>
                </a:cxn>
                <a:cxn ang="0">
                  <a:pos x="14" y="0"/>
                </a:cxn>
                <a:cxn ang="0">
                  <a:pos x="0" y="40"/>
                </a:cxn>
                <a:cxn ang="0">
                  <a:pos x="18" y="47"/>
                </a:cxn>
                <a:cxn ang="0">
                  <a:pos x="54" y="47"/>
                </a:cxn>
                <a:cxn ang="0">
                  <a:pos x="66" y="34"/>
                </a:cxn>
                <a:cxn ang="0">
                  <a:pos x="66" y="14"/>
                </a:cxn>
                <a:cxn ang="0">
                  <a:pos x="54" y="2"/>
                </a:cxn>
                <a:cxn ang="0">
                  <a:pos x="58" y="11"/>
                </a:cxn>
                <a:cxn ang="0">
                  <a:pos x="58" y="37"/>
                </a:cxn>
                <a:cxn ang="0">
                  <a:pos x="54" y="47"/>
                </a:cxn>
              </a:cxnLst>
              <a:rect l="0" t="0" r="r" b="b"/>
              <a:pathLst>
                <a:path w="66" h="76">
                  <a:moveTo>
                    <a:pt x="18" y="47"/>
                  </a:moveTo>
                  <a:cubicBezTo>
                    <a:pt x="19" y="49"/>
                    <a:pt x="4" y="62"/>
                    <a:pt x="12" y="73"/>
                  </a:cubicBezTo>
                  <a:cubicBezTo>
                    <a:pt x="15" y="76"/>
                    <a:pt x="21" y="61"/>
                    <a:pt x="31" y="54"/>
                  </a:cubicBezTo>
                  <a:cubicBezTo>
                    <a:pt x="37" y="50"/>
                    <a:pt x="50" y="43"/>
                    <a:pt x="50" y="38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5"/>
                    <a:pt x="29" y="0"/>
                    <a:pt x="14" y="0"/>
                  </a:cubicBezTo>
                  <a:cubicBezTo>
                    <a:pt x="9" y="0"/>
                    <a:pt x="0" y="35"/>
                    <a:pt x="0" y="40"/>
                  </a:cubicBezTo>
                  <a:cubicBezTo>
                    <a:pt x="0" y="46"/>
                    <a:pt x="18" y="46"/>
                    <a:pt x="18" y="47"/>
                  </a:cubicBezTo>
                  <a:close/>
                  <a:moveTo>
                    <a:pt x="54" y="47"/>
                  </a:moveTo>
                  <a:cubicBezTo>
                    <a:pt x="56" y="47"/>
                    <a:pt x="66" y="45"/>
                    <a:pt x="66" y="34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6" y="3"/>
                    <a:pt x="56" y="2"/>
                    <a:pt x="54" y="2"/>
                  </a:cubicBezTo>
                  <a:cubicBezTo>
                    <a:pt x="51" y="2"/>
                    <a:pt x="58" y="4"/>
                    <a:pt x="58" y="11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44"/>
                    <a:pt x="51" y="47"/>
                    <a:pt x="54" y="47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7" name="Freeform 37"/>
            <p:cNvSpPr>
              <a:spLocks noChangeAspect="1" noEditPoints="1"/>
            </p:cNvSpPr>
            <p:nvPr/>
          </p:nvSpPr>
          <p:spPr bwMode="gray">
            <a:xfrm>
              <a:off x="4474028" y="1583852"/>
              <a:ext cx="234000" cy="132520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0" y="23"/>
                </a:cxn>
                <a:cxn ang="0">
                  <a:pos x="41" y="46"/>
                </a:cxn>
                <a:cxn ang="0">
                  <a:pos x="82" y="23"/>
                </a:cxn>
                <a:cxn ang="0">
                  <a:pos x="41" y="0"/>
                </a:cxn>
                <a:cxn ang="0">
                  <a:pos x="41" y="40"/>
                </a:cxn>
                <a:cxn ang="0">
                  <a:pos x="23" y="23"/>
                </a:cxn>
                <a:cxn ang="0">
                  <a:pos x="41" y="5"/>
                </a:cxn>
                <a:cxn ang="0">
                  <a:pos x="59" y="23"/>
                </a:cxn>
                <a:cxn ang="0">
                  <a:pos x="41" y="40"/>
                </a:cxn>
                <a:cxn ang="0">
                  <a:pos x="41" y="23"/>
                </a:cxn>
                <a:cxn ang="0">
                  <a:pos x="41" y="14"/>
                </a:cxn>
                <a:cxn ang="0">
                  <a:pos x="32" y="23"/>
                </a:cxn>
                <a:cxn ang="0">
                  <a:pos x="41" y="32"/>
                </a:cxn>
                <a:cxn ang="0">
                  <a:pos x="50" y="23"/>
                </a:cxn>
                <a:cxn ang="0">
                  <a:pos x="41" y="23"/>
                </a:cxn>
              </a:cxnLst>
              <a:rect l="0" t="0" r="r" b="b"/>
              <a:pathLst>
                <a:path w="82" h="46">
                  <a:moveTo>
                    <a:pt x="41" y="0"/>
                  </a:moveTo>
                  <a:cubicBezTo>
                    <a:pt x="14" y="0"/>
                    <a:pt x="0" y="20"/>
                    <a:pt x="0" y="23"/>
                  </a:cubicBezTo>
                  <a:cubicBezTo>
                    <a:pt x="0" y="26"/>
                    <a:pt x="14" y="46"/>
                    <a:pt x="41" y="46"/>
                  </a:cubicBezTo>
                  <a:cubicBezTo>
                    <a:pt x="68" y="46"/>
                    <a:pt x="82" y="26"/>
                    <a:pt x="82" y="23"/>
                  </a:cubicBezTo>
                  <a:cubicBezTo>
                    <a:pt x="82" y="20"/>
                    <a:pt x="68" y="0"/>
                    <a:pt x="41" y="0"/>
                  </a:cubicBezTo>
                  <a:close/>
                  <a:moveTo>
                    <a:pt x="41" y="40"/>
                  </a:moveTo>
                  <a:cubicBezTo>
                    <a:pt x="31" y="40"/>
                    <a:pt x="23" y="32"/>
                    <a:pt x="23" y="23"/>
                  </a:cubicBezTo>
                  <a:cubicBezTo>
                    <a:pt x="23" y="13"/>
                    <a:pt x="31" y="5"/>
                    <a:pt x="41" y="5"/>
                  </a:cubicBezTo>
                  <a:cubicBezTo>
                    <a:pt x="51" y="5"/>
                    <a:pt x="59" y="13"/>
                    <a:pt x="59" y="23"/>
                  </a:cubicBezTo>
                  <a:cubicBezTo>
                    <a:pt x="59" y="32"/>
                    <a:pt x="51" y="40"/>
                    <a:pt x="41" y="40"/>
                  </a:cubicBezTo>
                  <a:close/>
                  <a:moveTo>
                    <a:pt x="41" y="23"/>
                  </a:moveTo>
                  <a:cubicBezTo>
                    <a:pt x="39" y="21"/>
                    <a:pt x="43" y="14"/>
                    <a:pt x="41" y="14"/>
                  </a:cubicBezTo>
                  <a:cubicBezTo>
                    <a:pt x="36" y="14"/>
                    <a:pt x="32" y="18"/>
                    <a:pt x="32" y="23"/>
                  </a:cubicBezTo>
                  <a:cubicBezTo>
                    <a:pt x="32" y="28"/>
                    <a:pt x="36" y="32"/>
                    <a:pt x="41" y="32"/>
                  </a:cubicBezTo>
                  <a:cubicBezTo>
                    <a:pt x="46" y="32"/>
                    <a:pt x="50" y="28"/>
                    <a:pt x="50" y="23"/>
                  </a:cubicBezTo>
                  <a:cubicBezTo>
                    <a:pt x="50" y="21"/>
                    <a:pt x="42" y="24"/>
                    <a:pt x="41" y="23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8" name="Freeform 41"/>
            <p:cNvSpPr>
              <a:spLocks noChangeAspect="1" noEditPoints="1"/>
            </p:cNvSpPr>
            <p:nvPr/>
          </p:nvSpPr>
          <p:spPr bwMode="gray">
            <a:xfrm>
              <a:off x="5019896" y="1507912"/>
              <a:ext cx="117696" cy="284400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36" y="3"/>
                </a:cxn>
                <a:cxn ang="0">
                  <a:pos x="36" y="7"/>
                </a:cxn>
                <a:cxn ang="0">
                  <a:pos x="5" y="7"/>
                </a:cxn>
                <a:cxn ang="0">
                  <a:pos x="5" y="3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100"/>
                </a:cxn>
                <a:cxn ang="0">
                  <a:pos x="3" y="103"/>
                </a:cxn>
                <a:cxn ang="0">
                  <a:pos x="5" y="100"/>
                </a:cxn>
                <a:cxn ang="0">
                  <a:pos x="5" y="96"/>
                </a:cxn>
                <a:cxn ang="0">
                  <a:pos x="36" y="96"/>
                </a:cxn>
                <a:cxn ang="0">
                  <a:pos x="36" y="100"/>
                </a:cxn>
                <a:cxn ang="0">
                  <a:pos x="39" y="103"/>
                </a:cxn>
                <a:cxn ang="0">
                  <a:pos x="42" y="100"/>
                </a:cxn>
                <a:cxn ang="0">
                  <a:pos x="42" y="3"/>
                </a:cxn>
                <a:cxn ang="0">
                  <a:pos x="39" y="0"/>
                </a:cxn>
                <a:cxn ang="0">
                  <a:pos x="5" y="46"/>
                </a:cxn>
                <a:cxn ang="0">
                  <a:pos x="36" y="46"/>
                </a:cxn>
                <a:cxn ang="0">
                  <a:pos x="36" y="57"/>
                </a:cxn>
                <a:cxn ang="0">
                  <a:pos x="5" y="57"/>
                </a:cxn>
                <a:cxn ang="0">
                  <a:pos x="5" y="46"/>
                </a:cxn>
                <a:cxn ang="0">
                  <a:pos x="36" y="40"/>
                </a:cxn>
                <a:cxn ang="0">
                  <a:pos x="5" y="40"/>
                </a:cxn>
                <a:cxn ang="0">
                  <a:pos x="5" y="29"/>
                </a:cxn>
                <a:cxn ang="0">
                  <a:pos x="36" y="29"/>
                </a:cxn>
                <a:cxn ang="0">
                  <a:pos x="36" y="40"/>
                </a:cxn>
                <a:cxn ang="0">
                  <a:pos x="5" y="63"/>
                </a:cxn>
                <a:cxn ang="0">
                  <a:pos x="36" y="63"/>
                </a:cxn>
                <a:cxn ang="0">
                  <a:pos x="36" y="74"/>
                </a:cxn>
                <a:cxn ang="0">
                  <a:pos x="5" y="74"/>
                </a:cxn>
                <a:cxn ang="0">
                  <a:pos x="5" y="63"/>
                </a:cxn>
                <a:cxn ang="0">
                  <a:pos x="36" y="13"/>
                </a:cxn>
                <a:cxn ang="0">
                  <a:pos x="36" y="24"/>
                </a:cxn>
                <a:cxn ang="0">
                  <a:pos x="5" y="24"/>
                </a:cxn>
                <a:cxn ang="0">
                  <a:pos x="5" y="13"/>
                </a:cxn>
                <a:cxn ang="0">
                  <a:pos x="36" y="13"/>
                </a:cxn>
                <a:cxn ang="0">
                  <a:pos x="5" y="91"/>
                </a:cxn>
                <a:cxn ang="0">
                  <a:pos x="5" y="80"/>
                </a:cxn>
                <a:cxn ang="0">
                  <a:pos x="36" y="80"/>
                </a:cxn>
                <a:cxn ang="0">
                  <a:pos x="36" y="91"/>
                </a:cxn>
                <a:cxn ang="0">
                  <a:pos x="5" y="91"/>
                </a:cxn>
              </a:cxnLst>
              <a:rect l="0" t="0" r="r" b="b"/>
              <a:pathLst>
                <a:path w="42" h="103">
                  <a:moveTo>
                    <a:pt x="39" y="0"/>
                  </a:moveTo>
                  <a:cubicBezTo>
                    <a:pt x="38" y="0"/>
                    <a:pt x="36" y="1"/>
                    <a:pt x="36" y="3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2"/>
                    <a:pt x="1" y="103"/>
                    <a:pt x="3" y="103"/>
                  </a:cubicBezTo>
                  <a:cubicBezTo>
                    <a:pt x="4" y="103"/>
                    <a:pt x="5" y="102"/>
                    <a:pt x="5" y="100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36" y="96"/>
                    <a:pt x="36" y="96"/>
                    <a:pt x="36" y="96"/>
                  </a:cubicBezTo>
                  <a:cubicBezTo>
                    <a:pt x="36" y="100"/>
                    <a:pt x="36" y="100"/>
                    <a:pt x="36" y="100"/>
                  </a:cubicBezTo>
                  <a:cubicBezTo>
                    <a:pt x="36" y="102"/>
                    <a:pt x="38" y="103"/>
                    <a:pt x="39" y="103"/>
                  </a:cubicBezTo>
                  <a:cubicBezTo>
                    <a:pt x="41" y="103"/>
                    <a:pt x="42" y="102"/>
                    <a:pt x="42" y="10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2" y="1"/>
                    <a:pt x="41" y="0"/>
                    <a:pt x="39" y="0"/>
                  </a:cubicBezTo>
                  <a:close/>
                  <a:moveTo>
                    <a:pt x="5" y="46"/>
                  </a:moveTo>
                  <a:cubicBezTo>
                    <a:pt x="36" y="46"/>
                    <a:pt x="36" y="46"/>
                    <a:pt x="36" y="46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5" y="57"/>
                    <a:pt x="5" y="57"/>
                    <a:pt x="5" y="57"/>
                  </a:cubicBezTo>
                  <a:lnTo>
                    <a:pt x="5" y="46"/>
                  </a:lnTo>
                  <a:close/>
                  <a:moveTo>
                    <a:pt x="36" y="40"/>
                  </a:moveTo>
                  <a:cubicBezTo>
                    <a:pt x="5" y="40"/>
                    <a:pt x="5" y="40"/>
                    <a:pt x="5" y="40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36" y="29"/>
                    <a:pt x="36" y="29"/>
                    <a:pt x="36" y="29"/>
                  </a:cubicBezTo>
                  <a:lnTo>
                    <a:pt x="36" y="40"/>
                  </a:lnTo>
                  <a:close/>
                  <a:moveTo>
                    <a:pt x="5" y="63"/>
                  </a:moveTo>
                  <a:cubicBezTo>
                    <a:pt x="36" y="63"/>
                    <a:pt x="36" y="63"/>
                    <a:pt x="36" y="63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5" y="74"/>
                    <a:pt x="5" y="74"/>
                    <a:pt x="5" y="74"/>
                  </a:cubicBezTo>
                  <a:lnTo>
                    <a:pt x="5" y="63"/>
                  </a:lnTo>
                  <a:close/>
                  <a:moveTo>
                    <a:pt x="36" y="13"/>
                  </a:moveTo>
                  <a:cubicBezTo>
                    <a:pt x="36" y="24"/>
                    <a:pt x="36" y="24"/>
                    <a:pt x="36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13"/>
                    <a:pt x="5" y="13"/>
                    <a:pt x="5" y="13"/>
                  </a:cubicBezTo>
                  <a:lnTo>
                    <a:pt x="36" y="13"/>
                  </a:lnTo>
                  <a:close/>
                  <a:moveTo>
                    <a:pt x="5" y="91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36" y="91"/>
                    <a:pt x="36" y="91"/>
                    <a:pt x="36" y="91"/>
                  </a:cubicBezTo>
                  <a:lnTo>
                    <a:pt x="5" y="91"/>
                  </a:ln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9" name="Freeform 45"/>
            <p:cNvSpPr>
              <a:spLocks noChangeAspect="1" noEditPoints="1"/>
            </p:cNvSpPr>
            <p:nvPr/>
          </p:nvSpPr>
          <p:spPr bwMode="gray">
            <a:xfrm>
              <a:off x="5457066" y="1547451"/>
              <a:ext cx="230400" cy="205322"/>
            </a:xfrm>
            <a:custGeom>
              <a:avLst/>
              <a:gdLst/>
              <a:ahLst/>
              <a:cxnLst>
                <a:cxn ang="0">
                  <a:pos x="13" y="24"/>
                </a:cxn>
                <a:cxn ang="0">
                  <a:pos x="24" y="28"/>
                </a:cxn>
                <a:cxn ang="0">
                  <a:pos x="25" y="28"/>
                </a:cxn>
                <a:cxn ang="0">
                  <a:pos x="31" y="22"/>
                </a:cxn>
                <a:cxn ang="0">
                  <a:pos x="32" y="21"/>
                </a:cxn>
                <a:cxn ang="0">
                  <a:pos x="29" y="17"/>
                </a:cxn>
                <a:cxn ang="0">
                  <a:pos x="45" y="1"/>
                </a:cxn>
                <a:cxn ang="0">
                  <a:pos x="32" y="1"/>
                </a:cxn>
                <a:cxn ang="0">
                  <a:pos x="17" y="8"/>
                </a:cxn>
                <a:cxn ang="0">
                  <a:pos x="11" y="13"/>
                </a:cxn>
                <a:cxn ang="0">
                  <a:pos x="9" y="19"/>
                </a:cxn>
                <a:cxn ang="0">
                  <a:pos x="3" y="21"/>
                </a:cxn>
                <a:cxn ang="0">
                  <a:pos x="0" y="23"/>
                </a:cxn>
                <a:cxn ang="0">
                  <a:pos x="0" y="25"/>
                </a:cxn>
                <a:cxn ang="0">
                  <a:pos x="6" y="31"/>
                </a:cxn>
                <a:cxn ang="0">
                  <a:pos x="8" y="31"/>
                </a:cxn>
                <a:cxn ang="0">
                  <a:pos x="11" y="29"/>
                </a:cxn>
                <a:cxn ang="0">
                  <a:pos x="13" y="24"/>
                </a:cxn>
                <a:cxn ang="0">
                  <a:pos x="36" y="26"/>
                </a:cxn>
                <a:cxn ang="0">
                  <a:pos x="34" y="26"/>
                </a:cxn>
                <a:cxn ang="0">
                  <a:pos x="28" y="31"/>
                </a:cxn>
                <a:cxn ang="0">
                  <a:pos x="28" y="33"/>
                </a:cxn>
                <a:cxn ang="0">
                  <a:pos x="62" y="71"/>
                </a:cxn>
                <a:cxn ang="0">
                  <a:pos x="65" y="72"/>
                </a:cxn>
                <a:cxn ang="0">
                  <a:pos x="69" y="68"/>
                </a:cxn>
                <a:cxn ang="0">
                  <a:pos x="70" y="65"/>
                </a:cxn>
                <a:cxn ang="0">
                  <a:pos x="36" y="26"/>
                </a:cxn>
                <a:cxn ang="0">
                  <a:pos x="81" y="10"/>
                </a:cxn>
                <a:cxn ang="0">
                  <a:pos x="79" y="9"/>
                </a:cxn>
                <a:cxn ang="0">
                  <a:pos x="75" y="15"/>
                </a:cxn>
                <a:cxn ang="0">
                  <a:pos x="67" y="17"/>
                </a:cxn>
                <a:cxn ang="0">
                  <a:pos x="65" y="10"/>
                </a:cxn>
                <a:cxn ang="0">
                  <a:pos x="69" y="3"/>
                </a:cxn>
                <a:cxn ang="0">
                  <a:pos x="67" y="2"/>
                </a:cxn>
                <a:cxn ang="0">
                  <a:pos x="56" y="11"/>
                </a:cxn>
                <a:cxn ang="0">
                  <a:pos x="52" y="25"/>
                </a:cxn>
                <a:cxn ang="0">
                  <a:pos x="47" y="31"/>
                </a:cxn>
                <a:cxn ang="0">
                  <a:pos x="52" y="37"/>
                </a:cxn>
                <a:cxn ang="0">
                  <a:pos x="59" y="31"/>
                </a:cxn>
                <a:cxn ang="0">
                  <a:pos x="67" y="28"/>
                </a:cxn>
                <a:cxn ang="0">
                  <a:pos x="80" y="23"/>
                </a:cxn>
                <a:cxn ang="0">
                  <a:pos x="81" y="10"/>
                </a:cxn>
                <a:cxn ang="0">
                  <a:pos x="11" y="66"/>
                </a:cxn>
                <a:cxn ang="0">
                  <a:pos x="11" y="69"/>
                </a:cxn>
                <a:cxn ang="0">
                  <a:pos x="15" y="73"/>
                </a:cxn>
                <a:cxn ang="0">
                  <a:pos x="18" y="72"/>
                </a:cxn>
                <a:cxn ang="0">
                  <a:pos x="38" y="52"/>
                </a:cxn>
                <a:cxn ang="0">
                  <a:pos x="32" y="45"/>
                </a:cxn>
                <a:cxn ang="0">
                  <a:pos x="11" y="66"/>
                </a:cxn>
              </a:cxnLst>
              <a:rect l="0" t="0" r="r" b="b"/>
              <a:pathLst>
                <a:path w="82" h="73">
                  <a:moveTo>
                    <a:pt x="13" y="24"/>
                  </a:moveTo>
                  <a:cubicBezTo>
                    <a:pt x="16" y="21"/>
                    <a:pt x="20" y="23"/>
                    <a:pt x="24" y="28"/>
                  </a:cubicBezTo>
                  <a:cubicBezTo>
                    <a:pt x="24" y="29"/>
                    <a:pt x="25" y="28"/>
                    <a:pt x="25" y="28"/>
                  </a:cubicBezTo>
                  <a:cubicBezTo>
                    <a:pt x="26" y="27"/>
                    <a:pt x="31" y="22"/>
                    <a:pt x="31" y="22"/>
                  </a:cubicBezTo>
                  <a:cubicBezTo>
                    <a:pt x="32" y="22"/>
                    <a:pt x="32" y="21"/>
                    <a:pt x="32" y="21"/>
                  </a:cubicBezTo>
                  <a:cubicBezTo>
                    <a:pt x="31" y="20"/>
                    <a:pt x="30" y="18"/>
                    <a:pt x="29" y="17"/>
                  </a:cubicBezTo>
                  <a:cubicBezTo>
                    <a:pt x="21" y="7"/>
                    <a:pt x="49" y="1"/>
                    <a:pt x="45" y="1"/>
                  </a:cubicBezTo>
                  <a:cubicBezTo>
                    <a:pt x="42" y="1"/>
                    <a:pt x="34" y="0"/>
                    <a:pt x="32" y="1"/>
                  </a:cubicBezTo>
                  <a:cubicBezTo>
                    <a:pt x="27" y="1"/>
                    <a:pt x="21" y="6"/>
                    <a:pt x="17" y="8"/>
                  </a:cubicBezTo>
                  <a:cubicBezTo>
                    <a:pt x="13" y="11"/>
                    <a:pt x="11" y="13"/>
                    <a:pt x="11" y="13"/>
                  </a:cubicBezTo>
                  <a:cubicBezTo>
                    <a:pt x="10" y="14"/>
                    <a:pt x="11" y="17"/>
                    <a:pt x="9" y="19"/>
                  </a:cubicBezTo>
                  <a:cubicBezTo>
                    <a:pt x="6" y="21"/>
                    <a:pt x="5" y="19"/>
                    <a:pt x="3" y="21"/>
                  </a:cubicBezTo>
                  <a:cubicBezTo>
                    <a:pt x="3" y="21"/>
                    <a:pt x="1" y="23"/>
                    <a:pt x="0" y="23"/>
                  </a:cubicBezTo>
                  <a:cubicBezTo>
                    <a:pt x="0" y="23"/>
                    <a:pt x="0" y="24"/>
                    <a:pt x="0" y="25"/>
                  </a:cubicBezTo>
                  <a:cubicBezTo>
                    <a:pt x="0" y="25"/>
                    <a:pt x="5" y="31"/>
                    <a:pt x="6" y="31"/>
                  </a:cubicBezTo>
                  <a:cubicBezTo>
                    <a:pt x="6" y="32"/>
                    <a:pt x="7" y="32"/>
                    <a:pt x="8" y="31"/>
                  </a:cubicBezTo>
                  <a:cubicBezTo>
                    <a:pt x="9" y="31"/>
                    <a:pt x="11" y="29"/>
                    <a:pt x="11" y="29"/>
                  </a:cubicBezTo>
                  <a:cubicBezTo>
                    <a:pt x="11" y="29"/>
                    <a:pt x="11" y="25"/>
                    <a:pt x="13" y="24"/>
                  </a:cubicBezTo>
                  <a:close/>
                  <a:moveTo>
                    <a:pt x="36" y="26"/>
                  </a:moveTo>
                  <a:cubicBezTo>
                    <a:pt x="35" y="26"/>
                    <a:pt x="35" y="26"/>
                    <a:pt x="34" y="26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3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3" y="72"/>
                    <a:pt x="64" y="72"/>
                    <a:pt x="65" y="72"/>
                  </a:cubicBezTo>
                  <a:cubicBezTo>
                    <a:pt x="69" y="68"/>
                    <a:pt x="69" y="68"/>
                    <a:pt x="69" y="68"/>
                  </a:cubicBezTo>
                  <a:cubicBezTo>
                    <a:pt x="70" y="68"/>
                    <a:pt x="70" y="66"/>
                    <a:pt x="70" y="65"/>
                  </a:cubicBezTo>
                  <a:lnTo>
                    <a:pt x="36" y="26"/>
                  </a:lnTo>
                  <a:close/>
                  <a:moveTo>
                    <a:pt x="81" y="10"/>
                  </a:moveTo>
                  <a:cubicBezTo>
                    <a:pt x="81" y="8"/>
                    <a:pt x="80" y="8"/>
                    <a:pt x="79" y="9"/>
                  </a:cubicBezTo>
                  <a:cubicBezTo>
                    <a:pt x="79" y="10"/>
                    <a:pt x="76" y="14"/>
                    <a:pt x="75" y="15"/>
                  </a:cubicBezTo>
                  <a:cubicBezTo>
                    <a:pt x="74" y="17"/>
                    <a:pt x="72" y="20"/>
                    <a:pt x="67" y="17"/>
                  </a:cubicBezTo>
                  <a:cubicBezTo>
                    <a:pt x="63" y="14"/>
                    <a:pt x="64" y="11"/>
                    <a:pt x="65" y="10"/>
                  </a:cubicBezTo>
                  <a:cubicBezTo>
                    <a:pt x="66" y="8"/>
                    <a:pt x="69" y="4"/>
                    <a:pt x="69" y="3"/>
                  </a:cubicBezTo>
                  <a:cubicBezTo>
                    <a:pt x="69" y="3"/>
                    <a:pt x="69" y="1"/>
                    <a:pt x="67" y="2"/>
                  </a:cubicBezTo>
                  <a:cubicBezTo>
                    <a:pt x="66" y="2"/>
                    <a:pt x="57" y="6"/>
                    <a:pt x="56" y="11"/>
                  </a:cubicBezTo>
                  <a:cubicBezTo>
                    <a:pt x="55" y="16"/>
                    <a:pt x="57" y="21"/>
                    <a:pt x="52" y="25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61" y="29"/>
                    <a:pt x="64" y="28"/>
                    <a:pt x="67" y="28"/>
                  </a:cubicBezTo>
                  <a:cubicBezTo>
                    <a:pt x="74" y="30"/>
                    <a:pt x="78" y="27"/>
                    <a:pt x="80" y="23"/>
                  </a:cubicBezTo>
                  <a:cubicBezTo>
                    <a:pt x="82" y="20"/>
                    <a:pt x="81" y="12"/>
                    <a:pt x="81" y="10"/>
                  </a:cubicBezTo>
                  <a:close/>
                  <a:moveTo>
                    <a:pt x="11" y="66"/>
                  </a:moveTo>
                  <a:cubicBezTo>
                    <a:pt x="10" y="67"/>
                    <a:pt x="10" y="68"/>
                    <a:pt x="11" y="69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16" y="73"/>
                    <a:pt x="17" y="73"/>
                    <a:pt x="18" y="7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2" y="45"/>
                    <a:pt x="32" y="45"/>
                    <a:pt x="32" y="45"/>
                  </a:cubicBezTo>
                  <a:lnTo>
                    <a:pt x="11" y="66"/>
                  </a:ln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0" name="Freeform 49"/>
            <p:cNvSpPr>
              <a:spLocks noChangeAspect="1"/>
            </p:cNvSpPr>
            <p:nvPr/>
          </p:nvSpPr>
          <p:spPr bwMode="gray">
            <a:xfrm>
              <a:off x="6021842" y="1488112"/>
              <a:ext cx="106847" cy="324000"/>
            </a:xfrm>
            <a:custGeom>
              <a:avLst/>
              <a:gdLst/>
              <a:ahLst/>
              <a:cxnLst>
                <a:cxn ang="0">
                  <a:pos x="28" y="87"/>
                </a:cxn>
                <a:cxn ang="0">
                  <a:pos x="28" y="32"/>
                </a:cxn>
                <a:cxn ang="0">
                  <a:pos x="35" y="24"/>
                </a:cxn>
                <a:cxn ang="0">
                  <a:pos x="32" y="6"/>
                </a:cxn>
                <a:cxn ang="0">
                  <a:pos x="26" y="21"/>
                </a:cxn>
                <a:cxn ang="0">
                  <a:pos x="12" y="15"/>
                </a:cxn>
                <a:cxn ang="0">
                  <a:pos x="18" y="0"/>
                </a:cxn>
                <a:cxn ang="0">
                  <a:pos x="3" y="10"/>
                </a:cxn>
                <a:cxn ang="0">
                  <a:pos x="12" y="33"/>
                </a:cxn>
                <a:cxn ang="0">
                  <a:pos x="12" y="86"/>
                </a:cxn>
                <a:cxn ang="0">
                  <a:pos x="3" y="94"/>
                </a:cxn>
                <a:cxn ang="0">
                  <a:pos x="6" y="112"/>
                </a:cxn>
                <a:cxn ang="0">
                  <a:pos x="12" y="98"/>
                </a:cxn>
                <a:cxn ang="0">
                  <a:pos x="26" y="104"/>
                </a:cxn>
                <a:cxn ang="0">
                  <a:pos x="20" y="118"/>
                </a:cxn>
                <a:cxn ang="0">
                  <a:pos x="35" y="108"/>
                </a:cxn>
                <a:cxn ang="0">
                  <a:pos x="28" y="87"/>
                </a:cxn>
              </a:cxnLst>
              <a:rect l="0" t="0" r="r" b="b"/>
              <a:pathLst>
                <a:path w="38" h="118">
                  <a:moveTo>
                    <a:pt x="28" y="87"/>
                  </a:moveTo>
                  <a:cubicBezTo>
                    <a:pt x="28" y="32"/>
                    <a:pt x="28" y="32"/>
                    <a:pt x="28" y="32"/>
                  </a:cubicBezTo>
                  <a:cubicBezTo>
                    <a:pt x="31" y="30"/>
                    <a:pt x="33" y="27"/>
                    <a:pt x="35" y="24"/>
                  </a:cubicBezTo>
                  <a:cubicBezTo>
                    <a:pt x="37" y="18"/>
                    <a:pt x="36" y="11"/>
                    <a:pt x="32" y="6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2" y="0"/>
                    <a:pt x="6" y="4"/>
                    <a:pt x="3" y="10"/>
                  </a:cubicBezTo>
                  <a:cubicBezTo>
                    <a:pt x="0" y="19"/>
                    <a:pt x="4" y="29"/>
                    <a:pt x="12" y="33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8" y="87"/>
                    <a:pt x="5" y="90"/>
                    <a:pt x="3" y="94"/>
                  </a:cubicBezTo>
                  <a:cubicBezTo>
                    <a:pt x="1" y="101"/>
                    <a:pt x="2" y="107"/>
                    <a:pt x="6" y="112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20" y="118"/>
                    <a:pt x="20" y="118"/>
                    <a:pt x="20" y="118"/>
                  </a:cubicBezTo>
                  <a:cubicBezTo>
                    <a:pt x="26" y="118"/>
                    <a:pt x="32" y="114"/>
                    <a:pt x="35" y="108"/>
                  </a:cubicBezTo>
                  <a:cubicBezTo>
                    <a:pt x="38" y="100"/>
                    <a:pt x="35" y="91"/>
                    <a:pt x="28" y="87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1" name="Freeform 53"/>
            <p:cNvSpPr>
              <a:spLocks noChangeAspect="1" noEditPoints="1"/>
            </p:cNvSpPr>
            <p:nvPr/>
          </p:nvSpPr>
          <p:spPr bwMode="gray">
            <a:xfrm>
              <a:off x="6551165" y="1482712"/>
              <a:ext cx="101274" cy="334800"/>
            </a:xfrm>
            <a:custGeom>
              <a:avLst/>
              <a:gdLst/>
              <a:ahLst/>
              <a:cxnLst>
                <a:cxn ang="0">
                  <a:pos x="26" y="85"/>
                </a:cxn>
                <a:cxn ang="0">
                  <a:pos x="26" y="32"/>
                </a:cxn>
                <a:cxn ang="0">
                  <a:pos x="35" y="16"/>
                </a:cxn>
                <a:cxn ang="0">
                  <a:pos x="25" y="0"/>
                </a:cxn>
                <a:cxn ang="0">
                  <a:pos x="25" y="11"/>
                </a:cxn>
                <a:cxn ang="0">
                  <a:pos x="19" y="17"/>
                </a:cxn>
                <a:cxn ang="0">
                  <a:pos x="15" y="17"/>
                </a:cxn>
                <a:cxn ang="0">
                  <a:pos x="10" y="11"/>
                </a:cxn>
                <a:cxn ang="0">
                  <a:pos x="9" y="0"/>
                </a:cxn>
                <a:cxn ang="0">
                  <a:pos x="0" y="16"/>
                </a:cxn>
                <a:cxn ang="0">
                  <a:pos x="9" y="32"/>
                </a:cxn>
                <a:cxn ang="0">
                  <a:pos x="9" y="85"/>
                </a:cxn>
                <a:cxn ang="0">
                  <a:pos x="0" y="100"/>
                </a:cxn>
                <a:cxn ang="0">
                  <a:pos x="17" y="118"/>
                </a:cxn>
                <a:cxn ang="0">
                  <a:pos x="35" y="100"/>
                </a:cxn>
                <a:cxn ang="0">
                  <a:pos x="26" y="85"/>
                </a:cxn>
                <a:cxn ang="0">
                  <a:pos x="22" y="109"/>
                </a:cxn>
                <a:cxn ang="0">
                  <a:pos x="13" y="109"/>
                </a:cxn>
                <a:cxn ang="0">
                  <a:pos x="8" y="100"/>
                </a:cxn>
                <a:cxn ang="0">
                  <a:pos x="13" y="92"/>
                </a:cxn>
                <a:cxn ang="0">
                  <a:pos x="22" y="92"/>
                </a:cxn>
                <a:cxn ang="0">
                  <a:pos x="27" y="100"/>
                </a:cxn>
                <a:cxn ang="0">
                  <a:pos x="22" y="109"/>
                </a:cxn>
              </a:cxnLst>
              <a:rect l="0" t="0" r="r" b="b"/>
              <a:pathLst>
                <a:path w="35" h="118">
                  <a:moveTo>
                    <a:pt x="26" y="85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31" y="29"/>
                    <a:pt x="35" y="23"/>
                    <a:pt x="35" y="16"/>
                  </a:cubicBezTo>
                  <a:cubicBezTo>
                    <a:pt x="35" y="9"/>
                    <a:pt x="31" y="3"/>
                    <a:pt x="25" y="0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4"/>
                    <a:pt x="23" y="17"/>
                    <a:pt x="19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2" y="17"/>
                    <a:pt x="10" y="14"/>
                    <a:pt x="10" y="1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3"/>
                    <a:pt x="0" y="9"/>
                    <a:pt x="0" y="16"/>
                  </a:cubicBezTo>
                  <a:cubicBezTo>
                    <a:pt x="0" y="23"/>
                    <a:pt x="4" y="29"/>
                    <a:pt x="9" y="32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4" y="88"/>
                    <a:pt x="0" y="94"/>
                    <a:pt x="0" y="100"/>
                  </a:cubicBezTo>
                  <a:cubicBezTo>
                    <a:pt x="0" y="110"/>
                    <a:pt x="8" y="118"/>
                    <a:pt x="17" y="118"/>
                  </a:cubicBezTo>
                  <a:cubicBezTo>
                    <a:pt x="27" y="118"/>
                    <a:pt x="35" y="110"/>
                    <a:pt x="35" y="100"/>
                  </a:cubicBezTo>
                  <a:cubicBezTo>
                    <a:pt x="35" y="94"/>
                    <a:pt x="31" y="88"/>
                    <a:pt x="26" y="85"/>
                  </a:cubicBezTo>
                  <a:close/>
                  <a:moveTo>
                    <a:pt x="22" y="109"/>
                  </a:moveTo>
                  <a:cubicBezTo>
                    <a:pt x="13" y="109"/>
                    <a:pt x="13" y="109"/>
                    <a:pt x="13" y="109"/>
                  </a:cubicBezTo>
                  <a:cubicBezTo>
                    <a:pt x="8" y="100"/>
                    <a:pt x="8" y="100"/>
                    <a:pt x="8" y="100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22" y="92"/>
                    <a:pt x="22" y="92"/>
                    <a:pt x="22" y="92"/>
                  </a:cubicBezTo>
                  <a:cubicBezTo>
                    <a:pt x="27" y="100"/>
                    <a:pt x="27" y="100"/>
                    <a:pt x="27" y="100"/>
                  </a:cubicBezTo>
                  <a:lnTo>
                    <a:pt x="22" y="109"/>
                  </a:ln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2" name="Freeform 57"/>
            <p:cNvSpPr>
              <a:spLocks noChangeAspect="1" noEditPoints="1"/>
            </p:cNvSpPr>
            <p:nvPr/>
          </p:nvSpPr>
          <p:spPr bwMode="gray">
            <a:xfrm>
              <a:off x="6933982" y="1503055"/>
              <a:ext cx="334800" cy="294131"/>
            </a:xfrm>
            <a:custGeom>
              <a:avLst/>
              <a:gdLst/>
              <a:ahLst/>
              <a:cxnLst>
                <a:cxn ang="0">
                  <a:pos x="109" y="95"/>
                </a:cxn>
                <a:cxn ang="0">
                  <a:pos x="109" y="40"/>
                </a:cxn>
                <a:cxn ang="0">
                  <a:pos x="103" y="40"/>
                </a:cxn>
                <a:cxn ang="0">
                  <a:pos x="103" y="6"/>
                </a:cxn>
                <a:cxn ang="0">
                  <a:pos x="97" y="0"/>
                </a:cxn>
                <a:cxn ang="0">
                  <a:pos x="91" y="6"/>
                </a:cxn>
                <a:cxn ang="0">
                  <a:pos x="91" y="40"/>
                </a:cxn>
                <a:cxn ang="0">
                  <a:pos x="81" y="40"/>
                </a:cxn>
                <a:cxn ang="0">
                  <a:pos x="81" y="27"/>
                </a:cxn>
                <a:cxn ang="0">
                  <a:pos x="61" y="40"/>
                </a:cxn>
                <a:cxn ang="0">
                  <a:pos x="58" y="40"/>
                </a:cxn>
                <a:cxn ang="0">
                  <a:pos x="58" y="27"/>
                </a:cxn>
                <a:cxn ang="0">
                  <a:pos x="37" y="40"/>
                </a:cxn>
                <a:cxn ang="0">
                  <a:pos x="36" y="40"/>
                </a:cxn>
                <a:cxn ang="0">
                  <a:pos x="36" y="27"/>
                </a:cxn>
                <a:cxn ang="0">
                  <a:pos x="15" y="40"/>
                </a:cxn>
                <a:cxn ang="0">
                  <a:pos x="5" y="40"/>
                </a:cxn>
                <a:cxn ang="0">
                  <a:pos x="5" y="95"/>
                </a:cxn>
                <a:cxn ang="0">
                  <a:pos x="0" y="95"/>
                </a:cxn>
                <a:cxn ang="0">
                  <a:pos x="0" y="100"/>
                </a:cxn>
                <a:cxn ang="0">
                  <a:pos x="114" y="100"/>
                </a:cxn>
                <a:cxn ang="0">
                  <a:pos x="114" y="95"/>
                </a:cxn>
                <a:cxn ang="0">
                  <a:pos x="109" y="95"/>
                </a:cxn>
                <a:cxn ang="0">
                  <a:pos x="40" y="81"/>
                </a:cxn>
                <a:cxn ang="0">
                  <a:pos x="25" y="81"/>
                </a:cxn>
                <a:cxn ang="0">
                  <a:pos x="25" y="72"/>
                </a:cxn>
                <a:cxn ang="0">
                  <a:pos x="40" y="72"/>
                </a:cxn>
                <a:cxn ang="0">
                  <a:pos x="40" y="81"/>
                </a:cxn>
                <a:cxn ang="0">
                  <a:pos x="40" y="64"/>
                </a:cxn>
                <a:cxn ang="0">
                  <a:pos x="25" y="64"/>
                </a:cxn>
                <a:cxn ang="0">
                  <a:pos x="25" y="55"/>
                </a:cxn>
                <a:cxn ang="0">
                  <a:pos x="40" y="55"/>
                </a:cxn>
                <a:cxn ang="0">
                  <a:pos x="40" y="64"/>
                </a:cxn>
                <a:cxn ang="0">
                  <a:pos x="65" y="81"/>
                </a:cxn>
                <a:cxn ang="0">
                  <a:pos x="50" y="81"/>
                </a:cxn>
                <a:cxn ang="0">
                  <a:pos x="50" y="72"/>
                </a:cxn>
                <a:cxn ang="0">
                  <a:pos x="65" y="72"/>
                </a:cxn>
                <a:cxn ang="0">
                  <a:pos x="65" y="81"/>
                </a:cxn>
                <a:cxn ang="0">
                  <a:pos x="65" y="64"/>
                </a:cxn>
                <a:cxn ang="0">
                  <a:pos x="50" y="64"/>
                </a:cxn>
                <a:cxn ang="0">
                  <a:pos x="50" y="55"/>
                </a:cxn>
                <a:cxn ang="0">
                  <a:pos x="65" y="55"/>
                </a:cxn>
                <a:cxn ang="0">
                  <a:pos x="65" y="64"/>
                </a:cxn>
                <a:cxn ang="0">
                  <a:pos x="89" y="81"/>
                </a:cxn>
                <a:cxn ang="0">
                  <a:pos x="74" y="81"/>
                </a:cxn>
                <a:cxn ang="0">
                  <a:pos x="74" y="72"/>
                </a:cxn>
                <a:cxn ang="0">
                  <a:pos x="89" y="72"/>
                </a:cxn>
                <a:cxn ang="0">
                  <a:pos x="89" y="81"/>
                </a:cxn>
                <a:cxn ang="0">
                  <a:pos x="89" y="64"/>
                </a:cxn>
                <a:cxn ang="0">
                  <a:pos x="74" y="64"/>
                </a:cxn>
                <a:cxn ang="0">
                  <a:pos x="74" y="55"/>
                </a:cxn>
                <a:cxn ang="0">
                  <a:pos x="89" y="55"/>
                </a:cxn>
                <a:cxn ang="0">
                  <a:pos x="89" y="64"/>
                </a:cxn>
              </a:cxnLst>
              <a:rect l="0" t="0" r="r" b="b"/>
              <a:pathLst>
                <a:path w="114" h="100">
                  <a:moveTo>
                    <a:pt x="109" y="95"/>
                  </a:moveTo>
                  <a:cubicBezTo>
                    <a:pt x="109" y="40"/>
                    <a:pt x="109" y="40"/>
                    <a:pt x="109" y="40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3"/>
                    <a:pt x="100" y="0"/>
                    <a:pt x="97" y="0"/>
                  </a:cubicBezTo>
                  <a:cubicBezTo>
                    <a:pt x="94" y="0"/>
                    <a:pt x="91" y="3"/>
                    <a:pt x="91" y="6"/>
                  </a:cubicBezTo>
                  <a:cubicBezTo>
                    <a:pt x="91" y="40"/>
                    <a:pt x="91" y="40"/>
                    <a:pt x="91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58" y="40"/>
                    <a:pt x="58" y="40"/>
                    <a:pt x="58" y="40"/>
                  </a:cubicBezTo>
                  <a:cubicBezTo>
                    <a:pt x="58" y="27"/>
                    <a:pt x="58" y="27"/>
                    <a:pt x="58" y="27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4" y="95"/>
                    <a:pt x="114" y="95"/>
                    <a:pt x="114" y="95"/>
                  </a:cubicBezTo>
                  <a:lnTo>
                    <a:pt x="109" y="95"/>
                  </a:lnTo>
                  <a:close/>
                  <a:moveTo>
                    <a:pt x="40" y="81"/>
                  </a:moveTo>
                  <a:cubicBezTo>
                    <a:pt x="25" y="81"/>
                    <a:pt x="25" y="81"/>
                    <a:pt x="25" y="81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40" y="72"/>
                    <a:pt x="40" y="72"/>
                    <a:pt x="40" y="72"/>
                  </a:cubicBezTo>
                  <a:lnTo>
                    <a:pt x="40" y="81"/>
                  </a:lnTo>
                  <a:close/>
                  <a:moveTo>
                    <a:pt x="40" y="64"/>
                  </a:moveTo>
                  <a:cubicBezTo>
                    <a:pt x="25" y="64"/>
                    <a:pt x="25" y="64"/>
                    <a:pt x="25" y="64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40" y="55"/>
                    <a:pt x="40" y="55"/>
                    <a:pt x="40" y="55"/>
                  </a:cubicBezTo>
                  <a:lnTo>
                    <a:pt x="40" y="64"/>
                  </a:lnTo>
                  <a:close/>
                  <a:moveTo>
                    <a:pt x="65" y="81"/>
                  </a:moveTo>
                  <a:cubicBezTo>
                    <a:pt x="50" y="81"/>
                    <a:pt x="50" y="81"/>
                    <a:pt x="50" y="81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65" y="72"/>
                    <a:pt x="65" y="72"/>
                    <a:pt x="65" y="72"/>
                  </a:cubicBezTo>
                  <a:lnTo>
                    <a:pt x="65" y="81"/>
                  </a:lnTo>
                  <a:close/>
                  <a:moveTo>
                    <a:pt x="65" y="64"/>
                  </a:moveTo>
                  <a:cubicBezTo>
                    <a:pt x="50" y="64"/>
                    <a:pt x="50" y="64"/>
                    <a:pt x="50" y="64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65" y="55"/>
                    <a:pt x="65" y="55"/>
                    <a:pt x="65" y="55"/>
                  </a:cubicBezTo>
                  <a:lnTo>
                    <a:pt x="65" y="64"/>
                  </a:lnTo>
                  <a:close/>
                  <a:moveTo>
                    <a:pt x="89" y="81"/>
                  </a:moveTo>
                  <a:cubicBezTo>
                    <a:pt x="74" y="81"/>
                    <a:pt x="74" y="81"/>
                    <a:pt x="74" y="81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89" y="72"/>
                    <a:pt x="89" y="72"/>
                    <a:pt x="89" y="72"/>
                  </a:cubicBezTo>
                  <a:lnTo>
                    <a:pt x="89" y="81"/>
                  </a:lnTo>
                  <a:close/>
                  <a:moveTo>
                    <a:pt x="89" y="64"/>
                  </a:moveTo>
                  <a:cubicBezTo>
                    <a:pt x="74" y="64"/>
                    <a:pt x="74" y="64"/>
                    <a:pt x="74" y="64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89" y="55"/>
                    <a:pt x="89" y="55"/>
                    <a:pt x="89" y="55"/>
                  </a:cubicBezTo>
                  <a:lnTo>
                    <a:pt x="89" y="64"/>
                  </a:ln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3" name="Freeform 61"/>
            <p:cNvSpPr>
              <a:spLocks noChangeAspect="1" noEditPoints="1"/>
            </p:cNvSpPr>
            <p:nvPr/>
          </p:nvSpPr>
          <p:spPr bwMode="gray">
            <a:xfrm>
              <a:off x="8488881" y="1539061"/>
              <a:ext cx="216000" cy="222102"/>
            </a:xfrm>
            <a:custGeom>
              <a:avLst/>
              <a:gdLst/>
              <a:ahLst/>
              <a:cxnLst>
                <a:cxn ang="0">
                  <a:pos x="69" y="20"/>
                </a:cxn>
                <a:cxn ang="0">
                  <a:pos x="58" y="15"/>
                </a:cxn>
                <a:cxn ang="0">
                  <a:pos x="58" y="0"/>
                </a:cxn>
                <a:cxn ang="0">
                  <a:pos x="0" y="0"/>
                </a:cxn>
                <a:cxn ang="0">
                  <a:pos x="0" y="60"/>
                </a:cxn>
                <a:cxn ang="0">
                  <a:pos x="7" y="67"/>
                </a:cxn>
                <a:cxn ang="0">
                  <a:pos x="51" y="67"/>
                </a:cxn>
                <a:cxn ang="0">
                  <a:pos x="58" y="60"/>
                </a:cxn>
                <a:cxn ang="0">
                  <a:pos x="58" y="51"/>
                </a:cxn>
                <a:cxn ang="0">
                  <a:pos x="69" y="46"/>
                </a:cxn>
                <a:cxn ang="0">
                  <a:pos x="74" y="33"/>
                </a:cxn>
                <a:cxn ang="0">
                  <a:pos x="69" y="20"/>
                </a:cxn>
                <a:cxn ang="0">
                  <a:pos x="64" y="41"/>
                </a:cxn>
                <a:cxn ang="0">
                  <a:pos x="58" y="44"/>
                </a:cxn>
                <a:cxn ang="0">
                  <a:pos x="58" y="22"/>
                </a:cxn>
                <a:cxn ang="0">
                  <a:pos x="64" y="25"/>
                </a:cxn>
                <a:cxn ang="0">
                  <a:pos x="67" y="33"/>
                </a:cxn>
                <a:cxn ang="0">
                  <a:pos x="64" y="41"/>
                </a:cxn>
                <a:cxn ang="0">
                  <a:pos x="55" y="70"/>
                </a:cxn>
                <a:cxn ang="0">
                  <a:pos x="3" y="70"/>
                </a:cxn>
                <a:cxn ang="0">
                  <a:pos x="0" y="73"/>
                </a:cxn>
                <a:cxn ang="0">
                  <a:pos x="3" y="76"/>
                </a:cxn>
                <a:cxn ang="0">
                  <a:pos x="55" y="76"/>
                </a:cxn>
                <a:cxn ang="0">
                  <a:pos x="58" y="73"/>
                </a:cxn>
                <a:cxn ang="0">
                  <a:pos x="55" y="70"/>
                </a:cxn>
              </a:cxnLst>
              <a:rect l="0" t="0" r="r" b="b"/>
              <a:pathLst>
                <a:path w="74" h="76">
                  <a:moveTo>
                    <a:pt x="69" y="20"/>
                  </a:moveTo>
                  <a:cubicBezTo>
                    <a:pt x="67" y="17"/>
                    <a:pt x="62" y="15"/>
                    <a:pt x="58" y="15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4"/>
                    <a:pt x="3" y="67"/>
                    <a:pt x="7" y="67"/>
                  </a:cubicBezTo>
                  <a:cubicBezTo>
                    <a:pt x="51" y="67"/>
                    <a:pt x="51" y="67"/>
                    <a:pt x="51" y="67"/>
                  </a:cubicBezTo>
                  <a:cubicBezTo>
                    <a:pt x="55" y="67"/>
                    <a:pt x="58" y="64"/>
                    <a:pt x="58" y="60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62" y="51"/>
                    <a:pt x="67" y="49"/>
                    <a:pt x="69" y="46"/>
                  </a:cubicBezTo>
                  <a:cubicBezTo>
                    <a:pt x="72" y="42"/>
                    <a:pt x="74" y="38"/>
                    <a:pt x="74" y="33"/>
                  </a:cubicBezTo>
                  <a:cubicBezTo>
                    <a:pt x="74" y="28"/>
                    <a:pt x="72" y="23"/>
                    <a:pt x="69" y="20"/>
                  </a:cubicBezTo>
                  <a:close/>
                  <a:moveTo>
                    <a:pt x="64" y="41"/>
                  </a:moveTo>
                  <a:cubicBezTo>
                    <a:pt x="63" y="43"/>
                    <a:pt x="60" y="44"/>
                    <a:pt x="58" y="44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60" y="22"/>
                    <a:pt x="63" y="23"/>
                    <a:pt x="64" y="25"/>
                  </a:cubicBezTo>
                  <a:cubicBezTo>
                    <a:pt x="66" y="27"/>
                    <a:pt x="67" y="30"/>
                    <a:pt x="67" y="33"/>
                  </a:cubicBezTo>
                  <a:cubicBezTo>
                    <a:pt x="67" y="36"/>
                    <a:pt x="66" y="39"/>
                    <a:pt x="64" y="41"/>
                  </a:cubicBezTo>
                  <a:close/>
                  <a:moveTo>
                    <a:pt x="55" y="70"/>
                  </a:moveTo>
                  <a:cubicBezTo>
                    <a:pt x="3" y="70"/>
                    <a:pt x="3" y="70"/>
                    <a:pt x="3" y="70"/>
                  </a:cubicBezTo>
                  <a:cubicBezTo>
                    <a:pt x="2" y="70"/>
                    <a:pt x="0" y="71"/>
                    <a:pt x="0" y="73"/>
                  </a:cubicBezTo>
                  <a:cubicBezTo>
                    <a:pt x="0" y="75"/>
                    <a:pt x="2" y="76"/>
                    <a:pt x="3" y="76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6" y="76"/>
                    <a:pt x="58" y="75"/>
                    <a:pt x="58" y="73"/>
                  </a:cubicBezTo>
                  <a:cubicBezTo>
                    <a:pt x="58" y="71"/>
                    <a:pt x="56" y="70"/>
                    <a:pt x="55" y="70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4" name="Freeform 65"/>
            <p:cNvSpPr>
              <a:spLocks noChangeAspect="1"/>
            </p:cNvSpPr>
            <p:nvPr/>
          </p:nvSpPr>
          <p:spPr bwMode="gray">
            <a:xfrm>
              <a:off x="7978458" y="1537341"/>
              <a:ext cx="234000" cy="225542"/>
            </a:xfrm>
            <a:custGeom>
              <a:avLst/>
              <a:gdLst/>
              <a:ahLst/>
              <a:cxnLst>
                <a:cxn ang="0">
                  <a:pos x="74" y="78"/>
                </a:cxn>
                <a:cxn ang="0">
                  <a:pos x="76" y="76"/>
                </a:cxn>
                <a:cxn ang="0">
                  <a:pos x="76" y="26"/>
                </a:cxn>
                <a:cxn ang="0">
                  <a:pos x="80" y="26"/>
                </a:cxn>
                <a:cxn ang="0">
                  <a:pos x="80" y="24"/>
                </a:cxn>
                <a:cxn ang="0">
                  <a:pos x="69" y="17"/>
                </a:cxn>
                <a:cxn ang="0">
                  <a:pos x="69" y="7"/>
                </a:cxn>
                <a:cxn ang="0">
                  <a:pos x="68" y="6"/>
                </a:cxn>
                <a:cxn ang="0">
                  <a:pos x="63" y="6"/>
                </a:cxn>
                <a:cxn ang="0">
                  <a:pos x="62" y="7"/>
                </a:cxn>
                <a:cxn ang="0">
                  <a:pos x="62" y="12"/>
                </a:cxn>
                <a:cxn ang="0">
                  <a:pos x="45" y="1"/>
                </a:cxn>
                <a:cxn ang="0">
                  <a:pos x="41" y="1"/>
                </a:cxn>
                <a:cxn ang="0">
                  <a:pos x="1" y="24"/>
                </a:cxn>
                <a:cxn ang="0">
                  <a:pos x="2" y="26"/>
                </a:cxn>
                <a:cxn ang="0">
                  <a:pos x="5" y="26"/>
                </a:cxn>
                <a:cxn ang="0">
                  <a:pos x="5" y="76"/>
                </a:cxn>
                <a:cxn ang="0">
                  <a:pos x="8" y="78"/>
                </a:cxn>
                <a:cxn ang="0">
                  <a:pos x="74" y="78"/>
                </a:cxn>
              </a:cxnLst>
              <a:rect l="0" t="0" r="r" b="b"/>
              <a:pathLst>
                <a:path w="81" h="78">
                  <a:moveTo>
                    <a:pt x="74" y="78"/>
                  </a:moveTo>
                  <a:cubicBezTo>
                    <a:pt x="75" y="78"/>
                    <a:pt x="76" y="77"/>
                    <a:pt x="76" y="76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1" y="26"/>
                    <a:pt x="81" y="25"/>
                    <a:pt x="80" y="24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9" y="6"/>
                    <a:pt x="69" y="6"/>
                    <a:pt x="68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6"/>
                    <a:pt x="62" y="6"/>
                    <a:pt x="62" y="7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4" y="0"/>
                    <a:pt x="42" y="0"/>
                    <a:pt x="41" y="1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5"/>
                    <a:pt x="0" y="26"/>
                    <a:pt x="2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7"/>
                    <a:pt x="6" y="78"/>
                    <a:pt x="8" y="78"/>
                  </a:cubicBezTo>
                  <a:lnTo>
                    <a:pt x="74" y="78"/>
                  </a:ln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5" name="Freeform 69"/>
            <p:cNvSpPr>
              <a:spLocks noChangeAspect="1"/>
            </p:cNvSpPr>
            <p:nvPr/>
          </p:nvSpPr>
          <p:spPr bwMode="gray">
            <a:xfrm>
              <a:off x="7453857" y="1532869"/>
              <a:ext cx="262800" cy="234486"/>
            </a:xfrm>
            <a:custGeom>
              <a:avLst/>
              <a:gdLst/>
              <a:ahLst/>
              <a:cxnLst>
                <a:cxn ang="0">
                  <a:pos x="90" y="43"/>
                </a:cxn>
                <a:cxn ang="0">
                  <a:pos x="50" y="2"/>
                </a:cxn>
                <a:cxn ang="0">
                  <a:pos x="42" y="2"/>
                </a:cxn>
                <a:cxn ang="0">
                  <a:pos x="2" y="43"/>
                </a:cxn>
                <a:cxn ang="0">
                  <a:pos x="3" y="47"/>
                </a:cxn>
                <a:cxn ang="0">
                  <a:pos x="12" y="47"/>
                </a:cxn>
                <a:cxn ang="0">
                  <a:pos x="12" y="78"/>
                </a:cxn>
                <a:cxn ang="0">
                  <a:pos x="16" y="82"/>
                </a:cxn>
                <a:cxn ang="0">
                  <a:pos x="36" y="82"/>
                </a:cxn>
                <a:cxn ang="0">
                  <a:pos x="36" y="51"/>
                </a:cxn>
                <a:cxn ang="0">
                  <a:pos x="56" y="51"/>
                </a:cxn>
                <a:cxn ang="0">
                  <a:pos x="56" y="82"/>
                </a:cxn>
                <a:cxn ang="0">
                  <a:pos x="77" y="82"/>
                </a:cxn>
                <a:cxn ang="0">
                  <a:pos x="80" y="78"/>
                </a:cxn>
                <a:cxn ang="0">
                  <a:pos x="80" y="47"/>
                </a:cxn>
                <a:cxn ang="0">
                  <a:pos x="88" y="47"/>
                </a:cxn>
                <a:cxn ang="0">
                  <a:pos x="90" y="43"/>
                </a:cxn>
              </a:cxnLst>
              <a:rect l="0" t="0" r="r" b="b"/>
              <a:pathLst>
                <a:path w="92" h="82">
                  <a:moveTo>
                    <a:pt x="90" y="43"/>
                  </a:moveTo>
                  <a:cubicBezTo>
                    <a:pt x="50" y="2"/>
                    <a:pt x="50" y="2"/>
                    <a:pt x="50" y="2"/>
                  </a:cubicBezTo>
                  <a:cubicBezTo>
                    <a:pt x="48" y="0"/>
                    <a:pt x="44" y="0"/>
                    <a:pt x="42" y="2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0" y="45"/>
                    <a:pt x="0" y="47"/>
                    <a:pt x="3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80"/>
                    <a:pt x="12" y="82"/>
                    <a:pt x="1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80" y="82"/>
                    <a:pt x="80" y="80"/>
                    <a:pt x="80" y="78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91" y="47"/>
                    <a:pt x="92" y="45"/>
                    <a:pt x="90" y="43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6" name="Freeform 5"/>
            <p:cNvSpPr>
              <a:spLocks noChangeAspect="1" noEditPoints="1"/>
            </p:cNvSpPr>
            <p:nvPr/>
          </p:nvSpPr>
          <p:spPr bwMode="gray">
            <a:xfrm>
              <a:off x="435016" y="2055395"/>
              <a:ext cx="241200" cy="194847"/>
            </a:xfrm>
            <a:custGeom>
              <a:avLst/>
              <a:gdLst/>
              <a:ahLst/>
              <a:cxnLst>
                <a:cxn ang="0">
                  <a:pos x="73" y="0"/>
                </a:cxn>
                <a:cxn ang="0">
                  <a:pos x="8" y="0"/>
                </a:cxn>
                <a:cxn ang="0">
                  <a:pos x="0" y="9"/>
                </a:cxn>
                <a:cxn ang="0">
                  <a:pos x="0" y="58"/>
                </a:cxn>
                <a:cxn ang="0">
                  <a:pos x="8" y="66"/>
                </a:cxn>
                <a:cxn ang="0">
                  <a:pos x="73" y="66"/>
                </a:cxn>
                <a:cxn ang="0">
                  <a:pos x="82" y="58"/>
                </a:cxn>
                <a:cxn ang="0">
                  <a:pos x="82" y="9"/>
                </a:cxn>
                <a:cxn ang="0">
                  <a:pos x="73" y="0"/>
                </a:cxn>
                <a:cxn ang="0">
                  <a:pos x="73" y="58"/>
                </a:cxn>
                <a:cxn ang="0">
                  <a:pos x="8" y="58"/>
                </a:cxn>
                <a:cxn ang="0">
                  <a:pos x="8" y="9"/>
                </a:cxn>
                <a:cxn ang="0">
                  <a:pos x="73" y="9"/>
                </a:cxn>
                <a:cxn ang="0">
                  <a:pos x="73" y="58"/>
                </a:cxn>
                <a:cxn ang="0">
                  <a:pos x="36" y="42"/>
                </a:cxn>
                <a:cxn ang="0">
                  <a:pos x="16" y="42"/>
                </a:cxn>
                <a:cxn ang="0">
                  <a:pos x="16" y="49"/>
                </a:cxn>
                <a:cxn ang="0">
                  <a:pos x="36" y="49"/>
                </a:cxn>
                <a:cxn ang="0">
                  <a:pos x="36" y="42"/>
                </a:cxn>
                <a:cxn ang="0">
                  <a:pos x="36" y="29"/>
                </a:cxn>
                <a:cxn ang="0">
                  <a:pos x="16" y="29"/>
                </a:cxn>
                <a:cxn ang="0">
                  <a:pos x="16" y="37"/>
                </a:cxn>
                <a:cxn ang="0">
                  <a:pos x="36" y="37"/>
                </a:cxn>
                <a:cxn ang="0">
                  <a:pos x="36" y="29"/>
                </a:cxn>
                <a:cxn ang="0">
                  <a:pos x="36" y="17"/>
                </a:cxn>
                <a:cxn ang="0">
                  <a:pos x="16" y="17"/>
                </a:cxn>
                <a:cxn ang="0">
                  <a:pos x="16" y="25"/>
                </a:cxn>
                <a:cxn ang="0">
                  <a:pos x="36" y="25"/>
                </a:cxn>
                <a:cxn ang="0">
                  <a:pos x="36" y="17"/>
                </a:cxn>
                <a:cxn ang="0">
                  <a:pos x="65" y="43"/>
                </a:cxn>
                <a:cxn ang="0">
                  <a:pos x="58" y="38"/>
                </a:cxn>
                <a:cxn ang="0">
                  <a:pos x="62" y="26"/>
                </a:cxn>
                <a:cxn ang="0">
                  <a:pos x="55" y="17"/>
                </a:cxn>
                <a:cxn ang="0">
                  <a:pos x="48" y="26"/>
                </a:cxn>
                <a:cxn ang="0">
                  <a:pos x="52" y="38"/>
                </a:cxn>
                <a:cxn ang="0">
                  <a:pos x="45" y="43"/>
                </a:cxn>
                <a:cxn ang="0">
                  <a:pos x="45" y="49"/>
                </a:cxn>
                <a:cxn ang="0">
                  <a:pos x="65" y="49"/>
                </a:cxn>
                <a:cxn ang="0">
                  <a:pos x="65" y="43"/>
                </a:cxn>
              </a:cxnLst>
              <a:rect l="0" t="0" r="r" b="b"/>
              <a:pathLst>
                <a:path w="82" h="66">
                  <a:moveTo>
                    <a:pt x="73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62"/>
                    <a:pt x="3" y="66"/>
                    <a:pt x="8" y="66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8" y="66"/>
                    <a:pt x="82" y="62"/>
                    <a:pt x="82" y="58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2" y="4"/>
                    <a:pt x="78" y="0"/>
                    <a:pt x="73" y="0"/>
                  </a:cubicBezTo>
                  <a:close/>
                  <a:moveTo>
                    <a:pt x="73" y="58"/>
                  </a:moveTo>
                  <a:cubicBezTo>
                    <a:pt x="8" y="58"/>
                    <a:pt x="8" y="58"/>
                    <a:pt x="8" y="58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3" y="9"/>
                    <a:pt x="73" y="9"/>
                    <a:pt x="73" y="9"/>
                  </a:cubicBezTo>
                  <a:lnTo>
                    <a:pt x="73" y="58"/>
                  </a:lnTo>
                  <a:close/>
                  <a:moveTo>
                    <a:pt x="36" y="42"/>
                  </a:moveTo>
                  <a:cubicBezTo>
                    <a:pt x="16" y="42"/>
                    <a:pt x="16" y="42"/>
                    <a:pt x="16" y="42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36" y="49"/>
                    <a:pt x="36" y="49"/>
                    <a:pt x="36" y="49"/>
                  </a:cubicBezTo>
                  <a:lnTo>
                    <a:pt x="36" y="42"/>
                  </a:lnTo>
                  <a:close/>
                  <a:moveTo>
                    <a:pt x="36" y="29"/>
                  </a:moveTo>
                  <a:cubicBezTo>
                    <a:pt x="16" y="29"/>
                    <a:pt x="16" y="29"/>
                    <a:pt x="16" y="29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36" y="37"/>
                    <a:pt x="36" y="37"/>
                    <a:pt x="36" y="37"/>
                  </a:cubicBezTo>
                  <a:lnTo>
                    <a:pt x="36" y="29"/>
                  </a:lnTo>
                  <a:close/>
                  <a:moveTo>
                    <a:pt x="36" y="17"/>
                  </a:moveTo>
                  <a:cubicBezTo>
                    <a:pt x="16" y="17"/>
                    <a:pt x="16" y="17"/>
                    <a:pt x="16" y="17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36" y="25"/>
                    <a:pt x="36" y="25"/>
                    <a:pt x="36" y="25"/>
                  </a:cubicBezTo>
                  <a:lnTo>
                    <a:pt x="36" y="17"/>
                  </a:lnTo>
                  <a:close/>
                  <a:moveTo>
                    <a:pt x="65" y="43"/>
                  </a:moveTo>
                  <a:cubicBezTo>
                    <a:pt x="65" y="43"/>
                    <a:pt x="58" y="42"/>
                    <a:pt x="58" y="38"/>
                  </a:cubicBezTo>
                  <a:cubicBezTo>
                    <a:pt x="58" y="35"/>
                    <a:pt x="62" y="33"/>
                    <a:pt x="62" y="26"/>
                  </a:cubicBezTo>
                  <a:cubicBezTo>
                    <a:pt x="62" y="21"/>
                    <a:pt x="61" y="17"/>
                    <a:pt x="55" y="17"/>
                  </a:cubicBezTo>
                  <a:cubicBezTo>
                    <a:pt x="49" y="17"/>
                    <a:pt x="48" y="21"/>
                    <a:pt x="48" y="26"/>
                  </a:cubicBezTo>
                  <a:cubicBezTo>
                    <a:pt x="48" y="33"/>
                    <a:pt x="52" y="35"/>
                    <a:pt x="52" y="38"/>
                  </a:cubicBezTo>
                  <a:cubicBezTo>
                    <a:pt x="52" y="42"/>
                    <a:pt x="45" y="43"/>
                    <a:pt x="45" y="43"/>
                  </a:cubicBezTo>
                  <a:cubicBezTo>
                    <a:pt x="45" y="43"/>
                    <a:pt x="45" y="49"/>
                    <a:pt x="4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3"/>
                    <a:pt x="65" y="43"/>
                  </a:cubicBez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7" name="Freeform 9"/>
            <p:cNvSpPr>
              <a:spLocks noChangeAspect="1" noEditPoints="1"/>
            </p:cNvSpPr>
            <p:nvPr/>
          </p:nvSpPr>
          <p:spPr bwMode="gray">
            <a:xfrm>
              <a:off x="961950" y="2043907"/>
              <a:ext cx="241200" cy="217818"/>
            </a:xfrm>
            <a:custGeom>
              <a:avLst/>
              <a:gdLst/>
              <a:ahLst/>
              <a:cxnLst>
                <a:cxn ang="0">
                  <a:pos x="24" y="46"/>
                </a:cxn>
                <a:cxn ang="0">
                  <a:pos x="24" y="21"/>
                </a:cxn>
                <a:cxn ang="0">
                  <a:pos x="8" y="21"/>
                </a:cxn>
                <a:cxn ang="0">
                  <a:pos x="0" y="29"/>
                </a:cxn>
                <a:cxn ang="0">
                  <a:pos x="0" y="54"/>
                </a:cxn>
                <a:cxn ang="0">
                  <a:pos x="8" y="62"/>
                </a:cxn>
                <a:cxn ang="0">
                  <a:pos x="12" y="62"/>
                </a:cxn>
                <a:cxn ang="0">
                  <a:pos x="12" y="74"/>
                </a:cxn>
                <a:cxn ang="0">
                  <a:pos x="24" y="62"/>
                </a:cxn>
                <a:cxn ang="0">
                  <a:pos x="45" y="62"/>
                </a:cxn>
                <a:cxn ang="0">
                  <a:pos x="53" y="54"/>
                </a:cxn>
                <a:cxn ang="0">
                  <a:pos x="53" y="46"/>
                </a:cxn>
                <a:cxn ang="0">
                  <a:pos x="52" y="46"/>
                </a:cxn>
                <a:cxn ang="0">
                  <a:pos x="24" y="46"/>
                </a:cxn>
                <a:cxn ang="0">
                  <a:pos x="74" y="0"/>
                </a:cxn>
                <a:cxn ang="0">
                  <a:pos x="37" y="0"/>
                </a:cxn>
                <a:cxn ang="0">
                  <a:pos x="29" y="8"/>
                </a:cxn>
                <a:cxn ang="0">
                  <a:pos x="29" y="41"/>
                </a:cxn>
                <a:cxn ang="0">
                  <a:pos x="57" y="41"/>
                </a:cxn>
                <a:cxn ang="0">
                  <a:pos x="69" y="54"/>
                </a:cxn>
                <a:cxn ang="0">
                  <a:pos x="69" y="41"/>
                </a:cxn>
                <a:cxn ang="0">
                  <a:pos x="74" y="41"/>
                </a:cxn>
                <a:cxn ang="0">
                  <a:pos x="82" y="33"/>
                </a:cxn>
                <a:cxn ang="0">
                  <a:pos x="82" y="8"/>
                </a:cxn>
                <a:cxn ang="0">
                  <a:pos x="74" y="0"/>
                </a:cxn>
              </a:cxnLst>
              <a:rect l="0" t="0" r="r" b="b"/>
              <a:pathLst>
                <a:path w="82" h="74">
                  <a:moveTo>
                    <a:pt x="24" y="46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4" y="21"/>
                    <a:pt x="0" y="24"/>
                    <a:pt x="0" y="29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8"/>
                    <a:pt x="4" y="62"/>
                    <a:pt x="8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9" y="62"/>
                    <a:pt x="53" y="58"/>
                    <a:pt x="53" y="54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6"/>
                    <a:pt x="53" y="46"/>
                    <a:pt x="52" y="46"/>
                  </a:cubicBezTo>
                  <a:lnTo>
                    <a:pt x="24" y="46"/>
                  </a:lnTo>
                  <a:close/>
                  <a:moveTo>
                    <a:pt x="74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9" y="4"/>
                    <a:pt x="29" y="8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8" y="41"/>
                    <a:pt x="82" y="38"/>
                    <a:pt x="82" y="33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4"/>
                    <a:pt x="78" y="0"/>
                    <a:pt x="74" y="0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8" name="Freeform 13"/>
            <p:cNvSpPr>
              <a:spLocks noChangeAspect="1"/>
            </p:cNvSpPr>
            <p:nvPr/>
          </p:nvSpPr>
          <p:spPr bwMode="gray">
            <a:xfrm>
              <a:off x="1478210" y="2067608"/>
              <a:ext cx="190800" cy="170416"/>
            </a:xfrm>
            <a:custGeom>
              <a:avLst/>
              <a:gdLst/>
              <a:ahLst/>
              <a:cxnLst>
                <a:cxn ang="0">
                  <a:pos x="57" y="0"/>
                </a:cxn>
                <a:cxn ang="0">
                  <a:pos x="8" y="0"/>
                </a:cxn>
                <a:cxn ang="0">
                  <a:pos x="0" y="9"/>
                </a:cxn>
                <a:cxn ang="0">
                  <a:pos x="0" y="37"/>
                </a:cxn>
                <a:cxn ang="0">
                  <a:pos x="8" y="46"/>
                </a:cxn>
                <a:cxn ang="0">
                  <a:pos x="24" y="46"/>
                </a:cxn>
                <a:cxn ang="0">
                  <a:pos x="41" y="58"/>
                </a:cxn>
                <a:cxn ang="0">
                  <a:pos x="41" y="46"/>
                </a:cxn>
                <a:cxn ang="0">
                  <a:pos x="57" y="46"/>
                </a:cxn>
                <a:cxn ang="0">
                  <a:pos x="65" y="37"/>
                </a:cxn>
                <a:cxn ang="0">
                  <a:pos x="65" y="9"/>
                </a:cxn>
                <a:cxn ang="0">
                  <a:pos x="57" y="0"/>
                </a:cxn>
              </a:cxnLst>
              <a:rect l="0" t="0" r="r" b="b"/>
              <a:pathLst>
                <a:path w="65" h="58">
                  <a:moveTo>
                    <a:pt x="57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2"/>
                    <a:pt x="3" y="46"/>
                    <a:pt x="8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61" y="46"/>
                    <a:pt x="65" y="42"/>
                    <a:pt x="65" y="37"/>
                  </a:cubicBezTo>
                  <a:cubicBezTo>
                    <a:pt x="65" y="9"/>
                    <a:pt x="65" y="9"/>
                    <a:pt x="65" y="9"/>
                  </a:cubicBezTo>
                  <a:cubicBezTo>
                    <a:pt x="65" y="4"/>
                    <a:pt x="61" y="0"/>
                    <a:pt x="57" y="0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9" name="Freeform 17"/>
            <p:cNvSpPr>
              <a:spLocks noChangeAspect="1" noEditPoints="1"/>
            </p:cNvSpPr>
            <p:nvPr/>
          </p:nvSpPr>
          <p:spPr bwMode="gray">
            <a:xfrm>
              <a:off x="1984774" y="2084624"/>
              <a:ext cx="183600" cy="136389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12"/>
                </a:cxn>
                <a:cxn ang="0">
                  <a:pos x="11" y="25"/>
                </a:cxn>
                <a:cxn ang="0">
                  <a:pos x="0" y="48"/>
                </a:cxn>
                <a:cxn ang="0">
                  <a:pos x="0" y="54"/>
                </a:cxn>
                <a:cxn ang="0">
                  <a:pos x="11" y="0"/>
                </a:cxn>
                <a:cxn ang="0">
                  <a:pos x="46" y="0"/>
                </a:cxn>
                <a:cxn ang="0">
                  <a:pos x="34" y="12"/>
                </a:cxn>
                <a:cxn ang="0">
                  <a:pos x="46" y="25"/>
                </a:cxn>
                <a:cxn ang="0">
                  <a:pos x="34" y="48"/>
                </a:cxn>
                <a:cxn ang="0">
                  <a:pos x="34" y="54"/>
                </a:cxn>
                <a:cxn ang="0">
                  <a:pos x="46" y="0"/>
                </a:cxn>
              </a:cxnLst>
              <a:rect l="0" t="0" r="r" b="b"/>
              <a:pathLst>
                <a:path w="73" h="54">
                  <a:moveTo>
                    <a:pt x="11" y="0"/>
                  </a:moveTo>
                  <a:cubicBezTo>
                    <a:pt x="5" y="0"/>
                    <a:pt x="0" y="6"/>
                    <a:pt x="0" y="12"/>
                  </a:cubicBezTo>
                  <a:cubicBezTo>
                    <a:pt x="0" y="19"/>
                    <a:pt x="5" y="25"/>
                    <a:pt x="11" y="25"/>
                  </a:cubicBezTo>
                  <a:cubicBezTo>
                    <a:pt x="23" y="25"/>
                    <a:pt x="15" y="48"/>
                    <a:pt x="0" y="4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8" y="54"/>
                    <a:pt x="39" y="0"/>
                    <a:pt x="11" y="0"/>
                  </a:cubicBezTo>
                  <a:close/>
                  <a:moveTo>
                    <a:pt x="46" y="0"/>
                  </a:moveTo>
                  <a:cubicBezTo>
                    <a:pt x="39" y="0"/>
                    <a:pt x="34" y="6"/>
                    <a:pt x="34" y="12"/>
                  </a:cubicBezTo>
                  <a:cubicBezTo>
                    <a:pt x="34" y="19"/>
                    <a:pt x="39" y="25"/>
                    <a:pt x="46" y="25"/>
                  </a:cubicBezTo>
                  <a:cubicBezTo>
                    <a:pt x="58" y="25"/>
                    <a:pt x="50" y="48"/>
                    <a:pt x="34" y="48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62" y="54"/>
                    <a:pt x="73" y="0"/>
                    <a:pt x="46" y="0"/>
                  </a:cubicBez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0" name="Freeform 21"/>
            <p:cNvSpPr>
              <a:spLocks noChangeAspect="1" noEditPoints="1"/>
            </p:cNvSpPr>
            <p:nvPr/>
          </p:nvSpPr>
          <p:spPr bwMode="gray">
            <a:xfrm>
              <a:off x="2505773" y="2010616"/>
              <a:ext cx="163252" cy="284400"/>
            </a:xfrm>
            <a:custGeom>
              <a:avLst/>
              <a:gdLst/>
              <a:ahLst/>
              <a:cxnLst>
                <a:cxn ang="0">
                  <a:pos x="13" y="50"/>
                </a:cxn>
                <a:cxn ang="0">
                  <a:pos x="13" y="10"/>
                </a:cxn>
                <a:cxn ang="0">
                  <a:pos x="21" y="1"/>
                </a:cxn>
                <a:cxn ang="0">
                  <a:pos x="21" y="32"/>
                </a:cxn>
                <a:cxn ang="0">
                  <a:pos x="23" y="34"/>
                </a:cxn>
                <a:cxn ang="0">
                  <a:pos x="26" y="32"/>
                </a:cxn>
                <a:cxn ang="0">
                  <a:pos x="26" y="0"/>
                </a:cxn>
                <a:cxn ang="0">
                  <a:pos x="31" y="0"/>
                </a:cxn>
                <a:cxn ang="0">
                  <a:pos x="31" y="31"/>
                </a:cxn>
                <a:cxn ang="0">
                  <a:pos x="33" y="34"/>
                </a:cxn>
                <a:cxn ang="0">
                  <a:pos x="36" y="31"/>
                </a:cxn>
                <a:cxn ang="0">
                  <a:pos x="36" y="1"/>
                </a:cxn>
                <a:cxn ang="0">
                  <a:pos x="44" y="10"/>
                </a:cxn>
                <a:cxn ang="0">
                  <a:pos x="44" y="50"/>
                </a:cxn>
                <a:cxn ang="0">
                  <a:pos x="30" y="61"/>
                </a:cxn>
                <a:cxn ang="0">
                  <a:pos x="27" y="61"/>
                </a:cxn>
                <a:cxn ang="0">
                  <a:pos x="13" y="50"/>
                </a:cxn>
                <a:cxn ang="0">
                  <a:pos x="57" y="50"/>
                </a:cxn>
                <a:cxn ang="0">
                  <a:pos x="55" y="46"/>
                </a:cxn>
                <a:cxn ang="0">
                  <a:pos x="51" y="49"/>
                </a:cxn>
                <a:cxn ang="0">
                  <a:pos x="29" y="65"/>
                </a:cxn>
                <a:cxn ang="0">
                  <a:pos x="29" y="65"/>
                </a:cxn>
                <a:cxn ang="0">
                  <a:pos x="7" y="48"/>
                </a:cxn>
                <a:cxn ang="0">
                  <a:pos x="3" y="46"/>
                </a:cxn>
                <a:cxn ang="0">
                  <a:pos x="0" y="50"/>
                </a:cxn>
                <a:cxn ang="0">
                  <a:pos x="21" y="70"/>
                </a:cxn>
                <a:cxn ang="0">
                  <a:pos x="21" y="71"/>
                </a:cxn>
                <a:cxn ang="0">
                  <a:pos x="21" y="92"/>
                </a:cxn>
                <a:cxn ang="0">
                  <a:pos x="12" y="92"/>
                </a:cxn>
                <a:cxn ang="0">
                  <a:pos x="4" y="96"/>
                </a:cxn>
                <a:cxn ang="0">
                  <a:pos x="12" y="100"/>
                </a:cxn>
                <a:cxn ang="0">
                  <a:pos x="44" y="100"/>
                </a:cxn>
                <a:cxn ang="0">
                  <a:pos x="52" y="96"/>
                </a:cxn>
                <a:cxn ang="0">
                  <a:pos x="44" y="92"/>
                </a:cxn>
                <a:cxn ang="0">
                  <a:pos x="36" y="92"/>
                </a:cxn>
                <a:cxn ang="0">
                  <a:pos x="36" y="71"/>
                </a:cxn>
                <a:cxn ang="0">
                  <a:pos x="35" y="71"/>
                </a:cxn>
                <a:cxn ang="0">
                  <a:pos x="57" y="50"/>
                </a:cxn>
              </a:cxnLst>
              <a:rect l="0" t="0" r="r" b="b"/>
              <a:pathLst>
                <a:path w="57" h="100">
                  <a:moveTo>
                    <a:pt x="13" y="5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13" y="6"/>
                    <a:pt x="16" y="3"/>
                    <a:pt x="21" y="1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3"/>
                    <a:pt x="22" y="34"/>
                    <a:pt x="23" y="34"/>
                  </a:cubicBezTo>
                  <a:cubicBezTo>
                    <a:pt x="24" y="34"/>
                    <a:pt x="26" y="33"/>
                    <a:pt x="26" y="3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3"/>
                    <a:pt x="32" y="34"/>
                    <a:pt x="33" y="34"/>
                  </a:cubicBezTo>
                  <a:cubicBezTo>
                    <a:pt x="34" y="34"/>
                    <a:pt x="36" y="33"/>
                    <a:pt x="36" y="3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40" y="3"/>
                    <a:pt x="44" y="6"/>
                    <a:pt x="44" y="10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4" y="55"/>
                    <a:pt x="38" y="60"/>
                    <a:pt x="30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1" y="61"/>
                    <a:pt x="13" y="55"/>
                    <a:pt x="13" y="50"/>
                  </a:cubicBezTo>
                  <a:close/>
                  <a:moveTo>
                    <a:pt x="57" y="50"/>
                  </a:moveTo>
                  <a:cubicBezTo>
                    <a:pt x="57" y="49"/>
                    <a:pt x="56" y="47"/>
                    <a:pt x="55" y="46"/>
                  </a:cubicBezTo>
                  <a:cubicBezTo>
                    <a:pt x="53" y="46"/>
                    <a:pt x="51" y="47"/>
                    <a:pt x="51" y="49"/>
                  </a:cubicBezTo>
                  <a:cubicBezTo>
                    <a:pt x="48" y="58"/>
                    <a:pt x="3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18" y="65"/>
                    <a:pt x="9" y="58"/>
                    <a:pt x="7" y="48"/>
                  </a:cubicBezTo>
                  <a:cubicBezTo>
                    <a:pt x="6" y="47"/>
                    <a:pt x="4" y="46"/>
                    <a:pt x="3" y="46"/>
                  </a:cubicBezTo>
                  <a:cubicBezTo>
                    <a:pt x="1" y="47"/>
                    <a:pt x="0" y="49"/>
                    <a:pt x="0" y="50"/>
                  </a:cubicBezTo>
                  <a:cubicBezTo>
                    <a:pt x="3" y="60"/>
                    <a:pt x="11" y="68"/>
                    <a:pt x="21" y="70"/>
                  </a:cubicBezTo>
                  <a:cubicBezTo>
                    <a:pt x="21" y="70"/>
                    <a:pt x="21" y="71"/>
                    <a:pt x="21" y="71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7" y="92"/>
                    <a:pt x="4" y="93"/>
                    <a:pt x="4" y="96"/>
                  </a:cubicBezTo>
                  <a:cubicBezTo>
                    <a:pt x="4" y="100"/>
                    <a:pt x="7" y="100"/>
                    <a:pt x="12" y="100"/>
                  </a:cubicBezTo>
                  <a:cubicBezTo>
                    <a:pt x="44" y="100"/>
                    <a:pt x="44" y="100"/>
                    <a:pt x="44" y="100"/>
                  </a:cubicBezTo>
                  <a:cubicBezTo>
                    <a:pt x="50" y="100"/>
                    <a:pt x="52" y="98"/>
                    <a:pt x="52" y="96"/>
                  </a:cubicBezTo>
                  <a:cubicBezTo>
                    <a:pt x="52" y="94"/>
                    <a:pt x="51" y="92"/>
                    <a:pt x="44" y="92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71"/>
                    <a:pt x="36" y="71"/>
                    <a:pt x="36" y="71"/>
                  </a:cubicBezTo>
                  <a:cubicBezTo>
                    <a:pt x="36" y="71"/>
                    <a:pt x="36" y="71"/>
                    <a:pt x="35" y="71"/>
                  </a:cubicBezTo>
                  <a:cubicBezTo>
                    <a:pt x="46" y="68"/>
                    <a:pt x="54" y="60"/>
                    <a:pt x="57" y="50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1" name="Freeform 25"/>
            <p:cNvSpPr>
              <a:spLocks noChangeAspect="1" noEditPoints="1"/>
            </p:cNvSpPr>
            <p:nvPr/>
          </p:nvSpPr>
          <p:spPr bwMode="gray">
            <a:xfrm>
              <a:off x="2983471" y="2044816"/>
              <a:ext cx="207677" cy="216000"/>
            </a:xfrm>
            <a:custGeom>
              <a:avLst/>
              <a:gdLst/>
              <a:ahLst/>
              <a:cxnLst>
                <a:cxn ang="0">
                  <a:pos x="66" y="26"/>
                </a:cxn>
                <a:cxn ang="0">
                  <a:pos x="43" y="2"/>
                </a:cxn>
                <a:cxn ang="0">
                  <a:pos x="5" y="41"/>
                </a:cxn>
                <a:cxn ang="0">
                  <a:pos x="2" y="52"/>
                </a:cxn>
                <a:cxn ang="0">
                  <a:pos x="12" y="58"/>
                </a:cxn>
                <a:cxn ang="0">
                  <a:pos x="15" y="57"/>
                </a:cxn>
                <a:cxn ang="0">
                  <a:pos x="22" y="61"/>
                </a:cxn>
                <a:cxn ang="0">
                  <a:pos x="26" y="72"/>
                </a:cxn>
                <a:cxn ang="0">
                  <a:pos x="31" y="75"/>
                </a:cxn>
                <a:cxn ang="0">
                  <a:pos x="39" y="72"/>
                </a:cxn>
                <a:cxn ang="0">
                  <a:pos x="41" y="68"/>
                </a:cxn>
                <a:cxn ang="0">
                  <a:pos x="37" y="65"/>
                </a:cxn>
                <a:cxn ang="0">
                  <a:pos x="33" y="56"/>
                </a:cxn>
                <a:cxn ang="0">
                  <a:pos x="37" y="51"/>
                </a:cxn>
                <a:cxn ang="0">
                  <a:pos x="68" y="59"/>
                </a:cxn>
                <a:cxn ang="0">
                  <a:pos x="66" y="26"/>
                </a:cxn>
                <a:cxn ang="0">
                  <a:pos x="63" y="51"/>
                </a:cxn>
                <a:cxn ang="0">
                  <a:pos x="49" y="33"/>
                </a:cxn>
                <a:cxn ang="0">
                  <a:pos x="46" y="10"/>
                </a:cxn>
                <a:cxn ang="0">
                  <a:pos x="60" y="29"/>
                </a:cxn>
                <a:cxn ang="0">
                  <a:pos x="63" y="51"/>
                </a:cxn>
              </a:cxnLst>
              <a:rect l="0" t="0" r="r" b="b"/>
              <a:pathLst>
                <a:path w="73" h="76">
                  <a:moveTo>
                    <a:pt x="66" y="26"/>
                  </a:moveTo>
                  <a:cubicBezTo>
                    <a:pt x="59" y="11"/>
                    <a:pt x="49" y="0"/>
                    <a:pt x="43" y="2"/>
                  </a:cubicBezTo>
                  <a:cubicBezTo>
                    <a:pt x="34" y="6"/>
                    <a:pt x="49" y="23"/>
                    <a:pt x="5" y="41"/>
                  </a:cubicBezTo>
                  <a:cubicBezTo>
                    <a:pt x="1" y="42"/>
                    <a:pt x="0" y="49"/>
                    <a:pt x="2" y="52"/>
                  </a:cubicBezTo>
                  <a:cubicBezTo>
                    <a:pt x="3" y="56"/>
                    <a:pt x="8" y="60"/>
                    <a:pt x="12" y="58"/>
                  </a:cubicBezTo>
                  <a:cubicBezTo>
                    <a:pt x="13" y="58"/>
                    <a:pt x="15" y="57"/>
                    <a:pt x="15" y="57"/>
                  </a:cubicBezTo>
                  <a:cubicBezTo>
                    <a:pt x="18" y="61"/>
                    <a:pt x="21" y="59"/>
                    <a:pt x="22" y="61"/>
                  </a:cubicBezTo>
                  <a:cubicBezTo>
                    <a:pt x="23" y="64"/>
                    <a:pt x="26" y="70"/>
                    <a:pt x="26" y="72"/>
                  </a:cubicBezTo>
                  <a:cubicBezTo>
                    <a:pt x="27" y="74"/>
                    <a:pt x="29" y="76"/>
                    <a:pt x="31" y="75"/>
                  </a:cubicBezTo>
                  <a:cubicBezTo>
                    <a:pt x="32" y="75"/>
                    <a:pt x="37" y="73"/>
                    <a:pt x="39" y="72"/>
                  </a:cubicBezTo>
                  <a:cubicBezTo>
                    <a:pt x="41" y="71"/>
                    <a:pt x="42" y="70"/>
                    <a:pt x="41" y="68"/>
                  </a:cubicBezTo>
                  <a:cubicBezTo>
                    <a:pt x="40" y="67"/>
                    <a:pt x="38" y="66"/>
                    <a:pt x="37" y="65"/>
                  </a:cubicBezTo>
                  <a:cubicBezTo>
                    <a:pt x="36" y="63"/>
                    <a:pt x="34" y="58"/>
                    <a:pt x="33" y="56"/>
                  </a:cubicBezTo>
                  <a:cubicBezTo>
                    <a:pt x="32" y="54"/>
                    <a:pt x="34" y="52"/>
                    <a:pt x="37" y="51"/>
                  </a:cubicBezTo>
                  <a:cubicBezTo>
                    <a:pt x="57" y="49"/>
                    <a:pt x="61" y="62"/>
                    <a:pt x="68" y="59"/>
                  </a:cubicBezTo>
                  <a:cubicBezTo>
                    <a:pt x="73" y="57"/>
                    <a:pt x="72" y="41"/>
                    <a:pt x="66" y="26"/>
                  </a:cubicBezTo>
                  <a:close/>
                  <a:moveTo>
                    <a:pt x="63" y="51"/>
                  </a:moveTo>
                  <a:cubicBezTo>
                    <a:pt x="62" y="51"/>
                    <a:pt x="54" y="45"/>
                    <a:pt x="49" y="33"/>
                  </a:cubicBezTo>
                  <a:cubicBezTo>
                    <a:pt x="44" y="22"/>
                    <a:pt x="45" y="11"/>
                    <a:pt x="46" y="10"/>
                  </a:cubicBezTo>
                  <a:cubicBezTo>
                    <a:pt x="47" y="10"/>
                    <a:pt x="55" y="17"/>
                    <a:pt x="60" y="29"/>
                  </a:cubicBezTo>
                  <a:cubicBezTo>
                    <a:pt x="65" y="41"/>
                    <a:pt x="64" y="50"/>
                    <a:pt x="63" y="51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22" name="Group 121"/>
            <p:cNvGrpSpPr>
              <a:grpSpLocks noChangeAspect="1"/>
            </p:cNvGrpSpPr>
            <p:nvPr/>
          </p:nvGrpSpPr>
          <p:grpSpPr bwMode="gray">
            <a:xfrm>
              <a:off x="8503888" y="2003416"/>
              <a:ext cx="183790" cy="298800"/>
              <a:chOff x="8193088" y="2763838"/>
              <a:chExt cx="776287" cy="1262063"/>
            </a:xfrm>
          </p:grpSpPr>
          <p:sp>
            <p:nvSpPr>
              <p:cNvPr id="123" name="Freeform 29"/>
              <p:cNvSpPr>
                <a:spLocks/>
              </p:cNvSpPr>
              <p:nvPr/>
            </p:nvSpPr>
            <p:spPr bwMode="gray">
              <a:xfrm>
                <a:off x="8512175" y="3979863"/>
                <a:ext cx="149225" cy="460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" y="0"/>
                  </a:cxn>
                  <a:cxn ang="0">
                    <a:pos x="6" y="4"/>
                  </a:cxn>
                  <a:cxn ang="0">
                    <a:pos x="0" y="0"/>
                  </a:cxn>
                </a:cxnLst>
                <a:rect l="0" t="0" r="r" b="b"/>
                <a:pathLst>
                  <a:path w="13" h="4">
                    <a:moveTo>
                      <a:pt x="0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2" y="3"/>
                      <a:pt x="9" y="4"/>
                      <a:pt x="6" y="4"/>
                    </a:cubicBezTo>
                    <a:cubicBezTo>
                      <a:pt x="4" y="4"/>
                      <a:pt x="1" y="3"/>
                      <a:pt x="0" y="0"/>
                    </a:cubicBez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24" name="Freeform 30"/>
              <p:cNvSpPr>
                <a:spLocks noEditPoints="1"/>
              </p:cNvSpPr>
              <p:nvPr/>
            </p:nvSpPr>
            <p:spPr bwMode="gray">
              <a:xfrm>
                <a:off x="8193088" y="2763838"/>
                <a:ext cx="776287" cy="977900"/>
              </a:xfrm>
              <a:custGeom>
                <a:avLst/>
                <a:gdLst/>
                <a:ahLst/>
                <a:cxnLst>
                  <a:cxn ang="0">
                    <a:pos x="34" y="86"/>
                  </a:cxn>
                  <a:cxn ang="0">
                    <a:pos x="45" y="86"/>
                  </a:cxn>
                  <a:cxn ang="0">
                    <a:pos x="49" y="79"/>
                  </a:cxn>
                  <a:cxn ang="0">
                    <a:pos x="56" y="64"/>
                  </a:cxn>
                  <a:cxn ang="0">
                    <a:pos x="66" y="31"/>
                  </a:cxn>
                  <a:cxn ang="0">
                    <a:pos x="63" y="23"/>
                  </a:cxn>
                  <a:cxn ang="0">
                    <a:pos x="5" y="23"/>
                  </a:cxn>
                  <a:cxn ang="0">
                    <a:pos x="3" y="31"/>
                  </a:cxn>
                  <a:cxn ang="0">
                    <a:pos x="13" y="64"/>
                  </a:cxn>
                  <a:cxn ang="0">
                    <a:pos x="19" y="79"/>
                  </a:cxn>
                  <a:cxn ang="0">
                    <a:pos x="24" y="86"/>
                  </a:cxn>
                  <a:cxn ang="0">
                    <a:pos x="34" y="86"/>
                  </a:cxn>
                  <a:cxn ang="0">
                    <a:pos x="11" y="38"/>
                  </a:cxn>
                  <a:cxn ang="0">
                    <a:pos x="16" y="20"/>
                  </a:cxn>
                  <a:cxn ang="0">
                    <a:pos x="18" y="23"/>
                  </a:cxn>
                  <a:cxn ang="0">
                    <a:pos x="11" y="39"/>
                  </a:cxn>
                  <a:cxn ang="0">
                    <a:pos x="11" y="38"/>
                  </a:cxn>
                </a:cxnLst>
                <a:rect l="0" t="0" r="r" b="b"/>
                <a:pathLst>
                  <a:path w="68" h="86">
                    <a:moveTo>
                      <a:pt x="34" y="86"/>
                    </a:moveTo>
                    <a:cubicBezTo>
                      <a:pt x="45" y="86"/>
                      <a:pt x="45" y="86"/>
                      <a:pt x="45" y="86"/>
                    </a:cubicBezTo>
                    <a:cubicBezTo>
                      <a:pt x="49" y="86"/>
                      <a:pt x="49" y="82"/>
                      <a:pt x="49" y="79"/>
                    </a:cubicBezTo>
                    <a:cubicBezTo>
                      <a:pt x="51" y="73"/>
                      <a:pt x="53" y="68"/>
                      <a:pt x="56" y="64"/>
                    </a:cubicBezTo>
                    <a:cubicBezTo>
                      <a:pt x="62" y="54"/>
                      <a:pt x="68" y="43"/>
                      <a:pt x="66" y="31"/>
                    </a:cubicBezTo>
                    <a:cubicBezTo>
                      <a:pt x="65" y="28"/>
                      <a:pt x="64" y="25"/>
                      <a:pt x="63" y="23"/>
                    </a:cubicBezTo>
                    <a:cubicBezTo>
                      <a:pt x="52" y="0"/>
                      <a:pt x="16" y="0"/>
                      <a:pt x="5" y="23"/>
                    </a:cubicBezTo>
                    <a:cubicBezTo>
                      <a:pt x="4" y="25"/>
                      <a:pt x="3" y="28"/>
                      <a:pt x="3" y="31"/>
                    </a:cubicBezTo>
                    <a:cubicBezTo>
                      <a:pt x="0" y="43"/>
                      <a:pt x="7" y="54"/>
                      <a:pt x="13" y="64"/>
                    </a:cubicBezTo>
                    <a:cubicBezTo>
                      <a:pt x="16" y="68"/>
                      <a:pt x="18" y="73"/>
                      <a:pt x="19" y="79"/>
                    </a:cubicBezTo>
                    <a:cubicBezTo>
                      <a:pt x="20" y="82"/>
                      <a:pt x="20" y="86"/>
                      <a:pt x="24" y="86"/>
                    </a:cubicBezTo>
                    <a:cubicBezTo>
                      <a:pt x="34" y="86"/>
                      <a:pt x="34" y="86"/>
                      <a:pt x="34" y="86"/>
                    </a:cubicBezTo>
                    <a:close/>
                    <a:moveTo>
                      <a:pt x="11" y="38"/>
                    </a:moveTo>
                    <a:cubicBezTo>
                      <a:pt x="11" y="38"/>
                      <a:pt x="8" y="28"/>
                      <a:pt x="16" y="20"/>
                    </a:cubicBezTo>
                    <a:cubicBezTo>
                      <a:pt x="19" y="18"/>
                      <a:pt x="22" y="21"/>
                      <a:pt x="18" y="23"/>
                    </a:cubicBezTo>
                    <a:cubicBezTo>
                      <a:pt x="11" y="29"/>
                      <a:pt x="11" y="36"/>
                      <a:pt x="11" y="39"/>
                    </a:cubicBezTo>
                    <a:cubicBezTo>
                      <a:pt x="11" y="39"/>
                      <a:pt x="11" y="38"/>
                      <a:pt x="11" y="38"/>
                    </a:cubicBez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25" name="Freeform 31"/>
              <p:cNvSpPr>
                <a:spLocks/>
              </p:cNvSpPr>
              <p:nvPr/>
            </p:nvSpPr>
            <p:spPr bwMode="gray">
              <a:xfrm>
                <a:off x="8421688" y="3763963"/>
                <a:ext cx="319087" cy="204788"/>
              </a:xfrm>
              <a:custGeom>
                <a:avLst/>
                <a:gdLst/>
                <a:ahLst/>
                <a:cxnLst>
                  <a:cxn ang="0">
                    <a:pos x="28" y="8"/>
                  </a:cxn>
                  <a:cxn ang="0">
                    <a:pos x="27" y="7"/>
                  </a:cxn>
                  <a:cxn ang="0">
                    <a:pos x="27" y="5"/>
                  </a:cxn>
                  <a:cxn ang="0">
                    <a:pos x="28" y="4"/>
                  </a:cxn>
                  <a:cxn ang="0">
                    <a:pos x="27" y="3"/>
                  </a:cxn>
                  <a:cxn ang="0">
                    <a:pos x="27" y="0"/>
                  </a:cxn>
                  <a:cxn ang="0">
                    <a:pos x="14" y="0"/>
                  </a:cxn>
                  <a:cxn ang="0">
                    <a:pos x="2" y="0"/>
                  </a:cxn>
                  <a:cxn ang="0">
                    <a:pos x="2" y="3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2" y="7"/>
                  </a:cxn>
                  <a:cxn ang="0">
                    <a:pos x="0" y="8"/>
                  </a:cxn>
                  <a:cxn ang="0">
                    <a:pos x="2" y="9"/>
                  </a:cxn>
                  <a:cxn ang="0">
                    <a:pos x="2" y="11"/>
                  </a:cxn>
                  <a:cxn ang="0">
                    <a:pos x="0" y="13"/>
                  </a:cxn>
                  <a:cxn ang="0">
                    <a:pos x="2" y="14"/>
                  </a:cxn>
                  <a:cxn ang="0">
                    <a:pos x="2" y="15"/>
                  </a:cxn>
                  <a:cxn ang="0">
                    <a:pos x="5" y="18"/>
                  </a:cxn>
                  <a:cxn ang="0">
                    <a:pos x="14" y="18"/>
                  </a:cxn>
                  <a:cxn ang="0">
                    <a:pos x="24" y="18"/>
                  </a:cxn>
                  <a:cxn ang="0">
                    <a:pos x="27" y="15"/>
                  </a:cxn>
                  <a:cxn ang="0">
                    <a:pos x="27" y="14"/>
                  </a:cxn>
                  <a:cxn ang="0">
                    <a:pos x="28" y="13"/>
                  </a:cxn>
                  <a:cxn ang="0">
                    <a:pos x="27" y="11"/>
                  </a:cxn>
                  <a:cxn ang="0">
                    <a:pos x="27" y="9"/>
                  </a:cxn>
                  <a:cxn ang="0">
                    <a:pos x="28" y="8"/>
                  </a:cxn>
                </a:cxnLst>
                <a:rect l="0" t="0" r="r" b="b"/>
                <a:pathLst>
                  <a:path w="28" h="18">
                    <a:moveTo>
                      <a:pt x="28" y="8"/>
                    </a:moveTo>
                    <a:cubicBezTo>
                      <a:pt x="28" y="8"/>
                      <a:pt x="28" y="7"/>
                      <a:pt x="27" y="7"/>
                    </a:cubicBezTo>
                    <a:cubicBezTo>
                      <a:pt x="27" y="5"/>
                      <a:pt x="27" y="5"/>
                      <a:pt x="27" y="5"/>
                    </a:cubicBezTo>
                    <a:cubicBezTo>
                      <a:pt x="28" y="5"/>
                      <a:pt x="28" y="4"/>
                      <a:pt x="28" y="4"/>
                    </a:cubicBezTo>
                    <a:cubicBezTo>
                      <a:pt x="28" y="4"/>
                      <a:pt x="28" y="3"/>
                      <a:pt x="27" y="3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4"/>
                      <a:pt x="0" y="4"/>
                    </a:cubicBezTo>
                    <a:cubicBezTo>
                      <a:pt x="0" y="4"/>
                      <a:pt x="1" y="5"/>
                      <a:pt x="2" y="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7"/>
                      <a:pt x="0" y="8"/>
                      <a:pt x="0" y="8"/>
                    </a:cubicBezTo>
                    <a:cubicBezTo>
                      <a:pt x="0" y="9"/>
                      <a:pt x="1" y="9"/>
                      <a:pt x="2" y="9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1" y="12"/>
                      <a:pt x="0" y="12"/>
                      <a:pt x="0" y="13"/>
                    </a:cubicBezTo>
                    <a:cubicBezTo>
                      <a:pt x="0" y="13"/>
                      <a:pt x="1" y="13"/>
                      <a:pt x="2" y="14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2" y="16"/>
                      <a:pt x="3" y="18"/>
                      <a:pt x="5" y="18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5" y="18"/>
                      <a:pt x="27" y="16"/>
                      <a:pt x="27" y="15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12"/>
                      <a:pt x="28" y="12"/>
                      <a:pt x="27" y="11"/>
                    </a:cubicBezTo>
                    <a:cubicBezTo>
                      <a:pt x="27" y="9"/>
                      <a:pt x="27" y="9"/>
                      <a:pt x="27" y="9"/>
                    </a:cubicBezTo>
                    <a:cubicBezTo>
                      <a:pt x="28" y="9"/>
                      <a:pt x="28" y="8"/>
                      <a:pt x="28" y="8"/>
                    </a:cubicBez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126" name="Freeform 35"/>
            <p:cNvSpPr>
              <a:spLocks noChangeAspect="1" noEditPoints="1"/>
            </p:cNvSpPr>
            <p:nvPr/>
          </p:nvSpPr>
          <p:spPr bwMode="gray">
            <a:xfrm>
              <a:off x="7955090" y="2017816"/>
              <a:ext cx="291117" cy="270000"/>
            </a:xfrm>
            <a:custGeom>
              <a:avLst/>
              <a:gdLst/>
              <a:ahLst/>
              <a:cxnLst>
                <a:cxn ang="0">
                  <a:pos x="18" y="34"/>
                </a:cxn>
                <a:cxn ang="0">
                  <a:pos x="41" y="10"/>
                </a:cxn>
                <a:cxn ang="0">
                  <a:pos x="56" y="25"/>
                </a:cxn>
                <a:cxn ang="0">
                  <a:pos x="34" y="49"/>
                </a:cxn>
                <a:cxn ang="0">
                  <a:pos x="18" y="34"/>
                </a:cxn>
                <a:cxn ang="0">
                  <a:pos x="59" y="23"/>
                </a:cxn>
                <a:cxn ang="0">
                  <a:pos x="63" y="22"/>
                </a:cxn>
                <a:cxn ang="0">
                  <a:pos x="65" y="21"/>
                </a:cxn>
                <a:cxn ang="0">
                  <a:pos x="65" y="17"/>
                </a:cxn>
                <a:cxn ang="0">
                  <a:pos x="48" y="1"/>
                </a:cxn>
                <a:cxn ang="0">
                  <a:pos x="44" y="1"/>
                </a:cxn>
                <a:cxn ang="0">
                  <a:pos x="43" y="3"/>
                </a:cxn>
                <a:cxn ang="0">
                  <a:pos x="43" y="7"/>
                </a:cxn>
                <a:cxn ang="0">
                  <a:pos x="59" y="23"/>
                </a:cxn>
                <a:cxn ang="0">
                  <a:pos x="26" y="58"/>
                </a:cxn>
                <a:cxn ang="0">
                  <a:pos x="30" y="58"/>
                </a:cxn>
                <a:cxn ang="0">
                  <a:pos x="32" y="56"/>
                </a:cxn>
                <a:cxn ang="0">
                  <a:pos x="32" y="52"/>
                </a:cxn>
                <a:cxn ang="0">
                  <a:pos x="15" y="36"/>
                </a:cxn>
                <a:cxn ang="0">
                  <a:pos x="11" y="36"/>
                </a:cxn>
                <a:cxn ang="0">
                  <a:pos x="10" y="38"/>
                </a:cxn>
                <a:cxn ang="0">
                  <a:pos x="10" y="42"/>
                </a:cxn>
                <a:cxn ang="0">
                  <a:pos x="26" y="58"/>
                </a:cxn>
                <a:cxn ang="0">
                  <a:pos x="44" y="43"/>
                </a:cxn>
                <a:cxn ang="0">
                  <a:pos x="98" y="93"/>
                </a:cxn>
                <a:cxn ang="0">
                  <a:pos x="105" y="95"/>
                </a:cxn>
                <a:cxn ang="0">
                  <a:pos x="107" y="92"/>
                </a:cxn>
                <a:cxn ang="0">
                  <a:pos x="105" y="86"/>
                </a:cxn>
                <a:cxn ang="0">
                  <a:pos x="51" y="35"/>
                </a:cxn>
                <a:cxn ang="0">
                  <a:pos x="44" y="43"/>
                </a:cxn>
                <a:cxn ang="0">
                  <a:pos x="63" y="93"/>
                </a:cxn>
                <a:cxn ang="0">
                  <a:pos x="61" y="92"/>
                </a:cxn>
                <a:cxn ang="0">
                  <a:pos x="1" y="92"/>
                </a:cxn>
                <a:cxn ang="0">
                  <a:pos x="0" y="93"/>
                </a:cxn>
                <a:cxn ang="0">
                  <a:pos x="0" y="98"/>
                </a:cxn>
                <a:cxn ang="0">
                  <a:pos x="1" y="100"/>
                </a:cxn>
                <a:cxn ang="0">
                  <a:pos x="61" y="100"/>
                </a:cxn>
                <a:cxn ang="0">
                  <a:pos x="63" y="98"/>
                </a:cxn>
                <a:cxn ang="0">
                  <a:pos x="63" y="93"/>
                </a:cxn>
                <a:cxn ang="0">
                  <a:pos x="14" y="82"/>
                </a:cxn>
                <a:cxn ang="0">
                  <a:pos x="49" y="82"/>
                </a:cxn>
                <a:cxn ang="0">
                  <a:pos x="53" y="85"/>
                </a:cxn>
                <a:cxn ang="0">
                  <a:pos x="53" y="89"/>
                </a:cxn>
                <a:cxn ang="0">
                  <a:pos x="9" y="89"/>
                </a:cxn>
                <a:cxn ang="0">
                  <a:pos x="9" y="85"/>
                </a:cxn>
                <a:cxn ang="0">
                  <a:pos x="14" y="82"/>
                </a:cxn>
              </a:cxnLst>
              <a:rect l="0" t="0" r="r" b="b"/>
              <a:pathLst>
                <a:path w="108" h="100">
                  <a:moveTo>
                    <a:pt x="18" y="34"/>
                  </a:moveTo>
                  <a:cubicBezTo>
                    <a:pt x="41" y="10"/>
                    <a:pt x="41" y="10"/>
                    <a:pt x="41" y="10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34" y="49"/>
                    <a:pt x="34" y="49"/>
                    <a:pt x="34" y="49"/>
                  </a:cubicBezTo>
                  <a:lnTo>
                    <a:pt x="18" y="34"/>
                  </a:lnTo>
                  <a:close/>
                  <a:moveTo>
                    <a:pt x="59" y="23"/>
                  </a:moveTo>
                  <a:cubicBezTo>
                    <a:pt x="60" y="24"/>
                    <a:pt x="62" y="24"/>
                    <a:pt x="63" y="22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0"/>
                    <a:pt x="66" y="18"/>
                    <a:pt x="65" y="17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7" y="0"/>
                    <a:pt x="45" y="0"/>
                    <a:pt x="44" y="1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1" y="4"/>
                    <a:pt x="42" y="6"/>
                    <a:pt x="43" y="7"/>
                  </a:cubicBezTo>
                  <a:lnTo>
                    <a:pt x="59" y="23"/>
                  </a:lnTo>
                  <a:close/>
                  <a:moveTo>
                    <a:pt x="26" y="58"/>
                  </a:moveTo>
                  <a:cubicBezTo>
                    <a:pt x="27" y="59"/>
                    <a:pt x="29" y="59"/>
                    <a:pt x="30" y="58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5"/>
                    <a:pt x="33" y="53"/>
                    <a:pt x="32" y="52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4" y="35"/>
                    <a:pt x="12" y="35"/>
                    <a:pt x="11" y="36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8" y="39"/>
                    <a:pt x="9" y="41"/>
                    <a:pt x="10" y="42"/>
                  </a:cubicBezTo>
                  <a:lnTo>
                    <a:pt x="26" y="58"/>
                  </a:lnTo>
                  <a:close/>
                  <a:moveTo>
                    <a:pt x="44" y="43"/>
                  </a:moveTo>
                  <a:cubicBezTo>
                    <a:pt x="98" y="93"/>
                    <a:pt x="98" y="93"/>
                    <a:pt x="98" y="93"/>
                  </a:cubicBezTo>
                  <a:cubicBezTo>
                    <a:pt x="100" y="96"/>
                    <a:pt x="103" y="96"/>
                    <a:pt x="105" y="95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8" y="91"/>
                    <a:pt x="107" y="88"/>
                    <a:pt x="105" y="86"/>
                  </a:cubicBezTo>
                  <a:cubicBezTo>
                    <a:pt x="51" y="35"/>
                    <a:pt x="51" y="35"/>
                    <a:pt x="51" y="35"/>
                  </a:cubicBezTo>
                  <a:lnTo>
                    <a:pt x="44" y="43"/>
                  </a:lnTo>
                  <a:close/>
                  <a:moveTo>
                    <a:pt x="63" y="93"/>
                  </a:moveTo>
                  <a:cubicBezTo>
                    <a:pt x="63" y="93"/>
                    <a:pt x="62" y="92"/>
                    <a:pt x="61" y="92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1" y="92"/>
                    <a:pt x="0" y="93"/>
                    <a:pt x="0" y="9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99"/>
                    <a:pt x="1" y="100"/>
                    <a:pt x="1" y="100"/>
                  </a:cubicBezTo>
                  <a:cubicBezTo>
                    <a:pt x="61" y="100"/>
                    <a:pt x="61" y="100"/>
                    <a:pt x="61" y="100"/>
                  </a:cubicBezTo>
                  <a:cubicBezTo>
                    <a:pt x="62" y="100"/>
                    <a:pt x="63" y="99"/>
                    <a:pt x="63" y="98"/>
                  </a:cubicBezTo>
                  <a:lnTo>
                    <a:pt x="63" y="93"/>
                  </a:lnTo>
                  <a:close/>
                  <a:moveTo>
                    <a:pt x="14" y="82"/>
                  </a:moveTo>
                  <a:cubicBezTo>
                    <a:pt x="49" y="82"/>
                    <a:pt x="49" y="82"/>
                    <a:pt x="49" y="82"/>
                  </a:cubicBezTo>
                  <a:cubicBezTo>
                    <a:pt x="51" y="82"/>
                    <a:pt x="53" y="83"/>
                    <a:pt x="53" y="85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10" y="83"/>
                    <a:pt x="12" y="82"/>
                    <a:pt x="14" y="82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7" name="Freeform 39"/>
            <p:cNvSpPr>
              <a:spLocks noChangeAspect="1"/>
            </p:cNvSpPr>
            <p:nvPr/>
          </p:nvSpPr>
          <p:spPr bwMode="gray">
            <a:xfrm>
              <a:off x="7409692" y="2075371"/>
              <a:ext cx="334800" cy="154890"/>
            </a:xfrm>
            <a:custGeom>
              <a:avLst/>
              <a:gdLst/>
              <a:ahLst/>
              <a:cxnLst>
                <a:cxn ang="0">
                  <a:pos x="117" y="19"/>
                </a:cxn>
                <a:cxn ang="0">
                  <a:pos x="62" y="0"/>
                </a:cxn>
                <a:cxn ang="0">
                  <a:pos x="57" y="0"/>
                </a:cxn>
                <a:cxn ang="0">
                  <a:pos x="1" y="20"/>
                </a:cxn>
                <a:cxn ang="0">
                  <a:pos x="1" y="21"/>
                </a:cxn>
                <a:cxn ang="0">
                  <a:pos x="24" y="29"/>
                </a:cxn>
                <a:cxn ang="0">
                  <a:pos x="24" y="46"/>
                </a:cxn>
                <a:cxn ang="0">
                  <a:pos x="42" y="46"/>
                </a:cxn>
                <a:cxn ang="0">
                  <a:pos x="58" y="54"/>
                </a:cxn>
                <a:cxn ang="0">
                  <a:pos x="59" y="54"/>
                </a:cxn>
                <a:cxn ang="0">
                  <a:pos x="75" y="46"/>
                </a:cxn>
                <a:cxn ang="0">
                  <a:pos x="92" y="45"/>
                </a:cxn>
                <a:cxn ang="0">
                  <a:pos x="92" y="30"/>
                </a:cxn>
                <a:cxn ang="0">
                  <a:pos x="101" y="26"/>
                </a:cxn>
                <a:cxn ang="0">
                  <a:pos x="101" y="30"/>
                </a:cxn>
                <a:cxn ang="0">
                  <a:pos x="99" y="33"/>
                </a:cxn>
                <a:cxn ang="0">
                  <a:pos x="100" y="36"/>
                </a:cxn>
                <a:cxn ang="0">
                  <a:pos x="98" y="52"/>
                </a:cxn>
                <a:cxn ang="0">
                  <a:pos x="107" y="52"/>
                </a:cxn>
                <a:cxn ang="0">
                  <a:pos x="105" y="36"/>
                </a:cxn>
                <a:cxn ang="0">
                  <a:pos x="106" y="33"/>
                </a:cxn>
                <a:cxn ang="0">
                  <a:pos x="104" y="30"/>
                </a:cxn>
                <a:cxn ang="0">
                  <a:pos x="104" y="25"/>
                </a:cxn>
                <a:cxn ang="0">
                  <a:pos x="117" y="21"/>
                </a:cxn>
                <a:cxn ang="0">
                  <a:pos x="117" y="19"/>
                </a:cxn>
              </a:cxnLst>
              <a:rect l="0" t="0" r="r" b="b"/>
              <a:pathLst>
                <a:path w="118" h="54">
                  <a:moveTo>
                    <a:pt x="117" y="19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0" y="0"/>
                    <a:pt x="58" y="0"/>
                    <a:pt x="57" y="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0"/>
                    <a:pt x="0" y="21"/>
                    <a:pt x="1" y="21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7" y="44"/>
                    <a:pt x="34" y="44"/>
                    <a:pt x="42" y="46"/>
                  </a:cubicBezTo>
                  <a:cubicBezTo>
                    <a:pt x="49" y="48"/>
                    <a:pt x="55" y="51"/>
                    <a:pt x="58" y="54"/>
                  </a:cubicBezTo>
                  <a:cubicBezTo>
                    <a:pt x="58" y="54"/>
                    <a:pt x="59" y="54"/>
                    <a:pt x="59" y="54"/>
                  </a:cubicBezTo>
                  <a:cubicBezTo>
                    <a:pt x="62" y="51"/>
                    <a:pt x="68" y="48"/>
                    <a:pt x="75" y="46"/>
                  </a:cubicBezTo>
                  <a:cubicBezTo>
                    <a:pt x="81" y="44"/>
                    <a:pt x="88" y="44"/>
                    <a:pt x="92" y="45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101" y="26"/>
                    <a:pt x="101" y="26"/>
                    <a:pt x="101" y="26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0" y="31"/>
                    <a:pt x="99" y="32"/>
                    <a:pt x="99" y="33"/>
                  </a:cubicBezTo>
                  <a:cubicBezTo>
                    <a:pt x="99" y="34"/>
                    <a:pt x="100" y="35"/>
                    <a:pt x="100" y="36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107" y="52"/>
                    <a:pt x="107" y="52"/>
                    <a:pt x="107" y="52"/>
                  </a:cubicBezTo>
                  <a:cubicBezTo>
                    <a:pt x="105" y="36"/>
                    <a:pt x="105" y="36"/>
                    <a:pt x="105" y="36"/>
                  </a:cubicBezTo>
                  <a:cubicBezTo>
                    <a:pt x="105" y="35"/>
                    <a:pt x="106" y="34"/>
                    <a:pt x="106" y="33"/>
                  </a:cubicBezTo>
                  <a:cubicBezTo>
                    <a:pt x="106" y="32"/>
                    <a:pt x="105" y="31"/>
                    <a:pt x="104" y="30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18" y="20"/>
                    <a:pt x="118" y="20"/>
                    <a:pt x="117" y="19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8" name="Freeform 43"/>
            <p:cNvSpPr>
              <a:spLocks noChangeAspect="1" noEditPoints="1"/>
            </p:cNvSpPr>
            <p:nvPr/>
          </p:nvSpPr>
          <p:spPr bwMode="gray">
            <a:xfrm>
              <a:off x="6930599" y="2014590"/>
              <a:ext cx="309600" cy="276457"/>
            </a:xfrm>
            <a:custGeom>
              <a:avLst/>
              <a:gdLst/>
              <a:ahLst/>
              <a:cxnLst>
                <a:cxn ang="0">
                  <a:pos x="81" y="89"/>
                </a:cxn>
                <a:cxn ang="0">
                  <a:pos x="81" y="99"/>
                </a:cxn>
                <a:cxn ang="0">
                  <a:pos x="55" y="99"/>
                </a:cxn>
                <a:cxn ang="0">
                  <a:pos x="29" y="99"/>
                </a:cxn>
                <a:cxn ang="0">
                  <a:pos x="29" y="89"/>
                </a:cxn>
                <a:cxn ang="0">
                  <a:pos x="34" y="86"/>
                </a:cxn>
                <a:cxn ang="0">
                  <a:pos x="55" y="86"/>
                </a:cxn>
                <a:cxn ang="0">
                  <a:pos x="77" y="86"/>
                </a:cxn>
                <a:cxn ang="0">
                  <a:pos x="81" y="89"/>
                </a:cxn>
                <a:cxn ang="0">
                  <a:pos x="77" y="55"/>
                </a:cxn>
                <a:cxn ang="0">
                  <a:pos x="63" y="71"/>
                </a:cxn>
                <a:cxn ang="0">
                  <a:pos x="64" y="78"/>
                </a:cxn>
                <a:cxn ang="0">
                  <a:pos x="69" y="84"/>
                </a:cxn>
                <a:cxn ang="0">
                  <a:pos x="55" y="84"/>
                </a:cxn>
                <a:cxn ang="0">
                  <a:pos x="41" y="84"/>
                </a:cxn>
                <a:cxn ang="0">
                  <a:pos x="46" y="78"/>
                </a:cxn>
                <a:cxn ang="0">
                  <a:pos x="48" y="71"/>
                </a:cxn>
                <a:cxn ang="0">
                  <a:pos x="34" y="55"/>
                </a:cxn>
                <a:cxn ang="0">
                  <a:pos x="0" y="23"/>
                </a:cxn>
                <a:cxn ang="0">
                  <a:pos x="20" y="10"/>
                </a:cxn>
                <a:cxn ang="0">
                  <a:pos x="20" y="0"/>
                </a:cxn>
                <a:cxn ang="0">
                  <a:pos x="55" y="0"/>
                </a:cxn>
                <a:cxn ang="0">
                  <a:pos x="90" y="0"/>
                </a:cxn>
                <a:cxn ang="0">
                  <a:pos x="90" y="10"/>
                </a:cxn>
                <a:cxn ang="0">
                  <a:pos x="110" y="23"/>
                </a:cxn>
                <a:cxn ang="0">
                  <a:pos x="77" y="55"/>
                </a:cxn>
                <a:cxn ang="0">
                  <a:pos x="46" y="65"/>
                </a:cxn>
                <a:cxn ang="0">
                  <a:pos x="29" y="8"/>
                </a:cxn>
                <a:cxn ang="0">
                  <a:pos x="26" y="6"/>
                </a:cxn>
                <a:cxn ang="0">
                  <a:pos x="46" y="65"/>
                </a:cxn>
                <a:cxn ang="0">
                  <a:pos x="6" y="23"/>
                </a:cxn>
                <a:cxn ang="0">
                  <a:pos x="30" y="48"/>
                </a:cxn>
                <a:cxn ang="0">
                  <a:pos x="21" y="16"/>
                </a:cxn>
                <a:cxn ang="0">
                  <a:pos x="6" y="23"/>
                </a:cxn>
                <a:cxn ang="0">
                  <a:pos x="90" y="16"/>
                </a:cxn>
                <a:cxn ang="0">
                  <a:pos x="80" y="48"/>
                </a:cxn>
                <a:cxn ang="0">
                  <a:pos x="104" y="23"/>
                </a:cxn>
                <a:cxn ang="0">
                  <a:pos x="90" y="16"/>
                </a:cxn>
              </a:cxnLst>
              <a:rect l="0" t="0" r="r" b="b"/>
              <a:pathLst>
                <a:path w="111" h="99">
                  <a:moveTo>
                    <a:pt x="81" y="89"/>
                  </a:moveTo>
                  <a:cubicBezTo>
                    <a:pt x="81" y="99"/>
                    <a:pt x="81" y="99"/>
                    <a:pt x="81" y="99"/>
                  </a:cubicBezTo>
                  <a:cubicBezTo>
                    <a:pt x="55" y="99"/>
                    <a:pt x="55" y="99"/>
                    <a:pt x="55" y="99"/>
                  </a:cubicBezTo>
                  <a:cubicBezTo>
                    <a:pt x="29" y="99"/>
                    <a:pt x="29" y="99"/>
                    <a:pt x="29" y="9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29" y="89"/>
                    <a:pt x="29" y="86"/>
                    <a:pt x="34" y="86"/>
                  </a:cubicBezTo>
                  <a:cubicBezTo>
                    <a:pt x="38" y="86"/>
                    <a:pt x="55" y="86"/>
                    <a:pt x="55" y="86"/>
                  </a:cubicBezTo>
                  <a:cubicBezTo>
                    <a:pt x="55" y="86"/>
                    <a:pt x="72" y="86"/>
                    <a:pt x="77" y="86"/>
                  </a:cubicBezTo>
                  <a:cubicBezTo>
                    <a:pt x="81" y="86"/>
                    <a:pt x="81" y="89"/>
                    <a:pt x="81" y="89"/>
                  </a:cubicBezTo>
                  <a:close/>
                  <a:moveTo>
                    <a:pt x="77" y="55"/>
                  </a:moveTo>
                  <a:cubicBezTo>
                    <a:pt x="70" y="66"/>
                    <a:pt x="63" y="71"/>
                    <a:pt x="63" y="71"/>
                  </a:cubicBezTo>
                  <a:cubicBezTo>
                    <a:pt x="63" y="71"/>
                    <a:pt x="58" y="75"/>
                    <a:pt x="64" y="78"/>
                  </a:cubicBezTo>
                  <a:cubicBezTo>
                    <a:pt x="71" y="82"/>
                    <a:pt x="69" y="84"/>
                    <a:pt x="69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39" y="82"/>
                    <a:pt x="46" y="78"/>
                  </a:cubicBezTo>
                  <a:cubicBezTo>
                    <a:pt x="53" y="75"/>
                    <a:pt x="48" y="71"/>
                    <a:pt x="48" y="71"/>
                  </a:cubicBezTo>
                  <a:cubicBezTo>
                    <a:pt x="48" y="71"/>
                    <a:pt x="41" y="66"/>
                    <a:pt x="34" y="55"/>
                  </a:cubicBezTo>
                  <a:cubicBezTo>
                    <a:pt x="16" y="53"/>
                    <a:pt x="0" y="35"/>
                    <a:pt x="0" y="23"/>
                  </a:cubicBezTo>
                  <a:cubicBezTo>
                    <a:pt x="1" y="19"/>
                    <a:pt x="3" y="9"/>
                    <a:pt x="20" y="10"/>
                  </a:cubicBezTo>
                  <a:cubicBezTo>
                    <a:pt x="20" y="7"/>
                    <a:pt x="20" y="3"/>
                    <a:pt x="20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3"/>
                    <a:pt x="90" y="7"/>
                    <a:pt x="90" y="10"/>
                  </a:cubicBezTo>
                  <a:cubicBezTo>
                    <a:pt x="107" y="9"/>
                    <a:pt x="110" y="19"/>
                    <a:pt x="110" y="23"/>
                  </a:cubicBezTo>
                  <a:cubicBezTo>
                    <a:pt x="111" y="35"/>
                    <a:pt x="95" y="53"/>
                    <a:pt x="77" y="55"/>
                  </a:cubicBezTo>
                  <a:close/>
                  <a:moveTo>
                    <a:pt x="46" y="65"/>
                  </a:moveTo>
                  <a:cubicBezTo>
                    <a:pt x="26" y="33"/>
                    <a:pt x="29" y="12"/>
                    <a:pt x="29" y="8"/>
                  </a:cubicBezTo>
                  <a:cubicBezTo>
                    <a:pt x="30" y="4"/>
                    <a:pt x="27" y="4"/>
                    <a:pt x="26" y="6"/>
                  </a:cubicBezTo>
                  <a:cubicBezTo>
                    <a:pt x="19" y="30"/>
                    <a:pt x="46" y="65"/>
                    <a:pt x="46" y="65"/>
                  </a:cubicBezTo>
                  <a:close/>
                  <a:moveTo>
                    <a:pt x="6" y="23"/>
                  </a:moveTo>
                  <a:cubicBezTo>
                    <a:pt x="6" y="31"/>
                    <a:pt x="16" y="44"/>
                    <a:pt x="30" y="48"/>
                  </a:cubicBezTo>
                  <a:cubicBezTo>
                    <a:pt x="25" y="40"/>
                    <a:pt x="22" y="29"/>
                    <a:pt x="21" y="16"/>
                  </a:cubicBezTo>
                  <a:cubicBezTo>
                    <a:pt x="14" y="15"/>
                    <a:pt x="7" y="17"/>
                    <a:pt x="6" y="23"/>
                  </a:cubicBezTo>
                  <a:close/>
                  <a:moveTo>
                    <a:pt x="90" y="16"/>
                  </a:moveTo>
                  <a:cubicBezTo>
                    <a:pt x="88" y="29"/>
                    <a:pt x="85" y="40"/>
                    <a:pt x="80" y="48"/>
                  </a:cubicBezTo>
                  <a:cubicBezTo>
                    <a:pt x="94" y="44"/>
                    <a:pt x="104" y="31"/>
                    <a:pt x="104" y="23"/>
                  </a:cubicBezTo>
                  <a:cubicBezTo>
                    <a:pt x="104" y="17"/>
                    <a:pt x="96" y="15"/>
                    <a:pt x="90" y="16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9" name="Freeform 47"/>
            <p:cNvSpPr>
              <a:spLocks noChangeAspect="1" noEditPoints="1"/>
            </p:cNvSpPr>
            <p:nvPr/>
          </p:nvSpPr>
          <p:spPr bwMode="gray">
            <a:xfrm>
              <a:off x="6512361" y="2014216"/>
              <a:ext cx="186607" cy="277200"/>
            </a:xfrm>
            <a:custGeom>
              <a:avLst/>
              <a:gdLst/>
              <a:ahLst/>
              <a:cxnLst>
                <a:cxn ang="0">
                  <a:pos x="55" y="18"/>
                </a:cxn>
                <a:cxn ang="0">
                  <a:pos x="67" y="18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9" y="12"/>
                </a:cxn>
                <a:cxn ang="0">
                  <a:pos x="55" y="18"/>
                </a:cxn>
                <a:cxn ang="0">
                  <a:pos x="49" y="71"/>
                </a:cxn>
                <a:cxn ang="0">
                  <a:pos x="47" y="71"/>
                </a:cxn>
                <a:cxn ang="0">
                  <a:pos x="47" y="78"/>
                </a:cxn>
                <a:cxn ang="0">
                  <a:pos x="49" y="76"/>
                </a:cxn>
                <a:cxn ang="0">
                  <a:pos x="51" y="78"/>
                </a:cxn>
                <a:cxn ang="0">
                  <a:pos x="51" y="71"/>
                </a:cxn>
                <a:cxn ang="0">
                  <a:pos x="49" y="71"/>
                </a:cxn>
                <a:cxn ang="0">
                  <a:pos x="55" y="21"/>
                </a:cxn>
                <a:cxn ang="0">
                  <a:pos x="45" y="12"/>
                </a:cxn>
                <a:cxn ang="0">
                  <a:pos x="45" y="0"/>
                </a:cxn>
                <a:cxn ang="0">
                  <a:pos x="0" y="0"/>
                </a:cxn>
                <a:cxn ang="0">
                  <a:pos x="0" y="100"/>
                </a:cxn>
                <a:cxn ang="0">
                  <a:pos x="67" y="100"/>
                </a:cxn>
                <a:cxn ang="0">
                  <a:pos x="67" y="21"/>
                </a:cxn>
                <a:cxn ang="0">
                  <a:pos x="55" y="21"/>
                </a:cxn>
                <a:cxn ang="0">
                  <a:pos x="12" y="31"/>
                </a:cxn>
                <a:cxn ang="0">
                  <a:pos x="56" y="31"/>
                </a:cxn>
                <a:cxn ang="0">
                  <a:pos x="57" y="33"/>
                </a:cxn>
                <a:cxn ang="0">
                  <a:pos x="56" y="35"/>
                </a:cxn>
                <a:cxn ang="0">
                  <a:pos x="12" y="35"/>
                </a:cxn>
                <a:cxn ang="0">
                  <a:pos x="10" y="33"/>
                </a:cxn>
                <a:cxn ang="0">
                  <a:pos x="12" y="31"/>
                </a:cxn>
                <a:cxn ang="0">
                  <a:pos x="10" y="43"/>
                </a:cxn>
                <a:cxn ang="0">
                  <a:pos x="12" y="41"/>
                </a:cxn>
                <a:cxn ang="0">
                  <a:pos x="56" y="41"/>
                </a:cxn>
                <a:cxn ang="0">
                  <a:pos x="57" y="43"/>
                </a:cxn>
                <a:cxn ang="0">
                  <a:pos x="56" y="45"/>
                </a:cxn>
                <a:cxn ang="0">
                  <a:pos x="12" y="45"/>
                </a:cxn>
                <a:cxn ang="0">
                  <a:pos x="10" y="43"/>
                </a:cxn>
                <a:cxn ang="0">
                  <a:pos x="55" y="69"/>
                </a:cxn>
                <a:cxn ang="0">
                  <a:pos x="55" y="87"/>
                </a:cxn>
                <a:cxn ang="0">
                  <a:pos x="49" y="80"/>
                </a:cxn>
                <a:cxn ang="0">
                  <a:pos x="43" y="87"/>
                </a:cxn>
                <a:cxn ang="0">
                  <a:pos x="43" y="69"/>
                </a:cxn>
                <a:cxn ang="0">
                  <a:pos x="41" y="63"/>
                </a:cxn>
                <a:cxn ang="0">
                  <a:pos x="49" y="55"/>
                </a:cxn>
                <a:cxn ang="0">
                  <a:pos x="57" y="63"/>
                </a:cxn>
                <a:cxn ang="0">
                  <a:pos x="55" y="69"/>
                </a:cxn>
                <a:cxn ang="0">
                  <a:pos x="49" y="59"/>
                </a:cxn>
                <a:cxn ang="0">
                  <a:pos x="45" y="63"/>
                </a:cxn>
                <a:cxn ang="0">
                  <a:pos x="49" y="68"/>
                </a:cxn>
                <a:cxn ang="0">
                  <a:pos x="54" y="63"/>
                </a:cxn>
                <a:cxn ang="0">
                  <a:pos x="49" y="59"/>
                </a:cxn>
              </a:cxnLst>
              <a:rect l="0" t="0" r="r" b="b"/>
              <a:pathLst>
                <a:path w="67" h="100">
                  <a:moveTo>
                    <a:pt x="55" y="18"/>
                  </a:moveTo>
                  <a:cubicBezTo>
                    <a:pt x="67" y="18"/>
                    <a:pt x="67" y="18"/>
                    <a:pt x="67" y="18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5"/>
                    <a:pt x="51" y="18"/>
                    <a:pt x="55" y="18"/>
                  </a:cubicBezTo>
                  <a:close/>
                  <a:moveTo>
                    <a:pt x="49" y="71"/>
                  </a:moveTo>
                  <a:cubicBezTo>
                    <a:pt x="48" y="71"/>
                    <a:pt x="47" y="71"/>
                    <a:pt x="47" y="71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9" y="76"/>
                    <a:pt x="49" y="76"/>
                    <a:pt x="49" y="76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0" y="71"/>
                    <a:pt x="49" y="71"/>
                  </a:cubicBezTo>
                  <a:close/>
                  <a:moveTo>
                    <a:pt x="55" y="21"/>
                  </a:moveTo>
                  <a:cubicBezTo>
                    <a:pt x="50" y="21"/>
                    <a:pt x="45" y="16"/>
                    <a:pt x="45" y="12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7" y="21"/>
                    <a:pt x="67" y="21"/>
                    <a:pt x="67" y="21"/>
                  </a:cubicBezTo>
                  <a:lnTo>
                    <a:pt x="55" y="21"/>
                  </a:lnTo>
                  <a:close/>
                  <a:moveTo>
                    <a:pt x="12" y="31"/>
                  </a:move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7" y="32"/>
                    <a:pt x="57" y="33"/>
                  </a:cubicBezTo>
                  <a:cubicBezTo>
                    <a:pt x="57" y="34"/>
                    <a:pt x="56" y="35"/>
                    <a:pt x="56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5"/>
                    <a:pt x="10" y="34"/>
                    <a:pt x="10" y="33"/>
                  </a:cubicBezTo>
                  <a:cubicBezTo>
                    <a:pt x="10" y="32"/>
                    <a:pt x="11" y="31"/>
                    <a:pt x="12" y="31"/>
                  </a:cubicBezTo>
                  <a:close/>
                  <a:moveTo>
                    <a:pt x="10" y="43"/>
                  </a:moveTo>
                  <a:cubicBezTo>
                    <a:pt x="10" y="42"/>
                    <a:pt x="11" y="41"/>
                    <a:pt x="12" y="41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6" y="41"/>
                    <a:pt x="57" y="42"/>
                    <a:pt x="57" y="43"/>
                  </a:cubicBezTo>
                  <a:cubicBezTo>
                    <a:pt x="57" y="44"/>
                    <a:pt x="56" y="45"/>
                    <a:pt x="56" y="45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5"/>
                    <a:pt x="10" y="44"/>
                    <a:pt x="10" y="43"/>
                  </a:cubicBezTo>
                  <a:close/>
                  <a:moveTo>
                    <a:pt x="55" y="69"/>
                  </a:moveTo>
                  <a:cubicBezTo>
                    <a:pt x="55" y="87"/>
                    <a:pt x="55" y="87"/>
                    <a:pt x="55" y="87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69"/>
                    <a:pt x="43" y="69"/>
                    <a:pt x="43" y="69"/>
                  </a:cubicBezTo>
                  <a:cubicBezTo>
                    <a:pt x="42" y="68"/>
                    <a:pt x="41" y="66"/>
                    <a:pt x="41" y="63"/>
                  </a:cubicBezTo>
                  <a:cubicBezTo>
                    <a:pt x="41" y="59"/>
                    <a:pt x="45" y="55"/>
                    <a:pt x="49" y="55"/>
                  </a:cubicBezTo>
                  <a:cubicBezTo>
                    <a:pt x="54" y="55"/>
                    <a:pt x="57" y="59"/>
                    <a:pt x="57" y="63"/>
                  </a:cubicBezTo>
                  <a:cubicBezTo>
                    <a:pt x="57" y="66"/>
                    <a:pt x="56" y="68"/>
                    <a:pt x="55" y="69"/>
                  </a:cubicBezTo>
                  <a:close/>
                  <a:moveTo>
                    <a:pt x="49" y="59"/>
                  </a:moveTo>
                  <a:cubicBezTo>
                    <a:pt x="47" y="59"/>
                    <a:pt x="45" y="61"/>
                    <a:pt x="45" y="63"/>
                  </a:cubicBezTo>
                  <a:cubicBezTo>
                    <a:pt x="45" y="66"/>
                    <a:pt x="47" y="68"/>
                    <a:pt x="49" y="68"/>
                  </a:cubicBezTo>
                  <a:cubicBezTo>
                    <a:pt x="52" y="68"/>
                    <a:pt x="54" y="66"/>
                    <a:pt x="54" y="63"/>
                  </a:cubicBezTo>
                  <a:cubicBezTo>
                    <a:pt x="54" y="61"/>
                    <a:pt x="52" y="59"/>
                    <a:pt x="49" y="59"/>
                  </a:cubicBez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0" name="Freeform 51"/>
            <p:cNvSpPr>
              <a:spLocks noChangeAspect="1" noEditPoints="1"/>
            </p:cNvSpPr>
            <p:nvPr/>
          </p:nvSpPr>
          <p:spPr bwMode="gray">
            <a:xfrm>
              <a:off x="6016236" y="2041216"/>
              <a:ext cx="123747" cy="223200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23" y="0"/>
                </a:cxn>
                <a:cxn ang="0">
                  <a:pos x="20" y="4"/>
                </a:cxn>
                <a:cxn ang="0">
                  <a:pos x="28" y="4"/>
                </a:cxn>
                <a:cxn ang="0">
                  <a:pos x="32" y="8"/>
                </a:cxn>
                <a:cxn ang="0">
                  <a:pos x="32" y="59"/>
                </a:cxn>
                <a:cxn ang="0">
                  <a:pos x="45" y="74"/>
                </a:cxn>
                <a:cxn ang="0">
                  <a:pos x="45" y="4"/>
                </a:cxn>
                <a:cxn ang="0">
                  <a:pos x="40" y="0"/>
                </a:cxn>
                <a:cxn ang="0">
                  <a:pos x="20" y="12"/>
                </a:cxn>
                <a:cxn ang="0">
                  <a:pos x="3" y="12"/>
                </a:cxn>
                <a:cxn ang="0">
                  <a:pos x="0" y="17"/>
                </a:cxn>
                <a:cxn ang="0">
                  <a:pos x="0" y="82"/>
                </a:cxn>
                <a:cxn ang="0">
                  <a:pos x="12" y="67"/>
                </a:cxn>
                <a:cxn ang="0">
                  <a:pos x="24" y="82"/>
                </a:cxn>
                <a:cxn ang="0">
                  <a:pos x="24" y="17"/>
                </a:cxn>
                <a:cxn ang="0">
                  <a:pos x="20" y="12"/>
                </a:cxn>
              </a:cxnLst>
              <a:rect l="0" t="0" r="r" b="b"/>
              <a:pathLst>
                <a:path w="45" h="82">
                  <a:moveTo>
                    <a:pt x="4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1" y="0"/>
                    <a:pt x="20" y="2"/>
                    <a:pt x="20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30" y="4"/>
                    <a:pt x="32" y="6"/>
                    <a:pt x="32" y="8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2"/>
                    <a:pt x="43" y="0"/>
                    <a:pt x="40" y="0"/>
                  </a:cubicBezTo>
                  <a:close/>
                  <a:moveTo>
                    <a:pt x="20" y="12"/>
                  </a:moveTo>
                  <a:cubicBezTo>
                    <a:pt x="3" y="12"/>
                    <a:pt x="3" y="12"/>
                    <a:pt x="3" y="12"/>
                  </a:cubicBezTo>
                  <a:cubicBezTo>
                    <a:pt x="1" y="12"/>
                    <a:pt x="0" y="14"/>
                    <a:pt x="0" y="17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4"/>
                    <a:pt x="22" y="12"/>
                    <a:pt x="20" y="12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1" name="Freeform 55"/>
            <p:cNvSpPr>
              <a:spLocks noChangeAspect="1"/>
            </p:cNvSpPr>
            <p:nvPr/>
          </p:nvSpPr>
          <p:spPr bwMode="gray">
            <a:xfrm>
              <a:off x="5540132" y="2052016"/>
              <a:ext cx="80488" cy="201600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3" y="0"/>
                </a:cxn>
                <a:cxn ang="0">
                  <a:pos x="0" y="4"/>
                </a:cxn>
                <a:cxn ang="0">
                  <a:pos x="0" y="74"/>
                </a:cxn>
                <a:cxn ang="0">
                  <a:pos x="15" y="59"/>
                </a:cxn>
                <a:cxn ang="0">
                  <a:pos x="29" y="74"/>
                </a:cxn>
                <a:cxn ang="0">
                  <a:pos x="29" y="4"/>
                </a:cxn>
                <a:cxn ang="0">
                  <a:pos x="25" y="0"/>
                </a:cxn>
              </a:cxnLst>
              <a:rect l="0" t="0" r="r" b="b"/>
              <a:pathLst>
                <a:path w="29" h="74">
                  <a:moveTo>
                    <a:pt x="25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2"/>
                    <a:pt x="28" y="0"/>
                    <a:pt x="25" y="0"/>
                  </a:cubicBez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2" name="Freeform 59"/>
            <p:cNvSpPr>
              <a:spLocks noChangeAspect="1" noEditPoints="1"/>
            </p:cNvSpPr>
            <p:nvPr/>
          </p:nvSpPr>
          <p:spPr bwMode="gray">
            <a:xfrm>
              <a:off x="4910263" y="2088789"/>
              <a:ext cx="338400" cy="128054"/>
            </a:xfrm>
            <a:custGeom>
              <a:avLst/>
              <a:gdLst/>
              <a:ahLst/>
              <a:cxnLst>
                <a:cxn ang="0">
                  <a:pos x="103" y="14"/>
                </a:cxn>
                <a:cxn ang="0">
                  <a:pos x="108" y="1"/>
                </a:cxn>
                <a:cxn ang="0">
                  <a:pos x="67" y="1"/>
                </a:cxn>
                <a:cxn ang="0">
                  <a:pos x="74" y="14"/>
                </a:cxn>
                <a:cxn ang="0">
                  <a:pos x="66" y="27"/>
                </a:cxn>
                <a:cxn ang="0">
                  <a:pos x="108" y="27"/>
                </a:cxn>
                <a:cxn ang="0">
                  <a:pos x="103" y="14"/>
                </a:cxn>
                <a:cxn ang="0">
                  <a:pos x="118" y="10"/>
                </a:cxn>
                <a:cxn ang="0">
                  <a:pos x="118" y="10"/>
                </a:cxn>
                <a:cxn ang="0">
                  <a:pos x="118" y="10"/>
                </a:cxn>
                <a:cxn ang="0">
                  <a:pos x="116" y="5"/>
                </a:cxn>
                <a:cxn ang="0">
                  <a:pos x="112" y="2"/>
                </a:cxn>
                <a:cxn ang="0">
                  <a:pos x="108" y="5"/>
                </a:cxn>
                <a:cxn ang="0">
                  <a:pos x="107" y="14"/>
                </a:cxn>
                <a:cxn ang="0">
                  <a:pos x="108" y="23"/>
                </a:cxn>
                <a:cxn ang="0">
                  <a:pos x="112" y="26"/>
                </a:cxn>
                <a:cxn ang="0">
                  <a:pos x="116" y="23"/>
                </a:cxn>
                <a:cxn ang="0">
                  <a:pos x="118" y="18"/>
                </a:cxn>
                <a:cxn ang="0">
                  <a:pos x="118" y="17"/>
                </a:cxn>
                <a:cxn ang="0">
                  <a:pos x="118" y="17"/>
                </a:cxn>
                <a:cxn ang="0">
                  <a:pos x="118" y="14"/>
                </a:cxn>
                <a:cxn ang="0">
                  <a:pos x="118" y="10"/>
                </a:cxn>
                <a:cxn ang="0">
                  <a:pos x="40" y="14"/>
                </a:cxn>
                <a:cxn ang="0">
                  <a:pos x="47" y="1"/>
                </a:cxn>
                <a:cxn ang="0">
                  <a:pos x="5" y="1"/>
                </a:cxn>
                <a:cxn ang="0">
                  <a:pos x="5" y="1"/>
                </a:cxn>
                <a:cxn ang="0">
                  <a:pos x="0" y="14"/>
                </a:cxn>
                <a:cxn ang="0">
                  <a:pos x="5" y="27"/>
                </a:cxn>
                <a:cxn ang="0">
                  <a:pos x="5" y="27"/>
                </a:cxn>
                <a:cxn ang="0">
                  <a:pos x="48" y="27"/>
                </a:cxn>
                <a:cxn ang="0">
                  <a:pos x="40" y="14"/>
                </a:cxn>
                <a:cxn ang="0">
                  <a:pos x="70" y="14"/>
                </a:cxn>
                <a:cxn ang="0">
                  <a:pos x="57" y="0"/>
                </a:cxn>
                <a:cxn ang="0">
                  <a:pos x="43" y="14"/>
                </a:cxn>
                <a:cxn ang="0">
                  <a:pos x="50" y="25"/>
                </a:cxn>
                <a:cxn ang="0">
                  <a:pos x="50" y="44"/>
                </a:cxn>
                <a:cxn ang="0">
                  <a:pos x="57" y="37"/>
                </a:cxn>
                <a:cxn ang="0">
                  <a:pos x="64" y="44"/>
                </a:cxn>
                <a:cxn ang="0">
                  <a:pos x="64" y="25"/>
                </a:cxn>
                <a:cxn ang="0">
                  <a:pos x="70" y="14"/>
                </a:cxn>
                <a:cxn ang="0">
                  <a:pos x="57" y="23"/>
                </a:cxn>
                <a:cxn ang="0">
                  <a:pos x="48" y="14"/>
                </a:cxn>
                <a:cxn ang="0">
                  <a:pos x="57" y="4"/>
                </a:cxn>
                <a:cxn ang="0">
                  <a:pos x="66" y="14"/>
                </a:cxn>
                <a:cxn ang="0">
                  <a:pos x="57" y="23"/>
                </a:cxn>
              </a:cxnLst>
              <a:rect l="0" t="0" r="r" b="b"/>
              <a:pathLst>
                <a:path w="118" h="44">
                  <a:moveTo>
                    <a:pt x="103" y="14"/>
                  </a:moveTo>
                  <a:cubicBezTo>
                    <a:pt x="103" y="8"/>
                    <a:pt x="105" y="3"/>
                    <a:pt x="108" y="1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71" y="4"/>
                    <a:pt x="74" y="8"/>
                    <a:pt x="74" y="14"/>
                  </a:cubicBezTo>
                  <a:cubicBezTo>
                    <a:pt x="74" y="19"/>
                    <a:pt x="71" y="24"/>
                    <a:pt x="66" y="27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5" y="25"/>
                    <a:pt x="103" y="20"/>
                    <a:pt x="103" y="14"/>
                  </a:cubicBezTo>
                  <a:close/>
                  <a:moveTo>
                    <a:pt x="118" y="10"/>
                  </a:moveTo>
                  <a:cubicBezTo>
                    <a:pt x="118" y="10"/>
                    <a:pt x="118" y="10"/>
                    <a:pt x="118" y="10"/>
                  </a:cubicBezTo>
                  <a:cubicBezTo>
                    <a:pt x="118" y="10"/>
                    <a:pt x="118" y="10"/>
                    <a:pt x="118" y="10"/>
                  </a:cubicBezTo>
                  <a:cubicBezTo>
                    <a:pt x="117" y="8"/>
                    <a:pt x="117" y="6"/>
                    <a:pt x="116" y="5"/>
                  </a:cubicBezTo>
                  <a:cubicBezTo>
                    <a:pt x="115" y="3"/>
                    <a:pt x="114" y="1"/>
                    <a:pt x="112" y="2"/>
                  </a:cubicBezTo>
                  <a:cubicBezTo>
                    <a:pt x="111" y="1"/>
                    <a:pt x="109" y="3"/>
                    <a:pt x="108" y="5"/>
                  </a:cubicBezTo>
                  <a:cubicBezTo>
                    <a:pt x="107" y="7"/>
                    <a:pt x="107" y="10"/>
                    <a:pt x="107" y="14"/>
                  </a:cubicBezTo>
                  <a:cubicBezTo>
                    <a:pt x="107" y="17"/>
                    <a:pt x="107" y="20"/>
                    <a:pt x="108" y="23"/>
                  </a:cubicBezTo>
                  <a:cubicBezTo>
                    <a:pt x="109" y="25"/>
                    <a:pt x="111" y="26"/>
                    <a:pt x="112" y="26"/>
                  </a:cubicBezTo>
                  <a:cubicBezTo>
                    <a:pt x="114" y="26"/>
                    <a:pt x="115" y="25"/>
                    <a:pt x="116" y="23"/>
                  </a:cubicBezTo>
                  <a:cubicBezTo>
                    <a:pt x="117" y="21"/>
                    <a:pt x="117" y="20"/>
                    <a:pt x="118" y="18"/>
                  </a:cubicBezTo>
                  <a:cubicBezTo>
                    <a:pt x="118" y="18"/>
                    <a:pt x="118" y="18"/>
                    <a:pt x="118" y="17"/>
                  </a:cubicBezTo>
                  <a:cubicBezTo>
                    <a:pt x="118" y="17"/>
                    <a:pt x="118" y="17"/>
                    <a:pt x="118" y="17"/>
                  </a:cubicBezTo>
                  <a:cubicBezTo>
                    <a:pt x="118" y="16"/>
                    <a:pt x="118" y="15"/>
                    <a:pt x="118" y="14"/>
                  </a:cubicBezTo>
                  <a:cubicBezTo>
                    <a:pt x="118" y="13"/>
                    <a:pt x="118" y="11"/>
                    <a:pt x="118" y="10"/>
                  </a:cubicBezTo>
                  <a:close/>
                  <a:moveTo>
                    <a:pt x="40" y="14"/>
                  </a:moveTo>
                  <a:cubicBezTo>
                    <a:pt x="40" y="8"/>
                    <a:pt x="43" y="4"/>
                    <a:pt x="47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2" y="1"/>
                    <a:pt x="0" y="7"/>
                    <a:pt x="0" y="14"/>
                  </a:cubicBezTo>
                  <a:cubicBezTo>
                    <a:pt x="0" y="21"/>
                    <a:pt x="2" y="26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3" y="24"/>
                    <a:pt x="40" y="19"/>
                    <a:pt x="40" y="14"/>
                  </a:cubicBezTo>
                  <a:close/>
                  <a:moveTo>
                    <a:pt x="70" y="14"/>
                  </a:moveTo>
                  <a:cubicBezTo>
                    <a:pt x="70" y="6"/>
                    <a:pt x="64" y="0"/>
                    <a:pt x="57" y="0"/>
                  </a:cubicBezTo>
                  <a:cubicBezTo>
                    <a:pt x="49" y="0"/>
                    <a:pt x="43" y="6"/>
                    <a:pt x="43" y="14"/>
                  </a:cubicBezTo>
                  <a:cubicBezTo>
                    <a:pt x="43" y="18"/>
                    <a:pt x="46" y="23"/>
                    <a:pt x="50" y="25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8" y="23"/>
                    <a:pt x="70" y="18"/>
                    <a:pt x="70" y="14"/>
                  </a:cubicBezTo>
                  <a:close/>
                  <a:moveTo>
                    <a:pt x="57" y="23"/>
                  </a:moveTo>
                  <a:cubicBezTo>
                    <a:pt x="52" y="23"/>
                    <a:pt x="48" y="19"/>
                    <a:pt x="48" y="14"/>
                  </a:cubicBezTo>
                  <a:cubicBezTo>
                    <a:pt x="48" y="9"/>
                    <a:pt x="52" y="4"/>
                    <a:pt x="57" y="4"/>
                  </a:cubicBezTo>
                  <a:cubicBezTo>
                    <a:pt x="62" y="4"/>
                    <a:pt x="66" y="9"/>
                    <a:pt x="66" y="14"/>
                  </a:cubicBezTo>
                  <a:cubicBezTo>
                    <a:pt x="66" y="19"/>
                    <a:pt x="62" y="23"/>
                    <a:pt x="57" y="23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33" name="Group 132"/>
            <p:cNvGrpSpPr>
              <a:grpSpLocks noChangeAspect="1"/>
            </p:cNvGrpSpPr>
            <p:nvPr/>
          </p:nvGrpSpPr>
          <p:grpSpPr bwMode="gray">
            <a:xfrm>
              <a:off x="4462624" y="2073616"/>
              <a:ext cx="255600" cy="158400"/>
              <a:chOff x="1714500" y="4000504"/>
              <a:chExt cx="1068388" cy="674687"/>
            </a:xfrm>
          </p:grpSpPr>
          <p:sp>
            <p:nvSpPr>
              <p:cNvPr id="134" name="Freeform 63"/>
              <p:cNvSpPr>
                <a:spLocks/>
              </p:cNvSpPr>
              <p:nvPr/>
            </p:nvSpPr>
            <p:spPr bwMode="gray">
              <a:xfrm>
                <a:off x="1747838" y="4000504"/>
                <a:ext cx="977900" cy="388937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8" y="15"/>
                  </a:cxn>
                  <a:cxn ang="0">
                    <a:pos x="46" y="34"/>
                  </a:cxn>
                  <a:cxn ang="0">
                    <a:pos x="69" y="16"/>
                  </a:cxn>
                  <a:cxn ang="0">
                    <a:pos x="86" y="0"/>
                  </a:cxn>
                  <a:cxn ang="0">
                    <a:pos x="82" y="0"/>
                  </a:cxn>
                  <a:cxn ang="0">
                    <a:pos x="5" y="0"/>
                  </a:cxn>
                  <a:cxn ang="0">
                    <a:pos x="0" y="1"/>
                  </a:cxn>
                </a:cxnLst>
                <a:rect l="0" t="0" r="r" b="b"/>
                <a:pathLst>
                  <a:path w="86" h="34">
                    <a:moveTo>
                      <a:pt x="0" y="1"/>
                    </a:moveTo>
                    <a:cubicBezTo>
                      <a:pt x="0" y="1"/>
                      <a:pt x="8" y="8"/>
                      <a:pt x="18" y="15"/>
                    </a:cubicBezTo>
                    <a:cubicBezTo>
                      <a:pt x="31" y="26"/>
                      <a:pt x="44" y="34"/>
                      <a:pt x="46" y="34"/>
                    </a:cubicBezTo>
                    <a:cubicBezTo>
                      <a:pt x="47" y="34"/>
                      <a:pt x="52" y="30"/>
                      <a:pt x="69" y="16"/>
                    </a:cubicBezTo>
                    <a:cubicBezTo>
                      <a:pt x="78" y="9"/>
                      <a:pt x="86" y="0"/>
                      <a:pt x="86" y="0"/>
                    </a:cubicBezTo>
                    <a:cubicBezTo>
                      <a:pt x="86" y="0"/>
                      <a:pt x="85" y="0"/>
                      <a:pt x="82" y="0"/>
                    </a:cubicBezTo>
                    <a:cubicBezTo>
                      <a:pt x="82" y="0"/>
                      <a:pt x="9" y="0"/>
                      <a:pt x="5" y="0"/>
                    </a:cubicBezTo>
                    <a:cubicBezTo>
                      <a:pt x="3" y="0"/>
                      <a:pt x="1" y="0"/>
                      <a:pt x="0" y="1"/>
                    </a:cubicBez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35" name="Freeform 64"/>
              <p:cNvSpPr>
                <a:spLocks/>
              </p:cNvSpPr>
              <p:nvPr/>
            </p:nvSpPr>
            <p:spPr bwMode="gray">
              <a:xfrm>
                <a:off x="1714500" y="4046541"/>
                <a:ext cx="431800" cy="617537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1" y="0"/>
                  </a:cxn>
                  <a:cxn ang="0">
                    <a:pos x="38" y="29"/>
                  </a:cxn>
                  <a:cxn ang="0">
                    <a:pos x="4" y="54"/>
                  </a:cxn>
                  <a:cxn ang="0">
                    <a:pos x="0" y="44"/>
                  </a:cxn>
                  <a:cxn ang="0">
                    <a:pos x="0" y="7"/>
                  </a:cxn>
                </a:cxnLst>
                <a:rect l="0" t="0" r="r" b="b"/>
                <a:pathLst>
                  <a:path w="38" h="54">
                    <a:moveTo>
                      <a:pt x="0" y="7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38" y="29"/>
                      <a:pt x="38" y="29"/>
                      <a:pt x="38" y="29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4" y="54"/>
                      <a:pt x="0" y="54"/>
                      <a:pt x="0" y="44"/>
                    </a:cubicBezTo>
                    <a:cubicBezTo>
                      <a:pt x="0" y="42"/>
                      <a:pt x="0" y="19"/>
                      <a:pt x="0" y="7"/>
                    </a:cubicBez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36" name="Freeform 65"/>
              <p:cNvSpPr>
                <a:spLocks/>
              </p:cNvSpPr>
              <p:nvPr/>
            </p:nvSpPr>
            <p:spPr bwMode="gray">
              <a:xfrm>
                <a:off x="2373313" y="4046541"/>
                <a:ext cx="409575" cy="593725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34" y="0"/>
                  </a:cxn>
                  <a:cxn ang="0">
                    <a:pos x="36" y="5"/>
                  </a:cxn>
                  <a:cxn ang="0">
                    <a:pos x="36" y="45"/>
                  </a:cxn>
                  <a:cxn ang="0">
                    <a:pos x="35" y="52"/>
                  </a:cxn>
                  <a:cxn ang="0">
                    <a:pos x="0" y="29"/>
                  </a:cxn>
                </a:cxnLst>
                <a:rect l="0" t="0" r="r" b="b"/>
                <a:pathLst>
                  <a:path w="36" h="52">
                    <a:moveTo>
                      <a:pt x="0" y="29"/>
                    </a:moveTo>
                    <a:cubicBezTo>
                      <a:pt x="34" y="0"/>
                      <a:pt x="34" y="0"/>
                      <a:pt x="34" y="0"/>
                    </a:cubicBezTo>
                    <a:cubicBezTo>
                      <a:pt x="34" y="0"/>
                      <a:pt x="36" y="1"/>
                      <a:pt x="36" y="5"/>
                    </a:cubicBezTo>
                    <a:cubicBezTo>
                      <a:pt x="36" y="45"/>
                      <a:pt x="36" y="45"/>
                      <a:pt x="36" y="45"/>
                    </a:cubicBezTo>
                    <a:cubicBezTo>
                      <a:pt x="36" y="45"/>
                      <a:pt x="35" y="51"/>
                      <a:pt x="35" y="52"/>
                    </a:cubicBez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37" name="Freeform 66"/>
              <p:cNvSpPr>
                <a:spLocks/>
              </p:cNvSpPr>
              <p:nvPr/>
            </p:nvSpPr>
            <p:spPr bwMode="gray">
              <a:xfrm>
                <a:off x="1828800" y="4400554"/>
                <a:ext cx="908050" cy="274637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9" y="3"/>
                  </a:cxn>
                  <a:cxn ang="0">
                    <a:pos x="45" y="0"/>
                  </a:cxn>
                  <a:cxn ang="0">
                    <a:pos x="80" y="23"/>
                  </a:cxn>
                  <a:cxn ang="0">
                    <a:pos x="77" y="24"/>
                  </a:cxn>
                  <a:cxn ang="0">
                    <a:pos x="0" y="24"/>
                  </a:cxn>
                  <a:cxn ang="0">
                    <a:pos x="32" y="0"/>
                  </a:cxn>
                </a:cxnLst>
                <a:rect l="0" t="0" r="r" b="b"/>
                <a:pathLst>
                  <a:path w="80" h="24">
                    <a:moveTo>
                      <a:pt x="32" y="0"/>
                    </a:moveTo>
                    <a:cubicBezTo>
                      <a:pt x="33" y="0"/>
                      <a:pt x="36" y="3"/>
                      <a:pt x="39" y="3"/>
                    </a:cubicBezTo>
                    <a:cubicBezTo>
                      <a:pt x="41" y="3"/>
                      <a:pt x="45" y="0"/>
                      <a:pt x="45" y="0"/>
                    </a:cubicBezTo>
                    <a:cubicBezTo>
                      <a:pt x="80" y="23"/>
                      <a:pt x="80" y="23"/>
                      <a:pt x="80" y="23"/>
                    </a:cubicBezTo>
                    <a:cubicBezTo>
                      <a:pt x="80" y="23"/>
                      <a:pt x="78" y="24"/>
                      <a:pt x="77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31" y="1"/>
                      <a:pt x="32" y="0"/>
                    </a:cubicBez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138" name="Freeform 70"/>
            <p:cNvSpPr>
              <a:spLocks noChangeAspect="1"/>
            </p:cNvSpPr>
            <p:nvPr/>
          </p:nvSpPr>
          <p:spPr bwMode="gray">
            <a:xfrm>
              <a:off x="3994879" y="2062816"/>
              <a:ext cx="180000" cy="180000"/>
            </a:xfrm>
            <a:custGeom>
              <a:avLst/>
              <a:gdLst/>
              <a:ahLst/>
              <a:cxnLst>
                <a:cxn ang="0">
                  <a:pos x="42" y="42"/>
                </a:cxn>
                <a:cxn ang="0">
                  <a:pos x="25" y="52"/>
                </a:cxn>
                <a:cxn ang="0">
                  <a:pos x="9" y="52"/>
                </a:cxn>
                <a:cxn ang="0">
                  <a:pos x="11" y="68"/>
                </a:cxn>
                <a:cxn ang="0">
                  <a:pos x="51" y="51"/>
                </a:cxn>
                <a:cxn ang="0">
                  <a:pos x="68" y="11"/>
                </a:cxn>
                <a:cxn ang="0">
                  <a:pos x="51" y="9"/>
                </a:cxn>
                <a:cxn ang="0">
                  <a:pos x="52" y="26"/>
                </a:cxn>
                <a:cxn ang="0">
                  <a:pos x="42" y="42"/>
                </a:cxn>
              </a:cxnLst>
              <a:rect l="0" t="0" r="r" b="b"/>
              <a:pathLst>
                <a:path w="73" h="73">
                  <a:moveTo>
                    <a:pt x="42" y="42"/>
                  </a:moveTo>
                  <a:cubicBezTo>
                    <a:pt x="36" y="49"/>
                    <a:pt x="28" y="55"/>
                    <a:pt x="25" y="52"/>
                  </a:cubicBezTo>
                  <a:cubicBezTo>
                    <a:pt x="21" y="48"/>
                    <a:pt x="18" y="44"/>
                    <a:pt x="9" y="52"/>
                  </a:cubicBezTo>
                  <a:cubicBezTo>
                    <a:pt x="0" y="59"/>
                    <a:pt x="7" y="64"/>
                    <a:pt x="11" y="68"/>
                  </a:cubicBezTo>
                  <a:cubicBezTo>
                    <a:pt x="16" y="73"/>
                    <a:pt x="33" y="69"/>
                    <a:pt x="51" y="51"/>
                  </a:cubicBezTo>
                  <a:cubicBezTo>
                    <a:pt x="68" y="34"/>
                    <a:pt x="73" y="16"/>
                    <a:pt x="68" y="11"/>
                  </a:cubicBezTo>
                  <a:cubicBezTo>
                    <a:pt x="64" y="7"/>
                    <a:pt x="59" y="0"/>
                    <a:pt x="51" y="9"/>
                  </a:cubicBezTo>
                  <a:cubicBezTo>
                    <a:pt x="44" y="19"/>
                    <a:pt x="48" y="21"/>
                    <a:pt x="52" y="26"/>
                  </a:cubicBezTo>
                  <a:cubicBezTo>
                    <a:pt x="55" y="29"/>
                    <a:pt x="49" y="36"/>
                    <a:pt x="42" y="42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9" name="Freeform 74"/>
            <p:cNvSpPr>
              <a:spLocks noChangeAspect="1" noEditPoints="1"/>
            </p:cNvSpPr>
            <p:nvPr/>
          </p:nvSpPr>
          <p:spPr bwMode="gray">
            <a:xfrm>
              <a:off x="3469769" y="2061286"/>
              <a:ext cx="223200" cy="183065"/>
            </a:xfrm>
            <a:custGeom>
              <a:avLst/>
              <a:gdLst/>
              <a:ahLst/>
              <a:cxnLst>
                <a:cxn ang="0">
                  <a:pos x="73" y="1"/>
                </a:cxn>
                <a:cxn ang="0">
                  <a:pos x="1" y="26"/>
                </a:cxn>
                <a:cxn ang="0">
                  <a:pos x="1" y="28"/>
                </a:cxn>
                <a:cxn ang="0">
                  <a:pos x="17" y="35"/>
                </a:cxn>
                <a:cxn ang="0">
                  <a:pos x="17" y="35"/>
                </a:cxn>
                <a:cxn ang="0">
                  <a:pos x="26" y="38"/>
                </a:cxn>
                <a:cxn ang="0">
                  <a:pos x="71" y="5"/>
                </a:cxn>
                <a:cxn ang="0">
                  <a:pos x="72" y="6"/>
                </a:cxn>
                <a:cxn ang="0">
                  <a:pos x="40" y="41"/>
                </a:cxn>
                <a:cxn ang="0">
                  <a:pos x="40" y="41"/>
                </a:cxn>
                <a:cxn ang="0">
                  <a:pos x="38" y="43"/>
                </a:cxn>
                <a:cxn ang="0">
                  <a:pos x="40" y="44"/>
                </a:cxn>
                <a:cxn ang="0">
                  <a:pos x="40" y="44"/>
                </a:cxn>
                <a:cxn ang="0">
                  <a:pos x="60" y="55"/>
                </a:cxn>
                <a:cxn ang="0">
                  <a:pos x="64" y="54"/>
                </a:cxn>
                <a:cxn ang="0">
                  <a:pos x="75" y="3"/>
                </a:cxn>
                <a:cxn ang="0">
                  <a:pos x="73" y="1"/>
                </a:cxn>
                <a:cxn ang="0">
                  <a:pos x="26" y="60"/>
                </a:cxn>
                <a:cxn ang="0">
                  <a:pos x="27" y="61"/>
                </a:cxn>
                <a:cxn ang="0">
                  <a:pos x="39" y="51"/>
                </a:cxn>
                <a:cxn ang="0">
                  <a:pos x="26" y="44"/>
                </a:cxn>
                <a:cxn ang="0">
                  <a:pos x="26" y="60"/>
                </a:cxn>
              </a:cxnLst>
              <a:rect l="0" t="0" r="r" b="b"/>
              <a:pathLst>
                <a:path w="76" h="62">
                  <a:moveTo>
                    <a:pt x="73" y="1"/>
                  </a:moveTo>
                  <a:cubicBezTo>
                    <a:pt x="72" y="1"/>
                    <a:pt x="3" y="26"/>
                    <a:pt x="1" y="26"/>
                  </a:cubicBezTo>
                  <a:cubicBezTo>
                    <a:pt x="0" y="27"/>
                    <a:pt x="0" y="28"/>
                    <a:pt x="1" y="28"/>
                  </a:cubicBezTo>
                  <a:cubicBezTo>
                    <a:pt x="3" y="29"/>
                    <a:pt x="17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70" y="6"/>
                    <a:pt x="71" y="5"/>
                  </a:cubicBezTo>
                  <a:cubicBezTo>
                    <a:pt x="71" y="5"/>
                    <a:pt x="72" y="6"/>
                    <a:pt x="72" y="6"/>
                  </a:cubicBezTo>
                  <a:cubicBezTo>
                    <a:pt x="71" y="7"/>
                    <a:pt x="40" y="41"/>
                    <a:pt x="40" y="41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59" y="55"/>
                    <a:pt x="60" y="55"/>
                  </a:cubicBezTo>
                  <a:cubicBezTo>
                    <a:pt x="62" y="56"/>
                    <a:pt x="63" y="55"/>
                    <a:pt x="64" y="54"/>
                  </a:cubicBezTo>
                  <a:cubicBezTo>
                    <a:pt x="64" y="52"/>
                    <a:pt x="75" y="4"/>
                    <a:pt x="75" y="3"/>
                  </a:cubicBezTo>
                  <a:cubicBezTo>
                    <a:pt x="76" y="1"/>
                    <a:pt x="75" y="0"/>
                    <a:pt x="73" y="1"/>
                  </a:cubicBezTo>
                  <a:close/>
                  <a:moveTo>
                    <a:pt x="26" y="60"/>
                  </a:moveTo>
                  <a:cubicBezTo>
                    <a:pt x="26" y="61"/>
                    <a:pt x="26" y="62"/>
                    <a:pt x="27" y="61"/>
                  </a:cubicBezTo>
                  <a:cubicBezTo>
                    <a:pt x="28" y="60"/>
                    <a:pt x="39" y="51"/>
                    <a:pt x="39" y="51"/>
                  </a:cubicBezTo>
                  <a:cubicBezTo>
                    <a:pt x="26" y="44"/>
                    <a:pt x="26" y="44"/>
                    <a:pt x="26" y="44"/>
                  </a:cubicBezTo>
                  <a:lnTo>
                    <a:pt x="26" y="60"/>
                  </a:ln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0" name="Freeform 5"/>
            <p:cNvSpPr>
              <a:spLocks noChangeAspect="1" noEditPoints="1"/>
            </p:cNvSpPr>
            <p:nvPr/>
          </p:nvSpPr>
          <p:spPr bwMode="gray">
            <a:xfrm>
              <a:off x="424310" y="2499044"/>
              <a:ext cx="246019" cy="252000"/>
            </a:xfrm>
            <a:custGeom>
              <a:avLst/>
              <a:gdLst/>
              <a:ahLst/>
              <a:cxnLst>
                <a:cxn ang="0">
                  <a:pos x="25" y="20"/>
                </a:cxn>
                <a:cxn ang="0">
                  <a:pos x="18" y="70"/>
                </a:cxn>
                <a:cxn ang="0">
                  <a:pos x="68" y="63"/>
                </a:cxn>
                <a:cxn ang="0">
                  <a:pos x="55" y="33"/>
                </a:cxn>
                <a:cxn ang="0">
                  <a:pos x="25" y="20"/>
                </a:cxn>
                <a:cxn ang="0">
                  <a:pos x="63" y="59"/>
                </a:cxn>
                <a:cxn ang="0">
                  <a:pos x="41" y="47"/>
                </a:cxn>
                <a:cxn ang="0">
                  <a:pos x="29" y="25"/>
                </a:cxn>
                <a:cxn ang="0">
                  <a:pos x="51" y="37"/>
                </a:cxn>
                <a:cxn ang="0">
                  <a:pos x="63" y="59"/>
                </a:cxn>
                <a:cxn ang="0">
                  <a:pos x="64" y="27"/>
                </a:cxn>
                <a:cxn ang="0">
                  <a:pos x="66" y="25"/>
                </a:cxn>
                <a:cxn ang="0">
                  <a:pos x="74" y="18"/>
                </a:cxn>
                <a:cxn ang="0">
                  <a:pos x="74" y="12"/>
                </a:cxn>
                <a:cxn ang="0">
                  <a:pos x="68" y="12"/>
                </a:cxn>
                <a:cxn ang="0">
                  <a:pos x="61" y="20"/>
                </a:cxn>
                <a:cxn ang="0">
                  <a:pos x="61" y="25"/>
                </a:cxn>
                <a:cxn ang="0">
                  <a:pos x="64" y="27"/>
                </a:cxn>
                <a:cxn ang="0">
                  <a:pos x="49" y="17"/>
                </a:cxn>
                <a:cxn ang="0">
                  <a:pos x="51" y="17"/>
                </a:cxn>
                <a:cxn ang="0">
                  <a:pos x="54" y="15"/>
                </a:cxn>
                <a:cxn ang="0">
                  <a:pos x="59" y="7"/>
                </a:cxn>
                <a:cxn ang="0">
                  <a:pos x="57" y="1"/>
                </a:cxn>
                <a:cxn ang="0">
                  <a:pos x="52" y="3"/>
                </a:cxn>
                <a:cxn ang="0">
                  <a:pos x="47" y="11"/>
                </a:cxn>
                <a:cxn ang="0">
                  <a:pos x="49" y="17"/>
                </a:cxn>
                <a:cxn ang="0">
                  <a:pos x="85" y="29"/>
                </a:cxn>
                <a:cxn ang="0">
                  <a:pos x="79" y="27"/>
                </a:cxn>
                <a:cxn ang="0">
                  <a:pos x="71" y="32"/>
                </a:cxn>
                <a:cxn ang="0">
                  <a:pos x="70" y="37"/>
                </a:cxn>
                <a:cxn ang="0">
                  <a:pos x="73" y="39"/>
                </a:cxn>
                <a:cxn ang="0">
                  <a:pos x="75" y="39"/>
                </a:cxn>
                <a:cxn ang="0">
                  <a:pos x="83" y="34"/>
                </a:cxn>
                <a:cxn ang="0">
                  <a:pos x="85" y="29"/>
                </a:cxn>
              </a:cxnLst>
              <a:rect l="0" t="0" r="r" b="b"/>
              <a:pathLst>
                <a:path w="86" h="88">
                  <a:moveTo>
                    <a:pt x="25" y="20"/>
                  </a:moveTo>
                  <a:cubicBezTo>
                    <a:pt x="20" y="24"/>
                    <a:pt x="0" y="53"/>
                    <a:pt x="18" y="70"/>
                  </a:cubicBezTo>
                  <a:cubicBezTo>
                    <a:pt x="35" y="88"/>
                    <a:pt x="64" y="67"/>
                    <a:pt x="68" y="63"/>
                  </a:cubicBezTo>
                  <a:cubicBezTo>
                    <a:pt x="73" y="58"/>
                    <a:pt x="67" y="45"/>
                    <a:pt x="55" y="33"/>
                  </a:cubicBezTo>
                  <a:cubicBezTo>
                    <a:pt x="43" y="21"/>
                    <a:pt x="30" y="15"/>
                    <a:pt x="25" y="20"/>
                  </a:cubicBezTo>
                  <a:close/>
                  <a:moveTo>
                    <a:pt x="63" y="59"/>
                  </a:moveTo>
                  <a:cubicBezTo>
                    <a:pt x="62" y="60"/>
                    <a:pt x="51" y="57"/>
                    <a:pt x="41" y="47"/>
                  </a:cubicBezTo>
                  <a:cubicBezTo>
                    <a:pt x="31" y="37"/>
                    <a:pt x="28" y="26"/>
                    <a:pt x="29" y="25"/>
                  </a:cubicBezTo>
                  <a:cubicBezTo>
                    <a:pt x="30" y="24"/>
                    <a:pt x="41" y="27"/>
                    <a:pt x="51" y="37"/>
                  </a:cubicBezTo>
                  <a:cubicBezTo>
                    <a:pt x="61" y="47"/>
                    <a:pt x="64" y="58"/>
                    <a:pt x="63" y="59"/>
                  </a:cubicBezTo>
                  <a:close/>
                  <a:moveTo>
                    <a:pt x="64" y="27"/>
                  </a:moveTo>
                  <a:cubicBezTo>
                    <a:pt x="65" y="27"/>
                    <a:pt x="66" y="26"/>
                    <a:pt x="66" y="25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6" y="16"/>
                    <a:pt x="76" y="13"/>
                    <a:pt x="74" y="12"/>
                  </a:cubicBezTo>
                  <a:cubicBezTo>
                    <a:pt x="73" y="10"/>
                    <a:pt x="70" y="10"/>
                    <a:pt x="68" y="12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59" y="21"/>
                    <a:pt x="59" y="24"/>
                    <a:pt x="61" y="25"/>
                  </a:cubicBezTo>
                  <a:cubicBezTo>
                    <a:pt x="61" y="26"/>
                    <a:pt x="62" y="27"/>
                    <a:pt x="64" y="27"/>
                  </a:cubicBezTo>
                  <a:close/>
                  <a:moveTo>
                    <a:pt x="49" y="17"/>
                  </a:moveTo>
                  <a:cubicBezTo>
                    <a:pt x="49" y="17"/>
                    <a:pt x="50" y="17"/>
                    <a:pt x="51" y="17"/>
                  </a:cubicBezTo>
                  <a:cubicBezTo>
                    <a:pt x="52" y="17"/>
                    <a:pt x="54" y="16"/>
                    <a:pt x="54" y="15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60" y="5"/>
                    <a:pt x="59" y="3"/>
                    <a:pt x="57" y="1"/>
                  </a:cubicBezTo>
                  <a:cubicBezTo>
                    <a:pt x="55" y="0"/>
                    <a:pt x="53" y="1"/>
                    <a:pt x="52" y="3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6" y="13"/>
                    <a:pt x="47" y="15"/>
                    <a:pt x="49" y="17"/>
                  </a:cubicBezTo>
                  <a:close/>
                  <a:moveTo>
                    <a:pt x="85" y="29"/>
                  </a:moveTo>
                  <a:cubicBezTo>
                    <a:pt x="83" y="27"/>
                    <a:pt x="81" y="26"/>
                    <a:pt x="79" y="27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69" y="33"/>
                    <a:pt x="68" y="35"/>
                    <a:pt x="70" y="37"/>
                  </a:cubicBezTo>
                  <a:cubicBezTo>
                    <a:pt x="70" y="39"/>
                    <a:pt x="72" y="39"/>
                    <a:pt x="73" y="39"/>
                  </a:cubicBezTo>
                  <a:cubicBezTo>
                    <a:pt x="74" y="39"/>
                    <a:pt x="74" y="39"/>
                    <a:pt x="75" y="39"/>
                  </a:cubicBezTo>
                  <a:cubicBezTo>
                    <a:pt x="83" y="34"/>
                    <a:pt x="83" y="34"/>
                    <a:pt x="83" y="34"/>
                  </a:cubicBezTo>
                  <a:cubicBezTo>
                    <a:pt x="85" y="33"/>
                    <a:pt x="86" y="31"/>
                    <a:pt x="85" y="29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1" name="Freeform 9"/>
            <p:cNvSpPr>
              <a:spLocks noChangeAspect="1" noEditPoints="1"/>
            </p:cNvSpPr>
            <p:nvPr/>
          </p:nvSpPr>
          <p:spPr bwMode="gray">
            <a:xfrm>
              <a:off x="973275" y="2514722"/>
              <a:ext cx="223200" cy="220644"/>
            </a:xfrm>
            <a:custGeom>
              <a:avLst/>
              <a:gdLst/>
              <a:ahLst/>
              <a:cxnLst>
                <a:cxn ang="0">
                  <a:pos x="72" y="2"/>
                </a:cxn>
                <a:cxn ang="0">
                  <a:pos x="66" y="2"/>
                </a:cxn>
                <a:cxn ang="0">
                  <a:pos x="2" y="65"/>
                </a:cxn>
                <a:cxn ang="0">
                  <a:pos x="2" y="71"/>
                </a:cxn>
                <a:cxn ang="0">
                  <a:pos x="5" y="72"/>
                </a:cxn>
                <a:cxn ang="0">
                  <a:pos x="8" y="71"/>
                </a:cxn>
                <a:cxn ang="0">
                  <a:pos x="72" y="7"/>
                </a:cxn>
                <a:cxn ang="0">
                  <a:pos x="72" y="2"/>
                </a:cxn>
                <a:cxn ang="0">
                  <a:pos x="54" y="33"/>
                </a:cxn>
                <a:cxn ang="0">
                  <a:pos x="60" y="49"/>
                </a:cxn>
                <a:cxn ang="0">
                  <a:pos x="45" y="42"/>
                </a:cxn>
                <a:cxn ang="0">
                  <a:pos x="22" y="65"/>
                </a:cxn>
                <a:cxn ang="0">
                  <a:pos x="66" y="53"/>
                </a:cxn>
                <a:cxn ang="0">
                  <a:pos x="58" y="29"/>
                </a:cxn>
                <a:cxn ang="0">
                  <a:pos x="54" y="33"/>
                </a:cxn>
                <a:cxn ang="0">
                  <a:pos x="31" y="28"/>
                </a:cxn>
                <a:cxn ang="0">
                  <a:pos x="26" y="15"/>
                </a:cxn>
                <a:cxn ang="0">
                  <a:pos x="40" y="20"/>
                </a:cxn>
                <a:cxn ang="0">
                  <a:pos x="44" y="15"/>
                </a:cxn>
                <a:cxn ang="0">
                  <a:pos x="22" y="9"/>
                </a:cxn>
                <a:cxn ang="0">
                  <a:pos x="9" y="50"/>
                </a:cxn>
                <a:cxn ang="0">
                  <a:pos x="31" y="28"/>
                </a:cxn>
              </a:cxnLst>
              <a:rect l="0" t="0" r="r" b="b"/>
              <a:pathLst>
                <a:path w="73" h="72">
                  <a:moveTo>
                    <a:pt x="72" y="2"/>
                  </a:moveTo>
                  <a:cubicBezTo>
                    <a:pt x="70" y="0"/>
                    <a:pt x="67" y="0"/>
                    <a:pt x="66" y="2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0" y="67"/>
                    <a:pt x="0" y="70"/>
                    <a:pt x="2" y="71"/>
                  </a:cubicBezTo>
                  <a:cubicBezTo>
                    <a:pt x="3" y="72"/>
                    <a:pt x="4" y="72"/>
                    <a:pt x="5" y="72"/>
                  </a:cubicBezTo>
                  <a:cubicBezTo>
                    <a:pt x="6" y="72"/>
                    <a:pt x="7" y="72"/>
                    <a:pt x="8" y="71"/>
                  </a:cubicBezTo>
                  <a:cubicBezTo>
                    <a:pt x="72" y="7"/>
                    <a:pt x="72" y="7"/>
                    <a:pt x="72" y="7"/>
                  </a:cubicBezTo>
                  <a:cubicBezTo>
                    <a:pt x="73" y="6"/>
                    <a:pt x="73" y="3"/>
                    <a:pt x="72" y="2"/>
                  </a:cubicBezTo>
                  <a:close/>
                  <a:moveTo>
                    <a:pt x="54" y="33"/>
                  </a:moveTo>
                  <a:cubicBezTo>
                    <a:pt x="60" y="41"/>
                    <a:pt x="61" y="48"/>
                    <a:pt x="60" y="49"/>
                  </a:cubicBezTo>
                  <a:cubicBezTo>
                    <a:pt x="59" y="50"/>
                    <a:pt x="53" y="48"/>
                    <a:pt x="45" y="42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39" y="72"/>
                    <a:pt x="62" y="57"/>
                    <a:pt x="66" y="53"/>
                  </a:cubicBezTo>
                  <a:cubicBezTo>
                    <a:pt x="69" y="49"/>
                    <a:pt x="66" y="39"/>
                    <a:pt x="58" y="29"/>
                  </a:cubicBezTo>
                  <a:lnTo>
                    <a:pt x="54" y="33"/>
                  </a:lnTo>
                  <a:close/>
                  <a:moveTo>
                    <a:pt x="31" y="28"/>
                  </a:moveTo>
                  <a:cubicBezTo>
                    <a:pt x="27" y="21"/>
                    <a:pt x="25" y="16"/>
                    <a:pt x="26" y="15"/>
                  </a:cubicBezTo>
                  <a:cubicBezTo>
                    <a:pt x="27" y="14"/>
                    <a:pt x="33" y="15"/>
                    <a:pt x="40" y="20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35" y="8"/>
                    <a:pt x="26" y="6"/>
                    <a:pt x="22" y="9"/>
                  </a:cubicBezTo>
                  <a:cubicBezTo>
                    <a:pt x="19" y="13"/>
                    <a:pt x="4" y="33"/>
                    <a:pt x="9" y="50"/>
                  </a:cubicBezTo>
                  <a:lnTo>
                    <a:pt x="31" y="28"/>
                  </a:ln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2" name="Freeform 13"/>
            <p:cNvSpPr>
              <a:spLocks noChangeAspect="1" noEditPoints="1"/>
            </p:cNvSpPr>
            <p:nvPr/>
          </p:nvSpPr>
          <p:spPr bwMode="gray">
            <a:xfrm>
              <a:off x="1489474" y="2522444"/>
              <a:ext cx="189069" cy="205200"/>
            </a:xfrm>
            <a:custGeom>
              <a:avLst/>
              <a:gdLst/>
              <a:ahLst/>
              <a:cxnLst>
                <a:cxn ang="0">
                  <a:pos x="54" y="31"/>
                </a:cxn>
                <a:cxn ang="0">
                  <a:pos x="25" y="4"/>
                </a:cxn>
                <a:cxn ang="0">
                  <a:pos x="17" y="1"/>
                </a:cxn>
                <a:cxn ang="0">
                  <a:pos x="12" y="8"/>
                </a:cxn>
                <a:cxn ang="0">
                  <a:pos x="7" y="49"/>
                </a:cxn>
                <a:cxn ang="0">
                  <a:pos x="4" y="67"/>
                </a:cxn>
                <a:cxn ang="0">
                  <a:pos x="41" y="69"/>
                </a:cxn>
                <a:cxn ang="0">
                  <a:pos x="68" y="43"/>
                </a:cxn>
                <a:cxn ang="0">
                  <a:pos x="54" y="31"/>
                </a:cxn>
                <a:cxn ang="0">
                  <a:pos x="39" y="64"/>
                </a:cxn>
                <a:cxn ang="0">
                  <a:pos x="10" y="65"/>
                </a:cxn>
                <a:cxn ang="0">
                  <a:pos x="33" y="47"/>
                </a:cxn>
                <a:cxn ang="0">
                  <a:pos x="62" y="45"/>
                </a:cxn>
                <a:cxn ang="0">
                  <a:pos x="39" y="64"/>
                </a:cxn>
                <a:cxn ang="0">
                  <a:pos x="34" y="50"/>
                </a:cxn>
                <a:cxn ang="0">
                  <a:pos x="16" y="60"/>
                </a:cxn>
                <a:cxn ang="0">
                  <a:pos x="29" y="61"/>
                </a:cxn>
                <a:cxn ang="0">
                  <a:pos x="37" y="49"/>
                </a:cxn>
                <a:cxn ang="0">
                  <a:pos x="37" y="49"/>
                </a:cxn>
                <a:cxn ang="0">
                  <a:pos x="34" y="50"/>
                </a:cxn>
              </a:cxnLst>
              <a:rect l="0" t="0" r="r" b="b"/>
              <a:pathLst>
                <a:path w="70" h="76">
                  <a:moveTo>
                    <a:pt x="54" y="31"/>
                  </a:moveTo>
                  <a:cubicBezTo>
                    <a:pt x="45" y="11"/>
                    <a:pt x="40" y="3"/>
                    <a:pt x="25" y="4"/>
                  </a:cubicBezTo>
                  <a:cubicBezTo>
                    <a:pt x="20" y="4"/>
                    <a:pt x="21" y="0"/>
                    <a:pt x="17" y="1"/>
                  </a:cubicBezTo>
                  <a:cubicBezTo>
                    <a:pt x="13" y="3"/>
                    <a:pt x="16" y="5"/>
                    <a:pt x="12" y="8"/>
                  </a:cubicBezTo>
                  <a:cubicBezTo>
                    <a:pt x="0" y="18"/>
                    <a:pt x="1" y="27"/>
                    <a:pt x="7" y="49"/>
                  </a:cubicBezTo>
                  <a:cubicBezTo>
                    <a:pt x="9" y="58"/>
                    <a:pt x="1" y="58"/>
                    <a:pt x="4" y="67"/>
                  </a:cubicBezTo>
                  <a:cubicBezTo>
                    <a:pt x="6" y="73"/>
                    <a:pt x="23" y="76"/>
                    <a:pt x="41" y="69"/>
                  </a:cubicBezTo>
                  <a:cubicBezTo>
                    <a:pt x="59" y="63"/>
                    <a:pt x="70" y="50"/>
                    <a:pt x="68" y="43"/>
                  </a:cubicBezTo>
                  <a:cubicBezTo>
                    <a:pt x="65" y="35"/>
                    <a:pt x="58" y="39"/>
                    <a:pt x="54" y="31"/>
                  </a:cubicBezTo>
                  <a:close/>
                  <a:moveTo>
                    <a:pt x="39" y="64"/>
                  </a:moveTo>
                  <a:cubicBezTo>
                    <a:pt x="23" y="70"/>
                    <a:pt x="10" y="67"/>
                    <a:pt x="10" y="65"/>
                  </a:cubicBezTo>
                  <a:cubicBezTo>
                    <a:pt x="9" y="62"/>
                    <a:pt x="15" y="53"/>
                    <a:pt x="33" y="47"/>
                  </a:cubicBezTo>
                  <a:cubicBezTo>
                    <a:pt x="51" y="40"/>
                    <a:pt x="61" y="42"/>
                    <a:pt x="62" y="45"/>
                  </a:cubicBezTo>
                  <a:cubicBezTo>
                    <a:pt x="63" y="47"/>
                    <a:pt x="55" y="58"/>
                    <a:pt x="39" y="64"/>
                  </a:cubicBezTo>
                  <a:close/>
                  <a:moveTo>
                    <a:pt x="34" y="50"/>
                  </a:moveTo>
                  <a:cubicBezTo>
                    <a:pt x="26" y="53"/>
                    <a:pt x="20" y="56"/>
                    <a:pt x="16" y="60"/>
                  </a:cubicBezTo>
                  <a:cubicBezTo>
                    <a:pt x="19" y="62"/>
                    <a:pt x="24" y="63"/>
                    <a:pt x="29" y="61"/>
                  </a:cubicBezTo>
                  <a:cubicBezTo>
                    <a:pt x="35" y="58"/>
                    <a:pt x="39" y="53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6" y="49"/>
                    <a:pt x="35" y="49"/>
                    <a:pt x="34" y="50"/>
                  </a:cubicBez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3" name="Freeform 17"/>
            <p:cNvSpPr>
              <a:spLocks noChangeAspect="1"/>
            </p:cNvSpPr>
            <p:nvPr/>
          </p:nvSpPr>
          <p:spPr bwMode="gray">
            <a:xfrm>
              <a:off x="1996807" y="2513444"/>
              <a:ext cx="173816" cy="223200"/>
            </a:xfrm>
            <a:custGeom>
              <a:avLst/>
              <a:gdLst/>
              <a:ahLst/>
              <a:cxnLst>
                <a:cxn ang="0">
                  <a:pos x="18" y="9"/>
                </a:cxn>
                <a:cxn ang="0">
                  <a:pos x="18" y="58"/>
                </a:cxn>
                <a:cxn ang="0">
                  <a:pos x="9" y="59"/>
                </a:cxn>
                <a:cxn ang="0">
                  <a:pos x="2" y="73"/>
                </a:cxn>
                <a:cxn ang="0">
                  <a:pos x="16" y="77"/>
                </a:cxn>
                <a:cxn ang="0">
                  <a:pos x="25" y="66"/>
                </a:cxn>
                <a:cxn ang="0">
                  <a:pos x="25" y="26"/>
                </a:cxn>
                <a:cxn ang="0">
                  <a:pos x="54" y="19"/>
                </a:cxn>
                <a:cxn ang="0">
                  <a:pos x="54" y="50"/>
                </a:cxn>
                <a:cxn ang="0">
                  <a:pos x="45" y="50"/>
                </a:cxn>
                <a:cxn ang="0">
                  <a:pos x="38" y="64"/>
                </a:cxn>
                <a:cxn ang="0">
                  <a:pos x="52" y="69"/>
                </a:cxn>
                <a:cxn ang="0">
                  <a:pos x="62" y="57"/>
                </a:cxn>
                <a:cxn ang="0">
                  <a:pos x="62" y="0"/>
                </a:cxn>
                <a:cxn ang="0">
                  <a:pos x="18" y="9"/>
                </a:cxn>
              </a:cxnLst>
              <a:rect l="0" t="0" r="r" b="b"/>
              <a:pathLst>
                <a:path w="62" h="80">
                  <a:moveTo>
                    <a:pt x="18" y="9"/>
                  </a:moveTo>
                  <a:cubicBezTo>
                    <a:pt x="18" y="58"/>
                    <a:pt x="18" y="58"/>
                    <a:pt x="18" y="58"/>
                  </a:cubicBezTo>
                  <a:cubicBezTo>
                    <a:pt x="15" y="57"/>
                    <a:pt x="12" y="58"/>
                    <a:pt x="9" y="59"/>
                  </a:cubicBezTo>
                  <a:cubicBezTo>
                    <a:pt x="2" y="61"/>
                    <a:pt x="0" y="67"/>
                    <a:pt x="2" y="73"/>
                  </a:cubicBezTo>
                  <a:cubicBezTo>
                    <a:pt x="3" y="78"/>
                    <a:pt x="9" y="80"/>
                    <a:pt x="16" y="77"/>
                  </a:cubicBezTo>
                  <a:cubicBezTo>
                    <a:pt x="21" y="75"/>
                    <a:pt x="25" y="70"/>
                    <a:pt x="25" y="66"/>
                  </a:cubicBezTo>
                  <a:cubicBezTo>
                    <a:pt x="25" y="66"/>
                    <a:pt x="25" y="40"/>
                    <a:pt x="25" y="26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2" y="49"/>
                    <a:pt x="49" y="49"/>
                    <a:pt x="45" y="50"/>
                  </a:cubicBezTo>
                  <a:cubicBezTo>
                    <a:pt x="39" y="53"/>
                    <a:pt x="36" y="59"/>
                    <a:pt x="38" y="64"/>
                  </a:cubicBezTo>
                  <a:cubicBezTo>
                    <a:pt x="40" y="69"/>
                    <a:pt x="45" y="72"/>
                    <a:pt x="52" y="69"/>
                  </a:cubicBezTo>
                  <a:cubicBezTo>
                    <a:pt x="58" y="67"/>
                    <a:pt x="62" y="62"/>
                    <a:pt x="62" y="57"/>
                  </a:cubicBezTo>
                  <a:cubicBezTo>
                    <a:pt x="62" y="0"/>
                    <a:pt x="62" y="0"/>
                    <a:pt x="62" y="0"/>
                  </a:cubicBezTo>
                  <a:lnTo>
                    <a:pt x="18" y="9"/>
                  </a:ln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4" name="Freeform 21"/>
            <p:cNvSpPr>
              <a:spLocks noChangeAspect="1" noEditPoints="1"/>
            </p:cNvSpPr>
            <p:nvPr/>
          </p:nvSpPr>
          <p:spPr bwMode="gray">
            <a:xfrm>
              <a:off x="8477728" y="2509852"/>
              <a:ext cx="230400" cy="230401"/>
            </a:xfrm>
            <a:custGeom>
              <a:avLst/>
              <a:gdLst/>
              <a:ahLst/>
              <a:cxnLst>
                <a:cxn ang="0">
                  <a:pos x="517" y="201"/>
                </a:cxn>
                <a:cxn ang="0">
                  <a:pos x="330" y="201"/>
                </a:cxn>
                <a:cxn ang="0">
                  <a:pos x="258" y="0"/>
                </a:cxn>
                <a:cxn ang="0">
                  <a:pos x="194" y="201"/>
                </a:cxn>
                <a:cxn ang="0">
                  <a:pos x="0" y="201"/>
                </a:cxn>
                <a:cxn ang="0">
                  <a:pos x="158" y="316"/>
                </a:cxn>
                <a:cxn ang="0">
                  <a:pos x="100" y="517"/>
                </a:cxn>
                <a:cxn ang="0">
                  <a:pos x="258" y="395"/>
                </a:cxn>
                <a:cxn ang="0">
                  <a:pos x="424" y="517"/>
                </a:cxn>
                <a:cxn ang="0">
                  <a:pos x="366" y="316"/>
                </a:cxn>
                <a:cxn ang="0">
                  <a:pos x="517" y="201"/>
                </a:cxn>
                <a:cxn ang="0">
                  <a:pos x="258" y="338"/>
                </a:cxn>
                <a:cxn ang="0">
                  <a:pos x="172" y="409"/>
                </a:cxn>
                <a:cxn ang="0">
                  <a:pos x="208" y="309"/>
                </a:cxn>
                <a:cxn ang="0">
                  <a:pos x="122" y="237"/>
                </a:cxn>
                <a:cxn ang="0">
                  <a:pos x="230" y="244"/>
                </a:cxn>
                <a:cxn ang="0">
                  <a:pos x="258" y="122"/>
                </a:cxn>
                <a:cxn ang="0">
                  <a:pos x="294" y="244"/>
                </a:cxn>
                <a:cxn ang="0">
                  <a:pos x="395" y="237"/>
                </a:cxn>
                <a:cxn ang="0">
                  <a:pos x="316" y="309"/>
                </a:cxn>
                <a:cxn ang="0">
                  <a:pos x="352" y="409"/>
                </a:cxn>
                <a:cxn ang="0">
                  <a:pos x="258" y="338"/>
                </a:cxn>
              </a:cxnLst>
              <a:rect l="0" t="0" r="r" b="b"/>
              <a:pathLst>
                <a:path w="517" h="517">
                  <a:moveTo>
                    <a:pt x="517" y="201"/>
                  </a:moveTo>
                  <a:lnTo>
                    <a:pt x="330" y="201"/>
                  </a:lnTo>
                  <a:lnTo>
                    <a:pt x="258" y="0"/>
                  </a:lnTo>
                  <a:lnTo>
                    <a:pt x="194" y="201"/>
                  </a:lnTo>
                  <a:lnTo>
                    <a:pt x="0" y="201"/>
                  </a:lnTo>
                  <a:lnTo>
                    <a:pt x="158" y="316"/>
                  </a:lnTo>
                  <a:lnTo>
                    <a:pt x="100" y="517"/>
                  </a:lnTo>
                  <a:lnTo>
                    <a:pt x="258" y="395"/>
                  </a:lnTo>
                  <a:lnTo>
                    <a:pt x="424" y="517"/>
                  </a:lnTo>
                  <a:lnTo>
                    <a:pt x="366" y="316"/>
                  </a:lnTo>
                  <a:lnTo>
                    <a:pt x="517" y="201"/>
                  </a:lnTo>
                  <a:close/>
                  <a:moveTo>
                    <a:pt x="258" y="338"/>
                  </a:moveTo>
                  <a:lnTo>
                    <a:pt x="172" y="409"/>
                  </a:lnTo>
                  <a:lnTo>
                    <a:pt x="208" y="309"/>
                  </a:lnTo>
                  <a:lnTo>
                    <a:pt x="122" y="237"/>
                  </a:lnTo>
                  <a:lnTo>
                    <a:pt x="230" y="244"/>
                  </a:lnTo>
                  <a:lnTo>
                    <a:pt x="258" y="122"/>
                  </a:lnTo>
                  <a:lnTo>
                    <a:pt x="294" y="244"/>
                  </a:lnTo>
                  <a:lnTo>
                    <a:pt x="395" y="237"/>
                  </a:lnTo>
                  <a:lnTo>
                    <a:pt x="316" y="309"/>
                  </a:lnTo>
                  <a:lnTo>
                    <a:pt x="352" y="409"/>
                  </a:lnTo>
                  <a:lnTo>
                    <a:pt x="258" y="338"/>
                  </a:ln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5" name="Freeform 25"/>
            <p:cNvSpPr>
              <a:spLocks noChangeAspect="1"/>
            </p:cNvSpPr>
            <p:nvPr/>
          </p:nvSpPr>
          <p:spPr bwMode="gray">
            <a:xfrm>
              <a:off x="7988572" y="2509844"/>
              <a:ext cx="230400" cy="230400"/>
            </a:xfrm>
            <a:custGeom>
              <a:avLst/>
              <a:gdLst/>
              <a:ahLst/>
              <a:cxnLst>
                <a:cxn ang="0">
                  <a:pos x="258" y="0"/>
                </a:cxn>
                <a:cxn ang="0">
                  <a:pos x="323" y="201"/>
                </a:cxn>
                <a:cxn ang="0">
                  <a:pos x="517" y="201"/>
                </a:cxn>
                <a:cxn ang="0">
                  <a:pos x="359" y="316"/>
                </a:cxn>
                <a:cxn ang="0">
                  <a:pos x="416" y="517"/>
                </a:cxn>
                <a:cxn ang="0">
                  <a:pos x="258" y="395"/>
                </a:cxn>
                <a:cxn ang="0">
                  <a:pos x="93" y="517"/>
                </a:cxn>
                <a:cxn ang="0">
                  <a:pos x="151" y="316"/>
                </a:cxn>
                <a:cxn ang="0">
                  <a:pos x="0" y="201"/>
                </a:cxn>
                <a:cxn ang="0">
                  <a:pos x="187" y="201"/>
                </a:cxn>
                <a:cxn ang="0">
                  <a:pos x="258" y="0"/>
                </a:cxn>
              </a:cxnLst>
              <a:rect l="0" t="0" r="r" b="b"/>
              <a:pathLst>
                <a:path w="517" h="517">
                  <a:moveTo>
                    <a:pt x="258" y="0"/>
                  </a:moveTo>
                  <a:lnTo>
                    <a:pt x="323" y="201"/>
                  </a:lnTo>
                  <a:lnTo>
                    <a:pt x="517" y="201"/>
                  </a:lnTo>
                  <a:lnTo>
                    <a:pt x="359" y="316"/>
                  </a:lnTo>
                  <a:lnTo>
                    <a:pt x="416" y="517"/>
                  </a:lnTo>
                  <a:lnTo>
                    <a:pt x="258" y="395"/>
                  </a:lnTo>
                  <a:lnTo>
                    <a:pt x="93" y="517"/>
                  </a:lnTo>
                  <a:lnTo>
                    <a:pt x="151" y="316"/>
                  </a:lnTo>
                  <a:lnTo>
                    <a:pt x="0" y="201"/>
                  </a:lnTo>
                  <a:lnTo>
                    <a:pt x="187" y="201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6" name="Freeform 29"/>
            <p:cNvSpPr>
              <a:spLocks noChangeAspect="1"/>
            </p:cNvSpPr>
            <p:nvPr/>
          </p:nvSpPr>
          <p:spPr bwMode="gray">
            <a:xfrm>
              <a:off x="7449270" y="2509647"/>
              <a:ext cx="234000" cy="230794"/>
            </a:xfrm>
            <a:custGeom>
              <a:avLst/>
              <a:gdLst/>
              <a:ahLst/>
              <a:cxnLst>
                <a:cxn ang="0">
                  <a:pos x="43" y="43"/>
                </a:cxn>
                <a:cxn ang="0">
                  <a:pos x="0" y="49"/>
                </a:cxn>
                <a:cxn ang="0">
                  <a:pos x="6" y="56"/>
                </a:cxn>
                <a:cxn ang="0">
                  <a:pos x="57" y="56"/>
                </a:cxn>
                <a:cxn ang="0">
                  <a:pos x="57" y="6"/>
                </a:cxn>
                <a:cxn ang="0">
                  <a:pos x="49" y="0"/>
                </a:cxn>
                <a:cxn ang="0">
                  <a:pos x="43" y="43"/>
                </a:cxn>
              </a:cxnLst>
              <a:rect l="0" t="0" r="r" b="b"/>
              <a:pathLst>
                <a:path w="71" h="70">
                  <a:moveTo>
                    <a:pt x="43" y="43"/>
                  </a:moveTo>
                  <a:cubicBezTo>
                    <a:pt x="31" y="54"/>
                    <a:pt x="14" y="56"/>
                    <a:pt x="0" y="49"/>
                  </a:cubicBezTo>
                  <a:cubicBezTo>
                    <a:pt x="2" y="51"/>
                    <a:pt x="4" y="54"/>
                    <a:pt x="6" y="56"/>
                  </a:cubicBezTo>
                  <a:cubicBezTo>
                    <a:pt x="20" y="70"/>
                    <a:pt x="43" y="70"/>
                    <a:pt x="57" y="56"/>
                  </a:cubicBezTo>
                  <a:cubicBezTo>
                    <a:pt x="71" y="42"/>
                    <a:pt x="71" y="20"/>
                    <a:pt x="57" y="6"/>
                  </a:cubicBezTo>
                  <a:cubicBezTo>
                    <a:pt x="54" y="3"/>
                    <a:pt x="52" y="1"/>
                    <a:pt x="49" y="0"/>
                  </a:cubicBezTo>
                  <a:cubicBezTo>
                    <a:pt x="56" y="14"/>
                    <a:pt x="54" y="31"/>
                    <a:pt x="43" y="43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7" name="Freeform 33"/>
            <p:cNvSpPr>
              <a:spLocks noChangeAspect="1" noEditPoints="1"/>
            </p:cNvSpPr>
            <p:nvPr/>
          </p:nvSpPr>
          <p:spPr bwMode="gray">
            <a:xfrm>
              <a:off x="6983252" y="2508044"/>
              <a:ext cx="234000" cy="234000"/>
            </a:xfrm>
            <a:custGeom>
              <a:avLst/>
              <a:gdLst/>
              <a:ahLst/>
              <a:cxnLst>
                <a:cxn ang="0">
                  <a:pos x="74" y="38"/>
                </a:cxn>
                <a:cxn ang="0">
                  <a:pos x="74" y="44"/>
                </a:cxn>
                <a:cxn ang="0">
                  <a:pos x="82" y="41"/>
                </a:cxn>
                <a:cxn ang="0">
                  <a:pos x="41" y="19"/>
                </a:cxn>
                <a:cxn ang="0">
                  <a:pos x="41" y="64"/>
                </a:cxn>
                <a:cxn ang="0">
                  <a:pos x="41" y="19"/>
                </a:cxn>
                <a:cxn ang="0">
                  <a:pos x="25" y="41"/>
                </a:cxn>
                <a:cxn ang="0">
                  <a:pos x="42" y="57"/>
                </a:cxn>
                <a:cxn ang="0">
                  <a:pos x="8" y="38"/>
                </a:cxn>
                <a:cxn ang="0">
                  <a:pos x="0" y="41"/>
                </a:cxn>
                <a:cxn ang="0">
                  <a:pos x="8" y="44"/>
                </a:cxn>
                <a:cxn ang="0">
                  <a:pos x="41" y="12"/>
                </a:cxn>
                <a:cxn ang="0">
                  <a:pos x="44" y="4"/>
                </a:cxn>
                <a:cxn ang="0">
                  <a:pos x="38" y="4"/>
                </a:cxn>
                <a:cxn ang="0">
                  <a:pos x="41" y="12"/>
                </a:cxn>
                <a:cxn ang="0">
                  <a:pos x="38" y="74"/>
                </a:cxn>
                <a:cxn ang="0">
                  <a:pos x="41" y="82"/>
                </a:cxn>
                <a:cxn ang="0">
                  <a:pos x="44" y="74"/>
                </a:cxn>
                <a:cxn ang="0">
                  <a:pos x="71" y="16"/>
                </a:cxn>
                <a:cxn ang="0">
                  <a:pos x="67" y="11"/>
                </a:cxn>
                <a:cxn ang="0">
                  <a:pos x="63" y="19"/>
                </a:cxn>
                <a:cxn ang="0">
                  <a:pos x="71" y="16"/>
                </a:cxn>
                <a:cxn ang="0">
                  <a:pos x="11" y="67"/>
                </a:cxn>
                <a:cxn ang="0">
                  <a:pos x="16" y="71"/>
                </a:cxn>
                <a:cxn ang="0">
                  <a:pos x="19" y="63"/>
                </a:cxn>
                <a:cxn ang="0">
                  <a:pos x="16" y="11"/>
                </a:cxn>
                <a:cxn ang="0">
                  <a:pos x="11" y="16"/>
                </a:cxn>
                <a:cxn ang="0">
                  <a:pos x="19" y="19"/>
                </a:cxn>
                <a:cxn ang="0">
                  <a:pos x="16" y="11"/>
                </a:cxn>
                <a:cxn ang="0">
                  <a:pos x="67" y="71"/>
                </a:cxn>
                <a:cxn ang="0">
                  <a:pos x="71" y="67"/>
                </a:cxn>
                <a:cxn ang="0">
                  <a:pos x="63" y="63"/>
                </a:cxn>
              </a:cxnLst>
              <a:rect l="0" t="0" r="r" b="b"/>
              <a:pathLst>
                <a:path w="82" h="82">
                  <a:moveTo>
                    <a:pt x="78" y="38"/>
                  </a:moveTo>
                  <a:cubicBezTo>
                    <a:pt x="77" y="38"/>
                    <a:pt x="75" y="38"/>
                    <a:pt x="74" y="38"/>
                  </a:cubicBezTo>
                  <a:cubicBezTo>
                    <a:pt x="72" y="38"/>
                    <a:pt x="70" y="39"/>
                    <a:pt x="70" y="41"/>
                  </a:cubicBezTo>
                  <a:cubicBezTo>
                    <a:pt x="70" y="43"/>
                    <a:pt x="72" y="44"/>
                    <a:pt x="74" y="44"/>
                  </a:cubicBezTo>
                  <a:cubicBezTo>
                    <a:pt x="75" y="44"/>
                    <a:pt x="77" y="44"/>
                    <a:pt x="78" y="44"/>
                  </a:cubicBezTo>
                  <a:cubicBezTo>
                    <a:pt x="80" y="44"/>
                    <a:pt x="82" y="43"/>
                    <a:pt x="82" y="41"/>
                  </a:cubicBezTo>
                  <a:cubicBezTo>
                    <a:pt x="82" y="39"/>
                    <a:pt x="80" y="38"/>
                    <a:pt x="78" y="38"/>
                  </a:cubicBezTo>
                  <a:close/>
                  <a:moveTo>
                    <a:pt x="41" y="19"/>
                  </a:moveTo>
                  <a:cubicBezTo>
                    <a:pt x="29" y="19"/>
                    <a:pt x="19" y="29"/>
                    <a:pt x="19" y="41"/>
                  </a:cubicBezTo>
                  <a:cubicBezTo>
                    <a:pt x="19" y="54"/>
                    <a:pt x="29" y="64"/>
                    <a:pt x="41" y="64"/>
                  </a:cubicBezTo>
                  <a:cubicBezTo>
                    <a:pt x="54" y="64"/>
                    <a:pt x="64" y="54"/>
                    <a:pt x="64" y="41"/>
                  </a:cubicBezTo>
                  <a:cubicBezTo>
                    <a:pt x="64" y="29"/>
                    <a:pt x="54" y="19"/>
                    <a:pt x="41" y="19"/>
                  </a:cubicBezTo>
                  <a:close/>
                  <a:moveTo>
                    <a:pt x="42" y="57"/>
                  </a:moveTo>
                  <a:cubicBezTo>
                    <a:pt x="32" y="57"/>
                    <a:pt x="25" y="50"/>
                    <a:pt x="25" y="41"/>
                  </a:cubicBezTo>
                  <a:cubicBezTo>
                    <a:pt x="25" y="32"/>
                    <a:pt x="32" y="25"/>
                    <a:pt x="42" y="25"/>
                  </a:cubicBezTo>
                  <a:lnTo>
                    <a:pt x="42" y="57"/>
                  </a:lnTo>
                  <a:close/>
                  <a:moveTo>
                    <a:pt x="12" y="41"/>
                  </a:moveTo>
                  <a:cubicBezTo>
                    <a:pt x="12" y="39"/>
                    <a:pt x="11" y="38"/>
                    <a:pt x="8" y="38"/>
                  </a:cubicBezTo>
                  <a:cubicBezTo>
                    <a:pt x="8" y="38"/>
                    <a:pt x="5" y="38"/>
                    <a:pt x="4" y="38"/>
                  </a:cubicBezTo>
                  <a:cubicBezTo>
                    <a:pt x="2" y="38"/>
                    <a:pt x="0" y="39"/>
                    <a:pt x="0" y="41"/>
                  </a:cubicBezTo>
                  <a:cubicBezTo>
                    <a:pt x="0" y="43"/>
                    <a:pt x="2" y="44"/>
                    <a:pt x="4" y="44"/>
                  </a:cubicBezTo>
                  <a:cubicBezTo>
                    <a:pt x="5" y="44"/>
                    <a:pt x="8" y="44"/>
                    <a:pt x="8" y="44"/>
                  </a:cubicBezTo>
                  <a:cubicBezTo>
                    <a:pt x="11" y="44"/>
                    <a:pt x="12" y="43"/>
                    <a:pt x="12" y="41"/>
                  </a:cubicBezTo>
                  <a:close/>
                  <a:moveTo>
                    <a:pt x="41" y="12"/>
                  </a:moveTo>
                  <a:cubicBezTo>
                    <a:pt x="43" y="12"/>
                    <a:pt x="44" y="11"/>
                    <a:pt x="44" y="8"/>
                  </a:cubicBezTo>
                  <a:cubicBezTo>
                    <a:pt x="44" y="8"/>
                    <a:pt x="44" y="5"/>
                    <a:pt x="44" y="4"/>
                  </a:cubicBezTo>
                  <a:cubicBezTo>
                    <a:pt x="44" y="2"/>
                    <a:pt x="43" y="0"/>
                    <a:pt x="41" y="0"/>
                  </a:cubicBezTo>
                  <a:cubicBezTo>
                    <a:pt x="39" y="0"/>
                    <a:pt x="38" y="2"/>
                    <a:pt x="38" y="4"/>
                  </a:cubicBezTo>
                  <a:cubicBezTo>
                    <a:pt x="38" y="5"/>
                    <a:pt x="38" y="8"/>
                    <a:pt x="38" y="8"/>
                  </a:cubicBezTo>
                  <a:cubicBezTo>
                    <a:pt x="38" y="11"/>
                    <a:pt x="39" y="12"/>
                    <a:pt x="41" y="12"/>
                  </a:cubicBezTo>
                  <a:close/>
                  <a:moveTo>
                    <a:pt x="41" y="70"/>
                  </a:moveTo>
                  <a:cubicBezTo>
                    <a:pt x="39" y="70"/>
                    <a:pt x="38" y="72"/>
                    <a:pt x="38" y="74"/>
                  </a:cubicBezTo>
                  <a:cubicBezTo>
                    <a:pt x="38" y="75"/>
                    <a:pt x="38" y="77"/>
                    <a:pt x="38" y="78"/>
                  </a:cubicBezTo>
                  <a:cubicBezTo>
                    <a:pt x="38" y="80"/>
                    <a:pt x="39" y="82"/>
                    <a:pt x="41" y="82"/>
                  </a:cubicBezTo>
                  <a:cubicBezTo>
                    <a:pt x="43" y="82"/>
                    <a:pt x="44" y="80"/>
                    <a:pt x="44" y="78"/>
                  </a:cubicBezTo>
                  <a:cubicBezTo>
                    <a:pt x="44" y="77"/>
                    <a:pt x="44" y="75"/>
                    <a:pt x="44" y="74"/>
                  </a:cubicBezTo>
                  <a:cubicBezTo>
                    <a:pt x="44" y="72"/>
                    <a:pt x="43" y="70"/>
                    <a:pt x="41" y="70"/>
                  </a:cubicBezTo>
                  <a:close/>
                  <a:moveTo>
                    <a:pt x="71" y="16"/>
                  </a:moveTo>
                  <a:cubicBezTo>
                    <a:pt x="73" y="14"/>
                    <a:pt x="73" y="12"/>
                    <a:pt x="72" y="10"/>
                  </a:cubicBezTo>
                  <a:cubicBezTo>
                    <a:pt x="71" y="9"/>
                    <a:pt x="68" y="9"/>
                    <a:pt x="67" y="11"/>
                  </a:cubicBezTo>
                  <a:cubicBezTo>
                    <a:pt x="66" y="11"/>
                    <a:pt x="64" y="13"/>
                    <a:pt x="64" y="14"/>
                  </a:cubicBezTo>
                  <a:cubicBezTo>
                    <a:pt x="62" y="15"/>
                    <a:pt x="62" y="18"/>
                    <a:pt x="63" y="19"/>
                  </a:cubicBezTo>
                  <a:cubicBezTo>
                    <a:pt x="65" y="20"/>
                    <a:pt x="67" y="20"/>
                    <a:pt x="68" y="18"/>
                  </a:cubicBezTo>
                  <a:cubicBezTo>
                    <a:pt x="69" y="18"/>
                    <a:pt x="71" y="16"/>
                    <a:pt x="71" y="16"/>
                  </a:cubicBezTo>
                  <a:close/>
                  <a:moveTo>
                    <a:pt x="14" y="64"/>
                  </a:moveTo>
                  <a:cubicBezTo>
                    <a:pt x="13" y="64"/>
                    <a:pt x="11" y="66"/>
                    <a:pt x="11" y="67"/>
                  </a:cubicBezTo>
                  <a:cubicBezTo>
                    <a:pt x="9" y="68"/>
                    <a:pt x="9" y="71"/>
                    <a:pt x="10" y="72"/>
                  </a:cubicBezTo>
                  <a:cubicBezTo>
                    <a:pt x="12" y="73"/>
                    <a:pt x="14" y="73"/>
                    <a:pt x="16" y="71"/>
                  </a:cubicBezTo>
                  <a:cubicBezTo>
                    <a:pt x="16" y="71"/>
                    <a:pt x="18" y="69"/>
                    <a:pt x="19" y="68"/>
                  </a:cubicBezTo>
                  <a:cubicBezTo>
                    <a:pt x="20" y="67"/>
                    <a:pt x="20" y="64"/>
                    <a:pt x="19" y="63"/>
                  </a:cubicBezTo>
                  <a:cubicBezTo>
                    <a:pt x="18" y="62"/>
                    <a:pt x="15" y="62"/>
                    <a:pt x="14" y="64"/>
                  </a:cubicBezTo>
                  <a:close/>
                  <a:moveTo>
                    <a:pt x="16" y="11"/>
                  </a:moveTo>
                  <a:cubicBezTo>
                    <a:pt x="14" y="9"/>
                    <a:pt x="12" y="9"/>
                    <a:pt x="10" y="10"/>
                  </a:cubicBezTo>
                  <a:cubicBezTo>
                    <a:pt x="9" y="12"/>
                    <a:pt x="9" y="14"/>
                    <a:pt x="11" y="16"/>
                  </a:cubicBezTo>
                  <a:cubicBezTo>
                    <a:pt x="11" y="16"/>
                    <a:pt x="13" y="18"/>
                    <a:pt x="14" y="18"/>
                  </a:cubicBezTo>
                  <a:cubicBezTo>
                    <a:pt x="15" y="20"/>
                    <a:pt x="18" y="20"/>
                    <a:pt x="19" y="19"/>
                  </a:cubicBezTo>
                  <a:cubicBezTo>
                    <a:pt x="20" y="18"/>
                    <a:pt x="20" y="15"/>
                    <a:pt x="19" y="14"/>
                  </a:cubicBezTo>
                  <a:cubicBezTo>
                    <a:pt x="18" y="13"/>
                    <a:pt x="16" y="11"/>
                    <a:pt x="16" y="11"/>
                  </a:cubicBezTo>
                  <a:close/>
                  <a:moveTo>
                    <a:pt x="64" y="68"/>
                  </a:moveTo>
                  <a:cubicBezTo>
                    <a:pt x="64" y="69"/>
                    <a:pt x="66" y="71"/>
                    <a:pt x="67" y="71"/>
                  </a:cubicBezTo>
                  <a:cubicBezTo>
                    <a:pt x="68" y="73"/>
                    <a:pt x="71" y="73"/>
                    <a:pt x="72" y="72"/>
                  </a:cubicBezTo>
                  <a:cubicBezTo>
                    <a:pt x="73" y="71"/>
                    <a:pt x="73" y="68"/>
                    <a:pt x="71" y="67"/>
                  </a:cubicBezTo>
                  <a:cubicBezTo>
                    <a:pt x="71" y="66"/>
                    <a:pt x="69" y="64"/>
                    <a:pt x="68" y="64"/>
                  </a:cubicBezTo>
                  <a:cubicBezTo>
                    <a:pt x="67" y="62"/>
                    <a:pt x="65" y="62"/>
                    <a:pt x="63" y="63"/>
                  </a:cubicBezTo>
                  <a:cubicBezTo>
                    <a:pt x="62" y="64"/>
                    <a:pt x="62" y="67"/>
                    <a:pt x="64" y="68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8" name="Freeform 37"/>
            <p:cNvSpPr>
              <a:spLocks noChangeAspect="1" noEditPoints="1"/>
            </p:cNvSpPr>
            <p:nvPr/>
          </p:nvSpPr>
          <p:spPr bwMode="gray">
            <a:xfrm>
              <a:off x="6477016" y="2506634"/>
              <a:ext cx="234000" cy="236820"/>
            </a:xfrm>
            <a:custGeom>
              <a:avLst/>
              <a:gdLst/>
              <a:ahLst/>
              <a:cxnLst>
                <a:cxn ang="0">
                  <a:pos x="73" y="38"/>
                </a:cxn>
                <a:cxn ang="0">
                  <a:pos x="73" y="44"/>
                </a:cxn>
                <a:cxn ang="0">
                  <a:pos x="81" y="41"/>
                </a:cxn>
                <a:cxn ang="0">
                  <a:pos x="40" y="19"/>
                </a:cxn>
                <a:cxn ang="0">
                  <a:pos x="40" y="64"/>
                </a:cxn>
                <a:cxn ang="0">
                  <a:pos x="40" y="19"/>
                </a:cxn>
                <a:cxn ang="0">
                  <a:pos x="24" y="41"/>
                </a:cxn>
                <a:cxn ang="0">
                  <a:pos x="57" y="41"/>
                </a:cxn>
                <a:cxn ang="0">
                  <a:pos x="12" y="41"/>
                </a:cxn>
                <a:cxn ang="0">
                  <a:pos x="4" y="38"/>
                </a:cxn>
                <a:cxn ang="0">
                  <a:pos x="4" y="44"/>
                </a:cxn>
                <a:cxn ang="0">
                  <a:pos x="12" y="41"/>
                </a:cxn>
                <a:cxn ang="0">
                  <a:pos x="44" y="8"/>
                </a:cxn>
                <a:cxn ang="0">
                  <a:pos x="40" y="0"/>
                </a:cxn>
                <a:cxn ang="0">
                  <a:pos x="37" y="8"/>
                </a:cxn>
                <a:cxn ang="0">
                  <a:pos x="40" y="70"/>
                </a:cxn>
                <a:cxn ang="0">
                  <a:pos x="37" y="78"/>
                </a:cxn>
                <a:cxn ang="0">
                  <a:pos x="44" y="78"/>
                </a:cxn>
                <a:cxn ang="0">
                  <a:pos x="40" y="70"/>
                </a:cxn>
                <a:cxn ang="0">
                  <a:pos x="71" y="10"/>
                </a:cxn>
                <a:cxn ang="0">
                  <a:pos x="63" y="14"/>
                </a:cxn>
                <a:cxn ang="0">
                  <a:pos x="68" y="18"/>
                </a:cxn>
                <a:cxn ang="0">
                  <a:pos x="13" y="64"/>
                </a:cxn>
                <a:cxn ang="0">
                  <a:pos x="10" y="72"/>
                </a:cxn>
                <a:cxn ang="0">
                  <a:pos x="18" y="68"/>
                </a:cxn>
                <a:cxn ang="0">
                  <a:pos x="13" y="64"/>
                </a:cxn>
                <a:cxn ang="0">
                  <a:pos x="10" y="10"/>
                </a:cxn>
                <a:cxn ang="0">
                  <a:pos x="13" y="18"/>
                </a:cxn>
                <a:cxn ang="0">
                  <a:pos x="18" y="14"/>
                </a:cxn>
                <a:cxn ang="0">
                  <a:pos x="63" y="68"/>
                </a:cxn>
                <a:cxn ang="0">
                  <a:pos x="71" y="72"/>
                </a:cxn>
                <a:cxn ang="0">
                  <a:pos x="68" y="64"/>
                </a:cxn>
                <a:cxn ang="0">
                  <a:pos x="63" y="68"/>
                </a:cxn>
              </a:cxnLst>
              <a:rect l="0" t="0" r="r" b="b"/>
              <a:pathLst>
                <a:path w="81" h="82">
                  <a:moveTo>
                    <a:pt x="77" y="38"/>
                  </a:moveTo>
                  <a:cubicBezTo>
                    <a:pt x="77" y="38"/>
                    <a:pt x="74" y="38"/>
                    <a:pt x="73" y="38"/>
                  </a:cubicBezTo>
                  <a:cubicBezTo>
                    <a:pt x="71" y="38"/>
                    <a:pt x="69" y="39"/>
                    <a:pt x="69" y="41"/>
                  </a:cubicBezTo>
                  <a:cubicBezTo>
                    <a:pt x="69" y="43"/>
                    <a:pt x="71" y="44"/>
                    <a:pt x="73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80" y="44"/>
                    <a:pt x="81" y="43"/>
                    <a:pt x="81" y="41"/>
                  </a:cubicBezTo>
                  <a:cubicBezTo>
                    <a:pt x="81" y="39"/>
                    <a:pt x="80" y="38"/>
                    <a:pt x="77" y="38"/>
                  </a:cubicBezTo>
                  <a:close/>
                  <a:moveTo>
                    <a:pt x="40" y="19"/>
                  </a:moveTo>
                  <a:cubicBezTo>
                    <a:pt x="28" y="19"/>
                    <a:pt x="18" y="29"/>
                    <a:pt x="18" y="41"/>
                  </a:cubicBezTo>
                  <a:cubicBezTo>
                    <a:pt x="18" y="54"/>
                    <a:pt x="28" y="64"/>
                    <a:pt x="40" y="64"/>
                  </a:cubicBezTo>
                  <a:cubicBezTo>
                    <a:pt x="53" y="64"/>
                    <a:pt x="63" y="54"/>
                    <a:pt x="63" y="41"/>
                  </a:cubicBezTo>
                  <a:cubicBezTo>
                    <a:pt x="63" y="29"/>
                    <a:pt x="53" y="19"/>
                    <a:pt x="40" y="19"/>
                  </a:cubicBezTo>
                  <a:close/>
                  <a:moveTo>
                    <a:pt x="40" y="57"/>
                  </a:moveTo>
                  <a:cubicBezTo>
                    <a:pt x="31" y="57"/>
                    <a:pt x="24" y="50"/>
                    <a:pt x="24" y="41"/>
                  </a:cubicBezTo>
                  <a:cubicBezTo>
                    <a:pt x="24" y="32"/>
                    <a:pt x="31" y="25"/>
                    <a:pt x="40" y="25"/>
                  </a:cubicBezTo>
                  <a:cubicBezTo>
                    <a:pt x="49" y="25"/>
                    <a:pt x="57" y="32"/>
                    <a:pt x="57" y="41"/>
                  </a:cubicBezTo>
                  <a:cubicBezTo>
                    <a:pt x="57" y="50"/>
                    <a:pt x="49" y="57"/>
                    <a:pt x="40" y="57"/>
                  </a:cubicBezTo>
                  <a:close/>
                  <a:moveTo>
                    <a:pt x="12" y="41"/>
                  </a:moveTo>
                  <a:cubicBezTo>
                    <a:pt x="12" y="39"/>
                    <a:pt x="10" y="38"/>
                    <a:pt x="8" y="38"/>
                  </a:cubicBezTo>
                  <a:cubicBezTo>
                    <a:pt x="7" y="38"/>
                    <a:pt x="4" y="38"/>
                    <a:pt x="4" y="38"/>
                  </a:cubicBezTo>
                  <a:cubicBezTo>
                    <a:pt x="1" y="38"/>
                    <a:pt x="0" y="39"/>
                    <a:pt x="0" y="41"/>
                  </a:cubicBezTo>
                  <a:cubicBezTo>
                    <a:pt x="0" y="43"/>
                    <a:pt x="1" y="44"/>
                    <a:pt x="4" y="44"/>
                  </a:cubicBezTo>
                  <a:cubicBezTo>
                    <a:pt x="4" y="44"/>
                    <a:pt x="7" y="44"/>
                    <a:pt x="8" y="44"/>
                  </a:cubicBezTo>
                  <a:cubicBezTo>
                    <a:pt x="10" y="44"/>
                    <a:pt x="12" y="43"/>
                    <a:pt x="12" y="41"/>
                  </a:cubicBezTo>
                  <a:close/>
                  <a:moveTo>
                    <a:pt x="40" y="12"/>
                  </a:moveTo>
                  <a:cubicBezTo>
                    <a:pt x="42" y="12"/>
                    <a:pt x="44" y="11"/>
                    <a:pt x="44" y="8"/>
                  </a:cubicBezTo>
                  <a:cubicBezTo>
                    <a:pt x="44" y="8"/>
                    <a:pt x="44" y="5"/>
                    <a:pt x="44" y="4"/>
                  </a:cubicBezTo>
                  <a:cubicBezTo>
                    <a:pt x="44" y="2"/>
                    <a:pt x="42" y="0"/>
                    <a:pt x="40" y="0"/>
                  </a:cubicBezTo>
                  <a:cubicBezTo>
                    <a:pt x="39" y="0"/>
                    <a:pt x="37" y="2"/>
                    <a:pt x="37" y="4"/>
                  </a:cubicBezTo>
                  <a:cubicBezTo>
                    <a:pt x="37" y="5"/>
                    <a:pt x="37" y="8"/>
                    <a:pt x="37" y="8"/>
                  </a:cubicBezTo>
                  <a:cubicBezTo>
                    <a:pt x="37" y="11"/>
                    <a:pt x="39" y="12"/>
                    <a:pt x="40" y="12"/>
                  </a:cubicBezTo>
                  <a:close/>
                  <a:moveTo>
                    <a:pt x="40" y="70"/>
                  </a:moveTo>
                  <a:cubicBezTo>
                    <a:pt x="39" y="70"/>
                    <a:pt x="37" y="72"/>
                    <a:pt x="37" y="74"/>
                  </a:cubicBezTo>
                  <a:cubicBezTo>
                    <a:pt x="37" y="75"/>
                    <a:pt x="37" y="77"/>
                    <a:pt x="37" y="78"/>
                  </a:cubicBezTo>
                  <a:cubicBezTo>
                    <a:pt x="37" y="80"/>
                    <a:pt x="39" y="82"/>
                    <a:pt x="40" y="82"/>
                  </a:cubicBezTo>
                  <a:cubicBezTo>
                    <a:pt x="42" y="82"/>
                    <a:pt x="44" y="80"/>
                    <a:pt x="44" y="78"/>
                  </a:cubicBezTo>
                  <a:cubicBezTo>
                    <a:pt x="44" y="77"/>
                    <a:pt x="44" y="75"/>
                    <a:pt x="44" y="74"/>
                  </a:cubicBezTo>
                  <a:cubicBezTo>
                    <a:pt x="44" y="72"/>
                    <a:pt x="42" y="70"/>
                    <a:pt x="40" y="70"/>
                  </a:cubicBezTo>
                  <a:close/>
                  <a:moveTo>
                    <a:pt x="71" y="16"/>
                  </a:moveTo>
                  <a:cubicBezTo>
                    <a:pt x="72" y="14"/>
                    <a:pt x="72" y="12"/>
                    <a:pt x="71" y="10"/>
                  </a:cubicBezTo>
                  <a:cubicBezTo>
                    <a:pt x="70" y="9"/>
                    <a:pt x="68" y="9"/>
                    <a:pt x="66" y="11"/>
                  </a:cubicBezTo>
                  <a:cubicBezTo>
                    <a:pt x="66" y="11"/>
                    <a:pt x="64" y="13"/>
                    <a:pt x="63" y="14"/>
                  </a:cubicBezTo>
                  <a:cubicBezTo>
                    <a:pt x="61" y="15"/>
                    <a:pt x="61" y="18"/>
                    <a:pt x="63" y="19"/>
                  </a:cubicBezTo>
                  <a:cubicBezTo>
                    <a:pt x="64" y="20"/>
                    <a:pt x="66" y="20"/>
                    <a:pt x="68" y="18"/>
                  </a:cubicBezTo>
                  <a:cubicBezTo>
                    <a:pt x="68" y="18"/>
                    <a:pt x="70" y="16"/>
                    <a:pt x="71" y="16"/>
                  </a:cubicBezTo>
                  <a:close/>
                  <a:moveTo>
                    <a:pt x="13" y="64"/>
                  </a:moveTo>
                  <a:cubicBezTo>
                    <a:pt x="13" y="64"/>
                    <a:pt x="11" y="66"/>
                    <a:pt x="10" y="67"/>
                  </a:cubicBezTo>
                  <a:cubicBezTo>
                    <a:pt x="9" y="68"/>
                    <a:pt x="8" y="71"/>
                    <a:pt x="10" y="72"/>
                  </a:cubicBezTo>
                  <a:cubicBezTo>
                    <a:pt x="11" y="73"/>
                    <a:pt x="13" y="73"/>
                    <a:pt x="15" y="71"/>
                  </a:cubicBezTo>
                  <a:cubicBezTo>
                    <a:pt x="15" y="71"/>
                    <a:pt x="17" y="69"/>
                    <a:pt x="18" y="68"/>
                  </a:cubicBezTo>
                  <a:cubicBezTo>
                    <a:pt x="19" y="67"/>
                    <a:pt x="20" y="64"/>
                    <a:pt x="18" y="63"/>
                  </a:cubicBezTo>
                  <a:cubicBezTo>
                    <a:pt x="17" y="62"/>
                    <a:pt x="15" y="62"/>
                    <a:pt x="13" y="64"/>
                  </a:cubicBezTo>
                  <a:close/>
                  <a:moveTo>
                    <a:pt x="15" y="11"/>
                  </a:moveTo>
                  <a:cubicBezTo>
                    <a:pt x="13" y="9"/>
                    <a:pt x="11" y="9"/>
                    <a:pt x="10" y="10"/>
                  </a:cubicBezTo>
                  <a:cubicBezTo>
                    <a:pt x="8" y="12"/>
                    <a:pt x="9" y="14"/>
                    <a:pt x="10" y="16"/>
                  </a:cubicBezTo>
                  <a:cubicBezTo>
                    <a:pt x="11" y="16"/>
                    <a:pt x="13" y="18"/>
                    <a:pt x="13" y="18"/>
                  </a:cubicBezTo>
                  <a:cubicBezTo>
                    <a:pt x="15" y="20"/>
                    <a:pt x="17" y="20"/>
                    <a:pt x="18" y="19"/>
                  </a:cubicBezTo>
                  <a:cubicBezTo>
                    <a:pt x="20" y="18"/>
                    <a:pt x="19" y="15"/>
                    <a:pt x="18" y="14"/>
                  </a:cubicBezTo>
                  <a:cubicBezTo>
                    <a:pt x="17" y="13"/>
                    <a:pt x="15" y="11"/>
                    <a:pt x="15" y="11"/>
                  </a:cubicBezTo>
                  <a:close/>
                  <a:moveTo>
                    <a:pt x="63" y="68"/>
                  </a:moveTo>
                  <a:cubicBezTo>
                    <a:pt x="64" y="69"/>
                    <a:pt x="66" y="71"/>
                    <a:pt x="66" y="71"/>
                  </a:cubicBezTo>
                  <a:cubicBezTo>
                    <a:pt x="68" y="73"/>
                    <a:pt x="70" y="73"/>
                    <a:pt x="71" y="72"/>
                  </a:cubicBezTo>
                  <a:cubicBezTo>
                    <a:pt x="72" y="71"/>
                    <a:pt x="72" y="68"/>
                    <a:pt x="71" y="67"/>
                  </a:cubicBezTo>
                  <a:cubicBezTo>
                    <a:pt x="70" y="66"/>
                    <a:pt x="68" y="64"/>
                    <a:pt x="68" y="64"/>
                  </a:cubicBezTo>
                  <a:cubicBezTo>
                    <a:pt x="66" y="62"/>
                    <a:pt x="64" y="62"/>
                    <a:pt x="63" y="63"/>
                  </a:cubicBezTo>
                  <a:cubicBezTo>
                    <a:pt x="61" y="64"/>
                    <a:pt x="61" y="67"/>
                    <a:pt x="63" y="68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9" name="Freeform 41"/>
            <p:cNvSpPr>
              <a:spLocks noChangeAspect="1" noEditPoints="1"/>
            </p:cNvSpPr>
            <p:nvPr/>
          </p:nvSpPr>
          <p:spPr bwMode="gray">
            <a:xfrm>
              <a:off x="5925879" y="2508044"/>
              <a:ext cx="234000" cy="234000"/>
            </a:xfrm>
            <a:custGeom>
              <a:avLst/>
              <a:gdLst/>
              <a:ahLst/>
              <a:cxnLst>
                <a:cxn ang="0">
                  <a:pos x="29" y="16"/>
                </a:cxn>
                <a:cxn ang="0">
                  <a:pos x="16" y="29"/>
                </a:cxn>
                <a:cxn ang="0">
                  <a:pos x="29" y="42"/>
                </a:cxn>
                <a:cxn ang="0">
                  <a:pos x="42" y="29"/>
                </a:cxn>
                <a:cxn ang="0">
                  <a:pos x="29" y="16"/>
                </a:cxn>
                <a:cxn ang="0">
                  <a:pos x="29" y="37"/>
                </a:cxn>
                <a:cxn ang="0">
                  <a:pos x="21" y="29"/>
                </a:cxn>
                <a:cxn ang="0">
                  <a:pos x="29" y="21"/>
                </a:cxn>
                <a:cxn ang="0">
                  <a:pos x="37" y="29"/>
                </a:cxn>
                <a:cxn ang="0">
                  <a:pos x="29" y="37"/>
                </a:cxn>
                <a:cxn ang="0">
                  <a:pos x="4" y="26"/>
                </a:cxn>
                <a:cxn ang="0">
                  <a:pos x="0" y="29"/>
                </a:cxn>
                <a:cxn ang="0">
                  <a:pos x="4" y="32"/>
                </a:cxn>
                <a:cxn ang="0">
                  <a:pos x="8" y="29"/>
                </a:cxn>
                <a:cxn ang="0">
                  <a:pos x="4" y="26"/>
                </a:cxn>
                <a:cxn ang="0">
                  <a:pos x="49" y="9"/>
                </a:cxn>
                <a:cxn ang="0">
                  <a:pos x="44" y="10"/>
                </a:cxn>
                <a:cxn ang="0">
                  <a:pos x="43" y="15"/>
                </a:cxn>
                <a:cxn ang="0">
                  <a:pos x="49" y="14"/>
                </a:cxn>
                <a:cxn ang="0">
                  <a:pos x="49" y="9"/>
                </a:cxn>
                <a:cxn ang="0">
                  <a:pos x="54" y="26"/>
                </a:cxn>
                <a:cxn ang="0">
                  <a:pos x="50" y="29"/>
                </a:cxn>
                <a:cxn ang="0">
                  <a:pos x="54" y="32"/>
                </a:cxn>
                <a:cxn ang="0">
                  <a:pos x="58" y="29"/>
                </a:cxn>
                <a:cxn ang="0">
                  <a:pos x="54" y="26"/>
                </a:cxn>
                <a:cxn ang="0">
                  <a:pos x="29" y="50"/>
                </a:cxn>
                <a:cxn ang="0">
                  <a:pos x="26" y="54"/>
                </a:cxn>
                <a:cxn ang="0">
                  <a:pos x="29" y="58"/>
                </a:cxn>
                <a:cxn ang="0">
                  <a:pos x="32" y="54"/>
                </a:cxn>
                <a:cxn ang="0">
                  <a:pos x="29" y="50"/>
                </a:cxn>
                <a:cxn ang="0">
                  <a:pos x="10" y="44"/>
                </a:cxn>
                <a:cxn ang="0">
                  <a:pos x="9" y="50"/>
                </a:cxn>
                <a:cxn ang="0">
                  <a:pos x="14" y="49"/>
                </a:cxn>
                <a:cxn ang="0">
                  <a:pos x="15" y="44"/>
                </a:cxn>
                <a:cxn ang="0">
                  <a:pos x="10" y="44"/>
                </a:cxn>
                <a:cxn ang="0">
                  <a:pos x="9" y="9"/>
                </a:cxn>
                <a:cxn ang="0">
                  <a:pos x="9" y="14"/>
                </a:cxn>
                <a:cxn ang="0">
                  <a:pos x="15" y="15"/>
                </a:cxn>
                <a:cxn ang="0">
                  <a:pos x="14" y="10"/>
                </a:cxn>
                <a:cxn ang="0">
                  <a:pos x="9" y="9"/>
                </a:cxn>
                <a:cxn ang="0">
                  <a:pos x="44" y="49"/>
                </a:cxn>
                <a:cxn ang="0">
                  <a:pos x="49" y="49"/>
                </a:cxn>
                <a:cxn ang="0">
                  <a:pos x="49" y="44"/>
                </a:cxn>
                <a:cxn ang="0">
                  <a:pos x="44" y="44"/>
                </a:cxn>
                <a:cxn ang="0">
                  <a:pos x="44" y="49"/>
                </a:cxn>
                <a:cxn ang="0">
                  <a:pos x="29" y="9"/>
                </a:cxn>
                <a:cxn ang="0">
                  <a:pos x="32" y="5"/>
                </a:cxn>
                <a:cxn ang="0">
                  <a:pos x="29" y="0"/>
                </a:cxn>
                <a:cxn ang="0">
                  <a:pos x="26" y="5"/>
                </a:cxn>
                <a:cxn ang="0">
                  <a:pos x="29" y="9"/>
                </a:cxn>
              </a:cxnLst>
              <a:rect l="0" t="0" r="r" b="b"/>
              <a:pathLst>
                <a:path w="58" h="58">
                  <a:moveTo>
                    <a:pt x="29" y="16"/>
                  </a:moveTo>
                  <a:cubicBezTo>
                    <a:pt x="22" y="16"/>
                    <a:pt x="16" y="22"/>
                    <a:pt x="16" y="29"/>
                  </a:cubicBezTo>
                  <a:cubicBezTo>
                    <a:pt x="16" y="36"/>
                    <a:pt x="22" y="42"/>
                    <a:pt x="29" y="42"/>
                  </a:cubicBezTo>
                  <a:cubicBezTo>
                    <a:pt x="36" y="42"/>
                    <a:pt x="42" y="36"/>
                    <a:pt x="42" y="29"/>
                  </a:cubicBezTo>
                  <a:cubicBezTo>
                    <a:pt x="42" y="22"/>
                    <a:pt x="36" y="16"/>
                    <a:pt x="29" y="16"/>
                  </a:cubicBezTo>
                  <a:close/>
                  <a:moveTo>
                    <a:pt x="29" y="37"/>
                  </a:moveTo>
                  <a:cubicBezTo>
                    <a:pt x="24" y="37"/>
                    <a:pt x="21" y="34"/>
                    <a:pt x="21" y="29"/>
                  </a:cubicBezTo>
                  <a:cubicBezTo>
                    <a:pt x="21" y="24"/>
                    <a:pt x="24" y="21"/>
                    <a:pt x="29" y="21"/>
                  </a:cubicBezTo>
                  <a:cubicBezTo>
                    <a:pt x="34" y="21"/>
                    <a:pt x="37" y="24"/>
                    <a:pt x="37" y="29"/>
                  </a:cubicBezTo>
                  <a:cubicBezTo>
                    <a:pt x="37" y="34"/>
                    <a:pt x="34" y="37"/>
                    <a:pt x="29" y="37"/>
                  </a:cubicBezTo>
                  <a:close/>
                  <a:moveTo>
                    <a:pt x="4" y="26"/>
                  </a:moveTo>
                  <a:cubicBezTo>
                    <a:pt x="2" y="26"/>
                    <a:pt x="0" y="27"/>
                    <a:pt x="0" y="29"/>
                  </a:cubicBezTo>
                  <a:cubicBezTo>
                    <a:pt x="0" y="31"/>
                    <a:pt x="2" y="32"/>
                    <a:pt x="4" y="32"/>
                  </a:cubicBezTo>
                  <a:cubicBezTo>
                    <a:pt x="7" y="32"/>
                    <a:pt x="8" y="31"/>
                    <a:pt x="8" y="29"/>
                  </a:cubicBezTo>
                  <a:cubicBezTo>
                    <a:pt x="8" y="27"/>
                    <a:pt x="7" y="26"/>
                    <a:pt x="4" y="26"/>
                  </a:cubicBezTo>
                  <a:close/>
                  <a:moveTo>
                    <a:pt x="49" y="9"/>
                  </a:moveTo>
                  <a:cubicBezTo>
                    <a:pt x="48" y="8"/>
                    <a:pt x="45" y="8"/>
                    <a:pt x="44" y="10"/>
                  </a:cubicBezTo>
                  <a:cubicBezTo>
                    <a:pt x="42" y="11"/>
                    <a:pt x="42" y="14"/>
                    <a:pt x="43" y="15"/>
                  </a:cubicBezTo>
                  <a:cubicBezTo>
                    <a:pt x="45" y="16"/>
                    <a:pt x="47" y="16"/>
                    <a:pt x="49" y="14"/>
                  </a:cubicBezTo>
                  <a:cubicBezTo>
                    <a:pt x="50" y="13"/>
                    <a:pt x="50" y="10"/>
                    <a:pt x="49" y="9"/>
                  </a:cubicBezTo>
                  <a:close/>
                  <a:moveTo>
                    <a:pt x="54" y="26"/>
                  </a:moveTo>
                  <a:cubicBezTo>
                    <a:pt x="51" y="26"/>
                    <a:pt x="50" y="27"/>
                    <a:pt x="50" y="29"/>
                  </a:cubicBezTo>
                  <a:cubicBezTo>
                    <a:pt x="50" y="31"/>
                    <a:pt x="51" y="32"/>
                    <a:pt x="54" y="32"/>
                  </a:cubicBezTo>
                  <a:cubicBezTo>
                    <a:pt x="56" y="32"/>
                    <a:pt x="58" y="31"/>
                    <a:pt x="58" y="29"/>
                  </a:cubicBezTo>
                  <a:cubicBezTo>
                    <a:pt x="58" y="27"/>
                    <a:pt x="56" y="26"/>
                    <a:pt x="54" y="26"/>
                  </a:cubicBezTo>
                  <a:close/>
                  <a:moveTo>
                    <a:pt x="29" y="50"/>
                  </a:moveTo>
                  <a:cubicBezTo>
                    <a:pt x="27" y="50"/>
                    <a:pt x="26" y="51"/>
                    <a:pt x="26" y="54"/>
                  </a:cubicBezTo>
                  <a:cubicBezTo>
                    <a:pt x="26" y="56"/>
                    <a:pt x="27" y="58"/>
                    <a:pt x="29" y="58"/>
                  </a:cubicBezTo>
                  <a:cubicBezTo>
                    <a:pt x="31" y="58"/>
                    <a:pt x="32" y="56"/>
                    <a:pt x="32" y="54"/>
                  </a:cubicBezTo>
                  <a:cubicBezTo>
                    <a:pt x="32" y="51"/>
                    <a:pt x="31" y="50"/>
                    <a:pt x="29" y="50"/>
                  </a:cubicBezTo>
                  <a:close/>
                  <a:moveTo>
                    <a:pt x="10" y="44"/>
                  </a:moveTo>
                  <a:cubicBezTo>
                    <a:pt x="8" y="46"/>
                    <a:pt x="8" y="48"/>
                    <a:pt x="9" y="50"/>
                  </a:cubicBezTo>
                  <a:cubicBezTo>
                    <a:pt x="10" y="51"/>
                    <a:pt x="13" y="51"/>
                    <a:pt x="14" y="49"/>
                  </a:cubicBezTo>
                  <a:cubicBezTo>
                    <a:pt x="16" y="47"/>
                    <a:pt x="16" y="45"/>
                    <a:pt x="15" y="44"/>
                  </a:cubicBezTo>
                  <a:cubicBezTo>
                    <a:pt x="13" y="43"/>
                    <a:pt x="11" y="43"/>
                    <a:pt x="10" y="44"/>
                  </a:cubicBezTo>
                  <a:close/>
                  <a:moveTo>
                    <a:pt x="9" y="9"/>
                  </a:moveTo>
                  <a:cubicBezTo>
                    <a:pt x="7" y="10"/>
                    <a:pt x="8" y="13"/>
                    <a:pt x="9" y="14"/>
                  </a:cubicBezTo>
                  <a:cubicBezTo>
                    <a:pt x="11" y="16"/>
                    <a:pt x="13" y="16"/>
                    <a:pt x="15" y="15"/>
                  </a:cubicBezTo>
                  <a:cubicBezTo>
                    <a:pt x="16" y="14"/>
                    <a:pt x="16" y="11"/>
                    <a:pt x="14" y="10"/>
                  </a:cubicBezTo>
                  <a:cubicBezTo>
                    <a:pt x="12" y="8"/>
                    <a:pt x="10" y="8"/>
                    <a:pt x="9" y="9"/>
                  </a:cubicBezTo>
                  <a:close/>
                  <a:moveTo>
                    <a:pt x="44" y="49"/>
                  </a:moveTo>
                  <a:cubicBezTo>
                    <a:pt x="46" y="50"/>
                    <a:pt x="48" y="51"/>
                    <a:pt x="49" y="49"/>
                  </a:cubicBezTo>
                  <a:cubicBezTo>
                    <a:pt x="51" y="48"/>
                    <a:pt x="50" y="46"/>
                    <a:pt x="49" y="44"/>
                  </a:cubicBezTo>
                  <a:cubicBezTo>
                    <a:pt x="47" y="43"/>
                    <a:pt x="45" y="42"/>
                    <a:pt x="44" y="44"/>
                  </a:cubicBezTo>
                  <a:cubicBezTo>
                    <a:pt x="42" y="45"/>
                    <a:pt x="42" y="47"/>
                    <a:pt x="44" y="49"/>
                  </a:cubicBezTo>
                  <a:close/>
                  <a:moveTo>
                    <a:pt x="29" y="9"/>
                  </a:moveTo>
                  <a:cubicBezTo>
                    <a:pt x="31" y="9"/>
                    <a:pt x="32" y="7"/>
                    <a:pt x="32" y="5"/>
                  </a:cubicBezTo>
                  <a:cubicBezTo>
                    <a:pt x="32" y="2"/>
                    <a:pt x="31" y="0"/>
                    <a:pt x="29" y="0"/>
                  </a:cubicBezTo>
                  <a:cubicBezTo>
                    <a:pt x="27" y="0"/>
                    <a:pt x="26" y="2"/>
                    <a:pt x="26" y="5"/>
                  </a:cubicBezTo>
                  <a:cubicBezTo>
                    <a:pt x="26" y="7"/>
                    <a:pt x="27" y="9"/>
                    <a:pt x="29" y="9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50" name="Group 149"/>
            <p:cNvGrpSpPr>
              <a:grpSpLocks noChangeAspect="1"/>
            </p:cNvGrpSpPr>
            <p:nvPr/>
          </p:nvGrpSpPr>
          <p:grpSpPr bwMode="gray">
            <a:xfrm>
              <a:off x="5428216" y="2495444"/>
              <a:ext cx="310086" cy="259200"/>
              <a:chOff x="3952875" y="3714750"/>
              <a:chExt cx="1238250" cy="1035050"/>
            </a:xfrm>
          </p:grpSpPr>
          <p:sp>
            <p:nvSpPr>
              <p:cNvPr id="151" name="Freeform 45"/>
              <p:cNvSpPr>
                <a:spLocks/>
              </p:cNvSpPr>
              <p:nvPr/>
            </p:nvSpPr>
            <p:spPr bwMode="gray">
              <a:xfrm>
                <a:off x="3952875" y="3783013"/>
                <a:ext cx="1238250" cy="534988"/>
              </a:xfrm>
              <a:custGeom>
                <a:avLst/>
                <a:gdLst/>
                <a:ahLst/>
                <a:cxnLst>
                  <a:cxn ang="0">
                    <a:pos x="75" y="47"/>
                  </a:cxn>
                  <a:cxn ang="0">
                    <a:pos x="32" y="47"/>
                  </a:cxn>
                  <a:cxn ang="0">
                    <a:pos x="0" y="40"/>
                  </a:cxn>
                  <a:cxn ang="0">
                    <a:pos x="53" y="2"/>
                  </a:cxn>
                  <a:cxn ang="0">
                    <a:pos x="109" y="40"/>
                  </a:cxn>
                  <a:cxn ang="0">
                    <a:pos x="75" y="47"/>
                  </a:cxn>
                </a:cxnLst>
                <a:rect l="0" t="0" r="r" b="b"/>
                <a:pathLst>
                  <a:path w="109" h="47">
                    <a:moveTo>
                      <a:pt x="75" y="47"/>
                    </a:moveTo>
                    <a:cubicBezTo>
                      <a:pt x="75" y="47"/>
                      <a:pt x="57" y="27"/>
                      <a:pt x="32" y="47"/>
                    </a:cubicBezTo>
                    <a:cubicBezTo>
                      <a:pt x="32" y="47"/>
                      <a:pt x="20" y="32"/>
                      <a:pt x="0" y="40"/>
                    </a:cubicBezTo>
                    <a:cubicBezTo>
                      <a:pt x="0" y="40"/>
                      <a:pt x="12" y="3"/>
                      <a:pt x="53" y="2"/>
                    </a:cubicBezTo>
                    <a:cubicBezTo>
                      <a:pt x="53" y="2"/>
                      <a:pt x="92" y="0"/>
                      <a:pt x="109" y="40"/>
                    </a:cubicBezTo>
                    <a:cubicBezTo>
                      <a:pt x="109" y="40"/>
                      <a:pt x="86" y="29"/>
                      <a:pt x="75" y="47"/>
                    </a:cubicBezTo>
                    <a:close/>
                  </a:path>
                </a:pathLst>
              </a:custGeom>
              <a:solidFill>
                <a:srgbClr val="81BC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52" name="Freeform 46"/>
              <p:cNvSpPr>
                <a:spLocks/>
              </p:cNvSpPr>
              <p:nvPr/>
            </p:nvSpPr>
            <p:spPr bwMode="gray">
              <a:xfrm>
                <a:off x="4543425" y="3714750"/>
                <a:ext cx="46038" cy="79375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2" y="0"/>
                  </a:cxn>
                  <a:cxn ang="0">
                    <a:pos x="4" y="7"/>
                  </a:cxn>
                  <a:cxn ang="0">
                    <a:pos x="0" y="7"/>
                  </a:cxn>
                </a:cxnLst>
                <a:rect l="0" t="0" r="r" b="b"/>
                <a:pathLst>
                  <a:path w="4" h="7">
                    <a:moveTo>
                      <a:pt x="0" y="7"/>
                    </a:moveTo>
                    <a:cubicBezTo>
                      <a:pt x="0" y="7"/>
                      <a:pt x="0" y="0"/>
                      <a:pt x="2" y="0"/>
                    </a:cubicBezTo>
                    <a:cubicBezTo>
                      <a:pt x="3" y="0"/>
                      <a:pt x="4" y="7"/>
                      <a:pt x="4" y="7"/>
                    </a:cubicBezTo>
                    <a:cubicBezTo>
                      <a:pt x="4" y="7"/>
                      <a:pt x="1" y="7"/>
                      <a:pt x="0" y="7"/>
                    </a:cubicBezTo>
                    <a:close/>
                  </a:path>
                </a:pathLst>
              </a:custGeom>
              <a:solidFill>
                <a:srgbClr val="81BC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53" name="Freeform 47"/>
              <p:cNvSpPr>
                <a:spLocks/>
              </p:cNvSpPr>
              <p:nvPr/>
            </p:nvSpPr>
            <p:spPr bwMode="gray">
              <a:xfrm>
                <a:off x="4349750" y="4238625"/>
                <a:ext cx="239713" cy="511175"/>
              </a:xfrm>
              <a:custGeom>
                <a:avLst/>
                <a:gdLst/>
                <a:ahLst/>
                <a:cxnLst>
                  <a:cxn ang="0">
                    <a:pos x="4" y="34"/>
                  </a:cxn>
                  <a:cxn ang="0">
                    <a:pos x="4" y="30"/>
                  </a:cxn>
                  <a:cxn ang="0">
                    <a:pos x="2" y="29"/>
                  </a:cxn>
                  <a:cxn ang="0">
                    <a:pos x="0" y="30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10" y="45"/>
                  </a:cxn>
                  <a:cxn ang="0">
                    <a:pos x="21" y="34"/>
                  </a:cxn>
                  <a:cxn ang="0">
                    <a:pos x="21" y="34"/>
                  </a:cxn>
                  <a:cxn ang="0">
                    <a:pos x="21" y="31"/>
                  </a:cxn>
                  <a:cxn ang="0">
                    <a:pos x="21" y="0"/>
                  </a:cxn>
                  <a:cxn ang="0">
                    <a:pos x="17" y="0"/>
                  </a:cxn>
                  <a:cxn ang="0">
                    <a:pos x="17" y="34"/>
                  </a:cxn>
                  <a:cxn ang="0">
                    <a:pos x="17" y="35"/>
                  </a:cxn>
                  <a:cxn ang="0">
                    <a:pos x="10" y="41"/>
                  </a:cxn>
                  <a:cxn ang="0">
                    <a:pos x="4" y="35"/>
                  </a:cxn>
                  <a:cxn ang="0">
                    <a:pos x="4" y="34"/>
                  </a:cxn>
                </a:cxnLst>
                <a:rect l="0" t="0" r="r" b="b"/>
                <a:pathLst>
                  <a:path w="21" h="45">
                    <a:moveTo>
                      <a:pt x="4" y="34"/>
                    </a:moveTo>
                    <a:cubicBezTo>
                      <a:pt x="4" y="33"/>
                      <a:pt x="4" y="32"/>
                      <a:pt x="4" y="30"/>
                    </a:cubicBezTo>
                    <a:cubicBezTo>
                      <a:pt x="4" y="30"/>
                      <a:pt x="4" y="29"/>
                      <a:pt x="2" y="29"/>
                    </a:cubicBezTo>
                    <a:cubicBezTo>
                      <a:pt x="0" y="29"/>
                      <a:pt x="0" y="30"/>
                      <a:pt x="0" y="30"/>
                    </a:cubicBezTo>
                    <a:cubicBezTo>
                      <a:pt x="0" y="32"/>
                      <a:pt x="0" y="33"/>
                      <a:pt x="0" y="34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41"/>
                      <a:pt x="5" y="45"/>
                      <a:pt x="10" y="45"/>
                    </a:cubicBezTo>
                    <a:cubicBezTo>
                      <a:pt x="16" y="45"/>
                      <a:pt x="21" y="41"/>
                      <a:pt x="21" y="34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34"/>
                      <a:pt x="17" y="34"/>
                      <a:pt x="17" y="34"/>
                    </a:cubicBezTo>
                    <a:cubicBezTo>
                      <a:pt x="17" y="35"/>
                      <a:pt x="17" y="35"/>
                      <a:pt x="17" y="35"/>
                    </a:cubicBezTo>
                    <a:cubicBezTo>
                      <a:pt x="17" y="39"/>
                      <a:pt x="14" y="41"/>
                      <a:pt x="10" y="41"/>
                    </a:cubicBezTo>
                    <a:cubicBezTo>
                      <a:pt x="7" y="41"/>
                      <a:pt x="4" y="39"/>
                      <a:pt x="4" y="35"/>
                    </a:cubicBezTo>
                    <a:lnTo>
                      <a:pt x="4" y="34"/>
                    </a:lnTo>
                    <a:close/>
                  </a:path>
                </a:pathLst>
              </a:custGeom>
              <a:solidFill>
                <a:srgbClr val="81BC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154" name="Freeform 51"/>
            <p:cNvSpPr>
              <a:spLocks noChangeAspect="1" noEditPoints="1"/>
            </p:cNvSpPr>
            <p:nvPr/>
          </p:nvSpPr>
          <p:spPr bwMode="gray">
            <a:xfrm>
              <a:off x="4961075" y="2547644"/>
              <a:ext cx="233390" cy="154800"/>
            </a:xfrm>
            <a:custGeom>
              <a:avLst/>
              <a:gdLst/>
              <a:ahLst/>
              <a:cxnLst>
                <a:cxn ang="0">
                  <a:pos x="62" y="15"/>
                </a:cxn>
                <a:cxn ang="0">
                  <a:pos x="59" y="16"/>
                </a:cxn>
                <a:cxn ang="0">
                  <a:pos x="38" y="0"/>
                </a:cxn>
                <a:cxn ang="0">
                  <a:pos x="16" y="22"/>
                </a:cxn>
                <a:cxn ang="0">
                  <a:pos x="17" y="25"/>
                </a:cxn>
                <a:cxn ang="0">
                  <a:pos x="15" y="25"/>
                </a:cxn>
                <a:cxn ang="0">
                  <a:pos x="0" y="39"/>
                </a:cxn>
                <a:cxn ang="0">
                  <a:pos x="15" y="54"/>
                </a:cxn>
                <a:cxn ang="0">
                  <a:pos x="62" y="54"/>
                </a:cxn>
                <a:cxn ang="0">
                  <a:pos x="82" y="35"/>
                </a:cxn>
                <a:cxn ang="0">
                  <a:pos x="62" y="15"/>
                </a:cxn>
                <a:cxn ang="0">
                  <a:pos x="46" y="33"/>
                </a:cxn>
                <a:cxn ang="0">
                  <a:pos x="35" y="45"/>
                </a:cxn>
                <a:cxn ang="0">
                  <a:pos x="33" y="46"/>
                </a:cxn>
                <a:cxn ang="0">
                  <a:pos x="32" y="44"/>
                </a:cxn>
                <a:cxn ang="0">
                  <a:pos x="32" y="43"/>
                </a:cxn>
                <a:cxn ang="0">
                  <a:pos x="37" y="33"/>
                </a:cxn>
                <a:cxn ang="0">
                  <a:pos x="33" y="32"/>
                </a:cxn>
                <a:cxn ang="0">
                  <a:pos x="33" y="32"/>
                </a:cxn>
                <a:cxn ang="0">
                  <a:pos x="31" y="29"/>
                </a:cxn>
                <a:cxn ang="0">
                  <a:pos x="32" y="27"/>
                </a:cxn>
                <a:cxn ang="0">
                  <a:pos x="43" y="15"/>
                </a:cxn>
                <a:cxn ang="0">
                  <a:pos x="46" y="14"/>
                </a:cxn>
                <a:cxn ang="0">
                  <a:pos x="46" y="16"/>
                </a:cxn>
                <a:cxn ang="0">
                  <a:pos x="46" y="17"/>
                </a:cxn>
                <a:cxn ang="0">
                  <a:pos x="42" y="27"/>
                </a:cxn>
                <a:cxn ang="0">
                  <a:pos x="45" y="28"/>
                </a:cxn>
                <a:cxn ang="0">
                  <a:pos x="45" y="28"/>
                </a:cxn>
                <a:cxn ang="0">
                  <a:pos x="48" y="31"/>
                </a:cxn>
                <a:cxn ang="0">
                  <a:pos x="46" y="33"/>
                </a:cxn>
              </a:cxnLst>
              <a:rect l="0" t="0" r="r" b="b"/>
              <a:pathLst>
                <a:path w="82" h="54">
                  <a:moveTo>
                    <a:pt x="62" y="15"/>
                  </a:moveTo>
                  <a:cubicBezTo>
                    <a:pt x="61" y="15"/>
                    <a:pt x="60" y="15"/>
                    <a:pt x="59" y="16"/>
                  </a:cubicBezTo>
                  <a:cubicBezTo>
                    <a:pt x="56" y="7"/>
                    <a:pt x="48" y="0"/>
                    <a:pt x="38" y="0"/>
                  </a:cubicBezTo>
                  <a:cubicBezTo>
                    <a:pt x="26" y="0"/>
                    <a:pt x="16" y="10"/>
                    <a:pt x="16" y="22"/>
                  </a:cubicBezTo>
                  <a:cubicBezTo>
                    <a:pt x="16" y="23"/>
                    <a:pt x="16" y="24"/>
                    <a:pt x="17" y="25"/>
                  </a:cubicBezTo>
                  <a:cubicBezTo>
                    <a:pt x="16" y="25"/>
                    <a:pt x="15" y="25"/>
                    <a:pt x="15" y="25"/>
                  </a:cubicBezTo>
                  <a:cubicBezTo>
                    <a:pt x="7" y="25"/>
                    <a:pt x="0" y="31"/>
                    <a:pt x="0" y="39"/>
                  </a:cubicBezTo>
                  <a:cubicBezTo>
                    <a:pt x="0" y="47"/>
                    <a:pt x="7" y="54"/>
                    <a:pt x="15" y="54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73" y="54"/>
                    <a:pt x="82" y="45"/>
                    <a:pt x="82" y="35"/>
                  </a:cubicBezTo>
                  <a:cubicBezTo>
                    <a:pt x="82" y="24"/>
                    <a:pt x="73" y="15"/>
                    <a:pt x="62" y="15"/>
                  </a:cubicBezTo>
                  <a:close/>
                  <a:moveTo>
                    <a:pt x="46" y="33"/>
                  </a:moveTo>
                  <a:cubicBezTo>
                    <a:pt x="44" y="36"/>
                    <a:pt x="36" y="45"/>
                    <a:pt x="35" y="45"/>
                  </a:cubicBezTo>
                  <a:cubicBezTo>
                    <a:pt x="35" y="46"/>
                    <a:pt x="34" y="47"/>
                    <a:pt x="33" y="46"/>
                  </a:cubicBezTo>
                  <a:cubicBezTo>
                    <a:pt x="32" y="46"/>
                    <a:pt x="32" y="45"/>
                    <a:pt x="32" y="44"/>
                  </a:cubicBezTo>
                  <a:cubicBezTo>
                    <a:pt x="32" y="44"/>
                    <a:pt x="32" y="43"/>
                    <a:pt x="32" y="4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6" y="33"/>
                    <a:pt x="34" y="33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1" y="31"/>
                    <a:pt x="31" y="29"/>
                  </a:cubicBezTo>
                  <a:cubicBezTo>
                    <a:pt x="31" y="29"/>
                    <a:pt x="31" y="28"/>
                    <a:pt x="32" y="27"/>
                  </a:cubicBezTo>
                  <a:cubicBezTo>
                    <a:pt x="34" y="24"/>
                    <a:pt x="42" y="15"/>
                    <a:pt x="43" y="15"/>
                  </a:cubicBezTo>
                  <a:cubicBezTo>
                    <a:pt x="43" y="14"/>
                    <a:pt x="44" y="13"/>
                    <a:pt x="46" y="14"/>
                  </a:cubicBezTo>
                  <a:cubicBezTo>
                    <a:pt x="46" y="14"/>
                    <a:pt x="46" y="15"/>
                    <a:pt x="46" y="16"/>
                  </a:cubicBezTo>
                  <a:cubicBezTo>
                    <a:pt x="46" y="16"/>
                    <a:pt x="46" y="17"/>
                    <a:pt x="46" y="1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4" y="27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6" y="28"/>
                    <a:pt x="48" y="29"/>
                    <a:pt x="48" y="31"/>
                  </a:cubicBezTo>
                  <a:cubicBezTo>
                    <a:pt x="48" y="31"/>
                    <a:pt x="47" y="32"/>
                    <a:pt x="46" y="33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5" name="Freeform 55"/>
            <p:cNvSpPr>
              <a:spLocks noChangeAspect="1" noEditPoints="1"/>
            </p:cNvSpPr>
            <p:nvPr/>
          </p:nvSpPr>
          <p:spPr bwMode="gray">
            <a:xfrm>
              <a:off x="4464843" y="2522444"/>
              <a:ext cx="233381" cy="205200"/>
            </a:xfrm>
            <a:custGeom>
              <a:avLst/>
              <a:gdLst/>
              <a:ahLst/>
              <a:cxnLst>
                <a:cxn ang="0">
                  <a:pos x="73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0" y="53"/>
                </a:cxn>
                <a:cxn ang="0">
                  <a:pos x="8" y="63"/>
                </a:cxn>
                <a:cxn ang="0">
                  <a:pos x="26" y="66"/>
                </a:cxn>
                <a:cxn ang="0">
                  <a:pos x="20" y="72"/>
                </a:cxn>
                <a:cxn ang="0">
                  <a:pos x="61" y="72"/>
                </a:cxn>
                <a:cxn ang="0">
                  <a:pos x="56" y="66"/>
                </a:cxn>
                <a:cxn ang="0">
                  <a:pos x="74" y="63"/>
                </a:cxn>
                <a:cxn ang="0">
                  <a:pos x="82" y="53"/>
                </a:cxn>
                <a:cxn ang="0">
                  <a:pos x="82" y="8"/>
                </a:cxn>
                <a:cxn ang="0">
                  <a:pos x="73" y="0"/>
                </a:cxn>
                <a:cxn ang="0">
                  <a:pos x="73" y="52"/>
                </a:cxn>
                <a:cxn ang="0">
                  <a:pos x="8" y="52"/>
                </a:cxn>
                <a:cxn ang="0">
                  <a:pos x="8" y="7"/>
                </a:cxn>
                <a:cxn ang="0">
                  <a:pos x="73" y="7"/>
                </a:cxn>
                <a:cxn ang="0">
                  <a:pos x="73" y="52"/>
                </a:cxn>
              </a:cxnLst>
              <a:rect l="0" t="0" r="r" b="b"/>
              <a:pathLst>
                <a:path w="82" h="72">
                  <a:moveTo>
                    <a:pt x="73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7"/>
                    <a:pt x="3" y="62"/>
                    <a:pt x="8" y="63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10" y="72"/>
                    <a:pt x="20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71" y="72"/>
                    <a:pt x="56" y="66"/>
                    <a:pt x="56" y="66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8" y="62"/>
                    <a:pt x="82" y="57"/>
                    <a:pt x="82" y="53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3"/>
                    <a:pt x="78" y="0"/>
                    <a:pt x="73" y="0"/>
                  </a:cubicBezTo>
                  <a:close/>
                  <a:moveTo>
                    <a:pt x="73" y="52"/>
                  </a:moveTo>
                  <a:cubicBezTo>
                    <a:pt x="8" y="52"/>
                    <a:pt x="8" y="52"/>
                    <a:pt x="8" y="52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3" y="7"/>
                    <a:pt x="73" y="7"/>
                    <a:pt x="73" y="7"/>
                  </a:cubicBezTo>
                  <a:lnTo>
                    <a:pt x="73" y="52"/>
                  </a:ln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6" name="Freeform 59"/>
            <p:cNvSpPr>
              <a:spLocks noChangeAspect="1" noEditPoints="1"/>
            </p:cNvSpPr>
            <p:nvPr/>
          </p:nvSpPr>
          <p:spPr bwMode="gray">
            <a:xfrm>
              <a:off x="3940743" y="2482844"/>
              <a:ext cx="281646" cy="284400"/>
            </a:xfrm>
            <a:custGeom>
              <a:avLst/>
              <a:gdLst/>
              <a:ahLst/>
              <a:cxnLst>
                <a:cxn ang="0">
                  <a:pos x="86" y="24"/>
                </a:cxn>
                <a:cxn ang="0">
                  <a:pos x="53" y="24"/>
                </a:cxn>
                <a:cxn ang="0">
                  <a:pos x="50" y="21"/>
                </a:cxn>
                <a:cxn ang="0">
                  <a:pos x="61" y="3"/>
                </a:cxn>
                <a:cxn ang="0">
                  <a:pos x="60" y="1"/>
                </a:cxn>
                <a:cxn ang="0">
                  <a:pos x="57" y="1"/>
                </a:cxn>
                <a:cxn ang="0">
                  <a:pos x="46" y="20"/>
                </a:cxn>
                <a:cxn ang="0">
                  <a:pos x="43" y="19"/>
                </a:cxn>
                <a:cxn ang="0">
                  <a:pos x="39" y="20"/>
                </a:cxn>
                <a:cxn ang="0">
                  <a:pos x="28" y="1"/>
                </a:cxn>
                <a:cxn ang="0">
                  <a:pos x="26" y="1"/>
                </a:cxn>
                <a:cxn ang="0">
                  <a:pos x="25" y="3"/>
                </a:cxn>
                <a:cxn ang="0">
                  <a:pos x="35" y="21"/>
                </a:cxn>
                <a:cxn ang="0">
                  <a:pos x="32" y="24"/>
                </a:cxn>
                <a:cxn ang="0">
                  <a:pos x="17" y="24"/>
                </a:cxn>
                <a:cxn ang="0">
                  <a:pos x="1" y="36"/>
                </a:cxn>
                <a:cxn ang="0">
                  <a:pos x="1" y="90"/>
                </a:cxn>
                <a:cxn ang="0">
                  <a:pos x="17" y="100"/>
                </a:cxn>
                <a:cxn ang="0">
                  <a:pos x="83" y="100"/>
                </a:cxn>
                <a:cxn ang="0">
                  <a:pos x="99" y="90"/>
                </a:cxn>
                <a:cxn ang="0">
                  <a:pos x="99" y="36"/>
                </a:cxn>
                <a:cxn ang="0">
                  <a:pos x="86" y="24"/>
                </a:cxn>
                <a:cxn ang="0">
                  <a:pos x="72" y="82"/>
                </a:cxn>
                <a:cxn ang="0">
                  <a:pos x="62" y="90"/>
                </a:cxn>
                <a:cxn ang="0">
                  <a:pos x="21" y="90"/>
                </a:cxn>
                <a:cxn ang="0">
                  <a:pos x="11" y="82"/>
                </a:cxn>
                <a:cxn ang="0">
                  <a:pos x="11" y="42"/>
                </a:cxn>
                <a:cxn ang="0">
                  <a:pos x="21" y="33"/>
                </a:cxn>
                <a:cxn ang="0">
                  <a:pos x="64" y="33"/>
                </a:cxn>
                <a:cxn ang="0">
                  <a:pos x="72" y="42"/>
                </a:cxn>
                <a:cxn ang="0">
                  <a:pos x="72" y="82"/>
                </a:cxn>
                <a:cxn ang="0">
                  <a:pos x="84" y="82"/>
                </a:cxn>
                <a:cxn ang="0">
                  <a:pos x="78" y="76"/>
                </a:cxn>
                <a:cxn ang="0">
                  <a:pos x="84" y="70"/>
                </a:cxn>
                <a:cxn ang="0">
                  <a:pos x="90" y="76"/>
                </a:cxn>
                <a:cxn ang="0">
                  <a:pos x="84" y="82"/>
                </a:cxn>
                <a:cxn ang="0">
                  <a:pos x="84" y="59"/>
                </a:cxn>
                <a:cxn ang="0">
                  <a:pos x="78" y="53"/>
                </a:cxn>
                <a:cxn ang="0">
                  <a:pos x="84" y="47"/>
                </a:cxn>
                <a:cxn ang="0">
                  <a:pos x="90" y="53"/>
                </a:cxn>
                <a:cxn ang="0">
                  <a:pos x="84" y="59"/>
                </a:cxn>
              </a:cxnLst>
              <a:rect l="0" t="0" r="r" b="b"/>
              <a:pathLst>
                <a:path w="100" h="101">
                  <a:moveTo>
                    <a:pt x="86" y="24"/>
                  </a:moveTo>
                  <a:cubicBezTo>
                    <a:pt x="53" y="24"/>
                    <a:pt x="53" y="24"/>
                    <a:pt x="53" y="24"/>
                  </a:cubicBezTo>
                  <a:cubicBezTo>
                    <a:pt x="53" y="23"/>
                    <a:pt x="52" y="22"/>
                    <a:pt x="50" y="21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1" y="2"/>
                    <a:pt x="60" y="1"/>
                    <a:pt x="60" y="1"/>
                  </a:cubicBezTo>
                  <a:cubicBezTo>
                    <a:pt x="59" y="0"/>
                    <a:pt x="57" y="0"/>
                    <a:pt x="57" y="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5" y="19"/>
                    <a:pt x="44" y="19"/>
                    <a:pt x="43" y="19"/>
                  </a:cubicBezTo>
                  <a:cubicBezTo>
                    <a:pt x="41" y="19"/>
                    <a:pt x="40" y="20"/>
                    <a:pt x="39" y="20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8" y="0"/>
                    <a:pt x="27" y="0"/>
                    <a:pt x="26" y="1"/>
                  </a:cubicBezTo>
                  <a:cubicBezTo>
                    <a:pt x="25" y="1"/>
                    <a:pt x="24" y="2"/>
                    <a:pt x="25" y="3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3" y="22"/>
                    <a:pt x="32" y="23"/>
                    <a:pt x="32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0" y="23"/>
                    <a:pt x="1" y="36"/>
                    <a:pt x="1" y="36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2" y="101"/>
                    <a:pt x="17" y="100"/>
                    <a:pt x="17" y="100"/>
                  </a:cubicBezTo>
                  <a:cubicBezTo>
                    <a:pt x="83" y="100"/>
                    <a:pt x="83" y="100"/>
                    <a:pt x="83" y="100"/>
                  </a:cubicBezTo>
                  <a:cubicBezTo>
                    <a:pt x="83" y="100"/>
                    <a:pt x="98" y="101"/>
                    <a:pt x="99" y="90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100" y="25"/>
                    <a:pt x="86" y="24"/>
                  </a:cubicBezTo>
                  <a:close/>
                  <a:moveTo>
                    <a:pt x="72" y="82"/>
                  </a:moveTo>
                  <a:cubicBezTo>
                    <a:pt x="71" y="90"/>
                    <a:pt x="62" y="90"/>
                    <a:pt x="62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90"/>
                    <a:pt x="12" y="90"/>
                    <a:pt x="11" y="8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1" y="42"/>
                    <a:pt x="10" y="33"/>
                    <a:pt x="21" y="33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73" y="34"/>
                    <a:pt x="72" y="42"/>
                    <a:pt x="72" y="42"/>
                  </a:cubicBezTo>
                  <a:lnTo>
                    <a:pt x="72" y="82"/>
                  </a:lnTo>
                  <a:close/>
                  <a:moveTo>
                    <a:pt x="84" y="82"/>
                  </a:moveTo>
                  <a:cubicBezTo>
                    <a:pt x="81" y="82"/>
                    <a:pt x="78" y="80"/>
                    <a:pt x="78" y="76"/>
                  </a:cubicBezTo>
                  <a:cubicBezTo>
                    <a:pt x="78" y="73"/>
                    <a:pt x="81" y="70"/>
                    <a:pt x="84" y="70"/>
                  </a:cubicBezTo>
                  <a:cubicBezTo>
                    <a:pt x="88" y="70"/>
                    <a:pt x="90" y="73"/>
                    <a:pt x="90" y="76"/>
                  </a:cubicBezTo>
                  <a:cubicBezTo>
                    <a:pt x="90" y="80"/>
                    <a:pt x="88" y="82"/>
                    <a:pt x="84" y="82"/>
                  </a:cubicBezTo>
                  <a:close/>
                  <a:moveTo>
                    <a:pt x="84" y="59"/>
                  </a:moveTo>
                  <a:cubicBezTo>
                    <a:pt x="81" y="59"/>
                    <a:pt x="78" y="57"/>
                    <a:pt x="78" y="53"/>
                  </a:cubicBezTo>
                  <a:cubicBezTo>
                    <a:pt x="78" y="50"/>
                    <a:pt x="81" y="47"/>
                    <a:pt x="84" y="47"/>
                  </a:cubicBezTo>
                  <a:cubicBezTo>
                    <a:pt x="88" y="47"/>
                    <a:pt x="90" y="50"/>
                    <a:pt x="90" y="53"/>
                  </a:cubicBezTo>
                  <a:cubicBezTo>
                    <a:pt x="90" y="57"/>
                    <a:pt x="88" y="59"/>
                    <a:pt x="84" y="59"/>
                  </a:cubicBez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7" name="Freeform 63"/>
            <p:cNvSpPr>
              <a:spLocks noChangeAspect="1" noEditPoints="1"/>
            </p:cNvSpPr>
            <p:nvPr/>
          </p:nvSpPr>
          <p:spPr bwMode="gray">
            <a:xfrm>
              <a:off x="3442818" y="2482844"/>
              <a:ext cx="284400" cy="284400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100" y="50"/>
                </a:cxn>
                <a:cxn ang="0">
                  <a:pos x="95" y="55"/>
                </a:cxn>
                <a:cxn ang="0">
                  <a:pos x="87" y="45"/>
                </a:cxn>
                <a:cxn ang="0">
                  <a:pos x="95" y="55"/>
                </a:cxn>
                <a:cxn ang="0">
                  <a:pos x="90" y="29"/>
                </a:cxn>
                <a:cxn ang="0">
                  <a:pos x="81" y="30"/>
                </a:cxn>
                <a:cxn ang="0">
                  <a:pos x="45" y="5"/>
                </a:cxn>
                <a:cxn ang="0">
                  <a:pos x="54" y="13"/>
                </a:cxn>
                <a:cxn ang="0">
                  <a:pos x="45" y="5"/>
                </a:cxn>
                <a:cxn ang="0">
                  <a:pos x="13" y="45"/>
                </a:cxn>
                <a:cxn ang="0">
                  <a:pos x="5" y="54"/>
                </a:cxn>
                <a:cxn ang="0">
                  <a:pos x="12" y="74"/>
                </a:cxn>
                <a:cxn ang="0">
                  <a:pos x="17" y="66"/>
                </a:cxn>
                <a:cxn ang="0">
                  <a:pos x="12" y="74"/>
                </a:cxn>
                <a:cxn ang="0">
                  <a:pos x="10" y="29"/>
                </a:cxn>
                <a:cxn ang="0">
                  <a:pos x="19" y="29"/>
                </a:cxn>
                <a:cxn ang="0">
                  <a:pos x="29" y="90"/>
                </a:cxn>
                <a:cxn ang="0">
                  <a:pos x="29" y="81"/>
                </a:cxn>
                <a:cxn ang="0">
                  <a:pos x="29" y="90"/>
                </a:cxn>
                <a:cxn ang="0">
                  <a:pos x="25" y="12"/>
                </a:cxn>
                <a:cxn ang="0">
                  <a:pos x="33" y="17"/>
                </a:cxn>
                <a:cxn ang="0">
                  <a:pos x="50" y="45"/>
                </a:cxn>
                <a:cxn ang="0">
                  <a:pos x="73" y="18"/>
                </a:cxn>
                <a:cxn ang="0">
                  <a:pos x="55" y="50"/>
                </a:cxn>
                <a:cxn ang="0">
                  <a:pos x="74" y="69"/>
                </a:cxn>
                <a:cxn ang="0">
                  <a:pos x="50" y="55"/>
                </a:cxn>
                <a:cxn ang="0">
                  <a:pos x="50" y="45"/>
                </a:cxn>
                <a:cxn ang="0">
                  <a:pos x="45" y="87"/>
                </a:cxn>
                <a:cxn ang="0">
                  <a:pos x="54" y="95"/>
                </a:cxn>
                <a:cxn ang="0">
                  <a:pos x="70" y="90"/>
                </a:cxn>
                <a:cxn ang="0">
                  <a:pos x="70" y="81"/>
                </a:cxn>
                <a:cxn ang="0">
                  <a:pos x="70" y="90"/>
                </a:cxn>
                <a:cxn ang="0">
                  <a:pos x="66" y="17"/>
                </a:cxn>
                <a:cxn ang="0">
                  <a:pos x="74" y="12"/>
                </a:cxn>
                <a:cxn ang="0">
                  <a:pos x="88" y="75"/>
                </a:cxn>
                <a:cxn ang="0">
                  <a:pos x="83" y="67"/>
                </a:cxn>
                <a:cxn ang="0">
                  <a:pos x="88" y="75"/>
                </a:cxn>
              </a:cxnLst>
              <a:rect l="0" t="0" r="r" b="b"/>
              <a:pathLst>
                <a:path w="100" h="100">
                  <a:moveTo>
                    <a:pt x="50" y="0"/>
                  </a:moveTo>
                  <a:cubicBezTo>
                    <a:pt x="22" y="0"/>
                    <a:pt x="0" y="23"/>
                    <a:pt x="0" y="50"/>
                  </a:cubicBezTo>
                  <a:cubicBezTo>
                    <a:pt x="0" y="77"/>
                    <a:pt x="22" y="100"/>
                    <a:pt x="50" y="100"/>
                  </a:cubicBezTo>
                  <a:cubicBezTo>
                    <a:pt x="77" y="100"/>
                    <a:pt x="100" y="77"/>
                    <a:pt x="100" y="50"/>
                  </a:cubicBezTo>
                  <a:cubicBezTo>
                    <a:pt x="100" y="23"/>
                    <a:pt x="77" y="0"/>
                    <a:pt x="50" y="0"/>
                  </a:cubicBezTo>
                  <a:close/>
                  <a:moveTo>
                    <a:pt x="95" y="55"/>
                  </a:moveTo>
                  <a:cubicBezTo>
                    <a:pt x="87" y="55"/>
                    <a:pt x="87" y="55"/>
                    <a:pt x="87" y="55"/>
                  </a:cubicBezTo>
                  <a:cubicBezTo>
                    <a:pt x="87" y="45"/>
                    <a:pt x="87" y="45"/>
                    <a:pt x="87" y="45"/>
                  </a:cubicBezTo>
                  <a:cubicBezTo>
                    <a:pt x="95" y="45"/>
                    <a:pt x="95" y="45"/>
                    <a:pt x="95" y="45"/>
                  </a:cubicBezTo>
                  <a:lnTo>
                    <a:pt x="95" y="55"/>
                  </a:lnTo>
                  <a:close/>
                  <a:moveTo>
                    <a:pt x="88" y="25"/>
                  </a:moveTo>
                  <a:cubicBezTo>
                    <a:pt x="90" y="29"/>
                    <a:pt x="90" y="29"/>
                    <a:pt x="90" y="29"/>
                  </a:cubicBezTo>
                  <a:cubicBezTo>
                    <a:pt x="83" y="34"/>
                    <a:pt x="83" y="34"/>
                    <a:pt x="83" y="34"/>
                  </a:cubicBezTo>
                  <a:cubicBezTo>
                    <a:pt x="81" y="30"/>
                    <a:pt x="81" y="30"/>
                    <a:pt x="81" y="30"/>
                  </a:cubicBezTo>
                  <a:lnTo>
                    <a:pt x="88" y="25"/>
                  </a:lnTo>
                  <a:close/>
                  <a:moveTo>
                    <a:pt x="45" y="5"/>
                  </a:moveTo>
                  <a:cubicBezTo>
                    <a:pt x="54" y="5"/>
                    <a:pt x="54" y="5"/>
                    <a:pt x="54" y="5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45" y="13"/>
                    <a:pt x="45" y="13"/>
                    <a:pt x="45" y="13"/>
                  </a:cubicBezTo>
                  <a:lnTo>
                    <a:pt x="45" y="5"/>
                  </a:lnTo>
                  <a:close/>
                  <a:moveTo>
                    <a:pt x="5" y="45"/>
                  </a:moveTo>
                  <a:cubicBezTo>
                    <a:pt x="13" y="45"/>
                    <a:pt x="13" y="45"/>
                    <a:pt x="13" y="45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5" y="54"/>
                    <a:pt x="5" y="54"/>
                    <a:pt x="5" y="54"/>
                  </a:cubicBezTo>
                  <a:lnTo>
                    <a:pt x="5" y="45"/>
                  </a:lnTo>
                  <a:close/>
                  <a:moveTo>
                    <a:pt x="12" y="74"/>
                  </a:moveTo>
                  <a:cubicBezTo>
                    <a:pt x="9" y="70"/>
                    <a:pt x="9" y="70"/>
                    <a:pt x="9" y="70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9" y="70"/>
                    <a:pt x="19" y="70"/>
                    <a:pt x="19" y="70"/>
                  </a:cubicBezTo>
                  <a:lnTo>
                    <a:pt x="12" y="74"/>
                  </a:lnTo>
                  <a:close/>
                  <a:moveTo>
                    <a:pt x="17" y="33"/>
                  </a:moveTo>
                  <a:cubicBezTo>
                    <a:pt x="10" y="29"/>
                    <a:pt x="10" y="29"/>
                    <a:pt x="10" y="29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9" y="29"/>
                    <a:pt x="19" y="29"/>
                    <a:pt x="19" y="29"/>
                  </a:cubicBezTo>
                  <a:lnTo>
                    <a:pt x="17" y="33"/>
                  </a:lnTo>
                  <a:close/>
                  <a:moveTo>
                    <a:pt x="29" y="90"/>
                  </a:moveTo>
                  <a:cubicBezTo>
                    <a:pt x="25" y="88"/>
                    <a:pt x="25" y="88"/>
                    <a:pt x="25" y="88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33" y="83"/>
                    <a:pt x="33" y="83"/>
                    <a:pt x="33" y="83"/>
                  </a:cubicBezTo>
                  <a:lnTo>
                    <a:pt x="29" y="90"/>
                  </a:lnTo>
                  <a:close/>
                  <a:moveTo>
                    <a:pt x="29" y="19"/>
                  </a:moveTo>
                  <a:cubicBezTo>
                    <a:pt x="25" y="12"/>
                    <a:pt x="25" y="12"/>
                    <a:pt x="25" y="12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3" y="17"/>
                    <a:pt x="33" y="17"/>
                    <a:pt x="33" y="17"/>
                  </a:cubicBezTo>
                  <a:lnTo>
                    <a:pt x="29" y="19"/>
                  </a:lnTo>
                  <a:close/>
                  <a:moveTo>
                    <a:pt x="50" y="45"/>
                  </a:moveTo>
                  <a:cubicBezTo>
                    <a:pt x="50" y="45"/>
                    <a:pt x="50" y="45"/>
                    <a:pt x="50" y="45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5" y="48"/>
                    <a:pt x="55" y="49"/>
                    <a:pt x="55" y="50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74" y="69"/>
                    <a:pt x="74" y="69"/>
                    <a:pt x="74" y="69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52" y="55"/>
                    <a:pt x="51" y="55"/>
                    <a:pt x="50" y="55"/>
                  </a:cubicBezTo>
                  <a:cubicBezTo>
                    <a:pt x="47" y="55"/>
                    <a:pt x="44" y="53"/>
                    <a:pt x="44" y="50"/>
                  </a:cubicBezTo>
                  <a:cubicBezTo>
                    <a:pt x="44" y="47"/>
                    <a:pt x="47" y="45"/>
                    <a:pt x="50" y="45"/>
                  </a:cubicBezTo>
                  <a:close/>
                  <a:moveTo>
                    <a:pt x="45" y="95"/>
                  </a:moveTo>
                  <a:cubicBezTo>
                    <a:pt x="45" y="87"/>
                    <a:pt x="45" y="87"/>
                    <a:pt x="45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95"/>
                    <a:pt x="54" y="95"/>
                    <a:pt x="54" y="95"/>
                  </a:cubicBezTo>
                  <a:lnTo>
                    <a:pt x="45" y="95"/>
                  </a:lnTo>
                  <a:close/>
                  <a:moveTo>
                    <a:pt x="70" y="90"/>
                  </a:moveTo>
                  <a:cubicBezTo>
                    <a:pt x="66" y="83"/>
                    <a:pt x="66" y="83"/>
                    <a:pt x="66" y="83"/>
                  </a:cubicBezTo>
                  <a:cubicBezTo>
                    <a:pt x="70" y="81"/>
                    <a:pt x="70" y="81"/>
                    <a:pt x="70" y="81"/>
                  </a:cubicBezTo>
                  <a:cubicBezTo>
                    <a:pt x="74" y="88"/>
                    <a:pt x="74" y="88"/>
                    <a:pt x="74" y="88"/>
                  </a:cubicBezTo>
                  <a:lnTo>
                    <a:pt x="70" y="90"/>
                  </a:lnTo>
                  <a:close/>
                  <a:moveTo>
                    <a:pt x="70" y="19"/>
                  </a:moveTo>
                  <a:cubicBezTo>
                    <a:pt x="66" y="17"/>
                    <a:pt x="66" y="17"/>
                    <a:pt x="66" y="17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4" y="12"/>
                    <a:pt x="74" y="12"/>
                    <a:pt x="74" y="12"/>
                  </a:cubicBezTo>
                  <a:lnTo>
                    <a:pt x="70" y="19"/>
                  </a:lnTo>
                  <a:close/>
                  <a:moveTo>
                    <a:pt x="88" y="75"/>
                  </a:moveTo>
                  <a:cubicBezTo>
                    <a:pt x="81" y="71"/>
                    <a:pt x="81" y="71"/>
                    <a:pt x="81" y="71"/>
                  </a:cubicBezTo>
                  <a:cubicBezTo>
                    <a:pt x="83" y="67"/>
                    <a:pt x="83" y="67"/>
                    <a:pt x="83" y="67"/>
                  </a:cubicBezTo>
                  <a:cubicBezTo>
                    <a:pt x="90" y="71"/>
                    <a:pt x="90" y="71"/>
                    <a:pt x="90" y="71"/>
                  </a:cubicBezTo>
                  <a:lnTo>
                    <a:pt x="88" y="75"/>
                  </a:ln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8" name="Freeform 67"/>
            <p:cNvSpPr>
              <a:spLocks noChangeAspect="1" noEditPoints="1"/>
            </p:cNvSpPr>
            <p:nvPr/>
          </p:nvSpPr>
          <p:spPr bwMode="gray">
            <a:xfrm>
              <a:off x="2979115" y="2511644"/>
              <a:ext cx="223825" cy="226800"/>
            </a:xfrm>
            <a:custGeom>
              <a:avLst/>
              <a:gdLst/>
              <a:ahLst/>
              <a:cxnLst>
                <a:cxn ang="0">
                  <a:pos x="16" y="36"/>
                </a:cxn>
                <a:cxn ang="0">
                  <a:pos x="16" y="35"/>
                </a:cxn>
                <a:cxn ang="0">
                  <a:pos x="15" y="32"/>
                </a:cxn>
                <a:cxn ang="0">
                  <a:pos x="82" y="18"/>
                </a:cxn>
                <a:cxn ang="0">
                  <a:pos x="63" y="6"/>
                </a:cxn>
                <a:cxn ang="0">
                  <a:pos x="5" y="20"/>
                </a:cxn>
                <a:cxn ang="0">
                  <a:pos x="2" y="32"/>
                </a:cxn>
                <a:cxn ang="0">
                  <a:pos x="1" y="35"/>
                </a:cxn>
                <a:cxn ang="0">
                  <a:pos x="4" y="40"/>
                </a:cxn>
                <a:cxn ang="0">
                  <a:pos x="4" y="49"/>
                </a:cxn>
                <a:cxn ang="0">
                  <a:pos x="4" y="50"/>
                </a:cxn>
                <a:cxn ang="0">
                  <a:pos x="4" y="72"/>
                </a:cxn>
                <a:cxn ang="0">
                  <a:pos x="17" y="85"/>
                </a:cxn>
                <a:cxn ang="0">
                  <a:pos x="71" y="85"/>
                </a:cxn>
                <a:cxn ang="0">
                  <a:pos x="84" y="72"/>
                </a:cxn>
                <a:cxn ang="0">
                  <a:pos x="84" y="49"/>
                </a:cxn>
                <a:cxn ang="0">
                  <a:pos x="84" y="36"/>
                </a:cxn>
                <a:cxn ang="0">
                  <a:pos x="16" y="36"/>
                </a:cxn>
                <a:cxn ang="0">
                  <a:pos x="69" y="9"/>
                </a:cxn>
                <a:cxn ang="0">
                  <a:pos x="74" y="13"/>
                </a:cxn>
                <a:cxn ang="0">
                  <a:pos x="65" y="15"/>
                </a:cxn>
                <a:cxn ang="0">
                  <a:pos x="60" y="11"/>
                </a:cxn>
                <a:cxn ang="0">
                  <a:pos x="69" y="9"/>
                </a:cxn>
                <a:cxn ang="0">
                  <a:pos x="50" y="14"/>
                </a:cxn>
                <a:cxn ang="0">
                  <a:pos x="55" y="18"/>
                </a:cxn>
                <a:cxn ang="0">
                  <a:pos x="46" y="20"/>
                </a:cxn>
                <a:cxn ang="0">
                  <a:pos x="40" y="16"/>
                </a:cxn>
                <a:cxn ang="0">
                  <a:pos x="50" y="14"/>
                </a:cxn>
                <a:cxn ang="0">
                  <a:pos x="9" y="40"/>
                </a:cxn>
                <a:cxn ang="0">
                  <a:pos x="4" y="35"/>
                </a:cxn>
                <a:cxn ang="0">
                  <a:pos x="9" y="30"/>
                </a:cxn>
                <a:cxn ang="0">
                  <a:pos x="13" y="35"/>
                </a:cxn>
                <a:cxn ang="0">
                  <a:pos x="9" y="40"/>
                </a:cxn>
                <a:cxn ang="0">
                  <a:pos x="48" y="41"/>
                </a:cxn>
                <a:cxn ang="0">
                  <a:pos x="57" y="41"/>
                </a:cxn>
                <a:cxn ang="0">
                  <a:pos x="51" y="48"/>
                </a:cxn>
                <a:cxn ang="0">
                  <a:pos x="42" y="48"/>
                </a:cxn>
                <a:cxn ang="0">
                  <a:pos x="48" y="41"/>
                </a:cxn>
                <a:cxn ang="0">
                  <a:pos x="26" y="41"/>
                </a:cxn>
                <a:cxn ang="0">
                  <a:pos x="35" y="41"/>
                </a:cxn>
                <a:cxn ang="0">
                  <a:pos x="29" y="48"/>
                </a:cxn>
                <a:cxn ang="0">
                  <a:pos x="20" y="48"/>
                </a:cxn>
                <a:cxn ang="0">
                  <a:pos x="26" y="41"/>
                </a:cxn>
                <a:cxn ang="0">
                  <a:pos x="71" y="48"/>
                </a:cxn>
                <a:cxn ang="0">
                  <a:pos x="62" y="48"/>
                </a:cxn>
                <a:cxn ang="0">
                  <a:pos x="68" y="41"/>
                </a:cxn>
                <a:cxn ang="0">
                  <a:pos x="77" y="41"/>
                </a:cxn>
                <a:cxn ang="0">
                  <a:pos x="71" y="48"/>
                </a:cxn>
                <a:cxn ang="0">
                  <a:pos x="28" y="18"/>
                </a:cxn>
                <a:cxn ang="0">
                  <a:pos x="33" y="23"/>
                </a:cxn>
                <a:cxn ang="0">
                  <a:pos x="25" y="24"/>
                </a:cxn>
                <a:cxn ang="0">
                  <a:pos x="19" y="20"/>
                </a:cxn>
                <a:cxn ang="0">
                  <a:pos x="28" y="18"/>
                </a:cxn>
              </a:cxnLst>
              <a:rect l="0" t="0" r="r" b="b"/>
              <a:pathLst>
                <a:path w="84" h="85">
                  <a:moveTo>
                    <a:pt x="16" y="36"/>
                  </a:moveTo>
                  <a:cubicBezTo>
                    <a:pt x="16" y="36"/>
                    <a:pt x="16" y="35"/>
                    <a:pt x="16" y="35"/>
                  </a:cubicBezTo>
                  <a:cubicBezTo>
                    <a:pt x="16" y="34"/>
                    <a:pt x="15" y="33"/>
                    <a:pt x="15" y="32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82" y="0"/>
                    <a:pt x="63" y="6"/>
                    <a:pt x="63" y="6"/>
                  </a:cubicBezTo>
                  <a:cubicBezTo>
                    <a:pt x="62" y="6"/>
                    <a:pt x="13" y="15"/>
                    <a:pt x="5" y="20"/>
                  </a:cubicBezTo>
                  <a:cubicBezTo>
                    <a:pt x="0" y="23"/>
                    <a:pt x="1" y="29"/>
                    <a:pt x="2" y="32"/>
                  </a:cubicBezTo>
                  <a:cubicBezTo>
                    <a:pt x="2" y="33"/>
                    <a:pt x="1" y="34"/>
                    <a:pt x="1" y="35"/>
                  </a:cubicBezTo>
                  <a:cubicBezTo>
                    <a:pt x="1" y="37"/>
                    <a:pt x="2" y="39"/>
                    <a:pt x="4" y="40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80"/>
                    <a:pt x="10" y="85"/>
                    <a:pt x="17" y="85"/>
                  </a:cubicBezTo>
                  <a:cubicBezTo>
                    <a:pt x="71" y="85"/>
                    <a:pt x="71" y="85"/>
                    <a:pt x="71" y="85"/>
                  </a:cubicBezTo>
                  <a:cubicBezTo>
                    <a:pt x="78" y="85"/>
                    <a:pt x="84" y="80"/>
                    <a:pt x="84" y="72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4" y="48"/>
                    <a:pt x="84" y="36"/>
                    <a:pt x="84" y="36"/>
                  </a:cubicBezTo>
                  <a:lnTo>
                    <a:pt x="16" y="36"/>
                  </a:lnTo>
                  <a:close/>
                  <a:moveTo>
                    <a:pt x="69" y="9"/>
                  </a:moveTo>
                  <a:cubicBezTo>
                    <a:pt x="74" y="13"/>
                    <a:pt x="74" y="13"/>
                    <a:pt x="74" y="13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0" y="11"/>
                    <a:pt x="60" y="11"/>
                    <a:pt x="60" y="11"/>
                  </a:cubicBezTo>
                  <a:lnTo>
                    <a:pt x="69" y="9"/>
                  </a:lnTo>
                  <a:close/>
                  <a:moveTo>
                    <a:pt x="50" y="14"/>
                  </a:moveTo>
                  <a:cubicBezTo>
                    <a:pt x="55" y="18"/>
                    <a:pt x="55" y="18"/>
                    <a:pt x="55" y="18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0" y="16"/>
                    <a:pt x="40" y="16"/>
                    <a:pt x="40" y="16"/>
                  </a:cubicBezTo>
                  <a:lnTo>
                    <a:pt x="50" y="14"/>
                  </a:lnTo>
                  <a:close/>
                  <a:moveTo>
                    <a:pt x="9" y="40"/>
                  </a:moveTo>
                  <a:cubicBezTo>
                    <a:pt x="6" y="40"/>
                    <a:pt x="4" y="38"/>
                    <a:pt x="4" y="35"/>
                  </a:cubicBezTo>
                  <a:cubicBezTo>
                    <a:pt x="4" y="32"/>
                    <a:pt x="6" y="30"/>
                    <a:pt x="9" y="30"/>
                  </a:cubicBezTo>
                  <a:cubicBezTo>
                    <a:pt x="11" y="30"/>
                    <a:pt x="13" y="32"/>
                    <a:pt x="13" y="35"/>
                  </a:cubicBezTo>
                  <a:cubicBezTo>
                    <a:pt x="13" y="38"/>
                    <a:pt x="11" y="40"/>
                    <a:pt x="9" y="40"/>
                  </a:cubicBezTo>
                  <a:close/>
                  <a:moveTo>
                    <a:pt x="48" y="41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42" y="48"/>
                    <a:pt x="42" y="48"/>
                    <a:pt x="42" y="48"/>
                  </a:cubicBezTo>
                  <a:lnTo>
                    <a:pt x="48" y="41"/>
                  </a:lnTo>
                  <a:close/>
                  <a:moveTo>
                    <a:pt x="26" y="41"/>
                  </a:moveTo>
                  <a:cubicBezTo>
                    <a:pt x="35" y="41"/>
                    <a:pt x="35" y="41"/>
                    <a:pt x="35" y="41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0" y="48"/>
                    <a:pt x="20" y="48"/>
                    <a:pt x="20" y="48"/>
                  </a:cubicBezTo>
                  <a:lnTo>
                    <a:pt x="26" y="41"/>
                  </a:lnTo>
                  <a:close/>
                  <a:moveTo>
                    <a:pt x="71" y="48"/>
                  </a:moveTo>
                  <a:cubicBezTo>
                    <a:pt x="62" y="48"/>
                    <a:pt x="62" y="48"/>
                    <a:pt x="62" y="48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77" y="41"/>
                    <a:pt x="77" y="41"/>
                    <a:pt x="77" y="41"/>
                  </a:cubicBezTo>
                  <a:lnTo>
                    <a:pt x="71" y="48"/>
                  </a:lnTo>
                  <a:close/>
                  <a:moveTo>
                    <a:pt x="28" y="18"/>
                  </a:moveTo>
                  <a:cubicBezTo>
                    <a:pt x="33" y="23"/>
                    <a:pt x="33" y="23"/>
                    <a:pt x="33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19" y="20"/>
                    <a:pt x="19" y="20"/>
                    <a:pt x="19" y="20"/>
                  </a:cubicBezTo>
                  <a:lnTo>
                    <a:pt x="28" y="18"/>
                  </a:ln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9" name="Freeform 71"/>
            <p:cNvSpPr>
              <a:spLocks noChangeAspect="1"/>
            </p:cNvSpPr>
            <p:nvPr/>
          </p:nvSpPr>
          <p:spPr bwMode="gray">
            <a:xfrm>
              <a:off x="2484545" y="2515244"/>
              <a:ext cx="164995" cy="219600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26" y="0"/>
                </a:cxn>
                <a:cxn ang="0">
                  <a:pos x="26" y="53"/>
                </a:cxn>
                <a:cxn ang="0">
                  <a:pos x="13" y="53"/>
                </a:cxn>
                <a:cxn ang="0">
                  <a:pos x="2" y="70"/>
                </a:cxn>
                <a:cxn ang="0">
                  <a:pos x="21" y="75"/>
                </a:cxn>
                <a:cxn ang="0">
                  <a:pos x="33" y="62"/>
                </a:cxn>
                <a:cxn ang="0">
                  <a:pos x="33" y="18"/>
                </a:cxn>
                <a:cxn ang="0">
                  <a:pos x="44" y="38"/>
                </a:cxn>
                <a:cxn ang="0">
                  <a:pos x="46" y="38"/>
                </a:cxn>
                <a:cxn ang="0">
                  <a:pos x="33" y="0"/>
                </a:cxn>
              </a:cxnLst>
              <a:rect l="0" t="0" r="r" b="b"/>
              <a:pathLst>
                <a:path w="58" h="78">
                  <a:moveTo>
                    <a:pt x="33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23" y="52"/>
                    <a:pt x="18" y="52"/>
                    <a:pt x="13" y="53"/>
                  </a:cubicBezTo>
                  <a:cubicBezTo>
                    <a:pt x="5" y="56"/>
                    <a:pt x="0" y="64"/>
                    <a:pt x="2" y="70"/>
                  </a:cubicBezTo>
                  <a:cubicBezTo>
                    <a:pt x="5" y="76"/>
                    <a:pt x="13" y="78"/>
                    <a:pt x="21" y="75"/>
                  </a:cubicBezTo>
                  <a:cubicBezTo>
                    <a:pt x="29" y="73"/>
                    <a:pt x="33" y="67"/>
                    <a:pt x="33" y="62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44" y="20"/>
                    <a:pt x="45" y="34"/>
                    <a:pt x="44" y="38"/>
                  </a:cubicBezTo>
                  <a:cubicBezTo>
                    <a:pt x="43" y="40"/>
                    <a:pt x="44" y="41"/>
                    <a:pt x="46" y="38"/>
                  </a:cubicBezTo>
                  <a:cubicBezTo>
                    <a:pt x="58" y="19"/>
                    <a:pt x="33" y="11"/>
                    <a:pt x="33" y="0"/>
                  </a:cubicBezTo>
                  <a:close/>
                </a:path>
              </a:pathLst>
            </a:custGeom>
            <a:solidFill>
              <a:srgbClr val="57575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0" name="Freeform 60"/>
            <p:cNvSpPr>
              <a:spLocks noChangeAspect="1" noEditPoints="1"/>
            </p:cNvSpPr>
            <p:nvPr/>
          </p:nvSpPr>
          <p:spPr bwMode="gray">
            <a:xfrm>
              <a:off x="4491525" y="3012386"/>
              <a:ext cx="190015" cy="216000"/>
            </a:xfrm>
            <a:custGeom>
              <a:avLst/>
              <a:gdLst/>
              <a:ahLst/>
              <a:cxnLst>
                <a:cxn ang="0">
                  <a:pos x="57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0" y="66"/>
                </a:cxn>
                <a:cxn ang="0">
                  <a:pos x="8" y="74"/>
                </a:cxn>
                <a:cxn ang="0">
                  <a:pos x="57" y="74"/>
                </a:cxn>
                <a:cxn ang="0">
                  <a:pos x="65" y="66"/>
                </a:cxn>
                <a:cxn ang="0">
                  <a:pos x="65" y="8"/>
                </a:cxn>
                <a:cxn ang="0">
                  <a:pos x="57" y="0"/>
                </a:cxn>
                <a:cxn ang="0">
                  <a:pos x="57" y="66"/>
                </a:cxn>
                <a:cxn ang="0">
                  <a:pos x="8" y="66"/>
                </a:cxn>
                <a:cxn ang="0">
                  <a:pos x="8" y="8"/>
                </a:cxn>
                <a:cxn ang="0">
                  <a:pos x="57" y="8"/>
                </a:cxn>
                <a:cxn ang="0">
                  <a:pos x="57" y="66"/>
                </a:cxn>
                <a:cxn ang="0">
                  <a:pos x="37" y="45"/>
                </a:cxn>
                <a:cxn ang="0">
                  <a:pos x="16" y="45"/>
                </a:cxn>
                <a:cxn ang="0">
                  <a:pos x="16" y="49"/>
                </a:cxn>
                <a:cxn ang="0">
                  <a:pos x="37" y="49"/>
                </a:cxn>
                <a:cxn ang="0">
                  <a:pos x="37" y="45"/>
                </a:cxn>
                <a:cxn ang="0">
                  <a:pos x="49" y="29"/>
                </a:cxn>
                <a:cxn ang="0">
                  <a:pos x="33" y="29"/>
                </a:cxn>
                <a:cxn ang="0">
                  <a:pos x="33" y="33"/>
                </a:cxn>
                <a:cxn ang="0">
                  <a:pos x="49" y="33"/>
                </a:cxn>
                <a:cxn ang="0">
                  <a:pos x="49" y="29"/>
                </a:cxn>
                <a:cxn ang="0">
                  <a:pos x="33" y="25"/>
                </a:cxn>
                <a:cxn ang="0">
                  <a:pos x="49" y="25"/>
                </a:cxn>
                <a:cxn ang="0">
                  <a:pos x="49" y="17"/>
                </a:cxn>
                <a:cxn ang="0">
                  <a:pos x="33" y="17"/>
                </a:cxn>
                <a:cxn ang="0">
                  <a:pos x="33" y="25"/>
                </a:cxn>
                <a:cxn ang="0">
                  <a:pos x="29" y="17"/>
                </a:cxn>
                <a:cxn ang="0">
                  <a:pos x="16" y="17"/>
                </a:cxn>
                <a:cxn ang="0">
                  <a:pos x="16" y="33"/>
                </a:cxn>
                <a:cxn ang="0">
                  <a:pos x="29" y="33"/>
                </a:cxn>
                <a:cxn ang="0">
                  <a:pos x="29" y="17"/>
                </a:cxn>
                <a:cxn ang="0">
                  <a:pos x="25" y="37"/>
                </a:cxn>
                <a:cxn ang="0">
                  <a:pos x="16" y="37"/>
                </a:cxn>
                <a:cxn ang="0">
                  <a:pos x="16" y="41"/>
                </a:cxn>
                <a:cxn ang="0">
                  <a:pos x="25" y="41"/>
                </a:cxn>
                <a:cxn ang="0">
                  <a:pos x="25" y="37"/>
                </a:cxn>
                <a:cxn ang="0">
                  <a:pos x="29" y="41"/>
                </a:cxn>
                <a:cxn ang="0">
                  <a:pos x="49" y="41"/>
                </a:cxn>
                <a:cxn ang="0">
                  <a:pos x="49" y="37"/>
                </a:cxn>
                <a:cxn ang="0">
                  <a:pos x="29" y="37"/>
                </a:cxn>
                <a:cxn ang="0">
                  <a:pos x="29" y="41"/>
                </a:cxn>
                <a:cxn ang="0">
                  <a:pos x="49" y="53"/>
                </a:cxn>
                <a:cxn ang="0">
                  <a:pos x="16" y="53"/>
                </a:cxn>
                <a:cxn ang="0">
                  <a:pos x="16" y="58"/>
                </a:cxn>
                <a:cxn ang="0">
                  <a:pos x="49" y="58"/>
                </a:cxn>
                <a:cxn ang="0">
                  <a:pos x="49" y="53"/>
                </a:cxn>
                <a:cxn ang="0">
                  <a:pos x="41" y="49"/>
                </a:cxn>
                <a:cxn ang="0">
                  <a:pos x="49" y="49"/>
                </a:cxn>
                <a:cxn ang="0">
                  <a:pos x="49" y="45"/>
                </a:cxn>
                <a:cxn ang="0">
                  <a:pos x="41" y="45"/>
                </a:cxn>
                <a:cxn ang="0">
                  <a:pos x="41" y="49"/>
                </a:cxn>
              </a:cxnLst>
              <a:rect l="0" t="0" r="r" b="b"/>
              <a:pathLst>
                <a:path w="65" h="74">
                  <a:moveTo>
                    <a:pt x="57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0"/>
                    <a:pt x="4" y="74"/>
                    <a:pt x="8" y="74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62" y="74"/>
                    <a:pt x="65" y="70"/>
                    <a:pt x="65" y="66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5" y="4"/>
                    <a:pt x="62" y="0"/>
                    <a:pt x="57" y="0"/>
                  </a:cubicBezTo>
                  <a:close/>
                  <a:moveTo>
                    <a:pt x="57" y="66"/>
                  </a:moveTo>
                  <a:cubicBezTo>
                    <a:pt x="8" y="66"/>
                    <a:pt x="8" y="66"/>
                    <a:pt x="8" y="66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57" y="8"/>
                    <a:pt x="57" y="8"/>
                    <a:pt x="57" y="8"/>
                  </a:cubicBezTo>
                  <a:lnTo>
                    <a:pt x="57" y="66"/>
                  </a:lnTo>
                  <a:close/>
                  <a:moveTo>
                    <a:pt x="37" y="45"/>
                  </a:moveTo>
                  <a:cubicBezTo>
                    <a:pt x="16" y="45"/>
                    <a:pt x="16" y="45"/>
                    <a:pt x="16" y="45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37" y="49"/>
                    <a:pt x="37" y="49"/>
                    <a:pt x="37" y="49"/>
                  </a:cubicBezTo>
                  <a:lnTo>
                    <a:pt x="37" y="45"/>
                  </a:lnTo>
                  <a:close/>
                  <a:moveTo>
                    <a:pt x="49" y="29"/>
                  </a:moveTo>
                  <a:cubicBezTo>
                    <a:pt x="33" y="29"/>
                    <a:pt x="33" y="29"/>
                    <a:pt x="33" y="29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49" y="33"/>
                    <a:pt x="49" y="33"/>
                    <a:pt x="49" y="33"/>
                  </a:cubicBezTo>
                  <a:lnTo>
                    <a:pt x="49" y="29"/>
                  </a:lnTo>
                  <a:close/>
                  <a:moveTo>
                    <a:pt x="33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33" y="17"/>
                    <a:pt x="33" y="17"/>
                    <a:pt x="33" y="17"/>
                  </a:cubicBezTo>
                  <a:lnTo>
                    <a:pt x="33" y="25"/>
                  </a:lnTo>
                  <a:close/>
                  <a:moveTo>
                    <a:pt x="29" y="17"/>
                  </a:moveTo>
                  <a:cubicBezTo>
                    <a:pt x="16" y="17"/>
                    <a:pt x="16" y="17"/>
                    <a:pt x="16" y="17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9" y="33"/>
                    <a:pt x="29" y="33"/>
                    <a:pt x="29" y="33"/>
                  </a:cubicBezTo>
                  <a:lnTo>
                    <a:pt x="29" y="17"/>
                  </a:lnTo>
                  <a:close/>
                  <a:moveTo>
                    <a:pt x="25" y="37"/>
                  </a:moveTo>
                  <a:cubicBezTo>
                    <a:pt x="16" y="37"/>
                    <a:pt x="16" y="37"/>
                    <a:pt x="16" y="37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25" y="41"/>
                    <a:pt x="25" y="41"/>
                    <a:pt x="25" y="41"/>
                  </a:cubicBezTo>
                  <a:lnTo>
                    <a:pt x="25" y="37"/>
                  </a:lnTo>
                  <a:close/>
                  <a:moveTo>
                    <a:pt x="29" y="41"/>
                  </a:moveTo>
                  <a:cubicBezTo>
                    <a:pt x="49" y="41"/>
                    <a:pt x="49" y="41"/>
                    <a:pt x="49" y="41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29" y="37"/>
                    <a:pt x="29" y="37"/>
                    <a:pt x="29" y="37"/>
                  </a:cubicBezTo>
                  <a:lnTo>
                    <a:pt x="29" y="41"/>
                  </a:lnTo>
                  <a:close/>
                  <a:moveTo>
                    <a:pt x="49" y="53"/>
                  </a:moveTo>
                  <a:cubicBezTo>
                    <a:pt x="16" y="53"/>
                    <a:pt x="16" y="53"/>
                    <a:pt x="16" y="53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49" y="58"/>
                    <a:pt x="49" y="58"/>
                    <a:pt x="49" y="58"/>
                  </a:cubicBezTo>
                  <a:lnTo>
                    <a:pt x="49" y="53"/>
                  </a:lnTo>
                  <a:close/>
                  <a:moveTo>
                    <a:pt x="41" y="49"/>
                  </a:moveTo>
                  <a:cubicBezTo>
                    <a:pt x="49" y="49"/>
                    <a:pt x="49" y="49"/>
                    <a:pt x="49" y="49"/>
                  </a:cubicBezTo>
                  <a:cubicBezTo>
                    <a:pt x="49" y="45"/>
                    <a:pt x="49" y="45"/>
                    <a:pt x="49" y="45"/>
                  </a:cubicBezTo>
                  <a:cubicBezTo>
                    <a:pt x="41" y="45"/>
                    <a:pt x="41" y="45"/>
                    <a:pt x="41" y="45"/>
                  </a:cubicBezTo>
                  <a:lnTo>
                    <a:pt x="41" y="49"/>
                  </a:ln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1" name="Freeform 5"/>
            <p:cNvSpPr>
              <a:spLocks noChangeAspect="1" noEditPoints="1"/>
            </p:cNvSpPr>
            <p:nvPr/>
          </p:nvSpPr>
          <p:spPr bwMode="gray">
            <a:xfrm>
              <a:off x="418560" y="2974586"/>
              <a:ext cx="276939" cy="291600"/>
            </a:xfrm>
            <a:custGeom>
              <a:avLst/>
              <a:gdLst/>
              <a:ahLst/>
              <a:cxnLst>
                <a:cxn ang="0">
                  <a:pos x="84" y="0"/>
                </a:cxn>
                <a:cxn ang="0">
                  <a:pos x="1" y="95"/>
                </a:cxn>
                <a:cxn ang="0">
                  <a:pos x="84" y="80"/>
                </a:cxn>
                <a:cxn ang="0">
                  <a:pos x="80" y="76"/>
                </a:cxn>
                <a:cxn ang="0">
                  <a:pos x="82" y="74"/>
                </a:cxn>
                <a:cxn ang="0">
                  <a:pos x="82" y="69"/>
                </a:cxn>
                <a:cxn ang="0">
                  <a:pos x="78" y="80"/>
                </a:cxn>
                <a:cxn ang="0">
                  <a:pos x="73" y="76"/>
                </a:cxn>
                <a:cxn ang="0">
                  <a:pos x="75" y="69"/>
                </a:cxn>
                <a:cxn ang="0">
                  <a:pos x="13" y="7"/>
                </a:cxn>
                <a:cxn ang="0">
                  <a:pos x="80" y="55"/>
                </a:cxn>
                <a:cxn ang="0">
                  <a:pos x="69" y="74"/>
                </a:cxn>
                <a:cxn ang="0">
                  <a:pos x="68" y="69"/>
                </a:cxn>
                <a:cxn ang="0">
                  <a:pos x="64" y="77"/>
                </a:cxn>
                <a:cxn ang="0">
                  <a:pos x="59" y="77"/>
                </a:cxn>
                <a:cxn ang="0">
                  <a:pos x="58" y="69"/>
                </a:cxn>
                <a:cxn ang="0">
                  <a:pos x="59" y="74"/>
                </a:cxn>
                <a:cxn ang="0">
                  <a:pos x="57" y="81"/>
                </a:cxn>
                <a:cxn ang="0">
                  <a:pos x="52" y="74"/>
                </a:cxn>
                <a:cxn ang="0">
                  <a:pos x="56" y="70"/>
                </a:cxn>
                <a:cxn ang="0">
                  <a:pos x="46" y="76"/>
                </a:cxn>
                <a:cxn ang="0">
                  <a:pos x="46" y="81"/>
                </a:cxn>
                <a:cxn ang="0">
                  <a:pos x="45" y="70"/>
                </a:cxn>
                <a:cxn ang="0">
                  <a:pos x="49" y="74"/>
                </a:cxn>
                <a:cxn ang="0">
                  <a:pos x="44" y="77"/>
                </a:cxn>
                <a:cxn ang="0">
                  <a:pos x="39" y="77"/>
                </a:cxn>
                <a:cxn ang="0">
                  <a:pos x="43" y="70"/>
                </a:cxn>
                <a:cxn ang="0">
                  <a:pos x="32" y="77"/>
                </a:cxn>
                <a:cxn ang="0">
                  <a:pos x="36" y="81"/>
                </a:cxn>
                <a:cxn ang="0">
                  <a:pos x="31" y="70"/>
                </a:cxn>
                <a:cxn ang="0">
                  <a:pos x="36" y="74"/>
                </a:cxn>
                <a:cxn ang="0">
                  <a:pos x="30" y="76"/>
                </a:cxn>
                <a:cxn ang="0">
                  <a:pos x="25" y="80"/>
                </a:cxn>
                <a:cxn ang="0">
                  <a:pos x="29" y="69"/>
                </a:cxn>
                <a:cxn ang="0">
                  <a:pos x="25" y="73"/>
                </a:cxn>
                <a:cxn ang="0">
                  <a:pos x="18" y="73"/>
                </a:cxn>
                <a:cxn ang="0">
                  <a:pos x="12" y="70"/>
                </a:cxn>
                <a:cxn ang="0">
                  <a:pos x="16" y="74"/>
                </a:cxn>
                <a:cxn ang="0">
                  <a:pos x="12" y="76"/>
                </a:cxn>
                <a:cxn ang="0">
                  <a:pos x="11" y="81"/>
                </a:cxn>
                <a:cxn ang="0">
                  <a:pos x="11" y="87"/>
                </a:cxn>
                <a:cxn ang="0">
                  <a:pos x="14" y="83"/>
                </a:cxn>
                <a:cxn ang="0">
                  <a:pos x="16" y="87"/>
                </a:cxn>
                <a:cxn ang="0">
                  <a:pos x="22" y="87"/>
                </a:cxn>
                <a:cxn ang="0">
                  <a:pos x="19" y="76"/>
                </a:cxn>
                <a:cxn ang="0">
                  <a:pos x="65" y="87"/>
                </a:cxn>
                <a:cxn ang="0">
                  <a:pos x="65" y="82"/>
                </a:cxn>
                <a:cxn ang="0">
                  <a:pos x="65" y="77"/>
                </a:cxn>
                <a:cxn ang="0">
                  <a:pos x="70" y="81"/>
                </a:cxn>
                <a:cxn ang="0">
                  <a:pos x="68" y="87"/>
                </a:cxn>
                <a:cxn ang="0">
                  <a:pos x="74" y="87"/>
                </a:cxn>
                <a:cxn ang="0">
                  <a:pos x="75" y="83"/>
                </a:cxn>
                <a:cxn ang="0">
                  <a:pos x="84" y="87"/>
                </a:cxn>
              </a:cxnLst>
              <a:rect l="0" t="0" r="r" b="b"/>
              <a:pathLst>
                <a:path w="95" h="100">
                  <a:moveTo>
                    <a:pt x="94" y="95"/>
                  </a:moveTo>
                  <a:cubicBezTo>
                    <a:pt x="88" y="61"/>
                    <a:pt x="88" y="61"/>
                    <a:pt x="88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88" y="3"/>
                    <a:pt x="86" y="0"/>
                    <a:pt x="84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6" y="3"/>
                    <a:pt x="6" y="6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1" y="95"/>
                    <a:pt x="1" y="95"/>
                    <a:pt x="1" y="95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93" y="100"/>
                    <a:pt x="95" y="97"/>
                    <a:pt x="94" y="95"/>
                  </a:cubicBezTo>
                  <a:close/>
                  <a:moveTo>
                    <a:pt x="83" y="77"/>
                  </a:moveTo>
                  <a:cubicBezTo>
                    <a:pt x="84" y="80"/>
                    <a:pt x="84" y="80"/>
                    <a:pt x="84" y="80"/>
                  </a:cubicBezTo>
                  <a:cubicBezTo>
                    <a:pt x="84" y="80"/>
                    <a:pt x="84" y="81"/>
                    <a:pt x="83" y="81"/>
                  </a:cubicBezTo>
                  <a:cubicBezTo>
                    <a:pt x="80" y="81"/>
                    <a:pt x="80" y="81"/>
                    <a:pt x="80" y="81"/>
                  </a:cubicBezTo>
                  <a:cubicBezTo>
                    <a:pt x="80" y="81"/>
                    <a:pt x="79" y="80"/>
                    <a:pt x="79" y="80"/>
                  </a:cubicBezTo>
                  <a:cubicBezTo>
                    <a:pt x="79" y="77"/>
                    <a:pt x="79" y="77"/>
                    <a:pt x="79" y="77"/>
                  </a:cubicBezTo>
                  <a:cubicBezTo>
                    <a:pt x="79" y="76"/>
                    <a:pt x="79" y="76"/>
                    <a:pt x="80" y="76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3" y="76"/>
                    <a:pt x="83" y="76"/>
                    <a:pt x="83" y="77"/>
                  </a:cubicBezTo>
                  <a:close/>
                  <a:moveTo>
                    <a:pt x="83" y="70"/>
                  </a:moveTo>
                  <a:cubicBezTo>
                    <a:pt x="83" y="73"/>
                    <a:pt x="83" y="73"/>
                    <a:pt x="83" y="73"/>
                  </a:cubicBezTo>
                  <a:cubicBezTo>
                    <a:pt x="83" y="74"/>
                    <a:pt x="83" y="74"/>
                    <a:pt x="82" y="74"/>
                  </a:cubicBezTo>
                  <a:cubicBezTo>
                    <a:pt x="79" y="74"/>
                    <a:pt x="79" y="74"/>
                    <a:pt x="79" y="74"/>
                  </a:cubicBezTo>
                  <a:cubicBezTo>
                    <a:pt x="78" y="74"/>
                    <a:pt x="78" y="74"/>
                    <a:pt x="78" y="73"/>
                  </a:cubicBezTo>
                  <a:cubicBezTo>
                    <a:pt x="78" y="70"/>
                    <a:pt x="78" y="70"/>
                    <a:pt x="78" y="70"/>
                  </a:cubicBezTo>
                  <a:cubicBezTo>
                    <a:pt x="78" y="70"/>
                    <a:pt x="78" y="69"/>
                    <a:pt x="78" y="69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2" y="69"/>
                    <a:pt x="83" y="70"/>
                    <a:pt x="83" y="70"/>
                  </a:cubicBezTo>
                  <a:close/>
                  <a:moveTo>
                    <a:pt x="73" y="76"/>
                  </a:moveTo>
                  <a:cubicBezTo>
                    <a:pt x="77" y="76"/>
                    <a:pt x="77" y="76"/>
                    <a:pt x="77" y="76"/>
                  </a:cubicBezTo>
                  <a:cubicBezTo>
                    <a:pt x="77" y="76"/>
                    <a:pt x="77" y="76"/>
                    <a:pt x="77" y="77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8" y="80"/>
                    <a:pt x="77" y="81"/>
                    <a:pt x="77" y="81"/>
                  </a:cubicBezTo>
                  <a:cubicBezTo>
                    <a:pt x="73" y="81"/>
                    <a:pt x="73" y="81"/>
                    <a:pt x="73" y="81"/>
                  </a:cubicBezTo>
                  <a:cubicBezTo>
                    <a:pt x="73" y="81"/>
                    <a:pt x="72" y="80"/>
                    <a:pt x="72" y="80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6"/>
                    <a:pt x="72" y="76"/>
                    <a:pt x="73" y="76"/>
                  </a:cubicBezTo>
                  <a:close/>
                  <a:moveTo>
                    <a:pt x="72" y="74"/>
                  </a:moveTo>
                  <a:cubicBezTo>
                    <a:pt x="71" y="74"/>
                    <a:pt x="71" y="74"/>
                    <a:pt x="71" y="73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71" y="70"/>
                    <a:pt x="71" y="69"/>
                    <a:pt x="72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6" y="70"/>
                    <a:pt x="76" y="70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4"/>
                    <a:pt x="76" y="74"/>
                    <a:pt x="75" y="74"/>
                  </a:cubicBezTo>
                  <a:lnTo>
                    <a:pt x="72" y="74"/>
                  </a:lnTo>
                  <a:close/>
                  <a:moveTo>
                    <a:pt x="13" y="7"/>
                  </a:moveTo>
                  <a:cubicBezTo>
                    <a:pt x="13" y="7"/>
                    <a:pt x="13" y="6"/>
                    <a:pt x="14" y="6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1" y="6"/>
                    <a:pt x="81" y="7"/>
                    <a:pt x="81" y="7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1" y="55"/>
                    <a:pt x="80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3" y="55"/>
                    <a:pt x="13" y="55"/>
                    <a:pt x="13" y="54"/>
                  </a:cubicBezTo>
                  <a:lnTo>
                    <a:pt x="13" y="7"/>
                  </a:lnTo>
                  <a:close/>
                  <a:moveTo>
                    <a:pt x="70" y="73"/>
                  </a:moveTo>
                  <a:cubicBezTo>
                    <a:pt x="70" y="74"/>
                    <a:pt x="69" y="74"/>
                    <a:pt x="69" y="74"/>
                  </a:cubicBezTo>
                  <a:cubicBezTo>
                    <a:pt x="65" y="74"/>
                    <a:pt x="65" y="74"/>
                    <a:pt x="65" y="74"/>
                  </a:cubicBezTo>
                  <a:cubicBezTo>
                    <a:pt x="65" y="74"/>
                    <a:pt x="64" y="74"/>
                    <a:pt x="64" y="7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5" y="69"/>
                    <a:pt x="65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9" y="69"/>
                    <a:pt x="69" y="70"/>
                    <a:pt x="69" y="70"/>
                  </a:cubicBezTo>
                  <a:lnTo>
                    <a:pt x="70" y="73"/>
                  </a:lnTo>
                  <a:close/>
                  <a:moveTo>
                    <a:pt x="60" y="76"/>
                  </a:moveTo>
                  <a:cubicBezTo>
                    <a:pt x="63" y="76"/>
                    <a:pt x="63" y="76"/>
                    <a:pt x="63" y="76"/>
                  </a:cubicBezTo>
                  <a:cubicBezTo>
                    <a:pt x="64" y="76"/>
                    <a:pt x="64" y="76"/>
                    <a:pt x="64" y="77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0"/>
                    <a:pt x="64" y="81"/>
                    <a:pt x="63" y="81"/>
                  </a:cubicBezTo>
                  <a:cubicBezTo>
                    <a:pt x="60" y="81"/>
                    <a:pt x="60" y="81"/>
                    <a:pt x="60" y="81"/>
                  </a:cubicBezTo>
                  <a:cubicBezTo>
                    <a:pt x="59" y="81"/>
                    <a:pt x="59" y="80"/>
                    <a:pt x="59" y="8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9" y="76"/>
                    <a:pt x="59" y="76"/>
                    <a:pt x="60" y="76"/>
                  </a:cubicBezTo>
                  <a:close/>
                  <a:moveTo>
                    <a:pt x="59" y="74"/>
                  </a:moveTo>
                  <a:cubicBezTo>
                    <a:pt x="58" y="74"/>
                    <a:pt x="58" y="74"/>
                    <a:pt x="58" y="73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8" y="70"/>
                    <a:pt x="58" y="69"/>
                    <a:pt x="58" y="69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62" y="69"/>
                    <a:pt x="63" y="70"/>
                    <a:pt x="63" y="70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4"/>
                    <a:pt x="63" y="74"/>
                    <a:pt x="62" y="74"/>
                  </a:cubicBezTo>
                  <a:lnTo>
                    <a:pt x="59" y="74"/>
                  </a:lnTo>
                  <a:close/>
                  <a:moveTo>
                    <a:pt x="53" y="76"/>
                  </a:moveTo>
                  <a:cubicBezTo>
                    <a:pt x="56" y="76"/>
                    <a:pt x="56" y="76"/>
                    <a:pt x="56" y="76"/>
                  </a:cubicBezTo>
                  <a:cubicBezTo>
                    <a:pt x="57" y="76"/>
                    <a:pt x="57" y="76"/>
                    <a:pt x="57" y="77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1"/>
                    <a:pt x="57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2" y="81"/>
                    <a:pt x="52" y="80"/>
                    <a:pt x="52" y="80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6"/>
                    <a:pt x="52" y="76"/>
                    <a:pt x="53" y="76"/>
                  </a:cubicBezTo>
                  <a:close/>
                  <a:moveTo>
                    <a:pt x="52" y="74"/>
                  </a:moveTo>
                  <a:cubicBezTo>
                    <a:pt x="52" y="74"/>
                    <a:pt x="51" y="74"/>
                    <a:pt x="51" y="73"/>
                  </a:cubicBezTo>
                  <a:cubicBezTo>
                    <a:pt x="51" y="70"/>
                    <a:pt x="51" y="70"/>
                    <a:pt x="51" y="70"/>
                  </a:cubicBezTo>
                  <a:cubicBezTo>
                    <a:pt x="51" y="70"/>
                    <a:pt x="51" y="69"/>
                    <a:pt x="52" y="69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6" y="69"/>
                    <a:pt x="56" y="70"/>
                    <a:pt x="56" y="70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4"/>
                    <a:pt x="56" y="74"/>
                    <a:pt x="56" y="74"/>
                  </a:cubicBezTo>
                  <a:lnTo>
                    <a:pt x="52" y="74"/>
                  </a:lnTo>
                  <a:close/>
                  <a:moveTo>
                    <a:pt x="45" y="77"/>
                  </a:moveTo>
                  <a:cubicBezTo>
                    <a:pt x="45" y="76"/>
                    <a:pt x="46" y="76"/>
                    <a:pt x="46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6"/>
                    <a:pt x="51" y="76"/>
                    <a:pt x="51" y="77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1" y="80"/>
                    <a:pt x="50" y="81"/>
                    <a:pt x="50" y="81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5" y="80"/>
                    <a:pt x="45" y="80"/>
                  </a:cubicBezTo>
                  <a:lnTo>
                    <a:pt x="45" y="77"/>
                  </a:lnTo>
                  <a:close/>
                  <a:moveTo>
                    <a:pt x="45" y="74"/>
                  </a:moveTo>
                  <a:cubicBezTo>
                    <a:pt x="45" y="74"/>
                    <a:pt x="44" y="74"/>
                    <a:pt x="44" y="73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69"/>
                    <a:pt x="45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50" y="70"/>
                    <a:pt x="50" y="70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4"/>
                    <a:pt x="49" y="74"/>
                    <a:pt x="49" y="74"/>
                  </a:cubicBezTo>
                  <a:lnTo>
                    <a:pt x="45" y="74"/>
                  </a:lnTo>
                  <a:close/>
                  <a:moveTo>
                    <a:pt x="39" y="77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3" y="76"/>
                    <a:pt x="43" y="76"/>
                    <a:pt x="43" y="76"/>
                  </a:cubicBezTo>
                  <a:cubicBezTo>
                    <a:pt x="43" y="76"/>
                    <a:pt x="44" y="76"/>
                    <a:pt x="44" y="77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4" y="80"/>
                    <a:pt x="43" y="81"/>
                    <a:pt x="43" y="81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39" y="81"/>
                    <a:pt x="39" y="80"/>
                    <a:pt x="39" y="80"/>
                  </a:cubicBezTo>
                  <a:lnTo>
                    <a:pt x="39" y="77"/>
                  </a:lnTo>
                  <a:close/>
                  <a:moveTo>
                    <a:pt x="38" y="73"/>
                  </a:moveTo>
                  <a:cubicBezTo>
                    <a:pt x="38" y="70"/>
                    <a:pt x="38" y="70"/>
                    <a:pt x="38" y="70"/>
                  </a:cubicBezTo>
                  <a:cubicBezTo>
                    <a:pt x="38" y="70"/>
                    <a:pt x="38" y="69"/>
                    <a:pt x="39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3" y="69"/>
                    <a:pt x="43" y="70"/>
                    <a:pt x="43" y="70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4"/>
                    <a:pt x="43" y="74"/>
                    <a:pt x="42" y="74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38" y="74"/>
                    <a:pt x="38" y="74"/>
                    <a:pt x="38" y="73"/>
                  </a:cubicBezTo>
                  <a:close/>
                  <a:moveTo>
                    <a:pt x="32" y="77"/>
                  </a:moveTo>
                  <a:cubicBezTo>
                    <a:pt x="32" y="76"/>
                    <a:pt x="32" y="76"/>
                    <a:pt x="33" y="76"/>
                  </a:cubicBezTo>
                  <a:cubicBezTo>
                    <a:pt x="36" y="76"/>
                    <a:pt x="36" y="76"/>
                    <a:pt x="36" y="76"/>
                  </a:cubicBezTo>
                  <a:cubicBezTo>
                    <a:pt x="37" y="76"/>
                    <a:pt x="37" y="76"/>
                    <a:pt x="37" y="77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37" y="80"/>
                    <a:pt x="37" y="81"/>
                    <a:pt x="36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2" y="81"/>
                    <a:pt x="32" y="80"/>
                    <a:pt x="32" y="80"/>
                  </a:cubicBezTo>
                  <a:lnTo>
                    <a:pt x="32" y="77"/>
                  </a:lnTo>
                  <a:close/>
                  <a:moveTo>
                    <a:pt x="31" y="73"/>
                  </a:move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2" y="69"/>
                    <a:pt x="32" y="69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36" y="69"/>
                    <a:pt x="37" y="70"/>
                    <a:pt x="37" y="70"/>
                  </a:cubicBezTo>
                  <a:cubicBezTo>
                    <a:pt x="36" y="73"/>
                    <a:pt x="36" y="73"/>
                    <a:pt x="36" y="73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2" y="74"/>
                    <a:pt x="31" y="74"/>
                    <a:pt x="31" y="73"/>
                  </a:cubicBezTo>
                  <a:close/>
                  <a:moveTo>
                    <a:pt x="25" y="77"/>
                  </a:moveTo>
                  <a:cubicBezTo>
                    <a:pt x="25" y="76"/>
                    <a:pt x="26" y="76"/>
                    <a:pt x="26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7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30" y="80"/>
                    <a:pt x="30" y="81"/>
                    <a:pt x="29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5" y="81"/>
                    <a:pt x="25" y="80"/>
                    <a:pt x="25" y="80"/>
                  </a:cubicBezTo>
                  <a:lnTo>
                    <a:pt x="25" y="77"/>
                  </a:lnTo>
                  <a:close/>
                  <a:moveTo>
                    <a:pt x="25" y="73"/>
                  </a:moveTo>
                  <a:cubicBezTo>
                    <a:pt x="25" y="70"/>
                    <a:pt x="25" y="70"/>
                    <a:pt x="25" y="70"/>
                  </a:cubicBezTo>
                  <a:cubicBezTo>
                    <a:pt x="25" y="70"/>
                    <a:pt x="25" y="69"/>
                    <a:pt x="26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30" y="69"/>
                    <a:pt x="30" y="70"/>
                    <a:pt x="30" y="70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4"/>
                    <a:pt x="29" y="74"/>
                    <a:pt x="29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3"/>
                  </a:cubicBezTo>
                  <a:close/>
                  <a:moveTo>
                    <a:pt x="23" y="70"/>
                  </a:moveTo>
                  <a:cubicBezTo>
                    <a:pt x="23" y="73"/>
                    <a:pt x="23" y="73"/>
                    <a:pt x="23" y="73"/>
                  </a:cubicBezTo>
                  <a:cubicBezTo>
                    <a:pt x="23" y="74"/>
                    <a:pt x="23" y="74"/>
                    <a:pt x="22" y="74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18" y="74"/>
                    <a:pt x="18" y="74"/>
                    <a:pt x="18" y="73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70"/>
                    <a:pt x="19" y="69"/>
                    <a:pt x="19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70"/>
                    <a:pt x="23" y="70"/>
                  </a:cubicBezTo>
                  <a:close/>
                  <a:moveTo>
                    <a:pt x="12" y="70"/>
                  </a:moveTo>
                  <a:cubicBezTo>
                    <a:pt x="12" y="70"/>
                    <a:pt x="12" y="69"/>
                    <a:pt x="13" y="69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7" y="69"/>
                    <a:pt x="17" y="70"/>
                    <a:pt x="17" y="70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6" y="74"/>
                    <a:pt x="16" y="74"/>
                    <a:pt x="16" y="74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74"/>
                    <a:pt x="11" y="74"/>
                    <a:pt x="11" y="73"/>
                  </a:cubicBezTo>
                  <a:lnTo>
                    <a:pt x="12" y="70"/>
                  </a:lnTo>
                  <a:close/>
                  <a:moveTo>
                    <a:pt x="11" y="77"/>
                  </a:moveTo>
                  <a:cubicBezTo>
                    <a:pt x="11" y="76"/>
                    <a:pt x="11" y="76"/>
                    <a:pt x="12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7" y="76"/>
                    <a:pt x="17" y="76"/>
                    <a:pt x="17" y="77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16" y="81"/>
                    <a:pt x="16" y="81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1" y="81"/>
                    <a:pt x="11" y="80"/>
                    <a:pt x="11" y="80"/>
                  </a:cubicBezTo>
                  <a:lnTo>
                    <a:pt x="11" y="77"/>
                  </a:lnTo>
                  <a:close/>
                  <a:moveTo>
                    <a:pt x="14" y="87"/>
                  </a:moveTo>
                  <a:cubicBezTo>
                    <a:pt x="14" y="87"/>
                    <a:pt x="14" y="87"/>
                    <a:pt x="13" y="87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0" y="83"/>
                    <a:pt x="11" y="82"/>
                    <a:pt x="11" y="82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4" y="82"/>
                    <a:pt x="14" y="83"/>
                    <a:pt x="14" y="83"/>
                  </a:cubicBezTo>
                  <a:lnTo>
                    <a:pt x="14" y="87"/>
                  </a:lnTo>
                  <a:close/>
                  <a:moveTo>
                    <a:pt x="22" y="87"/>
                  </a:moveTo>
                  <a:cubicBezTo>
                    <a:pt x="22" y="87"/>
                    <a:pt x="21" y="87"/>
                    <a:pt x="21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2"/>
                    <a:pt x="17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2" y="82"/>
                    <a:pt x="22" y="83"/>
                    <a:pt x="22" y="83"/>
                  </a:cubicBezTo>
                  <a:lnTo>
                    <a:pt x="22" y="87"/>
                  </a:lnTo>
                  <a:close/>
                  <a:moveTo>
                    <a:pt x="23" y="81"/>
                  </a:moveTo>
                  <a:cubicBezTo>
                    <a:pt x="19" y="81"/>
                    <a:pt x="19" y="81"/>
                    <a:pt x="19" y="81"/>
                  </a:cubicBezTo>
                  <a:cubicBezTo>
                    <a:pt x="18" y="81"/>
                    <a:pt x="18" y="80"/>
                    <a:pt x="18" y="80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19" y="76"/>
                    <a:pt x="19" y="76"/>
                    <a:pt x="19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4" y="76"/>
                    <a:pt x="24" y="77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23" y="80"/>
                    <a:pt x="23" y="81"/>
                    <a:pt x="23" y="81"/>
                  </a:cubicBezTo>
                  <a:close/>
                  <a:moveTo>
                    <a:pt x="65" y="87"/>
                  </a:moveTo>
                  <a:cubicBezTo>
                    <a:pt x="24" y="87"/>
                    <a:pt x="24" y="87"/>
                    <a:pt x="24" y="87"/>
                  </a:cubicBezTo>
                  <a:cubicBezTo>
                    <a:pt x="24" y="87"/>
                    <a:pt x="23" y="87"/>
                    <a:pt x="23" y="87"/>
                  </a:cubicBezTo>
                  <a:cubicBezTo>
                    <a:pt x="23" y="83"/>
                    <a:pt x="23" y="83"/>
                    <a:pt x="23" y="83"/>
                  </a:cubicBezTo>
                  <a:cubicBezTo>
                    <a:pt x="24" y="83"/>
                    <a:pt x="24" y="82"/>
                    <a:pt x="24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6" y="82"/>
                    <a:pt x="66" y="83"/>
                    <a:pt x="66" y="83"/>
                  </a:cubicBezTo>
                  <a:cubicBezTo>
                    <a:pt x="66" y="87"/>
                    <a:pt x="66" y="87"/>
                    <a:pt x="66" y="87"/>
                  </a:cubicBezTo>
                  <a:cubicBezTo>
                    <a:pt x="66" y="87"/>
                    <a:pt x="66" y="87"/>
                    <a:pt x="65" y="87"/>
                  </a:cubicBezTo>
                  <a:close/>
                  <a:moveTo>
                    <a:pt x="66" y="80"/>
                  </a:moveTo>
                  <a:cubicBezTo>
                    <a:pt x="65" y="77"/>
                    <a:pt x="65" y="77"/>
                    <a:pt x="65" y="77"/>
                  </a:cubicBezTo>
                  <a:cubicBezTo>
                    <a:pt x="65" y="76"/>
                    <a:pt x="66" y="76"/>
                    <a:pt x="66" y="76"/>
                  </a:cubicBezTo>
                  <a:cubicBezTo>
                    <a:pt x="70" y="76"/>
                    <a:pt x="70" y="76"/>
                    <a:pt x="70" y="76"/>
                  </a:cubicBezTo>
                  <a:cubicBezTo>
                    <a:pt x="70" y="76"/>
                    <a:pt x="71" y="76"/>
                    <a:pt x="71" y="77"/>
                  </a:cubicBezTo>
                  <a:cubicBezTo>
                    <a:pt x="71" y="80"/>
                    <a:pt x="71" y="80"/>
                    <a:pt x="71" y="80"/>
                  </a:cubicBezTo>
                  <a:cubicBezTo>
                    <a:pt x="71" y="80"/>
                    <a:pt x="71" y="81"/>
                    <a:pt x="70" y="81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6" y="81"/>
                    <a:pt x="66" y="80"/>
                    <a:pt x="66" y="80"/>
                  </a:cubicBezTo>
                  <a:close/>
                  <a:moveTo>
                    <a:pt x="73" y="87"/>
                  </a:moveTo>
                  <a:cubicBezTo>
                    <a:pt x="69" y="87"/>
                    <a:pt x="69" y="87"/>
                    <a:pt x="69" y="87"/>
                  </a:cubicBezTo>
                  <a:cubicBezTo>
                    <a:pt x="68" y="87"/>
                    <a:pt x="68" y="87"/>
                    <a:pt x="68" y="87"/>
                  </a:cubicBezTo>
                  <a:cubicBezTo>
                    <a:pt x="68" y="83"/>
                    <a:pt x="68" y="83"/>
                    <a:pt x="68" y="83"/>
                  </a:cubicBezTo>
                  <a:cubicBezTo>
                    <a:pt x="68" y="83"/>
                    <a:pt x="68" y="82"/>
                    <a:pt x="68" y="82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73" y="82"/>
                    <a:pt x="74" y="83"/>
                    <a:pt x="74" y="83"/>
                  </a:cubicBezTo>
                  <a:cubicBezTo>
                    <a:pt x="74" y="87"/>
                    <a:pt x="74" y="87"/>
                    <a:pt x="74" y="87"/>
                  </a:cubicBezTo>
                  <a:cubicBezTo>
                    <a:pt x="74" y="87"/>
                    <a:pt x="74" y="87"/>
                    <a:pt x="73" y="87"/>
                  </a:cubicBezTo>
                  <a:close/>
                  <a:moveTo>
                    <a:pt x="84" y="87"/>
                  </a:moveTo>
                  <a:cubicBezTo>
                    <a:pt x="76" y="87"/>
                    <a:pt x="76" y="87"/>
                    <a:pt x="76" y="87"/>
                  </a:cubicBezTo>
                  <a:cubicBezTo>
                    <a:pt x="76" y="87"/>
                    <a:pt x="76" y="87"/>
                    <a:pt x="76" y="87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5" y="83"/>
                    <a:pt x="75" y="82"/>
                    <a:pt x="76" y="82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4" y="82"/>
                    <a:pt x="84" y="83"/>
                    <a:pt x="84" y="83"/>
                  </a:cubicBezTo>
                  <a:cubicBezTo>
                    <a:pt x="85" y="87"/>
                    <a:pt x="85" y="87"/>
                    <a:pt x="85" y="87"/>
                  </a:cubicBezTo>
                  <a:cubicBezTo>
                    <a:pt x="85" y="87"/>
                    <a:pt x="84" y="87"/>
                    <a:pt x="84" y="87"/>
                  </a:cubicBez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2" name="Freeform 9"/>
            <p:cNvSpPr>
              <a:spLocks noChangeAspect="1" noEditPoints="1"/>
            </p:cNvSpPr>
            <p:nvPr/>
          </p:nvSpPr>
          <p:spPr bwMode="gray">
            <a:xfrm>
              <a:off x="949632" y="3046696"/>
              <a:ext cx="244800" cy="14738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43"/>
                </a:cxn>
                <a:cxn ang="0">
                  <a:pos x="76" y="49"/>
                </a:cxn>
                <a:cxn ang="0">
                  <a:pos x="82" y="5"/>
                </a:cxn>
                <a:cxn ang="0">
                  <a:pos x="45" y="8"/>
                </a:cxn>
                <a:cxn ang="0">
                  <a:pos x="53" y="16"/>
                </a:cxn>
                <a:cxn ang="0">
                  <a:pos x="45" y="8"/>
                </a:cxn>
                <a:cxn ang="0">
                  <a:pos x="57" y="28"/>
                </a:cxn>
                <a:cxn ang="0">
                  <a:pos x="49" y="20"/>
                </a:cxn>
                <a:cxn ang="0">
                  <a:pos x="33" y="8"/>
                </a:cxn>
                <a:cxn ang="0">
                  <a:pos x="41" y="16"/>
                </a:cxn>
                <a:cxn ang="0">
                  <a:pos x="33" y="8"/>
                </a:cxn>
                <a:cxn ang="0">
                  <a:pos x="45" y="28"/>
                </a:cxn>
                <a:cxn ang="0">
                  <a:pos x="37" y="20"/>
                </a:cxn>
                <a:cxn ang="0">
                  <a:pos x="20" y="8"/>
                </a:cxn>
                <a:cxn ang="0">
                  <a:pos x="29" y="16"/>
                </a:cxn>
                <a:cxn ang="0">
                  <a:pos x="20" y="8"/>
                </a:cxn>
                <a:cxn ang="0">
                  <a:pos x="33" y="28"/>
                </a:cxn>
                <a:cxn ang="0">
                  <a:pos x="24" y="20"/>
                </a:cxn>
                <a:cxn ang="0">
                  <a:pos x="8" y="8"/>
                </a:cxn>
                <a:cxn ang="0">
                  <a:pos x="16" y="16"/>
                </a:cxn>
                <a:cxn ang="0">
                  <a:pos x="8" y="8"/>
                </a:cxn>
                <a:cxn ang="0">
                  <a:pos x="20" y="28"/>
                </a:cxn>
                <a:cxn ang="0">
                  <a:pos x="12" y="20"/>
                </a:cxn>
                <a:cxn ang="0">
                  <a:pos x="16" y="40"/>
                </a:cxn>
                <a:cxn ang="0">
                  <a:pos x="8" y="32"/>
                </a:cxn>
                <a:cxn ang="0">
                  <a:pos x="16" y="40"/>
                </a:cxn>
                <a:cxn ang="0">
                  <a:pos x="20" y="40"/>
                </a:cxn>
                <a:cxn ang="0">
                  <a:pos x="61" y="32"/>
                </a:cxn>
                <a:cxn ang="0">
                  <a:pos x="74" y="40"/>
                </a:cxn>
                <a:cxn ang="0">
                  <a:pos x="65" y="32"/>
                </a:cxn>
                <a:cxn ang="0">
                  <a:pos x="74" y="40"/>
                </a:cxn>
                <a:cxn ang="0">
                  <a:pos x="61" y="20"/>
                </a:cxn>
                <a:cxn ang="0">
                  <a:pos x="69" y="28"/>
                </a:cxn>
                <a:cxn ang="0">
                  <a:pos x="74" y="16"/>
                </a:cxn>
                <a:cxn ang="0">
                  <a:pos x="57" y="8"/>
                </a:cxn>
                <a:cxn ang="0">
                  <a:pos x="74" y="16"/>
                </a:cxn>
              </a:cxnLst>
              <a:rect l="0" t="0" r="r" b="b"/>
              <a:pathLst>
                <a:path w="82" h="49">
                  <a:moveTo>
                    <a:pt x="7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6"/>
                    <a:pt x="2" y="49"/>
                    <a:pt x="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9" y="49"/>
                    <a:pt x="82" y="46"/>
                    <a:pt x="82" y="43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2" y="2"/>
                    <a:pt x="79" y="0"/>
                    <a:pt x="76" y="0"/>
                  </a:cubicBezTo>
                  <a:close/>
                  <a:moveTo>
                    <a:pt x="45" y="8"/>
                  </a:moveTo>
                  <a:cubicBezTo>
                    <a:pt x="53" y="8"/>
                    <a:pt x="53" y="8"/>
                    <a:pt x="53" y="8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45" y="16"/>
                    <a:pt x="45" y="16"/>
                    <a:pt x="45" y="16"/>
                  </a:cubicBezTo>
                  <a:lnTo>
                    <a:pt x="45" y="8"/>
                  </a:lnTo>
                  <a:close/>
                  <a:moveTo>
                    <a:pt x="57" y="20"/>
                  </a:moveTo>
                  <a:cubicBezTo>
                    <a:pt x="57" y="28"/>
                    <a:pt x="57" y="28"/>
                    <a:pt x="57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0"/>
                    <a:pt x="49" y="20"/>
                    <a:pt x="49" y="20"/>
                  </a:cubicBezTo>
                  <a:lnTo>
                    <a:pt x="57" y="20"/>
                  </a:lnTo>
                  <a:close/>
                  <a:moveTo>
                    <a:pt x="33" y="8"/>
                  </a:moveTo>
                  <a:cubicBezTo>
                    <a:pt x="41" y="8"/>
                    <a:pt x="41" y="8"/>
                    <a:pt x="41" y="8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33" y="16"/>
                    <a:pt x="33" y="16"/>
                    <a:pt x="33" y="16"/>
                  </a:cubicBezTo>
                  <a:lnTo>
                    <a:pt x="33" y="8"/>
                  </a:lnTo>
                  <a:close/>
                  <a:moveTo>
                    <a:pt x="45" y="20"/>
                  </a:moveTo>
                  <a:cubicBezTo>
                    <a:pt x="45" y="28"/>
                    <a:pt x="45" y="28"/>
                    <a:pt x="45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0"/>
                    <a:pt x="37" y="20"/>
                    <a:pt x="37" y="20"/>
                  </a:cubicBezTo>
                  <a:lnTo>
                    <a:pt x="45" y="20"/>
                  </a:lnTo>
                  <a:close/>
                  <a:moveTo>
                    <a:pt x="20" y="8"/>
                  </a:moveTo>
                  <a:cubicBezTo>
                    <a:pt x="29" y="8"/>
                    <a:pt x="29" y="8"/>
                    <a:pt x="29" y="8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8"/>
                  </a:lnTo>
                  <a:close/>
                  <a:moveTo>
                    <a:pt x="33" y="20"/>
                  </a:moveTo>
                  <a:cubicBezTo>
                    <a:pt x="33" y="28"/>
                    <a:pt x="33" y="28"/>
                    <a:pt x="33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0"/>
                    <a:pt x="24" y="20"/>
                    <a:pt x="24" y="20"/>
                  </a:cubicBezTo>
                  <a:lnTo>
                    <a:pt x="33" y="20"/>
                  </a:lnTo>
                  <a:close/>
                  <a:moveTo>
                    <a:pt x="8" y="8"/>
                  </a:moveTo>
                  <a:cubicBezTo>
                    <a:pt x="16" y="8"/>
                    <a:pt x="16" y="8"/>
                    <a:pt x="16" y="8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8" y="16"/>
                    <a:pt x="8" y="16"/>
                    <a:pt x="8" y="16"/>
                  </a:cubicBezTo>
                  <a:lnTo>
                    <a:pt x="8" y="8"/>
                  </a:lnTo>
                  <a:close/>
                  <a:moveTo>
                    <a:pt x="20" y="20"/>
                  </a:moveTo>
                  <a:cubicBezTo>
                    <a:pt x="20" y="28"/>
                    <a:pt x="20" y="28"/>
                    <a:pt x="20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20"/>
                    <a:pt x="12" y="20"/>
                    <a:pt x="12" y="20"/>
                  </a:cubicBezTo>
                  <a:lnTo>
                    <a:pt x="20" y="20"/>
                  </a:lnTo>
                  <a:close/>
                  <a:moveTo>
                    <a:pt x="16" y="40"/>
                  </a:moveTo>
                  <a:cubicBezTo>
                    <a:pt x="8" y="40"/>
                    <a:pt x="8" y="40"/>
                    <a:pt x="8" y="40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16" y="32"/>
                    <a:pt x="16" y="32"/>
                    <a:pt x="16" y="32"/>
                  </a:cubicBezTo>
                  <a:lnTo>
                    <a:pt x="16" y="40"/>
                  </a:lnTo>
                  <a:close/>
                  <a:moveTo>
                    <a:pt x="61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61" y="32"/>
                    <a:pt x="61" y="32"/>
                    <a:pt x="61" y="32"/>
                  </a:cubicBezTo>
                  <a:lnTo>
                    <a:pt x="61" y="40"/>
                  </a:lnTo>
                  <a:close/>
                  <a:moveTo>
                    <a:pt x="74" y="40"/>
                  </a:moveTo>
                  <a:cubicBezTo>
                    <a:pt x="65" y="40"/>
                    <a:pt x="65" y="40"/>
                    <a:pt x="65" y="40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74" y="32"/>
                    <a:pt x="74" y="32"/>
                    <a:pt x="74" y="32"/>
                  </a:cubicBezTo>
                  <a:lnTo>
                    <a:pt x="74" y="40"/>
                  </a:lnTo>
                  <a:close/>
                  <a:moveTo>
                    <a:pt x="61" y="28"/>
                  </a:moveTo>
                  <a:cubicBezTo>
                    <a:pt x="61" y="20"/>
                    <a:pt x="61" y="20"/>
                    <a:pt x="61" y="20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9" y="28"/>
                    <a:pt x="69" y="28"/>
                    <a:pt x="69" y="28"/>
                  </a:cubicBezTo>
                  <a:lnTo>
                    <a:pt x="61" y="28"/>
                  </a:lnTo>
                  <a:close/>
                  <a:moveTo>
                    <a:pt x="74" y="16"/>
                  </a:moveTo>
                  <a:cubicBezTo>
                    <a:pt x="57" y="16"/>
                    <a:pt x="57" y="16"/>
                    <a:pt x="57" y="16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74" y="8"/>
                    <a:pt x="74" y="8"/>
                    <a:pt x="74" y="8"/>
                  </a:cubicBezTo>
                  <a:lnTo>
                    <a:pt x="74" y="16"/>
                  </a:ln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3" name="Freeform 13"/>
            <p:cNvSpPr>
              <a:spLocks noChangeAspect="1" noEditPoints="1"/>
            </p:cNvSpPr>
            <p:nvPr/>
          </p:nvSpPr>
          <p:spPr bwMode="gray">
            <a:xfrm>
              <a:off x="1478953" y="3021741"/>
              <a:ext cx="194400" cy="197307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8" y="0"/>
                </a:cxn>
                <a:cxn ang="0">
                  <a:pos x="0" y="9"/>
                </a:cxn>
                <a:cxn ang="0">
                  <a:pos x="0" y="58"/>
                </a:cxn>
                <a:cxn ang="0">
                  <a:pos x="8" y="66"/>
                </a:cxn>
                <a:cxn ang="0">
                  <a:pos x="57" y="66"/>
                </a:cxn>
                <a:cxn ang="0">
                  <a:pos x="65" y="58"/>
                </a:cxn>
                <a:cxn ang="0">
                  <a:pos x="65" y="13"/>
                </a:cxn>
                <a:cxn ang="0">
                  <a:pos x="54" y="0"/>
                </a:cxn>
                <a:cxn ang="0">
                  <a:pos x="49" y="25"/>
                </a:cxn>
                <a:cxn ang="0">
                  <a:pos x="45" y="29"/>
                </a:cxn>
                <a:cxn ang="0">
                  <a:pos x="20" y="29"/>
                </a:cxn>
                <a:cxn ang="0">
                  <a:pos x="16" y="25"/>
                </a:cxn>
                <a:cxn ang="0">
                  <a:pos x="16" y="4"/>
                </a:cxn>
                <a:cxn ang="0">
                  <a:pos x="49" y="4"/>
                </a:cxn>
                <a:cxn ang="0">
                  <a:pos x="49" y="25"/>
                </a:cxn>
                <a:cxn ang="0">
                  <a:pos x="45" y="9"/>
                </a:cxn>
                <a:cxn ang="0">
                  <a:pos x="36" y="9"/>
                </a:cxn>
                <a:cxn ang="0">
                  <a:pos x="36" y="25"/>
                </a:cxn>
                <a:cxn ang="0">
                  <a:pos x="45" y="25"/>
                </a:cxn>
                <a:cxn ang="0">
                  <a:pos x="45" y="9"/>
                </a:cxn>
              </a:cxnLst>
              <a:rect l="0" t="0" r="r" b="b"/>
              <a:pathLst>
                <a:path w="65" h="66">
                  <a:moveTo>
                    <a:pt x="5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62"/>
                    <a:pt x="3" y="66"/>
                    <a:pt x="8" y="66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61" y="66"/>
                    <a:pt x="65" y="62"/>
                    <a:pt x="65" y="58"/>
                  </a:cubicBezTo>
                  <a:cubicBezTo>
                    <a:pt x="65" y="13"/>
                    <a:pt x="65" y="13"/>
                    <a:pt x="65" y="13"/>
                  </a:cubicBezTo>
                  <a:lnTo>
                    <a:pt x="54" y="0"/>
                  </a:lnTo>
                  <a:close/>
                  <a:moveTo>
                    <a:pt x="49" y="25"/>
                  </a:moveTo>
                  <a:cubicBezTo>
                    <a:pt x="49" y="27"/>
                    <a:pt x="47" y="29"/>
                    <a:pt x="45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18" y="29"/>
                    <a:pt x="16" y="27"/>
                    <a:pt x="16" y="25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9" y="4"/>
                    <a:pt x="49" y="4"/>
                    <a:pt x="49" y="4"/>
                  </a:cubicBezTo>
                  <a:lnTo>
                    <a:pt x="49" y="25"/>
                  </a:lnTo>
                  <a:close/>
                  <a:moveTo>
                    <a:pt x="45" y="9"/>
                  </a:moveTo>
                  <a:cubicBezTo>
                    <a:pt x="36" y="9"/>
                    <a:pt x="36" y="9"/>
                    <a:pt x="36" y="9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45" y="25"/>
                    <a:pt x="45" y="25"/>
                    <a:pt x="45" y="25"/>
                  </a:cubicBezTo>
                  <a:lnTo>
                    <a:pt x="45" y="9"/>
                  </a:ln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4" name="Freeform 17"/>
            <p:cNvSpPr>
              <a:spLocks noChangeAspect="1" noEditPoints="1"/>
            </p:cNvSpPr>
            <p:nvPr/>
          </p:nvSpPr>
          <p:spPr bwMode="gray">
            <a:xfrm>
              <a:off x="2008596" y="3001586"/>
              <a:ext cx="140113" cy="237600"/>
            </a:xfrm>
            <a:custGeom>
              <a:avLst/>
              <a:gdLst/>
              <a:ahLst/>
              <a:cxnLst>
                <a:cxn ang="0">
                  <a:pos x="46" y="59"/>
                </a:cxn>
                <a:cxn ang="0">
                  <a:pos x="35" y="28"/>
                </a:cxn>
                <a:cxn ang="0">
                  <a:pos x="14" y="17"/>
                </a:cxn>
                <a:cxn ang="0">
                  <a:pos x="6" y="2"/>
                </a:cxn>
                <a:cxn ang="0">
                  <a:pos x="3" y="0"/>
                </a:cxn>
                <a:cxn ang="0">
                  <a:pos x="1" y="4"/>
                </a:cxn>
                <a:cxn ang="0">
                  <a:pos x="9" y="20"/>
                </a:cxn>
                <a:cxn ang="0">
                  <a:pos x="2" y="39"/>
                </a:cxn>
                <a:cxn ang="0">
                  <a:pos x="11" y="71"/>
                </a:cxn>
                <a:cxn ang="0">
                  <a:pos x="33" y="81"/>
                </a:cxn>
                <a:cxn ang="0">
                  <a:pos x="46" y="59"/>
                </a:cxn>
                <a:cxn ang="0">
                  <a:pos x="19" y="37"/>
                </a:cxn>
                <a:cxn ang="0">
                  <a:pos x="12" y="33"/>
                </a:cxn>
                <a:cxn ang="0">
                  <a:pos x="16" y="26"/>
                </a:cxn>
                <a:cxn ang="0">
                  <a:pos x="23" y="29"/>
                </a:cxn>
                <a:cxn ang="0">
                  <a:pos x="19" y="37"/>
                </a:cxn>
              </a:cxnLst>
              <a:rect l="0" t="0" r="r" b="b"/>
              <a:pathLst>
                <a:path w="49" h="84">
                  <a:moveTo>
                    <a:pt x="46" y="59"/>
                  </a:moveTo>
                  <a:cubicBezTo>
                    <a:pt x="35" y="28"/>
                    <a:pt x="35" y="28"/>
                    <a:pt x="35" y="28"/>
                  </a:cubicBezTo>
                  <a:cubicBezTo>
                    <a:pt x="32" y="20"/>
                    <a:pt x="23" y="15"/>
                    <a:pt x="14" y="1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0"/>
                    <a:pt x="4" y="0"/>
                    <a:pt x="3" y="0"/>
                  </a:cubicBezTo>
                  <a:cubicBezTo>
                    <a:pt x="1" y="1"/>
                    <a:pt x="1" y="3"/>
                    <a:pt x="1" y="4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3" y="24"/>
                    <a:pt x="0" y="32"/>
                    <a:pt x="2" y="39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3" y="80"/>
                    <a:pt x="23" y="84"/>
                    <a:pt x="33" y="81"/>
                  </a:cubicBezTo>
                  <a:cubicBezTo>
                    <a:pt x="43" y="77"/>
                    <a:pt x="49" y="68"/>
                    <a:pt x="46" y="59"/>
                  </a:cubicBezTo>
                  <a:close/>
                  <a:moveTo>
                    <a:pt x="19" y="37"/>
                  </a:moveTo>
                  <a:cubicBezTo>
                    <a:pt x="16" y="38"/>
                    <a:pt x="13" y="36"/>
                    <a:pt x="12" y="33"/>
                  </a:cubicBezTo>
                  <a:cubicBezTo>
                    <a:pt x="11" y="30"/>
                    <a:pt x="13" y="27"/>
                    <a:pt x="16" y="26"/>
                  </a:cubicBezTo>
                  <a:cubicBezTo>
                    <a:pt x="19" y="25"/>
                    <a:pt x="22" y="26"/>
                    <a:pt x="23" y="29"/>
                  </a:cubicBezTo>
                  <a:cubicBezTo>
                    <a:pt x="24" y="32"/>
                    <a:pt x="22" y="36"/>
                    <a:pt x="19" y="37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5" name="Freeform 21"/>
            <p:cNvSpPr>
              <a:spLocks noChangeAspect="1" noEditPoints="1"/>
            </p:cNvSpPr>
            <p:nvPr/>
          </p:nvSpPr>
          <p:spPr bwMode="gray">
            <a:xfrm>
              <a:off x="2426347" y="3021338"/>
              <a:ext cx="313200" cy="198096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7"/>
                </a:cxn>
                <a:cxn ang="0">
                  <a:pos x="9" y="66"/>
                </a:cxn>
                <a:cxn ang="0">
                  <a:pos x="86" y="66"/>
                </a:cxn>
                <a:cxn ang="0">
                  <a:pos x="105" y="47"/>
                </a:cxn>
                <a:cxn ang="0">
                  <a:pos x="105" y="9"/>
                </a:cxn>
                <a:cxn ang="0">
                  <a:pos x="96" y="0"/>
                </a:cxn>
                <a:cxn ang="0">
                  <a:pos x="17" y="10"/>
                </a:cxn>
                <a:cxn ang="0">
                  <a:pos x="49" y="10"/>
                </a:cxn>
                <a:cxn ang="0">
                  <a:pos x="56" y="15"/>
                </a:cxn>
                <a:cxn ang="0">
                  <a:pos x="11" y="15"/>
                </a:cxn>
                <a:cxn ang="0">
                  <a:pos x="17" y="10"/>
                </a:cxn>
                <a:cxn ang="0">
                  <a:pos x="38" y="24"/>
                </a:cxn>
                <a:cxn ang="0">
                  <a:pos x="38" y="42"/>
                </a:cxn>
                <a:cxn ang="0">
                  <a:pos x="33" y="47"/>
                </a:cxn>
                <a:cxn ang="0">
                  <a:pos x="33" y="47"/>
                </a:cxn>
                <a:cxn ang="0">
                  <a:pos x="28" y="42"/>
                </a:cxn>
                <a:cxn ang="0">
                  <a:pos x="28" y="24"/>
                </a:cxn>
                <a:cxn ang="0">
                  <a:pos x="33" y="19"/>
                </a:cxn>
                <a:cxn ang="0">
                  <a:pos x="33" y="19"/>
                </a:cxn>
                <a:cxn ang="0">
                  <a:pos x="38" y="24"/>
                </a:cxn>
                <a:cxn ang="0">
                  <a:pos x="10" y="19"/>
                </a:cxn>
                <a:cxn ang="0">
                  <a:pos x="26" y="19"/>
                </a:cxn>
                <a:cxn ang="0">
                  <a:pos x="24" y="24"/>
                </a:cxn>
                <a:cxn ang="0">
                  <a:pos x="24" y="31"/>
                </a:cxn>
                <a:cxn ang="0">
                  <a:pos x="10" y="31"/>
                </a:cxn>
                <a:cxn ang="0">
                  <a:pos x="10" y="19"/>
                </a:cxn>
                <a:cxn ang="0">
                  <a:pos x="10" y="35"/>
                </a:cxn>
                <a:cxn ang="0">
                  <a:pos x="24" y="35"/>
                </a:cxn>
                <a:cxn ang="0">
                  <a:pos x="24" y="42"/>
                </a:cxn>
                <a:cxn ang="0">
                  <a:pos x="26" y="47"/>
                </a:cxn>
                <a:cxn ang="0">
                  <a:pos x="10" y="47"/>
                </a:cxn>
                <a:cxn ang="0">
                  <a:pos x="10" y="35"/>
                </a:cxn>
                <a:cxn ang="0">
                  <a:pos x="49" y="56"/>
                </a:cxn>
                <a:cxn ang="0">
                  <a:pos x="17" y="56"/>
                </a:cxn>
                <a:cxn ang="0">
                  <a:pos x="10" y="51"/>
                </a:cxn>
                <a:cxn ang="0">
                  <a:pos x="56" y="51"/>
                </a:cxn>
                <a:cxn ang="0">
                  <a:pos x="49" y="56"/>
                </a:cxn>
                <a:cxn ang="0">
                  <a:pos x="56" y="47"/>
                </a:cxn>
                <a:cxn ang="0">
                  <a:pos x="41" y="47"/>
                </a:cxn>
                <a:cxn ang="0">
                  <a:pos x="42" y="42"/>
                </a:cxn>
                <a:cxn ang="0">
                  <a:pos x="42" y="35"/>
                </a:cxn>
                <a:cxn ang="0">
                  <a:pos x="56" y="35"/>
                </a:cxn>
                <a:cxn ang="0">
                  <a:pos x="56" y="47"/>
                </a:cxn>
                <a:cxn ang="0">
                  <a:pos x="56" y="31"/>
                </a:cxn>
                <a:cxn ang="0">
                  <a:pos x="42" y="31"/>
                </a:cxn>
                <a:cxn ang="0">
                  <a:pos x="42" y="24"/>
                </a:cxn>
                <a:cxn ang="0">
                  <a:pos x="40" y="19"/>
                </a:cxn>
                <a:cxn ang="0">
                  <a:pos x="56" y="19"/>
                </a:cxn>
                <a:cxn ang="0">
                  <a:pos x="56" y="31"/>
                </a:cxn>
              </a:cxnLst>
              <a:rect l="0" t="0" r="r" b="b"/>
              <a:pathLst>
                <a:path w="105" h="66">
                  <a:moveTo>
                    <a:pt x="96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4" y="66"/>
                    <a:pt x="9" y="66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4"/>
                    <a:pt x="101" y="0"/>
                    <a:pt x="96" y="0"/>
                  </a:cubicBezTo>
                  <a:close/>
                  <a:moveTo>
                    <a:pt x="17" y="10"/>
                  </a:moveTo>
                  <a:cubicBezTo>
                    <a:pt x="49" y="10"/>
                    <a:pt x="49" y="10"/>
                    <a:pt x="49" y="10"/>
                  </a:cubicBezTo>
                  <a:cubicBezTo>
                    <a:pt x="52" y="10"/>
                    <a:pt x="55" y="12"/>
                    <a:pt x="56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2"/>
                    <a:pt x="14" y="10"/>
                    <a:pt x="17" y="10"/>
                  </a:cubicBezTo>
                  <a:close/>
                  <a:moveTo>
                    <a:pt x="38" y="24"/>
                  </a:moveTo>
                  <a:cubicBezTo>
                    <a:pt x="38" y="42"/>
                    <a:pt x="38" y="42"/>
                    <a:pt x="38" y="42"/>
                  </a:cubicBezTo>
                  <a:cubicBezTo>
                    <a:pt x="38" y="45"/>
                    <a:pt x="36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0" y="47"/>
                    <a:pt x="28" y="45"/>
                    <a:pt x="28" y="42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1"/>
                    <a:pt x="30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6" y="19"/>
                    <a:pt x="38" y="21"/>
                    <a:pt x="38" y="24"/>
                  </a:cubicBezTo>
                  <a:close/>
                  <a:moveTo>
                    <a:pt x="10" y="19"/>
                  </a:moveTo>
                  <a:cubicBezTo>
                    <a:pt x="26" y="19"/>
                    <a:pt x="26" y="19"/>
                    <a:pt x="26" y="19"/>
                  </a:cubicBezTo>
                  <a:cubicBezTo>
                    <a:pt x="25" y="20"/>
                    <a:pt x="24" y="22"/>
                    <a:pt x="24" y="24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10" y="31"/>
                    <a:pt x="10" y="31"/>
                    <a:pt x="10" y="31"/>
                  </a:cubicBezTo>
                  <a:lnTo>
                    <a:pt x="10" y="19"/>
                  </a:lnTo>
                  <a:close/>
                  <a:moveTo>
                    <a:pt x="10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4" y="44"/>
                    <a:pt x="25" y="46"/>
                    <a:pt x="26" y="47"/>
                  </a:cubicBezTo>
                  <a:cubicBezTo>
                    <a:pt x="10" y="47"/>
                    <a:pt x="10" y="47"/>
                    <a:pt x="10" y="47"/>
                  </a:cubicBezTo>
                  <a:lnTo>
                    <a:pt x="10" y="35"/>
                  </a:lnTo>
                  <a:close/>
                  <a:moveTo>
                    <a:pt x="49" y="56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4" y="56"/>
                    <a:pt x="11" y="54"/>
                    <a:pt x="10" y="51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55" y="54"/>
                    <a:pt x="53" y="56"/>
                    <a:pt x="49" y="56"/>
                  </a:cubicBezTo>
                  <a:close/>
                  <a:moveTo>
                    <a:pt x="56" y="47"/>
                  </a:moveTo>
                  <a:cubicBezTo>
                    <a:pt x="41" y="47"/>
                    <a:pt x="41" y="47"/>
                    <a:pt x="41" y="47"/>
                  </a:cubicBezTo>
                  <a:cubicBezTo>
                    <a:pt x="42" y="45"/>
                    <a:pt x="42" y="44"/>
                    <a:pt x="42" y="42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56" y="35"/>
                    <a:pt x="56" y="35"/>
                    <a:pt x="56" y="35"/>
                  </a:cubicBezTo>
                  <a:lnTo>
                    <a:pt x="56" y="47"/>
                  </a:lnTo>
                  <a:close/>
                  <a:moveTo>
                    <a:pt x="56" y="31"/>
                  </a:moveTo>
                  <a:cubicBezTo>
                    <a:pt x="42" y="31"/>
                    <a:pt x="42" y="31"/>
                    <a:pt x="42" y="31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2"/>
                    <a:pt x="42" y="20"/>
                    <a:pt x="40" y="19"/>
                  </a:cubicBezTo>
                  <a:cubicBezTo>
                    <a:pt x="56" y="19"/>
                    <a:pt x="56" y="19"/>
                    <a:pt x="56" y="19"/>
                  </a:cubicBezTo>
                  <a:lnTo>
                    <a:pt x="56" y="31"/>
                  </a:ln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6" name="Group 165"/>
            <p:cNvGrpSpPr>
              <a:grpSpLocks noChangeAspect="1"/>
            </p:cNvGrpSpPr>
            <p:nvPr/>
          </p:nvGrpSpPr>
          <p:grpSpPr bwMode="gray">
            <a:xfrm>
              <a:off x="2948580" y="3027519"/>
              <a:ext cx="262800" cy="185751"/>
              <a:chOff x="3570288" y="928688"/>
              <a:chExt cx="1001712" cy="708025"/>
            </a:xfrm>
          </p:grpSpPr>
          <p:sp>
            <p:nvSpPr>
              <p:cNvPr id="167" name="Freeform 25"/>
              <p:cNvSpPr>
                <a:spLocks/>
              </p:cNvSpPr>
              <p:nvPr/>
            </p:nvSpPr>
            <p:spPr bwMode="gray">
              <a:xfrm>
                <a:off x="4014788" y="1225551"/>
                <a:ext cx="112712" cy="114300"/>
              </a:xfrm>
              <a:custGeom>
                <a:avLst/>
                <a:gdLst/>
                <a:ahLst/>
                <a:cxnLst>
                  <a:cxn ang="0">
                    <a:pos x="9" y="10"/>
                  </a:cxn>
                  <a:cxn ang="0">
                    <a:pos x="10" y="9"/>
                  </a:cxn>
                  <a:cxn ang="0">
                    <a:pos x="10" y="1"/>
                  </a:cxn>
                  <a:cxn ang="0">
                    <a:pos x="9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9"/>
                  </a:cxn>
                  <a:cxn ang="0">
                    <a:pos x="1" y="10"/>
                  </a:cxn>
                  <a:cxn ang="0">
                    <a:pos x="9" y="10"/>
                  </a:cxn>
                </a:cxnLst>
                <a:rect l="0" t="0" r="r" b="b"/>
                <a:pathLst>
                  <a:path w="10" h="10">
                    <a:moveTo>
                      <a:pt x="9" y="10"/>
                    </a:moveTo>
                    <a:cubicBezTo>
                      <a:pt x="9" y="10"/>
                      <a:pt x="10" y="10"/>
                      <a:pt x="10" y="9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9" y="0"/>
                      <a:pt x="9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0"/>
                      <a:pt x="0" y="10"/>
                      <a:pt x="1" y="10"/>
                    </a:cubicBezTo>
                    <a:lnTo>
                      <a:pt x="9" y="10"/>
                    </a:lnTo>
                    <a:close/>
                  </a:path>
                </a:pathLst>
              </a:custGeom>
              <a:solidFill>
                <a:srgbClr val="00A1D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68" name="Freeform 26"/>
              <p:cNvSpPr>
                <a:spLocks noEditPoints="1"/>
              </p:cNvSpPr>
              <p:nvPr/>
            </p:nvSpPr>
            <p:spPr bwMode="gray">
              <a:xfrm>
                <a:off x="3570288" y="928688"/>
                <a:ext cx="1001712" cy="708025"/>
              </a:xfrm>
              <a:custGeom>
                <a:avLst/>
                <a:gdLst/>
                <a:ahLst/>
                <a:cxnLst>
                  <a:cxn ang="0">
                    <a:pos x="84" y="28"/>
                  </a:cxn>
                  <a:cxn ang="0">
                    <a:pos x="84" y="19"/>
                  </a:cxn>
                  <a:cxn ang="0">
                    <a:pos x="75" y="22"/>
                  </a:cxn>
                  <a:cxn ang="0">
                    <a:pos x="80" y="12"/>
                  </a:cxn>
                  <a:cxn ang="0">
                    <a:pos x="88" y="10"/>
                  </a:cxn>
                  <a:cxn ang="0">
                    <a:pos x="80" y="8"/>
                  </a:cxn>
                  <a:cxn ang="0">
                    <a:pos x="75" y="8"/>
                  </a:cxn>
                  <a:cxn ang="0">
                    <a:pos x="20" y="0"/>
                  </a:cxn>
                  <a:cxn ang="0">
                    <a:pos x="13" y="8"/>
                  </a:cxn>
                  <a:cxn ang="0">
                    <a:pos x="4" y="6"/>
                  </a:cxn>
                  <a:cxn ang="0">
                    <a:pos x="4" y="14"/>
                  </a:cxn>
                  <a:cxn ang="0">
                    <a:pos x="13" y="12"/>
                  </a:cxn>
                  <a:cxn ang="0">
                    <a:pos x="8" y="22"/>
                  </a:cxn>
                  <a:cxn ang="0">
                    <a:pos x="0" y="23"/>
                  </a:cxn>
                  <a:cxn ang="0">
                    <a:pos x="8" y="25"/>
                  </a:cxn>
                  <a:cxn ang="0">
                    <a:pos x="13" y="35"/>
                  </a:cxn>
                  <a:cxn ang="0">
                    <a:pos x="4" y="33"/>
                  </a:cxn>
                  <a:cxn ang="0">
                    <a:pos x="4" y="41"/>
                  </a:cxn>
                  <a:cxn ang="0">
                    <a:pos x="13" y="39"/>
                  </a:cxn>
                  <a:cxn ang="0">
                    <a:pos x="8" y="49"/>
                  </a:cxn>
                  <a:cxn ang="0">
                    <a:pos x="0" y="51"/>
                  </a:cxn>
                  <a:cxn ang="0">
                    <a:pos x="8" y="53"/>
                  </a:cxn>
                  <a:cxn ang="0">
                    <a:pos x="13" y="54"/>
                  </a:cxn>
                  <a:cxn ang="0">
                    <a:pos x="33" y="39"/>
                  </a:cxn>
                  <a:cxn ang="0">
                    <a:pos x="35" y="20"/>
                  </a:cxn>
                  <a:cxn ang="0">
                    <a:pos x="55" y="23"/>
                  </a:cxn>
                  <a:cxn ang="0">
                    <a:pos x="53" y="42"/>
                  </a:cxn>
                  <a:cxn ang="0">
                    <a:pos x="17" y="61"/>
                  </a:cxn>
                  <a:cxn ang="0">
                    <a:pos x="68" y="62"/>
                  </a:cxn>
                  <a:cxn ang="0">
                    <a:pos x="75" y="53"/>
                  </a:cxn>
                  <a:cxn ang="0">
                    <a:pos x="84" y="55"/>
                  </a:cxn>
                  <a:cxn ang="0">
                    <a:pos x="84" y="47"/>
                  </a:cxn>
                  <a:cxn ang="0">
                    <a:pos x="75" y="49"/>
                  </a:cxn>
                  <a:cxn ang="0">
                    <a:pos x="80" y="39"/>
                  </a:cxn>
                  <a:cxn ang="0">
                    <a:pos x="88" y="37"/>
                  </a:cxn>
                  <a:cxn ang="0">
                    <a:pos x="80" y="35"/>
                  </a:cxn>
                  <a:cxn ang="0">
                    <a:pos x="75" y="25"/>
                  </a:cxn>
                  <a:cxn ang="0">
                    <a:pos x="84" y="22"/>
                  </a:cxn>
                  <a:cxn ang="0">
                    <a:pos x="84" y="25"/>
                  </a:cxn>
                  <a:cxn ang="0">
                    <a:pos x="84" y="22"/>
                  </a:cxn>
                  <a:cxn ang="0">
                    <a:pos x="86" y="10"/>
                  </a:cxn>
                  <a:cxn ang="0">
                    <a:pos x="82" y="10"/>
                  </a:cxn>
                  <a:cxn ang="0">
                    <a:pos x="4" y="12"/>
                  </a:cxn>
                  <a:cxn ang="0">
                    <a:pos x="4" y="8"/>
                  </a:cxn>
                  <a:cxn ang="0">
                    <a:pos x="4" y="12"/>
                  </a:cxn>
                  <a:cxn ang="0">
                    <a:pos x="2" y="23"/>
                  </a:cxn>
                  <a:cxn ang="0">
                    <a:pos x="6" y="23"/>
                  </a:cxn>
                  <a:cxn ang="0">
                    <a:pos x="4" y="39"/>
                  </a:cxn>
                  <a:cxn ang="0">
                    <a:pos x="4" y="35"/>
                  </a:cxn>
                  <a:cxn ang="0">
                    <a:pos x="4" y="39"/>
                  </a:cxn>
                  <a:cxn ang="0">
                    <a:pos x="2" y="51"/>
                  </a:cxn>
                  <a:cxn ang="0">
                    <a:pos x="6" y="51"/>
                  </a:cxn>
                  <a:cxn ang="0">
                    <a:pos x="84" y="49"/>
                  </a:cxn>
                  <a:cxn ang="0">
                    <a:pos x="84" y="53"/>
                  </a:cxn>
                  <a:cxn ang="0">
                    <a:pos x="84" y="49"/>
                  </a:cxn>
                  <a:cxn ang="0">
                    <a:pos x="86" y="37"/>
                  </a:cxn>
                  <a:cxn ang="0">
                    <a:pos x="82" y="37"/>
                  </a:cxn>
                </a:cxnLst>
                <a:rect l="0" t="0" r="r" b="b"/>
                <a:pathLst>
                  <a:path w="88" h="62">
                    <a:moveTo>
                      <a:pt x="80" y="25"/>
                    </a:moveTo>
                    <a:cubicBezTo>
                      <a:pt x="81" y="27"/>
                      <a:pt x="82" y="28"/>
                      <a:pt x="84" y="28"/>
                    </a:cubicBezTo>
                    <a:cubicBezTo>
                      <a:pt x="86" y="28"/>
                      <a:pt x="88" y="26"/>
                      <a:pt x="88" y="23"/>
                    </a:cubicBezTo>
                    <a:cubicBezTo>
                      <a:pt x="88" y="21"/>
                      <a:pt x="86" y="19"/>
                      <a:pt x="84" y="19"/>
                    </a:cubicBezTo>
                    <a:cubicBezTo>
                      <a:pt x="82" y="19"/>
                      <a:pt x="81" y="20"/>
                      <a:pt x="80" y="22"/>
                    </a:cubicBezTo>
                    <a:cubicBezTo>
                      <a:pt x="75" y="22"/>
                      <a:pt x="75" y="22"/>
                      <a:pt x="75" y="22"/>
                    </a:cubicBezTo>
                    <a:cubicBezTo>
                      <a:pt x="75" y="12"/>
                      <a:pt x="75" y="12"/>
                      <a:pt x="75" y="12"/>
                    </a:cubicBezTo>
                    <a:cubicBezTo>
                      <a:pt x="80" y="12"/>
                      <a:pt x="80" y="12"/>
                      <a:pt x="80" y="12"/>
                    </a:cubicBezTo>
                    <a:cubicBezTo>
                      <a:pt x="81" y="13"/>
                      <a:pt x="82" y="14"/>
                      <a:pt x="84" y="14"/>
                    </a:cubicBezTo>
                    <a:cubicBezTo>
                      <a:pt x="86" y="14"/>
                      <a:pt x="88" y="12"/>
                      <a:pt x="88" y="10"/>
                    </a:cubicBezTo>
                    <a:cubicBezTo>
                      <a:pt x="88" y="7"/>
                      <a:pt x="86" y="6"/>
                      <a:pt x="84" y="6"/>
                    </a:cubicBezTo>
                    <a:cubicBezTo>
                      <a:pt x="82" y="6"/>
                      <a:pt x="81" y="7"/>
                      <a:pt x="80" y="8"/>
                    </a:cubicBezTo>
                    <a:cubicBezTo>
                      <a:pt x="75" y="8"/>
                      <a:pt x="75" y="8"/>
                      <a:pt x="75" y="8"/>
                    </a:cubicBezTo>
                    <a:cubicBezTo>
                      <a:pt x="75" y="8"/>
                      <a:pt x="75" y="8"/>
                      <a:pt x="75" y="8"/>
                    </a:cubicBezTo>
                    <a:cubicBezTo>
                      <a:pt x="75" y="4"/>
                      <a:pt x="72" y="0"/>
                      <a:pt x="68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6" y="0"/>
                      <a:pt x="13" y="4"/>
                      <a:pt x="13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7" y="7"/>
                      <a:pt x="6" y="6"/>
                      <a:pt x="4" y="6"/>
                    </a:cubicBezTo>
                    <a:cubicBezTo>
                      <a:pt x="2" y="6"/>
                      <a:pt x="0" y="7"/>
                      <a:pt x="0" y="10"/>
                    </a:cubicBezTo>
                    <a:cubicBezTo>
                      <a:pt x="0" y="12"/>
                      <a:pt x="2" y="14"/>
                      <a:pt x="4" y="14"/>
                    </a:cubicBezTo>
                    <a:cubicBezTo>
                      <a:pt x="6" y="14"/>
                      <a:pt x="7" y="13"/>
                      <a:pt x="8" y="12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7" y="20"/>
                      <a:pt x="6" y="19"/>
                      <a:pt x="4" y="19"/>
                    </a:cubicBezTo>
                    <a:cubicBezTo>
                      <a:pt x="2" y="19"/>
                      <a:pt x="0" y="21"/>
                      <a:pt x="0" y="23"/>
                    </a:cubicBezTo>
                    <a:cubicBezTo>
                      <a:pt x="0" y="26"/>
                      <a:pt x="2" y="28"/>
                      <a:pt x="4" y="28"/>
                    </a:cubicBezTo>
                    <a:cubicBezTo>
                      <a:pt x="6" y="28"/>
                      <a:pt x="7" y="27"/>
                      <a:pt x="8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8" y="35"/>
                      <a:pt x="8" y="35"/>
                      <a:pt x="8" y="35"/>
                    </a:cubicBezTo>
                    <a:cubicBezTo>
                      <a:pt x="7" y="34"/>
                      <a:pt x="6" y="33"/>
                      <a:pt x="4" y="33"/>
                    </a:cubicBezTo>
                    <a:cubicBezTo>
                      <a:pt x="2" y="33"/>
                      <a:pt x="0" y="35"/>
                      <a:pt x="0" y="37"/>
                    </a:cubicBezTo>
                    <a:cubicBezTo>
                      <a:pt x="0" y="40"/>
                      <a:pt x="2" y="41"/>
                      <a:pt x="4" y="41"/>
                    </a:cubicBezTo>
                    <a:cubicBezTo>
                      <a:pt x="6" y="41"/>
                      <a:pt x="7" y="40"/>
                      <a:pt x="8" y="39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49"/>
                      <a:pt x="13" y="49"/>
                      <a:pt x="13" y="49"/>
                    </a:cubicBezTo>
                    <a:cubicBezTo>
                      <a:pt x="8" y="49"/>
                      <a:pt x="8" y="49"/>
                      <a:pt x="8" y="49"/>
                    </a:cubicBezTo>
                    <a:cubicBezTo>
                      <a:pt x="7" y="48"/>
                      <a:pt x="6" y="47"/>
                      <a:pt x="4" y="47"/>
                    </a:cubicBezTo>
                    <a:cubicBezTo>
                      <a:pt x="2" y="47"/>
                      <a:pt x="0" y="49"/>
                      <a:pt x="0" y="51"/>
                    </a:cubicBezTo>
                    <a:cubicBezTo>
                      <a:pt x="0" y="53"/>
                      <a:pt x="2" y="55"/>
                      <a:pt x="4" y="55"/>
                    </a:cubicBezTo>
                    <a:cubicBezTo>
                      <a:pt x="6" y="55"/>
                      <a:pt x="7" y="54"/>
                      <a:pt x="8" y="53"/>
                    </a:cubicBezTo>
                    <a:cubicBezTo>
                      <a:pt x="13" y="53"/>
                      <a:pt x="13" y="53"/>
                      <a:pt x="13" y="53"/>
                    </a:cubicBezTo>
                    <a:cubicBezTo>
                      <a:pt x="13" y="54"/>
                      <a:pt x="13" y="54"/>
                      <a:pt x="13" y="54"/>
                    </a:cubicBezTo>
                    <a:cubicBezTo>
                      <a:pt x="13" y="56"/>
                      <a:pt x="13" y="57"/>
                      <a:pt x="14" y="58"/>
                    </a:cubicBezTo>
                    <a:cubicBezTo>
                      <a:pt x="33" y="39"/>
                      <a:pt x="33" y="39"/>
                      <a:pt x="33" y="39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3" y="21"/>
                      <a:pt x="34" y="20"/>
                      <a:pt x="35" y="20"/>
                    </a:cubicBezTo>
                    <a:cubicBezTo>
                      <a:pt x="53" y="20"/>
                      <a:pt x="53" y="20"/>
                      <a:pt x="53" y="20"/>
                    </a:cubicBezTo>
                    <a:cubicBezTo>
                      <a:pt x="54" y="20"/>
                      <a:pt x="55" y="21"/>
                      <a:pt x="55" y="23"/>
                    </a:cubicBezTo>
                    <a:cubicBezTo>
                      <a:pt x="55" y="39"/>
                      <a:pt x="55" y="39"/>
                      <a:pt x="55" y="39"/>
                    </a:cubicBezTo>
                    <a:cubicBezTo>
                      <a:pt x="55" y="41"/>
                      <a:pt x="54" y="42"/>
                      <a:pt x="53" y="42"/>
                    </a:cubicBezTo>
                    <a:cubicBezTo>
                      <a:pt x="37" y="42"/>
                      <a:pt x="37" y="42"/>
                      <a:pt x="37" y="42"/>
                    </a:cubicBezTo>
                    <a:cubicBezTo>
                      <a:pt x="17" y="61"/>
                      <a:pt x="17" y="61"/>
                      <a:pt x="17" y="61"/>
                    </a:cubicBezTo>
                    <a:cubicBezTo>
                      <a:pt x="18" y="62"/>
                      <a:pt x="19" y="62"/>
                      <a:pt x="20" y="62"/>
                    </a:cubicBezTo>
                    <a:cubicBezTo>
                      <a:pt x="68" y="62"/>
                      <a:pt x="68" y="62"/>
                      <a:pt x="68" y="62"/>
                    </a:cubicBezTo>
                    <a:cubicBezTo>
                      <a:pt x="72" y="62"/>
                      <a:pt x="75" y="58"/>
                      <a:pt x="75" y="54"/>
                    </a:cubicBezTo>
                    <a:cubicBezTo>
                      <a:pt x="75" y="53"/>
                      <a:pt x="75" y="53"/>
                      <a:pt x="75" y="53"/>
                    </a:cubicBezTo>
                    <a:cubicBezTo>
                      <a:pt x="80" y="53"/>
                      <a:pt x="80" y="53"/>
                      <a:pt x="80" y="53"/>
                    </a:cubicBezTo>
                    <a:cubicBezTo>
                      <a:pt x="81" y="54"/>
                      <a:pt x="82" y="55"/>
                      <a:pt x="84" y="55"/>
                    </a:cubicBezTo>
                    <a:cubicBezTo>
                      <a:pt x="86" y="55"/>
                      <a:pt x="88" y="53"/>
                      <a:pt x="88" y="51"/>
                    </a:cubicBezTo>
                    <a:cubicBezTo>
                      <a:pt x="88" y="49"/>
                      <a:pt x="86" y="47"/>
                      <a:pt x="84" y="47"/>
                    </a:cubicBezTo>
                    <a:cubicBezTo>
                      <a:pt x="82" y="47"/>
                      <a:pt x="81" y="48"/>
                      <a:pt x="80" y="49"/>
                    </a:cubicBezTo>
                    <a:cubicBezTo>
                      <a:pt x="75" y="49"/>
                      <a:pt x="75" y="49"/>
                      <a:pt x="75" y="49"/>
                    </a:cubicBezTo>
                    <a:cubicBezTo>
                      <a:pt x="75" y="39"/>
                      <a:pt x="75" y="39"/>
                      <a:pt x="75" y="39"/>
                    </a:cubicBezTo>
                    <a:cubicBezTo>
                      <a:pt x="80" y="39"/>
                      <a:pt x="80" y="39"/>
                      <a:pt x="80" y="39"/>
                    </a:cubicBezTo>
                    <a:cubicBezTo>
                      <a:pt x="81" y="40"/>
                      <a:pt x="82" y="41"/>
                      <a:pt x="84" y="41"/>
                    </a:cubicBezTo>
                    <a:cubicBezTo>
                      <a:pt x="86" y="41"/>
                      <a:pt x="88" y="40"/>
                      <a:pt x="88" y="37"/>
                    </a:cubicBezTo>
                    <a:cubicBezTo>
                      <a:pt x="88" y="35"/>
                      <a:pt x="86" y="33"/>
                      <a:pt x="84" y="33"/>
                    </a:cubicBezTo>
                    <a:cubicBezTo>
                      <a:pt x="82" y="33"/>
                      <a:pt x="81" y="34"/>
                      <a:pt x="80" y="35"/>
                    </a:cubicBezTo>
                    <a:cubicBezTo>
                      <a:pt x="75" y="35"/>
                      <a:pt x="75" y="35"/>
                      <a:pt x="75" y="35"/>
                    </a:cubicBezTo>
                    <a:cubicBezTo>
                      <a:pt x="75" y="25"/>
                      <a:pt x="75" y="25"/>
                      <a:pt x="75" y="25"/>
                    </a:cubicBezTo>
                    <a:lnTo>
                      <a:pt x="80" y="25"/>
                    </a:lnTo>
                    <a:close/>
                    <a:moveTo>
                      <a:pt x="84" y="22"/>
                    </a:moveTo>
                    <a:cubicBezTo>
                      <a:pt x="85" y="22"/>
                      <a:pt x="86" y="22"/>
                      <a:pt x="86" y="23"/>
                    </a:cubicBezTo>
                    <a:cubicBezTo>
                      <a:pt x="86" y="25"/>
                      <a:pt x="85" y="25"/>
                      <a:pt x="84" y="25"/>
                    </a:cubicBezTo>
                    <a:cubicBezTo>
                      <a:pt x="83" y="25"/>
                      <a:pt x="82" y="25"/>
                      <a:pt x="82" y="23"/>
                    </a:cubicBezTo>
                    <a:cubicBezTo>
                      <a:pt x="82" y="22"/>
                      <a:pt x="83" y="22"/>
                      <a:pt x="84" y="22"/>
                    </a:cubicBezTo>
                    <a:close/>
                    <a:moveTo>
                      <a:pt x="84" y="8"/>
                    </a:moveTo>
                    <a:cubicBezTo>
                      <a:pt x="85" y="8"/>
                      <a:pt x="86" y="9"/>
                      <a:pt x="86" y="10"/>
                    </a:cubicBezTo>
                    <a:cubicBezTo>
                      <a:pt x="86" y="11"/>
                      <a:pt x="85" y="12"/>
                      <a:pt x="84" y="12"/>
                    </a:cubicBezTo>
                    <a:cubicBezTo>
                      <a:pt x="83" y="12"/>
                      <a:pt x="82" y="11"/>
                      <a:pt x="82" y="10"/>
                    </a:cubicBezTo>
                    <a:cubicBezTo>
                      <a:pt x="82" y="9"/>
                      <a:pt x="83" y="8"/>
                      <a:pt x="84" y="8"/>
                    </a:cubicBezTo>
                    <a:close/>
                    <a:moveTo>
                      <a:pt x="4" y="12"/>
                    </a:moveTo>
                    <a:cubicBezTo>
                      <a:pt x="3" y="12"/>
                      <a:pt x="2" y="11"/>
                      <a:pt x="2" y="10"/>
                    </a:cubicBezTo>
                    <a:cubicBezTo>
                      <a:pt x="2" y="9"/>
                      <a:pt x="3" y="8"/>
                      <a:pt x="4" y="8"/>
                    </a:cubicBezTo>
                    <a:cubicBezTo>
                      <a:pt x="5" y="8"/>
                      <a:pt x="6" y="9"/>
                      <a:pt x="6" y="10"/>
                    </a:cubicBezTo>
                    <a:cubicBezTo>
                      <a:pt x="6" y="11"/>
                      <a:pt x="5" y="12"/>
                      <a:pt x="4" y="12"/>
                    </a:cubicBezTo>
                    <a:close/>
                    <a:moveTo>
                      <a:pt x="4" y="25"/>
                    </a:moveTo>
                    <a:cubicBezTo>
                      <a:pt x="3" y="25"/>
                      <a:pt x="2" y="25"/>
                      <a:pt x="2" y="23"/>
                    </a:cubicBezTo>
                    <a:cubicBezTo>
                      <a:pt x="2" y="22"/>
                      <a:pt x="3" y="22"/>
                      <a:pt x="4" y="22"/>
                    </a:cubicBezTo>
                    <a:cubicBezTo>
                      <a:pt x="5" y="22"/>
                      <a:pt x="6" y="22"/>
                      <a:pt x="6" y="23"/>
                    </a:cubicBezTo>
                    <a:cubicBezTo>
                      <a:pt x="6" y="25"/>
                      <a:pt x="5" y="25"/>
                      <a:pt x="4" y="25"/>
                    </a:cubicBezTo>
                    <a:close/>
                    <a:moveTo>
                      <a:pt x="4" y="39"/>
                    </a:moveTo>
                    <a:cubicBezTo>
                      <a:pt x="3" y="39"/>
                      <a:pt x="2" y="38"/>
                      <a:pt x="2" y="37"/>
                    </a:cubicBezTo>
                    <a:cubicBezTo>
                      <a:pt x="2" y="36"/>
                      <a:pt x="3" y="35"/>
                      <a:pt x="4" y="35"/>
                    </a:cubicBezTo>
                    <a:cubicBezTo>
                      <a:pt x="5" y="35"/>
                      <a:pt x="6" y="36"/>
                      <a:pt x="6" y="37"/>
                    </a:cubicBezTo>
                    <a:cubicBezTo>
                      <a:pt x="6" y="38"/>
                      <a:pt x="5" y="39"/>
                      <a:pt x="4" y="39"/>
                    </a:cubicBezTo>
                    <a:close/>
                    <a:moveTo>
                      <a:pt x="4" y="53"/>
                    </a:moveTo>
                    <a:cubicBezTo>
                      <a:pt x="3" y="53"/>
                      <a:pt x="2" y="52"/>
                      <a:pt x="2" y="51"/>
                    </a:cubicBezTo>
                    <a:cubicBezTo>
                      <a:pt x="2" y="50"/>
                      <a:pt x="3" y="49"/>
                      <a:pt x="4" y="49"/>
                    </a:cubicBezTo>
                    <a:cubicBezTo>
                      <a:pt x="5" y="49"/>
                      <a:pt x="6" y="50"/>
                      <a:pt x="6" y="51"/>
                    </a:cubicBezTo>
                    <a:cubicBezTo>
                      <a:pt x="6" y="52"/>
                      <a:pt x="5" y="53"/>
                      <a:pt x="4" y="53"/>
                    </a:cubicBezTo>
                    <a:close/>
                    <a:moveTo>
                      <a:pt x="84" y="49"/>
                    </a:moveTo>
                    <a:cubicBezTo>
                      <a:pt x="85" y="49"/>
                      <a:pt x="86" y="50"/>
                      <a:pt x="86" y="51"/>
                    </a:cubicBezTo>
                    <a:cubicBezTo>
                      <a:pt x="86" y="52"/>
                      <a:pt x="85" y="53"/>
                      <a:pt x="84" y="53"/>
                    </a:cubicBezTo>
                    <a:cubicBezTo>
                      <a:pt x="83" y="53"/>
                      <a:pt x="82" y="52"/>
                      <a:pt x="82" y="51"/>
                    </a:cubicBezTo>
                    <a:cubicBezTo>
                      <a:pt x="82" y="50"/>
                      <a:pt x="83" y="49"/>
                      <a:pt x="84" y="49"/>
                    </a:cubicBezTo>
                    <a:close/>
                    <a:moveTo>
                      <a:pt x="84" y="35"/>
                    </a:moveTo>
                    <a:cubicBezTo>
                      <a:pt x="85" y="35"/>
                      <a:pt x="86" y="36"/>
                      <a:pt x="86" y="37"/>
                    </a:cubicBezTo>
                    <a:cubicBezTo>
                      <a:pt x="86" y="38"/>
                      <a:pt x="85" y="39"/>
                      <a:pt x="84" y="39"/>
                    </a:cubicBezTo>
                    <a:cubicBezTo>
                      <a:pt x="83" y="39"/>
                      <a:pt x="82" y="38"/>
                      <a:pt x="82" y="37"/>
                    </a:cubicBezTo>
                    <a:cubicBezTo>
                      <a:pt x="82" y="36"/>
                      <a:pt x="83" y="35"/>
                      <a:pt x="84" y="35"/>
                    </a:cubicBezTo>
                    <a:close/>
                  </a:path>
                </a:pathLst>
              </a:custGeom>
              <a:solidFill>
                <a:srgbClr val="00A1D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169" name="Freeform 30"/>
            <p:cNvSpPr>
              <a:spLocks noChangeAspect="1" noEditPoints="1"/>
            </p:cNvSpPr>
            <p:nvPr/>
          </p:nvSpPr>
          <p:spPr bwMode="gray">
            <a:xfrm>
              <a:off x="8475035" y="3024425"/>
              <a:ext cx="237600" cy="191939"/>
            </a:xfrm>
            <a:custGeom>
              <a:avLst/>
              <a:gdLst/>
              <a:ahLst/>
              <a:cxnLst>
                <a:cxn ang="0">
                  <a:pos x="41" y="25"/>
                </a:cxn>
                <a:cxn ang="0">
                  <a:pos x="29" y="37"/>
                </a:cxn>
                <a:cxn ang="0">
                  <a:pos x="41" y="50"/>
                </a:cxn>
                <a:cxn ang="0">
                  <a:pos x="54" y="37"/>
                </a:cxn>
                <a:cxn ang="0">
                  <a:pos x="41" y="25"/>
                </a:cxn>
                <a:cxn ang="0">
                  <a:pos x="74" y="13"/>
                </a:cxn>
                <a:cxn ang="0">
                  <a:pos x="64" y="13"/>
                </a:cxn>
                <a:cxn ang="0">
                  <a:pos x="61" y="10"/>
                </a:cxn>
                <a:cxn ang="0">
                  <a:pos x="58" y="3"/>
                </a:cxn>
                <a:cxn ang="0">
                  <a:pos x="55" y="0"/>
                </a:cxn>
                <a:cxn ang="0">
                  <a:pos x="27" y="0"/>
                </a:cxn>
                <a:cxn ang="0">
                  <a:pos x="24" y="3"/>
                </a:cxn>
                <a:cxn ang="0">
                  <a:pos x="22" y="10"/>
                </a:cxn>
                <a:cxn ang="0">
                  <a:pos x="18" y="13"/>
                </a:cxn>
                <a:cxn ang="0">
                  <a:pos x="9" y="13"/>
                </a:cxn>
                <a:cxn ang="0">
                  <a:pos x="0" y="21"/>
                </a:cxn>
                <a:cxn ang="0">
                  <a:pos x="0" y="58"/>
                </a:cxn>
                <a:cxn ang="0">
                  <a:pos x="9" y="66"/>
                </a:cxn>
                <a:cxn ang="0">
                  <a:pos x="74" y="66"/>
                </a:cxn>
                <a:cxn ang="0">
                  <a:pos x="82" y="58"/>
                </a:cxn>
                <a:cxn ang="0">
                  <a:pos x="82" y="21"/>
                </a:cxn>
                <a:cxn ang="0">
                  <a:pos x="74" y="13"/>
                </a:cxn>
                <a:cxn ang="0">
                  <a:pos x="41" y="58"/>
                </a:cxn>
                <a:cxn ang="0">
                  <a:pos x="21" y="37"/>
                </a:cxn>
                <a:cxn ang="0">
                  <a:pos x="41" y="17"/>
                </a:cxn>
                <a:cxn ang="0">
                  <a:pos x="62" y="37"/>
                </a:cxn>
                <a:cxn ang="0">
                  <a:pos x="41" y="58"/>
                </a:cxn>
                <a:cxn ang="0">
                  <a:pos x="71" y="27"/>
                </a:cxn>
                <a:cxn ang="0">
                  <a:pos x="68" y="24"/>
                </a:cxn>
                <a:cxn ang="0">
                  <a:pos x="71" y="21"/>
                </a:cxn>
                <a:cxn ang="0">
                  <a:pos x="74" y="24"/>
                </a:cxn>
                <a:cxn ang="0">
                  <a:pos x="71" y="27"/>
                </a:cxn>
              </a:cxnLst>
              <a:rect l="0" t="0" r="r" b="b"/>
              <a:pathLst>
                <a:path w="82" h="66">
                  <a:moveTo>
                    <a:pt x="41" y="25"/>
                  </a:moveTo>
                  <a:cubicBezTo>
                    <a:pt x="34" y="25"/>
                    <a:pt x="29" y="31"/>
                    <a:pt x="29" y="37"/>
                  </a:cubicBezTo>
                  <a:cubicBezTo>
                    <a:pt x="29" y="44"/>
                    <a:pt x="34" y="50"/>
                    <a:pt x="41" y="50"/>
                  </a:cubicBezTo>
                  <a:cubicBezTo>
                    <a:pt x="48" y="50"/>
                    <a:pt x="54" y="44"/>
                    <a:pt x="54" y="37"/>
                  </a:cubicBezTo>
                  <a:cubicBezTo>
                    <a:pt x="54" y="31"/>
                    <a:pt x="48" y="25"/>
                    <a:pt x="41" y="25"/>
                  </a:cubicBezTo>
                  <a:close/>
                  <a:moveTo>
                    <a:pt x="74" y="13"/>
                  </a:moveTo>
                  <a:cubicBezTo>
                    <a:pt x="64" y="13"/>
                    <a:pt x="64" y="13"/>
                    <a:pt x="64" y="13"/>
                  </a:cubicBezTo>
                  <a:cubicBezTo>
                    <a:pt x="63" y="13"/>
                    <a:pt x="61" y="12"/>
                    <a:pt x="61" y="10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8" y="2"/>
                    <a:pt x="57" y="0"/>
                    <a:pt x="55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0"/>
                    <a:pt x="25" y="2"/>
                    <a:pt x="24" y="3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1" y="12"/>
                    <a:pt x="20" y="13"/>
                    <a:pt x="18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4" y="13"/>
                    <a:pt x="0" y="16"/>
                    <a:pt x="0" y="2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62"/>
                    <a:pt x="4" y="66"/>
                    <a:pt x="9" y="66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9" y="66"/>
                    <a:pt x="82" y="62"/>
                    <a:pt x="82" y="58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16"/>
                    <a:pt x="79" y="13"/>
                    <a:pt x="74" y="13"/>
                  </a:cubicBezTo>
                  <a:close/>
                  <a:moveTo>
                    <a:pt x="41" y="58"/>
                  </a:moveTo>
                  <a:cubicBezTo>
                    <a:pt x="30" y="58"/>
                    <a:pt x="21" y="49"/>
                    <a:pt x="21" y="37"/>
                  </a:cubicBezTo>
                  <a:cubicBezTo>
                    <a:pt x="21" y="26"/>
                    <a:pt x="30" y="17"/>
                    <a:pt x="41" y="17"/>
                  </a:cubicBezTo>
                  <a:cubicBezTo>
                    <a:pt x="53" y="17"/>
                    <a:pt x="62" y="26"/>
                    <a:pt x="62" y="37"/>
                  </a:cubicBezTo>
                  <a:cubicBezTo>
                    <a:pt x="62" y="49"/>
                    <a:pt x="53" y="58"/>
                    <a:pt x="41" y="58"/>
                  </a:cubicBezTo>
                  <a:close/>
                  <a:moveTo>
                    <a:pt x="71" y="27"/>
                  </a:moveTo>
                  <a:cubicBezTo>
                    <a:pt x="70" y="27"/>
                    <a:pt x="68" y="25"/>
                    <a:pt x="68" y="24"/>
                  </a:cubicBezTo>
                  <a:cubicBezTo>
                    <a:pt x="68" y="22"/>
                    <a:pt x="70" y="21"/>
                    <a:pt x="71" y="21"/>
                  </a:cubicBezTo>
                  <a:cubicBezTo>
                    <a:pt x="73" y="21"/>
                    <a:pt x="74" y="22"/>
                    <a:pt x="74" y="24"/>
                  </a:cubicBezTo>
                  <a:cubicBezTo>
                    <a:pt x="74" y="25"/>
                    <a:pt x="73" y="27"/>
                    <a:pt x="71" y="27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70" name="Group 169"/>
            <p:cNvGrpSpPr>
              <a:grpSpLocks noChangeAspect="1"/>
            </p:cNvGrpSpPr>
            <p:nvPr/>
          </p:nvGrpSpPr>
          <p:grpSpPr bwMode="gray">
            <a:xfrm>
              <a:off x="7969939" y="3028890"/>
              <a:ext cx="262800" cy="182992"/>
              <a:chOff x="7072313" y="3571875"/>
              <a:chExt cx="1035050" cy="720725"/>
            </a:xfrm>
          </p:grpSpPr>
          <p:sp>
            <p:nvSpPr>
              <p:cNvPr id="171" name="Freeform 34"/>
              <p:cNvSpPr>
                <a:spLocks noEditPoints="1"/>
              </p:cNvSpPr>
              <p:nvPr/>
            </p:nvSpPr>
            <p:spPr bwMode="gray">
              <a:xfrm>
                <a:off x="7072313" y="3571875"/>
                <a:ext cx="1035050" cy="720725"/>
              </a:xfrm>
              <a:custGeom>
                <a:avLst/>
                <a:gdLst/>
                <a:ahLst/>
                <a:cxnLst>
                  <a:cxn ang="0">
                    <a:pos x="88" y="34"/>
                  </a:cxn>
                  <a:cxn ang="0">
                    <a:pos x="68" y="10"/>
                  </a:cxn>
                  <a:cxn ang="0">
                    <a:pos x="69" y="9"/>
                  </a:cxn>
                  <a:cxn ang="0">
                    <a:pos x="58" y="0"/>
                  </a:cxn>
                  <a:cxn ang="0">
                    <a:pos x="48" y="9"/>
                  </a:cxn>
                  <a:cxn ang="0">
                    <a:pos x="45" y="9"/>
                  </a:cxn>
                  <a:cxn ang="0">
                    <a:pos x="34" y="0"/>
                  </a:cxn>
                  <a:cxn ang="0">
                    <a:pos x="24" y="9"/>
                  </a:cxn>
                  <a:cxn ang="0">
                    <a:pos x="24" y="10"/>
                  </a:cxn>
                  <a:cxn ang="0">
                    <a:pos x="3" y="35"/>
                  </a:cxn>
                  <a:cxn ang="0">
                    <a:pos x="0" y="45"/>
                  </a:cxn>
                  <a:cxn ang="0">
                    <a:pos x="19" y="63"/>
                  </a:cxn>
                  <a:cxn ang="0">
                    <a:pos x="37" y="45"/>
                  </a:cxn>
                  <a:cxn ang="0">
                    <a:pos x="36" y="41"/>
                  </a:cxn>
                  <a:cxn ang="0">
                    <a:pos x="46" y="47"/>
                  </a:cxn>
                  <a:cxn ang="0">
                    <a:pos x="55" y="42"/>
                  </a:cxn>
                  <a:cxn ang="0">
                    <a:pos x="55" y="45"/>
                  </a:cxn>
                  <a:cxn ang="0">
                    <a:pos x="73" y="63"/>
                  </a:cxn>
                  <a:cxn ang="0">
                    <a:pos x="91" y="45"/>
                  </a:cxn>
                  <a:cxn ang="0">
                    <a:pos x="88" y="34"/>
                  </a:cxn>
                  <a:cxn ang="0">
                    <a:pos x="73" y="61"/>
                  </a:cxn>
                  <a:cxn ang="0">
                    <a:pos x="56" y="45"/>
                  </a:cxn>
                  <a:cxn ang="0">
                    <a:pos x="58" y="38"/>
                  </a:cxn>
                  <a:cxn ang="0">
                    <a:pos x="73" y="28"/>
                  </a:cxn>
                  <a:cxn ang="0">
                    <a:pos x="87" y="37"/>
                  </a:cxn>
                  <a:cxn ang="0">
                    <a:pos x="89" y="45"/>
                  </a:cxn>
                  <a:cxn ang="0">
                    <a:pos x="73" y="61"/>
                  </a:cxn>
                  <a:cxn ang="0">
                    <a:pos x="52" y="38"/>
                  </a:cxn>
                  <a:cxn ang="0">
                    <a:pos x="46" y="43"/>
                  </a:cxn>
                  <a:cxn ang="0">
                    <a:pos x="40" y="39"/>
                  </a:cxn>
                  <a:cxn ang="0">
                    <a:pos x="39" y="36"/>
                  </a:cxn>
                  <a:cxn ang="0">
                    <a:pos x="46" y="29"/>
                  </a:cxn>
                  <a:cxn ang="0">
                    <a:pos x="53" y="36"/>
                  </a:cxn>
                  <a:cxn ang="0">
                    <a:pos x="52" y="38"/>
                  </a:cxn>
                  <a:cxn ang="0">
                    <a:pos x="19" y="61"/>
                  </a:cxn>
                  <a:cxn ang="0">
                    <a:pos x="2" y="45"/>
                  </a:cxn>
                  <a:cxn ang="0">
                    <a:pos x="3" y="40"/>
                  </a:cxn>
                  <a:cxn ang="0">
                    <a:pos x="19" y="28"/>
                  </a:cxn>
                  <a:cxn ang="0">
                    <a:pos x="34" y="39"/>
                  </a:cxn>
                  <a:cxn ang="0">
                    <a:pos x="35" y="45"/>
                  </a:cxn>
                  <a:cxn ang="0">
                    <a:pos x="19" y="61"/>
                  </a:cxn>
                </a:cxnLst>
                <a:rect l="0" t="0" r="r" b="b"/>
                <a:pathLst>
                  <a:path w="91" h="63">
                    <a:moveTo>
                      <a:pt x="88" y="34"/>
                    </a:moveTo>
                    <a:cubicBezTo>
                      <a:pt x="82" y="24"/>
                      <a:pt x="72" y="14"/>
                      <a:pt x="68" y="10"/>
                    </a:cubicBezTo>
                    <a:cubicBezTo>
                      <a:pt x="68" y="10"/>
                      <a:pt x="69" y="9"/>
                      <a:pt x="69" y="9"/>
                    </a:cubicBezTo>
                    <a:cubicBezTo>
                      <a:pt x="69" y="4"/>
                      <a:pt x="64" y="0"/>
                      <a:pt x="58" y="0"/>
                    </a:cubicBezTo>
                    <a:cubicBezTo>
                      <a:pt x="52" y="0"/>
                      <a:pt x="48" y="4"/>
                      <a:pt x="48" y="9"/>
                    </a:cubicBezTo>
                    <a:cubicBezTo>
                      <a:pt x="45" y="9"/>
                      <a:pt x="45" y="9"/>
                      <a:pt x="45" y="9"/>
                    </a:cubicBezTo>
                    <a:cubicBezTo>
                      <a:pt x="45" y="4"/>
                      <a:pt x="40" y="0"/>
                      <a:pt x="34" y="0"/>
                    </a:cubicBezTo>
                    <a:cubicBezTo>
                      <a:pt x="28" y="0"/>
                      <a:pt x="24" y="4"/>
                      <a:pt x="24" y="9"/>
                    </a:cubicBezTo>
                    <a:cubicBezTo>
                      <a:pt x="24" y="9"/>
                      <a:pt x="24" y="10"/>
                      <a:pt x="24" y="10"/>
                    </a:cubicBezTo>
                    <a:cubicBezTo>
                      <a:pt x="11" y="22"/>
                      <a:pt x="5" y="30"/>
                      <a:pt x="3" y="35"/>
                    </a:cubicBezTo>
                    <a:cubicBezTo>
                      <a:pt x="1" y="38"/>
                      <a:pt x="0" y="41"/>
                      <a:pt x="0" y="45"/>
                    </a:cubicBezTo>
                    <a:cubicBezTo>
                      <a:pt x="0" y="55"/>
                      <a:pt x="9" y="63"/>
                      <a:pt x="19" y="63"/>
                    </a:cubicBezTo>
                    <a:cubicBezTo>
                      <a:pt x="29" y="63"/>
                      <a:pt x="37" y="55"/>
                      <a:pt x="37" y="45"/>
                    </a:cubicBezTo>
                    <a:cubicBezTo>
                      <a:pt x="37" y="44"/>
                      <a:pt x="37" y="42"/>
                      <a:pt x="36" y="41"/>
                    </a:cubicBezTo>
                    <a:cubicBezTo>
                      <a:pt x="38" y="45"/>
                      <a:pt x="42" y="47"/>
                      <a:pt x="46" y="47"/>
                    </a:cubicBezTo>
                    <a:cubicBezTo>
                      <a:pt x="50" y="47"/>
                      <a:pt x="53" y="45"/>
                      <a:pt x="55" y="42"/>
                    </a:cubicBezTo>
                    <a:cubicBezTo>
                      <a:pt x="55" y="43"/>
                      <a:pt x="55" y="44"/>
                      <a:pt x="55" y="45"/>
                    </a:cubicBezTo>
                    <a:cubicBezTo>
                      <a:pt x="55" y="55"/>
                      <a:pt x="63" y="63"/>
                      <a:pt x="73" y="63"/>
                    </a:cubicBezTo>
                    <a:cubicBezTo>
                      <a:pt x="83" y="63"/>
                      <a:pt x="91" y="55"/>
                      <a:pt x="91" y="45"/>
                    </a:cubicBezTo>
                    <a:cubicBezTo>
                      <a:pt x="91" y="41"/>
                      <a:pt x="90" y="37"/>
                      <a:pt x="88" y="34"/>
                    </a:cubicBezTo>
                    <a:close/>
                    <a:moveTo>
                      <a:pt x="73" y="61"/>
                    </a:moveTo>
                    <a:cubicBezTo>
                      <a:pt x="64" y="61"/>
                      <a:pt x="56" y="54"/>
                      <a:pt x="56" y="45"/>
                    </a:cubicBezTo>
                    <a:cubicBezTo>
                      <a:pt x="56" y="42"/>
                      <a:pt x="57" y="40"/>
                      <a:pt x="58" y="38"/>
                    </a:cubicBezTo>
                    <a:cubicBezTo>
                      <a:pt x="60" y="32"/>
                      <a:pt x="66" y="28"/>
                      <a:pt x="73" y="28"/>
                    </a:cubicBezTo>
                    <a:cubicBezTo>
                      <a:pt x="79" y="28"/>
                      <a:pt x="84" y="32"/>
                      <a:pt x="87" y="37"/>
                    </a:cubicBezTo>
                    <a:cubicBezTo>
                      <a:pt x="89" y="39"/>
                      <a:pt x="89" y="42"/>
                      <a:pt x="89" y="45"/>
                    </a:cubicBezTo>
                    <a:cubicBezTo>
                      <a:pt x="89" y="54"/>
                      <a:pt x="82" y="61"/>
                      <a:pt x="73" y="61"/>
                    </a:cubicBezTo>
                    <a:close/>
                    <a:moveTo>
                      <a:pt x="52" y="38"/>
                    </a:moveTo>
                    <a:cubicBezTo>
                      <a:pt x="51" y="41"/>
                      <a:pt x="49" y="43"/>
                      <a:pt x="46" y="43"/>
                    </a:cubicBezTo>
                    <a:cubicBezTo>
                      <a:pt x="43" y="43"/>
                      <a:pt x="41" y="41"/>
                      <a:pt x="40" y="39"/>
                    </a:cubicBezTo>
                    <a:cubicBezTo>
                      <a:pt x="40" y="38"/>
                      <a:pt x="39" y="37"/>
                      <a:pt x="39" y="36"/>
                    </a:cubicBezTo>
                    <a:cubicBezTo>
                      <a:pt x="39" y="32"/>
                      <a:pt x="42" y="29"/>
                      <a:pt x="46" y="29"/>
                    </a:cubicBezTo>
                    <a:cubicBezTo>
                      <a:pt x="50" y="29"/>
                      <a:pt x="53" y="32"/>
                      <a:pt x="53" y="36"/>
                    </a:cubicBezTo>
                    <a:cubicBezTo>
                      <a:pt x="53" y="37"/>
                      <a:pt x="52" y="37"/>
                      <a:pt x="52" y="38"/>
                    </a:cubicBezTo>
                    <a:close/>
                    <a:moveTo>
                      <a:pt x="19" y="61"/>
                    </a:moveTo>
                    <a:cubicBezTo>
                      <a:pt x="10" y="61"/>
                      <a:pt x="2" y="54"/>
                      <a:pt x="2" y="45"/>
                    </a:cubicBezTo>
                    <a:cubicBezTo>
                      <a:pt x="2" y="43"/>
                      <a:pt x="2" y="42"/>
                      <a:pt x="3" y="40"/>
                    </a:cubicBezTo>
                    <a:cubicBezTo>
                      <a:pt x="5" y="33"/>
                      <a:pt x="11" y="28"/>
                      <a:pt x="19" y="28"/>
                    </a:cubicBezTo>
                    <a:cubicBezTo>
                      <a:pt x="26" y="28"/>
                      <a:pt x="32" y="33"/>
                      <a:pt x="34" y="39"/>
                    </a:cubicBezTo>
                    <a:cubicBezTo>
                      <a:pt x="35" y="41"/>
                      <a:pt x="35" y="43"/>
                      <a:pt x="35" y="45"/>
                    </a:cubicBezTo>
                    <a:cubicBezTo>
                      <a:pt x="35" y="54"/>
                      <a:pt x="28" y="61"/>
                      <a:pt x="19" y="61"/>
                    </a:cubicBezTo>
                    <a:close/>
                  </a:path>
                </a:pathLst>
              </a:custGeom>
              <a:solidFill>
                <a:srgbClr val="3C8A2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72" name="Freeform 35"/>
              <p:cNvSpPr>
                <a:spLocks/>
              </p:cNvSpPr>
              <p:nvPr/>
            </p:nvSpPr>
            <p:spPr bwMode="gray">
              <a:xfrm>
                <a:off x="7118351" y="4052888"/>
                <a:ext cx="192088" cy="18256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17" y="13"/>
                  </a:cxn>
                  <a:cxn ang="0">
                    <a:pos x="4" y="0"/>
                  </a:cxn>
                </a:cxnLst>
                <a:rect l="0" t="0" r="r" b="b"/>
                <a:pathLst>
                  <a:path w="17" h="16">
                    <a:moveTo>
                      <a:pt x="4" y="0"/>
                    </a:moveTo>
                    <a:cubicBezTo>
                      <a:pt x="4" y="0"/>
                      <a:pt x="0" y="16"/>
                      <a:pt x="17" y="13"/>
                    </a:cubicBezTo>
                    <a:cubicBezTo>
                      <a:pt x="17" y="13"/>
                      <a:pt x="6" y="11"/>
                      <a:pt x="4" y="0"/>
                    </a:cubicBezTo>
                    <a:close/>
                  </a:path>
                </a:pathLst>
              </a:custGeom>
              <a:solidFill>
                <a:srgbClr val="3C8A2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73" name="Freeform 36"/>
              <p:cNvSpPr>
                <a:spLocks/>
              </p:cNvSpPr>
              <p:nvPr/>
            </p:nvSpPr>
            <p:spPr bwMode="gray">
              <a:xfrm>
                <a:off x="7732713" y="4052888"/>
                <a:ext cx="192088" cy="18256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17" y="13"/>
                  </a:cxn>
                  <a:cxn ang="0">
                    <a:pos x="4" y="0"/>
                  </a:cxn>
                </a:cxnLst>
                <a:rect l="0" t="0" r="r" b="b"/>
                <a:pathLst>
                  <a:path w="17" h="16">
                    <a:moveTo>
                      <a:pt x="4" y="0"/>
                    </a:moveTo>
                    <a:cubicBezTo>
                      <a:pt x="4" y="0"/>
                      <a:pt x="0" y="16"/>
                      <a:pt x="17" y="13"/>
                    </a:cubicBezTo>
                    <a:cubicBezTo>
                      <a:pt x="17" y="13"/>
                      <a:pt x="5" y="11"/>
                      <a:pt x="4" y="0"/>
                    </a:cubicBezTo>
                    <a:close/>
                  </a:path>
                </a:pathLst>
              </a:custGeom>
              <a:solidFill>
                <a:srgbClr val="3C8A2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174" name="Freeform 40"/>
            <p:cNvSpPr>
              <a:spLocks noChangeAspect="1" noEditPoints="1"/>
            </p:cNvSpPr>
            <p:nvPr/>
          </p:nvSpPr>
          <p:spPr bwMode="gray">
            <a:xfrm>
              <a:off x="7492253" y="3021386"/>
              <a:ext cx="192489" cy="198000"/>
            </a:xfrm>
            <a:custGeom>
              <a:avLst/>
              <a:gdLst/>
              <a:ahLst/>
              <a:cxnLst>
                <a:cxn ang="0">
                  <a:pos x="64" y="57"/>
                </a:cxn>
                <a:cxn ang="0">
                  <a:pos x="59" y="54"/>
                </a:cxn>
                <a:cxn ang="0">
                  <a:pos x="58" y="28"/>
                </a:cxn>
                <a:cxn ang="0">
                  <a:pos x="60" y="24"/>
                </a:cxn>
                <a:cxn ang="0">
                  <a:pos x="65" y="21"/>
                </a:cxn>
                <a:cxn ang="0">
                  <a:pos x="67" y="17"/>
                </a:cxn>
                <a:cxn ang="0">
                  <a:pos x="1" y="17"/>
                </a:cxn>
                <a:cxn ang="0">
                  <a:pos x="3" y="21"/>
                </a:cxn>
                <a:cxn ang="0">
                  <a:pos x="12" y="24"/>
                </a:cxn>
                <a:cxn ang="0">
                  <a:pos x="12" y="26"/>
                </a:cxn>
                <a:cxn ang="0">
                  <a:pos x="9" y="28"/>
                </a:cxn>
                <a:cxn ang="0">
                  <a:pos x="10" y="54"/>
                </a:cxn>
                <a:cxn ang="0">
                  <a:pos x="8" y="57"/>
                </a:cxn>
                <a:cxn ang="0">
                  <a:pos x="4" y="61"/>
                </a:cxn>
                <a:cxn ang="0">
                  <a:pos x="9" y="62"/>
                </a:cxn>
                <a:cxn ang="0">
                  <a:pos x="0" y="63"/>
                </a:cxn>
                <a:cxn ang="0">
                  <a:pos x="68" y="70"/>
                </a:cxn>
                <a:cxn ang="0">
                  <a:pos x="64" y="63"/>
                </a:cxn>
                <a:cxn ang="0">
                  <a:pos x="28" y="54"/>
                </a:cxn>
                <a:cxn ang="0">
                  <a:pos x="21" y="57"/>
                </a:cxn>
                <a:cxn ang="0">
                  <a:pos x="20" y="54"/>
                </a:cxn>
                <a:cxn ang="0">
                  <a:pos x="21" y="28"/>
                </a:cxn>
                <a:cxn ang="0">
                  <a:pos x="27" y="24"/>
                </a:cxn>
                <a:cxn ang="0">
                  <a:pos x="29" y="28"/>
                </a:cxn>
                <a:cxn ang="0">
                  <a:pos x="34" y="17"/>
                </a:cxn>
                <a:cxn ang="0">
                  <a:pos x="34" y="10"/>
                </a:cxn>
                <a:cxn ang="0">
                  <a:pos x="34" y="17"/>
                </a:cxn>
                <a:cxn ang="0">
                  <a:pos x="47" y="54"/>
                </a:cxn>
                <a:cxn ang="0">
                  <a:pos x="40" y="57"/>
                </a:cxn>
                <a:cxn ang="0">
                  <a:pos x="38" y="54"/>
                </a:cxn>
                <a:cxn ang="0">
                  <a:pos x="39" y="28"/>
                </a:cxn>
                <a:cxn ang="0">
                  <a:pos x="46" y="24"/>
                </a:cxn>
                <a:cxn ang="0">
                  <a:pos x="48" y="28"/>
                </a:cxn>
              </a:cxnLst>
              <a:rect l="0" t="0" r="r" b="b"/>
              <a:pathLst>
                <a:path w="68" h="70">
                  <a:moveTo>
                    <a:pt x="64" y="63"/>
                  </a:moveTo>
                  <a:cubicBezTo>
                    <a:pt x="64" y="57"/>
                    <a:pt x="64" y="57"/>
                    <a:pt x="64" y="57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3" y="24"/>
                    <a:pt x="13" y="25"/>
                  </a:cubicBezTo>
                  <a:cubicBezTo>
                    <a:pt x="13" y="25"/>
                    <a:pt x="12" y="26"/>
                    <a:pt x="12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9" y="61"/>
                    <a:pt x="9" y="62"/>
                  </a:cubicBezTo>
                  <a:cubicBezTo>
                    <a:pt x="9" y="62"/>
                    <a:pt x="8" y="63"/>
                    <a:pt x="8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8" y="63"/>
                    <a:pt x="68" y="63"/>
                    <a:pt x="68" y="63"/>
                  </a:cubicBezTo>
                  <a:lnTo>
                    <a:pt x="64" y="63"/>
                  </a:lnTo>
                  <a:close/>
                  <a:moveTo>
                    <a:pt x="29" y="54"/>
                  </a:moveTo>
                  <a:cubicBezTo>
                    <a:pt x="28" y="54"/>
                    <a:pt x="28" y="54"/>
                    <a:pt x="28" y="54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1" y="57"/>
                    <a:pt x="21" y="57"/>
                    <a:pt x="21" y="57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9" y="28"/>
                    <a:pt x="29" y="28"/>
                    <a:pt x="29" y="28"/>
                  </a:cubicBezTo>
                  <a:lnTo>
                    <a:pt x="29" y="54"/>
                  </a:lnTo>
                  <a:close/>
                  <a:moveTo>
                    <a:pt x="34" y="17"/>
                  </a:moveTo>
                  <a:cubicBezTo>
                    <a:pt x="32" y="17"/>
                    <a:pt x="30" y="16"/>
                    <a:pt x="30" y="14"/>
                  </a:cubicBezTo>
                  <a:cubicBezTo>
                    <a:pt x="30" y="12"/>
                    <a:pt x="32" y="10"/>
                    <a:pt x="34" y="10"/>
                  </a:cubicBezTo>
                  <a:cubicBezTo>
                    <a:pt x="36" y="10"/>
                    <a:pt x="37" y="12"/>
                    <a:pt x="37" y="14"/>
                  </a:cubicBezTo>
                  <a:cubicBezTo>
                    <a:pt x="37" y="16"/>
                    <a:pt x="36" y="17"/>
                    <a:pt x="34" y="17"/>
                  </a:cubicBezTo>
                  <a:close/>
                  <a:moveTo>
                    <a:pt x="48" y="54"/>
                  </a:moveTo>
                  <a:cubicBezTo>
                    <a:pt x="47" y="54"/>
                    <a:pt x="47" y="54"/>
                    <a:pt x="47" y="54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8" y="28"/>
                    <a:pt x="48" y="28"/>
                    <a:pt x="48" y="28"/>
                  </a:cubicBezTo>
                  <a:lnTo>
                    <a:pt x="48" y="54"/>
                  </a:ln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5" name="Freeform 44"/>
            <p:cNvSpPr>
              <a:spLocks noChangeAspect="1" noEditPoints="1"/>
            </p:cNvSpPr>
            <p:nvPr/>
          </p:nvSpPr>
          <p:spPr bwMode="gray">
            <a:xfrm>
              <a:off x="6960174" y="3015888"/>
              <a:ext cx="266400" cy="208996"/>
            </a:xfrm>
            <a:custGeom>
              <a:avLst/>
              <a:gdLst/>
              <a:ahLst/>
              <a:cxnLst>
                <a:cxn ang="0">
                  <a:pos x="638" y="467"/>
                </a:cxn>
                <a:cxn ang="0">
                  <a:pos x="638" y="79"/>
                </a:cxn>
                <a:cxn ang="0">
                  <a:pos x="645" y="79"/>
                </a:cxn>
                <a:cxn ang="0">
                  <a:pos x="645" y="50"/>
                </a:cxn>
                <a:cxn ang="0">
                  <a:pos x="523" y="50"/>
                </a:cxn>
                <a:cxn ang="0">
                  <a:pos x="523" y="0"/>
                </a:cxn>
                <a:cxn ang="0">
                  <a:pos x="143" y="0"/>
                </a:cxn>
                <a:cxn ang="0">
                  <a:pos x="143" y="50"/>
                </a:cxn>
                <a:cxn ang="0">
                  <a:pos x="14" y="50"/>
                </a:cxn>
                <a:cxn ang="0">
                  <a:pos x="14" y="79"/>
                </a:cxn>
                <a:cxn ang="0">
                  <a:pos x="29" y="79"/>
                </a:cxn>
                <a:cxn ang="0">
                  <a:pos x="29" y="467"/>
                </a:cxn>
                <a:cxn ang="0">
                  <a:pos x="0" y="467"/>
                </a:cxn>
                <a:cxn ang="0">
                  <a:pos x="0" y="517"/>
                </a:cxn>
                <a:cxn ang="0">
                  <a:pos x="659" y="517"/>
                </a:cxn>
                <a:cxn ang="0">
                  <a:pos x="659" y="467"/>
                </a:cxn>
                <a:cxn ang="0">
                  <a:pos x="638" y="467"/>
                </a:cxn>
                <a:cxn ang="0">
                  <a:pos x="244" y="438"/>
                </a:cxn>
                <a:cxn ang="0">
                  <a:pos x="72" y="438"/>
                </a:cxn>
                <a:cxn ang="0">
                  <a:pos x="72" y="359"/>
                </a:cxn>
                <a:cxn ang="0">
                  <a:pos x="244" y="359"/>
                </a:cxn>
                <a:cxn ang="0">
                  <a:pos x="244" y="438"/>
                </a:cxn>
                <a:cxn ang="0">
                  <a:pos x="244" y="316"/>
                </a:cxn>
                <a:cxn ang="0">
                  <a:pos x="72" y="316"/>
                </a:cxn>
                <a:cxn ang="0">
                  <a:pos x="72" y="230"/>
                </a:cxn>
                <a:cxn ang="0">
                  <a:pos x="244" y="230"/>
                </a:cxn>
                <a:cxn ang="0">
                  <a:pos x="244" y="316"/>
                </a:cxn>
                <a:cxn ang="0">
                  <a:pos x="244" y="187"/>
                </a:cxn>
                <a:cxn ang="0">
                  <a:pos x="72" y="187"/>
                </a:cxn>
                <a:cxn ang="0">
                  <a:pos x="72" y="108"/>
                </a:cxn>
                <a:cxn ang="0">
                  <a:pos x="244" y="108"/>
                </a:cxn>
                <a:cxn ang="0">
                  <a:pos x="244" y="187"/>
                </a:cxn>
                <a:cxn ang="0">
                  <a:pos x="372" y="467"/>
                </a:cxn>
                <a:cxn ang="0">
                  <a:pos x="294" y="467"/>
                </a:cxn>
                <a:cxn ang="0">
                  <a:pos x="294" y="359"/>
                </a:cxn>
                <a:cxn ang="0">
                  <a:pos x="372" y="359"/>
                </a:cxn>
                <a:cxn ang="0">
                  <a:pos x="372" y="467"/>
                </a:cxn>
                <a:cxn ang="0">
                  <a:pos x="372" y="316"/>
                </a:cxn>
                <a:cxn ang="0">
                  <a:pos x="294" y="316"/>
                </a:cxn>
                <a:cxn ang="0">
                  <a:pos x="294" y="230"/>
                </a:cxn>
                <a:cxn ang="0">
                  <a:pos x="372" y="230"/>
                </a:cxn>
                <a:cxn ang="0">
                  <a:pos x="372" y="316"/>
                </a:cxn>
                <a:cxn ang="0">
                  <a:pos x="372" y="187"/>
                </a:cxn>
                <a:cxn ang="0">
                  <a:pos x="294" y="187"/>
                </a:cxn>
                <a:cxn ang="0">
                  <a:pos x="294" y="108"/>
                </a:cxn>
                <a:cxn ang="0">
                  <a:pos x="372" y="108"/>
                </a:cxn>
                <a:cxn ang="0">
                  <a:pos x="372" y="187"/>
                </a:cxn>
                <a:cxn ang="0">
                  <a:pos x="595" y="438"/>
                </a:cxn>
                <a:cxn ang="0">
                  <a:pos x="415" y="438"/>
                </a:cxn>
                <a:cxn ang="0">
                  <a:pos x="415" y="359"/>
                </a:cxn>
                <a:cxn ang="0">
                  <a:pos x="595" y="359"/>
                </a:cxn>
                <a:cxn ang="0">
                  <a:pos x="595" y="438"/>
                </a:cxn>
                <a:cxn ang="0">
                  <a:pos x="595" y="316"/>
                </a:cxn>
                <a:cxn ang="0">
                  <a:pos x="415" y="316"/>
                </a:cxn>
                <a:cxn ang="0">
                  <a:pos x="415" y="230"/>
                </a:cxn>
                <a:cxn ang="0">
                  <a:pos x="595" y="230"/>
                </a:cxn>
                <a:cxn ang="0">
                  <a:pos x="595" y="316"/>
                </a:cxn>
                <a:cxn ang="0">
                  <a:pos x="595" y="187"/>
                </a:cxn>
                <a:cxn ang="0">
                  <a:pos x="415" y="187"/>
                </a:cxn>
                <a:cxn ang="0">
                  <a:pos x="415" y="108"/>
                </a:cxn>
                <a:cxn ang="0">
                  <a:pos x="595" y="108"/>
                </a:cxn>
                <a:cxn ang="0">
                  <a:pos x="595" y="187"/>
                </a:cxn>
              </a:cxnLst>
              <a:rect l="0" t="0" r="r" b="b"/>
              <a:pathLst>
                <a:path w="659" h="517">
                  <a:moveTo>
                    <a:pt x="638" y="467"/>
                  </a:moveTo>
                  <a:lnTo>
                    <a:pt x="638" y="79"/>
                  </a:lnTo>
                  <a:lnTo>
                    <a:pt x="645" y="79"/>
                  </a:lnTo>
                  <a:lnTo>
                    <a:pt x="645" y="50"/>
                  </a:lnTo>
                  <a:lnTo>
                    <a:pt x="523" y="50"/>
                  </a:lnTo>
                  <a:lnTo>
                    <a:pt x="523" y="0"/>
                  </a:lnTo>
                  <a:lnTo>
                    <a:pt x="143" y="0"/>
                  </a:lnTo>
                  <a:lnTo>
                    <a:pt x="143" y="50"/>
                  </a:lnTo>
                  <a:lnTo>
                    <a:pt x="14" y="50"/>
                  </a:lnTo>
                  <a:lnTo>
                    <a:pt x="14" y="79"/>
                  </a:lnTo>
                  <a:lnTo>
                    <a:pt x="29" y="79"/>
                  </a:lnTo>
                  <a:lnTo>
                    <a:pt x="29" y="467"/>
                  </a:lnTo>
                  <a:lnTo>
                    <a:pt x="0" y="467"/>
                  </a:lnTo>
                  <a:lnTo>
                    <a:pt x="0" y="517"/>
                  </a:lnTo>
                  <a:lnTo>
                    <a:pt x="659" y="517"/>
                  </a:lnTo>
                  <a:lnTo>
                    <a:pt x="659" y="467"/>
                  </a:lnTo>
                  <a:lnTo>
                    <a:pt x="638" y="467"/>
                  </a:lnTo>
                  <a:close/>
                  <a:moveTo>
                    <a:pt x="244" y="438"/>
                  </a:moveTo>
                  <a:lnTo>
                    <a:pt x="72" y="438"/>
                  </a:lnTo>
                  <a:lnTo>
                    <a:pt x="72" y="359"/>
                  </a:lnTo>
                  <a:lnTo>
                    <a:pt x="244" y="359"/>
                  </a:lnTo>
                  <a:lnTo>
                    <a:pt x="244" y="438"/>
                  </a:lnTo>
                  <a:close/>
                  <a:moveTo>
                    <a:pt x="244" y="316"/>
                  </a:moveTo>
                  <a:lnTo>
                    <a:pt x="72" y="316"/>
                  </a:lnTo>
                  <a:lnTo>
                    <a:pt x="72" y="230"/>
                  </a:lnTo>
                  <a:lnTo>
                    <a:pt x="244" y="230"/>
                  </a:lnTo>
                  <a:lnTo>
                    <a:pt x="244" y="316"/>
                  </a:lnTo>
                  <a:close/>
                  <a:moveTo>
                    <a:pt x="244" y="187"/>
                  </a:moveTo>
                  <a:lnTo>
                    <a:pt x="72" y="187"/>
                  </a:lnTo>
                  <a:lnTo>
                    <a:pt x="72" y="108"/>
                  </a:lnTo>
                  <a:lnTo>
                    <a:pt x="244" y="108"/>
                  </a:lnTo>
                  <a:lnTo>
                    <a:pt x="244" y="187"/>
                  </a:lnTo>
                  <a:close/>
                  <a:moveTo>
                    <a:pt x="372" y="467"/>
                  </a:moveTo>
                  <a:lnTo>
                    <a:pt x="294" y="467"/>
                  </a:lnTo>
                  <a:lnTo>
                    <a:pt x="294" y="359"/>
                  </a:lnTo>
                  <a:lnTo>
                    <a:pt x="372" y="359"/>
                  </a:lnTo>
                  <a:lnTo>
                    <a:pt x="372" y="467"/>
                  </a:lnTo>
                  <a:close/>
                  <a:moveTo>
                    <a:pt x="372" y="316"/>
                  </a:moveTo>
                  <a:lnTo>
                    <a:pt x="294" y="316"/>
                  </a:lnTo>
                  <a:lnTo>
                    <a:pt x="294" y="230"/>
                  </a:lnTo>
                  <a:lnTo>
                    <a:pt x="372" y="230"/>
                  </a:lnTo>
                  <a:lnTo>
                    <a:pt x="372" y="316"/>
                  </a:lnTo>
                  <a:close/>
                  <a:moveTo>
                    <a:pt x="372" y="187"/>
                  </a:moveTo>
                  <a:lnTo>
                    <a:pt x="294" y="187"/>
                  </a:lnTo>
                  <a:lnTo>
                    <a:pt x="294" y="108"/>
                  </a:lnTo>
                  <a:lnTo>
                    <a:pt x="372" y="108"/>
                  </a:lnTo>
                  <a:lnTo>
                    <a:pt x="372" y="187"/>
                  </a:lnTo>
                  <a:close/>
                  <a:moveTo>
                    <a:pt x="595" y="438"/>
                  </a:moveTo>
                  <a:lnTo>
                    <a:pt x="415" y="438"/>
                  </a:lnTo>
                  <a:lnTo>
                    <a:pt x="415" y="359"/>
                  </a:lnTo>
                  <a:lnTo>
                    <a:pt x="595" y="359"/>
                  </a:lnTo>
                  <a:lnTo>
                    <a:pt x="595" y="438"/>
                  </a:lnTo>
                  <a:close/>
                  <a:moveTo>
                    <a:pt x="595" y="316"/>
                  </a:moveTo>
                  <a:lnTo>
                    <a:pt x="415" y="316"/>
                  </a:lnTo>
                  <a:lnTo>
                    <a:pt x="415" y="230"/>
                  </a:lnTo>
                  <a:lnTo>
                    <a:pt x="595" y="230"/>
                  </a:lnTo>
                  <a:lnTo>
                    <a:pt x="595" y="316"/>
                  </a:lnTo>
                  <a:close/>
                  <a:moveTo>
                    <a:pt x="595" y="187"/>
                  </a:moveTo>
                  <a:lnTo>
                    <a:pt x="415" y="187"/>
                  </a:lnTo>
                  <a:lnTo>
                    <a:pt x="415" y="108"/>
                  </a:lnTo>
                  <a:lnTo>
                    <a:pt x="595" y="108"/>
                  </a:lnTo>
                  <a:lnTo>
                    <a:pt x="595" y="187"/>
                  </a:ln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6" name="Freeform 48"/>
            <p:cNvSpPr>
              <a:spLocks noChangeAspect="1" noEditPoints="1"/>
            </p:cNvSpPr>
            <p:nvPr/>
          </p:nvSpPr>
          <p:spPr bwMode="gray">
            <a:xfrm>
              <a:off x="6432209" y="3015578"/>
              <a:ext cx="327600" cy="209616"/>
            </a:xfrm>
            <a:custGeom>
              <a:avLst/>
              <a:gdLst/>
              <a:ahLst/>
              <a:cxnLst>
                <a:cxn ang="0">
                  <a:pos x="786" y="467"/>
                </a:cxn>
                <a:cxn ang="0">
                  <a:pos x="786" y="79"/>
                </a:cxn>
                <a:cxn ang="0">
                  <a:pos x="801" y="79"/>
                </a:cxn>
                <a:cxn ang="0">
                  <a:pos x="801" y="50"/>
                </a:cxn>
                <a:cxn ang="0">
                  <a:pos x="758" y="50"/>
                </a:cxn>
                <a:cxn ang="0">
                  <a:pos x="758" y="0"/>
                </a:cxn>
                <a:cxn ang="0">
                  <a:pos x="701" y="0"/>
                </a:cxn>
                <a:cxn ang="0">
                  <a:pos x="701" y="50"/>
                </a:cxn>
                <a:cxn ang="0">
                  <a:pos x="372" y="50"/>
                </a:cxn>
                <a:cxn ang="0">
                  <a:pos x="372" y="79"/>
                </a:cxn>
                <a:cxn ang="0">
                  <a:pos x="386" y="79"/>
                </a:cxn>
                <a:cxn ang="0">
                  <a:pos x="386" y="144"/>
                </a:cxn>
                <a:cxn ang="0">
                  <a:pos x="0" y="201"/>
                </a:cxn>
                <a:cxn ang="0">
                  <a:pos x="7" y="230"/>
                </a:cxn>
                <a:cxn ang="0">
                  <a:pos x="28" y="230"/>
                </a:cxn>
                <a:cxn ang="0">
                  <a:pos x="28" y="467"/>
                </a:cxn>
                <a:cxn ang="0">
                  <a:pos x="0" y="467"/>
                </a:cxn>
                <a:cxn ang="0">
                  <a:pos x="0" y="517"/>
                </a:cxn>
                <a:cxn ang="0">
                  <a:pos x="808" y="517"/>
                </a:cxn>
                <a:cxn ang="0">
                  <a:pos x="808" y="467"/>
                </a:cxn>
                <a:cxn ang="0">
                  <a:pos x="786" y="467"/>
                </a:cxn>
                <a:cxn ang="0">
                  <a:pos x="350" y="467"/>
                </a:cxn>
                <a:cxn ang="0">
                  <a:pos x="79" y="467"/>
                </a:cxn>
                <a:cxn ang="0">
                  <a:pos x="79" y="280"/>
                </a:cxn>
                <a:cxn ang="0">
                  <a:pos x="350" y="280"/>
                </a:cxn>
                <a:cxn ang="0">
                  <a:pos x="350" y="467"/>
                </a:cxn>
                <a:cxn ang="0">
                  <a:pos x="565" y="402"/>
                </a:cxn>
                <a:cxn ang="0">
                  <a:pos x="465" y="402"/>
                </a:cxn>
                <a:cxn ang="0">
                  <a:pos x="465" y="330"/>
                </a:cxn>
                <a:cxn ang="0">
                  <a:pos x="565" y="330"/>
                </a:cxn>
                <a:cxn ang="0">
                  <a:pos x="565" y="402"/>
                </a:cxn>
                <a:cxn ang="0">
                  <a:pos x="565" y="223"/>
                </a:cxn>
                <a:cxn ang="0">
                  <a:pos x="465" y="223"/>
                </a:cxn>
                <a:cxn ang="0">
                  <a:pos x="465" y="151"/>
                </a:cxn>
                <a:cxn ang="0">
                  <a:pos x="565" y="151"/>
                </a:cxn>
                <a:cxn ang="0">
                  <a:pos x="565" y="223"/>
                </a:cxn>
                <a:cxn ang="0">
                  <a:pos x="715" y="467"/>
                </a:cxn>
                <a:cxn ang="0">
                  <a:pos x="615" y="467"/>
                </a:cxn>
                <a:cxn ang="0">
                  <a:pos x="615" y="330"/>
                </a:cxn>
                <a:cxn ang="0">
                  <a:pos x="715" y="330"/>
                </a:cxn>
                <a:cxn ang="0">
                  <a:pos x="715" y="467"/>
                </a:cxn>
                <a:cxn ang="0">
                  <a:pos x="715" y="223"/>
                </a:cxn>
                <a:cxn ang="0">
                  <a:pos x="615" y="223"/>
                </a:cxn>
                <a:cxn ang="0">
                  <a:pos x="615" y="151"/>
                </a:cxn>
                <a:cxn ang="0">
                  <a:pos x="715" y="151"/>
                </a:cxn>
                <a:cxn ang="0">
                  <a:pos x="715" y="223"/>
                </a:cxn>
              </a:cxnLst>
              <a:rect l="0" t="0" r="r" b="b"/>
              <a:pathLst>
                <a:path w="808" h="517">
                  <a:moveTo>
                    <a:pt x="786" y="467"/>
                  </a:moveTo>
                  <a:lnTo>
                    <a:pt x="786" y="79"/>
                  </a:lnTo>
                  <a:lnTo>
                    <a:pt x="801" y="79"/>
                  </a:lnTo>
                  <a:lnTo>
                    <a:pt x="801" y="50"/>
                  </a:lnTo>
                  <a:lnTo>
                    <a:pt x="758" y="50"/>
                  </a:lnTo>
                  <a:lnTo>
                    <a:pt x="758" y="0"/>
                  </a:lnTo>
                  <a:lnTo>
                    <a:pt x="701" y="0"/>
                  </a:lnTo>
                  <a:lnTo>
                    <a:pt x="701" y="50"/>
                  </a:lnTo>
                  <a:lnTo>
                    <a:pt x="372" y="50"/>
                  </a:lnTo>
                  <a:lnTo>
                    <a:pt x="372" y="79"/>
                  </a:lnTo>
                  <a:lnTo>
                    <a:pt x="386" y="79"/>
                  </a:lnTo>
                  <a:lnTo>
                    <a:pt x="386" y="144"/>
                  </a:lnTo>
                  <a:lnTo>
                    <a:pt x="0" y="201"/>
                  </a:lnTo>
                  <a:lnTo>
                    <a:pt x="7" y="230"/>
                  </a:lnTo>
                  <a:lnTo>
                    <a:pt x="28" y="230"/>
                  </a:lnTo>
                  <a:lnTo>
                    <a:pt x="28" y="467"/>
                  </a:lnTo>
                  <a:lnTo>
                    <a:pt x="0" y="467"/>
                  </a:lnTo>
                  <a:lnTo>
                    <a:pt x="0" y="517"/>
                  </a:lnTo>
                  <a:lnTo>
                    <a:pt x="808" y="517"/>
                  </a:lnTo>
                  <a:lnTo>
                    <a:pt x="808" y="467"/>
                  </a:lnTo>
                  <a:lnTo>
                    <a:pt x="786" y="467"/>
                  </a:lnTo>
                  <a:close/>
                  <a:moveTo>
                    <a:pt x="350" y="467"/>
                  </a:moveTo>
                  <a:lnTo>
                    <a:pt x="79" y="467"/>
                  </a:lnTo>
                  <a:lnTo>
                    <a:pt x="79" y="280"/>
                  </a:lnTo>
                  <a:lnTo>
                    <a:pt x="350" y="280"/>
                  </a:lnTo>
                  <a:lnTo>
                    <a:pt x="350" y="467"/>
                  </a:lnTo>
                  <a:close/>
                  <a:moveTo>
                    <a:pt x="565" y="402"/>
                  </a:moveTo>
                  <a:lnTo>
                    <a:pt x="465" y="402"/>
                  </a:lnTo>
                  <a:lnTo>
                    <a:pt x="465" y="330"/>
                  </a:lnTo>
                  <a:lnTo>
                    <a:pt x="565" y="330"/>
                  </a:lnTo>
                  <a:lnTo>
                    <a:pt x="565" y="402"/>
                  </a:lnTo>
                  <a:close/>
                  <a:moveTo>
                    <a:pt x="565" y="223"/>
                  </a:moveTo>
                  <a:lnTo>
                    <a:pt x="465" y="223"/>
                  </a:lnTo>
                  <a:lnTo>
                    <a:pt x="465" y="151"/>
                  </a:lnTo>
                  <a:lnTo>
                    <a:pt x="565" y="151"/>
                  </a:lnTo>
                  <a:lnTo>
                    <a:pt x="565" y="223"/>
                  </a:lnTo>
                  <a:close/>
                  <a:moveTo>
                    <a:pt x="715" y="467"/>
                  </a:moveTo>
                  <a:lnTo>
                    <a:pt x="615" y="467"/>
                  </a:lnTo>
                  <a:lnTo>
                    <a:pt x="615" y="330"/>
                  </a:lnTo>
                  <a:lnTo>
                    <a:pt x="715" y="330"/>
                  </a:lnTo>
                  <a:lnTo>
                    <a:pt x="715" y="467"/>
                  </a:lnTo>
                  <a:close/>
                  <a:moveTo>
                    <a:pt x="715" y="223"/>
                  </a:moveTo>
                  <a:lnTo>
                    <a:pt x="615" y="223"/>
                  </a:lnTo>
                  <a:lnTo>
                    <a:pt x="615" y="151"/>
                  </a:lnTo>
                  <a:lnTo>
                    <a:pt x="715" y="151"/>
                  </a:lnTo>
                  <a:lnTo>
                    <a:pt x="715" y="223"/>
                  </a:ln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7" name="Freeform 52"/>
            <p:cNvSpPr>
              <a:spLocks noChangeAspect="1" noEditPoints="1"/>
            </p:cNvSpPr>
            <p:nvPr/>
          </p:nvSpPr>
          <p:spPr bwMode="gray">
            <a:xfrm>
              <a:off x="3513725" y="3003386"/>
              <a:ext cx="141460" cy="234000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0" y="72"/>
                </a:cxn>
                <a:cxn ang="0">
                  <a:pos x="8" y="80"/>
                </a:cxn>
                <a:cxn ang="0">
                  <a:pos x="39" y="80"/>
                </a:cxn>
                <a:cxn ang="0">
                  <a:pos x="48" y="72"/>
                </a:cxn>
                <a:cxn ang="0">
                  <a:pos x="48" y="8"/>
                </a:cxn>
                <a:cxn ang="0">
                  <a:pos x="39" y="0"/>
                </a:cxn>
                <a:cxn ang="0">
                  <a:pos x="24" y="77"/>
                </a:cxn>
                <a:cxn ang="0">
                  <a:pos x="18" y="73"/>
                </a:cxn>
                <a:cxn ang="0">
                  <a:pos x="24" y="69"/>
                </a:cxn>
                <a:cxn ang="0">
                  <a:pos x="30" y="73"/>
                </a:cxn>
                <a:cxn ang="0">
                  <a:pos x="24" y="77"/>
                </a:cxn>
                <a:cxn ang="0">
                  <a:pos x="41" y="65"/>
                </a:cxn>
                <a:cxn ang="0">
                  <a:pos x="7" y="65"/>
                </a:cxn>
                <a:cxn ang="0">
                  <a:pos x="7" y="11"/>
                </a:cxn>
                <a:cxn ang="0">
                  <a:pos x="41" y="11"/>
                </a:cxn>
                <a:cxn ang="0">
                  <a:pos x="41" y="65"/>
                </a:cxn>
              </a:cxnLst>
              <a:rect l="0" t="0" r="r" b="b"/>
              <a:pathLst>
                <a:path w="48" h="80">
                  <a:moveTo>
                    <a:pt x="39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7"/>
                    <a:pt x="4" y="80"/>
                    <a:pt x="8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44" y="80"/>
                    <a:pt x="48" y="77"/>
                    <a:pt x="48" y="72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4"/>
                    <a:pt x="44" y="0"/>
                    <a:pt x="39" y="0"/>
                  </a:cubicBezTo>
                  <a:close/>
                  <a:moveTo>
                    <a:pt x="24" y="77"/>
                  </a:moveTo>
                  <a:cubicBezTo>
                    <a:pt x="21" y="77"/>
                    <a:pt x="18" y="75"/>
                    <a:pt x="18" y="73"/>
                  </a:cubicBezTo>
                  <a:cubicBezTo>
                    <a:pt x="18" y="71"/>
                    <a:pt x="21" y="69"/>
                    <a:pt x="24" y="69"/>
                  </a:cubicBezTo>
                  <a:cubicBezTo>
                    <a:pt x="27" y="69"/>
                    <a:pt x="30" y="71"/>
                    <a:pt x="30" y="73"/>
                  </a:cubicBezTo>
                  <a:cubicBezTo>
                    <a:pt x="30" y="75"/>
                    <a:pt x="27" y="77"/>
                    <a:pt x="24" y="77"/>
                  </a:cubicBezTo>
                  <a:close/>
                  <a:moveTo>
                    <a:pt x="41" y="65"/>
                  </a:moveTo>
                  <a:cubicBezTo>
                    <a:pt x="7" y="65"/>
                    <a:pt x="7" y="65"/>
                    <a:pt x="7" y="65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41" y="11"/>
                    <a:pt x="41" y="11"/>
                    <a:pt x="41" y="11"/>
                  </a:cubicBezTo>
                  <a:lnTo>
                    <a:pt x="41" y="65"/>
                  </a:ln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8" name="Freeform 56"/>
            <p:cNvSpPr>
              <a:spLocks noChangeAspect="1" noEditPoints="1"/>
            </p:cNvSpPr>
            <p:nvPr/>
          </p:nvSpPr>
          <p:spPr bwMode="gray">
            <a:xfrm>
              <a:off x="4014726" y="2974586"/>
              <a:ext cx="138469" cy="291600"/>
            </a:xfrm>
            <a:custGeom>
              <a:avLst/>
              <a:gdLst/>
              <a:ahLst/>
              <a:cxnLst>
                <a:cxn ang="0">
                  <a:pos x="41" y="9"/>
                </a:cxn>
                <a:cxn ang="0">
                  <a:pos x="34" y="1"/>
                </a:cxn>
                <a:cxn ang="0">
                  <a:pos x="34" y="1"/>
                </a:cxn>
                <a:cxn ang="0">
                  <a:pos x="13" y="1"/>
                </a:cxn>
                <a:cxn ang="0">
                  <a:pos x="6" y="9"/>
                </a:cxn>
                <a:cxn ang="0">
                  <a:pos x="0" y="18"/>
                </a:cxn>
                <a:cxn ang="0">
                  <a:pos x="0" y="86"/>
                </a:cxn>
                <a:cxn ang="0">
                  <a:pos x="6" y="95"/>
                </a:cxn>
                <a:cxn ang="0">
                  <a:pos x="13" y="100"/>
                </a:cxn>
                <a:cxn ang="0">
                  <a:pos x="13" y="100"/>
                </a:cxn>
                <a:cxn ang="0">
                  <a:pos x="33" y="100"/>
                </a:cxn>
                <a:cxn ang="0">
                  <a:pos x="40" y="95"/>
                </a:cxn>
                <a:cxn ang="0">
                  <a:pos x="47" y="86"/>
                </a:cxn>
                <a:cxn ang="0">
                  <a:pos x="47" y="18"/>
                </a:cxn>
                <a:cxn ang="0">
                  <a:pos x="41" y="9"/>
                </a:cxn>
                <a:cxn ang="0">
                  <a:pos x="42" y="83"/>
                </a:cxn>
                <a:cxn ang="0">
                  <a:pos x="36" y="91"/>
                </a:cxn>
                <a:cxn ang="0">
                  <a:pos x="11" y="91"/>
                </a:cxn>
                <a:cxn ang="0">
                  <a:pos x="4" y="84"/>
                </a:cxn>
                <a:cxn ang="0">
                  <a:pos x="4" y="22"/>
                </a:cxn>
                <a:cxn ang="0">
                  <a:pos x="11" y="14"/>
                </a:cxn>
                <a:cxn ang="0">
                  <a:pos x="36" y="14"/>
                </a:cxn>
                <a:cxn ang="0">
                  <a:pos x="42" y="22"/>
                </a:cxn>
                <a:cxn ang="0">
                  <a:pos x="42" y="83"/>
                </a:cxn>
                <a:cxn ang="0">
                  <a:pos x="24" y="43"/>
                </a:cxn>
                <a:cxn ang="0">
                  <a:pos x="37" y="43"/>
                </a:cxn>
                <a:cxn ang="0">
                  <a:pos x="37" y="23"/>
                </a:cxn>
                <a:cxn ang="0">
                  <a:pos x="32" y="18"/>
                </a:cxn>
                <a:cxn ang="0">
                  <a:pos x="14" y="18"/>
                </a:cxn>
                <a:cxn ang="0">
                  <a:pos x="9" y="24"/>
                </a:cxn>
                <a:cxn ang="0">
                  <a:pos x="9" y="50"/>
                </a:cxn>
                <a:cxn ang="0">
                  <a:pos x="28" y="26"/>
                </a:cxn>
                <a:cxn ang="0">
                  <a:pos x="24" y="43"/>
                </a:cxn>
                <a:cxn ang="0">
                  <a:pos x="37" y="79"/>
                </a:cxn>
                <a:cxn ang="0">
                  <a:pos x="37" y="48"/>
                </a:cxn>
                <a:cxn ang="0">
                  <a:pos x="18" y="78"/>
                </a:cxn>
                <a:cxn ang="0">
                  <a:pos x="24" y="52"/>
                </a:cxn>
                <a:cxn ang="0">
                  <a:pos x="9" y="52"/>
                </a:cxn>
                <a:cxn ang="0">
                  <a:pos x="9" y="80"/>
                </a:cxn>
                <a:cxn ang="0">
                  <a:pos x="13" y="86"/>
                </a:cxn>
                <a:cxn ang="0">
                  <a:pos x="34" y="86"/>
                </a:cxn>
                <a:cxn ang="0">
                  <a:pos x="37" y="79"/>
                </a:cxn>
              </a:cxnLst>
              <a:rect l="0" t="0" r="r" b="b"/>
              <a:pathLst>
                <a:path w="47" h="100">
                  <a:moveTo>
                    <a:pt x="41" y="9"/>
                  </a:moveTo>
                  <a:cubicBezTo>
                    <a:pt x="40" y="4"/>
                    <a:pt x="38" y="2"/>
                    <a:pt x="34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23" y="0"/>
                    <a:pt x="13" y="1"/>
                    <a:pt x="13" y="1"/>
                  </a:cubicBezTo>
                  <a:cubicBezTo>
                    <a:pt x="9" y="2"/>
                    <a:pt x="6" y="4"/>
                    <a:pt x="6" y="9"/>
                  </a:cubicBezTo>
                  <a:cubicBezTo>
                    <a:pt x="1" y="10"/>
                    <a:pt x="0" y="12"/>
                    <a:pt x="0" y="1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2"/>
                    <a:pt x="2" y="95"/>
                    <a:pt x="6" y="95"/>
                  </a:cubicBezTo>
                  <a:cubicBezTo>
                    <a:pt x="6" y="97"/>
                    <a:pt x="9" y="99"/>
                    <a:pt x="13" y="100"/>
                  </a:cubicBezTo>
                  <a:cubicBezTo>
                    <a:pt x="13" y="100"/>
                    <a:pt x="13" y="100"/>
                    <a:pt x="13" y="100"/>
                  </a:cubicBezTo>
                  <a:cubicBezTo>
                    <a:pt x="24" y="100"/>
                    <a:pt x="33" y="100"/>
                    <a:pt x="33" y="100"/>
                  </a:cubicBezTo>
                  <a:cubicBezTo>
                    <a:pt x="37" y="99"/>
                    <a:pt x="40" y="97"/>
                    <a:pt x="40" y="95"/>
                  </a:cubicBezTo>
                  <a:cubicBezTo>
                    <a:pt x="44" y="95"/>
                    <a:pt x="47" y="91"/>
                    <a:pt x="47" y="86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2"/>
                    <a:pt x="45" y="10"/>
                    <a:pt x="41" y="9"/>
                  </a:cubicBezTo>
                  <a:close/>
                  <a:moveTo>
                    <a:pt x="42" y="83"/>
                  </a:moveTo>
                  <a:cubicBezTo>
                    <a:pt x="42" y="88"/>
                    <a:pt x="40" y="91"/>
                    <a:pt x="36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7" y="91"/>
                    <a:pt x="4" y="89"/>
                    <a:pt x="4" y="8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17"/>
                    <a:pt x="7" y="14"/>
                    <a:pt x="11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9" y="14"/>
                    <a:pt x="42" y="17"/>
                    <a:pt x="42" y="22"/>
                  </a:cubicBezTo>
                  <a:lnTo>
                    <a:pt x="42" y="83"/>
                  </a:lnTo>
                  <a:close/>
                  <a:moveTo>
                    <a:pt x="24" y="43"/>
                  </a:moveTo>
                  <a:cubicBezTo>
                    <a:pt x="37" y="43"/>
                    <a:pt x="37" y="43"/>
                    <a:pt x="37" y="4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19"/>
                    <a:pt x="36" y="18"/>
                    <a:pt x="32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0" y="18"/>
                    <a:pt x="9" y="19"/>
                    <a:pt x="9" y="24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28" y="26"/>
                    <a:pt x="28" y="26"/>
                    <a:pt x="28" y="26"/>
                  </a:cubicBezTo>
                  <a:lnTo>
                    <a:pt x="24" y="43"/>
                  </a:lnTo>
                  <a:close/>
                  <a:moveTo>
                    <a:pt x="37" y="79"/>
                  </a:moveTo>
                  <a:cubicBezTo>
                    <a:pt x="37" y="48"/>
                    <a:pt x="37" y="48"/>
                    <a:pt x="37" y="48"/>
                  </a:cubicBezTo>
                  <a:cubicBezTo>
                    <a:pt x="18" y="78"/>
                    <a:pt x="18" y="78"/>
                    <a:pt x="18" y="78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9" y="85"/>
                    <a:pt x="10" y="86"/>
                    <a:pt x="13" y="86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7" y="86"/>
                    <a:pt x="37" y="83"/>
                    <a:pt x="37" y="79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9" name="Freeform 64"/>
            <p:cNvSpPr>
              <a:spLocks noChangeAspect="1" noEditPoints="1"/>
            </p:cNvSpPr>
            <p:nvPr/>
          </p:nvSpPr>
          <p:spPr bwMode="gray">
            <a:xfrm>
              <a:off x="4906997" y="2970210"/>
              <a:ext cx="349200" cy="300352"/>
            </a:xfrm>
            <a:custGeom>
              <a:avLst/>
              <a:gdLst/>
              <a:ahLst/>
              <a:cxnLst>
                <a:cxn ang="0">
                  <a:pos x="118" y="92"/>
                </a:cxn>
                <a:cxn ang="0">
                  <a:pos x="114" y="67"/>
                </a:cxn>
                <a:cxn ang="0">
                  <a:pos x="116" y="62"/>
                </a:cxn>
                <a:cxn ang="0">
                  <a:pos x="114" y="62"/>
                </a:cxn>
                <a:cxn ang="0">
                  <a:pos x="84" y="45"/>
                </a:cxn>
                <a:cxn ang="0">
                  <a:pos x="85" y="41"/>
                </a:cxn>
                <a:cxn ang="0">
                  <a:pos x="64" y="21"/>
                </a:cxn>
                <a:cxn ang="0">
                  <a:pos x="62" y="17"/>
                </a:cxn>
                <a:cxn ang="0">
                  <a:pos x="59" y="17"/>
                </a:cxn>
                <a:cxn ang="0">
                  <a:pos x="57" y="21"/>
                </a:cxn>
                <a:cxn ang="0">
                  <a:pos x="54" y="38"/>
                </a:cxn>
                <a:cxn ang="0">
                  <a:pos x="54" y="41"/>
                </a:cxn>
                <a:cxn ang="0">
                  <a:pos x="36" y="45"/>
                </a:cxn>
                <a:cxn ang="0">
                  <a:pos x="38" y="56"/>
                </a:cxn>
                <a:cxn ang="0">
                  <a:pos x="6" y="62"/>
                </a:cxn>
                <a:cxn ang="0">
                  <a:pos x="7" y="67"/>
                </a:cxn>
                <a:cxn ang="0">
                  <a:pos x="4" y="92"/>
                </a:cxn>
                <a:cxn ang="0">
                  <a:pos x="0" y="98"/>
                </a:cxn>
                <a:cxn ang="0">
                  <a:pos x="121" y="104"/>
                </a:cxn>
                <a:cxn ang="0">
                  <a:pos x="118" y="98"/>
                </a:cxn>
                <a:cxn ang="0">
                  <a:pos x="75" y="47"/>
                </a:cxn>
                <a:cxn ang="0">
                  <a:pos x="69" y="55"/>
                </a:cxn>
                <a:cxn ang="0">
                  <a:pos x="58" y="47"/>
                </a:cxn>
                <a:cxn ang="0">
                  <a:pos x="64" y="55"/>
                </a:cxn>
                <a:cxn ang="0">
                  <a:pos x="58" y="47"/>
                </a:cxn>
                <a:cxn ang="0">
                  <a:pos x="52" y="47"/>
                </a:cxn>
                <a:cxn ang="0">
                  <a:pos x="47" y="55"/>
                </a:cxn>
                <a:cxn ang="0">
                  <a:pos x="21" y="94"/>
                </a:cxn>
                <a:cxn ang="0">
                  <a:pos x="15" y="86"/>
                </a:cxn>
                <a:cxn ang="0">
                  <a:pos x="21" y="94"/>
                </a:cxn>
                <a:cxn ang="0">
                  <a:pos x="15" y="78"/>
                </a:cxn>
                <a:cxn ang="0">
                  <a:pos x="21" y="70"/>
                </a:cxn>
                <a:cxn ang="0">
                  <a:pos x="32" y="94"/>
                </a:cxn>
                <a:cxn ang="0">
                  <a:pos x="27" y="86"/>
                </a:cxn>
                <a:cxn ang="0">
                  <a:pos x="32" y="94"/>
                </a:cxn>
                <a:cxn ang="0">
                  <a:pos x="27" y="78"/>
                </a:cxn>
                <a:cxn ang="0">
                  <a:pos x="32" y="70"/>
                </a:cxn>
                <a:cxn ang="0">
                  <a:pos x="84" y="74"/>
                </a:cxn>
                <a:cxn ang="0">
                  <a:pos x="80" y="98"/>
                </a:cxn>
                <a:cxn ang="0">
                  <a:pos x="74" y="74"/>
                </a:cxn>
                <a:cxn ang="0">
                  <a:pos x="69" y="98"/>
                </a:cxn>
                <a:cxn ang="0">
                  <a:pos x="64" y="74"/>
                </a:cxn>
                <a:cxn ang="0">
                  <a:pos x="58" y="98"/>
                </a:cxn>
                <a:cxn ang="0">
                  <a:pos x="53" y="74"/>
                </a:cxn>
                <a:cxn ang="0">
                  <a:pos x="47" y="98"/>
                </a:cxn>
                <a:cxn ang="0">
                  <a:pos x="42" y="74"/>
                </a:cxn>
                <a:cxn ang="0">
                  <a:pos x="38" y="69"/>
                </a:cxn>
                <a:cxn ang="0">
                  <a:pos x="84" y="69"/>
                </a:cxn>
                <a:cxn ang="0">
                  <a:pos x="95" y="94"/>
                </a:cxn>
                <a:cxn ang="0">
                  <a:pos x="89" y="86"/>
                </a:cxn>
                <a:cxn ang="0">
                  <a:pos x="95" y="94"/>
                </a:cxn>
                <a:cxn ang="0">
                  <a:pos x="89" y="78"/>
                </a:cxn>
                <a:cxn ang="0">
                  <a:pos x="95" y="70"/>
                </a:cxn>
                <a:cxn ang="0">
                  <a:pos x="106" y="94"/>
                </a:cxn>
                <a:cxn ang="0">
                  <a:pos x="101" y="86"/>
                </a:cxn>
                <a:cxn ang="0">
                  <a:pos x="106" y="94"/>
                </a:cxn>
                <a:cxn ang="0">
                  <a:pos x="101" y="78"/>
                </a:cxn>
                <a:cxn ang="0">
                  <a:pos x="106" y="70"/>
                </a:cxn>
              </a:cxnLst>
              <a:rect l="0" t="0" r="r" b="b"/>
              <a:pathLst>
                <a:path w="121" h="104">
                  <a:moveTo>
                    <a:pt x="118" y="98"/>
                  </a:moveTo>
                  <a:cubicBezTo>
                    <a:pt x="118" y="92"/>
                    <a:pt x="118" y="92"/>
                    <a:pt x="118" y="92"/>
                  </a:cubicBezTo>
                  <a:cubicBezTo>
                    <a:pt x="114" y="92"/>
                    <a:pt x="114" y="92"/>
                    <a:pt x="114" y="92"/>
                  </a:cubicBezTo>
                  <a:cubicBezTo>
                    <a:pt x="114" y="67"/>
                    <a:pt x="114" y="67"/>
                    <a:pt x="114" y="67"/>
                  </a:cubicBezTo>
                  <a:cubicBezTo>
                    <a:pt x="116" y="67"/>
                    <a:pt x="116" y="67"/>
                    <a:pt x="116" y="67"/>
                  </a:cubicBezTo>
                  <a:cubicBezTo>
                    <a:pt x="116" y="62"/>
                    <a:pt x="116" y="62"/>
                    <a:pt x="116" y="62"/>
                  </a:cubicBezTo>
                  <a:cubicBezTo>
                    <a:pt x="114" y="62"/>
                    <a:pt x="114" y="62"/>
                    <a:pt x="114" y="62"/>
                  </a:cubicBezTo>
                  <a:cubicBezTo>
                    <a:pt x="114" y="62"/>
                    <a:pt x="114" y="62"/>
                    <a:pt x="114" y="62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2" y="30"/>
                    <a:pt x="74" y="22"/>
                    <a:pt x="64" y="21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19"/>
                    <a:pt x="64" y="18"/>
                    <a:pt x="62" y="17"/>
                  </a:cubicBezTo>
                  <a:cubicBezTo>
                    <a:pt x="62" y="13"/>
                    <a:pt x="61" y="0"/>
                    <a:pt x="61" y="0"/>
                  </a:cubicBezTo>
                  <a:cubicBezTo>
                    <a:pt x="61" y="0"/>
                    <a:pt x="60" y="13"/>
                    <a:pt x="59" y="17"/>
                  </a:cubicBezTo>
                  <a:cubicBezTo>
                    <a:pt x="58" y="18"/>
                    <a:pt x="57" y="19"/>
                    <a:pt x="57" y="20"/>
                  </a:cubicBezTo>
                  <a:cubicBezTo>
                    <a:pt x="57" y="20"/>
                    <a:pt x="57" y="20"/>
                    <a:pt x="57" y="21"/>
                  </a:cubicBezTo>
                  <a:cubicBezTo>
                    <a:pt x="48" y="22"/>
                    <a:pt x="41" y="29"/>
                    <a:pt x="39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9"/>
                    <a:pt x="55" y="39"/>
                  </a:cubicBezTo>
                  <a:cubicBezTo>
                    <a:pt x="55" y="40"/>
                    <a:pt x="55" y="41"/>
                    <a:pt x="54" y="41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4" y="92"/>
                    <a:pt x="4" y="92"/>
                    <a:pt x="4" y="92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121" y="104"/>
                    <a:pt x="121" y="104"/>
                    <a:pt x="121" y="104"/>
                  </a:cubicBezTo>
                  <a:cubicBezTo>
                    <a:pt x="121" y="98"/>
                    <a:pt x="121" y="98"/>
                    <a:pt x="121" y="98"/>
                  </a:cubicBezTo>
                  <a:lnTo>
                    <a:pt x="118" y="98"/>
                  </a:lnTo>
                  <a:close/>
                  <a:moveTo>
                    <a:pt x="69" y="47"/>
                  </a:moveTo>
                  <a:cubicBezTo>
                    <a:pt x="75" y="47"/>
                    <a:pt x="75" y="47"/>
                    <a:pt x="75" y="47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69" y="55"/>
                    <a:pt x="69" y="55"/>
                    <a:pt x="69" y="55"/>
                  </a:cubicBezTo>
                  <a:lnTo>
                    <a:pt x="69" y="47"/>
                  </a:lnTo>
                  <a:close/>
                  <a:moveTo>
                    <a:pt x="58" y="47"/>
                  </a:moveTo>
                  <a:cubicBezTo>
                    <a:pt x="64" y="47"/>
                    <a:pt x="64" y="47"/>
                    <a:pt x="64" y="47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58" y="55"/>
                    <a:pt x="58" y="55"/>
                    <a:pt x="58" y="55"/>
                  </a:cubicBezTo>
                  <a:lnTo>
                    <a:pt x="58" y="47"/>
                  </a:lnTo>
                  <a:close/>
                  <a:moveTo>
                    <a:pt x="47" y="47"/>
                  </a:moveTo>
                  <a:cubicBezTo>
                    <a:pt x="52" y="47"/>
                    <a:pt x="52" y="47"/>
                    <a:pt x="52" y="47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7" y="55"/>
                    <a:pt x="47" y="55"/>
                    <a:pt x="47" y="55"/>
                  </a:cubicBezTo>
                  <a:lnTo>
                    <a:pt x="47" y="47"/>
                  </a:lnTo>
                  <a:close/>
                  <a:moveTo>
                    <a:pt x="21" y="94"/>
                  </a:moveTo>
                  <a:cubicBezTo>
                    <a:pt x="15" y="94"/>
                    <a:pt x="15" y="94"/>
                    <a:pt x="15" y="94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21" y="86"/>
                    <a:pt x="21" y="86"/>
                    <a:pt x="21" y="86"/>
                  </a:cubicBezTo>
                  <a:lnTo>
                    <a:pt x="21" y="94"/>
                  </a:lnTo>
                  <a:close/>
                  <a:moveTo>
                    <a:pt x="21" y="78"/>
                  </a:moveTo>
                  <a:cubicBezTo>
                    <a:pt x="15" y="78"/>
                    <a:pt x="15" y="78"/>
                    <a:pt x="15" y="78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21" y="70"/>
                    <a:pt x="21" y="70"/>
                    <a:pt x="21" y="70"/>
                  </a:cubicBezTo>
                  <a:lnTo>
                    <a:pt x="21" y="78"/>
                  </a:lnTo>
                  <a:close/>
                  <a:moveTo>
                    <a:pt x="32" y="94"/>
                  </a:moveTo>
                  <a:cubicBezTo>
                    <a:pt x="27" y="94"/>
                    <a:pt x="27" y="94"/>
                    <a:pt x="27" y="94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32" y="86"/>
                    <a:pt x="32" y="86"/>
                    <a:pt x="32" y="86"/>
                  </a:cubicBezTo>
                  <a:lnTo>
                    <a:pt x="32" y="94"/>
                  </a:lnTo>
                  <a:close/>
                  <a:moveTo>
                    <a:pt x="32" y="78"/>
                  </a:moveTo>
                  <a:cubicBezTo>
                    <a:pt x="27" y="78"/>
                    <a:pt x="27" y="78"/>
                    <a:pt x="27" y="78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32" y="70"/>
                    <a:pt x="32" y="70"/>
                    <a:pt x="32" y="70"/>
                  </a:cubicBezTo>
                  <a:lnTo>
                    <a:pt x="32" y="78"/>
                  </a:lnTo>
                  <a:close/>
                  <a:moveTo>
                    <a:pt x="84" y="74"/>
                  </a:moveTo>
                  <a:cubicBezTo>
                    <a:pt x="80" y="74"/>
                    <a:pt x="80" y="74"/>
                    <a:pt x="80" y="74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74" y="98"/>
                    <a:pt x="74" y="98"/>
                    <a:pt x="74" y="98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98"/>
                    <a:pt x="69" y="98"/>
                    <a:pt x="69" y="98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8"/>
                    <a:pt x="53" y="98"/>
                    <a:pt x="53" y="98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98"/>
                    <a:pt x="47" y="98"/>
                    <a:pt x="47" y="98"/>
                  </a:cubicBezTo>
                  <a:cubicBezTo>
                    <a:pt x="42" y="98"/>
                    <a:pt x="42" y="98"/>
                    <a:pt x="42" y="98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84" y="69"/>
                    <a:pt x="84" y="69"/>
                    <a:pt x="84" y="69"/>
                  </a:cubicBezTo>
                  <a:lnTo>
                    <a:pt x="84" y="74"/>
                  </a:lnTo>
                  <a:close/>
                  <a:moveTo>
                    <a:pt x="95" y="94"/>
                  </a:moveTo>
                  <a:cubicBezTo>
                    <a:pt x="89" y="94"/>
                    <a:pt x="89" y="94"/>
                    <a:pt x="89" y="94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95" y="86"/>
                    <a:pt x="95" y="86"/>
                    <a:pt x="95" y="86"/>
                  </a:cubicBezTo>
                  <a:lnTo>
                    <a:pt x="95" y="94"/>
                  </a:lnTo>
                  <a:close/>
                  <a:moveTo>
                    <a:pt x="95" y="78"/>
                  </a:moveTo>
                  <a:cubicBezTo>
                    <a:pt x="89" y="78"/>
                    <a:pt x="89" y="78"/>
                    <a:pt x="89" y="78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95" y="70"/>
                    <a:pt x="95" y="70"/>
                    <a:pt x="95" y="70"/>
                  </a:cubicBezTo>
                  <a:lnTo>
                    <a:pt x="95" y="78"/>
                  </a:lnTo>
                  <a:close/>
                  <a:moveTo>
                    <a:pt x="106" y="94"/>
                  </a:moveTo>
                  <a:cubicBezTo>
                    <a:pt x="101" y="94"/>
                    <a:pt x="101" y="94"/>
                    <a:pt x="101" y="94"/>
                  </a:cubicBezTo>
                  <a:cubicBezTo>
                    <a:pt x="101" y="86"/>
                    <a:pt x="101" y="86"/>
                    <a:pt x="101" y="86"/>
                  </a:cubicBezTo>
                  <a:cubicBezTo>
                    <a:pt x="106" y="86"/>
                    <a:pt x="106" y="86"/>
                    <a:pt x="106" y="86"/>
                  </a:cubicBezTo>
                  <a:lnTo>
                    <a:pt x="106" y="94"/>
                  </a:lnTo>
                  <a:close/>
                  <a:moveTo>
                    <a:pt x="106" y="78"/>
                  </a:moveTo>
                  <a:cubicBezTo>
                    <a:pt x="101" y="78"/>
                    <a:pt x="101" y="78"/>
                    <a:pt x="101" y="78"/>
                  </a:cubicBezTo>
                  <a:cubicBezTo>
                    <a:pt x="101" y="70"/>
                    <a:pt x="101" y="70"/>
                    <a:pt x="101" y="70"/>
                  </a:cubicBezTo>
                  <a:cubicBezTo>
                    <a:pt x="106" y="70"/>
                    <a:pt x="106" y="70"/>
                    <a:pt x="106" y="70"/>
                  </a:cubicBezTo>
                  <a:lnTo>
                    <a:pt x="106" y="78"/>
                  </a:ln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0" name="Freeform 68"/>
            <p:cNvSpPr>
              <a:spLocks noChangeAspect="1" noEditPoints="1"/>
            </p:cNvSpPr>
            <p:nvPr/>
          </p:nvSpPr>
          <p:spPr bwMode="gray">
            <a:xfrm>
              <a:off x="5500342" y="3005186"/>
              <a:ext cx="166530" cy="230400"/>
            </a:xfrm>
            <a:custGeom>
              <a:avLst/>
              <a:gdLst/>
              <a:ahLst/>
              <a:cxnLst>
                <a:cxn ang="0">
                  <a:pos x="396" y="294"/>
                </a:cxn>
                <a:cxn ang="0">
                  <a:pos x="411" y="265"/>
                </a:cxn>
                <a:cxn ang="0">
                  <a:pos x="281" y="22"/>
                </a:cxn>
                <a:cxn ang="0">
                  <a:pos x="295" y="0"/>
                </a:cxn>
                <a:cxn ang="0">
                  <a:pos x="14" y="22"/>
                </a:cxn>
                <a:cxn ang="0">
                  <a:pos x="29" y="545"/>
                </a:cxn>
                <a:cxn ang="0">
                  <a:pos x="0" y="588"/>
                </a:cxn>
                <a:cxn ang="0">
                  <a:pos x="425" y="545"/>
                </a:cxn>
                <a:cxn ang="0">
                  <a:pos x="137" y="523"/>
                </a:cxn>
                <a:cxn ang="0">
                  <a:pos x="79" y="445"/>
                </a:cxn>
                <a:cxn ang="0">
                  <a:pos x="137" y="523"/>
                </a:cxn>
                <a:cxn ang="0">
                  <a:pos x="79" y="394"/>
                </a:cxn>
                <a:cxn ang="0">
                  <a:pos x="137" y="323"/>
                </a:cxn>
                <a:cxn ang="0">
                  <a:pos x="137" y="272"/>
                </a:cxn>
                <a:cxn ang="0">
                  <a:pos x="79" y="194"/>
                </a:cxn>
                <a:cxn ang="0">
                  <a:pos x="137" y="272"/>
                </a:cxn>
                <a:cxn ang="0">
                  <a:pos x="79" y="143"/>
                </a:cxn>
                <a:cxn ang="0">
                  <a:pos x="137" y="72"/>
                </a:cxn>
                <a:cxn ang="0">
                  <a:pos x="231" y="545"/>
                </a:cxn>
                <a:cxn ang="0">
                  <a:pos x="173" y="445"/>
                </a:cxn>
                <a:cxn ang="0">
                  <a:pos x="231" y="545"/>
                </a:cxn>
                <a:cxn ang="0">
                  <a:pos x="173" y="394"/>
                </a:cxn>
                <a:cxn ang="0">
                  <a:pos x="231" y="323"/>
                </a:cxn>
                <a:cxn ang="0">
                  <a:pos x="231" y="272"/>
                </a:cxn>
                <a:cxn ang="0">
                  <a:pos x="173" y="194"/>
                </a:cxn>
                <a:cxn ang="0">
                  <a:pos x="231" y="272"/>
                </a:cxn>
                <a:cxn ang="0">
                  <a:pos x="173" y="143"/>
                </a:cxn>
                <a:cxn ang="0">
                  <a:pos x="231" y="72"/>
                </a:cxn>
                <a:cxn ang="0">
                  <a:pos x="360" y="523"/>
                </a:cxn>
                <a:cxn ang="0">
                  <a:pos x="310" y="445"/>
                </a:cxn>
                <a:cxn ang="0">
                  <a:pos x="360" y="523"/>
                </a:cxn>
                <a:cxn ang="0">
                  <a:pos x="310" y="394"/>
                </a:cxn>
                <a:cxn ang="0">
                  <a:pos x="360" y="323"/>
                </a:cxn>
              </a:cxnLst>
              <a:rect l="0" t="0" r="r" b="b"/>
              <a:pathLst>
                <a:path w="425" h="588">
                  <a:moveTo>
                    <a:pt x="396" y="545"/>
                  </a:moveTo>
                  <a:lnTo>
                    <a:pt x="396" y="294"/>
                  </a:lnTo>
                  <a:lnTo>
                    <a:pt x="411" y="294"/>
                  </a:lnTo>
                  <a:lnTo>
                    <a:pt x="411" y="265"/>
                  </a:lnTo>
                  <a:lnTo>
                    <a:pt x="281" y="265"/>
                  </a:lnTo>
                  <a:lnTo>
                    <a:pt x="281" y="22"/>
                  </a:lnTo>
                  <a:lnTo>
                    <a:pt x="295" y="22"/>
                  </a:lnTo>
                  <a:lnTo>
                    <a:pt x="295" y="0"/>
                  </a:lnTo>
                  <a:lnTo>
                    <a:pt x="14" y="0"/>
                  </a:lnTo>
                  <a:lnTo>
                    <a:pt x="14" y="22"/>
                  </a:lnTo>
                  <a:lnTo>
                    <a:pt x="29" y="22"/>
                  </a:lnTo>
                  <a:lnTo>
                    <a:pt x="29" y="545"/>
                  </a:lnTo>
                  <a:lnTo>
                    <a:pt x="0" y="545"/>
                  </a:lnTo>
                  <a:lnTo>
                    <a:pt x="0" y="588"/>
                  </a:lnTo>
                  <a:lnTo>
                    <a:pt x="425" y="588"/>
                  </a:lnTo>
                  <a:lnTo>
                    <a:pt x="425" y="545"/>
                  </a:lnTo>
                  <a:lnTo>
                    <a:pt x="396" y="545"/>
                  </a:lnTo>
                  <a:close/>
                  <a:moveTo>
                    <a:pt x="137" y="523"/>
                  </a:moveTo>
                  <a:lnTo>
                    <a:pt x="79" y="523"/>
                  </a:lnTo>
                  <a:lnTo>
                    <a:pt x="79" y="445"/>
                  </a:lnTo>
                  <a:lnTo>
                    <a:pt x="137" y="445"/>
                  </a:lnTo>
                  <a:lnTo>
                    <a:pt x="137" y="523"/>
                  </a:lnTo>
                  <a:close/>
                  <a:moveTo>
                    <a:pt x="137" y="394"/>
                  </a:moveTo>
                  <a:lnTo>
                    <a:pt x="79" y="394"/>
                  </a:lnTo>
                  <a:lnTo>
                    <a:pt x="79" y="323"/>
                  </a:lnTo>
                  <a:lnTo>
                    <a:pt x="137" y="323"/>
                  </a:lnTo>
                  <a:lnTo>
                    <a:pt x="137" y="394"/>
                  </a:lnTo>
                  <a:close/>
                  <a:moveTo>
                    <a:pt x="137" y="272"/>
                  </a:moveTo>
                  <a:lnTo>
                    <a:pt x="79" y="272"/>
                  </a:lnTo>
                  <a:lnTo>
                    <a:pt x="79" y="194"/>
                  </a:lnTo>
                  <a:lnTo>
                    <a:pt x="137" y="194"/>
                  </a:lnTo>
                  <a:lnTo>
                    <a:pt x="137" y="272"/>
                  </a:lnTo>
                  <a:close/>
                  <a:moveTo>
                    <a:pt x="137" y="143"/>
                  </a:moveTo>
                  <a:lnTo>
                    <a:pt x="79" y="143"/>
                  </a:lnTo>
                  <a:lnTo>
                    <a:pt x="79" y="72"/>
                  </a:lnTo>
                  <a:lnTo>
                    <a:pt x="137" y="72"/>
                  </a:lnTo>
                  <a:lnTo>
                    <a:pt x="137" y="143"/>
                  </a:lnTo>
                  <a:close/>
                  <a:moveTo>
                    <a:pt x="231" y="545"/>
                  </a:moveTo>
                  <a:lnTo>
                    <a:pt x="173" y="545"/>
                  </a:lnTo>
                  <a:lnTo>
                    <a:pt x="173" y="445"/>
                  </a:lnTo>
                  <a:lnTo>
                    <a:pt x="231" y="445"/>
                  </a:lnTo>
                  <a:lnTo>
                    <a:pt x="231" y="545"/>
                  </a:lnTo>
                  <a:close/>
                  <a:moveTo>
                    <a:pt x="231" y="394"/>
                  </a:moveTo>
                  <a:lnTo>
                    <a:pt x="173" y="394"/>
                  </a:lnTo>
                  <a:lnTo>
                    <a:pt x="173" y="323"/>
                  </a:lnTo>
                  <a:lnTo>
                    <a:pt x="231" y="323"/>
                  </a:lnTo>
                  <a:lnTo>
                    <a:pt x="231" y="394"/>
                  </a:lnTo>
                  <a:close/>
                  <a:moveTo>
                    <a:pt x="231" y="272"/>
                  </a:moveTo>
                  <a:lnTo>
                    <a:pt x="173" y="272"/>
                  </a:lnTo>
                  <a:lnTo>
                    <a:pt x="173" y="194"/>
                  </a:lnTo>
                  <a:lnTo>
                    <a:pt x="231" y="194"/>
                  </a:lnTo>
                  <a:lnTo>
                    <a:pt x="231" y="272"/>
                  </a:lnTo>
                  <a:close/>
                  <a:moveTo>
                    <a:pt x="231" y="143"/>
                  </a:moveTo>
                  <a:lnTo>
                    <a:pt x="173" y="143"/>
                  </a:lnTo>
                  <a:lnTo>
                    <a:pt x="173" y="72"/>
                  </a:lnTo>
                  <a:lnTo>
                    <a:pt x="231" y="72"/>
                  </a:lnTo>
                  <a:lnTo>
                    <a:pt x="231" y="143"/>
                  </a:lnTo>
                  <a:close/>
                  <a:moveTo>
                    <a:pt x="360" y="523"/>
                  </a:moveTo>
                  <a:lnTo>
                    <a:pt x="310" y="523"/>
                  </a:lnTo>
                  <a:lnTo>
                    <a:pt x="310" y="445"/>
                  </a:lnTo>
                  <a:lnTo>
                    <a:pt x="360" y="445"/>
                  </a:lnTo>
                  <a:lnTo>
                    <a:pt x="360" y="523"/>
                  </a:lnTo>
                  <a:close/>
                  <a:moveTo>
                    <a:pt x="360" y="394"/>
                  </a:moveTo>
                  <a:lnTo>
                    <a:pt x="310" y="394"/>
                  </a:lnTo>
                  <a:lnTo>
                    <a:pt x="310" y="323"/>
                  </a:lnTo>
                  <a:lnTo>
                    <a:pt x="360" y="323"/>
                  </a:lnTo>
                  <a:lnTo>
                    <a:pt x="360" y="394"/>
                  </a:ln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1" name="Freeform 72"/>
            <p:cNvSpPr>
              <a:spLocks noChangeAspect="1" noEditPoints="1"/>
            </p:cNvSpPr>
            <p:nvPr/>
          </p:nvSpPr>
          <p:spPr bwMode="gray">
            <a:xfrm>
              <a:off x="6018473" y="2974586"/>
              <a:ext cx="119540" cy="291600"/>
            </a:xfrm>
            <a:custGeom>
              <a:avLst/>
              <a:gdLst/>
              <a:ahLst/>
              <a:cxnLst>
                <a:cxn ang="0">
                  <a:pos x="283" y="50"/>
                </a:cxn>
                <a:cxn ang="0">
                  <a:pos x="196" y="0"/>
                </a:cxn>
                <a:cxn ang="0">
                  <a:pos x="22" y="21"/>
                </a:cxn>
                <a:cxn ang="0">
                  <a:pos x="29" y="694"/>
                </a:cxn>
                <a:cxn ang="0">
                  <a:pos x="305" y="744"/>
                </a:cxn>
                <a:cxn ang="0">
                  <a:pos x="109" y="694"/>
                </a:cxn>
                <a:cxn ang="0">
                  <a:pos x="109" y="651"/>
                </a:cxn>
                <a:cxn ang="0">
                  <a:pos x="65" y="622"/>
                </a:cxn>
                <a:cxn ang="0">
                  <a:pos x="109" y="622"/>
                </a:cxn>
                <a:cxn ang="0">
                  <a:pos x="65" y="508"/>
                </a:cxn>
                <a:cxn ang="0">
                  <a:pos x="109" y="479"/>
                </a:cxn>
                <a:cxn ang="0">
                  <a:pos x="109" y="436"/>
                </a:cxn>
                <a:cxn ang="0">
                  <a:pos x="65" y="408"/>
                </a:cxn>
                <a:cxn ang="0">
                  <a:pos x="109" y="408"/>
                </a:cxn>
                <a:cxn ang="0">
                  <a:pos x="65" y="286"/>
                </a:cxn>
                <a:cxn ang="0">
                  <a:pos x="109" y="265"/>
                </a:cxn>
                <a:cxn ang="0">
                  <a:pos x="109" y="215"/>
                </a:cxn>
                <a:cxn ang="0">
                  <a:pos x="65" y="193"/>
                </a:cxn>
                <a:cxn ang="0">
                  <a:pos x="109" y="193"/>
                </a:cxn>
                <a:cxn ang="0">
                  <a:pos x="65" y="71"/>
                </a:cxn>
                <a:cxn ang="0">
                  <a:pos x="174" y="694"/>
                </a:cxn>
                <a:cxn ang="0">
                  <a:pos x="174" y="651"/>
                </a:cxn>
                <a:cxn ang="0">
                  <a:pos x="131" y="622"/>
                </a:cxn>
                <a:cxn ang="0">
                  <a:pos x="174" y="622"/>
                </a:cxn>
                <a:cxn ang="0">
                  <a:pos x="131" y="508"/>
                </a:cxn>
                <a:cxn ang="0">
                  <a:pos x="174" y="479"/>
                </a:cxn>
                <a:cxn ang="0">
                  <a:pos x="174" y="436"/>
                </a:cxn>
                <a:cxn ang="0">
                  <a:pos x="131" y="408"/>
                </a:cxn>
                <a:cxn ang="0">
                  <a:pos x="174" y="408"/>
                </a:cxn>
                <a:cxn ang="0">
                  <a:pos x="131" y="286"/>
                </a:cxn>
                <a:cxn ang="0">
                  <a:pos x="174" y="265"/>
                </a:cxn>
                <a:cxn ang="0">
                  <a:pos x="174" y="215"/>
                </a:cxn>
                <a:cxn ang="0">
                  <a:pos x="131" y="193"/>
                </a:cxn>
                <a:cxn ang="0">
                  <a:pos x="174" y="193"/>
                </a:cxn>
                <a:cxn ang="0">
                  <a:pos x="131" y="71"/>
                </a:cxn>
                <a:cxn ang="0">
                  <a:pos x="240" y="694"/>
                </a:cxn>
                <a:cxn ang="0">
                  <a:pos x="240" y="651"/>
                </a:cxn>
                <a:cxn ang="0">
                  <a:pos x="196" y="622"/>
                </a:cxn>
                <a:cxn ang="0">
                  <a:pos x="240" y="622"/>
                </a:cxn>
                <a:cxn ang="0">
                  <a:pos x="196" y="508"/>
                </a:cxn>
                <a:cxn ang="0">
                  <a:pos x="240" y="479"/>
                </a:cxn>
                <a:cxn ang="0">
                  <a:pos x="240" y="436"/>
                </a:cxn>
                <a:cxn ang="0">
                  <a:pos x="196" y="408"/>
                </a:cxn>
                <a:cxn ang="0">
                  <a:pos x="240" y="408"/>
                </a:cxn>
                <a:cxn ang="0">
                  <a:pos x="196" y="286"/>
                </a:cxn>
                <a:cxn ang="0">
                  <a:pos x="240" y="265"/>
                </a:cxn>
                <a:cxn ang="0">
                  <a:pos x="240" y="215"/>
                </a:cxn>
                <a:cxn ang="0">
                  <a:pos x="196" y="193"/>
                </a:cxn>
                <a:cxn ang="0">
                  <a:pos x="240" y="193"/>
                </a:cxn>
                <a:cxn ang="0">
                  <a:pos x="196" y="71"/>
                </a:cxn>
              </a:cxnLst>
              <a:rect l="0" t="0" r="r" b="b"/>
              <a:pathLst>
                <a:path w="305" h="744">
                  <a:moveTo>
                    <a:pt x="276" y="694"/>
                  </a:moveTo>
                  <a:lnTo>
                    <a:pt x="276" y="50"/>
                  </a:lnTo>
                  <a:lnTo>
                    <a:pt x="283" y="50"/>
                  </a:lnTo>
                  <a:lnTo>
                    <a:pt x="283" y="21"/>
                  </a:lnTo>
                  <a:lnTo>
                    <a:pt x="196" y="21"/>
                  </a:lnTo>
                  <a:lnTo>
                    <a:pt x="196" y="0"/>
                  </a:lnTo>
                  <a:lnTo>
                    <a:pt x="58" y="0"/>
                  </a:lnTo>
                  <a:lnTo>
                    <a:pt x="58" y="21"/>
                  </a:lnTo>
                  <a:lnTo>
                    <a:pt x="22" y="21"/>
                  </a:lnTo>
                  <a:lnTo>
                    <a:pt x="22" y="50"/>
                  </a:lnTo>
                  <a:lnTo>
                    <a:pt x="29" y="50"/>
                  </a:lnTo>
                  <a:lnTo>
                    <a:pt x="29" y="694"/>
                  </a:lnTo>
                  <a:lnTo>
                    <a:pt x="0" y="694"/>
                  </a:lnTo>
                  <a:lnTo>
                    <a:pt x="0" y="744"/>
                  </a:lnTo>
                  <a:lnTo>
                    <a:pt x="305" y="744"/>
                  </a:lnTo>
                  <a:lnTo>
                    <a:pt x="305" y="694"/>
                  </a:lnTo>
                  <a:lnTo>
                    <a:pt x="276" y="694"/>
                  </a:lnTo>
                  <a:close/>
                  <a:moveTo>
                    <a:pt x="109" y="694"/>
                  </a:moveTo>
                  <a:lnTo>
                    <a:pt x="65" y="694"/>
                  </a:lnTo>
                  <a:lnTo>
                    <a:pt x="65" y="651"/>
                  </a:lnTo>
                  <a:lnTo>
                    <a:pt x="109" y="651"/>
                  </a:lnTo>
                  <a:lnTo>
                    <a:pt x="109" y="694"/>
                  </a:lnTo>
                  <a:close/>
                  <a:moveTo>
                    <a:pt x="109" y="622"/>
                  </a:moveTo>
                  <a:lnTo>
                    <a:pt x="65" y="622"/>
                  </a:lnTo>
                  <a:lnTo>
                    <a:pt x="65" y="579"/>
                  </a:lnTo>
                  <a:lnTo>
                    <a:pt x="109" y="579"/>
                  </a:lnTo>
                  <a:lnTo>
                    <a:pt x="109" y="622"/>
                  </a:lnTo>
                  <a:close/>
                  <a:moveTo>
                    <a:pt x="109" y="551"/>
                  </a:moveTo>
                  <a:lnTo>
                    <a:pt x="65" y="551"/>
                  </a:lnTo>
                  <a:lnTo>
                    <a:pt x="65" y="508"/>
                  </a:lnTo>
                  <a:lnTo>
                    <a:pt x="109" y="508"/>
                  </a:lnTo>
                  <a:lnTo>
                    <a:pt x="109" y="551"/>
                  </a:lnTo>
                  <a:close/>
                  <a:moveTo>
                    <a:pt x="109" y="479"/>
                  </a:moveTo>
                  <a:lnTo>
                    <a:pt x="65" y="479"/>
                  </a:lnTo>
                  <a:lnTo>
                    <a:pt x="65" y="436"/>
                  </a:lnTo>
                  <a:lnTo>
                    <a:pt x="109" y="436"/>
                  </a:lnTo>
                  <a:lnTo>
                    <a:pt x="109" y="479"/>
                  </a:lnTo>
                  <a:close/>
                  <a:moveTo>
                    <a:pt x="109" y="408"/>
                  </a:moveTo>
                  <a:lnTo>
                    <a:pt x="65" y="408"/>
                  </a:lnTo>
                  <a:lnTo>
                    <a:pt x="65" y="358"/>
                  </a:lnTo>
                  <a:lnTo>
                    <a:pt x="109" y="358"/>
                  </a:lnTo>
                  <a:lnTo>
                    <a:pt x="109" y="408"/>
                  </a:lnTo>
                  <a:close/>
                  <a:moveTo>
                    <a:pt x="109" y="336"/>
                  </a:moveTo>
                  <a:lnTo>
                    <a:pt x="65" y="336"/>
                  </a:lnTo>
                  <a:lnTo>
                    <a:pt x="65" y="286"/>
                  </a:lnTo>
                  <a:lnTo>
                    <a:pt x="109" y="286"/>
                  </a:lnTo>
                  <a:lnTo>
                    <a:pt x="109" y="336"/>
                  </a:lnTo>
                  <a:close/>
                  <a:moveTo>
                    <a:pt x="109" y="265"/>
                  </a:moveTo>
                  <a:lnTo>
                    <a:pt x="65" y="265"/>
                  </a:lnTo>
                  <a:lnTo>
                    <a:pt x="65" y="215"/>
                  </a:lnTo>
                  <a:lnTo>
                    <a:pt x="109" y="215"/>
                  </a:lnTo>
                  <a:lnTo>
                    <a:pt x="109" y="265"/>
                  </a:lnTo>
                  <a:close/>
                  <a:moveTo>
                    <a:pt x="109" y="193"/>
                  </a:moveTo>
                  <a:lnTo>
                    <a:pt x="65" y="193"/>
                  </a:lnTo>
                  <a:lnTo>
                    <a:pt x="65" y="143"/>
                  </a:lnTo>
                  <a:lnTo>
                    <a:pt x="109" y="143"/>
                  </a:lnTo>
                  <a:lnTo>
                    <a:pt x="109" y="193"/>
                  </a:lnTo>
                  <a:close/>
                  <a:moveTo>
                    <a:pt x="109" y="122"/>
                  </a:moveTo>
                  <a:lnTo>
                    <a:pt x="65" y="122"/>
                  </a:lnTo>
                  <a:lnTo>
                    <a:pt x="65" y="71"/>
                  </a:lnTo>
                  <a:lnTo>
                    <a:pt x="109" y="71"/>
                  </a:lnTo>
                  <a:lnTo>
                    <a:pt x="109" y="122"/>
                  </a:lnTo>
                  <a:close/>
                  <a:moveTo>
                    <a:pt x="174" y="694"/>
                  </a:moveTo>
                  <a:lnTo>
                    <a:pt x="131" y="694"/>
                  </a:lnTo>
                  <a:lnTo>
                    <a:pt x="131" y="651"/>
                  </a:lnTo>
                  <a:lnTo>
                    <a:pt x="174" y="651"/>
                  </a:lnTo>
                  <a:lnTo>
                    <a:pt x="174" y="694"/>
                  </a:lnTo>
                  <a:close/>
                  <a:moveTo>
                    <a:pt x="174" y="622"/>
                  </a:moveTo>
                  <a:lnTo>
                    <a:pt x="131" y="622"/>
                  </a:lnTo>
                  <a:lnTo>
                    <a:pt x="131" y="579"/>
                  </a:lnTo>
                  <a:lnTo>
                    <a:pt x="174" y="579"/>
                  </a:lnTo>
                  <a:lnTo>
                    <a:pt x="174" y="622"/>
                  </a:lnTo>
                  <a:close/>
                  <a:moveTo>
                    <a:pt x="174" y="551"/>
                  </a:moveTo>
                  <a:lnTo>
                    <a:pt x="131" y="551"/>
                  </a:lnTo>
                  <a:lnTo>
                    <a:pt x="131" y="508"/>
                  </a:lnTo>
                  <a:lnTo>
                    <a:pt x="174" y="508"/>
                  </a:lnTo>
                  <a:lnTo>
                    <a:pt x="174" y="551"/>
                  </a:lnTo>
                  <a:close/>
                  <a:moveTo>
                    <a:pt x="174" y="479"/>
                  </a:moveTo>
                  <a:lnTo>
                    <a:pt x="131" y="479"/>
                  </a:lnTo>
                  <a:lnTo>
                    <a:pt x="131" y="436"/>
                  </a:lnTo>
                  <a:lnTo>
                    <a:pt x="174" y="436"/>
                  </a:lnTo>
                  <a:lnTo>
                    <a:pt x="174" y="479"/>
                  </a:lnTo>
                  <a:close/>
                  <a:moveTo>
                    <a:pt x="174" y="408"/>
                  </a:moveTo>
                  <a:lnTo>
                    <a:pt x="131" y="408"/>
                  </a:lnTo>
                  <a:lnTo>
                    <a:pt x="131" y="358"/>
                  </a:lnTo>
                  <a:lnTo>
                    <a:pt x="174" y="358"/>
                  </a:lnTo>
                  <a:lnTo>
                    <a:pt x="174" y="408"/>
                  </a:lnTo>
                  <a:close/>
                  <a:moveTo>
                    <a:pt x="174" y="336"/>
                  </a:moveTo>
                  <a:lnTo>
                    <a:pt x="131" y="336"/>
                  </a:lnTo>
                  <a:lnTo>
                    <a:pt x="131" y="286"/>
                  </a:lnTo>
                  <a:lnTo>
                    <a:pt x="174" y="286"/>
                  </a:lnTo>
                  <a:lnTo>
                    <a:pt x="174" y="336"/>
                  </a:lnTo>
                  <a:close/>
                  <a:moveTo>
                    <a:pt x="174" y="265"/>
                  </a:moveTo>
                  <a:lnTo>
                    <a:pt x="131" y="265"/>
                  </a:lnTo>
                  <a:lnTo>
                    <a:pt x="131" y="215"/>
                  </a:lnTo>
                  <a:lnTo>
                    <a:pt x="174" y="215"/>
                  </a:lnTo>
                  <a:lnTo>
                    <a:pt x="174" y="265"/>
                  </a:lnTo>
                  <a:close/>
                  <a:moveTo>
                    <a:pt x="174" y="193"/>
                  </a:moveTo>
                  <a:lnTo>
                    <a:pt x="131" y="193"/>
                  </a:lnTo>
                  <a:lnTo>
                    <a:pt x="131" y="143"/>
                  </a:lnTo>
                  <a:lnTo>
                    <a:pt x="174" y="143"/>
                  </a:lnTo>
                  <a:lnTo>
                    <a:pt x="174" y="193"/>
                  </a:lnTo>
                  <a:close/>
                  <a:moveTo>
                    <a:pt x="174" y="122"/>
                  </a:moveTo>
                  <a:lnTo>
                    <a:pt x="131" y="122"/>
                  </a:lnTo>
                  <a:lnTo>
                    <a:pt x="131" y="71"/>
                  </a:lnTo>
                  <a:lnTo>
                    <a:pt x="174" y="71"/>
                  </a:lnTo>
                  <a:lnTo>
                    <a:pt x="174" y="122"/>
                  </a:lnTo>
                  <a:close/>
                  <a:moveTo>
                    <a:pt x="240" y="694"/>
                  </a:moveTo>
                  <a:lnTo>
                    <a:pt x="196" y="694"/>
                  </a:lnTo>
                  <a:lnTo>
                    <a:pt x="196" y="651"/>
                  </a:lnTo>
                  <a:lnTo>
                    <a:pt x="240" y="651"/>
                  </a:lnTo>
                  <a:lnTo>
                    <a:pt x="240" y="694"/>
                  </a:lnTo>
                  <a:close/>
                  <a:moveTo>
                    <a:pt x="240" y="622"/>
                  </a:moveTo>
                  <a:lnTo>
                    <a:pt x="196" y="622"/>
                  </a:lnTo>
                  <a:lnTo>
                    <a:pt x="196" y="579"/>
                  </a:lnTo>
                  <a:lnTo>
                    <a:pt x="240" y="579"/>
                  </a:lnTo>
                  <a:lnTo>
                    <a:pt x="240" y="622"/>
                  </a:lnTo>
                  <a:close/>
                  <a:moveTo>
                    <a:pt x="240" y="551"/>
                  </a:moveTo>
                  <a:lnTo>
                    <a:pt x="196" y="551"/>
                  </a:lnTo>
                  <a:lnTo>
                    <a:pt x="196" y="508"/>
                  </a:lnTo>
                  <a:lnTo>
                    <a:pt x="240" y="508"/>
                  </a:lnTo>
                  <a:lnTo>
                    <a:pt x="240" y="551"/>
                  </a:lnTo>
                  <a:close/>
                  <a:moveTo>
                    <a:pt x="240" y="479"/>
                  </a:moveTo>
                  <a:lnTo>
                    <a:pt x="196" y="479"/>
                  </a:lnTo>
                  <a:lnTo>
                    <a:pt x="196" y="436"/>
                  </a:lnTo>
                  <a:lnTo>
                    <a:pt x="240" y="436"/>
                  </a:lnTo>
                  <a:lnTo>
                    <a:pt x="240" y="479"/>
                  </a:lnTo>
                  <a:close/>
                  <a:moveTo>
                    <a:pt x="240" y="408"/>
                  </a:moveTo>
                  <a:lnTo>
                    <a:pt x="196" y="408"/>
                  </a:lnTo>
                  <a:lnTo>
                    <a:pt x="196" y="358"/>
                  </a:lnTo>
                  <a:lnTo>
                    <a:pt x="240" y="358"/>
                  </a:lnTo>
                  <a:lnTo>
                    <a:pt x="240" y="408"/>
                  </a:lnTo>
                  <a:close/>
                  <a:moveTo>
                    <a:pt x="240" y="336"/>
                  </a:moveTo>
                  <a:lnTo>
                    <a:pt x="196" y="336"/>
                  </a:lnTo>
                  <a:lnTo>
                    <a:pt x="196" y="286"/>
                  </a:lnTo>
                  <a:lnTo>
                    <a:pt x="240" y="286"/>
                  </a:lnTo>
                  <a:lnTo>
                    <a:pt x="240" y="336"/>
                  </a:lnTo>
                  <a:close/>
                  <a:moveTo>
                    <a:pt x="240" y="265"/>
                  </a:moveTo>
                  <a:lnTo>
                    <a:pt x="196" y="265"/>
                  </a:lnTo>
                  <a:lnTo>
                    <a:pt x="196" y="215"/>
                  </a:lnTo>
                  <a:lnTo>
                    <a:pt x="240" y="215"/>
                  </a:lnTo>
                  <a:lnTo>
                    <a:pt x="240" y="265"/>
                  </a:lnTo>
                  <a:close/>
                  <a:moveTo>
                    <a:pt x="240" y="193"/>
                  </a:moveTo>
                  <a:lnTo>
                    <a:pt x="196" y="193"/>
                  </a:lnTo>
                  <a:lnTo>
                    <a:pt x="196" y="143"/>
                  </a:lnTo>
                  <a:lnTo>
                    <a:pt x="240" y="143"/>
                  </a:lnTo>
                  <a:lnTo>
                    <a:pt x="240" y="193"/>
                  </a:lnTo>
                  <a:close/>
                  <a:moveTo>
                    <a:pt x="240" y="122"/>
                  </a:moveTo>
                  <a:lnTo>
                    <a:pt x="196" y="122"/>
                  </a:lnTo>
                  <a:lnTo>
                    <a:pt x="196" y="71"/>
                  </a:lnTo>
                  <a:lnTo>
                    <a:pt x="240" y="71"/>
                  </a:lnTo>
                  <a:lnTo>
                    <a:pt x="240" y="122"/>
                  </a:ln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2" name="Freeform 5"/>
            <p:cNvSpPr>
              <a:spLocks noChangeAspect="1" noEditPoints="1"/>
            </p:cNvSpPr>
            <p:nvPr/>
          </p:nvSpPr>
          <p:spPr bwMode="gray">
            <a:xfrm>
              <a:off x="442993" y="3573512"/>
              <a:ext cx="237600" cy="120416"/>
            </a:xfrm>
            <a:custGeom>
              <a:avLst/>
              <a:gdLst/>
              <a:ahLst/>
              <a:cxnLst>
                <a:cxn ang="0">
                  <a:pos x="73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0" y="33"/>
                </a:cxn>
                <a:cxn ang="0">
                  <a:pos x="8" y="41"/>
                </a:cxn>
                <a:cxn ang="0">
                  <a:pos x="73" y="41"/>
                </a:cxn>
                <a:cxn ang="0">
                  <a:pos x="82" y="33"/>
                </a:cxn>
                <a:cxn ang="0">
                  <a:pos x="82" y="8"/>
                </a:cxn>
                <a:cxn ang="0">
                  <a:pos x="73" y="0"/>
                </a:cxn>
                <a:cxn ang="0">
                  <a:pos x="73" y="33"/>
                </a:cxn>
                <a:cxn ang="0">
                  <a:pos x="8" y="33"/>
                </a:cxn>
                <a:cxn ang="0">
                  <a:pos x="8" y="8"/>
                </a:cxn>
                <a:cxn ang="0">
                  <a:pos x="73" y="8"/>
                </a:cxn>
                <a:cxn ang="0">
                  <a:pos x="73" y="33"/>
                </a:cxn>
                <a:cxn ang="0">
                  <a:pos x="49" y="13"/>
                </a:cxn>
                <a:cxn ang="0">
                  <a:pos x="32" y="13"/>
                </a:cxn>
                <a:cxn ang="0">
                  <a:pos x="32" y="29"/>
                </a:cxn>
                <a:cxn ang="0">
                  <a:pos x="49" y="29"/>
                </a:cxn>
                <a:cxn ang="0">
                  <a:pos x="49" y="13"/>
                </a:cxn>
                <a:cxn ang="0">
                  <a:pos x="69" y="13"/>
                </a:cxn>
                <a:cxn ang="0">
                  <a:pos x="53" y="13"/>
                </a:cxn>
                <a:cxn ang="0">
                  <a:pos x="53" y="29"/>
                </a:cxn>
                <a:cxn ang="0">
                  <a:pos x="69" y="29"/>
                </a:cxn>
                <a:cxn ang="0">
                  <a:pos x="69" y="13"/>
                </a:cxn>
                <a:cxn ang="0">
                  <a:pos x="28" y="13"/>
                </a:cxn>
                <a:cxn ang="0">
                  <a:pos x="12" y="13"/>
                </a:cxn>
                <a:cxn ang="0">
                  <a:pos x="12" y="29"/>
                </a:cxn>
                <a:cxn ang="0">
                  <a:pos x="28" y="29"/>
                </a:cxn>
                <a:cxn ang="0">
                  <a:pos x="28" y="13"/>
                </a:cxn>
              </a:cxnLst>
              <a:rect l="0" t="0" r="r" b="b"/>
              <a:pathLst>
                <a:path w="82" h="41">
                  <a:moveTo>
                    <a:pt x="73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7"/>
                    <a:pt x="3" y="41"/>
                    <a:pt x="8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8" y="41"/>
                    <a:pt x="82" y="37"/>
                    <a:pt x="82" y="33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4"/>
                    <a:pt x="78" y="0"/>
                    <a:pt x="73" y="0"/>
                  </a:cubicBezTo>
                  <a:close/>
                  <a:moveTo>
                    <a:pt x="73" y="33"/>
                  </a:moveTo>
                  <a:cubicBezTo>
                    <a:pt x="8" y="33"/>
                    <a:pt x="8" y="33"/>
                    <a:pt x="8" y="33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3" y="8"/>
                    <a:pt x="73" y="8"/>
                    <a:pt x="73" y="8"/>
                  </a:cubicBezTo>
                  <a:lnTo>
                    <a:pt x="73" y="33"/>
                  </a:lnTo>
                  <a:close/>
                  <a:moveTo>
                    <a:pt x="49" y="13"/>
                  </a:moveTo>
                  <a:cubicBezTo>
                    <a:pt x="32" y="13"/>
                    <a:pt x="32" y="13"/>
                    <a:pt x="32" y="13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49" y="29"/>
                    <a:pt x="49" y="29"/>
                    <a:pt x="49" y="29"/>
                  </a:cubicBezTo>
                  <a:lnTo>
                    <a:pt x="49" y="13"/>
                  </a:lnTo>
                  <a:close/>
                  <a:moveTo>
                    <a:pt x="69" y="13"/>
                  </a:moveTo>
                  <a:cubicBezTo>
                    <a:pt x="53" y="13"/>
                    <a:pt x="53" y="13"/>
                    <a:pt x="53" y="13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9" y="29"/>
                    <a:pt x="69" y="29"/>
                    <a:pt x="69" y="29"/>
                  </a:cubicBezTo>
                  <a:lnTo>
                    <a:pt x="69" y="13"/>
                  </a:lnTo>
                  <a:close/>
                  <a:moveTo>
                    <a:pt x="28" y="13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28" y="29"/>
                    <a:pt x="28" y="29"/>
                    <a:pt x="28" y="29"/>
                  </a:cubicBezTo>
                  <a:lnTo>
                    <a:pt x="28" y="13"/>
                  </a:ln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3" name="Freeform 9"/>
            <p:cNvSpPr>
              <a:spLocks noChangeAspect="1" noEditPoints="1"/>
            </p:cNvSpPr>
            <p:nvPr/>
          </p:nvSpPr>
          <p:spPr bwMode="gray">
            <a:xfrm>
              <a:off x="958113" y="3573512"/>
              <a:ext cx="237600" cy="120416"/>
            </a:xfrm>
            <a:custGeom>
              <a:avLst/>
              <a:gdLst/>
              <a:ahLst/>
              <a:cxnLst>
                <a:cxn ang="0">
                  <a:pos x="74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0" y="33"/>
                </a:cxn>
                <a:cxn ang="0">
                  <a:pos x="8" y="41"/>
                </a:cxn>
                <a:cxn ang="0">
                  <a:pos x="74" y="41"/>
                </a:cxn>
                <a:cxn ang="0">
                  <a:pos x="82" y="33"/>
                </a:cxn>
                <a:cxn ang="0">
                  <a:pos x="82" y="8"/>
                </a:cxn>
                <a:cxn ang="0">
                  <a:pos x="74" y="0"/>
                </a:cxn>
                <a:cxn ang="0">
                  <a:pos x="74" y="33"/>
                </a:cxn>
                <a:cxn ang="0">
                  <a:pos x="8" y="33"/>
                </a:cxn>
                <a:cxn ang="0">
                  <a:pos x="8" y="8"/>
                </a:cxn>
                <a:cxn ang="0">
                  <a:pos x="74" y="8"/>
                </a:cxn>
                <a:cxn ang="0">
                  <a:pos x="74" y="33"/>
                </a:cxn>
                <a:cxn ang="0">
                  <a:pos x="49" y="13"/>
                </a:cxn>
                <a:cxn ang="0">
                  <a:pos x="33" y="13"/>
                </a:cxn>
                <a:cxn ang="0">
                  <a:pos x="33" y="29"/>
                </a:cxn>
                <a:cxn ang="0">
                  <a:pos x="49" y="29"/>
                </a:cxn>
                <a:cxn ang="0">
                  <a:pos x="49" y="13"/>
                </a:cxn>
                <a:cxn ang="0">
                  <a:pos x="29" y="13"/>
                </a:cxn>
                <a:cxn ang="0">
                  <a:pos x="12" y="13"/>
                </a:cxn>
                <a:cxn ang="0">
                  <a:pos x="12" y="29"/>
                </a:cxn>
                <a:cxn ang="0">
                  <a:pos x="29" y="29"/>
                </a:cxn>
                <a:cxn ang="0">
                  <a:pos x="29" y="13"/>
                </a:cxn>
              </a:cxnLst>
              <a:rect l="0" t="0" r="r" b="b"/>
              <a:pathLst>
                <a:path w="82" h="41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7"/>
                    <a:pt x="4" y="41"/>
                    <a:pt x="8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8" y="41"/>
                    <a:pt x="82" y="37"/>
                    <a:pt x="82" y="33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4"/>
                    <a:pt x="78" y="0"/>
                    <a:pt x="74" y="0"/>
                  </a:cubicBezTo>
                  <a:close/>
                  <a:moveTo>
                    <a:pt x="74" y="33"/>
                  </a:moveTo>
                  <a:cubicBezTo>
                    <a:pt x="8" y="33"/>
                    <a:pt x="8" y="33"/>
                    <a:pt x="8" y="33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4" y="8"/>
                    <a:pt x="74" y="8"/>
                    <a:pt x="74" y="8"/>
                  </a:cubicBezTo>
                  <a:lnTo>
                    <a:pt x="74" y="33"/>
                  </a:lnTo>
                  <a:close/>
                  <a:moveTo>
                    <a:pt x="49" y="13"/>
                  </a:moveTo>
                  <a:cubicBezTo>
                    <a:pt x="33" y="13"/>
                    <a:pt x="33" y="13"/>
                    <a:pt x="33" y="13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49" y="29"/>
                    <a:pt x="49" y="29"/>
                    <a:pt x="49" y="29"/>
                  </a:cubicBezTo>
                  <a:lnTo>
                    <a:pt x="49" y="13"/>
                  </a:lnTo>
                  <a:close/>
                  <a:moveTo>
                    <a:pt x="29" y="13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29" y="29"/>
                    <a:pt x="29" y="29"/>
                    <a:pt x="29" y="29"/>
                  </a:cubicBezTo>
                  <a:lnTo>
                    <a:pt x="29" y="13"/>
                  </a:ln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4" name="Freeform 13"/>
            <p:cNvSpPr>
              <a:spLocks noChangeAspect="1" noEditPoints="1"/>
            </p:cNvSpPr>
            <p:nvPr/>
          </p:nvSpPr>
          <p:spPr bwMode="gray">
            <a:xfrm>
              <a:off x="1461447" y="3573512"/>
              <a:ext cx="237600" cy="120416"/>
            </a:xfrm>
            <a:custGeom>
              <a:avLst/>
              <a:gdLst/>
              <a:ahLst/>
              <a:cxnLst>
                <a:cxn ang="0">
                  <a:pos x="74" y="0"/>
                </a:cxn>
                <a:cxn ang="0">
                  <a:pos x="9" y="0"/>
                </a:cxn>
                <a:cxn ang="0">
                  <a:pos x="0" y="8"/>
                </a:cxn>
                <a:cxn ang="0">
                  <a:pos x="0" y="33"/>
                </a:cxn>
                <a:cxn ang="0">
                  <a:pos x="9" y="41"/>
                </a:cxn>
                <a:cxn ang="0">
                  <a:pos x="74" y="41"/>
                </a:cxn>
                <a:cxn ang="0">
                  <a:pos x="82" y="33"/>
                </a:cxn>
                <a:cxn ang="0">
                  <a:pos x="82" y="8"/>
                </a:cxn>
                <a:cxn ang="0">
                  <a:pos x="74" y="0"/>
                </a:cxn>
                <a:cxn ang="0">
                  <a:pos x="74" y="33"/>
                </a:cxn>
                <a:cxn ang="0">
                  <a:pos x="9" y="33"/>
                </a:cxn>
                <a:cxn ang="0">
                  <a:pos x="9" y="8"/>
                </a:cxn>
                <a:cxn ang="0">
                  <a:pos x="74" y="8"/>
                </a:cxn>
                <a:cxn ang="0">
                  <a:pos x="74" y="33"/>
                </a:cxn>
                <a:cxn ang="0">
                  <a:pos x="29" y="13"/>
                </a:cxn>
                <a:cxn ang="0">
                  <a:pos x="13" y="13"/>
                </a:cxn>
                <a:cxn ang="0">
                  <a:pos x="13" y="29"/>
                </a:cxn>
                <a:cxn ang="0">
                  <a:pos x="29" y="29"/>
                </a:cxn>
                <a:cxn ang="0">
                  <a:pos x="29" y="13"/>
                </a:cxn>
              </a:cxnLst>
              <a:rect l="0" t="0" r="r" b="b"/>
              <a:pathLst>
                <a:path w="82" h="41">
                  <a:moveTo>
                    <a:pt x="74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7"/>
                    <a:pt x="4" y="41"/>
                    <a:pt x="9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9" y="41"/>
                    <a:pt x="82" y="37"/>
                    <a:pt x="82" y="33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4"/>
                    <a:pt x="79" y="0"/>
                    <a:pt x="74" y="0"/>
                  </a:cubicBezTo>
                  <a:close/>
                  <a:moveTo>
                    <a:pt x="74" y="33"/>
                  </a:moveTo>
                  <a:cubicBezTo>
                    <a:pt x="9" y="33"/>
                    <a:pt x="9" y="33"/>
                    <a:pt x="9" y="33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74" y="8"/>
                    <a:pt x="74" y="8"/>
                    <a:pt x="74" y="8"/>
                  </a:cubicBezTo>
                  <a:lnTo>
                    <a:pt x="74" y="33"/>
                  </a:lnTo>
                  <a:close/>
                  <a:moveTo>
                    <a:pt x="29" y="13"/>
                  </a:moveTo>
                  <a:cubicBezTo>
                    <a:pt x="13" y="13"/>
                    <a:pt x="13" y="13"/>
                    <a:pt x="13" y="13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29" y="29"/>
                    <a:pt x="29" y="29"/>
                    <a:pt x="29" y="29"/>
                  </a:cubicBezTo>
                  <a:lnTo>
                    <a:pt x="29" y="13"/>
                  </a:ln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5" name="Freeform 17"/>
            <p:cNvSpPr>
              <a:spLocks noChangeAspect="1" noEditPoints="1"/>
            </p:cNvSpPr>
            <p:nvPr/>
          </p:nvSpPr>
          <p:spPr bwMode="gray">
            <a:xfrm>
              <a:off x="1957920" y="3529564"/>
              <a:ext cx="234000" cy="208317"/>
            </a:xfrm>
            <a:custGeom>
              <a:avLst/>
              <a:gdLst/>
              <a:ahLst/>
              <a:cxnLst>
                <a:cxn ang="0">
                  <a:pos x="40" y="55"/>
                </a:cxn>
                <a:cxn ang="0">
                  <a:pos x="32" y="63"/>
                </a:cxn>
                <a:cxn ang="0">
                  <a:pos x="40" y="71"/>
                </a:cxn>
                <a:cxn ang="0">
                  <a:pos x="48" y="63"/>
                </a:cxn>
                <a:cxn ang="0">
                  <a:pos x="40" y="55"/>
                </a:cxn>
                <a:cxn ang="0">
                  <a:pos x="23" y="46"/>
                </a:cxn>
                <a:cxn ang="0">
                  <a:pos x="29" y="51"/>
                </a:cxn>
                <a:cxn ang="0">
                  <a:pos x="51" y="51"/>
                </a:cxn>
                <a:cxn ang="0">
                  <a:pos x="57" y="46"/>
                </a:cxn>
                <a:cxn ang="0">
                  <a:pos x="23" y="46"/>
                </a:cxn>
                <a:cxn ang="0">
                  <a:pos x="11" y="34"/>
                </a:cxn>
                <a:cxn ang="0">
                  <a:pos x="17" y="40"/>
                </a:cxn>
                <a:cxn ang="0">
                  <a:pos x="63" y="40"/>
                </a:cxn>
                <a:cxn ang="0">
                  <a:pos x="69" y="34"/>
                </a:cxn>
                <a:cxn ang="0">
                  <a:pos x="11" y="34"/>
                </a:cxn>
                <a:cxn ang="0">
                  <a:pos x="0" y="22"/>
                </a:cxn>
                <a:cxn ang="0">
                  <a:pos x="6" y="28"/>
                </a:cxn>
                <a:cxn ang="0">
                  <a:pos x="74" y="28"/>
                </a:cxn>
                <a:cxn ang="0">
                  <a:pos x="80" y="22"/>
                </a:cxn>
                <a:cxn ang="0">
                  <a:pos x="0" y="22"/>
                </a:cxn>
              </a:cxnLst>
              <a:rect l="0" t="0" r="r" b="b"/>
              <a:pathLst>
                <a:path w="80" h="71">
                  <a:moveTo>
                    <a:pt x="40" y="55"/>
                  </a:moveTo>
                  <a:cubicBezTo>
                    <a:pt x="35" y="55"/>
                    <a:pt x="32" y="58"/>
                    <a:pt x="32" y="63"/>
                  </a:cubicBezTo>
                  <a:cubicBezTo>
                    <a:pt x="32" y="67"/>
                    <a:pt x="35" y="71"/>
                    <a:pt x="40" y="71"/>
                  </a:cubicBezTo>
                  <a:cubicBezTo>
                    <a:pt x="44" y="71"/>
                    <a:pt x="48" y="67"/>
                    <a:pt x="48" y="63"/>
                  </a:cubicBezTo>
                  <a:cubicBezTo>
                    <a:pt x="48" y="58"/>
                    <a:pt x="44" y="55"/>
                    <a:pt x="40" y="55"/>
                  </a:cubicBezTo>
                  <a:close/>
                  <a:moveTo>
                    <a:pt x="23" y="46"/>
                  </a:moveTo>
                  <a:cubicBezTo>
                    <a:pt x="29" y="51"/>
                    <a:pt x="29" y="51"/>
                    <a:pt x="29" y="51"/>
                  </a:cubicBezTo>
                  <a:cubicBezTo>
                    <a:pt x="35" y="45"/>
                    <a:pt x="45" y="45"/>
                    <a:pt x="51" y="51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48" y="36"/>
                    <a:pt x="32" y="36"/>
                    <a:pt x="23" y="46"/>
                  </a:cubicBezTo>
                  <a:close/>
                  <a:moveTo>
                    <a:pt x="11" y="34"/>
                  </a:moveTo>
                  <a:cubicBezTo>
                    <a:pt x="17" y="40"/>
                    <a:pt x="17" y="40"/>
                    <a:pt x="17" y="40"/>
                  </a:cubicBezTo>
                  <a:cubicBezTo>
                    <a:pt x="30" y="27"/>
                    <a:pt x="50" y="27"/>
                    <a:pt x="63" y="40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53" y="18"/>
                    <a:pt x="27" y="18"/>
                    <a:pt x="11" y="34"/>
                  </a:cubicBezTo>
                  <a:close/>
                  <a:moveTo>
                    <a:pt x="0" y="22"/>
                  </a:moveTo>
                  <a:cubicBezTo>
                    <a:pt x="6" y="28"/>
                    <a:pt x="6" y="28"/>
                    <a:pt x="6" y="28"/>
                  </a:cubicBezTo>
                  <a:cubicBezTo>
                    <a:pt x="25" y="9"/>
                    <a:pt x="55" y="9"/>
                    <a:pt x="74" y="28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58" y="0"/>
                    <a:pt x="22" y="0"/>
                    <a:pt x="0" y="22"/>
                  </a:cubicBez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6" name="Freeform 21"/>
            <p:cNvSpPr>
              <a:spLocks noChangeAspect="1" noEditPoints="1"/>
            </p:cNvSpPr>
            <p:nvPr/>
          </p:nvSpPr>
          <p:spPr bwMode="gray">
            <a:xfrm>
              <a:off x="2492650" y="3540120"/>
              <a:ext cx="187200" cy="1872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9"/>
                </a:cxn>
                <a:cxn ang="0">
                  <a:pos x="52" y="62"/>
                </a:cxn>
                <a:cxn ang="0">
                  <a:pos x="62" y="62"/>
                </a:cxn>
                <a:cxn ang="0">
                  <a:pos x="0" y="0"/>
                </a:cxn>
                <a:cxn ang="0">
                  <a:pos x="0" y="19"/>
                </a:cxn>
                <a:cxn ang="0">
                  <a:pos x="0" y="29"/>
                </a:cxn>
                <a:cxn ang="0">
                  <a:pos x="33" y="62"/>
                </a:cxn>
                <a:cxn ang="0">
                  <a:pos x="42" y="62"/>
                </a:cxn>
                <a:cxn ang="0">
                  <a:pos x="0" y="19"/>
                </a:cxn>
                <a:cxn ang="0">
                  <a:pos x="9" y="43"/>
                </a:cxn>
                <a:cxn ang="0">
                  <a:pos x="0" y="52"/>
                </a:cxn>
                <a:cxn ang="0">
                  <a:pos x="9" y="62"/>
                </a:cxn>
                <a:cxn ang="0">
                  <a:pos x="18" y="52"/>
                </a:cxn>
                <a:cxn ang="0">
                  <a:pos x="9" y="43"/>
                </a:cxn>
              </a:cxnLst>
              <a:rect l="0" t="0" r="r" b="b"/>
              <a:pathLst>
                <a:path w="62" h="62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29" y="9"/>
                    <a:pt x="52" y="33"/>
                    <a:pt x="52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27"/>
                    <a:pt x="34" y="0"/>
                    <a:pt x="0" y="0"/>
                  </a:cubicBezTo>
                  <a:close/>
                  <a:moveTo>
                    <a:pt x="0" y="1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8" y="29"/>
                    <a:pt x="33" y="43"/>
                    <a:pt x="33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38"/>
                    <a:pt x="23" y="19"/>
                    <a:pt x="0" y="19"/>
                  </a:cubicBezTo>
                  <a:close/>
                  <a:moveTo>
                    <a:pt x="9" y="43"/>
                  </a:moveTo>
                  <a:cubicBezTo>
                    <a:pt x="4" y="43"/>
                    <a:pt x="0" y="47"/>
                    <a:pt x="0" y="52"/>
                  </a:cubicBezTo>
                  <a:cubicBezTo>
                    <a:pt x="0" y="58"/>
                    <a:pt x="4" y="62"/>
                    <a:pt x="9" y="62"/>
                  </a:cubicBezTo>
                  <a:cubicBezTo>
                    <a:pt x="14" y="62"/>
                    <a:pt x="18" y="58"/>
                    <a:pt x="18" y="52"/>
                  </a:cubicBezTo>
                  <a:cubicBezTo>
                    <a:pt x="18" y="47"/>
                    <a:pt x="14" y="43"/>
                    <a:pt x="9" y="43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7" name="Freeform 25"/>
            <p:cNvSpPr>
              <a:spLocks noChangeAspect="1" noEditPoints="1"/>
            </p:cNvSpPr>
            <p:nvPr/>
          </p:nvSpPr>
          <p:spPr bwMode="gray">
            <a:xfrm>
              <a:off x="2950191" y="3523188"/>
              <a:ext cx="244800" cy="221069"/>
            </a:xfrm>
            <a:custGeom>
              <a:avLst/>
              <a:gdLst/>
              <a:ahLst/>
              <a:cxnLst>
                <a:cxn ang="0">
                  <a:pos x="74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0" y="57"/>
                </a:cxn>
                <a:cxn ang="0">
                  <a:pos x="8" y="65"/>
                </a:cxn>
                <a:cxn ang="0">
                  <a:pos x="25" y="65"/>
                </a:cxn>
                <a:cxn ang="0">
                  <a:pos x="25" y="57"/>
                </a:cxn>
                <a:cxn ang="0">
                  <a:pos x="8" y="57"/>
                </a:cxn>
                <a:cxn ang="0">
                  <a:pos x="8" y="19"/>
                </a:cxn>
                <a:cxn ang="0">
                  <a:pos x="74" y="19"/>
                </a:cxn>
                <a:cxn ang="0">
                  <a:pos x="74" y="57"/>
                </a:cxn>
                <a:cxn ang="0">
                  <a:pos x="57" y="57"/>
                </a:cxn>
                <a:cxn ang="0">
                  <a:pos x="57" y="65"/>
                </a:cxn>
                <a:cxn ang="0">
                  <a:pos x="74" y="65"/>
                </a:cxn>
                <a:cxn ang="0">
                  <a:pos x="82" y="57"/>
                </a:cxn>
                <a:cxn ang="0">
                  <a:pos x="82" y="8"/>
                </a:cxn>
                <a:cxn ang="0">
                  <a:pos x="74" y="0"/>
                </a:cxn>
                <a:cxn ang="0">
                  <a:pos x="11" y="13"/>
                </a:cxn>
                <a:cxn ang="0">
                  <a:pos x="8" y="10"/>
                </a:cxn>
                <a:cxn ang="0">
                  <a:pos x="11" y="7"/>
                </a:cxn>
                <a:cxn ang="0">
                  <a:pos x="14" y="10"/>
                </a:cxn>
                <a:cxn ang="0">
                  <a:pos x="11" y="13"/>
                </a:cxn>
                <a:cxn ang="0">
                  <a:pos x="19" y="13"/>
                </a:cxn>
                <a:cxn ang="0">
                  <a:pos x="16" y="10"/>
                </a:cxn>
                <a:cxn ang="0">
                  <a:pos x="19" y="7"/>
                </a:cxn>
                <a:cxn ang="0">
                  <a:pos x="22" y="10"/>
                </a:cxn>
                <a:cxn ang="0">
                  <a:pos x="19" y="13"/>
                </a:cxn>
                <a:cxn ang="0">
                  <a:pos x="74" y="13"/>
                </a:cxn>
                <a:cxn ang="0">
                  <a:pos x="25" y="13"/>
                </a:cxn>
                <a:cxn ang="0">
                  <a:pos x="25" y="8"/>
                </a:cxn>
                <a:cxn ang="0">
                  <a:pos x="74" y="8"/>
                </a:cxn>
                <a:cxn ang="0">
                  <a:pos x="74" y="13"/>
                </a:cxn>
                <a:cxn ang="0">
                  <a:pos x="41" y="29"/>
                </a:cxn>
                <a:cxn ang="0">
                  <a:pos x="21" y="49"/>
                </a:cxn>
                <a:cxn ang="0">
                  <a:pos x="33" y="49"/>
                </a:cxn>
                <a:cxn ang="0">
                  <a:pos x="33" y="74"/>
                </a:cxn>
                <a:cxn ang="0">
                  <a:pos x="48" y="74"/>
                </a:cxn>
                <a:cxn ang="0">
                  <a:pos x="48" y="49"/>
                </a:cxn>
                <a:cxn ang="0">
                  <a:pos x="61" y="49"/>
                </a:cxn>
                <a:cxn ang="0">
                  <a:pos x="41" y="29"/>
                </a:cxn>
              </a:cxnLst>
              <a:rect l="0" t="0" r="r" b="b"/>
              <a:pathLst>
                <a:path w="82" h="74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4" y="65"/>
                    <a:pt x="8" y="65"/>
                  </a:cubicBezTo>
                  <a:cubicBezTo>
                    <a:pt x="25" y="65"/>
                    <a:pt x="25" y="65"/>
                    <a:pt x="25" y="65"/>
                  </a:cubicBezTo>
                  <a:cubicBezTo>
                    <a:pt x="25" y="57"/>
                    <a:pt x="25" y="57"/>
                    <a:pt x="25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57" y="57"/>
                    <a:pt x="57" y="57"/>
                    <a:pt x="57" y="57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8" y="65"/>
                    <a:pt x="82" y="62"/>
                    <a:pt x="82" y="57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4"/>
                    <a:pt x="78" y="0"/>
                    <a:pt x="74" y="0"/>
                  </a:cubicBezTo>
                  <a:close/>
                  <a:moveTo>
                    <a:pt x="11" y="13"/>
                  </a:moveTo>
                  <a:cubicBezTo>
                    <a:pt x="9" y="13"/>
                    <a:pt x="8" y="12"/>
                    <a:pt x="8" y="10"/>
                  </a:cubicBezTo>
                  <a:cubicBezTo>
                    <a:pt x="8" y="9"/>
                    <a:pt x="9" y="7"/>
                    <a:pt x="11" y="7"/>
                  </a:cubicBezTo>
                  <a:cubicBezTo>
                    <a:pt x="12" y="7"/>
                    <a:pt x="14" y="9"/>
                    <a:pt x="14" y="10"/>
                  </a:cubicBezTo>
                  <a:cubicBezTo>
                    <a:pt x="14" y="12"/>
                    <a:pt x="12" y="13"/>
                    <a:pt x="11" y="13"/>
                  </a:cubicBezTo>
                  <a:close/>
                  <a:moveTo>
                    <a:pt x="19" y="13"/>
                  </a:moveTo>
                  <a:cubicBezTo>
                    <a:pt x="17" y="13"/>
                    <a:pt x="16" y="12"/>
                    <a:pt x="16" y="10"/>
                  </a:cubicBezTo>
                  <a:cubicBezTo>
                    <a:pt x="16" y="9"/>
                    <a:pt x="17" y="7"/>
                    <a:pt x="19" y="7"/>
                  </a:cubicBezTo>
                  <a:cubicBezTo>
                    <a:pt x="21" y="7"/>
                    <a:pt x="22" y="9"/>
                    <a:pt x="22" y="10"/>
                  </a:cubicBezTo>
                  <a:cubicBezTo>
                    <a:pt x="22" y="12"/>
                    <a:pt x="21" y="13"/>
                    <a:pt x="19" y="13"/>
                  </a:cubicBezTo>
                  <a:close/>
                  <a:moveTo>
                    <a:pt x="74" y="13"/>
                  </a:moveTo>
                  <a:cubicBezTo>
                    <a:pt x="25" y="13"/>
                    <a:pt x="25" y="13"/>
                    <a:pt x="25" y="13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74" y="8"/>
                    <a:pt x="74" y="8"/>
                    <a:pt x="74" y="8"/>
                  </a:cubicBezTo>
                  <a:lnTo>
                    <a:pt x="74" y="13"/>
                  </a:lnTo>
                  <a:close/>
                  <a:moveTo>
                    <a:pt x="41" y="29"/>
                  </a:moveTo>
                  <a:cubicBezTo>
                    <a:pt x="21" y="49"/>
                    <a:pt x="21" y="49"/>
                    <a:pt x="21" y="49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3" y="74"/>
                    <a:pt x="33" y="74"/>
                    <a:pt x="33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61" y="49"/>
                    <a:pt x="61" y="49"/>
                    <a:pt x="61" y="49"/>
                  </a:cubicBezTo>
                  <a:lnTo>
                    <a:pt x="41" y="29"/>
                  </a:lnTo>
                  <a:close/>
                </a:path>
              </a:pathLst>
            </a:custGeom>
            <a:solidFill>
              <a:srgbClr val="57575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8" name="Freeform 29"/>
            <p:cNvSpPr>
              <a:spLocks noChangeAspect="1" noEditPoints="1"/>
            </p:cNvSpPr>
            <p:nvPr/>
          </p:nvSpPr>
          <p:spPr bwMode="gray">
            <a:xfrm>
              <a:off x="3465340" y="3536302"/>
              <a:ext cx="244800" cy="194841"/>
            </a:xfrm>
            <a:custGeom>
              <a:avLst/>
              <a:gdLst/>
              <a:ahLst/>
              <a:cxnLst>
                <a:cxn ang="0">
                  <a:pos x="74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0" y="57"/>
                </a:cxn>
                <a:cxn ang="0">
                  <a:pos x="8" y="65"/>
                </a:cxn>
                <a:cxn ang="0">
                  <a:pos x="74" y="65"/>
                </a:cxn>
                <a:cxn ang="0">
                  <a:pos x="82" y="57"/>
                </a:cxn>
                <a:cxn ang="0">
                  <a:pos x="82" y="8"/>
                </a:cxn>
                <a:cxn ang="0">
                  <a:pos x="74" y="0"/>
                </a:cxn>
                <a:cxn ang="0">
                  <a:pos x="19" y="8"/>
                </a:cxn>
                <a:cxn ang="0">
                  <a:pos x="22" y="11"/>
                </a:cxn>
                <a:cxn ang="0">
                  <a:pos x="19" y="14"/>
                </a:cxn>
                <a:cxn ang="0">
                  <a:pos x="16" y="11"/>
                </a:cxn>
                <a:cxn ang="0">
                  <a:pos x="19" y="8"/>
                </a:cxn>
                <a:cxn ang="0">
                  <a:pos x="8" y="11"/>
                </a:cxn>
                <a:cxn ang="0">
                  <a:pos x="11" y="8"/>
                </a:cxn>
                <a:cxn ang="0">
                  <a:pos x="14" y="11"/>
                </a:cxn>
                <a:cxn ang="0">
                  <a:pos x="11" y="14"/>
                </a:cxn>
                <a:cxn ang="0">
                  <a:pos x="8" y="11"/>
                </a:cxn>
                <a:cxn ang="0">
                  <a:pos x="74" y="57"/>
                </a:cxn>
                <a:cxn ang="0">
                  <a:pos x="8" y="57"/>
                </a:cxn>
                <a:cxn ang="0">
                  <a:pos x="8" y="20"/>
                </a:cxn>
                <a:cxn ang="0">
                  <a:pos x="74" y="20"/>
                </a:cxn>
                <a:cxn ang="0">
                  <a:pos x="74" y="57"/>
                </a:cxn>
                <a:cxn ang="0">
                  <a:pos x="74" y="13"/>
                </a:cxn>
                <a:cxn ang="0">
                  <a:pos x="25" y="13"/>
                </a:cxn>
                <a:cxn ang="0">
                  <a:pos x="25" y="8"/>
                </a:cxn>
                <a:cxn ang="0">
                  <a:pos x="74" y="8"/>
                </a:cxn>
                <a:cxn ang="0">
                  <a:pos x="74" y="13"/>
                </a:cxn>
              </a:cxnLst>
              <a:rect l="0" t="0" r="r" b="b"/>
              <a:pathLst>
                <a:path w="82" h="65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4" y="65"/>
                    <a:pt x="8" y="65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8" y="65"/>
                    <a:pt x="82" y="62"/>
                    <a:pt x="82" y="57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4"/>
                    <a:pt x="78" y="0"/>
                    <a:pt x="74" y="0"/>
                  </a:cubicBezTo>
                  <a:close/>
                  <a:moveTo>
                    <a:pt x="19" y="8"/>
                  </a:moveTo>
                  <a:cubicBezTo>
                    <a:pt x="20" y="8"/>
                    <a:pt x="22" y="9"/>
                    <a:pt x="22" y="11"/>
                  </a:cubicBezTo>
                  <a:cubicBezTo>
                    <a:pt x="22" y="12"/>
                    <a:pt x="20" y="14"/>
                    <a:pt x="19" y="14"/>
                  </a:cubicBezTo>
                  <a:cubicBezTo>
                    <a:pt x="17" y="14"/>
                    <a:pt x="16" y="12"/>
                    <a:pt x="16" y="11"/>
                  </a:cubicBezTo>
                  <a:cubicBezTo>
                    <a:pt x="16" y="9"/>
                    <a:pt x="17" y="8"/>
                    <a:pt x="19" y="8"/>
                  </a:cubicBezTo>
                  <a:close/>
                  <a:moveTo>
                    <a:pt x="8" y="11"/>
                  </a:moveTo>
                  <a:cubicBezTo>
                    <a:pt x="8" y="9"/>
                    <a:pt x="9" y="8"/>
                    <a:pt x="11" y="8"/>
                  </a:cubicBezTo>
                  <a:cubicBezTo>
                    <a:pt x="12" y="8"/>
                    <a:pt x="14" y="9"/>
                    <a:pt x="14" y="11"/>
                  </a:cubicBezTo>
                  <a:cubicBezTo>
                    <a:pt x="14" y="12"/>
                    <a:pt x="12" y="14"/>
                    <a:pt x="11" y="14"/>
                  </a:cubicBezTo>
                  <a:cubicBezTo>
                    <a:pt x="9" y="14"/>
                    <a:pt x="8" y="12"/>
                    <a:pt x="8" y="11"/>
                  </a:cubicBezTo>
                  <a:close/>
                  <a:moveTo>
                    <a:pt x="74" y="57"/>
                  </a:moveTo>
                  <a:cubicBezTo>
                    <a:pt x="8" y="57"/>
                    <a:pt x="8" y="57"/>
                    <a:pt x="8" y="57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74" y="20"/>
                    <a:pt x="74" y="20"/>
                    <a:pt x="74" y="20"/>
                  </a:cubicBezTo>
                  <a:lnTo>
                    <a:pt x="74" y="57"/>
                  </a:lnTo>
                  <a:close/>
                  <a:moveTo>
                    <a:pt x="74" y="13"/>
                  </a:moveTo>
                  <a:cubicBezTo>
                    <a:pt x="25" y="13"/>
                    <a:pt x="25" y="13"/>
                    <a:pt x="25" y="13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74" y="8"/>
                    <a:pt x="74" y="8"/>
                    <a:pt x="74" y="8"/>
                  </a:cubicBezTo>
                  <a:lnTo>
                    <a:pt x="74" y="13"/>
                  </a:ln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9" name="Freeform 33"/>
            <p:cNvSpPr>
              <a:spLocks noChangeAspect="1" noEditPoints="1"/>
            </p:cNvSpPr>
            <p:nvPr/>
          </p:nvSpPr>
          <p:spPr bwMode="gray">
            <a:xfrm>
              <a:off x="3958434" y="3537759"/>
              <a:ext cx="244800" cy="191927"/>
            </a:xfrm>
            <a:custGeom>
              <a:avLst/>
              <a:gdLst/>
              <a:ahLst/>
              <a:cxnLst>
                <a:cxn ang="0">
                  <a:pos x="62" y="55"/>
                </a:cxn>
                <a:cxn ang="0">
                  <a:pos x="8" y="55"/>
                </a:cxn>
                <a:cxn ang="0">
                  <a:pos x="8" y="19"/>
                </a:cxn>
                <a:cxn ang="0">
                  <a:pos x="19" y="19"/>
                </a:cxn>
                <a:cxn ang="0">
                  <a:pos x="28" y="10"/>
                </a:cxn>
                <a:cxn ang="0">
                  <a:pos x="4" y="10"/>
                </a:cxn>
                <a:cxn ang="0">
                  <a:pos x="0" y="14"/>
                </a:cxn>
                <a:cxn ang="0">
                  <a:pos x="0" y="60"/>
                </a:cxn>
                <a:cxn ang="0">
                  <a:pos x="4" y="64"/>
                </a:cxn>
                <a:cxn ang="0">
                  <a:pos x="66" y="64"/>
                </a:cxn>
                <a:cxn ang="0">
                  <a:pos x="70" y="60"/>
                </a:cxn>
                <a:cxn ang="0">
                  <a:pos x="70" y="44"/>
                </a:cxn>
                <a:cxn ang="0">
                  <a:pos x="62" y="51"/>
                </a:cxn>
                <a:cxn ang="0">
                  <a:pos x="62" y="55"/>
                </a:cxn>
                <a:cxn ang="0">
                  <a:pos x="55" y="27"/>
                </a:cxn>
                <a:cxn ang="0">
                  <a:pos x="55" y="41"/>
                </a:cxn>
                <a:cxn ang="0">
                  <a:pos x="82" y="20"/>
                </a:cxn>
                <a:cxn ang="0">
                  <a:pos x="55" y="0"/>
                </a:cxn>
                <a:cxn ang="0">
                  <a:pos x="55" y="13"/>
                </a:cxn>
                <a:cxn ang="0">
                  <a:pos x="22" y="45"/>
                </a:cxn>
                <a:cxn ang="0">
                  <a:pos x="55" y="27"/>
                </a:cxn>
              </a:cxnLst>
              <a:rect l="0" t="0" r="r" b="b"/>
              <a:pathLst>
                <a:path w="82" h="64">
                  <a:moveTo>
                    <a:pt x="62" y="55"/>
                  </a:moveTo>
                  <a:cubicBezTo>
                    <a:pt x="8" y="55"/>
                    <a:pt x="8" y="55"/>
                    <a:pt x="8" y="55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22" y="15"/>
                    <a:pt x="28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2" y="10"/>
                    <a:pt x="0" y="12"/>
                    <a:pt x="0" y="1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2"/>
                    <a:pt x="2" y="64"/>
                    <a:pt x="4" y="64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8" y="64"/>
                    <a:pt x="70" y="62"/>
                    <a:pt x="70" y="60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62" y="51"/>
                    <a:pt x="62" y="51"/>
                    <a:pt x="62" y="51"/>
                  </a:cubicBezTo>
                  <a:lnTo>
                    <a:pt x="62" y="55"/>
                  </a:lnTo>
                  <a:close/>
                  <a:moveTo>
                    <a:pt x="55" y="27"/>
                  </a:moveTo>
                  <a:cubicBezTo>
                    <a:pt x="55" y="41"/>
                    <a:pt x="55" y="41"/>
                    <a:pt x="55" y="41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22" y="13"/>
                    <a:pt x="22" y="45"/>
                    <a:pt x="22" y="45"/>
                  </a:cubicBezTo>
                  <a:cubicBezTo>
                    <a:pt x="31" y="30"/>
                    <a:pt x="37" y="27"/>
                    <a:pt x="55" y="27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0" name="Freeform 37"/>
            <p:cNvSpPr>
              <a:spLocks noChangeAspect="1" noEditPoints="1"/>
            </p:cNvSpPr>
            <p:nvPr/>
          </p:nvSpPr>
          <p:spPr bwMode="gray">
            <a:xfrm>
              <a:off x="4471554" y="3541629"/>
              <a:ext cx="223200" cy="184182"/>
            </a:xfrm>
            <a:custGeom>
              <a:avLst/>
              <a:gdLst/>
              <a:ahLst/>
              <a:cxnLst>
                <a:cxn ang="0">
                  <a:pos x="72" y="34"/>
                </a:cxn>
                <a:cxn ang="0">
                  <a:pos x="59" y="4"/>
                </a:cxn>
                <a:cxn ang="0">
                  <a:pos x="53" y="0"/>
                </a:cxn>
                <a:cxn ang="0">
                  <a:pos x="45" y="0"/>
                </a:cxn>
                <a:cxn ang="0">
                  <a:pos x="47" y="17"/>
                </a:cxn>
                <a:cxn ang="0">
                  <a:pos x="58" y="17"/>
                </a:cxn>
                <a:cxn ang="0">
                  <a:pos x="37" y="34"/>
                </a:cxn>
                <a:cxn ang="0">
                  <a:pos x="16" y="17"/>
                </a:cxn>
                <a:cxn ang="0">
                  <a:pos x="27" y="17"/>
                </a:cxn>
                <a:cxn ang="0">
                  <a:pos x="28" y="0"/>
                </a:cxn>
                <a:cxn ang="0">
                  <a:pos x="20" y="0"/>
                </a:cxn>
                <a:cxn ang="0">
                  <a:pos x="14" y="4"/>
                </a:cxn>
                <a:cxn ang="0">
                  <a:pos x="1" y="34"/>
                </a:cxn>
                <a:cxn ang="0">
                  <a:pos x="0" y="42"/>
                </a:cxn>
                <a:cxn ang="0">
                  <a:pos x="3" y="57"/>
                </a:cxn>
                <a:cxn ang="0">
                  <a:pos x="8" y="61"/>
                </a:cxn>
                <a:cxn ang="0">
                  <a:pos x="66" y="61"/>
                </a:cxn>
                <a:cxn ang="0">
                  <a:pos x="71" y="57"/>
                </a:cxn>
                <a:cxn ang="0">
                  <a:pos x="73" y="42"/>
                </a:cxn>
                <a:cxn ang="0">
                  <a:pos x="72" y="34"/>
                </a:cxn>
                <a:cxn ang="0">
                  <a:pos x="67" y="45"/>
                </a:cxn>
                <a:cxn ang="0">
                  <a:pos x="66" y="51"/>
                </a:cxn>
                <a:cxn ang="0">
                  <a:pos x="61" y="55"/>
                </a:cxn>
                <a:cxn ang="0">
                  <a:pos x="13" y="55"/>
                </a:cxn>
                <a:cxn ang="0">
                  <a:pos x="8" y="51"/>
                </a:cxn>
                <a:cxn ang="0">
                  <a:pos x="7" y="45"/>
                </a:cxn>
                <a:cxn ang="0">
                  <a:pos x="10" y="41"/>
                </a:cxn>
                <a:cxn ang="0">
                  <a:pos x="63" y="41"/>
                </a:cxn>
                <a:cxn ang="0">
                  <a:pos x="67" y="45"/>
                </a:cxn>
              </a:cxnLst>
              <a:rect l="0" t="0" r="r" b="b"/>
              <a:pathLst>
                <a:path w="74" h="61">
                  <a:moveTo>
                    <a:pt x="72" y="34"/>
                  </a:moveTo>
                  <a:cubicBezTo>
                    <a:pt x="59" y="4"/>
                    <a:pt x="59" y="4"/>
                    <a:pt x="59" y="4"/>
                  </a:cubicBezTo>
                  <a:cubicBezTo>
                    <a:pt x="58" y="2"/>
                    <a:pt x="56" y="0"/>
                    <a:pt x="53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8" y="0"/>
                    <a:pt x="15" y="2"/>
                    <a:pt x="14" y="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0" y="36"/>
                    <a:pt x="0" y="40"/>
                    <a:pt x="0" y="42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3" y="59"/>
                    <a:pt x="5" y="61"/>
                    <a:pt x="8" y="61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8" y="61"/>
                    <a:pt x="70" y="59"/>
                    <a:pt x="71" y="57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4" y="40"/>
                    <a:pt x="73" y="36"/>
                    <a:pt x="72" y="34"/>
                  </a:cubicBezTo>
                  <a:close/>
                  <a:moveTo>
                    <a:pt x="67" y="45"/>
                  </a:moveTo>
                  <a:cubicBezTo>
                    <a:pt x="66" y="51"/>
                    <a:pt x="66" y="51"/>
                    <a:pt x="66" y="51"/>
                  </a:cubicBezTo>
                  <a:cubicBezTo>
                    <a:pt x="65" y="54"/>
                    <a:pt x="63" y="55"/>
                    <a:pt x="61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0" y="55"/>
                    <a:pt x="8" y="54"/>
                    <a:pt x="8" y="51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6" y="43"/>
                    <a:pt x="8" y="41"/>
                    <a:pt x="10" y="41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65" y="41"/>
                    <a:pt x="67" y="43"/>
                    <a:pt x="67" y="45"/>
                  </a:cubicBez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1" name="Freeform 41"/>
            <p:cNvSpPr>
              <a:spLocks noChangeAspect="1" noEditPoints="1"/>
            </p:cNvSpPr>
            <p:nvPr/>
          </p:nvSpPr>
          <p:spPr bwMode="gray">
            <a:xfrm>
              <a:off x="5005537" y="3525720"/>
              <a:ext cx="169714" cy="216000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0" y="65"/>
                </a:cxn>
                <a:cxn ang="0">
                  <a:pos x="8" y="74"/>
                </a:cxn>
                <a:cxn ang="0">
                  <a:pos x="49" y="74"/>
                </a:cxn>
                <a:cxn ang="0">
                  <a:pos x="58" y="65"/>
                </a:cxn>
                <a:cxn ang="0">
                  <a:pos x="58" y="8"/>
                </a:cxn>
                <a:cxn ang="0">
                  <a:pos x="49" y="0"/>
                </a:cxn>
                <a:cxn ang="0">
                  <a:pos x="49" y="65"/>
                </a:cxn>
                <a:cxn ang="0">
                  <a:pos x="8" y="65"/>
                </a:cxn>
                <a:cxn ang="0">
                  <a:pos x="8" y="8"/>
                </a:cxn>
                <a:cxn ang="0">
                  <a:pos x="49" y="8"/>
                </a:cxn>
                <a:cxn ang="0">
                  <a:pos x="49" y="65"/>
                </a:cxn>
              </a:cxnLst>
              <a:rect l="0" t="0" r="r" b="b"/>
              <a:pathLst>
                <a:path w="58" h="74">
                  <a:moveTo>
                    <a:pt x="49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0"/>
                    <a:pt x="4" y="74"/>
                    <a:pt x="8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54" y="74"/>
                    <a:pt x="58" y="70"/>
                    <a:pt x="58" y="65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4"/>
                    <a:pt x="54" y="0"/>
                    <a:pt x="49" y="0"/>
                  </a:cubicBezTo>
                  <a:close/>
                  <a:moveTo>
                    <a:pt x="49" y="65"/>
                  </a:moveTo>
                  <a:cubicBezTo>
                    <a:pt x="8" y="65"/>
                    <a:pt x="8" y="65"/>
                    <a:pt x="8" y="65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49" y="8"/>
                    <a:pt x="49" y="8"/>
                    <a:pt x="49" y="8"/>
                  </a:cubicBezTo>
                  <a:lnTo>
                    <a:pt x="49" y="65"/>
                  </a:ln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2" name="Freeform 45"/>
            <p:cNvSpPr>
              <a:spLocks noChangeAspect="1" noEditPoints="1"/>
            </p:cNvSpPr>
            <p:nvPr/>
          </p:nvSpPr>
          <p:spPr bwMode="gray">
            <a:xfrm>
              <a:off x="5470121" y="3514920"/>
              <a:ext cx="237600" cy="237600"/>
            </a:xfrm>
            <a:custGeom>
              <a:avLst/>
              <a:gdLst/>
              <a:ahLst/>
              <a:cxnLst>
                <a:cxn ang="0">
                  <a:pos x="80" y="31"/>
                </a:cxn>
                <a:cxn ang="0">
                  <a:pos x="50" y="23"/>
                </a:cxn>
                <a:cxn ang="0">
                  <a:pos x="44" y="3"/>
                </a:cxn>
                <a:cxn ang="0">
                  <a:pos x="40" y="1"/>
                </a:cxn>
                <a:cxn ang="0">
                  <a:pos x="3" y="11"/>
                </a:cxn>
                <a:cxn ang="0">
                  <a:pos x="1" y="15"/>
                </a:cxn>
                <a:cxn ang="0">
                  <a:pos x="14" y="64"/>
                </a:cxn>
                <a:cxn ang="0">
                  <a:pos x="18" y="66"/>
                </a:cxn>
                <a:cxn ang="0">
                  <a:pos x="33" y="62"/>
                </a:cxn>
                <a:cxn ang="0">
                  <a:pos x="31" y="70"/>
                </a:cxn>
                <a:cxn ang="0">
                  <a:pos x="33" y="74"/>
                </a:cxn>
                <a:cxn ang="0">
                  <a:pos x="66" y="82"/>
                </a:cxn>
                <a:cxn ang="0">
                  <a:pos x="70" y="80"/>
                </a:cxn>
                <a:cxn ang="0">
                  <a:pos x="82" y="35"/>
                </a:cxn>
                <a:cxn ang="0">
                  <a:pos x="80" y="31"/>
                </a:cxn>
                <a:cxn ang="0">
                  <a:pos x="7" y="16"/>
                </a:cxn>
                <a:cxn ang="0">
                  <a:pos x="39" y="7"/>
                </a:cxn>
                <a:cxn ang="0">
                  <a:pos x="51" y="51"/>
                </a:cxn>
                <a:cxn ang="0">
                  <a:pos x="19" y="60"/>
                </a:cxn>
                <a:cxn ang="0">
                  <a:pos x="7" y="16"/>
                </a:cxn>
                <a:cxn ang="0">
                  <a:pos x="65" y="76"/>
                </a:cxn>
                <a:cxn ang="0">
                  <a:pos x="37" y="69"/>
                </a:cxn>
                <a:cxn ang="0">
                  <a:pos x="39" y="60"/>
                </a:cxn>
                <a:cxn ang="0">
                  <a:pos x="55" y="56"/>
                </a:cxn>
                <a:cxn ang="0">
                  <a:pos x="58" y="52"/>
                </a:cxn>
                <a:cxn ang="0">
                  <a:pos x="51" y="29"/>
                </a:cxn>
                <a:cxn ang="0">
                  <a:pos x="76" y="36"/>
                </a:cxn>
                <a:cxn ang="0">
                  <a:pos x="65" y="76"/>
                </a:cxn>
              </a:cxnLst>
              <a:rect l="0" t="0" r="r" b="b"/>
              <a:pathLst>
                <a:path w="83" h="83">
                  <a:moveTo>
                    <a:pt x="80" y="31"/>
                  </a:moveTo>
                  <a:cubicBezTo>
                    <a:pt x="50" y="23"/>
                    <a:pt x="50" y="23"/>
                    <a:pt x="50" y="2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1"/>
                    <a:pt x="42" y="0"/>
                    <a:pt x="40" y="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11"/>
                    <a:pt x="0" y="13"/>
                    <a:pt x="1" y="15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6"/>
                    <a:pt x="16" y="67"/>
                    <a:pt x="18" y="66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0" y="71"/>
                    <a:pt x="31" y="73"/>
                    <a:pt x="33" y="74"/>
                  </a:cubicBezTo>
                  <a:cubicBezTo>
                    <a:pt x="66" y="82"/>
                    <a:pt x="66" y="82"/>
                    <a:pt x="66" y="82"/>
                  </a:cubicBezTo>
                  <a:cubicBezTo>
                    <a:pt x="68" y="83"/>
                    <a:pt x="70" y="82"/>
                    <a:pt x="70" y="80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3" y="33"/>
                    <a:pt x="82" y="32"/>
                    <a:pt x="80" y="31"/>
                  </a:cubicBezTo>
                  <a:close/>
                  <a:moveTo>
                    <a:pt x="7" y="16"/>
                  </a:moveTo>
                  <a:cubicBezTo>
                    <a:pt x="39" y="7"/>
                    <a:pt x="39" y="7"/>
                    <a:pt x="39" y="7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19" y="60"/>
                    <a:pt x="19" y="60"/>
                    <a:pt x="19" y="60"/>
                  </a:cubicBezTo>
                  <a:lnTo>
                    <a:pt x="7" y="16"/>
                  </a:lnTo>
                  <a:close/>
                  <a:moveTo>
                    <a:pt x="65" y="76"/>
                  </a:moveTo>
                  <a:cubicBezTo>
                    <a:pt x="37" y="69"/>
                    <a:pt x="37" y="69"/>
                    <a:pt x="37" y="6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7" y="56"/>
                    <a:pt x="58" y="54"/>
                    <a:pt x="58" y="52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76" y="36"/>
                    <a:pt x="76" y="36"/>
                    <a:pt x="76" y="36"/>
                  </a:cubicBezTo>
                  <a:lnTo>
                    <a:pt x="65" y="76"/>
                  </a:ln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3" name="Freeform 49"/>
            <p:cNvSpPr>
              <a:spLocks noChangeAspect="1" noEditPoints="1"/>
            </p:cNvSpPr>
            <p:nvPr/>
          </p:nvSpPr>
          <p:spPr bwMode="gray">
            <a:xfrm>
              <a:off x="5954440" y="3548165"/>
              <a:ext cx="244800" cy="171110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49"/>
                </a:cxn>
                <a:cxn ang="0">
                  <a:pos x="8" y="57"/>
                </a:cxn>
                <a:cxn ang="0">
                  <a:pos x="74" y="57"/>
                </a:cxn>
                <a:cxn ang="0">
                  <a:pos x="82" y="49"/>
                </a:cxn>
                <a:cxn ang="0">
                  <a:pos x="82" y="8"/>
                </a:cxn>
                <a:cxn ang="0">
                  <a:pos x="74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74" y="8"/>
                </a:cxn>
                <a:cxn ang="0">
                  <a:pos x="74" y="49"/>
                </a:cxn>
                <a:cxn ang="0">
                  <a:pos x="8" y="49"/>
                </a:cxn>
                <a:cxn ang="0">
                  <a:pos x="8" y="8"/>
                </a:cxn>
                <a:cxn ang="0">
                  <a:pos x="74" y="8"/>
                </a:cxn>
              </a:cxnLst>
              <a:rect l="0" t="0" r="r" b="b"/>
              <a:pathLst>
                <a:path w="82" h="57">
                  <a:moveTo>
                    <a:pt x="0" y="8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0" y="54"/>
                    <a:pt x="4" y="57"/>
                    <a:pt x="8" y="57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8" y="57"/>
                    <a:pt x="82" y="54"/>
                    <a:pt x="82" y="49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4"/>
                    <a:pt x="78" y="0"/>
                    <a:pt x="7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lose/>
                  <a:moveTo>
                    <a:pt x="74" y="8"/>
                  </a:moveTo>
                  <a:cubicBezTo>
                    <a:pt x="74" y="49"/>
                    <a:pt x="74" y="49"/>
                    <a:pt x="74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74" y="8"/>
                  </a:ln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4" name="Freeform 53"/>
            <p:cNvSpPr>
              <a:spLocks noChangeAspect="1" noEditPoints="1"/>
            </p:cNvSpPr>
            <p:nvPr/>
          </p:nvSpPr>
          <p:spPr bwMode="gray">
            <a:xfrm>
              <a:off x="6494985" y="3536520"/>
              <a:ext cx="194400" cy="194400"/>
            </a:xfrm>
            <a:custGeom>
              <a:avLst/>
              <a:gdLst/>
              <a:ahLst/>
              <a:cxnLst>
                <a:cxn ang="0">
                  <a:pos x="57" y="0"/>
                </a:cxn>
                <a:cxn ang="0">
                  <a:pos x="24" y="0"/>
                </a:cxn>
                <a:cxn ang="0">
                  <a:pos x="16" y="8"/>
                </a:cxn>
                <a:cxn ang="0">
                  <a:pos x="16" y="41"/>
                </a:cxn>
                <a:cxn ang="0">
                  <a:pos x="24" y="49"/>
                </a:cxn>
                <a:cxn ang="0">
                  <a:pos x="57" y="49"/>
                </a:cxn>
                <a:cxn ang="0">
                  <a:pos x="65" y="41"/>
                </a:cxn>
                <a:cxn ang="0">
                  <a:pos x="65" y="8"/>
                </a:cxn>
                <a:cxn ang="0">
                  <a:pos x="57" y="0"/>
                </a:cxn>
                <a:cxn ang="0">
                  <a:pos x="57" y="41"/>
                </a:cxn>
                <a:cxn ang="0">
                  <a:pos x="24" y="41"/>
                </a:cxn>
                <a:cxn ang="0">
                  <a:pos x="24" y="8"/>
                </a:cxn>
                <a:cxn ang="0">
                  <a:pos x="57" y="8"/>
                </a:cxn>
                <a:cxn ang="0">
                  <a:pos x="57" y="41"/>
                </a:cxn>
                <a:cxn ang="0">
                  <a:pos x="8" y="33"/>
                </a:cxn>
                <a:cxn ang="0">
                  <a:pos x="0" y="33"/>
                </a:cxn>
                <a:cxn ang="0">
                  <a:pos x="0" y="57"/>
                </a:cxn>
                <a:cxn ang="0">
                  <a:pos x="8" y="65"/>
                </a:cxn>
                <a:cxn ang="0">
                  <a:pos x="32" y="65"/>
                </a:cxn>
                <a:cxn ang="0">
                  <a:pos x="32" y="57"/>
                </a:cxn>
                <a:cxn ang="0">
                  <a:pos x="8" y="57"/>
                </a:cxn>
                <a:cxn ang="0">
                  <a:pos x="8" y="33"/>
                </a:cxn>
              </a:cxnLst>
              <a:rect l="0" t="0" r="r" b="b"/>
              <a:pathLst>
                <a:path w="65" h="65">
                  <a:moveTo>
                    <a:pt x="5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16" y="4"/>
                    <a:pt x="16" y="8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16" y="45"/>
                    <a:pt x="20" y="49"/>
                    <a:pt x="24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61" y="49"/>
                    <a:pt x="65" y="45"/>
                    <a:pt x="65" y="41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5" y="4"/>
                    <a:pt x="61" y="0"/>
                    <a:pt x="57" y="0"/>
                  </a:cubicBezTo>
                  <a:close/>
                  <a:moveTo>
                    <a:pt x="57" y="41"/>
                  </a:moveTo>
                  <a:cubicBezTo>
                    <a:pt x="24" y="41"/>
                    <a:pt x="24" y="41"/>
                    <a:pt x="24" y="41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57" y="8"/>
                    <a:pt x="57" y="8"/>
                    <a:pt x="57" y="8"/>
                  </a:cubicBezTo>
                  <a:lnTo>
                    <a:pt x="57" y="41"/>
                  </a:lnTo>
                  <a:close/>
                  <a:moveTo>
                    <a:pt x="8" y="33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3" y="65"/>
                    <a:pt x="8" y="65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8" y="57"/>
                    <a:pt x="8" y="57"/>
                    <a:pt x="8" y="57"/>
                  </a:cubicBezTo>
                  <a:lnTo>
                    <a:pt x="8" y="33"/>
                  </a:ln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5" name="Freeform 57"/>
            <p:cNvSpPr>
              <a:spLocks noChangeAspect="1" noEditPoints="1"/>
            </p:cNvSpPr>
            <p:nvPr/>
          </p:nvSpPr>
          <p:spPr bwMode="gray">
            <a:xfrm>
              <a:off x="6968536" y="3500440"/>
              <a:ext cx="248400" cy="266565"/>
            </a:xfrm>
            <a:custGeom>
              <a:avLst/>
              <a:gdLst/>
              <a:ahLst/>
              <a:cxnLst>
                <a:cxn ang="0">
                  <a:pos x="79" y="25"/>
                </a:cxn>
                <a:cxn ang="0">
                  <a:pos x="62" y="25"/>
                </a:cxn>
                <a:cxn ang="0">
                  <a:pos x="65" y="6"/>
                </a:cxn>
                <a:cxn ang="0">
                  <a:pos x="43" y="17"/>
                </a:cxn>
                <a:cxn ang="0">
                  <a:pos x="20" y="6"/>
                </a:cxn>
                <a:cxn ang="0">
                  <a:pos x="22" y="25"/>
                </a:cxn>
                <a:cxn ang="0">
                  <a:pos x="4" y="25"/>
                </a:cxn>
                <a:cxn ang="0">
                  <a:pos x="0" y="29"/>
                </a:cxn>
                <a:cxn ang="0">
                  <a:pos x="0" y="42"/>
                </a:cxn>
                <a:cxn ang="0">
                  <a:pos x="3" y="42"/>
                </a:cxn>
                <a:cxn ang="0">
                  <a:pos x="3" y="83"/>
                </a:cxn>
                <a:cxn ang="0">
                  <a:pos x="7" y="88"/>
                </a:cxn>
                <a:cxn ang="0">
                  <a:pos x="75" y="88"/>
                </a:cxn>
                <a:cxn ang="0">
                  <a:pos x="79" y="83"/>
                </a:cxn>
                <a:cxn ang="0">
                  <a:pos x="79" y="42"/>
                </a:cxn>
                <a:cxn ang="0">
                  <a:pos x="82" y="42"/>
                </a:cxn>
                <a:cxn ang="0">
                  <a:pos x="82" y="29"/>
                </a:cxn>
                <a:cxn ang="0">
                  <a:pos x="79" y="25"/>
                </a:cxn>
                <a:cxn ang="0">
                  <a:pos x="63" y="11"/>
                </a:cxn>
                <a:cxn ang="0">
                  <a:pos x="56" y="23"/>
                </a:cxn>
                <a:cxn ang="0">
                  <a:pos x="48" y="23"/>
                </a:cxn>
                <a:cxn ang="0">
                  <a:pos x="63" y="11"/>
                </a:cxn>
                <a:cxn ang="0">
                  <a:pos x="22" y="11"/>
                </a:cxn>
                <a:cxn ang="0">
                  <a:pos x="37" y="23"/>
                </a:cxn>
                <a:cxn ang="0">
                  <a:pos x="29" y="23"/>
                </a:cxn>
                <a:cxn ang="0">
                  <a:pos x="22" y="11"/>
                </a:cxn>
                <a:cxn ang="0">
                  <a:pos x="54" y="42"/>
                </a:cxn>
                <a:cxn ang="0">
                  <a:pos x="52" y="42"/>
                </a:cxn>
                <a:cxn ang="0">
                  <a:pos x="52" y="86"/>
                </a:cxn>
                <a:cxn ang="0">
                  <a:pos x="31" y="86"/>
                </a:cxn>
                <a:cxn ang="0">
                  <a:pos x="31" y="43"/>
                </a:cxn>
                <a:cxn ang="0">
                  <a:pos x="28" y="43"/>
                </a:cxn>
                <a:cxn ang="0">
                  <a:pos x="28" y="27"/>
                </a:cxn>
                <a:cxn ang="0">
                  <a:pos x="54" y="27"/>
                </a:cxn>
                <a:cxn ang="0">
                  <a:pos x="54" y="42"/>
                </a:cxn>
              </a:cxnLst>
              <a:rect l="0" t="0" r="r" b="b"/>
              <a:pathLst>
                <a:path w="82" h="88">
                  <a:moveTo>
                    <a:pt x="79" y="25"/>
                  </a:moveTo>
                  <a:cubicBezTo>
                    <a:pt x="62" y="25"/>
                    <a:pt x="62" y="25"/>
                    <a:pt x="62" y="25"/>
                  </a:cubicBezTo>
                  <a:cubicBezTo>
                    <a:pt x="62" y="25"/>
                    <a:pt x="75" y="12"/>
                    <a:pt x="65" y="6"/>
                  </a:cubicBezTo>
                  <a:cubicBezTo>
                    <a:pt x="55" y="0"/>
                    <a:pt x="43" y="17"/>
                    <a:pt x="43" y="17"/>
                  </a:cubicBezTo>
                  <a:cubicBezTo>
                    <a:pt x="43" y="17"/>
                    <a:pt x="29" y="0"/>
                    <a:pt x="20" y="6"/>
                  </a:cubicBezTo>
                  <a:cubicBezTo>
                    <a:pt x="10" y="12"/>
                    <a:pt x="22" y="25"/>
                    <a:pt x="22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26"/>
                    <a:pt x="0" y="29"/>
                    <a:pt x="0" y="2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79"/>
                    <a:pt x="3" y="83"/>
                  </a:cubicBezTo>
                  <a:cubicBezTo>
                    <a:pt x="3" y="87"/>
                    <a:pt x="7" y="88"/>
                    <a:pt x="7" y="88"/>
                  </a:cubicBezTo>
                  <a:cubicBezTo>
                    <a:pt x="75" y="88"/>
                    <a:pt x="75" y="88"/>
                    <a:pt x="75" y="88"/>
                  </a:cubicBezTo>
                  <a:cubicBezTo>
                    <a:pt x="75" y="88"/>
                    <a:pt x="79" y="87"/>
                    <a:pt x="79" y="83"/>
                  </a:cubicBezTo>
                  <a:cubicBezTo>
                    <a:pt x="79" y="79"/>
                    <a:pt x="79" y="42"/>
                    <a:pt x="79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2" y="26"/>
                    <a:pt x="79" y="25"/>
                  </a:cubicBezTo>
                  <a:close/>
                  <a:moveTo>
                    <a:pt x="63" y="11"/>
                  </a:moveTo>
                  <a:cubicBezTo>
                    <a:pt x="67" y="16"/>
                    <a:pt x="56" y="23"/>
                    <a:pt x="56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6" y="20"/>
                    <a:pt x="57" y="5"/>
                    <a:pt x="63" y="11"/>
                  </a:cubicBezTo>
                  <a:close/>
                  <a:moveTo>
                    <a:pt x="22" y="11"/>
                  </a:moveTo>
                  <a:cubicBezTo>
                    <a:pt x="28" y="5"/>
                    <a:pt x="39" y="20"/>
                    <a:pt x="37" y="2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3"/>
                    <a:pt x="18" y="16"/>
                    <a:pt x="22" y="11"/>
                  </a:cubicBezTo>
                  <a:close/>
                  <a:moveTo>
                    <a:pt x="54" y="42"/>
                  </a:moveTo>
                  <a:cubicBezTo>
                    <a:pt x="52" y="42"/>
                    <a:pt x="52" y="42"/>
                    <a:pt x="52" y="42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54" y="27"/>
                    <a:pt x="54" y="27"/>
                    <a:pt x="54" y="27"/>
                  </a:cubicBezTo>
                  <a:lnTo>
                    <a:pt x="54" y="42"/>
                  </a:ln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6" name="Freeform 61"/>
            <p:cNvSpPr>
              <a:spLocks noChangeAspect="1" noEditPoints="1"/>
            </p:cNvSpPr>
            <p:nvPr/>
          </p:nvSpPr>
          <p:spPr bwMode="gray">
            <a:xfrm>
              <a:off x="7483667" y="3529320"/>
              <a:ext cx="194665" cy="208800"/>
            </a:xfrm>
            <a:custGeom>
              <a:avLst/>
              <a:gdLst/>
              <a:ahLst/>
              <a:cxnLst>
                <a:cxn ang="0">
                  <a:pos x="43" y="68"/>
                </a:cxn>
                <a:cxn ang="0">
                  <a:pos x="45" y="70"/>
                </a:cxn>
                <a:cxn ang="0">
                  <a:pos x="61" y="72"/>
                </a:cxn>
                <a:cxn ang="0">
                  <a:pos x="64" y="69"/>
                </a:cxn>
                <a:cxn ang="0">
                  <a:pos x="65" y="56"/>
                </a:cxn>
                <a:cxn ang="0">
                  <a:pos x="44" y="54"/>
                </a:cxn>
                <a:cxn ang="0">
                  <a:pos x="43" y="68"/>
                </a:cxn>
                <a:cxn ang="0">
                  <a:pos x="3" y="56"/>
                </a:cxn>
                <a:cxn ang="0">
                  <a:pos x="4" y="69"/>
                </a:cxn>
                <a:cxn ang="0">
                  <a:pos x="6" y="72"/>
                </a:cxn>
                <a:cxn ang="0">
                  <a:pos x="23" y="70"/>
                </a:cxn>
                <a:cxn ang="0">
                  <a:pos x="25" y="68"/>
                </a:cxn>
                <a:cxn ang="0">
                  <a:pos x="24" y="54"/>
                </a:cxn>
                <a:cxn ang="0">
                  <a:pos x="3" y="56"/>
                </a:cxn>
                <a:cxn ang="0">
                  <a:pos x="0" y="34"/>
                </a:cxn>
                <a:cxn ang="0">
                  <a:pos x="2" y="48"/>
                </a:cxn>
                <a:cxn ang="0">
                  <a:pos x="23" y="46"/>
                </a:cxn>
                <a:cxn ang="0">
                  <a:pos x="22" y="32"/>
                </a:cxn>
                <a:cxn ang="0">
                  <a:pos x="22" y="31"/>
                </a:cxn>
                <a:cxn ang="0">
                  <a:pos x="34" y="20"/>
                </a:cxn>
                <a:cxn ang="0">
                  <a:pos x="46" y="31"/>
                </a:cxn>
                <a:cxn ang="0">
                  <a:pos x="46" y="32"/>
                </a:cxn>
                <a:cxn ang="0">
                  <a:pos x="45" y="46"/>
                </a:cxn>
                <a:cxn ang="0">
                  <a:pos x="66" y="48"/>
                </a:cxn>
                <a:cxn ang="0">
                  <a:pos x="67" y="34"/>
                </a:cxn>
                <a:cxn ang="0">
                  <a:pos x="67" y="31"/>
                </a:cxn>
                <a:cxn ang="0">
                  <a:pos x="34" y="0"/>
                </a:cxn>
                <a:cxn ang="0">
                  <a:pos x="0" y="31"/>
                </a:cxn>
                <a:cxn ang="0">
                  <a:pos x="0" y="34"/>
                </a:cxn>
              </a:cxnLst>
              <a:rect l="0" t="0" r="r" b="b"/>
              <a:pathLst>
                <a:path w="67" h="72">
                  <a:moveTo>
                    <a:pt x="43" y="68"/>
                  </a:moveTo>
                  <a:cubicBezTo>
                    <a:pt x="43" y="69"/>
                    <a:pt x="44" y="70"/>
                    <a:pt x="45" y="70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3" y="72"/>
                    <a:pt x="64" y="71"/>
                    <a:pt x="64" y="6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44" y="54"/>
                    <a:pt x="44" y="54"/>
                    <a:pt x="44" y="54"/>
                  </a:cubicBezTo>
                  <a:lnTo>
                    <a:pt x="43" y="68"/>
                  </a:lnTo>
                  <a:close/>
                  <a:moveTo>
                    <a:pt x="3" y="56"/>
                  </a:moveTo>
                  <a:cubicBezTo>
                    <a:pt x="4" y="69"/>
                    <a:pt x="4" y="69"/>
                    <a:pt x="4" y="69"/>
                  </a:cubicBezTo>
                  <a:cubicBezTo>
                    <a:pt x="4" y="71"/>
                    <a:pt x="5" y="72"/>
                    <a:pt x="6" y="72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4" y="70"/>
                    <a:pt x="25" y="69"/>
                    <a:pt x="25" y="68"/>
                  </a:cubicBezTo>
                  <a:cubicBezTo>
                    <a:pt x="24" y="54"/>
                    <a:pt x="24" y="54"/>
                    <a:pt x="24" y="54"/>
                  </a:cubicBezTo>
                  <a:lnTo>
                    <a:pt x="3" y="56"/>
                  </a:lnTo>
                  <a:close/>
                  <a:moveTo>
                    <a:pt x="0" y="34"/>
                  </a:moveTo>
                  <a:cubicBezTo>
                    <a:pt x="2" y="48"/>
                    <a:pt x="2" y="48"/>
                    <a:pt x="2" y="48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1"/>
                    <a:pt x="22" y="31"/>
                  </a:cubicBezTo>
                  <a:cubicBezTo>
                    <a:pt x="22" y="25"/>
                    <a:pt x="27" y="20"/>
                    <a:pt x="34" y="20"/>
                  </a:cubicBezTo>
                  <a:cubicBezTo>
                    <a:pt x="41" y="20"/>
                    <a:pt x="46" y="25"/>
                    <a:pt x="46" y="31"/>
                  </a:cubicBezTo>
                  <a:cubicBezTo>
                    <a:pt x="46" y="31"/>
                    <a:pt x="46" y="32"/>
                    <a:pt x="46" y="32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66" y="48"/>
                    <a:pt x="66" y="48"/>
                    <a:pt x="66" y="48"/>
                  </a:cubicBezTo>
                  <a:cubicBezTo>
                    <a:pt x="67" y="34"/>
                    <a:pt x="67" y="34"/>
                    <a:pt x="67" y="34"/>
                  </a:cubicBezTo>
                  <a:cubicBezTo>
                    <a:pt x="67" y="33"/>
                    <a:pt x="67" y="32"/>
                    <a:pt x="67" y="31"/>
                  </a:cubicBezTo>
                  <a:cubicBezTo>
                    <a:pt x="67" y="14"/>
                    <a:pt x="52" y="0"/>
                    <a:pt x="34" y="0"/>
                  </a:cubicBezTo>
                  <a:cubicBezTo>
                    <a:pt x="15" y="0"/>
                    <a:pt x="0" y="14"/>
                    <a:pt x="0" y="31"/>
                  </a:cubicBezTo>
                  <a:cubicBezTo>
                    <a:pt x="0" y="32"/>
                    <a:pt x="0" y="33"/>
                    <a:pt x="0" y="34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7" name="Freeform 65"/>
            <p:cNvSpPr>
              <a:spLocks noChangeAspect="1"/>
            </p:cNvSpPr>
            <p:nvPr/>
          </p:nvSpPr>
          <p:spPr bwMode="gray">
            <a:xfrm>
              <a:off x="8064465" y="3527520"/>
              <a:ext cx="97909" cy="212400"/>
            </a:xfrm>
            <a:custGeom>
              <a:avLst/>
              <a:gdLst/>
              <a:ahLst/>
              <a:cxnLst>
                <a:cxn ang="0">
                  <a:pos x="4" y="74"/>
                </a:cxn>
                <a:cxn ang="0">
                  <a:pos x="16" y="44"/>
                </a:cxn>
                <a:cxn ang="0">
                  <a:pos x="0" y="36"/>
                </a:cxn>
                <a:cxn ang="0">
                  <a:pos x="30" y="1"/>
                </a:cxn>
                <a:cxn ang="0">
                  <a:pos x="17" y="31"/>
                </a:cxn>
                <a:cxn ang="0">
                  <a:pos x="33" y="39"/>
                </a:cxn>
                <a:cxn ang="0">
                  <a:pos x="4" y="74"/>
                </a:cxn>
              </a:cxnLst>
              <a:rect l="0" t="0" r="r" b="b"/>
              <a:pathLst>
                <a:path w="34" h="75">
                  <a:moveTo>
                    <a:pt x="4" y="74"/>
                  </a:moveTo>
                  <a:cubicBezTo>
                    <a:pt x="3" y="74"/>
                    <a:pt x="17" y="45"/>
                    <a:pt x="16" y="44"/>
                  </a:cubicBezTo>
                  <a:cubicBezTo>
                    <a:pt x="16" y="43"/>
                    <a:pt x="1" y="38"/>
                    <a:pt x="0" y="36"/>
                  </a:cubicBezTo>
                  <a:cubicBezTo>
                    <a:pt x="0" y="34"/>
                    <a:pt x="29" y="0"/>
                    <a:pt x="30" y="1"/>
                  </a:cubicBezTo>
                  <a:cubicBezTo>
                    <a:pt x="31" y="1"/>
                    <a:pt x="17" y="30"/>
                    <a:pt x="17" y="31"/>
                  </a:cubicBezTo>
                  <a:cubicBezTo>
                    <a:pt x="18" y="32"/>
                    <a:pt x="33" y="37"/>
                    <a:pt x="33" y="39"/>
                  </a:cubicBezTo>
                  <a:cubicBezTo>
                    <a:pt x="34" y="42"/>
                    <a:pt x="4" y="75"/>
                    <a:pt x="4" y="74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8" name="Freeform 69"/>
            <p:cNvSpPr>
              <a:spLocks noChangeAspect="1" noEditPoints="1"/>
            </p:cNvSpPr>
            <p:nvPr/>
          </p:nvSpPr>
          <p:spPr bwMode="gray">
            <a:xfrm>
              <a:off x="8475467" y="3517151"/>
              <a:ext cx="244800" cy="233143"/>
            </a:xfrm>
            <a:custGeom>
              <a:avLst/>
              <a:gdLst/>
              <a:ahLst/>
              <a:cxnLst>
                <a:cxn ang="0">
                  <a:pos x="70" y="26"/>
                </a:cxn>
                <a:cxn ang="0">
                  <a:pos x="62" y="3"/>
                </a:cxn>
                <a:cxn ang="0">
                  <a:pos x="58" y="1"/>
                </a:cxn>
                <a:cxn ang="0">
                  <a:pos x="2" y="21"/>
                </a:cxn>
                <a:cxn ang="0">
                  <a:pos x="1" y="25"/>
                </a:cxn>
                <a:cxn ang="0">
                  <a:pos x="9" y="49"/>
                </a:cxn>
                <a:cxn ang="0">
                  <a:pos x="9" y="36"/>
                </a:cxn>
                <a:cxn ang="0">
                  <a:pos x="20" y="26"/>
                </a:cxn>
                <a:cxn ang="0">
                  <a:pos x="35" y="26"/>
                </a:cxn>
                <a:cxn ang="0">
                  <a:pos x="52" y="13"/>
                </a:cxn>
                <a:cxn ang="0">
                  <a:pos x="62" y="26"/>
                </a:cxn>
                <a:cxn ang="0">
                  <a:pos x="70" y="26"/>
                </a:cxn>
                <a:cxn ang="0">
                  <a:pos x="79" y="33"/>
                </a:cxn>
                <a:cxn ang="0">
                  <a:pos x="20" y="33"/>
                </a:cxn>
                <a:cxn ang="0">
                  <a:pos x="17" y="36"/>
                </a:cxn>
                <a:cxn ang="0">
                  <a:pos x="17" y="75"/>
                </a:cxn>
                <a:cxn ang="0">
                  <a:pos x="20" y="78"/>
                </a:cxn>
                <a:cxn ang="0">
                  <a:pos x="79" y="78"/>
                </a:cxn>
                <a:cxn ang="0">
                  <a:pos x="82" y="75"/>
                </a:cxn>
                <a:cxn ang="0">
                  <a:pos x="82" y="36"/>
                </a:cxn>
                <a:cxn ang="0">
                  <a:pos x="79" y="33"/>
                </a:cxn>
                <a:cxn ang="0">
                  <a:pos x="75" y="70"/>
                </a:cxn>
                <a:cxn ang="0">
                  <a:pos x="25" y="70"/>
                </a:cxn>
                <a:cxn ang="0">
                  <a:pos x="25" y="63"/>
                </a:cxn>
                <a:cxn ang="0">
                  <a:pos x="33" y="45"/>
                </a:cxn>
                <a:cxn ang="0">
                  <a:pos x="44" y="59"/>
                </a:cxn>
                <a:cxn ang="0">
                  <a:pos x="55" y="48"/>
                </a:cxn>
                <a:cxn ang="0">
                  <a:pos x="69" y="44"/>
                </a:cxn>
                <a:cxn ang="0">
                  <a:pos x="75" y="57"/>
                </a:cxn>
                <a:cxn ang="0">
                  <a:pos x="75" y="70"/>
                </a:cxn>
              </a:cxnLst>
              <a:rect l="0" t="0" r="r" b="b"/>
              <a:pathLst>
                <a:path w="82" h="78">
                  <a:moveTo>
                    <a:pt x="70" y="26"/>
                  </a:moveTo>
                  <a:cubicBezTo>
                    <a:pt x="62" y="3"/>
                    <a:pt x="62" y="3"/>
                    <a:pt x="62" y="3"/>
                  </a:cubicBezTo>
                  <a:cubicBezTo>
                    <a:pt x="61" y="1"/>
                    <a:pt x="60" y="0"/>
                    <a:pt x="58" y="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1"/>
                    <a:pt x="0" y="23"/>
                    <a:pt x="1" y="25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0"/>
                    <a:pt x="14" y="26"/>
                    <a:pt x="20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62" y="26"/>
                    <a:pt x="62" y="26"/>
                    <a:pt x="62" y="26"/>
                  </a:cubicBezTo>
                  <a:lnTo>
                    <a:pt x="70" y="26"/>
                  </a:lnTo>
                  <a:close/>
                  <a:moveTo>
                    <a:pt x="79" y="33"/>
                  </a:moveTo>
                  <a:cubicBezTo>
                    <a:pt x="20" y="33"/>
                    <a:pt x="20" y="33"/>
                    <a:pt x="20" y="33"/>
                  </a:cubicBezTo>
                  <a:cubicBezTo>
                    <a:pt x="18" y="33"/>
                    <a:pt x="17" y="34"/>
                    <a:pt x="17" y="36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7" y="77"/>
                    <a:pt x="18" y="78"/>
                    <a:pt x="20" y="78"/>
                  </a:cubicBezTo>
                  <a:cubicBezTo>
                    <a:pt x="79" y="78"/>
                    <a:pt x="79" y="78"/>
                    <a:pt x="79" y="78"/>
                  </a:cubicBezTo>
                  <a:cubicBezTo>
                    <a:pt x="81" y="78"/>
                    <a:pt x="82" y="77"/>
                    <a:pt x="82" y="75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2" y="34"/>
                    <a:pt x="81" y="33"/>
                    <a:pt x="79" y="33"/>
                  </a:cubicBezTo>
                  <a:close/>
                  <a:moveTo>
                    <a:pt x="75" y="70"/>
                  </a:moveTo>
                  <a:cubicBezTo>
                    <a:pt x="25" y="70"/>
                    <a:pt x="25" y="70"/>
                    <a:pt x="25" y="70"/>
                  </a:cubicBezTo>
                  <a:cubicBezTo>
                    <a:pt x="25" y="63"/>
                    <a:pt x="25" y="63"/>
                    <a:pt x="25" y="63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75" y="57"/>
                    <a:pt x="75" y="57"/>
                    <a:pt x="75" y="57"/>
                  </a:cubicBezTo>
                  <a:lnTo>
                    <a:pt x="75" y="70"/>
                  </a:lnTo>
                  <a:close/>
                </a:path>
              </a:pathLst>
            </a:custGeom>
            <a:solidFill>
              <a:srgbClr val="BDD20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9" name="Freeform 5"/>
            <p:cNvSpPr>
              <a:spLocks noChangeAspect="1" noEditPoints="1"/>
            </p:cNvSpPr>
            <p:nvPr/>
          </p:nvSpPr>
          <p:spPr bwMode="gray">
            <a:xfrm>
              <a:off x="3465413" y="4022517"/>
              <a:ext cx="237600" cy="194251"/>
            </a:xfrm>
            <a:custGeom>
              <a:avLst/>
              <a:gdLst/>
              <a:ahLst/>
              <a:cxnLst>
                <a:cxn ang="0">
                  <a:pos x="69" y="12"/>
                </a:cxn>
                <a:cxn ang="0">
                  <a:pos x="65" y="8"/>
                </a:cxn>
                <a:cxn ang="0">
                  <a:pos x="16" y="8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69" y="16"/>
                </a:cxn>
                <a:cxn ang="0">
                  <a:pos x="69" y="12"/>
                </a:cxn>
                <a:cxn ang="0">
                  <a:pos x="57" y="0"/>
                </a:cxn>
                <a:cxn ang="0">
                  <a:pos x="24" y="0"/>
                </a:cxn>
                <a:cxn ang="0">
                  <a:pos x="20" y="4"/>
                </a:cxn>
                <a:cxn ang="0">
                  <a:pos x="61" y="4"/>
                </a:cxn>
                <a:cxn ang="0">
                  <a:pos x="57" y="0"/>
                </a:cxn>
                <a:cxn ang="0">
                  <a:pos x="77" y="16"/>
                </a:cxn>
                <a:cxn ang="0">
                  <a:pos x="75" y="14"/>
                </a:cxn>
                <a:cxn ang="0">
                  <a:pos x="75" y="21"/>
                </a:cxn>
                <a:cxn ang="0">
                  <a:pos x="6" y="21"/>
                </a:cxn>
                <a:cxn ang="0">
                  <a:pos x="6" y="14"/>
                </a:cxn>
                <a:cxn ang="0">
                  <a:pos x="4" y="16"/>
                </a:cxn>
                <a:cxn ang="0">
                  <a:pos x="1" y="25"/>
                </a:cxn>
                <a:cxn ang="0">
                  <a:pos x="7" y="61"/>
                </a:cxn>
                <a:cxn ang="0">
                  <a:pos x="12" y="66"/>
                </a:cxn>
                <a:cxn ang="0">
                  <a:pos x="69" y="66"/>
                </a:cxn>
                <a:cxn ang="0">
                  <a:pos x="74" y="61"/>
                </a:cxn>
                <a:cxn ang="0">
                  <a:pos x="80" y="25"/>
                </a:cxn>
                <a:cxn ang="0">
                  <a:pos x="77" y="16"/>
                </a:cxn>
                <a:cxn ang="0">
                  <a:pos x="57" y="39"/>
                </a:cxn>
                <a:cxn ang="0">
                  <a:pos x="53" y="43"/>
                </a:cxn>
                <a:cxn ang="0">
                  <a:pos x="28" y="43"/>
                </a:cxn>
                <a:cxn ang="0">
                  <a:pos x="24" y="39"/>
                </a:cxn>
                <a:cxn ang="0">
                  <a:pos x="24" y="30"/>
                </a:cxn>
                <a:cxn ang="0">
                  <a:pos x="30" y="30"/>
                </a:cxn>
                <a:cxn ang="0">
                  <a:pos x="30" y="37"/>
                </a:cxn>
                <a:cxn ang="0">
                  <a:pos x="51" y="37"/>
                </a:cxn>
                <a:cxn ang="0">
                  <a:pos x="51" y="30"/>
                </a:cxn>
                <a:cxn ang="0">
                  <a:pos x="57" y="30"/>
                </a:cxn>
                <a:cxn ang="0">
                  <a:pos x="57" y="39"/>
                </a:cxn>
              </a:cxnLst>
              <a:rect l="0" t="0" r="r" b="b"/>
              <a:pathLst>
                <a:path w="81" h="66">
                  <a:moveTo>
                    <a:pt x="69" y="12"/>
                  </a:moveTo>
                  <a:cubicBezTo>
                    <a:pt x="69" y="8"/>
                    <a:pt x="65" y="8"/>
                    <a:pt x="65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2" y="8"/>
                    <a:pt x="12" y="12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69" y="16"/>
                    <a:pt x="69" y="16"/>
                    <a:pt x="69" y="16"/>
                  </a:cubicBezTo>
                  <a:lnTo>
                    <a:pt x="69" y="12"/>
                  </a:lnTo>
                  <a:close/>
                  <a:moveTo>
                    <a:pt x="5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0" y="0"/>
                    <a:pt x="20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1" y="0"/>
                    <a:pt x="57" y="0"/>
                    <a:pt x="57" y="0"/>
                  </a:cubicBezTo>
                  <a:close/>
                  <a:moveTo>
                    <a:pt x="77" y="16"/>
                  </a:moveTo>
                  <a:cubicBezTo>
                    <a:pt x="75" y="14"/>
                    <a:pt x="75" y="14"/>
                    <a:pt x="75" y="14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4" y="16"/>
                  </a:cubicBezTo>
                  <a:cubicBezTo>
                    <a:pt x="1" y="19"/>
                    <a:pt x="0" y="19"/>
                    <a:pt x="1" y="25"/>
                  </a:cubicBezTo>
                  <a:cubicBezTo>
                    <a:pt x="2" y="30"/>
                    <a:pt x="6" y="58"/>
                    <a:pt x="7" y="61"/>
                  </a:cubicBezTo>
                  <a:cubicBezTo>
                    <a:pt x="8" y="66"/>
                    <a:pt x="12" y="66"/>
                    <a:pt x="12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73" y="66"/>
                    <a:pt x="74" y="61"/>
                  </a:cubicBezTo>
                  <a:cubicBezTo>
                    <a:pt x="75" y="58"/>
                    <a:pt x="79" y="30"/>
                    <a:pt x="80" y="25"/>
                  </a:cubicBezTo>
                  <a:cubicBezTo>
                    <a:pt x="81" y="19"/>
                    <a:pt x="80" y="19"/>
                    <a:pt x="77" y="16"/>
                  </a:cubicBezTo>
                  <a:close/>
                  <a:moveTo>
                    <a:pt x="57" y="39"/>
                  </a:moveTo>
                  <a:cubicBezTo>
                    <a:pt x="57" y="39"/>
                    <a:pt x="57" y="43"/>
                    <a:pt x="53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4" y="43"/>
                    <a:pt x="24" y="39"/>
                    <a:pt x="24" y="39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7" y="30"/>
                    <a:pt x="57" y="30"/>
                    <a:pt x="57" y="30"/>
                  </a:cubicBezTo>
                  <a:lnTo>
                    <a:pt x="57" y="39"/>
                  </a:ln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0" name="Freeform 9"/>
            <p:cNvSpPr>
              <a:spLocks noChangeAspect="1" noEditPoints="1"/>
            </p:cNvSpPr>
            <p:nvPr/>
          </p:nvSpPr>
          <p:spPr bwMode="gray">
            <a:xfrm>
              <a:off x="3960960" y="4022219"/>
              <a:ext cx="241200" cy="194847"/>
            </a:xfrm>
            <a:custGeom>
              <a:avLst/>
              <a:gdLst/>
              <a:ahLst/>
              <a:cxnLst>
                <a:cxn ang="0">
                  <a:pos x="78" y="21"/>
                </a:cxn>
                <a:cxn ang="0">
                  <a:pos x="4" y="21"/>
                </a:cxn>
                <a:cxn ang="0">
                  <a:pos x="0" y="25"/>
                </a:cxn>
                <a:cxn ang="0">
                  <a:pos x="3" y="62"/>
                </a:cxn>
                <a:cxn ang="0">
                  <a:pos x="8" y="66"/>
                </a:cxn>
                <a:cxn ang="0">
                  <a:pos x="74" y="66"/>
                </a:cxn>
                <a:cxn ang="0">
                  <a:pos x="78" y="62"/>
                </a:cxn>
                <a:cxn ang="0">
                  <a:pos x="82" y="25"/>
                </a:cxn>
                <a:cxn ang="0">
                  <a:pos x="78" y="21"/>
                </a:cxn>
                <a:cxn ang="0">
                  <a:pos x="75" y="12"/>
                </a:cxn>
                <a:cxn ang="0">
                  <a:pos x="70" y="9"/>
                </a:cxn>
                <a:cxn ang="0">
                  <a:pos x="42" y="9"/>
                </a:cxn>
                <a:cxn ang="0">
                  <a:pos x="35" y="6"/>
                </a:cxn>
                <a:cxn ang="0">
                  <a:pos x="33" y="3"/>
                </a:cxn>
                <a:cxn ang="0">
                  <a:pos x="26" y="0"/>
                </a:cxn>
                <a:cxn ang="0">
                  <a:pos x="12" y="0"/>
                </a:cxn>
                <a:cxn ang="0">
                  <a:pos x="8" y="4"/>
                </a:cxn>
                <a:cxn ang="0">
                  <a:pos x="7" y="15"/>
                </a:cxn>
                <a:cxn ang="0">
                  <a:pos x="76" y="15"/>
                </a:cxn>
                <a:cxn ang="0">
                  <a:pos x="75" y="12"/>
                </a:cxn>
              </a:cxnLst>
              <a:rect l="0" t="0" r="r" b="b"/>
              <a:pathLst>
                <a:path w="82" h="66">
                  <a:moveTo>
                    <a:pt x="78" y="21"/>
                  </a:moveTo>
                  <a:cubicBezTo>
                    <a:pt x="4" y="21"/>
                    <a:pt x="4" y="21"/>
                    <a:pt x="4" y="21"/>
                  </a:cubicBezTo>
                  <a:cubicBezTo>
                    <a:pt x="0" y="21"/>
                    <a:pt x="0" y="23"/>
                    <a:pt x="0" y="25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4" y="64"/>
                    <a:pt x="4" y="66"/>
                    <a:pt x="8" y="66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8" y="66"/>
                    <a:pt x="78" y="64"/>
                    <a:pt x="78" y="62"/>
                  </a:cubicBezTo>
                  <a:cubicBezTo>
                    <a:pt x="82" y="25"/>
                    <a:pt x="82" y="25"/>
                    <a:pt x="82" y="25"/>
                  </a:cubicBezTo>
                  <a:cubicBezTo>
                    <a:pt x="82" y="23"/>
                    <a:pt x="82" y="21"/>
                    <a:pt x="78" y="21"/>
                  </a:cubicBezTo>
                  <a:close/>
                  <a:moveTo>
                    <a:pt x="75" y="12"/>
                  </a:moveTo>
                  <a:cubicBezTo>
                    <a:pt x="75" y="10"/>
                    <a:pt x="73" y="9"/>
                    <a:pt x="70" y="9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0" y="9"/>
                    <a:pt x="37" y="7"/>
                    <a:pt x="35" y="6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1" y="2"/>
                    <a:pt x="28" y="0"/>
                    <a:pt x="26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8" y="2"/>
                    <a:pt x="8" y="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6" y="15"/>
                    <a:pt x="76" y="15"/>
                    <a:pt x="76" y="15"/>
                  </a:cubicBezTo>
                  <a:lnTo>
                    <a:pt x="75" y="12"/>
                  </a:ln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1" name="Freeform 13"/>
            <p:cNvSpPr>
              <a:spLocks noChangeAspect="1" noEditPoints="1"/>
            </p:cNvSpPr>
            <p:nvPr/>
          </p:nvSpPr>
          <p:spPr bwMode="gray">
            <a:xfrm>
              <a:off x="4479913" y="4011634"/>
              <a:ext cx="216000" cy="216000"/>
            </a:xfrm>
            <a:custGeom>
              <a:avLst/>
              <a:gdLst/>
              <a:ahLst/>
              <a:cxnLst>
                <a:cxn ang="0">
                  <a:pos x="65" y="8"/>
                </a:cxn>
                <a:cxn ang="0">
                  <a:pos x="61" y="8"/>
                </a:cxn>
                <a:cxn ang="0">
                  <a:pos x="61" y="16"/>
                </a:cxn>
                <a:cxn ang="0">
                  <a:pos x="48" y="16"/>
                </a:cxn>
                <a:cxn ang="0">
                  <a:pos x="48" y="8"/>
                </a:cxn>
                <a:cxn ang="0">
                  <a:pos x="25" y="8"/>
                </a:cxn>
                <a:cxn ang="0">
                  <a:pos x="25" y="16"/>
                </a:cxn>
                <a:cxn ang="0">
                  <a:pos x="11" y="16"/>
                </a:cxn>
                <a:cxn ang="0">
                  <a:pos x="11" y="8"/>
                </a:cxn>
                <a:cxn ang="0">
                  <a:pos x="8" y="8"/>
                </a:cxn>
                <a:cxn ang="0">
                  <a:pos x="0" y="16"/>
                </a:cxn>
                <a:cxn ang="0">
                  <a:pos x="0" y="65"/>
                </a:cxn>
                <a:cxn ang="0">
                  <a:pos x="8" y="73"/>
                </a:cxn>
                <a:cxn ang="0">
                  <a:pos x="65" y="73"/>
                </a:cxn>
                <a:cxn ang="0">
                  <a:pos x="73" y="65"/>
                </a:cxn>
                <a:cxn ang="0">
                  <a:pos x="73" y="16"/>
                </a:cxn>
                <a:cxn ang="0">
                  <a:pos x="65" y="8"/>
                </a:cxn>
                <a:cxn ang="0">
                  <a:pos x="65" y="65"/>
                </a:cxn>
                <a:cxn ang="0">
                  <a:pos x="8" y="65"/>
                </a:cxn>
                <a:cxn ang="0">
                  <a:pos x="8" y="32"/>
                </a:cxn>
                <a:cxn ang="0">
                  <a:pos x="65" y="32"/>
                </a:cxn>
                <a:cxn ang="0">
                  <a:pos x="65" y="65"/>
                </a:cxn>
                <a:cxn ang="0">
                  <a:pos x="21" y="0"/>
                </a:cxn>
                <a:cxn ang="0">
                  <a:pos x="15" y="0"/>
                </a:cxn>
                <a:cxn ang="0">
                  <a:pos x="15" y="13"/>
                </a:cxn>
                <a:cxn ang="0">
                  <a:pos x="21" y="13"/>
                </a:cxn>
                <a:cxn ang="0">
                  <a:pos x="21" y="0"/>
                </a:cxn>
                <a:cxn ang="0">
                  <a:pos x="58" y="0"/>
                </a:cxn>
                <a:cxn ang="0">
                  <a:pos x="52" y="0"/>
                </a:cxn>
                <a:cxn ang="0">
                  <a:pos x="52" y="13"/>
                </a:cxn>
                <a:cxn ang="0">
                  <a:pos x="58" y="13"/>
                </a:cxn>
                <a:cxn ang="0">
                  <a:pos x="58" y="0"/>
                </a:cxn>
              </a:cxnLst>
              <a:rect l="0" t="0" r="r" b="b"/>
              <a:pathLst>
                <a:path w="73" h="73">
                  <a:moveTo>
                    <a:pt x="65" y="8"/>
                  </a:moveTo>
                  <a:cubicBezTo>
                    <a:pt x="61" y="8"/>
                    <a:pt x="61" y="8"/>
                    <a:pt x="61" y="8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3" y="8"/>
                    <a:pt x="0" y="11"/>
                    <a:pt x="0" y="16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0"/>
                    <a:pt x="3" y="73"/>
                    <a:pt x="8" y="73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70" y="73"/>
                    <a:pt x="73" y="70"/>
                    <a:pt x="73" y="65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1"/>
                    <a:pt x="70" y="8"/>
                    <a:pt x="65" y="8"/>
                  </a:cubicBezTo>
                  <a:close/>
                  <a:moveTo>
                    <a:pt x="65" y="65"/>
                  </a:moveTo>
                  <a:cubicBezTo>
                    <a:pt x="8" y="65"/>
                    <a:pt x="8" y="65"/>
                    <a:pt x="8" y="65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65" y="32"/>
                    <a:pt x="65" y="32"/>
                    <a:pt x="65" y="32"/>
                  </a:cubicBezTo>
                  <a:lnTo>
                    <a:pt x="65" y="65"/>
                  </a:lnTo>
                  <a:close/>
                  <a:moveTo>
                    <a:pt x="21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lnTo>
                    <a:pt x="21" y="0"/>
                  </a:lnTo>
                  <a:close/>
                  <a:moveTo>
                    <a:pt x="58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8" y="13"/>
                    <a:pt x="58" y="13"/>
                    <a:pt x="58" y="13"/>
                  </a:cubicBezTo>
                  <a:lnTo>
                    <a:pt x="58" y="0"/>
                  </a:ln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2" name="Freeform 17"/>
            <p:cNvSpPr>
              <a:spLocks noChangeAspect="1" noEditPoints="1"/>
            </p:cNvSpPr>
            <p:nvPr/>
          </p:nvSpPr>
          <p:spPr bwMode="gray">
            <a:xfrm>
              <a:off x="4953563" y="3973000"/>
              <a:ext cx="255600" cy="293285"/>
            </a:xfrm>
            <a:custGeom>
              <a:avLst/>
              <a:gdLst/>
              <a:ahLst/>
              <a:cxnLst>
                <a:cxn ang="0">
                  <a:pos x="76" y="54"/>
                </a:cxn>
                <a:cxn ang="0">
                  <a:pos x="66" y="60"/>
                </a:cxn>
                <a:cxn ang="0">
                  <a:pos x="61" y="60"/>
                </a:cxn>
                <a:cxn ang="0">
                  <a:pos x="45" y="68"/>
                </a:cxn>
                <a:cxn ang="0">
                  <a:pos x="43" y="77"/>
                </a:cxn>
                <a:cxn ang="0">
                  <a:pos x="25" y="95"/>
                </a:cxn>
                <a:cxn ang="0">
                  <a:pos x="7" y="77"/>
                </a:cxn>
                <a:cxn ang="0">
                  <a:pos x="25" y="59"/>
                </a:cxn>
                <a:cxn ang="0">
                  <a:pos x="30" y="58"/>
                </a:cxn>
                <a:cxn ang="0">
                  <a:pos x="35" y="52"/>
                </a:cxn>
                <a:cxn ang="0">
                  <a:pos x="37" y="45"/>
                </a:cxn>
                <a:cxn ang="0">
                  <a:pos x="69" y="10"/>
                </a:cxn>
                <a:cxn ang="0">
                  <a:pos x="69" y="4"/>
                </a:cxn>
                <a:cxn ang="0">
                  <a:pos x="67" y="2"/>
                </a:cxn>
                <a:cxn ang="0">
                  <a:pos x="65" y="1"/>
                </a:cxn>
                <a:cxn ang="0">
                  <a:pos x="65" y="1"/>
                </a:cxn>
                <a:cxn ang="0">
                  <a:pos x="61" y="1"/>
                </a:cxn>
                <a:cxn ang="0">
                  <a:pos x="59" y="0"/>
                </a:cxn>
                <a:cxn ang="0">
                  <a:pos x="55" y="4"/>
                </a:cxn>
                <a:cxn ang="0">
                  <a:pos x="59" y="7"/>
                </a:cxn>
                <a:cxn ang="0">
                  <a:pos x="61" y="6"/>
                </a:cxn>
                <a:cxn ang="0">
                  <a:pos x="64" y="6"/>
                </a:cxn>
                <a:cxn ang="0">
                  <a:pos x="64" y="10"/>
                </a:cxn>
                <a:cxn ang="0">
                  <a:pos x="34" y="40"/>
                </a:cxn>
                <a:cxn ang="0">
                  <a:pos x="5" y="10"/>
                </a:cxn>
                <a:cxn ang="0">
                  <a:pos x="5" y="6"/>
                </a:cxn>
                <a:cxn ang="0">
                  <a:pos x="11" y="6"/>
                </a:cxn>
                <a:cxn ang="0">
                  <a:pos x="13" y="7"/>
                </a:cxn>
                <a:cxn ang="0">
                  <a:pos x="17" y="4"/>
                </a:cxn>
                <a:cxn ang="0">
                  <a:pos x="13" y="0"/>
                </a:cxn>
                <a:cxn ang="0">
                  <a:pos x="11" y="1"/>
                </a:cxn>
                <a:cxn ang="0">
                  <a:pos x="3" y="1"/>
                </a:cxn>
                <a:cxn ang="0">
                  <a:pos x="3" y="1"/>
                </a:cxn>
                <a:cxn ang="0">
                  <a:pos x="1" y="2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32" y="45"/>
                </a:cxn>
                <a:cxn ang="0">
                  <a:pos x="30" y="52"/>
                </a:cxn>
                <a:cxn ang="0">
                  <a:pos x="28" y="53"/>
                </a:cxn>
                <a:cxn ang="0">
                  <a:pos x="25" y="54"/>
                </a:cxn>
                <a:cxn ang="0">
                  <a:pos x="2" y="77"/>
                </a:cxn>
                <a:cxn ang="0">
                  <a:pos x="25" y="100"/>
                </a:cxn>
                <a:cxn ang="0">
                  <a:pos x="48" y="77"/>
                </a:cxn>
                <a:cxn ang="0">
                  <a:pos x="48" y="77"/>
                </a:cxn>
                <a:cxn ang="0">
                  <a:pos x="48" y="75"/>
                </a:cxn>
                <a:cxn ang="0">
                  <a:pos x="51" y="69"/>
                </a:cxn>
                <a:cxn ang="0">
                  <a:pos x="61" y="65"/>
                </a:cxn>
                <a:cxn ang="0">
                  <a:pos x="64" y="65"/>
                </a:cxn>
                <a:cxn ang="0">
                  <a:pos x="64" y="66"/>
                </a:cxn>
                <a:cxn ang="0">
                  <a:pos x="76" y="77"/>
                </a:cxn>
                <a:cxn ang="0">
                  <a:pos x="87" y="66"/>
                </a:cxn>
                <a:cxn ang="0">
                  <a:pos x="76" y="54"/>
                </a:cxn>
                <a:cxn ang="0">
                  <a:pos x="76" y="70"/>
                </a:cxn>
                <a:cxn ang="0">
                  <a:pos x="71" y="66"/>
                </a:cxn>
                <a:cxn ang="0">
                  <a:pos x="76" y="61"/>
                </a:cxn>
                <a:cxn ang="0">
                  <a:pos x="81" y="66"/>
                </a:cxn>
                <a:cxn ang="0">
                  <a:pos x="76" y="70"/>
                </a:cxn>
              </a:cxnLst>
              <a:rect l="0" t="0" r="r" b="b"/>
              <a:pathLst>
                <a:path w="87" h="100">
                  <a:moveTo>
                    <a:pt x="76" y="54"/>
                  </a:moveTo>
                  <a:cubicBezTo>
                    <a:pt x="71" y="54"/>
                    <a:pt x="68" y="57"/>
                    <a:pt x="66" y="60"/>
                  </a:cubicBezTo>
                  <a:cubicBezTo>
                    <a:pt x="64" y="60"/>
                    <a:pt x="62" y="60"/>
                    <a:pt x="61" y="60"/>
                  </a:cubicBezTo>
                  <a:cubicBezTo>
                    <a:pt x="52" y="60"/>
                    <a:pt x="47" y="64"/>
                    <a:pt x="45" y="68"/>
                  </a:cubicBezTo>
                  <a:cubicBezTo>
                    <a:pt x="43" y="73"/>
                    <a:pt x="43" y="76"/>
                    <a:pt x="43" y="77"/>
                  </a:cubicBezTo>
                  <a:cubicBezTo>
                    <a:pt x="43" y="87"/>
                    <a:pt x="35" y="95"/>
                    <a:pt x="25" y="95"/>
                  </a:cubicBezTo>
                  <a:cubicBezTo>
                    <a:pt x="15" y="95"/>
                    <a:pt x="7" y="87"/>
                    <a:pt x="7" y="77"/>
                  </a:cubicBezTo>
                  <a:cubicBezTo>
                    <a:pt x="7" y="67"/>
                    <a:pt x="15" y="59"/>
                    <a:pt x="25" y="59"/>
                  </a:cubicBezTo>
                  <a:cubicBezTo>
                    <a:pt x="27" y="59"/>
                    <a:pt x="29" y="58"/>
                    <a:pt x="30" y="58"/>
                  </a:cubicBezTo>
                  <a:cubicBezTo>
                    <a:pt x="33" y="57"/>
                    <a:pt x="34" y="55"/>
                    <a:pt x="35" y="52"/>
                  </a:cubicBezTo>
                  <a:cubicBezTo>
                    <a:pt x="36" y="50"/>
                    <a:pt x="36" y="48"/>
                    <a:pt x="37" y="45"/>
                  </a:cubicBezTo>
                  <a:cubicBezTo>
                    <a:pt x="55" y="44"/>
                    <a:pt x="69" y="28"/>
                    <a:pt x="69" y="10"/>
                  </a:cubicBezTo>
                  <a:cubicBezTo>
                    <a:pt x="69" y="8"/>
                    <a:pt x="69" y="6"/>
                    <a:pt x="69" y="4"/>
                  </a:cubicBezTo>
                  <a:cubicBezTo>
                    <a:pt x="69" y="3"/>
                    <a:pt x="68" y="2"/>
                    <a:pt x="67" y="2"/>
                  </a:cubicBezTo>
                  <a:cubicBezTo>
                    <a:pt x="66" y="1"/>
                    <a:pt x="65" y="1"/>
                    <a:pt x="65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61" y="1"/>
                    <a:pt x="60" y="0"/>
                    <a:pt x="59" y="0"/>
                  </a:cubicBezTo>
                  <a:cubicBezTo>
                    <a:pt x="57" y="0"/>
                    <a:pt x="55" y="2"/>
                    <a:pt x="55" y="4"/>
                  </a:cubicBezTo>
                  <a:cubicBezTo>
                    <a:pt x="55" y="6"/>
                    <a:pt x="57" y="7"/>
                    <a:pt x="59" y="7"/>
                  </a:cubicBezTo>
                  <a:cubicBezTo>
                    <a:pt x="60" y="7"/>
                    <a:pt x="61" y="7"/>
                    <a:pt x="61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8"/>
                    <a:pt x="64" y="9"/>
                    <a:pt x="64" y="10"/>
                  </a:cubicBezTo>
                  <a:cubicBezTo>
                    <a:pt x="64" y="26"/>
                    <a:pt x="51" y="40"/>
                    <a:pt x="34" y="40"/>
                  </a:cubicBezTo>
                  <a:cubicBezTo>
                    <a:pt x="18" y="40"/>
                    <a:pt x="5" y="26"/>
                    <a:pt x="5" y="10"/>
                  </a:cubicBezTo>
                  <a:cubicBezTo>
                    <a:pt x="5" y="9"/>
                    <a:pt x="5" y="7"/>
                    <a:pt x="5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7"/>
                    <a:pt x="12" y="7"/>
                    <a:pt x="13" y="7"/>
                  </a:cubicBezTo>
                  <a:cubicBezTo>
                    <a:pt x="15" y="7"/>
                    <a:pt x="17" y="6"/>
                    <a:pt x="17" y="4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2" y="0"/>
                    <a:pt x="11" y="1"/>
                    <a:pt x="11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6"/>
                    <a:pt x="0" y="8"/>
                    <a:pt x="0" y="10"/>
                  </a:cubicBezTo>
                  <a:cubicBezTo>
                    <a:pt x="0" y="28"/>
                    <a:pt x="14" y="43"/>
                    <a:pt x="32" y="45"/>
                  </a:cubicBezTo>
                  <a:cubicBezTo>
                    <a:pt x="31" y="49"/>
                    <a:pt x="31" y="51"/>
                    <a:pt x="30" y="52"/>
                  </a:cubicBezTo>
                  <a:cubicBezTo>
                    <a:pt x="30" y="53"/>
                    <a:pt x="29" y="53"/>
                    <a:pt x="28" y="53"/>
                  </a:cubicBezTo>
                  <a:cubicBezTo>
                    <a:pt x="28" y="53"/>
                    <a:pt x="27" y="54"/>
                    <a:pt x="25" y="54"/>
                  </a:cubicBezTo>
                  <a:cubicBezTo>
                    <a:pt x="12" y="54"/>
                    <a:pt x="2" y="64"/>
                    <a:pt x="2" y="77"/>
                  </a:cubicBezTo>
                  <a:cubicBezTo>
                    <a:pt x="2" y="90"/>
                    <a:pt x="12" y="100"/>
                    <a:pt x="25" y="100"/>
                  </a:cubicBezTo>
                  <a:cubicBezTo>
                    <a:pt x="38" y="100"/>
                    <a:pt x="48" y="90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8" y="77"/>
                    <a:pt x="48" y="76"/>
                    <a:pt x="48" y="75"/>
                  </a:cubicBezTo>
                  <a:cubicBezTo>
                    <a:pt x="49" y="73"/>
                    <a:pt x="49" y="71"/>
                    <a:pt x="51" y="69"/>
                  </a:cubicBezTo>
                  <a:cubicBezTo>
                    <a:pt x="53" y="67"/>
                    <a:pt x="56" y="65"/>
                    <a:pt x="61" y="65"/>
                  </a:cubicBezTo>
                  <a:cubicBezTo>
                    <a:pt x="62" y="65"/>
                    <a:pt x="63" y="65"/>
                    <a:pt x="64" y="65"/>
                  </a:cubicBezTo>
                  <a:cubicBezTo>
                    <a:pt x="64" y="65"/>
                    <a:pt x="64" y="66"/>
                    <a:pt x="64" y="66"/>
                  </a:cubicBezTo>
                  <a:cubicBezTo>
                    <a:pt x="64" y="72"/>
                    <a:pt x="70" y="77"/>
                    <a:pt x="76" y="77"/>
                  </a:cubicBezTo>
                  <a:cubicBezTo>
                    <a:pt x="82" y="77"/>
                    <a:pt x="87" y="72"/>
                    <a:pt x="87" y="66"/>
                  </a:cubicBezTo>
                  <a:cubicBezTo>
                    <a:pt x="87" y="59"/>
                    <a:pt x="82" y="54"/>
                    <a:pt x="76" y="54"/>
                  </a:cubicBezTo>
                  <a:close/>
                  <a:moveTo>
                    <a:pt x="76" y="70"/>
                  </a:moveTo>
                  <a:cubicBezTo>
                    <a:pt x="73" y="70"/>
                    <a:pt x="71" y="68"/>
                    <a:pt x="71" y="66"/>
                  </a:cubicBezTo>
                  <a:cubicBezTo>
                    <a:pt x="71" y="63"/>
                    <a:pt x="73" y="61"/>
                    <a:pt x="76" y="61"/>
                  </a:cubicBezTo>
                  <a:cubicBezTo>
                    <a:pt x="78" y="61"/>
                    <a:pt x="81" y="63"/>
                    <a:pt x="81" y="66"/>
                  </a:cubicBezTo>
                  <a:cubicBezTo>
                    <a:pt x="81" y="68"/>
                    <a:pt x="78" y="70"/>
                    <a:pt x="76" y="70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3" name="Freeform 21"/>
            <p:cNvSpPr>
              <a:spLocks noChangeAspect="1" noEditPoints="1"/>
            </p:cNvSpPr>
            <p:nvPr/>
          </p:nvSpPr>
          <p:spPr bwMode="gray">
            <a:xfrm>
              <a:off x="5502850" y="4037524"/>
              <a:ext cx="205200" cy="164237"/>
            </a:xfrm>
            <a:custGeom>
              <a:avLst/>
              <a:gdLst/>
              <a:ahLst/>
              <a:cxnLst>
                <a:cxn ang="0">
                  <a:pos x="66" y="6"/>
                </a:cxn>
                <a:cxn ang="0">
                  <a:pos x="41" y="6"/>
                </a:cxn>
                <a:cxn ang="0">
                  <a:pos x="37" y="10"/>
                </a:cxn>
                <a:cxn ang="0">
                  <a:pos x="32" y="6"/>
                </a:cxn>
                <a:cxn ang="0">
                  <a:pos x="7" y="6"/>
                </a:cxn>
                <a:cxn ang="0">
                  <a:pos x="7" y="32"/>
                </a:cxn>
                <a:cxn ang="0">
                  <a:pos x="37" y="59"/>
                </a:cxn>
                <a:cxn ang="0">
                  <a:pos x="66" y="32"/>
                </a:cxn>
                <a:cxn ang="0">
                  <a:pos x="66" y="6"/>
                </a:cxn>
                <a:cxn ang="0">
                  <a:pos x="62" y="28"/>
                </a:cxn>
                <a:cxn ang="0">
                  <a:pos x="37" y="51"/>
                </a:cxn>
                <a:cxn ang="0">
                  <a:pos x="12" y="28"/>
                </a:cxn>
                <a:cxn ang="0">
                  <a:pos x="8" y="19"/>
                </a:cxn>
                <a:cxn ang="0">
                  <a:pos x="11" y="11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37" y="19"/>
                </a:cxn>
                <a:cxn ang="0">
                  <a:pos x="45" y="12"/>
                </a:cxn>
                <a:cxn ang="0">
                  <a:pos x="54" y="8"/>
                </a:cxn>
                <a:cxn ang="0">
                  <a:pos x="62" y="11"/>
                </a:cxn>
                <a:cxn ang="0">
                  <a:pos x="65" y="19"/>
                </a:cxn>
                <a:cxn ang="0">
                  <a:pos x="62" y="28"/>
                </a:cxn>
              </a:cxnLst>
              <a:rect l="0" t="0" r="r" b="b"/>
              <a:pathLst>
                <a:path w="74" h="59">
                  <a:moveTo>
                    <a:pt x="66" y="6"/>
                  </a:moveTo>
                  <a:cubicBezTo>
                    <a:pt x="59" y="0"/>
                    <a:pt x="48" y="0"/>
                    <a:pt x="41" y="6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25" y="0"/>
                    <a:pt x="14" y="0"/>
                    <a:pt x="7" y="6"/>
                  </a:cubicBezTo>
                  <a:cubicBezTo>
                    <a:pt x="0" y="13"/>
                    <a:pt x="0" y="25"/>
                    <a:pt x="7" y="32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74" y="25"/>
                    <a:pt x="74" y="13"/>
                    <a:pt x="66" y="6"/>
                  </a:cubicBezTo>
                  <a:close/>
                  <a:moveTo>
                    <a:pt x="62" y="28"/>
                  </a:moveTo>
                  <a:cubicBezTo>
                    <a:pt x="37" y="51"/>
                    <a:pt x="37" y="51"/>
                    <a:pt x="37" y="51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9" y="25"/>
                    <a:pt x="8" y="22"/>
                    <a:pt x="8" y="19"/>
                  </a:cubicBezTo>
                  <a:cubicBezTo>
                    <a:pt x="8" y="16"/>
                    <a:pt x="9" y="13"/>
                    <a:pt x="11" y="11"/>
                  </a:cubicBezTo>
                  <a:cubicBezTo>
                    <a:pt x="13" y="9"/>
                    <a:pt x="16" y="8"/>
                    <a:pt x="20" y="8"/>
                  </a:cubicBezTo>
                  <a:cubicBezTo>
                    <a:pt x="23" y="8"/>
                    <a:pt x="26" y="10"/>
                    <a:pt x="28" y="12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8" y="10"/>
                    <a:pt x="51" y="8"/>
                    <a:pt x="54" y="8"/>
                  </a:cubicBezTo>
                  <a:cubicBezTo>
                    <a:pt x="57" y="8"/>
                    <a:pt x="60" y="9"/>
                    <a:pt x="62" y="11"/>
                  </a:cubicBezTo>
                  <a:cubicBezTo>
                    <a:pt x="65" y="13"/>
                    <a:pt x="65" y="16"/>
                    <a:pt x="65" y="19"/>
                  </a:cubicBezTo>
                  <a:cubicBezTo>
                    <a:pt x="65" y="22"/>
                    <a:pt x="64" y="25"/>
                    <a:pt x="62" y="28"/>
                  </a:cubicBez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4" name="Freeform 25"/>
            <p:cNvSpPr>
              <a:spLocks noChangeAspect="1"/>
            </p:cNvSpPr>
            <p:nvPr/>
          </p:nvSpPr>
          <p:spPr bwMode="gray">
            <a:xfrm>
              <a:off x="5995944" y="4037515"/>
              <a:ext cx="205200" cy="164238"/>
            </a:xfrm>
            <a:custGeom>
              <a:avLst/>
              <a:gdLst/>
              <a:ahLst/>
              <a:cxnLst>
                <a:cxn ang="0">
                  <a:pos x="67" y="6"/>
                </a:cxn>
                <a:cxn ang="0">
                  <a:pos x="42" y="6"/>
                </a:cxn>
                <a:cxn ang="0">
                  <a:pos x="37" y="10"/>
                </a:cxn>
                <a:cxn ang="0">
                  <a:pos x="33" y="6"/>
                </a:cxn>
                <a:cxn ang="0">
                  <a:pos x="8" y="6"/>
                </a:cxn>
                <a:cxn ang="0">
                  <a:pos x="8" y="32"/>
                </a:cxn>
                <a:cxn ang="0">
                  <a:pos x="37" y="59"/>
                </a:cxn>
                <a:cxn ang="0">
                  <a:pos x="67" y="32"/>
                </a:cxn>
                <a:cxn ang="0">
                  <a:pos x="67" y="6"/>
                </a:cxn>
              </a:cxnLst>
              <a:rect l="0" t="0" r="r" b="b"/>
              <a:pathLst>
                <a:path w="74" h="59">
                  <a:moveTo>
                    <a:pt x="67" y="6"/>
                  </a:moveTo>
                  <a:cubicBezTo>
                    <a:pt x="60" y="0"/>
                    <a:pt x="49" y="0"/>
                    <a:pt x="42" y="6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26" y="0"/>
                    <a:pt x="15" y="0"/>
                    <a:pt x="8" y="6"/>
                  </a:cubicBezTo>
                  <a:cubicBezTo>
                    <a:pt x="0" y="13"/>
                    <a:pt x="0" y="25"/>
                    <a:pt x="8" y="32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74" y="25"/>
                    <a:pt x="74" y="13"/>
                    <a:pt x="67" y="6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5" name="Freeform 29"/>
            <p:cNvSpPr>
              <a:spLocks noChangeAspect="1" noEditPoints="1"/>
            </p:cNvSpPr>
            <p:nvPr/>
          </p:nvSpPr>
          <p:spPr bwMode="gray">
            <a:xfrm>
              <a:off x="6421798" y="3999113"/>
              <a:ext cx="345600" cy="241059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36" y="5"/>
                </a:cxn>
                <a:cxn ang="0">
                  <a:pos x="36" y="6"/>
                </a:cxn>
                <a:cxn ang="0">
                  <a:pos x="45" y="6"/>
                </a:cxn>
                <a:cxn ang="0">
                  <a:pos x="45" y="5"/>
                </a:cxn>
                <a:cxn ang="0">
                  <a:pos x="41" y="0"/>
                </a:cxn>
                <a:cxn ang="0">
                  <a:pos x="22" y="61"/>
                </a:cxn>
                <a:cxn ang="0">
                  <a:pos x="12" y="71"/>
                </a:cxn>
                <a:cxn ang="0">
                  <a:pos x="22" y="82"/>
                </a:cxn>
                <a:cxn ang="0">
                  <a:pos x="33" y="71"/>
                </a:cxn>
                <a:cxn ang="0">
                  <a:pos x="22" y="61"/>
                </a:cxn>
                <a:cxn ang="0">
                  <a:pos x="95" y="61"/>
                </a:cxn>
                <a:cxn ang="0">
                  <a:pos x="85" y="71"/>
                </a:cxn>
                <a:cxn ang="0">
                  <a:pos x="95" y="82"/>
                </a:cxn>
                <a:cxn ang="0">
                  <a:pos x="106" y="71"/>
                </a:cxn>
                <a:cxn ang="0">
                  <a:pos x="95" y="61"/>
                </a:cxn>
                <a:cxn ang="0">
                  <a:pos x="0" y="41"/>
                </a:cxn>
                <a:cxn ang="0">
                  <a:pos x="0" y="71"/>
                </a:cxn>
                <a:cxn ang="0">
                  <a:pos x="9" y="71"/>
                </a:cxn>
                <a:cxn ang="0">
                  <a:pos x="22" y="57"/>
                </a:cxn>
                <a:cxn ang="0">
                  <a:pos x="36" y="71"/>
                </a:cxn>
                <a:cxn ang="0">
                  <a:pos x="45" y="71"/>
                </a:cxn>
                <a:cxn ang="0">
                  <a:pos x="45" y="10"/>
                </a:cxn>
                <a:cxn ang="0">
                  <a:pos x="37" y="10"/>
                </a:cxn>
                <a:cxn ang="0">
                  <a:pos x="0" y="41"/>
                </a:cxn>
                <a:cxn ang="0">
                  <a:pos x="37" y="42"/>
                </a:cxn>
                <a:cxn ang="0">
                  <a:pos x="6" y="42"/>
                </a:cxn>
                <a:cxn ang="0">
                  <a:pos x="6" y="41"/>
                </a:cxn>
                <a:cxn ang="0">
                  <a:pos x="37" y="15"/>
                </a:cxn>
                <a:cxn ang="0">
                  <a:pos x="37" y="15"/>
                </a:cxn>
                <a:cxn ang="0">
                  <a:pos x="37" y="42"/>
                </a:cxn>
                <a:cxn ang="0">
                  <a:pos x="49" y="10"/>
                </a:cxn>
                <a:cxn ang="0">
                  <a:pos x="49" y="71"/>
                </a:cxn>
                <a:cxn ang="0">
                  <a:pos x="82" y="71"/>
                </a:cxn>
                <a:cxn ang="0">
                  <a:pos x="95" y="57"/>
                </a:cxn>
                <a:cxn ang="0">
                  <a:pos x="109" y="71"/>
                </a:cxn>
                <a:cxn ang="0">
                  <a:pos x="118" y="71"/>
                </a:cxn>
                <a:cxn ang="0">
                  <a:pos x="118" y="10"/>
                </a:cxn>
                <a:cxn ang="0">
                  <a:pos x="49" y="10"/>
                </a:cxn>
                <a:cxn ang="0">
                  <a:pos x="99" y="41"/>
                </a:cxn>
                <a:cxn ang="0">
                  <a:pos x="90" y="41"/>
                </a:cxn>
                <a:cxn ang="0">
                  <a:pos x="90" y="50"/>
                </a:cxn>
                <a:cxn ang="0">
                  <a:pos x="78" y="50"/>
                </a:cxn>
                <a:cxn ang="0">
                  <a:pos x="78" y="41"/>
                </a:cxn>
                <a:cxn ang="0">
                  <a:pos x="69" y="41"/>
                </a:cxn>
                <a:cxn ang="0">
                  <a:pos x="69" y="29"/>
                </a:cxn>
                <a:cxn ang="0">
                  <a:pos x="78" y="29"/>
                </a:cxn>
                <a:cxn ang="0">
                  <a:pos x="78" y="20"/>
                </a:cxn>
                <a:cxn ang="0">
                  <a:pos x="90" y="20"/>
                </a:cxn>
                <a:cxn ang="0">
                  <a:pos x="90" y="29"/>
                </a:cxn>
                <a:cxn ang="0">
                  <a:pos x="99" y="29"/>
                </a:cxn>
                <a:cxn ang="0">
                  <a:pos x="99" y="41"/>
                </a:cxn>
              </a:cxnLst>
              <a:rect l="0" t="0" r="r" b="b"/>
              <a:pathLst>
                <a:path w="118" h="82">
                  <a:moveTo>
                    <a:pt x="41" y="0"/>
                  </a:moveTo>
                  <a:cubicBezTo>
                    <a:pt x="38" y="0"/>
                    <a:pt x="36" y="2"/>
                    <a:pt x="36" y="5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2"/>
                    <a:pt x="43" y="0"/>
                    <a:pt x="41" y="0"/>
                  </a:cubicBezTo>
                  <a:close/>
                  <a:moveTo>
                    <a:pt x="22" y="61"/>
                  </a:moveTo>
                  <a:cubicBezTo>
                    <a:pt x="16" y="61"/>
                    <a:pt x="12" y="66"/>
                    <a:pt x="12" y="71"/>
                  </a:cubicBezTo>
                  <a:cubicBezTo>
                    <a:pt x="12" y="77"/>
                    <a:pt x="16" y="82"/>
                    <a:pt x="22" y="82"/>
                  </a:cubicBezTo>
                  <a:cubicBezTo>
                    <a:pt x="28" y="82"/>
                    <a:pt x="33" y="77"/>
                    <a:pt x="33" y="71"/>
                  </a:cubicBezTo>
                  <a:cubicBezTo>
                    <a:pt x="33" y="66"/>
                    <a:pt x="28" y="61"/>
                    <a:pt x="22" y="61"/>
                  </a:cubicBezTo>
                  <a:close/>
                  <a:moveTo>
                    <a:pt x="95" y="61"/>
                  </a:moveTo>
                  <a:cubicBezTo>
                    <a:pt x="90" y="61"/>
                    <a:pt x="85" y="66"/>
                    <a:pt x="85" y="71"/>
                  </a:cubicBezTo>
                  <a:cubicBezTo>
                    <a:pt x="85" y="77"/>
                    <a:pt x="90" y="82"/>
                    <a:pt x="95" y="82"/>
                  </a:cubicBezTo>
                  <a:cubicBezTo>
                    <a:pt x="101" y="82"/>
                    <a:pt x="106" y="77"/>
                    <a:pt x="106" y="71"/>
                  </a:cubicBezTo>
                  <a:cubicBezTo>
                    <a:pt x="106" y="66"/>
                    <a:pt x="101" y="61"/>
                    <a:pt x="95" y="61"/>
                  </a:cubicBezTo>
                  <a:close/>
                  <a:moveTo>
                    <a:pt x="0" y="41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9" y="63"/>
                    <a:pt x="15" y="57"/>
                    <a:pt x="22" y="57"/>
                  </a:cubicBezTo>
                  <a:cubicBezTo>
                    <a:pt x="30" y="57"/>
                    <a:pt x="36" y="63"/>
                    <a:pt x="36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19" y="10"/>
                    <a:pt x="0" y="24"/>
                    <a:pt x="0" y="41"/>
                  </a:cubicBezTo>
                  <a:close/>
                  <a:moveTo>
                    <a:pt x="37" y="42"/>
                  </a:moveTo>
                  <a:cubicBezTo>
                    <a:pt x="6" y="42"/>
                    <a:pt x="6" y="42"/>
                    <a:pt x="6" y="42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27"/>
                    <a:pt x="23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lnTo>
                    <a:pt x="37" y="42"/>
                  </a:lnTo>
                  <a:close/>
                  <a:moveTo>
                    <a:pt x="49" y="10"/>
                  </a:moveTo>
                  <a:cubicBezTo>
                    <a:pt x="49" y="71"/>
                    <a:pt x="49" y="71"/>
                    <a:pt x="49" y="71"/>
                  </a:cubicBezTo>
                  <a:cubicBezTo>
                    <a:pt x="82" y="71"/>
                    <a:pt x="82" y="71"/>
                    <a:pt x="82" y="71"/>
                  </a:cubicBezTo>
                  <a:cubicBezTo>
                    <a:pt x="82" y="63"/>
                    <a:pt x="88" y="57"/>
                    <a:pt x="95" y="57"/>
                  </a:cubicBezTo>
                  <a:cubicBezTo>
                    <a:pt x="103" y="57"/>
                    <a:pt x="109" y="63"/>
                    <a:pt x="109" y="71"/>
                  </a:cubicBezTo>
                  <a:cubicBezTo>
                    <a:pt x="118" y="71"/>
                    <a:pt x="118" y="71"/>
                    <a:pt x="118" y="71"/>
                  </a:cubicBezTo>
                  <a:cubicBezTo>
                    <a:pt x="118" y="10"/>
                    <a:pt x="118" y="10"/>
                    <a:pt x="118" y="10"/>
                  </a:cubicBezTo>
                  <a:lnTo>
                    <a:pt x="49" y="10"/>
                  </a:lnTo>
                  <a:close/>
                  <a:moveTo>
                    <a:pt x="99" y="41"/>
                  </a:moveTo>
                  <a:cubicBezTo>
                    <a:pt x="90" y="41"/>
                    <a:pt x="90" y="41"/>
                    <a:pt x="90" y="41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8" y="41"/>
                    <a:pt x="78" y="41"/>
                    <a:pt x="78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99" y="29"/>
                    <a:pt x="99" y="29"/>
                    <a:pt x="99" y="29"/>
                  </a:cubicBezTo>
                  <a:lnTo>
                    <a:pt x="99" y="41"/>
                  </a:ln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6" name="Freeform 34"/>
            <p:cNvSpPr>
              <a:spLocks noChangeAspect="1" noEditPoints="1"/>
            </p:cNvSpPr>
            <p:nvPr/>
          </p:nvSpPr>
          <p:spPr bwMode="gray">
            <a:xfrm>
              <a:off x="6922770" y="4025137"/>
              <a:ext cx="345600" cy="188994"/>
            </a:xfrm>
            <a:custGeom>
              <a:avLst/>
              <a:gdLst/>
              <a:ahLst/>
              <a:cxnLst>
                <a:cxn ang="0">
                  <a:pos x="22" y="53"/>
                </a:cxn>
                <a:cxn ang="0">
                  <a:pos x="33" y="42"/>
                </a:cxn>
                <a:cxn ang="0">
                  <a:pos x="44" y="53"/>
                </a:cxn>
                <a:cxn ang="0">
                  <a:pos x="33" y="64"/>
                </a:cxn>
                <a:cxn ang="0">
                  <a:pos x="22" y="53"/>
                </a:cxn>
                <a:cxn ang="0">
                  <a:pos x="87" y="53"/>
                </a:cxn>
                <a:cxn ang="0">
                  <a:pos x="97" y="42"/>
                </a:cxn>
                <a:cxn ang="0">
                  <a:pos x="108" y="53"/>
                </a:cxn>
                <a:cxn ang="0">
                  <a:pos x="97" y="64"/>
                </a:cxn>
                <a:cxn ang="0">
                  <a:pos x="87" y="53"/>
                </a:cxn>
                <a:cxn ang="0">
                  <a:pos x="115" y="26"/>
                </a:cxn>
                <a:cxn ang="0">
                  <a:pos x="113" y="25"/>
                </a:cxn>
                <a:cxn ang="0">
                  <a:pos x="109" y="20"/>
                </a:cxn>
                <a:cxn ang="0">
                  <a:pos x="104" y="3"/>
                </a:cxn>
                <a:cxn ang="0">
                  <a:pos x="100" y="0"/>
                </a:cxn>
                <a:cxn ang="0">
                  <a:pos x="5" y="0"/>
                </a:cxn>
                <a:cxn ang="0">
                  <a:pos x="2" y="3"/>
                </a:cxn>
                <a:cxn ang="0">
                  <a:pos x="2" y="48"/>
                </a:cxn>
                <a:cxn ang="0">
                  <a:pos x="0" y="48"/>
                </a:cxn>
                <a:cxn ang="0">
                  <a:pos x="0" y="53"/>
                </a:cxn>
                <a:cxn ang="0">
                  <a:pos x="16" y="53"/>
                </a:cxn>
                <a:cxn ang="0">
                  <a:pos x="19" y="50"/>
                </a:cxn>
                <a:cxn ang="0">
                  <a:pos x="33" y="39"/>
                </a:cxn>
                <a:cxn ang="0">
                  <a:pos x="47" y="50"/>
                </a:cxn>
                <a:cxn ang="0">
                  <a:pos x="50" y="53"/>
                </a:cxn>
                <a:cxn ang="0">
                  <a:pos x="80" y="53"/>
                </a:cxn>
                <a:cxn ang="0">
                  <a:pos x="83" y="50"/>
                </a:cxn>
                <a:cxn ang="0">
                  <a:pos x="97" y="39"/>
                </a:cxn>
                <a:cxn ang="0">
                  <a:pos x="111" y="50"/>
                </a:cxn>
                <a:cxn ang="0">
                  <a:pos x="114" y="53"/>
                </a:cxn>
                <a:cxn ang="0">
                  <a:pos x="118" y="50"/>
                </a:cxn>
                <a:cxn ang="0">
                  <a:pos x="118" y="31"/>
                </a:cxn>
                <a:cxn ang="0">
                  <a:pos x="115" y="26"/>
                </a:cxn>
                <a:cxn ang="0">
                  <a:pos x="89" y="33"/>
                </a:cxn>
                <a:cxn ang="0">
                  <a:pos x="88" y="37"/>
                </a:cxn>
                <a:cxn ang="0">
                  <a:pos x="80" y="47"/>
                </a:cxn>
                <a:cxn ang="0">
                  <a:pos x="77" y="49"/>
                </a:cxn>
                <a:cxn ang="0">
                  <a:pos x="74" y="49"/>
                </a:cxn>
                <a:cxn ang="0">
                  <a:pos x="71" y="46"/>
                </a:cxn>
                <a:cxn ang="0">
                  <a:pos x="71" y="10"/>
                </a:cxn>
                <a:cxn ang="0">
                  <a:pos x="74" y="7"/>
                </a:cxn>
                <a:cxn ang="0">
                  <a:pos x="86" y="7"/>
                </a:cxn>
                <a:cxn ang="0">
                  <a:pos x="89" y="10"/>
                </a:cxn>
                <a:cxn ang="0">
                  <a:pos x="89" y="33"/>
                </a:cxn>
                <a:cxn ang="0">
                  <a:pos x="102" y="23"/>
                </a:cxn>
                <a:cxn ang="0">
                  <a:pos x="96" y="23"/>
                </a:cxn>
                <a:cxn ang="0">
                  <a:pos x="93" y="20"/>
                </a:cxn>
                <a:cxn ang="0">
                  <a:pos x="93" y="10"/>
                </a:cxn>
                <a:cxn ang="0">
                  <a:pos x="96" y="7"/>
                </a:cxn>
                <a:cxn ang="0">
                  <a:pos x="98" y="7"/>
                </a:cxn>
                <a:cxn ang="0">
                  <a:pos x="102" y="10"/>
                </a:cxn>
                <a:cxn ang="0">
                  <a:pos x="104" y="20"/>
                </a:cxn>
                <a:cxn ang="0">
                  <a:pos x="102" y="23"/>
                </a:cxn>
              </a:cxnLst>
              <a:rect l="0" t="0" r="r" b="b"/>
              <a:pathLst>
                <a:path w="118" h="64">
                  <a:moveTo>
                    <a:pt x="22" y="53"/>
                  </a:moveTo>
                  <a:cubicBezTo>
                    <a:pt x="22" y="47"/>
                    <a:pt x="27" y="42"/>
                    <a:pt x="33" y="42"/>
                  </a:cubicBezTo>
                  <a:cubicBezTo>
                    <a:pt x="39" y="42"/>
                    <a:pt x="44" y="47"/>
                    <a:pt x="44" y="53"/>
                  </a:cubicBezTo>
                  <a:cubicBezTo>
                    <a:pt x="44" y="59"/>
                    <a:pt x="39" y="64"/>
                    <a:pt x="33" y="64"/>
                  </a:cubicBezTo>
                  <a:cubicBezTo>
                    <a:pt x="27" y="64"/>
                    <a:pt x="22" y="59"/>
                    <a:pt x="22" y="53"/>
                  </a:cubicBezTo>
                  <a:close/>
                  <a:moveTo>
                    <a:pt x="87" y="53"/>
                  </a:moveTo>
                  <a:cubicBezTo>
                    <a:pt x="87" y="47"/>
                    <a:pt x="91" y="42"/>
                    <a:pt x="97" y="42"/>
                  </a:cubicBezTo>
                  <a:cubicBezTo>
                    <a:pt x="103" y="42"/>
                    <a:pt x="108" y="47"/>
                    <a:pt x="108" y="53"/>
                  </a:cubicBezTo>
                  <a:cubicBezTo>
                    <a:pt x="108" y="59"/>
                    <a:pt x="103" y="64"/>
                    <a:pt x="97" y="64"/>
                  </a:cubicBezTo>
                  <a:cubicBezTo>
                    <a:pt x="91" y="64"/>
                    <a:pt x="87" y="59"/>
                    <a:pt x="87" y="53"/>
                  </a:cubicBezTo>
                  <a:close/>
                  <a:moveTo>
                    <a:pt x="115" y="26"/>
                  </a:moveTo>
                  <a:cubicBezTo>
                    <a:pt x="113" y="25"/>
                    <a:pt x="113" y="25"/>
                    <a:pt x="113" y="25"/>
                  </a:cubicBezTo>
                  <a:cubicBezTo>
                    <a:pt x="111" y="24"/>
                    <a:pt x="110" y="22"/>
                    <a:pt x="109" y="20"/>
                  </a:cubicBezTo>
                  <a:cubicBezTo>
                    <a:pt x="104" y="3"/>
                    <a:pt x="104" y="3"/>
                    <a:pt x="104" y="3"/>
                  </a:cubicBezTo>
                  <a:cubicBezTo>
                    <a:pt x="104" y="2"/>
                    <a:pt x="102" y="0"/>
                    <a:pt x="10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2"/>
                    <a:pt x="2" y="3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8" y="53"/>
                    <a:pt x="19" y="52"/>
                    <a:pt x="19" y="50"/>
                  </a:cubicBezTo>
                  <a:cubicBezTo>
                    <a:pt x="20" y="44"/>
                    <a:pt x="26" y="39"/>
                    <a:pt x="33" y="39"/>
                  </a:cubicBezTo>
                  <a:cubicBezTo>
                    <a:pt x="40" y="39"/>
                    <a:pt x="45" y="44"/>
                    <a:pt x="47" y="50"/>
                  </a:cubicBezTo>
                  <a:cubicBezTo>
                    <a:pt x="47" y="52"/>
                    <a:pt x="48" y="53"/>
                    <a:pt x="50" y="53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83" y="53"/>
                    <a:pt x="83" y="52"/>
                    <a:pt x="83" y="50"/>
                  </a:cubicBezTo>
                  <a:cubicBezTo>
                    <a:pt x="85" y="44"/>
                    <a:pt x="90" y="39"/>
                    <a:pt x="97" y="39"/>
                  </a:cubicBezTo>
                  <a:cubicBezTo>
                    <a:pt x="104" y="39"/>
                    <a:pt x="110" y="44"/>
                    <a:pt x="111" y="50"/>
                  </a:cubicBezTo>
                  <a:cubicBezTo>
                    <a:pt x="111" y="52"/>
                    <a:pt x="112" y="53"/>
                    <a:pt x="114" y="53"/>
                  </a:cubicBezTo>
                  <a:cubicBezTo>
                    <a:pt x="116" y="53"/>
                    <a:pt x="118" y="51"/>
                    <a:pt x="118" y="50"/>
                  </a:cubicBezTo>
                  <a:cubicBezTo>
                    <a:pt x="118" y="31"/>
                    <a:pt x="118" y="31"/>
                    <a:pt x="118" y="31"/>
                  </a:cubicBezTo>
                  <a:cubicBezTo>
                    <a:pt x="118" y="29"/>
                    <a:pt x="116" y="27"/>
                    <a:pt x="115" y="26"/>
                  </a:cubicBezTo>
                  <a:close/>
                  <a:moveTo>
                    <a:pt x="89" y="33"/>
                  </a:moveTo>
                  <a:cubicBezTo>
                    <a:pt x="89" y="35"/>
                    <a:pt x="88" y="36"/>
                    <a:pt x="88" y="37"/>
                  </a:cubicBezTo>
                  <a:cubicBezTo>
                    <a:pt x="84" y="39"/>
                    <a:pt x="81" y="43"/>
                    <a:pt x="80" y="47"/>
                  </a:cubicBezTo>
                  <a:cubicBezTo>
                    <a:pt x="79" y="49"/>
                    <a:pt x="79" y="49"/>
                    <a:pt x="77" y="49"/>
                  </a:cubicBezTo>
                  <a:cubicBezTo>
                    <a:pt x="76" y="49"/>
                    <a:pt x="74" y="49"/>
                    <a:pt x="74" y="49"/>
                  </a:cubicBezTo>
                  <a:cubicBezTo>
                    <a:pt x="73" y="49"/>
                    <a:pt x="71" y="48"/>
                    <a:pt x="71" y="46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1" y="8"/>
                    <a:pt x="73" y="7"/>
                    <a:pt x="74" y="7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8" y="7"/>
                    <a:pt x="89" y="8"/>
                    <a:pt x="89" y="10"/>
                  </a:cubicBezTo>
                  <a:cubicBezTo>
                    <a:pt x="89" y="10"/>
                    <a:pt x="89" y="31"/>
                    <a:pt x="89" y="33"/>
                  </a:cubicBezTo>
                  <a:close/>
                  <a:moveTo>
                    <a:pt x="102" y="23"/>
                  </a:moveTo>
                  <a:cubicBezTo>
                    <a:pt x="96" y="23"/>
                    <a:pt x="96" y="23"/>
                    <a:pt x="96" y="23"/>
                  </a:cubicBezTo>
                  <a:cubicBezTo>
                    <a:pt x="95" y="23"/>
                    <a:pt x="93" y="21"/>
                    <a:pt x="93" y="2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8"/>
                    <a:pt x="95" y="7"/>
                    <a:pt x="96" y="7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99" y="7"/>
                    <a:pt x="101" y="8"/>
                    <a:pt x="102" y="10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105" y="21"/>
                    <a:pt x="104" y="23"/>
                    <a:pt x="102" y="23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7" name="Freeform 38"/>
            <p:cNvSpPr>
              <a:spLocks noChangeAspect="1" noEditPoints="1"/>
            </p:cNvSpPr>
            <p:nvPr/>
          </p:nvSpPr>
          <p:spPr bwMode="gray">
            <a:xfrm>
              <a:off x="7422165" y="4006287"/>
              <a:ext cx="345600" cy="226711"/>
            </a:xfrm>
            <a:custGeom>
              <a:avLst/>
              <a:gdLst/>
              <a:ahLst/>
              <a:cxnLst>
                <a:cxn ang="0">
                  <a:pos x="81" y="8"/>
                </a:cxn>
                <a:cxn ang="0">
                  <a:pos x="72" y="7"/>
                </a:cxn>
                <a:cxn ang="0">
                  <a:pos x="79" y="0"/>
                </a:cxn>
                <a:cxn ang="0">
                  <a:pos x="84" y="7"/>
                </a:cxn>
                <a:cxn ang="0">
                  <a:pos x="57" y="21"/>
                </a:cxn>
                <a:cxn ang="0">
                  <a:pos x="28" y="21"/>
                </a:cxn>
                <a:cxn ang="0">
                  <a:pos x="55" y="26"/>
                </a:cxn>
                <a:cxn ang="0">
                  <a:pos x="111" y="53"/>
                </a:cxn>
                <a:cxn ang="0">
                  <a:pos x="102" y="71"/>
                </a:cxn>
                <a:cxn ang="0">
                  <a:pos x="87" y="64"/>
                </a:cxn>
                <a:cxn ang="0">
                  <a:pos x="117" y="54"/>
                </a:cxn>
                <a:cxn ang="0">
                  <a:pos x="102" y="67"/>
                </a:cxn>
                <a:cxn ang="0">
                  <a:pos x="95" y="58"/>
                </a:cxn>
                <a:cxn ang="0">
                  <a:pos x="110" y="61"/>
                </a:cxn>
                <a:cxn ang="0">
                  <a:pos x="109" y="61"/>
                </a:cxn>
                <a:cxn ang="0">
                  <a:pos x="117" y="51"/>
                </a:cxn>
                <a:cxn ang="0">
                  <a:pos x="86" y="61"/>
                </a:cxn>
                <a:cxn ang="0">
                  <a:pos x="80" y="64"/>
                </a:cxn>
                <a:cxn ang="0">
                  <a:pos x="79" y="63"/>
                </a:cxn>
                <a:cxn ang="0">
                  <a:pos x="99" y="41"/>
                </a:cxn>
                <a:cxn ang="0">
                  <a:pos x="117" y="49"/>
                </a:cxn>
                <a:cxn ang="0">
                  <a:pos x="117" y="51"/>
                </a:cxn>
                <a:cxn ang="0">
                  <a:pos x="77" y="12"/>
                </a:cxn>
                <a:cxn ang="0">
                  <a:pos x="74" y="12"/>
                </a:cxn>
                <a:cxn ang="0">
                  <a:pos x="83" y="31"/>
                </a:cxn>
                <a:cxn ang="0">
                  <a:pos x="73" y="53"/>
                </a:cxn>
                <a:cxn ang="0">
                  <a:pos x="70" y="56"/>
                </a:cxn>
                <a:cxn ang="0">
                  <a:pos x="47" y="44"/>
                </a:cxn>
                <a:cxn ang="0">
                  <a:pos x="57" y="31"/>
                </a:cxn>
                <a:cxn ang="0">
                  <a:pos x="31" y="29"/>
                </a:cxn>
                <a:cxn ang="0">
                  <a:pos x="27" y="30"/>
                </a:cxn>
                <a:cxn ang="0">
                  <a:pos x="9" y="36"/>
                </a:cxn>
                <a:cxn ang="0">
                  <a:pos x="6" y="38"/>
                </a:cxn>
                <a:cxn ang="0">
                  <a:pos x="6" y="43"/>
                </a:cxn>
                <a:cxn ang="0">
                  <a:pos x="0" y="60"/>
                </a:cxn>
                <a:cxn ang="0">
                  <a:pos x="6" y="61"/>
                </a:cxn>
                <a:cxn ang="0">
                  <a:pos x="38" y="62"/>
                </a:cxn>
                <a:cxn ang="0">
                  <a:pos x="72" y="62"/>
                </a:cxn>
                <a:cxn ang="0">
                  <a:pos x="76" y="60"/>
                </a:cxn>
                <a:cxn ang="0">
                  <a:pos x="91" y="41"/>
                </a:cxn>
                <a:cxn ang="0">
                  <a:pos x="93" y="38"/>
                </a:cxn>
                <a:cxn ang="0">
                  <a:pos x="29" y="62"/>
                </a:cxn>
                <a:cxn ang="0">
                  <a:pos x="29" y="62"/>
                </a:cxn>
                <a:cxn ang="0">
                  <a:pos x="15" y="62"/>
                </a:cxn>
                <a:cxn ang="0">
                  <a:pos x="33" y="62"/>
                </a:cxn>
              </a:cxnLst>
              <a:rect l="0" t="0" r="r" b="b"/>
              <a:pathLst>
                <a:path w="118" h="77">
                  <a:moveTo>
                    <a:pt x="82" y="0"/>
                  </a:moveTo>
                  <a:cubicBezTo>
                    <a:pt x="82" y="8"/>
                    <a:pt x="82" y="8"/>
                    <a:pt x="82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78" y="8"/>
                    <a:pt x="76" y="8"/>
                    <a:pt x="74" y="8"/>
                  </a:cubicBezTo>
                  <a:cubicBezTo>
                    <a:pt x="74" y="8"/>
                    <a:pt x="74" y="9"/>
                    <a:pt x="73" y="9"/>
                  </a:cubicBezTo>
                  <a:cubicBezTo>
                    <a:pt x="72" y="9"/>
                    <a:pt x="72" y="8"/>
                    <a:pt x="72" y="7"/>
                  </a:cubicBezTo>
                  <a:cubicBezTo>
                    <a:pt x="72" y="7"/>
                    <a:pt x="72" y="7"/>
                    <a:pt x="72" y="7"/>
                  </a:cubicBezTo>
                  <a:cubicBezTo>
                    <a:pt x="72" y="6"/>
                    <a:pt x="71" y="6"/>
                    <a:pt x="71" y="5"/>
                  </a:cubicBezTo>
                  <a:cubicBezTo>
                    <a:pt x="71" y="3"/>
                    <a:pt x="75" y="1"/>
                    <a:pt x="79" y="0"/>
                  </a:cubicBezTo>
                  <a:cubicBezTo>
                    <a:pt x="80" y="0"/>
                    <a:pt x="81" y="0"/>
                    <a:pt x="82" y="0"/>
                  </a:cubicBezTo>
                  <a:close/>
                  <a:moveTo>
                    <a:pt x="84" y="0"/>
                  </a:moveTo>
                  <a:cubicBezTo>
                    <a:pt x="84" y="7"/>
                    <a:pt x="84" y="7"/>
                    <a:pt x="84" y="7"/>
                  </a:cubicBezTo>
                  <a:cubicBezTo>
                    <a:pt x="85" y="7"/>
                    <a:pt x="86" y="6"/>
                    <a:pt x="86" y="4"/>
                  </a:cubicBezTo>
                  <a:cubicBezTo>
                    <a:pt x="86" y="2"/>
                    <a:pt x="85" y="0"/>
                    <a:pt x="84" y="0"/>
                  </a:cubicBezTo>
                  <a:close/>
                  <a:moveTo>
                    <a:pt x="57" y="21"/>
                  </a:moveTo>
                  <a:cubicBezTo>
                    <a:pt x="57" y="20"/>
                    <a:pt x="56" y="19"/>
                    <a:pt x="55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29" y="19"/>
                    <a:pt x="28" y="20"/>
                    <a:pt x="28" y="21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5"/>
                    <a:pt x="29" y="26"/>
                    <a:pt x="30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6" y="26"/>
                    <a:pt x="57" y="25"/>
                    <a:pt x="57" y="24"/>
                  </a:cubicBezTo>
                  <a:lnTo>
                    <a:pt x="57" y="21"/>
                  </a:lnTo>
                  <a:close/>
                  <a:moveTo>
                    <a:pt x="111" y="53"/>
                  </a:moveTo>
                  <a:cubicBezTo>
                    <a:pt x="111" y="53"/>
                    <a:pt x="110" y="53"/>
                    <a:pt x="110" y="53"/>
                  </a:cubicBezTo>
                  <a:cubicBezTo>
                    <a:pt x="112" y="55"/>
                    <a:pt x="113" y="58"/>
                    <a:pt x="113" y="61"/>
                  </a:cubicBezTo>
                  <a:cubicBezTo>
                    <a:pt x="113" y="66"/>
                    <a:pt x="108" y="71"/>
                    <a:pt x="102" y="71"/>
                  </a:cubicBezTo>
                  <a:cubicBezTo>
                    <a:pt x="97" y="71"/>
                    <a:pt x="92" y="66"/>
                    <a:pt x="92" y="61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91" y="61"/>
                    <a:pt x="87" y="64"/>
                    <a:pt x="87" y="64"/>
                  </a:cubicBezTo>
                  <a:cubicBezTo>
                    <a:pt x="88" y="71"/>
                    <a:pt x="95" y="77"/>
                    <a:pt x="102" y="77"/>
                  </a:cubicBezTo>
                  <a:cubicBezTo>
                    <a:pt x="111" y="77"/>
                    <a:pt x="118" y="69"/>
                    <a:pt x="118" y="61"/>
                  </a:cubicBezTo>
                  <a:cubicBezTo>
                    <a:pt x="118" y="58"/>
                    <a:pt x="118" y="56"/>
                    <a:pt x="117" y="54"/>
                  </a:cubicBezTo>
                  <a:cubicBezTo>
                    <a:pt x="117" y="54"/>
                    <a:pt x="113" y="53"/>
                    <a:pt x="111" y="53"/>
                  </a:cubicBezTo>
                  <a:close/>
                  <a:moveTo>
                    <a:pt x="109" y="61"/>
                  </a:moveTo>
                  <a:cubicBezTo>
                    <a:pt x="109" y="64"/>
                    <a:pt x="106" y="67"/>
                    <a:pt x="102" y="67"/>
                  </a:cubicBezTo>
                  <a:cubicBezTo>
                    <a:pt x="99" y="67"/>
                    <a:pt x="96" y="64"/>
                    <a:pt x="96" y="61"/>
                  </a:cubicBezTo>
                  <a:cubicBezTo>
                    <a:pt x="96" y="59"/>
                    <a:pt x="96" y="58"/>
                    <a:pt x="97" y="57"/>
                  </a:cubicBezTo>
                  <a:cubicBezTo>
                    <a:pt x="96" y="58"/>
                    <a:pt x="95" y="58"/>
                    <a:pt x="95" y="58"/>
                  </a:cubicBezTo>
                  <a:cubicBezTo>
                    <a:pt x="94" y="59"/>
                    <a:pt x="94" y="60"/>
                    <a:pt x="94" y="61"/>
                  </a:cubicBezTo>
                  <a:cubicBezTo>
                    <a:pt x="94" y="65"/>
                    <a:pt x="98" y="69"/>
                    <a:pt x="102" y="69"/>
                  </a:cubicBezTo>
                  <a:cubicBezTo>
                    <a:pt x="107" y="69"/>
                    <a:pt x="110" y="65"/>
                    <a:pt x="110" y="61"/>
                  </a:cubicBezTo>
                  <a:cubicBezTo>
                    <a:pt x="110" y="58"/>
                    <a:pt x="109" y="55"/>
                    <a:pt x="106" y="54"/>
                  </a:cubicBezTo>
                  <a:cubicBezTo>
                    <a:pt x="106" y="54"/>
                    <a:pt x="105" y="54"/>
                    <a:pt x="104" y="54"/>
                  </a:cubicBezTo>
                  <a:cubicBezTo>
                    <a:pt x="107" y="55"/>
                    <a:pt x="109" y="58"/>
                    <a:pt x="109" y="61"/>
                  </a:cubicBezTo>
                  <a:close/>
                  <a:moveTo>
                    <a:pt x="117" y="51"/>
                  </a:moveTo>
                  <a:cubicBezTo>
                    <a:pt x="117" y="51"/>
                    <a:pt x="117" y="51"/>
                    <a:pt x="117" y="51"/>
                  </a:cubicBezTo>
                  <a:cubicBezTo>
                    <a:pt x="117" y="51"/>
                    <a:pt x="117" y="51"/>
                    <a:pt x="117" y="51"/>
                  </a:cubicBezTo>
                  <a:cubicBezTo>
                    <a:pt x="115" y="51"/>
                    <a:pt x="113" y="50"/>
                    <a:pt x="111" y="50"/>
                  </a:cubicBezTo>
                  <a:cubicBezTo>
                    <a:pt x="107" y="50"/>
                    <a:pt x="102" y="52"/>
                    <a:pt x="97" y="54"/>
                  </a:cubicBezTo>
                  <a:cubicBezTo>
                    <a:pt x="93" y="56"/>
                    <a:pt x="89" y="58"/>
                    <a:pt x="86" y="61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61"/>
                    <a:pt x="86" y="61"/>
                    <a:pt x="85" y="61"/>
                  </a:cubicBezTo>
                  <a:cubicBezTo>
                    <a:pt x="83" y="63"/>
                    <a:pt x="81" y="64"/>
                    <a:pt x="80" y="64"/>
                  </a:cubicBezTo>
                  <a:cubicBezTo>
                    <a:pt x="80" y="64"/>
                    <a:pt x="80" y="64"/>
                    <a:pt x="80" y="64"/>
                  </a:cubicBezTo>
                  <a:cubicBezTo>
                    <a:pt x="79" y="64"/>
                    <a:pt x="79" y="64"/>
                    <a:pt x="79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3"/>
                    <a:pt x="79" y="62"/>
                    <a:pt x="79" y="62"/>
                  </a:cubicBezTo>
                  <a:cubicBezTo>
                    <a:pt x="80" y="60"/>
                    <a:pt x="80" y="58"/>
                    <a:pt x="82" y="56"/>
                  </a:cubicBezTo>
                  <a:cubicBezTo>
                    <a:pt x="86" y="48"/>
                    <a:pt x="93" y="42"/>
                    <a:pt x="99" y="41"/>
                  </a:cubicBezTo>
                  <a:cubicBezTo>
                    <a:pt x="101" y="41"/>
                    <a:pt x="102" y="41"/>
                    <a:pt x="103" y="41"/>
                  </a:cubicBezTo>
                  <a:cubicBezTo>
                    <a:pt x="103" y="41"/>
                    <a:pt x="104" y="41"/>
                    <a:pt x="104" y="41"/>
                  </a:cubicBezTo>
                  <a:cubicBezTo>
                    <a:pt x="109" y="41"/>
                    <a:pt x="115" y="44"/>
                    <a:pt x="117" y="49"/>
                  </a:cubicBezTo>
                  <a:cubicBezTo>
                    <a:pt x="117" y="49"/>
                    <a:pt x="117" y="49"/>
                    <a:pt x="117" y="49"/>
                  </a:cubicBezTo>
                  <a:cubicBezTo>
                    <a:pt x="118" y="49"/>
                    <a:pt x="118" y="50"/>
                    <a:pt x="118" y="51"/>
                  </a:cubicBezTo>
                  <a:cubicBezTo>
                    <a:pt x="118" y="51"/>
                    <a:pt x="118" y="51"/>
                    <a:pt x="117" y="51"/>
                  </a:cubicBezTo>
                  <a:close/>
                  <a:moveTo>
                    <a:pt x="92" y="36"/>
                  </a:moveTo>
                  <a:cubicBezTo>
                    <a:pt x="92" y="36"/>
                    <a:pt x="92" y="36"/>
                    <a:pt x="92" y="36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6" y="11"/>
                    <a:pt x="76" y="11"/>
                    <a:pt x="75" y="11"/>
                  </a:cubicBezTo>
                  <a:cubicBezTo>
                    <a:pt x="74" y="11"/>
                    <a:pt x="74" y="12"/>
                    <a:pt x="74" y="12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3" y="32"/>
                    <a:pt x="84" y="34"/>
                    <a:pt x="84" y="35"/>
                  </a:cubicBezTo>
                  <a:cubicBezTo>
                    <a:pt x="84" y="37"/>
                    <a:pt x="83" y="39"/>
                    <a:pt x="82" y="40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2" y="55"/>
                    <a:pt x="71" y="56"/>
                    <a:pt x="70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2" y="55"/>
                    <a:pt x="47" y="50"/>
                    <a:pt x="47" y="44"/>
                  </a:cubicBezTo>
                  <a:cubicBezTo>
                    <a:pt x="47" y="38"/>
                    <a:pt x="51" y="34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7" y="32"/>
                    <a:pt x="57" y="31"/>
                    <a:pt x="57" y="31"/>
                  </a:cubicBezTo>
                  <a:cubicBezTo>
                    <a:pt x="57" y="30"/>
                    <a:pt x="56" y="29"/>
                    <a:pt x="55" y="29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0" y="29"/>
                    <a:pt x="28" y="29"/>
                    <a:pt x="27" y="30"/>
                  </a:cubicBezTo>
                  <a:cubicBezTo>
                    <a:pt x="26" y="30"/>
                    <a:pt x="25" y="30"/>
                    <a:pt x="25" y="30"/>
                  </a:cubicBezTo>
                  <a:cubicBezTo>
                    <a:pt x="21" y="31"/>
                    <a:pt x="18" y="33"/>
                    <a:pt x="14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8" y="36"/>
                    <a:pt x="8" y="37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8"/>
                    <a:pt x="5" y="39"/>
                    <a:pt x="5" y="39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6" y="43"/>
                    <a:pt x="6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4" y="48"/>
                    <a:pt x="1" y="54"/>
                    <a:pt x="0" y="59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1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7" y="70"/>
                    <a:pt x="14" y="77"/>
                    <a:pt x="22" y="77"/>
                  </a:cubicBezTo>
                  <a:cubicBezTo>
                    <a:pt x="31" y="77"/>
                    <a:pt x="37" y="70"/>
                    <a:pt x="38" y="62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4" y="62"/>
                    <a:pt x="75" y="62"/>
                    <a:pt x="75" y="61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8" y="56"/>
                    <a:pt x="80" y="52"/>
                  </a:cubicBezTo>
                  <a:cubicBezTo>
                    <a:pt x="82" y="49"/>
                    <a:pt x="85" y="46"/>
                    <a:pt x="85" y="46"/>
                  </a:cubicBezTo>
                  <a:cubicBezTo>
                    <a:pt x="87" y="44"/>
                    <a:pt x="89" y="42"/>
                    <a:pt x="91" y="41"/>
                  </a:cubicBezTo>
                  <a:cubicBezTo>
                    <a:pt x="91" y="41"/>
                    <a:pt x="91" y="41"/>
                    <a:pt x="91" y="41"/>
                  </a:cubicBezTo>
                  <a:cubicBezTo>
                    <a:pt x="92" y="40"/>
                    <a:pt x="92" y="39"/>
                    <a:pt x="93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3" y="37"/>
                    <a:pt x="93" y="37"/>
                    <a:pt x="92" y="36"/>
                  </a:cubicBezTo>
                  <a:close/>
                  <a:moveTo>
                    <a:pt x="29" y="62"/>
                  </a:moveTo>
                  <a:cubicBezTo>
                    <a:pt x="28" y="65"/>
                    <a:pt x="25" y="67"/>
                    <a:pt x="22" y="67"/>
                  </a:cubicBezTo>
                  <a:cubicBezTo>
                    <a:pt x="19" y="67"/>
                    <a:pt x="17" y="65"/>
                    <a:pt x="16" y="62"/>
                  </a:cubicBezTo>
                  <a:lnTo>
                    <a:pt x="29" y="62"/>
                  </a:lnTo>
                  <a:close/>
                  <a:moveTo>
                    <a:pt x="22" y="71"/>
                  </a:moveTo>
                  <a:cubicBezTo>
                    <a:pt x="17" y="71"/>
                    <a:pt x="13" y="67"/>
                    <a:pt x="12" y="62"/>
                  </a:cubicBezTo>
                  <a:cubicBezTo>
                    <a:pt x="15" y="62"/>
                    <a:pt x="15" y="62"/>
                    <a:pt x="15" y="62"/>
                  </a:cubicBezTo>
                  <a:cubicBezTo>
                    <a:pt x="15" y="66"/>
                    <a:pt x="19" y="69"/>
                    <a:pt x="22" y="69"/>
                  </a:cubicBezTo>
                  <a:cubicBezTo>
                    <a:pt x="26" y="69"/>
                    <a:pt x="29" y="66"/>
                    <a:pt x="30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2" y="67"/>
                    <a:pt x="27" y="71"/>
                    <a:pt x="22" y="71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8" name="Freeform 42"/>
            <p:cNvSpPr>
              <a:spLocks noChangeAspect="1"/>
            </p:cNvSpPr>
            <p:nvPr/>
          </p:nvSpPr>
          <p:spPr bwMode="gray">
            <a:xfrm>
              <a:off x="7926287" y="3949704"/>
              <a:ext cx="345600" cy="339860"/>
            </a:xfrm>
            <a:custGeom>
              <a:avLst/>
              <a:gdLst/>
              <a:ahLst/>
              <a:cxnLst>
                <a:cxn ang="0">
                  <a:pos x="118" y="58"/>
                </a:cxn>
                <a:cxn ang="0">
                  <a:pos x="118" y="58"/>
                </a:cxn>
                <a:cxn ang="0">
                  <a:pos x="118" y="58"/>
                </a:cxn>
                <a:cxn ang="0">
                  <a:pos x="118" y="58"/>
                </a:cxn>
                <a:cxn ang="0">
                  <a:pos x="110" y="54"/>
                </a:cxn>
                <a:cxn ang="0">
                  <a:pos x="85" y="52"/>
                </a:cxn>
                <a:cxn ang="0">
                  <a:pos x="78" y="42"/>
                </a:cxn>
                <a:cxn ang="0">
                  <a:pos x="81" y="39"/>
                </a:cxn>
                <a:cxn ang="0">
                  <a:pos x="78" y="36"/>
                </a:cxn>
                <a:cxn ang="0">
                  <a:pos x="77" y="36"/>
                </a:cxn>
                <a:cxn ang="0">
                  <a:pos x="77" y="36"/>
                </a:cxn>
                <a:cxn ang="0">
                  <a:pos x="73" y="36"/>
                </a:cxn>
                <a:cxn ang="0">
                  <a:pos x="65" y="25"/>
                </a:cxn>
                <a:cxn ang="0">
                  <a:pos x="65" y="25"/>
                </a:cxn>
                <a:cxn ang="0">
                  <a:pos x="69" y="22"/>
                </a:cxn>
                <a:cxn ang="0">
                  <a:pos x="65" y="18"/>
                </a:cxn>
                <a:cxn ang="0">
                  <a:pos x="65" y="18"/>
                </a:cxn>
                <a:cxn ang="0">
                  <a:pos x="60" y="18"/>
                </a:cxn>
                <a:cxn ang="0">
                  <a:pos x="56" y="13"/>
                </a:cxn>
                <a:cxn ang="0">
                  <a:pos x="49" y="4"/>
                </a:cxn>
                <a:cxn ang="0">
                  <a:pos x="43" y="0"/>
                </a:cxn>
                <a:cxn ang="0">
                  <a:pos x="37" y="0"/>
                </a:cxn>
                <a:cxn ang="0">
                  <a:pos x="48" y="25"/>
                </a:cxn>
                <a:cxn ang="0">
                  <a:pos x="52" y="36"/>
                </a:cxn>
                <a:cxn ang="0">
                  <a:pos x="55" y="47"/>
                </a:cxn>
                <a:cxn ang="0">
                  <a:pos x="45" y="53"/>
                </a:cxn>
                <a:cxn ang="0">
                  <a:pos x="20" y="54"/>
                </a:cxn>
                <a:cxn ang="0">
                  <a:pos x="8" y="38"/>
                </a:cxn>
                <a:cxn ang="0">
                  <a:pos x="0" y="37"/>
                </a:cxn>
                <a:cxn ang="0">
                  <a:pos x="5" y="56"/>
                </a:cxn>
                <a:cxn ang="0">
                  <a:pos x="5" y="56"/>
                </a:cxn>
                <a:cxn ang="0">
                  <a:pos x="2" y="58"/>
                </a:cxn>
                <a:cxn ang="0">
                  <a:pos x="5" y="61"/>
                </a:cxn>
                <a:cxn ang="0">
                  <a:pos x="5" y="61"/>
                </a:cxn>
                <a:cxn ang="0">
                  <a:pos x="0" y="79"/>
                </a:cxn>
                <a:cxn ang="0">
                  <a:pos x="8" y="78"/>
                </a:cxn>
                <a:cxn ang="0">
                  <a:pos x="20" y="62"/>
                </a:cxn>
                <a:cxn ang="0">
                  <a:pos x="45" y="63"/>
                </a:cxn>
                <a:cxn ang="0">
                  <a:pos x="55" y="69"/>
                </a:cxn>
                <a:cxn ang="0">
                  <a:pos x="52" y="81"/>
                </a:cxn>
                <a:cxn ang="0">
                  <a:pos x="48" y="91"/>
                </a:cxn>
                <a:cxn ang="0">
                  <a:pos x="37" y="116"/>
                </a:cxn>
                <a:cxn ang="0">
                  <a:pos x="43" y="116"/>
                </a:cxn>
                <a:cxn ang="0">
                  <a:pos x="49" y="112"/>
                </a:cxn>
                <a:cxn ang="0">
                  <a:pos x="56" y="103"/>
                </a:cxn>
                <a:cxn ang="0">
                  <a:pos x="60" y="98"/>
                </a:cxn>
                <a:cxn ang="0">
                  <a:pos x="65" y="98"/>
                </a:cxn>
                <a:cxn ang="0">
                  <a:pos x="65" y="98"/>
                </a:cxn>
                <a:cxn ang="0">
                  <a:pos x="69" y="95"/>
                </a:cxn>
                <a:cxn ang="0">
                  <a:pos x="65" y="91"/>
                </a:cxn>
                <a:cxn ang="0">
                  <a:pos x="65" y="91"/>
                </a:cxn>
                <a:cxn ang="0">
                  <a:pos x="73" y="81"/>
                </a:cxn>
                <a:cxn ang="0">
                  <a:pos x="78" y="81"/>
                </a:cxn>
                <a:cxn ang="0">
                  <a:pos x="78" y="81"/>
                </a:cxn>
                <a:cxn ang="0">
                  <a:pos x="81" y="77"/>
                </a:cxn>
                <a:cxn ang="0">
                  <a:pos x="78" y="74"/>
                </a:cxn>
                <a:cxn ang="0">
                  <a:pos x="85" y="65"/>
                </a:cxn>
                <a:cxn ang="0">
                  <a:pos x="110" y="62"/>
                </a:cxn>
                <a:cxn ang="0">
                  <a:pos x="118" y="58"/>
                </a:cxn>
              </a:cxnLst>
              <a:rect l="0" t="0" r="r" b="b"/>
              <a:pathLst>
                <a:path w="118" h="116">
                  <a:moveTo>
                    <a:pt x="118" y="58"/>
                  </a:moveTo>
                  <a:cubicBezTo>
                    <a:pt x="118" y="58"/>
                    <a:pt x="118" y="58"/>
                    <a:pt x="118" y="58"/>
                  </a:cubicBezTo>
                  <a:cubicBezTo>
                    <a:pt x="118" y="58"/>
                    <a:pt x="118" y="58"/>
                    <a:pt x="118" y="58"/>
                  </a:cubicBezTo>
                  <a:cubicBezTo>
                    <a:pt x="118" y="58"/>
                    <a:pt x="118" y="58"/>
                    <a:pt x="118" y="58"/>
                  </a:cubicBezTo>
                  <a:cubicBezTo>
                    <a:pt x="118" y="56"/>
                    <a:pt x="115" y="55"/>
                    <a:pt x="110" y="54"/>
                  </a:cubicBezTo>
                  <a:cubicBezTo>
                    <a:pt x="105" y="53"/>
                    <a:pt x="97" y="52"/>
                    <a:pt x="85" y="52"/>
                  </a:cubicBezTo>
                  <a:cubicBezTo>
                    <a:pt x="83" y="49"/>
                    <a:pt x="81" y="46"/>
                    <a:pt x="78" y="42"/>
                  </a:cubicBezTo>
                  <a:cubicBezTo>
                    <a:pt x="80" y="42"/>
                    <a:pt x="81" y="41"/>
                    <a:pt x="81" y="39"/>
                  </a:cubicBezTo>
                  <a:cubicBezTo>
                    <a:pt x="81" y="37"/>
                    <a:pt x="80" y="36"/>
                    <a:pt x="78" y="36"/>
                  </a:cubicBezTo>
                  <a:cubicBezTo>
                    <a:pt x="78" y="36"/>
                    <a:pt x="78" y="36"/>
                    <a:pt x="77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7" y="25"/>
                    <a:pt x="69" y="23"/>
                    <a:pt x="69" y="22"/>
                  </a:cubicBezTo>
                  <a:cubicBezTo>
                    <a:pt x="69" y="20"/>
                    <a:pt x="67" y="18"/>
                    <a:pt x="65" y="18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4" y="10"/>
                    <a:pt x="52" y="7"/>
                    <a:pt x="49" y="4"/>
                  </a:cubicBezTo>
                  <a:cubicBezTo>
                    <a:pt x="47" y="1"/>
                    <a:pt x="45" y="0"/>
                    <a:pt x="43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0" y="7"/>
                    <a:pt x="44" y="15"/>
                    <a:pt x="48" y="25"/>
                  </a:cubicBezTo>
                  <a:cubicBezTo>
                    <a:pt x="49" y="28"/>
                    <a:pt x="51" y="32"/>
                    <a:pt x="52" y="36"/>
                  </a:cubicBezTo>
                  <a:cubicBezTo>
                    <a:pt x="54" y="40"/>
                    <a:pt x="55" y="44"/>
                    <a:pt x="55" y="47"/>
                  </a:cubicBezTo>
                  <a:cubicBezTo>
                    <a:pt x="55" y="51"/>
                    <a:pt x="51" y="53"/>
                    <a:pt x="45" y="53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7" y="38"/>
                    <a:pt x="4" y="38"/>
                    <a:pt x="0" y="37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3" y="56"/>
                    <a:pt x="2" y="57"/>
                    <a:pt x="2" y="58"/>
                  </a:cubicBezTo>
                  <a:cubicBezTo>
                    <a:pt x="2" y="60"/>
                    <a:pt x="3" y="61"/>
                    <a:pt x="5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4" y="79"/>
                    <a:pt x="7" y="78"/>
                    <a:pt x="8" y="78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51" y="63"/>
                    <a:pt x="55" y="65"/>
                    <a:pt x="55" y="69"/>
                  </a:cubicBezTo>
                  <a:cubicBezTo>
                    <a:pt x="55" y="72"/>
                    <a:pt x="54" y="76"/>
                    <a:pt x="52" y="81"/>
                  </a:cubicBezTo>
                  <a:cubicBezTo>
                    <a:pt x="51" y="84"/>
                    <a:pt x="49" y="88"/>
                    <a:pt x="48" y="91"/>
                  </a:cubicBezTo>
                  <a:cubicBezTo>
                    <a:pt x="44" y="101"/>
                    <a:pt x="40" y="109"/>
                    <a:pt x="37" y="116"/>
                  </a:cubicBezTo>
                  <a:cubicBezTo>
                    <a:pt x="43" y="116"/>
                    <a:pt x="43" y="116"/>
                    <a:pt x="43" y="116"/>
                  </a:cubicBezTo>
                  <a:cubicBezTo>
                    <a:pt x="45" y="116"/>
                    <a:pt x="47" y="115"/>
                    <a:pt x="49" y="112"/>
                  </a:cubicBezTo>
                  <a:cubicBezTo>
                    <a:pt x="52" y="109"/>
                    <a:pt x="54" y="106"/>
                    <a:pt x="56" y="103"/>
                  </a:cubicBezTo>
                  <a:cubicBezTo>
                    <a:pt x="60" y="98"/>
                    <a:pt x="60" y="98"/>
                    <a:pt x="60" y="98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7" y="98"/>
                    <a:pt x="69" y="97"/>
                    <a:pt x="69" y="95"/>
                  </a:cubicBezTo>
                  <a:cubicBezTo>
                    <a:pt x="69" y="93"/>
                    <a:pt x="67" y="91"/>
                    <a:pt x="65" y="91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73" y="81"/>
                    <a:pt x="73" y="81"/>
                    <a:pt x="73" y="81"/>
                  </a:cubicBezTo>
                  <a:cubicBezTo>
                    <a:pt x="78" y="81"/>
                    <a:pt x="78" y="81"/>
                    <a:pt x="78" y="81"/>
                  </a:cubicBezTo>
                  <a:cubicBezTo>
                    <a:pt x="78" y="81"/>
                    <a:pt x="78" y="81"/>
                    <a:pt x="78" y="81"/>
                  </a:cubicBezTo>
                  <a:cubicBezTo>
                    <a:pt x="80" y="80"/>
                    <a:pt x="81" y="79"/>
                    <a:pt x="81" y="77"/>
                  </a:cubicBezTo>
                  <a:cubicBezTo>
                    <a:pt x="81" y="75"/>
                    <a:pt x="80" y="74"/>
                    <a:pt x="78" y="74"/>
                  </a:cubicBezTo>
                  <a:cubicBezTo>
                    <a:pt x="81" y="70"/>
                    <a:pt x="83" y="67"/>
                    <a:pt x="85" y="65"/>
                  </a:cubicBezTo>
                  <a:cubicBezTo>
                    <a:pt x="97" y="64"/>
                    <a:pt x="105" y="64"/>
                    <a:pt x="110" y="62"/>
                  </a:cubicBezTo>
                  <a:cubicBezTo>
                    <a:pt x="115" y="61"/>
                    <a:pt x="118" y="60"/>
                    <a:pt x="118" y="58"/>
                  </a:cubicBez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9" name="Freeform 46"/>
            <p:cNvSpPr>
              <a:spLocks noChangeAspect="1" noEditPoints="1"/>
            </p:cNvSpPr>
            <p:nvPr/>
          </p:nvSpPr>
          <p:spPr bwMode="gray">
            <a:xfrm>
              <a:off x="8472847" y="4036773"/>
              <a:ext cx="241200" cy="165722"/>
            </a:xfrm>
            <a:custGeom>
              <a:avLst/>
              <a:gdLst/>
              <a:ahLst/>
              <a:cxnLst>
                <a:cxn ang="0">
                  <a:pos x="33" y="42"/>
                </a:cxn>
                <a:cxn ang="0">
                  <a:pos x="36" y="53"/>
                </a:cxn>
                <a:cxn ang="0">
                  <a:pos x="48" y="50"/>
                </a:cxn>
                <a:cxn ang="0">
                  <a:pos x="67" y="1"/>
                </a:cxn>
                <a:cxn ang="0">
                  <a:pos x="33" y="42"/>
                </a:cxn>
                <a:cxn ang="0">
                  <a:pos x="41" y="11"/>
                </a:cxn>
                <a:cxn ang="0">
                  <a:pos x="46" y="12"/>
                </a:cxn>
                <a:cxn ang="0">
                  <a:pos x="52" y="4"/>
                </a:cxn>
                <a:cxn ang="0">
                  <a:pos x="41" y="3"/>
                </a:cxn>
                <a:cxn ang="0">
                  <a:pos x="0" y="47"/>
                </a:cxn>
                <a:cxn ang="0">
                  <a:pos x="0" y="51"/>
                </a:cxn>
                <a:cxn ang="0">
                  <a:pos x="5" y="55"/>
                </a:cxn>
                <a:cxn ang="0">
                  <a:pos x="8" y="51"/>
                </a:cxn>
                <a:cxn ang="0">
                  <a:pos x="8" y="47"/>
                </a:cxn>
                <a:cxn ang="0">
                  <a:pos x="41" y="11"/>
                </a:cxn>
                <a:cxn ang="0">
                  <a:pos x="71" y="16"/>
                </a:cxn>
                <a:cxn ang="0">
                  <a:pos x="67" y="25"/>
                </a:cxn>
                <a:cxn ang="0">
                  <a:pos x="74" y="47"/>
                </a:cxn>
                <a:cxn ang="0">
                  <a:pos x="74" y="51"/>
                </a:cxn>
                <a:cxn ang="0">
                  <a:pos x="77" y="55"/>
                </a:cxn>
                <a:cxn ang="0">
                  <a:pos x="78" y="55"/>
                </a:cxn>
                <a:cxn ang="0">
                  <a:pos x="82" y="52"/>
                </a:cxn>
                <a:cxn ang="0">
                  <a:pos x="82" y="47"/>
                </a:cxn>
                <a:cxn ang="0">
                  <a:pos x="71" y="16"/>
                </a:cxn>
              </a:cxnLst>
              <a:rect l="0" t="0" r="r" b="b"/>
              <a:pathLst>
                <a:path w="82" h="56">
                  <a:moveTo>
                    <a:pt x="33" y="42"/>
                  </a:moveTo>
                  <a:cubicBezTo>
                    <a:pt x="31" y="47"/>
                    <a:pt x="32" y="51"/>
                    <a:pt x="36" y="53"/>
                  </a:cubicBezTo>
                  <a:cubicBezTo>
                    <a:pt x="40" y="56"/>
                    <a:pt x="45" y="55"/>
                    <a:pt x="48" y="50"/>
                  </a:cubicBezTo>
                  <a:cubicBezTo>
                    <a:pt x="50" y="45"/>
                    <a:pt x="68" y="2"/>
                    <a:pt x="67" y="1"/>
                  </a:cubicBezTo>
                  <a:cubicBezTo>
                    <a:pt x="65" y="0"/>
                    <a:pt x="36" y="37"/>
                    <a:pt x="33" y="42"/>
                  </a:cubicBezTo>
                  <a:close/>
                  <a:moveTo>
                    <a:pt x="41" y="11"/>
                  </a:moveTo>
                  <a:cubicBezTo>
                    <a:pt x="43" y="11"/>
                    <a:pt x="45" y="11"/>
                    <a:pt x="46" y="12"/>
                  </a:cubicBezTo>
                  <a:cubicBezTo>
                    <a:pt x="48" y="9"/>
                    <a:pt x="50" y="7"/>
                    <a:pt x="52" y="4"/>
                  </a:cubicBezTo>
                  <a:cubicBezTo>
                    <a:pt x="49" y="3"/>
                    <a:pt x="45" y="3"/>
                    <a:pt x="41" y="3"/>
                  </a:cubicBezTo>
                  <a:cubicBezTo>
                    <a:pt x="18" y="3"/>
                    <a:pt x="0" y="22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1" y="54"/>
                    <a:pt x="3" y="55"/>
                    <a:pt x="5" y="55"/>
                  </a:cubicBezTo>
                  <a:cubicBezTo>
                    <a:pt x="7" y="55"/>
                    <a:pt x="9" y="53"/>
                    <a:pt x="8" y="51"/>
                  </a:cubicBezTo>
                  <a:cubicBezTo>
                    <a:pt x="8" y="50"/>
                    <a:pt x="8" y="48"/>
                    <a:pt x="8" y="47"/>
                  </a:cubicBezTo>
                  <a:cubicBezTo>
                    <a:pt x="8" y="27"/>
                    <a:pt x="23" y="11"/>
                    <a:pt x="41" y="11"/>
                  </a:cubicBezTo>
                  <a:close/>
                  <a:moveTo>
                    <a:pt x="71" y="16"/>
                  </a:moveTo>
                  <a:cubicBezTo>
                    <a:pt x="69" y="19"/>
                    <a:pt x="68" y="22"/>
                    <a:pt x="67" y="25"/>
                  </a:cubicBezTo>
                  <a:cubicBezTo>
                    <a:pt x="71" y="31"/>
                    <a:pt x="74" y="39"/>
                    <a:pt x="74" y="47"/>
                  </a:cubicBezTo>
                  <a:cubicBezTo>
                    <a:pt x="74" y="48"/>
                    <a:pt x="74" y="50"/>
                    <a:pt x="74" y="51"/>
                  </a:cubicBezTo>
                  <a:cubicBezTo>
                    <a:pt x="73" y="53"/>
                    <a:pt x="75" y="55"/>
                    <a:pt x="77" y="55"/>
                  </a:cubicBezTo>
                  <a:cubicBezTo>
                    <a:pt x="77" y="55"/>
                    <a:pt x="78" y="55"/>
                    <a:pt x="78" y="55"/>
                  </a:cubicBezTo>
                  <a:cubicBezTo>
                    <a:pt x="80" y="55"/>
                    <a:pt x="82" y="54"/>
                    <a:pt x="82" y="52"/>
                  </a:cubicBezTo>
                  <a:cubicBezTo>
                    <a:pt x="82" y="50"/>
                    <a:pt x="82" y="49"/>
                    <a:pt x="82" y="47"/>
                  </a:cubicBezTo>
                  <a:cubicBezTo>
                    <a:pt x="82" y="35"/>
                    <a:pt x="78" y="24"/>
                    <a:pt x="71" y="16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0" name="Freeform 50"/>
            <p:cNvSpPr>
              <a:spLocks noChangeAspect="1"/>
            </p:cNvSpPr>
            <p:nvPr/>
          </p:nvSpPr>
          <p:spPr bwMode="gray">
            <a:xfrm>
              <a:off x="441309" y="4042261"/>
              <a:ext cx="237600" cy="154763"/>
            </a:xfrm>
            <a:custGeom>
              <a:avLst/>
              <a:gdLst/>
              <a:ahLst/>
              <a:cxnLst>
                <a:cxn ang="0">
                  <a:pos x="62" y="15"/>
                </a:cxn>
                <a:cxn ang="0">
                  <a:pos x="59" y="15"/>
                </a:cxn>
                <a:cxn ang="0">
                  <a:pos x="38" y="0"/>
                </a:cxn>
                <a:cxn ang="0">
                  <a:pos x="16" y="21"/>
                </a:cxn>
                <a:cxn ang="0">
                  <a:pos x="16" y="24"/>
                </a:cxn>
                <a:cxn ang="0">
                  <a:pos x="14" y="24"/>
                </a:cxn>
                <a:cxn ang="0">
                  <a:pos x="0" y="38"/>
                </a:cxn>
                <a:cxn ang="0">
                  <a:pos x="14" y="53"/>
                </a:cxn>
                <a:cxn ang="0">
                  <a:pos x="62" y="53"/>
                </a:cxn>
                <a:cxn ang="0">
                  <a:pos x="82" y="34"/>
                </a:cxn>
                <a:cxn ang="0">
                  <a:pos x="62" y="15"/>
                </a:cxn>
              </a:cxnLst>
              <a:rect l="0" t="0" r="r" b="b"/>
              <a:pathLst>
                <a:path w="82" h="53">
                  <a:moveTo>
                    <a:pt x="62" y="15"/>
                  </a:moveTo>
                  <a:cubicBezTo>
                    <a:pt x="61" y="15"/>
                    <a:pt x="60" y="15"/>
                    <a:pt x="59" y="15"/>
                  </a:cubicBezTo>
                  <a:cubicBezTo>
                    <a:pt x="56" y="6"/>
                    <a:pt x="48" y="0"/>
                    <a:pt x="38" y="0"/>
                  </a:cubicBezTo>
                  <a:cubicBezTo>
                    <a:pt x="26" y="0"/>
                    <a:pt x="16" y="9"/>
                    <a:pt x="16" y="21"/>
                  </a:cubicBezTo>
                  <a:cubicBezTo>
                    <a:pt x="16" y="22"/>
                    <a:pt x="16" y="23"/>
                    <a:pt x="16" y="24"/>
                  </a:cubicBezTo>
                  <a:cubicBezTo>
                    <a:pt x="16" y="24"/>
                    <a:pt x="15" y="24"/>
                    <a:pt x="14" y="24"/>
                  </a:cubicBezTo>
                  <a:cubicBezTo>
                    <a:pt x="6" y="24"/>
                    <a:pt x="0" y="30"/>
                    <a:pt x="0" y="38"/>
                  </a:cubicBezTo>
                  <a:cubicBezTo>
                    <a:pt x="0" y="46"/>
                    <a:pt x="6" y="53"/>
                    <a:pt x="14" y="53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73" y="53"/>
                    <a:pt x="82" y="44"/>
                    <a:pt x="82" y="34"/>
                  </a:cubicBezTo>
                  <a:cubicBezTo>
                    <a:pt x="82" y="23"/>
                    <a:pt x="73" y="15"/>
                    <a:pt x="62" y="15"/>
                  </a:cubicBez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1" name="Freeform 54"/>
            <p:cNvSpPr>
              <a:spLocks noChangeAspect="1"/>
            </p:cNvSpPr>
            <p:nvPr/>
          </p:nvSpPr>
          <p:spPr bwMode="gray">
            <a:xfrm>
              <a:off x="955833" y="4041320"/>
              <a:ext cx="237600" cy="156628"/>
            </a:xfrm>
            <a:custGeom>
              <a:avLst/>
              <a:gdLst/>
              <a:ahLst/>
              <a:cxnLst>
                <a:cxn ang="0">
                  <a:pos x="62" y="14"/>
                </a:cxn>
                <a:cxn ang="0">
                  <a:pos x="58" y="15"/>
                </a:cxn>
                <a:cxn ang="0">
                  <a:pos x="38" y="0"/>
                </a:cxn>
                <a:cxn ang="0">
                  <a:pos x="16" y="21"/>
                </a:cxn>
                <a:cxn ang="0">
                  <a:pos x="16" y="24"/>
                </a:cxn>
                <a:cxn ang="0">
                  <a:pos x="14" y="24"/>
                </a:cxn>
                <a:cxn ang="0">
                  <a:pos x="0" y="38"/>
                </a:cxn>
                <a:cxn ang="0">
                  <a:pos x="14" y="53"/>
                </a:cxn>
                <a:cxn ang="0">
                  <a:pos x="35" y="53"/>
                </a:cxn>
                <a:cxn ang="0">
                  <a:pos x="35" y="37"/>
                </a:cxn>
                <a:cxn ang="0">
                  <a:pos x="26" y="37"/>
                </a:cxn>
                <a:cxn ang="0">
                  <a:pos x="40" y="18"/>
                </a:cxn>
                <a:cxn ang="0">
                  <a:pos x="55" y="37"/>
                </a:cxn>
                <a:cxn ang="0">
                  <a:pos x="46" y="37"/>
                </a:cxn>
                <a:cxn ang="0">
                  <a:pos x="46" y="53"/>
                </a:cxn>
                <a:cxn ang="0">
                  <a:pos x="62" y="53"/>
                </a:cxn>
                <a:cxn ang="0">
                  <a:pos x="81" y="34"/>
                </a:cxn>
                <a:cxn ang="0">
                  <a:pos x="62" y="14"/>
                </a:cxn>
              </a:cxnLst>
              <a:rect l="0" t="0" r="r" b="b"/>
              <a:pathLst>
                <a:path w="81" h="53">
                  <a:moveTo>
                    <a:pt x="62" y="14"/>
                  </a:moveTo>
                  <a:cubicBezTo>
                    <a:pt x="61" y="14"/>
                    <a:pt x="60" y="15"/>
                    <a:pt x="58" y="15"/>
                  </a:cubicBezTo>
                  <a:cubicBezTo>
                    <a:pt x="56" y="6"/>
                    <a:pt x="47" y="0"/>
                    <a:pt x="38" y="0"/>
                  </a:cubicBezTo>
                  <a:cubicBezTo>
                    <a:pt x="26" y="0"/>
                    <a:pt x="16" y="9"/>
                    <a:pt x="16" y="21"/>
                  </a:cubicBezTo>
                  <a:cubicBezTo>
                    <a:pt x="16" y="22"/>
                    <a:pt x="16" y="23"/>
                    <a:pt x="16" y="24"/>
                  </a:cubicBezTo>
                  <a:cubicBezTo>
                    <a:pt x="16" y="24"/>
                    <a:pt x="15" y="24"/>
                    <a:pt x="14" y="24"/>
                  </a:cubicBezTo>
                  <a:cubicBezTo>
                    <a:pt x="6" y="24"/>
                    <a:pt x="0" y="30"/>
                    <a:pt x="0" y="38"/>
                  </a:cubicBezTo>
                  <a:cubicBezTo>
                    <a:pt x="0" y="46"/>
                    <a:pt x="6" y="53"/>
                    <a:pt x="14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37"/>
                    <a:pt x="35" y="37"/>
                    <a:pt x="35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73" y="53"/>
                    <a:pt x="81" y="44"/>
                    <a:pt x="81" y="34"/>
                  </a:cubicBezTo>
                  <a:cubicBezTo>
                    <a:pt x="81" y="23"/>
                    <a:pt x="73" y="14"/>
                    <a:pt x="62" y="14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2" name="Freeform 58"/>
            <p:cNvSpPr>
              <a:spLocks noChangeAspect="1" noEditPoints="1"/>
            </p:cNvSpPr>
            <p:nvPr/>
          </p:nvSpPr>
          <p:spPr bwMode="gray">
            <a:xfrm>
              <a:off x="1451382" y="4016476"/>
              <a:ext cx="241200" cy="206333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20" y="20"/>
                </a:cxn>
                <a:cxn ang="0">
                  <a:pos x="33" y="20"/>
                </a:cxn>
                <a:cxn ang="0">
                  <a:pos x="33" y="41"/>
                </a:cxn>
                <a:cxn ang="0">
                  <a:pos x="49" y="41"/>
                </a:cxn>
                <a:cxn ang="0">
                  <a:pos x="49" y="20"/>
                </a:cxn>
                <a:cxn ang="0">
                  <a:pos x="62" y="20"/>
                </a:cxn>
                <a:cxn ang="0">
                  <a:pos x="41" y="0"/>
                </a:cxn>
                <a:cxn ang="0">
                  <a:pos x="79" y="48"/>
                </a:cxn>
                <a:cxn ang="0">
                  <a:pos x="66" y="39"/>
                </a:cxn>
                <a:cxn ang="0">
                  <a:pos x="58" y="39"/>
                </a:cxn>
                <a:cxn ang="0">
                  <a:pos x="72" y="49"/>
                </a:cxn>
                <a:cxn ang="0">
                  <a:pos x="58" y="49"/>
                </a:cxn>
                <a:cxn ang="0">
                  <a:pos x="57" y="50"/>
                </a:cxn>
                <a:cxn ang="0">
                  <a:pos x="53" y="59"/>
                </a:cxn>
                <a:cxn ang="0">
                  <a:pos x="29" y="59"/>
                </a:cxn>
                <a:cxn ang="0">
                  <a:pos x="25" y="50"/>
                </a:cxn>
                <a:cxn ang="0">
                  <a:pos x="24" y="49"/>
                </a:cxn>
                <a:cxn ang="0">
                  <a:pos x="10" y="49"/>
                </a:cxn>
                <a:cxn ang="0">
                  <a:pos x="24" y="39"/>
                </a:cxn>
                <a:cxn ang="0">
                  <a:pos x="16" y="39"/>
                </a:cxn>
                <a:cxn ang="0">
                  <a:pos x="3" y="48"/>
                </a:cxn>
                <a:cxn ang="0">
                  <a:pos x="0" y="54"/>
                </a:cxn>
                <a:cxn ang="0">
                  <a:pos x="2" y="66"/>
                </a:cxn>
                <a:cxn ang="0">
                  <a:pos x="8" y="70"/>
                </a:cxn>
                <a:cxn ang="0">
                  <a:pos x="74" y="70"/>
                </a:cxn>
                <a:cxn ang="0">
                  <a:pos x="80" y="66"/>
                </a:cxn>
                <a:cxn ang="0">
                  <a:pos x="82" y="54"/>
                </a:cxn>
                <a:cxn ang="0">
                  <a:pos x="79" y="48"/>
                </a:cxn>
              </a:cxnLst>
              <a:rect l="0" t="0" r="r" b="b"/>
              <a:pathLst>
                <a:path w="82" h="70">
                  <a:moveTo>
                    <a:pt x="41" y="0"/>
                  </a:moveTo>
                  <a:cubicBezTo>
                    <a:pt x="20" y="20"/>
                    <a:pt x="20" y="20"/>
                    <a:pt x="20" y="2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62" y="20"/>
                    <a:pt x="62" y="20"/>
                    <a:pt x="62" y="20"/>
                  </a:cubicBezTo>
                  <a:lnTo>
                    <a:pt x="41" y="0"/>
                  </a:lnTo>
                  <a:close/>
                  <a:moveTo>
                    <a:pt x="79" y="48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7" y="49"/>
                    <a:pt x="57" y="50"/>
                    <a:pt x="57" y="50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5" y="50"/>
                    <a:pt x="25" y="49"/>
                    <a:pt x="24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1" y="49"/>
                    <a:pt x="0" y="51"/>
                    <a:pt x="0" y="54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3" y="68"/>
                    <a:pt x="5" y="70"/>
                    <a:pt x="8" y="70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77" y="70"/>
                    <a:pt x="79" y="68"/>
                    <a:pt x="80" y="66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1"/>
                    <a:pt x="81" y="49"/>
                    <a:pt x="79" y="48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3" name="Freeform 62"/>
            <p:cNvSpPr>
              <a:spLocks noChangeAspect="1" noEditPoints="1"/>
            </p:cNvSpPr>
            <p:nvPr/>
          </p:nvSpPr>
          <p:spPr bwMode="gray">
            <a:xfrm>
              <a:off x="1961804" y="4016476"/>
              <a:ext cx="241200" cy="206333"/>
            </a:xfrm>
            <a:custGeom>
              <a:avLst/>
              <a:gdLst/>
              <a:ahLst/>
              <a:cxnLst>
                <a:cxn ang="0">
                  <a:pos x="79" y="48"/>
                </a:cxn>
                <a:cxn ang="0">
                  <a:pos x="66" y="39"/>
                </a:cxn>
                <a:cxn ang="0">
                  <a:pos x="58" y="39"/>
                </a:cxn>
                <a:cxn ang="0">
                  <a:pos x="72" y="49"/>
                </a:cxn>
                <a:cxn ang="0">
                  <a:pos x="58" y="49"/>
                </a:cxn>
                <a:cxn ang="0">
                  <a:pos x="57" y="50"/>
                </a:cxn>
                <a:cxn ang="0">
                  <a:pos x="53" y="59"/>
                </a:cxn>
                <a:cxn ang="0">
                  <a:pos x="29" y="59"/>
                </a:cxn>
                <a:cxn ang="0">
                  <a:pos x="25" y="50"/>
                </a:cxn>
                <a:cxn ang="0">
                  <a:pos x="24" y="49"/>
                </a:cxn>
                <a:cxn ang="0">
                  <a:pos x="10" y="49"/>
                </a:cxn>
                <a:cxn ang="0">
                  <a:pos x="24" y="39"/>
                </a:cxn>
                <a:cxn ang="0">
                  <a:pos x="16" y="39"/>
                </a:cxn>
                <a:cxn ang="0">
                  <a:pos x="3" y="48"/>
                </a:cxn>
                <a:cxn ang="0">
                  <a:pos x="0" y="54"/>
                </a:cxn>
                <a:cxn ang="0">
                  <a:pos x="2" y="66"/>
                </a:cxn>
                <a:cxn ang="0">
                  <a:pos x="8" y="70"/>
                </a:cxn>
                <a:cxn ang="0">
                  <a:pos x="74" y="70"/>
                </a:cxn>
                <a:cxn ang="0">
                  <a:pos x="79" y="66"/>
                </a:cxn>
                <a:cxn ang="0">
                  <a:pos x="82" y="54"/>
                </a:cxn>
                <a:cxn ang="0">
                  <a:pos x="79" y="48"/>
                </a:cxn>
                <a:cxn ang="0">
                  <a:pos x="62" y="21"/>
                </a:cxn>
                <a:cxn ang="0">
                  <a:pos x="49" y="21"/>
                </a:cxn>
                <a:cxn ang="0">
                  <a:pos x="49" y="0"/>
                </a:cxn>
                <a:cxn ang="0">
                  <a:pos x="33" y="0"/>
                </a:cxn>
                <a:cxn ang="0">
                  <a:pos x="33" y="21"/>
                </a:cxn>
                <a:cxn ang="0">
                  <a:pos x="20" y="21"/>
                </a:cxn>
                <a:cxn ang="0">
                  <a:pos x="41" y="41"/>
                </a:cxn>
                <a:cxn ang="0">
                  <a:pos x="62" y="21"/>
                </a:cxn>
              </a:cxnLst>
              <a:rect l="0" t="0" r="r" b="b"/>
              <a:pathLst>
                <a:path w="82" h="70">
                  <a:moveTo>
                    <a:pt x="79" y="48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7" y="49"/>
                    <a:pt x="57" y="50"/>
                    <a:pt x="57" y="50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5" y="50"/>
                    <a:pt x="25" y="49"/>
                    <a:pt x="24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1" y="49"/>
                    <a:pt x="0" y="51"/>
                    <a:pt x="0" y="54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3" y="68"/>
                    <a:pt x="5" y="70"/>
                    <a:pt x="8" y="70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77" y="70"/>
                    <a:pt x="79" y="68"/>
                    <a:pt x="79" y="66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1"/>
                    <a:pt x="81" y="49"/>
                    <a:pt x="79" y="48"/>
                  </a:cubicBezTo>
                  <a:close/>
                  <a:moveTo>
                    <a:pt x="62" y="21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41" y="41"/>
                    <a:pt x="41" y="41"/>
                    <a:pt x="41" y="41"/>
                  </a:cubicBezTo>
                  <a:lnTo>
                    <a:pt x="62" y="21"/>
                  </a:ln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4" name="Freeform 66"/>
            <p:cNvSpPr>
              <a:spLocks noChangeAspect="1" noEditPoints="1"/>
            </p:cNvSpPr>
            <p:nvPr/>
          </p:nvSpPr>
          <p:spPr bwMode="gray">
            <a:xfrm>
              <a:off x="2458049" y="4065119"/>
              <a:ext cx="241200" cy="109047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67" y="1"/>
                </a:cxn>
                <a:cxn ang="0">
                  <a:pos x="62" y="0"/>
                </a:cxn>
                <a:cxn ang="0">
                  <a:pos x="41" y="0"/>
                </a:cxn>
                <a:cxn ang="0">
                  <a:pos x="20" y="0"/>
                </a:cxn>
                <a:cxn ang="0">
                  <a:pos x="16" y="1"/>
                </a:cxn>
                <a:cxn ang="0">
                  <a:pos x="3" y="14"/>
                </a:cxn>
                <a:cxn ang="0">
                  <a:pos x="1" y="20"/>
                </a:cxn>
                <a:cxn ang="0">
                  <a:pos x="3" y="33"/>
                </a:cxn>
                <a:cxn ang="0">
                  <a:pos x="8" y="37"/>
                </a:cxn>
                <a:cxn ang="0">
                  <a:pos x="75" y="37"/>
                </a:cxn>
                <a:cxn ang="0">
                  <a:pos x="80" y="33"/>
                </a:cxn>
                <a:cxn ang="0">
                  <a:pos x="82" y="20"/>
                </a:cxn>
                <a:cxn ang="0">
                  <a:pos x="80" y="14"/>
                </a:cxn>
                <a:cxn ang="0">
                  <a:pos x="58" y="17"/>
                </a:cxn>
                <a:cxn ang="0">
                  <a:pos x="57" y="17"/>
                </a:cxn>
                <a:cxn ang="0">
                  <a:pos x="54" y="26"/>
                </a:cxn>
                <a:cxn ang="0">
                  <a:pos x="29" y="26"/>
                </a:cxn>
                <a:cxn ang="0">
                  <a:pos x="26" y="17"/>
                </a:cxn>
                <a:cxn ang="0">
                  <a:pos x="25" y="17"/>
                </a:cxn>
                <a:cxn ang="0">
                  <a:pos x="10" y="17"/>
                </a:cxn>
                <a:cxn ang="0">
                  <a:pos x="19" y="7"/>
                </a:cxn>
                <a:cxn ang="0">
                  <a:pos x="64" y="7"/>
                </a:cxn>
                <a:cxn ang="0">
                  <a:pos x="72" y="17"/>
                </a:cxn>
                <a:cxn ang="0">
                  <a:pos x="58" y="17"/>
                </a:cxn>
              </a:cxnLst>
              <a:rect l="0" t="0" r="r" b="b"/>
              <a:pathLst>
                <a:path w="83" h="37">
                  <a:moveTo>
                    <a:pt x="80" y="14"/>
                  </a:moveTo>
                  <a:cubicBezTo>
                    <a:pt x="78" y="12"/>
                    <a:pt x="70" y="5"/>
                    <a:pt x="67" y="1"/>
                  </a:cubicBezTo>
                  <a:cubicBezTo>
                    <a:pt x="66" y="0"/>
                    <a:pt x="64" y="0"/>
                    <a:pt x="62" y="0"/>
                  </a:cubicBezTo>
                  <a:cubicBezTo>
                    <a:pt x="61" y="0"/>
                    <a:pt x="41" y="0"/>
                    <a:pt x="41" y="0"/>
                  </a:cubicBezTo>
                  <a:cubicBezTo>
                    <a:pt x="41" y="0"/>
                    <a:pt x="22" y="0"/>
                    <a:pt x="20" y="0"/>
                  </a:cubicBezTo>
                  <a:cubicBezTo>
                    <a:pt x="19" y="0"/>
                    <a:pt x="17" y="0"/>
                    <a:pt x="16" y="1"/>
                  </a:cubicBezTo>
                  <a:cubicBezTo>
                    <a:pt x="12" y="5"/>
                    <a:pt x="5" y="12"/>
                    <a:pt x="3" y="14"/>
                  </a:cubicBezTo>
                  <a:cubicBezTo>
                    <a:pt x="1" y="16"/>
                    <a:pt x="0" y="18"/>
                    <a:pt x="1" y="20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5"/>
                    <a:pt x="6" y="37"/>
                    <a:pt x="8" y="37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7" y="37"/>
                    <a:pt x="79" y="35"/>
                    <a:pt x="80" y="33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3" y="18"/>
                    <a:pt x="82" y="16"/>
                    <a:pt x="80" y="14"/>
                  </a:cubicBezTo>
                  <a:close/>
                  <a:moveTo>
                    <a:pt x="58" y="17"/>
                  </a:moveTo>
                  <a:cubicBezTo>
                    <a:pt x="57" y="17"/>
                    <a:pt x="57" y="17"/>
                    <a:pt x="57" y="17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5" y="17"/>
                    <a:pt x="25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72" y="17"/>
                    <a:pt x="72" y="17"/>
                    <a:pt x="72" y="17"/>
                  </a:cubicBezTo>
                  <a:lnTo>
                    <a:pt x="58" y="17"/>
                  </a:ln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5" name="Freeform 70"/>
            <p:cNvSpPr>
              <a:spLocks noChangeAspect="1" noEditPoints="1"/>
            </p:cNvSpPr>
            <p:nvPr/>
          </p:nvSpPr>
          <p:spPr bwMode="gray">
            <a:xfrm>
              <a:off x="2966849" y="4021607"/>
              <a:ext cx="219600" cy="196071"/>
            </a:xfrm>
            <a:custGeom>
              <a:avLst/>
              <a:gdLst/>
              <a:ahLst/>
              <a:cxnLst>
                <a:cxn ang="0">
                  <a:pos x="71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13"/>
                </a:cxn>
                <a:cxn ang="0">
                  <a:pos x="74" y="13"/>
                </a:cxn>
                <a:cxn ang="0">
                  <a:pos x="74" y="3"/>
                </a:cxn>
                <a:cxn ang="0">
                  <a:pos x="71" y="0"/>
                </a:cxn>
                <a:cxn ang="0">
                  <a:pos x="4" y="60"/>
                </a:cxn>
                <a:cxn ang="0">
                  <a:pos x="10" y="66"/>
                </a:cxn>
                <a:cxn ang="0">
                  <a:pos x="64" y="66"/>
                </a:cxn>
                <a:cxn ang="0">
                  <a:pos x="70" y="60"/>
                </a:cxn>
                <a:cxn ang="0">
                  <a:pos x="70" y="17"/>
                </a:cxn>
                <a:cxn ang="0">
                  <a:pos x="4" y="17"/>
                </a:cxn>
                <a:cxn ang="0">
                  <a:pos x="4" y="60"/>
                </a:cxn>
                <a:cxn ang="0">
                  <a:pos x="25" y="25"/>
                </a:cxn>
                <a:cxn ang="0">
                  <a:pos x="49" y="25"/>
                </a:cxn>
                <a:cxn ang="0">
                  <a:pos x="49" y="33"/>
                </a:cxn>
                <a:cxn ang="0">
                  <a:pos x="25" y="33"/>
                </a:cxn>
                <a:cxn ang="0">
                  <a:pos x="25" y="25"/>
                </a:cxn>
              </a:cxnLst>
              <a:rect l="0" t="0" r="r" b="b"/>
              <a:pathLst>
                <a:path w="74" h="66">
                  <a:moveTo>
                    <a:pt x="71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4" y="1"/>
                    <a:pt x="73" y="0"/>
                    <a:pt x="71" y="0"/>
                  </a:cubicBezTo>
                  <a:close/>
                  <a:moveTo>
                    <a:pt x="4" y="60"/>
                  </a:moveTo>
                  <a:cubicBezTo>
                    <a:pt x="4" y="63"/>
                    <a:pt x="7" y="66"/>
                    <a:pt x="10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7" y="66"/>
                    <a:pt x="70" y="63"/>
                    <a:pt x="70" y="60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4" y="17"/>
                    <a:pt x="4" y="17"/>
                    <a:pt x="4" y="17"/>
                  </a:cubicBezTo>
                  <a:lnTo>
                    <a:pt x="4" y="60"/>
                  </a:lnTo>
                  <a:close/>
                  <a:moveTo>
                    <a:pt x="25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25" y="33"/>
                    <a:pt x="25" y="33"/>
                    <a:pt x="25" y="33"/>
                  </a:cubicBezTo>
                  <a:lnTo>
                    <a:pt x="25" y="25"/>
                  </a:ln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6" name="Freeform 5"/>
            <p:cNvSpPr>
              <a:spLocks noChangeAspect="1" noEditPoints="1"/>
            </p:cNvSpPr>
            <p:nvPr/>
          </p:nvSpPr>
          <p:spPr bwMode="gray">
            <a:xfrm>
              <a:off x="1491582" y="4500170"/>
              <a:ext cx="182917" cy="237600"/>
            </a:xfrm>
            <a:custGeom>
              <a:avLst/>
              <a:gdLst/>
              <a:ahLst/>
              <a:cxnLst>
                <a:cxn ang="0">
                  <a:pos x="16" y="6"/>
                </a:cxn>
                <a:cxn ang="0">
                  <a:pos x="50" y="6"/>
                </a:cxn>
                <a:cxn ang="0">
                  <a:pos x="16" y="6"/>
                </a:cxn>
                <a:cxn ang="0">
                  <a:pos x="66" y="19"/>
                </a:cxn>
                <a:cxn ang="0">
                  <a:pos x="64" y="17"/>
                </a:cxn>
                <a:cxn ang="0">
                  <a:pos x="54" y="10"/>
                </a:cxn>
                <a:cxn ang="0">
                  <a:pos x="12" y="10"/>
                </a:cxn>
                <a:cxn ang="0">
                  <a:pos x="2" y="17"/>
                </a:cxn>
                <a:cxn ang="0">
                  <a:pos x="1" y="19"/>
                </a:cxn>
                <a:cxn ang="0">
                  <a:pos x="2" y="21"/>
                </a:cxn>
                <a:cxn ang="0">
                  <a:pos x="64" y="21"/>
                </a:cxn>
                <a:cxn ang="0">
                  <a:pos x="66" y="19"/>
                </a:cxn>
                <a:cxn ang="0">
                  <a:pos x="4" y="78"/>
                </a:cxn>
                <a:cxn ang="0">
                  <a:pos x="12" y="86"/>
                </a:cxn>
                <a:cxn ang="0">
                  <a:pos x="54" y="86"/>
                </a:cxn>
                <a:cxn ang="0">
                  <a:pos x="62" y="78"/>
                </a:cxn>
                <a:cxn ang="0">
                  <a:pos x="62" y="25"/>
                </a:cxn>
                <a:cxn ang="0">
                  <a:pos x="4" y="25"/>
                </a:cxn>
                <a:cxn ang="0">
                  <a:pos x="4" y="78"/>
                </a:cxn>
                <a:cxn ang="0">
                  <a:pos x="45" y="30"/>
                </a:cxn>
                <a:cxn ang="0">
                  <a:pos x="48" y="28"/>
                </a:cxn>
                <a:cxn ang="0">
                  <a:pos x="51" y="30"/>
                </a:cxn>
                <a:cxn ang="0">
                  <a:pos x="52" y="74"/>
                </a:cxn>
                <a:cxn ang="0">
                  <a:pos x="48" y="77"/>
                </a:cxn>
                <a:cxn ang="0">
                  <a:pos x="45" y="74"/>
                </a:cxn>
                <a:cxn ang="0">
                  <a:pos x="45" y="30"/>
                </a:cxn>
                <a:cxn ang="0">
                  <a:pos x="30" y="30"/>
                </a:cxn>
                <a:cxn ang="0">
                  <a:pos x="33" y="28"/>
                </a:cxn>
                <a:cxn ang="0">
                  <a:pos x="36" y="30"/>
                </a:cxn>
                <a:cxn ang="0">
                  <a:pos x="36" y="74"/>
                </a:cxn>
                <a:cxn ang="0">
                  <a:pos x="33" y="77"/>
                </a:cxn>
                <a:cxn ang="0">
                  <a:pos x="30" y="74"/>
                </a:cxn>
                <a:cxn ang="0">
                  <a:pos x="30" y="30"/>
                </a:cxn>
                <a:cxn ang="0">
                  <a:pos x="14" y="30"/>
                </a:cxn>
                <a:cxn ang="0">
                  <a:pos x="17" y="28"/>
                </a:cxn>
                <a:cxn ang="0">
                  <a:pos x="21" y="30"/>
                </a:cxn>
                <a:cxn ang="0">
                  <a:pos x="21" y="74"/>
                </a:cxn>
                <a:cxn ang="0">
                  <a:pos x="17" y="77"/>
                </a:cxn>
                <a:cxn ang="0">
                  <a:pos x="14" y="74"/>
                </a:cxn>
                <a:cxn ang="0">
                  <a:pos x="14" y="30"/>
                </a:cxn>
              </a:cxnLst>
              <a:rect l="0" t="0" r="r" b="b"/>
              <a:pathLst>
                <a:path w="66" h="86">
                  <a:moveTo>
                    <a:pt x="16" y="6"/>
                  </a:moveTo>
                  <a:cubicBezTo>
                    <a:pt x="50" y="6"/>
                    <a:pt x="50" y="6"/>
                    <a:pt x="50" y="6"/>
                  </a:cubicBezTo>
                  <a:cubicBezTo>
                    <a:pt x="39" y="0"/>
                    <a:pt x="19" y="3"/>
                    <a:pt x="16" y="6"/>
                  </a:cubicBezTo>
                  <a:close/>
                  <a:moveTo>
                    <a:pt x="66" y="19"/>
                  </a:moveTo>
                  <a:cubicBezTo>
                    <a:pt x="64" y="17"/>
                    <a:pt x="64" y="17"/>
                    <a:pt x="64" y="17"/>
                  </a:cubicBezTo>
                  <a:cubicBezTo>
                    <a:pt x="64" y="15"/>
                    <a:pt x="62" y="10"/>
                    <a:pt x="54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4" y="10"/>
                    <a:pt x="2" y="15"/>
                    <a:pt x="2" y="17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0" y="21"/>
                    <a:pt x="2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6" y="21"/>
                    <a:pt x="66" y="19"/>
                    <a:pt x="66" y="19"/>
                  </a:cubicBezTo>
                  <a:close/>
                  <a:moveTo>
                    <a:pt x="4" y="78"/>
                  </a:moveTo>
                  <a:cubicBezTo>
                    <a:pt x="4" y="82"/>
                    <a:pt x="7" y="86"/>
                    <a:pt x="12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9" y="86"/>
                    <a:pt x="62" y="82"/>
                    <a:pt x="62" y="78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4" y="25"/>
                    <a:pt x="4" y="25"/>
                    <a:pt x="4" y="25"/>
                  </a:cubicBezTo>
                  <a:lnTo>
                    <a:pt x="4" y="78"/>
                  </a:lnTo>
                  <a:close/>
                  <a:moveTo>
                    <a:pt x="45" y="30"/>
                  </a:moveTo>
                  <a:cubicBezTo>
                    <a:pt x="45" y="29"/>
                    <a:pt x="45" y="28"/>
                    <a:pt x="48" y="28"/>
                  </a:cubicBezTo>
                  <a:cubicBezTo>
                    <a:pt x="50" y="28"/>
                    <a:pt x="51" y="28"/>
                    <a:pt x="51" y="30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5"/>
                    <a:pt x="50" y="77"/>
                    <a:pt x="48" y="77"/>
                  </a:cubicBezTo>
                  <a:cubicBezTo>
                    <a:pt x="47" y="77"/>
                    <a:pt x="45" y="75"/>
                    <a:pt x="45" y="74"/>
                  </a:cubicBezTo>
                  <a:lnTo>
                    <a:pt x="45" y="30"/>
                  </a:lnTo>
                  <a:close/>
                  <a:moveTo>
                    <a:pt x="30" y="30"/>
                  </a:moveTo>
                  <a:cubicBezTo>
                    <a:pt x="30" y="29"/>
                    <a:pt x="30" y="28"/>
                    <a:pt x="33" y="28"/>
                  </a:cubicBezTo>
                  <a:cubicBezTo>
                    <a:pt x="35" y="28"/>
                    <a:pt x="36" y="28"/>
                    <a:pt x="36" y="30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6" y="75"/>
                    <a:pt x="35" y="77"/>
                    <a:pt x="33" y="77"/>
                  </a:cubicBezTo>
                  <a:cubicBezTo>
                    <a:pt x="31" y="77"/>
                    <a:pt x="30" y="75"/>
                    <a:pt x="30" y="74"/>
                  </a:cubicBezTo>
                  <a:lnTo>
                    <a:pt x="30" y="30"/>
                  </a:lnTo>
                  <a:close/>
                  <a:moveTo>
                    <a:pt x="14" y="30"/>
                  </a:moveTo>
                  <a:cubicBezTo>
                    <a:pt x="14" y="29"/>
                    <a:pt x="14" y="28"/>
                    <a:pt x="17" y="28"/>
                  </a:cubicBezTo>
                  <a:cubicBezTo>
                    <a:pt x="19" y="28"/>
                    <a:pt x="21" y="28"/>
                    <a:pt x="21" y="30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75"/>
                    <a:pt x="19" y="77"/>
                    <a:pt x="17" y="77"/>
                  </a:cubicBezTo>
                  <a:cubicBezTo>
                    <a:pt x="16" y="77"/>
                    <a:pt x="14" y="75"/>
                    <a:pt x="14" y="74"/>
                  </a:cubicBezTo>
                  <a:lnTo>
                    <a:pt x="14" y="30"/>
                  </a:ln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7" name="Freeform 9"/>
            <p:cNvSpPr>
              <a:spLocks noChangeAspect="1" noEditPoints="1"/>
            </p:cNvSpPr>
            <p:nvPr/>
          </p:nvSpPr>
          <p:spPr bwMode="gray">
            <a:xfrm>
              <a:off x="2007000" y="4523570"/>
              <a:ext cx="159924" cy="190800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0" y="11"/>
                </a:cxn>
                <a:cxn ang="0">
                  <a:pos x="6" y="59"/>
                </a:cxn>
                <a:cxn ang="0">
                  <a:pos x="28" y="67"/>
                </a:cxn>
                <a:cxn ang="0">
                  <a:pos x="50" y="59"/>
                </a:cxn>
                <a:cxn ang="0">
                  <a:pos x="56" y="11"/>
                </a:cxn>
                <a:cxn ang="0">
                  <a:pos x="28" y="0"/>
                </a:cxn>
                <a:cxn ang="0">
                  <a:pos x="28" y="18"/>
                </a:cxn>
                <a:cxn ang="0">
                  <a:pos x="6" y="12"/>
                </a:cxn>
                <a:cxn ang="0">
                  <a:pos x="28" y="5"/>
                </a:cxn>
                <a:cxn ang="0">
                  <a:pos x="50" y="12"/>
                </a:cxn>
                <a:cxn ang="0">
                  <a:pos x="28" y="18"/>
                </a:cxn>
              </a:cxnLst>
              <a:rect l="0" t="0" r="r" b="b"/>
              <a:pathLst>
                <a:path w="56" h="67">
                  <a:moveTo>
                    <a:pt x="28" y="0"/>
                  </a:moveTo>
                  <a:cubicBezTo>
                    <a:pt x="10" y="0"/>
                    <a:pt x="0" y="6"/>
                    <a:pt x="0" y="11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61"/>
                    <a:pt x="15" y="67"/>
                    <a:pt x="28" y="67"/>
                  </a:cubicBezTo>
                  <a:cubicBezTo>
                    <a:pt x="41" y="67"/>
                    <a:pt x="50" y="61"/>
                    <a:pt x="50" y="59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56" y="6"/>
                    <a:pt x="45" y="0"/>
                    <a:pt x="28" y="0"/>
                  </a:cubicBezTo>
                  <a:close/>
                  <a:moveTo>
                    <a:pt x="28" y="18"/>
                  </a:moveTo>
                  <a:cubicBezTo>
                    <a:pt x="15" y="18"/>
                    <a:pt x="6" y="13"/>
                    <a:pt x="6" y="12"/>
                  </a:cubicBezTo>
                  <a:cubicBezTo>
                    <a:pt x="6" y="10"/>
                    <a:pt x="15" y="5"/>
                    <a:pt x="28" y="5"/>
                  </a:cubicBezTo>
                  <a:cubicBezTo>
                    <a:pt x="41" y="5"/>
                    <a:pt x="50" y="10"/>
                    <a:pt x="50" y="12"/>
                  </a:cubicBezTo>
                  <a:cubicBezTo>
                    <a:pt x="50" y="13"/>
                    <a:pt x="41" y="18"/>
                    <a:pt x="28" y="18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8" name="Freeform 13"/>
            <p:cNvSpPr>
              <a:spLocks noChangeAspect="1" noEditPoints="1"/>
            </p:cNvSpPr>
            <p:nvPr/>
          </p:nvSpPr>
          <p:spPr bwMode="gray">
            <a:xfrm>
              <a:off x="2500660" y="4505570"/>
              <a:ext cx="165161" cy="226800"/>
            </a:xfrm>
            <a:custGeom>
              <a:avLst/>
              <a:gdLst/>
              <a:ahLst/>
              <a:cxnLst>
                <a:cxn ang="0">
                  <a:pos x="40" y="69"/>
                </a:cxn>
                <a:cxn ang="0">
                  <a:pos x="40" y="79"/>
                </a:cxn>
                <a:cxn ang="0">
                  <a:pos x="0" y="79"/>
                </a:cxn>
                <a:cxn ang="0">
                  <a:pos x="0" y="0"/>
                </a:cxn>
                <a:cxn ang="0">
                  <a:pos x="57" y="0"/>
                </a:cxn>
                <a:cxn ang="0">
                  <a:pos x="57" y="62"/>
                </a:cxn>
                <a:cxn ang="0">
                  <a:pos x="48" y="62"/>
                </a:cxn>
                <a:cxn ang="0">
                  <a:pos x="40" y="69"/>
                </a:cxn>
                <a:cxn ang="0">
                  <a:pos x="58" y="65"/>
                </a:cxn>
                <a:cxn ang="0">
                  <a:pos x="48" y="65"/>
                </a:cxn>
                <a:cxn ang="0">
                  <a:pos x="44" y="70"/>
                </a:cxn>
                <a:cxn ang="0">
                  <a:pos x="44" y="80"/>
                </a:cxn>
                <a:cxn ang="0">
                  <a:pos x="58" y="65"/>
                </a:cxn>
              </a:cxnLst>
              <a:rect l="0" t="0" r="r" b="b"/>
              <a:pathLst>
                <a:path w="58" h="80">
                  <a:moveTo>
                    <a:pt x="40" y="69"/>
                  </a:moveTo>
                  <a:cubicBezTo>
                    <a:pt x="40" y="79"/>
                    <a:pt x="40" y="79"/>
                    <a:pt x="4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48" y="62"/>
                    <a:pt x="48" y="62"/>
                    <a:pt x="48" y="62"/>
                  </a:cubicBezTo>
                  <a:cubicBezTo>
                    <a:pt x="44" y="62"/>
                    <a:pt x="40" y="65"/>
                    <a:pt x="40" y="69"/>
                  </a:cubicBezTo>
                  <a:close/>
                  <a:moveTo>
                    <a:pt x="58" y="65"/>
                  </a:moveTo>
                  <a:cubicBezTo>
                    <a:pt x="48" y="65"/>
                    <a:pt x="48" y="65"/>
                    <a:pt x="48" y="65"/>
                  </a:cubicBezTo>
                  <a:cubicBezTo>
                    <a:pt x="46" y="65"/>
                    <a:pt x="44" y="67"/>
                    <a:pt x="44" y="70"/>
                  </a:cubicBezTo>
                  <a:cubicBezTo>
                    <a:pt x="44" y="80"/>
                    <a:pt x="44" y="80"/>
                    <a:pt x="44" y="80"/>
                  </a:cubicBezTo>
                  <a:lnTo>
                    <a:pt x="58" y="65"/>
                  </a:ln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9" name="Freeform 17"/>
            <p:cNvSpPr>
              <a:spLocks noChangeAspect="1" noEditPoints="1"/>
            </p:cNvSpPr>
            <p:nvPr/>
          </p:nvSpPr>
          <p:spPr bwMode="gray">
            <a:xfrm>
              <a:off x="2921259" y="4471585"/>
              <a:ext cx="324000" cy="294770"/>
            </a:xfrm>
            <a:custGeom>
              <a:avLst/>
              <a:gdLst/>
              <a:ahLst/>
              <a:cxnLst>
                <a:cxn ang="0">
                  <a:pos x="77" y="78"/>
                </a:cxn>
                <a:cxn ang="0">
                  <a:pos x="104" y="84"/>
                </a:cxn>
                <a:cxn ang="0">
                  <a:pos x="61" y="84"/>
                </a:cxn>
                <a:cxn ang="0">
                  <a:pos x="77" y="78"/>
                </a:cxn>
                <a:cxn ang="0">
                  <a:pos x="6" y="84"/>
                </a:cxn>
                <a:cxn ang="0">
                  <a:pos x="49" y="84"/>
                </a:cxn>
                <a:cxn ang="0">
                  <a:pos x="33" y="78"/>
                </a:cxn>
                <a:cxn ang="0">
                  <a:pos x="6" y="84"/>
                </a:cxn>
                <a:cxn ang="0">
                  <a:pos x="33" y="75"/>
                </a:cxn>
                <a:cxn ang="0">
                  <a:pos x="49" y="78"/>
                </a:cxn>
                <a:cxn ang="0">
                  <a:pos x="49" y="4"/>
                </a:cxn>
                <a:cxn ang="0">
                  <a:pos x="33" y="0"/>
                </a:cxn>
                <a:cxn ang="0">
                  <a:pos x="0" y="7"/>
                </a:cxn>
                <a:cxn ang="0">
                  <a:pos x="0" y="82"/>
                </a:cxn>
                <a:cxn ang="0">
                  <a:pos x="33" y="75"/>
                </a:cxn>
                <a:cxn ang="0">
                  <a:pos x="58" y="100"/>
                </a:cxn>
                <a:cxn ang="0">
                  <a:pos x="57" y="92"/>
                </a:cxn>
                <a:cxn ang="0">
                  <a:pos x="58" y="90"/>
                </a:cxn>
                <a:cxn ang="0">
                  <a:pos x="57" y="88"/>
                </a:cxn>
                <a:cxn ang="0">
                  <a:pos x="57" y="5"/>
                </a:cxn>
                <a:cxn ang="0">
                  <a:pos x="53" y="5"/>
                </a:cxn>
                <a:cxn ang="0">
                  <a:pos x="53" y="88"/>
                </a:cxn>
                <a:cxn ang="0">
                  <a:pos x="52" y="90"/>
                </a:cxn>
                <a:cxn ang="0">
                  <a:pos x="53" y="92"/>
                </a:cxn>
                <a:cxn ang="0">
                  <a:pos x="52" y="100"/>
                </a:cxn>
                <a:cxn ang="0">
                  <a:pos x="58" y="100"/>
                </a:cxn>
                <a:cxn ang="0">
                  <a:pos x="110" y="7"/>
                </a:cxn>
                <a:cxn ang="0">
                  <a:pos x="77" y="0"/>
                </a:cxn>
                <a:cxn ang="0">
                  <a:pos x="61" y="4"/>
                </a:cxn>
                <a:cxn ang="0">
                  <a:pos x="61" y="78"/>
                </a:cxn>
                <a:cxn ang="0">
                  <a:pos x="77" y="75"/>
                </a:cxn>
                <a:cxn ang="0">
                  <a:pos x="77" y="75"/>
                </a:cxn>
                <a:cxn ang="0">
                  <a:pos x="110" y="81"/>
                </a:cxn>
                <a:cxn ang="0">
                  <a:pos x="110" y="7"/>
                </a:cxn>
              </a:cxnLst>
              <a:rect l="0" t="0" r="r" b="b"/>
              <a:pathLst>
                <a:path w="110" h="100">
                  <a:moveTo>
                    <a:pt x="77" y="78"/>
                  </a:moveTo>
                  <a:cubicBezTo>
                    <a:pt x="83" y="78"/>
                    <a:pt x="92" y="80"/>
                    <a:pt x="104" y="84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3" y="82"/>
                    <a:pt x="66" y="79"/>
                    <a:pt x="77" y="78"/>
                  </a:cubicBezTo>
                  <a:close/>
                  <a:moveTo>
                    <a:pt x="6" y="84"/>
                  </a:moveTo>
                  <a:cubicBezTo>
                    <a:pt x="49" y="84"/>
                    <a:pt x="49" y="84"/>
                    <a:pt x="49" y="84"/>
                  </a:cubicBezTo>
                  <a:cubicBezTo>
                    <a:pt x="48" y="83"/>
                    <a:pt x="46" y="78"/>
                    <a:pt x="33" y="78"/>
                  </a:cubicBezTo>
                  <a:cubicBezTo>
                    <a:pt x="27" y="78"/>
                    <a:pt x="18" y="80"/>
                    <a:pt x="6" y="84"/>
                  </a:cubicBezTo>
                  <a:close/>
                  <a:moveTo>
                    <a:pt x="33" y="75"/>
                  </a:moveTo>
                  <a:cubicBezTo>
                    <a:pt x="41" y="75"/>
                    <a:pt x="46" y="76"/>
                    <a:pt x="49" y="78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7" y="2"/>
                    <a:pt x="42" y="0"/>
                    <a:pt x="33" y="0"/>
                  </a:cubicBezTo>
                  <a:cubicBezTo>
                    <a:pt x="25" y="0"/>
                    <a:pt x="15" y="2"/>
                    <a:pt x="0" y="7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14" y="76"/>
                    <a:pt x="25" y="75"/>
                    <a:pt x="33" y="75"/>
                  </a:cubicBezTo>
                  <a:close/>
                  <a:moveTo>
                    <a:pt x="58" y="100"/>
                  </a:moveTo>
                  <a:cubicBezTo>
                    <a:pt x="57" y="92"/>
                    <a:pt x="57" y="92"/>
                    <a:pt x="57" y="92"/>
                  </a:cubicBezTo>
                  <a:cubicBezTo>
                    <a:pt x="58" y="91"/>
                    <a:pt x="58" y="91"/>
                    <a:pt x="58" y="90"/>
                  </a:cubicBezTo>
                  <a:cubicBezTo>
                    <a:pt x="58" y="89"/>
                    <a:pt x="57" y="88"/>
                    <a:pt x="57" y="88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3" y="88"/>
                    <a:pt x="52" y="89"/>
                    <a:pt x="52" y="90"/>
                  </a:cubicBezTo>
                  <a:cubicBezTo>
                    <a:pt x="52" y="91"/>
                    <a:pt x="52" y="91"/>
                    <a:pt x="53" y="92"/>
                  </a:cubicBezTo>
                  <a:cubicBezTo>
                    <a:pt x="52" y="100"/>
                    <a:pt x="52" y="100"/>
                    <a:pt x="52" y="100"/>
                  </a:cubicBezTo>
                  <a:lnTo>
                    <a:pt x="58" y="100"/>
                  </a:lnTo>
                  <a:close/>
                  <a:moveTo>
                    <a:pt x="110" y="7"/>
                  </a:moveTo>
                  <a:cubicBezTo>
                    <a:pt x="95" y="2"/>
                    <a:pt x="85" y="0"/>
                    <a:pt x="77" y="0"/>
                  </a:cubicBezTo>
                  <a:cubicBezTo>
                    <a:pt x="68" y="0"/>
                    <a:pt x="63" y="2"/>
                    <a:pt x="61" y="4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4" y="76"/>
                    <a:pt x="69" y="75"/>
                    <a:pt x="77" y="75"/>
                  </a:cubicBezTo>
                  <a:cubicBezTo>
                    <a:pt x="77" y="75"/>
                    <a:pt x="77" y="75"/>
                    <a:pt x="77" y="75"/>
                  </a:cubicBezTo>
                  <a:cubicBezTo>
                    <a:pt x="85" y="75"/>
                    <a:pt x="96" y="76"/>
                    <a:pt x="110" y="81"/>
                  </a:cubicBezTo>
                  <a:lnTo>
                    <a:pt x="110" y="7"/>
                  </a:ln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0" name="Freeform 21"/>
            <p:cNvSpPr>
              <a:spLocks noChangeAspect="1"/>
            </p:cNvSpPr>
            <p:nvPr/>
          </p:nvSpPr>
          <p:spPr bwMode="gray">
            <a:xfrm>
              <a:off x="3517024" y="4505570"/>
              <a:ext cx="160439" cy="226800"/>
            </a:xfrm>
            <a:custGeom>
              <a:avLst/>
              <a:gdLst/>
              <a:ahLst/>
              <a:cxnLst>
                <a:cxn ang="0">
                  <a:pos x="56" y="22"/>
                </a:cxn>
                <a:cxn ang="0">
                  <a:pos x="19" y="3"/>
                </a:cxn>
                <a:cxn ang="0">
                  <a:pos x="1" y="10"/>
                </a:cxn>
                <a:cxn ang="0">
                  <a:pos x="0" y="14"/>
                </a:cxn>
                <a:cxn ang="0">
                  <a:pos x="0" y="57"/>
                </a:cxn>
                <a:cxn ang="0">
                  <a:pos x="3" y="60"/>
                </a:cxn>
                <a:cxn ang="0">
                  <a:pos x="36" y="81"/>
                </a:cxn>
                <a:cxn ang="0">
                  <a:pos x="38" y="81"/>
                </a:cxn>
                <a:cxn ang="0">
                  <a:pos x="39" y="81"/>
                </a:cxn>
                <a:cxn ang="0">
                  <a:pos x="41" y="79"/>
                </a:cxn>
                <a:cxn ang="0">
                  <a:pos x="41" y="34"/>
                </a:cxn>
                <a:cxn ang="0">
                  <a:pos x="39" y="32"/>
                </a:cxn>
                <a:cxn ang="0">
                  <a:pos x="6" y="13"/>
                </a:cxn>
                <a:cxn ang="0">
                  <a:pos x="11" y="9"/>
                </a:cxn>
                <a:cxn ang="0">
                  <a:pos x="16" y="8"/>
                </a:cxn>
                <a:cxn ang="0">
                  <a:pos x="49" y="26"/>
                </a:cxn>
                <a:cxn ang="0">
                  <a:pos x="50" y="28"/>
                </a:cxn>
                <a:cxn ang="0">
                  <a:pos x="50" y="70"/>
                </a:cxn>
                <a:cxn ang="0">
                  <a:pos x="54" y="73"/>
                </a:cxn>
                <a:cxn ang="0">
                  <a:pos x="57" y="70"/>
                </a:cxn>
                <a:cxn ang="0">
                  <a:pos x="57" y="24"/>
                </a:cxn>
                <a:cxn ang="0">
                  <a:pos x="56" y="22"/>
                </a:cxn>
              </a:cxnLst>
              <a:rect l="0" t="0" r="r" b="b"/>
              <a:pathLst>
                <a:path w="57" h="81">
                  <a:moveTo>
                    <a:pt x="56" y="22"/>
                  </a:moveTo>
                  <a:cubicBezTo>
                    <a:pt x="19" y="3"/>
                    <a:pt x="19" y="3"/>
                    <a:pt x="19" y="3"/>
                  </a:cubicBezTo>
                  <a:cubicBezTo>
                    <a:pt x="14" y="0"/>
                    <a:pt x="4" y="5"/>
                    <a:pt x="1" y="10"/>
                  </a:cubicBezTo>
                  <a:cubicBezTo>
                    <a:pt x="0" y="12"/>
                    <a:pt x="0" y="13"/>
                    <a:pt x="0" y="1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8"/>
                    <a:pt x="2" y="59"/>
                    <a:pt x="3" y="60"/>
                  </a:cubicBezTo>
                  <a:cubicBezTo>
                    <a:pt x="5" y="61"/>
                    <a:pt x="35" y="80"/>
                    <a:pt x="36" y="81"/>
                  </a:cubicBezTo>
                  <a:cubicBezTo>
                    <a:pt x="37" y="81"/>
                    <a:pt x="37" y="81"/>
                    <a:pt x="38" y="81"/>
                  </a:cubicBezTo>
                  <a:cubicBezTo>
                    <a:pt x="38" y="81"/>
                    <a:pt x="39" y="81"/>
                    <a:pt x="39" y="81"/>
                  </a:cubicBezTo>
                  <a:cubicBezTo>
                    <a:pt x="40" y="81"/>
                    <a:pt x="41" y="80"/>
                    <a:pt x="41" y="79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3"/>
                    <a:pt x="40" y="32"/>
                    <a:pt x="39" y="3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2"/>
                    <a:pt x="8" y="11"/>
                    <a:pt x="11" y="9"/>
                  </a:cubicBezTo>
                  <a:cubicBezTo>
                    <a:pt x="13" y="8"/>
                    <a:pt x="16" y="8"/>
                    <a:pt x="16" y="8"/>
                  </a:cubicBezTo>
                  <a:cubicBezTo>
                    <a:pt x="16" y="8"/>
                    <a:pt x="48" y="26"/>
                    <a:pt x="49" y="26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28"/>
                    <a:pt x="50" y="70"/>
                    <a:pt x="50" y="70"/>
                  </a:cubicBezTo>
                  <a:cubicBezTo>
                    <a:pt x="50" y="72"/>
                    <a:pt x="52" y="73"/>
                    <a:pt x="54" y="73"/>
                  </a:cubicBezTo>
                  <a:cubicBezTo>
                    <a:pt x="56" y="73"/>
                    <a:pt x="57" y="72"/>
                    <a:pt x="57" y="70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3"/>
                    <a:pt x="57" y="22"/>
                    <a:pt x="56" y="22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1" name="Freeform 25"/>
            <p:cNvSpPr>
              <a:spLocks noChangeAspect="1" noEditPoints="1"/>
            </p:cNvSpPr>
            <p:nvPr/>
          </p:nvSpPr>
          <p:spPr bwMode="gray">
            <a:xfrm>
              <a:off x="3971942" y="4509385"/>
              <a:ext cx="219600" cy="219187"/>
            </a:xfrm>
            <a:custGeom>
              <a:avLst/>
              <a:gdLst/>
              <a:ahLst/>
              <a:cxnLst>
                <a:cxn ang="0">
                  <a:pos x="28" y="46"/>
                </a:cxn>
                <a:cxn ang="0">
                  <a:pos x="11" y="40"/>
                </a:cxn>
                <a:cxn ang="0">
                  <a:pos x="11" y="45"/>
                </a:cxn>
                <a:cxn ang="0">
                  <a:pos x="28" y="52"/>
                </a:cxn>
                <a:cxn ang="0">
                  <a:pos x="28" y="46"/>
                </a:cxn>
                <a:cxn ang="0">
                  <a:pos x="28" y="29"/>
                </a:cxn>
                <a:cxn ang="0">
                  <a:pos x="11" y="23"/>
                </a:cxn>
                <a:cxn ang="0">
                  <a:pos x="11" y="28"/>
                </a:cxn>
                <a:cxn ang="0">
                  <a:pos x="28" y="35"/>
                </a:cxn>
                <a:cxn ang="0">
                  <a:pos x="28" y="29"/>
                </a:cxn>
                <a:cxn ang="0">
                  <a:pos x="72" y="1"/>
                </a:cxn>
                <a:cxn ang="0">
                  <a:pos x="68" y="0"/>
                </a:cxn>
                <a:cxn ang="0">
                  <a:pos x="37" y="13"/>
                </a:cxn>
                <a:cxn ang="0">
                  <a:pos x="6" y="0"/>
                </a:cxn>
                <a:cxn ang="0">
                  <a:pos x="2" y="1"/>
                </a:cxn>
                <a:cxn ang="0">
                  <a:pos x="0" y="4"/>
                </a:cxn>
                <a:cxn ang="0">
                  <a:pos x="0" y="57"/>
                </a:cxn>
                <a:cxn ang="0">
                  <a:pos x="3" y="60"/>
                </a:cxn>
                <a:cxn ang="0">
                  <a:pos x="35" y="73"/>
                </a:cxn>
                <a:cxn ang="0">
                  <a:pos x="36" y="74"/>
                </a:cxn>
                <a:cxn ang="0">
                  <a:pos x="37" y="74"/>
                </a:cxn>
                <a:cxn ang="0">
                  <a:pos x="38" y="74"/>
                </a:cxn>
                <a:cxn ang="0">
                  <a:pos x="38" y="73"/>
                </a:cxn>
                <a:cxn ang="0">
                  <a:pos x="71" y="60"/>
                </a:cxn>
                <a:cxn ang="0">
                  <a:pos x="74" y="57"/>
                </a:cxn>
                <a:cxn ang="0">
                  <a:pos x="74" y="4"/>
                </a:cxn>
                <a:cxn ang="0">
                  <a:pos x="72" y="1"/>
                </a:cxn>
                <a:cxn ang="0">
                  <a:pos x="33" y="65"/>
                </a:cxn>
                <a:cxn ang="0">
                  <a:pos x="7" y="55"/>
                </a:cxn>
                <a:cxn ang="0">
                  <a:pos x="7" y="9"/>
                </a:cxn>
                <a:cxn ang="0">
                  <a:pos x="33" y="19"/>
                </a:cxn>
                <a:cxn ang="0">
                  <a:pos x="33" y="65"/>
                </a:cxn>
                <a:cxn ang="0">
                  <a:pos x="67" y="55"/>
                </a:cxn>
                <a:cxn ang="0">
                  <a:pos x="41" y="65"/>
                </a:cxn>
                <a:cxn ang="0">
                  <a:pos x="41" y="19"/>
                </a:cxn>
                <a:cxn ang="0">
                  <a:pos x="67" y="9"/>
                </a:cxn>
                <a:cxn ang="0">
                  <a:pos x="67" y="55"/>
                </a:cxn>
                <a:cxn ang="0">
                  <a:pos x="62" y="40"/>
                </a:cxn>
                <a:cxn ang="0">
                  <a:pos x="46" y="46"/>
                </a:cxn>
                <a:cxn ang="0">
                  <a:pos x="46" y="52"/>
                </a:cxn>
                <a:cxn ang="0">
                  <a:pos x="62" y="45"/>
                </a:cxn>
                <a:cxn ang="0">
                  <a:pos x="62" y="40"/>
                </a:cxn>
                <a:cxn ang="0">
                  <a:pos x="62" y="23"/>
                </a:cxn>
                <a:cxn ang="0">
                  <a:pos x="46" y="29"/>
                </a:cxn>
                <a:cxn ang="0">
                  <a:pos x="46" y="35"/>
                </a:cxn>
                <a:cxn ang="0">
                  <a:pos x="62" y="28"/>
                </a:cxn>
                <a:cxn ang="0">
                  <a:pos x="62" y="23"/>
                </a:cxn>
              </a:cxnLst>
              <a:rect l="0" t="0" r="r" b="b"/>
              <a:pathLst>
                <a:path w="74" h="74">
                  <a:moveTo>
                    <a:pt x="28" y="46"/>
                  </a:moveTo>
                  <a:cubicBezTo>
                    <a:pt x="11" y="40"/>
                    <a:pt x="11" y="40"/>
                    <a:pt x="11" y="40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28" y="52"/>
                    <a:pt x="28" y="52"/>
                    <a:pt x="28" y="52"/>
                  </a:cubicBezTo>
                  <a:lnTo>
                    <a:pt x="28" y="46"/>
                  </a:lnTo>
                  <a:close/>
                  <a:moveTo>
                    <a:pt x="28" y="29"/>
                  </a:moveTo>
                  <a:cubicBezTo>
                    <a:pt x="11" y="23"/>
                    <a:pt x="11" y="23"/>
                    <a:pt x="11" y="23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28" y="35"/>
                    <a:pt x="28" y="35"/>
                    <a:pt x="28" y="35"/>
                  </a:cubicBezTo>
                  <a:lnTo>
                    <a:pt x="28" y="29"/>
                  </a:lnTo>
                  <a:close/>
                  <a:moveTo>
                    <a:pt x="72" y="1"/>
                  </a:moveTo>
                  <a:cubicBezTo>
                    <a:pt x="71" y="0"/>
                    <a:pt x="69" y="0"/>
                    <a:pt x="68" y="0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0"/>
                    <a:pt x="2" y="1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8"/>
                    <a:pt x="1" y="60"/>
                    <a:pt x="3" y="60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35" y="73"/>
                    <a:pt x="36" y="74"/>
                    <a:pt x="36" y="74"/>
                  </a:cubicBezTo>
                  <a:cubicBezTo>
                    <a:pt x="36" y="74"/>
                    <a:pt x="37" y="74"/>
                    <a:pt x="37" y="74"/>
                  </a:cubicBezTo>
                  <a:cubicBezTo>
                    <a:pt x="37" y="74"/>
                    <a:pt x="37" y="74"/>
                    <a:pt x="38" y="74"/>
                  </a:cubicBezTo>
                  <a:cubicBezTo>
                    <a:pt x="38" y="74"/>
                    <a:pt x="38" y="73"/>
                    <a:pt x="38" y="73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3" y="60"/>
                    <a:pt x="74" y="58"/>
                    <a:pt x="74" y="57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4" y="3"/>
                    <a:pt x="73" y="1"/>
                    <a:pt x="72" y="1"/>
                  </a:cubicBezTo>
                  <a:close/>
                  <a:moveTo>
                    <a:pt x="33" y="65"/>
                  </a:moveTo>
                  <a:cubicBezTo>
                    <a:pt x="7" y="55"/>
                    <a:pt x="7" y="55"/>
                    <a:pt x="7" y="55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33" y="19"/>
                    <a:pt x="33" y="19"/>
                    <a:pt x="33" y="19"/>
                  </a:cubicBezTo>
                  <a:lnTo>
                    <a:pt x="33" y="65"/>
                  </a:lnTo>
                  <a:close/>
                  <a:moveTo>
                    <a:pt x="67" y="55"/>
                  </a:moveTo>
                  <a:cubicBezTo>
                    <a:pt x="41" y="65"/>
                    <a:pt x="41" y="65"/>
                    <a:pt x="41" y="65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67" y="9"/>
                    <a:pt x="67" y="9"/>
                    <a:pt x="67" y="9"/>
                  </a:cubicBezTo>
                  <a:lnTo>
                    <a:pt x="67" y="55"/>
                  </a:lnTo>
                  <a:close/>
                  <a:moveTo>
                    <a:pt x="62" y="40"/>
                  </a:moveTo>
                  <a:cubicBezTo>
                    <a:pt x="46" y="46"/>
                    <a:pt x="46" y="46"/>
                    <a:pt x="46" y="46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62" y="45"/>
                    <a:pt x="62" y="45"/>
                    <a:pt x="62" y="45"/>
                  </a:cubicBezTo>
                  <a:lnTo>
                    <a:pt x="62" y="40"/>
                  </a:lnTo>
                  <a:close/>
                  <a:moveTo>
                    <a:pt x="62" y="23"/>
                  </a:moveTo>
                  <a:cubicBezTo>
                    <a:pt x="46" y="29"/>
                    <a:pt x="46" y="29"/>
                    <a:pt x="46" y="29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62" y="28"/>
                    <a:pt x="62" y="28"/>
                    <a:pt x="62" y="28"/>
                  </a:cubicBezTo>
                  <a:lnTo>
                    <a:pt x="62" y="23"/>
                  </a:ln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2" name="Freeform 29"/>
            <p:cNvSpPr>
              <a:spLocks noChangeAspect="1" noEditPoints="1"/>
            </p:cNvSpPr>
            <p:nvPr/>
          </p:nvSpPr>
          <p:spPr bwMode="gray">
            <a:xfrm>
              <a:off x="4499917" y="4525378"/>
              <a:ext cx="187200" cy="187201"/>
            </a:xfrm>
            <a:custGeom>
              <a:avLst/>
              <a:gdLst/>
              <a:ahLst/>
              <a:cxnLst>
                <a:cxn ang="0">
                  <a:pos x="59" y="6"/>
                </a:cxn>
                <a:cxn ang="0">
                  <a:pos x="49" y="1"/>
                </a:cxn>
                <a:cxn ang="0">
                  <a:pos x="28" y="22"/>
                </a:cxn>
                <a:cxn ang="0">
                  <a:pos x="5" y="45"/>
                </a:cxn>
                <a:cxn ang="0">
                  <a:pos x="0" y="65"/>
                </a:cxn>
                <a:cxn ang="0">
                  <a:pos x="20" y="61"/>
                </a:cxn>
                <a:cxn ang="0">
                  <a:pos x="44" y="37"/>
                </a:cxn>
                <a:cxn ang="0">
                  <a:pos x="64" y="16"/>
                </a:cxn>
                <a:cxn ang="0">
                  <a:pos x="59" y="6"/>
                </a:cxn>
                <a:cxn ang="0">
                  <a:pos x="19" y="58"/>
                </a:cxn>
                <a:cxn ang="0">
                  <a:pos x="12" y="60"/>
                </a:cxn>
                <a:cxn ang="0">
                  <a:pos x="9" y="56"/>
                </a:cxn>
                <a:cxn ang="0">
                  <a:pos x="6" y="53"/>
                </a:cxn>
                <a:cxn ang="0">
                  <a:pos x="7" y="46"/>
                </a:cxn>
                <a:cxn ang="0">
                  <a:pos x="9" y="45"/>
                </a:cxn>
                <a:cxn ang="0">
                  <a:pos x="17" y="49"/>
                </a:cxn>
                <a:cxn ang="0">
                  <a:pos x="21" y="56"/>
                </a:cxn>
                <a:cxn ang="0">
                  <a:pos x="19" y="58"/>
                </a:cxn>
              </a:cxnLst>
              <a:rect l="0" t="0" r="r" b="b"/>
              <a:pathLst>
                <a:path w="65" h="65">
                  <a:moveTo>
                    <a:pt x="59" y="6"/>
                  </a:moveTo>
                  <a:cubicBezTo>
                    <a:pt x="53" y="0"/>
                    <a:pt x="49" y="1"/>
                    <a:pt x="49" y="1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4" y="16"/>
                    <a:pt x="65" y="12"/>
                    <a:pt x="59" y="6"/>
                  </a:cubicBezTo>
                  <a:close/>
                  <a:moveTo>
                    <a:pt x="19" y="58"/>
                  </a:moveTo>
                  <a:cubicBezTo>
                    <a:pt x="12" y="60"/>
                    <a:pt x="12" y="60"/>
                    <a:pt x="12" y="60"/>
                  </a:cubicBezTo>
                  <a:cubicBezTo>
                    <a:pt x="12" y="59"/>
                    <a:pt x="11" y="57"/>
                    <a:pt x="9" y="56"/>
                  </a:cubicBezTo>
                  <a:cubicBezTo>
                    <a:pt x="8" y="55"/>
                    <a:pt x="7" y="54"/>
                    <a:pt x="6" y="53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12" y="45"/>
                    <a:pt x="17" y="49"/>
                  </a:cubicBezTo>
                  <a:cubicBezTo>
                    <a:pt x="21" y="53"/>
                    <a:pt x="21" y="56"/>
                    <a:pt x="21" y="56"/>
                  </a:cubicBezTo>
                  <a:lnTo>
                    <a:pt x="19" y="58"/>
                  </a:ln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23" name="Group 222"/>
            <p:cNvGrpSpPr>
              <a:grpSpLocks noChangeAspect="1"/>
            </p:cNvGrpSpPr>
            <p:nvPr/>
          </p:nvGrpSpPr>
          <p:grpSpPr bwMode="gray">
            <a:xfrm>
              <a:off x="526801" y="4451570"/>
              <a:ext cx="64736" cy="334800"/>
              <a:chOff x="5929313" y="642938"/>
              <a:chExt cx="258762" cy="1338262"/>
            </a:xfrm>
          </p:grpSpPr>
          <p:sp>
            <p:nvSpPr>
              <p:cNvPr id="224" name="Freeform 33"/>
              <p:cNvSpPr>
                <a:spLocks/>
              </p:cNvSpPr>
              <p:nvPr/>
            </p:nvSpPr>
            <p:spPr bwMode="gray">
              <a:xfrm>
                <a:off x="6070600" y="1255713"/>
                <a:ext cx="117475" cy="725487"/>
              </a:xfrm>
              <a:custGeom>
                <a:avLst/>
                <a:gdLst/>
                <a:ahLst/>
                <a:cxnLst>
                  <a:cxn ang="0">
                    <a:pos x="5" y="64"/>
                  </a:cxn>
                  <a:cxn ang="0">
                    <a:pos x="0" y="0"/>
                  </a:cxn>
                  <a:cxn ang="0">
                    <a:pos x="10" y="0"/>
                  </a:cxn>
                  <a:cxn ang="0">
                    <a:pos x="5" y="64"/>
                  </a:cxn>
                </a:cxnLst>
                <a:rect l="0" t="0" r="r" b="b"/>
                <a:pathLst>
                  <a:path w="10" h="64">
                    <a:moveTo>
                      <a:pt x="5" y="64"/>
                    </a:moveTo>
                    <a:cubicBezTo>
                      <a:pt x="2" y="64"/>
                      <a:pt x="0" y="40"/>
                      <a:pt x="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40"/>
                      <a:pt x="7" y="64"/>
                      <a:pt x="5" y="64"/>
                    </a:cubicBezTo>
                  </a:path>
                </a:pathLst>
              </a:custGeom>
              <a:solidFill>
                <a:srgbClr val="57575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25" name="Freeform 34"/>
              <p:cNvSpPr>
                <a:spLocks/>
              </p:cNvSpPr>
              <p:nvPr/>
            </p:nvSpPr>
            <p:spPr bwMode="gray">
              <a:xfrm>
                <a:off x="5929313" y="688975"/>
                <a:ext cx="93662" cy="520700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2" y="3"/>
                  </a:cxn>
                  <a:cxn ang="0">
                    <a:pos x="2" y="40"/>
                  </a:cxn>
                  <a:cxn ang="0">
                    <a:pos x="0" y="43"/>
                  </a:cxn>
                  <a:cxn ang="0">
                    <a:pos x="3" y="46"/>
                  </a:cxn>
                  <a:cxn ang="0">
                    <a:pos x="6" y="43"/>
                  </a:cxn>
                  <a:cxn ang="0">
                    <a:pos x="8" y="41"/>
                  </a:cxn>
                  <a:cxn ang="0">
                    <a:pos x="8" y="3"/>
                  </a:cxn>
                  <a:cxn ang="0">
                    <a:pos x="5" y="0"/>
                  </a:cxn>
                </a:cxnLst>
                <a:rect l="0" t="0" r="r" b="b"/>
                <a:pathLst>
                  <a:path w="8" h="46">
                    <a:moveTo>
                      <a:pt x="5" y="0"/>
                    </a:moveTo>
                    <a:cubicBezTo>
                      <a:pt x="3" y="0"/>
                      <a:pt x="2" y="2"/>
                      <a:pt x="2" y="3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1" y="41"/>
                      <a:pt x="0" y="42"/>
                      <a:pt x="0" y="43"/>
                    </a:cubicBezTo>
                    <a:cubicBezTo>
                      <a:pt x="0" y="45"/>
                      <a:pt x="1" y="46"/>
                      <a:pt x="3" y="46"/>
                    </a:cubicBezTo>
                    <a:cubicBezTo>
                      <a:pt x="5" y="46"/>
                      <a:pt x="6" y="45"/>
                      <a:pt x="6" y="43"/>
                    </a:cubicBezTo>
                    <a:cubicBezTo>
                      <a:pt x="7" y="43"/>
                      <a:pt x="8" y="42"/>
                      <a:pt x="8" y="4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6" y="0"/>
                      <a:pt x="5" y="0"/>
                    </a:cubicBezTo>
                    <a:close/>
                  </a:path>
                </a:pathLst>
              </a:custGeom>
              <a:solidFill>
                <a:srgbClr val="57575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26" name="Freeform 35"/>
              <p:cNvSpPr>
                <a:spLocks/>
              </p:cNvSpPr>
              <p:nvPr/>
            </p:nvSpPr>
            <p:spPr bwMode="gray">
              <a:xfrm>
                <a:off x="6057900" y="642938"/>
                <a:ext cx="130175" cy="577850"/>
              </a:xfrm>
              <a:custGeom>
                <a:avLst/>
                <a:gdLst/>
                <a:ahLst/>
                <a:cxnLst>
                  <a:cxn ang="0">
                    <a:pos x="11" y="51"/>
                  </a:cxn>
                  <a:cxn ang="0">
                    <a:pos x="11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51"/>
                  </a:cxn>
                  <a:cxn ang="0">
                    <a:pos x="11" y="51"/>
                  </a:cxn>
                </a:cxnLst>
                <a:rect l="0" t="0" r="r" b="b"/>
                <a:pathLst>
                  <a:path w="11" h="51">
                    <a:moveTo>
                      <a:pt x="11" y="51"/>
                    </a:moveTo>
                    <a:cubicBezTo>
                      <a:pt x="11" y="4"/>
                      <a:pt x="11" y="4"/>
                      <a:pt x="11" y="4"/>
                    </a:cubicBezTo>
                    <a:cubicBezTo>
                      <a:pt x="11" y="2"/>
                      <a:pt x="10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1"/>
                      <a:pt x="0" y="51"/>
                      <a:pt x="0" y="51"/>
                    </a:cubicBezTo>
                    <a:lnTo>
                      <a:pt x="11" y="51"/>
                    </a:lnTo>
                    <a:close/>
                  </a:path>
                </a:pathLst>
              </a:custGeom>
              <a:solidFill>
                <a:srgbClr val="57575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227" name="Freeform 39"/>
            <p:cNvSpPr>
              <a:spLocks noChangeAspect="1" noEditPoints="1"/>
            </p:cNvSpPr>
            <p:nvPr/>
          </p:nvSpPr>
          <p:spPr bwMode="gray">
            <a:xfrm>
              <a:off x="963710" y="4516128"/>
              <a:ext cx="237600" cy="205701"/>
            </a:xfrm>
            <a:custGeom>
              <a:avLst/>
              <a:gdLst/>
              <a:ahLst/>
              <a:cxnLst>
                <a:cxn ang="0">
                  <a:pos x="6" y="21"/>
                </a:cxn>
                <a:cxn ang="0">
                  <a:pos x="75" y="21"/>
                </a:cxn>
                <a:cxn ang="0">
                  <a:pos x="76" y="18"/>
                </a:cxn>
                <a:cxn ang="0">
                  <a:pos x="60" y="12"/>
                </a:cxn>
                <a:cxn ang="0">
                  <a:pos x="56" y="12"/>
                </a:cxn>
                <a:cxn ang="0">
                  <a:pos x="56" y="0"/>
                </a:cxn>
                <a:cxn ang="0">
                  <a:pos x="25" y="0"/>
                </a:cxn>
                <a:cxn ang="0">
                  <a:pos x="25" y="12"/>
                </a:cxn>
                <a:cxn ang="0">
                  <a:pos x="21" y="12"/>
                </a:cxn>
                <a:cxn ang="0">
                  <a:pos x="5" y="18"/>
                </a:cxn>
                <a:cxn ang="0">
                  <a:pos x="6" y="21"/>
                </a:cxn>
                <a:cxn ang="0">
                  <a:pos x="76" y="25"/>
                </a:cxn>
                <a:cxn ang="0">
                  <a:pos x="5" y="25"/>
                </a:cxn>
                <a:cxn ang="0">
                  <a:pos x="0" y="30"/>
                </a:cxn>
                <a:cxn ang="0">
                  <a:pos x="0" y="44"/>
                </a:cxn>
                <a:cxn ang="0">
                  <a:pos x="5" y="49"/>
                </a:cxn>
                <a:cxn ang="0">
                  <a:pos x="13" y="49"/>
                </a:cxn>
                <a:cxn ang="0">
                  <a:pos x="9" y="70"/>
                </a:cxn>
                <a:cxn ang="0">
                  <a:pos x="72" y="70"/>
                </a:cxn>
                <a:cxn ang="0">
                  <a:pos x="68" y="49"/>
                </a:cxn>
                <a:cxn ang="0">
                  <a:pos x="76" y="49"/>
                </a:cxn>
                <a:cxn ang="0">
                  <a:pos x="81" y="44"/>
                </a:cxn>
                <a:cxn ang="0">
                  <a:pos x="81" y="30"/>
                </a:cxn>
                <a:cxn ang="0">
                  <a:pos x="76" y="25"/>
                </a:cxn>
                <a:cxn ang="0">
                  <a:pos x="18" y="61"/>
                </a:cxn>
                <a:cxn ang="0">
                  <a:pos x="23" y="35"/>
                </a:cxn>
                <a:cxn ang="0">
                  <a:pos x="58" y="35"/>
                </a:cxn>
                <a:cxn ang="0">
                  <a:pos x="63" y="61"/>
                </a:cxn>
                <a:cxn ang="0">
                  <a:pos x="18" y="61"/>
                </a:cxn>
              </a:cxnLst>
              <a:rect l="0" t="0" r="r" b="b"/>
              <a:pathLst>
                <a:path w="81" h="70">
                  <a:moveTo>
                    <a:pt x="6" y="21"/>
                  </a:moveTo>
                  <a:cubicBezTo>
                    <a:pt x="75" y="21"/>
                    <a:pt x="75" y="21"/>
                    <a:pt x="75" y="21"/>
                  </a:cubicBezTo>
                  <a:cubicBezTo>
                    <a:pt x="78" y="21"/>
                    <a:pt x="77" y="18"/>
                    <a:pt x="76" y="18"/>
                  </a:cubicBezTo>
                  <a:cubicBezTo>
                    <a:pt x="75" y="17"/>
                    <a:pt x="62" y="12"/>
                    <a:pt x="60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19" y="12"/>
                    <a:pt x="6" y="17"/>
                    <a:pt x="5" y="18"/>
                  </a:cubicBezTo>
                  <a:cubicBezTo>
                    <a:pt x="4" y="18"/>
                    <a:pt x="3" y="21"/>
                    <a:pt x="6" y="21"/>
                  </a:cubicBezTo>
                  <a:close/>
                  <a:moveTo>
                    <a:pt x="76" y="25"/>
                  </a:moveTo>
                  <a:cubicBezTo>
                    <a:pt x="5" y="25"/>
                    <a:pt x="5" y="25"/>
                    <a:pt x="5" y="25"/>
                  </a:cubicBezTo>
                  <a:cubicBezTo>
                    <a:pt x="3" y="25"/>
                    <a:pt x="0" y="28"/>
                    <a:pt x="0" y="3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7"/>
                    <a:pt x="3" y="49"/>
                    <a:pt x="5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8" y="49"/>
                    <a:pt x="81" y="47"/>
                    <a:pt x="81" y="44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28"/>
                    <a:pt x="78" y="25"/>
                    <a:pt x="76" y="25"/>
                  </a:cubicBezTo>
                  <a:close/>
                  <a:moveTo>
                    <a:pt x="18" y="61"/>
                  </a:moveTo>
                  <a:cubicBezTo>
                    <a:pt x="23" y="35"/>
                    <a:pt x="23" y="35"/>
                    <a:pt x="23" y="35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63" y="61"/>
                    <a:pt x="63" y="61"/>
                    <a:pt x="63" y="61"/>
                  </a:cubicBezTo>
                  <a:lnTo>
                    <a:pt x="18" y="61"/>
                  </a:ln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8" name="Freeform 43"/>
            <p:cNvSpPr>
              <a:spLocks noChangeAspect="1" noEditPoints="1"/>
            </p:cNvSpPr>
            <p:nvPr/>
          </p:nvSpPr>
          <p:spPr bwMode="gray">
            <a:xfrm>
              <a:off x="5045973" y="4449770"/>
              <a:ext cx="78827" cy="338400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4" y="0"/>
                </a:cxn>
                <a:cxn ang="0">
                  <a:pos x="0" y="5"/>
                </a:cxn>
                <a:cxn ang="0">
                  <a:pos x="0" y="69"/>
                </a:cxn>
                <a:cxn ang="0">
                  <a:pos x="4" y="74"/>
                </a:cxn>
                <a:cxn ang="0">
                  <a:pos x="9" y="74"/>
                </a:cxn>
                <a:cxn ang="0">
                  <a:pos x="9" y="119"/>
                </a:cxn>
                <a:cxn ang="0">
                  <a:pos x="18" y="119"/>
                </a:cxn>
                <a:cxn ang="0">
                  <a:pos x="18" y="74"/>
                </a:cxn>
                <a:cxn ang="0">
                  <a:pos x="23" y="74"/>
                </a:cxn>
                <a:cxn ang="0">
                  <a:pos x="27" y="69"/>
                </a:cxn>
                <a:cxn ang="0">
                  <a:pos x="27" y="5"/>
                </a:cxn>
                <a:cxn ang="0">
                  <a:pos x="23" y="0"/>
                </a:cxn>
                <a:cxn ang="0">
                  <a:pos x="13" y="70"/>
                </a:cxn>
                <a:cxn ang="0">
                  <a:pos x="4" y="60"/>
                </a:cxn>
                <a:cxn ang="0">
                  <a:pos x="13" y="51"/>
                </a:cxn>
                <a:cxn ang="0">
                  <a:pos x="23" y="60"/>
                </a:cxn>
                <a:cxn ang="0">
                  <a:pos x="13" y="70"/>
                </a:cxn>
                <a:cxn ang="0">
                  <a:pos x="13" y="47"/>
                </a:cxn>
                <a:cxn ang="0">
                  <a:pos x="4" y="37"/>
                </a:cxn>
                <a:cxn ang="0">
                  <a:pos x="13" y="27"/>
                </a:cxn>
                <a:cxn ang="0">
                  <a:pos x="23" y="37"/>
                </a:cxn>
                <a:cxn ang="0">
                  <a:pos x="13" y="47"/>
                </a:cxn>
                <a:cxn ang="0">
                  <a:pos x="13" y="24"/>
                </a:cxn>
                <a:cxn ang="0">
                  <a:pos x="4" y="14"/>
                </a:cxn>
                <a:cxn ang="0">
                  <a:pos x="13" y="5"/>
                </a:cxn>
                <a:cxn ang="0">
                  <a:pos x="23" y="14"/>
                </a:cxn>
                <a:cxn ang="0">
                  <a:pos x="13" y="24"/>
                </a:cxn>
              </a:cxnLst>
              <a:rect l="0" t="0" r="r" b="b"/>
              <a:pathLst>
                <a:path w="27" h="119">
                  <a:moveTo>
                    <a:pt x="23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2"/>
                    <a:pt x="2" y="74"/>
                    <a:pt x="4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25" y="74"/>
                    <a:pt x="27" y="72"/>
                    <a:pt x="27" y="69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2"/>
                    <a:pt x="25" y="0"/>
                    <a:pt x="23" y="0"/>
                  </a:cubicBezTo>
                  <a:close/>
                  <a:moveTo>
                    <a:pt x="13" y="70"/>
                  </a:moveTo>
                  <a:cubicBezTo>
                    <a:pt x="8" y="70"/>
                    <a:pt x="4" y="66"/>
                    <a:pt x="4" y="60"/>
                  </a:cubicBezTo>
                  <a:cubicBezTo>
                    <a:pt x="4" y="55"/>
                    <a:pt x="8" y="51"/>
                    <a:pt x="13" y="51"/>
                  </a:cubicBezTo>
                  <a:cubicBezTo>
                    <a:pt x="19" y="51"/>
                    <a:pt x="23" y="55"/>
                    <a:pt x="23" y="60"/>
                  </a:cubicBezTo>
                  <a:cubicBezTo>
                    <a:pt x="23" y="66"/>
                    <a:pt x="19" y="70"/>
                    <a:pt x="13" y="70"/>
                  </a:cubicBezTo>
                  <a:close/>
                  <a:moveTo>
                    <a:pt x="13" y="47"/>
                  </a:moveTo>
                  <a:cubicBezTo>
                    <a:pt x="8" y="47"/>
                    <a:pt x="4" y="42"/>
                    <a:pt x="4" y="37"/>
                  </a:cubicBezTo>
                  <a:cubicBezTo>
                    <a:pt x="4" y="32"/>
                    <a:pt x="8" y="27"/>
                    <a:pt x="13" y="27"/>
                  </a:cubicBezTo>
                  <a:cubicBezTo>
                    <a:pt x="19" y="27"/>
                    <a:pt x="23" y="32"/>
                    <a:pt x="23" y="37"/>
                  </a:cubicBezTo>
                  <a:cubicBezTo>
                    <a:pt x="23" y="42"/>
                    <a:pt x="19" y="47"/>
                    <a:pt x="13" y="47"/>
                  </a:cubicBezTo>
                  <a:close/>
                  <a:moveTo>
                    <a:pt x="13" y="24"/>
                  </a:moveTo>
                  <a:cubicBezTo>
                    <a:pt x="8" y="24"/>
                    <a:pt x="4" y="19"/>
                    <a:pt x="4" y="14"/>
                  </a:cubicBezTo>
                  <a:cubicBezTo>
                    <a:pt x="4" y="9"/>
                    <a:pt x="8" y="5"/>
                    <a:pt x="13" y="5"/>
                  </a:cubicBezTo>
                  <a:cubicBezTo>
                    <a:pt x="19" y="5"/>
                    <a:pt x="23" y="9"/>
                    <a:pt x="23" y="14"/>
                  </a:cubicBezTo>
                  <a:cubicBezTo>
                    <a:pt x="23" y="19"/>
                    <a:pt x="19" y="24"/>
                    <a:pt x="13" y="24"/>
                  </a:cubicBez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9" name="Freeform 47"/>
            <p:cNvSpPr>
              <a:spLocks noChangeAspect="1" noEditPoints="1"/>
            </p:cNvSpPr>
            <p:nvPr/>
          </p:nvSpPr>
          <p:spPr bwMode="gray">
            <a:xfrm>
              <a:off x="5478051" y="4511505"/>
              <a:ext cx="241200" cy="214947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31" y="0"/>
                </a:cxn>
                <a:cxn ang="0">
                  <a:pos x="29" y="1"/>
                </a:cxn>
                <a:cxn ang="0">
                  <a:pos x="29" y="17"/>
                </a:cxn>
                <a:cxn ang="0">
                  <a:pos x="15" y="17"/>
                </a:cxn>
                <a:cxn ang="0">
                  <a:pos x="12" y="17"/>
                </a:cxn>
                <a:cxn ang="0">
                  <a:pos x="10" y="18"/>
                </a:cxn>
                <a:cxn ang="0">
                  <a:pos x="1" y="25"/>
                </a:cxn>
                <a:cxn ang="0">
                  <a:pos x="0" y="26"/>
                </a:cxn>
                <a:cxn ang="0">
                  <a:pos x="1" y="28"/>
                </a:cxn>
                <a:cxn ang="0">
                  <a:pos x="10" y="34"/>
                </a:cxn>
                <a:cxn ang="0">
                  <a:pos x="12" y="35"/>
                </a:cxn>
                <a:cxn ang="0">
                  <a:pos x="15" y="36"/>
                </a:cxn>
                <a:cxn ang="0">
                  <a:pos x="29" y="36"/>
                </a:cxn>
                <a:cxn ang="0">
                  <a:pos x="29" y="72"/>
                </a:cxn>
                <a:cxn ang="0">
                  <a:pos x="31" y="73"/>
                </a:cxn>
                <a:cxn ang="0">
                  <a:pos x="35" y="73"/>
                </a:cxn>
                <a:cxn ang="0">
                  <a:pos x="36" y="72"/>
                </a:cxn>
                <a:cxn ang="0">
                  <a:pos x="36" y="1"/>
                </a:cxn>
                <a:cxn ang="0">
                  <a:pos x="35" y="0"/>
                </a:cxn>
                <a:cxn ang="0">
                  <a:pos x="81" y="17"/>
                </a:cxn>
                <a:cxn ang="0">
                  <a:pos x="71" y="10"/>
                </a:cxn>
                <a:cxn ang="0">
                  <a:pos x="69" y="9"/>
                </a:cxn>
                <a:cxn ang="0">
                  <a:pos x="67" y="9"/>
                </a:cxn>
                <a:cxn ang="0">
                  <a:pos x="39" y="9"/>
                </a:cxn>
                <a:cxn ang="0">
                  <a:pos x="42" y="27"/>
                </a:cxn>
                <a:cxn ang="0">
                  <a:pos x="67" y="27"/>
                </a:cxn>
                <a:cxn ang="0">
                  <a:pos x="69" y="27"/>
                </a:cxn>
                <a:cxn ang="0">
                  <a:pos x="71" y="26"/>
                </a:cxn>
                <a:cxn ang="0">
                  <a:pos x="81" y="19"/>
                </a:cxn>
                <a:cxn ang="0">
                  <a:pos x="82" y="18"/>
                </a:cxn>
                <a:cxn ang="0">
                  <a:pos x="81" y="17"/>
                </a:cxn>
              </a:cxnLst>
              <a:rect l="0" t="0" r="r" b="b"/>
              <a:pathLst>
                <a:path w="82" h="73">
                  <a:moveTo>
                    <a:pt x="35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29" y="0"/>
                    <a:pt x="29" y="1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7"/>
                    <a:pt x="13" y="17"/>
                    <a:pt x="12" y="17"/>
                  </a:cubicBezTo>
                  <a:cubicBezTo>
                    <a:pt x="12" y="17"/>
                    <a:pt x="11" y="18"/>
                    <a:pt x="10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5"/>
                    <a:pt x="0" y="26"/>
                    <a:pt x="0" y="26"/>
                  </a:cubicBezTo>
                  <a:cubicBezTo>
                    <a:pt x="0" y="27"/>
                    <a:pt x="0" y="27"/>
                    <a:pt x="1" y="28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1" y="35"/>
                    <a:pt x="12" y="35"/>
                    <a:pt x="12" y="35"/>
                  </a:cubicBezTo>
                  <a:cubicBezTo>
                    <a:pt x="13" y="35"/>
                    <a:pt x="14" y="36"/>
                    <a:pt x="15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9" y="73"/>
                    <a:pt x="30" y="73"/>
                    <a:pt x="31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35" y="73"/>
                    <a:pt x="36" y="73"/>
                    <a:pt x="36" y="72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0"/>
                    <a:pt x="35" y="0"/>
                    <a:pt x="35" y="0"/>
                  </a:cubicBezTo>
                  <a:close/>
                  <a:moveTo>
                    <a:pt x="81" y="17"/>
                  </a:moveTo>
                  <a:cubicBezTo>
                    <a:pt x="71" y="10"/>
                    <a:pt x="71" y="10"/>
                    <a:pt x="71" y="10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7" y="27"/>
                    <a:pt x="68" y="27"/>
                    <a:pt x="69" y="27"/>
                  </a:cubicBezTo>
                  <a:cubicBezTo>
                    <a:pt x="70" y="27"/>
                    <a:pt x="71" y="26"/>
                    <a:pt x="71" y="26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19"/>
                    <a:pt x="82" y="19"/>
                    <a:pt x="82" y="18"/>
                  </a:cubicBezTo>
                  <a:cubicBezTo>
                    <a:pt x="82" y="18"/>
                    <a:pt x="81" y="17"/>
                    <a:pt x="81" y="17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0" name="Freeform 51"/>
            <p:cNvSpPr>
              <a:spLocks noChangeAspect="1"/>
            </p:cNvSpPr>
            <p:nvPr/>
          </p:nvSpPr>
          <p:spPr bwMode="gray">
            <a:xfrm>
              <a:off x="5985277" y="4488557"/>
              <a:ext cx="219600" cy="260826"/>
            </a:xfrm>
            <a:custGeom>
              <a:avLst/>
              <a:gdLst/>
              <a:ahLst/>
              <a:cxnLst>
                <a:cxn ang="0">
                  <a:pos x="72" y="32"/>
                </a:cxn>
                <a:cxn ang="0">
                  <a:pos x="8" y="27"/>
                </a:cxn>
                <a:cxn ang="0">
                  <a:pos x="0" y="30"/>
                </a:cxn>
                <a:cxn ang="0">
                  <a:pos x="15" y="89"/>
                </a:cxn>
                <a:cxn ang="0">
                  <a:pos x="24" y="89"/>
                </a:cxn>
                <a:cxn ang="0">
                  <a:pos x="16" y="60"/>
                </a:cxn>
                <a:cxn ang="0">
                  <a:pos x="74" y="34"/>
                </a:cxn>
                <a:cxn ang="0">
                  <a:pos x="72" y="32"/>
                </a:cxn>
              </a:cxnLst>
              <a:rect l="0" t="0" r="r" b="b"/>
              <a:pathLst>
                <a:path w="75" h="89">
                  <a:moveTo>
                    <a:pt x="72" y="32"/>
                  </a:moveTo>
                  <a:cubicBezTo>
                    <a:pt x="25" y="51"/>
                    <a:pt x="44" y="0"/>
                    <a:pt x="8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49" y="33"/>
                    <a:pt x="36" y="89"/>
                    <a:pt x="74" y="34"/>
                  </a:cubicBezTo>
                  <a:cubicBezTo>
                    <a:pt x="75" y="32"/>
                    <a:pt x="73" y="31"/>
                    <a:pt x="72" y="32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1" name="Freeform 55"/>
            <p:cNvSpPr>
              <a:spLocks noChangeAspect="1" noEditPoints="1"/>
            </p:cNvSpPr>
            <p:nvPr/>
          </p:nvSpPr>
          <p:spPr bwMode="gray">
            <a:xfrm>
              <a:off x="6495340" y="4514970"/>
              <a:ext cx="205200" cy="208017"/>
            </a:xfrm>
            <a:custGeom>
              <a:avLst/>
              <a:gdLst/>
              <a:ahLst/>
              <a:cxnLst>
                <a:cxn ang="0">
                  <a:pos x="69" y="3"/>
                </a:cxn>
                <a:cxn ang="0">
                  <a:pos x="57" y="6"/>
                </a:cxn>
                <a:cxn ang="0">
                  <a:pos x="0" y="36"/>
                </a:cxn>
                <a:cxn ang="0">
                  <a:pos x="31" y="41"/>
                </a:cxn>
                <a:cxn ang="0">
                  <a:pos x="35" y="72"/>
                </a:cxn>
                <a:cxn ang="0">
                  <a:pos x="65" y="15"/>
                </a:cxn>
                <a:cxn ang="0">
                  <a:pos x="69" y="3"/>
                </a:cxn>
                <a:cxn ang="0">
                  <a:pos x="62" y="11"/>
                </a:cxn>
                <a:cxn ang="0">
                  <a:pos x="39" y="53"/>
                </a:cxn>
                <a:cxn ang="0">
                  <a:pos x="37" y="33"/>
                </a:cxn>
                <a:cxn ang="0">
                  <a:pos x="62" y="11"/>
                </a:cxn>
              </a:cxnLst>
              <a:rect l="0" t="0" r="r" b="b"/>
              <a:pathLst>
                <a:path w="71" h="72">
                  <a:moveTo>
                    <a:pt x="69" y="3"/>
                  </a:moveTo>
                  <a:cubicBezTo>
                    <a:pt x="67" y="0"/>
                    <a:pt x="64" y="2"/>
                    <a:pt x="57" y="6"/>
                  </a:cubicBezTo>
                  <a:cubicBezTo>
                    <a:pt x="36" y="16"/>
                    <a:pt x="0" y="36"/>
                    <a:pt x="0" y="36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5" y="72"/>
                    <a:pt x="56" y="36"/>
                    <a:pt x="65" y="15"/>
                  </a:cubicBezTo>
                  <a:cubicBezTo>
                    <a:pt x="69" y="7"/>
                    <a:pt x="71" y="5"/>
                    <a:pt x="69" y="3"/>
                  </a:cubicBezTo>
                  <a:close/>
                  <a:moveTo>
                    <a:pt x="62" y="11"/>
                  </a:moveTo>
                  <a:cubicBezTo>
                    <a:pt x="39" y="53"/>
                    <a:pt x="39" y="53"/>
                    <a:pt x="39" y="53"/>
                  </a:cubicBezTo>
                  <a:cubicBezTo>
                    <a:pt x="37" y="33"/>
                    <a:pt x="37" y="33"/>
                    <a:pt x="37" y="33"/>
                  </a:cubicBezTo>
                  <a:lnTo>
                    <a:pt x="62" y="11"/>
                  </a:ln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2" name="Freeform 59"/>
            <p:cNvSpPr>
              <a:spLocks noChangeAspect="1" noEditPoints="1"/>
            </p:cNvSpPr>
            <p:nvPr/>
          </p:nvSpPr>
          <p:spPr bwMode="gray">
            <a:xfrm>
              <a:off x="7001913" y="4514570"/>
              <a:ext cx="208800" cy="208800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0" y="35"/>
                </a:cxn>
                <a:cxn ang="0">
                  <a:pos x="36" y="71"/>
                </a:cxn>
                <a:cxn ang="0">
                  <a:pos x="71" y="35"/>
                </a:cxn>
                <a:cxn ang="0">
                  <a:pos x="36" y="0"/>
                </a:cxn>
                <a:cxn ang="0">
                  <a:pos x="38" y="64"/>
                </a:cxn>
                <a:cxn ang="0">
                  <a:pos x="38" y="48"/>
                </a:cxn>
                <a:cxn ang="0">
                  <a:pos x="33" y="48"/>
                </a:cxn>
                <a:cxn ang="0">
                  <a:pos x="33" y="64"/>
                </a:cxn>
                <a:cxn ang="0">
                  <a:pos x="7" y="38"/>
                </a:cxn>
                <a:cxn ang="0">
                  <a:pos x="23" y="38"/>
                </a:cxn>
                <a:cxn ang="0">
                  <a:pos x="23" y="33"/>
                </a:cxn>
                <a:cxn ang="0">
                  <a:pos x="7" y="33"/>
                </a:cxn>
                <a:cxn ang="0">
                  <a:pos x="33" y="7"/>
                </a:cxn>
                <a:cxn ang="0">
                  <a:pos x="33" y="23"/>
                </a:cxn>
                <a:cxn ang="0">
                  <a:pos x="38" y="23"/>
                </a:cxn>
                <a:cxn ang="0">
                  <a:pos x="38" y="7"/>
                </a:cxn>
                <a:cxn ang="0">
                  <a:pos x="64" y="33"/>
                </a:cxn>
                <a:cxn ang="0">
                  <a:pos x="48" y="33"/>
                </a:cxn>
                <a:cxn ang="0">
                  <a:pos x="48" y="38"/>
                </a:cxn>
                <a:cxn ang="0">
                  <a:pos x="64" y="38"/>
                </a:cxn>
                <a:cxn ang="0">
                  <a:pos x="38" y="64"/>
                </a:cxn>
              </a:cxnLst>
              <a:rect l="0" t="0" r="r" b="b"/>
              <a:pathLst>
                <a:path w="71" h="71">
                  <a:moveTo>
                    <a:pt x="36" y="0"/>
                  </a:moveTo>
                  <a:cubicBezTo>
                    <a:pt x="16" y="0"/>
                    <a:pt x="0" y="16"/>
                    <a:pt x="0" y="35"/>
                  </a:cubicBezTo>
                  <a:cubicBezTo>
                    <a:pt x="0" y="55"/>
                    <a:pt x="16" y="71"/>
                    <a:pt x="36" y="71"/>
                  </a:cubicBezTo>
                  <a:cubicBezTo>
                    <a:pt x="55" y="71"/>
                    <a:pt x="71" y="55"/>
                    <a:pt x="71" y="35"/>
                  </a:cubicBezTo>
                  <a:cubicBezTo>
                    <a:pt x="71" y="16"/>
                    <a:pt x="55" y="0"/>
                    <a:pt x="36" y="0"/>
                  </a:cubicBezTo>
                  <a:close/>
                  <a:moveTo>
                    <a:pt x="38" y="64"/>
                  </a:moveTo>
                  <a:cubicBezTo>
                    <a:pt x="38" y="48"/>
                    <a:pt x="38" y="48"/>
                    <a:pt x="38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19" y="63"/>
                    <a:pt x="8" y="52"/>
                    <a:pt x="7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8" y="19"/>
                    <a:pt x="19" y="8"/>
                    <a:pt x="33" y="7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52" y="8"/>
                    <a:pt x="63" y="19"/>
                    <a:pt x="64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3" y="52"/>
                    <a:pt x="52" y="63"/>
                    <a:pt x="38" y="64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3" name="Freeform 63"/>
            <p:cNvSpPr>
              <a:spLocks noChangeAspect="1" noEditPoints="1"/>
            </p:cNvSpPr>
            <p:nvPr/>
          </p:nvSpPr>
          <p:spPr bwMode="gray">
            <a:xfrm>
              <a:off x="7472481" y="4473561"/>
              <a:ext cx="241200" cy="290835"/>
            </a:xfrm>
            <a:custGeom>
              <a:avLst/>
              <a:gdLst/>
              <a:ahLst/>
              <a:cxnLst>
                <a:cxn ang="0">
                  <a:pos x="50" y="18"/>
                </a:cxn>
                <a:cxn ang="0">
                  <a:pos x="53" y="11"/>
                </a:cxn>
                <a:cxn ang="0">
                  <a:pos x="41" y="0"/>
                </a:cxn>
                <a:cxn ang="0">
                  <a:pos x="30" y="11"/>
                </a:cxn>
                <a:cxn ang="0">
                  <a:pos x="33" y="18"/>
                </a:cxn>
                <a:cxn ang="0">
                  <a:pos x="0" y="58"/>
                </a:cxn>
                <a:cxn ang="0">
                  <a:pos x="41" y="99"/>
                </a:cxn>
                <a:cxn ang="0">
                  <a:pos x="82" y="58"/>
                </a:cxn>
                <a:cxn ang="0">
                  <a:pos x="50" y="18"/>
                </a:cxn>
                <a:cxn ang="0">
                  <a:pos x="41" y="5"/>
                </a:cxn>
                <a:cxn ang="0">
                  <a:pos x="47" y="11"/>
                </a:cxn>
                <a:cxn ang="0">
                  <a:pos x="41" y="17"/>
                </a:cxn>
                <a:cxn ang="0">
                  <a:pos x="35" y="11"/>
                </a:cxn>
                <a:cxn ang="0">
                  <a:pos x="41" y="5"/>
                </a:cxn>
                <a:cxn ang="0">
                  <a:pos x="41" y="92"/>
                </a:cxn>
                <a:cxn ang="0">
                  <a:pos x="8" y="58"/>
                </a:cxn>
                <a:cxn ang="0">
                  <a:pos x="41" y="25"/>
                </a:cxn>
                <a:cxn ang="0">
                  <a:pos x="75" y="58"/>
                </a:cxn>
                <a:cxn ang="0">
                  <a:pos x="41" y="92"/>
                </a:cxn>
                <a:cxn ang="0">
                  <a:pos x="69" y="54"/>
                </a:cxn>
                <a:cxn ang="0">
                  <a:pos x="45" y="31"/>
                </a:cxn>
                <a:cxn ang="0">
                  <a:pos x="41" y="35"/>
                </a:cxn>
                <a:cxn ang="0">
                  <a:pos x="37" y="31"/>
                </a:cxn>
                <a:cxn ang="0">
                  <a:pos x="13" y="55"/>
                </a:cxn>
                <a:cxn ang="0">
                  <a:pos x="13" y="55"/>
                </a:cxn>
                <a:cxn ang="0">
                  <a:pos x="18" y="59"/>
                </a:cxn>
                <a:cxn ang="0">
                  <a:pos x="14" y="63"/>
                </a:cxn>
                <a:cxn ang="0">
                  <a:pos x="37" y="86"/>
                </a:cxn>
                <a:cxn ang="0">
                  <a:pos x="41" y="81"/>
                </a:cxn>
                <a:cxn ang="0">
                  <a:pos x="45" y="86"/>
                </a:cxn>
                <a:cxn ang="0">
                  <a:pos x="69" y="62"/>
                </a:cxn>
                <a:cxn ang="0">
                  <a:pos x="64" y="58"/>
                </a:cxn>
                <a:cxn ang="0">
                  <a:pos x="69" y="54"/>
                </a:cxn>
                <a:cxn ang="0">
                  <a:pos x="50" y="59"/>
                </a:cxn>
                <a:cxn ang="0">
                  <a:pos x="42" y="67"/>
                </a:cxn>
                <a:cxn ang="0">
                  <a:pos x="26" y="73"/>
                </a:cxn>
                <a:cxn ang="0">
                  <a:pos x="32" y="57"/>
                </a:cxn>
                <a:cxn ang="0">
                  <a:pos x="40" y="49"/>
                </a:cxn>
                <a:cxn ang="0">
                  <a:pos x="56" y="43"/>
                </a:cxn>
                <a:cxn ang="0">
                  <a:pos x="50" y="59"/>
                </a:cxn>
                <a:cxn ang="0">
                  <a:pos x="39" y="58"/>
                </a:cxn>
                <a:cxn ang="0">
                  <a:pos x="41" y="61"/>
                </a:cxn>
                <a:cxn ang="0">
                  <a:pos x="43" y="58"/>
                </a:cxn>
                <a:cxn ang="0">
                  <a:pos x="41" y="56"/>
                </a:cxn>
                <a:cxn ang="0">
                  <a:pos x="39" y="58"/>
                </a:cxn>
              </a:cxnLst>
              <a:rect l="0" t="0" r="r" b="b"/>
              <a:pathLst>
                <a:path w="82" h="99">
                  <a:moveTo>
                    <a:pt x="50" y="18"/>
                  </a:moveTo>
                  <a:cubicBezTo>
                    <a:pt x="52" y="16"/>
                    <a:pt x="53" y="14"/>
                    <a:pt x="53" y="11"/>
                  </a:cubicBezTo>
                  <a:cubicBezTo>
                    <a:pt x="53" y="5"/>
                    <a:pt x="48" y="0"/>
                    <a:pt x="41" y="0"/>
                  </a:cubicBezTo>
                  <a:cubicBezTo>
                    <a:pt x="35" y="0"/>
                    <a:pt x="30" y="5"/>
                    <a:pt x="30" y="11"/>
                  </a:cubicBezTo>
                  <a:cubicBezTo>
                    <a:pt x="30" y="14"/>
                    <a:pt x="31" y="16"/>
                    <a:pt x="33" y="18"/>
                  </a:cubicBezTo>
                  <a:cubicBezTo>
                    <a:pt x="14" y="22"/>
                    <a:pt x="0" y="39"/>
                    <a:pt x="0" y="58"/>
                  </a:cubicBezTo>
                  <a:cubicBezTo>
                    <a:pt x="0" y="81"/>
                    <a:pt x="19" y="99"/>
                    <a:pt x="41" y="99"/>
                  </a:cubicBezTo>
                  <a:cubicBezTo>
                    <a:pt x="64" y="99"/>
                    <a:pt x="82" y="81"/>
                    <a:pt x="82" y="58"/>
                  </a:cubicBezTo>
                  <a:cubicBezTo>
                    <a:pt x="82" y="39"/>
                    <a:pt x="68" y="22"/>
                    <a:pt x="50" y="18"/>
                  </a:cubicBezTo>
                  <a:close/>
                  <a:moveTo>
                    <a:pt x="41" y="5"/>
                  </a:moveTo>
                  <a:cubicBezTo>
                    <a:pt x="45" y="5"/>
                    <a:pt x="47" y="8"/>
                    <a:pt x="47" y="11"/>
                  </a:cubicBezTo>
                  <a:cubicBezTo>
                    <a:pt x="47" y="14"/>
                    <a:pt x="45" y="17"/>
                    <a:pt x="41" y="17"/>
                  </a:cubicBezTo>
                  <a:cubicBezTo>
                    <a:pt x="38" y="17"/>
                    <a:pt x="35" y="14"/>
                    <a:pt x="35" y="11"/>
                  </a:cubicBezTo>
                  <a:cubicBezTo>
                    <a:pt x="35" y="8"/>
                    <a:pt x="38" y="5"/>
                    <a:pt x="41" y="5"/>
                  </a:cubicBezTo>
                  <a:close/>
                  <a:moveTo>
                    <a:pt x="41" y="92"/>
                  </a:moveTo>
                  <a:cubicBezTo>
                    <a:pt x="23" y="92"/>
                    <a:pt x="8" y="77"/>
                    <a:pt x="8" y="58"/>
                  </a:cubicBezTo>
                  <a:cubicBezTo>
                    <a:pt x="8" y="40"/>
                    <a:pt x="23" y="25"/>
                    <a:pt x="41" y="25"/>
                  </a:cubicBezTo>
                  <a:cubicBezTo>
                    <a:pt x="60" y="25"/>
                    <a:pt x="75" y="40"/>
                    <a:pt x="75" y="58"/>
                  </a:cubicBezTo>
                  <a:cubicBezTo>
                    <a:pt x="75" y="77"/>
                    <a:pt x="60" y="92"/>
                    <a:pt x="41" y="92"/>
                  </a:cubicBezTo>
                  <a:close/>
                  <a:moveTo>
                    <a:pt x="69" y="54"/>
                  </a:moveTo>
                  <a:cubicBezTo>
                    <a:pt x="67" y="42"/>
                    <a:pt x="57" y="33"/>
                    <a:pt x="45" y="31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25" y="33"/>
                    <a:pt x="15" y="42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6" y="75"/>
                    <a:pt x="25" y="84"/>
                    <a:pt x="37" y="86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57" y="84"/>
                    <a:pt x="67" y="75"/>
                    <a:pt x="69" y="62"/>
                  </a:cubicBezTo>
                  <a:cubicBezTo>
                    <a:pt x="64" y="58"/>
                    <a:pt x="64" y="58"/>
                    <a:pt x="64" y="58"/>
                  </a:cubicBezTo>
                  <a:lnTo>
                    <a:pt x="69" y="54"/>
                  </a:lnTo>
                  <a:close/>
                  <a:moveTo>
                    <a:pt x="50" y="59"/>
                  </a:moveTo>
                  <a:cubicBezTo>
                    <a:pt x="50" y="64"/>
                    <a:pt x="46" y="67"/>
                    <a:pt x="42" y="67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3" y="53"/>
                    <a:pt x="36" y="50"/>
                    <a:pt x="40" y="49"/>
                  </a:cubicBezTo>
                  <a:cubicBezTo>
                    <a:pt x="56" y="43"/>
                    <a:pt x="56" y="43"/>
                    <a:pt x="56" y="43"/>
                  </a:cubicBezTo>
                  <a:lnTo>
                    <a:pt x="50" y="59"/>
                  </a:lnTo>
                  <a:close/>
                  <a:moveTo>
                    <a:pt x="39" y="58"/>
                  </a:moveTo>
                  <a:cubicBezTo>
                    <a:pt x="39" y="60"/>
                    <a:pt x="40" y="61"/>
                    <a:pt x="41" y="61"/>
                  </a:cubicBezTo>
                  <a:cubicBezTo>
                    <a:pt x="42" y="61"/>
                    <a:pt x="43" y="60"/>
                    <a:pt x="43" y="58"/>
                  </a:cubicBezTo>
                  <a:cubicBezTo>
                    <a:pt x="43" y="57"/>
                    <a:pt x="42" y="56"/>
                    <a:pt x="41" y="56"/>
                  </a:cubicBezTo>
                  <a:cubicBezTo>
                    <a:pt x="40" y="56"/>
                    <a:pt x="39" y="57"/>
                    <a:pt x="39" y="58"/>
                  </a:cubicBezTo>
                  <a:close/>
                </a:path>
              </a:pathLst>
            </a:custGeom>
            <a:solidFill>
              <a:srgbClr val="BDD20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4" name="Freeform 67"/>
            <p:cNvSpPr>
              <a:spLocks noChangeAspect="1" noEditPoints="1"/>
            </p:cNvSpPr>
            <p:nvPr/>
          </p:nvSpPr>
          <p:spPr bwMode="gray">
            <a:xfrm>
              <a:off x="8045760" y="4525370"/>
              <a:ext cx="119200" cy="18720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0" y="20"/>
                </a:cxn>
                <a:cxn ang="0">
                  <a:pos x="21" y="65"/>
                </a:cxn>
                <a:cxn ang="0">
                  <a:pos x="41" y="20"/>
                </a:cxn>
                <a:cxn ang="0">
                  <a:pos x="21" y="0"/>
                </a:cxn>
                <a:cxn ang="0">
                  <a:pos x="21" y="31"/>
                </a:cxn>
                <a:cxn ang="0">
                  <a:pos x="10" y="20"/>
                </a:cxn>
                <a:cxn ang="0">
                  <a:pos x="21" y="9"/>
                </a:cxn>
                <a:cxn ang="0">
                  <a:pos x="32" y="20"/>
                </a:cxn>
                <a:cxn ang="0">
                  <a:pos x="21" y="31"/>
                </a:cxn>
              </a:cxnLst>
              <a:rect l="0" t="0" r="r" b="b"/>
              <a:pathLst>
                <a:path w="41" h="65">
                  <a:moveTo>
                    <a:pt x="21" y="0"/>
                  </a:moveTo>
                  <a:cubicBezTo>
                    <a:pt x="9" y="0"/>
                    <a:pt x="0" y="9"/>
                    <a:pt x="0" y="20"/>
                  </a:cubicBezTo>
                  <a:cubicBezTo>
                    <a:pt x="0" y="40"/>
                    <a:pt x="21" y="65"/>
                    <a:pt x="21" y="65"/>
                  </a:cubicBezTo>
                  <a:cubicBezTo>
                    <a:pt x="21" y="65"/>
                    <a:pt x="41" y="40"/>
                    <a:pt x="41" y="20"/>
                  </a:cubicBezTo>
                  <a:cubicBezTo>
                    <a:pt x="41" y="9"/>
                    <a:pt x="32" y="0"/>
                    <a:pt x="21" y="0"/>
                  </a:cubicBezTo>
                  <a:close/>
                  <a:moveTo>
                    <a:pt x="21" y="31"/>
                  </a:moveTo>
                  <a:cubicBezTo>
                    <a:pt x="15" y="31"/>
                    <a:pt x="10" y="27"/>
                    <a:pt x="10" y="20"/>
                  </a:cubicBezTo>
                  <a:cubicBezTo>
                    <a:pt x="10" y="14"/>
                    <a:pt x="15" y="9"/>
                    <a:pt x="21" y="9"/>
                  </a:cubicBezTo>
                  <a:cubicBezTo>
                    <a:pt x="27" y="9"/>
                    <a:pt x="32" y="14"/>
                    <a:pt x="32" y="20"/>
                  </a:cubicBezTo>
                  <a:cubicBezTo>
                    <a:pt x="32" y="27"/>
                    <a:pt x="27" y="31"/>
                    <a:pt x="21" y="31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5" name="Freeform 71"/>
            <p:cNvSpPr>
              <a:spLocks noChangeAspect="1" noEditPoints="1"/>
            </p:cNvSpPr>
            <p:nvPr/>
          </p:nvSpPr>
          <p:spPr bwMode="gray">
            <a:xfrm>
              <a:off x="8434323" y="4473342"/>
              <a:ext cx="334800" cy="291256"/>
            </a:xfrm>
            <a:custGeom>
              <a:avLst/>
              <a:gdLst/>
              <a:ahLst/>
              <a:cxnLst>
                <a:cxn ang="0">
                  <a:pos x="100" y="47"/>
                </a:cxn>
                <a:cxn ang="0">
                  <a:pos x="81" y="16"/>
                </a:cxn>
                <a:cxn ang="0">
                  <a:pos x="82" y="9"/>
                </a:cxn>
                <a:cxn ang="0">
                  <a:pos x="77" y="11"/>
                </a:cxn>
                <a:cxn ang="0">
                  <a:pos x="74" y="13"/>
                </a:cxn>
                <a:cxn ang="0">
                  <a:pos x="37" y="11"/>
                </a:cxn>
                <a:cxn ang="0">
                  <a:pos x="28" y="5"/>
                </a:cxn>
                <a:cxn ang="0">
                  <a:pos x="33" y="14"/>
                </a:cxn>
                <a:cxn ang="0">
                  <a:pos x="14" y="47"/>
                </a:cxn>
                <a:cxn ang="0">
                  <a:pos x="0" y="49"/>
                </a:cxn>
                <a:cxn ang="0">
                  <a:pos x="14" y="52"/>
                </a:cxn>
                <a:cxn ang="0">
                  <a:pos x="33" y="82"/>
                </a:cxn>
                <a:cxn ang="0">
                  <a:pos x="34" y="86"/>
                </a:cxn>
                <a:cxn ang="0">
                  <a:pos x="35" y="91"/>
                </a:cxn>
                <a:cxn ang="0">
                  <a:pos x="40" y="87"/>
                </a:cxn>
                <a:cxn ang="0">
                  <a:pos x="76" y="88"/>
                </a:cxn>
                <a:cxn ang="0">
                  <a:pos x="85" y="99"/>
                </a:cxn>
                <a:cxn ang="0">
                  <a:pos x="81" y="85"/>
                </a:cxn>
                <a:cxn ang="0">
                  <a:pos x="99" y="53"/>
                </a:cxn>
                <a:cxn ang="0">
                  <a:pos x="110" y="52"/>
                </a:cxn>
                <a:cxn ang="0">
                  <a:pos x="45" y="23"/>
                </a:cxn>
                <a:cxn ang="0">
                  <a:pos x="69" y="21"/>
                </a:cxn>
                <a:cxn ang="0">
                  <a:pos x="65" y="31"/>
                </a:cxn>
                <a:cxn ang="0">
                  <a:pos x="59" y="38"/>
                </a:cxn>
                <a:cxn ang="0">
                  <a:pos x="53" y="37"/>
                </a:cxn>
                <a:cxn ang="0">
                  <a:pos x="38" y="25"/>
                </a:cxn>
                <a:cxn ang="0">
                  <a:pos x="45" y="33"/>
                </a:cxn>
                <a:cxn ang="0">
                  <a:pos x="48" y="42"/>
                </a:cxn>
                <a:cxn ang="0">
                  <a:pos x="44" y="47"/>
                </a:cxn>
                <a:cxn ang="0">
                  <a:pos x="28" y="47"/>
                </a:cxn>
                <a:cxn ang="0">
                  <a:pos x="41" y="73"/>
                </a:cxn>
                <a:cxn ang="0">
                  <a:pos x="30" y="65"/>
                </a:cxn>
                <a:cxn ang="0">
                  <a:pos x="29" y="51"/>
                </a:cxn>
                <a:cxn ang="0">
                  <a:pos x="44" y="52"/>
                </a:cxn>
                <a:cxn ang="0">
                  <a:pos x="48" y="57"/>
                </a:cxn>
                <a:cxn ang="0">
                  <a:pos x="45" y="66"/>
                </a:cxn>
                <a:cxn ang="0">
                  <a:pos x="69" y="77"/>
                </a:cxn>
                <a:cxn ang="0">
                  <a:pos x="45" y="76"/>
                </a:cxn>
                <a:cxn ang="0">
                  <a:pos x="52" y="62"/>
                </a:cxn>
                <a:cxn ang="0">
                  <a:pos x="59" y="60"/>
                </a:cxn>
                <a:cxn ang="0">
                  <a:pos x="62" y="62"/>
                </a:cxn>
                <a:cxn ang="0">
                  <a:pos x="62" y="47"/>
                </a:cxn>
                <a:cxn ang="0">
                  <a:pos x="74" y="73"/>
                </a:cxn>
                <a:cxn ang="0">
                  <a:pos x="66" y="59"/>
                </a:cxn>
                <a:cxn ang="0">
                  <a:pos x="68" y="53"/>
                </a:cxn>
                <a:cxn ang="0">
                  <a:pos x="78" y="52"/>
                </a:cxn>
                <a:cxn ang="0">
                  <a:pos x="88" y="53"/>
                </a:cxn>
                <a:cxn ang="0">
                  <a:pos x="86" y="47"/>
                </a:cxn>
                <a:cxn ang="0">
                  <a:pos x="70" y="48"/>
                </a:cxn>
                <a:cxn ang="0">
                  <a:pos x="67" y="44"/>
                </a:cxn>
                <a:cxn ang="0">
                  <a:pos x="65" y="39"/>
                </a:cxn>
                <a:cxn ang="0">
                  <a:pos x="74" y="26"/>
                </a:cxn>
                <a:cxn ang="0">
                  <a:pos x="55" y="46"/>
                </a:cxn>
              </a:cxnLst>
              <a:rect l="0" t="0" r="r" b="b"/>
              <a:pathLst>
                <a:path w="114" h="99">
                  <a:moveTo>
                    <a:pt x="110" y="47"/>
                  </a:moveTo>
                  <a:cubicBezTo>
                    <a:pt x="108" y="47"/>
                    <a:pt x="106" y="48"/>
                    <a:pt x="104" y="48"/>
                  </a:cubicBezTo>
                  <a:cubicBezTo>
                    <a:pt x="102" y="48"/>
                    <a:pt x="101" y="48"/>
                    <a:pt x="101" y="48"/>
                  </a:cubicBezTo>
                  <a:cubicBezTo>
                    <a:pt x="101" y="48"/>
                    <a:pt x="101" y="48"/>
                    <a:pt x="101" y="48"/>
                  </a:cubicBezTo>
                  <a:cubicBezTo>
                    <a:pt x="101" y="47"/>
                    <a:pt x="100" y="47"/>
                    <a:pt x="100" y="47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100" y="47"/>
                    <a:pt x="100" y="46"/>
                    <a:pt x="99" y="46"/>
                  </a:cubicBezTo>
                  <a:cubicBezTo>
                    <a:pt x="99" y="46"/>
                    <a:pt x="99" y="46"/>
                    <a:pt x="98" y="46"/>
                  </a:cubicBezTo>
                  <a:cubicBezTo>
                    <a:pt x="97" y="46"/>
                    <a:pt x="97" y="46"/>
                    <a:pt x="97" y="46"/>
                  </a:cubicBezTo>
                  <a:cubicBezTo>
                    <a:pt x="97" y="40"/>
                    <a:pt x="95" y="34"/>
                    <a:pt x="92" y="29"/>
                  </a:cubicBezTo>
                  <a:cubicBezTo>
                    <a:pt x="89" y="24"/>
                    <a:pt x="85" y="20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5"/>
                    <a:pt x="81" y="15"/>
                    <a:pt x="81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1" y="13"/>
                    <a:pt x="81" y="13"/>
                    <a:pt x="81" y="12"/>
                  </a:cubicBezTo>
                  <a:cubicBezTo>
                    <a:pt x="81" y="12"/>
                    <a:pt x="81" y="12"/>
                    <a:pt x="81" y="12"/>
                  </a:cubicBezTo>
                  <a:cubicBezTo>
                    <a:pt x="81" y="12"/>
                    <a:pt x="81" y="11"/>
                    <a:pt x="82" y="9"/>
                  </a:cubicBezTo>
                  <a:cubicBezTo>
                    <a:pt x="83" y="7"/>
                    <a:pt x="85" y="6"/>
                    <a:pt x="86" y="5"/>
                  </a:cubicBezTo>
                  <a:cubicBezTo>
                    <a:pt x="87" y="3"/>
                    <a:pt x="87" y="1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4" y="0"/>
                    <a:pt x="83" y="0"/>
                    <a:pt x="82" y="2"/>
                  </a:cubicBezTo>
                  <a:cubicBezTo>
                    <a:pt x="81" y="4"/>
                    <a:pt x="81" y="6"/>
                    <a:pt x="79" y="8"/>
                  </a:cubicBezTo>
                  <a:cubicBezTo>
                    <a:pt x="78" y="10"/>
                    <a:pt x="78" y="10"/>
                    <a:pt x="77" y="11"/>
                  </a:cubicBezTo>
                  <a:cubicBezTo>
                    <a:pt x="77" y="11"/>
                    <a:pt x="77" y="11"/>
                    <a:pt x="77" y="11"/>
                  </a:cubicBezTo>
                  <a:cubicBezTo>
                    <a:pt x="77" y="10"/>
                    <a:pt x="76" y="11"/>
                    <a:pt x="76" y="11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11"/>
                    <a:pt x="75" y="11"/>
                  </a:cubicBezTo>
                  <a:cubicBezTo>
                    <a:pt x="75" y="11"/>
                    <a:pt x="74" y="11"/>
                    <a:pt x="74" y="12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63" y="8"/>
                    <a:pt x="51" y="8"/>
                    <a:pt x="40" y="13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1"/>
                    <a:pt x="39" y="11"/>
                    <a:pt x="39" y="11"/>
                  </a:cubicBezTo>
                  <a:cubicBezTo>
                    <a:pt x="39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7" y="10"/>
                    <a:pt x="37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6" y="10"/>
                    <a:pt x="36" y="10"/>
                    <a:pt x="35" y="8"/>
                  </a:cubicBezTo>
                  <a:cubicBezTo>
                    <a:pt x="33" y="6"/>
                    <a:pt x="34" y="4"/>
                    <a:pt x="33" y="2"/>
                  </a:cubicBezTo>
                  <a:cubicBezTo>
                    <a:pt x="32" y="0"/>
                    <a:pt x="30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7" y="1"/>
                    <a:pt x="27" y="3"/>
                    <a:pt x="28" y="5"/>
                  </a:cubicBezTo>
                  <a:cubicBezTo>
                    <a:pt x="29" y="6"/>
                    <a:pt x="31" y="7"/>
                    <a:pt x="32" y="9"/>
                  </a:cubicBezTo>
                  <a:cubicBezTo>
                    <a:pt x="33" y="11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3" y="13"/>
                    <a:pt x="33" y="13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5"/>
                    <a:pt x="33" y="15"/>
                    <a:pt x="33" y="16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24" y="23"/>
                    <a:pt x="18" y="34"/>
                    <a:pt x="17" y="4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4" y="46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7"/>
                    <a:pt x="13" y="47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2" y="48"/>
                    <a:pt x="10" y="48"/>
                  </a:cubicBezTo>
                  <a:cubicBezTo>
                    <a:pt x="8" y="48"/>
                    <a:pt x="6" y="47"/>
                    <a:pt x="4" y="47"/>
                  </a:cubicBezTo>
                  <a:cubicBezTo>
                    <a:pt x="2" y="47"/>
                    <a:pt x="0" y="48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1"/>
                    <a:pt x="2" y="52"/>
                    <a:pt x="4" y="52"/>
                  </a:cubicBezTo>
                  <a:cubicBezTo>
                    <a:pt x="6" y="52"/>
                    <a:pt x="8" y="51"/>
                    <a:pt x="10" y="51"/>
                  </a:cubicBezTo>
                  <a:cubicBezTo>
                    <a:pt x="12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2"/>
                    <a:pt x="14" y="52"/>
                    <a:pt x="14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4" y="52"/>
                    <a:pt x="14" y="53"/>
                    <a:pt x="15" y="53"/>
                  </a:cubicBezTo>
                  <a:cubicBezTo>
                    <a:pt x="15" y="53"/>
                    <a:pt x="15" y="53"/>
                    <a:pt x="16" y="53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7" y="59"/>
                    <a:pt x="19" y="65"/>
                    <a:pt x="22" y="70"/>
                  </a:cubicBezTo>
                  <a:cubicBezTo>
                    <a:pt x="25" y="75"/>
                    <a:pt x="29" y="79"/>
                    <a:pt x="33" y="82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6"/>
                    <a:pt x="33" y="86"/>
                    <a:pt x="34" y="86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7"/>
                    <a:pt x="33" y="88"/>
                    <a:pt x="32" y="90"/>
                  </a:cubicBezTo>
                  <a:cubicBezTo>
                    <a:pt x="31" y="92"/>
                    <a:pt x="29" y="93"/>
                    <a:pt x="28" y="94"/>
                  </a:cubicBezTo>
                  <a:cubicBezTo>
                    <a:pt x="27" y="96"/>
                    <a:pt x="27" y="98"/>
                    <a:pt x="29" y="99"/>
                  </a:cubicBezTo>
                  <a:cubicBezTo>
                    <a:pt x="29" y="99"/>
                    <a:pt x="29" y="99"/>
                    <a:pt x="29" y="99"/>
                  </a:cubicBezTo>
                  <a:cubicBezTo>
                    <a:pt x="30" y="99"/>
                    <a:pt x="32" y="99"/>
                    <a:pt x="33" y="97"/>
                  </a:cubicBezTo>
                  <a:cubicBezTo>
                    <a:pt x="34" y="95"/>
                    <a:pt x="33" y="93"/>
                    <a:pt x="35" y="91"/>
                  </a:cubicBezTo>
                  <a:cubicBezTo>
                    <a:pt x="36" y="89"/>
                    <a:pt x="36" y="89"/>
                    <a:pt x="37" y="88"/>
                  </a:cubicBezTo>
                  <a:cubicBezTo>
                    <a:pt x="37" y="88"/>
                    <a:pt x="37" y="88"/>
                    <a:pt x="37" y="88"/>
                  </a:cubicBezTo>
                  <a:cubicBezTo>
                    <a:pt x="37" y="89"/>
                    <a:pt x="38" y="88"/>
                    <a:pt x="38" y="88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8" y="88"/>
                    <a:pt x="39" y="88"/>
                    <a:pt x="39" y="88"/>
                  </a:cubicBezTo>
                  <a:cubicBezTo>
                    <a:pt x="39" y="88"/>
                    <a:pt x="40" y="88"/>
                    <a:pt x="40" y="87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51" y="91"/>
                    <a:pt x="63" y="91"/>
                    <a:pt x="74" y="86"/>
                  </a:cubicBezTo>
                  <a:cubicBezTo>
                    <a:pt x="74" y="87"/>
                    <a:pt x="74" y="87"/>
                    <a:pt x="74" y="87"/>
                  </a:cubicBezTo>
                  <a:cubicBezTo>
                    <a:pt x="74" y="88"/>
                    <a:pt x="75" y="88"/>
                    <a:pt x="75" y="88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7" y="89"/>
                    <a:pt x="77" y="88"/>
                  </a:cubicBezTo>
                  <a:cubicBezTo>
                    <a:pt x="77" y="88"/>
                    <a:pt x="77" y="88"/>
                    <a:pt x="77" y="88"/>
                  </a:cubicBezTo>
                  <a:cubicBezTo>
                    <a:pt x="78" y="89"/>
                    <a:pt x="78" y="89"/>
                    <a:pt x="79" y="91"/>
                  </a:cubicBezTo>
                  <a:cubicBezTo>
                    <a:pt x="81" y="93"/>
                    <a:pt x="81" y="95"/>
                    <a:pt x="82" y="97"/>
                  </a:cubicBezTo>
                  <a:cubicBezTo>
                    <a:pt x="83" y="99"/>
                    <a:pt x="84" y="99"/>
                    <a:pt x="85" y="99"/>
                  </a:cubicBezTo>
                  <a:cubicBezTo>
                    <a:pt x="85" y="99"/>
                    <a:pt x="85" y="99"/>
                    <a:pt x="85" y="99"/>
                  </a:cubicBezTo>
                  <a:cubicBezTo>
                    <a:pt x="87" y="98"/>
                    <a:pt x="87" y="96"/>
                    <a:pt x="86" y="94"/>
                  </a:cubicBezTo>
                  <a:cubicBezTo>
                    <a:pt x="85" y="93"/>
                    <a:pt x="83" y="92"/>
                    <a:pt x="82" y="90"/>
                  </a:cubicBezTo>
                  <a:cubicBezTo>
                    <a:pt x="81" y="88"/>
                    <a:pt x="81" y="87"/>
                    <a:pt x="81" y="86"/>
                  </a:cubicBezTo>
                  <a:cubicBezTo>
                    <a:pt x="81" y="86"/>
                    <a:pt x="81" y="86"/>
                    <a:pt x="81" y="86"/>
                  </a:cubicBezTo>
                  <a:cubicBezTo>
                    <a:pt x="81" y="86"/>
                    <a:pt x="81" y="86"/>
                    <a:pt x="81" y="85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1" y="85"/>
                    <a:pt x="81" y="85"/>
                    <a:pt x="81" y="84"/>
                  </a:cubicBezTo>
                  <a:cubicBezTo>
                    <a:pt x="81" y="84"/>
                    <a:pt x="81" y="84"/>
                    <a:pt x="81" y="83"/>
                  </a:cubicBezTo>
                  <a:cubicBezTo>
                    <a:pt x="81" y="82"/>
                    <a:pt x="81" y="82"/>
                    <a:pt x="81" y="82"/>
                  </a:cubicBezTo>
                  <a:cubicBezTo>
                    <a:pt x="90" y="75"/>
                    <a:pt x="96" y="65"/>
                    <a:pt x="97" y="53"/>
                  </a:cubicBezTo>
                  <a:cubicBezTo>
                    <a:pt x="98" y="53"/>
                    <a:pt x="98" y="53"/>
                    <a:pt x="98" y="53"/>
                  </a:cubicBezTo>
                  <a:cubicBezTo>
                    <a:pt x="99" y="53"/>
                    <a:pt x="99" y="53"/>
                    <a:pt x="99" y="53"/>
                  </a:cubicBezTo>
                  <a:cubicBezTo>
                    <a:pt x="100" y="53"/>
                    <a:pt x="100" y="52"/>
                    <a:pt x="100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0" y="52"/>
                    <a:pt x="101" y="52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51"/>
                    <a:pt x="102" y="51"/>
                    <a:pt x="104" y="51"/>
                  </a:cubicBezTo>
                  <a:cubicBezTo>
                    <a:pt x="106" y="51"/>
                    <a:pt x="108" y="52"/>
                    <a:pt x="110" y="52"/>
                  </a:cubicBezTo>
                  <a:cubicBezTo>
                    <a:pt x="112" y="52"/>
                    <a:pt x="114" y="51"/>
                    <a:pt x="114" y="49"/>
                  </a:cubicBezTo>
                  <a:cubicBezTo>
                    <a:pt x="114" y="49"/>
                    <a:pt x="114" y="49"/>
                    <a:pt x="114" y="49"/>
                  </a:cubicBezTo>
                  <a:cubicBezTo>
                    <a:pt x="114" y="48"/>
                    <a:pt x="112" y="47"/>
                    <a:pt x="110" y="47"/>
                  </a:cubicBezTo>
                  <a:close/>
                  <a:moveTo>
                    <a:pt x="44" y="24"/>
                  </a:move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2"/>
                    <a:pt x="45" y="22"/>
                  </a:cubicBezTo>
                  <a:cubicBezTo>
                    <a:pt x="45" y="22"/>
                    <a:pt x="45" y="21"/>
                    <a:pt x="45" y="21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53" y="17"/>
                    <a:pt x="62" y="18"/>
                    <a:pt x="69" y="21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9" y="22"/>
                    <a:pt x="69" y="22"/>
                  </a:cubicBezTo>
                  <a:cubicBezTo>
                    <a:pt x="69" y="22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4"/>
                    <a:pt x="69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9" y="25"/>
                    <a:pt x="67" y="29"/>
                    <a:pt x="65" y="31"/>
                  </a:cubicBezTo>
                  <a:cubicBezTo>
                    <a:pt x="62" y="33"/>
                    <a:pt x="62" y="35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0" y="37"/>
                    <a:pt x="60" y="38"/>
                  </a:cubicBezTo>
                  <a:cubicBezTo>
                    <a:pt x="60" y="38"/>
                    <a:pt x="59" y="38"/>
                    <a:pt x="59" y="38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8" y="38"/>
                    <a:pt x="56" y="38"/>
                    <a:pt x="55" y="39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4" y="38"/>
                    <a:pt x="54" y="38"/>
                  </a:cubicBezTo>
                  <a:cubicBezTo>
                    <a:pt x="54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5"/>
                    <a:pt x="52" y="33"/>
                    <a:pt x="49" y="31"/>
                  </a:cubicBezTo>
                  <a:cubicBezTo>
                    <a:pt x="47" y="29"/>
                    <a:pt x="45" y="25"/>
                    <a:pt x="44" y="24"/>
                  </a:cubicBezTo>
                  <a:close/>
                  <a:moveTo>
                    <a:pt x="38" y="25"/>
                  </a:moveTo>
                  <a:cubicBezTo>
                    <a:pt x="38" y="25"/>
                    <a:pt x="38" y="25"/>
                    <a:pt x="38" y="25"/>
                  </a:cubicBezTo>
                  <a:cubicBezTo>
                    <a:pt x="38" y="25"/>
                    <a:pt x="39" y="25"/>
                    <a:pt x="39" y="25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2" y="27"/>
                    <a:pt x="44" y="30"/>
                    <a:pt x="45" y="33"/>
                  </a:cubicBezTo>
                  <a:cubicBezTo>
                    <a:pt x="46" y="37"/>
                    <a:pt x="47" y="38"/>
                    <a:pt x="49" y="39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48" y="39"/>
                    <a:pt x="48" y="39"/>
                    <a:pt x="48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48" y="40"/>
                    <a:pt x="48" y="40"/>
                    <a:pt x="48" y="41"/>
                  </a:cubicBezTo>
                  <a:cubicBezTo>
                    <a:pt x="48" y="41"/>
                    <a:pt x="48" y="42"/>
                    <a:pt x="48" y="42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48" y="43"/>
                    <a:pt x="47" y="44"/>
                    <a:pt x="47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6" y="46"/>
                    <a:pt x="45" y="46"/>
                    <a:pt x="45" y="46"/>
                  </a:cubicBezTo>
                  <a:cubicBezTo>
                    <a:pt x="45" y="46"/>
                    <a:pt x="45" y="47"/>
                    <a:pt x="44" y="47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4" y="47"/>
                    <a:pt x="44" y="48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46"/>
                    <a:pt x="40" y="46"/>
                    <a:pt x="37" y="47"/>
                  </a:cubicBezTo>
                  <a:cubicBezTo>
                    <a:pt x="34" y="48"/>
                    <a:pt x="30" y="48"/>
                    <a:pt x="29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7"/>
                    <a:pt x="29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6"/>
                    <a:pt x="27" y="46"/>
                  </a:cubicBezTo>
                  <a:cubicBezTo>
                    <a:pt x="27" y="46"/>
                    <a:pt x="27" y="46"/>
                    <a:pt x="26" y="46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7" y="37"/>
                    <a:pt x="31" y="30"/>
                    <a:pt x="38" y="25"/>
                  </a:cubicBezTo>
                  <a:close/>
                  <a:moveTo>
                    <a:pt x="41" y="73"/>
                  </a:moveTo>
                  <a:cubicBezTo>
                    <a:pt x="41" y="73"/>
                    <a:pt x="40" y="73"/>
                    <a:pt x="40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0" y="73"/>
                    <a:pt x="40" y="73"/>
                    <a:pt x="39" y="74"/>
                  </a:cubicBezTo>
                  <a:cubicBezTo>
                    <a:pt x="39" y="74"/>
                    <a:pt x="38" y="74"/>
                    <a:pt x="38" y="74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35" y="72"/>
                    <a:pt x="32" y="69"/>
                    <a:pt x="30" y="65"/>
                  </a:cubicBezTo>
                  <a:cubicBezTo>
                    <a:pt x="28" y="61"/>
                    <a:pt x="27" y="57"/>
                    <a:pt x="26" y="53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8" y="53"/>
                    <a:pt x="28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9" y="52"/>
                    <a:pt x="29" y="52"/>
                    <a:pt x="29" y="51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30" y="51"/>
                    <a:pt x="34" y="51"/>
                    <a:pt x="37" y="52"/>
                  </a:cubicBezTo>
                  <a:cubicBezTo>
                    <a:pt x="40" y="53"/>
                    <a:pt x="42" y="53"/>
                    <a:pt x="44" y="51"/>
                  </a:cubicBezTo>
                  <a:cubicBezTo>
                    <a:pt x="44" y="51"/>
                    <a:pt x="44" y="51"/>
                    <a:pt x="44" y="51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5" y="52"/>
                    <a:pt x="45" y="53"/>
                    <a:pt x="45" y="53"/>
                  </a:cubicBezTo>
                  <a:cubicBezTo>
                    <a:pt x="45" y="53"/>
                    <a:pt x="46" y="53"/>
                    <a:pt x="46" y="53"/>
                  </a:cubicBezTo>
                  <a:cubicBezTo>
                    <a:pt x="47" y="53"/>
                    <a:pt x="47" y="53"/>
                    <a:pt x="47" y="53"/>
                  </a:cubicBezTo>
                  <a:cubicBezTo>
                    <a:pt x="47" y="54"/>
                    <a:pt x="47" y="54"/>
                    <a:pt x="47" y="55"/>
                  </a:cubicBezTo>
                  <a:cubicBezTo>
                    <a:pt x="48" y="55"/>
                    <a:pt x="48" y="56"/>
                    <a:pt x="48" y="56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48" y="57"/>
                    <a:pt x="48" y="58"/>
                    <a:pt x="48" y="58"/>
                  </a:cubicBezTo>
                  <a:cubicBezTo>
                    <a:pt x="48" y="58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60"/>
                    <a:pt x="49" y="60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7" y="61"/>
                    <a:pt x="46" y="62"/>
                    <a:pt x="45" y="66"/>
                  </a:cubicBezTo>
                  <a:cubicBezTo>
                    <a:pt x="44" y="69"/>
                    <a:pt x="42" y="72"/>
                    <a:pt x="41" y="73"/>
                  </a:cubicBezTo>
                  <a:close/>
                  <a:moveTo>
                    <a:pt x="70" y="75"/>
                  </a:moveTo>
                  <a:cubicBezTo>
                    <a:pt x="69" y="75"/>
                    <a:pt x="69" y="75"/>
                    <a:pt x="69" y="75"/>
                  </a:cubicBezTo>
                  <a:cubicBezTo>
                    <a:pt x="69" y="75"/>
                    <a:pt x="69" y="76"/>
                    <a:pt x="69" y="76"/>
                  </a:cubicBezTo>
                  <a:cubicBezTo>
                    <a:pt x="69" y="76"/>
                    <a:pt x="69" y="76"/>
                    <a:pt x="69" y="76"/>
                  </a:cubicBezTo>
                  <a:cubicBezTo>
                    <a:pt x="69" y="76"/>
                    <a:pt x="69" y="76"/>
                    <a:pt x="69" y="77"/>
                  </a:cubicBezTo>
                  <a:cubicBezTo>
                    <a:pt x="69" y="77"/>
                    <a:pt x="69" y="78"/>
                    <a:pt x="69" y="78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1" y="82"/>
                    <a:pt x="53" y="81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5" y="77"/>
                    <a:pt x="45" y="77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5"/>
                    <a:pt x="45" y="75"/>
                  </a:cubicBezTo>
                  <a:cubicBezTo>
                    <a:pt x="44" y="75"/>
                    <a:pt x="44" y="75"/>
                    <a:pt x="44" y="75"/>
                  </a:cubicBezTo>
                  <a:cubicBezTo>
                    <a:pt x="45" y="74"/>
                    <a:pt x="47" y="70"/>
                    <a:pt x="49" y="68"/>
                  </a:cubicBezTo>
                  <a:cubicBezTo>
                    <a:pt x="52" y="66"/>
                    <a:pt x="52" y="64"/>
                    <a:pt x="52" y="62"/>
                  </a:cubicBezTo>
                  <a:cubicBezTo>
                    <a:pt x="52" y="62"/>
                    <a:pt x="52" y="62"/>
                    <a:pt x="52" y="62"/>
                  </a:cubicBezTo>
                  <a:cubicBezTo>
                    <a:pt x="52" y="62"/>
                    <a:pt x="53" y="62"/>
                    <a:pt x="53" y="62"/>
                  </a:cubicBezTo>
                  <a:cubicBezTo>
                    <a:pt x="53" y="62"/>
                    <a:pt x="53" y="62"/>
                    <a:pt x="53" y="62"/>
                  </a:cubicBezTo>
                  <a:cubicBezTo>
                    <a:pt x="53" y="62"/>
                    <a:pt x="54" y="62"/>
                    <a:pt x="54" y="61"/>
                  </a:cubicBezTo>
                  <a:cubicBezTo>
                    <a:pt x="54" y="61"/>
                    <a:pt x="55" y="61"/>
                    <a:pt x="55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1"/>
                    <a:pt x="58" y="61"/>
                    <a:pt x="59" y="60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9" y="61"/>
                    <a:pt x="60" y="61"/>
                    <a:pt x="60" y="61"/>
                  </a:cubicBezTo>
                  <a:cubicBezTo>
                    <a:pt x="60" y="62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2" y="62"/>
                    <a:pt x="62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64"/>
                    <a:pt x="62" y="66"/>
                    <a:pt x="65" y="68"/>
                  </a:cubicBezTo>
                  <a:cubicBezTo>
                    <a:pt x="67" y="70"/>
                    <a:pt x="69" y="74"/>
                    <a:pt x="70" y="75"/>
                  </a:cubicBezTo>
                  <a:close/>
                  <a:moveTo>
                    <a:pt x="60" y="54"/>
                  </a:moveTo>
                  <a:cubicBezTo>
                    <a:pt x="57" y="55"/>
                    <a:pt x="54" y="55"/>
                    <a:pt x="52" y="52"/>
                  </a:cubicBezTo>
                  <a:cubicBezTo>
                    <a:pt x="51" y="50"/>
                    <a:pt x="52" y="46"/>
                    <a:pt x="54" y="45"/>
                  </a:cubicBezTo>
                  <a:cubicBezTo>
                    <a:pt x="57" y="43"/>
                    <a:pt x="60" y="44"/>
                    <a:pt x="62" y="47"/>
                  </a:cubicBezTo>
                  <a:cubicBezTo>
                    <a:pt x="63" y="49"/>
                    <a:pt x="62" y="53"/>
                    <a:pt x="60" y="54"/>
                  </a:cubicBezTo>
                  <a:close/>
                  <a:moveTo>
                    <a:pt x="76" y="74"/>
                  </a:moveTo>
                  <a:cubicBezTo>
                    <a:pt x="76" y="74"/>
                    <a:pt x="76" y="74"/>
                    <a:pt x="76" y="74"/>
                  </a:cubicBezTo>
                  <a:cubicBezTo>
                    <a:pt x="76" y="74"/>
                    <a:pt x="75" y="74"/>
                    <a:pt x="75" y="7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3" y="73"/>
                    <a:pt x="73" y="73"/>
                  </a:cubicBezTo>
                  <a:cubicBezTo>
                    <a:pt x="73" y="73"/>
                    <a:pt x="73" y="73"/>
                    <a:pt x="73" y="73"/>
                  </a:cubicBezTo>
                  <a:cubicBezTo>
                    <a:pt x="72" y="72"/>
                    <a:pt x="70" y="69"/>
                    <a:pt x="69" y="66"/>
                  </a:cubicBezTo>
                  <a:cubicBezTo>
                    <a:pt x="69" y="62"/>
                    <a:pt x="67" y="61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6" y="60"/>
                    <a:pt x="66" y="59"/>
                    <a:pt x="66" y="59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66" y="59"/>
                    <a:pt x="66" y="58"/>
                    <a:pt x="66" y="58"/>
                  </a:cubicBezTo>
                  <a:cubicBezTo>
                    <a:pt x="66" y="58"/>
                    <a:pt x="66" y="57"/>
                    <a:pt x="66" y="57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6" y="56"/>
                    <a:pt x="67" y="54"/>
                    <a:pt x="67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3"/>
                    <a:pt x="69" y="53"/>
                    <a:pt x="69" y="53"/>
                  </a:cubicBezTo>
                  <a:cubicBezTo>
                    <a:pt x="69" y="53"/>
                    <a:pt x="70" y="52"/>
                    <a:pt x="70" y="52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0" y="52"/>
                    <a:pt x="70" y="52"/>
                    <a:pt x="70" y="51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2" y="53"/>
                    <a:pt x="74" y="53"/>
                    <a:pt x="78" y="52"/>
                  </a:cubicBezTo>
                  <a:cubicBezTo>
                    <a:pt x="80" y="51"/>
                    <a:pt x="84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3"/>
                    <a:pt x="87" y="53"/>
                  </a:cubicBezTo>
                  <a:cubicBezTo>
                    <a:pt x="87" y="53"/>
                    <a:pt x="87" y="53"/>
                    <a:pt x="88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7" y="62"/>
                    <a:pt x="83" y="69"/>
                    <a:pt x="76" y="74"/>
                  </a:cubicBezTo>
                  <a:close/>
                  <a:moveTo>
                    <a:pt x="88" y="46"/>
                  </a:moveTo>
                  <a:cubicBezTo>
                    <a:pt x="88" y="46"/>
                    <a:pt x="88" y="46"/>
                    <a:pt x="88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6" y="46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5" y="47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4" y="48"/>
                    <a:pt x="80" y="48"/>
                    <a:pt x="78" y="47"/>
                  </a:cubicBezTo>
                  <a:cubicBezTo>
                    <a:pt x="74" y="46"/>
                    <a:pt x="72" y="46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7"/>
                    <a:pt x="69" y="46"/>
                    <a:pt x="69" y="46"/>
                  </a:cubicBezTo>
                  <a:cubicBezTo>
                    <a:pt x="69" y="46"/>
                    <a:pt x="68" y="46"/>
                    <a:pt x="68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5"/>
                    <a:pt x="67" y="44"/>
                    <a:pt x="67" y="44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2"/>
                    <a:pt x="66" y="41"/>
                    <a:pt x="66" y="41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39"/>
                    <a:pt x="66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7" y="38"/>
                    <a:pt x="69" y="37"/>
                    <a:pt x="69" y="33"/>
                  </a:cubicBezTo>
                  <a:cubicBezTo>
                    <a:pt x="70" y="30"/>
                    <a:pt x="72" y="27"/>
                    <a:pt x="73" y="26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6"/>
                    <a:pt x="74" y="26"/>
                    <a:pt x="74" y="26"/>
                  </a:cubicBez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6"/>
                    <a:pt x="75" y="25"/>
                  </a:cubicBezTo>
                  <a:cubicBezTo>
                    <a:pt x="75" y="25"/>
                    <a:pt x="76" y="25"/>
                    <a:pt x="76" y="25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9" y="27"/>
                    <a:pt x="82" y="30"/>
                    <a:pt x="84" y="34"/>
                  </a:cubicBezTo>
                  <a:cubicBezTo>
                    <a:pt x="86" y="38"/>
                    <a:pt x="88" y="42"/>
                    <a:pt x="88" y="46"/>
                  </a:cubicBezTo>
                  <a:close/>
                  <a:moveTo>
                    <a:pt x="55" y="46"/>
                  </a:moveTo>
                  <a:cubicBezTo>
                    <a:pt x="53" y="47"/>
                    <a:pt x="52" y="50"/>
                    <a:pt x="53" y="52"/>
                  </a:cubicBezTo>
                  <a:cubicBezTo>
                    <a:pt x="55" y="54"/>
                    <a:pt x="57" y="54"/>
                    <a:pt x="59" y="53"/>
                  </a:cubicBezTo>
                  <a:cubicBezTo>
                    <a:pt x="61" y="52"/>
                    <a:pt x="62" y="49"/>
                    <a:pt x="61" y="47"/>
                  </a:cubicBezTo>
                  <a:cubicBezTo>
                    <a:pt x="60" y="45"/>
                    <a:pt x="57" y="45"/>
                    <a:pt x="55" y="46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6" name="Freeform 5"/>
            <p:cNvSpPr>
              <a:spLocks noChangeAspect="1" noEditPoints="1"/>
            </p:cNvSpPr>
            <p:nvPr/>
          </p:nvSpPr>
          <p:spPr bwMode="gray">
            <a:xfrm>
              <a:off x="427664" y="4938736"/>
              <a:ext cx="277693" cy="280800"/>
            </a:xfrm>
            <a:custGeom>
              <a:avLst/>
              <a:gdLst/>
              <a:ahLst/>
              <a:cxnLst>
                <a:cxn ang="0">
                  <a:pos x="97" y="83"/>
                </a:cxn>
                <a:cxn ang="0">
                  <a:pos x="60" y="46"/>
                </a:cxn>
                <a:cxn ang="0">
                  <a:pos x="60" y="46"/>
                </a:cxn>
                <a:cxn ang="0">
                  <a:pos x="64" y="32"/>
                </a:cxn>
                <a:cxn ang="0">
                  <a:pos x="54" y="9"/>
                </a:cxn>
                <a:cxn ang="0">
                  <a:pos x="32" y="0"/>
                </a:cxn>
                <a:cxn ang="0">
                  <a:pos x="9" y="9"/>
                </a:cxn>
                <a:cxn ang="0">
                  <a:pos x="0" y="32"/>
                </a:cxn>
                <a:cxn ang="0">
                  <a:pos x="9" y="54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46" y="60"/>
                </a:cxn>
                <a:cxn ang="0">
                  <a:pos x="46" y="60"/>
                </a:cxn>
                <a:cxn ang="0">
                  <a:pos x="83" y="97"/>
                </a:cxn>
                <a:cxn ang="0">
                  <a:pos x="95" y="96"/>
                </a:cxn>
                <a:cxn ang="0">
                  <a:pos x="96" y="95"/>
                </a:cxn>
                <a:cxn ang="0">
                  <a:pos x="97" y="83"/>
                </a:cxn>
                <a:cxn ang="0">
                  <a:pos x="32" y="55"/>
                </a:cxn>
                <a:cxn ang="0">
                  <a:pos x="15" y="48"/>
                </a:cxn>
                <a:cxn ang="0">
                  <a:pos x="9" y="32"/>
                </a:cxn>
                <a:cxn ang="0">
                  <a:pos x="15" y="15"/>
                </a:cxn>
                <a:cxn ang="0">
                  <a:pos x="32" y="9"/>
                </a:cxn>
                <a:cxn ang="0">
                  <a:pos x="48" y="15"/>
                </a:cxn>
                <a:cxn ang="0">
                  <a:pos x="55" y="32"/>
                </a:cxn>
                <a:cxn ang="0">
                  <a:pos x="48" y="48"/>
                </a:cxn>
                <a:cxn ang="0">
                  <a:pos x="32" y="55"/>
                </a:cxn>
              </a:cxnLst>
              <a:rect l="0" t="0" r="r" b="b"/>
              <a:pathLst>
                <a:path w="100" h="101">
                  <a:moveTo>
                    <a:pt x="97" y="83"/>
                  </a:moveTo>
                  <a:cubicBezTo>
                    <a:pt x="60" y="46"/>
                    <a:pt x="60" y="46"/>
                    <a:pt x="60" y="46"/>
                  </a:cubicBezTo>
                  <a:cubicBezTo>
                    <a:pt x="60" y="46"/>
                    <a:pt x="60" y="46"/>
                    <a:pt x="60" y="46"/>
                  </a:cubicBezTo>
                  <a:cubicBezTo>
                    <a:pt x="62" y="42"/>
                    <a:pt x="64" y="37"/>
                    <a:pt x="64" y="32"/>
                  </a:cubicBezTo>
                  <a:cubicBezTo>
                    <a:pt x="64" y="24"/>
                    <a:pt x="60" y="15"/>
                    <a:pt x="54" y="9"/>
                  </a:cubicBezTo>
                  <a:cubicBezTo>
                    <a:pt x="48" y="3"/>
                    <a:pt x="40" y="0"/>
                    <a:pt x="32" y="0"/>
                  </a:cubicBezTo>
                  <a:cubicBezTo>
                    <a:pt x="23" y="0"/>
                    <a:pt x="15" y="3"/>
                    <a:pt x="9" y="9"/>
                  </a:cubicBezTo>
                  <a:cubicBezTo>
                    <a:pt x="3" y="15"/>
                    <a:pt x="0" y="24"/>
                    <a:pt x="0" y="32"/>
                  </a:cubicBezTo>
                  <a:cubicBezTo>
                    <a:pt x="0" y="40"/>
                    <a:pt x="3" y="48"/>
                    <a:pt x="9" y="54"/>
                  </a:cubicBezTo>
                  <a:cubicBezTo>
                    <a:pt x="15" y="61"/>
                    <a:pt x="23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6" y="64"/>
                    <a:pt x="41" y="63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83" y="97"/>
                    <a:pt x="83" y="97"/>
                    <a:pt x="83" y="97"/>
                  </a:cubicBezTo>
                  <a:cubicBezTo>
                    <a:pt x="86" y="101"/>
                    <a:pt x="91" y="99"/>
                    <a:pt x="95" y="96"/>
                  </a:cubicBezTo>
                  <a:cubicBezTo>
                    <a:pt x="96" y="95"/>
                    <a:pt x="96" y="95"/>
                    <a:pt x="96" y="95"/>
                  </a:cubicBezTo>
                  <a:cubicBezTo>
                    <a:pt x="99" y="91"/>
                    <a:pt x="100" y="86"/>
                    <a:pt x="97" y="83"/>
                  </a:cubicBezTo>
                  <a:close/>
                  <a:moveTo>
                    <a:pt x="32" y="55"/>
                  </a:moveTo>
                  <a:cubicBezTo>
                    <a:pt x="26" y="55"/>
                    <a:pt x="20" y="52"/>
                    <a:pt x="15" y="48"/>
                  </a:cubicBezTo>
                  <a:cubicBezTo>
                    <a:pt x="11" y="43"/>
                    <a:pt x="9" y="38"/>
                    <a:pt x="9" y="32"/>
                  </a:cubicBezTo>
                  <a:cubicBezTo>
                    <a:pt x="9" y="26"/>
                    <a:pt x="11" y="20"/>
                    <a:pt x="15" y="15"/>
                  </a:cubicBezTo>
                  <a:cubicBezTo>
                    <a:pt x="20" y="11"/>
                    <a:pt x="26" y="9"/>
                    <a:pt x="32" y="9"/>
                  </a:cubicBezTo>
                  <a:cubicBezTo>
                    <a:pt x="37" y="9"/>
                    <a:pt x="43" y="11"/>
                    <a:pt x="48" y="15"/>
                  </a:cubicBezTo>
                  <a:cubicBezTo>
                    <a:pt x="52" y="20"/>
                    <a:pt x="55" y="26"/>
                    <a:pt x="55" y="32"/>
                  </a:cubicBezTo>
                  <a:cubicBezTo>
                    <a:pt x="55" y="38"/>
                    <a:pt x="52" y="43"/>
                    <a:pt x="48" y="48"/>
                  </a:cubicBezTo>
                  <a:cubicBezTo>
                    <a:pt x="43" y="52"/>
                    <a:pt x="37" y="55"/>
                    <a:pt x="32" y="55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7" name="Freeform 9"/>
            <p:cNvSpPr>
              <a:spLocks noChangeAspect="1"/>
            </p:cNvSpPr>
            <p:nvPr/>
          </p:nvSpPr>
          <p:spPr bwMode="gray">
            <a:xfrm>
              <a:off x="965495" y="4965736"/>
              <a:ext cx="224458" cy="226800"/>
            </a:xfrm>
            <a:custGeom>
              <a:avLst/>
              <a:gdLst/>
              <a:ahLst/>
              <a:cxnLst>
                <a:cxn ang="0">
                  <a:pos x="24" y="81"/>
                </a:cxn>
                <a:cxn ang="0">
                  <a:pos x="9" y="75"/>
                </a:cxn>
                <a:cxn ang="0">
                  <a:pos x="10" y="46"/>
                </a:cxn>
                <a:cxn ang="0">
                  <a:pos x="51" y="5"/>
                </a:cxn>
                <a:cxn ang="0">
                  <a:pos x="65" y="1"/>
                </a:cxn>
                <a:cxn ang="0">
                  <a:pos x="75" y="11"/>
                </a:cxn>
                <a:cxn ang="0">
                  <a:pos x="71" y="26"/>
                </a:cxn>
                <a:cxn ang="0">
                  <a:pos x="32" y="64"/>
                </a:cxn>
                <a:cxn ang="0">
                  <a:pos x="25" y="68"/>
                </a:cxn>
                <a:cxn ang="0">
                  <a:pos x="19" y="66"/>
                </a:cxn>
                <a:cxn ang="0">
                  <a:pos x="20" y="52"/>
                </a:cxn>
                <a:cxn ang="0">
                  <a:pos x="47" y="25"/>
                </a:cxn>
                <a:cxn ang="0">
                  <a:pos x="51" y="25"/>
                </a:cxn>
                <a:cxn ang="0">
                  <a:pos x="51" y="29"/>
                </a:cxn>
                <a:cxn ang="0">
                  <a:pos x="24" y="56"/>
                </a:cxn>
                <a:cxn ang="0">
                  <a:pos x="23" y="62"/>
                </a:cxn>
                <a:cxn ang="0">
                  <a:pos x="25" y="62"/>
                </a:cxn>
                <a:cxn ang="0">
                  <a:pos x="28" y="60"/>
                </a:cxn>
                <a:cxn ang="0">
                  <a:pos x="67" y="22"/>
                </a:cxn>
                <a:cxn ang="0">
                  <a:pos x="70" y="13"/>
                </a:cxn>
                <a:cxn ang="0">
                  <a:pos x="64" y="7"/>
                </a:cxn>
                <a:cxn ang="0">
                  <a:pos x="55" y="9"/>
                </a:cxn>
                <a:cxn ang="0">
                  <a:pos x="14" y="50"/>
                </a:cxn>
                <a:cxn ang="0">
                  <a:pos x="14" y="71"/>
                </a:cxn>
                <a:cxn ang="0">
                  <a:pos x="35" y="70"/>
                </a:cxn>
                <a:cxn ang="0">
                  <a:pos x="75" y="30"/>
                </a:cxn>
                <a:cxn ang="0">
                  <a:pos x="79" y="30"/>
                </a:cxn>
                <a:cxn ang="0">
                  <a:pos x="79" y="34"/>
                </a:cxn>
                <a:cxn ang="0">
                  <a:pos x="39" y="74"/>
                </a:cxn>
                <a:cxn ang="0">
                  <a:pos x="24" y="81"/>
                </a:cxn>
              </a:cxnLst>
              <a:rect l="0" t="0" r="r" b="b"/>
              <a:pathLst>
                <a:path w="80" h="81">
                  <a:moveTo>
                    <a:pt x="24" y="81"/>
                  </a:moveTo>
                  <a:cubicBezTo>
                    <a:pt x="18" y="81"/>
                    <a:pt x="13" y="79"/>
                    <a:pt x="9" y="75"/>
                  </a:cubicBezTo>
                  <a:cubicBezTo>
                    <a:pt x="2" y="68"/>
                    <a:pt x="0" y="56"/>
                    <a:pt x="10" y="46"/>
                  </a:cubicBezTo>
                  <a:cubicBezTo>
                    <a:pt x="16" y="40"/>
                    <a:pt x="39" y="17"/>
                    <a:pt x="51" y="5"/>
                  </a:cubicBezTo>
                  <a:cubicBezTo>
                    <a:pt x="55" y="1"/>
                    <a:pt x="60" y="0"/>
                    <a:pt x="65" y="1"/>
                  </a:cubicBezTo>
                  <a:cubicBezTo>
                    <a:pt x="70" y="2"/>
                    <a:pt x="74" y="6"/>
                    <a:pt x="75" y="11"/>
                  </a:cubicBezTo>
                  <a:cubicBezTo>
                    <a:pt x="77" y="16"/>
                    <a:pt x="75" y="21"/>
                    <a:pt x="71" y="26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0" y="67"/>
                    <a:pt x="28" y="68"/>
                    <a:pt x="25" y="68"/>
                  </a:cubicBezTo>
                  <a:cubicBezTo>
                    <a:pt x="23" y="68"/>
                    <a:pt x="20" y="68"/>
                    <a:pt x="19" y="66"/>
                  </a:cubicBezTo>
                  <a:cubicBezTo>
                    <a:pt x="16" y="63"/>
                    <a:pt x="15" y="57"/>
                    <a:pt x="20" y="52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9" y="24"/>
                    <a:pt x="50" y="24"/>
                    <a:pt x="51" y="25"/>
                  </a:cubicBezTo>
                  <a:cubicBezTo>
                    <a:pt x="53" y="26"/>
                    <a:pt x="53" y="28"/>
                    <a:pt x="51" y="29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2" y="59"/>
                    <a:pt x="22" y="61"/>
                    <a:pt x="23" y="62"/>
                  </a:cubicBezTo>
                  <a:cubicBezTo>
                    <a:pt x="23" y="62"/>
                    <a:pt x="24" y="63"/>
                    <a:pt x="25" y="62"/>
                  </a:cubicBezTo>
                  <a:cubicBezTo>
                    <a:pt x="26" y="62"/>
                    <a:pt x="27" y="62"/>
                    <a:pt x="28" y="60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0" y="19"/>
                    <a:pt x="71" y="16"/>
                    <a:pt x="70" y="13"/>
                  </a:cubicBezTo>
                  <a:cubicBezTo>
                    <a:pt x="69" y="10"/>
                    <a:pt x="67" y="7"/>
                    <a:pt x="64" y="7"/>
                  </a:cubicBezTo>
                  <a:cubicBezTo>
                    <a:pt x="61" y="6"/>
                    <a:pt x="58" y="7"/>
                    <a:pt x="55" y="9"/>
                  </a:cubicBezTo>
                  <a:cubicBezTo>
                    <a:pt x="43" y="21"/>
                    <a:pt x="20" y="44"/>
                    <a:pt x="14" y="50"/>
                  </a:cubicBezTo>
                  <a:cubicBezTo>
                    <a:pt x="7" y="57"/>
                    <a:pt x="9" y="66"/>
                    <a:pt x="14" y="71"/>
                  </a:cubicBezTo>
                  <a:cubicBezTo>
                    <a:pt x="18" y="76"/>
                    <a:pt x="27" y="78"/>
                    <a:pt x="35" y="7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6" y="29"/>
                    <a:pt x="78" y="29"/>
                    <a:pt x="79" y="30"/>
                  </a:cubicBezTo>
                  <a:cubicBezTo>
                    <a:pt x="80" y="31"/>
                    <a:pt x="80" y="33"/>
                    <a:pt x="79" y="34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34" y="79"/>
                    <a:pt x="29" y="81"/>
                    <a:pt x="24" y="81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38" name="Group 237"/>
            <p:cNvGrpSpPr>
              <a:grpSpLocks noChangeAspect="1"/>
            </p:cNvGrpSpPr>
            <p:nvPr/>
          </p:nvGrpSpPr>
          <p:grpSpPr bwMode="gray">
            <a:xfrm>
              <a:off x="1434844" y="4924336"/>
              <a:ext cx="306425" cy="309600"/>
              <a:chOff x="2000250" y="1714500"/>
              <a:chExt cx="1225551" cy="1238251"/>
            </a:xfrm>
          </p:grpSpPr>
          <p:sp>
            <p:nvSpPr>
              <p:cNvPr id="239" name="Freeform 13"/>
              <p:cNvSpPr>
                <a:spLocks noChangeAspect="1"/>
              </p:cNvSpPr>
              <p:nvPr/>
            </p:nvSpPr>
            <p:spPr bwMode="gray">
              <a:xfrm>
                <a:off x="2170113" y="1714500"/>
                <a:ext cx="1055688" cy="1123950"/>
              </a:xfrm>
              <a:custGeom>
                <a:avLst/>
                <a:gdLst/>
                <a:ahLst/>
                <a:cxnLst>
                  <a:cxn ang="0">
                    <a:pos x="16" y="90"/>
                  </a:cxn>
                  <a:cxn ang="0">
                    <a:pos x="16" y="30"/>
                  </a:cxn>
                  <a:cxn ang="0">
                    <a:pos x="16" y="28"/>
                  </a:cxn>
                  <a:cxn ang="0">
                    <a:pos x="38" y="6"/>
                  </a:cxn>
                  <a:cxn ang="0">
                    <a:pos x="53" y="12"/>
                  </a:cxn>
                  <a:cxn ang="0">
                    <a:pos x="38" y="12"/>
                  </a:cxn>
                  <a:cxn ang="0">
                    <a:pos x="22" y="28"/>
                  </a:cxn>
                  <a:cxn ang="0">
                    <a:pos x="93" y="28"/>
                  </a:cxn>
                  <a:cxn ang="0">
                    <a:pos x="77" y="12"/>
                  </a:cxn>
                  <a:cxn ang="0">
                    <a:pos x="61" y="12"/>
                  </a:cxn>
                  <a:cxn ang="0">
                    <a:pos x="38" y="0"/>
                  </a:cxn>
                  <a:cxn ang="0">
                    <a:pos x="10" y="28"/>
                  </a:cxn>
                  <a:cxn ang="0">
                    <a:pos x="10" y="30"/>
                  </a:cxn>
                  <a:cxn ang="0">
                    <a:pos x="10" y="90"/>
                  </a:cxn>
                  <a:cxn ang="0">
                    <a:pos x="0" y="99"/>
                  </a:cxn>
                  <a:cxn ang="0">
                    <a:pos x="27" y="99"/>
                  </a:cxn>
                  <a:cxn ang="0">
                    <a:pos x="16" y="90"/>
                  </a:cxn>
                </a:cxnLst>
                <a:rect l="0" t="0" r="r" b="b"/>
                <a:pathLst>
                  <a:path w="93" h="99">
                    <a:moveTo>
                      <a:pt x="16" y="90"/>
                    </a:move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16"/>
                      <a:pt x="26" y="6"/>
                      <a:pt x="38" y="6"/>
                    </a:cubicBezTo>
                    <a:cubicBezTo>
                      <a:pt x="44" y="6"/>
                      <a:pt x="49" y="8"/>
                      <a:pt x="53" y="12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29" y="12"/>
                      <a:pt x="22" y="19"/>
                      <a:pt x="22" y="28"/>
                    </a:cubicBezTo>
                    <a:cubicBezTo>
                      <a:pt x="93" y="28"/>
                      <a:pt x="93" y="28"/>
                      <a:pt x="93" y="28"/>
                    </a:cubicBezTo>
                    <a:cubicBezTo>
                      <a:pt x="93" y="19"/>
                      <a:pt x="86" y="12"/>
                      <a:pt x="77" y="12"/>
                    </a:cubicBezTo>
                    <a:cubicBezTo>
                      <a:pt x="61" y="12"/>
                      <a:pt x="61" y="12"/>
                      <a:pt x="61" y="12"/>
                    </a:cubicBezTo>
                    <a:cubicBezTo>
                      <a:pt x="56" y="5"/>
                      <a:pt x="48" y="0"/>
                      <a:pt x="38" y="0"/>
                    </a:cubicBezTo>
                    <a:cubicBezTo>
                      <a:pt x="23" y="0"/>
                      <a:pt x="10" y="13"/>
                      <a:pt x="10" y="28"/>
                    </a:cubicBezTo>
                    <a:cubicBezTo>
                      <a:pt x="10" y="30"/>
                      <a:pt x="10" y="30"/>
                      <a:pt x="10" y="30"/>
                    </a:cubicBezTo>
                    <a:cubicBezTo>
                      <a:pt x="10" y="90"/>
                      <a:pt x="10" y="90"/>
                      <a:pt x="10" y="90"/>
                    </a:cubicBezTo>
                    <a:cubicBezTo>
                      <a:pt x="4" y="91"/>
                      <a:pt x="0" y="94"/>
                      <a:pt x="0" y="99"/>
                    </a:cubicBezTo>
                    <a:cubicBezTo>
                      <a:pt x="27" y="99"/>
                      <a:pt x="27" y="99"/>
                      <a:pt x="27" y="99"/>
                    </a:cubicBezTo>
                    <a:cubicBezTo>
                      <a:pt x="27" y="94"/>
                      <a:pt x="22" y="91"/>
                      <a:pt x="16" y="90"/>
                    </a:cubicBezTo>
                    <a:close/>
                  </a:path>
                </a:pathLst>
              </a:custGeom>
              <a:solidFill>
                <a:srgbClr val="81BC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40" name="Freeform 14"/>
              <p:cNvSpPr>
                <a:spLocks noChangeAspect="1"/>
              </p:cNvSpPr>
              <p:nvPr/>
            </p:nvSpPr>
            <p:spPr bwMode="gray">
              <a:xfrm>
                <a:off x="2000250" y="2884488"/>
                <a:ext cx="646113" cy="68263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6"/>
                  </a:cxn>
                  <a:cxn ang="0">
                    <a:pos x="54" y="6"/>
                  </a:cxn>
                  <a:cxn ang="0">
                    <a:pos x="57" y="3"/>
                  </a:cxn>
                  <a:cxn ang="0">
                    <a:pos x="54" y="0"/>
                  </a:cxn>
                </a:cxnLst>
                <a:rect l="0" t="0" r="r" b="b"/>
                <a:pathLst>
                  <a:path w="57" h="6">
                    <a:moveTo>
                      <a:pt x="54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5"/>
                      <a:pt x="1" y="6"/>
                      <a:pt x="3" y="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5" y="6"/>
                      <a:pt x="57" y="5"/>
                      <a:pt x="57" y="3"/>
                    </a:cubicBezTo>
                    <a:cubicBezTo>
                      <a:pt x="57" y="1"/>
                      <a:pt x="55" y="0"/>
                      <a:pt x="54" y="0"/>
                    </a:cubicBezTo>
                    <a:close/>
                  </a:path>
                </a:pathLst>
              </a:custGeom>
              <a:solidFill>
                <a:srgbClr val="81BC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241" name="Freeform 18"/>
            <p:cNvSpPr>
              <a:spLocks noChangeAspect="1" noEditPoints="1"/>
            </p:cNvSpPr>
            <p:nvPr/>
          </p:nvSpPr>
          <p:spPr bwMode="gray">
            <a:xfrm>
              <a:off x="1975171" y="4924336"/>
              <a:ext cx="216720" cy="309600"/>
            </a:xfrm>
            <a:custGeom>
              <a:avLst/>
              <a:gdLst/>
              <a:ahLst/>
              <a:cxnLst>
                <a:cxn ang="0">
                  <a:pos x="4" y="49"/>
                </a:cxn>
                <a:cxn ang="0">
                  <a:pos x="5" y="45"/>
                </a:cxn>
                <a:cxn ang="0">
                  <a:pos x="28" y="26"/>
                </a:cxn>
                <a:cxn ang="0">
                  <a:pos x="18" y="15"/>
                </a:cxn>
                <a:cxn ang="0">
                  <a:pos x="32" y="0"/>
                </a:cxn>
                <a:cxn ang="0">
                  <a:pos x="49" y="15"/>
                </a:cxn>
                <a:cxn ang="0">
                  <a:pos x="66" y="16"/>
                </a:cxn>
                <a:cxn ang="0">
                  <a:pos x="76" y="25"/>
                </a:cxn>
                <a:cxn ang="0">
                  <a:pos x="76" y="25"/>
                </a:cxn>
                <a:cxn ang="0">
                  <a:pos x="76" y="25"/>
                </a:cxn>
                <a:cxn ang="0">
                  <a:pos x="43" y="58"/>
                </a:cxn>
                <a:cxn ang="0">
                  <a:pos x="43" y="58"/>
                </a:cxn>
                <a:cxn ang="0">
                  <a:pos x="43" y="58"/>
                </a:cxn>
                <a:cxn ang="0">
                  <a:pos x="33" y="49"/>
                </a:cxn>
                <a:cxn ang="0">
                  <a:pos x="33" y="31"/>
                </a:cxn>
                <a:cxn ang="0">
                  <a:pos x="32" y="30"/>
                </a:cxn>
                <a:cxn ang="0">
                  <a:pos x="11" y="48"/>
                </a:cxn>
                <a:cxn ang="0">
                  <a:pos x="33" y="88"/>
                </a:cxn>
                <a:cxn ang="0">
                  <a:pos x="45" y="98"/>
                </a:cxn>
                <a:cxn ang="0">
                  <a:pos x="16" y="98"/>
                </a:cxn>
                <a:cxn ang="0">
                  <a:pos x="26" y="89"/>
                </a:cxn>
                <a:cxn ang="0">
                  <a:pos x="5" y="51"/>
                </a:cxn>
                <a:cxn ang="0">
                  <a:pos x="4" y="50"/>
                </a:cxn>
                <a:cxn ang="0">
                  <a:pos x="4" y="49"/>
                </a:cxn>
                <a:cxn ang="0">
                  <a:pos x="57" y="102"/>
                </a:cxn>
                <a:cxn ang="0">
                  <a:pos x="4" y="102"/>
                </a:cxn>
                <a:cxn ang="0">
                  <a:pos x="0" y="106"/>
                </a:cxn>
                <a:cxn ang="0">
                  <a:pos x="4" y="109"/>
                </a:cxn>
                <a:cxn ang="0">
                  <a:pos x="57" y="109"/>
                </a:cxn>
                <a:cxn ang="0">
                  <a:pos x="61" y="106"/>
                </a:cxn>
                <a:cxn ang="0">
                  <a:pos x="57" y="102"/>
                </a:cxn>
              </a:cxnLst>
              <a:rect l="0" t="0" r="r" b="b"/>
              <a:pathLst>
                <a:path w="76" h="109">
                  <a:moveTo>
                    <a:pt x="4" y="49"/>
                  </a:moveTo>
                  <a:cubicBezTo>
                    <a:pt x="3" y="48"/>
                    <a:pt x="4" y="46"/>
                    <a:pt x="5" y="45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61" y="10"/>
                    <a:pt x="66" y="16"/>
                  </a:cubicBezTo>
                  <a:cubicBezTo>
                    <a:pt x="72" y="21"/>
                    <a:pt x="76" y="25"/>
                    <a:pt x="76" y="25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43" y="58"/>
                    <a:pt x="39" y="54"/>
                    <a:pt x="33" y="49"/>
                  </a:cubicBezTo>
                  <a:cubicBezTo>
                    <a:pt x="28" y="43"/>
                    <a:pt x="33" y="31"/>
                    <a:pt x="33" y="31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33" y="88"/>
                    <a:pt x="33" y="88"/>
                    <a:pt x="33" y="88"/>
                  </a:cubicBezTo>
                  <a:cubicBezTo>
                    <a:pt x="40" y="89"/>
                    <a:pt x="45" y="93"/>
                    <a:pt x="45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4"/>
                    <a:pt x="20" y="90"/>
                    <a:pt x="26" y="89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0"/>
                    <a:pt x="4" y="50"/>
                    <a:pt x="4" y="50"/>
                  </a:cubicBezTo>
                  <a:cubicBezTo>
                    <a:pt x="4" y="49"/>
                    <a:pt x="4" y="49"/>
                    <a:pt x="4" y="49"/>
                  </a:cubicBezTo>
                  <a:close/>
                  <a:moveTo>
                    <a:pt x="57" y="102"/>
                  </a:moveTo>
                  <a:cubicBezTo>
                    <a:pt x="4" y="102"/>
                    <a:pt x="4" y="102"/>
                    <a:pt x="4" y="102"/>
                  </a:cubicBezTo>
                  <a:cubicBezTo>
                    <a:pt x="2" y="102"/>
                    <a:pt x="0" y="104"/>
                    <a:pt x="0" y="106"/>
                  </a:cubicBezTo>
                  <a:cubicBezTo>
                    <a:pt x="0" y="108"/>
                    <a:pt x="2" y="109"/>
                    <a:pt x="4" y="109"/>
                  </a:cubicBezTo>
                  <a:cubicBezTo>
                    <a:pt x="57" y="109"/>
                    <a:pt x="57" y="109"/>
                    <a:pt x="57" y="109"/>
                  </a:cubicBezTo>
                  <a:cubicBezTo>
                    <a:pt x="59" y="109"/>
                    <a:pt x="61" y="108"/>
                    <a:pt x="61" y="106"/>
                  </a:cubicBezTo>
                  <a:cubicBezTo>
                    <a:pt x="61" y="104"/>
                    <a:pt x="59" y="102"/>
                    <a:pt x="57" y="102"/>
                  </a:cubicBez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2" name="Freeform 22"/>
            <p:cNvSpPr>
              <a:spLocks noChangeAspect="1" noEditPoints="1"/>
            </p:cNvSpPr>
            <p:nvPr/>
          </p:nvSpPr>
          <p:spPr bwMode="gray">
            <a:xfrm>
              <a:off x="2436674" y="4958536"/>
              <a:ext cx="289123" cy="241200"/>
            </a:xfrm>
            <a:custGeom>
              <a:avLst/>
              <a:gdLst/>
              <a:ahLst/>
              <a:cxnLst>
                <a:cxn ang="0">
                  <a:pos x="0" y="30"/>
                </a:cxn>
                <a:cxn ang="0">
                  <a:pos x="0" y="75"/>
                </a:cxn>
                <a:cxn ang="0">
                  <a:pos x="11" y="85"/>
                </a:cxn>
                <a:cxn ang="0">
                  <a:pos x="16" y="85"/>
                </a:cxn>
                <a:cxn ang="0">
                  <a:pos x="16" y="21"/>
                </a:cxn>
                <a:cxn ang="0">
                  <a:pos x="11" y="21"/>
                </a:cxn>
                <a:cxn ang="0">
                  <a:pos x="0" y="30"/>
                </a:cxn>
                <a:cxn ang="0">
                  <a:pos x="91" y="21"/>
                </a:cxn>
                <a:cxn ang="0">
                  <a:pos x="87" y="21"/>
                </a:cxn>
                <a:cxn ang="0">
                  <a:pos x="87" y="85"/>
                </a:cxn>
                <a:cxn ang="0">
                  <a:pos x="92" y="85"/>
                </a:cxn>
                <a:cxn ang="0">
                  <a:pos x="102" y="75"/>
                </a:cxn>
                <a:cxn ang="0">
                  <a:pos x="102" y="30"/>
                </a:cxn>
                <a:cxn ang="0">
                  <a:pos x="91" y="21"/>
                </a:cxn>
                <a:cxn ang="0">
                  <a:pos x="20" y="85"/>
                </a:cxn>
                <a:cxn ang="0">
                  <a:pos x="83" y="85"/>
                </a:cxn>
                <a:cxn ang="0">
                  <a:pos x="83" y="21"/>
                </a:cxn>
                <a:cxn ang="0">
                  <a:pos x="20" y="21"/>
                </a:cxn>
                <a:cxn ang="0">
                  <a:pos x="20" y="85"/>
                </a:cxn>
                <a:cxn ang="0">
                  <a:pos x="32" y="17"/>
                </a:cxn>
                <a:cxn ang="0">
                  <a:pos x="35" y="15"/>
                </a:cxn>
                <a:cxn ang="0">
                  <a:pos x="35" y="8"/>
                </a:cxn>
                <a:cxn ang="0">
                  <a:pos x="37" y="5"/>
                </a:cxn>
                <a:cxn ang="0">
                  <a:pos x="66" y="5"/>
                </a:cxn>
                <a:cxn ang="0">
                  <a:pos x="69" y="9"/>
                </a:cxn>
                <a:cxn ang="0">
                  <a:pos x="69" y="15"/>
                </a:cxn>
                <a:cxn ang="0">
                  <a:pos x="71" y="17"/>
                </a:cxn>
                <a:cxn ang="0">
                  <a:pos x="73" y="15"/>
                </a:cxn>
                <a:cxn ang="0">
                  <a:pos x="73" y="3"/>
                </a:cxn>
                <a:cxn ang="0">
                  <a:pos x="70" y="0"/>
                </a:cxn>
                <a:cxn ang="0">
                  <a:pos x="33" y="0"/>
                </a:cxn>
                <a:cxn ang="0">
                  <a:pos x="30" y="4"/>
                </a:cxn>
                <a:cxn ang="0">
                  <a:pos x="30" y="15"/>
                </a:cxn>
                <a:cxn ang="0">
                  <a:pos x="32" y="17"/>
                </a:cxn>
              </a:cxnLst>
              <a:rect l="0" t="0" r="r" b="b"/>
              <a:pathLst>
                <a:path w="102" h="85">
                  <a:moveTo>
                    <a:pt x="0" y="30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82"/>
                    <a:pt x="4" y="85"/>
                    <a:pt x="11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4" y="21"/>
                    <a:pt x="0" y="24"/>
                    <a:pt x="0" y="30"/>
                  </a:cubicBezTo>
                  <a:close/>
                  <a:moveTo>
                    <a:pt x="91" y="21"/>
                  </a:moveTo>
                  <a:cubicBezTo>
                    <a:pt x="87" y="21"/>
                    <a:pt x="87" y="21"/>
                    <a:pt x="87" y="21"/>
                  </a:cubicBezTo>
                  <a:cubicBezTo>
                    <a:pt x="87" y="85"/>
                    <a:pt x="87" y="85"/>
                    <a:pt x="87" y="85"/>
                  </a:cubicBezTo>
                  <a:cubicBezTo>
                    <a:pt x="92" y="85"/>
                    <a:pt x="92" y="85"/>
                    <a:pt x="92" y="85"/>
                  </a:cubicBezTo>
                  <a:cubicBezTo>
                    <a:pt x="99" y="85"/>
                    <a:pt x="102" y="82"/>
                    <a:pt x="102" y="75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2" y="23"/>
                    <a:pt x="98" y="21"/>
                    <a:pt x="91" y="21"/>
                  </a:cubicBezTo>
                  <a:close/>
                  <a:moveTo>
                    <a:pt x="20" y="85"/>
                  </a:moveTo>
                  <a:cubicBezTo>
                    <a:pt x="83" y="85"/>
                    <a:pt x="83" y="85"/>
                    <a:pt x="83" y="85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20" y="21"/>
                    <a:pt x="20" y="21"/>
                    <a:pt x="20" y="21"/>
                  </a:cubicBezTo>
                  <a:lnTo>
                    <a:pt x="20" y="85"/>
                  </a:lnTo>
                  <a:close/>
                  <a:moveTo>
                    <a:pt x="32" y="17"/>
                  </a:moveTo>
                  <a:cubicBezTo>
                    <a:pt x="35" y="17"/>
                    <a:pt x="35" y="17"/>
                    <a:pt x="35" y="15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7"/>
                    <a:pt x="35" y="5"/>
                    <a:pt x="37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9" y="5"/>
                    <a:pt x="69" y="6"/>
                    <a:pt x="69" y="9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9" y="17"/>
                    <a:pt x="69" y="17"/>
                    <a:pt x="71" y="17"/>
                  </a:cubicBezTo>
                  <a:cubicBezTo>
                    <a:pt x="73" y="17"/>
                    <a:pt x="73" y="17"/>
                    <a:pt x="73" y="15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3" y="2"/>
                    <a:pt x="73" y="0"/>
                    <a:pt x="70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1" y="0"/>
                    <a:pt x="30" y="2"/>
                    <a:pt x="30" y="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7"/>
                    <a:pt x="31" y="17"/>
                    <a:pt x="32" y="17"/>
                  </a:cubicBez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43" name="Group 242"/>
            <p:cNvGrpSpPr>
              <a:grpSpLocks noChangeAspect="1"/>
            </p:cNvGrpSpPr>
            <p:nvPr/>
          </p:nvGrpSpPr>
          <p:grpSpPr bwMode="gray">
            <a:xfrm>
              <a:off x="2935030" y="4946837"/>
              <a:ext cx="288000" cy="264615"/>
              <a:chOff x="5643563" y="1928813"/>
              <a:chExt cx="1114425" cy="1023937"/>
            </a:xfrm>
          </p:grpSpPr>
          <p:sp>
            <p:nvSpPr>
              <p:cNvPr id="244" name="Freeform 26"/>
              <p:cNvSpPr>
                <a:spLocks noChangeAspect="1"/>
              </p:cNvSpPr>
              <p:nvPr/>
            </p:nvSpPr>
            <p:spPr bwMode="gray">
              <a:xfrm>
                <a:off x="5654676" y="2543175"/>
                <a:ext cx="1092200" cy="409575"/>
              </a:xfrm>
              <a:custGeom>
                <a:avLst/>
                <a:gdLst/>
                <a:ahLst/>
                <a:cxnLst>
                  <a:cxn ang="0">
                    <a:pos x="87" y="6"/>
                  </a:cxn>
                  <a:cxn ang="0">
                    <a:pos x="53" y="6"/>
                  </a:cxn>
                  <a:cxn ang="0">
                    <a:pos x="53" y="11"/>
                  </a:cxn>
                  <a:cxn ang="0">
                    <a:pos x="52" y="12"/>
                  </a:cxn>
                  <a:cxn ang="0">
                    <a:pos x="44" y="12"/>
                  </a:cxn>
                  <a:cxn ang="0">
                    <a:pos x="43" y="11"/>
                  </a:cxn>
                  <a:cxn ang="0">
                    <a:pos x="43" y="6"/>
                  </a:cxn>
                  <a:cxn ang="0">
                    <a:pos x="9" y="6"/>
                  </a:cxn>
                  <a:cxn ang="0">
                    <a:pos x="2" y="4"/>
                  </a:cxn>
                  <a:cxn ang="0">
                    <a:pos x="0" y="0"/>
                  </a:cxn>
                  <a:cxn ang="0">
                    <a:pos x="0" y="33"/>
                  </a:cxn>
                  <a:cxn ang="0">
                    <a:pos x="3" y="36"/>
                  </a:cxn>
                  <a:cxn ang="0">
                    <a:pos x="93" y="36"/>
                  </a:cxn>
                  <a:cxn ang="0">
                    <a:pos x="96" y="33"/>
                  </a:cxn>
                  <a:cxn ang="0">
                    <a:pos x="96" y="1"/>
                  </a:cxn>
                  <a:cxn ang="0">
                    <a:pos x="94" y="4"/>
                  </a:cxn>
                  <a:cxn ang="0">
                    <a:pos x="87" y="6"/>
                  </a:cxn>
                </a:cxnLst>
                <a:rect l="0" t="0" r="r" b="b"/>
                <a:pathLst>
                  <a:path w="96" h="36">
                    <a:moveTo>
                      <a:pt x="87" y="6"/>
                    </a:moveTo>
                    <a:cubicBezTo>
                      <a:pt x="53" y="6"/>
                      <a:pt x="53" y="6"/>
                      <a:pt x="53" y="6"/>
                    </a:cubicBezTo>
                    <a:cubicBezTo>
                      <a:pt x="53" y="11"/>
                      <a:pt x="53" y="11"/>
                      <a:pt x="53" y="11"/>
                    </a:cubicBezTo>
                    <a:cubicBezTo>
                      <a:pt x="53" y="12"/>
                      <a:pt x="53" y="12"/>
                      <a:pt x="52" y="12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3" y="12"/>
                      <a:pt x="43" y="12"/>
                      <a:pt x="43" y="11"/>
                    </a:cubicBezTo>
                    <a:cubicBezTo>
                      <a:pt x="43" y="6"/>
                      <a:pt x="43" y="6"/>
                      <a:pt x="43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7" y="6"/>
                      <a:pt x="4" y="6"/>
                      <a:pt x="2" y="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34"/>
                      <a:pt x="1" y="36"/>
                      <a:pt x="3" y="36"/>
                    </a:cubicBezTo>
                    <a:cubicBezTo>
                      <a:pt x="93" y="36"/>
                      <a:pt x="93" y="36"/>
                      <a:pt x="93" y="36"/>
                    </a:cubicBezTo>
                    <a:cubicBezTo>
                      <a:pt x="95" y="36"/>
                      <a:pt x="96" y="34"/>
                      <a:pt x="96" y="33"/>
                    </a:cubicBezTo>
                    <a:cubicBezTo>
                      <a:pt x="96" y="1"/>
                      <a:pt x="96" y="1"/>
                      <a:pt x="96" y="1"/>
                    </a:cubicBezTo>
                    <a:cubicBezTo>
                      <a:pt x="94" y="4"/>
                      <a:pt x="94" y="4"/>
                      <a:pt x="94" y="4"/>
                    </a:cubicBezTo>
                    <a:cubicBezTo>
                      <a:pt x="92" y="6"/>
                      <a:pt x="89" y="6"/>
                      <a:pt x="87" y="6"/>
                    </a:cubicBezTo>
                    <a:close/>
                  </a:path>
                </a:pathLst>
              </a:custGeom>
              <a:solidFill>
                <a:srgbClr val="81BC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45" name="Freeform 27"/>
              <p:cNvSpPr>
                <a:spLocks noChangeAspect="1"/>
              </p:cNvSpPr>
              <p:nvPr/>
            </p:nvSpPr>
            <p:spPr bwMode="gray">
              <a:xfrm>
                <a:off x="5995988" y="1928813"/>
                <a:ext cx="409575" cy="125412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7" y="5"/>
                  </a:cxn>
                  <a:cxn ang="0">
                    <a:pos x="30" y="5"/>
                  </a:cxn>
                  <a:cxn ang="0">
                    <a:pos x="30" y="6"/>
                  </a:cxn>
                  <a:cxn ang="0">
                    <a:pos x="31" y="11"/>
                  </a:cxn>
                  <a:cxn ang="0">
                    <a:pos x="36" y="11"/>
                  </a:cxn>
                  <a:cxn ang="0">
                    <a:pos x="35" y="5"/>
                  </a:cxn>
                  <a:cxn ang="0">
                    <a:pos x="30" y="0"/>
                  </a:cxn>
                  <a:cxn ang="0">
                    <a:pos x="6" y="0"/>
                  </a:cxn>
                  <a:cxn ang="0">
                    <a:pos x="1" y="5"/>
                  </a:cxn>
                  <a:cxn ang="0">
                    <a:pos x="0" y="11"/>
                  </a:cxn>
                  <a:cxn ang="0">
                    <a:pos x="5" y="11"/>
                  </a:cxn>
                  <a:cxn ang="0">
                    <a:pos x="6" y="6"/>
                  </a:cxn>
                </a:cxnLst>
                <a:rect l="0" t="0" r="r" b="b"/>
                <a:pathLst>
                  <a:path w="36" h="11">
                    <a:moveTo>
                      <a:pt x="6" y="6"/>
                    </a:moveTo>
                    <a:cubicBezTo>
                      <a:pt x="6" y="5"/>
                      <a:pt x="6" y="5"/>
                      <a:pt x="7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0" y="5"/>
                      <a:pt x="30" y="5"/>
                      <a:pt x="30" y="6"/>
                    </a:cubicBezTo>
                    <a:cubicBezTo>
                      <a:pt x="31" y="11"/>
                      <a:pt x="31" y="11"/>
                      <a:pt x="31" y="11"/>
                    </a:cubicBezTo>
                    <a:cubicBezTo>
                      <a:pt x="36" y="11"/>
                      <a:pt x="36" y="11"/>
                      <a:pt x="36" y="11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35" y="2"/>
                      <a:pt x="33" y="0"/>
                      <a:pt x="30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2" y="2"/>
                      <a:pt x="1" y="5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5" y="11"/>
                      <a:pt x="5" y="11"/>
                      <a:pt x="5" y="11"/>
                    </a:cubicBez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81BC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46" name="Freeform 28"/>
              <p:cNvSpPr>
                <a:spLocks noChangeAspect="1"/>
              </p:cNvSpPr>
              <p:nvPr/>
            </p:nvSpPr>
            <p:spPr bwMode="gray">
              <a:xfrm>
                <a:off x="5643563" y="2098675"/>
                <a:ext cx="1114425" cy="466725"/>
              </a:xfrm>
              <a:custGeom>
                <a:avLst/>
                <a:gdLst/>
                <a:ahLst/>
                <a:cxnLst>
                  <a:cxn ang="0">
                    <a:pos x="95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28"/>
                  </a:cxn>
                  <a:cxn ang="0">
                    <a:pos x="2" y="34"/>
                  </a:cxn>
                  <a:cxn ang="0">
                    <a:pos x="5" y="38"/>
                  </a:cxn>
                  <a:cxn ang="0">
                    <a:pos x="10" y="41"/>
                  </a:cxn>
                  <a:cxn ang="0">
                    <a:pos x="88" y="41"/>
                  </a:cxn>
                  <a:cxn ang="0">
                    <a:pos x="93" y="38"/>
                  </a:cxn>
                  <a:cxn ang="0">
                    <a:pos x="96" y="34"/>
                  </a:cxn>
                  <a:cxn ang="0">
                    <a:pos x="98" y="28"/>
                  </a:cxn>
                  <a:cxn ang="0">
                    <a:pos x="98" y="3"/>
                  </a:cxn>
                  <a:cxn ang="0">
                    <a:pos x="95" y="0"/>
                  </a:cxn>
                </a:cxnLst>
                <a:rect l="0" t="0" r="r" b="b"/>
                <a:pathLst>
                  <a:path w="98" h="41">
                    <a:moveTo>
                      <a:pt x="95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30"/>
                      <a:pt x="1" y="33"/>
                      <a:pt x="2" y="34"/>
                    </a:cubicBezTo>
                    <a:cubicBezTo>
                      <a:pt x="3" y="35"/>
                      <a:pt x="4" y="38"/>
                      <a:pt x="5" y="38"/>
                    </a:cubicBezTo>
                    <a:cubicBezTo>
                      <a:pt x="6" y="39"/>
                      <a:pt x="8" y="41"/>
                      <a:pt x="10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90" y="41"/>
                      <a:pt x="92" y="40"/>
                      <a:pt x="93" y="38"/>
                    </a:cubicBezTo>
                    <a:cubicBezTo>
                      <a:pt x="94" y="37"/>
                      <a:pt x="95" y="35"/>
                      <a:pt x="96" y="34"/>
                    </a:cubicBezTo>
                    <a:cubicBezTo>
                      <a:pt x="97" y="33"/>
                      <a:pt x="98" y="30"/>
                      <a:pt x="98" y="28"/>
                    </a:cubicBezTo>
                    <a:cubicBezTo>
                      <a:pt x="98" y="3"/>
                      <a:pt x="98" y="3"/>
                      <a:pt x="98" y="3"/>
                    </a:cubicBezTo>
                    <a:cubicBezTo>
                      <a:pt x="98" y="1"/>
                      <a:pt x="97" y="0"/>
                      <a:pt x="95" y="0"/>
                    </a:cubicBezTo>
                    <a:close/>
                  </a:path>
                </a:pathLst>
              </a:custGeom>
              <a:solidFill>
                <a:srgbClr val="81BC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247" name="Freeform 32"/>
            <p:cNvSpPr>
              <a:spLocks noChangeAspect="1"/>
            </p:cNvSpPr>
            <p:nvPr/>
          </p:nvSpPr>
          <p:spPr bwMode="gray">
            <a:xfrm>
              <a:off x="3507534" y="4962136"/>
              <a:ext cx="165200" cy="234000"/>
            </a:xfrm>
            <a:custGeom>
              <a:avLst/>
              <a:gdLst/>
              <a:ahLst/>
              <a:cxnLst>
                <a:cxn ang="0">
                  <a:pos x="6" y="82"/>
                </a:cxn>
                <a:cxn ang="0">
                  <a:pos x="12" y="64"/>
                </a:cxn>
                <a:cxn ang="0">
                  <a:pos x="34" y="52"/>
                </a:cxn>
                <a:cxn ang="0">
                  <a:pos x="22" y="47"/>
                </a:cxn>
                <a:cxn ang="0">
                  <a:pos x="48" y="33"/>
                </a:cxn>
                <a:cxn ang="0">
                  <a:pos x="33" y="29"/>
                </a:cxn>
                <a:cxn ang="0">
                  <a:pos x="54" y="22"/>
                </a:cxn>
                <a:cxn ang="0">
                  <a:pos x="58" y="9"/>
                </a:cxn>
                <a:cxn ang="0">
                  <a:pos x="42" y="1"/>
                </a:cxn>
                <a:cxn ang="0">
                  <a:pos x="26" y="21"/>
                </a:cxn>
                <a:cxn ang="0">
                  <a:pos x="27" y="4"/>
                </a:cxn>
                <a:cxn ang="0">
                  <a:pos x="12" y="17"/>
                </a:cxn>
                <a:cxn ang="0">
                  <a:pos x="11" y="51"/>
                </a:cxn>
                <a:cxn ang="0">
                  <a:pos x="2" y="35"/>
                </a:cxn>
                <a:cxn ang="0">
                  <a:pos x="7" y="61"/>
                </a:cxn>
                <a:cxn ang="0">
                  <a:pos x="3" y="80"/>
                </a:cxn>
                <a:cxn ang="0">
                  <a:pos x="6" y="82"/>
                </a:cxn>
              </a:cxnLst>
              <a:rect l="0" t="0" r="r" b="b"/>
              <a:pathLst>
                <a:path w="59" h="84">
                  <a:moveTo>
                    <a:pt x="6" y="82"/>
                  </a:moveTo>
                  <a:cubicBezTo>
                    <a:pt x="7" y="78"/>
                    <a:pt x="9" y="72"/>
                    <a:pt x="12" y="64"/>
                  </a:cubicBezTo>
                  <a:cubicBezTo>
                    <a:pt x="23" y="62"/>
                    <a:pt x="27" y="65"/>
                    <a:pt x="34" y="52"/>
                  </a:cubicBezTo>
                  <a:cubicBezTo>
                    <a:pt x="29" y="54"/>
                    <a:pt x="22" y="49"/>
                    <a:pt x="22" y="47"/>
                  </a:cubicBezTo>
                  <a:cubicBezTo>
                    <a:pt x="23" y="44"/>
                    <a:pt x="38" y="48"/>
                    <a:pt x="48" y="33"/>
                  </a:cubicBezTo>
                  <a:cubicBezTo>
                    <a:pt x="36" y="36"/>
                    <a:pt x="31" y="30"/>
                    <a:pt x="33" y="29"/>
                  </a:cubicBezTo>
                  <a:cubicBezTo>
                    <a:pt x="37" y="27"/>
                    <a:pt x="48" y="28"/>
                    <a:pt x="54" y="22"/>
                  </a:cubicBezTo>
                  <a:cubicBezTo>
                    <a:pt x="58" y="19"/>
                    <a:pt x="59" y="11"/>
                    <a:pt x="58" y="9"/>
                  </a:cubicBezTo>
                  <a:cubicBezTo>
                    <a:pt x="56" y="5"/>
                    <a:pt x="47" y="0"/>
                    <a:pt x="42" y="1"/>
                  </a:cubicBezTo>
                  <a:cubicBezTo>
                    <a:pt x="37" y="1"/>
                    <a:pt x="28" y="21"/>
                    <a:pt x="26" y="21"/>
                  </a:cubicBezTo>
                  <a:cubicBezTo>
                    <a:pt x="24" y="21"/>
                    <a:pt x="23" y="12"/>
                    <a:pt x="27" y="4"/>
                  </a:cubicBezTo>
                  <a:cubicBezTo>
                    <a:pt x="23" y="6"/>
                    <a:pt x="15" y="12"/>
                    <a:pt x="12" y="17"/>
                  </a:cubicBezTo>
                  <a:cubicBezTo>
                    <a:pt x="8" y="27"/>
                    <a:pt x="13" y="50"/>
                    <a:pt x="11" y="51"/>
                  </a:cubicBezTo>
                  <a:cubicBezTo>
                    <a:pt x="10" y="51"/>
                    <a:pt x="4" y="40"/>
                    <a:pt x="2" y="35"/>
                  </a:cubicBezTo>
                  <a:cubicBezTo>
                    <a:pt x="0" y="43"/>
                    <a:pt x="0" y="51"/>
                    <a:pt x="7" y="61"/>
                  </a:cubicBezTo>
                  <a:cubicBezTo>
                    <a:pt x="4" y="68"/>
                    <a:pt x="3" y="76"/>
                    <a:pt x="3" y="80"/>
                  </a:cubicBezTo>
                  <a:cubicBezTo>
                    <a:pt x="2" y="83"/>
                    <a:pt x="5" y="84"/>
                    <a:pt x="6" y="82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8" name="Freeform 36"/>
            <p:cNvSpPr>
              <a:spLocks noChangeAspect="1" noEditPoints="1"/>
            </p:cNvSpPr>
            <p:nvPr/>
          </p:nvSpPr>
          <p:spPr bwMode="gray">
            <a:xfrm>
              <a:off x="3975640" y="4990936"/>
              <a:ext cx="229923" cy="176400"/>
            </a:xfrm>
            <a:custGeom>
              <a:avLst/>
              <a:gdLst/>
              <a:ahLst/>
              <a:cxnLst>
                <a:cxn ang="0">
                  <a:pos x="72" y="12"/>
                </a:cxn>
                <a:cxn ang="0">
                  <a:pos x="28" y="5"/>
                </a:cxn>
                <a:cxn ang="0">
                  <a:pos x="1" y="37"/>
                </a:cxn>
                <a:cxn ang="0">
                  <a:pos x="33" y="65"/>
                </a:cxn>
                <a:cxn ang="0">
                  <a:pos x="64" y="51"/>
                </a:cxn>
                <a:cxn ang="0">
                  <a:pos x="61" y="36"/>
                </a:cxn>
                <a:cxn ang="0">
                  <a:pos x="79" y="33"/>
                </a:cxn>
                <a:cxn ang="0">
                  <a:pos x="72" y="12"/>
                </a:cxn>
                <a:cxn ang="0">
                  <a:pos x="45" y="50"/>
                </a:cxn>
                <a:cxn ang="0">
                  <a:pos x="39" y="44"/>
                </a:cxn>
                <a:cxn ang="0">
                  <a:pos x="45" y="38"/>
                </a:cxn>
                <a:cxn ang="0">
                  <a:pos x="52" y="44"/>
                </a:cxn>
                <a:cxn ang="0">
                  <a:pos x="45" y="50"/>
                </a:cxn>
              </a:cxnLst>
              <a:rect l="0" t="0" r="r" b="b"/>
              <a:pathLst>
                <a:path w="85" h="65">
                  <a:moveTo>
                    <a:pt x="72" y="12"/>
                  </a:moveTo>
                  <a:cubicBezTo>
                    <a:pt x="59" y="3"/>
                    <a:pt x="45" y="0"/>
                    <a:pt x="28" y="5"/>
                  </a:cubicBezTo>
                  <a:cubicBezTo>
                    <a:pt x="14" y="9"/>
                    <a:pt x="2" y="24"/>
                    <a:pt x="1" y="37"/>
                  </a:cubicBezTo>
                  <a:cubicBezTo>
                    <a:pt x="0" y="52"/>
                    <a:pt x="12" y="65"/>
                    <a:pt x="33" y="65"/>
                  </a:cubicBezTo>
                  <a:cubicBezTo>
                    <a:pt x="56" y="65"/>
                    <a:pt x="64" y="54"/>
                    <a:pt x="64" y="51"/>
                  </a:cubicBezTo>
                  <a:cubicBezTo>
                    <a:pt x="64" y="48"/>
                    <a:pt x="55" y="42"/>
                    <a:pt x="61" y="36"/>
                  </a:cubicBezTo>
                  <a:cubicBezTo>
                    <a:pt x="68" y="28"/>
                    <a:pt x="75" y="34"/>
                    <a:pt x="79" y="33"/>
                  </a:cubicBezTo>
                  <a:cubicBezTo>
                    <a:pt x="83" y="32"/>
                    <a:pt x="85" y="20"/>
                    <a:pt x="72" y="12"/>
                  </a:cubicBezTo>
                  <a:close/>
                  <a:moveTo>
                    <a:pt x="45" y="50"/>
                  </a:moveTo>
                  <a:cubicBezTo>
                    <a:pt x="42" y="50"/>
                    <a:pt x="39" y="47"/>
                    <a:pt x="39" y="44"/>
                  </a:cubicBezTo>
                  <a:cubicBezTo>
                    <a:pt x="39" y="40"/>
                    <a:pt x="42" y="38"/>
                    <a:pt x="45" y="38"/>
                  </a:cubicBezTo>
                  <a:cubicBezTo>
                    <a:pt x="49" y="38"/>
                    <a:pt x="52" y="40"/>
                    <a:pt x="52" y="44"/>
                  </a:cubicBezTo>
                  <a:cubicBezTo>
                    <a:pt x="52" y="47"/>
                    <a:pt x="49" y="50"/>
                    <a:pt x="45" y="50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9" name="Freeform 40"/>
            <p:cNvSpPr>
              <a:spLocks noChangeAspect="1" noEditPoints="1"/>
            </p:cNvSpPr>
            <p:nvPr/>
          </p:nvSpPr>
          <p:spPr bwMode="gray">
            <a:xfrm>
              <a:off x="4469776" y="4969336"/>
              <a:ext cx="227803" cy="219600"/>
            </a:xfrm>
            <a:custGeom>
              <a:avLst/>
              <a:gdLst/>
              <a:ahLst/>
              <a:cxnLst>
                <a:cxn ang="0">
                  <a:pos x="13" y="56"/>
                </a:cxn>
                <a:cxn ang="0">
                  <a:pos x="4" y="78"/>
                </a:cxn>
                <a:cxn ang="0">
                  <a:pos x="28" y="72"/>
                </a:cxn>
                <a:cxn ang="0">
                  <a:pos x="27" y="58"/>
                </a:cxn>
                <a:cxn ang="0">
                  <a:pos x="13" y="56"/>
                </a:cxn>
                <a:cxn ang="0">
                  <a:pos x="81" y="4"/>
                </a:cxn>
                <a:cxn ang="0">
                  <a:pos x="33" y="39"/>
                </a:cxn>
                <a:cxn ang="0">
                  <a:pos x="24" y="49"/>
                </a:cxn>
                <a:cxn ang="0">
                  <a:pos x="25" y="50"/>
                </a:cxn>
                <a:cxn ang="0">
                  <a:pos x="30" y="54"/>
                </a:cxn>
                <a:cxn ang="0">
                  <a:pos x="34" y="59"/>
                </a:cxn>
                <a:cxn ang="0">
                  <a:pos x="35" y="60"/>
                </a:cxn>
                <a:cxn ang="0">
                  <a:pos x="45" y="52"/>
                </a:cxn>
                <a:cxn ang="0">
                  <a:pos x="81" y="4"/>
                </a:cxn>
              </a:cxnLst>
              <a:rect l="0" t="0" r="r" b="b"/>
              <a:pathLst>
                <a:path w="85" h="82">
                  <a:moveTo>
                    <a:pt x="13" y="56"/>
                  </a:moveTo>
                  <a:cubicBezTo>
                    <a:pt x="7" y="62"/>
                    <a:pt x="12" y="69"/>
                    <a:pt x="4" y="78"/>
                  </a:cubicBezTo>
                  <a:cubicBezTo>
                    <a:pt x="0" y="82"/>
                    <a:pt x="19" y="81"/>
                    <a:pt x="28" y="72"/>
                  </a:cubicBezTo>
                  <a:cubicBezTo>
                    <a:pt x="32" y="68"/>
                    <a:pt x="31" y="62"/>
                    <a:pt x="27" y="58"/>
                  </a:cubicBezTo>
                  <a:cubicBezTo>
                    <a:pt x="23" y="54"/>
                    <a:pt x="17" y="52"/>
                    <a:pt x="13" y="56"/>
                  </a:cubicBezTo>
                  <a:close/>
                  <a:moveTo>
                    <a:pt x="81" y="4"/>
                  </a:moveTo>
                  <a:cubicBezTo>
                    <a:pt x="78" y="0"/>
                    <a:pt x="43" y="29"/>
                    <a:pt x="33" y="39"/>
                  </a:cubicBezTo>
                  <a:cubicBezTo>
                    <a:pt x="27" y="44"/>
                    <a:pt x="26" y="47"/>
                    <a:pt x="24" y="49"/>
                  </a:cubicBezTo>
                  <a:cubicBezTo>
                    <a:pt x="23" y="50"/>
                    <a:pt x="24" y="50"/>
                    <a:pt x="25" y="50"/>
                  </a:cubicBezTo>
                  <a:cubicBezTo>
                    <a:pt x="27" y="51"/>
                    <a:pt x="28" y="52"/>
                    <a:pt x="30" y="54"/>
                  </a:cubicBezTo>
                  <a:cubicBezTo>
                    <a:pt x="32" y="56"/>
                    <a:pt x="33" y="57"/>
                    <a:pt x="34" y="59"/>
                  </a:cubicBezTo>
                  <a:cubicBezTo>
                    <a:pt x="34" y="60"/>
                    <a:pt x="34" y="61"/>
                    <a:pt x="35" y="60"/>
                  </a:cubicBezTo>
                  <a:cubicBezTo>
                    <a:pt x="37" y="58"/>
                    <a:pt x="40" y="57"/>
                    <a:pt x="45" y="52"/>
                  </a:cubicBezTo>
                  <a:cubicBezTo>
                    <a:pt x="56" y="41"/>
                    <a:pt x="85" y="7"/>
                    <a:pt x="81" y="4"/>
                  </a:cubicBez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0" name="Freeform 44"/>
            <p:cNvSpPr>
              <a:spLocks noChangeAspect="1"/>
            </p:cNvSpPr>
            <p:nvPr/>
          </p:nvSpPr>
          <p:spPr bwMode="gray">
            <a:xfrm>
              <a:off x="4994338" y="4972936"/>
              <a:ext cx="187200" cy="212400"/>
            </a:xfrm>
            <a:custGeom>
              <a:avLst/>
              <a:gdLst/>
              <a:ahLst/>
              <a:cxnLst>
                <a:cxn ang="0">
                  <a:pos x="53" y="49"/>
                </a:cxn>
                <a:cxn ang="0">
                  <a:pos x="46" y="52"/>
                </a:cxn>
                <a:cxn ang="0">
                  <a:pos x="24" y="39"/>
                </a:cxn>
                <a:cxn ang="0">
                  <a:pos x="24" y="37"/>
                </a:cxn>
                <a:cxn ang="0">
                  <a:pos x="24" y="35"/>
                </a:cxn>
                <a:cxn ang="0">
                  <a:pos x="46" y="22"/>
                </a:cxn>
                <a:cxn ang="0">
                  <a:pos x="53" y="25"/>
                </a:cxn>
                <a:cxn ang="0">
                  <a:pos x="65" y="12"/>
                </a:cxn>
                <a:cxn ang="0">
                  <a:pos x="53" y="0"/>
                </a:cxn>
                <a:cxn ang="0">
                  <a:pos x="41" y="12"/>
                </a:cxn>
                <a:cxn ang="0">
                  <a:pos x="41" y="14"/>
                </a:cxn>
                <a:cxn ang="0">
                  <a:pos x="20" y="27"/>
                </a:cxn>
                <a:cxn ang="0">
                  <a:pos x="12" y="25"/>
                </a:cxn>
                <a:cxn ang="0">
                  <a:pos x="0" y="37"/>
                </a:cxn>
                <a:cxn ang="0">
                  <a:pos x="12" y="49"/>
                </a:cxn>
                <a:cxn ang="0">
                  <a:pos x="20" y="47"/>
                </a:cxn>
                <a:cxn ang="0">
                  <a:pos x="41" y="59"/>
                </a:cxn>
                <a:cxn ang="0">
                  <a:pos x="41" y="61"/>
                </a:cxn>
                <a:cxn ang="0">
                  <a:pos x="53" y="74"/>
                </a:cxn>
                <a:cxn ang="0">
                  <a:pos x="65" y="61"/>
                </a:cxn>
                <a:cxn ang="0">
                  <a:pos x="53" y="49"/>
                </a:cxn>
              </a:cxnLst>
              <a:rect l="0" t="0" r="r" b="b"/>
              <a:pathLst>
                <a:path w="65" h="74">
                  <a:moveTo>
                    <a:pt x="53" y="49"/>
                  </a:moveTo>
                  <a:cubicBezTo>
                    <a:pt x="50" y="49"/>
                    <a:pt x="48" y="50"/>
                    <a:pt x="46" y="52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8"/>
                    <a:pt x="24" y="38"/>
                    <a:pt x="24" y="37"/>
                  </a:cubicBezTo>
                  <a:cubicBezTo>
                    <a:pt x="24" y="36"/>
                    <a:pt x="24" y="36"/>
                    <a:pt x="24" y="35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8" y="24"/>
                    <a:pt x="50" y="25"/>
                    <a:pt x="53" y="25"/>
                  </a:cubicBezTo>
                  <a:cubicBezTo>
                    <a:pt x="60" y="25"/>
                    <a:pt x="65" y="19"/>
                    <a:pt x="65" y="12"/>
                  </a:cubicBezTo>
                  <a:cubicBezTo>
                    <a:pt x="65" y="6"/>
                    <a:pt x="60" y="0"/>
                    <a:pt x="53" y="0"/>
                  </a:cubicBezTo>
                  <a:cubicBezTo>
                    <a:pt x="46" y="0"/>
                    <a:pt x="41" y="6"/>
                    <a:pt x="41" y="12"/>
                  </a:cubicBezTo>
                  <a:cubicBezTo>
                    <a:pt x="41" y="13"/>
                    <a:pt x="41" y="14"/>
                    <a:pt x="41" y="14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17" y="26"/>
                    <a:pt x="15" y="25"/>
                    <a:pt x="12" y="25"/>
                  </a:cubicBezTo>
                  <a:cubicBezTo>
                    <a:pt x="5" y="25"/>
                    <a:pt x="0" y="30"/>
                    <a:pt x="0" y="37"/>
                  </a:cubicBezTo>
                  <a:cubicBezTo>
                    <a:pt x="0" y="44"/>
                    <a:pt x="5" y="49"/>
                    <a:pt x="12" y="49"/>
                  </a:cubicBezTo>
                  <a:cubicBezTo>
                    <a:pt x="15" y="49"/>
                    <a:pt x="17" y="48"/>
                    <a:pt x="20" y="47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1" y="60"/>
                    <a:pt x="41" y="61"/>
                    <a:pt x="41" y="61"/>
                  </a:cubicBezTo>
                  <a:cubicBezTo>
                    <a:pt x="41" y="68"/>
                    <a:pt x="46" y="74"/>
                    <a:pt x="53" y="74"/>
                  </a:cubicBezTo>
                  <a:cubicBezTo>
                    <a:pt x="60" y="74"/>
                    <a:pt x="65" y="68"/>
                    <a:pt x="65" y="61"/>
                  </a:cubicBezTo>
                  <a:cubicBezTo>
                    <a:pt x="65" y="55"/>
                    <a:pt x="60" y="49"/>
                    <a:pt x="53" y="49"/>
                  </a:cubicBez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1" name="Freeform 48"/>
            <p:cNvSpPr>
              <a:spLocks noChangeAspect="1" noEditPoints="1"/>
            </p:cNvSpPr>
            <p:nvPr/>
          </p:nvSpPr>
          <p:spPr bwMode="gray">
            <a:xfrm>
              <a:off x="5483629" y="4972936"/>
              <a:ext cx="212400" cy="212400"/>
            </a:xfrm>
            <a:custGeom>
              <a:avLst/>
              <a:gdLst/>
              <a:ahLst/>
              <a:cxnLst>
                <a:cxn ang="0">
                  <a:pos x="67" y="9"/>
                </a:cxn>
                <a:cxn ang="0">
                  <a:pos x="49" y="2"/>
                </a:cxn>
                <a:cxn ang="0">
                  <a:pos x="38" y="13"/>
                </a:cxn>
                <a:cxn ang="0">
                  <a:pos x="35" y="26"/>
                </a:cxn>
                <a:cxn ang="0">
                  <a:pos x="2" y="60"/>
                </a:cxn>
                <a:cxn ang="0">
                  <a:pos x="5" y="71"/>
                </a:cxn>
                <a:cxn ang="0">
                  <a:pos x="16" y="74"/>
                </a:cxn>
                <a:cxn ang="0">
                  <a:pos x="49" y="41"/>
                </a:cxn>
                <a:cxn ang="0">
                  <a:pos x="62" y="38"/>
                </a:cxn>
                <a:cxn ang="0">
                  <a:pos x="73" y="27"/>
                </a:cxn>
                <a:cxn ang="0">
                  <a:pos x="67" y="9"/>
                </a:cxn>
                <a:cxn ang="0">
                  <a:pos x="30" y="42"/>
                </a:cxn>
                <a:cxn ang="0">
                  <a:pos x="31" y="36"/>
                </a:cxn>
                <a:cxn ang="0">
                  <a:pos x="38" y="35"/>
                </a:cxn>
                <a:cxn ang="0">
                  <a:pos x="37" y="41"/>
                </a:cxn>
                <a:cxn ang="0">
                  <a:pos x="30" y="42"/>
                </a:cxn>
                <a:cxn ang="0">
                  <a:pos x="58" y="18"/>
                </a:cxn>
                <a:cxn ang="0">
                  <a:pos x="52" y="5"/>
                </a:cxn>
                <a:cxn ang="0">
                  <a:pos x="64" y="12"/>
                </a:cxn>
                <a:cxn ang="0">
                  <a:pos x="71" y="24"/>
                </a:cxn>
                <a:cxn ang="0">
                  <a:pos x="58" y="18"/>
                </a:cxn>
              </a:cxnLst>
              <a:rect l="0" t="0" r="r" b="b"/>
              <a:pathLst>
                <a:path w="76" h="76">
                  <a:moveTo>
                    <a:pt x="67" y="9"/>
                  </a:moveTo>
                  <a:cubicBezTo>
                    <a:pt x="60" y="2"/>
                    <a:pt x="51" y="0"/>
                    <a:pt x="49" y="2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6" y="15"/>
                    <a:pt x="34" y="21"/>
                    <a:pt x="35" y="26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0" y="62"/>
                    <a:pt x="1" y="67"/>
                    <a:pt x="5" y="71"/>
                  </a:cubicBezTo>
                  <a:cubicBezTo>
                    <a:pt x="9" y="75"/>
                    <a:pt x="14" y="76"/>
                    <a:pt x="16" y="74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5" y="41"/>
                    <a:pt x="61" y="40"/>
                    <a:pt x="62" y="38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6" y="25"/>
                    <a:pt x="74" y="16"/>
                    <a:pt x="67" y="9"/>
                  </a:cubicBezTo>
                  <a:close/>
                  <a:moveTo>
                    <a:pt x="30" y="42"/>
                  </a:moveTo>
                  <a:cubicBezTo>
                    <a:pt x="29" y="41"/>
                    <a:pt x="29" y="38"/>
                    <a:pt x="31" y="36"/>
                  </a:cubicBezTo>
                  <a:cubicBezTo>
                    <a:pt x="33" y="34"/>
                    <a:pt x="36" y="33"/>
                    <a:pt x="38" y="35"/>
                  </a:cubicBezTo>
                  <a:cubicBezTo>
                    <a:pt x="39" y="36"/>
                    <a:pt x="39" y="39"/>
                    <a:pt x="37" y="41"/>
                  </a:cubicBezTo>
                  <a:cubicBezTo>
                    <a:pt x="35" y="43"/>
                    <a:pt x="32" y="44"/>
                    <a:pt x="30" y="42"/>
                  </a:cubicBezTo>
                  <a:close/>
                  <a:moveTo>
                    <a:pt x="58" y="18"/>
                  </a:moveTo>
                  <a:cubicBezTo>
                    <a:pt x="52" y="13"/>
                    <a:pt x="51" y="6"/>
                    <a:pt x="52" y="5"/>
                  </a:cubicBezTo>
                  <a:cubicBezTo>
                    <a:pt x="52" y="5"/>
                    <a:pt x="59" y="7"/>
                    <a:pt x="64" y="12"/>
                  </a:cubicBezTo>
                  <a:cubicBezTo>
                    <a:pt x="69" y="17"/>
                    <a:pt x="71" y="24"/>
                    <a:pt x="71" y="24"/>
                  </a:cubicBezTo>
                  <a:cubicBezTo>
                    <a:pt x="70" y="25"/>
                    <a:pt x="63" y="23"/>
                    <a:pt x="58" y="18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2" name="Freeform 52"/>
            <p:cNvSpPr>
              <a:spLocks noChangeAspect="1" noEditPoints="1"/>
            </p:cNvSpPr>
            <p:nvPr/>
          </p:nvSpPr>
          <p:spPr bwMode="gray">
            <a:xfrm>
              <a:off x="5975966" y="4972936"/>
              <a:ext cx="232400" cy="212400"/>
            </a:xfrm>
            <a:custGeom>
              <a:avLst/>
              <a:gdLst/>
              <a:ahLst/>
              <a:cxnLst>
                <a:cxn ang="0">
                  <a:pos x="40" y="45"/>
                </a:cxn>
                <a:cxn ang="0">
                  <a:pos x="59" y="38"/>
                </a:cxn>
                <a:cxn ang="0">
                  <a:pos x="54" y="25"/>
                </a:cxn>
                <a:cxn ang="0">
                  <a:pos x="40" y="30"/>
                </a:cxn>
                <a:cxn ang="0">
                  <a:pos x="26" y="25"/>
                </a:cxn>
                <a:cxn ang="0">
                  <a:pos x="22" y="38"/>
                </a:cxn>
                <a:cxn ang="0">
                  <a:pos x="40" y="45"/>
                </a:cxn>
                <a:cxn ang="0">
                  <a:pos x="40" y="18"/>
                </a:cxn>
                <a:cxn ang="0">
                  <a:pos x="50" y="14"/>
                </a:cxn>
                <a:cxn ang="0">
                  <a:pos x="46" y="3"/>
                </a:cxn>
                <a:cxn ang="0">
                  <a:pos x="40" y="0"/>
                </a:cxn>
                <a:cxn ang="0">
                  <a:pos x="34" y="3"/>
                </a:cxn>
                <a:cxn ang="0">
                  <a:pos x="30" y="14"/>
                </a:cxn>
                <a:cxn ang="0">
                  <a:pos x="40" y="18"/>
                </a:cxn>
                <a:cxn ang="0">
                  <a:pos x="76" y="49"/>
                </a:cxn>
                <a:cxn ang="0">
                  <a:pos x="61" y="43"/>
                </a:cxn>
                <a:cxn ang="0">
                  <a:pos x="63" y="48"/>
                </a:cxn>
                <a:cxn ang="0">
                  <a:pos x="40" y="58"/>
                </a:cxn>
                <a:cxn ang="0">
                  <a:pos x="18" y="48"/>
                </a:cxn>
                <a:cxn ang="0">
                  <a:pos x="20" y="43"/>
                </a:cxn>
                <a:cxn ang="0">
                  <a:pos x="4" y="49"/>
                </a:cxn>
                <a:cxn ang="0">
                  <a:pos x="4" y="57"/>
                </a:cxn>
                <a:cxn ang="0">
                  <a:pos x="33" y="72"/>
                </a:cxn>
                <a:cxn ang="0">
                  <a:pos x="48" y="72"/>
                </a:cxn>
                <a:cxn ang="0">
                  <a:pos x="77" y="57"/>
                </a:cxn>
                <a:cxn ang="0">
                  <a:pos x="76" y="49"/>
                </a:cxn>
              </a:cxnLst>
              <a:rect l="0" t="0" r="r" b="b"/>
              <a:pathLst>
                <a:path w="81" h="74">
                  <a:moveTo>
                    <a:pt x="40" y="45"/>
                  </a:moveTo>
                  <a:cubicBezTo>
                    <a:pt x="50" y="45"/>
                    <a:pt x="58" y="42"/>
                    <a:pt x="59" y="38"/>
                  </a:cubicBezTo>
                  <a:cubicBezTo>
                    <a:pt x="57" y="34"/>
                    <a:pt x="56" y="29"/>
                    <a:pt x="54" y="25"/>
                  </a:cubicBezTo>
                  <a:cubicBezTo>
                    <a:pt x="53" y="28"/>
                    <a:pt x="47" y="30"/>
                    <a:pt x="40" y="30"/>
                  </a:cubicBezTo>
                  <a:cubicBezTo>
                    <a:pt x="33" y="30"/>
                    <a:pt x="27" y="28"/>
                    <a:pt x="26" y="25"/>
                  </a:cubicBezTo>
                  <a:cubicBezTo>
                    <a:pt x="25" y="29"/>
                    <a:pt x="23" y="34"/>
                    <a:pt x="22" y="38"/>
                  </a:cubicBezTo>
                  <a:cubicBezTo>
                    <a:pt x="22" y="42"/>
                    <a:pt x="30" y="45"/>
                    <a:pt x="40" y="45"/>
                  </a:cubicBezTo>
                  <a:close/>
                  <a:moveTo>
                    <a:pt x="40" y="18"/>
                  </a:moveTo>
                  <a:cubicBezTo>
                    <a:pt x="45" y="18"/>
                    <a:pt x="49" y="16"/>
                    <a:pt x="50" y="14"/>
                  </a:cubicBezTo>
                  <a:cubicBezTo>
                    <a:pt x="49" y="9"/>
                    <a:pt x="47" y="5"/>
                    <a:pt x="46" y="3"/>
                  </a:cubicBezTo>
                  <a:cubicBezTo>
                    <a:pt x="46" y="1"/>
                    <a:pt x="43" y="0"/>
                    <a:pt x="40" y="0"/>
                  </a:cubicBezTo>
                  <a:cubicBezTo>
                    <a:pt x="38" y="0"/>
                    <a:pt x="35" y="1"/>
                    <a:pt x="34" y="3"/>
                  </a:cubicBezTo>
                  <a:cubicBezTo>
                    <a:pt x="33" y="5"/>
                    <a:pt x="32" y="9"/>
                    <a:pt x="30" y="14"/>
                  </a:cubicBezTo>
                  <a:cubicBezTo>
                    <a:pt x="31" y="16"/>
                    <a:pt x="36" y="18"/>
                    <a:pt x="40" y="18"/>
                  </a:cubicBezTo>
                  <a:close/>
                  <a:moveTo>
                    <a:pt x="76" y="49"/>
                  </a:moveTo>
                  <a:cubicBezTo>
                    <a:pt x="61" y="43"/>
                    <a:pt x="61" y="43"/>
                    <a:pt x="61" y="43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53"/>
                    <a:pt x="52" y="58"/>
                    <a:pt x="40" y="58"/>
                  </a:cubicBezTo>
                  <a:cubicBezTo>
                    <a:pt x="28" y="58"/>
                    <a:pt x="18" y="53"/>
                    <a:pt x="18" y="48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0" y="51"/>
                    <a:pt x="0" y="54"/>
                    <a:pt x="4" y="57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37" y="74"/>
                    <a:pt x="44" y="74"/>
                    <a:pt x="48" y="72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81" y="54"/>
                    <a:pt x="81" y="51"/>
                    <a:pt x="76" y="49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3" name="Freeform 56"/>
            <p:cNvSpPr>
              <a:spLocks noChangeAspect="1" noEditPoints="1"/>
            </p:cNvSpPr>
            <p:nvPr/>
          </p:nvSpPr>
          <p:spPr bwMode="gray">
            <a:xfrm>
              <a:off x="6492770" y="4971136"/>
              <a:ext cx="212835" cy="216000"/>
            </a:xfrm>
            <a:custGeom>
              <a:avLst/>
              <a:gdLst/>
              <a:ahLst/>
              <a:cxnLst>
                <a:cxn ang="0">
                  <a:pos x="18" y="25"/>
                </a:cxn>
                <a:cxn ang="0">
                  <a:pos x="20" y="26"/>
                </a:cxn>
                <a:cxn ang="0">
                  <a:pos x="30" y="17"/>
                </a:cxn>
                <a:cxn ang="0">
                  <a:pos x="29" y="15"/>
                </a:cxn>
                <a:cxn ang="0">
                  <a:pos x="30" y="13"/>
                </a:cxn>
                <a:cxn ang="0">
                  <a:pos x="17" y="6"/>
                </a:cxn>
                <a:cxn ang="0">
                  <a:pos x="7" y="16"/>
                </a:cxn>
                <a:cxn ang="0">
                  <a:pos x="14" y="26"/>
                </a:cxn>
                <a:cxn ang="0">
                  <a:pos x="18" y="25"/>
                </a:cxn>
                <a:cxn ang="0">
                  <a:pos x="10" y="33"/>
                </a:cxn>
                <a:cxn ang="0">
                  <a:pos x="11" y="30"/>
                </a:cxn>
                <a:cxn ang="0">
                  <a:pos x="4" y="21"/>
                </a:cxn>
                <a:cxn ang="0">
                  <a:pos x="0" y="38"/>
                </a:cxn>
                <a:cxn ang="0">
                  <a:pos x="5" y="57"/>
                </a:cxn>
                <a:cxn ang="0">
                  <a:pos x="11" y="38"/>
                </a:cxn>
                <a:cxn ang="0">
                  <a:pos x="10" y="33"/>
                </a:cxn>
                <a:cxn ang="0">
                  <a:pos x="37" y="7"/>
                </a:cxn>
                <a:cxn ang="0">
                  <a:pos x="43" y="9"/>
                </a:cxn>
                <a:cxn ang="0">
                  <a:pos x="56" y="5"/>
                </a:cxn>
                <a:cxn ang="0">
                  <a:pos x="37" y="0"/>
                </a:cxn>
                <a:cxn ang="0">
                  <a:pos x="24" y="3"/>
                </a:cxn>
                <a:cxn ang="0">
                  <a:pos x="33" y="8"/>
                </a:cxn>
                <a:cxn ang="0">
                  <a:pos x="37" y="7"/>
                </a:cxn>
                <a:cxn ang="0">
                  <a:pos x="49" y="45"/>
                </a:cxn>
                <a:cxn ang="0">
                  <a:pos x="51" y="42"/>
                </a:cxn>
                <a:cxn ang="0">
                  <a:pos x="40" y="22"/>
                </a:cxn>
                <a:cxn ang="0">
                  <a:pos x="37" y="23"/>
                </a:cxn>
                <a:cxn ang="0">
                  <a:pos x="33" y="22"/>
                </a:cxn>
                <a:cxn ang="0">
                  <a:pos x="25" y="29"/>
                </a:cxn>
                <a:cxn ang="0">
                  <a:pos x="26" y="33"/>
                </a:cxn>
                <a:cxn ang="0">
                  <a:pos x="26" y="36"/>
                </a:cxn>
                <a:cxn ang="0">
                  <a:pos x="49" y="45"/>
                </a:cxn>
                <a:cxn ang="0">
                  <a:pos x="60" y="56"/>
                </a:cxn>
                <a:cxn ang="0">
                  <a:pos x="60" y="60"/>
                </a:cxn>
                <a:cxn ang="0">
                  <a:pos x="59" y="68"/>
                </a:cxn>
                <a:cxn ang="0">
                  <a:pos x="73" y="49"/>
                </a:cxn>
                <a:cxn ang="0">
                  <a:pos x="64" y="51"/>
                </a:cxn>
                <a:cxn ang="0">
                  <a:pos x="60" y="56"/>
                </a:cxn>
                <a:cxn ang="0">
                  <a:pos x="47" y="50"/>
                </a:cxn>
                <a:cxn ang="0">
                  <a:pos x="22" y="40"/>
                </a:cxn>
                <a:cxn ang="0">
                  <a:pos x="18" y="41"/>
                </a:cxn>
                <a:cxn ang="0">
                  <a:pos x="16" y="41"/>
                </a:cxn>
                <a:cxn ang="0">
                  <a:pos x="10" y="64"/>
                </a:cxn>
                <a:cxn ang="0">
                  <a:pos x="23" y="73"/>
                </a:cxn>
                <a:cxn ang="0">
                  <a:pos x="47" y="50"/>
                </a:cxn>
                <a:cxn ang="0">
                  <a:pos x="62" y="10"/>
                </a:cxn>
                <a:cxn ang="0">
                  <a:pos x="45" y="14"/>
                </a:cxn>
                <a:cxn ang="0">
                  <a:pos x="45" y="15"/>
                </a:cxn>
                <a:cxn ang="0">
                  <a:pos x="45" y="19"/>
                </a:cxn>
                <a:cxn ang="0">
                  <a:pos x="57" y="40"/>
                </a:cxn>
                <a:cxn ang="0">
                  <a:pos x="64" y="45"/>
                </a:cxn>
                <a:cxn ang="0">
                  <a:pos x="74" y="43"/>
                </a:cxn>
                <a:cxn ang="0">
                  <a:pos x="75" y="38"/>
                </a:cxn>
                <a:cxn ang="0">
                  <a:pos x="62" y="10"/>
                </a:cxn>
                <a:cxn ang="0">
                  <a:pos x="51" y="55"/>
                </a:cxn>
                <a:cxn ang="0">
                  <a:pos x="28" y="74"/>
                </a:cxn>
                <a:cxn ang="0">
                  <a:pos x="37" y="76"/>
                </a:cxn>
                <a:cxn ang="0">
                  <a:pos x="53" y="72"/>
                </a:cxn>
                <a:cxn ang="0">
                  <a:pos x="54" y="60"/>
                </a:cxn>
                <a:cxn ang="0">
                  <a:pos x="54" y="56"/>
                </a:cxn>
                <a:cxn ang="0">
                  <a:pos x="51" y="55"/>
                </a:cxn>
              </a:cxnLst>
              <a:rect l="0" t="0" r="r" b="b"/>
              <a:pathLst>
                <a:path w="75" h="76">
                  <a:moveTo>
                    <a:pt x="18" y="25"/>
                  </a:moveTo>
                  <a:cubicBezTo>
                    <a:pt x="19" y="25"/>
                    <a:pt x="19" y="25"/>
                    <a:pt x="20" y="26"/>
                  </a:cubicBezTo>
                  <a:cubicBezTo>
                    <a:pt x="23" y="22"/>
                    <a:pt x="26" y="20"/>
                    <a:pt x="30" y="17"/>
                  </a:cubicBezTo>
                  <a:cubicBezTo>
                    <a:pt x="29" y="16"/>
                    <a:pt x="29" y="16"/>
                    <a:pt x="29" y="15"/>
                  </a:cubicBezTo>
                  <a:cubicBezTo>
                    <a:pt x="29" y="14"/>
                    <a:pt x="29" y="13"/>
                    <a:pt x="30" y="13"/>
                  </a:cubicBezTo>
                  <a:cubicBezTo>
                    <a:pt x="26" y="10"/>
                    <a:pt x="22" y="8"/>
                    <a:pt x="17" y="6"/>
                  </a:cubicBezTo>
                  <a:cubicBezTo>
                    <a:pt x="13" y="8"/>
                    <a:pt x="10" y="12"/>
                    <a:pt x="7" y="16"/>
                  </a:cubicBezTo>
                  <a:cubicBezTo>
                    <a:pt x="9" y="19"/>
                    <a:pt x="12" y="23"/>
                    <a:pt x="14" y="26"/>
                  </a:cubicBezTo>
                  <a:cubicBezTo>
                    <a:pt x="15" y="26"/>
                    <a:pt x="17" y="25"/>
                    <a:pt x="18" y="25"/>
                  </a:cubicBezTo>
                  <a:close/>
                  <a:moveTo>
                    <a:pt x="10" y="33"/>
                  </a:moveTo>
                  <a:cubicBezTo>
                    <a:pt x="10" y="32"/>
                    <a:pt x="10" y="31"/>
                    <a:pt x="11" y="30"/>
                  </a:cubicBezTo>
                  <a:cubicBezTo>
                    <a:pt x="8" y="27"/>
                    <a:pt x="6" y="24"/>
                    <a:pt x="4" y="21"/>
                  </a:cubicBezTo>
                  <a:cubicBezTo>
                    <a:pt x="1" y="26"/>
                    <a:pt x="0" y="32"/>
                    <a:pt x="0" y="38"/>
                  </a:cubicBezTo>
                  <a:cubicBezTo>
                    <a:pt x="0" y="45"/>
                    <a:pt x="1" y="51"/>
                    <a:pt x="5" y="57"/>
                  </a:cubicBezTo>
                  <a:cubicBezTo>
                    <a:pt x="6" y="50"/>
                    <a:pt x="8" y="44"/>
                    <a:pt x="11" y="38"/>
                  </a:cubicBezTo>
                  <a:cubicBezTo>
                    <a:pt x="10" y="37"/>
                    <a:pt x="10" y="35"/>
                    <a:pt x="10" y="33"/>
                  </a:cubicBezTo>
                  <a:close/>
                  <a:moveTo>
                    <a:pt x="37" y="7"/>
                  </a:moveTo>
                  <a:cubicBezTo>
                    <a:pt x="39" y="7"/>
                    <a:pt x="41" y="8"/>
                    <a:pt x="43" y="9"/>
                  </a:cubicBezTo>
                  <a:cubicBezTo>
                    <a:pt x="47" y="7"/>
                    <a:pt x="51" y="6"/>
                    <a:pt x="56" y="5"/>
                  </a:cubicBezTo>
                  <a:cubicBezTo>
                    <a:pt x="50" y="2"/>
                    <a:pt x="44" y="0"/>
                    <a:pt x="37" y="0"/>
                  </a:cubicBezTo>
                  <a:cubicBezTo>
                    <a:pt x="33" y="0"/>
                    <a:pt x="28" y="1"/>
                    <a:pt x="24" y="3"/>
                  </a:cubicBezTo>
                  <a:cubicBezTo>
                    <a:pt x="27" y="4"/>
                    <a:pt x="30" y="6"/>
                    <a:pt x="33" y="8"/>
                  </a:cubicBezTo>
                  <a:cubicBezTo>
                    <a:pt x="34" y="8"/>
                    <a:pt x="36" y="7"/>
                    <a:pt x="37" y="7"/>
                  </a:cubicBezTo>
                  <a:close/>
                  <a:moveTo>
                    <a:pt x="49" y="45"/>
                  </a:moveTo>
                  <a:cubicBezTo>
                    <a:pt x="50" y="44"/>
                    <a:pt x="51" y="43"/>
                    <a:pt x="51" y="42"/>
                  </a:cubicBezTo>
                  <a:cubicBezTo>
                    <a:pt x="49" y="35"/>
                    <a:pt x="45" y="28"/>
                    <a:pt x="40" y="22"/>
                  </a:cubicBezTo>
                  <a:cubicBezTo>
                    <a:pt x="40" y="23"/>
                    <a:pt x="38" y="23"/>
                    <a:pt x="37" y="23"/>
                  </a:cubicBezTo>
                  <a:cubicBezTo>
                    <a:pt x="36" y="23"/>
                    <a:pt x="34" y="23"/>
                    <a:pt x="33" y="22"/>
                  </a:cubicBezTo>
                  <a:cubicBezTo>
                    <a:pt x="30" y="24"/>
                    <a:pt x="27" y="26"/>
                    <a:pt x="25" y="29"/>
                  </a:cubicBezTo>
                  <a:cubicBezTo>
                    <a:pt x="25" y="30"/>
                    <a:pt x="26" y="32"/>
                    <a:pt x="26" y="33"/>
                  </a:cubicBezTo>
                  <a:cubicBezTo>
                    <a:pt x="26" y="34"/>
                    <a:pt x="26" y="35"/>
                    <a:pt x="26" y="36"/>
                  </a:cubicBezTo>
                  <a:cubicBezTo>
                    <a:pt x="33" y="40"/>
                    <a:pt x="41" y="44"/>
                    <a:pt x="49" y="45"/>
                  </a:cubicBezTo>
                  <a:close/>
                  <a:moveTo>
                    <a:pt x="60" y="56"/>
                  </a:moveTo>
                  <a:cubicBezTo>
                    <a:pt x="60" y="57"/>
                    <a:pt x="60" y="59"/>
                    <a:pt x="60" y="60"/>
                  </a:cubicBezTo>
                  <a:cubicBezTo>
                    <a:pt x="60" y="63"/>
                    <a:pt x="60" y="66"/>
                    <a:pt x="59" y="68"/>
                  </a:cubicBezTo>
                  <a:cubicBezTo>
                    <a:pt x="66" y="64"/>
                    <a:pt x="71" y="57"/>
                    <a:pt x="73" y="49"/>
                  </a:cubicBezTo>
                  <a:cubicBezTo>
                    <a:pt x="70" y="50"/>
                    <a:pt x="67" y="50"/>
                    <a:pt x="64" y="51"/>
                  </a:cubicBezTo>
                  <a:cubicBezTo>
                    <a:pt x="63" y="53"/>
                    <a:pt x="62" y="55"/>
                    <a:pt x="60" y="56"/>
                  </a:cubicBezTo>
                  <a:close/>
                  <a:moveTo>
                    <a:pt x="47" y="50"/>
                  </a:moveTo>
                  <a:cubicBezTo>
                    <a:pt x="38" y="49"/>
                    <a:pt x="30" y="45"/>
                    <a:pt x="22" y="40"/>
                  </a:cubicBezTo>
                  <a:cubicBezTo>
                    <a:pt x="21" y="41"/>
                    <a:pt x="19" y="41"/>
                    <a:pt x="18" y="41"/>
                  </a:cubicBezTo>
                  <a:cubicBezTo>
                    <a:pt x="17" y="41"/>
                    <a:pt x="17" y="41"/>
                    <a:pt x="16" y="41"/>
                  </a:cubicBezTo>
                  <a:cubicBezTo>
                    <a:pt x="13" y="48"/>
                    <a:pt x="10" y="55"/>
                    <a:pt x="10" y="64"/>
                  </a:cubicBezTo>
                  <a:cubicBezTo>
                    <a:pt x="13" y="67"/>
                    <a:pt x="18" y="70"/>
                    <a:pt x="23" y="73"/>
                  </a:cubicBezTo>
                  <a:cubicBezTo>
                    <a:pt x="29" y="63"/>
                    <a:pt x="37" y="55"/>
                    <a:pt x="47" y="50"/>
                  </a:cubicBezTo>
                  <a:close/>
                  <a:moveTo>
                    <a:pt x="62" y="10"/>
                  </a:moveTo>
                  <a:cubicBezTo>
                    <a:pt x="56" y="11"/>
                    <a:pt x="51" y="12"/>
                    <a:pt x="45" y="14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6"/>
                    <a:pt x="45" y="18"/>
                    <a:pt x="45" y="19"/>
                  </a:cubicBezTo>
                  <a:cubicBezTo>
                    <a:pt x="50" y="25"/>
                    <a:pt x="54" y="32"/>
                    <a:pt x="57" y="40"/>
                  </a:cubicBezTo>
                  <a:cubicBezTo>
                    <a:pt x="60" y="40"/>
                    <a:pt x="63" y="42"/>
                    <a:pt x="64" y="45"/>
                  </a:cubicBezTo>
                  <a:cubicBezTo>
                    <a:pt x="68" y="45"/>
                    <a:pt x="71" y="44"/>
                    <a:pt x="74" y="43"/>
                  </a:cubicBezTo>
                  <a:cubicBezTo>
                    <a:pt x="75" y="41"/>
                    <a:pt x="75" y="40"/>
                    <a:pt x="75" y="38"/>
                  </a:cubicBezTo>
                  <a:cubicBezTo>
                    <a:pt x="75" y="27"/>
                    <a:pt x="70" y="17"/>
                    <a:pt x="62" y="10"/>
                  </a:cubicBezTo>
                  <a:close/>
                  <a:moveTo>
                    <a:pt x="51" y="55"/>
                  </a:moveTo>
                  <a:cubicBezTo>
                    <a:pt x="42" y="59"/>
                    <a:pt x="34" y="66"/>
                    <a:pt x="28" y="74"/>
                  </a:cubicBezTo>
                  <a:cubicBezTo>
                    <a:pt x="31" y="75"/>
                    <a:pt x="34" y="76"/>
                    <a:pt x="37" y="76"/>
                  </a:cubicBezTo>
                  <a:cubicBezTo>
                    <a:pt x="43" y="76"/>
                    <a:pt x="48" y="74"/>
                    <a:pt x="53" y="72"/>
                  </a:cubicBezTo>
                  <a:cubicBezTo>
                    <a:pt x="54" y="68"/>
                    <a:pt x="54" y="64"/>
                    <a:pt x="54" y="60"/>
                  </a:cubicBezTo>
                  <a:cubicBezTo>
                    <a:pt x="54" y="59"/>
                    <a:pt x="54" y="57"/>
                    <a:pt x="54" y="56"/>
                  </a:cubicBezTo>
                  <a:cubicBezTo>
                    <a:pt x="53" y="56"/>
                    <a:pt x="52" y="55"/>
                    <a:pt x="51" y="55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4" name="Freeform 60"/>
            <p:cNvSpPr>
              <a:spLocks noChangeAspect="1" noEditPoints="1"/>
            </p:cNvSpPr>
            <p:nvPr/>
          </p:nvSpPr>
          <p:spPr bwMode="gray">
            <a:xfrm>
              <a:off x="6987469" y="4967536"/>
              <a:ext cx="225990" cy="223200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0" y="39"/>
                </a:cxn>
                <a:cxn ang="0">
                  <a:pos x="40" y="78"/>
                </a:cxn>
                <a:cxn ang="0">
                  <a:pos x="79" y="39"/>
                </a:cxn>
                <a:cxn ang="0">
                  <a:pos x="40" y="0"/>
                </a:cxn>
                <a:cxn ang="0">
                  <a:pos x="73" y="39"/>
                </a:cxn>
                <a:cxn ang="0">
                  <a:pos x="66" y="59"/>
                </a:cxn>
                <a:cxn ang="0">
                  <a:pos x="65" y="53"/>
                </a:cxn>
                <a:cxn ang="0">
                  <a:pos x="66" y="42"/>
                </a:cxn>
                <a:cxn ang="0">
                  <a:pos x="61" y="33"/>
                </a:cxn>
                <a:cxn ang="0">
                  <a:pos x="53" y="28"/>
                </a:cxn>
                <a:cxn ang="0">
                  <a:pos x="57" y="13"/>
                </a:cxn>
                <a:cxn ang="0">
                  <a:pos x="49" y="10"/>
                </a:cxn>
                <a:cxn ang="0">
                  <a:pos x="50" y="7"/>
                </a:cxn>
                <a:cxn ang="0">
                  <a:pos x="73" y="39"/>
                </a:cxn>
                <a:cxn ang="0">
                  <a:pos x="35" y="6"/>
                </a:cxn>
                <a:cxn ang="0">
                  <a:pos x="31" y="9"/>
                </a:cxn>
                <a:cxn ang="0">
                  <a:pos x="25" y="14"/>
                </a:cxn>
                <a:cxn ang="0">
                  <a:pos x="19" y="21"/>
                </a:cxn>
                <a:cxn ang="0">
                  <a:pos x="23" y="25"/>
                </a:cxn>
                <a:cxn ang="0">
                  <a:pos x="29" y="25"/>
                </a:cxn>
                <a:cxn ang="0">
                  <a:pos x="40" y="38"/>
                </a:cxn>
                <a:cxn ang="0">
                  <a:pos x="31" y="48"/>
                </a:cxn>
                <a:cxn ang="0">
                  <a:pos x="30" y="54"/>
                </a:cxn>
                <a:cxn ang="0">
                  <a:pos x="29" y="63"/>
                </a:cxn>
                <a:cxn ang="0">
                  <a:pos x="22" y="55"/>
                </a:cxn>
                <a:cxn ang="0">
                  <a:pos x="21" y="46"/>
                </a:cxn>
                <a:cxn ang="0">
                  <a:pos x="15" y="38"/>
                </a:cxn>
                <a:cxn ang="0">
                  <a:pos x="17" y="29"/>
                </a:cxn>
                <a:cxn ang="0">
                  <a:pos x="8" y="27"/>
                </a:cxn>
                <a:cxn ang="0">
                  <a:pos x="35" y="6"/>
                </a:cxn>
                <a:cxn ang="0">
                  <a:pos x="29" y="71"/>
                </a:cxn>
                <a:cxn ang="0">
                  <a:pos x="33" y="68"/>
                </a:cxn>
                <a:cxn ang="0">
                  <a:pos x="39" y="67"/>
                </a:cxn>
                <a:cxn ang="0">
                  <a:pos x="48" y="64"/>
                </a:cxn>
                <a:cxn ang="0">
                  <a:pos x="58" y="67"/>
                </a:cxn>
                <a:cxn ang="0">
                  <a:pos x="40" y="72"/>
                </a:cxn>
                <a:cxn ang="0">
                  <a:pos x="29" y="71"/>
                </a:cxn>
              </a:cxnLst>
              <a:rect l="0" t="0" r="r" b="b"/>
              <a:pathLst>
                <a:path w="79" h="78">
                  <a:moveTo>
                    <a:pt x="40" y="0"/>
                  </a:moveTo>
                  <a:cubicBezTo>
                    <a:pt x="18" y="0"/>
                    <a:pt x="0" y="17"/>
                    <a:pt x="0" y="39"/>
                  </a:cubicBezTo>
                  <a:cubicBezTo>
                    <a:pt x="0" y="61"/>
                    <a:pt x="18" y="78"/>
                    <a:pt x="40" y="78"/>
                  </a:cubicBezTo>
                  <a:cubicBezTo>
                    <a:pt x="61" y="78"/>
                    <a:pt x="79" y="61"/>
                    <a:pt x="79" y="39"/>
                  </a:cubicBezTo>
                  <a:cubicBezTo>
                    <a:pt x="79" y="17"/>
                    <a:pt x="61" y="0"/>
                    <a:pt x="40" y="0"/>
                  </a:cubicBezTo>
                  <a:close/>
                  <a:moveTo>
                    <a:pt x="73" y="39"/>
                  </a:moveTo>
                  <a:cubicBezTo>
                    <a:pt x="73" y="47"/>
                    <a:pt x="70" y="54"/>
                    <a:pt x="66" y="59"/>
                  </a:cubicBezTo>
                  <a:cubicBezTo>
                    <a:pt x="65" y="58"/>
                    <a:pt x="64" y="56"/>
                    <a:pt x="65" y="53"/>
                  </a:cubicBezTo>
                  <a:cubicBezTo>
                    <a:pt x="66" y="50"/>
                    <a:pt x="66" y="44"/>
                    <a:pt x="66" y="42"/>
                  </a:cubicBezTo>
                  <a:cubicBezTo>
                    <a:pt x="66" y="39"/>
                    <a:pt x="65" y="33"/>
                    <a:pt x="61" y="33"/>
                  </a:cubicBezTo>
                  <a:cubicBezTo>
                    <a:pt x="58" y="33"/>
                    <a:pt x="55" y="32"/>
                    <a:pt x="53" y="28"/>
                  </a:cubicBezTo>
                  <a:cubicBezTo>
                    <a:pt x="49" y="20"/>
                    <a:pt x="61" y="18"/>
                    <a:pt x="57" y="13"/>
                  </a:cubicBezTo>
                  <a:cubicBezTo>
                    <a:pt x="56" y="12"/>
                    <a:pt x="50" y="19"/>
                    <a:pt x="49" y="10"/>
                  </a:cubicBezTo>
                  <a:cubicBezTo>
                    <a:pt x="49" y="9"/>
                    <a:pt x="49" y="8"/>
                    <a:pt x="50" y="7"/>
                  </a:cubicBezTo>
                  <a:cubicBezTo>
                    <a:pt x="63" y="12"/>
                    <a:pt x="73" y="24"/>
                    <a:pt x="73" y="39"/>
                  </a:cubicBezTo>
                  <a:close/>
                  <a:moveTo>
                    <a:pt x="35" y="6"/>
                  </a:moveTo>
                  <a:cubicBezTo>
                    <a:pt x="34" y="7"/>
                    <a:pt x="32" y="8"/>
                    <a:pt x="31" y="9"/>
                  </a:cubicBezTo>
                  <a:cubicBezTo>
                    <a:pt x="28" y="12"/>
                    <a:pt x="27" y="11"/>
                    <a:pt x="25" y="14"/>
                  </a:cubicBezTo>
                  <a:cubicBezTo>
                    <a:pt x="24" y="16"/>
                    <a:pt x="19" y="20"/>
                    <a:pt x="19" y="21"/>
                  </a:cubicBezTo>
                  <a:cubicBezTo>
                    <a:pt x="19" y="23"/>
                    <a:pt x="21" y="25"/>
                    <a:pt x="23" y="25"/>
                  </a:cubicBezTo>
                  <a:cubicBezTo>
                    <a:pt x="24" y="24"/>
                    <a:pt x="27" y="24"/>
                    <a:pt x="29" y="25"/>
                  </a:cubicBezTo>
                  <a:cubicBezTo>
                    <a:pt x="31" y="26"/>
                    <a:pt x="45" y="26"/>
                    <a:pt x="40" y="38"/>
                  </a:cubicBezTo>
                  <a:cubicBezTo>
                    <a:pt x="39" y="42"/>
                    <a:pt x="33" y="41"/>
                    <a:pt x="31" y="48"/>
                  </a:cubicBezTo>
                  <a:cubicBezTo>
                    <a:pt x="31" y="49"/>
                    <a:pt x="30" y="53"/>
                    <a:pt x="30" y="54"/>
                  </a:cubicBezTo>
                  <a:cubicBezTo>
                    <a:pt x="30" y="56"/>
                    <a:pt x="31" y="63"/>
                    <a:pt x="29" y="63"/>
                  </a:cubicBezTo>
                  <a:cubicBezTo>
                    <a:pt x="28" y="63"/>
                    <a:pt x="22" y="57"/>
                    <a:pt x="22" y="55"/>
                  </a:cubicBezTo>
                  <a:cubicBezTo>
                    <a:pt x="22" y="54"/>
                    <a:pt x="21" y="50"/>
                    <a:pt x="21" y="46"/>
                  </a:cubicBezTo>
                  <a:cubicBezTo>
                    <a:pt x="21" y="43"/>
                    <a:pt x="15" y="43"/>
                    <a:pt x="15" y="38"/>
                  </a:cubicBezTo>
                  <a:cubicBezTo>
                    <a:pt x="15" y="34"/>
                    <a:pt x="18" y="31"/>
                    <a:pt x="17" y="29"/>
                  </a:cubicBezTo>
                  <a:cubicBezTo>
                    <a:pt x="17" y="27"/>
                    <a:pt x="11" y="27"/>
                    <a:pt x="8" y="27"/>
                  </a:cubicBezTo>
                  <a:cubicBezTo>
                    <a:pt x="13" y="16"/>
                    <a:pt x="23" y="7"/>
                    <a:pt x="35" y="6"/>
                  </a:cubicBezTo>
                  <a:close/>
                  <a:moveTo>
                    <a:pt x="29" y="71"/>
                  </a:moveTo>
                  <a:cubicBezTo>
                    <a:pt x="31" y="70"/>
                    <a:pt x="31" y="68"/>
                    <a:pt x="33" y="68"/>
                  </a:cubicBezTo>
                  <a:cubicBezTo>
                    <a:pt x="35" y="68"/>
                    <a:pt x="37" y="67"/>
                    <a:pt x="39" y="67"/>
                  </a:cubicBezTo>
                  <a:cubicBezTo>
                    <a:pt x="41" y="66"/>
                    <a:pt x="45" y="64"/>
                    <a:pt x="48" y="64"/>
                  </a:cubicBezTo>
                  <a:cubicBezTo>
                    <a:pt x="51" y="64"/>
                    <a:pt x="57" y="64"/>
                    <a:pt x="58" y="67"/>
                  </a:cubicBezTo>
                  <a:cubicBezTo>
                    <a:pt x="53" y="70"/>
                    <a:pt x="46" y="72"/>
                    <a:pt x="40" y="72"/>
                  </a:cubicBezTo>
                  <a:cubicBezTo>
                    <a:pt x="36" y="72"/>
                    <a:pt x="32" y="72"/>
                    <a:pt x="29" y="71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5" name="Freeform 64"/>
            <p:cNvSpPr>
              <a:spLocks noChangeAspect="1" noEditPoints="1"/>
            </p:cNvSpPr>
            <p:nvPr/>
          </p:nvSpPr>
          <p:spPr bwMode="gray">
            <a:xfrm>
              <a:off x="7450021" y="4936936"/>
              <a:ext cx="284400" cy="284400"/>
            </a:xfrm>
            <a:custGeom>
              <a:avLst/>
              <a:gdLst/>
              <a:ahLst/>
              <a:cxnLst>
                <a:cxn ang="0">
                  <a:pos x="100" y="50"/>
                </a:cxn>
                <a:cxn ang="0">
                  <a:pos x="87" y="40"/>
                </a:cxn>
                <a:cxn ang="0">
                  <a:pos x="93" y="25"/>
                </a:cxn>
                <a:cxn ang="0">
                  <a:pos x="78" y="23"/>
                </a:cxn>
                <a:cxn ang="0">
                  <a:pos x="75" y="7"/>
                </a:cxn>
                <a:cxn ang="0">
                  <a:pos x="60" y="13"/>
                </a:cxn>
                <a:cxn ang="0">
                  <a:pos x="50" y="0"/>
                </a:cxn>
                <a:cxn ang="0">
                  <a:pos x="40" y="13"/>
                </a:cxn>
                <a:cxn ang="0">
                  <a:pos x="25" y="7"/>
                </a:cxn>
                <a:cxn ang="0">
                  <a:pos x="23" y="23"/>
                </a:cxn>
                <a:cxn ang="0">
                  <a:pos x="7" y="25"/>
                </a:cxn>
                <a:cxn ang="0">
                  <a:pos x="13" y="40"/>
                </a:cxn>
                <a:cxn ang="0">
                  <a:pos x="0" y="50"/>
                </a:cxn>
                <a:cxn ang="0">
                  <a:pos x="13" y="60"/>
                </a:cxn>
                <a:cxn ang="0">
                  <a:pos x="7" y="75"/>
                </a:cxn>
                <a:cxn ang="0">
                  <a:pos x="23" y="77"/>
                </a:cxn>
                <a:cxn ang="0">
                  <a:pos x="25" y="93"/>
                </a:cxn>
                <a:cxn ang="0">
                  <a:pos x="40" y="87"/>
                </a:cxn>
                <a:cxn ang="0">
                  <a:pos x="50" y="100"/>
                </a:cxn>
                <a:cxn ang="0">
                  <a:pos x="60" y="87"/>
                </a:cxn>
                <a:cxn ang="0">
                  <a:pos x="75" y="93"/>
                </a:cxn>
                <a:cxn ang="0">
                  <a:pos x="77" y="77"/>
                </a:cxn>
                <a:cxn ang="0">
                  <a:pos x="93" y="75"/>
                </a:cxn>
                <a:cxn ang="0">
                  <a:pos x="87" y="60"/>
                </a:cxn>
                <a:cxn ang="0">
                  <a:pos x="100" y="50"/>
                </a:cxn>
                <a:cxn ang="0">
                  <a:pos x="50" y="60"/>
                </a:cxn>
                <a:cxn ang="0">
                  <a:pos x="41" y="50"/>
                </a:cxn>
                <a:cxn ang="0">
                  <a:pos x="50" y="40"/>
                </a:cxn>
                <a:cxn ang="0">
                  <a:pos x="60" y="50"/>
                </a:cxn>
                <a:cxn ang="0">
                  <a:pos x="50" y="60"/>
                </a:cxn>
              </a:cxnLst>
              <a:rect l="0" t="0" r="r" b="b"/>
              <a:pathLst>
                <a:path w="100" h="100">
                  <a:moveTo>
                    <a:pt x="100" y="50"/>
                  </a:moveTo>
                  <a:cubicBezTo>
                    <a:pt x="100" y="46"/>
                    <a:pt x="95" y="42"/>
                    <a:pt x="87" y="40"/>
                  </a:cubicBezTo>
                  <a:cubicBezTo>
                    <a:pt x="93" y="34"/>
                    <a:pt x="95" y="29"/>
                    <a:pt x="93" y="25"/>
                  </a:cubicBezTo>
                  <a:cubicBezTo>
                    <a:pt x="91" y="21"/>
                    <a:pt x="85" y="21"/>
                    <a:pt x="78" y="23"/>
                  </a:cubicBezTo>
                  <a:cubicBezTo>
                    <a:pt x="80" y="15"/>
                    <a:pt x="79" y="9"/>
                    <a:pt x="75" y="7"/>
                  </a:cubicBezTo>
                  <a:cubicBezTo>
                    <a:pt x="71" y="5"/>
                    <a:pt x="66" y="7"/>
                    <a:pt x="60" y="13"/>
                  </a:cubicBezTo>
                  <a:cubicBezTo>
                    <a:pt x="58" y="5"/>
                    <a:pt x="55" y="0"/>
                    <a:pt x="50" y="0"/>
                  </a:cubicBezTo>
                  <a:cubicBezTo>
                    <a:pt x="46" y="0"/>
                    <a:pt x="42" y="5"/>
                    <a:pt x="40" y="13"/>
                  </a:cubicBezTo>
                  <a:cubicBezTo>
                    <a:pt x="35" y="7"/>
                    <a:pt x="29" y="5"/>
                    <a:pt x="25" y="7"/>
                  </a:cubicBezTo>
                  <a:cubicBezTo>
                    <a:pt x="22" y="9"/>
                    <a:pt x="21" y="15"/>
                    <a:pt x="23" y="23"/>
                  </a:cubicBezTo>
                  <a:cubicBezTo>
                    <a:pt x="16" y="21"/>
                    <a:pt x="9" y="21"/>
                    <a:pt x="7" y="25"/>
                  </a:cubicBezTo>
                  <a:cubicBezTo>
                    <a:pt x="5" y="29"/>
                    <a:pt x="8" y="34"/>
                    <a:pt x="13" y="40"/>
                  </a:cubicBezTo>
                  <a:cubicBezTo>
                    <a:pt x="6" y="42"/>
                    <a:pt x="0" y="46"/>
                    <a:pt x="0" y="50"/>
                  </a:cubicBezTo>
                  <a:cubicBezTo>
                    <a:pt x="0" y="54"/>
                    <a:pt x="6" y="58"/>
                    <a:pt x="13" y="60"/>
                  </a:cubicBezTo>
                  <a:cubicBezTo>
                    <a:pt x="8" y="65"/>
                    <a:pt x="5" y="71"/>
                    <a:pt x="7" y="75"/>
                  </a:cubicBezTo>
                  <a:cubicBezTo>
                    <a:pt x="9" y="78"/>
                    <a:pt x="16" y="79"/>
                    <a:pt x="23" y="77"/>
                  </a:cubicBezTo>
                  <a:cubicBezTo>
                    <a:pt x="21" y="85"/>
                    <a:pt x="22" y="91"/>
                    <a:pt x="25" y="93"/>
                  </a:cubicBezTo>
                  <a:cubicBezTo>
                    <a:pt x="29" y="95"/>
                    <a:pt x="35" y="93"/>
                    <a:pt x="40" y="87"/>
                  </a:cubicBezTo>
                  <a:cubicBezTo>
                    <a:pt x="42" y="95"/>
                    <a:pt x="46" y="100"/>
                    <a:pt x="50" y="100"/>
                  </a:cubicBezTo>
                  <a:cubicBezTo>
                    <a:pt x="54" y="100"/>
                    <a:pt x="58" y="95"/>
                    <a:pt x="60" y="87"/>
                  </a:cubicBezTo>
                  <a:cubicBezTo>
                    <a:pt x="66" y="93"/>
                    <a:pt x="71" y="95"/>
                    <a:pt x="75" y="93"/>
                  </a:cubicBezTo>
                  <a:cubicBezTo>
                    <a:pt x="79" y="91"/>
                    <a:pt x="80" y="85"/>
                    <a:pt x="77" y="77"/>
                  </a:cubicBezTo>
                  <a:cubicBezTo>
                    <a:pt x="85" y="79"/>
                    <a:pt x="91" y="78"/>
                    <a:pt x="93" y="75"/>
                  </a:cubicBezTo>
                  <a:cubicBezTo>
                    <a:pt x="95" y="71"/>
                    <a:pt x="93" y="65"/>
                    <a:pt x="87" y="60"/>
                  </a:cubicBezTo>
                  <a:cubicBezTo>
                    <a:pt x="95" y="58"/>
                    <a:pt x="100" y="54"/>
                    <a:pt x="100" y="50"/>
                  </a:cubicBezTo>
                  <a:close/>
                  <a:moveTo>
                    <a:pt x="50" y="60"/>
                  </a:moveTo>
                  <a:cubicBezTo>
                    <a:pt x="45" y="60"/>
                    <a:pt x="41" y="55"/>
                    <a:pt x="41" y="50"/>
                  </a:cubicBezTo>
                  <a:cubicBezTo>
                    <a:pt x="41" y="44"/>
                    <a:pt x="45" y="40"/>
                    <a:pt x="50" y="40"/>
                  </a:cubicBezTo>
                  <a:cubicBezTo>
                    <a:pt x="56" y="40"/>
                    <a:pt x="60" y="44"/>
                    <a:pt x="60" y="50"/>
                  </a:cubicBezTo>
                  <a:cubicBezTo>
                    <a:pt x="60" y="55"/>
                    <a:pt x="56" y="60"/>
                    <a:pt x="50" y="60"/>
                  </a:cubicBez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6" name="Freeform 68"/>
            <p:cNvSpPr>
              <a:spLocks noChangeAspect="1"/>
            </p:cNvSpPr>
            <p:nvPr/>
          </p:nvSpPr>
          <p:spPr bwMode="gray">
            <a:xfrm>
              <a:off x="7975086" y="4911736"/>
              <a:ext cx="211285" cy="334800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4" y="75"/>
                </a:cxn>
                <a:cxn ang="0">
                  <a:pos x="4" y="75"/>
                </a:cxn>
                <a:cxn ang="0">
                  <a:pos x="37" y="108"/>
                </a:cxn>
                <a:cxn ang="0">
                  <a:pos x="37" y="91"/>
                </a:cxn>
                <a:cxn ang="0">
                  <a:pos x="12" y="70"/>
                </a:cxn>
                <a:cxn ang="0">
                  <a:pos x="27" y="78"/>
                </a:cxn>
                <a:cxn ang="0">
                  <a:pos x="37" y="87"/>
                </a:cxn>
                <a:cxn ang="0">
                  <a:pos x="37" y="70"/>
                </a:cxn>
                <a:cxn ang="0">
                  <a:pos x="18" y="54"/>
                </a:cxn>
                <a:cxn ang="0">
                  <a:pos x="30" y="60"/>
                </a:cxn>
                <a:cxn ang="0">
                  <a:pos x="37" y="66"/>
                </a:cxn>
                <a:cxn ang="0">
                  <a:pos x="37" y="48"/>
                </a:cxn>
                <a:cxn ang="0">
                  <a:pos x="26" y="38"/>
                </a:cxn>
                <a:cxn ang="0">
                  <a:pos x="33" y="41"/>
                </a:cxn>
                <a:cxn ang="0">
                  <a:pos x="37" y="45"/>
                </a:cxn>
                <a:cxn ang="0">
                  <a:pos x="37" y="24"/>
                </a:cxn>
                <a:cxn ang="0">
                  <a:pos x="39" y="24"/>
                </a:cxn>
                <a:cxn ang="0">
                  <a:pos x="39" y="44"/>
                </a:cxn>
                <a:cxn ang="0">
                  <a:pos x="43" y="41"/>
                </a:cxn>
                <a:cxn ang="0">
                  <a:pos x="50" y="38"/>
                </a:cxn>
                <a:cxn ang="0">
                  <a:pos x="39" y="47"/>
                </a:cxn>
                <a:cxn ang="0">
                  <a:pos x="39" y="65"/>
                </a:cxn>
                <a:cxn ang="0">
                  <a:pos x="46" y="60"/>
                </a:cxn>
                <a:cxn ang="0">
                  <a:pos x="57" y="54"/>
                </a:cxn>
                <a:cxn ang="0">
                  <a:pos x="39" y="69"/>
                </a:cxn>
                <a:cxn ang="0">
                  <a:pos x="39" y="87"/>
                </a:cxn>
                <a:cxn ang="0">
                  <a:pos x="49" y="78"/>
                </a:cxn>
                <a:cxn ang="0">
                  <a:pos x="64" y="70"/>
                </a:cxn>
                <a:cxn ang="0">
                  <a:pos x="39" y="91"/>
                </a:cxn>
                <a:cxn ang="0">
                  <a:pos x="39" y="106"/>
                </a:cxn>
                <a:cxn ang="0">
                  <a:pos x="39" y="106"/>
                </a:cxn>
                <a:cxn ang="0">
                  <a:pos x="39" y="118"/>
                </a:cxn>
                <a:cxn ang="0">
                  <a:pos x="45" y="118"/>
                </a:cxn>
                <a:cxn ang="0">
                  <a:pos x="45" y="107"/>
                </a:cxn>
                <a:cxn ang="0">
                  <a:pos x="72" y="74"/>
                </a:cxn>
                <a:cxn ang="0">
                  <a:pos x="72" y="74"/>
                </a:cxn>
                <a:cxn ang="0">
                  <a:pos x="38" y="0"/>
                </a:cxn>
              </a:cxnLst>
              <a:rect l="0" t="0" r="r" b="b"/>
              <a:pathLst>
                <a:path w="74" h="118">
                  <a:moveTo>
                    <a:pt x="38" y="0"/>
                  </a:moveTo>
                  <a:cubicBezTo>
                    <a:pt x="38" y="0"/>
                    <a:pt x="0" y="53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93"/>
                    <a:pt x="19" y="108"/>
                    <a:pt x="37" y="108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25" y="76"/>
                    <a:pt x="27" y="78"/>
                  </a:cubicBezTo>
                  <a:cubicBezTo>
                    <a:pt x="29" y="80"/>
                    <a:pt x="34" y="85"/>
                    <a:pt x="37" y="8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8" y="54"/>
                    <a:pt x="26" y="58"/>
                    <a:pt x="30" y="60"/>
                  </a:cubicBezTo>
                  <a:cubicBezTo>
                    <a:pt x="32" y="61"/>
                    <a:pt x="35" y="64"/>
                    <a:pt x="37" y="66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32" y="41"/>
                    <a:pt x="33" y="41"/>
                  </a:cubicBezTo>
                  <a:cubicBezTo>
                    <a:pt x="34" y="42"/>
                    <a:pt x="36" y="44"/>
                    <a:pt x="37" y="45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40" y="43"/>
                    <a:pt x="42" y="42"/>
                    <a:pt x="43" y="41"/>
                  </a:cubicBezTo>
                  <a:cubicBezTo>
                    <a:pt x="44" y="41"/>
                    <a:pt x="50" y="38"/>
                    <a:pt x="50" y="38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41" y="64"/>
                    <a:pt x="44" y="61"/>
                    <a:pt x="46" y="60"/>
                  </a:cubicBezTo>
                  <a:cubicBezTo>
                    <a:pt x="50" y="58"/>
                    <a:pt x="57" y="54"/>
                    <a:pt x="57" y="54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42" y="85"/>
                    <a:pt x="47" y="80"/>
                    <a:pt x="49" y="78"/>
                  </a:cubicBezTo>
                  <a:cubicBezTo>
                    <a:pt x="51" y="76"/>
                    <a:pt x="64" y="70"/>
                    <a:pt x="64" y="70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9" y="106"/>
                    <a:pt x="39" y="106"/>
                    <a:pt x="39" y="106"/>
                  </a:cubicBezTo>
                  <a:cubicBezTo>
                    <a:pt x="39" y="106"/>
                    <a:pt x="39" y="106"/>
                    <a:pt x="39" y="106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45" y="118"/>
                    <a:pt x="45" y="118"/>
                    <a:pt x="45" y="118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61" y="104"/>
                    <a:pt x="72" y="90"/>
                    <a:pt x="72" y="74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4" y="51"/>
                    <a:pt x="38" y="0"/>
                    <a:pt x="38" y="0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7" name="Freeform 72"/>
            <p:cNvSpPr>
              <a:spLocks noChangeAspect="1" noEditPoints="1"/>
            </p:cNvSpPr>
            <p:nvPr/>
          </p:nvSpPr>
          <p:spPr bwMode="gray">
            <a:xfrm>
              <a:off x="8469586" y="4911736"/>
              <a:ext cx="245044" cy="334800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37" y="18"/>
                </a:cxn>
                <a:cxn ang="0">
                  <a:pos x="14" y="0"/>
                </a:cxn>
                <a:cxn ang="0">
                  <a:pos x="0" y="2"/>
                </a:cxn>
                <a:cxn ang="0">
                  <a:pos x="33" y="32"/>
                </a:cxn>
                <a:cxn ang="0">
                  <a:pos x="33" y="118"/>
                </a:cxn>
                <a:cxn ang="0">
                  <a:pos x="41" y="118"/>
                </a:cxn>
                <a:cxn ang="0">
                  <a:pos x="41" y="36"/>
                </a:cxn>
                <a:cxn ang="0">
                  <a:pos x="86" y="3"/>
                </a:cxn>
                <a:cxn ang="0">
                  <a:pos x="69" y="0"/>
                </a:cxn>
                <a:cxn ang="0">
                  <a:pos x="10" y="7"/>
                </a:cxn>
                <a:cxn ang="0">
                  <a:pos x="37" y="24"/>
                </a:cxn>
                <a:cxn ang="0">
                  <a:pos x="71" y="10"/>
                </a:cxn>
                <a:cxn ang="0">
                  <a:pos x="37" y="32"/>
                </a:cxn>
                <a:cxn ang="0">
                  <a:pos x="10" y="7"/>
                </a:cxn>
              </a:cxnLst>
              <a:rect l="0" t="0" r="r" b="b"/>
              <a:pathLst>
                <a:path w="86" h="118">
                  <a:moveTo>
                    <a:pt x="69" y="0"/>
                  </a:moveTo>
                  <a:cubicBezTo>
                    <a:pt x="48" y="0"/>
                    <a:pt x="40" y="7"/>
                    <a:pt x="37" y="18"/>
                  </a:cubicBezTo>
                  <a:cubicBezTo>
                    <a:pt x="37" y="18"/>
                    <a:pt x="31" y="2"/>
                    <a:pt x="14" y="0"/>
                  </a:cubicBezTo>
                  <a:cubicBezTo>
                    <a:pt x="9" y="0"/>
                    <a:pt x="4" y="0"/>
                    <a:pt x="0" y="2"/>
                  </a:cubicBezTo>
                  <a:cubicBezTo>
                    <a:pt x="7" y="39"/>
                    <a:pt x="25" y="35"/>
                    <a:pt x="33" y="32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50" y="42"/>
                    <a:pt x="73" y="50"/>
                    <a:pt x="86" y="3"/>
                  </a:cubicBezTo>
                  <a:cubicBezTo>
                    <a:pt x="81" y="1"/>
                    <a:pt x="75" y="0"/>
                    <a:pt x="69" y="0"/>
                  </a:cubicBezTo>
                  <a:close/>
                  <a:moveTo>
                    <a:pt x="10" y="7"/>
                  </a:moveTo>
                  <a:cubicBezTo>
                    <a:pt x="28" y="11"/>
                    <a:pt x="37" y="24"/>
                    <a:pt x="37" y="24"/>
                  </a:cubicBezTo>
                  <a:cubicBezTo>
                    <a:pt x="37" y="24"/>
                    <a:pt x="46" y="9"/>
                    <a:pt x="71" y="10"/>
                  </a:cubicBezTo>
                  <a:cubicBezTo>
                    <a:pt x="71" y="10"/>
                    <a:pt x="43" y="20"/>
                    <a:pt x="37" y="32"/>
                  </a:cubicBezTo>
                  <a:cubicBezTo>
                    <a:pt x="35" y="25"/>
                    <a:pt x="25" y="19"/>
                    <a:pt x="10" y="7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8" name="Freeform 5"/>
            <p:cNvSpPr>
              <a:spLocks noChangeAspect="1" noEditPoints="1"/>
            </p:cNvSpPr>
            <p:nvPr/>
          </p:nvSpPr>
          <p:spPr bwMode="gray">
            <a:xfrm>
              <a:off x="464116" y="5437002"/>
              <a:ext cx="191453" cy="2844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0" y="91"/>
                </a:cxn>
                <a:cxn ang="0">
                  <a:pos x="58" y="100"/>
                </a:cxn>
                <a:cxn ang="0">
                  <a:pos x="67" y="8"/>
                </a:cxn>
                <a:cxn ang="0">
                  <a:pos x="8" y="15"/>
                </a:cxn>
                <a:cxn ang="0">
                  <a:pos x="55" y="11"/>
                </a:cxn>
                <a:cxn ang="0">
                  <a:pos x="58" y="25"/>
                </a:cxn>
                <a:cxn ang="0">
                  <a:pos x="12" y="28"/>
                </a:cxn>
                <a:cxn ang="0">
                  <a:pos x="8" y="15"/>
                </a:cxn>
                <a:cxn ang="0">
                  <a:pos x="54" y="46"/>
                </a:cxn>
                <a:cxn ang="0">
                  <a:pos x="54" y="39"/>
                </a:cxn>
                <a:cxn ang="0">
                  <a:pos x="44" y="42"/>
                </a:cxn>
                <a:cxn ang="0">
                  <a:pos x="36" y="42"/>
                </a:cxn>
                <a:cxn ang="0">
                  <a:pos x="44" y="42"/>
                </a:cxn>
                <a:cxn ang="0">
                  <a:pos x="26" y="46"/>
                </a:cxn>
                <a:cxn ang="0">
                  <a:pos x="26" y="39"/>
                </a:cxn>
                <a:cxn ang="0">
                  <a:pos x="12" y="89"/>
                </a:cxn>
                <a:cxn ang="0">
                  <a:pos x="12" y="81"/>
                </a:cxn>
                <a:cxn ang="0">
                  <a:pos x="12" y="89"/>
                </a:cxn>
                <a:cxn ang="0">
                  <a:pos x="8" y="71"/>
                </a:cxn>
                <a:cxn ang="0">
                  <a:pos x="16" y="71"/>
                </a:cxn>
                <a:cxn ang="0">
                  <a:pos x="12" y="60"/>
                </a:cxn>
                <a:cxn ang="0">
                  <a:pos x="12" y="53"/>
                </a:cxn>
                <a:cxn ang="0">
                  <a:pos x="12" y="60"/>
                </a:cxn>
                <a:cxn ang="0">
                  <a:pos x="8" y="42"/>
                </a:cxn>
                <a:cxn ang="0">
                  <a:pos x="16" y="42"/>
                </a:cxn>
                <a:cxn ang="0">
                  <a:pos x="26" y="89"/>
                </a:cxn>
                <a:cxn ang="0">
                  <a:pos x="26" y="81"/>
                </a:cxn>
                <a:cxn ang="0">
                  <a:pos x="26" y="89"/>
                </a:cxn>
                <a:cxn ang="0">
                  <a:pos x="22" y="71"/>
                </a:cxn>
                <a:cxn ang="0">
                  <a:pos x="30" y="71"/>
                </a:cxn>
                <a:cxn ang="0">
                  <a:pos x="26" y="60"/>
                </a:cxn>
                <a:cxn ang="0">
                  <a:pos x="26" y="53"/>
                </a:cxn>
                <a:cxn ang="0">
                  <a:pos x="26" y="60"/>
                </a:cxn>
                <a:cxn ang="0">
                  <a:pos x="36" y="85"/>
                </a:cxn>
                <a:cxn ang="0">
                  <a:pos x="44" y="85"/>
                </a:cxn>
                <a:cxn ang="0">
                  <a:pos x="40" y="74"/>
                </a:cxn>
                <a:cxn ang="0">
                  <a:pos x="40" y="67"/>
                </a:cxn>
                <a:cxn ang="0">
                  <a:pos x="40" y="74"/>
                </a:cxn>
                <a:cxn ang="0">
                  <a:pos x="36" y="57"/>
                </a:cxn>
                <a:cxn ang="0">
                  <a:pos x="44" y="57"/>
                </a:cxn>
                <a:cxn ang="0">
                  <a:pos x="59" y="86"/>
                </a:cxn>
                <a:cxn ang="0">
                  <a:pos x="52" y="88"/>
                </a:cxn>
                <a:cxn ang="0">
                  <a:pos x="50" y="55"/>
                </a:cxn>
                <a:cxn ang="0">
                  <a:pos x="57" y="53"/>
                </a:cxn>
                <a:cxn ang="0">
                  <a:pos x="59" y="86"/>
                </a:cxn>
              </a:cxnLst>
              <a:rect l="0" t="0" r="r" b="b"/>
              <a:pathLst>
                <a:path w="67" h="100">
                  <a:moveTo>
                    <a:pt x="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96"/>
                    <a:pt x="4" y="100"/>
                    <a:pt x="8" y="100"/>
                  </a:cubicBezTo>
                  <a:cubicBezTo>
                    <a:pt x="58" y="100"/>
                    <a:pt x="58" y="100"/>
                    <a:pt x="58" y="100"/>
                  </a:cubicBezTo>
                  <a:cubicBezTo>
                    <a:pt x="63" y="100"/>
                    <a:pt x="67" y="96"/>
                    <a:pt x="67" y="91"/>
                  </a:cubicBezTo>
                  <a:cubicBezTo>
                    <a:pt x="67" y="8"/>
                    <a:pt x="67" y="8"/>
                    <a:pt x="67" y="8"/>
                  </a:cubicBezTo>
                  <a:cubicBezTo>
                    <a:pt x="67" y="4"/>
                    <a:pt x="63" y="0"/>
                    <a:pt x="58" y="0"/>
                  </a:cubicBezTo>
                  <a:close/>
                  <a:moveTo>
                    <a:pt x="8" y="15"/>
                  </a:moveTo>
                  <a:cubicBezTo>
                    <a:pt x="8" y="13"/>
                    <a:pt x="10" y="11"/>
                    <a:pt x="12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7" y="11"/>
                    <a:pt x="58" y="13"/>
                    <a:pt x="58" y="15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6"/>
                    <a:pt x="57" y="28"/>
                    <a:pt x="55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0" y="28"/>
                    <a:pt x="8" y="26"/>
                    <a:pt x="8" y="25"/>
                  </a:cubicBezTo>
                  <a:lnTo>
                    <a:pt x="8" y="15"/>
                  </a:lnTo>
                  <a:close/>
                  <a:moveTo>
                    <a:pt x="58" y="42"/>
                  </a:moveTo>
                  <a:cubicBezTo>
                    <a:pt x="58" y="44"/>
                    <a:pt x="56" y="46"/>
                    <a:pt x="54" y="46"/>
                  </a:cubicBezTo>
                  <a:cubicBezTo>
                    <a:pt x="52" y="46"/>
                    <a:pt x="51" y="44"/>
                    <a:pt x="51" y="42"/>
                  </a:cubicBezTo>
                  <a:cubicBezTo>
                    <a:pt x="51" y="40"/>
                    <a:pt x="52" y="39"/>
                    <a:pt x="54" y="39"/>
                  </a:cubicBezTo>
                  <a:cubicBezTo>
                    <a:pt x="56" y="39"/>
                    <a:pt x="58" y="40"/>
                    <a:pt x="58" y="42"/>
                  </a:cubicBezTo>
                  <a:close/>
                  <a:moveTo>
                    <a:pt x="44" y="42"/>
                  </a:moveTo>
                  <a:cubicBezTo>
                    <a:pt x="44" y="44"/>
                    <a:pt x="42" y="46"/>
                    <a:pt x="40" y="46"/>
                  </a:cubicBezTo>
                  <a:cubicBezTo>
                    <a:pt x="38" y="46"/>
                    <a:pt x="36" y="44"/>
                    <a:pt x="36" y="42"/>
                  </a:cubicBezTo>
                  <a:cubicBezTo>
                    <a:pt x="36" y="40"/>
                    <a:pt x="38" y="39"/>
                    <a:pt x="40" y="39"/>
                  </a:cubicBezTo>
                  <a:cubicBezTo>
                    <a:pt x="42" y="39"/>
                    <a:pt x="44" y="40"/>
                    <a:pt x="44" y="42"/>
                  </a:cubicBezTo>
                  <a:close/>
                  <a:moveTo>
                    <a:pt x="30" y="42"/>
                  </a:moveTo>
                  <a:cubicBezTo>
                    <a:pt x="30" y="44"/>
                    <a:pt x="28" y="46"/>
                    <a:pt x="26" y="46"/>
                  </a:cubicBezTo>
                  <a:cubicBezTo>
                    <a:pt x="24" y="46"/>
                    <a:pt x="22" y="44"/>
                    <a:pt x="22" y="42"/>
                  </a:cubicBezTo>
                  <a:cubicBezTo>
                    <a:pt x="22" y="40"/>
                    <a:pt x="24" y="39"/>
                    <a:pt x="26" y="39"/>
                  </a:cubicBezTo>
                  <a:cubicBezTo>
                    <a:pt x="28" y="39"/>
                    <a:pt x="30" y="40"/>
                    <a:pt x="30" y="42"/>
                  </a:cubicBezTo>
                  <a:close/>
                  <a:moveTo>
                    <a:pt x="12" y="89"/>
                  </a:moveTo>
                  <a:cubicBezTo>
                    <a:pt x="10" y="89"/>
                    <a:pt x="8" y="87"/>
                    <a:pt x="8" y="85"/>
                  </a:cubicBezTo>
                  <a:cubicBezTo>
                    <a:pt x="8" y="83"/>
                    <a:pt x="10" y="81"/>
                    <a:pt x="12" y="81"/>
                  </a:cubicBezTo>
                  <a:cubicBezTo>
                    <a:pt x="14" y="81"/>
                    <a:pt x="16" y="83"/>
                    <a:pt x="16" y="85"/>
                  </a:cubicBezTo>
                  <a:cubicBezTo>
                    <a:pt x="16" y="87"/>
                    <a:pt x="14" y="89"/>
                    <a:pt x="12" y="89"/>
                  </a:cubicBezTo>
                  <a:close/>
                  <a:moveTo>
                    <a:pt x="12" y="74"/>
                  </a:moveTo>
                  <a:cubicBezTo>
                    <a:pt x="10" y="74"/>
                    <a:pt x="8" y="73"/>
                    <a:pt x="8" y="71"/>
                  </a:cubicBezTo>
                  <a:cubicBezTo>
                    <a:pt x="8" y="69"/>
                    <a:pt x="10" y="67"/>
                    <a:pt x="12" y="67"/>
                  </a:cubicBezTo>
                  <a:cubicBezTo>
                    <a:pt x="14" y="67"/>
                    <a:pt x="16" y="69"/>
                    <a:pt x="16" y="71"/>
                  </a:cubicBezTo>
                  <a:cubicBezTo>
                    <a:pt x="16" y="73"/>
                    <a:pt x="14" y="74"/>
                    <a:pt x="12" y="74"/>
                  </a:cubicBezTo>
                  <a:close/>
                  <a:moveTo>
                    <a:pt x="12" y="60"/>
                  </a:moveTo>
                  <a:cubicBezTo>
                    <a:pt x="10" y="60"/>
                    <a:pt x="8" y="59"/>
                    <a:pt x="8" y="57"/>
                  </a:cubicBezTo>
                  <a:cubicBezTo>
                    <a:pt x="8" y="55"/>
                    <a:pt x="10" y="53"/>
                    <a:pt x="12" y="53"/>
                  </a:cubicBezTo>
                  <a:cubicBezTo>
                    <a:pt x="14" y="53"/>
                    <a:pt x="16" y="55"/>
                    <a:pt x="16" y="57"/>
                  </a:cubicBezTo>
                  <a:cubicBezTo>
                    <a:pt x="16" y="59"/>
                    <a:pt x="14" y="60"/>
                    <a:pt x="12" y="60"/>
                  </a:cubicBezTo>
                  <a:close/>
                  <a:moveTo>
                    <a:pt x="12" y="46"/>
                  </a:moveTo>
                  <a:cubicBezTo>
                    <a:pt x="10" y="46"/>
                    <a:pt x="8" y="44"/>
                    <a:pt x="8" y="42"/>
                  </a:cubicBezTo>
                  <a:cubicBezTo>
                    <a:pt x="8" y="40"/>
                    <a:pt x="10" y="39"/>
                    <a:pt x="12" y="39"/>
                  </a:cubicBezTo>
                  <a:cubicBezTo>
                    <a:pt x="14" y="39"/>
                    <a:pt x="16" y="40"/>
                    <a:pt x="16" y="42"/>
                  </a:cubicBezTo>
                  <a:cubicBezTo>
                    <a:pt x="16" y="44"/>
                    <a:pt x="14" y="46"/>
                    <a:pt x="12" y="46"/>
                  </a:cubicBezTo>
                  <a:close/>
                  <a:moveTo>
                    <a:pt x="26" y="89"/>
                  </a:moveTo>
                  <a:cubicBezTo>
                    <a:pt x="24" y="89"/>
                    <a:pt x="22" y="87"/>
                    <a:pt x="22" y="85"/>
                  </a:cubicBezTo>
                  <a:cubicBezTo>
                    <a:pt x="22" y="83"/>
                    <a:pt x="24" y="81"/>
                    <a:pt x="26" y="81"/>
                  </a:cubicBezTo>
                  <a:cubicBezTo>
                    <a:pt x="28" y="81"/>
                    <a:pt x="30" y="83"/>
                    <a:pt x="30" y="85"/>
                  </a:cubicBezTo>
                  <a:cubicBezTo>
                    <a:pt x="30" y="87"/>
                    <a:pt x="28" y="89"/>
                    <a:pt x="26" y="89"/>
                  </a:cubicBezTo>
                  <a:close/>
                  <a:moveTo>
                    <a:pt x="26" y="74"/>
                  </a:moveTo>
                  <a:cubicBezTo>
                    <a:pt x="24" y="74"/>
                    <a:pt x="22" y="73"/>
                    <a:pt x="22" y="71"/>
                  </a:cubicBezTo>
                  <a:cubicBezTo>
                    <a:pt x="22" y="69"/>
                    <a:pt x="24" y="67"/>
                    <a:pt x="26" y="67"/>
                  </a:cubicBezTo>
                  <a:cubicBezTo>
                    <a:pt x="28" y="67"/>
                    <a:pt x="30" y="69"/>
                    <a:pt x="30" y="71"/>
                  </a:cubicBezTo>
                  <a:cubicBezTo>
                    <a:pt x="30" y="73"/>
                    <a:pt x="28" y="74"/>
                    <a:pt x="26" y="74"/>
                  </a:cubicBezTo>
                  <a:close/>
                  <a:moveTo>
                    <a:pt x="26" y="60"/>
                  </a:moveTo>
                  <a:cubicBezTo>
                    <a:pt x="24" y="60"/>
                    <a:pt x="22" y="59"/>
                    <a:pt x="22" y="57"/>
                  </a:cubicBezTo>
                  <a:cubicBezTo>
                    <a:pt x="22" y="55"/>
                    <a:pt x="24" y="53"/>
                    <a:pt x="26" y="53"/>
                  </a:cubicBezTo>
                  <a:cubicBezTo>
                    <a:pt x="28" y="53"/>
                    <a:pt x="30" y="55"/>
                    <a:pt x="30" y="57"/>
                  </a:cubicBezTo>
                  <a:cubicBezTo>
                    <a:pt x="30" y="59"/>
                    <a:pt x="28" y="60"/>
                    <a:pt x="26" y="60"/>
                  </a:cubicBezTo>
                  <a:close/>
                  <a:moveTo>
                    <a:pt x="40" y="89"/>
                  </a:moveTo>
                  <a:cubicBezTo>
                    <a:pt x="38" y="89"/>
                    <a:pt x="36" y="87"/>
                    <a:pt x="36" y="85"/>
                  </a:cubicBezTo>
                  <a:cubicBezTo>
                    <a:pt x="36" y="83"/>
                    <a:pt x="38" y="81"/>
                    <a:pt x="40" y="81"/>
                  </a:cubicBezTo>
                  <a:cubicBezTo>
                    <a:pt x="42" y="81"/>
                    <a:pt x="44" y="83"/>
                    <a:pt x="44" y="85"/>
                  </a:cubicBezTo>
                  <a:cubicBezTo>
                    <a:pt x="44" y="87"/>
                    <a:pt x="42" y="89"/>
                    <a:pt x="40" y="89"/>
                  </a:cubicBezTo>
                  <a:close/>
                  <a:moveTo>
                    <a:pt x="40" y="74"/>
                  </a:moveTo>
                  <a:cubicBezTo>
                    <a:pt x="38" y="74"/>
                    <a:pt x="36" y="73"/>
                    <a:pt x="36" y="71"/>
                  </a:cubicBezTo>
                  <a:cubicBezTo>
                    <a:pt x="36" y="69"/>
                    <a:pt x="38" y="67"/>
                    <a:pt x="40" y="67"/>
                  </a:cubicBezTo>
                  <a:cubicBezTo>
                    <a:pt x="42" y="67"/>
                    <a:pt x="44" y="69"/>
                    <a:pt x="44" y="71"/>
                  </a:cubicBezTo>
                  <a:cubicBezTo>
                    <a:pt x="44" y="73"/>
                    <a:pt x="42" y="74"/>
                    <a:pt x="40" y="74"/>
                  </a:cubicBezTo>
                  <a:close/>
                  <a:moveTo>
                    <a:pt x="40" y="60"/>
                  </a:moveTo>
                  <a:cubicBezTo>
                    <a:pt x="38" y="60"/>
                    <a:pt x="36" y="59"/>
                    <a:pt x="36" y="57"/>
                  </a:cubicBezTo>
                  <a:cubicBezTo>
                    <a:pt x="36" y="55"/>
                    <a:pt x="38" y="53"/>
                    <a:pt x="40" y="53"/>
                  </a:cubicBezTo>
                  <a:cubicBezTo>
                    <a:pt x="42" y="53"/>
                    <a:pt x="44" y="55"/>
                    <a:pt x="44" y="57"/>
                  </a:cubicBezTo>
                  <a:cubicBezTo>
                    <a:pt x="44" y="59"/>
                    <a:pt x="42" y="60"/>
                    <a:pt x="40" y="60"/>
                  </a:cubicBezTo>
                  <a:close/>
                  <a:moveTo>
                    <a:pt x="59" y="86"/>
                  </a:moveTo>
                  <a:cubicBezTo>
                    <a:pt x="59" y="87"/>
                    <a:pt x="58" y="88"/>
                    <a:pt x="57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1" y="88"/>
                    <a:pt x="50" y="87"/>
                    <a:pt x="50" y="86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0" y="54"/>
                    <a:pt x="51" y="53"/>
                    <a:pt x="52" y="53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8" y="53"/>
                    <a:pt x="59" y="54"/>
                    <a:pt x="59" y="55"/>
                  </a:cubicBezTo>
                  <a:lnTo>
                    <a:pt x="59" y="86"/>
                  </a:ln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9" name="Freeform 9"/>
            <p:cNvSpPr>
              <a:spLocks noChangeAspect="1" noEditPoints="1"/>
            </p:cNvSpPr>
            <p:nvPr/>
          </p:nvSpPr>
          <p:spPr bwMode="gray">
            <a:xfrm>
              <a:off x="937893" y="5437002"/>
              <a:ext cx="295521" cy="284400"/>
            </a:xfrm>
            <a:custGeom>
              <a:avLst/>
              <a:gdLst/>
              <a:ahLst/>
              <a:cxnLst>
                <a:cxn ang="0">
                  <a:pos x="86" y="15"/>
                </a:cxn>
                <a:cxn ang="0">
                  <a:pos x="72" y="15"/>
                </a:cxn>
                <a:cxn ang="0">
                  <a:pos x="44" y="15"/>
                </a:cxn>
                <a:cxn ang="0">
                  <a:pos x="30" y="15"/>
                </a:cxn>
                <a:cxn ang="0">
                  <a:pos x="24" y="8"/>
                </a:cxn>
                <a:cxn ang="0">
                  <a:pos x="38" y="8"/>
                </a:cxn>
                <a:cxn ang="0">
                  <a:pos x="66" y="8"/>
                </a:cxn>
                <a:cxn ang="0">
                  <a:pos x="80" y="8"/>
                </a:cxn>
                <a:cxn ang="0">
                  <a:pos x="75" y="28"/>
                </a:cxn>
                <a:cxn ang="0">
                  <a:pos x="47" y="28"/>
                </a:cxn>
                <a:cxn ang="0">
                  <a:pos x="33" y="28"/>
                </a:cxn>
                <a:cxn ang="0">
                  <a:pos x="18" y="30"/>
                </a:cxn>
                <a:cxn ang="0">
                  <a:pos x="33" y="31"/>
                </a:cxn>
                <a:cxn ang="0">
                  <a:pos x="47" y="31"/>
                </a:cxn>
                <a:cxn ang="0">
                  <a:pos x="75" y="31"/>
                </a:cxn>
                <a:cxn ang="0">
                  <a:pos x="80" y="24"/>
                </a:cxn>
                <a:cxn ang="0">
                  <a:pos x="58" y="44"/>
                </a:cxn>
                <a:cxn ang="0">
                  <a:pos x="44" y="44"/>
                </a:cxn>
                <a:cxn ang="0">
                  <a:pos x="30" y="44"/>
                </a:cxn>
                <a:cxn ang="0">
                  <a:pos x="24" y="51"/>
                </a:cxn>
                <a:cxn ang="0">
                  <a:pos x="38" y="51"/>
                </a:cxn>
                <a:cxn ang="0">
                  <a:pos x="52" y="51"/>
                </a:cxn>
                <a:cxn ang="0">
                  <a:pos x="80" y="51"/>
                </a:cxn>
                <a:cxn ang="0">
                  <a:pos x="80" y="56"/>
                </a:cxn>
                <a:cxn ang="0">
                  <a:pos x="66" y="56"/>
                </a:cxn>
                <a:cxn ang="0">
                  <a:pos x="38" y="56"/>
                </a:cxn>
                <a:cxn ang="0">
                  <a:pos x="24" y="56"/>
                </a:cxn>
                <a:cxn ang="0">
                  <a:pos x="30" y="63"/>
                </a:cxn>
                <a:cxn ang="0">
                  <a:pos x="44" y="63"/>
                </a:cxn>
                <a:cxn ang="0">
                  <a:pos x="72" y="63"/>
                </a:cxn>
                <a:cxn ang="0">
                  <a:pos x="86" y="62"/>
                </a:cxn>
                <a:cxn ang="0">
                  <a:pos x="75" y="77"/>
                </a:cxn>
                <a:cxn ang="0">
                  <a:pos x="61" y="77"/>
                </a:cxn>
                <a:cxn ang="0">
                  <a:pos x="47" y="77"/>
                </a:cxn>
                <a:cxn ang="0">
                  <a:pos x="18" y="78"/>
                </a:cxn>
                <a:cxn ang="0">
                  <a:pos x="47" y="79"/>
                </a:cxn>
                <a:cxn ang="0">
                  <a:pos x="61" y="79"/>
                </a:cxn>
                <a:cxn ang="0">
                  <a:pos x="75" y="79"/>
                </a:cxn>
                <a:cxn ang="0">
                  <a:pos x="80" y="72"/>
                </a:cxn>
                <a:cxn ang="0">
                  <a:pos x="101" y="5"/>
                </a:cxn>
                <a:cxn ang="0">
                  <a:pos x="89" y="5"/>
                </a:cxn>
                <a:cxn ang="0">
                  <a:pos x="15" y="5"/>
                </a:cxn>
                <a:cxn ang="0">
                  <a:pos x="4" y="5"/>
                </a:cxn>
                <a:cxn ang="0">
                  <a:pos x="0" y="93"/>
                </a:cxn>
                <a:cxn ang="0">
                  <a:pos x="101" y="100"/>
                </a:cxn>
                <a:cxn ang="0">
                  <a:pos x="101" y="89"/>
                </a:cxn>
              </a:cxnLst>
              <a:rect l="0" t="0" r="r" b="b"/>
              <a:pathLst>
                <a:path w="104" h="100">
                  <a:moveTo>
                    <a:pt x="86" y="12"/>
                  </a:moveTo>
                  <a:cubicBezTo>
                    <a:pt x="86" y="15"/>
                    <a:pt x="86" y="15"/>
                    <a:pt x="86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5" y="17"/>
                    <a:pt x="83" y="19"/>
                    <a:pt x="80" y="19"/>
                  </a:cubicBezTo>
                  <a:cubicBezTo>
                    <a:pt x="77" y="19"/>
                    <a:pt x="75" y="17"/>
                    <a:pt x="75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1" y="17"/>
                    <a:pt x="69" y="19"/>
                    <a:pt x="66" y="19"/>
                  </a:cubicBezTo>
                  <a:cubicBezTo>
                    <a:pt x="64" y="19"/>
                    <a:pt x="61" y="17"/>
                    <a:pt x="61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3" y="17"/>
                    <a:pt x="41" y="19"/>
                    <a:pt x="38" y="19"/>
                  </a:cubicBezTo>
                  <a:cubicBezTo>
                    <a:pt x="35" y="19"/>
                    <a:pt x="33" y="17"/>
                    <a:pt x="33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9" y="17"/>
                    <a:pt x="27" y="19"/>
                    <a:pt x="24" y="19"/>
                  </a:cubicBezTo>
                  <a:cubicBezTo>
                    <a:pt x="21" y="19"/>
                    <a:pt x="18" y="16"/>
                    <a:pt x="18" y="13"/>
                  </a:cubicBezTo>
                  <a:cubicBezTo>
                    <a:pt x="18" y="10"/>
                    <a:pt x="21" y="8"/>
                    <a:pt x="24" y="8"/>
                  </a:cubicBezTo>
                  <a:cubicBezTo>
                    <a:pt x="27" y="8"/>
                    <a:pt x="29" y="10"/>
                    <a:pt x="30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0"/>
                    <a:pt x="35" y="8"/>
                    <a:pt x="38" y="8"/>
                  </a:cubicBezTo>
                  <a:cubicBezTo>
                    <a:pt x="41" y="8"/>
                    <a:pt x="43" y="10"/>
                    <a:pt x="44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0"/>
                    <a:pt x="64" y="8"/>
                    <a:pt x="66" y="8"/>
                  </a:cubicBezTo>
                  <a:cubicBezTo>
                    <a:pt x="69" y="8"/>
                    <a:pt x="71" y="10"/>
                    <a:pt x="72" y="12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5" y="10"/>
                    <a:pt x="77" y="8"/>
                    <a:pt x="80" y="8"/>
                  </a:cubicBezTo>
                  <a:cubicBezTo>
                    <a:pt x="83" y="8"/>
                    <a:pt x="85" y="10"/>
                    <a:pt x="86" y="12"/>
                  </a:cubicBezTo>
                  <a:close/>
                  <a:moveTo>
                    <a:pt x="80" y="24"/>
                  </a:moveTo>
                  <a:cubicBezTo>
                    <a:pt x="77" y="24"/>
                    <a:pt x="75" y="26"/>
                    <a:pt x="75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7" y="26"/>
                    <a:pt x="55" y="24"/>
                    <a:pt x="52" y="24"/>
                  </a:cubicBezTo>
                  <a:cubicBezTo>
                    <a:pt x="49" y="24"/>
                    <a:pt x="47" y="26"/>
                    <a:pt x="47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3" y="26"/>
                    <a:pt x="41" y="24"/>
                    <a:pt x="38" y="24"/>
                  </a:cubicBezTo>
                  <a:cubicBezTo>
                    <a:pt x="35" y="24"/>
                    <a:pt x="33" y="26"/>
                    <a:pt x="33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29" y="26"/>
                    <a:pt x="27" y="24"/>
                    <a:pt x="24" y="24"/>
                  </a:cubicBezTo>
                  <a:cubicBezTo>
                    <a:pt x="21" y="24"/>
                    <a:pt x="18" y="26"/>
                    <a:pt x="18" y="30"/>
                  </a:cubicBezTo>
                  <a:cubicBezTo>
                    <a:pt x="18" y="33"/>
                    <a:pt x="21" y="35"/>
                    <a:pt x="24" y="35"/>
                  </a:cubicBezTo>
                  <a:cubicBezTo>
                    <a:pt x="27" y="35"/>
                    <a:pt x="29" y="33"/>
                    <a:pt x="30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3"/>
                    <a:pt x="35" y="35"/>
                    <a:pt x="38" y="35"/>
                  </a:cubicBezTo>
                  <a:cubicBezTo>
                    <a:pt x="41" y="35"/>
                    <a:pt x="43" y="33"/>
                    <a:pt x="44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3"/>
                    <a:pt x="49" y="35"/>
                    <a:pt x="52" y="35"/>
                  </a:cubicBezTo>
                  <a:cubicBezTo>
                    <a:pt x="55" y="35"/>
                    <a:pt x="57" y="33"/>
                    <a:pt x="58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3"/>
                    <a:pt x="77" y="35"/>
                    <a:pt x="80" y="35"/>
                  </a:cubicBezTo>
                  <a:cubicBezTo>
                    <a:pt x="83" y="35"/>
                    <a:pt x="86" y="33"/>
                    <a:pt x="86" y="30"/>
                  </a:cubicBezTo>
                  <a:cubicBezTo>
                    <a:pt x="86" y="26"/>
                    <a:pt x="83" y="24"/>
                    <a:pt x="80" y="24"/>
                  </a:cubicBezTo>
                  <a:close/>
                  <a:moveTo>
                    <a:pt x="80" y="40"/>
                  </a:moveTo>
                  <a:cubicBezTo>
                    <a:pt x="77" y="40"/>
                    <a:pt x="75" y="42"/>
                    <a:pt x="75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7" y="42"/>
                    <a:pt x="55" y="40"/>
                    <a:pt x="52" y="40"/>
                  </a:cubicBezTo>
                  <a:cubicBezTo>
                    <a:pt x="49" y="40"/>
                    <a:pt x="47" y="42"/>
                    <a:pt x="47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3" y="42"/>
                    <a:pt x="41" y="40"/>
                    <a:pt x="38" y="40"/>
                  </a:cubicBezTo>
                  <a:cubicBezTo>
                    <a:pt x="35" y="40"/>
                    <a:pt x="33" y="42"/>
                    <a:pt x="33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29" y="42"/>
                    <a:pt x="27" y="40"/>
                    <a:pt x="24" y="40"/>
                  </a:cubicBezTo>
                  <a:cubicBezTo>
                    <a:pt x="21" y="40"/>
                    <a:pt x="18" y="43"/>
                    <a:pt x="18" y="46"/>
                  </a:cubicBezTo>
                  <a:cubicBezTo>
                    <a:pt x="18" y="49"/>
                    <a:pt x="21" y="51"/>
                    <a:pt x="24" y="51"/>
                  </a:cubicBezTo>
                  <a:cubicBezTo>
                    <a:pt x="27" y="51"/>
                    <a:pt x="29" y="49"/>
                    <a:pt x="3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9"/>
                    <a:pt x="35" y="51"/>
                    <a:pt x="38" y="51"/>
                  </a:cubicBezTo>
                  <a:cubicBezTo>
                    <a:pt x="41" y="51"/>
                    <a:pt x="43" y="49"/>
                    <a:pt x="44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9"/>
                    <a:pt x="49" y="51"/>
                    <a:pt x="52" y="51"/>
                  </a:cubicBezTo>
                  <a:cubicBezTo>
                    <a:pt x="55" y="51"/>
                    <a:pt x="57" y="49"/>
                    <a:pt x="58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9"/>
                    <a:pt x="77" y="51"/>
                    <a:pt x="80" y="51"/>
                  </a:cubicBezTo>
                  <a:cubicBezTo>
                    <a:pt x="83" y="51"/>
                    <a:pt x="86" y="49"/>
                    <a:pt x="86" y="46"/>
                  </a:cubicBezTo>
                  <a:cubicBezTo>
                    <a:pt x="86" y="43"/>
                    <a:pt x="83" y="40"/>
                    <a:pt x="80" y="40"/>
                  </a:cubicBezTo>
                  <a:close/>
                  <a:moveTo>
                    <a:pt x="80" y="56"/>
                  </a:moveTo>
                  <a:cubicBezTo>
                    <a:pt x="77" y="56"/>
                    <a:pt x="75" y="58"/>
                    <a:pt x="75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1" y="58"/>
                    <a:pt x="69" y="56"/>
                    <a:pt x="66" y="56"/>
                  </a:cubicBezTo>
                  <a:cubicBezTo>
                    <a:pt x="63" y="56"/>
                    <a:pt x="61" y="58"/>
                    <a:pt x="61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3" y="58"/>
                    <a:pt x="41" y="56"/>
                    <a:pt x="38" y="56"/>
                  </a:cubicBezTo>
                  <a:cubicBezTo>
                    <a:pt x="35" y="56"/>
                    <a:pt x="33" y="58"/>
                    <a:pt x="33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29" y="58"/>
                    <a:pt x="27" y="56"/>
                    <a:pt x="24" y="56"/>
                  </a:cubicBezTo>
                  <a:cubicBezTo>
                    <a:pt x="21" y="56"/>
                    <a:pt x="18" y="59"/>
                    <a:pt x="18" y="62"/>
                  </a:cubicBezTo>
                  <a:cubicBezTo>
                    <a:pt x="18" y="65"/>
                    <a:pt x="21" y="67"/>
                    <a:pt x="24" y="67"/>
                  </a:cubicBezTo>
                  <a:cubicBezTo>
                    <a:pt x="27" y="67"/>
                    <a:pt x="29" y="65"/>
                    <a:pt x="30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5"/>
                    <a:pt x="35" y="67"/>
                    <a:pt x="38" y="67"/>
                  </a:cubicBezTo>
                  <a:cubicBezTo>
                    <a:pt x="41" y="67"/>
                    <a:pt x="43" y="65"/>
                    <a:pt x="44" y="63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5"/>
                    <a:pt x="63" y="67"/>
                    <a:pt x="66" y="67"/>
                  </a:cubicBezTo>
                  <a:cubicBezTo>
                    <a:pt x="69" y="67"/>
                    <a:pt x="71" y="65"/>
                    <a:pt x="72" y="63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5" y="65"/>
                    <a:pt x="77" y="67"/>
                    <a:pt x="80" y="67"/>
                  </a:cubicBezTo>
                  <a:cubicBezTo>
                    <a:pt x="83" y="67"/>
                    <a:pt x="86" y="65"/>
                    <a:pt x="86" y="62"/>
                  </a:cubicBezTo>
                  <a:cubicBezTo>
                    <a:pt x="86" y="59"/>
                    <a:pt x="83" y="56"/>
                    <a:pt x="80" y="56"/>
                  </a:cubicBezTo>
                  <a:close/>
                  <a:moveTo>
                    <a:pt x="80" y="72"/>
                  </a:moveTo>
                  <a:cubicBezTo>
                    <a:pt x="77" y="72"/>
                    <a:pt x="75" y="74"/>
                    <a:pt x="75" y="77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1" y="74"/>
                    <a:pt x="69" y="72"/>
                    <a:pt x="66" y="72"/>
                  </a:cubicBezTo>
                  <a:cubicBezTo>
                    <a:pt x="63" y="72"/>
                    <a:pt x="61" y="74"/>
                    <a:pt x="61" y="77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7" y="74"/>
                    <a:pt x="55" y="72"/>
                    <a:pt x="52" y="72"/>
                  </a:cubicBezTo>
                  <a:cubicBezTo>
                    <a:pt x="49" y="72"/>
                    <a:pt x="47" y="74"/>
                    <a:pt x="47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9" y="74"/>
                    <a:pt x="27" y="72"/>
                    <a:pt x="24" y="72"/>
                  </a:cubicBezTo>
                  <a:cubicBezTo>
                    <a:pt x="21" y="72"/>
                    <a:pt x="18" y="75"/>
                    <a:pt x="18" y="78"/>
                  </a:cubicBezTo>
                  <a:cubicBezTo>
                    <a:pt x="18" y="81"/>
                    <a:pt x="21" y="84"/>
                    <a:pt x="24" y="84"/>
                  </a:cubicBezTo>
                  <a:cubicBezTo>
                    <a:pt x="27" y="84"/>
                    <a:pt x="29" y="82"/>
                    <a:pt x="30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82"/>
                    <a:pt x="49" y="84"/>
                    <a:pt x="52" y="84"/>
                  </a:cubicBezTo>
                  <a:cubicBezTo>
                    <a:pt x="55" y="84"/>
                    <a:pt x="57" y="82"/>
                    <a:pt x="58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82"/>
                    <a:pt x="63" y="84"/>
                    <a:pt x="66" y="84"/>
                  </a:cubicBezTo>
                  <a:cubicBezTo>
                    <a:pt x="69" y="84"/>
                    <a:pt x="71" y="82"/>
                    <a:pt x="72" y="79"/>
                  </a:cubicBezTo>
                  <a:cubicBezTo>
                    <a:pt x="75" y="79"/>
                    <a:pt x="75" y="79"/>
                    <a:pt x="75" y="79"/>
                  </a:cubicBezTo>
                  <a:cubicBezTo>
                    <a:pt x="75" y="82"/>
                    <a:pt x="77" y="84"/>
                    <a:pt x="80" y="84"/>
                  </a:cubicBezTo>
                  <a:cubicBezTo>
                    <a:pt x="83" y="84"/>
                    <a:pt x="86" y="81"/>
                    <a:pt x="86" y="78"/>
                  </a:cubicBezTo>
                  <a:cubicBezTo>
                    <a:pt x="86" y="75"/>
                    <a:pt x="83" y="72"/>
                    <a:pt x="80" y="72"/>
                  </a:cubicBezTo>
                  <a:close/>
                  <a:moveTo>
                    <a:pt x="101" y="89"/>
                  </a:moveTo>
                  <a:cubicBezTo>
                    <a:pt x="101" y="89"/>
                    <a:pt x="101" y="89"/>
                    <a:pt x="101" y="89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1" y="2"/>
                    <a:pt x="98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2" y="0"/>
                    <a:pt x="89" y="2"/>
                    <a:pt x="89" y="5"/>
                  </a:cubicBezTo>
                  <a:cubicBezTo>
                    <a:pt x="89" y="89"/>
                    <a:pt x="89" y="89"/>
                    <a:pt x="89" y="89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2"/>
                    <a:pt x="13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7" y="0"/>
                    <a:pt x="4" y="2"/>
                    <a:pt x="4" y="5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2" y="89"/>
                    <a:pt x="0" y="91"/>
                    <a:pt x="0" y="9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8"/>
                    <a:pt x="2" y="100"/>
                    <a:pt x="4" y="100"/>
                  </a:cubicBezTo>
                  <a:cubicBezTo>
                    <a:pt x="101" y="100"/>
                    <a:pt x="101" y="100"/>
                    <a:pt x="101" y="100"/>
                  </a:cubicBezTo>
                  <a:cubicBezTo>
                    <a:pt x="103" y="100"/>
                    <a:pt x="104" y="98"/>
                    <a:pt x="104" y="96"/>
                  </a:cubicBezTo>
                  <a:cubicBezTo>
                    <a:pt x="104" y="93"/>
                    <a:pt x="104" y="93"/>
                    <a:pt x="104" y="93"/>
                  </a:cubicBezTo>
                  <a:cubicBezTo>
                    <a:pt x="104" y="91"/>
                    <a:pt x="103" y="89"/>
                    <a:pt x="101" y="89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0" name="Freeform 13"/>
            <p:cNvSpPr>
              <a:spLocks noChangeAspect="1" noEditPoints="1"/>
            </p:cNvSpPr>
            <p:nvPr/>
          </p:nvSpPr>
          <p:spPr bwMode="gray">
            <a:xfrm>
              <a:off x="1402640" y="5463943"/>
              <a:ext cx="345600" cy="230535"/>
            </a:xfrm>
            <a:custGeom>
              <a:avLst/>
              <a:gdLst/>
              <a:ahLst/>
              <a:cxnLst>
                <a:cxn ang="0">
                  <a:pos x="114" y="29"/>
                </a:cxn>
                <a:cxn ang="0">
                  <a:pos x="114" y="29"/>
                </a:cxn>
                <a:cxn ang="0">
                  <a:pos x="110" y="29"/>
                </a:cxn>
                <a:cxn ang="0">
                  <a:pos x="106" y="23"/>
                </a:cxn>
                <a:cxn ang="0">
                  <a:pos x="107" y="7"/>
                </a:cxn>
                <a:cxn ang="0">
                  <a:pos x="98" y="11"/>
                </a:cxn>
                <a:cxn ang="0">
                  <a:pos x="98" y="1"/>
                </a:cxn>
                <a:cxn ang="0">
                  <a:pos x="85" y="9"/>
                </a:cxn>
                <a:cxn ang="0">
                  <a:pos x="85" y="9"/>
                </a:cxn>
                <a:cxn ang="0">
                  <a:pos x="64" y="5"/>
                </a:cxn>
                <a:cxn ang="0">
                  <a:pos x="18" y="28"/>
                </a:cxn>
                <a:cxn ang="0">
                  <a:pos x="11" y="23"/>
                </a:cxn>
                <a:cxn ang="0">
                  <a:pos x="20" y="18"/>
                </a:cxn>
                <a:cxn ang="0">
                  <a:pos x="15" y="9"/>
                </a:cxn>
                <a:cxn ang="0">
                  <a:pos x="6" y="13"/>
                </a:cxn>
                <a:cxn ang="0">
                  <a:pos x="6" y="15"/>
                </a:cxn>
                <a:cxn ang="0">
                  <a:pos x="2" y="6"/>
                </a:cxn>
                <a:cxn ang="0">
                  <a:pos x="5" y="20"/>
                </a:cxn>
                <a:cxn ang="0">
                  <a:pos x="16" y="36"/>
                </a:cxn>
                <a:cxn ang="0">
                  <a:pos x="16" y="36"/>
                </a:cxn>
                <a:cxn ang="0">
                  <a:pos x="16" y="39"/>
                </a:cxn>
                <a:cxn ang="0">
                  <a:pos x="32" y="65"/>
                </a:cxn>
                <a:cxn ang="0">
                  <a:pos x="37" y="79"/>
                </a:cxn>
                <a:cxn ang="0">
                  <a:pos x="50" y="79"/>
                </a:cxn>
                <a:cxn ang="0">
                  <a:pos x="51" y="73"/>
                </a:cxn>
                <a:cxn ang="0">
                  <a:pos x="64" y="74"/>
                </a:cxn>
                <a:cxn ang="0">
                  <a:pos x="75" y="73"/>
                </a:cxn>
                <a:cxn ang="0">
                  <a:pos x="77" y="79"/>
                </a:cxn>
                <a:cxn ang="0">
                  <a:pos x="90" y="79"/>
                </a:cxn>
                <a:cxn ang="0">
                  <a:pos x="93" y="67"/>
                </a:cxn>
                <a:cxn ang="0">
                  <a:pos x="93" y="67"/>
                </a:cxn>
                <a:cxn ang="0">
                  <a:pos x="108" y="52"/>
                </a:cxn>
                <a:cxn ang="0">
                  <a:pos x="114" y="52"/>
                </a:cxn>
                <a:cxn ang="0">
                  <a:pos x="114" y="52"/>
                </a:cxn>
                <a:cxn ang="0">
                  <a:pos x="119" y="41"/>
                </a:cxn>
                <a:cxn ang="0">
                  <a:pos x="114" y="29"/>
                </a:cxn>
                <a:cxn ang="0">
                  <a:pos x="9" y="16"/>
                </a:cxn>
                <a:cxn ang="0">
                  <a:pos x="9" y="15"/>
                </a:cxn>
                <a:cxn ang="0">
                  <a:pos x="14" y="13"/>
                </a:cxn>
                <a:cxn ang="0">
                  <a:pos x="16" y="17"/>
                </a:cxn>
                <a:cxn ang="0">
                  <a:pos x="12" y="19"/>
                </a:cxn>
                <a:cxn ang="0">
                  <a:pos x="9" y="16"/>
                </a:cxn>
                <a:cxn ang="0">
                  <a:pos x="74" y="14"/>
                </a:cxn>
                <a:cxn ang="0">
                  <a:pos x="63" y="13"/>
                </a:cxn>
                <a:cxn ang="0">
                  <a:pos x="53" y="14"/>
                </a:cxn>
                <a:cxn ang="0">
                  <a:pos x="52" y="10"/>
                </a:cxn>
                <a:cxn ang="0">
                  <a:pos x="62" y="9"/>
                </a:cxn>
                <a:cxn ang="0">
                  <a:pos x="75" y="10"/>
                </a:cxn>
                <a:cxn ang="0">
                  <a:pos x="74" y="14"/>
                </a:cxn>
                <a:cxn ang="0">
                  <a:pos x="99" y="34"/>
                </a:cxn>
                <a:cxn ang="0">
                  <a:pos x="95" y="30"/>
                </a:cxn>
                <a:cxn ang="0">
                  <a:pos x="99" y="27"/>
                </a:cxn>
                <a:cxn ang="0">
                  <a:pos x="102" y="30"/>
                </a:cxn>
                <a:cxn ang="0">
                  <a:pos x="99" y="34"/>
                </a:cxn>
              </a:cxnLst>
              <a:rect l="0" t="0" r="r" b="b"/>
              <a:pathLst>
                <a:path w="119" h="79">
                  <a:moveTo>
                    <a:pt x="114" y="29"/>
                  </a:moveTo>
                  <a:cubicBezTo>
                    <a:pt x="114" y="29"/>
                    <a:pt x="114" y="29"/>
                    <a:pt x="114" y="29"/>
                  </a:cubicBezTo>
                  <a:cubicBezTo>
                    <a:pt x="110" y="29"/>
                    <a:pt x="110" y="29"/>
                    <a:pt x="110" y="29"/>
                  </a:cubicBezTo>
                  <a:cubicBezTo>
                    <a:pt x="109" y="27"/>
                    <a:pt x="107" y="25"/>
                    <a:pt x="106" y="23"/>
                  </a:cubicBezTo>
                  <a:cubicBezTo>
                    <a:pt x="106" y="21"/>
                    <a:pt x="109" y="9"/>
                    <a:pt x="107" y="7"/>
                  </a:cubicBezTo>
                  <a:cubicBezTo>
                    <a:pt x="106" y="7"/>
                    <a:pt x="102" y="9"/>
                    <a:pt x="98" y="11"/>
                  </a:cubicBezTo>
                  <a:cubicBezTo>
                    <a:pt x="99" y="7"/>
                    <a:pt x="100" y="2"/>
                    <a:pt x="98" y="1"/>
                  </a:cubicBezTo>
                  <a:cubicBezTo>
                    <a:pt x="96" y="0"/>
                    <a:pt x="85" y="9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79" y="6"/>
                    <a:pt x="72" y="5"/>
                    <a:pt x="64" y="5"/>
                  </a:cubicBezTo>
                  <a:cubicBezTo>
                    <a:pt x="43" y="5"/>
                    <a:pt x="25" y="15"/>
                    <a:pt x="18" y="28"/>
                  </a:cubicBezTo>
                  <a:cubicBezTo>
                    <a:pt x="16" y="27"/>
                    <a:pt x="13" y="26"/>
                    <a:pt x="11" y="23"/>
                  </a:cubicBezTo>
                  <a:cubicBezTo>
                    <a:pt x="14" y="24"/>
                    <a:pt x="18" y="22"/>
                    <a:pt x="20" y="18"/>
                  </a:cubicBezTo>
                  <a:cubicBezTo>
                    <a:pt x="21" y="15"/>
                    <a:pt x="19" y="10"/>
                    <a:pt x="15" y="9"/>
                  </a:cubicBezTo>
                  <a:cubicBezTo>
                    <a:pt x="12" y="8"/>
                    <a:pt x="7" y="10"/>
                    <a:pt x="6" y="13"/>
                  </a:cubicBezTo>
                  <a:cubicBezTo>
                    <a:pt x="6" y="14"/>
                    <a:pt x="6" y="15"/>
                    <a:pt x="6" y="15"/>
                  </a:cubicBezTo>
                  <a:cubicBezTo>
                    <a:pt x="1" y="12"/>
                    <a:pt x="2" y="6"/>
                    <a:pt x="2" y="6"/>
                  </a:cubicBezTo>
                  <a:cubicBezTo>
                    <a:pt x="0" y="13"/>
                    <a:pt x="2" y="17"/>
                    <a:pt x="5" y="20"/>
                  </a:cubicBezTo>
                  <a:cubicBezTo>
                    <a:pt x="5" y="24"/>
                    <a:pt x="8" y="31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7"/>
                    <a:pt x="16" y="38"/>
                    <a:pt x="16" y="39"/>
                  </a:cubicBezTo>
                  <a:cubicBezTo>
                    <a:pt x="16" y="50"/>
                    <a:pt x="22" y="59"/>
                    <a:pt x="32" y="65"/>
                  </a:cubicBezTo>
                  <a:cubicBezTo>
                    <a:pt x="37" y="79"/>
                    <a:pt x="37" y="79"/>
                    <a:pt x="37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5" y="73"/>
                    <a:pt x="59" y="74"/>
                    <a:pt x="64" y="74"/>
                  </a:cubicBezTo>
                  <a:cubicBezTo>
                    <a:pt x="68" y="74"/>
                    <a:pt x="71" y="74"/>
                    <a:pt x="75" y="73"/>
                  </a:cubicBezTo>
                  <a:cubicBezTo>
                    <a:pt x="77" y="79"/>
                    <a:pt x="77" y="79"/>
                    <a:pt x="77" y="79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100" y="63"/>
                    <a:pt x="105" y="58"/>
                    <a:pt x="108" y="52"/>
                  </a:cubicBezTo>
                  <a:cubicBezTo>
                    <a:pt x="114" y="52"/>
                    <a:pt x="114" y="52"/>
                    <a:pt x="114" y="52"/>
                  </a:cubicBezTo>
                  <a:cubicBezTo>
                    <a:pt x="114" y="52"/>
                    <a:pt x="114" y="52"/>
                    <a:pt x="114" y="52"/>
                  </a:cubicBezTo>
                  <a:cubicBezTo>
                    <a:pt x="117" y="52"/>
                    <a:pt x="119" y="47"/>
                    <a:pt x="119" y="41"/>
                  </a:cubicBezTo>
                  <a:cubicBezTo>
                    <a:pt x="119" y="35"/>
                    <a:pt x="117" y="30"/>
                    <a:pt x="114" y="29"/>
                  </a:cubicBezTo>
                  <a:close/>
                  <a:moveTo>
                    <a:pt x="9" y="16"/>
                  </a:moveTo>
                  <a:cubicBezTo>
                    <a:pt x="9" y="16"/>
                    <a:pt x="9" y="15"/>
                    <a:pt x="9" y="15"/>
                  </a:cubicBezTo>
                  <a:cubicBezTo>
                    <a:pt x="10" y="13"/>
                    <a:pt x="12" y="12"/>
                    <a:pt x="14" y="13"/>
                  </a:cubicBezTo>
                  <a:cubicBezTo>
                    <a:pt x="16" y="13"/>
                    <a:pt x="17" y="15"/>
                    <a:pt x="16" y="17"/>
                  </a:cubicBezTo>
                  <a:cubicBezTo>
                    <a:pt x="16" y="19"/>
                    <a:pt x="14" y="20"/>
                    <a:pt x="12" y="19"/>
                  </a:cubicBezTo>
                  <a:cubicBezTo>
                    <a:pt x="10" y="19"/>
                    <a:pt x="9" y="18"/>
                    <a:pt x="9" y="16"/>
                  </a:cubicBezTo>
                  <a:close/>
                  <a:moveTo>
                    <a:pt x="74" y="14"/>
                  </a:moveTo>
                  <a:cubicBezTo>
                    <a:pt x="71" y="14"/>
                    <a:pt x="67" y="13"/>
                    <a:pt x="63" y="13"/>
                  </a:cubicBezTo>
                  <a:cubicBezTo>
                    <a:pt x="59" y="13"/>
                    <a:pt x="56" y="14"/>
                    <a:pt x="53" y="14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55" y="10"/>
                    <a:pt x="59" y="9"/>
                    <a:pt x="62" y="9"/>
                  </a:cubicBezTo>
                  <a:cubicBezTo>
                    <a:pt x="67" y="9"/>
                    <a:pt x="71" y="10"/>
                    <a:pt x="75" y="10"/>
                  </a:cubicBezTo>
                  <a:lnTo>
                    <a:pt x="74" y="14"/>
                  </a:lnTo>
                  <a:close/>
                  <a:moveTo>
                    <a:pt x="99" y="34"/>
                  </a:moveTo>
                  <a:cubicBezTo>
                    <a:pt x="97" y="34"/>
                    <a:pt x="95" y="32"/>
                    <a:pt x="95" y="30"/>
                  </a:cubicBezTo>
                  <a:cubicBezTo>
                    <a:pt x="95" y="29"/>
                    <a:pt x="97" y="27"/>
                    <a:pt x="99" y="27"/>
                  </a:cubicBezTo>
                  <a:cubicBezTo>
                    <a:pt x="101" y="27"/>
                    <a:pt x="102" y="29"/>
                    <a:pt x="102" y="30"/>
                  </a:cubicBezTo>
                  <a:cubicBezTo>
                    <a:pt x="102" y="32"/>
                    <a:pt x="101" y="34"/>
                    <a:pt x="99" y="34"/>
                  </a:cubicBez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1" name="Freeform 17"/>
            <p:cNvSpPr>
              <a:spLocks noChangeAspect="1" noEditPoints="1"/>
            </p:cNvSpPr>
            <p:nvPr/>
          </p:nvSpPr>
          <p:spPr bwMode="gray">
            <a:xfrm>
              <a:off x="1948437" y="5496708"/>
              <a:ext cx="252000" cy="165005"/>
            </a:xfrm>
            <a:custGeom>
              <a:avLst/>
              <a:gdLst/>
              <a:ahLst/>
              <a:cxnLst>
                <a:cxn ang="0">
                  <a:pos x="14" y="18"/>
                </a:cxn>
                <a:cxn ang="0">
                  <a:pos x="14" y="13"/>
                </a:cxn>
                <a:cxn ang="0">
                  <a:pos x="16" y="13"/>
                </a:cxn>
                <a:cxn ang="0">
                  <a:pos x="17" y="13"/>
                </a:cxn>
                <a:cxn ang="0">
                  <a:pos x="17" y="18"/>
                </a:cxn>
                <a:cxn ang="0">
                  <a:pos x="16" y="18"/>
                </a:cxn>
                <a:cxn ang="0">
                  <a:pos x="14" y="18"/>
                </a:cxn>
                <a:cxn ang="0">
                  <a:pos x="86" y="7"/>
                </a:cxn>
                <a:cxn ang="0">
                  <a:pos x="79" y="56"/>
                </a:cxn>
                <a:cxn ang="0">
                  <a:pos x="0" y="49"/>
                </a:cxn>
                <a:cxn ang="0">
                  <a:pos x="7" y="0"/>
                </a:cxn>
                <a:cxn ang="0">
                  <a:pos x="86" y="7"/>
                </a:cxn>
                <a:cxn ang="0">
                  <a:pos x="25" y="8"/>
                </a:cxn>
                <a:cxn ang="0">
                  <a:pos x="9" y="6"/>
                </a:cxn>
                <a:cxn ang="0">
                  <a:pos x="6" y="19"/>
                </a:cxn>
                <a:cxn ang="0">
                  <a:pos x="13" y="20"/>
                </a:cxn>
                <a:cxn ang="0">
                  <a:pos x="16" y="21"/>
                </a:cxn>
                <a:cxn ang="0">
                  <a:pos x="19" y="19"/>
                </a:cxn>
                <a:cxn ang="0">
                  <a:pos x="25" y="17"/>
                </a:cxn>
                <a:cxn ang="0">
                  <a:pos x="20" y="14"/>
                </a:cxn>
                <a:cxn ang="0">
                  <a:pos x="25" y="11"/>
                </a:cxn>
                <a:cxn ang="0">
                  <a:pos x="18" y="11"/>
                </a:cxn>
                <a:cxn ang="0">
                  <a:pos x="15" y="10"/>
                </a:cxn>
                <a:cxn ang="0">
                  <a:pos x="12" y="11"/>
                </a:cxn>
                <a:cxn ang="0">
                  <a:pos x="6" y="14"/>
                </a:cxn>
                <a:cxn ang="0">
                  <a:pos x="11" y="17"/>
                </a:cxn>
                <a:cxn ang="0">
                  <a:pos x="6" y="19"/>
                </a:cxn>
                <a:cxn ang="0">
                  <a:pos x="9" y="25"/>
                </a:cxn>
                <a:cxn ang="0">
                  <a:pos x="25" y="22"/>
                </a:cxn>
                <a:cxn ang="0">
                  <a:pos x="30" y="42"/>
                </a:cxn>
                <a:cxn ang="0">
                  <a:pos x="7" y="41"/>
                </a:cxn>
                <a:cxn ang="0">
                  <a:pos x="6" y="44"/>
                </a:cxn>
                <a:cxn ang="0">
                  <a:pos x="29" y="45"/>
                </a:cxn>
                <a:cxn ang="0">
                  <a:pos x="30" y="42"/>
                </a:cxn>
                <a:cxn ang="0">
                  <a:pos x="77" y="32"/>
                </a:cxn>
                <a:cxn ang="0">
                  <a:pos x="6" y="33"/>
                </a:cxn>
                <a:cxn ang="0">
                  <a:pos x="7" y="36"/>
                </a:cxn>
                <a:cxn ang="0">
                  <a:pos x="78" y="35"/>
                </a:cxn>
              </a:cxnLst>
              <a:rect l="0" t="0" r="r" b="b"/>
              <a:pathLst>
                <a:path w="86" h="56">
                  <a:moveTo>
                    <a:pt x="14" y="18"/>
                  </a:moveTo>
                  <a:cubicBezTo>
                    <a:pt x="14" y="18"/>
                    <a:pt x="14" y="18"/>
                    <a:pt x="14" y="18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5" y="13"/>
                    <a:pt x="15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6" y="18"/>
                    <a:pt x="16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lose/>
                  <a:moveTo>
                    <a:pt x="86" y="7"/>
                  </a:moveTo>
                  <a:cubicBezTo>
                    <a:pt x="86" y="49"/>
                    <a:pt x="86" y="49"/>
                    <a:pt x="86" y="49"/>
                  </a:cubicBezTo>
                  <a:cubicBezTo>
                    <a:pt x="86" y="53"/>
                    <a:pt x="83" y="56"/>
                    <a:pt x="79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3" y="56"/>
                    <a:pt x="0" y="53"/>
                    <a:pt x="0" y="4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3" y="0"/>
                    <a:pt x="86" y="3"/>
                    <a:pt x="86" y="7"/>
                  </a:cubicBezTo>
                  <a:close/>
                  <a:moveTo>
                    <a:pt x="6" y="8"/>
                  </a:moveTo>
                  <a:cubicBezTo>
                    <a:pt x="25" y="8"/>
                    <a:pt x="25" y="8"/>
                    <a:pt x="25" y="8"/>
                  </a:cubicBezTo>
                  <a:cubicBezTo>
                    <a:pt x="25" y="7"/>
                    <a:pt x="24" y="6"/>
                    <a:pt x="22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7" y="6"/>
                    <a:pt x="6" y="7"/>
                    <a:pt x="6" y="8"/>
                  </a:cubicBezTo>
                  <a:close/>
                  <a:moveTo>
                    <a:pt x="6" y="19"/>
                  </a:moveTo>
                  <a:cubicBezTo>
                    <a:pt x="12" y="19"/>
                    <a:pt x="12" y="19"/>
                    <a:pt x="12" y="19"/>
                  </a:cubicBezTo>
                  <a:cubicBezTo>
                    <a:pt x="12" y="20"/>
                    <a:pt x="12" y="20"/>
                    <a:pt x="13" y="20"/>
                  </a:cubicBezTo>
                  <a:cubicBezTo>
                    <a:pt x="13" y="21"/>
                    <a:pt x="14" y="21"/>
                    <a:pt x="15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7" y="21"/>
                    <a:pt x="18" y="21"/>
                    <a:pt x="18" y="20"/>
                  </a:cubicBezTo>
                  <a:cubicBezTo>
                    <a:pt x="19" y="20"/>
                    <a:pt x="19" y="20"/>
                    <a:pt x="19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1"/>
                    <a:pt x="19" y="11"/>
                    <a:pt x="18" y="11"/>
                  </a:cubicBezTo>
                  <a:cubicBezTo>
                    <a:pt x="18" y="10"/>
                    <a:pt x="17" y="10"/>
                    <a:pt x="16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4" y="10"/>
                    <a:pt x="13" y="10"/>
                    <a:pt x="13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6" y="17"/>
                    <a:pt x="6" y="17"/>
                    <a:pt x="6" y="17"/>
                  </a:cubicBezTo>
                  <a:lnTo>
                    <a:pt x="6" y="19"/>
                  </a:lnTo>
                  <a:close/>
                  <a:moveTo>
                    <a:pt x="6" y="22"/>
                  </a:moveTo>
                  <a:cubicBezTo>
                    <a:pt x="6" y="24"/>
                    <a:pt x="7" y="25"/>
                    <a:pt x="9" y="25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4" y="25"/>
                    <a:pt x="25" y="24"/>
                    <a:pt x="25" y="22"/>
                  </a:cubicBezTo>
                  <a:lnTo>
                    <a:pt x="6" y="22"/>
                  </a:lnTo>
                  <a:close/>
                  <a:moveTo>
                    <a:pt x="30" y="42"/>
                  </a:moveTo>
                  <a:cubicBezTo>
                    <a:pt x="30" y="42"/>
                    <a:pt x="29" y="41"/>
                    <a:pt x="29" y="41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6" y="41"/>
                    <a:pt x="6" y="42"/>
                    <a:pt x="6" y="42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5"/>
                    <a:pt x="6" y="45"/>
                    <a:pt x="7" y="45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5"/>
                    <a:pt x="30" y="45"/>
                    <a:pt x="30" y="44"/>
                  </a:cubicBezTo>
                  <a:lnTo>
                    <a:pt x="30" y="42"/>
                  </a:lnTo>
                  <a:close/>
                  <a:moveTo>
                    <a:pt x="78" y="33"/>
                  </a:moveTo>
                  <a:cubicBezTo>
                    <a:pt x="78" y="32"/>
                    <a:pt x="78" y="32"/>
                    <a:pt x="7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6" y="32"/>
                    <a:pt x="6" y="32"/>
                    <a:pt x="6" y="33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6" y="35"/>
                    <a:pt x="6" y="36"/>
                    <a:pt x="7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8" y="36"/>
                    <a:pt x="78" y="35"/>
                    <a:pt x="78" y="35"/>
                  </a:cubicBezTo>
                  <a:lnTo>
                    <a:pt x="78" y="33"/>
                  </a:ln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2" name="Freeform 21"/>
            <p:cNvSpPr>
              <a:spLocks noChangeAspect="1" noEditPoints="1"/>
            </p:cNvSpPr>
            <p:nvPr/>
          </p:nvSpPr>
          <p:spPr bwMode="gray">
            <a:xfrm>
              <a:off x="2415609" y="5495202"/>
              <a:ext cx="345600" cy="168000"/>
            </a:xfrm>
            <a:custGeom>
              <a:avLst/>
              <a:gdLst/>
              <a:ahLst/>
              <a:cxnLst>
                <a:cxn ang="0">
                  <a:pos x="111" y="20"/>
                </a:cxn>
                <a:cxn ang="0">
                  <a:pos x="111" y="20"/>
                </a:cxn>
                <a:cxn ang="0">
                  <a:pos x="54" y="20"/>
                </a:cxn>
                <a:cxn ang="0">
                  <a:pos x="48" y="10"/>
                </a:cxn>
                <a:cxn ang="0">
                  <a:pos x="10" y="10"/>
                </a:cxn>
                <a:cxn ang="0">
                  <a:pos x="10" y="48"/>
                </a:cxn>
                <a:cxn ang="0">
                  <a:pos x="48" y="48"/>
                </a:cxn>
                <a:cxn ang="0">
                  <a:pos x="55" y="34"/>
                </a:cxn>
                <a:cxn ang="0">
                  <a:pos x="67" y="34"/>
                </a:cxn>
                <a:cxn ang="0">
                  <a:pos x="74" y="40"/>
                </a:cxn>
                <a:cxn ang="0">
                  <a:pos x="80" y="34"/>
                </a:cxn>
                <a:cxn ang="0">
                  <a:pos x="86" y="40"/>
                </a:cxn>
                <a:cxn ang="0">
                  <a:pos x="92" y="34"/>
                </a:cxn>
                <a:cxn ang="0">
                  <a:pos x="98" y="40"/>
                </a:cxn>
                <a:cxn ang="0">
                  <a:pos x="104" y="34"/>
                </a:cxn>
                <a:cxn ang="0">
                  <a:pos x="110" y="40"/>
                </a:cxn>
                <a:cxn ang="0">
                  <a:pos x="116" y="34"/>
                </a:cxn>
                <a:cxn ang="0">
                  <a:pos x="118" y="32"/>
                </a:cxn>
                <a:cxn ang="0">
                  <a:pos x="121" y="30"/>
                </a:cxn>
                <a:cxn ang="0">
                  <a:pos x="111" y="20"/>
                </a:cxn>
                <a:cxn ang="0">
                  <a:pos x="21" y="33"/>
                </a:cxn>
                <a:cxn ang="0">
                  <a:pos x="12" y="33"/>
                </a:cxn>
                <a:cxn ang="0">
                  <a:pos x="12" y="25"/>
                </a:cxn>
                <a:cxn ang="0">
                  <a:pos x="21" y="25"/>
                </a:cxn>
                <a:cxn ang="0">
                  <a:pos x="21" y="33"/>
                </a:cxn>
              </a:cxnLst>
              <a:rect l="0" t="0" r="r" b="b"/>
              <a:pathLst>
                <a:path w="121" h="58">
                  <a:moveTo>
                    <a:pt x="111" y="20"/>
                  </a:moveTo>
                  <a:cubicBezTo>
                    <a:pt x="111" y="20"/>
                    <a:pt x="111" y="20"/>
                    <a:pt x="111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3" y="16"/>
                    <a:pt x="51" y="13"/>
                    <a:pt x="48" y="10"/>
                  </a:cubicBezTo>
                  <a:cubicBezTo>
                    <a:pt x="37" y="0"/>
                    <a:pt x="21" y="0"/>
                    <a:pt x="10" y="10"/>
                  </a:cubicBezTo>
                  <a:cubicBezTo>
                    <a:pt x="0" y="21"/>
                    <a:pt x="0" y="37"/>
                    <a:pt x="10" y="48"/>
                  </a:cubicBezTo>
                  <a:cubicBezTo>
                    <a:pt x="21" y="58"/>
                    <a:pt x="37" y="58"/>
                    <a:pt x="48" y="48"/>
                  </a:cubicBezTo>
                  <a:cubicBezTo>
                    <a:pt x="52" y="44"/>
                    <a:pt x="54" y="39"/>
                    <a:pt x="55" y="34"/>
                  </a:cubicBezTo>
                  <a:cubicBezTo>
                    <a:pt x="67" y="34"/>
                    <a:pt x="67" y="34"/>
                    <a:pt x="67" y="34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80" y="34"/>
                    <a:pt x="80" y="34"/>
                    <a:pt x="80" y="34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21" y="30"/>
                    <a:pt x="121" y="30"/>
                    <a:pt x="121" y="30"/>
                  </a:cubicBezTo>
                  <a:lnTo>
                    <a:pt x="111" y="20"/>
                  </a:lnTo>
                  <a:close/>
                  <a:moveTo>
                    <a:pt x="21" y="33"/>
                  </a:moveTo>
                  <a:cubicBezTo>
                    <a:pt x="19" y="36"/>
                    <a:pt x="15" y="36"/>
                    <a:pt x="12" y="33"/>
                  </a:cubicBezTo>
                  <a:cubicBezTo>
                    <a:pt x="10" y="31"/>
                    <a:pt x="10" y="27"/>
                    <a:pt x="12" y="25"/>
                  </a:cubicBezTo>
                  <a:cubicBezTo>
                    <a:pt x="15" y="22"/>
                    <a:pt x="19" y="22"/>
                    <a:pt x="21" y="25"/>
                  </a:cubicBezTo>
                  <a:cubicBezTo>
                    <a:pt x="24" y="27"/>
                    <a:pt x="24" y="31"/>
                    <a:pt x="21" y="33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63" name="Group 262"/>
            <p:cNvGrpSpPr>
              <a:grpSpLocks noChangeAspect="1"/>
            </p:cNvGrpSpPr>
            <p:nvPr/>
          </p:nvGrpSpPr>
          <p:grpSpPr bwMode="gray">
            <a:xfrm>
              <a:off x="3002821" y="5437002"/>
              <a:ext cx="177154" cy="284400"/>
              <a:chOff x="4217988" y="2000250"/>
              <a:chExt cx="708025" cy="1136650"/>
            </a:xfrm>
          </p:grpSpPr>
          <p:sp>
            <p:nvSpPr>
              <p:cNvPr id="264" name="Freeform 25"/>
              <p:cNvSpPr>
                <a:spLocks noChangeAspect="1" noEditPoints="1"/>
              </p:cNvSpPr>
              <p:nvPr/>
            </p:nvSpPr>
            <p:spPr bwMode="gray">
              <a:xfrm>
                <a:off x="4217988" y="2489200"/>
                <a:ext cx="708025" cy="647700"/>
              </a:xfrm>
              <a:custGeom>
                <a:avLst/>
                <a:gdLst/>
                <a:ahLst/>
                <a:cxnLst>
                  <a:cxn ang="0">
                    <a:pos x="62" y="3"/>
                  </a:cxn>
                  <a:cxn ang="0">
                    <a:pos x="60" y="0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0" y="26"/>
                  </a:cxn>
                  <a:cxn ang="0">
                    <a:pos x="31" y="57"/>
                  </a:cxn>
                  <a:cxn ang="0">
                    <a:pos x="62" y="26"/>
                  </a:cxn>
                  <a:cxn ang="0">
                    <a:pos x="62" y="3"/>
                  </a:cxn>
                  <a:cxn ang="0">
                    <a:pos x="36" y="45"/>
                  </a:cxn>
                  <a:cxn ang="0">
                    <a:pos x="26" y="45"/>
                  </a:cxn>
                  <a:cxn ang="0">
                    <a:pos x="28" y="27"/>
                  </a:cxn>
                  <a:cxn ang="0">
                    <a:pos x="24" y="21"/>
                  </a:cxn>
                  <a:cxn ang="0">
                    <a:pos x="31" y="14"/>
                  </a:cxn>
                  <a:cxn ang="0">
                    <a:pos x="38" y="21"/>
                  </a:cxn>
                  <a:cxn ang="0">
                    <a:pos x="34" y="27"/>
                  </a:cxn>
                  <a:cxn ang="0">
                    <a:pos x="36" y="45"/>
                  </a:cxn>
                </a:cxnLst>
                <a:rect l="0" t="0" r="r" b="b"/>
                <a:pathLst>
                  <a:path w="62" h="57">
                    <a:moveTo>
                      <a:pt x="62" y="3"/>
                    </a:moveTo>
                    <a:cubicBezTo>
                      <a:pt x="62" y="2"/>
                      <a:pt x="61" y="1"/>
                      <a:pt x="6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1"/>
                      <a:pt x="0" y="2"/>
                      <a:pt x="0" y="3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43"/>
                      <a:pt x="14" y="57"/>
                      <a:pt x="31" y="57"/>
                    </a:cubicBezTo>
                    <a:cubicBezTo>
                      <a:pt x="48" y="57"/>
                      <a:pt x="62" y="43"/>
                      <a:pt x="62" y="26"/>
                    </a:cubicBezTo>
                    <a:lnTo>
                      <a:pt x="62" y="3"/>
                    </a:lnTo>
                    <a:close/>
                    <a:moveTo>
                      <a:pt x="36" y="45"/>
                    </a:moveTo>
                    <a:cubicBezTo>
                      <a:pt x="26" y="45"/>
                      <a:pt x="26" y="45"/>
                      <a:pt x="26" y="45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5" y="26"/>
                      <a:pt x="24" y="24"/>
                      <a:pt x="24" y="21"/>
                    </a:cubicBezTo>
                    <a:cubicBezTo>
                      <a:pt x="24" y="17"/>
                      <a:pt x="27" y="14"/>
                      <a:pt x="31" y="14"/>
                    </a:cubicBezTo>
                    <a:cubicBezTo>
                      <a:pt x="35" y="14"/>
                      <a:pt x="38" y="17"/>
                      <a:pt x="38" y="21"/>
                    </a:cubicBezTo>
                    <a:cubicBezTo>
                      <a:pt x="38" y="24"/>
                      <a:pt x="37" y="26"/>
                      <a:pt x="34" y="27"/>
                    </a:cubicBezTo>
                    <a:lnTo>
                      <a:pt x="36" y="45"/>
                    </a:lnTo>
                    <a:close/>
                  </a:path>
                </a:pathLst>
              </a:custGeom>
              <a:solidFill>
                <a:srgbClr val="00277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65" name="Freeform 26"/>
              <p:cNvSpPr>
                <a:spLocks noChangeAspect="1"/>
              </p:cNvSpPr>
              <p:nvPr/>
            </p:nvSpPr>
            <p:spPr bwMode="gray">
              <a:xfrm>
                <a:off x="4286251" y="2000250"/>
                <a:ext cx="571500" cy="454025"/>
              </a:xfrm>
              <a:custGeom>
                <a:avLst/>
                <a:gdLst/>
                <a:ahLst/>
                <a:cxnLst>
                  <a:cxn ang="0">
                    <a:pos x="11" y="25"/>
                  </a:cxn>
                  <a:cxn ang="0">
                    <a:pos x="25" y="11"/>
                  </a:cxn>
                  <a:cxn ang="0">
                    <a:pos x="39" y="25"/>
                  </a:cxn>
                  <a:cxn ang="0">
                    <a:pos x="39" y="40"/>
                  </a:cxn>
                  <a:cxn ang="0">
                    <a:pos x="50" y="40"/>
                  </a:cxn>
                  <a:cxn ang="0">
                    <a:pos x="50" y="25"/>
                  </a:cxn>
                  <a:cxn ang="0">
                    <a:pos x="25" y="0"/>
                  </a:cxn>
                  <a:cxn ang="0">
                    <a:pos x="0" y="25"/>
                  </a:cxn>
                  <a:cxn ang="0">
                    <a:pos x="0" y="40"/>
                  </a:cxn>
                  <a:cxn ang="0">
                    <a:pos x="11" y="40"/>
                  </a:cxn>
                  <a:cxn ang="0">
                    <a:pos x="11" y="25"/>
                  </a:cxn>
                </a:cxnLst>
                <a:rect l="0" t="0" r="r" b="b"/>
                <a:pathLst>
                  <a:path w="50" h="40">
                    <a:moveTo>
                      <a:pt x="11" y="25"/>
                    </a:moveTo>
                    <a:cubicBezTo>
                      <a:pt x="11" y="17"/>
                      <a:pt x="17" y="11"/>
                      <a:pt x="25" y="11"/>
                    </a:cubicBezTo>
                    <a:cubicBezTo>
                      <a:pt x="33" y="11"/>
                      <a:pt x="39" y="17"/>
                      <a:pt x="39" y="25"/>
                    </a:cubicBezTo>
                    <a:cubicBezTo>
                      <a:pt x="39" y="40"/>
                      <a:pt x="39" y="40"/>
                      <a:pt x="39" y="40"/>
                    </a:cubicBezTo>
                    <a:cubicBezTo>
                      <a:pt x="50" y="40"/>
                      <a:pt x="50" y="40"/>
                      <a:pt x="50" y="40"/>
                    </a:cubicBezTo>
                    <a:cubicBezTo>
                      <a:pt x="50" y="25"/>
                      <a:pt x="50" y="25"/>
                      <a:pt x="50" y="25"/>
                    </a:cubicBezTo>
                    <a:cubicBezTo>
                      <a:pt x="50" y="11"/>
                      <a:pt x="39" y="0"/>
                      <a:pt x="25" y="0"/>
                    </a:cubicBezTo>
                    <a:cubicBezTo>
                      <a:pt x="11" y="0"/>
                      <a:pt x="0" y="11"/>
                      <a:pt x="0" y="25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11" y="40"/>
                      <a:pt x="11" y="40"/>
                      <a:pt x="11" y="40"/>
                    </a:cubicBezTo>
                    <a:lnTo>
                      <a:pt x="11" y="25"/>
                    </a:lnTo>
                    <a:close/>
                  </a:path>
                </a:pathLst>
              </a:custGeom>
              <a:solidFill>
                <a:srgbClr val="00277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266" name="Freeform 30"/>
            <p:cNvSpPr>
              <a:spLocks noChangeAspect="1" noEditPoints="1"/>
            </p:cNvSpPr>
            <p:nvPr/>
          </p:nvSpPr>
          <p:spPr bwMode="gray">
            <a:xfrm>
              <a:off x="3453074" y="5437002"/>
              <a:ext cx="270101" cy="284400"/>
            </a:xfrm>
            <a:custGeom>
              <a:avLst/>
              <a:gdLst/>
              <a:ahLst/>
              <a:cxnLst>
                <a:cxn ang="0">
                  <a:pos x="87" y="5"/>
                </a:cxn>
                <a:cxn ang="0">
                  <a:pos x="66" y="3"/>
                </a:cxn>
                <a:cxn ang="0">
                  <a:pos x="62" y="7"/>
                </a:cxn>
                <a:cxn ang="0">
                  <a:pos x="38" y="29"/>
                </a:cxn>
                <a:cxn ang="0">
                  <a:pos x="36" y="55"/>
                </a:cxn>
                <a:cxn ang="0">
                  <a:pos x="44" y="60"/>
                </a:cxn>
                <a:cxn ang="0">
                  <a:pos x="47" y="50"/>
                </a:cxn>
                <a:cxn ang="0">
                  <a:pos x="47" y="50"/>
                </a:cxn>
                <a:cxn ang="0">
                  <a:pos x="45" y="47"/>
                </a:cxn>
                <a:cxn ang="0">
                  <a:pos x="46" y="37"/>
                </a:cxn>
                <a:cxn ang="0">
                  <a:pos x="72" y="13"/>
                </a:cxn>
                <a:cxn ang="0">
                  <a:pos x="79" y="14"/>
                </a:cxn>
                <a:cxn ang="0">
                  <a:pos x="79" y="14"/>
                </a:cxn>
                <a:cxn ang="0">
                  <a:pos x="84" y="21"/>
                </a:cxn>
                <a:cxn ang="0">
                  <a:pos x="69" y="38"/>
                </a:cxn>
                <a:cxn ang="0">
                  <a:pos x="77" y="46"/>
                </a:cxn>
                <a:cxn ang="0">
                  <a:pos x="93" y="30"/>
                </a:cxn>
                <a:cxn ang="0">
                  <a:pos x="91" y="9"/>
                </a:cxn>
                <a:cxn ang="0">
                  <a:pos x="51" y="37"/>
                </a:cxn>
                <a:cxn ang="0">
                  <a:pos x="54" y="49"/>
                </a:cxn>
                <a:cxn ang="0">
                  <a:pos x="53" y="62"/>
                </a:cxn>
                <a:cxn ang="0">
                  <a:pos x="24" y="87"/>
                </a:cxn>
                <a:cxn ang="0">
                  <a:pos x="16" y="86"/>
                </a:cxn>
                <a:cxn ang="0">
                  <a:pos x="16" y="85"/>
                </a:cxn>
                <a:cxn ang="0">
                  <a:pos x="13" y="82"/>
                </a:cxn>
                <a:cxn ang="0">
                  <a:pos x="12" y="75"/>
                </a:cxn>
                <a:cxn ang="0">
                  <a:pos x="29" y="52"/>
                </a:cxn>
                <a:cxn ang="0">
                  <a:pos x="3" y="67"/>
                </a:cxn>
                <a:cxn ang="0">
                  <a:pos x="0" y="77"/>
                </a:cxn>
                <a:cxn ang="0">
                  <a:pos x="9" y="94"/>
                </a:cxn>
                <a:cxn ang="0">
                  <a:pos x="21" y="100"/>
                </a:cxn>
                <a:cxn ang="0">
                  <a:pos x="35" y="93"/>
                </a:cxn>
                <a:cxn ang="0">
                  <a:pos x="61" y="70"/>
                </a:cxn>
                <a:cxn ang="0">
                  <a:pos x="68" y="56"/>
                </a:cxn>
                <a:cxn ang="0">
                  <a:pos x="59" y="37"/>
                </a:cxn>
              </a:cxnLst>
              <a:rect l="0" t="0" r="r" b="b"/>
              <a:pathLst>
                <a:path w="95" h="100">
                  <a:moveTo>
                    <a:pt x="91" y="9"/>
                  </a:moveTo>
                  <a:cubicBezTo>
                    <a:pt x="89" y="7"/>
                    <a:pt x="87" y="6"/>
                    <a:pt x="87" y="5"/>
                  </a:cubicBezTo>
                  <a:cubicBezTo>
                    <a:pt x="83" y="2"/>
                    <a:pt x="79" y="0"/>
                    <a:pt x="75" y="0"/>
                  </a:cubicBezTo>
                  <a:cubicBezTo>
                    <a:pt x="71" y="0"/>
                    <a:pt x="68" y="2"/>
                    <a:pt x="66" y="3"/>
                  </a:cubicBezTo>
                  <a:cubicBezTo>
                    <a:pt x="64" y="5"/>
                    <a:pt x="62" y="7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4" y="33"/>
                    <a:pt x="32" y="38"/>
                    <a:pt x="32" y="43"/>
                  </a:cubicBezTo>
                  <a:cubicBezTo>
                    <a:pt x="32" y="48"/>
                    <a:pt x="34" y="52"/>
                    <a:pt x="36" y="55"/>
                  </a:cubicBezTo>
                  <a:cubicBezTo>
                    <a:pt x="38" y="57"/>
                    <a:pt x="40" y="59"/>
                    <a:pt x="40" y="59"/>
                  </a:cubicBezTo>
                  <a:cubicBezTo>
                    <a:pt x="41" y="60"/>
                    <a:pt x="43" y="60"/>
                    <a:pt x="44" y="60"/>
                  </a:cubicBezTo>
                  <a:cubicBezTo>
                    <a:pt x="45" y="60"/>
                    <a:pt x="47" y="59"/>
                    <a:pt x="48" y="58"/>
                  </a:cubicBezTo>
                  <a:cubicBezTo>
                    <a:pt x="50" y="55"/>
                    <a:pt x="50" y="52"/>
                    <a:pt x="47" y="50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47" y="49"/>
                    <a:pt x="46" y="49"/>
                    <a:pt x="45" y="47"/>
                  </a:cubicBezTo>
                  <a:cubicBezTo>
                    <a:pt x="44" y="46"/>
                    <a:pt x="43" y="44"/>
                    <a:pt x="43" y="43"/>
                  </a:cubicBezTo>
                  <a:cubicBezTo>
                    <a:pt x="43" y="41"/>
                    <a:pt x="44" y="40"/>
                    <a:pt x="46" y="37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0" y="14"/>
                    <a:pt x="71" y="13"/>
                    <a:pt x="72" y="13"/>
                  </a:cubicBezTo>
                  <a:cubicBezTo>
                    <a:pt x="73" y="12"/>
                    <a:pt x="74" y="12"/>
                    <a:pt x="75" y="12"/>
                  </a:cubicBezTo>
                  <a:cubicBezTo>
                    <a:pt x="76" y="12"/>
                    <a:pt x="77" y="12"/>
                    <a:pt x="79" y="14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0" y="14"/>
                    <a:pt x="81" y="15"/>
                    <a:pt x="82" y="17"/>
                  </a:cubicBezTo>
                  <a:cubicBezTo>
                    <a:pt x="83" y="18"/>
                    <a:pt x="84" y="20"/>
                    <a:pt x="84" y="21"/>
                  </a:cubicBezTo>
                  <a:cubicBezTo>
                    <a:pt x="84" y="22"/>
                    <a:pt x="84" y="22"/>
                    <a:pt x="84" y="23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6" y="40"/>
                    <a:pt x="66" y="43"/>
                    <a:pt x="69" y="46"/>
                  </a:cubicBezTo>
                  <a:cubicBezTo>
                    <a:pt x="71" y="48"/>
                    <a:pt x="74" y="48"/>
                    <a:pt x="77" y="46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4" y="27"/>
                    <a:pt x="95" y="24"/>
                    <a:pt x="95" y="21"/>
                  </a:cubicBezTo>
                  <a:cubicBezTo>
                    <a:pt x="95" y="16"/>
                    <a:pt x="93" y="12"/>
                    <a:pt x="91" y="9"/>
                  </a:cubicBezTo>
                  <a:close/>
                  <a:moveTo>
                    <a:pt x="59" y="37"/>
                  </a:moveTo>
                  <a:cubicBezTo>
                    <a:pt x="57" y="35"/>
                    <a:pt x="53" y="35"/>
                    <a:pt x="51" y="37"/>
                  </a:cubicBezTo>
                  <a:cubicBezTo>
                    <a:pt x="49" y="40"/>
                    <a:pt x="49" y="43"/>
                    <a:pt x="51" y="45"/>
                  </a:cubicBezTo>
                  <a:cubicBezTo>
                    <a:pt x="51" y="46"/>
                    <a:pt x="53" y="47"/>
                    <a:pt x="54" y="49"/>
                  </a:cubicBezTo>
                  <a:cubicBezTo>
                    <a:pt x="55" y="51"/>
                    <a:pt x="56" y="54"/>
                    <a:pt x="56" y="56"/>
                  </a:cubicBezTo>
                  <a:cubicBezTo>
                    <a:pt x="56" y="58"/>
                    <a:pt x="56" y="60"/>
                    <a:pt x="53" y="62"/>
                  </a:cubicBezTo>
                  <a:cubicBezTo>
                    <a:pt x="28" y="84"/>
                    <a:pt x="28" y="84"/>
                    <a:pt x="28" y="84"/>
                  </a:cubicBezTo>
                  <a:cubicBezTo>
                    <a:pt x="27" y="85"/>
                    <a:pt x="26" y="86"/>
                    <a:pt x="24" y="87"/>
                  </a:cubicBezTo>
                  <a:cubicBezTo>
                    <a:pt x="23" y="88"/>
                    <a:pt x="22" y="88"/>
                    <a:pt x="21" y="88"/>
                  </a:cubicBezTo>
                  <a:cubicBezTo>
                    <a:pt x="20" y="88"/>
                    <a:pt x="19" y="88"/>
                    <a:pt x="16" y="86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4" y="84"/>
                    <a:pt x="13" y="82"/>
                  </a:cubicBezTo>
                  <a:cubicBezTo>
                    <a:pt x="12" y="81"/>
                    <a:pt x="11" y="79"/>
                    <a:pt x="11" y="77"/>
                  </a:cubicBezTo>
                  <a:cubicBezTo>
                    <a:pt x="11" y="77"/>
                    <a:pt x="11" y="76"/>
                    <a:pt x="12" y="75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31" y="58"/>
                    <a:pt x="31" y="54"/>
                    <a:pt x="29" y="52"/>
                  </a:cubicBezTo>
                  <a:cubicBezTo>
                    <a:pt x="27" y="49"/>
                    <a:pt x="23" y="49"/>
                    <a:pt x="21" y="51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1" y="71"/>
                    <a:pt x="0" y="74"/>
                    <a:pt x="0" y="77"/>
                  </a:cubicBezTo>
                  <a:cubicBezTo>
                    <a:pt x="0" y="83"/>
                    <a:pt x="2" y="87"/>
                    <a:pt x="4" y="90"/>
                  </a:cubicBezTo>
                  <a:cubicBezTo>
                    <a:pt x="6" y="92"/>
                    <a:pt x="8" y="93"/>
                    <a:pt x="9" y="94"/>
                  </a:cubicBezTo>
                  <a:cubicBezTo>
                    <a:pt x="12" y="98"/>
                    <a:pt x="17" y="100"/>
                    <a:pt x="21" y="100"/>
                  </a:cubicBezTo>
                  <a:cubicBezTo>
                    <a:pt x="21" y="100"/>
                    <a:pt x="21" y="100"/>
                    <a:pt x="21" y="100"/>
                  </a:cubicBezTo>
                  <a:cubicBezTo>
                    <a:pt x="25" y="100"/>
                    <a:pt x="28" y="98"/>
                    <a:pt x="31" y="97"/>
                  </a:cubicBezTo>
                  <a:cubicBezTo>
                    <a:pt x="33" y="95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6" y="66"/>
                    <a:pt x="68" y="61"/>
                    <a:pt x="68" y="56"/>
                  </a:cubicBezTo>
                  <a:cubicBezTo>
                    <a:pt x="68" y="50"/>
                    <a:pt x="65" y="46"/>
                    <a:pt x="63" y="43"/>
                  </a:cubicBezTo>
                  <a:cubicBezTo>
                    <a:pt x="61" y="39"/>
                    <a:pt x="59" y="38"/>
                    <a:pt x="59" y="37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7" name="Freeform 34"/>
            <p:cNvSpPr>
              <a:spLocks noChangeAspect="1" noEditPoints="1"/>
            </p:cNvSpPr>
            <p:nvPr/>
          </p:nvSpPr>
          <p:spPr bwMode="gray">
            <a:xfrm>
              <a:off x="3937162" y="5467602"/>
              <a:ext cx="292875" cy="223200"/>
            </a:xfrm>
            <a:custGeom>
              <a:avLst/>
              <a:gdLst/>
              <a:ahLst/>
              <a:cxnLst>
                <a:cxn ang="0">
                  <a:pos x="43" y="62"/>
                </a:cxn>
                <a:cxn ang="0">
                  <a:pos x="35" y="70"/>
                </a:cxn>
                <a:cxn ang="0">
                  <a:pos x="43" y="79"/>
                </a:cxn>
                <a:cxn ang="0">
                  <a:pos x="51" y="70"/>
                </a:cxn>
                <a:cxn ang="0">
                  <a:pos x="43" y="62"/>
                </a:cxn>
                <a:cxn ang="0">
                  <a:pos x="80" y="62"/>
                </a:cxn>
                <a:cxn ang="0">
                  <a:pos x="72" y="70"/>
                </a:cxn>
                <a:cxn ang="0">
                  <a:pos x="80" y="79"/>
                </a:cxn>
                <a:cxn ang="0">
                  <a:pos x="88" y="70"/>
                </a:cxn>
                <a:cxn ang="0">
                  <a:pos x="80" y="62"/>
                </a:cxn>
                <a:cxn ang="0">
                  <a:pos x="92" y="49"/>
                </a:cxn>
                <a:cxn ang="0">
                  <a:pos x="34" y="49"/>
                </a:cxn>
                <a:cxn ang="0">
                  <a:pos x="22" y="3"/>
                </a:cxn>
                <a:cxn ang="0">
                  <a:pos x="20" y="1"/>
                </a:cxn>
                <a:cxn ang="0">
                  <a:pos x="2" y="1"/>
                </a:cxn>
                <a:cxn ang="0">
                  <a:pos x="0" y="3"/>
                </a:cxn>
                <a:cxn ang="0">
                  <a:pos x="1" y="5"/>
                </a:cxn>
                <a:cxn ang="0">
                  <a:pos x="13" y="5"/>
                </a:cxn>
                <a:cxn ang="0">
                  <a:pos x="15" y="7"/>
                </a:cxn>
                <a:cxn ang="0">
                  <a:pos x="28" y="58"/>
                </a:cxn>
                <a:cxn ang="0">
                  <a:pos x="92" y="58"/>
                </a:cxn>
                <a:cxn ang="0">
                  <a:pos x="94" y="56"/>
                </a:cxn>
                <a:cxn ang="0">
                  <a:pos x="94" y="51"/>
                </a:cxn>
                <a:cxn ang="0">
                  <a:pos x="92" y="49"/>
                </a:cxn>
                <a:cxn ang="0">
                  <a:pos x="99" y="1"/>
                </a:cxn>
                <a:cxn ang="0">
                  <a:pos x="31" y="1"/>
                </a:cxn>
                <a:cxn ang="0">
                  <a:pos x="28" y="8"/>
                </a:cxn>
                <a:cxn ang="0">
                  <a:pos x="37" y="42"/>
                </a:cxn>
                <a:cxn ang="0">
                  <a:pos x="41" y="45"/>
                </a:cxn>
                <a:cxn ang="0">
                  <a:pos x="91" y="45"/>
                </a:cxn>
                <a:cxn ang="0">
                  <a:pos x="95" y="40"/>
                </a:cxn>
                <a:cxn ang="0">
                  <a:pos x="103" y="5"/>
                </a:cxn>
                <a:cxn ang="0">
                  <a:pos x="99" y="1"/>
                </a:cxn>
                <a:cxn ang="0">
                  <a:pos x="38" y="14"/>
                </a:cxn>
                <a:cxn ang="0">
                  <a:pos x="46" y="7"/>
                </a:cxn>
                <a:cxn ang="0">
                  <a:pos x="53" y="14"/>
                </a:cxn>
                <a:cxn ang="0">
                  <a:pos x="46" y="21"/>
                </a:cxn>
                <a:cxn ang="0">
                  <a:pos x="38" y="14"/>
                </a:cxn>
                <a:cxn ang="0">
                  <a:pos x="55" y="39"/>
                </a:cxn>
                <a:cxn ang="0">
                  <a:pos x="48" y="32"/>
                </a:cxn>
                <a:cxn ang="0">
                  <a:pos x="55" y="25"/>
                </a:cxn>
                <a:cxn ang="0">
                  <a:pos x="63" y="32"/>
                </a:cxn>
                <a:cxn ang="0">
                  <a:pos x="55" y="39"/>
                </a:cxn>
                <a:cxn ang="0">
                  <a:pos x="57" y="14"/>
                </a:cxn>
                <a:cxn ang="0">
                  <a:pos x="64" y="7"/>
                </a:cxn>
                <a:cxn ang="0">
                  <a:pos x="71" y="14"/>
                </a:cxn>
                <a:cxn ang="0">
                  <a:pos x="64" y="21"/>
                </a:cxn>
                <a:cxn ang="0">
                  <a:pos x="57" y="14"/>
                </a:cxn>
                <a:cxn ang="0">
                  <a:pos x="74" y="39"/>
                </a:cxn>
                <a:cxn ang="0">
                  <a:pos x="67" y="32"/>
                </a:cxn>
                <a:cxn ang="0">
                  <a:pos x="74" y="25"/>
                </a:cxn>
                <a:cxn ang="0">
                  <a:pos x="81" y="32"/>
                </a:cxn>
                <a:cxn ang="0">
                  <a:pos x="74" y="39"/>
                </a:cxn>
                <a:cxn ang="0">
                  <a:pos x="83" y="21"/>
                </a:cxn>
                <a:cxn ang="0">
                  <a:pos x="76" y="14"/>
                </a:cxn>
                <a:cxn ang="0">
                  <a:pos x="83" y="7"/>
                </a:cxn>
                <a:cxn ang="0">
                  <a:pos x="90" y="14"/>
                </a:cxn>
                <a:cxn ang="0">
                  <a:pos x="83" y="21"/>
                </a:cxn>
              </a:cxnLst>
              <a:rect l="0" t="0" r="r" b="b"/>
              <a:pathLst>
                <a:path w="104" h="79">
                  <a:moveTo>
                    <a:pt x="43" y="62"/>
                  </a:moveTo>
                  <a:cubicBezTo>
                    <a:pt x="38" y="62"/>
                    <a:pt x="35" y="66"/>
                    <a:pt x="35" y="70"/>
                  </a:cubicBezTo>
                  <a:cubicBezTo>
                    <a:pt x="35" y="75"/>
                    <a:pt x="38" y="79"/>
                    <a:pt x="43" y="79"/>
                  </a:cubicBezTo>
                  <a:cubicBezTo>
                    <a:pt x="47" y="79"/>
                    <a:pt x="51" y="75"/>
                    <a:pt x="51" y="70"/>
                  </a:cubicBezTo>
                  <a:cubicBezTo>
                    <a:pt x="51" y="66"/>
                    <a:pt x="47" y="62"/>
                    <a:pt x="43" y="62"/>
                  </a:cubicBezTo>
                  <a:close/>
                  <a:moveTo>
                    <a:pt x="80" y="62"/>
                  </a:moveTo>
                  <a:cubicBezTo>
                    <a:pt x="75" y="62"/>
                    <a:pt x="72" y="66"/>
                    <a:pt x="72" y="70"/>
                  </a:cubicBezTo>
                  <a:cubicBezTo>
                    <a:pt x="72" y="75"/>
                    <a:pt x="75" y="79"/>
                    <a:pt x="80" y="79"/>
                  </a:cubicBezTo>
                  <a:cubicBezTo>
                    <a:pt x="84" y="79"/>
                    <a:pt x="88" y="75"/>
                    <a:pt x="88" y="70"/>
                  </a:cubicBezTo>
                  <a:cubicBezTo>
                    <a:pt x="88" y="66"/>
                    <a:pt x="84" y="62"/>
                    <a:pt x="80" y="62"/>
                  </a:cubicBezTo>
                  <a:close/>
                  <a:moveTo>
                    <a:pt x="92" y="49"/>
                  </a:moveTo>
                  <a:cubicBezTo>
                    <a:pt x="34" y="49"/>
                    <a:pt x="34" y="49"/>
                    <a:pt x="34" y="49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1"/>
                    <a:pt x="20" y="1"/>
                    <a:pt x="2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4" y="5"/>
                    <a:pt x="15" y="5"/>
                    <a:pt x="15" y="7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58"/>
                    <a:pt x="94" y="58"/>
                    <a:pt x="94" y="56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4" y="49"/>
                    <a:pt x="92" y="49"/>
                    <a:pt x="92" y="49"/>
                  </a:cubicBezTo>
                  <a:close/>
                  <a:moveTo>
                    <a:pt x="99" y="1"/>
                  </a:move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25" y="0"/>
                    <a:pt x="28" y="8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8" y="45"/>
                    <a:pt x="41" y="45"/>
                  </a:cubicBezTo>
                  <a:cubicBezTo>
                    <a:pt x="91" y="45"/>
                    <a:pt x="91" y="45"/>
                    <a:pt x="91" y="45"/>
                  </a:cubicBezTo>
                  <a:cubicBezTo>
                    <a:pt x="91" y="45"/>
                    <a:pt x="94" y="46"/>
                    <a:pt x="95" y="40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4" y="1"/>
                    <a:pt x="99" y="1"/>
                  </a:cubicBezTo>
                  <a:close/>
                  <a:moveTo>
                    <a:pt x="38" y="14"/>
                  </a:moveTo>
                  <a:cubicBezTo>
                    <a:pt x="38" y="10"/>
                    <a:pt x="42" y="7"/>
                    <a:pt x="46" y="7"/>
                  </a:cubicBezTo>
                  <a:cubicBezTo>
                    <a:pt x="49" y="7"/>
                    <a:pt x="53" y="10"/>
                    <a:pt x="53" y="14"/>
                  </a:cubicBezTo>
                  <a:cubicBezTo>
                    <a:pt x="53" y="18"/>
                    <a:pt x="49" y="21"/>
                    <a:pt x="46" y="21"/>
                  </a:cubicBezTo>
                  <a:cubicBezTo>
                    <a:pt x="42" y="21"/>
                    <a:pt x="38" y="18"/>
                    <a:pt x="38" y="14"/>
                  </a:cubicBezTo>
                  <a:close/>
                  <a:moveTo>
                    <a:pt x="55" y="39"/>
                  </a:moveTo>
                  <a:cubicBezTo>
                    <a:pt x="52" y="39"/>
                    <a:pt x="48" y="36"/>
                    <a:pt x="48" y="32"/>
                  </a:cubicBezTo>
                  <a:cubicBezTo>
                    <a:pt x="48" y="28"/>
                    <a:pt x="52" y="25"/>
                    <a:pt x="55" y="25"/>
                  </a:cubicBezTo>
                  <a:cubicBezTo>
                    <a:pt x="59" y="25"/>
                    <a:pt x="63" y="28"/>
                    <a:pt x="63" y="32"/>
                  </a:cubicBezTo>
                  <a:cubicBezTo>
                    <a:pt x="63" y="36"/>
                    <a:pt x="59" y="39"/>
                    <a:pt x="55" y="39"/>
                  </a:cubicBezTo>
                  <a:close/>
                  <a:moveTo>
                    <a:pt x="57" y="14"/>
                  </a:moveTo>
                  <a:cubicBezTo>
                    <a:pt x="57" y="10"/>
                    <a:pt x="60" y="7"/>
                    <a:pt x="64" y="7"/>
                  </a:cubicBezTo>
                  <a:cubicBezTo>
                    <a:pt x="68" y="7"/>
                    <a:pt x="71" y="10"/>
                    <a:pt x="71" y="14"/>
                  </a:cubicBezTo>
                  <a:cubicBezTo>
                    <a:pt x="71" y="18"/>
                    <a:pt x="68" y="21"/>
                    <a:pt x="64" y="21"/>
                  </a:cubicBezTo>
                  <a:cubicBezTo>
                    <a:pt x="60" y="21"/>
                    <a:pt x="57" y="18"/>
                    <a:pt x="57" y="14"/>
                  </a:cubicBezTo>
                  <a:close/>
                  <a:moveTo>
                    <a:pt x="74" y="39"/>
                  </a:moveTo>
                  <a:cubicBezTo>
                    <a:pt x="70" y="39"/>
                    <a:pt x="67" y="36"/>
                    <a:pt x="67" y="32"/>
                  </a:cubicBezTo>
                  <a:cubicBezTo>
                    <a:pt x="67" y="28"/>
                    <a:pt x="70" y="25"/>
                    <a:pt x="74" y="25"/>
                  </a:cubicBezTo>
                  <a:cubicBezTo>
                    <a:pt x="78" y="25"/>
                    <a:pt x="81" y="28"/>
                    <a:pt x="81" y="32"/>
                  </a:cubicBezTo>
                  <a:cubicBezTo>
                    <a:pt x="81" y="36"/>
                    <a:pt x="78" y="39"/>
                    <a:pt x="74" y="39"/>
                  </a:cubicBezTo>
                  <a:close/>
                  <a:moveTo>
                    <a:pt x="83" y="21"/>
                  </a:moveTo>
                  <a:cubicBezTo>
                    <a:pt x="79" y="21"/>
                    <a:pt x="76" y="18"/>
                    <a:pt x="76" y="14"/>
                  </a:cubicBezTo>
                  <a:cubicBezTo>
                    <a:pt x="76" y="10"/>
                    <a:pt x="79" y="7"/>
                    <a:pt x="83" y="7"/>
                  </a:cubicBezTo>
                  <a:cubicBezTo>
                    <a:pt x="87" y="7"/>
                    <a:pt x="90" y="10"/>
                    <a:pt x="90" y="14"/>
                  </a:cubicBezTo>
                  <a:cubicBezTo>
                    <a:pt x="90" y="18"/>
                    <a:pt x="87" y="21"/>
                    <a:pt x="83" y="21"/>
                  </a:cubicBez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8" name="Freeform 38"/>
            <p:cNvSpPr>
              <a:spLocks noChangeAspect="1" noEditPoints="1"/>
            </p:cNvSpPr>
            <p:nvPr/>
          </p:nvSpPr>
          <p:spPr bwMode="gray">
            <a:xfrm>
              <a:off x="4449805" y="5437002"/>
              <a:ext cx="257642" cy="284400"/>
            </a:xfrm>
            <a:custGeom>
              <a:avLst/>
              <a:gdLst/>
              <a:ahLst/>
              <a:cxnLst>
                <a:cxn ang="0">
                  <a:pos x="88" y="64"/>
                </a:cxn>
                <a:cxn ang="0">
                  <a:pos x="46" y="11"/>
                </a:cxn>
                <a:cxn ang="0">
                  <a:pos x="39" y="9"/>
                </a:cxn>
                <a:cxn ang="0">
                  <a:pos x="34" y="8"/>
                </a:cxn>
                <a:cxn ang="0">
                  <a:pos x="33" y="7"/>
                </a:cxn>
                <a:cxn ang="0">
                  <a:pos x="19" y="2"/>
                </a:cxn>
                <a:cxn ang="0">
                  <a:pos x="19" y="2"/>
                </a:cxn>
                <a:cxn ang="0">
                  <a:pos x="3" y="15"/>
                </a:cxn>
                <a:cxn ang="0">
                  <a:pos x="4" y="29"/>
                </a:cxn>
                <a:cxn ang="0">
                  <a:pos x="5" y="31"/>
                </a:cxn>
                <a:cxn ang="0">
                  <a:pos x="5" y="36"/>
                </a:cxn>
                <a:cxn ang="0">
                  <a:pos x="6" y="43"/>
                </a:cxn>
                <a:cxn ang="0">
                  <a:pos x="49" y="97"/>
                </a:cxn>
                <a:cxn ang="0">
                  <a:pos x="60" y="99"/>
                </a:cxn>
                <a:cxn ang="0">
                  <a:pos x="89" y="76"/>
                </a:cxn>
                <a:cxn ang="0">
                  <a:pos x="88" y="64"/>
                </a:cxn>
                <a:cxn ang="0">
                  <a:pos x="16" y="25"/>
                </a:cxn>
                <a:cxn ang="0">
                  <a:pos x="17" y="16"/>
                </a:cxn>
                <a:cxn ang="0">
                  <a:pos x="25" y="17"/>
                </a:cxn>
                <a:cxn ang="0">
                  <a:pos x="24" y="25"/>
                </a:cxn>
                <a:cxn ang="0">
                  <a:pos x="16" y="25"/>
                </a:cxn>
                <a:cxn ang="0">
                  <a:pos x="81" y="73"/>
                </a:cxn>
                <a:cxn ang="0">
                  <a:pos x="59" y="91"/>
                </a:cxn>
                <a:cxn ang="0">
                  <a:pos x="50" y="89"/>
                </a:cxn>
                <a:cxn ang="0">
                  <a:pos x="20" y="51"/>
                </a:cxn>
                <a:cxn ang="0">
                  <a:pos x="20" y="44"/>
                </a:cxn>
                <a:cxn ang="0">
                  <a:pos x="24" y="50"/>
                </a:cxn>
                <a:cxn ang="0">
                  <a:pos x="52" y="85"/>
                </a:cxn>
                <a:cxn ang="0">
                  <a:pos x="57" y="87"/>
                </a:cxn>
                <a:cxn ang="0">
                  <a:pos x="79" y="70"/>
                </a:cxn>
                <a:cxn ang="0">
                  <a:pos x="81" y="66"/>
                </a:cxn>
                <a:cxn ang="0">
                  <a:pos x="81" y="73"/>
                </a:cxn>
              </a:cxnLst>
              <a:rect l="0" t="0" r="r" b="b"/>
              <a:pathLst>
                <a:path w="94" h="104">
                  <a:moveTo>
                    <a:pt x="88" y="64"/>
                  </a:moveTo>
                  <a:cubicBezTo>
                    <a:pt x="46" y="11"/>
                    <a:pt x="46" y="11"/>
                    <a:pt x="46" y="11"/>
                  </a:cubicBezTo>
                  <a:cubicBezTo>
                    <a:pt x="45" y="9"/>
                    <a:pt x="42" y="8"/>
                    <a:pt x="39" y="9"/>
                  </a:cubicBezTo>
                  <a:cubicBezTo>
                    <a:pt x="39" y="9"/>
                    <a:pt x="36" y="10"/>
                    <a:pt x="34" y="8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8" y="2"/>
                    <a:pt x="24" y="0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8"/>
                    <a:pt x="3" y="15"/>
                    <a:pt x="3" y="15"/>
                  </a:cubicBezTo>
                  <a:cubicBezTo>
                    <a:pt x="0" y="19"/>
                    <a:pt x="0" y="24"/>
                    <a:pt x="4" y="29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7" y="33"/>
                    <a:pt x="5" y="36"/>
                    <a:pt x="5" y="36"/>
                  </a:cubicBezTo>
                  <a:cubicBezTo>
                    <a:pt x="3" y="39"/>
                    <a:pt x="4" y="41"/>
                    <a:pt x="6" y="43"/>
                  </a:cubicBezTo>
                  <a:cubicBezTo>
                    <a:pt x="49" y="97"/>
                    <a:pt x="49" y="97"/>
                    <a:pt x="49" y="97"/>
                  </a:cubicBezTo>
                  <a:cubicBezTo>
                    <a:pt x="54" y="104"/>
                    <a:pt x="60" y="99"/>
                    <a:pt x="60" y="99"/>
                  </a:cubicBezTo>
                  <a:cubicBezTo>
                    <a:pt x="89" y="76"/>
                    <a:pt x="89" y="76"/>
                    <a:pt x="89" y="76"/>
                  </a:cubicBezTo>
                  <a:cubicBezTo>
                    <a:pt x="94" y="71"/>
                    <a:pt x="88" y="64"/>
                    <a:pt x="88" y="64"/>
                  </a:cubicBezTo>
                  <a:close/>
                  <a:moveTo>
                    <a:pt x="16" y="25"/>
                  </a:moveTo>
                  <a:cubicBezTo>
                    <a:pt x="14" y="22"/>
                    <a:pt x="14" y="18"/>
                    <a:pt x="17" y="16"/>
                  </a:cubicBezTo>
                  <a:cubicBezTo>
                    <a:pt x="19" y="14"/>
                    <a:pt x="23" y="15"/>
                    <a:pt x="25" y="17"/>
                  </a:cubicBezTo>
                  <a:cubicBezTo>
                    <a:pt x="27" y="20"/>
                    <a:pt x="27" y="23"/>
                    <a:pt x="24" y="25"/>
                  </a:cubicBezTo>
                  <a:cubicBezTo>
                    <a:pt x="22" y="27"/>
                    <a:pt x="18" y="27"/>
                    <a:pt x="16" y="25"/>
                  </a:cubicBezTo>
                  <a:close/>
                  <a:moveTo>
                    <a:pt x="81" y="73"/>
                  </a:move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5" y="94"/>
                    <a:pt x="50" y="89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49"/>
                    <a:pt x="17" y="47"/>
                    <a:pt x="20" y="44"/>
                  </a:cubicBezTo>
                  <a:cubicBezTo>
                    <a:pt x="21" y="47"/>
                    <a:pt x="22" y="49"/>
                    <a:pt x="24" y="50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5" y="89"/>
                    <a:pt x="57" y="87"/>
                    <a:pt x="57" y="87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82" y="67"/>
                    <a:pt x="81" y="66"/>
                    <a:pt x="81" y="66"/>
                  </a:cubicBezTo>
                  <a:cubicBezTo>
                    <a:pt x="81" y="66"/>
                    <a:pt x="85" y="70"/>
                    <a:pt x="81" y="73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9" name="Freeform 42"/>
            <p:cNvSpPr>
              <a:spLocks noChangeAspect="1" noEditPoints="1"/>
            </p:cNvSpPr>
            <p:nvPr/>
          </p:nvSpPr>
          <p:spPr bwMode="gray">
            <a:xfrm>
              <a:off x="4998608" y="5411802"/>
              <a:ext cx="166010" cy="334800"/>
            </a:xfrm>
            <a:custGeom>
              <a:avLst/>
              <a:gdLst/>
              <a:ahLst/>
              <a:cxnLst>
                <a:cxn ang="0">
                  <a:pos x="39" y="34"/>
                </a:cxn>
                <a:cxn ang="0">
                  <a:pos x="39" y="33"/>
                </a:cxn>
                <a:cxn ang="0">
                  <a:pos x="35" y="29"/>
                </a:cxn>
                <a:cxn ang="0">
                  <a:pos x="32" y="29"/>
                </a:cxn>
                <a:cxn ang="0">
                  <a:pos x="33" y="24"/>
                </a:cxn>
                <a:cxn ang="0">
                  <a:pos x="30" y="0"/>
                </a:cxn>
                <a:cxn ang="0">
                  <a:pos x="26" y="24"/>
                </a:cxn>
                <a:cxn ang="0">
                  <a:pos x="28" y="29"/>
                </a:cxn>
                <a:cxn ang="0">
                  <a:pos x="26" y="32"/>
                </a:cxn>
                <a:cxn ang="0">
                  <a:pos x="21" y="33"/>
                </a:cxn>
                <a:cxn ang="0">
                  <a:pos x="1" y="47"/>
                </a:cxn>
                <a:cxn ang="0">
                  <a:pos x="24" y="39"/>
                </a:cxn>
                <a:cxn ang="0">
                  <a:pos x="27" y="36"/>
                </a:cxn>
                <a:cxn ang="0">
                  <a:pos x="28" y="36"/>
                </a:cxn>
                <a:cxn ang="0">
                  <a:pos x="26" y="118"/>
                </a:cxn>
                <a:cxn ang="0">
                  <a:pos x="36" y="118"/>
                </a:cxn>
                <a:cxn ang="0">
                  <a:pos x="33" y="37"/>
                </a:cxn>
                <a:cxn ang="0">
                  <a:pos x="35" y="39"/>
                </a:cxn>
                <a:cxn ang="0">
                  <a:pos x="58" y="48"/>
                </a:cxn>
                <a:cxn ang="0">
                  <a:pos x="39" y="34"/>
                </a:cxn>
                <a:cxn ang="0">
                  <a:pos x="30" y="35"/>
                </a:cxn>
                <a:cxn ang="0">
                  <a:pos x="27" y="32"/>
                </a:cxn>
                <a:cxn ang="0">
                  <a:pos x="30" y="30"/>
                </a:cxn>
                <a:cxn ang="0">
                  <a:pos x="33" y="32"/>
                </a:cxn>
                <a:cxn ang="0">
                  <a:pos x="30" y="35"/>
                </a:cxn>
              </a:cxnLst>
              <a:rect l="0" t="0" r="r" b="b"/>
              <a:pathLst>
                <a:path w="58" h="118">
                  <a:moveTo>
                    <a:pt x="39" y="34"/>
                  </a:moveTo>
                  <a:cubicBezTo>
                    <a:pt x="39" y="34"/>
                    <a:pt x="39" y="34"/>
                    <a:pt x="39" y="33"/>
                  </a:cubicBezTo>
                  <a:cubicBezTo>
                    <a:pt x="39" y="30"/>
                    <a:pt x="37" y="29"/>
                    <a:pt x="35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3" y="24"/>
                    <a:pt x="32" y="0"/>
                    <a:pt x="30" y="0"/>
                  </a:cubicBezTo>
                  <a:cubicBezTo>
                    <a:pt x="28" y="0"/>
                    <a:pt x="26" y="24"/>
                    <a:pt x="26" y="24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7" y="30"/>
                    <a:pt x="26" y="31"/>
                    <a:pt x="26" y="32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0" y="45"/>
                    <a:pt x="1" y="47"/>
                  </a:cubicBezTo>
                  <a:cubicBezTo>
                    <a:pt x="2" y="48"/>
                    <a:pt x="24" y="39"/>
                    <a:pt x="24" y="39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6" y="118"/>
                    <a:pt x="26" y="118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5" y="39"/>
                    <a:pt x="57" y="49"/>
                    <a:pt x="58" y="48"/>
                  </a:cubicBezTo>
                  <a:cubicBezTo>
                    <a:pt x="58" y="46"/>
                    <a:pt x="43" y="36"/>
                    <a:pt x="39" y="34"/>
                  </a:cubicBezTo>
                  <a:close/>
                  <a:moveTo>
                    <a:pt x="30" y="35"/>
                  </a:moveTo>
                  <a:cubicBezTo>
                    <a:pt x="29" y="35"/>
                    <a:pt x="27" y="34"/>
                    <a:pt x="27" y="32"/>
                  </a:cubicBezTo>
                  <a:cubicBezTo>
                    <a:pt x="27" y="31"/>
                    <a:pt x="29" y="30"/>
                    <a:pt x="30" y="30"/>
                  </a:cubicBezTo>
                  <a:cubicBezTo>
                    <a:pt x="32" y="30"/>
                    <a:pt x="33" y="31"/>
                    <a:pt x="33" y="32"/>
                  </a:cubicBezTo>
                  <a:cubicBezTo>
                    <a:pt x="33" y="34"/>
                    <a:pt x="32" y="35"/>
                    <a:pt x="30" y="35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0" name="Freeform 46"/>
            <p:cNvSpPr>
              <a:spLocks noChangeAspect="1" noEditPoints="1"/>
            </p:cNvSpPr>
            <p:nvPr/>
          </p:nvSpPr>
          <p:spPr bwMode="gray">
            <a:xfrm>
              <a:off x="5496495" y="5437002"/>
              <a:ext cx="205753" cy="284400"/>
            </a:xfrm>
            <a:custGeom>
              <a:avLst/>
              <a:gdLst/>
              <a:ahLst/>
              <a:cxnLst>
                <a:cxn ang="0">
                  <a:pos x="19" y="63"/>
                </a:cxn>
                <a:cxn ang="0">
                  <a:pos x="26" y="100"/>
                </a:cxn>
                <a:cxn ang="0">
                  <a:pos x="0" y="100"/>
                </a:cxn>
                <a:cxn ang="0">
                  <a:pos x="9" y="55"/>
                </a:cxn>
                <a:cxn ang="0">
                  <a:pos x="6" y="17"/>
                </a:cxn>
                <a:cxn ang="0">
                  <a:pos x="12" y="37"/>
                </a:cxn>
                <a:cxn ang="0">
                  <a:pos x="14" y="39"/>
                </a:cxn>
                <a:cxn ang="0">
                  <a:pos x="21" y="48"/>
                </a:cxn>
                <a:cxn ang="0">
                  <a:pos x="51" y="63"/>
                </a:cxn>
                <a:cxn ang="0">
                  <a:pos x="19" y="63"/>
                </a:cxn>
                <a:cxn ang="0">
                  <a:pos x="36" y="40"/>
                </a:cxn>
                <a:cxn ang="0">
                  <a:pos x="27" y="29"/>
                </a:cxn>
                <a:cxn ang="0">
                  <a:pos x="52" y="12"/>
                </a:cxn>
                <a:cxn ang="0">
                  <a:pos x="27" y="0"/>
                </a:cxn>
                <a:cxn ang="0">
                  <a:pos x="15" y="5"/>
                </a:cxn>
                <a:cxn ang="0">
                  <a:pos x="24" y="45"/>
                </a:cxn>
                <a:cxn ang="0">
                  <a:pos x="52" y="59"/>
                </a:cxn>
                <a:cxn ang="0">
                  <a:pos x="64" y="54"/>
                </a:cxn>
                <a:cxn ang="0">
                  <a:pos x="59" y="19"/>
                </a:cxn>
                <a:cxn ang="0">
                  <a:pos x="36" y="40"/>
                </a:cxn>
                <a:cxn ang="0">
                  <a:pos x="33" y="30"/>
                </a:cxn>
                <a:cxn ang="0">
                  <a:pos x="37" y="35"/>
                </a:cxn>
                <a:cxn ang="0">
                  <a:pos x="63" y="9"/>
                </a:cxn>
                <a:cxn ang="0">
                  <a:pos x="33" y="30"/>
                </a:cxn>
              </a:cxnLst>
              <a:rect l="0" t="0" r="r" b="b"/>
              <a:pathLst>
                <a:path w="72" h="100">
                  <a:moveTo>
                    <a:pt x="19" y="63"/>
                  </a:moveTo>
                  <a:cubicBezTo>
                    <a:pt x="26" y="100"/>
                    <a:pt x="26" y="100"/>
                    <a:pt x="26" y="10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1" y="45"/>
                    <a:pt x="0" y="30"/>
                    <a:pt x="6" y="17"/>
                  </a:cubicBezTo>
                  <a:cubicBezTo>
                    <a:pt x="6" y="23"/>
                    <a:pt x="8" y="30"/>
                    <a:pt x="12" y="37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6" y="42"/>
                    <a:pt x="18" y="45"/>
                    <a:pt x="21" y="48"/>
                  </a:cubicBezTo>
                  <a:cubicBezTo>
                    <a:pt x="30" y="57"/>
                    <a:pt x="41" y="62"/>
                    <a:pt x="51" y="63"/>
                  </a:cubicBezTo>
                  <a:cubicBezTo>
                    <a:pt x="40" y="68"/>
                    <a:pt x="28" y="68"/>
                    <a:pt x="19" y="63"/>
                  </a:cubicBezTo>
                  <a:close/>
                  <a:moveTo>
                    <a:pt x="36" y="40"/>
                  </a:moveTo>
                  <a:cubicBezTo>
                    <a:pt x="27" y="29"/>
                    <a:pt x="27" y="29"/>
                    <a:pt x="27" y="29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4" y="4"/>
                    <a:pt x="35" y="0"/>
                    <a:pt x="27" y="0"/>
                  </a:cubicBezTo>
                  <a:cubicBezTo>
                    <a:pt x="22" y="0"/>
                    <a:pt x="18" y="2"/>
                    <a:pt x="15" y="5"/>
                  </a:cubicBezTo>
                  <a:cubicBezTo>
                    <a:pt x="6" y="13"/>
                    <a:pt x="10" y="31"/>
                    <a:pt x="24" y="45"/>
                  </a:cubicBezTo>
                  <a:cubicBezTo>
                    <a:pt x="33" y="54"/>
                    <a:pt x="43" y="59"/>
                    <a:pt x="52" y="59"/>
                  </a:cubicBezTo>
                  <a:cubicBezTo>
                    <a:pt x="57" y="59"/>
                    <a:pt x="61" y="57"/>
                    <a:pt x="64" y="54"/>
                  </a:cubicBezTo>
                  <a:cubicBezTo>
                    <a:pt x="72" y="46"/>
                    <a:pt x="69" y="31"/>
                    <a:pt x="59" y="19"/>
                  </a:cubicBezTo>
                  <a:lnTo>
                    <a:pt x="36" y="40"/>
                  </a:lnTo>
                  <a:close/>
                  <a:moveTo>
                    <a:pt x="33" y="30"/>
                  </a:moveTo>
                  <a:cubicBezTo>
                    <a:pt x="37" y="35"/>
                    <a:pt x="37" y="35"/>
                    <a:pt x="37" y="35"/>
                  </a:cubicBezTo>
                  <a:cubicBezTo>
                    <a:pt x="63" y="9"/>
                    <a:pt x="63" y="9"/>
                    <a:pt x="63" y="9"/>
                  </a:cubicBezTo>
                  <a:lnTo>
                    <a:pt x="33" y="30"/>
                  </a:ln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1" name="Freeform 50"/>
            <p:cNvSpPr>
              <a:spLocks noChangeAspect="1" noEditPoints="1"/>
            </p:cNvSpPr>
            <p:nvPr/>
          </p:nvSpPr>
          <p:spPr bwMode="gray">
            <a:xfrm>
              <a:off x="5983271" y="5437002"/>
              <a:ext cx="222436" cy="284400"/>
            </a:xfrm>
            <a:custGeom>
              <a:avLst/>
              <a:gdLst/>
              <a:ahLst/>
              <a:cxnLst>
                <a:cxn ang="0">
                  <a:pos x="7" y="19"/>
                </a:cxn>
                <a:cxn ang="0">
                  <a:pos x="19" y="6"/>
                </a:cxn>
                <a:cxn ang="0">
                  <a:pos x="19" y="3"/>
                </a:cxn>
                <a:cxn ang="0">
                  <a:pos x="18" y="1"/>
                </a:cxn>
                <a:cxn ang="0">
                  <a:pos x="14" y="1"/>
                </a:cxn>
                <a:cxn ang="0">
                  <a:pos x="1" y="14"/>
                </a:cxn>
                <a:cxn ang="0">
                  <a:pos x="1" y="18"/>
                </a:cxn>
                <a:cxn ang="0">
                  <a:pos x="3" y="20"/>
                </a:cxn>
                <a:cxn ang="0">
                  <a:pos x="7" y="19"/>
                </a:cxn>
                <a:cxn ang="0">
                  <a:pos x="74" y="0"/>
                </a:cxn>
                <a:cxn ang="0">
                  <a:pos x="35" y="0"/>
                </a:cxn>
                <a:cxn ang="0">
                  <a:pos x="29" y="3"/>
                </a:cxn>
                <a:cxn ang="0">
                  <a:pos x="6" y="26"/>
                </a:cxn>
                <a:cxn ang="0">
                  <a:pos x="4" y="32"/>
                </a:cxn>
                <a:cxn ang="0">
                  <a:pos x="4" y="96"/>
                </a:cxn>
                <a:cxn ang="0">
                  <a:pos x="7" y="100"/>
                </a:cxn>
                <a:cxn ang="0">
                  <a:pos x="74" y="100"/>
                </a:cxn>
                <a:cxn ang="0">
                  <a:pos x="78" y="96"/>
                </a:cxn>
                <a:cxn ang="0">
                  <a:pos x="78" y="4"/>
                </a:cxn>
                <a:cxn ang="0">
                  <a:pos x="74" y="0"/>
                </a:cxn>
                <a:cxn ang="0">
                  <a:pos x="41" y="82"/>
                </a:cxn>
                <a:cxn ang="0">
                  <a:pos x="30" y="70"/>
                </a:cxn>
                <a:cxn ang="0">
                  <a:pos x="30" y="66"/>
                </a:cxn>
                <a:cxn ang="0">
                  <a:pos x="30" y="66"/>
                </a:cxn>
                <a:cxn ang="0">
                  <a:pos x="33" y="58"/>
                </a:cxn>
                <a:cxn ang="0">
                  <a:pos x="41" y="44"/>
                </a:cxn>
                <a:cxn ang="0">
                  <a:pos x="50" y="58"/>
                </a:cxn>
                <a:cxn ang="0">
                  <a:pos x="53" y="66"/>
                </a:cxn>
                <a:cxn ang="0">
                  <a:pos x="53" y="66"/>
                </a:cxn>
                <a:cxn ang="0">
                  <a:pos x="53" y="70"/>
                </a:cxn>
                <a:cxn ang="0">
                  <a:pos x="41" y="82"/>
                </a:cxn>
                <a:cxn ang="0">
                  <a:pos x="69" y="17"/>
                </a:cxn>
                <a:cxn ang="0">
                  <a:pos x="66" y="20"/>
                </a:cxn>
                <a:cxn ang="0">
                  <a:pos x="40" y="20"/>
                </a:cxn>
                <a:cxn ang="0">
                  <a:pos x="37" y="17"/>
                </a:cxn>
                <a:cxn ang="0">
                  <a:pos x="37" y="12"/>
                </a:cxn>
                <a:cxn ang="0">
                  <a:pos x="40" y="9"/>
                </a:cxn>
                <a:cxn ang="0">
                  <a:pos x="66" y="9"/>
                </a:cxn>
                <a:cxn ang="0">
                  <a:pos x="69" y="12"/>
                </a:cxn>
                <a:cxn ang="0">
                  <a:pos x="69" y="17"/>
                </a:cxn>
                <a:cxn ang="0">
                  <a:pos x="47" y="64"/>
                </a:cxn>
                <a:cxn ang="0">
                  <a:pos x="44" y="70"/>
                </a:cxn>
                <a:cxn ang="0">
                  <a:pos x="47" y="75"/>
                </a:cxn>
                <a:cxn ang="0">
                  <a:pos x="50" y="70"/>
                </a:cxn>
                <a:cxn ang="0">
                  <a:pos x="47" y="64"/>
                </a:cxn>
              </a:cxnLst>
              <a:rect l="0" t="0" r="r" b="b"/>
              <a:pathLst>
                <a:path w="78" h="100">
                  <a:moveTo>
                    <a:pt x="7" y="19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21" y="5"/>
                    <a:pt x="21" y="4"/>
                    <a:pt x="19" y="3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5" y="0"/>
                    <a:pt x="14" y="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5"/>
                    <a:pt x="0" y="17"/>
                    <a:pt x="1" y="18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4" y="21"/>
                    <a:pt x="6" y="21"/>
                    <a:pt x="7" y="19"/>
                  </a:cubicBezTo>
                  <a:close/>
                  <a:moveTo>
                    <a:pt x="74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3" y="0"/>
                    <a:pt x="30" y="2"/>
                    <a:pt x="29" y="3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5" y="27"/>
                    <a:pt x="4" y="30"/>
                    <a:pt x="4" y="32"/>
                  </a:cubicBezTo>
                  <a:cubicBezTo>
                    <a:pt x="4" y="96"/>
                    <a:pt x="4" y="96"/>
                    <a:pt x="4" y="96"/>
                  </a:cubicBezTo>
                  <a:cubicBezTo>
                    <a:pt x="4" y="98"/>
                    <a:pt x="5" y="100"/>
                    <a:pt x="7" y="100"/>
                  </a:cubicBezTo>
                  <a:cubicBezTo>
                    <a:pt x="74" y="100"/>
                    <a:pt x="74" y="100"/>
                    <a:pt x="74" y="100"/>
                  </a:cubicBezTo>
                  <a:cubicBezTo>
                    <a:pt x="76" y="100"/>
                    <a:pt x="78" y="98"/>
                    <a:pt x="78" y="96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2"/>
                    <a:pt x="76" y="0"/>
                    <a:pt x="74" y="0"/>
                  </a:cubicBezTo>
                  <a:close/>
                  <a:moveTo>
                    <a:pt x="41" y="82"/>
                  </a:moveTo>
                  <a:cubicBezTo>
                    <a:pt x="35" y="82"/>
                    <a:pt x="30" y="76"/>
                    <a:pt x="30" y="70"/>
                  </a:cubicBezTo>
                  <a:cubicBezTo>
                    <a:pt x="30" y="68"/>
                    <a:pt x="30" y="67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1" y="63"/>
                    <a:pt x="32" y="61"/>
                    <a:pt x="33" y="58"/>
                  </a:cubicBezTo>
                  <a:cubicBezTo>
                    <a:pt x="36" y="52"/>
                    <a:pt x="39" y="47"/>
                    <a:pt x="41" y="44"/>
                  </a:cubicBezTo>
                  <a:cubicBezTo>
                    <a:pt x="44" y="47"/>
                    <a:pt x="47" y="52"/>
                    <a:pt x="50" y="58"/>
                  </a:cubicBezTo>
                  <a:cubicBezTo>
                    <a:pt x="51" y="61"/>
                    <a:pt x="52" y="63"/>
                    <a:pt x="53" y="66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7"/>
                    <a:pt x="53" y="68"/>
                    <a:pt x="53" y="70"/>
                  </a:cubicBezTo>
                  <a:cubicBezTo>
                    <a:pt x="53" y="76"/>
                    <a:pt x="48" y="82"/>
                    <a:pt x="41" y="82"/>
                  </a:cubicBezTo>
                  <a:close/>
                  <a:moveTo>
                    <a:pt x="69" y="17"/>
                  </a:moveTo>
                  <a:cubicBezTo>
                    <a:pt x="69" y="19"/>
                    <a:pt x="68" y="20"/>
                    <a:pt x="66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38" y="20"/>
                    <a:pt x="37" y="19"/>
                    <a:pt x="37" y="17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0"/>
                    <a:pt x="38" y="9"/>
                    <a:pt x="40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8" y="9"/>
                    <a:pt x="69" y="10"/>
                    <a:pt x="69" y="12"/>
                  </a:cubicBezTo>
                  <a:lnTo>
                    <a:pt x="69" y="17"/>
                  </a:lnTo>
                  <a:close/>
                  <a:moveTo>
                    <a:pt x="47" y="64"/>
                  </a:moveTo>
                  <a:cubicBezTo>
                    <a:pt x="46" y="64"/>
                    <a:pt x="44" y="67"/>
                    <a:pt x="44" y="70"/>
                  </a:cubicBezTo>
                  <a:cubicBezTo>
                    <a:pt x="44" y="73"/>
                    <a:pt x="46" y="75"/>
                    <a:pt x="47" y="75"/>
                  </a:cubicBezTo>
                  <a:cubicBezTo>
                    <a:pt x="49" y="75"/>
                    <a:pt x="50" y="73"/>
                    <a:pt x="50" y="70"/>
                  </a:cubicBezTo>
                  <a:cubicBezTo>
                    <a:pt x="50" y="67"/>
                    <a:pt x="49" y="64"/>
                    <a:pt x="47" y="64"/>
                  </a:cubicBez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2" name="Freeform 54"/>
            <p:cNvSpPr>
              <a:spLocks noChangeAspect="1" noEditPoints="1"/>
            </p:cNvSpPr>
            <p:nvPr/>
          </p:nvSpPr>
          <p:spPr bwMode="gray">
            <a:xfrm>
              <a:off x="6475404" y="5437002"/>
              <a:ext cx="267189" cy="284400"/>
            </a:xfrm>
            <a:custGeom>
              <a:avLst/>
              <a:gdLst/>
              <a:ahLst/>
              <a:cxnLst>
                <a:cxn ang="0">
                  <a:pos x="91" y="40"/>
                </a:cxn>
                <a:cxn ang="0">
                  <a:pos x="91" y="23"/>
                </a:cxn>
                <a:cxn ang="0">
                  <a:pos x="67" y="0"/>
                </a:cxn>
                <a:cxn ang="0">
                  <a:pos x="65" y="3"/>
                </a:cxn>
                <a:cxn ang="0">
                  <a:pos x="78" y="16"/>
                </a:cxn>
                <a:cxn ang="0">
                  <a:pos x="79" y="30"/>
                </a:cxn>
                <a:cxn ang="0">
                  <a:pos x="85" y="39"/>
                </a:cxn>
                <a:cxn ang="0">
                  <a:pos x="85" y="74"/>
                </a:cxn>
                <a:cxn ang="0">
                  <a:pos x="72" y="74"/>
                </a:cxn>
                <a:cxn ang="0">
                  <a:pos x="72" y="44"/>
                </a:cxn>
                <a:cxn ang="0">
                  <a:pos x="62" y="34"/>
                </a:cxn>
                <a:cxn ang="0">
                  <a:pos x="62" y="11"/>
                </a:cxn>
                <a:cxn ang="0">
                  <a:pos x="53" y="2"/>
                </a:cxn>
                <a:cxn ang="0">
                  <a:pos x="15" y="2"/>
                </a:cxn>
                <a:cxn ang="0">
                  <a:pos x="6" y="11"/>
                </a:cxn>
                <a:cxn ang="0">
                  <a:pos x="6" y="87"/>
                </a:cxn>
                <a:cxn ang="0">
                  <a:pos x="0" y="87"/>
                </a:cxn>
                <a:cxn ang="0">
                  <a:pos x="0" y="97"/>
                </a:cxn>
                <a:cxn ang="0">
                  <a:pos x="68" y="97"/>
                </a:cxn>
                <a:cxn ang="0">
                  <a:pos x="68" y="87"/>
                </a:cxn>
                <a:cxn ang="0">
                  <a:pos x="62" y="87"/>
                </a:cxn>
                <a:cxn ang="0">
                  <a:pos x="62" y="40"/>
                </a:cxn>
                <a:cxn ang="0">
                  <a:pos x="67" y="46"/>
                </a:cxn>
                <a:cxn ang="0">
                  <a:pos x="67" y="74"/>
                </a:cxn>
                <a:cxn ang="0">
                  <a:pos x="79" y="82"/>
                </a:cxn>
                <a:cxn ang="0">
                  <a:pos x="91" y="73"/>
                </a:cxn>
                <a:cxn ang="0">
                  <a:pos x="91" y="40"/>
                </a:cxn>
                <a:cxn ang="0">
                  <a:pos x="53" y="42"/>
                </a:cxn>
                <a:cxn ang="0">
                  <a:pos x="50" y="45"/>
                </a:cxn>
                <a:cxn ang="0">
                  <a:pos x="19" y="45"/>
                </a:cxn>
                <a:cxn ang="0">
                  <a:pos x="15" y="42"/>
                </a:cxn>
                <a:cxn ang="0">
                  <a:pos x="15" y="13"/>
                </a:cxn>
                <a:cxn ang="0">
                  <a:pos x="19" y="9"/>
                </a:cxn>
                <a:cxn ang="0">
                  <a:pos x="50" y="9"/>
                </a:cxn>
                <a:cxn ang="0">
                  <a:pos x="53" y="13"/>
                </a:cxn>
                <a:cxn ang="0">
                  <a:pos x="53" y="42"/>
                </a:cxn>
                <a:cxn ang="0">
                  <a:pos x="26" y="21"/>
                </a:cxn>
                <a:cxn ang="0">
                  <a:pos x="24" y="21"/>
                </a:cxn>
                <a:cxn ang="0">
                  <a:pos x="23" y="22"/>
                </a:cxn>
                <a:cxn ang="0">
                  <a:pos x="23" y="27"/>
                </a:cxn>
                <a:cxn ang="0">
                  <a:pos x="24" y="29"/>
                </a:cxn>
                <a:cxn ang="0">
                  <a:pos x="26" y="29"/>
                </a:cxn>
                <a:cxn ang="0">
                  <a:pos x="27" y="27"/>
                </a:cxn>
                <a:cxn ang="0">
                  <a:pos x="27" y="22"/>
                </a:cxn>
                <a:cxn ang="0">
                  <a:pos x="26" y="21"/>
                </a:cxn>
                <a:cxn ang="0">
                  <a:pos x="35" y="21"/>
                </a:cxn>
                <a:cxn ang="0">
                  <a:pos x="33" y="21"/>
                </a:cxn>
                <a:cxn ang="0">
                  <a:pos x="32" y="22"/>
                </a:cxn>
                <a:cxn ang="0">
                  <a:pos x="32" y="27"/>
                </a:cxn>
                <a:cxn ang="0">
                  <a:pos x="33" y="29"/>
                </a:cxn>
                <a:cxn ang="0">
                  <a:pos x="35" y="29"/>
                </a:cxn>
                <a:cxn ang="0">
                  <a:pos x="36" y="27"/>
                </a:cxn>
                <a:cxn ang="0">
                  <a:pos x="36" y="22"/>
                </a:cxn>
                <a:cxn ang="0">
                  <a:pos x="35" y="21"/>
                </a:cxn>
                <a:cxn ang="0">
                  <a:pos x="44" y="21"/>
                </a:cxn>
                <a:cxn ang="0">
                  <a:pos x="42" y="21"/>
                </a:cxn>
                <a:cxn ang="0">
                  <a:pos x="41" y="22"/>
                </a:cxn>
                <a:cxn ang="0">
                  <a:pos x="41" y="27"/>
                </a:cxn>
                <a:cxn ang="0">
                  <a:pos x="42" y="29"/>
                </a:cxn>
                <a:cxn ang="0">
                  <a:pos x="44" y="29"/>
                </a:cxn>
                <a:cxn ang="0">
                  <a:pos x="45" y="27"/>
                </a:cxn>
                <a:cxn ang="0">
                  <a:pos x="45" y="22"/>
                </a:cxn>
                <a:cxn ang="0">
                  <a:pos x="44" y="21"/>
                </a:cxn>
              </a:cxnLst>
              <a:rect l="0" t="0" r="r" b="b"/>
              <a:pathLst>
                <a:path w="91" h="97">
                  <a:moveTo>
                    <a:pt x="91" y="40"/>
                  </a:moveTo>
                  <a:cubicBezTo>
                    <a:pt x="91" y="23"/>
                    <a:pt x="91" y="23"/>
                    <a:pt x="91" y="23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85" y="37"/>
                    <a:pt x="85" y="39"/>
                  </a:cubicBezTo>
                  <a:cubicBezTo>
                    <a:pt x="85" y="41"/>
                    <a:pt x="85" y="70"/>
                    <a:pt x="85" y="74"/>
                  </a:cubicBezTo>
                  <a:cubicBezTo>
                    <a:pt x="85" y="78"/>
                    <a:pt x="72" y="78"/>
                    <a:pt x="72" y="74"/>
                  </a:cubicBezTo>
                  <a:cubicBezTo>
                    <a:pt x="72" y="74"/>
                    <a:pt x="72" y="56"/>
                    <a:pt x="72" y="44"/>
                  </a:cubicBezTo>
                  <a:cubicBezTo>
                    <a:pt x="72" y="41"/>
                    <a:pt x="70" y="34"/>
                    <a:pt x="62" y="34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62" y="6"/>
                    <a:pt x="58" y="2"/>
                    <a:pt x="53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1" y="2"/>
                    <a:pt x="6" y="6"/>
                    <a:pt x="6" y="11"/>
                  </a:cubicBezTo>
                  <a:cubicBezTo>
                    <a:pt x="6" y="87"/>
                    <a:pt x="6" y="87"/>
                    <a:pt x="6" y="8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87"/>
                    <a:pt x="68" y="87"/>
                    <a:pt x="68" y="87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3" y="40"/>
                    <a:pt x="67" y="41"/>
                    <a:pt x="67" y="46"/>
                  </a:cubicBezTo>
                  <a:cubicBezTo>
                    <a:pt x="67" y="46"/>
                    <a:pt x="67" y="69"/>
                    <a:pt x="67" y="74"/>
                  </a:cubicBezTo>
                  <a:cubicBezTo>
                    <a:pt x="67" y="76"/>
                    <a:pt x="68" y="82"/>
                    <a:pt x="79" y="82"/>
                  </a:cubicBezTo>
                  <a:cubicBezTo>
                    <a:pt x="91" y="82"/>
                    <a:pt x="91" y="73"/>
                    <a:pt x="91" y="73"/>
                  </a:cubicBezTo>
                  <a:lnTo>
                    <a:pt x="91" y="40"/>
                  </a:lnTo>
                  <a:close/>
                  <a:moveTo>
                    <a:pt x="53" y="42"/>
                  </a:moveTo>
                  <a:cubicBezTo>
                    <a:pt x="53" y="44"/>
                    <a:pt x="52" y="45"/>
                    <a:pt x="50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17" y="45"/>
                    <a:pt x="15" y="44"/>
                    <a:pt x="15" y="4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1"/>
                    <a:pt x="17" y="9"/>
                    <a:pt x="19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2" y="9"/>
                    <a:pt x="53" y="11"/>
                    <a:pt x="53" y="13"/>
                  </a:cubicBezTo>
                  <a:lnTo>
                    <a:pt x="53" y="42"/>
                  </a:lnTo>
                  <a:close/>
                  <a:moveTo>
                    <a:pt x="26" y="21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3" y="21"/>
                    <a:pt x="23" y="22"/>
                    <a:pt x="23" y="22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28"/>
                    <a:pt x="23" y="29"/>
                    <a:pt x="24" y="2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7" y="29"/>
                    <a:pt x="27" y="28"/>
                    <a:pt x="27" y="27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1"/>
                    <a:pt x="26" y="21"/>
                  </a:cubicBezTo>
                  <a:close/>
                  <a:moveTo>
                    <a:pt x="35" y="21"/>
                  </a:moveTo>
                  <a:cubicBezTo>
                    <a:pt x="33" y="21"/>
                    <a:pt x="33" y="21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8"/>
                    <a:pt x="32" y="29"/>
                    <a:pt x="33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6" y="29"/>
                    <a:pt x="36" y="28"/>
                    <a:pt x="36" y="27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1"/>
                    <a:pt x="35" y="21"/>
                  </a:cubicBezTo>
                  <a:close/>
                  <a:moveTo>
                    <a:pt x="44" y="21"/>
                  </a:moveTo>
                  <a:cubicBezTo>
                    <a:pt x="42" y="21"/>
                    <a:pt x="42" y="21"/>
                    <a:pt x="42" y="21"/>
                  </a:cubicBezTo>
                  <a:cubicBezTo>
                    <a:pt x="41" y="21"/>
                    <a:pt x="41" y="22"/>
                    <a:pt x="41" y="22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8"/>
                    <a:pt x="41" y="29"/>
                    <a:pt x="42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5" y="29"/>
                    <a:pt x="45" y="28"/>
                    <a:pt x="45" y="27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1"/>
                    <a:pt x="44" y="21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73" name="Group 272"/>
            <p:cNvGrpSpPr>
              <a:grpSpLocks noChangeAspect="1"/>
            </p:cNvGrpSpPr>
            <p:nvPr/>
          </p:nvGrpSpPr>
          <p:grpSpPr bwMode="gray">
            <a:xfrm>
              <a:off x="7019280" y="5437002"/>
              <a:ext cx="169210" cy="284400"/>
              <a:chOff x="4233863" y="3643313"/>
              <a:chExt cx="676275" cy="1136651"/>
            </a:xfrm>
          </p:grpSpPr>
          <p:sp>
            <p:nvSpPr>
              <p:cNvPr id="274" name="Freeform 58"/>
              <p:cNvSpPr>
                <a:spLocks/>
              </p:cNvSpPr>
              <p:nvPr/>
            </p:nvSpPr>
            <p:spPr bwMode="gray">
              <a:xfrm>
                <a:off x="4233863" y="4110038"/>
                <a:ext cx="676275" cy="317500"/>
              </a:xfrm>
              <a:custGeom>
                <a:avLst/>
                <a:gdLst/>
                <a:ahLst/>
                <a:cxnLst>
                  <a:cxn ang="0">
                    <a:pos x="30" y="28"/>
                  </a:cxn>
                  <a:cxn ang="0">
                    <a:pos x="50" y="25"/>
                  </a:cxn>
                  <a:cxn ang="0">
                    <a:pos x="57" y="21"/>
                  </a:cxn>
                  <a:cxn ang="0">
                    <a:pos x="59" y="18"/>
                  </a:cxn>
                  <a:cxn ang="0">
                    <a:pos x="57" y="14"/>
                  </a:cxn>
                  <a:cxn ang="0">
                    <a:pos x="57" y="0"/>
                  </a:cxn>
                  <a:cxn ang="0">
                    <a:pos x="51" y="3"/>
                  </a:cxn>
                  <a:cxn ang="0">
                    <a:pos x="30" y="6"/>
                  </a:cxn>
                  <a:cxn ang="0">
                    <a:pos x="8" y="3"/>
                  </a:cxn>
                  <a:cxn ang="0">
                    <a:pos x="3" y="0"/>
                  </a:cxn>
                  <a:cxn ang="0">
                    <a:pos x="3" y="14"/>
                  </a:cxn>
                  <a:cxn ang="0">
                    <a:pos x="0" y="18"/>
                  </a:cxn>
                  <a:cxn ang="0">
                    <a:pos x="3" y="22"/>
                  </a:cxn>
                  <a:cxn ang="0">
                    <a:pos x="9" y="25"/>
                  </a:cxn>
                  <a:cxn ang="0">
                    <a:pos x="30" y="28"/>
                  </a:cxn>
                </a:cxnLst>
                <a:rect l="0" t="0" r="r" b="b"/>
                <a:pathLst>
                  <a:path w="59" h="28">
                    <a:moveTo>
                      <a:pt x="30" y="28"/>
                    </a:moveTo>
                    <a:cubicBezTo>
                      <a:pt x="38" y="28"/>
                      <a:pt x="45" y="27"/>
                      <a:pt x="50" y="25"/>
                    </a:cubicBezTo>
                    <a:cubicBezTo>
                      <a:pt x="53" y="24"/>
                      <a:pt x="56" y="22"/>
                      <a:pt x="57" y="21"/>
                    </a:cubicBezTo>
                    <a:cubicBezTo>
                      <a:pt x="58" y="20"/>
                      <a:pt x="59" y="19"/>
                      <a:pt x="59" y="18"/>
                    </a:cubicBezTo>
                    <a:cubicBezTo>
                      <a:pt x="59" y="17"/>
                      <a:pt x="58" y="15"/>
                      <a:pt x="57" y="14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7" y="0"/>
                      <a:pt x="53" y="2"/>
                      <a:pt x="51" y="3"/>
                    </a:cubicBezTo>
                    <a:cubicBezTo>
                      <a:pt x="45" y="5"/>
                      <a:pt x="38" y="6"/>
                      <a:pt x="30" y="6"/>
                    </a:cubicBezTo>
                    <a:cubicBezTo>
                      <a:pt x="21" y="6"/>
                      <a:pt x="14" y="5"/>
                      <a:pt x="8" y="3"/>
                    </a:cubicBezTo>
                    <a:cubicBezTo>
                      <a:pt x="6" y="2"/>
                      <a:pt x="4" y="1"/>
                      <a:pt x="3" y="0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1" y="15"/>
                      <a:pt x="0" y="17"/>
                      <a:pt x="0" y="18"/>
                    </a:cubicBezTo>
                    <a:cubicBezTo>
                      <a:pt x="0" y="19"/>
                      <a:pt x="2" y="21"/>
                      <a:pt x="3" y="22"/>
                    </a:cubicBezTo>
                    <a:cubicBezTo>
                      <a:pt x="4" y="23"/>
                      <a:pt x="6" y="24"/>
                      <a:pt x="9" y="25"/>
                    </a:cubicBezTo>
                    <a:cubicBezTo>
                      <a:pt x="14" y="27"/>
                      <a:pt x="21" y="28"/>
                      <a:pt x="30" y="28"/>
                    </a:cubicBez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75" name="Freeform 59"/>
              <p:cNvSpPr>
                <a:spLocks noEditPoints="1"/>
              </p:cNvSpPr>
              <p:nvPr/>
            </p:nvSpPr>
            <p:spPr bwMode="gray">
              <a:xfrm>
                <a:off x="4233863" y="3643313"/>
                <a:ext cx="676275" cy="500063"/>
              </a:xfrm>
              <a:custGeom>
                <a:avLst/>
                <a:gdLst/>
                <a:ahLst/>
                <a:cxnLst>
                  <a:cxn ang="0">
                    <a:pos x="50" y="41"/>
                  </a:cxn>
                  <a:cxn ang="0">
                    <a:pos x="59" y="34"/>
                  </a:cxn>
                  <a:cxn ang="0">
                    <a:pos x="57" y="16"/>
                  </a:cxn>
                  <a:cxn ang="0">
                    <a:pos x="30" y="0"/>
                  </a:cxn>
                  <a:cxn ang="0">
                    <a:pos x="3" y="16"/>
                  </a:cxn>
                  <a:cxn ang="0">
                    <a:pos x="0" y="34"/>
                  </a:cxn>
                  <a:cxn ang="0">
                    <a:pos x="3" y="37"/>
                  </a:cxn>
                  <a:cxn ang="0">
                    <a:pos x="30" y="44"/>
                  </a:cxn>
                  <a:cxn ang="0">
                    <a:pos x="7" y="13"/>
                  </a:cxn>
                  <a:cxn ang="0">
                    <a:pos x="6" y="13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30" y="3"/>
                  </a:cxn>
                  <a:cxn ang="0">
                    <a:pos x="54" y="12"/>
                  </a:cxn>
                  <a:cxn ang="0">
                    <a:pos x="54" y="12"/>
                  </a:cxn>
                  <a:cxn ang="0">
                    <a:pos x="53" y="13"/>
                  </a:cxn>
                  <a:cxn ang="0">
                    <a:pos x="52" y="13"/>
                  </a:cxn>
                  <a:cxn ang="0">
                    <a:pos x="51" y="14"/>
                  </a:cxn>
                  <a:cxn ang="0">
                    <a:pos x="46" y="16"/>
                  </a:cxn>
                  <a:cxn ang="0">
                    <a:pos x="44" y="16"/>
                  </a:cxn>
                  <a:cxn ang="0">
                    <a:pos x="42" y="17"/>
                  </a:cxn>
                  <a:cxn ang="0">
                    <a:pos x="40" y="17"/>
                  </a:cxn>
                  <a:cxn ang="0">
                    <a:pos x="38" y="17"/>
                  </a:cxn>
                  <a:cxn ang="0">
                    <a:pos x="35" y="17"/>
                  </a:cxn>
                  <a:cxn ang="0">
                    <a:pos x="33" y="18"/>
                  </a:cxn>
                  <a:cxn ang="0">
                    <a:pos x="30" y="18"/>
                  </a:cxn>
                  <a:cxn ang="0">
                    <a:pos x="26" y="18"/>
                  </a:cxn>
                  <a:cxn ang="0">
                    <a:pos x="24" y="17"/>
                  </a:cxn>
                  <a:cxn ang="0">
                    <a:pos x="22" y="17"/>
                  </a:cxn>
                  <a:cxn ang="0">
                    <a:pos x="19" y="17"/>
                  </a:cxn>
                  <a:cxn ang="0">
                    <a:pos x="17" y="17"/>
                  </a:cxn>
                  <a:cxn ang="0">
                    <a:pos x="15" y="16"/>
                  </a:cxn>
                  <a:cxn ang="0">
                    <a:pos x="13" y="16"/>
                  </a:cxn>
                  <a:cxn ang="0">
                    <a:pos x="8" y="14"/>
                  </a:cxn>
                </a:cxnLst>
                <a:rect l="0" t="0" r="r" b="b"/>
                <a:pathLst>
                  <a:path w="59" h="44">
                    <a:moveTo>
                      <a:pt x="30" y="44"/>
                    </a:moveTo>
                    <a:cubicBezTo>
                      <a:pt x="38" y="44"/>
                      <a:pt x="45" y="43"/>
                      <a:pt x="50" y="41"/>
                    </a:cubicBezTo>
                    <a:cubicBezTo>
                      <a:pt x="53" y="40"/>
                      <a:pt x="57" y="37"/>
                      <a:pt x="57" y="37"/>
                    </a:cubicBezTo>
                    <a:cubicBezTo>
                      <a:pt x="58" y="36"/>
                      <a:pt x="59" y="35"/>
                      <a:pt x="59" y="34"/>
                    </a:cubicBezTo>
                    <a:cubicBezTo>
                      <a:pt x="59" y="32"/>
                      <a:pt x="58" y="31"/>
                      <a:pt x="57" y="30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58" y="15"/>
                      <a:pt x="59" y="13"/>
                      <a:pt x="59" y="12"/>
                    </a:cubicBezTo>
                    <a:cubicBezTo>
                      <a:pt x="59" y="5"/>
                      <a:pt x="46" y="0"/>
                      <a:pt x="30" y="0"/>
                    </a:cubicBezTo>
                    <a:cubicBezTo>
                      <a:pt x="13" y="0"/>
                      <a:pt x="0" y="5"/>
                      <a:pt x="0" y="12"/>
                    </a:cubicBezTo>
                    <a:cubicBezTo>
                      <a:pt x="0" y="13"/>
                      <a:pt x="1" y="15"/>
                      <a:pt x="3" y="16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1" y="31"/>
                      <a:pt x="0" y="32"/>
                      <a:pt x="0" y="34"/>
                    </a:cubicBezTo>
                    <a:cubicBezTo>
                      <a:pt x="0" y="35"/>
                      <a:pt x="1" y="36"/>
                      <a:pt x="3" y="37"/>
                    </a:cubicBezTo>
                    <a:cubicBezTo>
                      <a:pt x="3" y="37"/>
                      <a:pt x="3" y="37"/>
                      <a:pt x="3" y="37"/>
                    </a:cubicBezTo>
                    <a:cubicBezTo>
                      <a:pt x="4" y="39"/>
                      <a:pt x="6" y="40"/>
                      <a:pt x="9" y="41"/>
                    </a:cubicBezTo>
                    <a:cubicBezTo>
                      <a:pt x="14" y="43"/>
                      <a:pt x="21" y="44"/>
                      <a:pt x="30" y="44"/>
                    </a:cubicBezTo>
                    <a:close/>
                    <a:moveTo>
                      <a:pt x="8" y="14"/>
                    </a:moveTo>
                    <a:cubicBezTo>
                      <a:pt x="8" y="14"/>
                      <a:pt x="7" y="14"/>
                      <a:pt x="7" y="1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13"/>
                      <a:pt x="6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2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1"/>
                      <a:pt x="5" y="10"/>
                    </a:cubicBezTo>
                    <a:cubicBezTo>
                      <a:pt x="5" y="6"/>
                      <a:pt x="16" y="3"/>
                      <a:pt x="30" y="3"/>
                    </a:cubicBezTo>
                    <a:cubicBezTo>
                      <a:pt x="43" y="3"/>
                      <a:pt x="55" y="6"/>
                      <a:pt x="55" y="10"/>
                    </a:cubicBezTo>
                    <a:cubicBezTo>
                      <a:pt x="55" y="11"/>
                      <a:pt x="54" y="11"/>
                      <a:pt x="54" y="12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54" y="12"/>
                      <a:pt x="53" y="13"/>
                      <a:pt x="53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3" y="13"/>
                      <a:pt x="53" y="13"/>
                      <a:pt x="52" y="13"/>
                    </a:cubicBezTo>
                    <a:cubicBezTo>
                      <a:pt x="52" y="13"/>
                      <a:pt x="52" y="13"/>
                      <a:pt x="52" y="13"/>
                    </a:cubicBezTo>
                    <a:cubicBezTo>
                      <a:pt x="52" y="14"/>
                      <a:pt x="52" y="14"/>
                      <a:pt x="51" y="14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0" y="15"/>
                      <a:pt x="48" y="15"/>
                      <a:pt x="46" y="16"/>
                    </a:cubicBezTo>
                    <a:cubicBezTo>
                      <a:pt x="46" y="16"/>
                      <a:pt x="46" y="16"/>
                      <a:pt x="46" y="16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44" y="16"/>
                      <a:pt x="43" y="16"/>
                      <a:pt x="43" y="16"/>
                    </a:cubicBezTo>
                    <a:cubicBezTo>
                      <a:pt x="43" y="17"/>
                      <a:pt x="42" y="17"/>
                      <a:pt x="42" y="17"/>
                    </a:cubicBezTo>
                    <a:cubicBezTo>
                      <a:pt x="42" y="17"/>
                      <a:pt x="41" y="17"/>
                      <a:pt x="41" y="17"/>
                    </a:cubicBezTo>
                    <a:cubicBezTo>
                      <a:pt x="41" y="17"/>
                      <a:pt x="40" y="17"/>
                      <a:pt x="40" y="17"/>
                    </a:cubicBezTo>
                    <a:cubicBezTo>
                      <a:pt x="40" y="17"/>
                      <a:pt x="39" y="17"/>
                      <a:pt x="39" y="17"/>
                    </a:cubicBezTo>
                    <a:cubicBezTo>
                      <a:pt x="38" y="17"/>
                      <a:pt x="38" y="17"/>
                      <a:pt x="38" y="17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6" y="17"/>
                      <a:pt x="36" y="17"/>
                      <a:pt x="35" y="17"/>
                    </a:cubicBezTo>
                    <a:cubicBezTo>
                      <a:pt x="35" y="17"/>
                      <a:pt x="35" y="17"/>
                      <a:pt x="34" y="17"/>
                    </a:cubicBezTo>
                    <a:cubicBezTo>
                      <a:pt x="34" y="18"/>
                      <a:pt x="33" y="18"/>
                      <a:pt x="33" y="18"/>
                    </a:cubicBezTo>
                    <a:cubicBezTo>
                      <a:pt x="33" y="18"/>
                      <a:pt x="32" y="18"/>
                      <a:pt x="32" y="18"/>
                    </a:cubicBezTo>
                    <a:cubicBezTo>
                      <a:pt x="31" y="18"/>
                      <a:pt x="30" y="18"/>
                      <a:pt x="30" y="18"/>
                    </a:cubicBezTo>
                    <a:cubicBezTo>
                      <a:pt x="29" y="18"/>
                      <a:pt x="28" y="18"/>
                      <a:pt x="27" y="18"/>
                    </a:cubicBezTo>
                    <a:cubicBezTo>
                      <a:pt x="27" y="18"/>
                      <a:pt x="27" y="18"/>
                      <a:pt x="26" y="18"/>
                    </a:cubicBezTo>
                    <a:cubicBezTo>
                      <a:pt x="26" y="18"/>
                      <a:pt x="25" y="18"/>
                      <a:pt x="25" y="17"/>
                    </a:cubicBezTo>
                    <a:cubicBezTo>
                      <a:pt x="24" y="17"/>
                      <a:pt x="24" y="17"/>
                      <a:pt x="24" y="17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1" y="17"/>
                      <a:pt x="21" y="17"/>
                      <a:pt x="20" y="17"/>
                    </a:cubicBezTo>
                    <a:cubicBezTo>
                      <a:pt x="20" y="17"/>
                      <a:pt x="20" y="17"/>
                      <a:pt x="19" y="17"/>
                    </a:cubicBezTo>
                    <a:cubicBezTo>
                      <a:pt x="19" y="17"/>
                      <a:pt x="19" y="17"/>
                      <a:pt x="18" y="17"/>
                    </a:cubicBezTo>
                    <a:cubicBezTo>
                      <a:pt x="18" y="17"/>
                      <a:pt x="18" y="17"/>
                      <a:pt x="17" y="17"/>
                    </a:cubicBezTo>
                    <a:cubicBezTo>
                      <a:pt x="17" y="17"/>
                      <a:pt x="17" y="17"/>
                      <a:pt x="16" y="16"/>
                    </a:cubicBezTo>
                    <a:cubicBezTo>
                      <a:pt x="16" y="16"/>
                      <a:pt x="16" y="16"/>
                      <a:pt x="15" y="16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4" y="16"/>
                      <a:pt x="14" y="16"/>
                      <a:pt x="13" y="16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1" y="15"/>
                      <a:pt x="9" y="15"/>
                      <a:pt x="8" y="14"/>
                    </a:cubicBezTo>
                    <a:cubicBezTo>
                      <a:pt x="8" y="14"/>
                      <a:pt x="8" y="14"/>
                      <a:pt x="8" y="14"/>
                    </a:cubicBez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76" name="Freeform 60"/>
              <p:cNvSpPr>
                <a:spLocks/>
              </p:cNvSpPr>
              <p:nvPr/>
            </p:nvSpPr>
            <p:spPr bwMode="gray">
              <a:xfrm>
                <a:off x="4233863" y="4394201"/>
                <a:ext cx="676275" cy="385763"/>
              </a:xfrm>
              <a:custGeom>
                <a:avLst/>
                <a:gdLst/>
                <a:ahLst/>
                <a:cxnLst>
                  <a:cxn ang="0">
                    <a:pos x="57" y="18"/>
                  </a:cxn>
                  <a:cxn ang="0">
                    <a:pos x="57" y="0"/>
                  </a:cxn>
                  <a:cxn ang="0">
                    <a:pos x="51" y="3"/>
                  </a:cxn>
                  <a:cxn ang="0">
                    <a:pos x="30" y="7"/>
                  </a:cxn>
                  <a:cxn ang="0">
                    <a:pos x="8" y="3"/>
                  </a:cxn>
                  <a:cxn ang="0">
                    <a:pos x="3" y="1"/>
                  </a:cxn>
                  <a:cxn ang="0">
                    <a:pos x="3" y="18"/>
                  </a:cxn>
                  <a:cxn ang="0">
                    <a:pos x="0" y="23"/>
                  </a:cxn>
                  <a:cxn ang="0">
                    <a:pos x="30" y="34"/>
                  </a:cxn>
                  <a:cxn ang="0">
                    <a:pos x="59" y="23"/>
                  </a:cxn>
                  <a:cxn ang="0">
                    <a:pos x="57" y="18"/>
                  </a:cxn>
                </a:cxnLst>
                <a:rect l="0" t="0" r="r" b="b"/>
                <a:pathLst>
                  <a:path w="59" h="34">
                    <a:moveTo>
                      <a:pt x="57" y="18"/>
                    </a:moveTo>
                    <a:cubicBezTo>
                      <a:pt x="57" y="0"/>
                      <a:pt x="57" y="0"/>
                      <a:pt x="57" y="0"/>
                    </a:cubicBezTo>
                    <a:cubicBezTo>
                      <a:pt x="55" y="1"/>
                      <a:pt x="53" y="2"/>
                      <a:pt x="51" y="3"/>
                    </a:cubicBezTo>
                    <a:cubicBezTo>
                      <a:pt x="45" y="5"/>
                      <a:pt x="38" y="7"/>
                      <a:pt x="30" y="7"/>
                    </a:cubicBezTo>
                    <a:cubicBezTo>
                      <a:pt x="21" y="7"/>
                      <a:pt x="14" y="5"/>
                      <a:pt x="8" y="3"/>
                    </a:cubicBezTo>
                    <a:cubicBezTo>
                      <a:pt x="6" y="3"/>
                      <a:pt x="4" y="2"/>
                      <a:pt x="3" y="1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1" y="19"/>
                      <a:pt x="0" y="21"/>
                      <a:pt x="0" y="23"/>
                    </a:cubicBezTo>
                    <a:cubicBezTo>
                      <a:pt x="0" y="29"/>
                      <a:pt x="13" y="34"/>
                      <a:pt x="30" y="34"/>
                    </a:cubicBezTo>
                    <a:cubicBezTo>
                      <a:pt x="46" y="34"/>
                      <a:pt x="59" y="29"/>
                      <a:pt x="59" y="23"/>
                    </a:cubicBezTo>
                    <a:cubicBezTo>
                      <a:pt x="59" y="21"/>
                      <a:pt x="58" y="19"/>
                      <a:pt x="57" y="18"/>
                    </a:cubicBez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277" name="Freeform 64"/>
            <p:cNvSpPr>
              <a:spLocks noChangeAspect="1" noEditPoints="1"/>
            </p:cNvSpPr>
            <p:nvPr/>
          </p:nvSpPr>
          <p:spPr bwMode="gray">
            <a:xfrm>
              <a:off x="7465696" y="5437002"/>
              <a:ext cx="261759" cy="284400"/>
            </a:xfrm>
            <a:custGeom>
              <a:avLst/>
              <a:gdLst/>
              <a:ahLst/>
              <a:cxnLst>
                <a:cxn ang="0">
                  <a:pos x="91" y="3"/>
                </a:cxn>
                <a:cxn ang="0">
                  <a:pos x="88" y="0"/>
                </a:cxn>
                <a:cxn ang="0">
                  <a:pos x="62" y="16"/>
                </a:cxn>
                <a:cxn ang="0">
                  <a:pos x="31" y="80"/>
                </a:cxn>
                <a:cxn ang="0">
                  <a:pos x="16" y="73"/>
                </a:cxn>
                <a:cxn ang="0">
                  <a:pos x="13" y="79"/>
                </a:cxn>
                <a:cxn ang="0">
                  <a:pos x="33" y="88"/>
                </a:cxn>
                <a:cxn ang="0">
                  <a:pos x="36" y="87"/>
                </a:cxn>
                <a:cxn ang="0">
                  <a:pos x="65" y="26"/>
                </a:cxn>
                <a:cxn ang="0">
                  <a:pos x="77" y="32"/>
                </a:cxn>
                <a:cxn ang="0">
                  <a:pos x="81" y="26"/>
                </a:cxn>
                <a:cxn ang="0">
                  <a:pos x="68" y="19"/>
                </a:cxn>
                <a:cxn ang="0">
                  <a:pos x="87" y="7"/>
                </a:cxn>
                <a:cxn ang="0">
                  <a:pos x="91" y="3"/>
                </a:cxn>
                <a:cxn ang="0">
                  <a:pos x="16" y="34"/>
                </a:cxn>
                <a:cxn ang="0">
                  <a:pos x="40" y="45"/>
                </a:cxn>
                <a:cxn ang="0">
                  <a:pos x="43" y="44"/>
                </a:cxn>
                <a:cxn ang="0">
                  <a:pos x="52" y="25"/>
                </a:cxn>
                <a:cxn ang="0">
                  <a:pos x="51" y="22"/>
                </a:cxn>
                <a:cxn ang="0">
                  <a:pos x="27" y="10"/>
                </a:cxn>
                <a:cxn ang="0">
                  <a:pos x="23" y="12"/>
                </a:cxn>
                <a:cxn ang="0">
                  <a:pos x="14" y="31"/>
                </a:cxn>
                <a:cxn ang="0">
                  <a:pos x="16" y="34"/>
                </a:cxn>
                <a:cxn ang="0">
                  <a:pos x="30" y="72"/>
                </a:cxn>
                <a:cxn ang="0">
                  <a:pos x="39" y="53"/>
                </a:cxn>
                <a:cxn ang="0">
                  <a:pos x="38" y="49"/>
                </a:cxn>
                <a:cxn ang="0">
                  <a:pos x="13" y="38"/>
                </a:cxn>
                <a:cxn ang="0">
                  <a:pos x="9" y="39"/>
                </a:cxn>
                <a:cxn ang="0">
                  <a:pos x="1" y="58"/>
                </a:cxn>
                <a:cxn ang="0">
                  <a:pos x="2" y="61"/>
                </a:cxn>
                <a:cxn ang="0">
                  <a:pos x="27" y="73"/>
                </a:cxn>
                <a:cxn ang="0">
                  <a:pos x="30" y="72"/>
                </a:cxn>
                <a:cxn ang="0">
                  <a:pos x="50" y="81"/>
                </a:cxn>
                <a:cxn ang="0">
                  <a:pos x="40" y="90"/>
                </a:cxn>
                <a:cxn ang="0">
                  <a:pos x="50" y="100"/>
                </a:cxn>
                <a:cxn ang="0">
                  <a:pos x="60" y="90"/>
                </a:cxn>
                <a:cxn ang="0">
                  <a:pos x="50" y="81"/>
                </a:cxn>
              </a:cxnLst>
              <a:rect l="0" t="0" r="r" b="b"/>
              <a:pathLst>
                <a:path w="92" h="100">
                  <a:moveTo>
                    <a:pt x="91" y="3"/>
                  </a:moveTo>
                  <a:cubicBezTo>
                    <a:pt x="91" y="0"/>
                    <a:pt x="88" y="0"/>
                    <a:pt x="88" y="0"/>
                  </a:cubicBezTo>
                  <a:cubicBezTo>
                    <a:pt x="69" y="0"/>
                    <a:pt x="62" y="16"/>
                    <a:pt x="62" y="16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33" y="88"/>
                    <a:pt x="33" y="88"/>
                    <a:pt x="33" y="88"/>
                  </a:cubicBezTo>
                  <a:cubicBezTo>
                    <a:pt x="36" y="89"/>
                    <a:pt x="36" y="87"/>
                    <a:pt x="36" y="87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74" y="7"/>
                    <a:pt x="87" y="7"/>
                    <a:pt x="87" y="7"/>
                  </a:cubicBezTo>
                  <a:cubicBezTo>
                    <a:pt x="92" y="7"/>
                    <a:pt x="91" y="3"/>
                    <a:pt x="91" y="3"/>
                  </a:cubicBezTo>
                  <a:close/>
                  <a:moveTo>
                    <a:pt x="16" y="34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41" y="46"/>
                    <a:pt x="43" y="45"/>
                    <a:pt x="43" y="44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4"/>
                    <a:pt x="52" y="22"/>
                    <a:pt x="51" y="22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5" y="10"/>
                    <a:pt x="24" y="10"/>
                    <a:pt x="23" y="1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4"/>
                    <a:pt x="16" y="34"/>
                  </a:cubicBezTo>
                  <a:close/>
                  <a:moveTo>
                    <a:pt x="30" y="72"/>
                  </a:moveTo>
                  <a:cubicBezTo>
                    <a:pt x="39" y="53"/>
                    <a:pt x="39" y="53"/>
                    <a:pt x="39" y="53"/>
                  </a:cubicBezTo>
                  <a:cubicBezTo>
                    <a:pt x="40" y="51"/>
                    <a:pt x="39" y="50"/>
                    <a:pt x="38" y="49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2" y="37"/>
                    <a:pt x="10" y="38"/>
                    <a:pt x="9" y="39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0" y="59"/>
                    <a:pt x="1" y="61"/>
                    <a:pt x="2" y="61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8" y="74"/>
                    <a:pt x="29" y="73"/>
                    <a:pt x="30" y="72"/>
                  </a:cubicBezTo>
                  <a:close/>
                  <a:moveTo>
                    <a:pt x="50" y="81"/>
                  </a:moveTo>
                  <a:cubicBezTo>
                    <a:pt x="45" y="81"/>
                    <a:pt x="40" y="85"/>
                    <a:pt x="40" y="90"/>
                  </a:cubicBezTo>
                  <a:cubicBezTo>
                    <a:pt x="40" y="96"/>
                    <a:pt x="45" y="100"/>
                    <a:pt x="50" y="100"/>
                  </a:cubicBezTo>
                  <a:cubicBezTo>
                    <a:pt x="55" y="100"/>
                    <a:pt x="60" y="96"/>
                    <a:pt x="60" y="90"/>
                  </a:cubicBezTo>
                  <a:cubicBezTo>
                    <a:pt x="60" y="85"/>
                    <a:pt x="55" y="81"/>
                    <a:pt x="50" y="81"/>
                  </a:cubicBez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8" name="Freeform 68"/>
            <p:cNvSpPr>
              <a:spLocks noChangeAspect="1" noEditPoints="1"/>
            </p:cNvSpPr>
            <p:nvPr/>
          </p:nvSpPr>
          <p:spPr bwMode="gray">
            <a:xfrm>
              <a:off x="7945516" y="5437002"/>
              <a:ext cx="312602" cy="284400"/>
            </a:xfrm>
            <a:custGeom>
              <a:avLst/>
              <a:gdLst/>
              <a:ahLst/>
              <a:cxnLst>
                <a:cxn ang="0">
                  <a:pos x="110" y="90"/>
                </a:cxn>
                <a:cxn ang="0">
                  <a:pos x="90" y="77"/>
                </a:cxn>
                <a:cxn ang="0">
                  <a:pos x="54" y="90"/>
                </a:cxn>
                <a:cxn ang="0">
                  <a:pos x="30" y="90"/>
                </a:cxn>
                <a:cxn ang="0">
                  <a:pos x="0" y="87"/>
                </a:cxn>
                <a:cxn ang="0">
                  <a:pos x="22" y="84"/>
                </a:cxn>
                <a:cxn ang="0">
                  <a:pos x="30" y="2"/>
                </a:cxn>
                <a:cxn ang="0">
                  <a:pos x="43" y="4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87" y="45"/>
                </a:cxn>
                <a:cxn ang="0">
                  <a:pos x="107" y="45"/>
                </a:cxn>
                <a:cxn ang="0">
                  <a:pos x="110" y="48"/>
                </a:cxn>
                <a:cxn ang="0">
                  <a:pos x="49" y="5"/>
                </a:cxn>
                <a:cxn ang="0">
                  <a:pos x="48" y="6"/>
                </a:cxn>
                <a:cxn ang="0">
                  <a:pos x="46" y="35"/>
                </a:cxn>
                <a:cxn ang="0">
                  <a:pos x="45" y="30"/>
                </a:cxn>
                <a:cxn ang="0">
                  <a:pos x="56" y="37"/>
                </a:cxn>
                <a:cxn ang="0">
                  <a:pos x="52" y="41"/>
                </a:cxn>
                <a:cxn ang="0">
                  <a:pos x="46" y="44"/>
                </a:cxn>
                <a:cxn ang="0">
                  <a:pos x="41" y="62"/>
                </a:cxn>
                <a:cxn ang="0">
                  <a:pos x="58" y="64"/>
                </a:cxn>
                <a:cxn ang="0">
                  <a:pos x="61" y="45"/>
                </a:cxn>
                <a:cxn ang="0">
                  <a:pos x="68" y="43"/>
                </a:cxn>
                <a:cxn ang="0">
                  <a:pos x="74" y="25"/>
                </a:cxn>
                <a:cxn ang="0">
                  <a:pos x="79" y="26"/>
                </a:cxn>
                <a:cxn ang="0">
                  <a:pos x="82" y="45"/>
                </a:cxn>
                <a:cxn ang="0">
                  <a:pos x="90" y="81"/>
                </a:cxn>
                <a:cxn ang="0">
                  <a:pos x="90" y="100"/>
                </a:cxn>
                <a:cxn ang="0">
                  <a:pos x="90" y="81"/>
                </a:cxn>
                <a:cxn ang="0">
                  <a:pos x="33" y="91"/>
                </a:cxn>
                <a:cxn ang="0">
                  <a:pos x="51" y="91"/>
                </a:cxn>
              </a:cxnLst>
              <a:rect l="0" t="0" r="r" b="b"/>
              <a:pathLst>
                <a:path w="110" h="100">
                  <a:moveTo>
                    <a:pt x="110" y="48"/>
                  </a:moveTo>
                  <a:cubicBezTo>
                    <a:pt x="110" y="90"/>
                    <a:pt x="110" y="90"/>
                    <a:pt x="110" y="90"/>
                  </a:cubicBezTo>
                  <a:cubicBezTo>
                    <a:pt x="102" y="90"/>
                    <a:pt x="102" y="90"/>
                    <a:pt x="102" y="90"/>
                  </a:cubicBezTo>
                  <a:cubicBezTo>
                    <a:pt x="102" y="83"/>
                    <a:pt x="96" y="77"/>
                    <a:pt x="90" y="77"/>
                  </a:cubicBezTo>
                  <a:cubicBezTo>
                    <a:pt x="83" y="77"/>
                    <a:pt x="77" y="83"/>
                    <a:pt x="77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83"/>
                    <a:pt x="49" y="77"/>
                    <a:pt x="42" y="77"/>
                  </a:cubicBezTo>
                  <a:cubicBezTo>
                    <a:pt x="35" y="77"/>
                    <a:pt x="30" y="83"/>
                    <a:pt x="30" y="90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1" y="90"/>
                    <a:pt x="0" y="88"/>
                    <a:pt x="0" y="87"/>
                  </a:cubicBezTo>
                  <a:cubicBezTo>
                    <a:pt x="0" y="85"/>
                    <a:pt x="1" y="84"/>
                    <a:pt x="3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4" y="2"/>
                    <a:pt x="45" y="1"/>
                    <a:pt x="46" y="1"/>
                  </a:cubicBezTo>
                  <a:cubicBezTo>
                    <a:pt x="47" y="0"/>
                    <a:pt x="48" y="0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45"/>
                    <a:pt x="87" y="45"/>
                    <a:pt x="87" y="4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9" y="45"/>
                    <a:pt x="110" y="46"/>
                    <a:pt x="110" y="48"/>
                  </a:cubicBezTo>
                  <a:close/>
                  <a:moveTo>
                    <a:pt x="82" y="5"/>
                  </a:moveTo>
                  <a:cubicBezTo>
                    <a:pt x="49" y="5"/>
                    <a:pt x="49" y="5"/>
                    <a:pt x="49" y="5"/>
                  </a:cubicBezTo>
                  <a:cubicBezTo>
                    <a:pt x="49" y="5"/>
                    <a:pt x="48" y="5"/>
                    <a:pt x="48" y="5"/>
                  </a:cubicBezTo>
                  <a:cubicBezTo>
                    <a:pt x="48" y="5"/>
                    <a:pt x="48" y="5"/>
                    <a:pt x="48" y="6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4" y="33"/>
                    <a:pt x="44" y="31"/>
                    <a:pt x="45" y="30"/>
                  </a:cubicBezTo>
                  <a:cubicBezTo>
                    <a:pt x="46" y="29"/>
                    <a:pt x="48" y="29"/>
                    <a:pt x="49" y="30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7" y="38"/>
                    <a:pt x="57" y="40"/>
                    <a:pt x="56" y="41"/>
                  </a:cubicBezTo>
                  <a:cubicBezTo>
                    <a:pt x="55" y="42"/>
                    <a:pt x="53" y="42"/>
                    <a:pt x="52" y="41"/>
                  </a:cubicBezTo>
                  <a:cubicBezTo>
                    <a:pt x="49" y="38"/>
                    <a:pt x="49" y="38"/>
                    <a:pt x="49" y="38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0" y="51"/>
                    <a:pt x="39" y="56"/>
                    <a:pt x="40" y="59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3" y="63"/>
                    <a:pt x="44" y="63"/>
                    <a:pt x="46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4"/>
                    <a:pt x="58" y="50"/>
                    <a:pt x="58" y="48"/>
                  </a:cubicBezTo>
                  <a:cubicBezTo>
                    <a:pt x="58" y="45"/>
                    <a:pt x="61" y="45"/>
                    <a:pt x="61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7" y="45"/>
                    <a:pt x="68" y="43"/>
                    <a:pt x="68" y="43"/>
                  </a:cubicBezTo>
                  <a:cubicBezTo>
                    <a:pt x="68" y="43"/>
                    <a:pt x="68" y="43"/>
                    <a:pt x="68" y="43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4" y="23"/>
                    <a:pt x="76" y="22"/>
                    <a:pt x="77" y="23"/>
                  </a:cubicBezTo>
                  <a:cubicBezTo>
                    <a:pt x="79" y="23"/>
                    <a:pt x="80" y="25"/>
                    <a:pt x="79" y="26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82" y="45"/>
                    <a:pt x="82" y="45"/>
                    <a:pt x="82" y="45"/>
                  </a:cubicBezTo>
                  <a:lnTo>
                    <a:pt x="82" y="5"/>
                  </a:lnTo>
                  <a:close/>
                  <a:moveTo>
                    <a:pt x="90" y="81"/>
                  </a:moveTo>
                  <a:cubicBezTo>
                    <a:pt x="84" y="81"/>
                    <a:pt x="80" y="85"/>
                    <a:pt x="80" y="91"/>
                  </a:cubicBezTo>
                  <a:cubicBezTo>
                    <a:pt x="80" y="96"/>
                    <a:pt x="84" y="100"/>
                    <a:pt x="90" y="100"/>
                  </a:cubicBezTo>
                  <a:cubicBezTo>
                    <a:pt x="95" y="100"/>
                    <a:pt x="99" y="96"/>
                    <a:pt x="99" y="91"/>
                  </a:cubicBezTo>
                  <a:cubicBezTo>
                    <a:pt x="99" y="85"/>
                    <a:pt x="95" y="81"/>
                    <a:pt x="90" y="81"/>
                  </a:cubicBezTo>
                  <a:close/>
                  <a:moveTo>
                    <a:pt x="42" y="81"/>
                  </a:moveTo>
                  <a:cubicBezTo>
                    <a:pt x="37" y="81"/>
                    <a:pt x="33" y="85"/>
                    <a:pt x="33" y="91"/>
                  </a:cubicBezTo>
                  <a:cubicBezTo>
                    <a:pt x="33" y="96"/>
                    <a:pt x="37" y="100"/>
                    <a:pt x="42" y="100"/>
                  </a:cubicBezTo>
                  <a:cubicBezTo>
                    <a:pt x="47" y="100"/>
                    <a:pt x="51" y="96"/>
                    <a:pt x="51" y="91"/>
                  </a:cubicBezTo>
                  <a:cubicBezTo>
                    <a:pt x="51" y="85"/>
                    <a:pt x="47" y="81"/>
                    <a:pt x="42" y="81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79" name="Group 278"/>
            <p:cNvGrpSpPr>
              <a:grpSpLocks noChangeAspect="1"/>
            </p:cNvGrpSpPr>
            <p:nvPr/>
          </p:nvGrpSpPr>
          <p:grpSpPr bwMode="gray">
            <a:xfrm>
              <a:off x="8450387" y="5437002"/>
              <a:ext cx="284400" cy="284400"/>
              <a:chOff x="7858125" y="3643313"/>
              <a:chExt cx="1136650" cy="1136651"/>
            </a:xfrm>
          </p:grpSpPr>
          <p:sp>
            <p:nvSpPr>
              <p:cNvPr id="280" name="Freeform 72"/>
              <p:cNvSpPr>
                <a:spLocks/>
              </p:cNvSpPr>
              <p:nvPr/>
            </p:nvSpPr>
            <p:spPr bwMode="gray">
              <a:xfrm>
                <a:off x="7858125" y="3949701"/>
                <a:ext cx="546100" cy="830263"/>
              </a:xfrm>
              <a:custGeom>
                <a:avLst/>
                <a:gdLst/>
                <a:ahLst/>
                <a:cxnLst>
                  <a:cxn ang="0">
                    <a:pos x="48" y="22"/>
                  </a:cxn>
                  <a:cxn ang="0">
                    <a:pos x="29" y="13"/>
                  </a:cxn>
                  <a:cxn ang="0">
                    <a:pos x="29" y="14"/>
                  </a:cxn>
                  <a:cxn ang="0">
                    <a:pos x="29" y="24"/>
                  </a:cxn>
                  <a:cxn ang="0">
                    <a:pos x="27" y="26"/>
                  </a:cxn>
                  <a:cxn ang="0">
                    <a:pos x="20" y="23"/>
                  </a:cxn>
                  <a:cxn ang="0">
                    <a:pos x="18" y="19"/>
                  </a:cxn>
                  <a:cxn ang="0">
                    <a:pos x="18" y="9"/>
                  </a:cxn>
                  <a:cxn ang="0">
                    <a:pos x="18" y="8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23"/>
                  </a:cxn>
                  <a:cxn ang="0">
                    <a:pos x="0" y="26"/>
                  </a:cxn>
                  <a:cxn ang="0">
                    <a:pos x="0" y="49"/>
                  </a:cxn>
                  <a:cxn ang="0">
                    <a:pos x="1" y="51"/>
                  </a:cxn>
                  <a:cxn ang="0">
                    <a:pos x="48" y="73"/>
                  </a:cxn>
                  <a:cxn ang="0">
                    <a:pos x="48" y="73"/>
                  </a:cxn>
                  <a:cxn ang="0">
                    <a:pos x="48" y="22"/>
                  </a:cxn>
                </a:cxnLst>
                <a:rect l="0" t="0" r="r" b="b"/>
                <a:pathLst>
                  <a:path w="48" h="73">
                    <a:moveTo>
                      <a:pt x="48" y="22"/>
                    </a:move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3"/>
                      <a:pt x="29" y="14"/>
                      <a:pt x="29" y="14"/>
                    </a:cubicBezTo>
                    <a:cubicBezTo>
                      <a:pt x="29" y="24"/>
                      <a:pt x="29" y="24"/>
                      <a:pt x="29" y="24"/>
                    </a:cubicBezTo>
                    <a:cubicBezTo>
                      <a:pt x="29" y="26"/>
                      <a:pt x="28" y="26"/>
                      <a:pt x="27" y="26"/>
                    </a:cubicBezTo>
                    <a:cubicBezTo>
                      <a:pt x="20" y="23"/>
                      <a:pt x="20" y="23"/>
                      <a:pt x="20" y="23"/>
                    </a:cubicBezTo>
                    <a:cubicBezTo>
                      <a:pt x="19" y="22"/>
                      <a:pt x="18" y="21"/>
                      <a:pt x="18" y="19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9"/>
                      <a:pt x="18" y="8"/>
                      <a:pt x="18" y="8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4"/>
                      <a:pt x="0" y="26"/>
                      <a:pt x="0" y="26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0"/>
                      <a:pt x="1" y="51"/>
                      <a:pt x="1" y="51"/>
                    </a:cubicBezTo>
                    <a:cubicBezTo>
                      <a:pt x="48" y="73"/>
                      <a:pt x="48" y="73"/>
                      <a:pt x="48" y="73"/>
                    </a:cubicBezTo>
                    <a:cubicBezTo>
                      <a:pt x="48" y="73"/>
                      <a:pt x="48" y="73"/>
                      <a:pt x="48" y="73"/>
                    </a:cubicBezTo>
                    <a:lnTo>
                      <a:pt x="48" y="22"/>
                    </a:ln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1" name="Freeform 73"/>
              <p:cNvSpPr>
                <a:spLocks/>
              </p:cNvSpPr>
              <p:nvPr/>
            </p:nvSpPr>
            <p:spPr bwMode="gray">
              <a:xfrm>
                <a:off x="8210550" y="3802063"/>
                <a:ext cx="773113" cy="363538"/>
              </a:xfrm>
              <a:custGeom>
                <a:avLst/>
                <a:gdLst/>
                <a:ahLst/>
                <a:cxnLst>
                  <a:cxn ang="0">
                    <a:pos x="1" y="22"/>
                  </a:cxn>
                  <a:cxn ang="0">
                    <a:pos x="0" y="23"/>
                  </a:cxn>
                  <a:cxn ang="0">
                    <a:pos x="19" y="32"/>
                  </a:cxn>
                  <a:cxn ang="0">
                    <a:pos x="67" y="10"/>
                  </a:cxn>
                  <a:cxn ang="0">
                    <a:pos x="67" y="10"/>
                  </a:cxn>
                  <a:cxn ang="0">
                    <a:pos x="67" y="8"/>
                  </a:cxn>
                  <a:cxn ang="0">
                    <a:pos x="50" y="0"/>
                  </a:cxn>
                  <a:cxn ang="0">
                    <a:pos x="1" y="22"/>
                  </a:cxn>
                </a:cxnLst>
                <a:rect l="0" t="0" r="r" b="b"/>
                <a:pathLst>
                  <a:path w="68" h="32">
                    <a:moveTo>
                      <a:pt x="1" y="22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8" y="9"/>
                      <a:pt x="68" y="8"/>
                      <a:pt x="67" y="8"/>
                    </a:cubicBezTo>
                    <a:cubicBezTo>
                      <a:pt x="50" y="0"/>
                      <a:pt x="50" y="0"/>
                      <a:pt x="50" y="0"/>
                    </a:cubicBezTo>
                    <a:lnTo>
                      <a:pt x="1" y="22"/>
                    </a:ln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2" name="Freeform 74"/>
              <p:cNvSpPr>
                <a:spLocks/>
              </p:cNvSpPr>
              <p:nvPr/>
            </p:nvSpPr>
            <p:spPr bwMode="gray">
              <a:xfrm>
                <a:off x="8743950" y="4268788"/>
                <a:ext cx="68263" cy="136525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2" y="12"/>
                  </a:cxn>
                  <a:cxn ang="0">
                    <a:pos x="4" y="12"/>
                  </a:cxn>
                  <a:cxn ang="0">
                    <a:pos x="4" y="5"/>
                  </a:cxn>
                  <a:cxn ang="0">
                    <a:pos x="5" y="4"/>
                  </a:cxn>
                  <a:cxn ang="0">
                    <a:pos x="6" y="4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0" y="6"/>
                  </a:cxn>
                  <a:cxn ang="0">
                    <a:pos x="0" y="7"/>
                  </a:cxn>
                  <a:cxn ang="0">
                    <a:pos x="2" y="6"/>
                  </a:cxn>
                </a:cxnLst>
                <a:rect l="0" t="0" r="r" b="b"/>
                <a:pathLst>
                  <a:path w="6" h="12">
                    <a:moveTo>
                      <a:pt x="2" y="6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7"/>
                      <a:pt x="0" y="7"/>
                    </a:cubicBezTo>
                    <a:lnTo>
                      <a:pt x="2" y="6"/>
                    </a:ln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3" name="Freeform 75"/>
              <p:cNvSpPr>
                <a:spLocks/>
              </p:cNvSpPr>
              <p:nvPr/>
            </p:nvSpPr>
            <p:spPr bwMode="gray">
              <a:xfrm>
                <a:off x="7869238" y="3643313"/>
                <a:ext cx="795338" cy="363538"/>
              </a:xfrm>
              <a:custGeom>
                <a:avLst/>
                <a:gdLst/>
                <a:ahLst/>
                <a:cxnLst>
                  <a:cxn ang="0">
                    <a:pos x="1" y="23"/>
                  </a:cxn>
                  <a:cxn ang="0">
                    <a:pos x="19" y="32"/>
                  </a:cxn>
                  <a:cxn ang="0">
                    <a:pos x="20" y="32"/>
                  </a:cxn>
                  <a:cxn ang="0">
                    <a:pos x="69" y="10"/>
                  </a:cxn>
                  <a:cxn ang="0">
                    <a:pos x="70" y="9"/>
                  </a:cxn>
                  <a:cxn ang="0">
                    <a:pos x="50" y="1"/>
                  </a:cxn>
                  <a:cxn ang="0">
                    <a:pos x="48" y="1"/>
                  </a:cxn>
                  <a:cxn ang="0">
                    <a:pos x="1" y="22"/>
                  </a:cxn>
                  <a:cxn ang="0">
                    <a:pos x="1" y="23"/>
                  </a:cxn>
                </a:cxnLst>
                <a:rect l="0" t="0" r="r" b="b"/>
                <a:pathLst>
                  <a:path w="70" h="32">
                    <a:moveTo>
                      <a:pt x="1" y="23"/>
                    </a:moveTo>
                    <a:cubicBezTo>
                      <a:pt x="19" y="32"/>
                      <a:pt x="19" y="32"/>
                      <a:pt x="19" y="32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69" y="10"/>
                      <a:pt x="69" y="10"/>
                      <a:pt x="69" y="10"/>
                    </a:cubicBezTo>
                    <a:cubicBezTo>
                      <a:pt x="69" y="10"/>
                      <a:pt x="69" y="9"/>
                      <a:pt x="70" y="9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50" y="0"/>
                      <a:pt x="48" y="0"/>
                      <a:pt x="48" y="1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0" y="22"/>
                      <a:pt x="1" y="23"/>
                      <a:pt x="1" y="23"/>
                    </a:cubicBez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4" name="Freeform 76"/>
              <p:cNvSpPr>
                <a:spLocks/>
              </p:cNvSpPr>
              <p:nvPr/>
            </p:nvSpPr>
            <p:spPr bwMode="gray">
              <a:xfrm>
                <a:off x="8653463" y="4314826"/>
                <a:ext cx="68263" cy="134938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2" y="12"/>
                  </a:cxn>
                  <a:cxn ang="0">
                    <a:pos x="4" y="11"/>
                  </a:cxn>
                  <a:cxn ang="0">
                    <a:pos x="4" y="4"/>
                  </a:cxn>
                  <a:cxn ang="0">
                    <a:pos x="6" y="4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5"/>
                  </a:cxn>
                </a:cxnLst>
                <a:rect l="0" t="0" r="r" b="b"/>
                <a:pathLst>
                  <a:path w="6" h="12">
                    <a:moveTo>
                      <a:pt x="2" y="5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3"/>
                      <a:pt x="6" y="3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lnTo>
                      <a:pt x="2" y="5"/>
                    </a:ln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5" name="Freeform 77"/>
              <p:cNvSpPr>
                <a:spLocks noEditPoints="1"/>
              </p:cNvSpPr>
              <p:nvPr/>
            </p:nvSpPr>
            <p:spPr bwMode="gray">
              <a:xfrm>
                <a:off x="8448675" y="3949701"/>
                <a:ext cx="546100" cy="830263"/>
              </a:xfrm>
              <a:custGeom>
                <a:avLst/>
                <a:gdLst/>
                <a:ahLst/>
                <a:cxnLst>
                  <a:cxn ang="0">
                    <a:pos x="48" y="2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0" y="22"/>
                  </a:cxn>
                  <a:cxn ang="0">
                    <a:pos x="0" y="73"/>
                  </a:cxn>
                  <a:cxn ang="0">
                    <a:pos x="0" y="73"/>
                  </a:cxn>
                  <a:cxn ang="0">
                    <a:pos x="47" y="51"/>
                  </a:cxn>
                  <a:cxn ang="0">
                    <a:pos x="48" y="49"/>
                  </a:cxn>
                  <a:cxn ang="0">
                    <a:pos x="48" y="26"/>
                  </a:cxn>
                  <a:cxn ang="0">
                    <a:pos x="48" y="23"/>
                  </a:cxn>
                  <a:cxn ang="0">
                    <a:pos x="48" y="2"/>
                  </a:cxn>
                  <a:cxn ang="0">
                    <a:pos x="36" y="45"/>
                  </a:cxn>
                  <a:cxn ang="0">
                    <a:pos x="14" y="54"/>
                  </a:cxn>
                  <a:cxn ang="0">
                    <a:pos x="13" y="54"/>
                  </a:cxn>
                  <a:cxn ang="0">
                    <a:pos x="13" y="32"/>
                  </a:cxn>
                  <a:cxn ang="0">
                    <a:pos x="14" y="30"/>
                  </a:cxn>
                  <a:cxn ang="0">
                    <a:pos x="36" y="20"/>
                  </a:cxn>
                  <a:cxn ang="0">
                    <a:pos x="37" y="21"/>
                  </a:cxn>
                  <a:cxn ang="0">
                    <a:pos x="37" y="43"/>
                  </a:cxn>
                  <a:cxn ang="0">
                    <a:pos x="36" y="45"/>
                  </a:cxn>
                </a:cxnLst>
                <a:rect l="0" t="0" r="r" b="b"/>
                <a:pathLst>
                  <a:path w="48" h="73">
                    <a:moveTo>
                      <a:pt x="48" y="2"/>
                    </a:moveTo>
                    <a:cubicBezTo>
                      <a:pt x="48" y="1"/>
                      <a:pt x="48" y="0"/>
                      <a:pt x="48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47" y="51"/>
                      <a:pt x="47" y="51"/>
                      <a:pt x="47" y="51"/>
                    </a:cubicBezTo>
                    <a:cubicBezTo>
                      <a:pt x="48" y="51"/>
                      <a:pt x="48" y="50"/>
                      <a:pt x="48" y="49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8" y="26"/>
                      <a:pt x="48" y="24"/>
                      <a:pt x="48" y="23"/>
                    </a:cubicBezTo>
                    <a:lnTo>
                      <a:pt x="48" y="2"/>
                    </a:lnTo>
                    <a:close/>
                    <a:moveTo>
                      <a:pt x="36" y="45"/>
                    </a:moveTo>
                    <a:cubicBezTo>
                      <a:pt x="14" y="54"/>
                      <a:pt x="14" y="54"/>
                      <a:pt x="14" y="54"/>
                    </a:cubicBezTo>
                    <a:cubicBezTo>
                      <a:pt x="14" y="55"/>
                      <a:pt x="13" y="54"/>
                      <a:pt x="13" y="54"/>
                    </a:cubicBezTo>
                    <a:cubicBezTo>
                      <a:pt x="13" y="32"/>
                      <a:pt x="13" y="32"/>
                      <a:pt x="13" y="32"/>
                    </a:cubicBezTo>
                    <a:cubicBezTo>
                      <a:pt x="13" y="31"/>
                      <a:pt x="14" y="30"/>
                      <a:pt x="14" y="3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0"/>
                      <a:pt x="37" y="20"/>
                      <a:pt x="37" y="21"/>
                    </a:cubicBezTo>
                    <a:cubicBezTo>
                      <a:pt x="37" y="43"/>
                      <a:pt x="37" y="43"/>
                      <a:pt x="37" y="43"/>
                    </a:cubicBezTo>
                    <a:cubicBezTo>
                      <a:pt x="37" y="44"/>
                      <a:pt x="36" y="45"/>
                      <a:pt x="36" y="45"/>
                    </a:cubicBez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6" name="Freeform 78"/>
              <p:cNvSpPr>
                <a:spLocks/>
              </p:cNvSpPr>
              <p:nvPr/>
            </p:nvSpPr>
            <p:spPr bwMode="gray">
              <a:xfrm>
                <a:off x="8642350" y="4405313"/>
                <a:ext cx="182563" cy="1016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6" y="0"/>
                  </a:cxn>
                  <a:cxn ang="0">
                    <a:pos x="16" y="0"/>
                  </a:cxn>
                </a:cxnLst>
                <a:rect l="0" t="0" r="r" b="b"/>
                <a:pathLst>
                  <a:path w="16" h="9">
                    <a:moveTo>
                      <a:pt x="16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287" name="Freeform 5"/>
            <p:cNvSpPr>
              <a:spLocks noChangeAspect="1" noEditPoints="1"/>
            </p:cNvSpPr>
            <p:nvPr/>
          </p:nvSpPr>
          <p:spPr bwMode="gray">
            <a:xfrm>
              <a:off x="465243" y="5925282"/>
              <a:ext cx="216234" cy="244800"/>
            </a:xfrm>
            <a:custGeom>
              <a:avLst/>
              <a:gdLst/>
              <a:ahLst/>
              <a:cxnLst>
                <a:cxn ang="0">
                  <a:pos x="56" y="16"/>
                </a:cxn>
                <a:cxn ang="0">
                  <a:pos x="38" y="9"/>
                </a:cxn>
                <a:cxn ang="0">
                  <a:pos x="20" y="16"/>
                </a:cxn>
                <a:cxn ang="0">
                  <a:pos x="9" y="27"/>
                </a:cxn>
                <a:cxn ang="0">
                  <a:pos x="17" y="57"/>
                </a:cxn>
                <a:cxn ang="0">
                  <a:pos x="57" y="20"/>
                </a:cxn>
                <a:cxn ang="0">
                  <a:pos x="56" y="16"/>
                </a:cxn>
                <a:cxn ang="0">
                  <a:pos x="22" y="65"/>
                </a:cxn>
                <a:cxn ang="0">
                  <a:pos x="38" y="77"/>
                </a:cxn>
                <a:cxn ang="0">
                  <a:pos x="67" y="27"/>
                </a:cxn>
                <a:cxn ang="0">
                  <a:pos x="64" y="26"/>
                </a:cxn>
                <a:cxn ang="0">
                  <a:pos x="22" y="65"/>
                </a:cxn>
                <a:cxn ang="0">
                  <a:pos x="61" y="9"/>
                </a:cxn>
                <a:cxn ang="0">
                  <a:pos x="38" y="0"/>
                </a:cxn>
                <a:cxn ang="0">
                  <a:pos x="15" y="9"/>
                </a:cxn>
                <a:cxn ang="0">
                  <a:pos x="1" y="22"/>
                </a:cxn>
                <a:cxn ang="0">
                  <a:pos x="38" y="86"/>
                </a:cxn>
                <a:cxn ang="0">
                  <a:pos x="75" y="22"/>
                </a:cxn>
                <a:cxn ang="0">
                  <a:pos x="61" y="9"/>
                </a:cxn>
                <a:cxn ang="0">
                  <a:pos x="39" y="78"/>
                </a:cxn>
                <a:cxn ang="0">
                  <a:pos x="38" y="79"/>
                </a:cxn>
                <a:cxn ang="0">
                  <a:pos x="38" y="78"/>
                </a:cxn>
                <a:cxn ang="0">
                  <a:pos x="8" y="26"/>
                </a:cxn>
                <a:cxn ang="0">
                  <a:pos x="8" y="25"/>
                </a:cxn>
                <a:cxn ang="0">
                  <a:pos x="9" y="25"/>
                </a:cxn>
                <a:cxn ang="0">
                  <a:pos x="9" y="25"/>
                </a:cxn>
                <a:cxn ang="0">
                  <a:pos x="19" y="15"/>
                </a:cxn>
                <a:cxn ang="0">
                  <a:pos x="19" y="14"/>
                </a:cxn>
                <a:cxn ang="0">
                  <a:pos x="20" y="15"/>
                </a:cxn>
                <a:cxn ang="0">
                  <a:pos x="22" y="15"/>
                </a:cxn>
                <a:cxn ang="0">
                  <a:pos x="38" y="8"/>
                </a:cxn>
                <a:cxn ang="0">
                  <a:pos x="38" y="7"/>
                </a:cxn>
                <a:cxn ang="0">
                  <a:pos x="39" y="8"/>
                </a:cxn>
                <a:cxn ang="0">
                  <a:pos x="55" y="15"/>
                </a:cxn>
                <a:cxn ang="0">
                  <a:pos x="57" y="15"/>
                </a:cxn>
                <a:cxn ang="0">
                  <a:pos x="58" y="14"/>
                </a:cxn>
                <a:cxn ang="0">
                  <a:pos x="58" y="15"/>
                </a:cxn>
                <a:cxn ang="0">
                  <a:pos x="67" y="25"/>
                </a:cxn>
                <a:cxn ang="0">
                  <a:pos x="68" y="25"/>
                </a:cxn>
                <a:cxn ang="0">
                  <a:pos x="69" y="25"/>
                </a:cxn>
                <a:cxn ang="0">
                  <a:pos x="69" y="26"/>
                </a:cxn>
                <a:cxn ang="0">
                  <a:pos x="39" y="78"/>
                </a:cxn>
              </a:cxnLst>
              <a:rect l="0" t="0" r="r" b="b"/>
              <a:pathLst>
                <a:path w="76" h="86">
                  <a:moveTo>
                    <a:pt x="56" y="16"/>
                  </a:moveTo>
                  <a:cubicBezTo>
                    <a:pt x="53" y="17"/>
                    <a:pt x="46" y="17"/>
                    <a:pt x="38" y="9"/>
                  </a:cubicBezTo>
                  <a:cubicBezTo>
                    <a:pt x="30" y="17"/>
                    <a:pt x="23" y="17"/>
                    <a:pt x="20" y="16"/>
                  </a:cubicBezTo>
                  <a:cubicBezTo>
                    <a:pt x="20" y="24"/>
                    <a:pt x="14" y="27"/>
                    <a:pt x="9" y="27"/>
                  </a:cubicBezTo>
                  <a:cubicBezTo>
                    <a:pt x="9" y="40"/>
                    <a:pt x="12" y="50"/>
                    <a:pt x="17" y="57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6" y="19"/>
                    <a:pt x="56" y="18"/>
                    <a:pt x="56" y="16"/>
                  </a:cubicBezTo>
                  <a:close/>
                  <a:moveTo>
                    <a:pt x="22" y="65"/>
                  </a:moveTo>
                  <a:cubicBezTo>
                    <a:pt x="29" y="73"/>
                    <a:pt x="37" y="76"/>
                    <a:pt x="38" y="77"/>
                  </a:cubicBezTo>
                  <a:cubicBezTo>
                    <a:pt x="41" y="76"/>
                    <a:pt x="67" y="65"/>
                    <a:pt x="67" y="27"/>
                  </a:cubicBezTo>
                  <a:cubicBezTo>
                    <a:pt x="66" y="27"/>
                    <a:pt x="65" y="26"/>
                    <a:pt x="64" y="26"/>
                  </a:cubicBezTo>
                  <a:lnTo>
                    <a:pt x="22" y="65"/>
                  </a:lnTo>
                  <a:close/>
                  <a:moveTo>
                    <a:pt x="61" y="9"/>
                  </a:moveTo>
                  <a:cubicBezTo>
                    <a:pt x="61" y="9"/>
                    <a:pt x="50" y="11"/>
                    <a:pt x="38" y="0"/>
                  </a:cubicBezTo>
                  <a:cubicBezTo>
                    <a:pt x="26" y="11"/>
                    <a:pt x="15" y="9"/>
                    <a:pt x="15" y="9"/>
                  </a:cubicBezTo>
                  <a:cubicBezTo>
                    <a:pt x="15" y="23"/>
                    <a:pt x="1" y="22"/>
                    <a:pt x="1" y="22"/>
                  </a:cubicBezTo>
                  <a:cubicBezTo>
                    <a:pt x="0" y="74"/>
                    <a:pt x="38" y="86"/>
                    <a:pt x="38" y="86"/>
                  </a:cubicBezTo>
                  <a:cubicBezTo>
                    <a:pt x="38" y="86"/>
                    <a:pt x="76" y="74"/>
                    <a:pt x="75" y="22"/>
                  </a:cubicBezTo>
                  <a:cubicBezTo>
                    <a:pt x="75" y="22"/>
                    <a:pt x="62" y="23"/>
                    <a:pt x="61" y="9"/>
                  </a:cubicBezTo>
                  <a:close/>
                  <a:moveTo>
                    <a:pt x="39" y="78"/>
                  </a:moveTo>
                  <a:cubicBezTo>
                    <a:pt x="38" y="79"/>
                    <a:pt x="38" y="79"/>
                    <a:pt x="38" y="79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38" y="78"/>
                    <a:pt x="7" y="68"/>
                    <a:pt x="8" y="26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12" y="25"/>
                    <a:pt x="19" y="24"/>
                    <a:pt x="19" y="1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1" y="15"/>
                    <a:pt x="22" y="15"/>
                  </a:cubicBezTo>
                  <a:cubicBezTo>
                    <a:pt x="25" y="15"/>
                    <a:pt x="31" y="14"/>
                    <a:pt x="38" y="8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6" y="14"/>
                    <a:pt x="52" y="15"/>
                    <a:pt x="55" y="15"/>
                  </a:cubicBezTo>
                  <a:cubicBezTo>
                    <a:pt x="56" y="15"/>
                    <a:pt x="57" y="15"/>
                    <a:pt x="57" y="15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4"/>
                    <a:pt x="65" y="25"/>
                    <a:pt x="67" y="25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70" y="68"/>
                    <a:pt x="39" y="78"/>
                    <a:pt x="39" y="78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8" name="Freeform 9"/>
            <p:cNvSpPr>
              <a:spLocks noChangeAspect="1" noEditPoints="1"/>
            </p:cNvSpPr>
            <p:nvPr/>
          </p:nvSpPr>
          <p:spPr bwMode="gray">
            <a:xfrm>
              <a:off x="949888" y="5905482"/>
              <a:ext cx="281619" cy="284400"/>
            </a:xfrm>
            <a:custGeom>
              <a:avLst/>
              <a:gdLst/>
              <a:ahLst/>
              <a:cxnLst>
                <a:cxn ang="0">
                  <a:pos x="99" y="51"/>
                </a:cxn>
                <a:cxn ang="0">
                  <a:pos x="96" y="46"/>
                </a:cxn>
                <a:cxn ang="0">
                  <a:pos x="56" y="3"/>
                </a:cxn>
                <a:cxn ang="0">
                  <a:pos x="51" y="0"/>
                </a:cxn>
                <a:cxn ang="0">
                  <a:pos x="46" y="3"/>
                </a:cxn>
                <a:cxn ang="0">
                  <a:pos x="2" y="46"/>
                </a:cxn>
                <a:cxn ang="0">
                  <a:pos x="0" y="51"/>
                </a:cxn>
                <a:cxn ang="0">
                  <a:pos x="3" y="56"/>
                </a:cxn>
                <a:cxn ang="0">
                  <a:pos x="44" y="97"/>
                </a:cxn>
                <a:cxn ang="0">
                  <a:pos x="50" y="100"/>
                </a:cxn>
                <a:cxn ang="0">
                  <a:pos x="55" y="97"/>
                </a:cxn>
                <a:cxn ang="0">
                  <a:pos x="96" y="56"/>
                </a:cxn>
                <a:cxn ang="0">
                  <a:pos x="99" y="51"/>
                </a:cxn>
                <a:cxn ang="0">
                  <a:pos x="94" y="38"/>
                </a:cxn>
                <a:cxn ang="0">
                  <a:pos x="73" y="42"/>
                </a:cxn>
                <a:cxn ang="0">
                  <a:pos x="59" y="27"/>
                </a:cxn>
                <a:cxn ang="0">
                  <a:pos x="64" y="7"/>
                </a:cxn>
                <a:cxn ang="0">
                  <a:pos x="94" y="38"/>
                </a:cxn>
                <a:cxn ang="0">
                  <a:pos x="49" y="73"/>
                </a:cxn>
                <a:cxn ang="0">
                  <a:pos x="26" y="50"/>
                </a:cxn>
                <a:cxn ang="0">
                  <a:pos x="49" y="26"/>
                </a:cxn>
                <a:cxn ang="0">
                  <a:pos x="73" y="50"/>
                </a:cxn>
                <a:cxn ang="0">
                  <a:pos x="49" y="73"/>
                </a:cxn>
                <a:cxn ang="0">
                  <a:pos x="38" y="6"/>
                </a:cxn>
                <a:cxn ang="0">
                  <a:pos x="42" y="26"/>
                </a:cxn>
                <a:cxn ang="0">
                  <a:pos x="26" y="42"/>
                </a:cxn>
                <a:cxn ang="0">
                  <a:pos x="5" y="38"/>
                </a:cxn>
                <a:cxn ang="0">
                  <a:pos x="38" y="6"/>
                </a:cxn>
                <a:cxn ang="0">
                  <a:pos x="6" y="64"/>
                </a:cxn>
                <a:cxn ang="0">
                  <a:pos x="26" y="59"/>
                </a:cxn>
                <a:cxn ang="0">
                  <a:pos x="40" y="73"/>
                </a:cxn>
                <a:cxn ang="0">
                  <a:pos x="36" y="94"/>
                </a:cxn>
                <a:cxn ang="0">
                  <a:pos x="6" y="64"/>
                </a:cxn>
                <a:cxn ang="0">
                  <a:pos x="63" y="94"/>
                </a:cxn>
                <a:cxn ang="0">
                  <a:pos x="58" y="73"/>
                </a:cxn>
                <a:cxn ang="0">
                  <a:pos x="73" y="59"/>
                </a:cxn>
                <a:cxn ang="0">
                  <a:pos x="93" y="64"/>
                </a:cxn>
                <a:cxn ang="0">
                  <a:pos x="63" y="94"/>
                </a:cxn>
              </a:cxnLst>
              <a:rect l="0" t="0" r="r" b="b"/>
              <a:pathLst>
                <a:path w="99" h="100">
                  <a:moveTo>
                    <a:pt x="99" y="51"/>
                  </a:moveTo>
                  <a:cubicBezTo>
                    <a:pt x="99" y="49"/>
                    <a:pt x="97" y="46"/>
                    <a:pt x="96" y="46"/>
                  </a:cubicBezTo>
                  <a:cubicBezTo>
                    <a:pt x="94" y="24"/>
                    <a:pt x="77" y="6"/>
                    <a:pt x="56" y="3"/>
                  </a:cubicBezTo>
                  <a:cubicBezTo>
                    <a:pt x="55" y="2"/>
                    <a:pt x="53" y="0"/>
                    <a:pt x="51" y="0"/>
                  </a:cubicBezTo>
                  <a:cubicBezTo>
                    <a:pt x="49" y="0"/>
                    <a:pt x="47" y="2"/>
                    <a:pt x="46" y="3"/>
                  </a:cubicBezTo>
                  <a:cubicBezTo>
                    <a:pt x="23" y="5"/>
                    <a:pt x="5" y="23"/>
                    <a:pt x="2" y="46"/>
                  </a:cubicBezTo>
                  <a:cubicBezTo>
                    <a:pt x="2" y="46"/>
                    <a:pt x="0" y="49"/>
                    <a:pt x="0" y="51"/>
                  </a:cubicBezTo>
                  <a:cubicBezTo>
                    <a:pt x="0" y="53"/>
                    <a:pt x="2" y="56"/>
                    <a:pt x="3" y="56"/>
                  </a:cubicBezTo>
                  <a:cubicBezTo>
                    <a:pt x="6" y="78"/>
                    <a:pt x="23" y="95"/>
                    <a:pt x="44" y="97"/>
                  </a:cubicBezTo>
                  <a:cubicBezTo>
                    <a:pt x="45" y="98"/>
                    <a:pt x="48" y="100"/>
                    <a:pt x="50" y="100"/>
                  </a:cubicBezTo>
                  <a:cubicBezTo>
                    <a:pt x="52" y="99"/>
                    <a:pt x="54" y="98"/>
                    <a:pt x="55" y="97"/>
                  </a:cubicBezTo>
                  <a:cubicBezTo>
                    <a:pt x="76" y="94"/>
                    <a:pt x="93" y="78"/>
                    <a:pt x="96" y="56"/>
                  </a:cubicBezTo>
                  <a:cubicBezTo>
                    <a:pt x="97" y="56"/>
                    <a:pt x="99" y="53"/>
                    <a:pt x="99" y="51"/>
                  </a:cubicBezTo>
                  <a:close/>
                  <a:moveTo>
                    <a:pt x="94" y="38"/>
                  </a:moveTo>
                  <a:cubicBezTo>
                    <a:pt x="87" y="43"/>
                    <a:pt x="76" y="42"/>
                    <a:pt x="73" y="42"/>
                  </a:cubicBezTo>
                  <a:cubicBezTo>
                    <a:pt x="71" y="35"/>
                    <a:pt x="66" y="30"/>
                    <a:pt x="59" y="27"/>
                  </a:cubicBezTo>
                  <a:cubicBezTo>
                    <a:pt x="59" y="24"/>
                    <a:pt x="59" y="13"/>
                    <a:pt x="64" y="7"/>
                  </a:cubicBezTo>
                  <a:cubicBezTo>
                    <a:pt x="78" y="12"/>
                    <a:pt x="90" y="23"/>
                    <a:pt x="94" y="38"/>
                  </a:cubicBezTo>
                  <a:close/>
                  <a:moveTo>
                    <a:pt x="49" y="73"/>
                  </a:moveTo>
                  <a:cubicBezTo>
                    <a:pt x="36" y="73"/>
                    <a:pt x="26" y="63"/>
                    <a:pt x="26" y="50"/>
                  </a:cubicBezTo>
                  <a:cubicBezTo>
                    <a:pt x="26" y="37"/>
                    <a:pt x="36" y="26"/>
                    <a:pt x="49" y="26"/>
                  </a:cubicBezTo>
                  <a:cubicBezTo>
                    <a:pt x="62" y="26"/>
                    <a:pt x="73" y="37"/>
                    <a:pt x="73" y="50"/>
                  </a:cubicBezTo>
                  <a:cubicBezTo>
                    <a:pt x="73" y="63"/>
                    <a:pt x="62" y="73"/>
                    <a:pt x="49" y="73"/>
                  </a:cubicBezTo>
                  <a:close/>
                  <a:moveTo>
                    <a:pt x="38" y="6"/>
                  </a:moveTo>
                  <a:cubicBezTo>
                    <a:pt x="42" y="12"/>
                    <a:pt x="42" y="23"/>
                    <a:pt x="42" y="26"/>
                  </a:cubicBezTo>
                  <a:cubicBezTo>
                    <a:pt x="34" y="28"/>
                    <a:pt x="28" y="34"/>
                    <a:pt x="26" y="42"/>
                  </a:cubicBezTo>
                  <a:cubicBezTo>
                    <a:pt x="23" y="42"/>
                    <a:pt x="12" y="43"/>
                    <a:pt x="5" y="38"/>
                  </a:cubicBezTo>
                  <a:cubicBezTo>
                    <a:pt x="10" y="22"/>
                    <a:pt x="22" y="10"/>
                    <a:pt x="38" y="6"/>
                  </a:cubicBezTo>
                  <a:close/>
                  <a:moveTo>
                    <a:pt x="6" y="64"/>
                  </a:moveTo>
                  <a:cubicBezTo>
                    <a:pt x="12" y="59"/>
                    <a:pt x="23" y="59"/>
                    <a:pt x="26" y="59"/>
                  </a:cubicBezTo>
                  <a:cubicBezTo>
                    <a:pt x="29" y="66"/>
                    <a:pt x="34" y="71"/>
                    <a:pt x="40" y="73"/>
                  </a:cubicBezTo>
                  <a:cubicBezTo>
                    <a:pt x="41" y="76"/>
                    <a:pt x="41" y="87"/>
                    <a:pt x="36" y="94"/>
                  </a:cubicBezTo>
                  <a:cubicBezTo>
                    <a:pt x="22" y="89"/>
                    <a:pt x="11" y="78"/>
                    <a:pt x="6" y="64"/>
                  </a:cubicBezTo>
                  <a:close/>
                  <a:moveTo>
                    <a:pt x="63" y="94"/>
                  </a:moveTo>
                  <a:cubicBezTo>
                    <a:pt x="58" y="87"/>
                    <a:pt x="58" y="76"/>
                    <a:pt x="58" y="73"/>
                  </a:cubicBezTo>
                  <a:cubicBezTo>
                    <a:pt x="65" y="71"/>
                    <a:pt x="70" y="66"/>
                    <a:pt x="73" y="59"/>
                  </a:cubicBezTo>
                  <a:cubicBezTo>
                    <a:pt x="75" y="59"/>
                    <a:pt x="87" y="59"/>
                    <a:pt x="93" y="64"/>
                  </a:cubicBezTo>
                  <a:cubicBezTo>
                    <a:pt x="88" y="78"/>
                    <a:pt x="77" y="89"/>
                    <a:pt x="63" y="94"/>
                  </a:cubicBez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89" name="Group 288"/>
            <p:cNvGrpSpPr>
              <a:grpSpLocks noChangeAspect="1"/>
            </p:cNvGrpSpPr>
            <p:nvPr/>
          </p:nvGrpSpPr>
          <p:grpSpPr bwMode="gray">
            <a:xfrm>
              <a:off x="1472355" y="5900082"/>
              <a:ext cx="199577" cy="295200"/>
              <a:chOff x="7643813" y="1285875"/>
              <a:chExt cx="798512" cy="1181100"/>
            </a:xfrm>
          </p:grpSpPr>
          <p:sp>
            <p:nvSpPr>
              <p:cNvPr id="290" name="Freeform 13"/>
              <p:cNvSpPr>
                <a:spLocks noChangeAspect="1" noEditPoints="1"/>
              </p:cNvSpPr>
              <p:nvPr/>
            </p:nvSpPr>
            <p:spPr bwMode="gray">
              <a:xfrm>
                <a:off x="7643813" y="1285875"/>
                <a:ext cx="798512" cy="1181100"/>
              </a:xfrm>
              <a:custGeom>
                <a:avLst/>
                <a:gdLst/>
                <a:ahLst/>
                <a:cxnLst>
                  <a:cxn ang="0">
                    <a:pos x="65" y="92"/>
                  </a:cxn>
                  <a:cxn ang="0">
                    <a:pos x="64" y="92"/>
                  </a:cxn>
                  <a:cxn ang="0">
                    <a:pos x="62" y="76"/>
                  </a:cxn>
                  <a:cxn ang="0">
                    <a:pos x="43" y="56"/>
                  </a:cxn>
                  <a:cxn ang="0">
                    <a:pos x="43" y="56"/>
                  </a:cxn>
                  <a:cxn ang="0">
                    <a:pos x="42" y="55"/>
                  </a:cxn>
                  <a:cxn ang="0">
                    <a:pos x="43" y="53"/>
                  </a:cxn>
                  <a:cxn ang="0">
                    <a:pos x="43" y="53"/>
                  </a:cxn>
                  <a:cxn ang="0">
                    <a:pos x="61" y="31"/>
                  </a:cxn>
                  <a:cxn ang="0">
                    <a:pos x="64" y="11"/>
                  </a:cxn>
                  <a:cxn ang="0">
                    <a:pos x="65" y="11"/>
                  </a:cxn>
                  <a:cxn ang="0">
                    <a:pos x="70" y="6"/>
                  </a:cxn>
                  <a:cxn ang="0">
                    <a:pos x="65" y="0"/>
                  </a:cxn>
                  <a:cxn ang="0">
                    <a:pos x="5" y="0"/>
                  </a:cxn>
                  <a:cxn ang="0">
                    <a:pos x="0" y="6"/>
                  </a:cxn>
                  <a:cxn ang="0">
                    <a:pos x="5" y="11"/>
                  </a:cxn>
                  <a:cxn ang="0">
                    <a:pos x="6" y="11"/>
                  </a:cxn>
                  <a:cxn ang="0">
                    <a:pos x="9" y="31"/>
                  </a:cxn>
                  <a:cxn ang="0">
                    <a:pos x="27" y="53"/>
                  </a:cxn>
                  <a:cxn ang="0">
                    <a:pos x="27" y="53"/>
                  </a:cxn>
                  <a:cxn ang="0">
                    <a:pos x="28" y="55"/>
                  </a:cxn>
                  <a:cxn ang="0">
                    <a:pos x="27" y="55"/>
                  </a:cxn>
                  <a:cxn ang="0">
                    <a:pos x="26" y="56"/>
                  </a:cxn>
                  <a:cxn ang="0">
                    <a:pos x="8" y="76"/>
                  </a:cxn>
                  <a:cxn ang="0">
                    <a:pos x="6" y="92"/>
                  </a:cxn>
                  <a:cxn ang="0">
                    <a:pos x="5" y="92"/>
                  </a:cxn>
                  <a:cxn ang="0">
                    <a:pos x="0" y="98"/>
                  </a:cxn>
                  <a:cxn ang="0">
                    <a:pos x="5" y="104"/>
                  </a:cxn>
                  <a:cxn ang="0">
                    <a:pos x="65" y="104"/>
                  </a:cxn>
                  <a:cxn ang="0">
                    <a:pos x="70" y="98"/>
                  </a:cxn>
                  <a:cxn ang="0">
                    <a:pos x="65" y="92"/>
                  </a:cxn>
                  <a:cxn ang="0">
                    <a:pos x="11" y="77"/>
                  </a:cxn>
                  <a:cxn ang="0">
                    <a:pos x="28" y="59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29" y="51"/>
                  </a:cxn>
                  <a:cxn ang="0">
                    <a:pos x="29" y="50"/>
                  </a:cxn>
                  <a:cxn ang="0">
                    <a:pos x="12" y="29"/>
                  </a:cxn>
                  <a:cxn ang="0">
                    <a:pos x="9" y="11"/>
                  </a:cxn>
                  <a:cxn ang="0">
                    <a:pos x="61" y="11"/>
                  </a:cxn>
                  <a:cxn ang="0">
                    <a:pos x="58" y="29"/>
                  </a:cxn>
                  <a:cxn ang="0">
                    <a:pos x="41" y="50"/>
                  </a:cxn>
                  <a:cxn ang="0">
                    <a:pos x="41" y="51"/>
                  </a:cxn>
                  <a:cxn ang="0">
                    <a:pos x="39" y="55"/>
                  </a:cxn>
                  <a:cxn ang="0">
                    <a:pos x="41" y="58"/>
                  </a:cxn>
                  <a:cxn ang="0">
                    <a:pos x="42" y="59"/>
                  </a:cxn>
                  <a:cxn ang="0">
                    <a:pos x="59" y="77"/>
                  </a:cxn>
                  <a:cxn ang="0">
                    <a:pos x="62" y="92"/>
                  </a:cxn>
                  <a:cxn ang="0">
                    <a:pos x="55" y="92"/>
                  </a:cxn>
                  <a:cxn ang="0">
                    <a:pos x="35" y="66"/>
                  </a:cxn>
                  <a:cxn ang="0">
                    <a:pos x="15" y="92"/>
                  </a:cxn>
                  <a:cxn ang="0">
                    <a:pos x="8" y="92"/>
                  </a:cxn>
                  <a:cxn ang="0">
                    <a:pos x="11" y="77"/>
                  </a:cxn>
                </a:cxnLst>
                <a:rect l="0" t="0" r="r" b="b"/>
                <a:pathLst>
                  <a:path w="70" h="104">
                    <a:moveTo>
                      <a:pt x="65" y="92"/>
                    </a:moveTo>
                    <a:cubicBezTo>
                      <a:pt x="64" y="92"/>
                      <a:pt x="64" y="92"/>
                      <a:pt x="64" y="92"/>
                    </a:cubicBezTo>
                    <a:cubicBezTo>
                      <a:pt x="65" y="89"/>
                      <a:pt x="64" y="83"/>
                      <a:pt x="62" y="76"/>
                    </a:cubicBezTo>
                    <a:cubicBezTo>
                      <a:pt x="58" y="65"/>
                      <a:pt x="47" y="58"/>
                      <a:pt x="43" y="56"/>
                    </a:cubicBezTo>
                    <a:cubicBezTo>
                      <a:pt x="43" y="56"/>
                      <a:pt x="43" y="56"/>
                      <a:pt x="43" y="56"/>
                    </a:cubicBezTo>
                    <a:cubicBezTo>
                      <a:pt x="43" y="55"/>
                      <a:pt x="42" y="55"/>
                      <a:pt x="42" y="55"/>
                    </a:cubicBezTo>
                    <a:cubicBezTo>
                      <a:pt x="42" y="54"/>
                      <a:pt x="43" y="54"/>
                      <a:pt x="43" y="53"/>
                    </a:cubicBezTo>
                    <a:cubicBezTo>
                      <a:pt x="43" y="53"/>
                      <a:pt x="43" y="53"/>
                      <a:pt x="43" y="53"/>
                    </a:cubicBezTo>
                    <a:cubicBezTo>
                      <a:pt x="52" y="43"/>
                      <a:pt x="58" y="36"/>
                      <a:pt x="61" y="31"/>
                    </a:cubicBezTo>
                    <a:cubicBezTo>
                      <a:pt x="64" y="25"/>
                      <a:pt x="64" y="16"/>
                      <a:pt x="64" y="11"/>
                    </a:cubicBezTo>
                    <a:cubicBezTo>
                      <a:pt x="65" y="11"/>
                      <a:pt x="65" y="11"/>
                      <a:pt x="65" y="11"/>
                    </a:cubicBezTo>
                    <a:cubicBezTo>
                      <a:pt x="68" y="11"/>
                      <a:pt x="70" y="9"/>
                      <a:pt x="70" y="6"/>
                    </a:cubicBezTo>
                    <a:cubicBezTo>
                      <a:pt x="70" y="2"/>
                      <a:pt x="68" y="0"/>
                      <a:pt x="6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2"/>
                      <a:pt x="0" y="6"/>
                    </a:cubicBezTo>
                    <a:cubicBezTo>
                      <a:pt x="0" y="9"/>
                      <a:pt x="2" y="11"/>
                      <a:pt x="5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6"/>
                      <a:pt x="6" y="25"/>
                      <a:pt x="9" y="31"/>
                    </a:cubicBezTo>
                    <a:cubicBezTo>
                      <a:pt x="12" y="36"/>
                      <a:pt x="18" y="43"/>
                      <a:pt x="27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27" y="54"/>
                      <a:pt x="28" y="54"/>
                      <a:pt x="28" y="55"/>
                    </a:cubicBezTo>
                    <a:cubicBezTo>
                      <a:pt x="28" y="55"/>
                      <a:pt x="27" y="55"/>
                      <a:pt x="27" y="55"/>
                    </a:cubicBezTo>
                    <a:cubicBezTo>
                      <a:pt x="27" y="56"/>
                      <a:pt x="27" y="56"/>
                      <a:pt x="26" y="56"/>
                    </a:cubicBezTo>
                    <a:cubicBezTo>
                      <a:pt x="23" y="58"/>
                      <a:pt x="12" y="65"/>
                      <a:pt x="8" y="76"/>
                    </a:cubicBezTo>
                    <a:cubicBezTo>
                      <a:pt x="6" y="83"/>
                      <a:pt x="5" y="89"/>
                      <a:pt x="6" y="92"/>
                    </a:cubicBezTo>
                    <a:cubicBezTo>
                      <a:pt x="5" y="92"/>
                      <a:pt x="5" y="92"/>
                      <a:pt x="5" y="92"/>
                    </a:cubicBezTo>
                    <a:cubicBezTo>
                      <a:pt x="2" y="92"/>
                      <a:pt x="0" y="95"/>
                      <a:pt x="0" y="98"/>
                    </a:cubicBezTo>
                    <a:cubicBezTo>
                      <a:pt x="0" y="101"/>
                      <a:pt x="2" y="104"/>
                      <a:pt x="5" y="104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8" y="104"/>
                      <a:pt x="70" y="101"/>
                      <a:pt x="70" y="98"/>
                    </a:cubicBezTo>
                    <a:cubicBezTo>
                      <a:pt x="70" y="95"/>
                      <a:pt x="68" y="92"/>
                      <a:pt x="65" y="92"/>
                    </a:cubicBezTo>
                    <a:close/>
                    <a:moveTo>
                      <a:pt x="11" y="77"/>
                    </a:moveTo>
                    <a:cubicBezTo>
                      <a:pt x="13" y="70"/>
                      <a:pt x="19" y="64"/>
                      <a:pt x="28" y="59"/>
                    </a:cubicBezTo>
                    <a:cubicBezTo>
                      <a:pt x="28" y="59"/>
                      <a:pt x="29" y="58"/>
                      <a:pt x="29" y="58"/>
                    </a:cubicBezTo>
                    <a:cubicBezTo>
                      <a:pt x="30" y="58"/>
                      <a:pt x="30" y="56"/>
                      <a:pt x="31" y="55"/>
                    </a:cubicBezTo>
                    <a:cubicBezTo>
                      <a:pt x="31" y="54"/>
                      <a:pt x="30" y="52"/>
                      <a:pt x="29" y="51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18" y="39"/>
                      <a:pt x="13" y="32"/>
                      <a:pt x="12" y="29"/>
                    </a:cubicBezTo>
                    <a:cubicBezTo>
                      <a:pt x="9" y="24"/>
                      <a:pt x="9" y="16"/>
                      <a:pt x="9" y="11"/>
                    </a:cubicBezTo>
                    <a:cubicBezTo>
                      <a:pt x="61" y="11"/>
                      <a:pt x="61" y="11"/>
                      <a:pt x="61" y="11"/>
                    </a:cubicBezTo>
                    <a:cubicBezTo>
                      <a:pt x="61" y="16"/>
                      <a:pt x="61" y="24"/>
                      <a:pt x="58" y="29"/>
                    </a:cubicBezTo>
                    <a:cubicBezTo>
                      <a:pt x="57" y="32"/>
                      <a:pt x="52" y="39"/>
                      <a:pt x="41" y="50"/>
                    </a:cubicBezTo>
                    <a:cubicBezTo>
                      <a:pt x="41" y="51"/>
                      <a:pt x="41" y="51"/>
                      <a:pt x="41" y="51"/>
                    </a:cubicBezTo>
                    <a:cubicBezTo>
                      <a:pt x="40" y="52"/>
                      <a:pt x="39" y="54"/>
                      <a:pt x="39" y="55"/>
                    </a:cubicBezTo>
                    <a:cubicBezTo>
                      <a:pt x="40" y="56"/>
                      <a:pt x="40" y="58"/>
                      <a:pt x="41" y="58"/>
                    </a:cubicBezTo>
                    <a:cubicBezTo>
                      <a:pt x="41" y="58"/>
                      <a:pt x="42" y="59"/>
                      <a:pt x="42" y="59"/>
                    </a:cubicBezTo>
                    <a:cubicBezTo>
                      <a:pt x="51" y="64"/>
                      <a:pt x="57" y="70"/>
                      <a:pt x="59" y="77"/>
                    </a:cubicBezTo>
                    <a:cubicBezTo>
                      <a:pt x="61" y="84"/>
                      <a:pt x="62" y="89"/>
                      <a:pt x="62" y="92"/>
                    </a:cubicBezTo>
                    <a:cubicBezTo>
                      <a:pt x="55" y="92"/>
                      <a:pt x="55" y="92"/>
                      <a:pt x="55" y="92"/>
                    </a:cubicBezTo>
                    <a:cubicBezTo>
                      <a:pt x="54" y="71"/>
                      <a:pt x="37" y="66"/>
                      <a:pt x="35" y="66"/>
                    </a:cubicBezTo>
                    <a:cubicBezTo>
                      <a:pt x="20" y="68"/>
                      <a:pt x="16" y="85"/>
                      <a:pt x="15" y="92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89"/>
                      <a:pt x="9" y="84"/>
                      <a:pt x="11" y="77"/>
                    </a:cubicBez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91" name="Freeform 14"/>
              <p:cNvSpPr>
                <a:spLocks noChangeAspect="1"/>
              </p:cNvSpPr>
              <p:nvPr/>
            </p:nvSpPr>
            <p:spPr bwMode="gray">
              <a:xfrm>
                <a:off x="7883525" y="1638300"/>
                <a:ext cx="330200" cy="180975"/>
              </a:xfrm>
              <a:custGeom>
                <a:avLst/>
                <a:gdLst/>
                <a:ahLst/>
                <a:cxnLst>
                  <a:cxn ang="0">
                    <a:pos x="26" y="1"/>
                  </a:cxn>
                  <a:cxn ang="0">
                    <a:pos x="0" y="1"/>
                  </a:cxn>
                  <a:cxn ang="0">
                    <a:pos x="14" y="16"/>
                  </a:cxn>
                  <a:cxn ang="0">
                    <a:pos x="26" y="1"/>
                  </a:cxn>
                </a:cxnLst>
                <a:rect l="0" t="0" r="r" b="b"/>
                <a:pathLst>
                  <a:path w="29" h="16">
                    <a:moveTo>
                      <a:pt x="26" y="1"/>
                    </a:moveTo>
                    <a:cubicBezTo>
                      <a:pt x="25" y="1"/>
                      <a:pt x="0" y="0"/>
                      <a:pt x="0" y="1"/>
                    </a:cubicBezTo>
                    <a:cubicBezTo>
                      <a:pt x="0" y="9"/>
                      <a:pt x="14" y="16"/>
                      <a:pt x="14" y="16"/>
                    </a:cubicBezTo>
                    <a:cubicBezTo>
                      <a:pt x="23" y="10"/>
                      <a:pt x="29" y="2"/>
                      <a:pt x="26" y="1"/>
                    </a:cubicBezTo>
                    <a:close/>
                  </a:path>
                </a:pathLst>
              </a:custGeom>
              <a:solidFill>
                <a:srgbClr val="72C7E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292" name="Freeform 18"/>
            <p:cNvSpPr>
              <a:spLocks noChangeAspect="1" noEditPoints="1"/>
            </p:cNvSpPr>
            <p:nvPr/>
          </p:nvSpPr>
          <p:spPr bwMode="gray">
            <a:xfrm>
              <a:off x="1986523" y="5907282"/>
              <a:ext cx="193669" cy="280800"/>
            </a:xfrm>
            <a:custGeom>
              <a:avLst/>
              <a:gdLst/>
              <a:ahLst/>
              <a:cxnLst>
                <a:cxn ang="0">
                  <a:pos x="67" y="93"/>
                </a:cxn>
                <a:cxn ang="0">
                  <a:pos x="44" y="41"/>
                </a:cxn>
                <a:cxn ang="0">
                  <a:pos x="44" y="9"/>
                </a:cxn>
                <a:cxn ang="0">
                  <a:pos x="44" y="5"/>
                </a:cxn>
                <a:cxn ang="0">
                  <a:pos x="46" y="3"/>
                </a:cxn>
                <a:cxn ang="0">
                  <a:pos x="44" y="0"/>
                </a:cxn>
                <a:cxn ang="0">
                  <a:pos x="24" y="0"/>
                </a:cxn>
                <a:cxn ang="0">
                  <a:pos x="22" y="3"/>
                </a:cxn>
                <a:cxn ang="0">
                  <a:pos x="24" y="5"/>
                </a:cxn>
                <a:cxn ang="0">
                  <a:pos x="24" y="9"/>
                </a:cxn>
                <a:cxn ang="0">
                  <a:pos x="24" y="41"/>
                </a:cxn>
                <a:cxn ang="0">
                  <a:pos x="1" y="93"/>
                </a:cxn>
                <a:cxn ang="0">
                  <a:pos x="5" y="99"/>
                </a:cxn>
                <a:cxn ang="0">
                  <a:pos x="63" y="99"/>
                </a:cxn>
                <a:cxn ang="0">
                  <a:pos x="67" y="93"/>
                </a:cxn>
                <a:cxn ang="0">
                  <a:pos x="32" y="60"/>
                </a:cxn>
                <a:cxn ang="0">
                  <a:pos x="34" y="57"/>
                </a:cxn>
                <a:cxn ang="0">
                  <a:pos x="45" y="57"/>
                </a:cxn>
                <a:cxn ang="0">
                  <a:pos x="47" y="60"/>
                </a:cxn>
                <a:cxn ang="0">
                  <a:pos x="45" y="62"/>
                </a:cxn>
                <a:cxn ang="0">
                  <a:pos x="34" y="62"/>
                </a:cxn>
                <a:cxn ang="0">
                  <a:pos x="32" y="60"/>
                </a:cxn>
                <a:cxn ang="0">
                  <a:pos x="36" y="67"/>
                </a:cxn>
                <a:cxn ang="0">
                  <a:pos x="38" y="65"/>
                </a:cxn>
                <a:cxn ang="0">
                  <a:pos x="48" y="65"/>
                </a:cxn>
                <a:cxn ang="0">
                  <a:pos x="50" y="67"/>
                </a:cxn>
                <a:cxn ang="0">
                  <a:pos x="48" y="69"/>
                </a:cxn>
                <a:cxn ang="0">
                  <a:pos x="38" y="69"/>
                </a:cxn>
                <a:cxn ang="0">
                  <a:pos x="36" y="67"/>
                </a:cxn>
                <a:cxn ang="0">
                  <a:pos x="52" y="77"/>
                </a:cxn>
                <a:cxn ang="0">
                  <a:pos x="41" y="77"/>
                </a:cxn>
                <a:cxn ang="0">
                  <a:pos x="39" y="75"/>
                </a:cxn>
                <a:cxn ang="0">
                  <a:pos x="41" y="73"/>
                </a:cxn>
                <a:cxn ang="0">
                  <a:pos x="52" y="73"/>
                </a:cxn>
                <a:cxn ang="0">
                  <a:pos x="54" y="75"/>
                </a:cxn>
                <a:cxn ang="0">
                  <a:pos x="52" y="77"/>
                </a:cxn>
              </a:cxnLst>
              <a:rect l="0" t="0" r="r" b="b"/>
              <a:pathLst>
                <a:path w="68" h="99">
                  <a:moveTo>
                    <a:pt x="67" y="93"/>
                  </a:moveTo>
                  <a:cubicBezTo>
                    <a:pt x="44" y="41"/>
                    <a:pt x="44" y="41"/>
                    <a:pt x="44" y="41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7"/>
                    <a:pt x="44" y="5"/>
                    <a:pt x="44" y="5"/>
                  </a:cubicBezTo>
                  <a:cubicBezTo>
                    <a:pt x="44" y="5"/>
                    <a:pt x="45" y="4"/>
                    <a:pt x="46" y="3"/>
                  </a:cubicBezTo>
                  <a:cubicBezTo>
                    <a:pt x="47" y="1"/>
                    <a:pt x="46" y="0"/>
                    <a:pt x="4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2" y="0"/>
                    <a:pt x="21" y="1"/>
                    <a:pt x="22" y="3"/>
                  </a:cubicBezTo>
                  <a:cubicBezTo>
                    <a:pt x="23" y="4"/>
                    <a:pt x="24" y="5"/>
                    <a:pt x="24" y="5"/>
                  </a:cubicBezTo>
                  <a:cubicBezTo>
                    <a:pt x="24" y="5"/>
                    <a:pt x="24" y="7"/>
                    <a:pt x="24" y="9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0" y="97"/>
                    <a:pt x="1" y="99"/>
                    <a:pt x="5" y="99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6" y="99"/>
                    <a:pt x="68" y="97"/>
                    <a:pt x="67" y="93"/>
                  </a:cubicBezTo>
                  <a:close/>
                  <a:moveTo>
                    <a:pt x="32" y="60"/>
                  </a:moveTo>
                  <a:cubicBezTo>
                    <a:pt x="32" y="58"/>
                    <a:pt x="33" y="57"/>
                    <a:pt x="34" y="57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46" y="57"/>
                    <a:pt x="47" y="58"/>
                    <a:pt x="47" y="60"/>
                  </a:cubicBezTo>
                  <a:cubicBezTo>
                    <a:pt x="47" y="61"/>
                    <a:pt x="46" y="62"/>
                    <a:pt x="45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3" y="62"/>
                    <a:pt x="32" y="61"/>
                    <a:pt x="32" y="60"/>
                  </a:cubicBezTo>
                  <a:close/>
                  <a:moveTo>
                    <a:pt x="36" y="67"/>
                  </a:moveTo>
                  <a:cubicBezTo>
                    <a:pt x="36" y="66"/>
                    <a:pt x="37" y="65"/>
                    <a:pt x="3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9" y="65"/>
                    <a:pt x="50" y="66"/>
                    <a:pt x="50" y="67"/>
                  </a:cubicBezTo>
                  <a:cubicBezTo>
                    <a:pt x="50" y="68"/>
                    <a:pt x="49" y="69"/>
                    <a:pt x="48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7" y="69"/>
                    <a:pt x="36" y="68"/>
                    <a:pt x="36" y="67"/>
                  </a:cubicBezTo>
                  <a:close/>
                  <a:moveTo>
                    <a:pt x="52" y="77"/>
                  </a:moveTo>
                  <a:cubicBezTo>
                    <a:pt x="41" y="77"/>
                    <a:pt x="41" y="77"/>
                    <a:pt x="41" y="77"/>
                  </a:cubicBezTo>
                  <a:cubicBezTo>
                    <a:pt x="40" y="77"/>
                    <a:pt x="39" y="76"/>
                    <a:pt x="39" y="75"/>
                  </a:cubicBezTo>
                  <a:cubicBezTo>
                    <a:pt x="39" y="74"/>
                    <a:pt x="40" y="73"/>
                    <a:pt x="41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3" y="73"/>
                    <a:pt x="54" y="74"/>
                    <a:pt x="54" y="75"/>
                  </a:cubicBezTo>
                  <a:cubicBezTo>
                    <a:pt x="54" y="76"/>
                    <a:pt x="53" y="77"/>
                    <a:pt x="52" y="77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3" name="Freeform 22"/>
            <p:cNvSpPr>
              <a:spLocks noChangeAspect="1" noEditPoints="1"/>
            </p:cNvSpPr>
            <p:nvPr/>
          </p:nvSpPr>
          <p:spPr bwMode="gray">
            <a:xfrm>
              <a:off x="2490178" y="5894682"/>
              <a:ext cx="169252" cy="306000"/>
            </a:xfrm>
            <a:custGeom>
              <a:avLst/>
              <a:gdLst/>
              <a:ahLst/>
              <a:cxnLst>
                <a:cxn ang="0">
                  <a:pos x="28" y="88"/>
                </a:cxn>
                <a:cxn ang="0">
                  <a:pos x="37" y="79"/>
                </a:cxn>
                <a:cxn ang="0">
                  <a:pos x="55" y="79"/>
                </a:cxn>
                <a:cxn ang="0">
                  <a:pos x="59" y="74"/>
                </a:cxn>
                <a:cxn ang="0">
                  <a:pos x="28" y="74"/>
                </a:cxn>
                <a:cxn ang="0">
                  <a:pos x="23" y="70"/>
                </a:cxn>
                <a:cxn ang="0">
                  <a:pos x="23" y="70"/>
                </a:cxn>
                <a:cxn ang="0">
                  <a:pos x="28" y="49"/>
                </a:cxn>
                <a:cxn ang="0">
                  <a:pos x="28" y="49"/>
                </a:cxn>
                <a:cxn ang="0">
                  <a:pos x="29" y="48"/>
                </a:cxn>
                <a:cxn ang="0">
                  <a:pos x="28" y="49"/>
                </a:cxn>
                <a:cxn ang="0">
                  <a:pos x="33" y="45"/>
                </a:cxn>
                <a:cxn ang="0">
                  <a:pos x="40" y="45"/>
                </a:cxn>
                <a:cxn ang="0">
                  <a:pos x="40" y="51"/>
                </a:cxn>
                <a:cxn ang="0">
                  <a:pos x="40" y="51"/>
                </a:cxn>
                <a:cxn ang="0">
                  <a:pos x="40" y="57"/>
                </a:cxn>
                <a:cxn ang="0">
                  <a:pos x="40" y="57"/>
                </a:cxn>
                <a:cxn ang="0">
                  <a:pos x="40" y="57"/>
                </a:cxn>
                <a:cxn ang="0">
                  <a:pos x="40" y="57"/>
                </a:cxn>
                <a:cxn ang="0">
                  <a:pos x="41" y="58"/>
                </a:cxn>
                <a:cxn ang="0">
                  <a:pos x="41" y="58"/>
                </a:cxn>
                <a:cxn ang="0">
                  <a:pos x="42" y="58"/>
                </a:cxn>
                <a:cxn ang="0">
                  <a:pos x="42" y="60"/>
                </a:cxn>
                <a:cxn ang="0">
                  <a:pos x="44" y="63"/>
                </a:cxn>
                <a:cxn ang="0">
                  <a:pos x="47" y="63"/>
                </a:cxn>
                <a:cxn ang="0">
                  <a:pos x="49" y="60"/>
                </a:cxn>
                <a:cxn ang="0">
                  <a:pos x="49" y="58"/>
                </a:cxn>
                <a:cxn ang="0">
                  <a:pos x="51" y="58"/>
                </a:cxn>
                <a:cxn ang="0">
                  <a:pos x="51" y="58"/>
                </a:cxn>
                <a:cxn ang="0">
                  <a:pos x="52" y="57"/>
                </a:cxn>
                <a:cxn ang="0">
                  <a:pos x="52" y="57"/>
                </a:cxn>
                <a:cxn ang="0">
                  <a:pos x="52" y="57"/>
                </a:cxn>
                <a:cxn ang="0">
                  <a:pos x="52" y="57"/>
                </a:cxn>
                <a:cxn ang="0">
                  <a:pos x="52" y="47"/>
                </a:cxn>
                <a:cxn ang="0">
                  <a:pos x="52" y="47"/>
                </a:cxn>
                <a:cxn ang="0">
                  <a:pos x="52" y="23"/>
                </a:cxn>
                <a:cxn ang="0">
                  <a:pos x="50" y="20"/>
                </a:cxn>
                <a:cxn ang="0">
                  <a:pos x="50" y="9"/>
                </a:cxn>
                <a:cxn ang="0">
                  <a:pos x="52" y="7"/>
                </a:cxn>
                <a:cxn ang="0">
                  <a:pos x="52" y="0"/>
                </a:cxn>
                <a:cxn ang="0">
                  <a:pos x="39" y="0"/>
                </a:cxn>
                <a:cxn ang="0">
                  <a:pos x="39" y="7"/>
                </a:cxn>
                <a:cxn ang="0">
                  <a:pos x="41" y="9"/>
                </a:cxn>
                <a:cxn ang="0">
                  <a:pos x="41" y="20"/>
                </a:cxn>
                <a:cxn ang="0">
                  <a:pos x="40" y="23"/>
                </a:cxn>
                <a:cxn ang="0">
                  <a:pos x="40" y="25"/>
                </a:cxn>
                <a:cxn ang="0">
                  <a:pos x="28" y="25"/>
                </a:cxn>
                <a:cxn ang="0">
                  <a:pos x="13" y="79"/>
                </a:cxn>
                <a:cxn ang="0">
                  <a:pos x="13" y="79"/>
                </a:cxn>
                <a:cxn ang="0">
                  <a:pos x="13" y="79"/>
                </a:cxn>
                <a:cxn ang="0">
                  <a:pos x="13" y="79"/>
                </a:cxn>
                <a:cxn ang="0">
                  <a:pos x="13" y="79"/>
                </a:cxn>
                <a:cxn ang="0">
                  <a:pos x="9" y="108"/>
                </a:cxn>
                <a:cxn ang="0">
                  <a:pos x="59" y="108"/>
                </a:cxn>
                <a:cxn ang="0">
                  <a:pos x="59" y="98"/>
                </a:cxn>
                <a:cxn ang="0">
                  <a:pos x="36" y="98"/>
                </a:cxn>
                <a:cxn ang="0">
                  <a:pos x="28" y="88"/>
                </a:cxn>
                <a:cxn ang="0">
                  <a:pos x="37" y="28"/>
                </a:cxn>
                <a:cxn ang="0">
                  <a:pos x="40" y="31"/>
                </a:cxn>
                <a:cxn ang="0">
                  <a:pos x="37" y="34"/>
                </a:cxn>
                <a:cxn ang="0">
                  <a:pos x="33" y="31"/>
                </a:cxn>
                <a:cxn ang="0">
                  <a:pos x="37" y="28"/>
                </a:cxn>
              </a:cxnLst>
              <a:rect l="0" t="0" r="r" b="b"/>
              <a:pathLst>
                <a:path w="59" h="108">
                  <a:moveTo>
                    <a:pt x="28" y="88"/>
                  </a:moveTo>
                  <a:cubicBezTo>
                    <a:pt x="28" y="88"/>
                    <a:pt x="27" y="79"/>
                    <a:pt x="37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9" y="79"/>
                    <a:pt x="59" y="74"/>
                    <a:pt x="59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4" y="74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64"/>
                    <a:pt x="25" y="56"/>
                    <a:pt x="28" y="49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8" y="48"/>
                    <a:pt x="28" y="49"/>
                    <a:pt x="28" y="49"/>
                  </a:cubicBezTo>
                  <a:cubicBezTo>
                    <a:pt x="29" y="47"/>
                    <a:pt x="31" y="45"/>
                    <a:pt x="33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0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2" y="62"/>
                    <a:pt x="43" y="63"/>
                    <a:pt x="44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8" y="63"/>
                    <a:pt x="49" y="62"/>
                    <a:pt x="49" y="60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58"/>
                    <a:pt x="52" y="58"/>
                    <a:pt x="52" y="57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47"/>
                    <a:pt x="52" y="47"/>
                    <a:pt x="52" y="47"/>
                  </a:cubicBezTo>
                  <a:cubicBezTo>
                    <a:pt x="52" y="47"/>
                    <a:pt x="52" y="47"/>
                    <a:pt x="52" y="47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2"/>
                    <a:pt x="51" y="21"/>
                    <a:pt x="50" y="20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1" y="9"/>
                    <a:pt x="52" y="8"/>
                    <a:pt x="52" y="7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8"/>
                    <a:pt x="40" y="9"/>
                    <a:pt x="41" y="9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0" y="21"/>
                    <a:pt x="40" y="22"/>
                    <a:pt x="40" y="23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0" y="64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8" y="89"/>
                    <a:pt x="5" y="101"/>
                    <a:pt x="9" y="108"/>
                  </a:cubicBezTo>
                  <a:cubicBezTo>
                    <a:pt x="59" y="108"/>
                    <a:pt x="59" y="108"/>
                    <a:pt x="59" y="108"/>
                  </a:cubicBezTo>
                  <a:cubicBezTo>
                    <a:pt x="59" y="98"/>
                    <a:pt x="59" y="98"/>
                    <a:pt x="59" y="98"/>
                  </a:cubicBezTo>
                  <a:cubicBezTo>
                    <a:pt x="36" y="98"/>
                    <a:pt x="36" y="98"/>
                    <a:pt x="36" y="98"/>
                  </a:cubicBezTo>
                  <a:cubicBezTo>
                    <a:pt x="36" y="98"/>
                    <a:pt x="28" y="97"/>
                    <a:pt x="28" y="88"/>
                  </a:cubicBezTo>
                  <a:close/>
                  <a:moveTo>
                    <a:pt x="37" y="28"/>
                  </a:moveTo>
                  <a:cubicBezTo>
                    <a:pt x="38" y="28"/>
                    <a:pt x="40" y="29"/>
                    <a:pt x="40" y="31"/>
                  </a:cubicBezTo>
                  <a:cubicBezTo>
                    <a:pt x="40" y="33"/>
                    <a:pt x="38" y="34"/>
                    <a:pt x="37" y="34"/>
                  </a:cubicBezTo>
                  <a:cubicBezTo>
                    <a:pt x="35" y="34"/>
                    <a:pt x="33" y="33"/>
                    <a:pt x="33" y="31"/>
                  </a:cubicBezTo>
                  <a:cubicBezTo>
                    <a:pt x="33" y="29"/>
                    <a:pt x="35" y="28"/>
                    <a:pt x="37" y="28"/>
                  </a:cubicBez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4" name="Freeform 26"/>
            <p:cNvSpPr>
              <a:spLocks noChangeAspect="1" noEditPoints="1"/>
            </p:cNvSpPr>
            <p:nvPr/>
          </p:nvSpPr>
          <p:spPr bwMode="gray">
            <a:xfrm>
              <a:off x="3002848" y="5880282"/>
              <a:ext cx="177131" cy="334800"/>
            </a:xfrm>
            <a:custGeom>
              <a:avLst/>
              <a:gdLst/>
              <a:ahLst/>
              <a:cxnLst>
                <a:cxn ang="0">
                  <a:pos x="46" y="91"/>
                </a:cxn>
                <a:cxn ang="0">
                  <a:pos x="42" y="99"/>
                </a:cxn>
                <a:cxn ang="0">
                  <a:pos x="28" y="95"/>
                </a:cxn>
                <a:cxn ang="0">
                  <a:pos x="41" y="89"/>
                </a:cxn>
                <a:cxn ang="0">
                  <a:pos x="47" y="86"/>
                </a:cxn>
                <a:cxn ang="0">
                  <a:pos x="62" y="58"/>
                </a:cxn>
                <a:cxn ang="0">
                  <a:pos x="48" y="30"/>
                </a:cxn>
                <a:cxn ang="0">
                  <a:pos x="42" y="36"/>
                </a:cxn>
                <a:cxn ang="0">
                  <a:pos x="29" y="32"/>
                </a:cxn>
                <a:cxn ang="0">
                  <a:pos x="54" y="20"/>
                </a:cxn>
                <a:cxn ang="0">
                  <a:pos x="5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14" y="25"/>
                </a:cxn>
                <a:cxn ang="0">
                  <a:pos x="25" y="21"/>
                </a:cxn>
                <a:cxn ang="0">
                  <a:pos x="41" y="19"/>
                </a:cxn>
                <a:cxn ang="0">
                  <a:pos x="34" y="23"/>
                </a:cxn>
                <a:cxn ang="0">
                  <a:pos x="8" y="35"/>
                </a:cxn>
                <a:cxn ang="0">
                  <a:pos x="8" y="81"/>
                </a:cxn>
                <a:cxn ang="0">
                  <a:pos x="26" y="82"/>
                </a:cxn>
                <a:cxn ang="0">
                  <a:pos x="42" y="79"/>
                </a:cxn>
                <a:cxn ang="0">
                  <a:pos x="20" y="89"/>
                </a:cxn>
                <a:cxn ang="0">
                  <a:pos x="20" y="89"/>
                </a:cxn>
                <a:cxn ang="0">
                  <a:pos x="9" y="97"/>
                </a:cxn>
                <a:cxn ang="0">
                  <a:pos x="8" y="118"/>
                </a:cxn>
                <a:cxn ang="0">
                  <a:pos x="56" y="118"/>
                </a:cxn>
                <a:cxn ang="0">
                  <a:pos x="62" y="118"/>
                </a:cxn>
                <a:cxn ang="0">
                  <a:pos x="13" y="12"/>
                </a:cxn>
                <a:cxn ang="0">
                  <a:pos x="52" y="7"/>
                </a:cxn>
                <a:cxn ang="0">
                  <a:pos x="13" y="12"/>
                </a:cxn>
                <a:cxn ang="0">
                  <a:pos x="50" y="44"/>
                </a:cxn>
                <a:cxn ang="0">
                  <a:pos x="10" y="48"/>
                </a:cxn>
                <a:cxn ang="0">
                  <a:pos x="8" y="60"/>
                </a:cxn>
                <a:cxn ang="0">
                  <a:pos x="8" y="55"/>
                </a:cxn>
                <a:cxn ang="0">
                  <a:pos x="54" y="58"/>
                </a:cxn>
                <a:cxn ang="0">
                  <a:pos x="8" y="60"/>
                </a:cxn>
                <a:cxn ang="0">
                  <a:pos x="10" y="67"/>
                </a:cxn>
                <a:cxn ang="0">
                  <a:pos x="50" y="72"/>
                </a:cxn>
                <a:cxn ang="0">
                  <a:pos x="10" y="111"/>
                </a:cxn>
                <a:cxn ang="0">
                  <a:pos x="50" y="106"/>
                </a:cxn>
                <a:cxn ang="0">
                  <a:pos x="10" y="111"/>
                </a:cxn>
              </a:cxnLst>
              <a:rect l="0" t="0" r="r" b="b"/>
              <a:pathLst>
                <a:path w="62" h="118">
                  <a:moveTo>
                    <a:pt x="54" y="97"/>
                  </a:moveTo>
                  <a:cubicBezTo>
                    <a:pt x="51" y="95"/>
                    <a:pt x="50" y="94"/>
                    <a:pt x="46" y="91"/>
                  </a:cubicBezTo>
                  <a:cubicBezTo>
                    <a:pt x="42" y="94"/>
                    <a:pt x="39" y="95"/>
                    <a:pt x="36" y="96"/>
                  </a:cubicBezTo>
                  <a:cubicBezTo>
                    <a:pt x="39" y="97"/>
                    <a:pt x="40" y="97"/>
                    <a:pt x="42" y="99"/>
                  </a:cubicBezTo>
                  <a:cubicBezTo>
                    <a:pt x="20" y="99"/>
                    <a:pt x="20" y="99"/>
                    <a:pt x="20" y="99"/>
                  </a:cubicBezTo>
                  <a:cubicBezTo>
                    <a:pt x="22" y="97"/>
                    <a:pt x="25" y="96"/>
                    <a:pt x="28" y="95"/>
                  </a:cubicBezTo>
                  <a:cubicBezTo>
                    <a:pt x="33" y="93"/>
                    <a:pt x="36" y="92"/>
                    <a:pt x="41" y="89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2" y="89"/>
                    <a:pt x="42" y="89"/>
                    <a:pt x="43" y="88"/>
                  </a:cubicBezTo>
                  <a:cubicBezTo>
                    <a:pt x="44" y="88"/>
                    <a:pt x="45" y="87"/>
                    <a:pt x="47" y="86"/>
                  </a:cubicBezTo>
                  <a:cubicBezTo>
                    <a:pt x="49" y="84"/>
                    <a:pt x="52" y="83"/>
                    <a:pt x="53" y="81"/>
                  </a:cubicBezTo>
                  <a:cubicBezTo>
                    <a:pt x="59" y="75"/>
                    <a:pt x="62" y="67"/>
                    <a:pt x="62" y="58"/>
                  </a:cubicBezTo>
                  <a:cubicBezTo>
                    <a:pt x="62" y="49"/>
                    <a:pt x="59" y="41"/>
                    <a:pt x="53" y="35"/>
                  </a:cubicBezTo>
                  <a:cubicBezTo>
                    <a:pt x="53" y="34"/>
                    <a:pt x="51" y="32"/>
                    <a:pt x="48" y="30"/>
                  </a:cubicBezTo>
                  <a:cubicBezTo>
                    <a:pt x="43" y="32"/>
                    <a:pt x="41" y="33"/>
                    <a:pt x="37" y="34"/>
                  </a:cubicBezTo>
                  <a:cubicBezTo>
                    <a:pt x="40" y="35"/>
                    <a:pt x="42" y="36"/>
                    <a:pt x="42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3" y="35"/>
                    <a:pt x="26" y="34"/>
                    <a:pt x="29" y="32"/>
                  </a:cubicBezTo>
                  <a:cubicBezTo>
                    <a:pt x="35" y="30"/>
                    <a:pt x="38" y="30"/>
                    <a:pt x="44" y="27"/>
                  </a:cubicBezTo>
                  <a:cubicBezTo>
                    <a:pt x="48" y="25"/>
                    <a:pt x="51" y="23"/>
                    <a:pt x="54" y="20"/>
                  </a:cubicBezTo>
                  <a:cubicBezTo>
                    <a:pt x="59" y="15"/>
                    <a:pt x="62" y="8"/>
                    <a:pt x="6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8"/>
                    <a:pt x="4" y="15"/>
                    <a:pt x="9" y="20"/>
                  </a:cubicBezTo>
                  <a:cubicBezTo>
                    <a:pt x="11" y="23"/>
                    <a:pt x="11" y="23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7" y="24"/>
                    <a:pt x="25" y="21"/>
                    <a:pt x="25" y="21"/>
                  </a:cubicBezTo>
                  <a:cubicBezTo>
                    <a:pt x="23" y="20"/>
                    <a:pt x="23" y="20"/>
                    <a:pt x="21" y="19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39" y="20"/>
                    <a:pt x="36" y="22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22" y="26"/>
                    <a:pt x="20" y="27"/>
                    <a:pt x="15" y="30"/>
                  </a:cubicBezTo>
                  <a:cubicBezTo>
                    <a:pt x="13" y="31"/>
                    <a:pt x="10" y="33"/>
                    <a:pt x="8" y="35"/>
                  </a:cubicBezTo>
                  <a:cubicBezTo>
                    <a:pt x="3" y="41"/>
                    <a:pt x="0" y="49"/>
                    <a:pt x="0" y="58"/>
                  </a:cubicBezTo>
                  <a:cubicBezTo>
                    <a:pt x="0" y="67"/>
                    <a:pt x="3" y="75"/>
                    <a:pt x="8" y="81"/>
                  </a:cubicBezTo>
                  <a:cubicBezTo>
                    <a:pt x="11" y="84"/>
                    <a:pt x="12" y="85"/>
                    <a:pt x="16" y="87"/>
                  </a:cubicBezTo>
                  <a:cubicBezTo>
                    <a:pt x="19" y="85"/>
                    <a:pt x="21" y="84"/>
                    <a:pt x="26" y="82"/>
                  </a:cubicBezTo>
                  <a:cubicBezTo>
                    <a:pt x="22" y="81"/>
                    <a:pt x="22" y="81"/>
                    <a:pt x="20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0" y="81"/>
                    <a:pt x="37" y="82"/>
                    <a:pt x="34" y="83"/>
                  </a:cubicBezTo>
                  <a:cubicBezTo>
                    <a:pt x="27" y="86"/>
                    <a:pt x="24" y="88"/>
                    <a:pt x="20" y="89"/>
                  </a:cubicBezTo>
                  <a:cubicBezTo>
                    <a:pt x="20" y="89"/>
                    <a:pt x="20" y="89"/>
                    <a:pt x="20" y="89"/>
                  </a:cubicBezTo>
                  <a:cubicBezTo>
                    <a:pt x="20" y="89"/>
                    <a:pt x="20" y="89"/>
                    <a:pt x="20" y="89"/>
                  </a:cubicBezTo>
                  <a:cubicBezTo>
                    <a:pt x="18" y="90"/>
                    <a:pt x="17" y="91"/>
                    <a:pt x="15" y="92"/>
                  </a:cubicBezTo>
                  <a:cubicBezTo>
                    <a:pt x="12" y="94"/>
                    <a:pt x="10" y="95"/>
                    <a:pt x="9" y="97"/>
                  </a:cubicBezTo>
                  <a:cubicBezTo>
                    <a:pt x="4" y="103"/>
                    <a:pt x="1" y="110"/>
                    <a:pt x="0" y="118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62" y="118"/>
                    <a:pt x="62" y="118"/>
                    <a:pt x="62" y="118"/>
                  </a:cubicBezTo>
                  <a:cubicBezTo>
                    <a:pt x="62" y="110"/>
                    <a:pt x="59" y="103"/>
                    <a:pt x="54" y="97"/>
                  </a:cubicBezTo>
                  <a:close/>
                  <a:moveTo>
                    <a:pt x="13" y="12"/>
                  </a:moveTo>
                  <a:cubicBezTo>
                    <a:pt x="12" y="10"/>
                    <a:pt x="11" y="9"/>
                    <a:pt x="10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1" y="9"/>
                    <a:pt x="51" y="10"/>
                    <a:pt x="50" y="12"/>
                  </a:cubicBezTo>
                  <a:lnTo>
                    <a:pt x="13" y="12"/>
                  </a:lnTo>
                  <a:close/>
                  <a:moveTo>
                    <a:pt x="12" y="44"/>
                  </a:moveTo>
                  <a:cubicBezTo>
                    <a:pt x="50" y="44"/>
                    <a:pt x="50" y="44"/>
                    <a:pt x="50" y="44"/>
                  </a:cubicBezTo>
                  <a:cubicBezTo>
                    <a:pt x="51" y="45"/>
                    <a:pt x="51" y="47"/>
                    <a:pt x="52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7"/>
                    <a:pt x="11" y="45"/>
                    <a:pt x="12" y="44"/>
                  </a:cubicBezTo>
                  <a:close/>
                  <a:moveTo>
                    <a:pt x="8" y="60"/>
                  </a:moveTo>
                  <a:cubicBezTo>
                    <a:pt x="8" y="59"/>
                    <a:pt x="8" y="59"/>
                    <a:pt x="8" y="58"/>
                  </a:cubicBezTo>
                  <a:cubicBezTo>
                    <a:pt x="8" y="57"/>
                    <a:pt x="8" y="56"/>
                    <a:pt x="8" y="55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6"/>
                    <a:pt x="54" y="57"/>
                    <a:pt x="54" y="58"/>
                  </a:cubicBezTo>
                  <a:cubicBezTo>
                    <a:pt x="54" y="59"/>
                    <a:pt x="54" y="59"/>
                    <a:pt x="54" y="60"/>
                  </a:cubicBezTo>
                  <a:lnTo>
                    <a:pt x="8" y="60"/>
                  </a:lnTo>
                  <a:close/>
                  <a:moveTo>
                    <a:pt x="12" y="72"/>
                  </a:moveTo>
                  <a:cubicBezTo>
                    <a:pt x="11" y="71"/>
                    <a:pt x="10" y="69"/>
                    <a:pt x="10" y="67"/>
                  </a:cubicBezTo>
                  <a:cubicBezTo>
                    <a:pt x="52" y="67"/>
                    <a:pt x="52" y="67"/>
                    <a:pt x="52" y="67"/>
                  </a:cubicBezTo>
                  <a:cubicBezTo>
                    <a:pt x="51" y="69"/>
                    <a:pt x="51" y="71"/>
                    <a:pt x="50" y="72"/>
                  </a:cubicBezTo>
                  <a:lnTo>
                    <a:pt x="12" y="72"/>
                  </a:lnTo>
                  <a:close/>
                  <a:moveTo>
                    <a:pt x="10" y="111"/>
                  </a:moveTo>
                  <a:cubicBezTo>
                    <a:pt x="11" y="109"/>
                    <a:pt x="11" y="107"/>
                    <a:pt x="12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1" y="107"/>
                    <a:pt x="52" y="109"/>
                    <a:pt x="52" y="111"/>
                  </a:cubicBezTo>
                  <a:lnTo>
                    <a:pt x="10" y="111"/>
                  </a:ln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5" name="Freeform 30"/>
            <p:cNvSpPr>
              <a:spLocks noChangeAspect="1" noEditPoints="1"/>
            </p:cNvSpPr>
            <p:nvPr/>
          </p:nvSpPr>
          <p:spPr bwMode="gray">
            <a:xfrm>
              <a:off x="3498150" y="5930682"/>
              <a:ext cx="163561" cy="234000"/>
            </a:xfrm>
            <a:custGeom>
              <a:avLst/>
              <a:gdLst/>
              <a:ahLst/>
              <a:cxnLst>
                <a:cxn ang="0">
                  <a:pos x="51" y="8"/>
                </a:cxn>
                <a:cxn ang="0">
                  <a:pos x="47" y="20"/>
                </a:cxn>
                <a:cxn ang="0">
                  <a:pos x="11" y="20"/>
                </a:cxn>
                <a:cxn ang="0">
                  <a:pos x="6" y="8"/>
                </a:cxn>
                <a:cxn ang="0">
                  <a:pos x="0" y="14"/>
                </a:cxn>
                <a:cxn ang="0">
                  <a:pos x="0" y="76"/>
                </a:cxn>
                <a:cxn ang="0">
                  <a:pos x="6" y="82"/>
                </a:cxn>
                <a:cxn ang="0">
                  <a:pos x="51" y="82"/>
                </a:cxn>
                <a:cxn ang="0">
                  <a:pos x="57" y="76"/>
                </a:cxn>
                <a:cxn ang="0">
                  <a:pos x="57" y="14"/>
                </a:cxn>
                <a:cxn ang="0">
                  <a:pos x="51" y="8"/>
                </a:cxn>
                <a:cxn ang="0">
                  <a:pos x="43" y="16"/>
                </a:cxn>
                <a:cxn ang="0">
                  <a:pos x="47" y="8"/>
                </a:cxn>
                <a:cxn ang="0">
                  <a:pos x="38" y="8"/>
                </a:cxn>
                <a:cxn ang="0">
                  <a:pos x="35" y="0"/>
                </a:cxn>
                <a:cxn ang="0">
                  <a:pos x="22" y="0"/>
                </a:cxn>
                <a:cxn ang="0">
                  <a:pos x="19" y="8"/>
                </a:cxn>
                <a:cxn ang="0">
                  <a:pos x="10" y="8"/>
                </a:cxn>
                <a:cxn ang="0">
                  <a:pos x="14" y="16"/>
                </a:cxn>
                <a:cxn ang="0">
                  <a:pos x="43" y="16"/>
                </a:cxn>
              </a:cxnLst>
              <a:rect l="0" t="0" r="r" b="b"/>
              <a:pathLst>
                <a:path w="57" h="82">
                  <a:moveTo>
                    <a:pt x="51" y="8"/>
                  </a:moveTo>
                  <a:cubicBezTo>
                    <a:pt x="47" y="20"/>
                    <a:pt x="47" y="20"/>
                    <a:pt x="47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2" y="8"/>
                    <a:pt x="0" y="11"/>
                    <a:pt x="0" y="14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79"/>
                    <a:pt x="2" y="82"/>
                    <a:pt x="6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5" y="82"/>
                    <a:pt x="57" y="79"/>
                    <a:pt x="57" y="76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7" y="11"/>
                    <a:pt x="55" y="8"/>
                    <a:pt x="51" y="8"/>
                  </a:cubicBezTo>
                  <a:close/>
                  <a:moveTo>
                    <a:pt x="43" y="16"/>
                  </a:moveTo>
                  <a:cubicBezTo>
                    <a:pt x="47" y="8"/>
                    <a:pt x="47" y="8"/>
                    <a:pt x="47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4" y="16"/>
                    <a:pt x="14" y="16"/>
                    <a:pt x="14" y="16"/>
                  </a:cubicBezTo>
                  <a:lnTo>
                    <a:pt x="43" y="16"/>
                  </a:ln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6" name="Freeform 34"/>
            <p:cNvSpPr>
              <a:spLocks noChangeAspect="1" noEditPoints="1"/>
            </p:cNvSpPr>
            <p:nvPr/>
          </p:nvSpPr>
          <p:spPr bwMode="gray">
            <a:xfrm>
              <a:off x="3951103" y="5905482"/>
              <a:ext cx="284400" cy="284400"/>
            </a:xfrm>
            <a:custGeom>
              <a:avLst/>
              <a:gdLst/>
              <a:ahLst/>
              <a:cxnLst>
                <a:cxn ang="0">
                  <a:pos x="93" y="7"/>
                </a:cxn>
                <a:cxn ang="0">
                  <a:pos x="76" y="0"/>
                </a:cxn>
                <a:cxn ang="0">
                  <a:pos x="60" y="6"/>
                </a:cxn>
                <a:cxn ang="0">
                  <a:pos x="6" y="60"/>
                </a:cxn>
                <a:cxn ang="0">
                  <a:pos x="0" y="76"/>
                </a:cxn>
                <a:cxn ang="0">
                  <a:pos x="7" y="93"/>
                </a:cxn>
                <a:cxn ang="0">
                  <a:pos x="24" y="100"/>
                </a:cxn>
                <a:cxn ang="0">
                  <a:pos x="24" y="100"/>
                </a:cxn>
                <a:cxn ang="0">
                  <a:pos x="40" y="93"/>
                </a:cxn>
                <a:cxn ang="0">
                  <a:pos x="93" y="40"/>
                </a:cxn>
                <a:cxn ang="0">
                  <a:pos x="100" y="24"/>
                </a:cxn>
                <a:cxn ang="0">
                  <a:pos x="93" y="7"/>
                </a:cxn>
                <a:cxn ang="0">
                  <a:pos x="15" y="63"/>
                </a:cxn>
                <a:cxn ang="0">
                  <a:pos x="12" y="86"/>
                </a:cxn>
                <a:cxn ang="0">
                  <a:pos x="14" y="89"/>
                </a:cxn>
                <a:cxn ang="0">
                  <a:pos x="12" y="88"/>
                </a:cxn>
                <a:cxn ang="0">
                  <a:pos x="11" y="86"/>
                </a:cxn>
                <a:cxn ang="0">
                  <a:pos x="8" y="82"/>
                </a:cxn>
                <a:cxn ang="0">
                  <a:pos x="7" y="79"/>
                </a:cxn>
                <a:cxn ang="0">
                  <a:pos x="7" y="74"/>
                </a:cxn>
                <a:cxn ang="0">
                  <a:pos x="8" y="68"/>
                </a:cxn>
                <a:cxn ang="0">
                  <a:pos x="11" y="64"/>
                </a:cxn>
                <a:cxn ang="0">
                  <a:pos x="11" y="63"/>
                </a:cxn>
                <a:cxn ang="0">
                  <a:pos x="22" y="53"/>
                </a:cxn>
                <a:cxn ang="0">
                  <a:pos x="15" y="63"/>
                </a:cxn>
                <a:cxn ang="0">
                  <a:pos x="89" y="38"/>
                </a:cxn>
                <a:cxn ang="0">
                  <a:pos x="63" y="63"/>
                </a:cxn>
                <a:cxn ang="0">
                  <a:pos x="36" y="37"/>
                </a:cxn>
                <a:cxn ang="0">
                  <a:pos x="62" y="11"/>
                </a:cxn>
                <a:cxn ang="0">
                  <a:pos x="76" y="6"/>
                </a:cxn>
                <a:cxn ang="0">
                  <a:pos x="90" y="11"/>
                </a:cxn>
                <a:cxn ang="0">
                  <a:pos x="94" y="24"/>
                </a:cxn>
                <a:cxn ang="0">
                  <a:pos x="89" y="38"/>
                </a:cxn>
              </a:cxnLst>
              <a:rect l="0" t="0" r="r" b="b"/>
              <a:pathLst>
                <a:path w="100" h="100">
                  <a:moveTo>
                    <a:pt x="93" y="7"/>
                  </a:moveTo>
                  <a:cubicBezTo>
                    <a:pt x="88" y="3"/>
                    <a:pt x="82" y="0"/>
                    <a:pt x="76" y="0"/>
                  </a:cubicBezTo>
                  <a:cubicBezTo>
                    <a:pt x="70" y="0"/>
                    <a:pt x="64" y="2"/>
                    <a:pt x="60" y="6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2" y="64"/>
                    <a:pt x="0" y="70"/>
                    <a:pt x="0" y="76"/>
                  </a:cubicBezTo>
                  <a:cubicBezTo>
                    <a:pt x="0" y="82"/>
                    <a:pt x="2" y="88"/>
                    <a:pt x="7" y="93"/>
                  </a:cubicBezTo>
                  <a:cubicBezTo>
                    <a:pt x="12" y="97"/>
                    <a:pt x="18" y="100"/>
                    <a:pt x="24" y="100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100"/>
                    <a:pt x="35" y="98"/>
                    <a:pt x="40" y="93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98" y="36"/>
                    <a:pt x="100" y="30"/>
                    <a:pt x="100" y="24"/>
                  </a:cubicBezTo>
                  <a:cubicBezTo>
                    <a:pt x="100" y="18"/>
                    <a:pt x="97" y="12"/>
                    <a:pt x="93" y="7"/>
                  </a:cubicBezTo>
                  <a:close/>
                  <a:moveTo>
                    <a:pt x="15" y="63"/>
                  </a:moveTo>
                  <a:cubicBezTo>
                    <a:pt x="11" y="70"/>
                    <a:pt x="8" y="79"/>
                    <a:pt x="12" y="86"/>
                  </a:cubicBezTo>
                  <a:cubicBezTo>
                    <a:pt x="13" y="87"/>
                    <a:pt x="14" y="89"/>
                    <a:pt x="14" y="89"/>
                  </a:cubicBezTo>
                  <a:cubicBezTo>
                    <a:pt x="13" y="88"/>
                    <a:pt x="13" y="88"/>
                    <a:pt x="12" y="88"/>
                  </a:cubicBezTo>
                  <a:cubicBezTo>
                    <a:pt x="12" y="87"/>
                    <a:pt x="12" y="87"/>
                    <a:pt x="11" y="86"/>
                  </a:cubicBezTo>
                  <a:cubicBezTo>
                    <a:pt x="10" y="85"/>
                    <a:pt x="9" y="83"/>
                    <a:pt x="8" y="82"/>
                  </a:cubicBezTo>
                  <a:cubicBezTo>
                    <a:pt x="8" y="81"/>
                    <a:pt x="8" y="80"/>
                    <a:pt x="7" y="79"/>
                  </a:cubicBezTo>
                  <a:cubicBezTo>
                    <a:pt x="7" y="77"/>
                    <a:pt x="7" y="76"/>
                    <a:pt x="7" y="74"/>
                  </a:cubicBezTo>
                  <a:cubicBezTo>
                    <a:pt x="7" y="72"/>
                    <a:pt x="7" y="70"/>
                    <a:pt x="8" y="68"/>
                  </a:cubicBezTo>
                  <a:cubicBezTo>
                    <a:pt x="9" y="67"/>
                    <a:pt x="10" y="65"/>
                    <a:pt x="11" y="64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22" y="53"/>
                    <a:pt x="22" y="53"/>
                    <a:pt x="22" y="53"/>
                  </a:cubicBezTo>
                  <a:lnTo>
                    <a:pt x="15" y="63"/>
                  </a:lnTo>
                  <a:close/>
                  <a:moveTo>
                    <a:pt x="89" y="38"/>
                  </a:moveTo>
                  <a:cubicBezTo>
                    <a:pt x="85" y="42"/>
                    <a:pt x="63" y="63"/>
                    <a:pt x="63" y="63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67" y="7"/>
                    <a:pt x="71" y="6"/>
                    <a:pt x="76" y="6"/>
                  </a:cubicBezTo>
                  <a:cubicBezTo>
                    <a:pt x="81" y="6"/>
                    <a:pt x="86" y="7"/>
                    <a:pt x="90" y="11"/>
                  </a:cubicBezTo>
                  <a:cubicBezTo>
                    <a:pt x="94" y="15"/>
                    <a:pt x="94" y="19"/>
                    <a:pt x="94" y="24"/>
                  </a:cubicBezTo>
                  <a:cubicBezTo>
                    <a:pt x="94" y="29"/>
                    <a:pt x="93" y="34"/>
                    <a:pt x="89" y="38"/>
                  </a:cubicBez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97" name="Group 296"/>
            <p:cNvGrpSpPr>
              <a:grpSpLocks noChangeAspect="1"/>
            </p:cNvGrpSpPr>
            <p:nvPr/>
          </p:nvGrpSpPr>
          <p:grpSpPr bwMode="gray">
            <a:xfrm>
              <a:off x="4445818" y="6019249"/>
              <a:ext cx="324000" cy="56883"/>
              <a:chOff x="7429500" y="3311525"/>
              <a:chExt cx="1338263" cy="234950"/>
            </a:xfrm>
          </p:grpSpPr>
          <p:sp>
            <p:nvSpPr>
              <p:cNvPr id="298" name="Rectangle 38"/>
              <p:cNvSpPr>
                <a:spLocks noChangeAspect="1" noChangeArrowheads="1"/>
              </p:cNvSpPr>
              <p:nvPr/>
            </p:nvSpPr>
            <p:spPr bwMode="gray">
              <a:xfrm>
                <a:off x="7519988" y="3381375"/>
                <a:ext cx="90488" cy="95250"/>
              </a:xfrm>
              <a:prstGeom prst="rect">
                <a:avLst/>
              </a:prstGeom>
              <a:solidFill>
                <a:srgbClr val="00277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99" name="Freeform 39"/>
              <p:cNvSpPr>
                <a:spLocks noChangeAspect="1"/>
              </p:cNvSpPr>
              <p:nvPr/>
            </p:nvSpPr>
            <p:spPr bwMode="gray">
              <a:xfrm>
                <a:off x="7429500" y="3311525"/>
                <a:ext cx="57150" cy="2349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9"/>
                  </a:cxn>
                  <a:cxn ang="0">
                    <a:pos x="1" y="20"/>
                  </a:cxn>
                  <a:cxn ang="0">
                    <a:pos x="4" y="20"/>
                  </a:cxn>
                  <a:cxn ang="0">
                    <a:pos x="5" y="19"/>
                  </a:cxn>
                  <a:cxn ang="0">
                    <a:pos x="5" y="1"/>
                  </a:cxn>
                  <a:cxn ang="0">
                    <a:pos x="4" y="0"/>
                  </a:cxn>
                </a:cxnLst>
                <a:rect l="0" t="0" r="r" b="b"/>
                <a:pathLst>
                  <a:path w="5" h="20">
                    <a:moveTo>
                      <a:pt x="4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0"/>
                      <a:pt x="1" y="20"/>
                      <a:pt x="1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5" y="20"/>
                      <a:pt x="5" y="20"/>
                      <a:pt x="5" y="1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4" y="0"/>
                    </a:cubicBezTo>
                    <a:close/>
                  </a:path>
                </a:pathLst>
              </a:custGeom>
              <a:solidFill>
                <a:srgbClr val="00277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00" name="Freeform 40"/>
              <p:cNvSpPr>
                <a:spLocks noChangeAspect="1"/>
              </p:cNvSpPr>
              <p:nvPr/>
            </p:nvSpPr>
            <p:spPr bwMode="gray">
              <a:xfrm>
                <a:off x="8370888" y="3394075"/>
                <a:ext cx="396875" cy="69850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12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11" y="4"/>
                  </a:cxn>
                  <a:cxn ang="0">
                    <a:pos x="35" y="4"/>
                  </a:cxn>
                  <a:cxn ang="0">
                    <a:pos x="35" y="2"/>
                  </a:cxn>
                  <a:cxn ang="0">
                    <a:pos x="11" y="2"/>
                  </a:cxn>
                </a:cxnLst>
                <a:rect l="0" t="0" r="r" b="b"/>
                <a:pathLst>
                  <a:path w="35" h="6">
                    <a:moveTo>
                      <a:pt x="11" y="2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10" y="6"/>
                      <a:pt x="10" y="5"/>
                      <a:pt x="11" y="4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5" y="2"/>
                      <a:pt x="35" y="2"/>
                      <a:pt x="35" y="2"/>
                    </a:cubicBezTo>
                    <a:lnTo>
                      <a:pt x="11" y="2"/>
                    </a:lnTo>
                    <a:close/>
                  </a:path>
                </a:pathLst>
              </a:custGeom>
              <a:solidFill>
                <a:srgbClr val="00277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01" name="Freeform 41"/>
              <p:cNvSpPr>
                <a:spLocks noChangeAspect="1" noEditPoints="1"/>
              </p:cNvSpPr>
              <p:nvPr/>
            </p:nvSpPr>
            <p:spPr bwMode="gray">
              <a:xfrm>
                <a:off x="7656513" y="3322638"/>
                <a:ext cx="681038" cy="212725"/>
              </a:xfrm>
              <a:custGeom>
                <a:avLst/>
                <a:gdLst/>
                <a:ahLst/>
                <a:cxnLst>
                  <a:cxn ang="0">
                    <a:pos x="58" y="17"/>
                  </a:cxn>
                  <a:cxn ang="0">
                    <a:pos x="58" y="17"/>
                  </a:cxn>
                  <a:cxn ang="0">
                    <a:pos x="60" y="9"/>
                  </a:cxn>
                  <a:cxn ang="0">
                    <a:pos x="59" y="6"/>
                  </a:cxn>
                  <a:cxn ang="0">
                    <a:pos x="59" y="5"/>
                  </a:cxn>
                  <a:cxn ang="0">
                    <a:pos x="59" y="4"/>
                  </a:cxn>
                  <a:cxn ang="0">
                    <a:pos x="59" y="4"/>
                  </a:cxn>
                  <a:cxn ang="0">
                    <a:pos x="57" y="0"/>
                  </a:cxn>
                  <a:cxn ang="0">
                    <a:pos x="56" y="0"/>
                  </a:cxn>
                  <a:cxn ang="0">
                    <a:pos x="56" y="0"/>
                  </a:cxn>
                  <a:cxn ang="0">
                    <a:pos x="55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5"/>
                  </a:cxn>
                  <a:cxn ang="0">
                    <a:pos x="3" y="18"/>
                  </a:cxn>
                  <a:cxn ang="0">
                    <a:pos x="55" y="18"/>
                  </a:cxn>
                  <a:cxn ang="0">
                    <a:pos x="56" y="18"/>
                  </a:cxn>
                  <a:cxn ang="0">
                    <a:pos x="56" y="18"/>
                  </a:cxn>
                  <a:cxn ang="0">
                    <a:pos x="57" y="18"/>
                  </a:cxn>
                  <a:cxn ang="0">
                    <a:pos x="58" y="17"/>
                  </a:cxn>
                  <a:cxn ang="0">
                    <a:pos x="20" y="9"/>
                  </a:cxn>
                  <a:cxn ang="0">
                    <a:pos x="18" y="10"/>
                  </a:cxn>
                  <a:cxn ang="0">
                    <a:pos x="17" y="9"/>
                  </a:cxn>
                  <a:cxn ang="0">
                    <a:pos x="17" y="3"/>
                  </a:cxn>
                  <a:cxn ang="0">
                    <a:pos x="20" y="3"/>
                  </a:cxn>
                  <a:cxn ang="0">
                    <a:pos x="20" y="9"/>
                  </a:cxn>
                  <a:cxn ang="0">
                    <a:pos x="26" y="7"/>
                  </a:cxn>
                  <a:cxn ang="0">
                    <a:pos x="25" y="8"/>
                  </a:cxn>
                  <a:cxn ang="0">
                    <a:pos x="24" y="7"/>
                  </a:cxn>
                  <a:cxn ang="0">
                    <a:pos x="24" y="3"/>
                  </a:cxn>
                  <a:cxn ang="0">
                    <a:pos x="26" y="3"/>
                  </a:cxn>
                  <a:cxn ang="0">
                    <a:pos x="26" y="7"/>
                  </a:cxn>
                  <a:cxn ang="0">
                    <a:pos x="32" y="7"/>
                  </a:cxn>
                  <a:cxn ang="0">
                    <a:pos x="31" y="8"/>
                  </a:cxn>
                  <a:cxn ang="0">
                    <a:pos x="30" y="7"/>
                  </a:cxn>
                  <a:cxn ang="0">
                    <a:pos x="30" y="3"/>
                  </a:cxn>
                  <a:cxn ang="0">
                    <a:pos x="32" y="3"/>
                  </a:cxn>
                  <a:cxn ang="0">
                    <a:pos x="32" y="7"/>
                  </a:cxn>
                  <a:cxn ang="0">
                    <a:pos x="38" y="7"/>
                  </a:cxn>
                  <a:cxn ang="0">
                    <a:pos x="37" y="8"/>
                  </a:cxn>
                  <a:cxn ang="0">
                    <a:pos x="36" y="7"/>
                  </a:cxn>
                  <a:cxn ang="0">
                    <a:pos x="36" y="3"/>
                  </a:cxn>
                  <a:cxn ang="0">
                    <a:pos x="38" y="3"/>
                  </a:cxn>
                  <a:cxn ang="0">
                    <a:pos x="38" y="7"/>
                  </a:cxn>
                  <a:cxn ang="0">
                    <a:pos x="46" y="9"/>
                  </a:cxn>
                  <a:cxn ang="0">
                    <a:pos x="44" y="10"/>
                  </a:cxn>
                  <a:cxn ang="0">
                    <a:pos x="42" y="9"/>
                  </a:cxn>
                  <a:cxn ang="0">
                    <a:pos x="42" y="3"/>
                  </a:cxn>
                  <a:cxn ang="0">
                    <a:pos x="46" y="3"/>
                  </a:cxn>
                  <a:cxn ang="0">
                    <a:pos x="46" y="9"/>
                  </a:cxn>
                </a:cxnLst>
                <a:rect l="0" t="0" r="r" b="b"/>
                <a:pathLst>
                  <a:path w="60" h="18">
                    <a:moveTo>
                      <a:pt x="58" y="17"/>
                    </a:moveTo>
                    <a:cubicBezTo>
                      <a:pt x="58" y="17"/>
                      <a:pt x="58" y="17"/>
                      <a:pt x="58" y="17"/>
                    </a:cubicBezTo>
                    <a:cubicBezTo>
                      <a:pt x="59" y="16"/>
                      <a:pt x="60" y="13"/>
                      <a:pt x="60" y="9"/>
                    </a:cubicBezTo>
                    <a:cubicBezTo>
                      <a:pt x="60" y="8"/>
                      <a:pt x="60" y="7"/>
                      <a:pt x="59" y="6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9" y="5"/>
                      <a:pt x="59" y="4"/>
                      <a:pt x="59" y="4"/>
                    </a:cubicBezTo>
                    <a:cubicBezTo>
                      <a:pt x="59" y="4"/>
                      <a:pt x="59" y="4"/>
                      <a:pt x="59" y="4"/>
                    </a:cubicBezTo>
                    <a:cubicBezTo>
                      <a:pt x="58" y="1"/>
                      <a:pt x="57" y="0"/>
                      <a:pt x="57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6" y="0"/>
                      <a:pt x="55" y="0"/>
                      <a:pt x="55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7"/>
                      <a:pt x="1" y="18"/>
                      <a:pt x="3" y="18"/>
                    </a:cubicBezTo>
                    <a:cubicBezTo>
                      <a:pt x="55" y="18"/>
                      <a:pt x="55" y="18"/>
                      <a:pt x="55" y="18"/>
                    </a:cubicBezTo>
                    <a:cubicBezTo>
                      <a:pt x="55" y="18"/>
                      <a:pt x="56" y="18"/>
                      <a:pt x="56" y="18"/>
                    </a:cubicBezTo>
                    <a:cubicBezTo>
                      <a:pt x="56" y="18"/>
                      <a:pt x="56" y="18"/>
                      <a:pt x="56" y="18"/>
                    </a:cubicBezTo>
                    <a:cubicBezTo>
                      <a:pt x="57" y="18"/>
                      <a:pt x="57" y="18"/>
                      <a:pt x="57" y="18"/>
                    </a:cubicBezTo>
                    <a:cubicBezTo>
                      <a:pt x="57" y="18"/>
                      <a:pt x="57" y="17"/>
                      <a:pt x="58" y="17"/>
                    </a:cubicBezTo>
                    <a:close/>
                    <a:moveTo>
                      <a:pt x="20" y="9"/>
                    </a:moveTo>
                    <a:cubicBezTo>
                      <a:pt x="20" y="10"/>
                      <a:pt x="19" y="10"/>
                      <a:pt x="18" y="10"/>
                    </a:cubicBezTo>
                    <a:cubicBezTo>
                      <a:pt x="17" y="10"/>
                      <a:pt x="17" y="10"/>
                      <a:pt x="17" y="9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20" y="3"/>
                      <a:pt x="20" y="3"/>
                      <a:pt x="20" y="3"/>
                    </a:cubicBezTo>
                    <a:lnTo>
                      <a:pt x="20" y="9"/>
                    </a:lnTo>
                    <a:close/>
                    <a:moveTo>
                      <a:pt x="26" y="7"/>
                    </a:moveTo>
                    <a:cubicBezTo>
                      <a:pt x="26" y="7"/>
                      <a:pt x="25" y="8"/>
                      <a:pt x="25" y="8"/>
                    </a:cubicBezTo>
                    <a:cubicBezTo>
                      <a:pt x="24" y="8"/>
                      <a:pt x="24" y="7"/>
                      <a:pt x="24" y="7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6" y="3"/>
                      <a:pt x="26" y="3"/>
                      <a:pt x="26" y="3"/>
                    </a:cubicBezTo>
                    <a:lnTo>
                      <a:pt x="26" y="7"/>
                    </a:lnTo>
                    <a:close/>
                    <a:moveTo>
                      <a:pt x="32" y="7"/>
                    </a:moveTo>
                    <a:cubicBezTo>
                      <a:pt x="32" y="7"/>
                      <a:pt x="32" y="8"/>
                      <a:pt x="31" y="8"/>
                    </a:cubicBezTo>
                    <a:cubicBezTo>
                      <a:pt x="31" y="8"/>
                      <a:pt x="30" y="7"/>
                      <a:pt x="30" y="7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2" y="3"/>
                      <a:pt x="32" y="3"/>
                      <a:pt x="32" y="3"/>
                    </a:cubicBezTo>
                    <a:lnTo>
                      <a:pt x="32" y="7"/>
                    </a:lnTo>
                    <a:close/>
                    <a:moveTo>
                      <a:pt x="38" y="7"/>
                    </a:moveTo>
                    <a:cubicBezTo>
                      <a:pt x="38" y="7"/>
                      <a:pt x="38" y="8"/>
                      <a:pt x="37" y="8"/>
                    </a:cubicBezTo>
                    <a:cubicBezTo>
                      <a:pt x="37" y="8"/>
                      <a:pt x="36" y="7"/>
                      <a:pt x="36" y="7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8" y="3"/>
                      <a:pt x="38" y="3"/>
                      <a:pt x="38" y="3"/>
                    </a:cubicBezTo>
                    <a:lnTo>
                      <a:pt x="38" y="7"/>
                    </a:lnTo>
                    <a:close/>
                    <a:moveTo>
                      <a:pt x="46" y="9"/>
                    </a:moveTo>
                    <a:cubicBezTo>
                      <a:pt x="46" y="10"/>
                      <a:pt x="45" y="10"/>
                      <a:pt x="44" y="10"/>
                    </a:cubicBezTo>
                    <a:cubicBezTo>
                      <a:pt x="43" y="10"/>
                      <a:pt x="42" y="10"/>
                      <a:pt x="42" y="9"/>
                    </a:cubicBezTo>
                    <a:cubicBezTo>
                      <a:pt x="42" y="3"/>
                      <a:pt x="42" y="3"/>
                      <a:pt x="42" y="3"/>
                    </a:cubicBezTo>
                    <a:cubicBezTo>
                      <a:pt x="46" y="3"/>
                      <a:pt x="46" y="3"/>
                      <a:pt x="46" y="3"/>
                    </a:cubicBezTo>
                    <a:lnTo>
                      <a:pt x="46" y="9"/>
                    </a:lnTo>
                    <a:close/>
                  </a:path>
                </a:pathLst>
              </a:custGeom>
              <a:solidFill>
                <a:srgbClr val="00277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302" name="Freeform 45"/>
            <p:cNvSpPr>
              <a:spLocks noChangeAspect="1" noEditPoints="1"/>
            </p:cNvSpPr>
            <p:nvPr/>
          </p:nvSpPr>
          <p:spPr bwMode="gray">
            <a:xfrm>
              <a:off x="4968398" y="5939682"/>
              <a:ext cx="213231" cy="216000"/>
            </a:xfrm>
            <a:custGeom>
              <a:avLst/>
              <a:gdLst/>
              <a:ahLst/>
              <a:cxnLst>
                <a:cxn ang="0">
                  <a:pos x="46" y="49"/>
                </a:cxn>
                <a:cxn ang="0">
                  <a:pos x="71" y="5"/>
                </a:cxn>
                <a:cxn ang="0">
                  <a:pos x="71" y="4"/>
                </a:cxn>
                <a:cxn ang="0">
                  <a:pos x="70" y="3"/>
                </a:cxn>
                <a:cxn ang="0">
                  <a:pos x="26" y="29"/>
                </a:cxn>
                <a:cxn ang="0">
                  <a:pos x="2" y="50"/>
                </a:cxn>
                <a:cxn ang="0">
                  <a:pos x="6" y="54"/>
                </a:cxn>
                <a:cxn ang="0">
                  <a:pos x="14" y="51"/>
                </a:cxn>
                <a:cxn ang="0">
                  <a:pos x="25" y="62"/>
                </a:cxn>
                <a:cxn ang="0">
                  <a:pos x="22" y="71"/>
                </a:cxn>
                <a:cxn ang="0">
                  <a:pos x="26" y="74"/>
                </a:cxn>
                <a:cxn ang="0">
                  <a:pos x="46" y="49"/>
                </a:cxn>
                <a:cxn ang="0">
                  <a:pos x="50" y="25"/>
                </a:cxn>
                <a:cxn ang="0">
                  <a:pos x="50" y="16"/>
                </a:cxn>
                <a:cxn ang="0">
                  <a:pos x="59" y="16"/>
                </a:cxn>
                <a:cxn ang="0">
                  <a:pos x="59" y="25"/>
                </a:cxn>
                <a:cxn ang="0">
                  <a:pos x="50" y="25"/>
                </a:cxn>
              </a:cxnLst>
              <a:rect l="0" t="0" r="r" b="b"/>
              <a:pathLst>
                <a:path w="75" h="76">
                  <a:moveTo>
                    <a:pt x="46" y="49"/>
                  </a:moveTo>
                  <a:cubicBezTo>
                    <a:pt x="46" y="49"/>
                    <a:pt x="75" y="29"/>
                    <a:pt x="71" y="5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1" y="3"/>
                    <a:pt x="70" y="3"/>
                    <a:pt x="70" y="3"/>
                  </a:cubicBezTo>
                  <a:cubicBezTo>
                    <a:pt x="47" y="0"/>
                    <a:pt x="26" y="29"/>
                    <a:pt x="26" y="29"/>
                  </a:cubicBezTo>
                  <a:cubicBezTo>
                    <a:pt x="9" y="27"/>
                    <a:pt x="10" y="31"/>
                    <a:pt x="2" y="50"/>
                  </a:cubicBezTo>
                  <a:cubicBezTo>
                    <a:pt x="0" y="54"/>
                    <a:pt x="3" y="55"/>
                    <a:pt x="6" y="54"/>
                  </a:cubicBezTo>
                  <a:cubicBezTo>
                    <a:pt x="8" y="53"/>
                    <a:pt x="14" y="51"/>
                    <a:pt x="14" y="51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2"/>
                    <a:pt x="23" y="68"/>
                    <a:pt x="22" y="71"/>
                  </a:cubicBezTo>
                  <a:cubicBezTo>
                    <a:pt x="21" y="73"/>
                    <a:pt x="22" y="76"/>
                    <a:pt x="26" y="74"/>
                  </a:cubicBezTo>
                  <a:cubicBezTo>
                    <a:pt x="44" y="66"/>
                    <a:pt x="48" y="67"/>
                    <a:pt x="46" y="49"/>
                  </a:cubicBezTo>
                  <a:close/>
                  <a:moveTo>
                    <a:pt x="50" y="25"/>
                  </a:moveTo>
                  <a:cubicBezTo>
                    <a:pt x="47" y="23"/>
                    <a:pt x="47" y="19"/>
                    <a:pt x="50" y="16"/>
                  </a:cubicBezTo>
                  <a:cubicBezTo>
                    <a:pt x="52" y="14"/>
                    <a:pt x="56" y="14"/>
                    <a:pt x="59" y="16"/>
                  </a:cubicBezTo>
                  <a:cubicBezTo>
                    <a:pt x="61" y="19"/>
                    <a:pt x="61" y="23"/>
                    <a:pt x="59" y="25"/>
                  </a:cubicBezTo>
                  <a:cubicBezTo>
                    <a:pt x="56" y="28"/>
                    <a:pt x="52" y="28"/>
                    <a:pt x="50" y="25"/>
                  </a:cubicBez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3" name="Freeform 49"/>
            <p:cNvSpPr>
              <a:spLocks noChangeAspect="1" noEditPoints="1"/>
            </p:cNvSpPr>
            <p:nvPr/>
          </p:nvSpPr>
          <p:spPr bwMode="gray">
            <a:xfrm>
              <a:off x="5459146" y="5950267"/>
              <a:ext cx="241200" cy="194847"/>
            </a:xfrm>
            <a:custGeom>
              <a:avLst/>
              <a:gdLst/>
              <a:ahLst/>
              <a:cxnLst>
                <a:cxn ang="0">
                  <a:pos x="81" y="12"/>
                </a:cxn>
                <a:cxn ang="0">
                  <a:pos x="62" y="0"/>
                </a:cxn>
                <a:cxn ang="0">
                  <a:pos x="59" y="0"/>
                </a:cxn>
                <a:cxn ang="0">
                  <a:pos x="41" y="11"/>
                </a:cxn>
                <a:cxn ang="0">
                  <a:pos x="23" y="0"/>
                </a:cxn>
                <a:cxn ang="0">
                  <a:pos x="21" y="0"/>
                </a:cxn>
                <a:cxn ang="0">
                  <a:pos x="2" y="12"/>
                </a:cxn>
                <a:cxn ang="0">
                  <a:pos x="0" y="15"/>
                </a:cxn>
                <a:cxn ang="0">
                  <a:pos x="0" y="63"/>
                </a:cxn>
                <a:cxn ang="0">
                  <a:pos x="2" y="65"/>
                </a:cxn>
                <a:cxn ang="0">
                  <a:pos x="4" y="65"/>
                </a:cxn>
                <a:cxn ang="0">
                  <a:pos x="22" y="54"/>
                </a:cxn>
                <a:cxn ang="0">
                  <a:pos x="40" y="65"/>
                </a:cxn>
                <a:cxn ang="0">
                  <a:pos x="43" y="65"/>
                </a:cxn>
                <a:cxn ang="0">
                  <a:pos x="60" y="54"/>
                </a:cxn>
                <a:cxn ang="0">
                  <a:pos x="78" y="65"/>
                </a:cxn>
                <a:cxn ang="0">
                  <a:pos x="79" y="65"/>
                </a:cxn>
                <a:cxn ang="0">
                  <a:pos x="81" y="65"/>
                </a:cxn>
                <a:cxn ang="0">
                  <a:pos x="82" y="63"/>
                </a:cxn>
                <a:cxn ang="0">
                  <a:pos x="82" y="15"/>
                </a:cxn>
                <a:cxn ang="0">
                  <a:pos x="81" y="12"/>
                </a:cxn>
                <a:cxn ang="0">
                  <a:pos x="19" y="49"/>
                </a:cxn>
                <a:cxn ang="0">
                  <a:pos x="6" y="58"/>
                </a:cxn>
                <a:cxn ang="0">
                  <a:pos x="6" y="16"/>
                </a:cxn>
                <a:cxn ang="0">
                  <a:pos x="19" y="8"/>
                </a:cxn>
                <a:cxn ang="0">
                  <a:pos x="19" y="49"/>
                </a:cxn>
                <a:cxn ang="0">
                  <a:pos x="39" y="58"/>
                </a:cxn>
                <a:cxn ang="0">
                  <a:pos x="25" y="49"/>
                </a:cxn>
                <a:cxn ang="0">
                  <a:pos x="25" y="8"/>
                </a:cxn>
                <a:cxn ang="0">
                  <a:pos x="39" y="16"/>
                </a:cxn>
                <a:cxn ang="0">
                  <a:pos x="39" y="58"/>
                </a:cxn>
                <a:cxn ang="0">
                  <a:pos x="58" y="49"/>
                </a:cxn>
                <a:cxn ang="0">
                  <a:pos x="44" y="58"/>
                </a:cxn>
                <a:cxn ang="0">
                  <a:pos x="44" y="16"/>
                </a:cxn>
                <a:cxn ang="0">
                  <a:pos x="58" y="8"/>
                </a:cxn>
                <a:cxn ang="0">
                  <a:pos x="58" y="49"/>
                </a:cxn>
                <a:cxn ang="0">
                  <a:pos x="77" y="58"/>
                </a:cxn>
                <a:cxn ang="0">
                  <a:pos x="63" y="49"/>
                </a:cxn>
                <a:cxn ang="0">
                  <a:pos x="63" y="8"/>
                </a:cxn>
                <a:cxn ang="0">
                  <a:pos x="77" y="16"/>
                </a:cxn>
                <a:cxn ang="0">
                  <a:pos x="77" y="58"/>
                </a:cxn>
              </a:cxnLst>
              <a:rect l="0" t="0" r="r" b="b"/>
              <a:pathLst>
                <a:path w="82" h="66">
                  <a:moveTo>
                    <a:pt x="81" y="12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1" y="0"/>
                    <a:pt x="60" y="0"/>
                    <a:pt x="59" y="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2" y="0"/>
                    <a:pt x="21" y="0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" y="13"/>
                    <a:pt x="0" y="14"/>
                    <a:pt x="0" y="15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4"/>
                    <a:pt x="1" y="65"/>
                    <a:pt x="2" y="65"/>
                  </a:cubicBezTo>
                  <a:cubicBezTo>
                    <a:pt x="2" y="66"/>
                    <a:pt x="4" y="66"/>
                    <a:pt x="4" y="65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41" y="66"/>
                    <a:pt x="42" y="66"/>
                    <a:pt x="43" y="65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78" y="65"/>
                    <a:pt x="78" y="65"/>
                    <a:pt x="78" y="65"/>
                  </a:cubicBezTo>
                  <a:cubicBezTo>
                    <a:pt x="79" y="65"/>
                    <a:pt x="79" y="65"/>
                    <a:pt x="79" y="65"/>
                  </a:cubicBezTo>
                  <a:cubicBezTo>
                    <a:pt x="80" y="65"/>
                    <a:pt x="80" y="65"/>
                    <a:pt x="81" y="65"/>
                  </a:cubicBezTo>
                  <a:cubicBezTo>
                    <a:pt x="82" y="65"/>
                    <a:pt x="82" y="64"/>
                    <a:pt x="82" y="63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2" y="14"/>
                    <a:pt x="82" y="13"/>
                    <a:pt x="81" y="12"/>
                  </a:cubicBezTo>
                  <a:close/>
                  <a:moveTo>
                    <a:pt x="19" y="49"/>
                  </a:moveTo>
                  <a:cubicBezTo>
                    <a:pt x="6" y="58"/>
                    <a:pt x="6" y="58"/>
                    <a:pt x="6" y="58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19" y="8"/>
                    <a:pt x="19" y="8"/>
                    <a:pt x="19" y="8"/>
                  </a:cubicBezTo>
                  <a:lnTo>
                    <a:pt x="19" y="49"/>
                  </a:lnTo>
                  <a:close/>
                  <a:moveTo>
                    <a:pt x="39" y="58"/>
                  </a:moveTo>
                  <a:cubicBezTo>
                    <a:pt x="25" y="49"/>
                    <a:pt x="25" y="49"/>
                    <a:pt x="25" y="49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39" y="16"/>
                    <a:pt x="39" y="16"/>
                    <a:pt x="39" y="16"/>
                  </a:cubicBezTo>
                  <a:lnTo>
                    <a:pt x="39" y="58"/>
                  </a:lnTo>
                  <a:close/>
                  <a:moveTo>
                    <a:pt x="58" y="49"/>
                  </a:moveTo>
                  <a:cubicBezTo>
                    <a:pt x="44" y="58"/>
                    <a:pt x="44" y="58"/>
                    <a:pt x="44" y="58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58" y="8"/>
                    <a:pt x="58" y="8"/>
                    <a:pt x="58" y="8"/>
                  </a:cubicBezTo>
                  <a:lnTo>
                    <a:pt x="58" y="49"/>
                  </a:lnTo>
                  <a:close/>
                  <a:moveTo>
                    <a:pt x="77" y="58"/>
                  </a:moveTo>
                  <a:cubicBezTo>
                    <a:pt x="63" y="49"/>
                    <a:pt x="63" y="49"/>
                    <a:pt x="63" y="49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77" y="16"/>
                    <a:pt x="77" y="16"/>
                    <a:pt x="77" y="16"/>
                  </a:cubicBezTo>
                  <a:lnTo>
                    <a:pt x="77" y="58"/>
                  </a:ln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4" name="Freeform 54"/>
            <p:cNvSpPr>
              <a:spLocks noChangeAspect="1"/>
            </p:cNvSpPr>
            <p:nvPr/>
          </p:nvSpPr>
          <p:spPr bwMode="gray">
            <a:xfrm>
              <a:off x="6006614" y="5905482"/>
              <a:ext cx="214095" cy="284400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65" y="55"/>
                </a:cxn>
                <a:cxn ang="0">
                  <a:pos x="38" y="100"/>
                </a:cxn>
                <a:cxn ang="0">
                  <a:pos x="11" y="55"/>
                </a:cxn>
                <a:cxn ang="0">
                  <a:pos x="38" y="0"/>
                </a:cxn>
              </a:cxnLst>
              <a:rect l="0" t="0" r="r" b="b"/>
              <a:pathLst>
                <a:path w="75" h="100">
                  <a:moveTo>
                    <a:pt x="38" y="0"/>
                  </a:moveTo>
                  <a:cubicBezTo>
                    <a:pt x="44" y="23"/>
                    <a:pt x="53" y="32"/>
                    <a:pt x="65" y="55"/>
                  </a:cubicBezTo>
                  <a:cubicBezTo>
                    <a:pt x="75" y="77"/>
                    <a:pt x="59" y="100"/>
                    <a:pt x="38" y="100"/>
                  </a:cubicBezTo>
                  <a:cubicBezTo>
                    <a:pt x="16" y="100"/>
                    <a:pt x="0" y="77"/>
                    <a:pt x="11" y="55"/>
                  </a:cubicBezTo>
                  <a:cubicBezTo>
                    <a:pt x="22" y="32"/>
                    <a:pt x="31" y="23"/>
                    <a:pt x="38" y="0"/>
                  </a:cubicBezTo>
                  <a:close/>
                </a:path>
              </a:pathLst>
            </a:custGeom>
            <a:solidFill>
              <a:srgbClr val="72C7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5" name="Freeform 58"/>
            <p:cNvSpPr>
              <a:spLocks noChangeAspect="1" noEditPoints="1"/>
            </p:cNvSpPr>
            <p:nvPr/>
          </p:nvSpPr>
          <p:spPr bwMode="gray">
            <a:xfrm>
              <a:off x="6428316" y="5914482"/>
              <a:ext cx="269171" cy="266400"/>
            </a:xfrm>
            <a:custGeom>
              <a:avLst/>
              <a:gdLst/>
              <a:ahLst/>
              <a:cxnLst>
                <a:cxn ang="0">
                  <a:pos x="91" y="47"/>
                </a:cxn>
                <a:cxn ang="0">
                  <a:pos x="83" y="40"/>
                </a:cxn>
                <a:cxn ang="0">
                  <a:pos x="85" y="26"/>
                </a:cxn>
                <a:cxn ang="0">
                  <a:pos x="85" y="26"/>
                </a:cxn>
                <a:cxn ang="0">
                  <a:pos x="88" y="23"/>
                </a:cxn>
                <a:cxn ang="0">
                  <a:pos x="82" y="15"/>
                </a:cxn>
                <a:cxn ang="0">
                  <a:pos x="78" y="17"/>
                </a:cxn>
                <a:cxn ang="0">
                  <a:pos x="78" y="17"/>
                </a:cxn>
                <a:cxn ang="0">
                  <a:pos x="60" y="10"/>
                </a:cxn>
                <a:cxn ang="0">
                  <a:pos x="59" y="6"/>
                </a:cxn>
                <a:cxn ang="0">
                  <a:pos x="59" y="6"/>
                </a:cxn>
                <a:cxn ang="0">
                  <a:pos x="59" y="2"/>
                </a:cxn>
                <a:cxn ang="0">
                  <a:pos x="49" y="0"/>
                </a:cxn>
                <a:cxn ang="0">
                  <a:pos x="48" y="5"/>
                </a:cxn>
                <a:cxn ang="0">
                  <a:pos x="48" y="5"/>
                </a:cxn>
                <a:cxn ang="0">
                  <a:pos x="40" y="13"/>
                </a:cxn>
                <a:cxn ang="0">
                  <a:pos x="26" y="10"/>
                </a:cxn>
                <a:cxn ang="0">
                  <a:pos x="25" y="10"/>
                </a:cxn>
                <a:cxn ang="0">
                  <a:pos x="23" y="7"/>
                </a:cxn>
                <a:cxn ang="0">
                  <a:pos x="15" y="13"/>
                </a:cxn>
                <a:cxn ang="0">
                  <a:pos x="17" y="17"/>
                </a:cxn>
                <a:cxn ang="0">
                  <a:pos x="17" y="18"/>
                </a:cxn>
                <a:cxn ang="0">
                  <a:pos x="10" y="35"/>
                </a:cxn>
                <a:cxn ang="0">
                  <a:pos x="5" y="36"/>
                </a:cxn>
                <a:cxn ang="0">
                  <a:pos x="1" y="36"/>
                </a:cxn>
                <a:cxn ang="0">
                  <a:pos x="0" y="46"/>
                </a:cxn>
                <a:cxn ang="0">
                  <a:pos x="4" y="47"/>
                </a:cxn>
                <a:cxn ang="0">
                  <a:pos x="12" y="55"/>
                </a:cxn>
                <a:cxn ang="0">
                  <a:pos x="10" y="69"/>
                </a:cxn>
                <a:cxn ang="0">
                  <a:pos x="7" y="72"/>
                </a:cxn>
                <a:cxn ang="0">
                  <a:pos x="13" y="79"/>
                </a:cxn>
                <a:cxn ang="0">
                  <a:pos x="16" y="78"/>
                </a:cxn>
                <a:cxn ang="0">
                  <a:pos x="17" y="77"/>
                </a:cxn>
                <a:cxn ang="0">
                  <a:pos x="18" y="77"/>
                </a:cxn>
                <a:cxn ang="0">
                  <a:pos x="36" y="84"/>
                </a:cxn>
                <a:cxn ang="0">
                  <a:pos x="37" y="89"/>
                </a:cxn>
                <a:cxn ang="0">
                  <a:pos x="37" y="89"/>
                </a:cxn>
                <a:cxn ang="0">
                  <a:pos x="37" y="93"/>
                </a:cxn>
                <a:cxn ang="0">
                  <a:pos x="46" y="94"/>
                </a:cxn>
                <a:cxn ang="0">
                  <a:pos x="47" y="90"/>
                </a:cxn>
                <a:cxn ang="0">
                  <a:pos x="55" y="82"/>
                </a:cxn>
                <a:cxn ang="0">
                  <a:pos x="69" y="84"/>
                </a:cxn>
                <a:cxn ang="0">
                  <a:pos x="73" y="87"/>
                </a:cxn>
                <a:cxn ang="0">
                  <a:pos x="80" y="81"/>
                </a:cxn>
                <a:cxn ang="0">
                  <a:pos x="78" y="77"/>
                </a:cxn>
                <a:cxn ang="0">
                  <a:pos x="78" y="77"/>
                </a:cxn>
                <a:cxn ang="0">
                  <a:pos x="85" y="59"/>
                </a:cxn>
                <a:cxn ang="0">
                  <a:pos x="90" y="58"/>
                </a:cxn>
                <a:cxn ang="0">
                  <a:pos x="94" y="58"/>
                </a:cxn>
                <a:cxn ang="0">
                  <a:pos x="95" y="49"/>
                </a:cxn>
                <a:cxn ang="0">
                  <a:pos x="91" y="47"/>
                </a:cxn>
                <a:cxn ang="0">
                  <a:pos x="64" y="49"/>
                </a:cxn>
                <a:cxn ang="0">
                  <a:pos x="46" y="63"/>
                </a:cxn>
                <a:cxn ang="0">
                  <a:pos x="32" y="45"/>
                </a:cxn>
                <a:cxn ang="0">
                  <a:pos x="50" y="31"/>
                </a:cxn>
                <a:cxn ang="0">
                  <a:pos x="64" y="49"/>
                </a:cxn>
              </a:cxnLst>
              <a:rect l="0" t="0" r="r" b="b"/>
              <a:pathLst>
                <a:path w="95" h="94">
                  <a:moveTo>
                    <a:pt x="91" y="47"/>
                  </a:moveTo>
                  <a:cubicBezTo>
                    <a:pt x="88" y="46"/>
                    <a:pt x="84" y="44"/>
                    <a:pt x="83" y="40"/>
                  </a:cubicBezTo>
                  <a:cubicBezTo>
                    <a:pt x="81" y="35"/>
                    <a:pt x="82" y="30"/>
                    <a:pt x="85" y="26"/>
                  </a:cubicBezTo>
                  <a:cubicBezTo>
                    <a:pt x="85" y="26"/>
                    <a:pt x="85" y="26"/>
                    <a:pt x="85" y="26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1" y="20"/>
                    <a:pt x="63" y="17"/>
                    <a:pt x="60" y="10"/>
                  </a:cubicBezTo>
                  <a:cubicBezTo>
                    <a:pt x="59" y="9"/>
                    <a:pt x="59" y="7"/>
                    <a:pt x="59" y="6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6" y="8"/>
                    <a:pt x="44" y="11"/>
                    <a:pt x="40" y="13"/>
                  </a:cubicBezTo>
                  <a:cubicBezTo>
                    <a:pt x="35" y="15"/>
                    <a:pt x="29" y="13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20" y="25"/>
                    <a:pt x="17" y="32"/>
                    <a:pt x="10" y="35"/>
                  </a:cubicBezTo>
                  <a:cubicBezTo>
                    <a:pt x="8" y="36"/>
                    <a:pt x="7" y="36"/>
                    <a:pt x="5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8" y="48"/>
                    <a:pt x="11" y="51"/>
                    <a:pt x="12" y="55"/>
                  </a:cubicBezTo>
                  <a:cubicBezTo>
                    <a:pt x="15" y="60"/>
                    <a:pt x="13" y="65"/>
                    <a:pt x="10" y="69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7" y="77"/>
                    <a:pt x="17" y="77"/>
                    <a:pt x="18" y="77"/>
                  </a:cubicBezTo>
                  <a:cubicBezTo>
                    <a:pt x="25" y="74"/>
                    <a:pt x="33" y="77"/>
                    <a:pt x="36" y="84"/>
                  </a:cubicBezTo>
                  <a:cubicBezTo>
                    <a:pt x="36" y="86"/>
                    <a:pt x="37" y="87"/>
                    <a:pt x="37" y="89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46" y="94"/>
                    <a:pt x="46" y="94"/>
                    <a:pt x="46" y="94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9" y="87"/>
                    <a:pt x="51" y="83"/>
                    <a:pt x="55" y="82"/>
                  </a:cubicBezTo>
                  <a:cubicBezTo>
                    <a:pt x="60" y="80"/>
                    <a:pt x="66" y="81"/>
                    <a:pt x="69" y="84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80" y="81"/>
                    <a:pt x="80" y="81"/>
                    <a:pt x="80" y="81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75" y="70"/>
                    <a:pt x="78" y="62"/>
                    <a:pt x="85" y="59"/>
                  </a:cubicBezTo>
                  <a:cubicBezTo>
                    <a:pt x="87" y="59"/>
                    <a:pt x="89" y="58"/>
                    <a:pt x="90" y="58"/>
                  </a:cubicBezTo>
                  <a:cubicBezTo>
                    <a:pt x="94" y="58"/>
                    <a:pt x="94" y="58"/>
                    <a:pt x="94" y="58"/>
                  </a:cubicBezTo>
                  <a:cubicBezTo>
                    <a:pt x="95" y="49"/>
                    <a:pt x="95" y="49"/>
                    <a:pt x="95" y="49"/>
                  </a:cubicBezTo>
                  <a:lnTo>
                    <a:pt x="91" y="47"/>
                  </a:lnTo>
                  <a:close/>
                  <a:moveTo>
                    <a:pt x="64" y="49"/>
                  </a:moveTo>
                  <a:cubicBezTo>
                    <a:pt x="63" y="58"/>
                    <a:pt x="54" y="64"/>
                    <a:pt x="46" y="63"/>
                  </a:cubicBezTo>
                  <a:cubicBezTo>
                    <a:pt x="37" y="62"/>
                    <a:pt x="30" y="54"/>
                    <a:pt x="32" y="45"/>
                  </a:cubicBezTo>
                  <a:cubicBezTo>
                    <a:pt x="33" y="36"/>
                    <a:pt x="41" y="30"/>
                    <a:pt x="50" y="31"/>
                  </a:cubicBezTo>
                  <a:cubicBezTo>
                    <a:pt x="59" y="33"/>
                    <a:pt x="65" y="41"/>
                    <a:pt x="64" y="49"/>
                  </a:cubicBez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6" name="Freeform 62"/>
            <p:cNvSpPr>
              <a:spLocks noChangeAspect="1"/>
            </p:cNvSpPr>
            <p:nvPr/>
          </p:nvSpPr>
          <p:spPr bwMode="gray">
            <a:xfrm>
              <a:off x="6983954" y="5957682"/>
              <a:ext cx="174350" cy="180000"/>
            </a:xfrm>
            <a:custGeom>
              <a:avLst/>
              <a:gdLst/>
              <a:ahLst/>
              <a:cxnLst>
                <a:cxn ang="0">
                  <a:pos x="223" y="0"/>
                </a:cxn>
                <a:cxn ang="0">
                  <a:pos x="223" y="115"/>
                </a:cxn>
                <a:cxn ang="0">
                  <a:pos x="432" y="115"/>
                </a:cxn>
                <a:cxn ang="0">
                  <a:pos x="432" y="338"/>
                </a:cxn>
                <a:cxn ang="0">
                  <a:pos x="223" y="338"/>
                </a:cxn>
                <a:cxn ang="0">
                  <a:pos x="223" y="446"/>
                </a:cxn>
                <a:cxn ang="0">
                  <a:pos x="0" y="223"/>
                </a:cxn>
                <a:cxn ang="0">
                  <a:pos x="223" y="0"/>
                </a:cxn>
              </a:cxnLst>
              <a:rect l="0" t="0" r="r" b="b"/>
              <a:pathLst>
                <a:path w="432" h="446">
                  <a:moveTo>
                    <a:pt x="223" y="0"/>
                  </a:moveTo>
                  <a:lnTo>
                    <a:pt x="223" y="115"/>
                  </a:lnTo>
                  <a:lnTo>
                    <a:pt x="432" y="115"/>
                  </a:lnTo>
                  <a:lnTo>
                    <a:pt x="432" y="338"/>
                  </a:lnTo>
                  <a:lnTo>
                    <a:pt x="223" y="338"/>
                  </a:lnTo>
                  <a:lnTo>
                    <a:pt x="223" y="446"/>
                  </a:lnTo>
                  <a:lnTo>
                    <a:pt x="0" y="223"/>
                  </a:lnTo>
                  <a:lnTo>
                    <a:pt x="223" y="0"/>
                  </a:lnTo>
                  <a:close/>
                </a:path>
              </a:pathLst>
            </a:custGeom>
            <a:solidFill>
              <a:srgbClr val="81BC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7" name="Freeform 66"/>
            <p:cNvSpPr>
              <a:spLocks noChangeAspect="1"/>
            </p:cNvSpPr>
            <p:nvPr/>
          </p:nvSpPr>
          <p:spPr bwMode="gray">
            <a:xfrm>
              <a:off x="7465071" y="5957682"/>
              <a:ext cx="185835" cy="180000"/>
            </a:xfrm>
            <a:custGeom>
              <a:avLst/>
              <a:gdLst/>
              <a:ahLst/>
              <a:cxnLst>
                <a:cxn ang="0">
                  <a:pos x="446" y="209"/>
                </a:cxn>
                <a:cxn ang="0">
                  <a:pos x="338" y="209"/>
                </a:cxn>
                <a:cxn ang="0">
                  <a:pos x="338" y="0"/>
                </a:cxn>
                <a:cxn ang="0">
                  <a:pos x="115" y="0"/>
                </a:cxn>
                <a:cxn ang="0">
                  <a:pos x="115" y="209"/>
                </a:cxn>
                <a:cxn ang="0">
                  <a:pos x="0" y="209"/>
                </a:cxn>
                <a:cxn ang="0">
                  <a:pos x="223" y="432"/>
                </a:cxn>
                <a:cxn ang="0">
                  <a:pos x="446" y="209"/>
                </a:cxn>
              </a:cxnLst>
              <a:rect l="0" t="0" r="r" b="b"/>
              <a:pathLst>
                <a:path w="446" h="432">
                  <a:moveTo>
                    <a:pt x="446" y="209"/>
                  </a:moveTo>
                  <a:lnTo>
                    <a:pt x="338" y="209"/>
                  </a:lnTo>
                  <a:lnTo>
                    <a:pt x="338" y="0"/>
                  </a:lnTo>
                  <a:lnTo>
                    <a:pt x="115" y="0"/>
                  </a:lnTo>
                  <a:lnTo>
                    <a:pt x="115" y="209"/>
                  </a:lnTo>
                  <a:lnTo>
                    <a:pt x="0" y="209"/>
                  </a:lnTo>
                  <a:lnTo>
                    <a:pt x="223" y="432"/>
                  </a:lnTo>
                  <a:lnTo>
                    <a:pt x="446" y="209"/>
                  </a:lnTo>
                  <a:close/>
                </a:path>
              </a:pathLst>
            </a:custGeom>
            <a:solidFill>
              <a:srgbClr val="00277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8" name="Freeform 70"/>
            <p:cNvSpPr>
              <a:spLocks noChangeAspect="1"/>
            </p:cNvSpPr>
            <p:nvPr/>
          </p:nvSpPr>
          <p:spPr bwMode="gray">
            <a:xfrm>
              <a:off x="7984519" y="5957682"/>
              <a:ext cx="189165" cy="180000"/>
            </a:xfrm>
            <a:custGeom>
              <a:avLst/>
              <a:gdLst/>
              <a:ahLst/>
              <a:cxnLst>
                <a:cxn ang="0">
                  <a:pos x="454" y="223"/>
                </a:cxn>
                <a:cxn ang="0">
                  <a:pos x="339" y="223"/>
                </a:cxn>
                <a:cxn ang="0">
                  <a:pos x="339" y="432"/>
                </a:cxn>
                <a:cxn ang="0">
                  <a:pos x="115" y="432"/>
                </a:cxn>
                <a:cxn ang="0">
                  <a:pos x="115" y="223"/>
                </a:cxn>
                <a:cxn ang="0">
                  <a:pos x="0" y="223"/>
                </a:cxn>
                <a:cxn ang="0">
                  <a:pos x="231" y="0"/>
                </a:cxn>
                <a:cxn ang="0">
                  <a:pos x="454" y="223"/>
                </a:cxn>
              </a:cxnLst>
              <a:rect l="0" t="0" r="r" b="b"/>
              <a:pathLst>
                <a:path w="454" h="432">
                  <a:moveTo>
                    <a:pt x="454" y="223"/>
                  </a:moveTo>
                  <a:lnTo>
                    <a:pt x="339" y="223"/>
                  </a:lnTo>
                  <a:lnTo>
                    <a:pt x="339" y="432"/>
                  </a:lnTo>
                  <a:lnTo>
                    <a:pt x="115" y="432"/>
                  </a:lnTo>
                  <a:lnTo>
                    <a:pt x="115" y="223"/>
                  </a:lnTo>
                  <a:lnTo>
                    <a:pt x="0" y="223"/>
                  </a:lnTo>
                  <a:lnTo>
                    <a:pt x="231" y="0"/>
                  </a:lnTo>
                  <a:lnTo>
                    <a:pt x="454" y="223"/>
                  </a:ln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9" name="Freeform 74"/>
            <p:cNvSpPr>
              <a:spLocks noChangeAspect="1"/>
            </p:cNvSpPr>
            <p:nvPr/>
          </p:nvSpPr>
          <p:spPr bwMode="gray">
            <a:xfrm>
              <a:off x="8482140" y="5957682"/>
              <a:ext cx="174350" cy="180000"/>
            </a:xfrm>
            <a:custGeom>
              <a:avLst/>
              <a:gdLst/>
              <a:ahLst/>
              <a:cxnLst>
                <a:cxn ang="0">
                  <a:pos x="209" y="0"/>
                </a:cxn>
                <a:cxn ang="0">
                  <a:pos x="209" y="115"/>
                </a:cxn>
                <a:cxn ang="0">
                  <a:pos x="0" y="115"/>
                </a:cxn>
                <a:cxn ang="0">
                  <a:pos x="0" y="338"/>
                </a:cxn>
                <a:cxn ang="0">
                  <a:pos x="209" y="338"/>
                </a:cxn>
                <a:cxn ang="0">
                  <a:pos x="209" y="446"/>
                </a:cxn>
                <a:cxn ang="0">
                  <a:pos x="432" y="223"/>
                </a:cxn>
                <a:cxn ang="0">
                  <a:pos x="209" y="0"/>
                </a:cxn>
              </a:cxnLst>
              <a:rect l="0" t="0" r="r" b="b"/>
              <a:pathLst>
                <a:path w="432" h="446">
                  <a:moveTo>
                    <a:pt x="209" y="0"/>
                  </a:moveTo>
                  <a:lnTo>
                    <a:pt x="209" y="115"/>
                  </a:lnTo>
                  <a:lnTo>
                    <a:pt x="0" y="115"/>
                  </a:lnTo>
                  <a:lnTo>
                    <a:pt x="0" y="338"/>
                  </a:lnTo>
                  <a:lnTo>
                    <a:pt x="209" y="338"/>
                  </a:lnTo>
                  <a:lnTo>
                    <a:pt x="209" y="446"/>
                  </a:lnTo>
                  <a:lnTo>
                    <a:pt x="432" y="223"/>
                  </a:lnTo>
                  <a:lnTo>
                    <a:pt x="209" y="0"/>
                  </a:lnTo>
                  <a:close/>
                </a:path>
              </a:pathLst>
            </a:custGeom>
            <a:solidFill>
              <a:srgbClr val="3C8A2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675245960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" name="Group 117"/>
          <p:cNvGrpSpPr/>
          <p:nvPr/>
        </p:nvGrpSpPr>
        <p:grpSpPr>
          <a:xfrm>
            <a:off x="4054440" y="2809083"/>
            <a:ext cx="16245386" cy="7821850"/>
            <a:chOff x="1345803" y="1460850"/>
            <a:chExt cx="9465468" cy="4557446"/>
          </a:xfrm>
          <a:solidFill>
            <a:schemeClr val="tx1"/>
          </a:solidFill>
        </p:grpSpPr>
        <p:grpSp>
          <p:nvGrpSpPr>
            <p:cNvPr id="4" name="Gruppieren 72"/>
            <p:cNvGrpSpPr/>
            <p:nvPr/>
          </p:nvGrpSpPr>
          <p:grpSpPr>
            <a:xfrm>
              <a:off x="1617199" y="1468204"/>
              <a:ext cx="271396" cy="858889"/>
              <a:chOff x="1360488" y="-725488"/>
              <a:chExt cx="269875" cy="854076"/>
            </a:xfrm>
            <a:grpFill/>
          </p:grpSpPr>
          <p:sp>
            <p:nvSpPr>
              <p:cNvPr id="5" name="Freeform 91"/>
              <p:cNvSpPr>
                <a:spLocks/>
              </p:cNvSpPr>
              <p:nvPr/>
            </p:nvSpPr>
            <p:spPr bwMode="auto">
              <a:xfrm>
                <a:off x="1443038" y="-725488"/>
                <a:ext cx="104775" cy="15240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27" y="24"/>
                  </a:cxn>
                  <a:cxn ang="0">
                    <a:pos x="22" y="37"/>
                  </a:cxn>
                  <a:cxn ang="0">
                    <a:pos x="7" y="38"/>
                  </a:cxn>
                  <a:cxn ang="0">
                    <a:pos x="1" y="26"/>
                  </a:cxn>
                  <a:cxn ang="0">
                    <a:pos x="2" y="18"/>
                  </a:cxn>
                  <a:cxn ang="0">
                    <a:pos x="14" y="0"/>
                  </a:cxn>
                </a:cxnLst>
                <a:rect l="0" t="0" r="r" b="b"/>
                <a:pathLst>
                  <a:path w="28" h="41">
                    <a:moveTo>
                      <a:pt x="14" y="0"/>
                    </a:moveTo>
                    <a:cubicBezTo>
                      <a:pt x="20" y="7"/>
                      <a:pt x="25" y="14"/>
                      <a:pt x="27" y="24"/>
                    </a:cubicBezTo>
                    <a:cubicBezTo>
                      <a:pt x="28" y="29"/>
                      <a:pt x="26" y="34"/>
                      <a:pt x="22" y="37"/>
                    </a:cubicBezTo>
                    <a:cubicBezTo>
                      <a:pt x="17" y="40"/>
                      <a:pt x="12" y="41"/>
                      <a:pt x="7" y="38"/>
                    </a:cubicBezTo>
                    <a:cubicBezTo>
                      <a:pt x="2" y="35"/>
                      <a:pt x="0" y="31"/>
                      <a:pt x="1" y="26"/>
                    </a:cubicBezTo>
                    <a:cubicBezTo>
                      <a:pt x="1" y="23"/>
                      <a:pt x="1" y="20"/>
                      <a:pt x="2" y="18"/>
                    </a:cubicBezTo>
                    <a:cubicBezTo>
                      <a:pt x="5" y="11"/>
                      <a:pt x="9" y="6"/>
                      <a:pt x="1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6" name="Freeform 92"/>
              <p:cNvSpPr>
                <a:spLocks/>
              </p:cNvSpPr>
              <p:nvPr/>
            </p:nvSpPr>
            <p:spPr bwMode="auto">
              <a:xfrm>
                <a:off x="1506538" y="-590550"/>
                <a:ext cx="123825" cy="123825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29" y="19"/>
                  </a:cxn>
                  <a:cxn ang="0">
                    <a:pos x="25" y="26"/>
                  </a:cxn>
                  <a:cxn ang="0">
                    <a:pos x="12" y="32"/>
                  </a:cxn>
                  <a:cxn ang="0">
                    <a:pos x="1" y="22"/>
                  </a:cxn>
                  <a:cxn ang="0">
                    <a:pos x="6" y="8"/>
                  </a:cxn>
                  <a:cxn ang="0">
                    <a:pos x="22" y="1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cubicBezTo>
                      <a:pt x="32" y="7"/>
                      <a:pt x="31" y="13"/>
                      <a:pt x="29" y="19"/>
                    </a:cubicBezTo>
                    <a:cubicBezTo>
                      <a:pt x="28" y="22"/>
                      <a:pt x="27" y="24"/>
                      <a:pt x="25" y="26"/>
                    </a:cubicBezTo>
                    <a:cubicBezTo>
                      <a:pt x="22" y="31"/>
                      <a:pt x="17" y="33"/>
                      <a:pt x="12" y="32"/>
                    </a:cubicBezTo>
                    <a:cubicBezTo>
                      <a:pt x="6" y="31"/>
                      <a:pt x="2" y="27"/>
                      <a:pt x="1" y="22"/>
                    </a:cubicBezTo>
                    <a:cubicBezTo>
                      <a:pt x="0" y="16"/>
                      <a:pt x="1" y="11"/>
                      <a:pt x="6" y="8"/>
                    </a:cubicBezTo>
                    <a:cubicBezTo>
                      <a:pt x="11" y="4"/>
                      <a:pt x="17" y="3"/>
                      <a:pt x="22" y="1"/>
                    </a:cubicBezTo>
                    <a:cubicBezTo>
                      <a:pt x="26" y="1"/>
                      <a:pt x="29" y="0"/>
                      <a:pt x="3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7" name="Freeform 93"/>
              <p:cNvSpPr>
                <a:spLocks/>
              </p:cNvSpPr>
              <p:nvPr/>
            </p:nvSpPr>
            <p:spPr bwMode="auto">
              <a:xfrm>
                <a:off x="1503363" y="-455613"/>
                <a:ext cx="127000" cy="123825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0" y="18"/>
                  </a:cxn>
                  <a:cxn ang="0">
                    <a:pos x="26" y="27"/>
                  </a:cxn>
                  <a:cxn ang="0">
                    <a:pos x="13" y="32"/>
                  </a:cxn>
                  <a:cxn ang="0">
                    <a:pos x="2" y="22"/>
                  </a:cxn>
                  <a:cxn ang="0">
                    <a:pos x="9" y="7"/>
                  </a:cxn>
                  <a:cxn ang="0">
                    <a:pos x="26" y="1"/>
                  </a:cxn>
                  <a:cxn ang="0">
                    <a:pos x="34" y="0"/>
                  </a:cxn>
                </a:cxnLst>
                <a:rect l="0" t="0" r="r" b="b"/>
                <a:pathLst>
                  <a:path w="34" h="33">
                    <a:moveTo>
                      <a:pt x="34" y="0"/>
                    </a:moveTo>
                    <a:cubicBezTo>
                      <a:pt x="33" y="6"/>
                      <a:pt x="32" y="12"/>
                      <a:pt x="30" y="18"/>
                    </a:cubicBezTo>
                    <a:cubicBezTo>
                      <a:pt x="29" y="21"/>
                      <a:pt x="28" y="24"/>
                      <a:pt x="26" y="27"/>
                    </a:cubicBezTo>
                    <a:cubicBezTo>
                      <a:pt x="23" y="31"/>
                      <a:pt x="18" y="33"/>
                      <a:pt x="13" y="32"/>
                    </a:cubicBezTo>
                    <a:cubicBezTo>
                      <a:pt x="8" y="31"/>
                      <a:pt x="4" y="27"/>
                      <a:pt x="2" y="22"/>
                    </a:cubicBezTo>
                    <a:cubicBezTo>
                      <a:pt x="0" y="16"/>
                      <a:pt x="3" y="10"/>
                      <a:pt x="9" y="7"/>
                    </a:cubicBezTo>
                    <a:cubicBezTo>
                      <a:pt x="14" y="3"/>
                      <a:pt x="20" y="2"/>
                      <a:pt x="26" y="1"/>
                    </a:cubicBezTo>
                    <a:cubicBezTo>
                      <a:pt x="29" y="0"/>
                      <a:pt x="31" y="0"/>
                      <a:pt x="3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8" name="Freeform 94"/>
              <p:cNvSpPr>
                <a:spLocks/>
              </p:cNvSpPr>
              <p:nvPr/>
            </p:nvSpPr>
            <p:spPr bwMode="auto">
              <a:xfrm>
                <a:off x="1503363" y="-320675"/>
                <a:ext cx="123825" cy="119063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0" y="18"/>
                  </a:cxn>
                  <a:cxn ang="0">
                    <a:pos x="26" y="27"/>
                  </a:cxn>
                  <a:cxn ang="0">
                    <a:pos x="13" y="32"/>
                  </a:cxn>
                  <a:cxn ang="0">
                    <a:pos x="2" y="22"/>
                  </a:cxn>
                  <a:cxn ang="0">
                    <a:pos x="9" y="6"/>
                  </a:cxn>
                  <a:cxn ang="0">
                    <a:pos x="26" y="1"/>
                  </a:cxn>
                  <a:cxn ang="0">
                    <a:pos x="33" y="0"/>
                  </a:cxn>
                </a:cxnLst>
                <a:rect l="0" t="0" r="r" b="b"/>
                <a:pathLst>
                  <a:path w="33" h="32">
                    <a:moveTo>
                      <a:pt x="33" y="0"/>
                    </a:moveTo>
                    <a:cubicBezTo>
                      <a:pt x="33" y="6"/>
                      <a:pt x="32" y="12"/>
                      <a:pt x="30" y="18"/>
                    </a:cubicBezTo>
                    <a:cubicBezTo>
                      <a:pt x="29" y="21"/>
                      <a:pt x="28" y="24"/>
                      <a:pt x="26" y="27"/>
                    </a:cubicBezTo>
                    <a:cubicBezTo>
                      <a:pt x="23" y="31"/>
                      <a:pt x="18" y="32"/>
                      <a:pt x="13" y="32"/>
                    </a:cubicBezTo>
                    <a:cubicBezTo>
                      <a:pt x="7" y="31"/>
                      <a:pt x="4" y="27"/>
                      <a:pt x="2" y="22"/>
                    </a:cubicBezTo>
                    <a:cubicBezTo>
                      <a:pt x="0" y="16"/>
                      <a:pt x="3" y="10"/>
                      <a:pt x="9" y="6"/>
                    </a:cubicBezTo>
                    <a:cubicBezTo>
                      <a:pt x="14" y="3"/>
                      <a:pt x="20" y="2"/>
                      <a:pt x="26" y="1"/>
                    </a:cubicBezTo>
                    <a:cubicBezTo>
                      <a:pt x="29" y="0"/>
                      <a:pt x="31" y="0"/>
                      <a:pt x="3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9" name="Freeform 95"/>
              <p:cNvSpPr>
                <a:spLocks/>
              </p:cNvSpPr>
              <p:nvPr/>
            </p:nvSpPr>
            <p:spPr bwMode="auto">
              <a:xfrm>
                <a:off x="1506538" y="-185738"/>
                <a:ext cx="123825" cy="123825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25" y="27"/>
                  </a:cxn>
                  <a:cxn ang="0">
                    <a:pos x="11" y="31"/>
                  </a:cxn>
                  <a:cxn ang="0">
                    <a:pos x="1" y="22"/>
                  </a:cxn>
                  <a:cxn ang="0">
                    <a:pos x="6" y="8"/>
                  </a:cxn>
                  <a:cxn ang="0">
                    <a:pos x="22" y="1"/>
                  </a:cxn>
                  <a:cxn ang="0">
                    <a:pos x="33" y="0"/>
                  </a:cxn>
                </a:cxnLst>
                <a:rect l="0" t="0" r="r" b="b"/>
                <a:pathLst>
                  <a:path w="33" h="33">
                    <a:moveTo>
                      <a:pt x="33" y="0"/>
                    </a:moveTo>
                    <a:cubicBezTo>
                      <a:pt x="31" y="9"/>
                      <a:pt x="30" y="19"/>
                      <a:pt x="25" y="27"/>
                    </a:cubicBezTo>
                    <a:cubicBezTo>
                      <a:pt x="21" y="31"/>
                      <a:pt x="17" y="33"/>
                      <a:pt x="11" y="31"/>
                    </a:cubicBezTo>
                    <a:cubicBezTo>
                      <a:pt x="6" y="30"/>
                      <a:pt x="2" y="27"/>
                      <a:pt x="1" y="22"/>
                    </a:cubicBezTo>
                    <a:cubicBezTo>
                      <a:pt x="0" y="16"/>
                      <a:pt x="1" y="11"/>
                      <a:pt x="6" y="8"/>
                    </a:cubicBezTo>
                    <a:cubicBezTo>
                      <a:pt x="11" y="4"/>
                      <a:pt x="17" y="3"/>
                      <a:pt x="22" y="1"/>
                    </a:cubicBezTo>
                    <a:cubicBezTo>
                      <a:pt x="26" y="1"/>
                      <a:pt x="29" y="0"/>
                      <a:pt x="3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0" name="Freeform 96"/>
              <p:cNvSpPr>
                <a:spLocks/>
              </p:cNvSpPr>
              <p:nvPr/>
            </p:nvSpPr>
            <p:spPr bwMode="auto">
              <a:xfrm>
                <a:off x="1360488" y="-595313"/>
                <a:ext cx="123825" cy="12858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20" y="5"/>
                  </a:cxn>
                  <a:cxn ang="0">
                    <a:pos x="27" y="9"/>
                  </a:cxn>
                  <a:cxn ang="0">
                    <a:pos x="31" y="23"/>
                  </a:cxn>
                  <a:cxn ang="0">
                    <a:pos x="21" y="33"/>
                  </a:cxn>
                  <a:cxn ang="0">
                    <a:pos x="7" y="27"/>
                  </a:cxn>
                  <a:cxn ang="0">
                    <a:pos x="1" y="9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33" h="34">
                    <a:moveTo>
                      <a:pt x="1" y="0"/>
                    </a:moveTo>
                    <a:cubicBezTo>
                      <a:pt x="7" y="2"/>
                      <a:pt x="14" y="3"/>
                      <a:pt x="20" y="5"/>
                    </a:cubicBezTo>
                    <a:cubicBezTo>
                      <a:pt x="22" y="6"/>
                      <a:pt x="25" y="7"/>
                      <a:pt x="27" y="9"/>
                    </a:cubicBezTo>
                    <a:cubicBezTo>
                      <a:pt x="31" y="12"/>
                      <a:pt x="33" y="17"/>
                      <a:pt x="31" y="23"/>
                    </a:cubicBezTo>
                    <a:cubicBezTo>
                      <a:pt x="30" y="28"/>
                      <a:pt x="26" y="32"/>
                      <a:pt x="21" y="33"/>
                    </a:cubicBezTo>
                    <a:cubicBezTo>
                      <a:pt x="15" y="34"/>
                      <a:pt x="11" y="32"/>
                      <a:pt x="7" y="27"/>
                    </a:cubicBezTo>
                    <a:cubicBezTo>
                      <a:pt x="4" y="22"/>
                      <a:pt x="2" y="15"/>
                      <a:pt x="1" y="9"/>
                    </a:cubicBezTo>
                    <a:cubicBezTo>
                      <a:pt x="1" y="6"/>
                      <a:pt x="0" y="4"/>
                      <a:pt x="0" y="1"/>
                    </a:cubicBezTo>
                    <a:cubicBezTo>
                      <a:pt x="0" y="1"/>
                      <a:pt x="0" y="1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1" name="Freeform 97"/>
              <p:cNvSpPr>
                <a:spLocks/>
              </p:cNvSpPr>
              <p:nvPr/>
            </p:nvSpPr>
            <p:spPr bwMode="auto">
              <a:xfrm>
                <a:off x="1360488" y="-455613"/>
                <a:ext cx="123825" cy="123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" y="6"/>
                  </a:cxn>
                  <a:cxn ang="0">
                    <a:pos x="32" y="16"/>
                  </a:cxn>
                  <a:cxn ang="0">
                    <a:pos x="24" y="31"/>
                  </a:cxn>
                  <a:cxn ang="0">
                    <a:pos x="8" y="26"/>
                  </a:cxn>
                  <a:cxn ang="0">
                    <a:pos x="2" y="11"/>
                  </a:cxn>
                  <a:cxn ang="0">
                    <a:pos x="0" y="0"/>
                  </a:cxn>
                </a:cxnLst>
                <a:rect l="0" t="0" r="r" b="b"/>
                <a:pathLst>
                  <a:path w="33" h="33">
                    <a:moveTo>
                      <a:pt x="0" y="0"/>
                    </a:moveTo>
                    <a:cubicBezTo>
                      <a:pt x="8" y="1"/>
                      <a:pt x="16" y="2"/>
                      <a:pt x="23" y="6"/>
                    </a:cubicBezTo>
                    <a:cubicBezTo>
                      <a:pt x="28" y="8"/>
                      <a:pt x="31" y="11"/>
                      <a:pt x="32" y="16"/>
                    </a:cubicBezTo>
                    <a:cubicBezTo>
                      <a:pt x="33" y="22"/>
                      <a:pt x="30" y="28"/>
                      <a:pt x="24" y="31"/>
                    </a:cubicBezTo>
                    <a:cubicBezTo>
                      <a:pt x="18" y="33"/>
                      <a:pt x="11" y="31"/>
                      <a:pt x="8" y="26"/>
                    </a:cubicBezTo>
                    <a:cubicBezTo>
                      <a:pt x="4" y="22"/>
                      <a:pt x="3" y="16"/>
                      <a:pt x="2" y="11"/>
                    </a:cubicBezTo>
                    <a:cubicBezTo>
                      <a:pt x="1" y="7"/>
                      <a:pt x="0" y="4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2" name="Freeform 98"/>
              <p:cNvSpPr>
                <a:spLocks/>
              </p:cNvSpPr>
              <p:nvPr/>
            </p:nvSpPr>
            <p:spPr bwMode="auto">
              <a:xfrm>
                <a:off x="1360488" y="-320675"/>
                <a:ext cx="119063" cy="123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4" y="6"/>
                  </a:cxn>
                  <a:cxn ang="0">
                    <a:pos x="32" y="19"/>
                  </a:cxn>
                  <a:cxn ang="0">
                    <a:pos x="24" y="31"/>
                  </a:cxn>
                  <a:cxn ang="0">
                    <a:pos x="7" y="26"/>
                  </a:cxn>
                  <a:cxn ang="0">
                    <a:pos x="1" y="8"/>
                  </a:cxn>
                  <a:cxn ang="0">
                    <a:pos x="0" y="0"/>
                  </a:cxn>
                </a:cxnLst>
                <a:rect l="0" t="0" r="r" b="b"/>
                <a:pathLst>
                  <a:path w="32" h="33">
                    <a:moveTo>
                      <a:pt x="0" y="0"/>
                    </a:moveTo>
                    <a:cubicBezTo>
                      <a:pt x="9" y="1"/>
                      <a:pt x="17" y="2"/>
                      <a:pt x="24" y="6"/>
                    </a:cubicBezTo>
                    <a:cubicBezTo>
                      <a:pt x="29" y="9"/>
                      <a:pt x="32" y="13"/>
                      <a:pt x="32" y="19"/>
                    </a:cubicBezTo>
                    <a:cubicBezTo>
                      <a:pt x="32" y="24"/>
                      <a:pt x="29" y="28"/>
                      <a:pt x="24" y="31"/>
                    </a:cubicBezTo>
                    <a:cubicBezTo>
                      <a:pt x="18" y="33"/>
                      <a:pt x="11" y="31"/>
                      <a:pt x="7" y="26"/>
                    </a:cubicBezTo>
                    <a:cubicBezTo>
                      <a:pt x="4" y="20"/>
                      <a:pt x="2" y="14"/>
                      <a:pt x="1" y="8"/>
                    </a:cubicBezTo>
                    <a:cubicBezTo>
                      <a:pt x="1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3" name="Freeform 99"/>
              <p:cNvSpPr>
                <a:spLocks/>
              </p:cNvSpPr>
              <p:nvPr/>
            </p:nvSpPr>
            <p:spPr bwMode="auto">
              <a:xfrm>
                <a:off x="1360488" y="-185738"/>
                <a:ext cx="123825" cy="123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4" y="6"/>
                  </a:cxn>
                  <a:cxn ang="0">
                    <a:pos x="32" y="20"/>
                  </a:cxn>
                  <a:cxn ang="0">
                    <a:pos x="21" y="32"/>
                  </a:cxn>
                  <a:cxn ang="0">
                    <a:pos x="7" y="26"/>
                  </a:cxn>
                  <a:cxn ang="0">
                    <a:pos x="1" y="8"/>
                  </a:cxn>
                  <a:cxn ang="0">
                    <a:pos x="0" y="0"/>
                  </a:cxn>
                </a:cxnLst>
                <a:rect l="0" t="0" r="r" b="b"/>
                <a:pathLst>
                  <a:path w="33" h="33">
                    <a:moveTo>
                      <a:pt x="0" y="0"/>
                    </a:moveTo>
                    <a:cubicBezTo>
                      <a:pt x="9" y="1"/>
                      <a:pt x="17" y="2"/>
                      <a:pt x="24" y="6"/>
                    </a:cubicBezTo>
                    <a:cubicBezTo>
                      <a:pt x="30" y="9"/>
                      <a:pt x="33" y="15"/>
                      <a:pt x="32" y="20"/>
                    </a:cubicBezTo>
                    <a:cubicBezTo>
                      <a:pt x="31" y="26"/>
                      <a:pt x="27" y="30"/>
                      <a:pt x="21" y="32"/>
                    </a:cubicBezTo>
                    <a:cubicBezTo>
                      <a:pt x="16" y="33"/>
                      <a:pt x="11" y="31"/>
                      <a:pt x="7" y="26"/>
                    </a:cubicBezTo>
                    <a:cubicBezTo>
                      <a:pt x="4" y="21"/>
                      <a:pt x="2" y="14"/>
                      <a:pt x="1" y="8"/>
                    </a:cubicBezTo>
                    <a:cubicBezTo>
                      <a:pt x="1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4" name="Freeform 100"/>
              <p:cNvSpPr>
                <a:spLocks/>
              </p:cNvSpPr>
              <p:nvPr/>
            </p:nvSpPr>
            <p:spPr bwMode="auto">
              <a:xfrm>
                <a:off x="1479551" y="-66675"/>
                <a:ext cx="30163" cy="195263"/>
              </a:xfrm>
              <a:custGeom>
                <a:avLst/>
                <a:gdLst/>
                <a:ahLst/>
                <a:cxnLst>
                  <a:cxn ang="0">
                    <a:pos x="8" y="52"/>
                  </a:cxn>
                  <a:cxn ang="0">
                    <a:pos x="1" y="52"/>
                  </a:cxn>
                  <a:cxn ang="0">
                    <a:pos x="0" y="50"/>
                  </a:cxn>
                  <a:cxn ang="0">
                    <a:pos x="0" y="49"/>
                  </a:cxn>
                  <a:cxn ang="0">
                    <a:pos x="0" y="3"/>
                  </a:cxn>
                  <a:cxn ang="0">
                    <a:pos x="3" y="0"/>
                  </a:cxn>
                  <a:cxn ang="0">
                    <a:pos x="8" y="0"/>
                  </a:cxn>
                  <a:cxn ang="0">
                    <a:pos x="8" y="52"/>
                  </a:cxn>
                </a:cxnLst>
                <a:rect l="0" t="0" r="r" b="b"/>
                <a:pathLst>
                  <a:path w="8" h="52">
                    <a:moveTo>
                      <a:pt x="8" y="52"/>
                    </a:moveTo>
                    <a:cubicBezTo>
                      <a:pt x="5" y="52"/>
                      <a:pt x="3" y="52"/>
                      <a:pt x="1" y="52"/>
                    </a:cubicBezTo>
                    <a:cubicBezTo>
                      <a:pt x="1" y="51"/>
                      <a:pt x="0" y="51"/>
                      <a:pt x="0" y="50"/>
                    </a:cubicBezTo>
                    <a:cubicBezTo>
                      <a:pt x="0" y="50"/>
                      <a:pt x="0" y="49"/>
                      <a:pt x="0" y="49"/>
                    </a:cubicBezTo>
                    <a:cubicBezTo>
                      <a:pt x="0" y="33"/>
                      <a:pt x="0" y="18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4" y="0"/>
                      <a:pt x="6" y="0"/>
                      <a:pt x="8" y="0"/>
                    </a:cubicBezTo>
                    <a:cubicBezTo>
                      <a:pt x="8" y="17"/>
                      <a:pt x="8" y="34"/>
                      <a:pt x="8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grpSp>
          <p:nvGrpSpPr>
            <p:cNvPr id="15" name="Gruppieren 89"/>
            <p:cNvGrpSpPr/>
            <p:nvPr/>
          </p:nvGrpSpPr>
          <p:grpSpPr>
            <a:xfrm>
              <a:off x="2282500" y="1476815"/>
              <a:ext cx="858888" cy="844520"/>
              <a:chOff x="11937776" y="-711200"/>
              <a:chExt cx="854075" cy="839788"/>
            </a:xfrm>
            <a:grpFill/>
          </p:grpSpPr>
          <p:sp>
            <p:nvSpPr>
              <p:cNvPr id="16" name="Freeform 86"/>
              <p:cNvSpPr>
                <a:spLocks/>
              </p:cNvSpPr>
              <p:nvPr/>
            </p:nvSpPr>
            <p:spPr bwMode="auto">
              <a:xfrm>
                <a:off x="11937776" y="-542925"/>
                <a:ext cx="854075" cy="506413"/>
              </a:xfrm>
              <a:custGeom>
                <a:avLst/>
                <a:gdLst/>
                <a:ahLst/>
                <a:cxnLst>
                  <a:cxn ang="0">
                    <a:pos x="161" y="41"/>
                  </a:cxn>
                  <a:cxn ang="0">
                    <a:pos x="216" y="60"/>
                  </a:cxn>
                  <a:cxn ang="0">
                    <a:pos x="218" y="111"/>
                  </a:cxn>
                  <a:cxn ang="0">
                    <a:pos x="177" y="135"/>
                  </a:cxn>
                  <a:cxn ang="0">
                    <a:pos x="177" y="124"/>
                  </a:cxn>
                  <a:cxn ang="0">
                    <a:pos x="180" y="123"/>
                  </a:cxn>
                  <a:cxn ang="0">
                    <a:pos x="201" y="114"/>
                  </a:cxn>
                  <a:cxn ang="0">
                    <a:pos x="212" y="76"/>
                  </a:cxn>
                  <a:cxn ang="0">
                    <a:pos x="183" y="51"/>
                  </a:cxn>
                  <a:cxn ang="0">
                    <a:pos x="155" y="58"/>
                  </a:cxn>
                  <a:cxn ang="0">
                    <a:pos x="153" y="59"/>
                  </a:cxn>
                  <a:cxn ang="0">
                    <a:pos x="125" y="19"/>
                  </a:cxn>
                  <a:cxn ang="0">
                    <a:pos x="90" y="17"/>
                  </a:cxn>
                  <a:cxn ang="0">
                    <a:pos x="58" y="74"/>
                  </a:cxn>
                  <a:cxn ang="0">
                    <a:pos x="56" y="75"/>
                  </a:cxn>
                  <a:cxn ang="0">
                    <a:pos x="37" y="75"/>
                  </a:cxn>
                  <a:cxn ang="0">
                    <a:pos x="13" y="99"/>
                  </a:cxn>
                  <a:cxn ang="0">
                    <a:pos x="35" y="123"/>
                  </a:cxn>
                  <a:cxn ang="0">
                    <a:pos x="37" y="125"/>
                  </a:cxn>
                  <a:cxn ang="0">
                    <a:pos x="37" y="135"/>
                  </a:cxn>
                  <a:cxn ang="0">
                    <a:pos x="27" y="133"/>
                  </a:cxn>
                  <a:cxn ang="0">
                    <a:pos x="1" y="97"/>
                  </a:cxn>
                  <a:cxn ang="0">
                    <a:pos x="31" y="63"/>
                  </a:cxn>
                  <a:cxn ang="0">
                    <a:pos x="43" y="63"/>
                  </a:cxn>
                  <a:cxn ang="0">
                    <a:pos x="45" y="61"/>
                  </a:cxn>
                  <a:cxn ang="0">
                    <a:pos x="96" y="4"/>
                  </a:cxn>
                  <a:cxn ang="0">
                    <a:pos x="160" y="40"/>
                  </a:cxn>
                  <a:cxn ang="0">
                    <a:pos x="161" y="41"/>
                  </a:cxn>
                </a:cxnLst>
                <a:rect l="0" t="0" r="r" b="b"/>
                <a:pathLst>
                  <a:path w="228" h="135">
                    <a:moveTo>
                      <a:pt x="161" y="41"/>
                    </a:moveTo>
                    <a:cubicBezTo>
                      <a:pt x="184" y="35"/>
                      <a:pt x="203" y="40"/>
                      <a:pt x="216" y="60"/>
                    </a:cubicBezTo>
                    <a:cubicBezTo>
                      <a:pt x="228" y="76"/>
                      <a:pt x="228" y="94"/>
                      <a:pt x="218" y="111"/>
                    </a:cubicBezTo>
                    <a:cubicBezTo>
                      <a:pt x="209" y="126"/>
                      <a:pt x="195" y="134"/>
                      <a:pt x="177" y="135"/>
                    </a:cubicBezTo>
                    <a:cubicBezTo>
                      <a:pt x="177" y="131"/>
                      <a:pt x="177" y="127"/>
                      <a:pt x="177" y="124"/>
                    </a:cubicBezTo>
                    <a:cubicBezTo>
                      <a:pt x="177" y="124"/>
                      <a:pt x="179" y="123"/>
                      <a:pt x="180" y="123"/>
                    </a:cubicBezTo>
                    <a:cubicBezTo>
                      <a:pt x="188" y="122"/>
                      <a:pt x="195" y="119"/>
                      <a:pt x="201" y="114"/>
                    </a:cubicBezTo>
                    <a:cubicBezTo>
                      <a:pt x="212" y="103"/>
                      <a:pt x="216" y="91"/>
                      <a:pt x="212" y="76"/>
                    </a:cubicBezTo>
                    <a:cubicBezTo>
                      <a:pt x="207" y="62"/>
                      <a:pt x="197" y="54"/>
                      <a:pt x="183" y="51"/>
                    </a:cubicBezTo>
                    <a:cubicBezTo>
                      <a:pt x="173" y="49"/>
                      <a:pt x="163" y="52"/>
                      <a:pt x="155" y="58"/>
                    </a:cubicBezTo>
                    <a:cubicBezTo>
                      <a:pt x="155" y="58"/>
                      <a:pt x="154" y="59"/>
                      <a:pt x="153" y="59"/>
                    </a:cubicBezTo>
                    <a:cubicBezTo>
                      <a:pt x="151" y="41"/>
                      <a:pt x="142" y="27"/>
                      <a:pt x="125" y="19"/>
                    </a:cubicBezTo>
                    <a:cubicBezTo>
                      <a:pt x="114" y="14"/>
                      <a:pt x="102" y="13"/>
                      <a:pt x="90" y="17"/>
                    </a:cubicBezTo>
                    <a:cubicBezTo>
                      <a:pt x="69" y="24"/>
                      <a:pt x="52" y="46"/>
                      <a:pt x="58" y="74"/>
                    </a:cubicBezTo>
                    <a:cubicBezTo>
                      <a:pt x="57" y="74"/>
                      <a:pt x="57" y="75"/>
                      <a:pt x="56" y="75"/>
                    </a:cubicBezTo>
                    <a:cubicBezTo>
                      <a:pt x="49" y="75"/>
                      <a:pt x="43" y="74"/>
                      <a:pt x="37" y="75"/>
                    </a:cubicBezTo>
                    <a:cubicBezTo>
                      <a:pt x="24" y="75"/>
                      <a:pt x="13" y="86"/>
                      <a:pt x="13" y="99"/>
                    </a:cubicBezTo>
                    <a:cubicBezTo>
                      <a:pt x="13" y="111"/>
                      <a:pt x="22" y="121"/>
                      <a:pt x="35" y="123"/>
                    </a:cubicBezTo>
                    <a:cubicBezTo>
                      <a:pt x="36" y="123"/>
                      <a:pt x="37" y="123"/>
                      <a:pt x="37" y="125"/>
                    </a:cubicBezTo>
                    <a:cubicBezTo>
                      <a:pt x="37" y="128"/>
                      <a:pt x="37" y="131"/>
                      <a:pt x="37" y="135"/>
                    </a:cubicBezTo>
                    <a:cubicBezTo>
                      <a:pt x="33" y="134"/>
                      <a:pt x="30" y="134"/>
                      <a:pt x="27" y="133"/>
                    </a:cubicBezTo>
                    <a:cubicBezTo>
                      <a:pt x="11" y="129"/>
                      <a:pt x="0" y="113"/>
                      <a:pt x="1" y="97"/>
                    </a:cubicBezTo>
                    <a:cubicBezTo>
                      <a:pt x="2" y="80"/>
                      <a:pt x="15" y="66"/>
                      <a:pt x="31" y="63"/>
                    </a:cubicBezTo>
                    <a:cubicBezTo>
                      <a:pt x="35" y="63"/>
                      <a:pt x="39" y="63"/>
                      <a:pt x="43" y="63"/>
                    </a:cubicBezTo>
                    <a:cubicBezTo>
                      <a:pt x="45" y="63"/>
                      <a:pt x="45" y="63"/>
                      <a:pt x="45" y="61"/>
                    </a:cubicBezTo>
                    <a:cubicBezTo>
                      <a:pt x="46" y="32"/>
                      <a:pt x="68" y="7"/>
                      <a:pt x="96" y="4"/>
                    </a:cubicBezTo>
                    <a:cubicBezTo>
                      <a:pt x="124" y="0"/>
                      <a:pt x="149" y="14"/>
                      <a:pt x="160" y="40"/>
                    </a:cubicBezTo>
                    <a:cubicBezTo>
                      <a:pt x="160" y="40"/>
                      <a:pt x="161" y="41"/>
                      <a:pt x="161" y="4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7" name="Freeform 87"/>
              <p:cNvSpPr>
                <a:spLocks/>
              </p:cNvSpPr>
              <p:nvPr/>
            </p:nvSpPr>
            <p:spPr bwMode="auto">
              <a:xfrm>
                <a:off x="12334651" y="-711200"/>
                <a:ext cx="446088" cy="311150"/>
              </a:xfrm>
              <a:custGeom>
                <a:avLst/>
                <a:gdLst/>
                <a:ahLst/>
                <a:cxnLst>
                  <a:cxn ang="0">
                    <a:pos x="23" y="9"/>
                  </a:cxn>
                  <a:cxn ang="0">
                    <a:pos x="35" y="18"/>
                  </a:cxn>
                  <a:cxn ang="0">
                    <a:pos x="39" y="19"/>
                  </a:cxn>
                  <a:cxn ang="0">
                    <a:pos x="47" y="17"/>
                  </a:cxn>
                  <a:cxn ang="0">
                    <a:pos x="49" y="15"/>
                  </a:cxn>
                  <a:cxn ang="0">
                    <a:pos x="55" y="0"/>
                  </a:cxn>
                  <a:cxn ang="0">
                    <a:pos x="57" y="6"/>
                  </a:cxn>
                  <a:cxn ang="0">
                    <a:pos x="62" y="16"/>
                  </a:cxn>
                  <a:cxn ang="0">
                    <a:pos x="72" y="19"/>
                  </a:cxn>
                  <a:cxn ang="0">
                    <a:pos x="75" y="18"/>
                  </a:cxn>
                  <a:cxn ang="0">
                    <a:pos x="87" y="9"/>
                  </a:cxn>
                  <a:cxn ang="0">
                    <a:pos x="85" y="21"/>
                  </a:cxn>
                  <a:cxn ang="0">
                    <a:pos x="88" y="29"/>
                  </a:cxn>
                  <a:cxn ang="0">
                    <a:pos x="91" y="33"/>
                  </a:cxn>
                  <a:cxn ang="0">
                    <a:pos x="95" y="34"/>
                  </a:cxn>
                  <a:cxn ang="0">
                    <a:pos x="110" y="32"/>
                  </a:cxn>
                  <a:cxn ang="0">
                    <a:pos x="101" y="43"/>
                  </a:cxn>
                  <a:cxn ang="0">
                    <a:pos x="100" y="48"/>
                  </a:cxn>
                  <a:cxn ang="0">
                    <a:pos x="102" y="55"/>
                  </a:cxn>
                  <a:cxn ang="0">
                    <a:pos x="104" y="58"/>
                  </a:cxn>
                  <a:cxn ang="0">
                    <a:pos x="119" y="64"/>
                  </a:cxn>
                  <a:cxn ang="0">
                    <a:pos x="107" y="69"/>
                  </a:cxn>
                  <a:cxn ang="0">
                    <a:pos x="102" y="74"/>
                  </a:cxn>
                  <a:cxn ang="0">
                    <a:pos x="99" y="83"/>
                  </a:cxn>
                  <a:cxn ang="0">
                    <a:pos x="90" y="79"/>
                  </a:cxn>
                  <a:cxn ang="0">
                    <a:pos x="80" y="76"/>
                  </a:cxn>
                  <a:cxn ang="0">
                    <a:pos x="79" y="50"/>
                  </a:cxn>
                  <a:cxn ang="0">
                    <a:pos x="66" y="38"/>
                  </a:cxn>
                  <a:cxn ang="0">
                    <a:pos x="32" y="48"/>
                  </a:cxn>
                  <a:cxn ang="0">
                    <a:pos x="24" y="44"/>
                  </a:cxn>
                  <a:cxn ang="0">
                    <a:pos x="8" y="40"/>
                  </a:cxn>
                  <a:cxn ang="0">
                    <a:pos x="6" y="39"/>
                  </a:cxn>
                  <a:cxn ang="0">
                    <a:pos x="0" y="32"/>
                  </a:cxn>
                  <a:cxn ang="0">
                    <a:pos x="14" y="34"/>
                  </a:cxn>
                  <a:cxn ang="0">
                    <a:pos x="19" y="33"/>
                  </a:cxn>
                  <a:cxn ang="0">
                    <a:pos x="24" y="27"/>
                  </a:cxn>
                  <a:cxn ang="0">
                    <a:pos x="25" y="23"/>
                  </a:cxn>
                  <a:cxn ang="0">
                    <a:pos x="23" y="9"/>
                  </a:cxn>
                </a:cxnLst>
                <a:rect l="0" t="0" r="r" b="b"/>
                <a:pathLst>
                  <a:path w="119" h="83">
                    <a:moveTo>
                      <a:pt x="23" y="9"/>
                    </a:moveTo>
                    <a:cubicBezTo>
                      <a:pt x="28" y="12"/>
                      <a:pt x="31" y="15"/>
                      <a:pt x="35" y="18"/>
                    </a:cubicBezTo>
                    <a:cubicBezTo>
                      <a:pt x="37" y="19"/>
                      <a:pt x="38" y="19"/>
                      <a:pt x="39" y="19"/>
                    </a:cubicBezTo>
                    <a:cubicBezTo>
                      <a:pt x="42" y="18"/>
                      <a:pt x="44" y="17"/>
                      <a:pt x="47" y="17"/>
                    </a:cubicBezTo>
                    <a:cubicBezTo>
                      <a:pt x="48" y="16"/>
                      <a:pt x="49" y="16"/>
                      <a:pt x="49" y="15"/>
                    </a:cubicBezTo>
                    <a:cubicBezTo>
                      <a:pt x="51" y="10"/>
                      <a:pt x="53" y="5"/>
                      <a:pt x="55" y="0"/>
                    </a:cubicBezTo>
                    <a:cubicBezTo>
                      <a:pt x="56" y="2"/>
                      <a:pt x="57" y="4"/>
                      <a:pt x="57" y="6"/>
                    </a:cubicBezTo>
                    <a:cubicBezTo>
                      <a:pt x="59" y="10"/>
                      <a:pt x="60" y="14"/>
                      <a:pt x="62" y="16"/>
                    </a:cubicBezTo>
                    <a:cubicBezTo>
                      <a:pt x="64" y="18"/>
                      <a:pt x="69" y="18"/>
                      <a:pt x="72" y="19"/>
                    </a:cubicBezTo>
                    <a:cubicBezTo>
                      <a:pt x="73" y="19"/>
                      <a:pt x="74" y="19"/>
                      <a:pt x="75" y="18"/>
                    </a:cubicBezTo>
                    <a:cubicBezTo>
                      <a:pt x="79" y="15"/>
                      <a:pt x="82" y="12"/>
                      <a:pt x="87" y="9"/>
                    </a:cubicBezTo>
                    <a:cubicBezTo>
                      <a:pt x="86" y="13"/>
                      <a:pt x="86" y="17"/>
                      <a:pt x="85" y="21"/>
                    </a:cubicBezTo>
                    <a:cubicBezTo>
                      <a:pt x="84" y="24"/>
                      <a:pt x="84" y="27"/>
                      <a:pt x="88" y="29"/>
                    </a:cubicBezTo>
                    <a:cubicBezTo>
                      <a:pt x="89" y="30"/>
                      <a:pt x="90" y="31"/>
                      <a:pt x="91" y="33"/>
                    </a:cubicBezTo>
                    <a:cubicBezTo>
                      <a:pt x="92" y="34"/>
                      <a:pt x="94" y="34"/>
                      <a:pt x="95" y="34"/>
                    </a:cubicBezTo>
                    <a:cubicBezTo>
                      <a:pt x="100" y="33"/>
                      <a:pt x="105" y="33"/>
                      <a:pt x="110" y="32"/>
                    </a:cubicBezTo>
                    <a:cubicBezTo>
                      <a:pt x="107" y="36"/>
                      <a:pt x="104" y="40"/>
                      <a:pt x="101" y="43"/>
                    </a:cubicBezTo>
                    <a:cubicBezTo>
                      <a:pt x="100" y="45"/>
                      <a:pt x="99" y="46"/>
                      <a:pt x="100" y="48"/>
                    </a:cubicBezTo>
                    <a:cubicBezTo>
                      <a:pt x="101" y="50"/>
                      <a:pt x="102" y="53"/>
                      <a:pt x="102" y="55"/>
                    </a:cubicBezTo>
                    <a:cubicBezTo>
                      <a:pt x="102" y="57"/>
                      <a:pt x="103" y="57"/>
                      <a:pt x="104" y="58"/>
                    </a:cubicBezTo>
                    <a:cubicBezTo>
                      <a:pt x="109" y="60"/>
                      <a:pt x="113" y="62"/>
                      <a:pt x="119" y="64"/>
                    </a:cubicBezTo>
                    <a:cubicBezTo>
                      <a:pt x="114" y="65"/>
                      <a:pt x="110" y="67"/>
                      <a:pt x="107" y="69"/>
                    </a:cubicBezTo>
                    <a:cubicBezTo>
                      <a:pt x="104" y="69"/>
                      <a:pt x="102" y="71"/>
                      <a:pt x="102" y="74"/>
                    </a:cubicBezTo>
                    <a:cubicBezTo>
                      <a:pt x="101" y="77"/>
                      <a:pt x="100" y="80"/>
                      <a:pt x="99" y="83"/>
                    </a:cubicBezTo>
                    <a:cubicBezTo>
                      <a:pt x="96" y="81"/>
                      <a:pt x="93" y="80"/>
                      <a:pt x="90" y="79"/>
                    </a:cubicBezTo>
                    <a:cubicBezTo>
                      <a:pt x="87" y="78"/>
                      <a:pt x="84" y="77"/>
                      <a:pt x="80" y="76"/>
                    </a:cubicBezTo>
                    <a:cubicBezTo>
                      <a:pt x="84" y="67"/>
                      <a:pt x="84" y="58"/>
                      <a:pt x="79" y="50"/>
                    </a:cubicBezTo>
                    <a:cubicBezTo>
                      <a:pt x="76" y="44"/>
                      <a:pt x="72" y="40"/>
                      <a:pt x="66" y="38"/>
                    </a:cubicBezTo>
                    <a:cubicBezTo>
                      <a:pt x="55" y="33"/>
                      <a:pt x="40" y="36"/>
                      <a:pt x="32" y="48"/>
                    </a:cubicBezTo>
                    <a:cubicBezTo>
                      <a:pt x="29" y="47"/>
                      <a:pt x="27" y="45"/>
                      <a:pt x="24" y="44"/>
                    </a:cubicBezTo>
                    <a:cubicBezTo>
                      <a:pt x="19" y="43"/>
                      <a:pt x="13" y="42"/>
                      <a:pt x="8" y="40"/>
                    </a:cubicBezTo>
                    <a:cubicBezTo>
                      <a:pt x="7" y="40"/>
                      <a:pt x="6" y="40"/>
                      <a:pt x="6" y="39"/>
                    </a:cubicBezTo>
                    <a:cubicBezTo>
                      <a:pt x="4" y="37"/>
                      <a:pt x="2" y="35"/>
                      <a:pt x="0" y="32"/>
                    </a:cubicBezTo>
                    <a:cubicBezTo>
                      <a:pt x="5" y="33"/>
                      <a:pt x="10" y="33"/>
                      <a:pt x="14" y="34"/>
                    </a:cubicBezTo>
                    <a:cubicBezTo>
                      <a:pt x="16" y="34"/>
                      <a:pt x="18" y="34"/>
                      <a:pt x="19" y="33"/>
                    </a:cubicBezTo>
                    <a:cubicBezTo>
                      <a:pt x="20" y="31"/>
                      <a:pt x="22" y="29"/>
                      <a:pt x="24" y="27"/>
                    </a:cubicBezTo>
                    <a:cubicBezTo>
                      <a:pt x="25" y="26"/>
                      <a:pt x="26" y="25"/>
                      <a:pt x="25" y="23"/>
                    </a:cubicBezTo>
                    <a:cubicBezTo>
                      <a:pt x="25" y="19"/>
                      <a:pt x="24" y="14"/>
                      <a:pt x="23" y="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8" name="Freeform 88"/>
              <p:cNvSpPr>
                <a:spLocks/>
              </p:cNvSpPr>
              <p:nvPr/>
            </p:nvSpPr>
            <p:spPr bwMode="auto">
              <a:xfrm>
                <a:off x="12444189" y="-80963"/>
                <a:ext cx="111125" cy="1079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24" y="21"/>
                  </a:cxn>
                  <a:cxn ang="0">
                    <a:pos x="12" y="29"/>
                  </a:cxn>
                  <a:cxn ang="0">
                    <a:pos x="1" y="19"/>
                  </a:cxn>
                  <a:cxn ang="0">
                    <a:pos x="7" y="7"/>
                  </a:cxn>
                  <a:cxn ang="0">
                    <a:pos x="21" y="2"/>
                  </a:cxn>
                  <a:cxn ang="0">
                    <a:pos x="30" y="0"/>
                  </a:cxn>
                </a:cxnLst>
                <a:rect l="0" t="0" r="r" b="b"/>
                <a:pathLst>
                  <a:path w="30" h="29">
                    <a:moveTo>
                      <a:pt x="30" y="0"/>
                    </a:moveTo>
                    <a:cubicBezTo>
                      <a:pt x="29" y="8"/>
                      <a:pt x="27" y="15"/>
                      <a:pt x="24" y="21"/>
                    </a:cubicBezTo>
                    <a:cubicBezTo>
                      <a:pt x="22" y="27"/>
                      <a:pt x="17" y="29"/>
                      <a:pt x="12" y="29"/>
                    </a:cubicBezTo>
                    <a:cubicBezTo>
                      <a:pt x="7" y="28"/>
                      <a:pt x="2" y="24"/>
                      <a:pt x="1" y="19"/>
                    </a:cubicBezTo>
                    <a:cubicBezTo>
                      <a:pt x="0" y="14"/>
                      <a:pt x="2" y="9"/>
                      <a:pt x="7" y="7"/>
                    </a:cubicBezTo>
                    <a:cubicBezTo>
                      <a:pt x="11" y="5"/>
                      <a:pt x="16" y="3"/>
                      <a:pt x="21" y="2"/>
                    </a:cubicBezTo>
                    <a:cubicBezTo>
                      <a:pt x="24" y="1"/>
                      <a:pt x="27" y="0"/>
                      <a:pt x="3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9" name="Freeform 89"/>
              <p:cNvSpPr>
                <a:spLocks/>
              </p:cNvSpPr>
              <p:nvPr/>
            </p:nvSpPr>
            <p:spPr bwMode="auto">
              <a:xfrm>
                <a:off x="12267976" y="15875"/>
                <a:ext cx="111125" cy="112713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29" y="7"/>
                  </a:cxn>
                  <a:cxn ang="0">
                    <a:pos x="24" y="22"/>
                  </a:cxn>
                  <a:cxn ang="0">
                    <a:pos x="13" y="30"/>
                  </a:cxn>
                  <a:cxn ang="0">
                    <a:pos x="2" y="21"/>
                  </a:cxn>
                  <a:cxn ang="0">
                    <a:pos x="8" y="7"/>
                  </a:cxn>
                  <a:cxn ang="0">
                    <a:pos x="22" y="2"/>
                  </a:cxn>
                  <a:cxn ang="0">
                    <a:pos x="30" y="0"/>
                  </a:cxn>
                </a:cxnLst>
                <a:rect l="0" t="0" r="r" b="b"/>
                <a:pathLst>
                  <a:path w="30" h="30">
                    <a:moveTo>
                      <a:pt x="30" y="0"/>
                    </a:moveTo>
                    <a:cubicBezTo>
                      <a:pt x="30" y="3"/>
                      <a:pt x="30" y="5"/>
                      <a:pt x="29" y="7"/>
                    </a:cubicBezTo>
                    <a:cubicBezTo>
                      <a:pt x="27" y="12"/>
                      <a:pt x="26" y="18"/>
                      <a:pt x="24" y="22"/>
                    </a:cubicBezTo>
                    <a:cubicBezTo>
                      <a:pt x="22" y="27"/>
                      <a:pt x="18" y="30"/>
                      <a:pt x="13" y="30"/>
                    </a:cubicBezTo>
                    <a:cubicBezTo>
                      <a:pt x="8" y="29"/>
                      <a:pt x="4" y="26"/>
                      <a:pt x="2" y="21"/>
                    </a:cubicBezTo>
                    <a:cubicBezTo>
                      <a:pt x="0" y="16"/>
                      <a:pt x="2" y="10"/>
                      <a:pt x="8" y="7"/>
                    </a:cubicBezTo>
                    <a:cubicBezTo>
                      <a:pt x="13" y="5"/>
                      <a:pt x="17" y="4"/>
                      <a:pt x="22" y="2"/>
                    </a:cubicBezTo>
                    <a:cubicBezTo>
                      <a:pt x="25" y="1"/>
                      <a:pt x="27" y="1"/>
                      <a:pt x="3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20" name="Freeform 90"/>
              <p:cNvSpPr>
                <a:spLocks/>
              </p:cNvSpPr>
              <p:nvPr/>
            </p:nvSpPr>
            <p:spPr bwMode="auto">
              <a:xfrm>
                <a:off x="12120339" y="-80963"/>
                <a:ext cx="109538" cy="112713"/>
              </a:xfrm>
              <a:custGeom>
                <a:avLst/>
                <a:gdLst/>
                <a:ahLst/>
                <a:cxnLst>
                  <a:cxn ang="0">
                    <a:pos x="29" y="0"/>
                  </a:cxn>
                  <a:cxn ang="0">
                    <a:pos x="22" y="24"/>
                  </a:cxn>
                  <a:cxn ang="0">
                    <a:pos x="20" y="25"/>
                  </a:cxn>
                  <a:cxn ang="0">
                    <a:pos x="9" y="28"/>
                  </a:cxn>
                  <a:cxn ang="0">
                    <a:pos x="0" y="18"/>
                  </a:cxn>
                  <a:cxn ang="0">
                    <a:pos x="6" y="7"/>
                  </a:cxn>
                  <a:cxn ang="0">
                    <a:pos x="23" y="1"/>
                  </a:cxn>
                  <a:cxn ang="0">
                    <a:pos x="29" y="0"/>
                  </a:cxn>
                </a:cxnLst>
                <a:rect l="0" t="0" r="r" b="b"/>
                <a:pathLst>
                  <a:path w="29" h="30">
                    <a:moveTo>
                      <a:pt x="29" y="0"/>
                    </a:moveTo>
                    <a:cubicBezTo>
                      <a:pt x="28" y="9"/>
                      <a:pt x="26" y="17"/>
                      <a:pt x="22" y="24"/>
                    </a:cubicBezTo>
                    <a:cubicBezTo>
                      <a:pt x="21" y="25"/>
                      <a:pt x="21" y="25"/>
                      <a:pt x="20" y="25"/>
                    </a:cubicBezTo>
                    <a:cubicBezTo>
                      <a:pt x="17" y="29"/>
                      <a:pt x="13" y="30"/>
                      <a:pt x="9" y="28"/>
                    </a:cubicBezTo>
                    <a:cubicBezTo>
                      <a:pt x="4" y="26"/>
                      <a:pt x="1" y="23"/>
                      <a:pt x="0" y="18"/>
                    </a:cubicBezTo>
                    <a:cubicBezTo>
                      <a:pt x="0" y="13"/>
                      <a:pt x="2" y="9"/>
                      <a:pt x="6" y="7"/>
                    </a:cubicBezTo>
                    <a:cubicBezTo>
                      <a:pt x="11" y="4"/>
                      <a:pt x="17" y="3"/>
                      <a:pt x="23" y="1"/>
                    </a:cubicBezTo>
                    <a:cubicBezTo>
                      <a:pt x="25" y="1"/>
                      <a:pt x="27" y="0"/>
                      <a:pt x="2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sp>
          <p:nvSpPr>
            <p:cNvPr id="21" name="Freeform 85"/>
            <p:cNvSpPr>
              <a:spLocks noEditPoints="1"/>
            </p:cNvSpPr>
            <p:nvPr/>
          </p:nvSpPr>
          <p:spPr bwMode="auto">
            <a:xfrm>
              <a:off x="3368672" y="1476815"/>
              <a:ext cx="603457" cy="874851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82" y="5"/>
                </a:cxn>
                <a:cxn ang="0">
                  <a:pos x="135" y="86"/>
                </a:cxn>
                <a:cxn ang="0">
                  <a:pos x="152" y="131"/>
                </a:cxn>
                <a:cxn ang="0">
                  <a:pos x="95" y="221"/>
                </a:cxn>
                <a:cxn ang="0">
                  <a:pos x="3" y="162"/>
                </a:cxn>
                <a:cxn ang="0">
                  <a:pos x="7" y="117"/>
                </a:cxn>
                <a:cxn ang="0">
                  <a:pos x="35" y="59"/>
                </a:cxn>
                <a:cxn ang="0">
                  <a:pos x="75" y="2"/>
                </a:cxn>
                <a:cxn ang="0">
                  <a:pos x="77" y="0"/>
                </a:cxn>
                <a:cxn ang="0">
                  <a:pos x="26" y="109"/>
                </a:cxn>
                <a:cxn ang="0">
                  <a:pos x="17" y="151"/>
                </a:cxn>
                <a:cxn ang="0">
                  <a:pos x="35" y="193"/>
                </a:cxn>
                <a:cxn ang="0">
                  <a:pos x="47" y="203"/>
                </a:cxn>
                <a:cxn ang="0">
                  <a:pos x="56" y="189"/>
                </a:cxn>
                <a:cxn ang="0">
                  <a:pos x="54" y="188"/>
                </a:cxn>
                <a:cxn ang="0">
                  <a:pos x="37" y="167"/>
                </a:cxn>
                <a:cxn ang="0">
                  <a:pos x="36" y="130"/>
                </a:cxn>
                <a:cxn ang="0">
                  <a:pos x="41" y="114"/>
                </a:cxn>
                <a:cxn ang="0">
                  <a:pos x="26" y="109"/>
                </a:cxn>
              </a:cxnLst>
              <a:rect l="0" t="0" r="r" b="b"/>
              <a:pathLst>
                <a:path w="160" h="232">
                  <a:moveTo>
                    <a:pt x="77" y="0"/>
                  </a:moveTo>
                  <a:cubicBezTo>
                    <a:pt x="79" y="2"/>
                    <a:pt x="80" y="3"/>
                    <a:pt x="82" y="5"/>
                  </a:cubicBezTo>
                  <a:cubicBezTo>
                    <a:pt x="102" y="30"/>
                    <a:pt x="120" y="57"/>
                    <a:pt x="135" y="86"/>
                  </a:cubicBezTo>
                  <a:cubicBezTo>
                    <a:pt x="142" y="100"/>
                    <a:pt x="148" y="115"/>
                    <a:pt x="152" y="131"/>
                  </a:cubicBezTo>
                  <a:cubicBezTo>
                    <a:pt x="160" y="172"/>
                    <a:pt x="135" y="211"/>
                    <a:pt x="95" y="221"/>
                  </a:cubicBezTo>
                  <a:cubicBezTo>
                    <a:pt x="54" y="232"/>
                    <a:pt x="11" y="205"/>
                    <a:pt x="3" y="162"/>
                  </a:cubicBezTo>
                  <a:cubicBezTo>
                    <a:pt x="0" y="147"/>
                    <a:pt x="2" y="132"/>
                    <a:pt x="7" y="117"/>
                  </a:cubicBezTo>
                  <a:cubicBezTo>
                    <a:pt x="13" y="96"/>
                    <a:pt x="23" y="77"/>
                    <a:pt x="35" y="59"/>
                  </a:cubicBezTo>
                  <a:cubicBezTo>
                    <a:pt x="47" y="39"/>
                    <a:pt x="61" y="20"/>
                    <a:pt x="75" y="2"/>
                  </a:cubicBezTo>
                  <a:cubicBezTo>
                    <a:pt x="76" y="1"/>
                    <a:pt x="77" y="1"/>
                    <a:pt x="77" y="0"/>
                  </a:cubicBezTo>
                  <a:close/>
                  <a:moveTo>
                    <a:pt x="26" y="109"/>
                  </a:moveTo>
                  <a:cubicBezTo>
                    <a:pt x="21" y="122"/>
                    <a:pt x="17" y="136"/>
                    <a:pt x="17" y="151"/>
                  </a:cubicBezTo>
                  <a:cubicBezTo>
                    <a:pt x="18" y="167"/>
                    <a:pt x="24" y="181"/>
                    <a:pt x="35" y="193"/>
                  </a:cubicBezTo>
                  <a:cubicBezTo>
                    <a:pt x="38" y="196"/>
                    <a:pt x="43" y="200"/>
                    <a:pt x="47" y="203"/>
                  </a:cubicBezTo>
                  <a:cubicBezTo>
                    <a:pt x="50" y="198"/>
                    <a:pt x="53" y="194"/>
                    <a:pt x="56" y="189"/>
                  </a:cubicBezTo>
                  <a:cubicBezTo>
                    <a:pt x="55" y="189"/>
                    <a:pt x="54" y="188"/>
                    <a:pt x="54" y="188"/>
                  </a:cubicBezTo>
                  <a:cubicBezTo>
                    <a:pt x="46" y="182"/>
                    <a:pt x="41" y="175"/>
                    <a:pt x="37" y="167"/>
                  </a:cubicBezTo>
                  <a:cubicBezTo>
                    <a:pt x="32" y="154"/>
                    <a:pt x="33" y="142"/>
                    <a:pt x="36" y="130"/>
                  </a:cubicBezTo>
                  <a:cubicBezTo>
                    <a:pt x="37" y="125"/>
                    <a:pt x="39" y="120"/>
                    <a:pt x="41" y="114"/>
                  </a:cubicBezTo>
                  <a:cubicBezTo>
                    <a:pt x="36" y="113"/>
                    <a:pt x="31" y="111"/>
                    <a:pt x="26" y="10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GB" sz="2701"/>
            </a:p>
          </p:txBody>
        </p:sp>
        <p:grpSp>
          <p:nvGrpSpPr>
            <p:cNvPr id="22" name="Gruppieren 100"/>
            <p:cNvGrpSpPr/>
            <p:nvPr/>
          </p:nvGrpSpPr>
          <p:grpSpPr>
            <a:xfrm>
              <a:off x="4210224" y="1646038"/>
              <a:ext cx="841327" cy="528424"/>
              <a:chOff x="14712726" y="-546100"/>
              <a:chExt cx="836613" cy="525463"/>
            </a:xfrm>
            <a:grpFill/>
          </p:grpSpPr>
          <p:sp>
            <p:nvSpPr>
              <p:cNvPr id="23" name="Freeform 83"/>
              <p:cNvSpPr>
                <a:spLocks noEditPoints="1"/>
              </p:cNvSpPr>
              <p:nvPr/>
            </p:nvSpPr>
            <p:spPr bwMode="auto">
              <a:xfrm>
                <a:off x="15131826" y="-546100"/>
                <a:ext cx="417513" cy="525463"/>
              </a:xfrm>
              <a:custGeom>
                <a:avLst/>
                <a:gdLst/>
                <a:ahLst/>
                <a:cxnLst>
                  <a:cxn ang="0">
                    <a:pos x="111" y="120"/>
                  </a:cxn>
                  <a:cxn ang="0">
                    <a:pos x="105" y="120"/>
                  </a:cxn>
                  <a:cxn ang="0">
                    <a:pos x="103" y="121"/>
                  </a:cxn>
                  <a:cxn ang="0">
                    <a:pos x="103" y="131"/>
                  </a:cxn>
                  <a:cxn ang="0">
                    <a:pos x="95" y="139"/>
                  </a:cxn>
                  <a:cxn ang="0">
                    <a:pos x="88" y="131"/>
                  </a:cxn>
                  <a:cxn ang="0">
                    <a:pos x="88" y="120"/>
                  </a:cxn>
                  <a:cxn ang="0">
                    <a:pos x="24" y="120"/>
                  </a:cxn>
                  <a:cxn ang="0">
                    <a:pos x="23" y="122"/>
                  </a:cxn>
                  <a:cxn ang="0">
                    <a:pos x="23" y="133"/>
                  </a:cxn>
                  <a:cxn ang="0">
                    <a:pos x="15" y="139"/>
                  </a:cxn>
                  <a:cxn ang="0">
                    <a:pos x="8" y="133"/>
                  </a:cxn>
                  <a:cxn ang="0">
                    <a:pos x="8" y="123"/>
                  </a:cxn>
                  <a:cxn ang="0">
                    <a:pos x="8" y="120"/>
                  </a:cxn>
                  <a:cxn ang="0">
                    <a:pos x="0" y="120"/>
                  </a:cxn>
                  <a:cxn ang="0">
                    <a:pos x="0" y="117"/>
                  </a:cxn>
                  <a:cxn ang="0">
                    <a:pos x="0" y="17"/>
                  </a:cxn>
                  <a:cxn ang="0">
                    <a:pos x="17" y="0"/>
                  </a:cxn>
                  <a:cxn ang="0">
                    <a:pos x="94" y="0"/>
                  </a:cxn>
                  <a:cxn ang="0">
                    <a:pos x="111" y="17"/>
                  </a:cxn>
                  <a:cxn ang="0">
                    <a:pos x="111" y="117"/>
                  </a:cxn>
                  <a:cxn ang="0">
                    <a:pos x="111" y="120"/>
                  </a:cxn>
                  <a:cxn ang="0">
                    <a:pos x="104" y="24"/>
                  </a:cxn>
                  <a:cxn ang="0">
                    <a:pos x="101" y="24"/>
                  </a:cxn>
                  <a:cxn ang="0">
                    <a:pos x="10" y="24"/>
                  </a:cxn>
                  <a:cxn ang="0">
                    <a:pos x="7" y="26"/>
                  </a:cxn>
                  <a:cxn ang="0">
                    <a:pos x="7" y="65"/>
                  </a:cxn>
                  <a:cxn ang="0">
                    <a:pos x="10" y="68"/>
                  </a:cxn>
                  <a:cxn ang="0">
                    <a:pos x="101" y="68"/>
                  </a:cxn>
                  <a:cxn ang="0">
                    <a:pos x="104" y="65"/>
                  </a:cxn>
                  <a:cxn ang="0">
                    <a:pos x="104" y="27"/>
                  </a:cxn>
                  <a:cxn ang="0">
                    <a:pos x="104" y="24"/>
                  </a:cxn>
                  <a:cxn ang="0">
                    <a:pos x="56" y="20"/>
                  </a:cxn>
                  <a:cxn ang="0">
                    <a:pos x="78" y="20"/>
                  </a:cxn>
                  <a:cxn ang="0">
                    <a:pos x="84" y="14"/>
                  </a:cxn>
                  <a:cxn ang="0">
                    <a:pos x="81" y="12"/>
                  </a:cxn>
                  <a:cxn ang="0">
                    <a:pos x="33" y="12"/>
                  </a:cxn>
                  <a:cxn ang="0">
                    <a:pos x="27" y="17"/>
                  </a:cxn>
                  <a:cxn ang="0">
                    <a:pos x="30" y="20"/>
                  </a:cxn>
                  <a:cxn ang="0">
                    <a:pos x="56" y="20"/>
                  </a:cxn>
                  <a:cxn ang="0">
                    <a:pos x="87" y="96"/>
                  </a:cxn>
                  <a:cxn ang="0">
                    <a:pos x="95" y="104"/>
                  </a:cxn>
                  <a:cxn ang="0">
                    <a:pos x="104" y="96"/>
                  </a:cxn>
                  <a:cxn ang="0">
                    <a:pos x="96" y="88"/>
                  </a:cxn>
                  <a:cxn ang="0">
                    <a:pos x="87" y="96"/>
                  </a:cxn>
                  <a:cxn ang="0">
                    <a:pos x="16" y="104"/>
                  </a:cxn>
                  <a:cxn ang="0">
                    <a:pos x="24" y="96"/>
                  </a:cxn>
                  <a:cxn ang="0">
                    <a:pos x="15" y="88"/>
                  </a:cxn>
                  <a:cxn ang="0">
                    <a:pos x="7" y="96"/>
                  </a:cxn>
                  <a:cxn ang="0">
                    <a:pos x="16" y="104"/>
                  </a:cxn>
                </a:cxnLst>
                <a:rect l="0" t="0" r="r" b="b"/>
                <a:pathLst>
                  <a:path w="111" h="140">
                    <a:moveTo>
                      <a:pt x="111" y="120"/>
                    </a:moveTo>
                    <a:cubicBezTo>
                      <a:pt x="109" y="120"/>
                      <a:pt x="107" y="120"/>
                      <a:pt x="105" y="120"/>
                    </a:cubicBezTo>
                    <a:cubicBezTo>
                      <a:pt x="104" y="119"/>
                      <a:pt x="103" y="120"/>
                      <a:pt x="103" y="121"/>
                    </a:cubicBezTo>
                    <a:cubicBezTo>
                      <a:pt x="103" y="125"/>
                      <a:pt x="103" y="128"/>
                      <a:pt x="103" y="131"/>
                    </a:cubicBezTo>
                    <a:cubicBezTo>
                      <a:pt x="103" y="136"/>
                      <a:pt x="100" y="140"/>
                      <a:pt x="95" y="139"/>
                    </a:cubicBezTo>
                    <a:cubicBezTo>
                      <a:pt x="91" y="139"/>
                      <a:pt x="88" y="136"/>
                      <a:pt x="88" y="131"/>
                    </a:cubicBezTo>
                    <a:cubicBezTo>
                      <a:pt x="88" y="127"/>
                      <a:pt x="88" y="124"/>
                      <a:pt x="88" y="120"/>
                    </a:cubicBezTo>
                    <a:cubicBezTo>
                      <a:pt x="66" y="120"/>
                      <a:pt x="45" y="120"/>
                      <a:pt x="24" y="120"/>
                    </a:cubicBezTo>
                    <a:cubicBezTo>
                      <a:pt x="23" y="121"/>
                      <a:pt x="23" y="122"/>
                      <a:pt x="23" y="122"/>
                    </a:cubicBezTo>
                    <a:cubicBezTo>
                      <a:pt x="23" y="126"/>
                      <a:pt x="23" y="129"/>
                      <a:pt x="23" y="133"/>
                    </a:cubicBezTo>
                    <a:cubicBezTo>
                      <a:pt x="23" y="137"/>
                      <a:pt x="20" y="139"/>
                      <a:pt x="15" y="139"/>
                    </a:cubicBezTo>
                    <a:cubicBezTo>
                      <a:pt x="11" y="139"/>
                      <a:pt x="8" y="137"/>
                      <a:pt x="8" y="133"/>
                    </a:cubicBezTo>
                    <a:cubicBezTo>
                      <a:pt x="8" y="129"/>
                      <a:pt x="8" y="126"/>
                      <a:pt x="8" y="123"/>
                    </a:cubicBezTo>
                    <a:cubicBezTo>
                      <a:pt x="8" y="122"/>
                      <a:pt x="8" y="121"/>
                      <a:pt x="8" y="120"/>
                    </a:cubicBezTo>
                    <a:cubicBezTo>
                      <a:pt x="5" y="120"/>
                      <a:pt x="2" y="120"/>
                      <a:pt x="0" y="120"/>
                    </a:cubicBezTo>
                    <a:cubicBezTo>
                      <a:pt x="0" y="118"/>
                      <a:pt x="0" y="117"/>
                      <a:pt x="0" y="117"/>
                    </a:cubicBezTo>
                    <a:cubicBezTo>
                      <a:pt x="0" y="83"/>
                      <a:pt x="0" y="50"/>
                      <a:pt x="0" y="17"/>
                    </a:cubicBezTo>
                    <a:cubicBezTo>
                      <a:pt x="0" y="7"/>
                      <a:pt x="7" y="0"/>
                      <a:pt x="17" y="0"/>
                    </a:cubicBezTo>
                    <a:cubicBezTo>
                      <a:pt x="43" y="0"/>
                      <a:pt x="68" y="0"/>
                      <a:pt x="94" y="0"/>
                    </a:cubicBezTo>
                    <a:cubicBezTo>
                      <a:pt x="105" y="0"/>
                      <a:pt x="111" y="6"/>
                      <a:pt x="111" y="17"/>
                    </a:cubicBezTo>
                    <a:cubicBezTo>
                      <a:pt x="111" y="50"/>
                      <a:pt x="111" y="84"/>
                      <a:pt x="111" y="117"/>
                    </a:cubicBezTo>
                    <a:cubicBezTo>
                      <a:pt x="111" y="118"/>
                      <a:pt x="111" y="118"/>
                      <a:pt x="111" y="120"/>
                    </a:cubicBezTo>
                    <a:close/>
                    <a:moveTo>
                      <a:pt x="104" y="24"/>
                    </a:moveTo>
                    <a:cubicBezTo>
                      <a:pt x="103" y="24"/>
                      <a:pt x="102" y="24"/>
                      <a:pt x="101" y="24"/>
                    </a:cubicBezTo>
                    <a:cubicBezTo>
                      <a:pt x="71" y="24"/>
                      <a:pt x="40" y="24"/>
                      <a:pt x="10" y="24"/>
                    </a:cubicBezTo>
                    <a:cubicBezTo>
                      <a:pt x="8" y="24"/>
                      <a:pt x="7" y="24"/>
                      <a:pt x="7" y="26"/>
                    </a:cubicBezTo>
                    <a:cubicBezTo>
                      <a:pt x="7" y="39"/>
                      <a:pt x="7" y="52"/>
                      <a:pt x="7" y="65"/>
                    </a:cubicBezTo>
                    <a:cubicBezTo>
                      <a:pt x="7" y="68"/>
                      <a:pt x="7" y="68"/>
                      <a:pt x="10" y="68"/>
                    </a:cubicBezTo>
                    <a:cubicBezTo>
                      <a:pt x="41" y="68"/>
                      <a:pt x="71" y="68"/>
                      <a:pt x="101" y="68"/>
                    </a:cubicBezTo>
                    <a:cubicBezTo>
                      <a:pt x="103" y="68"/>
                      <a:pt x="104" y="67"/>
                      <a:pt x="104" y="65"/>
                    </a:cubicBezTo>
                    <a:cubicBezTo>
                      <a:pt x="104" y="52"/>
                      <a:pt x="104" y="39"/>
                      <a:pt x="104" y="27"/>
                    </a:cubicBezTo>
                    <a:cubicBezTo>
                      <a:pt x="104" y="26"/>
                      <a:pt x="104" y="25"/>
                      <a:pt x="104" y="24"/>
                    </a:cubicBezTo>
                    <a:close/>
                    <a:moveTo>
                      <a:pt x="56" y="20"/>
                    </a:moveTo>
                    <a:cubicBezTo>
                      <a:pt x="63" y="20"/>
                      <a:pt x="71" y="20"/>
                      <a:pt x="78" y="20"/>
                    </a:cubicBezTo>
                    <a:cubicBezTo>
                      <a:pt x="84" y="20"/>
                      <a:pt x="84" y="20"/>
                      <a:pt x="84" y="14"/>
                    </a:cubicBezTo>
                    <a:cubicBezTo>
                      <a:pt x="84" y="12"/>
                      <a:pt x="83" y="12"/>
                      <a:pt x="81" y="12"/>
                    </a:cubicBezTo>
                    <a:cubicBezTo>
                      <a:pt x="65" y="12"/>
                      <a:pt x="49" y="12"/>
                      <a:pt x="33" y="12"/>
                    </a:cubicBezTo>
                    <a:cubicBezTo>
                      <a:pt x="27" y="12"/>
                      <a:pt x="27" y="12"/>
                      <a:pt x="27" y="17"/>
                    </a:cubicBezTo>
                    <a:cubicBezTo>
                      <a:pt x="27" y="20"/>
                      <a:pt x="28" y="20"/>
                      <a:pt x="30" y="20"/>
                    </a:cubicBezTo>
                    <a:cubicBezTo>
                      <a:pt x="39" y="20"/>
                      <a:pt x="47" y="20"/>
                      <a:pt x="56" y="20"/>
                    </a:cubicBezTo>
                    <a:close/>
                    <a:moveTo>
                      <a:pt x="87" y="96"/>
                    </a:moveTo>
                    <a:cubicBezTo>
                      <a:pt x="87" y="100"/>
                      <a:pt x="91" y="104"/>
                      <a:pt x="95" y="104"/>
                    </a:cubicBezTo>
                    <a:cubicBezTo>
                      <a:pt x="100" y="104"/>
                      <a:pt x="104" y="100"/>
                      <a:pt x="104" y="96"/>
                    </a:cubicBezTo>
                    <a:cubicBezTo>
                      <a:pt x="104" y="91"/>
                      <a:pt x="100" y="88"/>
                      <a:pt x="96" y="88"/>
                    </a:cubicBezTo>
                    <a:cubicBezTo>
                      <a:pt x="91" y="88"/>
                      <a:pt x="87" y="91"/>
                      <a:pt x="87" y="96"/>
                    </a:cubicBezTo>
                    <a:close/>
                    <a:moveTo>
                      <a:pt x="16" y="104"/>
                    </a:moveTo>
                    <a:cubicBezTo>
                      <a:pt x="20" y="104"/>
                      <a:pt x="24" y="100"/>
                      <a:pt x="24" y="96"/>
                    </a:cubicBezTo>
                    <a:cubicBezTo>
                      <a:pt x="24" y="91"/>
                      <a:pt x="20" y="87"/>
                      <a:pt x="15" y="88"/>
                    </a:cubicBezTo>
                    <a:cubicBezTo>
                      <a:pt x="11" y="88"/>
                      <a:pt x="7" y="91"/>
                      <a:pt x="7" y="96"/>
                    </a:cubicBezTo>
                    <a:cubicBezTo>
                      <a:pt x="7" y="100"/>
                      <a:pt x="11" y="104"/>
                      <a:pt x="16" y="10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24" name="Freeform 84"/>
              <p:cNvSpPr>
                <a:spLocks noEditPoints="1"/>
              </p:cNvSpPr>
              <p:nvPr/>
            </p:nvSpPr>
            <p:spPr bwMode="auto">
              <a:xfrm>
                <a:off x="14712726" y="-381000"/>
                <a:ext cx="385763" cy="360363"/>
              </a:xfrm>
              <a:custGeom>
                <a:avLst/>
                <a:gdLst/>
                <a:ahLst/>
                <a:cxnLst>
                  <a:cxn ang="0">
                    <a:pos x="8" y="76"/>
                  </a:cxn>
                  <a:cxn ang="0">
                    <a:pos x="2" y="76"/>
                  </a:cxn>
                  <a:cxn ang="0">
                    <a:pos x="0" y="74"/>
                  </a:cxn>
                  <a:cxn ang="0">
                    <a:pos x="0" y="50"/>
                  </a:cxn>
                  <a:cxn ang="0">
                    <a:pos x="8" y="38"/>
                  </a:cxn>
                  <a:cxn ang="0">
                    <a:pos x="10" y="35"/>
                  </a:cxn>
                  <a:cxn ang="0">
                    <a:pos x="16" y="15"/>
                  </a:cxn>
                  <a:cxn ang="0">
                    <a:pos x="25" y="8"/>
                  </a:cxn>
                  <a:cxn ang="0">
                    <a:pos x="37" y="8"/>
                  </a:cxn>
                  <a:cxn ang="0">
                    <a:pos x="40" y="5"/>
                  </a:cxn>
                  <a:cxn ang="0">
                    <a:pos x="40" y="0"/>
                  </a:cxn>
                  <a:cxn ang="0">
                    <a:pos x="42" y="0"/>
                  </a:cxn>
                  <a:cxn ang="0">
                    <a:pos x="61" y="0"/>
                  </a:cxn>
                  <a:cxn ang="0">
                    <a:pos x="63" y="2"/>
                  </a:cxn>
                  <a:cxn ang="0">
                    <a:pos x="69" y="8"/>
                  </a:cxn>
                  <a:cxn ang="0">
                    <a:pos x="79" y="8"/>
                  </a:cxn>
                  <a:cxn ang="0">
                    <a:pos x="87" y="14"/>
                  </a:cxn>
                  <a:cxn ang="0">
                    <a:pos x="93" y="35"/>
                  </a:cxn>
                  <a:cxn ang="0">
                    <a:pos x="95" y="38"/>
                  </a:cxn>
                  <a:cxn ang="0">
                    <a:pos x="103" y="52"/>
                  </a:cxn>
                  <a:cxn ang="0">
                    <a:pos x="103" y="73"/>
                  </a:cxn>
                  <a:cxn ang="0">
                    <a:pos x="103" y="76"/>
                  </a:cxn>
                  <a:cxn ang="0">
                    <a:pos x="97" y="76"/>
                  </a:cxn>
                  <a:cxn ang="0">
                    <a:pos x="95" y="78"/>
                  </a:cxn>
                  <a:cxn ang="0">
                    <a:pos x="95" y="88"/>
                  </a:cxn>
                  <a:cxn ang="0">
                    <a:pos x="87" y="95"/>
                  </a:cxn>
                  <a:cxn ang="0">
                    <a:pos x="80" y="88"/>
                  </a:cxn>
                  <a:cxn ang="0">
                    <a:pos x="80" y="76"/>
                  </a:cxn>
                  <a:cxn ang="0">
                    <a:pos x="77" y="76"/>
                  </a:cxn>
                  <a:cxn ang="0">
                    <a:pos x="26" y="76"/>
                  </a:cxn>
                  <a:cxn ang="0">
                    <a:pos x="23" y="78"/>
                  </a:cxn>
                  <a:cxn ang="0">
                    <a:pos x="23" y="88"/>
                  </a:cxn>
                  <a:cxn ang="0">
                    <a:pos x="16" y="95"/>
                  </a:cxn>
                  <a:cxn ang="0">
                    <a:pos x="8" y="88"/>
                  </a:cxn>
                  <a:cxn ang="0">
                    <a:pos x="8" y="76"/>
                  </a:cxn>
                  <a:cxn ang="0">
                    <a:pos x="85" y="36"/>
                  </a:cxn>
                  <a:cxn ang="0">
                    <a:pos x="80" y="17"/>
                  </a:cxn>
                  <a:cxn ang="0">
                    <a:pos x="78" y="16"/>
                  </a:cxn>
                  <a:cxn ang="0">
                    <a:pos x="25" y="16"/>
                  </a:cxn>
                  <a:cxn ang="0">
                    <a:pos x="23" y="17"/>
                  </a:cxn>
                  <a:cxn ang="0">
                    <a:pos x="19" y="31"/>
                  </a:cxn>
                  <a:cxn ang="0">
                    <a:pos x="18" y="36"/>
                  </a:cxn>
                  <a:cxn ang="0">
                    <a:pos x="85" y="36"/>
                  </a:cxn>
                  <a:cxn ang="0">
                    <a:pos x="7" y="52"/>
                  </a:cxn>
                  <a:cxn ang="0">
                    <a:pos x="15" y="60"/>
                  </a:cxn>
                  <a:cxn ang="0">
                    <a:pos x="24" y="52"/>
                  </a:cxn>
                  <a:cxn ang="0">
                    <a:pos x="15" y="44"/>
                  </a:cxn>
                  <a:cxn ang="0">
                    <a:pos x="7" y="52"/>
                  </a:cxn>
                  <a:cxn ang="0">
                    <a:pos x="79" y="52"/>
                  </a:cxn>
                  <a:cxn ang="0">
                    <a:pos x="88" y="60"/>
                  </a:cxn>
                  <a:cxn ang="0">
                    <a:pos x="96" y="52"/>
                  </a:cxn>
                  <a:cxn ang="0">
                    <a:pos x="87" y="44"/>
                  </a:cxn>
                  <a:cxn ang="0">
                    <a:pos x="79" y="52"/>
                  </a:cxn>
                </a:cxnLst>
                <a:rect l="0" t="0" r="r" b="b"/>
                <a:pathLst>
                  <a:path w="103" h="96">
                    <a:moveTo>
                      <a:pt x="8" y="76"/>
                    </a:moveTo>
                    <a:cubicBezTo>
                      <a:pt x="5" y="76"/>
                      <a:pt x="3" y="76"/>
                      <a:pt x="2" y="76"/>
                    </a:cubicBezTo>
                    <a:cubicBezTo>
                      <a:pt x="0" y="76"/>
                      <a:pt x="0" y="75"/>
                      <a:pt x="0" y="74"/>
                    </a:cubicBezTo>
                    <a:cubicBezTo>
                      <a:pt x="0" y="66"/>
                      <a:pt x="0" y="58"/>
                      <a:pt x="0" y="50"/>
                    </a:cubicBezTo>
                    <a:cubicBezTo>
                      <a:pt x="0" y="45"/>
                      <a:pt x="3" y="41"/>
                      <a:pt x="8" y="38"/>
                    </a:cubicBezTo>
                    <a:cubicBezTo>
                      <a:pt x="9" y="37"/>
                      <a:pt x="10" y="36"/>
                      <a:pt x="10" y="35"/>
                    </a:cubicBezTo>
                    <a:cubicBezTo>
                      <a:pt x="12" y="28"/>
                      <a:pt x="14" y="22"/>
                      <a:pt x="16" y="15"/>
                    </a:cubicBezTo>
                    <a:cubicBezTo>
                      <a:pt x="17" y="10"/>
                      <a:pt x="19" y="8"/>
                      <a:pt x="25" y="8"/>
                    </a:cubicBezTo>
                    <a:cubicBezTo>
                      <a:pt x="29" y="8"/>
                      <a:pt x="33" y="8"/>
                      <a:pt x="37" y="8"/>
                    </a:cubicBezTo>
                    <a:cubicBezTo>
                      <a:pt x="39" y="8"/>
                      <a:pt x="40" y="7"/>
                      <a:pt x="40" y="5"/>
                    </a:cubicBezTo>
                    <a:cubicBezTo>
                      <a:pt x="40" y="4"/>
                      <a:pt x="40" y="2"/>
                      <a:pt x="40" y="0"/>
                    </a:cubicBezTo>
                    <a:cubicBezTo>
                      <a:pt x="40" y="0"/>
                      <a:pt x="41" y="0"/>
                      <a:pt x="42" y="0"/>
                    </a:cubicBezTo>
                    <a:cubicBezTo>
                      <a:pt x="48" y="0"/>
                      <a:pt x="55" y="0"/>
                      <a:pt x="61" y="0"/>
                    </a:cubicBezTo>
                    <a:cubicBezTo>
                      <a:pt x="63" y="0"/>
                      <a:pt x="63" y="1"/>
                      <a:pt x="63" y="2"/>
                    </a:cubicBezTo>
                    <a:cubicBezTo>
                      <a:pt x="63" y="8"/>
                      <a:pt x="63" y="8"/>
                      <a:pt x="69" y="8"/>
                    </a:cubicBezTo>
                    <a:cubicBezTo>
                      <a:pt x="73" y="8"/>
                      <a:pt x="76" y="8"/>
                      <a:pt x="79" y="8"/>
                    </a:cubicBezTo>
                    <a:cubicBezTo>
                      <a:pt x="83" y="8"/>
                      <a:pt x="86" y="10"/>
                      <a:pt x="87" y="14"/>
                    </a:cubicBezTo>
                    <a:cubicBezTo>
                      <a:pt x="89" y="21"/>
                      <a:pt x="91" y="28"/>
                      <a:pt x="93" y="35"/>
                    </a:cubicBezTo>
                    <a:cubicBezTo>
                      <a:pt x="93" y="36"/>
                      <a:pt x="94" y="37"/>
                      <a:pt x="95" y="38"/>
                    </a:cubicBezTo>
                    <a:cubicBezTo>
                      <a:pt x="100" y="41"/>
                      <a:pt x="103" y="46"/>
                      <a:pt x="103" y="52"/>
                    </a:cubicBezTo>
                    <a:cubicBezTo>
                      <a:pt x="103" y="59"/>
                      <a:pt x="103" y="66"/>
                      <a:pt x="103" y="73"/>
                    </a:cubicBezTo>
                    <a:cubicBezTo>
                      <a:pt x="103" y="74"/>
                      <a:pt x="103" y="75"/>
                      <a:pt x="103" y="76"/>
                    </a:cubicBezTo>
                    <a:cubicBezTo>
                      <a:pt x="101" y="76"/>
                      <a:pt x="99" y="76"/>
                      <a:pt x="97" y="76"/>
                    </a:cubicBezTo>
                    <a:cubicBezTo>
                      <a:pt x="96" y="75"/>
                      <a:pt x="95" y="76"/>
                      <a:pt x="95" y="78"/>
                    </a:cubicBezTo>
                    <a:cubicBezTo>
                      <a:pt x="95" y="81"/>
                      <a:pt x="95" y="84"/>
                      <a:pt x="95" y="88"/>
                    </a:cubicBezTo>
                    <a:cubicBezTo>
                      <a:pt x="95" y="92"/>
                      <a:pt x="92" y="96"/>
                      <a:pt x="87" y="95"/>
                    </a:cubicBezTo>
                    <a:cubicBezTo>
                      <a:pt x="83" y="95"/>
                      <a:pt x="80" y="92"/>
                      <a:pt x="80" y="88"/>
                    </a:cubicBezTo>
                    <a:cubicBezTo>
                      <a:pt x="80" y="84"/>
                      <a:pt x="80" y="80"/>
                      <a:pt x="80" y="76"/>
                    </a:cubicBezTo>
                    <a:cubicBezTo>
                      <a:pt x="79" y="76"/>
                      <a:pt x="78" y="76"/>
                      <a:pt x="77" y="76"/>
                    </a:cubicBezTo>
                    <a:cubicBezTo>
                      <a:pt x="60" y="76"/>
                      <a:pt x="43" y="76"/>
                      <a:pt x="26" y="76"/>
                    </a:cubicBezTo>
                    <a:cubicBezTo>
                      <a:pt x="24" y="76"/>
                      <a:pt x="23" y="76"/>
                      <a:pt x="23" y="78"/>
                    </a:cubicBezTo>
                    <a:cubicBezTo>
                      <a:pt x="23" y="82"/>
                      <a:pt x="23" y="85"/>
                      <a:pt x="23" y="88"/>
                    </a:cubicBezTo>
                    <a:cubicBezTo>
                      <a:pt x="23" y="92"/>
                      <a:pt x="20" y="95"/>
                      <a:pt x="16" y="95"/>
                    </a:cubicBezTo>
                    <a:cubicBezTo>
                      <a:pt x="11" y="96"/>
                      <a:pt x="8" y="92"/>
                      <a:pt x="8" y="88"/>
                    </a:cubicBezTo>
                    <a:cubicBezTo>
                      <a:pt x="8" y="84"/>
                      <a:pt x="8" y="80"/>
                      <a:pt x="8" y="76"/>
                    </a:cubicBezTo>
                    <a:close/>
                    <a:moveTo>
                      <a:pt x="85" y="36"/>
                    </a:moveTo>
                    <a:cubicBezTo>
                      <a:pt x="83" y="29"/>
                      <a:pt x="82" y="23"/>
                      <a:pt x="80" y="17"/>
                    </a:cubicBezTo>
                    <a:cubicBezTo>
                      <a:pt x="80" y="16"/>
                      <a:pt x="79" y="16"/>
                      <a:pt x="78" y="16"/>
                    </a:cubicBezTo>
                    <a:cubicBezTo>
                      <a:pt x="60" y="16"/>
                      <a:pt x="43" y="16"/>
                      <a:pt x="25" y="16"/>
                    </a:cubicBezTo>
                    <a:cubicBezTo>
                      <a:pt x="24" y="16"/>
                      <a:pt x="23" y="16"/>
                      <a:pt x="23" y="17"/>
                    </a:cubicBezTo>
                    <a:cubicBezTo>
                      <a:pt x="22" y="22"/>
                      <a:pt x="21" y="26"/>
                      <a:pt x="19" y="31"/>
                    </a:cubicBezTo>
                    <a:cubicBezTo>
                      <a:pt x="19" y="32"/>
                      <a:pt x="19" y="34"/>
                      <a:pt x="18" y="36"/>
                    </a:cubicBezTo>
                    <a:cubicBezTo>
                      <a:pt x="41" y="36"/>
                      <a:pt x="63" y="36"/>
                      <a:pt x="85" y="36"/>
                    </a:cubicBezTo>
                    <a:close/>
                    <a:moveTo>
                      <a:pt x="7" y="52"/>
                    </a:moveTo>
                    <a:cubicBezTo>
                      <a:pt x="7" y="56"/>
                      <a:pt x="11" y="60"/>
                      <a:pt x="15" y="60"/>
                    </a:cubicBezTo>
                    <a:cubicBezTo>
                      <a:pt x="20" y="60"/>
                      <a:pt x="24" y="56"/>
                      <a:pt x="24" y="52"/>
                    </a:cubicBezTo>
                    <a:cubicBezTo>
                      <a:pt x="24" y="47"/>
                      <a:pt x="20" y="43"/>
                      <a:pt x="15" y="44"/>
                    </a:cubicBezTo>
                    <a:cubicBezTo>
                      <a:pt x="11" y="44"/>
                      <a:pt x="7" y="47"/>
                      <a:pt x="7" y="52"/>
                    </a:cubicBezTo>
                    <a:close/>
                    <a:moveTo>
                      <a:pt x="79" y="52"/>
                    </a:moveTo>
                    <a:cubicBezTo>
                      <a:pt x="79" y="56"/>
                      <a:pt x="83" y="60"/>
                      <a:pt x="88" y="60"/>
                    </a:cubicBezTo>
                    <a:cubicBezTo>
                      <a:pt x="92" y="60"/>
                      <a:pt x="96" y="56"/>
                      <a:pt x="96" y="52"/>
                    </a:cubicBezTo>
                    <a:cubicBezTo>
                      <a:pt x="96" y="47"/>
                      <a:pt x="92" y="43"/>
                      <a:pt x="87" y="44"/>
                    </a:cubicBezTo>
                    <a:cubicBezTo>
                      <a:pt x="83" y="44"/>
                      <a:pt x="79" y="47"/>
                      <a:pt x="79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grpSp>
          <p:nvGrpSpPr>
            <p:cNvPr id="25" name="Gruppieren 116"/>
            <p:cNvGrpSpPr/>
            <p:nvPr/>
          </p:nvGrpSpPr>
          <p:grpSpPr>
            <a:xfrm>
              <a:off x="5192273" y="1460850"/>
              <a:ext cx="814186" cy="860485"/>
              <a:chOff x="17506726" y="-730251"/>
              <a:chExt cx="809625" cy="855664"/>
            </a:xfrm>
            <a:grpFill/>
          </p:grpSpPr>
          <p:sp>
            <p:nvSpPr>
              <p:cNvPr id="26" name="Freeform 77"/>
              <p:cNvSpPr>
                <a:spLocks/>
              </p:cNvSpPr>
              <p:nvPr/>
            </p:nvSpPr>
            <p:spPr bwMode="auto">
              <a:xfrm>
                <a:off x="17506726" y="-730251"/>
                <a:ext cx="809625" cy="592138"/>
              </a:xfrm>
              <a:custGeom>
                <a:avLst/>
                <a:gdLst/>
                <a:ahLst/>
                <a:cxnLst>
                  <a:cxn ang="0">
                    <a:pos x="130" y="20"/>
                  </a:cxn>
                  <a:cxn ang="0">
                    <a:pos x="116" y="35"/>
                  </a:cxn>
                  <a:cxn ang="0">
                    <a:pos x="113" y="47"/>
                  </a:cxn>
                  <a:cxn ang="0">
                    <a:pos x="115" y="49"/>
                  </a:cxn>
                  <a:cxn ang="0">
                    <a:pos x="121" y="49"/>
                  </a:cxn>
                  <a:cxn ang="0">
                    <a:pos x="129" y="31"/>
                  </a:cxn>
                  <a:cxn ang="0">
                    <a:pos x="142" y="25"/>
                  </a:cxn>
                  <a:cxn ang="0">
                    <a:pos x="153" y="27"/>
                  </a:cxn>
                  <a:cxn ang="0">
                    <a:pos x="162" y="33"/>
                  </a:cxn>
                  <a:cxn ang="0">
                    <a:pos x="168" y="41"/>
                  </a:cxn>
                  <a:cxn ang="0">
                    <a:pos x="180" y="41"/>
                  </a:cxn>
                  <a:cxn ang="0">
                    <a:pos x="212" y="69"/>
                  </a:cxn>
                  <a:cxn ang="0">
                    <a:pos x="185" y="112"/>
                  </a:cxn>
                  <a:cxn ang="0">
                    <a:pos x="178" y="118"/>
                  </a:cxn>
                  <a:cxn ang="0">
                    <a:pos x="133" y="156"/>
                  </a:cxn>
                  <a:cxn ang="0">
                    <a:pos x="96" y="149"/>
                  </a:cxn>
                  <a:cxn ang="0">
                    <a:pos x="92" y="148"/>
                  </a:cxn>
                  <a:cxn ang="0">
                    <a:pos x="54" y="122"/>
                  </a:cxn>
                  <a:cxn ang="0">
                    <a:pos x="61" y="96"/>
                  </a:cxn>
                  <a:cxn ang="0">
                    <a:pos x="62" y="94"/>
                  </a:cxn>
                  <a:cxn ang="0">
                    <a:pos x="56" y="89"/>
                  </a:cxn>
                  <a:cxn ang="0">
                    <a:pos x="45" y="111"/>
                  </a:cxn>
                  <a:cxn ang="0">
                    <a:pos x="50" y="136"/>
                  </a:cxn>
                  <a:cxn ang="0">
                    <a:pos x="34" y="135"/>
                  </a:cxn>
                  <a:cxn ang="0">
                    <a:pos x="1" y="90"/>
                  </a:cxn>
                  <a:cxn ang="0">
                    <a:pos x="40" y="49"/>
                  </a:cxn>
                  <a:cxn ang="0">
                    <a:pos x="42" y="47"/>
                  </a:cxn>
                  <a:cxn ang="0">
                    <a:pos x="65" y="13"/>
                  </a:cxn>
                  <a:cxn ang="0">
                    <a:pos x="129" y="19"/>
                  </a:cxn>
                  <a:cxn ang="0">
                    <a:pos x="130" y="20"/>
                  </a:cxn>
                </a:cxnLst>
                <a:rect l="0" t="0" r="r" b="b"/>
                <a:pathLst>
                  <a:path w="216" h="158">
                    <a:moveTo>
                      <a:pt x="130" y="20"/>
                    </a:moveTo>
                    <a:cubicBezTo>
                      <a:pt x="124" y="24"/>
                      <a:pt x="119" y="28"/>
                      <a:pt x="116" y="35"/>
                    </a:cubicBezTo>
                    <a:cubicBezTo>
                      <a:pt x="115" y="38"/>
                      <a:pt x="114" y="43"/>
                      <a:pt x="113" y="47"/>
                    </a:cubicBezTo>
                    <a:cubicBezTo>
                      <a:pt x="112" y="48"/>
                      <a:pt x="113" y="49"/>
                      <a:pt x="115" y="49"/>
                    </a:cubicBezTo>
                    <a:cubicBezTo>
                      <a:pt x="117" y="49"/>
                      <a:pt x="119" y="49"/>
                      <a:pt x="121" y="49"/>
                    </a:cubicBezTo>
                    <a:cubicBezTo>
                      <a:pt x="121" y="42"/>
                      <a:pt x="124" y="36"/>
                      <a:pt x="129" y="31"/>
                    </a:cubicBezTo>
                    <a:cubicBezTo>
                      <a:pt x="133" y="28"/>
                      <a:pt x="137" y="25"/>
                      <a:pt x="142" y="25"/>
                    </a:cubicBezTo>
                    <a:cubicBezTo>
                      <a:pt x="146" y="25"/>
                      <a:pt x="150" y="25"/>
                      <a:pt x="153" y="27"/>
                    </a:cubicBezTo>
                    <a:cubicBezTo>
                      <a:pt x="157" y="28"/>
                      <a:pt x="160" y="30"/>
                      <a:pt x="162" y="33"/>
                    </a:cubicBezTo>
                    <a:cubicBezTo>
                      <a:pt x="165" y="35"/>
                      <a:pt x="166" y="38"/>
                      <a:pt x="168" y="41"/>
                    </a:cubicBezTo>
                    <a:cubicBezTo>
                      <a:pt x="172" y="41"/>
                      <a:pt x="176" y="41"/>
                      <a:pt x="180" y="41"/>
                    </a:cubicBezTo>
                    <a:cubicBezTo>
                      <a:pt x="195" y="42"/>
                      <a:pt x="209" y="54"/>
                      <a:pt x="212" y="69"/>
                    </a:cubicBezTo>
                    <a:cubicBezTo>
                      <a:pt x="216" y="89"/>
                      <a:pt x="204" y="107"/>
                      <a:pt x="185" y="112"/>
                    </a:cubicBezTo>
                    <a:cubicBezTo>
                      <a:pt x="181" y="112"/>
                      <a:pt x="179" y="114"/>
                      <a:pt x="178" y="118"/>
                    </a:cubicBezTo>
                    <a:cubicBezTo>
                      <a:pt x="171" y="139"/>
                      <a:pt x="155" y="152"/>
                      <a:pt x="133" y="156"/>
                    </a:cubicBezTo>
                    <a:cubicBezTo>
                      <a:pt x="120" y="158"/>
                      <a:pt x="108" y="155"/>
                      <a:pt x="96" y="149"/>
                    </a:cubicBezTo>
                    <a:cubicBezTo>
                      <a:pt x="95" y="148"/>
                      <a:pt x="93" y="147"/>
                      <a:pt x="92" y="148"/>
                    </a:cubicBezTo>
                    <a:cubicBezTo>
                      <a:pt x="74" y="152"/>
                      <a:pt x="57" y="140"/>
                      <a:pt x="54" y="122"/>
                    </a:cubicBezTo>
                    <a:cubicBezTo>
                      <a:pt x="52" y="112"/>
                      <a:pt x="54" y="104"/>
                      <a:pt x="61" y="96"/>
                    </a:cubicBezTo>
                    <a:cubicBezTo>
                      <a:pt x="61" y="95"/>
                      <a:pt x="62" y="95"/>
                      <a:pt x="62" y="94"/>
                    </a:cubicBezTo>
                    <a:cubicBezTo>
                      <a:pt x="60" y="92"/>
                      <a:pt x="58" y="91"/>
                      <a:pt x="56" y="89"/>
                    </a:cubicBezTo>
                    <a:cubicBezTo>
                      <a:pt x="50" y="95"/>
                      <a:pt x="47" y="102"/>
                      <a:pt x="45" y="111"/>
                    </a:cubicBezTo>
                    <a:cubicBezTo>
                      <a:pt x="44" y="120"/>
                      <a:pt x="46" y="128"/>
                      <a:pt x="50" y="136"/>
                    </a:cubicBezTo>
                    <a:cubicBezTo>
                      <a:pt x="44" y="137"/>
                      <a:pt x="39" y="137"/>
                      <a:pt x="34" y="135"/>
                    </a:cubicBezTo>
                    <a:cubicBezTo>
                      <a:pt x="14" y="130"/>
                      <a:pt x="0" y="111"/>
                      <a:pt x="1" y="90"/>
                    </a:cubicBezTo>
                    <a:cubicBezTo>
                      <a:pt x="2" y="69"/>
                      <a:pt x="19" y="52"/>
                      <a:pt x="40" y="49"/>
                    </a:cubicBezTo>
                    <a:cubicBezTo>
                      <a:pt x="42" y="49"/>
                      <a:pt x="42" y="48"/>
                      <a:pt x="42" y="47"/>
                    </a:cubicBezTo>
                    <a:cubicBezTo>
                      <a:pt x="45" y="32"/>
                      <a:pt x="53" y="21"/>
                      <a:pt x="65" y="13"/>
                    </a:cubicBezTo>
                    <a:cubicBezTo>
                      <a:pt x="85" y="0"/>
                      <a:pt x="112" y="3"/>
                      <a:pt x="129" y="19"/>
                    </a:cubicBezTo>
                    <a:cubicBezTo>
                      <a:pt x="129" y="19"/>
                      <a:pt x="129" y="20"/>
                      <a:pt x="130" y="2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27" name="Freeform 78"/>
              <p:cNvSpPr>
                <a:spLocks/>
              </p:cNvSpPr>
              <p:nvPr/>
            </p:nvSpPr>
            <p:spPr bwMode="auto">
              <a:xfrm>
                <a:off x="17809939" y="-149225"/>
                <a:ext cx="180975" cy="274638"/>
              </a:xfrm>
              <a:custGeom>
                <a:avLst/>
                <a:gdLst/>
                <a:ahLst/>
                <a:cxnLst>
                  <a:cxn ang="0">
                    <a:pos x="0" y="73"/>
                  </a:cxn>
                  <a:cxn ang="0">
                    <a:pos x="1" y="60"/>
                  </a:cxn>
                  <a:cxn ang="0">
                    <a:pos x="4" y="32"/>
                  </a:cxn>
                  <a:cxn ang="0">
                    <a:pos x="7" y="5"/>
                  </a:cxn>
                  <a:cxn ang="0">
                    <a:pos x="13" y="2"/>
                  </a:cxn>
                  <a:cxn ang="0">
                    <a:pos x="32" y="9"/>
                  </a:cxn>
                  <a:cxn ang="0">
                    <a:pos x="42" y="10"/>
                  </a:cxn>
                  <a:cxn ang="0">
                    <a:pos x="48" y="73"/>
                  </a:cxn>
                  <a:cxn ang="0">
                    <a:pos x="0" y="73"/>
                  </a:cxn>
                </a:cxnLst>
                <a:rect l="0" t="0" r="r" b="b"/>
                <a:pathLst>
                  <a:path w="48" h="73">
                    <a:moveTo>
                      <a:pt x="0" y="73"/>
                    </a:moveTo>
                    <a:cubicBezTo>
                      <a:pt x="1" y="69"/>
                      <a:pt x="1" y="65"/>
                      <a:pt x="1" y="60"/>
                    </a:cubicBezTo>
                    <a:cubicBezTo>
                      <a:pt x="2" y="51"/>
                      <a:pt x="3" y="42"/>
                      <a:pt x="4" y="32"/>
                    </a:cubicBezTo>
                    <a:cubicBezTo>
                      <a:pt x="5" y="23"/>
                      <a:pt x="6" y="14"/>
                      <a:pt x="7" y="5"/>
                    </a:cubicBezTo>
                    <a:cubicBezTo>
                      <a:pt x="7" y="1"/>
                      <a:pt x="10" y="0"/>
                      <a:pt x="13" y="2"/>
                    </a:cubicBezTo>
                    <a:cubicBezTo>
                      <a:pt x="19" y="5"/>
                      <a:pt x="26" y="8"/>
                      <a:pt x="32" y="9"/>
                    </a:cubicBezTo>
                    <a:cubicBezTo>
                      <a:pt x="35" y="9"/>
                      <a:pt x="38" y="10"/>
                      <a:pt x="42" y="10"/>
                    </a:cubicBezTo>
                    <a:cubicBezTo>
                      <a:pt x="44" y="31"/>
                      <a:pt x="46" y="52"/>
                      <a:pt x="48" y="73"/>
                    </a:cubicBezTo>
                    <a:cubicBezTo>
                      <a:pt x="32" y="73"/>
                      <a:pt x="16" y="73"/>
                      <a:pt x="0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grpSp>
          <p:nvGrpSpPr>
            <p:cNvPr id="28" name="Gruppieren 125"/>
            <p:cNvGrpSpPr/>
            <p:nvPr/>
          </p:nvGrpSpPr>
          <p:grpSpPr>
            <a:xfrm>
              <a:off x="9054097" y="1476815"/>
              <a:ext cx="742348" cy="844519"/>
              <a:chOff x="17525776" y="1651000"/>
              <a:chExt cx="738188" cy="839787"/>
            </a:xfrm>
            <a:grpFill/>
          </p:grpSpPr>
          <p:sp>
            <p:nvSpPr>
              <p:cNvPr id="29" name="Freeform 59"/>
              <p:cNvSpPr>
                <a:spLocks noEditPoints="1"/>
              </p:cNvSpPr>
              <p:nvPr/>
            </p:nvSpPr>
            <p:spPr bwMode="auto">
              <a:xfrm>
                <a:off x="17525776" y="1651000"/>
                <a:ext cx="738188" cy="781050"/>
              </a:xfrm>
              <a:custGeom>
                <a:avLst/>
                <a:gdLst/>
                <a:ahLst/>
                <a:cxnLst>
                  <a:cxn ang="0">
                    <a:pos x="113" y="208"/>
                  </a:cxn>
                  <a:cxn ang="0">
                    <a:pos x="110" y="208"/>
                  </a:cxn>
                  <a:cxn ang="0">
                    <a:pos x="33" y="208"/>
                  </a:cxn>
                  <a:cxn ang="0">
                    <a:pos x="20" y="195"/>
                  </a:cxn>
                  <a:cxn ang="0">
                    <a:pos x="18" y="161"/>
                  </a:cxn>
                  <a:cxn ang="0">
                    <a:pos x="16" y="137"/>
                  </a:cxn>
                  <a:cxn ang="0">
                    <a:pos x="14" y="101"/>
                  </a:cxn>
                  <a:cxn ang="0">
                    <a:pos x="12" y="75"/>
                  </a:cxn>
                  <a:cxn ang="0">
                    <a:pos x="10" y="72"/>
                  </a:cxn>
                  <a:cxn ang="0">
                    <a:pos x="4" y="65"/>
                  </a:cxn>
                  <a:cxn ang="0">
                    <a:pos x="4" y="26"/>
                  </a:cxn>
                  <a:cxn ang="0">
                    <a:pos x="6" y="24"/>
                  </a:cxn>
                  <a:cxn ang="0">
                    <a:pos x="8" y="24"/>
                  </a:cxn>
                  <a:cxn ang="0">
                    <a:pos x="132" y="24"/>
                  </a:cxn>
                  <a:cxn ang="0">
                    <a:pos x="136" y="20"/>
                  </a:cxn>
                  <a:cxn ang="0">
                    <a:pos x="132" y="16"/>
                  </a:cxn>
                  <a:cxn ang="0">
                    <a:pos x="10" y="16"/>
                  </a:cxn>
                  <a:cxn ang="0">
                    <a:pos x="5" y="15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9" y="0"/>
                  </a:cxn>
                  <a:cxn ang="0">
                    <a:pos x="183" y="0"/>
                  </a:cxn>
                  <a:cxn ang="0">
                    <a:pos x="192" y="3"/>
                  </a:cxn>
                  <a:cxn ang="0">
                    <a:pos x="195" y="16"/>
                  </a:cxn>
                  <a:cxn ang="0">
                    <a:pos x="184" y="24"/>
                  </a:cxn>
                  <a:cxn ang="0">
                    <a:pos x="170" y="24"/>
                  </a:cxn>
                  <a:cxn ang="0">
                    <a:pos x="168" y="26"/>
                  </a:cxn>
                  <a:cxn ang="0">
                    <a:pos x="168" y="63"/>
                  </a:cxn>
                  <a:cxn ang="0">
                    <a:pos x="159" y="72"/>
                  </a:cxn>
                  <a:cxn ang="0">
                    <a:pos x="156" y="75"/>
                  </a:cxn>
                  <a:cxn ang="0">
                    <a:pos x="156" y="153"/>
                  </a:cxn>
                  <a:cxn ang="0">
                    <a:pos x="153" y="156"/>
                  </a:cxn>
                  <a:cxn ang="0">
                    <a:pos x="112" y="191"/>
                  </a:cxn>
                  <a:cxn ang="0">
                    <a:pos x="113" y="208"/>
                  </a:cxn>
                  <a:cxn ang="0">
                    <a:pos x="92" y="60"/>
                  </a:cxn>
                  <a:cxn ang="0">
                    <a:pos x="48" y="105"/>
                  </a:cxn>
                  <a:cxn ang="0">
                    <a:pos x="85" y="148"/>
                  </a:cxn>
                  <a:cxn ang="0">
                    <a:pos x="133" y="119"/>
                  </a:cxn>
                  <a:cxn ang="0">
                    <a:pos x="123" y="73"/>
                  </a:cxn>
                  <a:cxn ang="0">
                    <a:pos x="115" y="82"/>
                  </a:cxn>
                  <a:cxn ang="0">
                    <a:pos x="116" y="83"/>
                  </a:cxn>
                  <a:cxn ang="0">
                    <a:pos x="124" y="102"/>
                  </a:cxn>
                  <a:cxn ang="0">
                    <a:pos x="87" y="135"/>
                  </a:cxn>
                  <a:cxn ang="0">
                    <a:pos x="61" y="95"/>
                  </a:cxn>
                  <a:cxn ang="0">
                    <a:pos x="89" y="72"/>
                  </a:cxn>
                  <a:cxn ang="0">
                    <a:pos x="92" y="75"/>
                  </a:cxn>
                  <a:cxn ang="0">
                    <a:pos x="92" y="79"/>
                  </a:cxn>
                  <a:cxn ang="0">
                    <a:pos x="105" y="66"/>
                  </a:cxn>
                  <a:cxn ang="0">
                    <a:pos x="92" y="53"/>
                  </a:cxn>
                  <a:cxn ang="0">
                    <a:pos x="92" y="60"/>
                  </a:cxn>
                </a:cxnLst>
                <a:rect l="0" t="0" r="r" b="b"/>
                <a:pathLst>
                  <a:path w="197" h="208">
                    <a:moveTo>
                      <a:pt x="113" y="208"/>
                    </a:moveTo>
                    <a:cubicBezTo>
                      <a:pt x="112" y="208"/>
                      <a:pt x="111" y="208"/>
                      <a:pt x="110" y="208"/>
                    </a:cubicBezTo>
                    <a:cubicBezTo>
                      <a:pt x="85" y="208"/>
                      <a:pt x="59" y="208"/>
                      <a:pt x="33" y="208"/>
                    </a:cubicBezTo>
                    <a:cubicBezTo>
                      <a:pt x="25" y="208"/>
                      <a:pt x="20" y="203"/>
                      <a:pt x="20" y="195"/>
                    </a:cubicBezTo>
                    <a:cubicBezTo>
                      <a:pt x="19" y="184"/>
                      <a:pt x="19" y="172"/>
                      <a:pt x="18" y="161"/>
                    </a:cubicBezTo>
                    <a:cubicBezTo>
                      <a:pt x="17" y="153"/>
                      <a:pt x="17" y="145"/>
                      <a:pt x="16" y="137"/>
                    </a:cubicBezTo>
                    <a:cubicBezTo>
                      <a:pt x="15" y="125"/>
                      <a:pt x="15" y="113"/>
                      <a:pt x="14" y="101"/>
                    </a:cubicBezTo>
                    <a:cubicBezTo>
                      <a:pt x="13" y="93"/>
                      <a:pt x="13" y="84"/>
                      <a:pt x="12" y="75"/>
                    </a:cubicBezTo>
                    <a:cubicBezTo>
                      <a:pt x="12" y="73"/>
                      <a:pt x="12" y="72"/>
                      <a:pt x="10" y="72"/>
                    </a:cubicBezTo>
                    <a:cubicBezTo>
                      <a:pt x="7" y="71"/>
                      <a:pt x="4" y="68"/>
                      <a:pt x="4" y="65"/>
                    </a:cubicBezTo>
                    <a:cubicBezTo>
                      <a:pt x="4" y="52"/>
                      <a:pt x="4" y="39"/>
                      <a:pt x="4" y="26"/>
                    </a:cubicBezTo>
                    <a:cubicBezTo>
                      <a:pt x="4" y="25"/>
                      <a:pt x="5" y="24"/>
                      <a:pt x="6" y="24"/>
                    </a:cubicBezTo>
                    <a:cubicBezTo>
                      <a:pt x="7" y="24"/>
                      <a:pt x="8" y="24"/>
                      <a:pt x="8" y="24"/>
                    </a:cubicBezTo>
                    <a:cubicBezTo>
                      <a:pt x="50" y="24"/>
                      <a:pt x="91" y="24"/>
                      <a:pt x="132" y="24"/>
                    </a:cubicBezTo>
                    <a:cubicBezTo>
                      <a:pt x="136" y="24"/>
                      <a:pt x="136" y="24"/>
                      <a:pt x="136" y="20"/>
                    </a:cubicBezTo>
                    <a:cubicBezTo>
                      <a:pt x="136" y="16"/>
                      <a:pt x="137" y="16"/>
                      <a:pt x="132" y="16"/>
                    </a:cubicBezTo>
                    <a:cubicBezTo>
                      <a:pt x="91" y="16"/>
                      <a:pt x="50" y="16"/>
                      <a:pt x="10" y="16"/>
                    </a:cubicBezTo>
                    <a:cubicBezTo>
                      <a:pt x="8" y="16"/>
                      <a:pt x="7" y="16"/>
                      <a:pt x="5" y="15"/>
                    </a:cubicBezTo>
                    <a:cubicBezTo>
                      <a:pt x="2" y="14"/>
                      <a:pt x="0" y="11"/>
                      <a:pt x="0" y="7"/>
                    </a:cubicBezTo>
                    <a:cubicBezTo>
                      <a:pt x="1" y="4"/>
                      <a:pt x="3" y="1"/>
                      <a:pt x="7" y="0"/>
                    </a:cubicBezTo>
                    <a:cubicBezTo>
                      <a:pt x="8" y="0"/>
                      <a:pt x="8" y="0"/>
                      <a:pt x="9" y="0"/>
                    </a:cubicBezTo>
                    <a:cubicBezTo>
                      <a:pt x="67" y="0"/>
                      <a:pt x="125" y="0"/>
                      <a:pt x="183" y="0"/>
                    </a:cubicBezTo>
                    <a:cubicBezTo>
                      <a:pt x="186" y="0"/>
                      <a:pt x="190" y="1"/>
                      <a:pt x="192" y="3"/>
                    </a:cubicBezTo>
                    <a:cubicBezTo>
                      <a:pt x="196" y="7"/>
                      <a:pt x="197" y="12"/>
                      <a:pt x="195" y="16"/>
                    </a:cubicBezTo>
                    <a:cubicBezTo>
                      <a:pt x="193" y="21"/>
                      <a:pt x="189" y="24"/>
                      <a:pt x="184" y="24"/>
                    </a:cubicBezTo>
                    <a:cubicBezTo>
                      <a:pt x="180" y="24"/>
                      <a:pt x="175" y="24"/>
                      <a:pt x="170" y="24"/>
                    </a:cubicBezTo>
                    <a:cubicBezTo>
                      <a:pt x="168" y="24"/>
                      <a:pt x="168" y="24"/>
                      <a:pt x="168" y="26"/>
                    </a:cubicBezTo>
                    <a:cubicBezTo>
                      <a:pt x="168" y="39"/>
                      <a:pt x="168" y="51"/>
                      <a:pt x="168" y="63"/>
                    </a:cubicBezTo>
                    <a:cubicBezTo>
                      <a:pt x="168" y="69"/>
                      <a:pt x="165" y="72"/>
                      <a:pt x="159" y="72"/>
                    </a:cubicBezTo>
                    <a:cubicBezTo>
                      <a:pt x="156" y="72"/>
                      <a:pt x="156" y="72"/>
                      <a:pt x="156" y="75"/>
                    </a:cubicBezTo>
                    <a:cubicBezTo>
                      <a:pt x="156" y="101"/>
                      <a:pt x="156" y="127"/>
                      <a:pt x="156" y="153"/>
                    </a:cubicBezTo>
                    <a:cubicBezTo>
                      <a:pt x="156" y="155"/>
                      <a:pt x="155" y="156"/>
                      <a:pt x="153" y="156"/>
                    </a:cubicBezTo>
                    <a:cubicBezTo>
                      <a:pt x="132" y="156"/>
                      <a:pt x="115" y="170"/>
                      <a:pt x="112" y="191"/>
                    </a:cubicBezTo>
                    <a:cubicBezTo>
                      <a:pt x="112" y="196"/>
                      <a:pt x="112" y="202"/>
                      <a:pt x="113" y="208"/>
                    </a:cubicBezTo>
                    <a:close/>
                    <a:moveTo>
                      <a:pt x="92" y="60"/>
                    </a:moveTo>
                    <a:cubicBezTo>
                      <a:pt x="66" y="60"/>
                      <a:pt x="47" y="82"/>
                      <a:pt x="48" y="105"/>
                    </a:cubicBezTo>
                    <a:cubicBezTo>
                      <a:pt x="48" y="126"/>
                      <a:pt x="64" y="144"/>
                      <a:pt x="85" y="148"/>
                    </a:cubicBezTo>
                    <a:cubicBezTo>
                      <a:pt x="105" y="151"/>
                      <a:pt x="126" y="139"/>
                      <a:pt x="133" y="119"/>
                    </a:cubicBezTo>
                    <a:cubicBezTo>
                      <a:pt x="140" y="101"/>
                      <a:pt x="133" y="81"/>
                      <a:pt x="123" y="73"/>
                    </a:cubicBezTo>
                    <a:cubicBezTo>
                      <a:pt x="120" y="76"/>
                      <a:pt x="118" y="79"/>
                      <a:pt x="115" y="82"/>
                    </a:cubicBezTo>
                    <a:cubicBezTo>
                      <a:pt x="115" y="82"/>
                      <a:pt x="115" y="82"/>
                      <a:pt x="116" y="83"/>
                    </a:cubicBezTo>
                    <a:cubicBezTo>
                      <a:pt x="121" y="88"/>
                      <a:pt x="123" y="95"/>
                      <a:pt x="124" y="102"/>
                    </a:cubicBezTo>
                    <a:cubicBezTo>
                      <a:pt x="125" y="121"/>
                      <a:pt x="108" y="139"/>
                      <a:pt x="87" y="135"/>
                    </a:cubicBezTo>
                    <a:cubicBezTo>
                      <a:pt x="68" y="132"/>
                      <a:pt x="56" y="114"/>
                      <a:pt x="61" y="95"/>
                    </a:cubicBezTo>
                    <a:cubicBezTo>
                      <a:pt x="65" y="82"/>
                      <a:pt x="76" y="73"/>
                      <a:pt x="89" y="72"/>
                    </a:cubicBezTo>
                    <a:cubicBezTo>
                      <a:pt x="91" y="72"/>
                      <a:pt x="92" y="73"/>
                      <a:pt x="92" y="75"/>
                    </a:cubicBezTo>
                    <a:cubicBezTo>
                      <a:pt x="92" y="76"/>
                      <a:pt x="92" y="78"/>
                      <a:pt x="92" y="79"/>
                    </a:cubicBezTo>
                    <a:cubicBezTo>
                      <a:pt x="96" y="75"/>
                      <a:pt x="101" y="70"/>
                      <a:pt x="105" y="66"/>
                    </a:cubicBezTo>
                    <a:cubicBezTo>
                      <a:pt x="101" y="62"/>
                      <a:pt x="96" y="58"/>
                      <a:pt x="92" y="53"/>
                    </a:cubicBezTo>
                    <a:cubicBezTo>
                      <a:pt x="92" y="55"/>
                      <a:pt x="92" y="57"/>
                      <a:pt x="92" y="6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30" name="Freeform 60"/>
              <p:cNvSpPr>
                <a:spLocks noEditPoints="1"/>
              </p:cNvSpPr>
              <p:nvPr/>
            </p:nvSpPr>
            <p:spPr bwMode="auto">
              <a:xfrm>
                <a:off x="17990914" y="2281237"/>
                <a:ext cx="209550" cy="20955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56" y="28"/>
                  </a:cxn>
                  <a:cxn ang="0">
                    <a:pos x="28" y="56"/>
                  </a:cxn>
                  <a:cxn ang="0">
                    <a:pos x="0" y="28"/>
                  </a:cxn>
                  <a:cxn ang="0">
                    <a:pos x="28" y="0"/>
                  </a:cxn>
                  <a:cxn ang="0">
                    <a:pos x="16" y="28"/>
                  </a:cxn>
                  <a:cxn ang="0">
                    <a:pos x="28" y="40"/>
                  </a:cxn>
                  <a:cxn ang="0">
                    <a:pos x="40" y="28"/>
                  </a:cxn>
                  <a:cxn ang="0">
                    <a:pos x="28" y="16"/>
                  </a:cxn>
                  <a:cxn ang="0">
                    <a:pos x="16" y="28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cubicBezTo>
                      <a:pt x="43" y="0"/>
                      <a:pt x="56" y="12"/>
                      <a:pt x="56" y="28"/>
                    </a:cubicBezTo>
                    <a:cubicBezTo>
                      <a:pt x="56" y="43"/>
                      <a:pt x="43" y="56"/>
                      <a:pt x="28" y="56"/>
                    </a:cubicBezTo>
                    <a:cubicBezTo>
                      <a:pt x="13" y="56"/>
                      <a:pt x="0" y="44"/>
                      <a:pt x="0" y="28"/>
                    </a:cubicBezTo>
                    <a:cubicBezTo>
                      <a:pt x="0" y="13"/>
                      <a:pt x="12" y="0"/>
                      <a:pt x="28" y="0"/>
                    </a:cubicBezTo>
                    <a:close/>
                    <a:moveTo>
                      <a:pt x="16" y="28"/>
                    </a:moveTo>
                    <a:cubicBezTo>
                      <a:pt x="16" y="35"/>
                      <a:pt x="21" y="40"/>
                      <a:pt x="28" y="40"/>
                    </a:cubicBezTo>
                    <a:cubicBezTo>
                      <a:pt x="35" y="40"/>
                      <a:pt x="40" y="35"/>
                      <a:pt x="40" y="28"/>
                    </a:cubicBezTo>
                    <a:cubicBezTo>
                      <a:pt x="40" y="21"/>
                      <a:pt x="35" y="16"/>
                      <a:pt x="28" y="16"/>
                    </a:cubicBezTo>
                    <a:cubicBezTo>
                      <a:pt x="21" y="16"/>
                      <a:pt x="16" y="21"/>
                      <a:pt x="16" y="2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sp>
          <p:nvSpPr>
            <p:cNvPr id="31" name="Freeform 76"/>
            <p:cNvSpPr>
              <a:spLocks/>
            </p:cNvSpPr>
            <p:nvPr/>
          </p:nvSpPr>
          <p:spPr bwMode="auto">
            <a:xfrm>
              <a:off x="6191880" y="1543865"/>
              <a:ext cx="713611" cy="713611"/>
            </a:xfrm>
            <a:custGeom>
              <a:avLst/>
              <a:gdLst/>
              <a:ahLst/>
              <a:cxnLst>
                <a:cxn ang="0">
                  <a:pos x="160" y="189"/>
                </a:cxn>
                <a:cxn ang="0">
                  <a:pos x="141" y="185"/>
                </a:cxn>
                <a:cxn ang="0">
                  <a:pos x="127" y="148"/>
                </a:cxn>
                <a:cxn ang="0">
                  <a:pos x="126" y="142"/>
                </a:cxn>
                <a:cxn ang="0">
                  <a:pos x="100" y="116"/>
                </a:cxn>
                <a:cxn ang="0">
                  <a:pos x="98" y="114"/>
                </a:cxn>
                <a:cxn ang="0">
                  <a:pos x="95" y="116"/>
                </a:cxn>
                <a:cxn ang="0">
                  <a:pos x="38" y="173"/>
                </a:cxn>
                <a:cxn ang="0">
                  <a:pos x="20" y="177"/>
                </a:cxn>
                <a:cxn ang="0">
                  <a:pos x="11" y="162"/>
                </a:cxn>
                <a:cxn ang="0">
                  <a:pos x="17" y="150"/>
                </a:cxn>
                <a:cxn ang="0">
                  <a:pos x="73" y="94"/>
                </a:cxn>
                <a:cxn ang="0">
                  <a:pos x="75" y="92"/>
                </a:cxn>
                <a:cxn ang="0">
                  <a:pos x="73" y="90"/>
                </a:cxn>
                <a:cxn ang="0">
                  <a:pos x="46" y="63"/>
                </a:cxn>
                <a:cxn ang="0">
                  <a:pos x="43" y="62"/>
                </a:cxn>
                <a:cxn ang="0">
                  <a:pos x="1" y="37"/>
                </a:cxn>
                <a:cxn ang="0">
                  <a:pos x="1" y="29"/>
                </a:cxn>
                <a:cxn ang="0">
                  <a:pos x="13" y="41"/>
                </a:cxn>
                <a:cxn ang="0">
                  <a:pos x="18" y="43"/>
                </a:cxn>
                <a:cxn ang="0">
                  <a:pos x="40" y="43"/>
                </a:cxn>
                <a:cxn ang="0">
                  <a:pos x="43" y="40"/>
                </a:cxn>
                <a:cxn ang="0">
                  <a:pos x="43" y="17"/>
                </a:cxn>
                <a:cxn ang="0">
                  <a:pos x="42" y="13"/>
                </a:cxn>
                <a:cxn ang="0">
                  <a:pos x="29" y="1"/>
                </a:cxn>
                <a:cxn ang="0">
                  <a:pos x="45" y="3"/>
                </a:cxn>
                <a:cxn ang="0">
                  <a:pos x="62" y="42"/>
                </a:cxn>
                <a:cxn ang="0">
                  <a:pos x="64" y="47"/>
                </a:cxn>
                <a:cxn ang="0">
                  <a:pos x="96" y="79"/>
                </a:cxn>
                <a:cxn ang="0">
                  <a:pos x="98" y="81"/>
                </a:cxn>
                <a:cxn ang="0">
                  <a:pos x="100" y="79"/>
                </a:cxn>
                <a:cxn ang="0">
                  <a:pos x="140" y="39"/>
                </a:cxn>
                <a:cxn ang="0">
                  <a:pos x="142" y="35"/>
                </a:cxn>
                <a:cxn ang="0">
                  <a:pos x="144" y="24"/>
                </a:cxn>
                <a:cxn ang="0">
                  <a:pos x="145" y="22"/>
                </a:cxn>
                <a:cxn ang="0">
                  <a:pos x="175" y="3"/>
                </a:cxn>
                <a:cxn ang="0">
                  <a:pos x="185" y="14"/>
                </a:cxn>
                <a:cxn ang="0">
                  <a:pos x="185" y="16"/>
                </a:cxn>
                <a:cxn ang="0">
                  <a:pos x="170" y="40"/>
                </a:cxn>
                <a:cxn ang="0">
                  <a:pos x="161" y="46"/>
                </a:cxn>
                <a:cxn ang="0">
                  <a:pos x="146" y="54"/>
                </a:cxn>
                <a:cxn ang="0">
                  <a:pos x="111" y="90"/>
                </a:cxn>
                <a:cxn ang="0">
                  <a:pos x="109" y="92"/>
                </a:cxn>
                <a:cxn ang="0">
                  <a:pos x="111" y="94"/>
                </a:cxn>
                <a:cxn ang="0">
                  <a:pos x="143" y="126"/>
                </a:cxn>
                <a:cxn ang="0">
                  <a:pos x="147" y="127"/>
                </a:cxn>
                <a:cxn ang="0">
                  <a:pos x="189" y="152"/>
                </a:cxn>
                <a:cxn ang="0">
                  <a:pos x="189" y="160"/>
                </a:cxn>
                <a:cxn ang="0">
                  <a:pos x="189" y="160"/>
                </a:cxn>
                <a:cxn ang="0">
                  <a:pos x="178" y="149"/>
                </a:cxn>
                <a:cxn ang="0">
                  <a:pos x="171" y="146"/>
                </a:cxn>
                <a:cxn ang="0">
                  <a:pos x="150" y="146"/>
                </a:cxn>
                <a:cxn ang="0">
                  <a:pos x="147" y="146"/>
                </a:cxn>
                <a:cxn ang="0">
                  <a:pos x="147" y="148"/>
                </a:cxn>
                <a:cxn ang="0">
                  <a:pos x="147" y="173"/>
                </a:cxn>
                <a:cxn ang="0">
                  <a:pos x="148" y="176"/>
                </a:cxn>
                <a:cxn ang="0">
                  <a:pos x="161" y="188"/>
                </a:cxn>
                <a:cxn ang="0">
                  <a:pos x="160" y="189"/>
                </a:cxn>
              </a:cxnLst>
              <a:rect l="0" t="0" r="r" b="b"/>
              <a:pathLst>
                <a:path w="189" h="189">
                  <a:moveTo>
                    <a:pt x="160" y="189"/>
                  </a:moveTo>
                  <a:cubicBezTo>
                    <a:pt x="153" y="189"/>
                    <a:pt x="147" y="188"/>
                    <a:pt x="141" y="185"/>
                  </a:cubicBezTo>
                  <a:cubicBezTo>
                    <a:pt x="129" y="177"/>
                    <a:pt x="123" y="162"/>
                    <a:pt x="127" y="148"/>
                  </a:cubicBezTo>
                  <a:cubicBezTo>
                    <a:pt x="128" y="145"/>
                    <a:pt x="127" y="144"/>
                    <a:pt x="126" y="142"/>
                  </a:cubicBezTo>
                  <a:cubicBezTo>
                    <a:pt x="117" y="134"/>
                    <a:pt x="108" y="125"/>
                    <a:pt x="100" y="116"/>
                  </a:cubicBezTo>
                  <a:cubicBezTo>
                    <a:pt x="99" y="116"/>
                    <a:pt x="99" y="115"/>
                    <a:pt x="98" y="114"/>
                  </a:cubicBezTo>
                  <a:cubicBezTo>
                    <a:pt x="97" y="115"/>
                    <a:pt x="96" y="116"/>
                    <a:pt x="95" y="116"/>
                  </a:cubicBezTo>
                  <a:cubicBezTo>
                    <a:pt x="76" y="135"/>
                    <a:pt x="57" y="154"/>
                    <a:pt x="38" y="173"/>
                  </a:cubicBezTo>
                  <a:cubicBezTo>
                    <a:pt x="33" y="178"/>
                    <a:pt x="27" y="180"/>
                    <a:pt x="20" y="177"/>
                  </a:cubicBezTo>
                  <a:cubicBezTo>
                    <a:pt x="14" y="174"/>
                    <a:pt x="11" y="168"/>
                    <a:pt x="11" y="162"/>
                  </a:cubicBezTo>
                  <a:cubicBezTo>
                    <a:pt x="11" y="157"/>
                    <a:pt x="13" y="153"/>
                    <a:pt x="17" y="150"/>
                  </a:cubicBezTo>
                  <a:cubicBezTo>
                    <a:pt x="35" y="131"/>
                    <a:pt x="54" y="113"/>
                    <a:pt x="73" y="94"/>
                  </a:cubicBezTo>
                  <a:cubicBezTo>
                    <a:pt x="74" y="93"/>
                    <a:pt x="74" y="93"/>
                    <a:pt x="75" y="92"/>
                  </a:cubicBezTo>
                  <a:cubicBezTo>
                    <a:pt x="74" y="91"/>
                    <a:pt x="74" y="91"/>
                    <a:pt x="73" y="90"/>
                  </a:cubicBezTo>
                  <a:cubicBezTo>
                    <a:pt x="64" y="81"/>
                    <a:pt x="55" y="72"/>
                    <a:pt x="46" y="63"/>
                  </a:cubicBezTo>
                  <a:cubicBezTo>
                    <a:pt x="45" y="62"/>
                    <a:pt x="44" y="61"/>
                    <a:pt x="43" y="62"/>
                  </a:cubicBezTo>
                  <a:cubicBezTo>
                    <a:pt x="23" y="68"/>
                    <a:pt x="4" y="57"/>
                    <a:pt x="1" y="37"/>
                  </a:cubicBezTo>
                  <a:cubicBezTo>
                    <a:pt x="0" y="34"/>
                    <a:pt x="1" y="32"/>
                    <a:pt x="1" y="29"/>
                  </a:cubicBezTo>
                  <a:cubicBezTo>
                    <a:pt x="5" y="33"/>
                    <a:pt x="9" y="37"/>
                    <a:pt x="13" y="41"/>
                  </a:cubicBezTo>
                  <a:cubicBezTo>
                    <a:pt x="14" y="42"/>
                    <a:pt x="16" y="43"/>
                    <a:pt x="18" y="43"/>
                  </a:cubicBezTo>
                  <a:cubicBezTo>
                    <a:pt x="25" y="43"/>
                    <a:pt x="33" y="43"/>
                    <a:pt x="40" y="43"/>
                  </a:cubicBezTo>
                  <a:cubicBezTo>
                    <a:pt x="42" y="43"/>
                    <a:pt x="43" y="42"/>
                    <a:pt x="43" y="40"/>
                  </a:cubicBezTo>
                  <a:cubicBezTo>
                    <a:pt x="43" y="32"/>
                    <a:pt x="43" y="24"/>
                    <a:pt x="43" y="17"/>
                  </a:cubicBezTo>
                  <a:cubicBezTo>
                    <a:pt x="43" y="15"/>
                    <a:pt x="42" y="14"/>
                    <a:pt x="42" y="13"/>
                  </a:cubicBezTo>
                  <a:cubicBezTo>
                    <a:pt x="37" y="9"/>
                    <a:pt x="33" y="5"/>
                    <a:pt x="29" y="1"/>
                  </a:cubicBezTo>
                  <a:cubicBezTo>
                    <a:pt x="35" y="0"/>
                    <a:pt x="40" y="1"/>
                    <a:pt x="45" y="3"/>
                  </a:cubicBezTo>
                  <a:cubicBezTo>
                    <a:pt x="60" y="10"/>
                    <a:pt x="68" y="26"/>
                    <a:pt x="62" y="42"/>
                  </a:cubicBezTo>
                  <a:cubicBezTo>
                    <a:pt x="62" y="44"/>
                    <a:pt x="62" y="45"/>
                    <a:pt x="64" y="47"/>
                  </a:cubicBezTo>
                  <a:cubicBezTo>
                    <a:pt x="74" y="57"/>
                    <a:pt x="85" y="68"/>
                    <a:pt x="96" y="79"/>
                  </a:cubicBezTo>
                  <a:cubicBezTo>
                    <a:pt x="96" y="79"/>
                    <a:pt x="97" y="80"/>
                    <a:pt x="98" y="81"/>
                  </a:cubicBezTo>
                  <a:cubicBezTo>
                    <a:pt x="98" y="80"/>
                    <a:pt x="99" y="79"/>
                    <a:pt x="100" y="79"/>
                  </a:cubicBezTo>
                  <a:cubicBezTo>
                    <a:pt x="113" y="65"/>
                    <a:pt x="126" y="52"/>
                    <a:pt x="140" y="39"/>
                  </a:cubicBezTo>
                  <a:cubicBezTo>
                    <a:pt x="141" y="38"/>
                    <a:pt x="141" y="36"/>
                    <a:pt x="142" y="35"/>
                  </a:cubicBezTo>
                  <a:cubicBezTo>
                    <a:pt x="143" y="31"/>
                    <a:pt x="143" y="28"/>
                    <a:pt x="144" y="24"/>
                  </a:cubicBezTo>
                  <a:cubicBezTo>
                    <a:pt x="144" y="23"/>
                    <a:pt x="145" y="23"/>
                    <a:pt x="145" y="22"/>
                  </a:cubicBezTo>
                  <a:cubicBezTo>
                    <a:pt x="155" y="16"/>
                    <a:pt x="165" y="10"/>
                    <a:pt x="175" y="3"/>
                  </a:cubicBezTo>
                  <a:cubicBezTo>
                    <a:pt x="179" y="7"/>
                    <a:pt x="182" y="10"/>
                    <a:pt x="185" y="14"/>
                  </a:cubicBezTo>
                  <a:cubicBezTo>
                    <a:pt x="186" y="14"/>
                    <a:pt x="186" y="15"/>
                    <a:pt x="185" y="16"/>
                  </a:cubicBezTo>
                  <a:cubicBezTo>
                    <a:pt x="180" y="24"/>
                    <a:pt x="175" y="32"/>
                    <a:pt x="170" y="40"/>
                  </a:cubicBezTo>
                  <a:cubicBezTo>
                    <a:pt x="168" y="44"/>
                    <a:pt x="165" y="46"/>
                    <a:pt x="161" y="46"/>
                  </a:cubicBezTo>
                  <a:cubicBezTo>
                    <a:pt x="155" y="47"/>
                    <a:pt x="150" y="50"/>
                    <a:pt x="146" y="54"/>
                  </a:cubicBezTo>
                  <a:cubicBezTo>
                    <a:pt x="134" y="66"/>
                    <a:pt x="122" y="78"/>
                    <a:pt x="111" y="90"/>
                  </a:cubicBezTo>
                  <a:cubicBezTo>
                    <a:pt x="110" y="90"/>
                    <a:pt x="110" y="91"/>
                    <a:pt x="109" y="92"/>
                  </a:cubicBezTo>
                  <a:cubicBezTo>
                    <a:pt x="110" y="92"/>
                    <a:pt x="110" y="93"/>
                    <a:pt x="111" y="94"/>
                  </a:cubicBezTo>
                  <a:cubicBezTo>
                    <a:pt x="121" y="104"/>
                    <a:pt x="132" y="115"/>
                    <a:pt x="143" y="126"/>
                  </a:cubicBezTo>
                  <a:cubicBezTo>
                    <a:pt x="144" y="127"/>
                    <a:pt x="145" y="128"/>
                    <a:pt x="147" y="127"/>
                  </a:cubicBezTo>
                  <a:cubicBezTo>
                    <a:pt x="166" y="121"/>
                    <a:pt x="185" y="132"/>
                    <a:pt x="189" y="152"/>
                  </a:cubicBezTo>
                  <a:cubicBezTo>
                    <a:pt x="189" y="154"/>
                    <a:pt x="189" y="157"/>
                    <a:pt x="189" y="160"/>
                  </a:cubicBezTo>
                  <a:cubicBezTo>
                    <a:pt x="189" y="160"/>
                    <a:pt x="189" y="160"/>
                    <a:pt x="189" y="160"/>
                  </a:cubicBezTo>
                  <a:cubicBezTo>
                    <a:pt x="185" y="156"/>
                    <a:pt x="181" y="153"/>
                    <a:pt x="178" y="149"/>
                  </a:cubicBezTo>
                  <a:cubicBezTo>
                    <a:pt x="176" y="147"/>
                    <a:pt x="174" y="146"/>
                    <a:pt x="171" y="146"/>
                  </a:cubicBezTo>
                  <a:cubicBezTo>
                    <a:pt x="164" y="147"/>
                    <a:pt x="157" y="146"/>
                    <a:pt x="150" y="146"/>
                  </a:cubicBezTo>
                  <a:cubicBezTo>
                    <a:pt x="149" y="146"/>
                    <a:pt x="148" y="146"/>
                    <a:pt x="147" y="146"/>
                  </a:cubicBezTo>
                  <a:cubicBezTo>
                    <a:pt x="147" y="147"/>
                    <a:pt x="147" y="148"/>
                    <a:pt x="147" y="148"/>
                  </a:cubicBezTo>
                  <a:cubicBezTo>
                    <a:pt x="147" y="157"/>
                    <a:pt x="147" y="165"/>
                    <a:pt x="147" y="173"/>
                  </a:cubicBezTo>
                  <a:cubicBezTo>
                    <a:pt x="147" y="174"/>
                    <a:pt x="147" y="175"/>
                    <a:pt x="148" y="176"/>
                  </a:cubicBezTo>
                  <a:cubicBezTo>
                    <a:pt x="152" y="180"/>
                    <a:pt x="157" y="184"/>
                    <a:pt x="161" y="188"/>
                  </a:cubicBezTo>
                  <a:cubicBezTo>
                    <a:pt x="160" y="188"/>
                    <a:pt x="160" y="189"/>
                    <a:pt x="160" y="18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GB" sz="2701"/>
            </a:p>
          </p:txBody>
        </p:sp>
        <p:grpSp>
          <p:nvGrpSpPr>
            <p:cNvPr id="32" name="Gruppieren 144"/>
            <p:cNvGrpSpPr/>
            <p:nvPr/>
          </p:nvGrpSpPr>
          <p:grpSpPr>
            <a:xfrm>
              <a:off x="7078226" y="1475219"/>
              <a:ext cx="871660" cy="870063"/>
              <a:chOff x="11775851" y="350837"/>
              <a:chExt cx="866776" cy="865188"/>
            </a:xfrm>
            <a:grpFill/>
          </p:grpSpPr>
          <p:sp>
            <p:nvSpPr>
              <p:cNvPr id="33" name="Freeform 63"/>
              <p:cNvSpPr>
                <a:spLocks/>
              </p:cNvSpPr>
              <p:nvPr/>
            </p:nvSpPr>
            <p:spPr bwMode="auto">
              <a:xfrm>
                <a:off x="11952063" y="530225"/>
                <a:ext cx="514350" cy="509588"/>
              </a:xfrm>
              <a:custGeom>
                <a:avLst/>
                <a:gdLst/>
                <a:ahLst/>
                <a:cxnLst>
                  <a:cxn ang="0">
                    <a:pos x="136" y="68"/>
                  </a:cxn>
                  <a:cxn ang="0">
                    <a:pos x="69" y="135"/>
                  </a:cxn>
                  <a:cxn ang="0">
                    <a:pos x="1" y="66"/>
                  </a:cxn>
                  <a:cxn ang="0">
                    <a:pos x="69" y="0"/>
                  </a:cxn>
                  <a:cxn ang="0">
                    <a:pos x="136" y="68"/>
                  </a:cxn>
                </a:cxnLst>
                <a:rect l="0" t="0" r="r" b="b"/>
                <a:pathLst>
                  <a:path w="137" h="136">
                    <a:moveTo>
                      <a:pt x="136" y="68"/>
                    </a:moveTo>
                    <a:cubicBezTo>
                      <a:pt x="136" y="105"/>
                      <a:pt x="106" y="135"/>
                      <a:pt x="69" y="135"/>
                    </a:cubicBezTo>
                    <a:cubicBezTo>
                      <a:pt x="32" y="136"/>
                      <a:pt x="0" y="106"/>
                      <a:pt x="1" y="66"/>
                    </a:cubicBezTo>
                    <a:cubicBezTo>
                      <a:pt x="2" y="29"/>
                      <a:pt x="31" y="0"/>
                      <a:pt x="69" y="0"/>
                    </a:cubicBezTo>
                    <a:cubicBezTo>
                      <a:pt x="106" y="0"/>
                      <a:pt x="137" y="30"/>
                      <a:pt x="136" y="6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34" name="Freeform 64"/>
              <p:cNvSpPr>
                <a:spLocks/>
              </p:cNvSpPr>
              <p:nvPr/>
            </p:nvSpPr>
            <p:spPr bwMode="auto">
              <a:xfrm>
                <a:off x="12444189" y="568325"/>
                <a:ext cx="141288" cy="107950"/>
              </a:xfrm>
              <a:custGeom>
                <a:avLst/>
                <a:gdLst/>
                <a:ahLst/>
                <a:cxnLst>
                  <a:cxn ang="0">
                    <a:pos x="13" y="29"/>
                  </a:cxn>
                  <a:cxn ang="0">
                    <a:pos x="0" y="6"/>
                  </a:cxn>
                  <a:cxn ang="0">
                    <a:pos x="38" y="0"/>
                  </a:cxn>
                  <a:cxn ang="0">
                    <a:pos x="13" y="29"/>
                  </a:cxn>
                </a:cxnLst>
                <a:rect l="0" t="0" r="r" b="b"/>
                <a:pathLst>
                  <a:path w="38" h="29">
                    <a:moveTo>
                      <a:pt x="13" y="29"/>
                    </a:moveTo>
                    <a:cubicBezTo>
                      <a:pt x="9" y="21"/>
                      <a:pt x="5" y="14"/>
                      <a:pt x="0" y="6"/>
                    </a:cubicBezTo>
                    <a:cubicBezTo>
                      <a:pt x="12" y="4"/>
                      <a:pt x="25" y="2"/>
                      <a:pt x="38" y="0"/>
                    </a:cubicBezTo>
                    <a:cubicBezTo>
                      <a:pt x="29" y="10"/>
                      <a:pt x="21" y="20"/>
                      <a:pt x="13" y="2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35" name="Freeform 65"/>
              <p:cNvSpPr>
                <a:spLocks/>
              </p:cNvSpPr>
              <p:nvPr/>
            </p:nvSpPr>
            <p:spPr bwMode="auto">
              <a:xfrm>
                <a:off x="11993339" y="1017587"/>
                <a:ext cx="109538" cy="142875"/>
              </a:xfrm>
              <a:custGeom>
                <a:avLst/>
                <a:gdLst/>
                <a:ahLst/>
                <a:cxnLst>
                  <a:cxn ang="0">
                    <a:pos x="29" y="13"/>
                  </a:cxn>
                  <a:cxn ang="0">
                    <a:pos x="0" y="38"/>
                  </a:cxn>
                  <a:cxn ang="0">
                    <a:pos x="7" y="0"/>
                  </a:cxn>
                  <a:cxn ang="0">
                    <a:pos x="29" y="13"/>
                  </a:cxn>
                </a:cxnLst>
                <a:rect l="0" t="0" r="r" b="b"/>
                <a:pathLst>
                  <a:path w="29" h="38">
                    <a:moveTo>
                      <a:pt x="29" y="13"/>
                    </a:moveTo>
                    <a:cubicBezTo>
                      <a:pt x="20" y="21"/>
                      <a:pt x="10" y="29"/>
                      <a:pt x="0" y="38"/>
                    </a:cubicBezTo>
                    <a:cubicBezTo>
                      <a:pt x="2" y="25"/>
                      <a:pt x="4" y="12"/>
                      <a:pt x="7" y="0"/>
                    </a:cubicBezTo>
                    <a:cubicBezTo>
                      <a:pt x="14" y="4"/>
                      <a:pt x="22" y="9"/>
                      <a:pt x="29" y="1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36" name="Freeform 66"/>
              <p:cNvSpPr>
                <a:spLocks/>
              </p:cNvSpPr>
              <p:nvPr/>
            </p:nvSpPr>
            <p:spPr bwMode="auto">
              <a:xfrm>
                <a:off x="11993339" y="406400"/>
                <a:ext cx="109538" cy="142875"/>
              </a:xfrm>
              <a:custGeom>
                <a:avLst/>
                <a:gdLst/>
                <a:ahLst/>
                <a:cxnLst>
                  <a:cxn ang="0">
                    <a:pos x="29" y="25"/>
                  </a:cxn>
                  <a:cxn ang="0">
                    <a:pos x="7" y="38"/>
                  </a:cxn>
                  <a:cxn ang="0">
                    <a:pos x="0" y="0"/>
                  </a:cxn>
                  <a:cxn ang="0">
                    <a:pos x="29" y="25"/>
                  </a:cxn>
                </a:cxnLst>
                <a:rect l="0" t="0" r="r" b="b"/>
                <a:pathLst>
                  <a:path w="29" h="38">
                    <a:moveTo>
                      <a:pt x="29" y="25"/>
                    </a:moveTo>
                    <a:cubicBezTo>
                      <a:pt x="22" y="29"/>
                      <a:pt x="14" y="34"/>
                      <a:pt x="7" y="38"/>
                    </a:cubicBezTo>
                    <a:cubicBezTo>
                      <a:pt x="4" y="26"/>
                      <a:pt x="2" y="14"/>
                      <a:pt x="0" y="0"/>
                    </a:cubicBezTo>
                    <a:cubicBezTo>
                      <a:pt x="10" y="9"/>
                      <a:pt x="20" y="17"/>
                      <a:pt x="29" y="2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37" name="Freeform 67"/>
              <p:cNvSpPr>
                <a:spLocks/>
              </p:cNvSpPr>
              <p:nvPr/>
            </p:nvSpPr>
            <p:spPr bwMode="auto">
              <a:xfrm>
                <a:off x="11836176" y="568325"/>
                <a:ext cx="138113" cy="107950"/>
              </a:xfrm>
              <a:custGeom>
                <a:avLst/>
                <a:gdLst/>
                <a:ahLst/>
                <a:cxnLst>
                  <a:cxn ang="0">
                    <a:pos x="37" y="6"/>
                  </a:cxn>
                  <a:cxn ang="0">
                    <a:pos x="24" y="29"/>
                  </a:cxn>
                  <a:cxn ang="0">
                    <a:pos x="0" y="0"/>
                  </a:cxn>
                  <a:cxn ang="0">
                    <a:pos x="37" y="6"/>
                  </a:cxn>
                </a:cxnLst>
                <a:rect l="0" t="0" r="r" b="b"/>
                <a:pathLst>
                  <a:path w="37" h="29">
                    <a:moveTo>
                      <a:pt x="37" y="6"/>
                    </a:moveTo>
                    <a:cubicBezTo>
                      <a:pt x="33" y="14"/>
                      <a:pt x="28" y="21"/>
                      <a:pt x="24" y="29"/>
                    </a:cubicBezTo>
                    <a:cubicBezTo>
                      <a:pt x="16" y="20"/>
                      <a:pt x="8" y="10"/>
                      <a:pt x="0" y="0"/>
                    </a:cubicBezTo>
                    <a:cubicBezTo>
                      <a:pt x="13" y="2"/>
                      <a:pt x="25" y="4"/>
                      <a:pt x="37" y="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38" name="Freeform 68"/>
              <p:cNvSpPr>
                <a:spLocks/>
              </p:cNvSpPr>
              <p:nvPr/>
            </p:nvSpPr>
            <p:spPr bwMode="auto">
              <a:xfrm>
                <a:off x="12315601" y="406400"/>
                <a:ext cx="112713" cy="142875"/>
              </a:xfrm>
              <a:custGeom>
                <a:avLst/>
                <a:gdLst/>
                <a:ahLst/>
                <a:cxnLst>
                  <a:cxn ang="0">
                    <a:pos x="23" y="38"/>
                  </a:cxn>
                  <a:cxn ang="0">
                    <a:pos x="0" y="25"/>
                  </a:cxn>
                  <a:cxn ang="0">
                    <a:pos x="30" y="0"/>
                  </a:cxn>
                  <a:cxn ang="0">
                    <a:pos x="23" y="38"/>
                  </a:cxn>
                </a:cxnLst>
                <a:rect l="0" t="0" r="r" b="b"/>
                <a:pathLst>
                  <a:path w="30" h="38">
                    <a:moveTo>
                      <a:pt x="23" y="38"/>
                    </a:moveTo>
                    <a:cubicBezTo>
                      <a:pt x="15" y="34"/>
                      <a:pt x="8" y="29"/>
                      <a:pt x="0" y="25"/>
                    </a:cubicBezTo>
                    <a:cubicBezTo>
                      <a:pt x="10" y="17"/>
                      <a:pt x="19" y="9"/>
                      <a:pt x="30" y="0"/>
                    </a:cubicBezTo>
                    <a:cubicBezTo>
                      <a:pt x="27" y="14"/>
                      <a:pt x="25" y="26"/>
                      <a:pt x="23" y="3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39" name="Freeform 69"/>
              <p:cNvSpPr>
                <a:spLocks/>
              </p:cNvSpPr>
              <p:nvPr/>
            </p:nvSpPr>
            <p:spPr bwMode="auto">
              <a:xfrm>
                <a:off x="11836176" y="890587"/>
                <a:ext cx="138113" cy="10795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37" y="23"/>
                  </a:cxn>
                  <a:cxn ang="0">
                    <a:pos x="0" y="29"/>
                  </a:cxn>
                  <a:cxn ang="0">
                    <a:pos x="24" y="0"/>
                  </a:cxn>
                </a:cxnLst>
                <a:rect l="0" t="0" r="r" b="b"/>
                <a:pathLst>
                  <a:path w="37" h="29">
                    <a:moveTo>
                      <a:pt x="24" y="0"/>
                    </a:moveTo>
                    <a:cubicBezTo>
                      <a:pt x="29" y="8"/>
                      <a:pt x="33" y="15"/>
                      <a:pt x="37" y="23"/>
                    </a:cubicBezTo>
                    <a:cubicBezTo>
                      <a:pt x="25" y="25"/>
                      <a:pt x="13" y="27"/>
                      <a:pt x="0" y="29"/>
                    </a:cubicBezTo>
                    <a:cubicBezTo>
                      <a:pt x="8" y="19"/>
                      <a:pt x="16" y="10"/>
                      <a:pt x="2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40" name="Freeform 70"/>
              <p:cNvSpPr>
                <a:spLocks/>
              </p:cNvSpPr>
              <p:nvPr/>
            </p:nvSpPr>
            <p:spPr bwMode="auto">
              <a:xfrm>
                <a:off x="12444189" y="890587"/>
                <a:ext cx="141288" cy="10795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38" y="29"/>
                  </a:cxn>
                  <a:cxn ang="0">
                    <a:pos x="0" y="23"/>
                  </a:cxn>
                  <a:cxn ang="0">
                    <a:pos x="13" y="0"/>
                  </a:cxn>
                </a:cxnLst>
                <a:rect l="0" t="0" r="r" b="b"/>
                <a:pathLst>
                  <a:path w="38" h="29">
                    <a:moveTo>
                      <a:pt x="13" y="0"/>
                    </a:moveTo>
                    <a:cubicBezTo>
                      <a:pt x="21" y="10"/>
                      <a:pt x="29" y="19"/>
                      <a:pt x="38" y="29"/>
                    </a:cubicBezTo>
                    <a:cubicBezTo>
                      <a:pt x="25" y="27"/>
                      <a:pt x="12" y="25"/>
                      <a:pt x="0" y="23"/>
                    </a:cubicBezTo>
                    <a:cubicBezTo>
                      <a:pt x="5" y="15"/>
                      <a:pt x="9" y="8"/>
                      <a:pt x="1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41" name="Freeform 71"/>
              <p:cNvSpPr>
                <a:spLocks/>
              </p:cNvSpPr>
              <p:nvPr/>
            </p:nvSpPr>
            <p:spPr bwMode="auto">
              <a:xfrm>
                <a:off x="12315601" y="1017587"/>
                <a:ext cx="112713" cy="142875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30" y="38"/>
                  </a:cxn>
                  <a:cxn ang="0">
                    <a:pos x="0" y="13"/>
                  </a:cxn>
                  <a:cxn ang="0">
                    <a:pos x="23" y="0"/>
                  </a:cxn>
                </a:cxnLst>
                <a:rect l="0" t="0" r="r" b="b"/>
                <a:pathLst>
                  <a:path w="30" h="38">
                    <a:moveTo>
                      <a:pt x="23" y="0"/>
                    </a:moveTo>
                    <a:cubicBezTo>
                      <a:pt x="25" y="12"/>
                      <a:pt x="27" y="25"/>
                      <a:pt x="30" y="38"/>
                    </a:cubicBezTo>
                    <a:cubicBezTo>
                      <a:pt x="19" y="29"/>
                      <a:pt x="10" y="21"/>
                      <a:pt x="0" y="13"/>
                    </a:cubicBezTo>
                    <a:cubicBezTo>
                      <a:pt x="8" y="9"/>
                      <a:pt x="15" y="5"/>
                      <a:pt x="2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42" name="Freeform 72"/>
              <p:cNvSpPr>
                <a:spLocks/>
              </p:cNvSpPr>
              <p:nvPr/>
            </p:nvSpPr>
            <p:spPr bwMode="auto">
              <a:xfrm>
                <a:off x="12507689" y="736600"/>
                <a:ext cx="134938" cy="96838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0" y="0"/>
                  </a:cxn>
                  <a:cxn ang="0">
                    <a:pos x="36" y="13"/>
                  </a:cxn>
                  <a:cxn ang="0">
                    <a:pos x="0" y="26"/>
                  </a:cxn>
                </a:cxnLst>
                <a:rect l="0" t="0" r="r" b="b"/>
                <a:pathLst>
                  <a:path w="36" h="26">
                    <a:moveTo>
                      <a:pt x="0" y="26"/>
                    </a:moveTo>
                    <a:cubicBezTo>
                      <a:pt x="0" y="17"/>
                      <a:pt x="0" y="8"/>
                      <a:pt x="0" y="0"/>
                    </a:cubicBezTo>
                    <a:cubicBezTo>
                      <a:pt x="12" y="4"/>
                      <a:pt x="24" y="8"/>
                      <a:pt x="36" y="13"/>
                    </a:cubicBezTo>
                    <a:cubicBezTo>
                      <a:pt x="24" y="17"/>
                      <a:pt x="12" y="21"/>
                      <a:pt x="0" y="2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43" name="Freeform 73"/>
              <p:cNvSpPr>
                <a:spLocks/>
              </p:cNvSpPr>
              <p:nvPr/>
            </p:nvSpPr>
            <p:spPr bwMode="auto">
              <a:xfrm>
                <a:off x="12158439" y="1081087"/>
                <a:ext cx="101600" cy="1349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7" y="0"/>
                  </a:cxn>
                  <a:cxn ang="0">
                    <a:pos x="14" y="36"/>
                  </a:cxn>
                  <a:cxn ang="0">
                    <a:pos x="0" y="0"/>
                  </a:cxn>
                </a:cxnLst>
                <a:rect l="0" t="0" r="r" b="b"/>
                <a:pathLst>
                  <a:path w="27" h="36">
                    <a:moveTo>
                      <a:pt x="0" y="0"/>
                    </a:moveTo>
                    <a:cubicBezTo>
                      <a:pt x="9" y="1"/>
                      <a:pt x="18" y="1"/>
                      <a:pt x="27" y="0"/>
                    </a:cubicBezTo>
                    <a:cubicBezTo>
                      <a:pt x="23" y="12"/>
                      <a:pt x="18" y="24"/>
                      <a:pt x="14" y="36"/>
                    </a:cubicBezTo>
                    <a:cubicBezTo>
                      <a:pt x="9" y="24"/>
                      <a:pt x="5" y="12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44" name="Freeform 74"/>
              <p:cNvSpPr>
                <a:spLocks/>
              </p:cNvSpPr>
              <p:nvPr/>
            </p:nvSpPr>
            <p:spPr bwMode="auto">
              <a:xfrm>
                <a:off x="12161614" y="350837"/>
                <a:ext cx="98425" cy="134938"/>
              </a:xfrm>
              <a:custGeom>
                <a:avLst/>
                <a:gdLst/>
                <a:ahLst/>
                <a:cxnLst>
                  <a:cxn ang="0">
                    <a:pos x="0" y="36"/>
                  </a:cxn>
                  <a:cxn ang="0">
                    <a:pos x="13" y="0"/>
                  </a:cxn>
                  <a:cxn ang="0">
                    <a:pos x="26" y="36"/>
                  </a:cxn>
                  <a:cxn ang="0">
                    <a:pos x="0" y="36"/>
                  </a:cxn>
                </a:cxnLst>
                <a:rect l="0" t="0" r="r" b="b"/>
                <a:pathLst>
                  <a:path w="26" h="36">
                    <a:moveTo>
                      <a:pt x="0" y="36"/>
                    </a:moveTo>
                    <a:cubicBezTo>
                      <a:pt x="4" y="24"/>
                      <a:pt x="8" y="12"/>
                      <a:pt x="13" y="0"/>
                    </a:cubicBezTo>
                    <a:cubicBezTo>
                      <a:pt x="17" y="12"/>
                      <a:pt x="22" y="24"/>
                      <a:pt x="26" y="36"/>
                    </a:cubicBezTo>
                    <a:cubicBezTo>
                      <a:pt x="17" y="36"/>
                      <a:pt x="8" y="36"/>
                      <a:pt x="0" y="3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45" name="Freeform 75"/>
              <p:cNvSpPr>
                <a:spLocks/>
              </p:cNvSpPr>
              <p:nvPr/>
            </p:nvSpPr>
            <p:spPr bwMode="auto">
              <a:xfrm>
                <a:off x="11775851" y="736600"/>
                <a:ext cx="134938" cy="96838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26"/>
                  </a:cxn>
                  <a:cxn ang="0">
                    <a:pos x="0" y="13"/>
                  </a:cxn>
                  <a:cxn ang="0">
                    <a:pos x="36" y="0"/>
                  </a:cxn>
                </a:cxnLst>
                <a:rect l="0" t="0" r="r" b="b"/>
                <a:pathLst>
                  <a:path w="36" h="26">
                    <a:moveTo>
                      <a:pt x="36" y="0"/>
                    </a:moveTo>
                    <a:cubicBezTo>
                      <a:pt x="36" y="8"/>
                      <a:pt x="36" y="17"/>
                      <a:pt x="36" y="26"/>
                    </a:cubicBezTo>
                    <a:cubicBezTo>
                      <a:pt x="24" y="21"/>
                      <a:pt x="13" y="17"/>
                      <a:pt x="0" y="13"/>
                    </a:cubicBezTo>
                    <a:cubicBezTo>
                      <a:pt x="13" y="8"/>
                      <a:pt x="24" y="4"/>
                      <a:pt x="3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grpSp>
          <p:nvGrpSpPr>
            <p:cNvPr id="46" name="Gruppieren 171"/>
            <p:cNvGrpSpPr/>
            <p:nvPr/>
          </p:nvGrpSpPr>
          <p:grpSpPr>
            <a:xfrm>
              <a:off x="9138708" y="2714808"/>
              <a:ext cx="573124" cy="863676"/>
              <a:chOff x="14776226" y="346075"/>
              <a:chExt cx="569913" cy="858837"/>
            </a:xfrm>
            <a:grpFill/>
          </p:grpSpPr>
          <p:sp>
            <p:nvSpPr>
              <p:cNvPr id="47" name="Freeform 35"/>
              <p:cNvSpPr>
                <a:spLocks noEditPoints="1"/>
              </p:cNvSpPr>
              <p:nvPr/>
            </p:nvSpPr>
            <p:spPr bwMode="auto">
              <a:xfrm>
                <a:off x="14776226" y="346075"/>
                <a:ext cx="569913" cy="660400"/>
              </a:xfrm>
              <a:custGeom>
                <a:avLst/>
                <a:gdLst/>
                <a:ahLst/>
                <a:cxnLst>
                  <a:cxn ang="0">
                    <a:pos x="76" y="176"/>
                  </a:cxn>
                  <a:cxn ang="0">
                    <a:pos x="44" y="176"/>
                  </a:cxn>
                  <a:cxn ang="0">
                    <a:pos x="40" y="173"/>
                  </a:cxn>
                  <a:cxn ang="0">
                    <a:pos x="40" y="152"/>
                  </a:cxn>
                  <a:cxn ang="0">
                    <a:pos x="29" y="131"/>
                  </a:cxn>
                  <a:cxn ang="0">
                    <a:pos x="5" y="85"/>
                  </a:cxn>
                  <a:cxn ang="0">
                    <a:pos x="65" y="6"/>
                  </a:cxn>
                  <a:cxn ang="0">
                    <a:pos x="146" y="62"/>
                  </a:cxn>
                  <a:cxn ang="0">
                    <a:pos x="123" y="131"/>
                  </a:cxn>
                  <a:cxn ang="0">
                    <a:pos x="112" y="153"/>
                  </a:cxn>
                  <a:cxn ang="0">
                    <a:pos x="112" y="174"/>
                  </a:cxn>
                  <a:cxn ang="0">
                    <a:pos x="109" y="176"/>
                  </a:cxn>
                  <a:cxn ang="0">
                    <a:pos x="76" y="176"/>
                  </a:cxn>
                  <a:cxn ang="0">
                    <a:pos x="76" y="29"/>
                  </a:cxn>
                  <a:cxn ang="0">
                    <a:pos x="76" y="22"/>
                  </a:cxn>
                  <a:cxn ang="0">
                    <a:pos x="74" y="20"/>
                  </a:cxn>
                  <a:cxn ang="0">
                    <a:pos x="35" y="38"/>
                  </a:cxn>
                  <a:cxn ang="0">
                    <a:pos x="20" y="74"/>
                  </a:cxn>
                  <a:cxn ang="0">
                    <a:pos x="23" y="77"/>
                  </a:cxn>
                  <a:cxn ang="0">
                    <a:pos x="34" y="77"/>
                  </a:cxn>
                  <a:cxn ang="0">
                    <a:pos x="36" y="75"/>
                  </a:cxn>
                  <a:cxn ang="0">
                    <a:pos x="39" y="63"/>
                  </a:cxn>
                  <a:cxn ang="0">
                    <a:pos x="74" y="37"/>
                  </a:cxn>
                  <a:cxn ang="0">
                    <a:pos x="76" y="34"/>
                  </a:cxn>
                  <a:cxn ang="0">
                    <a:pos x="76" y="29"/>
                  </a:cxn>
                </a:cxnLst>
                <a:rect l="0" t="0" r="r" b="b"/>
                <a:pathLst>
                  <a:path w="152" h="176">
                    <a:moveTo>
                      <a:pt x="76" y="176"/>
                    </a:moveTo>
                    <a:cubicBezTo>
                      <a:pt x="65" y="176"/>
                      <a:pt x="54" y="176"/>
                      <a:pt x="44" y="176"/>
                    </a:cubicBezTo>
                    <a:cubicBezTo>
                      <a:pt x="40" y="176"/>
                      <a:pt x="40" y="176"/>
                      <a:pt x="40" y="173"/>
                    </a:cubicBezTo>
                    <a:cubicBezTo>
                      <a:pt x="40" y="166"/>
                      <a:pt x="40" y="159"/>
                      <a:pt x="40" y="152"/>
                    </a:cubicBezTo>
                    <a:cubicBezTo>
                      <a:pt x="39" y="144"/>
                      <a:pt x="35" y="136"/>
                      <a:pt x="29" y="131"/>
                    </a:cubicBezTo>
                    <a:cubicBezTo>
                      <a:pt x="15" y="119"/>
                      <a:pt x="7" y="103"/>
                      <a:pt x="5" y="85"/>
                    </a:cubicBezTo>
                    <a:cubicBezTo>
                      <a:pt x="0" y="47"/>
                      <a:pt x="27" y="12"/>
                      <a:pt x="65" y="6"/>
                    </a:cubicBezTo>
                    <a:cubicBezTo>
                      <a:pt x="103" y="0"/>
                      <a:pt x="139" y="25"/>
                      <a:pt x="146" y="62"/>
                    </a:cubicBezTo>
                    <a:cubicBezTo>
                      <a:pt x="152" y="89"/>
                      <a:pt x="143" y="113"/>
                      <a:pt x="123" y="131"/>
                    </a:cubicBezTo>
                    <a:cubicBezTo>
                      <a:pt x="116" y="137"/>
                      <a:pt x="113" y="145"/>
                      <a:pt x="112" y="153"/>
                    </a:cubicBezTo>
                    <a:cubicBezTo>
                      <a:pt x="112" y="160"/>
                      <a:pt x="112" y="167"/>
                      <a:pt x="112" y="174"/>
                    </a:cubicBezTo>
                    <a:cubicBezTo>
                      <a:pt x="112" y="176"/>
                      <a:pt x="111" y="176"/>
                      <a:pt x="109" y="176"/>
                    </a:cubicBezTo>
                    <a:cubicBezTo>
                      <a:pt x="98" y="176"/>
                      <a:pt x="87" y="176"/>
                      <a:pt x="76" y="176"/>
                    </a:cubicBezTo>
                    <a:close/>
                    <a:moveTo>
                      <a:pt x="76" y="29"/>
                    </a:moveTo>
                    <a:cubicBezTo>
                      <a:pt x="76" y="27"/>
                      <a:pt x="76" y="25"/>
                      <a:pt x="76" y="22"/>
                    </a:cubicBezTo>
                    <a:cubicBezTo>
                      <a:pt x="76" y="21"/>
                      <a:pt x="76" y="20"/>
                      <a:pt x="74" y="20"/>
                    </a:cubicBezTo>
                    <a:cubicBezTo>
                      <a:pt x="59" y="21"/>
                      <a:pt x="46" y="27"/>
                      <a:pt x="35" y="38"/>
                    </a:cubicBezTo>
                    <a:cubicBezTo>
                      <a:pt x="26" y="48"/>
                      <a:pt x="21" y="60"/>
                      <a:pt x="20" y="74"/>
                    </a:cubicBezTo>
                    <a:cubicBezTo>
                      <a:pt x="20" y="76"/>
                      <a:pt x="21" y="77"/>
                      <a:pt x="23" y="77"/>
                    </a:cubicBezTo>
                    <a:cubicBezTo>
                      <a:pt x="26" y="77"/>
                      <a:pt x="30" y="77"/>
                      <a:pt x="34" y="77"/>
                    </a:cubicBezTo>
                    <a:cubicBezTo>
                      <a:pt x="36" y="77"/>
                      <a:pt x="36" y="76"/>
                      <a:pt x="36" y="75"/>
                    </a:cubicBezTo>
                    <a:cubicBezTo>
                      <a:pt x="37" y="71"/>
                      <a:pt x="37" y="67"/>
                      <a:pt x="39" y="63"/>
                    </a:cubicBezTo>
                    <a:cubicBezTo>
                      <a:pt x="44" y="48"/>
                      <a:pt x="58" y="38"/>
                      <a:pt x="74" y="37"/>
                    </a:cubicBezTo>
                    <a:cubicBezTo>
                      <a:pt x="76" y="37"/>
                      <a:pt x="76" y="36"/>
                      <a:pt x="76" y="34"/>
                    </a:cubicBezTo>
                    <a:cubicBezTo>
                      <a:pt x="76" y="32"/>
                      <a:pt x="76" y="31"/>
                      <a:pt x="76" y="2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48" name="Freeform 36"/>
              <p:cNvSpPr>
                <a:spLocks/>
              </p:cNvSpPr>
              <p:nvPr/>
            </p:nvSpPr>
            <p:spPr bwMode="auto">
              <a:xfrm>
                <a:off x="14922276" y="1039812"/>
                <a:ext cx="274638" cy="165100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5" y="12"/>
                  </a:cxn>
                  <a:cxn ang="0">
                    <a:pos x="5" y="8"/>
                  </a:cxn>
                  <a:cxn ang="0">
                    <a:pos x="1" y="7"/>
                  </a:cxn>
                  <a:cxn ang="0">
                    <a:pos x="1" y="1"/>
                  </a:cxn>
                  <a:cxn ang="0">
                    <a:pos x="3" y="0"/>
                  </a:cxn>
                  <a:cxn ang="0">
                    <a:pos x="5" y="0"/>
                  </a:cxn>
                  <a:cxn ang="0">
                    <a:pos x="69" y="0"/>
                  </a:cxn>
                  <a:cxn ang="0">
                    <a:pos x="73" y="3"/>
                  </a:cxn>
                  <a:cxn ang="0">
                    <a:pos x="73" y="5"/>
                  </a:cxn>
                  <a:cxn ang="0">
                    <a:pos x="71" y="7"/>
                  </a:cxn>
                  <a:cxn ang="0">
                    <a:pos x="69" y="9"/>
                  </a:cxn>
                  <a:cxn ang="0">
                    <a:pos x="69" y="13"/>
                  </a:cxn>
                  <a:cxn ang="0">
                    <a:pos x="71" y="16"/>
                  </a:cxn>
                  <a:cxn ang="0">
                    <a:pos x="73" y="18"/>
                  </a:cxn>
                  <a:cxn ang="0">
                    <a:pos x="62" y="31"/>
                  </a:cxn>
                  <a:cxn ang="0">
                    <a:pos x="61" y="32"/>
                  </a:cxn>
                  <a:cxn ang="0">
                    <a:pos x="60" y="35"/>
                  </a:cxn>
                  <a:cxn ang="0">
                    <a:pos x="49" y="43"/>
                  </a:cxn>
                  <a:cxn ang="0">
                    <a:pos x="25" y="43"/>
                  </a:cxn>
                  <a:cxn ang="0">
                    <a:pos x="13" y="33"/>
                  </a:cxn>
                  <a:cxn ang="0">
                    <a:pos x="12" y="31"/>
                  </a:cxn>
                  <a:cxn ang="0">
                    <a:pos x="2" y="16"/>
                  </a:cxn>
                </a:cxnLst>
                <a:rect l="0" t="0" r="r" b="b"/>
                <a:pathLst>
                  <a:path w="73" h="44">
                    <a:moveTo>
                      <a:pt x="2" y="16"/>
                    </a:moveTo>
                    <a:cubicBezTo>
                      <a:pt x="5" y="16"/>
                      <a:pt x="5" y="16"/>
                      <a:pt x="5" y="12"/>
                    </a:cubicBezTo>
                    <a:cubicBezTo>
                      <a:pt x="5" y="11"/>
                      <a:pt x="5" y="9"/>
                      <a:pt x="5" y="8"/>
                    </a:cubicBezTo>
                    <a:cubicBezTo>
                      <a:pt x="4" y="8"/>
                      <a:pt x="3" y="7"/>
                      <a:pt x="1" y="7"/>
                    </a:cubicBezTo>
                    <a:cubicBezTo>
                      <a:pt x="1" y="5"/>
                      <a:pt x="1" y="3"/>
                      <a:pt x="1" y="1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26" y="0"/>
                      <a:pt x="48" y="0"/>
                      <a:pt x="69" y="0"/>
                    </a:cubicBezTo>
                    <a:cubicBezTo>
                      <a:pt x="73" y="0"/>
                      <a:pt x="73" y="0"/>
                      <a:pt x="73" y="3"/>
                    </a:cubicBezTo>
                    <a:cubicBezTo>
                      <a:pt x="73" y="4"/>
                      <a:pt x="73" y="5"/>
                      <a:pt x="73" y="5"/>
                    </a:cubicBezTo>
                    <a:cubicBezTo>
                      <a:pt x="73" y="7"/>
                      <a:pt x="72" y="8"/>
                      <a:pt x="71" y="7"/>
                    </a:cubicBezTo>
                    <a:cubicBezTo>
                      <a:pt x="69" y="7"/>
                      <a:pt x="69" y="8"/>
                      <a:pt x="69" y="9"/>
                    </a:cubicBezTo>
                    <a:cubicBezTo>
                      <a:pt x="69" y="11"/>
                      <a:pt x="69" y="12"/>
                      <a:pt x="69" y="13"/>
                    </a:cubicBezTo>
                    <a:cubicBezTo>
                      <a:pt x="69" y="15"/>
                      <a:pt x="69" y="16"/>
                      <a:pt x="71" y="16"/>
                    </a:cubicBezTo>
                    <a:cubicBezTo>
                      <a:pt x="72" y="16"/>
                      <a:pt x="73" y="17"/>
                      <a:pt x="73" y="18"/>
                    </a:cubicBezTo>
                    <a:cubicBezTo>
                      <a:pt x="73" y="25"/>
                      <a:pt x="69" y="30"/>
                      <a:pt x="62" y="31"/>
                    </a:cubicBezTo>
                    <a:cubicBezTo>
                      <a:pt x="62" y="32"/>
                      <a:pt x="61" y="32"/>
                      <a:pt x="61" y="32"/>
                    </a:cubicBezTo>
                    <a:cubicBezTo>
                      <a:pt x="61" y="33"/>
                      <a:pt x="61" y="34"/>
                      <a:pt x="60" y="35"/>
                    </a:cubicBezTo>
                    <a:cubicBezTo>
                      <a:pt x="59" y="40"/>
                      <a:pt x="54" y="43"/>
                      <a:pt x="49" y="43"/>
                    </a:cubicBezTo>
                    <a:cubicBezTo>
                      <a:pt x="41" y="44"/>
                      <a:pt x="33" y="44"/>
                      <a:pt x="25" y="43"/>
                    </a:cubicBezTo>
                    <a:cubicBezTo>
                      <a:pt x="19" y="43"/>
                      <a:pt x="14" y="39"/>
                      <a:pt x="13" y="33"/>
                    </a:cubicBezTo>
                    <a:cubicBezTo>
                      <a:pt x="13" y="32"/>
                      <a:pt x="13" y="32"/>
                      <a:pt x="12" y="31"/>
                    </a:cubicBezTo>
                    <a:cubicBezTo>
                      <a:pt x="4" y="30"/>
                      <a:pt x="0" y="24"/>
                      <a:pt x="2" y="1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grpSp>
          <p:nvGrpSpPr>
            <p:cNvPr id="49" name="Gruppieren 178"/>
            <p:cNvGrpSpPr/>
            <p:nvPr/>
          </p:nvGrpSpPr>
          <p:grpSpPr>
            <a:xfrm>
              <a:off x="8190867" y="2733964"/>
              <a:ext cx="545984" cy="844520"/>
              <a:chOff x="16232851" y="365125"/>
              <a:chExt cx="542925" cy="839788"/>
            </a:xfrm>
            <a:grpFill/>
          </p:grpSpPr>
          <p:sp>
            <p:nvSpPr>
              <p:cNvPr id="50" name="Freeform 37"/>
              <p:cNvSpPr>
                <a:spLocks noEditPoints="1"/>
              </p:cNvSpPr>
              <p:nvPr/>
            </p:nvSpPr>
            <p:spPr bwMode="auto">
              <a:xfrm>
                <a:off x="16232851" y="365125"/>
                <a:ext cx="542925" cy="839788"/>
              </a:xfrm>
              <a:custGeom>
                <a:avLst/>
                <a:gdLst/>
                <a:ahLst/>
                <a:cxnLst>
                  <a:cxn ang="0">
                    <a:pos x="124" y="6"/>
                  </a:cxn>
                  <a:cxn ang="0">
                    <a:pos x="145" y="24"/>
                  </a:cxn>
                  <a:cxn ang="0">
                    <a:pos x="139" y="42"/>
                  </a:cxn>
                  <a:cxn ang="0">
                    <a:pos x="137" y="56"/>
                  </a:cxn>
                  <a:cxn ang="0">
                    <a:pos x="142" y="62"/>
                  </a:cxn>
                  <a:cxn ang="0">
                    <a:pos x="145" y="79"/>
                  </a:cxn>
                  <a:cxn ang="0">
                    <a:pos x="137" y="93"/>
                  </a:cxn>
                  <a:cxn ang="0">
                    <a:pos x="138" y="135"/>
                  </a:cxn>
                  <a:cxn ang="0">
                    <a:pos x="145" y="153"/>
                  </a:cxn>
                  <a:cxn ang="0">
                    <a:pos x="137" y="168"/>
                  </a:cxn>
                  <a:cxn ang="0">
                    <a:pos x="141" y="183"/>
                  </a:cxn>
                  <a:cxn ang="0">
                    <a:pos x="145" y="199"/>
                  </a:cxn>
                  <a:cxn ang="0">
                    <a:pos x="119" y="218"/>
                  </a:cxn>
                  <a:cxn ang="0">
                    <a:pos x="20" y="216"/>
                  </a:cxn>
                  <a:cxn ang="0">
                    <a:pos x="1" y="200"/>
                  </a:cxn>
                  <a:cxn ang="0">
                    <a:pos x="7" y="181"/>
                  </a:cxn>
                  <a:cxn ang="0">
                    <a:pos x="9" y="168"/>
                  </a:cxn>
                  <a:cxn ang="0">
                    <a:pos x="1" y="152"/>
                  </a:cxn>
                  <a:cxn ang="0">
                    <a:pos x="7" y="135"/>
                  </a:cxn>
                  <a:cxn ang="0">
                    <a:pos x="9" y="92"/>
                  </a:cxn>
                  <a:cxn ang="0">
                    <a:pos x="1" y="77"/>
                  </a:cxn>
                  <a:cxn ang="0">
                    <a:pos x="7" y="59"/>
                  </a:cxn>
                  <a:cxn ang="0">
                    <a:pos x="9" y="51"/>
                  </a:cxn>
                  <a:cxn ang="0">
                    <a:pos x="1" y="32"/>
                  </a:cxn>
                  <a:cxn ang="0">
                    <a:pos x="5" y="14"/>
                  </a:cxn>
                  <a:cxn ang="0">
                    <a:pos x="55" y="0"/>
                  </a:cxn>
                  <a:cxn ang="0">
                    <a:pos x="73" y="68"/>
                  </a:cxn>
                  <a:cxn ang="0">
                    <a:pos x="68" y="73"/>
                  </a:cxn>
                  <a:cxn ang="0">
                    <a:pos x="37" y="140"/>
                  </a:cxn>
                  <a:cxn ang="0">
                    <a:pos x="109" y="135"/>
                  </a:cxn>
                  <a:cxn ang="0">
                    <a:pos x="78" y="74"/>
                  </a:cxn>
                  <a:cxn ang="0">
                    <a:pos x="73" y="7"/>
                  </a:cxn>
                  <a:cxn ang="0">
                    <a:pos x="39" y="10"/>
                  </a:cxn>
                  <a:cxn ang="0">
                    <a:pos x="13" y="22"/>
                  </a:cxn>
                  <a:cxn ang="0">
                    <a:pos x="33" y="32"/>
                  </a:cxn>
                  <a:cxn ang="0">
                    <a:pos x="113" y="32"/>
                  </a:cxn>
                  <a:cxn ang="0">
                    <a:pos x="128" y="16"/>
                  </a:cxn>
                  <a:cxn ang="0">
                    <a:pos x="73" y="7"/>
                  </a:cxn>
                </a:cxnLst>
                <a:rect l="0" t="0" r="r" b="b"/>
                <a:pathLst>
                  <a:path w="145" h="224">
                    <a:moveTo>
                      <a:pt x="73" y="0"/>
                    </a:moveTo>
                    <a:cubicBezTo>
                      <a:pt x="90" y="0"/>
                      <a:pt x="107" y="1"/>
                      <a:pt x="124" y="6"/>
                    </a:cubicBezTo>
                    <a:cubicBezTo>
                      <a:pt x="129" y="8"/>
                      <a:pt x="134" y="10"/>
                      <a:pt x="139" y="13"/>
                    </a:cubicBezTo>
                    <a:cubicBezTo>
                      <a:pt x="143" y="15"/>
                      <a:pt x="145" y="19"/>
                      <a:pt x="145" y="24"/>
                    </a:cubicBezTo>
                    <a:cubicBezTo>
                      <a:pt x="144" y="26"/>
                      <a:pt x="144" y="29"/>
                      <a:pt x="145" y="31"/>
                    </a:cubicBezTo>
                    <a:cubicBezTo>
                      <a:pt x="145" y="36"/>
                      <a:pt x="143" y="40"/>
                      <a:pt x="139" y="42"/>
                    </a:cubicBezTo>
                    <a:cubicBezTo>
                      <a:pt x="137" y="43"/>
                      <a:pt x="136" y="45"/>
                      <a:pt x="137" y="47"/>
                    </a:cubicBezTo>
                    <a:cubicBezTo>
                      <a:pt x="137" y="50"/>
                      <a:pt x="136" y="53"/>
                      <a:pt x="137" y="56"/>
                    </a:cubicBezTo>
                    <a:cubicBezTo>
                      <a:pt x="137" y="57"/>
                      <a:pt x="137" y="58"/>
                      <a:pt x="138" y="58"/>
                    </a:cubicBezTo>
                    <a:cubicBezTo>
                      <a:pt x="139" y="60"/>
                      <a:pt x="141" y="61"/>
                      <a:pt x="142" y="62"/>
                    </a:cubicBezTo>
                    <a:cubicBezTo>
                      <a:pt x="143" y="64"/>
                      <a:pt x="144" y="66"/>
                      <a:pt x="144" y="68"/>
                    </a:cubicBezTo>
                    <a:cubicBezTo>
                      <a:pt x="145" y="72"/>
                      <a:pt x="144" y="75"/>
                      <a:pt x="145" y="79"/>
                    </a:cubicBezTo>
                    <a:cubicBezTo>
                      <a:pt x="145" y="83"/>
                      <a:pt x="142" y="86"/>
                      <a:pt x="139" y="88"/>
                    </a:cubicBezTo>
                    <a:cubicBezTo>
                      <a:pt x="137" y="89"/>
                      <a:pt x="137" y="91"/>
                      <a:pt x="137" y="93"/>
                    </a:cubicBezTo>
                    <a:cubicBezTo>
                      <a:pt x="137" y="106"/>
                      <a:pt x="137" y="118"/>
                      <a:pt x="137" y="131"/>
                    </a:cubicBezTo>
                    <a:cubicBezTo>
                      <a:pt x="137" y="133"/>
                      <a:pt x="137" y="134"/>
                      <a:pt x="138" y="135"/>
                    </a:cubicBezTo>
                    <a:cubicBezTo>
                      <a:pt x="143" y="137"/>
                      <a:pt x="145" y="141"/>
                      <a:pt x="145" y="147"/>
                    </a:cubicBezTo>
                    <a:cubicBezTo>
                      <a:pt x="144" y="149"/>
                      <a:pt x="144" y="151"/>
                      <a:pt x="145" y="153"/>
                    </a:cubicBezTo>
                    <a:cubicBezTo>
                      <a:pt x="145" y="158"/>
                      <a:pt x="143" y="162"/>
                      <a:pt x="139" y="164"/>
                    </a:cubicBezTo>
                    <a:cubicBezTo>
                      <a:pt x="137" y="165"/>
                      <a:pt x="136" y="166"/>
                      <a:pt x="137" y="168"/>
                    </a:cubicBezTo>
                    <a:cubicBezTo>
                      <a:pt x="137" y="169"/>
                      <a:pt x="137" y="171"/>
                      <a:pt x="137" y="172"/>
                    </a:cubicBezTo>
                    <a:cubicBezTo>
                      <a:pt x="136" y="176"/>
                      <a:pt x="136" y="181"/>
                      <a:pt x="141" y="183"/>
                    </a:cubicBezTo>
                    <a:cubicBezTo>
                      <a:pt x="144" y="185"/>
                      <a:pt x="145" y="187"/>
                      <a:pt x="145" y="190"/>
                    </a:cubicBezTo>
                    <a:cubicBezTo>
                      <a:pt x="144" y="193"/>
                      <a:pt x="144" y="196"/>
                      <a:pt x="145" y="199"/>
                    </a:cubicBezTo>
                    <a:cubicBezTo>
                      <a:pt x="145" y="204"/>
                      <a:pt x="143" y="207"/>
                      <a:pt x="139" y="210"/>
                    </a:cubicBezTo>
                    <a:cubicBezTo>
                      <a:pt x="133" y="214"/>
                      <a:pt x="126" y="216"/>
                      <a:pt x="119" y="218"/>
                    </a:cubicBezTo>
                    <a:cubicBezTo>
                      <a:pt x="107" y="221"/>
                      <a:pt x="94" y="223"/>
                      <a:pt x="81" y="223"/>
                    </a:cubicBezTo>
                    <a:cubicBezTo>
                      <a:pt x="60" y="224"/>
                      <a:pt x="40" y="223"/>
                      <a:pt x="20" y="216"/>
                    </a:cubicBezTo>
                    <a:cubicBezTo>
                      <a:pt x="15" y="215"/>
                      <a:pt x="10" y="212"/>
                      <a:pt x="6" y="210"/>
                    </a:cubicBezTo>
                    <a:cubicBezTo>
                      <a:pt x="2" y="207"/>
                      <a:pt x="0" y="204"/>
                      <a:pt x="1" y="200"/>
                    </a:cubicBezTo>
                    <a:cubicBezTo>
                      <a:pt x="1" y="197"/>
                      <a:pt x="1" y="195"/>
                      <a:pt x="1" y="192"/>
                    </a:cubicBezTo>
                    <a:cubicBezTo>
                      <a:pt x="0" y="187"/>
                      <a:pt x="3" y="184"/>
                      <a:pt x="7" y="181"/>
                    </a:cubicBezTo>
                    <a:cubicBezTo>
                      <a:pt x="8" y="180"/>
                      <a:pt x="9" y="179"/>
                      <a:pt x="9" y="177"/>
                    </a:cubicBezTo>
                    <a:cubicBezTo>
                      <a:pt x="9" y="174"/>
                      <a:pt x="9" y="171"/>
                      <a:pt x="9" y="168"/>
                    </a:cubicBezTo>
                    <a:cubicBezTo>
                      <a:pt x="9" y="167"/>
                      <a:pt x="8" y="165"/>
                      <a:pt x="7" y="165"/>
                    </a:cubicBezTo>
                    <a:cubicBezTo>
                      <a:pt x="3" y="162"/>
                      <a:pt x="0" y="158"/>
                      <a:pt x="1" y="152"/>
                    </a:cubicBezTo>
                    <a:cubicBezTo>
                      <a:pt x="1" y="150"/>
                      <a:pt x="1" y="148"/>
                      <a:pt x="1" y="146"/>
                    </a:cubicBezTo>
                    <a:cubicBezTo>
                      <a:pt x="0" y="141"/>
                      <a:pt x="3" y="138"/>
                      <a:pt x="7" y="135"/>
                    </a:cubicBezTo>
                    <a:cubicBezTo>
                      <a:pt x="8" y="134"/>
                      <a:pt x="9" y="133"/>
                      <a:pt x="9" y="131"/>
                    </a:cubicBezTo>
                    <a:cubicBezTo>
                      <a:pt x="9" y="118"/>
                      <a:pt x="9" y="105"/>
                      <a:pt x="9" y="92"/>
                    </a:cubicBezTo>
                    <a:cubicBezTo>
                      <a:pt x="9" y="91"/>
                      <a:pt x="9" y="89"/>
                      <a:pt x="7" y="88"/>
                    </a:cubicBezTo>
                    <a:cubicBezTo>
                      <a:pt x="3" y="86"/>
                      <a:pt x="0" y="82"/>
                      <a:pt x="1" y="77"/>
                    </a:cubicBezTo>
                    <a:cubicBezTo>
                      <a:pt x="1" y="75"/>
                      <a:pt x="1" y="72"/>
                      <a:pt x="1" y="70"/>
                    </a:cubicBezTo>
                    <a:cubicBezTo>
                      <a:pt x="0" y="65"/>
                      <a:pt x="3" y="62"/>
                      <a:pt x="7" y="59"/>
                    </a:cubicBezTo>
                    <a:cubicBezTo>
                      <a:pt x="9" y="58"/>
                      <a:pt x="9" y="57"/>
                      <a:pt x="9" y="54"/>
                    </a:cubicBezTo>
                    <a:cubicBezTo>
                      <a:pt x="9" y="53"/>
                      <a:pt x="9" y="52"/>
                      <a:pt x="9" y="51"/>
                    </a:cubicBezTo>
                    <a:cubicBezTo>
                      <a:pt x="9" y="46"/>
                      <a:pt x="9" y="43"/>
                      <a:pt x="4" y="40"/>
                    </a:cubicBezTo>
                    <a:cubicBezTo>
                      <a:pt x="2" y="39"/>
                      <a:pt x="1" y="36"/>
                      <a:pt x="1" y="32"/>
                    </a:cubicBezTo>
                    <a:cubicBezTo>
                      <a:pt x="1" y="29"/>
                      <a:pt x="1" y="26"/>
                      <a:pt x="1" y="23"/>
                    </a:cubicBezTo>
                    <a:cubicBezTo>
                      <a:pt x="1" y="19"/>
                      <a:pt x="2" y="17"/>
                      <a:pt x="5" y="14"/>
                    </a:cubicBezTo>
                    <a:cubicBezTo>
                      <a:pt x="10" y="10"/>
                      <a:pt x="16" y="8"/>
                      <a:pt x="23" y="6"/>
                    </a:cubicBezTo>
                    <a:cubicBezTo>
                      <a:pt x="33" y="3"/>
                      <a:pt x="44" y="1"/>
                      <a:pt x="55" y="0"/>
                    </a:cubicBezTo>
                    <a:cubicBezTo>
                      <a:pt x="61" y="0"/>
                      <a:pt x="67" y="0"/>
                      <a:pt x="73" y="0"/>
                    </a:cubicBezTo>
                    <a:close/>
                    <a:moveTo>
                      <a:pt x="73" y="68"/>
                    </a:moveTo>
                    <a:cubicBezTo>
                      <a:pt x="72" y="68"/>
                      <a:pt x="72" y="68"/>
                      <a:pt x="72" y="68"/>
                    </a:cubicBezTo>
                    <a:cubicBezTo>
                      <a:pt x="71" y="70"/>
                      <a:pt x="69" y="71"/>
                      <a:pt x="68" y="73"/>
                    </a:cubicBezTo>
                    <a:cubicBezTo>
                      <a:pt x="58" y="86"/>
                      <a:pt x="48" y="99"/>
                      <a:pt x="42" y="115"/>
                    </a:cubicBezTo>
                    <a:cubicBezTo>
                      <a:pt x="38" y="123"/>
                      <a:pt x="36" y="131"/>
                      <a:pt x="37" y="140"/>
                    </a:cubicBezTo>
                    <a:cubicBezTo>
                      <a:pt x="40" y="161"/>
                      <a:pt x="60" y="174"/>
                      <a:pt x="77" y="172"/>
                    </a:cubicBezTo>
                    <a:cubicBezTo>
                      <a:pt x="95" y="169"/>
                      <a:pt x="109" y="153"/>
                      <a:pt x="109" y="135"/>
                    </a:cubicBezTo>
                    <a:cubicBezTo>
                      <a:pt x="109" y="127"/>
                      <a:pt x="106" y="120"/>
                      <a:pt x="103" y="112"/>
                    </a:cubicBezTo>
                    <a:cubicBezTo>
                      <a:pt x="96" y="98"/>
                      <a:pt x="88" y="86"/>
                      <a:pt x="78" y="74"/>
                    </a:cubicBezTo>
                    <a:cubicBezTo>
                      <a:pt x="76" y="72"/>
                      <a:pt x="75" y="70"/>
                      <a:pt x="73" y="68"/>
                    </a:cubicBezTo>
                    <a:close/>
                    <a:moveTo>
                      <a:pt x="73" y="7"/>
                    </a:moveTo>
                    <a:cubicBezTo>
                      <a:pt x="73" y="7"/>
                      <a:pt x="73" y="7"/>
                      <a:pt x="73" y="7"/>
                    </a:cubicBezTo>
                    <a:cubicBezTo>
                      <a:pt x="61" y="8"/>
                      <a:pt x="50" y="9"/>
                      <a:pt x="39" y="10"/>
                    </a:cubicBezTo>
                    <a:cubicBezTo>
                      <a:pt x="31" y="11"/>
                      <a:pt x="24" y="13"/>
                      <a:pt x="17" y="16"/>
                    </a:cubicBezTo>
                    <a:cubicBezTo>
                      <a:pt x="15" y="17"/>
                      <a:pt x="13" y="19"/>
                      <a:pt x="13" y="22"/>
                    </a:cubicBezTo>
                    <a:cubicBezTo>
                      <a:pt x="13" y="25"/>
                      <a:pt x="15" y="26"/>
                      <a:pt x="17" y="27"/>
                    </a:cubicBezTo>
                    <a:cubicBezTo>
                      <a:pt x="22" y="29"/>
                      <a:pt x="28" y="31"/>
                      <a:pt x="33" y="32"/>
                    </a:cubicBezTo>
                    <a:cubicBezTo>
                      <a:pt x="48" y="35"/>
                      <a:pt x="63" y="36"/>
                      <a:pt x="78" y="36"/>
                    </a:cubicBezTo>
                    <a:cubicBezTo>
                      <a:pt x="90" y="35"/>
                      <a:pt x="101" y="35"/>
                      <a:pt x="113" y="32"/>
                    </a:cubicBezTo>
                    <a:cubicBezTo>
                      <a:pt x="118" y="31"/>
                      <a:pt x="123" y="29"/>
                      <a:pt x="128" y="27"/>
                    </a:cubicBezTo>
                    <a:cubicBezTo>
                      <a:pt x="134" y="24"/>
                      <a:pt x="134" y="20"/>
                      <a:pt x="128" y="16"/>
                    </a:cubicBezTo>
                    <a:cubicBezTo>
                      <a:pt x="126" y="15"/>
                      <a:pt x="123" y="14"/>
                      <a:pt x="120" y="13"/>
                    </a:cubicBezTo>
                    <a:cubicBezTo>
                      <a:pt x="104" y="8"/>
                      <a:pt x="89" y="8"/>
                      <a:pt x="73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51" name="Freeform 38"/>
              <p:cNvSpPr>
                <a:spLocks/>
              </p:cNvSpPr>
              <p:nvPr/>
            </p:nvSpPr>
            <p:spPr bwMode="auto">
              <a:xfrm>
                <a:off x="16397064" y="808037"/>
                <a:ext cx="77788" cy="16033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5" y="2"/>
                  </a:cxn>
                  <a:cxn ang="0">
                    <a:pos x="21" y="37"/>
                  </a:cxn>
                  <a:cxn ang="0">
                    <a:pos x="20" y="39"/>
                  </a:cxn>
                  <a:cxn ang="0">
                    <a:pos x="18" y="43"/>
                  </a:cxn>
                  <a:cxn ang="0">
                    <a:pos x="8" y="0"/>
                  </a:cxn>
                </a:cxnLst>
                <a:rect l="0" t="0" r="r" b="b"/>
                <a:pathLst>
                  <a:path w="21" h="43">
                    <a:moveTo>
                      <a:pt x="8" y="0"/>
                    </a:moveTo>
                    <a:cubicBezTo>
                      <a:pt x="10" y="1"/>
                      <a:pt x="12" y="1"/>
                      <a:pt x="15" y="2"/>
                    </a:cubicBezTo>
                    <a:cubicBezTo>
                      <a:pt x="9" y="15"/>
                      <a:pt x="9" y="27"/>
                      <a:pt x="21" y="37"/>
                    </a:cubicBezTo>
                    <a:cubicBezTo>
                      <a:pt x="21" y="38"/>
                      <a:pt x="21" y="38"/>
                      <a:pt x="20" y="39"/>
                    </a:cubicBezTo>
                    <a:cubicBezTo>
                      <a:pt x="19" y="40"/>
                      <a:pt x="19" y="41"/>
                      <a:pt x="18" y="43"/>
                    </a:cubicBezTo>
                    <a:cubicBezTo>
                      <a:pt x="4" y="34"/>
                      <a:pt x="0" y="17"/>
                      <a:pt x="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52" name="Freeform 39"/>
              <p:cNvSpPr>
                <a:spLocks/>
              </p:cNvSpPr>
              <p:nvPr/>
            </p:nvSpPr>
            <p:spPr bwMode="auto">
              <a:xfrm>
                <a:off x="16366901" y="420687"/>
                <a:ext cx="115888" cy="349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27" y="2"/>
                  </a:cxn>
                  <a:cxn ang="0">
                    <a:pos x="31" y="5"/>
                  </a:cxn>
                  <a:cxn ang="0">
                    <a:pos x="28" y="7"/>
                  </a:cxn>
                  <a:cxn ang="0">
                    <a:pos x="9" y="8"/>
                  </a:cxn>
                  <a:cxn ang="0">
                    <a:pos x="5" y="7"/>
                  </a:cxn>
                  <a:cxn ang="0">
                    <a:pos x="0" y="5"/>
                  </a:cxn>
                  <a:cxn ang="0">
                    <a:pos x="5" y="2"/>
                  </a:cxn>
                  <a:cxn ang="0">
                    <a:pos x="16" y="0"/>
                  </a:cxn>
                </a:cxnLst>
                <a:rect l="0" t="0" r="r" b="b"/>
                <a:pathLst>
                  <a:path w="31" h="9">
                    <a:moveTo>
                      <a:pt x="16" y="0"/>
                    </a:moveTo>
                    <a:cubicBezTo>
                      <a:pt x="20" y="1"/>
                      <a:pt x="24" y="1"/>
                      <a:pt x="27" y="2"/>
                    </a:cubicBezTo>
                    <a:cubicBezTo>
                      <a:pt x="29" y="3"/>
                      <a:pt x="30" y="4"/>
                      <a:pt x="31" y="5"/>
                    </a:cubicBezTo>
                    <a:cubicBezTo>
                      <a:pt x="30" y="5"/>
                      <a:pt x="29" y="6"/>
                      <a:pt x="28" y="7"/>
                    </a:cubicBezTo>
                    <a:cubicBezTo>
                      <a:pt x="22" y="9"/>
                      <a:pt x="15" y="9"/>
                      <a:pt x="9" y="8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3" y="7"/>
                      <a:pt x="0" y="6"/>
                      <a:pt x="0" y="5"/>
                    </a:cubicBezTo>
                    <a:cubicBezTo>
                      <a:pt x="0" y="2"/>
                      <a:pt x="3" y="2"/>
                      <a:pt x="5" y="2"/>
                    </a:cubicBezTo>
                    <a:cubicBezTo>
                      <a:pt x="8" y="1"/>
                      <a:pt x="12" y="1"/>
                      <a:pt x="1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grpSp>
          <p:nvGrpSpPr>
            <p:cNvPr id="53" name="Gruppieren 198"/>
            <p:cNvGrpSpPr/>
            <p:nvPr/>
          </p:nvGrpSpPr>
          <p:grpSpPr>
            <a:xfrm>
              <a:off x="6125870" y="2763445"/>
              <a:ext cx="844520" cy="780663"/>
              <a:chOff x="17479739" y="384175"/>
              <a:chExt cx="839788" cy="776288"/>
            </a:xfrm>
            <a:grpFill/>
          </p:grpSpPr>
          <p:sp>
            <p:nvSpPr>
              <p:cNvPr id="54" name="Freeform 43"/>
              <p:cNvSpPr>
                <a:spLocks/>
              </p:cNvSpPr>
              <p:nvPr/>
            </p:nvSpPr>
            <p:spPr bwMode="auto">
              <a:xfrm>
                <a:off x="17479739" y="574675"/>
                <a:ext cx="839788" cy="585788"/>
              </a:xfrm>
              <a:custGeom>
                <a:avLst/>
                <a:gdLst/>
                <a:ahLst/>
                <a:cxnLst>
                  <a:cxn ang="0">
                    <a:pos x="120" y="0"/>
                  </a:cxn>
                  <a:cxn ang="0">
                    <a:pos x="120" y="3"/>
                  </a:cxn>
                  <a:cxn ang="0">
                    <a:pos x="120" y="136"/>
                  </a:cxn>
                  <a:cxn ang="0">
                    <a:pos x="123" y="140"/>
                  </a:cxn>
                  <a:cxn ang="0">
                    <a:pos x="133" y="140"/>
                  </a:cxn>
                  <a:cxn ang="0">
                    <a:pos x="136" y="137"/>
                  </a:cxn>
                  <a:cxn ang="0">
                    <a:pos x="136" y="132"/>
                  </a:cxn>
                  <a:cxn ang="0">
                    <a:pos x="168" y="132"/>
                  </a:cxn>
                  <a:cxn ang="0">
                    <a:pos x="168" y="138"/>
                  </a:cxn>
                  <a:cxn ang="0">
                    <a:pos x="170" y="140"/>
                  </a:cxn>
                  <a:cxn ang="0">
                    <a:pos x="182" y="140"/>
                  </a:cxn>
                  <a:cxn ang="0">
                    <a:pos x="184" y="138"/>
                  </a:cxn>
                  <a:cxn ang="0">
                    <a:pos x="184" y="136"/>
                  </a:cxn>
                  <a:cxn ang="0">
                    <a:pos x="184" y="3"/>
                  </a:cxn>
                  <a:cxn ang="0">
                    <a:pos x="184" y="0"/>
                  </a:cxn>
                  <a:cxn ang="0">
                    <a:pos x="200" y="0"/>
                  </a:cxn>
                  <a:cxn ang="0">
                    <a:pos x="200" y="3"/>
                  </a:cxn>
                  <a:cxn ang="0">
                    <a:pos x="200" y="136"/>
                  </a:cxn>
                  <a:cxn ang="0">
                    <a:pos x="203" y="140"/>
                  </a:cxn>
                  <a:cxn ang="0">
                    <a:pos x="224" y="140"/>
                  </a:cxn>
                  <a:cxn ang="0">
                    <a:pos x="224" y="155"/>
                  </a:cxn>
                  <a:cxn ang="0">
                    <a:pos x="221" y="155"/>
                  </a:cxn>
                  <a:cxn ang="0">
                    <a:pos x="3" y="156"/>
                  </a:cxn>
                  <a:cxn ang="0">
                    <a:pos x="0" y="152"/>
                  </a:cxn>
                  <a:cxn ang="0">
                    <a:pos x="0" y="143"/>
                  </a:cxn>
                  <a:cxn ang="0">
                    <a:pos x="3" y="140"/>
                  </a:cxn>
                  <a:cxn ang="0">
                    <a:pos x="21" y="140"/>
                  </a:cxn>
                  <a:cxn ang="0">
                    <a:pos x="24" y="136"/>
                  </a:cxn>
                  <a:cxn ang="0">
                    <a:pos x="24" y="5"/>
                  </a:cxn>
                  <a:cxn ang="0">
                    <a:pos x="29" y="0"/>
                  </a:cxn>
                  <a:cxn ang="0">
                    <a:pos x="117" y="0"/>
                  </a:cxn>
                  <a:cxn ang="0">
                    <a:pos x="120" y="0"/>
                  </a:cxn>
                </a:cxnLst>
                <a:rect l="0" t="0" r="r" b="b"/>
                <a:pathLst>
                  <a:path w="224" h="156">
                    <a:moveTo>
                      <a:pt x="120" y="0"/>
                    </a:moveTo>
                    <a:cubicBezTo>
                      <a:pt x="120" y="1"/>
                      <a:pt x="120" y="2"/>
                      <a:pt x="120" y="3"/>
                    </a:cubicBezTo>
                    <a:cubicBezTo>
                      <a:pt x="120" y="48"/>
                      <a:pt x="120" y="92"/>
                      <a:pt x="120" y="136"/>
                    </a:cubicBezTo>
                    <a:cubicBezTo>
                      <a:pt x="120" y="140"/>
                      <a:pt x="120" y="140"/>
                      <a:pt x="123" y="140"/>
                    </a:cubicBezTo>
                    <a:cubicBezTo>
                      <a:pt x="127" y="140"/>
                      <a:pt x="130" y="140"/>
                      <a:pt x="133" y="140"/>
                    </a:cubicBezTo>
                    <a:cubicBezTo>
                      <a:pt x="136" y="140"/>
                      <a:pt x="136" y="139"/>
                      <a:pt x="136" y="137"/>
                    </a:cubicBezTo>
                    <a:cubicBezTo>
                      <a:pt x="136" y="135"/>
                      <a:pt x="136" y="134"/>
                      <a:pt x="136" y="132"/>
                    </a:cubicBezTo>
                    <a:cubicBezTo>
                      <a:pt x="147" y="132"/>
                      <a:pt x="157" y="132"/>
                      <a:pt x="168" y="132"/>
                    </a:cubicBezTo>
                    <a:cubicBezTo>
                      <a:pt x="168" y="134"/>
                      <a:pt x="168" y="136"/>
                      <a:pt x="168" y="138"/>
                    </a:cubicBezTo>
                    <a:cubicBezTo>
                      <a:pt x="168" y="139"/>
                      <a:pt x="168" y="140"/>
                      <a:pt x="170" y="140"/>
                    </a:cubicBezTo>
                    <a:cubicBezTo>
                      <a:pt x="174" y="140"/>
                      <a:pt x="178" y="140"/>
                      <a:pt x="182" y="140"/>
                    </a:cubicBezTo>
                    <a:cubicBezTo>
                      <a:pt x="184" y="140"/>
                      <a:pt x="184" y="139"/>
                      <a:pt x="184" y="138"/>
                    </a:cubicBezTo>
                    <a:cubicBezTo>
                      <a:pt x="184" y="137"/>
                      <a:pt x="184" y="136"/>
                      <a:pt x="184" y="136"/>
                    </a:cubicBezTo>
                    <a:cubicBezTo>
                      <a:pt x="184" y="92"/>
                      <a:pt x="184" y="47"/>
                      <a:pt x="184" y="3"/>
                    </a:cubicBezTo>
                    <a:cubicBezTo>
                      <a:pt x="184" y="2"/>
                      <a:pt x="184" y="1"/>
                      <a:pt x="184" y="0"/>
                    </a:cubicBezTo>
                    <a:cubicBezTo>
                      <a:pt x="189" y="0"/>
                      <a:pt x="194" y="0"/>
                      <a:pt x="200" y="0"/>
                    </a:cubicBezTo>
                    <a:cubicBezTo>
                      <a:pt x="200" y="1"/>
                      <a:pt x="200" y="2"/>
                      <a:pt x="200" y="3"/>
                    </a:cubicBezTo>
                    <a:cubicBezTo>
                      <a:pt x="200" y="47"/>
                      <a:pt x="200" y="92"/>
                      <a:pt x="200" y="136"/>
                    </a:cubicBezTo>
                    <a:cubicBezTo>
                      <a:pt x="200" y="140"/>
                      <a:pt x="200" y="140"/>
                      <a:pt x="203" y="140"/>
                    </a:cubicBezTo>
                    <a:cubicBezTo>
                      <a:pt x="210" y="140"/>
                      <a:pt x="217" y="140"/>
                      <a:pt x="224" y="140"/>
                    </a:cubicBezTo>
                    <a:cubicBezTo>
                      <a:pt x="224" y="145"/>
                      <a:pt x="224" y="150"/>
                      <a:pt x="224" y="155"/>
                    </a:cubicBezTo>
                    <a:cubicBezTo>
                      <a:pt x="223" y="155"/>
                      <a:pt x="222" y="155"/>
                      <a:pt x="221" y="155"/>
                    </a:cubicBezTo>
                    <a:cubicBezTo>
                      <a:pt x="148" y="155"/>
                      <a:pt x="76" y="155"/>
                      <a:pt x="3" y="156"/>
                    </a:cubicBezTo>
                    <a:cubicBezTo>
                      <a:pt x="1" y="156"/>
                      <a:pt x="0" y="155"/>
                      <a:pt x="0" y="152"/>
                    </a:cubicBezTo>
                    <a:cubicBezTo>
                      <a:pt x="0" y="149"/>
                      <a:pt x="0" y="146"/>
                      <a:pt x="0" y="143"/>
                    </a:cubicBezTo>
                    <a:cubicBezTo>
                      <a:pt x="0" y="140"/>
                      <a:pt x="1" y="140"/>
                      <a:pt x="3" y="140"/>
                    </a:cubicBezTo>
                    <a:cubicBezTo>
                      <a:pt x="9" y="140"/>
                      <a:pt x="15" y="140"/>
                      <a:pt x="21" y="140"/>
                    </a:cubicBezTo>
                    <a:cubicBezTo>
                      <a:pt x="24" y="140"/>
                      <a:pt x="24" y="140"/>
                      <a:pt x="24" y="136"/>
                    </a:cubicBezTo>
                    <a:cubicBezTo>
                      <a:pt x="24" y="93"/>
                      <a:pt x="24" y="49"/>
                      <a:pt x="24" y="5"/>
                    </a:cubicBezTo>
                    <a:cubicBezTo>
                      <a:pt x="24" y="0"/>
                      <a:pt x="24" y="0"/>
                      <a:pt x="29" y="0"/>
                    </a:cubicBezTo>
                    <a:cubicBezTo>
                      <a:pt x="58" y="0"/>
                      <a:pt x="87" y="0"/>
                      <a:pt x="117" y="0"/>
                    </a:cubicBezTo>
                    <a:cubicBezTo>
                      <a:pt x="118" y="0"/>
                      <a:pt x="118" y="0"/>
                      <a:pt x="12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55" name="Freeform 44"/>
              <p:cNvSpPr>
                <a:spLocks/>
              </p:cNvSpPr>
              <p:nvPr/>
            </p:nvSpPr>
            <p:spPr bwMode="auto">
              <a:xfrm>
                <a:off x="17625789" y="384175"/>
                <a:ext cx="547688" cy="142875"/>
              </a:xfrm>
              <a:custGeom>
                <a:avLst/>
                <a:gdLst/>
                <a:ahLst/>
                <a:cxnLst>
                  <a:cxn ang="0">
                    <a:pos x="146" y="38"/>
                  </a:cxn>
                  <a:cxn ang="0">
                    <a:pos x="0" y="38"/>
                  </a:cxn>
                  <a:cxn ang="0">
                    <a:pos x="146" y="38"/>
                  </a:cxn>
                </a:cxnLst>
                <a:rect l="0" t="0" r="r" b="b"/>
                <a:pathLst>
                  <a:path w="146" h="38">
                    <a:moveTo>
                      <a:pt x="146" y="38"/>
                    </a:moveTo>
                    <a:cubicBezTo>
                      <a:pt x="97" y="38"/>
                      <a:pt x="49" y="38"/>
                      <a:pt x="0" y="38"/>
                    </a:cubicBezTo>
                    <a:cubicBezTo>
                      <a:pt x="37" y="3"/>
                      <a:pt x="103" y="0"/>
                      <a:pt x="146" y="3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56" name="Freeform 45"/>
              <p:cNvSpPr>
                <a:spLocks/>
              </p:cNvSpPr>
              <p:nvPr/>
            </p:nvSpPr>
            <p:spPr bwMode="auto">
              <a:xfrm>
                <a:off x="17990914" y="650875"/>
                <a:ext cx="119063" cy="55563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15"/>
                  </a:cxn>
                  <a:cxn ang="0">
                    <a:pos x="0" y="15"/>
                  </a:cxn>
                  <a:cxn ang="0">
                    <a:pos x="0" y="0"/>
                  </a:cxn>
                  <a:cxn ang="0">
                    <a:pos x="32" y="0"/>
                  </a:cxn>
                </a:cxnLst>
                <a:rect l="0" t="0" r="r" b="b"/>
                <a:pathLst>
                  <a:path w="32" h="15">
                    <a:moveTo>
                      <a:pt x="32" y="0"/>
                    </a:moveTo>
                    <a:cubicBezTo>
                      <a:pt x="32" y="5"/>
                      <a:pt x="32" y="10"/>
                      <a:pt x="32" y="15"/>
                    </a:cubicBezTo>
                    <a:cubicBezTo>
                      <a:pt x="21" y="15"/>
                      <a:pt x="11" y="15"/>
                      <a:pt x="0" y="15"/>
                    </a:cubicBezTo>
                    <a:cubicBezTo>
                      <a:pt x="0" y="10"/>
                      <a:pt x="0" y="5"/>
                      <a:pt x="0" y="0"/>
                    </a:cubicBezTo>
                    <a:cubicBezTo>
                      <a:pt x="11" y="0"/>
                      <a:pt x="21" y="0"/>
                      <a:pt x="3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57" name="Freeform 46"/>
              <p:cNvSpPr>
                <a:spLocks/>
              </p:cNvSpPr>
              <p:nvPr/>
            </p:nvSpPr>
            <p:spPr bwMode="auto">
              <a:xfrm>
                <a:off x="17990914" y="755650"/>
                <a:ext cx="119063" cy="55563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15"/>
                  </a:cxn>
                  <a:cxn ang="0">
                    <a:pos x="0" y="15"/>
                  </a:cxn>
                  <a:cxn ang="0">
                    <a:pos x="0" y="0"/>
                  </a:cxn>
                  <a:cxn ang="0">
                    <a:pos x="32" y="0"/>
                  </a:cxn>
                </a:cxnLst>
                <a:rect l="0" t="0" r="r" b="b"/>
                <a:pathLst>
                  <a:path w="32" h="15">
                    <a:moveTo>
                      <a:pt x="32" y="0"/>
                    </a:moveTo>
                    <a:cubicBezTo>
                      <a:pt x="32" y="5"/>
                      <a:pt x="32" y="10"/>
                      <a:pt x="32" y="15"/>
                    </a:cubicBezTo>
                    <a:cubicBezTo>
                      <a:pt x="21" y="15"/>
                      <a:pt x="11" y="15"/>
                      <a:pt x="0" y="15"/>
                    </a:cubicBezTo>
                    <a:cubicBezTo>
                      <a:pt x="0" y="10"/>
                      <a:pt x="0" y="5"/>
                      <a:pt x="0" y="0"/>
                    </a:cubicBezTo>
                    <a:cubicBezTo>
                      <a:pt x="11" y="0"/>
                      <a:pt x="21" y="0"/>
                      <a:pt x="3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58" name="Freeform 47"/>
              <p:cNvSpPr>
                <a:spLocks/>
              </p:cNvSpPr>
              <p:nvPr/>
            </p:nvSpPr>
            <p:spPr bwMode="auto">
              <a:xfrm>
                <a:off x="17990914" y="965200"/>
                <a:ext cx="119063" cy="55563"/>
              </a:xfrm>
              <a:custGeom>
                <a:avLst/>
                <a:gdLst/>
                <a:ahLst/>
                <a:cxnLst>
                  <a:cxn ang="0">
                    <a:pos x="32" y="15"/>
                  </a:cxn>
                  <a:cxn ang="0">
                    <a:pos x="0" y="15"/>
                  </a:cxn>
                  <a:cxn ang="0">
                    <a:pos x="0" y="0"/>
                  </a:cxn>
                  <a:cxn ang="0">
                    <a:pos x="32" y="0"/>
                  </a:cxn>
                  <a:cxn ang="0">
                    <a:pos x="32" y="15"/>
                  </a:cxn>
                </a:cxnLst>
                <a:rect l="0" t="0" r="r" b="b"/>
                <a:pathLst>
                  <a:path w="32" h="15">
                    <a:moveTo>
                      <a:pt x="32" y="15"/>
                    </a:moveTo>
                    <a:cubicBezTo>
                      <a:pt x="21" y="15"/>
                      <a:pt x="11" y="15"/>
                      <a:pt x="0" y="15"/>
                    </a:cubicBezTo>
                    <a:cubicBezTo>
                      <a:pt x="0" y="10"/>
                      <a:pt x="0" y="5"/>
                      <a:pt x="0" y="0"/>
                    </a:cubicBezTo>
                    <a:cubicBezTo>
                      <a:pt x="11" y="0"/>
                      <a:pt x="21" y="0"/>
                      <a:pt x="32" y="0"/>
                    </a:cubicBezTo>
                    <a:cubicBezTo>
                      <a:pt x="32" y="5"/>
                      <a:pt x="32" y="10"/>
                      <a:pt x="32" y="1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59" name="Freeform 48"/>
              <p:cNvSpPr>
                <a:spLocks/>
              </p:cNvSpPr>
              <p:nvPr/>
            </p:nvSpPr>
            <p:spPr bwMode="auto">
              <a:xfrm>
                <a:off x="17990914" y="860425"/>
                <a:ext cx="119063" cy="55563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30" y="0"/>
                  </a:cxn>
                  <a:cxn ang="0">
                    <a:pos x="32" y="2"/>
                  </a:cxn>
                  <a:cxn ang="0">
                    <a:pos x="32" y="13"/>
                  </a:cxn>
                  <a:cxn ang="0">
                    <a:pos x="30" y="15"/>
                  </a:cxn>
                  <a:cxn ang="0">
                    <a:pos x="2" y="15"/>
                  </a:cxn>
                  <a:cxn ang="0">
                    <a:pos x="0" y="13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15">
                    <a:moveTo>
                      <a:pt x="16" y="0"/>
                    </a:moveTo>
                    <a:cubicBezTo>
                      <a:pt x="21" y="0"/>
                      <a:pt x="25" y="0"/>
                      <a:pt x="30" y="0"/>
                    </a:cubicBezTo>
                    <a:cubicBezTo>
                      <a:pt x="31" y="0"/>
                      <a:pt x="32" y="0"/>
                      <a:pt x="32" y="2"/>
                    </a:cubicBezTo>
                    <a:cubicBezTo>
                      <a:pt x="32" y="6"/>
                      <a:pt x="32" y="9"/>
                      <a:pt x="32" y="13"/>
                    </a:cubicBezTo>
                    <a:cubicBezTo>
                      <a:pt x="32" y="15"/>
                      <a:pt x="31" y="15"/>
                      <a:pt x="30" y="15"/>
                    </a:cubicBezTo>
                    <a:cubicBezTo>
                      <a:pt x="21" y="15"/>
                      <a:pt x="11" y="15"/>
                      <a:pt x="2" y="15"/>
                    </a:cubicBezTo>
                    <a:cubicBezTo>
                      <a:pt x="1" y="15"/>
                      <a:pt x="0" y="15"/>
                      <a:pt x="0" y="13"/>
                    </a:cubicBezTo>
                    <a:cubicBezTo>
                      <a:pt x="0" y="10"/>
                      <a:pt x="0" y="6"/>
                      <a:pt x="0" y="2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7" y="0"/>
                      <a:pt x="11" y="0"/>
                      <a:pt x="1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60" name="Freeform 49"/>
              <p:cNvSpPr>
                <a:spLocks/>
              </p:cNvSpPr>
              <p:nvPr/>
            </p:nvSpPr>
            <p:spPr bwMode="auto">
              <a:xfrm>
                <a:off x="17990914" y="574675"/>
                <a:ext cx="119063" cy="269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0"/>
                  </a:cxn>
                  <a:cxn ang="0">
                    <a:pos x="32" y="6"/>
                  </a:cxn>
                  <a:cxn ang="0">
                    <a:pos x="30" y="7"/>
                  </a:cxn>
                  <a:cxn ang="0">
                    <a:pos x="2" y="7"/>
                  </a:cxn>
                  <a:cxn ang="0">
                    <a:pos x="0" y="6"/>
                  </a:cxn>
                  <a:cxn ang="0">
                    <a:pos x="0" y="0"/>
                  </a:cxn>
                </a:cxnLst>
                <a:rect l="0" t="0" r="r" b="b"/>
                <a:pathLst>
                  <a:path w="32" h="7">
                    <a:moveTo>
                      <a:pt x="0" y="0"/>
                    </a:moveTo>
                    <a:cubicBezTo>
                      <a:pt x="11" y="0"/>
                      <a:pt x="21" y="0"/>
                      <a:pt x="32" y="0"/>
                    </a:cubicBezTo>
                    <a:cubicBezTo>
                      <a:pt x="32" y="2"/>
                      <a:pt x="32" y="4"/>
                      <a:pt x="32" y="6"/>
                    </a:cubicBezTo>
                    <a:cubicBezTo>
                      <a:pt x="32" y="6"/>
                      <a:pt x="31" y="7"/>
                      <a:pt x="30" y="7"/>
                    </a:cubicBezTo>
                    <a:cubicBezTo>
                      <a:pt x="21" y="7"/>
                      <a:pt x="11" y="7"/>
                      <a:pt x="2" y="7"/>
                    </a:cubicBezTo>
                    <a:cubicBezTo>
                      <a:pt x="1" y="7"/>
                      <a:pt x="0" y="7"/>
                      <a:pt x="0" y="6"/>
                    </a:cubicBezTo>
                    <a:cubicBezTo>
                      <a:pt x="0" y="4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grpSp>
          <p:nvGrpSpPr>
            <p:cNvPr id="61" name="Gruppieren 245"/>
            <p:cNvGrpSpPr/>
            <p:nvPr/>
          </p:nvGrpSpPr>
          <p:grpSpPr>
            <a:xfrm>
              <a:off x="5358303" y="3981782"/>
              <a:ext cx="482127" cy="846116"/>
              <a:chOff x="17660714" y="3060700"/>
              <a:chExt cx="479425" cy="841375"/>
            </a:xfrm>
            <a:grpFill/>
          </p:grpSpPr>
          <p:sp>
            <p:nvSpPr>
              <p:cNvPr id="62" name="Freeform 23"/>
              <p:cNvSpPr>
                <a:spLocks noEditPoints="1"/>
              </p:cNvSpPr>
              <p:nvPr/>
            </p:nvSpPr>
            <p:spPr bwMode="auto">
              <a:xfrm>
                <a:off x="17660714" y="3255962"/>
                <a:ext cx="479425" cy="646113"/>
              </a:xfrm>
              <a:custGeom>
                <a:avLst/>
                <a:gdLst/>
                <a:ahLst/>
                <a:cxnLst>
                  <a:cxn ang="0">
                    <a:pos x="128" y="0"/>
                  </a:cxn>
                  <a:cxn ang="0">
                    <a:pos x="128" y="3"/>
                  </a:cxn>
                  <a:cxn ang="0">
                    <a:pos x="128" y="155"/>
                  </a:cxn>
                  <a:cxn ang="0">
                    <a:pos x="111" y="172"/>
                  </a:cxn>
                  <a:cxn ang="0">
                    <a:pos x="17" y="172"/>
                  </a:cxn>
                  <a:cxn ang="0">
                    <a:pos x="0" y="155"/>
                  </a:cxn>
                  <a:cxn ang="0">
                    <a:pos x="0" y="3"/>
                  </a:cxn>
                  <a:cxn ang="0">
                    <a:pos x="3" y="0"/>
                  </a:cxn>
                  <a:cxn ang="0">
                    <a:pos x="125" y="0"/>
                  </a:cxn>
                  <a:cxn ang="0">
                    <a:pos x="128" y="0"/>
                  </a:cxn>
                  <a:cxn ang="0">
                    <a:pos x="20" y="12"/>
                  </a:cxn>
                  <a:cxn ang="0">
                    <a:pos x="20" y="15"/>
                  </a:cxn>
                  <a:cxn ang="0">
                    <a:pos x="20" y="153"/>
                  </a:cxn>
                  <a:cxn ang="0">
                    <a:pos x="20" y="154"/>
                  </a:cxn>
                  <a:cxn ang="0">
                    <a:pos x="21" y="156"/>
                  </a:cxn>
                  <a:cxn ang="0">
                    <a:pos x="34" y="156"/>
                  </a:cxn>
                  <a:cxn ang="0">
                    <a:pos x="36" y="154"/>
                  </a:cxn>
                  <a:cxn ang="0">
                    <a:pos x="36" y="152"/>
                  </a:cxn>
                  <a:cxn ang="0">
                    <a:pos x="36" y="17"/>
                  </a:cxn>
                  <a:cxn ang="0">
                    <a:pos x="31" y="12"/>
                  </a:cxn>
                  <a:cxn ang="0">
                    <a:pos x="20" y="12"/>
                  </a:cxn>
                  <a:cxn ang="0">
                    <a:pos x="56" y="12"/>
                  </a:cxn>
                  <a:cxn ang="0">
                    <a:pos x="56" y="15"/>
                  </a:cxn>
                  <a:cxn ang="0">
                    <a:pos x="56" y="153"/>
                  </a:cxn>
                  <a:cxn ang="0">
                    <a:pos x="56" y="154"/>
                  </a:cxn>
                  <a:cxn ang="0">
                    <a:pos x="58" y="156"/>
                  </a:cxn>
                  <a:cxn ang="0">
                    <a:pos x="70" y="156"/>
                  </a:cxn>
                  <a:cxn ang="0">
                    <a:pos x="72" y="154"/>
                  </a:cxn>
                  <a:cxn ang="0">
                    <a:pos x="72" y="152"/>
                  </a:cxn>
                  <a:cxn ang="0">
                    <a:pos x="72" y="15"/>
                  </a:cxn>
                  <a:cxn ang="0">
                    <a:pos x="72" y="13"/>
                  </a:cxn>
                  <a:cxn ang="0">
                    <a:pos x="71" y="12"/>
                  </a:cxn>
                  <a:cxn ang="0">
                    <a:pos x="56" y="12"/>
                  </a:cxn>
                  <a:cxn ang="0">
                    <a:pos x="92" y="12"/>
                  </a:cxn>
                  <a:cxn ang="0">
                    <a:pos x="92" y="15"/>
                  </a:cxn>
                  <a:cxn ang="0">
                    <a:pos x="92" y="145"/>
                  </a:cxn>
                  <a:cxn ang="0">
                    <a:pos x="92" y="153"/>
                  </a:cxn>
                  <a:cxn ang="0">
                    <a:pos x="95" y="156"/>
                  </a:cxn>
                  <a:cxn ang="0">
                    <a:pos x="104" y="156"/>
                  </a:cxn>
                  <a:cxn ang="0">
                    <a:pos x="108" y="152"/>
                  </a:cxn>
                  <a:cxn ang="0">
                    <a:pos x="108" y="16"/>
                  </a:cxn>
                  <a:cxn ang="0">
                    <a:pos x="104" y="12"/>
                  </a:cxn>
                  <a:cxn ang="0">
                    <a:pos x="92" y="12"/>
                  </a:cxn>
                </a:cxnLst>
                <a:rect l="0" t="0" r="r" b="b"/>
                <a:pathLst>
                  <a:path w="128" h="172">
                    <a:moveTo>
                      <a:pt x="128" y="0"/>
                    </a:moveTo>
                    <a:cubicBezTo>
                      <a:pt x="128" y="1"/>
                      <a:pt x="128" y="2"/>
                      <a:pt x="128" y="3"/>
                    </a:cubicBezTo>
                    <a:cubicBezTo>
                      <a:pt x="128" y="54"/>
                      <a:pt x="128" y="104"/>
                      <a:pt x="128" y="155"/>
                    </a:cubicBezTo>
                    <a:cubicBezTo>
                      <a:pt x="128" y="165"/>
                      <a:pt x="121" y="172"/>
                      <a:pt x="111" y="172"/>
                    </a:cubicBezTo>
                    <a:cubicBezTo>
                      <a:pt x="80" y="172"/>
                      <a:pt x="48" y="172"/>
                      <a:pt x="17" y="172"/>
                    </a:cubicBezTo>
                    <a:cubicBezTo>
                      <a:pt x="7" y="172"/>
                      <a:pt x="0" y="165"/>
                      <a:pt x="0" y="155"/>
                    </a:cubicBezTo>
                    <a:cubicBezTo>
                      <a:pt x="0" y="105"/>
                      <a:pt x="0" y="54"/>
                      <a:pt x="0" y="3"/>
                    </a:cubicBezTo>
                    <a:cubicBezTo>
                      <a:pt x="0" y="0"/>
                      <a:pt x="0" y="0"/>
                      <a:pt x="3" y="0"/>
                    </a:cubicBezTo>
                    <a:cubicBezTo>
                      <a:pt x="44" y="0"/>
                      <a:pt x="84" y="0"/>
                      <a:pt x="125" y="0"/>
                    </a:cubicBezTo>
                    <a:cubicBezTo>
                      <a:pt x="126" y="0"/>
                      <a:pt x="127" y="0"/>
                      <a:pt x="128" y="0"/>
                    </a:cubicBezTo>
                    <a:close/>
                    <a:moveTo>
                      <a:pt x="20" y="12"/>
                    </a:moveTo>
                    <a:cubicBezTo>
                      <a:pt x="20" y="13"/>
                      <a:pt x="20" y="14"/>
                      <a:pt x="20" y="15"/>
                    </a:cubicBezTo>
                    <a:cubicBezTo>
                      <a:pt x="20" y="61"/>
                      <a:pt x="20" y="107"/>
                      <a:pt x="20" y="153"/>
                    </a:cubicBezTo>
                    <a:cubicBezTo>
                      <a:pt x="20" y="153"/>
                      <a:pt x="20" y="154"/>
                      <a:pt x="20" y="154"/>
                    </a:cubicBezTo>
                    <a:cubicBezTo>
                      <a:pt x="20" y="155"/>
                      <a:pt x="20" y="156"/>
                      <a:pt x="21" y="156"/>
                    </a:cubicBezTo>
                    <a:cubicBezTo>
                      <a:pt x="26" y="156"/>
                      <a:pt x="30" y="156"/>
                      <a:pt x="34" y="156"/>
                    </a:cubicBezTo>
                    <a:cubicBezTo>
                      <a:pt x="35" y="156"/>
                      <a:pt x="36" y="155"/>
                      <a:pt x="36" y="154"/>
                    </a:cubicBezTo>
                    <a:cubicBezTo>
                      <a:pt x="36" y="153"/>
                      <a:pt x="36" y="153"/>
                      <a:pt x="36" y="152"/>
                    </a:cubicBezTo>
                    <a:cubicBezTo>
                      <a:pt x="36" y="107"/>
                      <a:pt x="36" y="62"/>
                      <a:pt x="36" y="17"/>
                    </a:cubicBezTo>
                    <a:cubicBezTo>
                      <a:pt x="36" y="12"/>
                      <a:pt x="36" y="12"/>
                      <a:pt x="31" y="12"/>
                    </a:cubicBezTo>
                    <a:cubicBezTo>
                      <a:pt x="27" y="12"/>
                      <a:pt x="24" y="12"/>
                      <a:pt x="20" y="12"/>
                    </a:cubicBezTo>
                    <a:close/>
                    <a:moveTo>
                      <a:pt x="56" y="12"/>
                    </a:moveTo>
                    <a:cubicBezTo>
                      <a:pt x="56" y="13"/>
                      <a:pt x="56" y="14"/>
                      <a:pt x="56" y="15"/>
                    </a:cubicBezTo>
                    <a:cubicBezTo>
                      <a:pt x="56" y="61"/>
                      <a:pt x="56" y="107"/>
                      <a:pt x="56" y="153"/>
                    </a:cubicBezTo>
                    <a:cubicBezTo>
                      <a:pt x="56" y="153"/>
                      <a:pt x="56" y="154"/>
                      <a:pt x="56" y="154"/>
                    </a:cubicBezTo>
                    <a:cubicBezTo>
                      <a:pt x="56" y="155"/>
                      <a:pt x="56" y="156"/>
                      <a:pt x="58" y="156"/>
                    </a:cubicBezTo>
                    <a:cubicBezTo>
                      <a:pt x="62" y="156"/>
                      <a:pt x="66" y="156"/>
                      <a:pt x="70" y="156"/>
                    </a:cubicBezTo>
                    <a:cubicBezTo>
                      <a:pt x="72" y="156"/>
                      <a:pt x="72" y="155"/>
                      <a:pt x="72" y="154"/>
                    </a:cubicBezTo>
                    <a:cubicBezTo>
                      <a:pt x="72" y="153"/>
                      <a:pt x="72" y="153"/>
                      <a:pt x="72" y="152"/>
                    </a:cubicBezTo>
                    <a:cubicBezTo>
                      <a:pt x="72" y="106"/>
                      <a:pt x="72" y="61"/>
                      <a:pt x="72" y="15"/>
                    </a:cubicBezTo>
                    <a:cubicBezTo>
                      <a:pt x="72" y="15"/>
                      <a:pt x="72" y="14"/>
                      <a:pt x="72" y="13"/>
                    </a:cubicBezTo>
                    <a:cubicBezTo>
                      <a:pt x="72" y="12"/>
                      <a:pt x="71" y="12"/>
                      <a:pt x="71" y="12"/>
                    </a:cubicBezTo>
                    <a:cubicBezTo>
                      <a:pt x="66" y="12"/>
                      <a:pt x="61" y="12"/>
                      <a:pt x="56" y="12"/>
                    </a:cubicBezTo>
                    <a:close/>
                    <a:moveTo>
                      <a:pt x="92" y="12"/>
                    </a:moveTo>
                    <a:cubicBezTo>
                      <a:pt x="92" y="13"/>
                      <a:pt x="92" y="14"/>
                      <a:pt x="92" y="15"/>
                    </a:cubicBezTo>
                    <a:cubicBezTo>
                      <a:pt x="92" y="58"/>
                      <a:pt x="92" y="102"/>
                      <a:pt x="92" y="145"/>
                    </a:cubicBezTo>
                    <a:cubicBezTo>
                      <a:pt x="92" y="147"/>
                      <a:pt x="92" y="150"/>
                      <a:pt x="92" y="153"/>
                    </a:cubicBezTo>
                    <a:cubicBezTo>
                      <a:pt x="92" y="156"/>
                      <a:pt x="92" y="156"/>
                      <a:pt x="95" y="156"/>
                    </a:cubicBezTo>
                    <a:cubicBezTo>
                      <a:pt x="98" y="156"/>
                      <a:pt x="101" y="156"/>
                      <a:pt x="104" y="156"/>
                    </a:cubicBezTo>
                    <a:cubicBezTo>
                      <a:pt x="108" y="156"/>
                      <a:pt x="108" y="156"/>
                      <a:pt x="108" y="152"/>
                    </a:cubicBezTo>
                    <a:cubicBezTo>
                      <a:pt x="108" y="107"/>
                      <a:pt x="108" y="61"/>
                      <a:pt x="108" y="16"/>
                    </a:cubicBezTo>
                    <a:cubicBezTo>
                      <a:pt x="108" y="11"/>
                      <a:pt x="109" y="12"/>
                      <a:pt x="104" y="12"/>
                    </a:cubicBezTo>
                    <a:cubicBezTo>
                      <a:pt x="100" y="12"/>
                      <a:pt x="96" y="12"/>
                      <a:pt x="92" y="1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63" name="Freeform 24"/>
              <p:cNvSpPr>
                <a:spLocks noEditPoints="1"/>
              </p:cNvSpPr>
              <p:nvPr/>
            </p:nvSpPr>
            <p:spPr bwMode="auto">
              <a:xfrm>
                <a:off x="17660714" y="3060700"/>
                <a:ext cx="479425" cy="165100"/>
              </a:xfrm>
              <a:custGeom>
                <a:avLst/>
                <a:gdLst/>
                <a:ahLst/>
                <a:cxnLst>
                  <a:cxn ang="0">
                    <a:pos x="128" y="44"/>
                  </a:cxn>
                  <a:cxn ang="0">
                    <a:pos x="125" y="44"/>
                  </a:cxn>
                  <a:cxn ang="0">
                    <a:pos x="3" y="44"/>
                  </a:cxn>
                  <a:cxn ang="0">
                    <a:pos x="0" y="41"/>
                  </a:cxn>
                  <a:cxn ang="0">
                    <a:pos x="0" y="32"/>
                  </a:cxn>
                  <a:cxn ang="0">
                    <a:pos x="16" y="16"/>
                  </a:cxn>
                  <a:cxn ang="0">
                    <a:pos x="38" y="16"/>
                  </a:cxn>
                  <a:cxn ang="0">
                    <a:pos x="40" y="13"/>
                  </a:cxn>
                  <a:cxn ang="0">
                    <a:pos x="40" y="7"/>
                  </a:cxn>
                  <a:cxn ang="0">
                    <a:pos x="47" y="0"/>
                  </a:cxn>
                  <a:cxn ang="0">
                    <a:pos x="81" y="0"/>
                  </a:cxn>
                  <a:cxn ang="0">
                    <a:pos x="88" y="7"/>
                  </a:cxn>
                  <a:cxn ang="0">
                    <a:pos x="88" y="13"/>
                  </a:cxn>
                  <a:cxn ang="0">
                    <a:pos x="91" y="16"/>
                  </a:cxn>
                  <a:cxn ang="0">
                    <a:pos x="111" y="16"/>
                  </a:cxn>
                  <a:cxn ang="0">
                    <a:pos x="128" y="32"/>
                  </a:cxn>
                  <a:cxn ang="0">
                    <a:pos x="128" y="44"/>
                  </a:cxn>
                  <a:cxn ang="0">
                    <a:pos x="80" y="8"/>
                  </a:cxn>
                  <a:cxn ang="0">
                    <a:pos x="54" y="8"/>
                  </a:cxn>
                  <a:cxn ang="0">
                    <a:pos x="48" y="14"/>
                  </a:cxn>
                  <a:cxn ang="0">
                    <a:pos x="48" y="14"/>
                  </a:cxn>
                  <a:cxn ang="0">
                    <a:pos x="50" y="16"/>
                  </a:cxn>
                  <a:cxn ang="0">
                    <a:pos x="55" y="16"/>
                  </a:cxn>
                  <a:cxn ang="0">
                    <a:pos x="78" y="16"/>
                  </a:cxn>
                  <a:cxn ang="0">
                    <a:pos x="80" y="15"/>
                  </a:cxn>
                  <a:cxn ang="0">
                    <a:pos x="80" y="8"/>
                  </a:cxn>
                </a:cxnLst>
                <a:rect l="0" t="0" r="r" b="b"/>
                <a:pathLst>
                  <a:path w="128" h="44">
                    <a:moveTo>
                      <a:pt x="128" y="44"/>
                    </a:moveTo>
                    <a:cubicBezTo>
                      <a:pt x="127" y="44"/>
                      <a:pt x="126" y="44"/>
                      <a:pt x="125" y="44"/>
                    </a:cubicBezTo>
                    <a:cubicBezTo>
                      <a:pt x="84" y="44"/>
                      <a:pt x="44" y="44"/>
                      <a:pt x="3" y="44"/>
                    </a:cubicBezTo>
                    <a:cubicBezTo>
                      <a:pt x="1" y="44"/>
                      <a:pt x="0" y="43"/>
                      <a:pt x="0" y="41"/>
                    </a:cubicBezTo>
                    <a:cubicBezTo>
                      <a:pt x="0" y="38"/>
                      <a:pt x="0" y="35"/>
                      <a:pt x="0" y="32"/>
                    </a:cubicBezTo>
                    <a:cubicBezTo>
                      <a:pt x="0" y="23"/>
                      <a:pt x="7" y="16"/>
                      <a:pt x="16" y="16"/>
                    </a:cubicBezTo>
                    <a:cubicBezTo>
                      <a:pt x="23" y="16"/>
                      <a:pt x="30" y="16"/>
                      <a:pt x="38" y="16"/>
                    </a:cubicBezTo>
                    <a:cubicBezTo>
                      <a:pt x="40" y="16"/>
                      <a:pt x="40" y="15"/>
                      <a:pt x="40" y="13"/>
                    </a:cubicBezTo>
                    <a:cubicBezTo>
                      <a:pt x="40" y="11"/>
                      <a:pt x="40" y="9"/>
                      <a:pt x="40" y="7"/>
                    </a:cubicBezTo>
                    <a:cubicBezTo>
                      <a:pt x="40" y="3"/>
                      <a:pt x="43" y="0"/>
                      <a:pt x="47" y="0"/>
                    </a:cubicBezTo>
                    <a:cubicBezTo>
                      <a:pt x="58" y="0"/>
                      <a:pt x="69" y="0"/>
                      <a:pt x="81" y="0"/>
                    </a:cubicBezTo>
                    <a:cubicBezTo>
                      <a:pt x="85" y="0"/>
                      <a:pt x="87" y="3"/>
                      <a:pt x="88" y="7"/>
                    </a:cubicBezTo>
                    <a:cubicBezTo>
                      <a:pt x="88" y="9"/>
                      <a:pt x="88" y="11"/>
                      <a:pt x="88" y="13"/>
                    </a:cubicBezTo>
                    <a:cubicBezTo>
                      <a:pt x="88" y="15"/>
                      <a:pt x="88" y="16"/>
                      <a:pt x="91" y="16"/>
                    </a:cubicBezTo>
                    <a:cubicBezTo>
                      <a:pt x="98" y="16"/>
                      <a:pt x="105" y="16"/>
                      <a:pt x="111" y="16"/>
                    </a:cubicBezTo>
                    <a:cubicBezTo>
                      <a:pt x="121" y="16"/>
                      <a:pt x="128" y="23"/>
                      <a:pt x="128" y="32"/>
                    </a:cubicBezTo>
                    <a:cubicBezTo>
                      <a:pt x="128" y="36"/>
                      <a:pt x="128" y="40"/>
                      <a:pt x="128" y="44"/>
                    </a:cubicBezTo>
                    <a:close/>
                    <a:moveTo>
                      <a:pt x="80" y="8"/>
                    </a:moveTo>
                    <a:cubicBezTo>
                      <a:pt x="71" y="8"/>
                      <a:pt x="62" y="8"/>
                      <a:pt x="54" y="8"/>
                    </a:cubicBezTo>
                    <a:cubicBezTo>
                      <a:pt x="47" y="8"/>
                      <a:pt x="47" y="8"/>
                      <a:pt x="48" y="14"/>
                    </a:cubicBezTo>
                    <a:cubicBezTo>
                      <a:pt x="48" y="14"/>
                      <a:pt x="48" y="14"/>
                      <a:pt x="48" y="14"/>
                    </a:cubicBezTo>
                    <a:cubicBezTo>
                      <a:pt x="48" y="15"/>
                      <a:pt x="49" y="16"/>
                      <a:pt x="50" y="16"/>
                    </a:cubicBezTo>
                    <a:cubicBezTo>
                      <a:pt x="51" y="16"/>
                      <a:pt x="53" y="16"/>
                      <a:pt x="55" y="16"/>
                    </a:cubicBezTo>
                    <a:cubicBezTo>
                      <a:pt x="63" y="16"/>
                      <a:pt x="70" y="16"/>
                      <a:pt x="78" y="16"/>
                    </a:cubicBezTo>
                    <a:cubicBezTo>
                      <a:pt x="79" y="16"/>
                      <a:pt x="80" y="15"/>
                      <a:pt x="80" y="15"/>
                    </a:cubicBezTo>
                    <a:cubicBezTo>
                      <a:pt x="80" y="12"/>
                      <a:pt x="80" y="10"/>
                      <a:pt x="80" y="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grpSp>
          <p:nvGrpSpPr>
            <p:cNvPr id="64" name="Gruppieren 251"/>
            <p:cNvGrpSpPr/>
            <p:nvPr/>
          </p:nvGrpSpPr>
          <p:grpSpPr>
            <a:xfrm>
              <a:off x="8089002" y="1472049"/>
              <a:ext cx="803013" cy="855695"/>
              <a:chOff x="10602689" y="1639887"/>
              <a:chExt cx="798513" cy="850900"/>
            </a:xfrm>
            <a:grpFill/>
          </p:grpSpPr>
          <p:sp>
            <p:nvSpPr>
              <p:cNvPr id="65" name="Freeform 61"/>
              <p:cNvSpPr>
                <a:spLocks/>
              </p:cNvSpPr>
              <p:nvPr/>
            </p:nvSpPr>
            <p:spPr bwMode="auto">
              <a:xfrm>
                <a:off x="10602689" y="2071687"/>
                <a:ext cx="600075" cy="419100"/>
              </a:xfrm>
              <a:custGeom>
                <a:avLst/>
                <a:gdLst/>
                <a:ahLst/>
                <a:cxnLst>
                  <a:cxn ang="0">
                    <a:pos x="80" y="112"/>
                  </a:cxn>
                  <a:cxn ang="0">
                    <a:pos x="3" y="112"/>
                  </a:cxn>
                  <a:cxn ang="0">
                    <a:pos x="0" y="109"/>
                  </a:cxn>
                  <a:cxn ang="0">
                    <a:pos x="0" y="102"/>
                  </a:cxn>
                  <a:cxn ang="0">
                    <a:pos x="2" y="100"/>
                  </a:cxn>
                  <a:cxn ang="0">
                    <a:pos x="13" y="100"/>
                  </a:cxn>
                  <a:cxn ang="0">
                    <a:pos x="16" y="98"/>
                  </a:cxn>
                  <a:cxn ang="0">
                    <a:pos x="20" y="62"/>
                  </a:cxn>
                  <a:cxn ang="0">
                    <a:pos x="25" y="25"/>
                  </a:cxn>
                  <a:cxn ang="0">
                    <a:pos x="28" y="3"/>
                  </a:cxn>
                  <a:cxn ang="0">
                    <a:pos x="30" y="0"/>
                  </a:cxn>
                  <a:cxn ang="0">
                    <a:pos x="57" y="0"/>
                  </a:cxn>
                  <a:cxn ang="0">
                    <a:pos x="60" y="3"/>
                  </a:cxn>
                  <a:cxn ang="0">
                    <a:pos x="65" y="42"/>
                  </a:cxn>
                  <a:cxn ang="0">
                    <a:pos x="70" y="84"/>
                  </a:cxn>
                  <a:cxn ang="0">
                    <a:pos x="72" y="98"/>
                  </a:cxn>
                  <a:cxn ang="0">
                    <a:pos x="73" y="100"/>
                  </a:cxn>
                  <a:cxn ang="0">
                    <a:pos x="86" y="100"/>
                  </a:cxn>
                  <a:cxn ang="0">
                    <a:pos x="88" y="99"/>
                  </a:cxn>
                  <a:cxn ang="0">
                    <a:pos x="91" y="71"/>
                  </a:cxn>
                  <a:cxn ang="0">
                    <a:pos x="95" y="41"/>
                  </a:cxn>
                  <a:cxn ang="0">
                    <a:pos x="99" y="11"/>
                  </a:cxn>
                  <a:cxn ang="0">
                    <a:pos x="100" y="2"/>
                  </a:cxn>
                  <a:cxn ang="0">
                    <a:pos x="102" y="0"/>
                  </a:cxn>
                  <a:cxn ang="0">
                    <a:pos x="130" y="0"/>
                  </a:cxn>
                  <a:cxn ang="0">
                    <a:pos x="132" y="2"/>
                  </a:cxn>
                  <a:cxn ang="0">
                    <a:pos x="137" y="48"/>
                  </a:cxn>
                  <a:cxn ang="0">
                    <a:pos x="143" y="94"/>
                  </a:cxn>
                  <a:cxn ang="0">
                    <a:pos x="144" y="100"/>
                  </a:cxn>
                  <a:cxn ang="0">
                    <a:pos x="150" y="100"/>
                  </a:cxn>
                  <a:cxn ang="0">
                    <a:pos x="158" y="100"/>
                  </a:cxn>
                  <a:cxn ang="0">
                    <a:pos x="160" y="102"/>
                  </a:cxn>
                  <a:cxn ang="0">
                    <a:pos x="160" y="110"/>
                  </a:cxn>
                  <a:cxn ang="0">
                    <a:pos x="157" y="112"/>
                  </a:cxn>
                  <a:cxn ang="0">
                    <a:pos x="110" y="112"/>
                  </a:cxn>
                  <a:cxn ang="0">
                    <a:pos x="80" y="112"/>
                  </a:cxn>
                </a:cxnLst>
                <a:rect l="0" t="0" r="r" b="b"/>
                <a:pathLst>
                  <a:path w="160" h="112">
                    <a:moveTo>
                      <a:pt x="80" y="112"/>
                    </a:moveTo>
                    <a:cubicBezTo>
                      <a:pt x="54" y="112"/>
                      <a:pt x="29" y="112"/>
                      <a:pt x="3" y="112"/>
                    </a:cubicBezTo>
                    <a:cubicBezTo>
                      <a:pt x="1" y="112"/>
                      <a:pt x="0" y="111"/>
                      <a:pt x="0" y="109"/>
                    </a:cubicBezTo>
                    <a:cubicBezTo>
                      <a:pt x="0" y="107"/>
                      <a:pt x="0" y="105"/>
                      <a:pt x="0" y="102"/>
                    </a:cubicBezTo>
                    <a:cubicBezTo>
                      <a:pt x="0" y="101"/>
                      <a:pt x="1" y="100"/>
                      <a:pt x="2" y="100"/>
                    </a:cubicBezTo>
                    <a:cubicBezTo>
                      <a:pt x="6" y="100"/>
                      <a:pt x="10" y="100"/>
                      <a:pt x="13" y="100"/>
                    </a:cubicBezTo>
                    <a:cubicBezTo>
                      <a:pt x="15" y="100"/>
                      <a:pt x="16" y="100"/>
                      <a:pt x="16" y="98"/>
                    </a:cubicBezTo>
                    <a:cubicBezTo>
                      <a:pt x="18" y="86"/>
                      <a:pt x="19" y="74"/>
                      <a:pt x="20" y="62"/>
                    </a:cubicBezTo>
                    <a:cubicBezTo>
                      <a:pt x="22" y="50"/>
                      <a:pt x="24" y="37"/>
                      <a:pt x="25" y="25"/>
                    </a:cubicBezTo>
                    <a:cubicBezTo>
                      <a:pt x="26" y="17"/>
                      <a:pt x="27" y="10"/>
                      <a:pt x="28" y="3"/>
                    </a:cubicBezTo>
                    <a:cubicBezTo>
                      <a:pt x="28" y="1"/>
                      <a:pt x="28" y="0"/>
                      <a:pt x="30" y="0"/>
                    </a:cubicBezTo>
                    <a:cubicBezTo>
                      <a:pt x="39" y="0"/>
                      <a:pt x="48" y="0"/>
                      <a:pt x="57" y="0"/>
                    </a:cubicBezTo>
                    <a:cubicBezTo>
                      <a:pt x="59" y="0"/>
                      <a:pt x="60" y="1"/>
                      <a:pt x="60" y="3"/>
                    </a:cubicBezTo>
                    <a:cubicBezTo>
                      <a:pt x="62" y="16"/>
                      <a:pt x="63" y="29"/>
                      <a:pt x="65" y="42"/>
                    </a:cubicBezTo>
                    <a:cubicBezTo>
                      <a:pt x="66" y="56"/>
                      <a:pt x="68" y="70"/>
                      <a:pt x="70" y="84"/>
                    </a:cubicBezTo>
                    <a:cubicBezTo>
                      <a:pt x="70" y="89"/>
                      <a:pt x="71" y="94"/>
                      <a:pt x="72" y="98"/>
                    </a:cubicBezTo>
                    <a:cubicBezTo>
                      <a:pt x="72" y="99"/>
                      <a:pt x="73" y="100"/>
                      <a:pt x="73" y="100"/>
                    </a:cubicBezTo>
                    <a:cubicBezTo>
                      <a:pt x="78" y="100"/>
                      <a:pt x="82" y="100"/>
                      <a:pt x="86" y="100"/>
                    </a:cubicBezTo>
                    <a:cubicBezTo>
                      <a:pt x="87" y="100"/>
                      <a:pt x="88" y="99"/>
                      <a:pt x="88" y="99"/>
                    </a:cubicBezTo>
                    <a:cubicBezTo>
                      <a:pt x="89" y="89"/>
                      <a:pt x="90" y="80"/>
                      <a:pt x="91" y="71"/>
                    </a:cubicBezTo>
                    <a:cubicBezTo>
                      <a:pt x="93" y="61"/>
                      <a:pt x="94" y="51"/>
                      <a:pt x="95" y="41"/>
                    </a:cubicBezTo>
                    <a:cubicBezTo>
                      <a:pt x="96" y="31"/>
                      <a:pt x="97" y="21"/>
                      <a:pt x="99" y="11"/>
                    </a:cubicBezTo>
                    <a:cubicBezTo>
                      <a:pt x="99" y="8"/>
                      <a:pt x="99" y="5"/>
                      <a:pt x="100" y="2"/>
                    </a:cubicBezTo>
                    <a:cubicBezTo>
                      <a:pt x="100" y="1"/>
                      <a:pt x="100" y="0"/>
                      <a:pt x="102" y="0"/>
                    </a:cubicBezTo>
                    <a:cubicBezTo>
                      <a:pt x="111" y="0"/>
                      <a:pt x="120" y="0"/>
                      <a:pt x="130" y="0"/>
                    </a:cubicBezTo>
                    <a:cubicBezTo>
                      <a:pt x="131" y="0"/>
                      <a:pt x="132" y="1"/>
                      <a:pt x="132" y="2"/>
                    </a:cubicBezTo>
                    <a:cubicBezTo>
                      <a:pt x="134" y="17"/>
                      <a:pt x="136" y="33"/>
                      <a:pt x="137" y="48"/>
                    </a:cubicBezTo>
                    <a:cubicBezTo>
                      <a:pt x="139" y="63"/>
                      <a:pt x="141" y="78"/>
                      <a:pt x="143" y="94"/>
                    </a:cubicBezTo>
                    <a:cubicBezTo>
                      <a:pt x="143" y="96"/>
                      <a:pt x="143" y="99"/>
                      <a:pt x="144" y="100"/>
                    </a:cubicBezTo>
                    <a:cubicBezTo>
                      <a:pt x="145" y="101"/>
                      <a:pt x="148" y="100"/>
                      <a:pt x="150" y="100"/>
                    </a:cubicBezTo>
                    <a:cubicBezTo>
                      <a:pt x="153" y="100"/>
                      <a:pt x="155" y="100"/>
                      <a:pt x="158" y="100"/>
                    </a:cubicBezTo>
                    <a:cubicBezTo>
                      <a:pt x="159" y="100"/>
                      <a:pt x="160" y="101"/>
                      <a:pt x="160" y="102"/>
                    </a:cubicBezTo>
                    <a:cubicBezTo>
                      <a:pt x="160" y="105"/>
                      <a:pt x="160" y="107"/>
                      <a:pt x="160" y="110"/>
                    </a:cubicBezTo>
                    <a:cubicBezTo>
                      <a:pt x="160" y="111"/>
                      <a:pt x="159" y="112"/>
                      <a:pt x="157" y="112"/>
                    </a:cubicBezTo>
                    <a:cubicBezTo>
                      <a:pt x="142" y="112"/>
                      <a:pt x="126" y="112"/>
                      <a:pt x="110" y="112"/>
                    </a:cubicBezTo>
                    <a:cubicBezTo>
                      <a:pt x="100" y="112"/>
                      <a:pt x="90" y="112"/>
                      <a:pt x="80" y="11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66" name="Freeform 62"/>
              <p:cNvSpPr>
                <a:spLocks/>
              </p:cNvSpPr>
              <p:nvPr/>
            </p:nvSpPr>
            <p:spPr bwMode="auto">
              <a:xfrm>
                <a:off x="10707464" y="1639887"/>
                <a:ext cx="693738" cy="401638"/>
              </a:xfrm>
              <a:custGeom>
                <a:avLst/>
                <a:gdLst/>
                <a:ahLst/>
                <a:cxnLst>
                  <a:cxn ang="0">
                    <a:pos x="31" y="107"/>
                  </a:cxn>
                  <a:cxn ang="0">
                    <a:pos x="24" y="107"/>
                  </a:cxn>
                  <a:cxn ang="0">
                    <a:pos x="35" y="92"/>
                  </a:cxn>
                  <a:cxn ang="0">
                    <a:pos x="41" y="91"/>
                  </a:cxn>
                  <a:cxn ang="0">
                    <a:pos x="151" y="91"/>
                  </a:cxn>
                  <a:cxn ang="0">
                    <a:pos x="175" y="72"/>
                  </a:cxn>
                  <a:cxn ang="0">
                    <a:pos x="154" y="43"/>
                  </a:cxn>
                  <a:cxn ang="0">
                    <a:pos x="141" y="43"/>
                  </a:cxn>
                  <a:cxn ang="0">
                    <a:pos x="137" y="41"/>
                  </a:cxn>
                  <a:cxn ang="0">
                    <a:pos x="93" y="11"/>
                  </a:cxn>
                  <a:cxn ang="0">
                    <a:pos x="52" y="49"/>
                  </a:cxn>
                  <a:cxn ang="0">
                    <a:pos x="52" y="51"/>
                  </a:cxn>
                  <a:cxn ang="0">
                    <a:pos x="47" y="55"/>
                  </a:cxn>
                  <a:cxn ang="0">
                    <a:pos x="26" y="55"/>
                  </a:cxn>
                  <a:cxn ang="0">
                    <a:pos x="8" y="75"/>
                  </a:cxn>
                  <a:cxn ang="0">
                    <a:pos x="8" y="104"/>
                  </a:cxn>
                  <a:cxn ang="0">
                    <a:pos x="8" y="107"/>
                  </a:cxn>
                  <a:cxn ang="0">
                    <a:pos x="0" y="107"/>
                  </a:cxn>
                  <a:cxn ang="0">
                    <a:pos x="0" y="104"/>
                  </a:cxn>
                  <a:cxn ang="0">
                    <a:pos x="0" y="75"/>
                  </a:cxn>
                  <a:cxn ang="0">
                    <a:pos x="28" y="47"/>
                  </a:cxn>
                  <a:cxn ang="0">
                    <a:pos x="44" y="47"/>
                  </a:cxn>
                  <a:cxn ang="0">
                    <a:pos x="46" y="40"/>
                  </a:cxn>
                  <a:cxn ang="0">
                    <a:pos x="89" y="4"/>
                  </a:cxn>
                  <a:cxn ang="0">
                    <a:pos x="143" y="33"/>
                  </a:cxn>
                  <a:cxn ang="0">
                    <a:pos x="146" y="35"/>
                  </a:cxn>
                  <a:cxn ang="0">
                    <a:pos x="162" y="37"/>
                  </a:cxn>
                  <a:cxn ang="0">
                    <a:pos x="184" y="69"/>
                  </a:cxn>
                  <a:cxn ang="0">
                    <a:pos x="157" y="98"/>
                  </a:cxn>
                  <a:cxn ang="0">
                    <a:pos x="151" y="99"/>
                  </a:cxn>
                  <a:cxn ang="0">
                    <a:pos x="43" y="99"/>
                  </a:cxn>
                  <a:cxn ang="0">
                    <a:pos x="31" y="107"/>
                  </a:cxn>
                </a:cxnLst>
                <a:rect l="0" t="0" r="r" b="b"/>
                <a:pathLst>
                  <a:path w="185" h="107">
                    <a:moveTo>
                      <a:pt x="31" y="107"/>
                    </a:moveTo>
                    <a:cubicBezTo>
                      <a:pt x="29" y="107"/>
                      <a:pt x="27" y="107"/>
                      <a:pt x="24" y="107"/>
                    </a:cubicBezTo>
                    <a:cubicBezTo>
                      <a:pt x="24" y="101"/>
                      <a:pt x="29" y="94"/>
                      <a:pt x="35" y="92"/>
                    </a:cubicBezTo>
                    <a:cubicBezTo>
                      <a:pt x="37" y="91"/>
                      <a:pt x="39" y="91"/>
                      <a:pt x="41" y="91"/>
                    </a:cubicBezTo>
                    <a:cubicBezTo>
                      <a:pt x="78" y="91"/>
                      <a:pt x="114" y="91"/>
                      <a:pt x="151" y="91"/>
                    </a:cubicBezTo>
                    <a:cubicBezTo>
                      <a:pt x="163" y="91"/>
                      <a:pt x="173" y="84"/>
                      <a:pt x="175" y="72"/>
                    </a:cubicBezTo>
                    <a:cubicBezTo>
                      <a:pt x="179" y="58"/>
                      <a:pt x="168" y="44"/>
                      <a:pt x="154" y="43"/>
                    </a:cubicBezTo>
                    <a:cubicBezTo>
                      <a:pt x="150" y="43"/>
                      <a:pt x="145" y="43"/>
                      <a:pt x="141" y="43"/>
                    </a:cubicBezTo>
                    <a:cubicBezTo>
                      <a:pt x="139" y="43"/>
                      <a:pt x="138" y="42"/>
                      <a:pt x="137" y="41"/>
                    </a:cubicBezTo>
                    <a:cubicBezTo>
                      <a:pt x="131" y="21"/>
                      <a:pt x="113" y="10"/>
                      <a:pt x="93" y="11"/>
                    </a:cubicBezTo>
                    <a:cubicBezTo>
                      <a:pt x="73" y="12"/>
                      <a:pt x="54" y="29"/>
                      <a:pt x="52" y="49"/>
                    </a:cubicBezTo>
                    <a:cubicBezTo>
                      <a:pt x="52" y="50"/>
                      <a:pt x="52" y="50"/>
                      <a:pt x="52" y="51"/>
                    </a:cubicBezTo>
                    <a:cubicBezTo>
                      <a:pt x="51" y="55"/>
                      <a:pt x="51" y="55"/>
                      <a:pt x="47" y="55"/>
                    </a:cubicBezTo>
                    <a:cubicBezTo>
                      <a:pt x="40" y="55"/>
                      <a:pt x="33" y="55"/>
                      <a:pt x="26" y="55"/>
                    </a:cubicBezTo>
                    <a:cubicBezTo>
                      <a:pt x="16" y="56"/>
                      <a:pt x="8" y="65"/>
                      <a:pt x="8" y="75"/>
                    </a:cubicBezTo>
                    <a:cubicBezTo>
                      <a:pt x="8" y="85"/>
                      <a:pt x="8" y="94"/>
                      <a:pt x="8" y="104"/>
                    </a:cubicBezTo>
                    <a:cubicBezTo>
                      <a:pt x="8" y="105"/>
                      <a:pt x="8" y="106"/>
                      <a:pt x="8" y="107"/>
                    </a:cubicBezTo>
                    <a:cubicBezTo>
                      <a:pt x="5" y="107"/>
                      <a:pt x="3" y="107"/>
                      <a:pt x="0" y="107"/>
                    </a:cubicBezTo>
                    <a:cubicBezTo>
                      <a:pt x="0" y="106"/>
                      <a:pt x="0" y="105"/>
                      <a:pt x="0" y="104"/>
                    </a:cubicBezTo>
                    <a:cubicBezTo>
                      <a:pt x="0" y="95"/>
                      <a:pt x="0" y="85"/>
                      <a:pt x="0" y="75"/>
                    </a:cubicBezTo>
                    <a:cubicBezTo>
                      <a:pt x="0" y="59"/>
                      <a:pt x="12" y="47"/>
                      <a:pt x="28" y="47"/>
                    </a:cubicBezTo>
                    <a:cubicBezTo>
                      <a:pt x="33" y="47"/>
                      <a:pt x="39" y="47"/>
                      <a:pt x="44" y="47"/>
                    </a:cubicBezTo>
                    <a:cubicBezTo>
                      <a:pt x="45" y="45"/>
                      <a:pt x="45" y="42"/>
                      <a:pt x="46" y="40"/>
                    </a:cubicBezTo>
                    <a:cubicBezTo>
                      <a:pt x="53" y="19"/>
                      <a:pt x="68" y="7"/>
                      <a:pt x="89" y="4"/>
                    </a:cubicBezTo>
                    <a:cubicBezTo>
                      <a:pt x="112" y="0"/>
                      <a:pt x="133" y="12"/>
                      <a:pt x="143" y="33"/>
                    </a:cubicBezTo>
                    <a:cubicBezTo>
                      <a:pt x="143" y="35"/>
                      <a:pt x="144" y="35"/>
                      <a:pt x="146" y="35"/>
                    </a:cubicBezTo>
                    <a:cubicBezTo>
                      <a:pt x="151" y="35"/>
                      <a:pt x="157" y="35"/>
                      <a:pt x="162" y="37"/>
                    </a:cubicBezTo>
                    <a:cubicBezTo>
                      <a:pt x="176" y="41"/>
                      <a:pt x="185" y="55"/>
                      <a:pt x="184" y="69"/>
                    </a:cubicBezTo>
                    <a:cubicBezTo>
                      <a:pt x="182" y="84"/>
                      <a:pt x="172" y="96"/>
                      <a:pt x="157" y="98"/>
                    </a:cubicBezTo>
                    <a:cubicBezTo>
                      <a:pt x="155" y="99"/>
                      <a:pt x="153" y="99"/>
                      <a:pt x="151" y="99"/>
                    </a:cubicBezTo>
                    <a:cubicBezTo>
                      <a:pt x="115" y="99"/>
                      <a:pt x="79" y="99"/>
                      <a:pt x="43" y="99"/>
                    </a:cubicBezTo>
                    <a:cubicBezTo>
                      <a:pt x="36" y="99"/>
                      <a:pt x="34" y="100"/>
                      <a:pt x="31" y="10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grpSp>
          <p:nvGrpSpPr>
            <p:cNvPr id="67" name="Gruppieren 264"/>
            <p:cNvGrpSpPr/>
            <p:nvPr/>
          </p:nvGrpSpPr>
          <p:grpSpPr>
            <a:xfrm>
              <a:off x="9212943" y="3981782"/>
              <a:ext cx="421462" cy="847711"/>
              <a:chOff x="13509401" y="1647825"/>
              <a:chExt cx="419100" cy="842962"/>
            </a:xfrm>
            <a:grpFill/>
          </p:grpSpPr>
          <p:sp>
            <p:nvSpPr>
              <p:cNvPr id="68" name="Freeform 14"/>
              <p:cNvSpPr>
                <a:spLocks noEditPoints="1"/>
              </p:cNvSpPr>
              <p:nvPr/>
            </p:nvSpPr>
            <p:spPr bwMode="auto">
              <a:xfrm>
                <a:off x="13509401" y="1925637"/>
                <a:ext cx="419100" cy="565150"/>
              </a:xfrm>
              <a:custGeom>
                <a:avLst/>
                <a:gdLst/>
                <a:ahLst/>
                <a:cxnLst>
                  <a:cxn ang="0">
                    <a:pos x="76" y="151"/>
                  </a:cxn>
                  <a:cxn ang="0">
                    <a:pos x="61" y="151"/>
                  </a:cxn>
                  <a:cxn ang="0">
                    <a:pos x="43" y="151"/>
                  </a:cxn>
                  <a:cxn ang="0">
                    <a:pos x="40" y="148"/>
                  </a:cxn>
                  <a:cxn ang="0">
                    <a:pos x="40" y="139"/>
                  </a:cxn>
                  <a:cxn ang="0">
                    <a:pos x="31" y="139"/>
                  </a:cxn>
                  <a:cxn ang="0">
                    <a:pos x="28" y="136"/>
                  </a:cxn>
                  <a:cxn ang="0">
                    <a:pos x="28" y="118"/>
                  </a:cxn>
                  <a:cxn ang="0">
                    <a:pos x="26" y="114"/>
                  </a:cxn>
                  <a:cxn ang="0">
                    <a:pos x="0" y="67"/>
                  </a:cxn>
                  <a:cxn ang="0">
                    <a:pos x="0" y="55"/>
                  </a:cxn>
                  <a:cxn ang="0">
                    <a:pos x="4" y="55"/>
                  </a:cxn>
                  <a:cxn ang="0">
                    <a:pos x="18" y="55"/>
                  </a:cxn>
                  <a:cxn ang="0">
                    <a:pos x="20" y="53"/>
                  </a:cxn>
                  <a:cxn ang="0">
                    <a:pos x="20" y="46"/>
                  </a:cxn>
                  <a:cxn ang="0">
                    <a:pos x="17" y="47"/>
                  </a:cxn>
                  <a:cxn ang="0">
                    <a:pos x="2" y="39"/>
                  </a:cxn>
                  <a:cxn ang="0">
                    <a:pos x="11" y="24"/>
                  </a:cxn>
                  <a:cxn ang="0">
                    <a:pos x="44" y="15"/>
                  </a:cxn>
                  <a:cxn ang="0">
                    <a:pos x="95" y="1"/>
                  </a:cxn>
                  <a:cxn ang="0">
                    <a:pos x="110" y="10"/>
                  </a:cxn>
                  <a:cxn ang="0">
                    <a:pos x="103" y="24"/>
                  </a:cxn>
                  <a:cxn ang="0">
                    <a:pos x="94" y="26"/>
                  </a:cxn>
                  <a:cxn ang="0">
                    <a:pos x="92" y="29"/>
                  </a:cxn>
                  <a:cxn ang="0">
                    <a:pos x="92" y="53"/>
                  </a:cxn>
                  <a:cxn ang="0">
                    <a:pos x="94" y="55"/>
                  </a:cxn>
                  <a:cxn ang="0">
                    <a:pos x="112" y="55"/>
                  </a:cxn>
                  <a:cxn ang="0">
                    <a:pos x="112" y="67"/>
                  </a:cxn>
                  <a:cxn ang="0">
                    <a:pos x="109" y="84"/>
                  </a:cxn>
                  <a:cxn ang="0">
                    <a:pos x="86" y="114"/>
                  </a:cxn>
                  <a:cxn ang="0">
                    <a:pos x="84" y="118"/>
                  </a:cxn>
                  <a:cxn ang="0">
                    <a:pos x="84" y="139"/>
                  </a:cxn>
                  <a:cxn ang="0">
                    <a:pos x="78" y="139"/>
                  </a:cxn>
                  <a:cxn ang="0">
                    <a:pos x="76" y="141"/>
                  </a:cxn>
                  <a:cxn ang="0">
                    <a:pos x="76" y="151"/>
                  </a:cxn>
                  <a:cxn ang="0">
                    <a:pos x="72" y="32"/>
                  </a:cxn>
                  <a:cxn ang="0">
                    <a:pos x="71" y="32"/>
                  </a:cxn>
                  <a:cxn ang="0">
                    <a:pos x="42" y="40"/>
                  </a:cxn>
                  <a:cxn ang="0">
                    <a:pos x="40" y="42"/>
                  </a:cxn>
                  <a:cxn ang="0">
                    <a:pos x="40" y="53"/>
                  </a:cxn>
                  <a:cxn ang="0">
                    <a:pos x="42" y="55"/>
                  </a:cxn>
                  <a:cxn ang="0">
                    <a:pos x="70" y="55"/>
                  </a:cxn>
                  <a:cxn ang="0">
                    <a:pos x="72" y="55"/>
                  </a:cxn>
                  <a:cxn ang="0">
                    <a:pos x="72" y="32"/>
                  </a:cxn>
                </a:cxnLst>
                <a:rect l="0" t="0" r="r" b="b"/>
                <a:pathLst>
                  <a:path w="112" h="151">
                    <a:moveTo>
                      <a:pt x="76" y="151"/>
                    </a:moveTo>
                    <a:cubicBezTo>
                      <a:pt x="71" y="151"/>
                      <a:pt x="66" y="151"/>
                      <a:pt x="61" y="151"/>
                    </a:cubicBezTo>
                    <a:cubicBezTo>
                      <a:pt x="55" y="151"/>
                      <a:pt x="49" y="151"/>
                      <a:pt x="43" y="151"/>
                    </a:cubicBezTo>
                    <a:cubicBezTo>
                      <a:pt x="41" y="151"/>
                      <a:pt x="40" y="150"/>
                      <a:pt x="40" y="148"/>
                    </a:cubicBezTo>
                    <a:cubicBezTo>
                      <a:pt x="40" y="145"/>
                      <a:pt x="40" y="142"/>
                      <a:pt x="40" y="139"/>
                    </a:cubicBezTo>
                    <a:cubicBezTo>
                      <a:pt x="37" y="139"/>
                      <a:pt x="34" y="139"/>
                      <a:pt x="31" y="139"/>
                    </a:cubicBezTo>
                    <a:cubicBezTo>
                      <a:pt x="29" y="139"/>
                      <a:pt x="28" y="138"/>
                      <a:pt x="28" y="136"/>
                    </a:cubicBezTo>
                    <a:cubicBezTo>
                      <a:pt x="28" y="130"/>
                      <a:pt x="28" y="124"/>
                      <a:pt x="28" y="118"/>
                    </a:cubicBezTo>
                    <a:cubicBezTo>
                      <a:pt x="28" y="116"/>
                      <a:pt x="28" y="115"/>
                      <a:pt x="26" y="114"/>
                    </a:cubicBezTo>
                    <a:cubicBezTo>
                      <a:pt x="9" y="103"/>
                      <a:pt x="1" y="87"/>
                      <a:pt x="0" y="67"/>
                    </a:cubicBezTo>
                    <a:cubicBezTo>
                      <a:pt x="0" y="63"/>
                      <a:pt x="0" y="59"/>
                      <a:pt x="0" y="55"/>
                    </a:cubicBezTo>
                    <a:cubicBezTo>
                      <a:pt x="1" y="55"/>
                      <a:pt x="3" y="55"/>
                      <a:pt x="4" y="55"/>
                    </a:cubicBezTo>
                    <a:cubicBezTo>
                      <a:pt x="8" y="55"/>
                      <a:pt x="13" y="55"/>
                      <a:pt x="18" y="55"/>
                    </a:cubicBezTo>
                    <a:cubicBezTo>
                      <a:pt x="20" y="55"/>
                      <a:pt x="20" y="55"/>
                      <a:pt x="20" y="53"/>
                    </a:cubicBezTo>
                    <a:cubicBezTo>
                      <a:pt x="20" y="51"/>
                      <a:pt x="20" y="49"/>
                      <a:pt x="20" y="46"/>
                    </a:cubicBezTo>
                    <a:cubicBezTo>
                      <a:pt x="19" y="46"/>
                      <a:pt x="18" y="47"/>
                      <a:pt x="17" y="47"/>
                    </a:cubicBezTo>
                    <a:cubicBezTo>
                      <a:pt x="10" y="48"/>
                      <a:pt x="4" y="45"/>
                      <a:pt x="2" y="39"/>
                    </a:cubicBezTo>
                    <a:cubicBezTo>
                      <a:pt x="0" y="32"/>
                      <a:pt x="4" y="26"/>
                      <a:pt x="11" y="24"/>
                    </a:cubicBezTo>
                    <a:cubicBezTo>
                      <a:pt x="22" y="21"/>
                      <a:pt x="33" y="18"/>
                      <a:pt x="44" y="15"/>
                    </a:cubicBezTo>
                    <a:cubicBezTo>
                      <a:pt x="61" y="10"/>
                      <a:pt x="78" y="6"/>
                      <a:pt x="95" y="1"/>
                    </a:cubicBezTo>
                    <a:cubicBezTo>
                      <a:pt x="102" y="0"/>
                      <a:pt x="108" y="3"/>
                      <a:pt x="110" y="10"/>
                    </a:cubicBezTo>
                    <a:cubicBezTo>
                      <a:pt x="112" y="15"/>
                      <a:pt x="109" y="22"/>
                      <a:pt x="103" y="24"/>
                    </a:cubicBezTo>
                    <a:cubicBezTo>
                      <a:pt x="100" y="25"/>
                      <a:pt x="97" y="25"/>
                      <a:pt x="94" y="26"/>
                    </a:cubicBezTo>
                    <a:cubicBezTo>
                      <a:pt x="92" y="27"/>
                      <a:pt x="92" y="27"/>
                      <a:pt x="92" y="29"/>
                    </a:cubicBezTo>
                    <a:cubicBezTo>
                      <a:pt x="92" y="37"/>
                      <a:pt x="92" y="45"/>
                      <a:pt x="92" y="53"/>
                    </a:cubicBezTo>
                    <a:cubicBezTo>
                      <a:pt x="92" y="55"/>
                      <a:pt x="93" y="55"/>
                      <a:pt x="94" y="55"/>
                    </a:cubicBezTo>
                    <a:cubicBezTo>
                      <a:pt x="100" y="55"/>
                      <a:pt x="106" y="55"/>
                      <a:pt x="112" y="55"/>
                    </a:cubicBezTo>
                    <a:cubicBezTo>
                      <a:pt x="112" y="59"/>
                      <a:pt x="112" y="63"/>
                      <a:pt x="112" y="67"/>
                    </a:cubicBezTo>
                    <a:cubicBezTo>
                      <a:pt x="111" y="73"/>
                      <a:pt x="111" y="79"/>
                      <a:pt x="109" y="84"/>
                    </a:cubicBezTo>
                    <a:cubicBezTo>
                      <a:pt x="105" y="97"/>
                      <a:pt x="97" y="107"/>
                      <a:pt x="86" y="114"/>
                    </a:cubicBezTo>
                    <a:cubicBezTo>
                      <a:pt x="84" y="115"/>
                      <a:pt x="84" y="116"/>
                      <a:pt x="84" y="118"/>
                    </a:cubicBezTo>
                    <a:cubicBezTo>
                      <a:pt x="84" y="125"/>
                      <a:pt x="84" y="132"/>
                      <a:pt x="84" y="139"/>
                    </a:cubicBezTo>
                    <a:cubicBezTo>
                      <a:pt x="82" y="139"/>
                      <a:pt x="80" y="139"/>
                      <a:pt x="78" y="139"/>
                    </a:cubicBezTo>
                    <a:cubicBezTo>
                      <a:pt x="76" y="139"/>
                      <a:pt x="76" y="139"/>
                      <a:pt x="76" y="141"/>
                    </a:cubicBezTo>
                    <a:cubicBezTo>
                      <a:pt x="76" y="144"/>
                      <a:pt x="76" y="147"/>
                      <a:pt x="76" y="151"/>
                    </a:cubicBezTo>
                    <a:close/>
                    <a:moveTo>
                      <a:pt x="72" y="32"/>
                    </a:moveTo>
                    <a:cubicBezTo>
                      <a:pt x="72" y="32"/>
                      <a:pt x="71" y="32"/>
                      <a:pt x="71" y="32"/>
                    </a:cubicBezTo>
                    <a:cubicBezTo>
                      <a:pt x="61" y="35"/>
                      <a:pt x="51" y="38"/>
                      <a:pt x="42" y="40"/>
                    </a:cubicBezTo>
                    <a:cubicBezTo>
                      <a:pt x="41" y="40"/>
                      <a:pt x="40" y="42"/>
                      <a:pt x="40" y="42"/>
                    </a:cubicBezTo>
                    <a:cubicBezTo>
                      <a:pt x="40" y="46"/>
                      <a:pt x="40" y="49"/>
                      <a:pt x="40" y="53"/>
                    </a:cubicBezTo>
                    <a:cubicBezTo>
                      <a:pt x="40" y="55"/>
                      <a:pt x="41" y="55"/>
                      <a:pt x="42" y="55"/>
                    </a:cubicBezTo>
                    <a:cubicBezTo>
                      <a:pt x="52" y="55"/>
                      <a:pt x="61" y="55"/>
                      <a:pt x="70" y="55"/>
                    </a:cubicBezTo>
                    <a:cubicBezTo>
                      <a:pt x="71" y="55"/>
                      <a:pt x="71" y="55"/>
                      <a:pt x="72" y="55"/>
                    </a:cubicBezTo>
                    <a:cubicBezTo>
                      <a:pt x="72" y="47"/>
                      <a:pt x="72" y="40"/>
                      <a:pt x="72" y="3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69" name="Freeform 15"/>
              <p:cNvSpPr>
                <a:spLocks/>
              </p:cNvSpPr>
              <p:nvPr/>
            </p:nvSpPr>
            <p:spPr bwMode="auto">
              <a:xfrm>
                <a:off x="13512576" y="1782762"/>
                <a:ext cx="412750" cy="184150"/>
              </a:xfrm>
              <a:custGeom>
                <a:avLst/>
                <a:gdLst/>
                <a:ahLst/>
                <a:cxnLst>
                  <a:cxn ang="0">
                    <a:pos x="13" y="49"/>
                  </a:cxn>
                  <a:cxn ang="0">
                    <a:pos x="1" y="38"/>
                  </a:cxn>
                  <a:cxn ang="0">
                    <a:pos x="10" y="25"/>
                  </a:cxn>
                  <a:cxn ang="0">
                    <a:pos x="47" y="15"/>
                  </a:cxn>
                  <a:cxn ang="0">
                    <a:pos x="94" y="3"/>
                  </a:cxn>
                  <a:cxn ang="0">
                    <a:pos x="109" y="15"/>
                  </a:cxn>
                  <a:cxn ang="0">
                    <a:pos x="101" y="25"/>
                  </a:cxn>
                  <a:cxn ang="0">
                    <a:pos x="58" y="37"/>
                  </a:cxn>
                  <a:cxn ang="0">
                    <a:pos x="17" y="48"/>
                  </a:cxn>
                  <a:cxn ang="0">
                    <a:pos x="13" y="49"/>
                  </a:cxn>
                </a:cxnLst>
                <a:rect l="0" t="0" r="r" b="b"/>
                <a:pathLst>
                  <a:path w="110" h="49">
                    <a:moveTo>
                      <a:pt x="13" y="49"/>
                    </a:moveTo>
                    <a:cubicBezTo>
                      <a:pt x="6" y="48"/>
                      <a:pt x="2" y="44"/>
                      <a:pt x="1" y="38"/>
                    </a:cubicBezTo>
                    <a:cubicBezTo>
                      <a:pt x="0" y="32"/>
                      <a:pt x="4" y="27"/>
                      <a:pt x="10" y="25"/>
                    </a:cubicBezTo>
                    <a:cubicBezTo>
                      <a:pt x="22" y="22"/>
                      <a:pt x="35" y="18"/>
                      <a:pt x="47" y="15"/>
                    </a:cubicBezTo>
                    <a:cubicBezTo>
                      <a:pt x="63" y="11"/>
                      <a:pt x="78" y="7"/>
                      <a:pt x="94" y="3"/>
                    </a:cubicBezTo>
                    <a:cubicBezTo>
                      <a:pt x="102" y="0"/>
                      <a:pt x="110" y="6"/>
                      <a:pt x="109" y="15"/>
                    </a:cubicBezTo>
                    <a:cubicBezTo>
                      <a:pt x="109" y="20"/>
                      <a:pt x="106" y="24"/>
                      <a:pt x="101" y="25"/>
                    </a:cubicBezTo>
                    <a:cubicBezTo>
                      <a:pt x="86" y="29"/>
                      <a:pt x="72" y="33"/>
                      <a:pt x="58" y="37"/>
                    </a:cubicBezTo>
                    <a:cubicBezTo>
                      <a:pt x="44" y="40"/>
                      <a:pt x="31" y="44"/>
                      <a:pt x="17" y="48"/>
                    </a:cubicBezTo>
                    <a:cubicBezTo>
                      <a:pt x="16" y="48"/>
                      <a:pt x="14" y="48"/>
                      <a:pt x="13" y="4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70" name="Freeform 16"/>
              <p:cNvSpPr>
                <a:spLocks/>
              </p:cNvSpPr>
              <p:nvPr/>
            </p:nvSpPr>
            <p:spPr bwMode="auto">
              <a:xfrm>
                <a:off x="13512576" y="1647825"/>
                <a:ext cx="407988" cy="184150"/>
              </a:xfrm>
              <a:custGeom>
                <a:avLst/>
                <a:gdLst/>
                <a:ahLst/>
                <a:cxnLst>
                  <a:cxn ang="0">
                    <a:pos x="109" y="13"/>
                  </a:cxn>
                  <a:cxn ang="0">
                    <a:pos x="100" y="25"/>
                  </a:cxn>
                  <a:cxn ang="0">
                    <a:pos x="61" y="35"/>
                  </a:cxn>
                  <a:cxn ang="0">
                    <a:pos x="16" y="47"/>
                  </a:cxn>
                  <a:cxn ang="0">
                    <a:pos x="1" y="38"/>
                  </a:cxn>
                  <a:cxn ang="0">
                    <a:pos x="9" y="24"/>
                  </a:cxn>
                  <a:cxn ang="0">
                    <a:pos x="51" y="13"/>
                  </a:cxn>
                  <a:cxn ang="0">
                    <a:pos x="94" y="2"/>
                  </a:cxn>
                  <a:cxn ang="0">
                    <a:pos x="109" y="13"/>
                  </a:cxn>
                </a:cxnLst>
                <a:rect l="0" t="0" r="r" b="b"/>
                <a:pathLst>
                  <a:path w="109" h="49">
                    <a:moveTo>
                      <a:pt x="109" y="13"/>
                    </a:moveTo>
                    <a:cubicBezTo>
                      <a:pt x="109" y="19"/>
                      <a:pt x="106" y="23"/>
                      <a:pt x="100" y="25"/>
                    </a:cubicBezTo>
                    <a:cubicBezTo>
                      <a:pt x="87" y="28"/>
                      <a:pt x="74" y="32"/>
                      <a:pt x="61" y="35"/>
                    </a:cubicBezTo>
                    <a:cubicBezTo>
                      <a:pt x="46" y="39"/>
                      <a:pt x="31" y="43"/>
                      <a:pt x="16" y="47"/>
                    </a:cubicBezTo>
                    <a:cubicBezTo>
                      <a:pt x="8" y="49"/>
                      <a:pt x="2" y="44"/>
                      <a:pt x="1" y="38"/>
                    </a:cubicBezTo>
                    <a:cubicBezTo>
                      <a:pt x="0" y="32"/>
                      <a:pt x="3" y="26"/>
                      <a:pt x="9" y="24"/>
                    </a:cubicBezTo>
                    <a:cubicBezTo>
                      <a:pt x="23" y="21"/>
                      <a:pt x="37" y="17"/>
                      <a:pt x="51" y="13"/>
                    </a:cubicBezTo>
                    <a:cubicBezTo>
                      <a:pt x="65" y="9"/>
                      <a:pt x="80" y="6"/>
                      <a:pt x="94" y="2"/>
                    </a:cubicBezTo>
                    <a:cubicBezTo>
                      <a:pt x="102" y="0"/>
                      <a:pt x="109" y="5"/>
                      <a:pt x="109" y="1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grpSp>
          <p:nvGrpSpPr>
            <p:cNvPr id="71" name="Gruppieren 281"/>
            <p:cNvGrpSpPr/>
            <p:nvPr/>
          </p:nvGrpSpPr>
          <p:grpSpPr>
            <a:xfrm>
              <a:off x="1389705" y="5293510"/>
              <a:ext cx="724786" cy="724786"/>
              <a:chOff x="15327089" y="6804025"/>
              <a:chExt cx="720725" cy="720725"/>
            </a:xfrm>
            <a:grpFill/>
          </p:grpSpPr>
          <p:sp>
            <p:nvSpPr>
              <p:cNvPr id="72" name="Freeform 10"/>
              <p:cNvSpPr>
                <a:spLocks noEditPoints="1"/>
              </p:cNvSpPr>
              <p:nvPr/>
            </p:nvSpPr>
            <p:spPr bwMode="auto">
              <a:xfrm>
                <a:off x="15327089" y="6804025"/>
                <a:ext cx="495300" cy="720725"/>
              </a:xfrm>
              <a:custGeom>
                <a:avLst/>
                <a:gdLst/>
                <a:ahLst/>
                <a:cxnLst>
                  <a:cxn ang="0">
                    <a:pos x="17" y="176"/>
                  </a:cxn>
                  <a:cxn ang="0">
                    <a:pos x="17" y="172"/>
                  </a:cxn>
                  <a:cxn ang="0">
                    <a:pos x="17" y="16"/>
                  </a:cxn>
                  <a:cxn ang="0">
                    <a:pos x="33" y="0"/>
                  </a:cxn>
                  <a:cxn ang="0">
                    <a:pos x="100" y="0"/>
                  </a:cxn>
                  <a:cxn ang="0">
                    <a:pos x="116" y="16"/>
                  </a:cxn>
                  <a:cxn ang="0">
                    <a:pos x="116" y="172"/>
                  </a:cxn>
                  <a:cxn ang="0">
                    <a:pos x="120" y="176"/>
                  </a:cxn>
                  <a:cxn ang="0">
                    <a:pos x="130" y="176"/>
                  </a:cxn>
                  <a:cxn ang="0">
                    <a:pos x="132" y="178"/>
                  </a:cxn>
                  <a:cxn ang="0">
                    <a:pos x="132" y="189"/>
                  </a:cxn>
                  <a:cxn ang="0">
                    <a:pos x="130" y="191"/>
                  </a:cxn>
                  <a:cxn ang="0">
                    <a:pos x="128" y="191"/>
                  </a:cxn>
                  <a:cxn ang="0">
                    <a:pos x="4" y="191"/>
                  </a:cxn>
                  <a:cxn ang="0">
                    <a:pos x="1" y="188"/>
                  </a:cxn>
                  <a:cxn ang="0">
                    <a:pos x="1" y="178"/>
                  </a:cxn>
                  <a:cxn ang="0">
                    <a:pos x="3" y="176"/>
                  </a:cxn>
                  <a:cxn ang="0">
                    <a:pos x="13" y="176"/>
                  </a:cxn>
                  <a:cxn ang="0">
                    <a:pos x="17" y="176"/>
                  </a:cxn>
                  <a:cxn ang="0">
                    <a:pos x="100" y="64"/>
                  </a:cxn>
                  <a:cxn ang="0">
                    <a:pos x="100" y="16"/>
                  </a:cxn>
                  <a:cxn ang="0">
                    <a:pos x="98" y="15"/>
                  </a:cxn>
                  <a:cxn ang="0">
                    <a:pos x="35" y="15"/>
                  </a:cxn>
                  <a:cxn ang="0">
                    <a:pos x="32" y="18"/>
                  </a:cxn>
                  <a:cxn ang="0">
                    <a:pos x="32" y="61"/>
                  </a:cxn>
                  <a:cxn ang="0">
                    <a:pos x="35" y="64"/>
                  </a:cxn>
                  <a:cxn ang="0">
                    <a:pos x="98" y="64"/>
                  </a:cxn>
                  <a:cxn ang="0">
                    <a:pos x="100" y="64"/>
                  </a:cxn>
                </a:cxnLst>
                <a:rect l="0" t="0" r="r" b="b"/>
                <a:pathLst>
                  <a:path w="132" h="192">
                    <a:moveTo>
                      <a:pt x="17" y="176"/>
                    </a:moveTo>
                    <a:cubicBezTo>
                      <a:pt x="17" y="174"/>
                      <a:pt x="17" y="173"/>
                      <a:pt x="17" y="172"/>
                    </a:cubicBezTo>
                    <a:cubicBezTo>
                      <a:pt x="17" y="120"/>
                      <a:pt x="17" y="68"/>
                      <a:pt x="17" y="16"/>
                    </a:cubicBezTo>
                    <a:cubicBezTo>
                      <a:pt x="17" y="6"/>
                      <a:pt x="23" y="0"/>
                      <a:pt x="33" y="0"/>
                    </a:cubicBezTo>
                    <a:cubicBezTo>
                      <a:pt x="55" y="0"/>
                      <a:pt x="77" y="0"/>
                      <a:pt x="100" y="0"/>
                    </a:cubicBezTo>
                    <a:cubicBezTo>
                      <a:pt x="110" y="0"/>
                      <a:pt x="116" y="6"/>
                      <a:pt x="116" y="16"/>
                    </a:cubicBezTo>
                    <a:cubicBezTo>
                      <a:pt x="116" y="68"/>
                      <a:pt x="116" y="120"/>
                      <a:pt x="116" y="172"/>
                    </a:cubicBezTo>
                    <a:cubicBezTo>
                      <a:pt x="116" y="176"/>
                      <a:pt x="116" y="176"/>
                      <a:pt x="120" y="176"/>
                    </a:cubicBezTo>
                    <a:cubicBezTo>
                      <a:pt x="123" y="176"/>
                      <a:pt x="127" y="176"/>
                      <a:pt x="130" y="176"/>
                    </a:cubicBezTo>
                    <a:cubicBezTo>
                      <a:pt x="132" y="176"/>
                      <a:pt x="132" y="176"/>
                      <a:pt x="132" y="178"/>
                    </a:cubicBezTo>
                    <a:cubicBezTo>
                      <a:pt x="132" y="182"/>
                      <a:pt x="132" y="185"/>
                      <a:pt x="132" y="189"/>
                    </a:cubicBezTo>
                    <a:cubicBezTo>
                      <a:pt x="132" y="191"/>
                      <a:pt x="131" y="192"/>
                      <a:pt x="130" y="191"/>
                    </a:cubicBezTo>
                    <a:cubicBezTo>
                      <a:pt x="129" y="191"/>
                      <a:pt x="129" y="191"/>
                      <a:pt x="128" y="191"/>
                    </a:cubicBezTo>
                    <a:cubicBezTo>
                      <a:pt x="87" y="191"/>
                      <a:pt x="46" y="191"/>
                      <a:pt x="4" y="191"/>
                    </a:cubicBezTo>
                    <a:cubicBezTo>
                      <a:pt x="1" y="191"/>
                      <a:pt x="1" y="191"/>
                      <a:pt x="1" y="188"/>
                    </a:cubicBezTo>
                    <a:cubicBezTo>
                      <a:pt x="1" y="185"/>
                      <a:pt x="1" y="182"/>
                      <a:pt x="1" y="178"/>
                    </a:cubicBezTo>
                    <a:cubicBezTo>
                      <a:pt x="0" y="176"/>
                      <a:pt x="1" y="176"/>
                      <a:pt x="3" y="176"/>
                    </a:cubicBezTo>
                    <a:cubicBezTo>
                      <a:pt x="7" y="176"/>
                      <a:pt x="10" y="176"/>
                      <a:pt x="13" y="176"/>
                    </a:cubicBezTo>
                    <a:cubicBezTo>
                      <a:pt x="14" y="176"/>
                      <a:pt x="15" y="176"/>
                      <a:pt x="17" y="176"/>
                    </a:cubicBezTo>
                    <a:close/>
                    <a:moveTo>
                      <a:pt x="100" y="64"/>
                    </a:moveTo>
                    <a:cubicBezTo>
                      <a:pt x="100" y="47"/>
                      <a:pt x="100" y="32"/>
                      <a:pt x="100" y="16"/>
                    </a:cubicBezTo>
                    <a:cubicBezTo>
                      <a:pt x="99" y="16"/>
                      <a:pt x="99" y="15"/>
                      <a:pt x="98" y="15"/>
                    </a:cubicBezTo>
                    <a:cubicBezTo>
                      <a:pt x="77" y="15"/>
                      <a:pt x="56" y="15"/>
                      <a:pt x="35" y="15"/>
                    </a:cubicBezTo>
                    <a:cubicBezTo>
                      <a:pt x="33" y="15"/>
                      <a:pt x="32" y="16"/>
                      <a:pt x="32" y="18"/>
                    </a:cubicBezTo>
                    <a:cubicBezTo>
                      <a:pt x="32" y="32"/>
                      <a:pt x="32" y="47"/>
                      <a:pt x="32" y="61"/>
                    </a:cubicBezTo>
                    <a:cubicBezTo>
                      <a:pt x="32" y="63"/>
                      <a:pt x="33" y="64"/>
                      <a:pt x="35" y="64"/>
                    </a:cubicBezTo>
                    <a:cubicBezTo>
                      <a:pt x="56" y="64"/>
                      <a:pt x="77" y="64"/>
                      <a:pt x="98" y="64"/>
                    </a:cubicBezTo>
                    <a:cubicBezTo>
                      <a:pt x="98" y="64"/>
                      <a:pt x="99" y="64"/>
                      <a:pt x="10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73" name="Freeform 11"/>
              <p:cNvSpPr>
                <a:spLocks/>
              </p:cNvSpPr>
              <p:nvPr/>
            </p:nvSpPr>
            <p:spPr bwMode="auto">
              <a:xfrm>
                <a:off x="15796989" y="6938963"/>
                <a:ext cx="250825" cy="431800"/>
              </a:xfrm>
              <a:custGeom>
                <a:avLst/>
                <a:gdLst/>
                <a:ahLst/>
                <a:cxnLst>
                  <a:cxn ang="0">
                    <a:pos x="0" y="15"/>
                  </a:cxn>
                  <a:cxn ang="0">
                    <a:pos x="0" y="4"/>
                  </a:cxn>
                  <a:cxn ang="0">
                    <a:pos x="10" y="6"/>
                  </a:cxn>
                  <a:cxn ang="0">
                    <a:pos x="23" y="27"/>
                  </a:cxn>
                  <a:cxn ang="0">
                    <a:pos x="23" y="101"/>
                  </a:cxn>
                  <a:cxn ang="0">
                    <a:pos x="26" y="104"/>
                  </a:cxn>
                  <a:cxn ang="0">
                    <a:pos x="45" y="104"/>
                  </a:cxn>
                  <a:cxn ang="0">
                    <a:pos x="47" y="104"/>
                  </a:cxn>
                  <a:cxn ang="0">
                    <a:pos x="47" y="32"/>
                  </a:cxn>
                  <a:cxn ang="0">
                    <a:pos x="46" y="31"/>
                  </a:cxn>
                  <a:cxn ang="0">
                    <a:pos x="40" y="24"/>
                  </a:cxn>
                  <a:cxn ang="0">
                    <a:pos x="40" y="14"/>
                  </a:cxn>
                  <a:cxn ang="0">
                    <a:pos x="42" y="12"/>
                  </a:cxn>
                  <a:cxn ang="0">
                    <a:pos x="44" y="10"/>
                  </a:cxn>
                  <a:cxn ang="0">
                    <a:pos x="44" y="0"/>
                  </a:cxn>
                  <a:cxn ang="0">
                    <a:pos x="47" y="0"/>
                  </a:cxn>
                  <a:cxn ang="0">
                    <a:pos x="47" y="9"/>
                  </a:cxn>
                  <a:cxn ang="0">
                    <a:pos x="50" y="12"/>
                  </a:cxn>
                  <a:cxn ang="0">
                    <a:pos x="59" y="12"/>
                  </a:cxn>
                  <a:cxn ang="0">
                    <a:pos x="59" y="0"/>
                  </a:cxn>
                  <a:cxn ang="0">
                    <a:pos x="63" y="0"/>
                  </a:cxn>
                  <a:cxn ang="0">
                    <a:pos x="63" y="9"/>
                  </a:cxn>
                  <a:cxn ang="0">
                    <a:pos x="66" y="12"/>
                  </a:cxn>
                  <a:cxn ang="0">
                    <a:pos x="67" y="14"/>
                  </a:cxn>
                  <a:cxn ang="0">
                    <a:pos x="67" y="24"/>
                  </a:cxn>
                  <a:cxn ang="0">
                    <a:pos x="62" y="31"/>
                  </a:cxn>
                  <a:cxn ang="0">
                    <a:pos x="59" y="34"/>
                  </a:cxn>
                  <a:cxn ang="0">
                    <a:pos x="59" y="102"/>
                  </a:cxn>
                  <a:cxn ang="0">
                    <a:pos x="50" y="115"/>
                  </a:cxn>
                  <a:cxn ang="0">
                    <a:pos x="47" y="115"/>
                  </a:cxn>
                  <a:cxn ang="0">
                    <a:pos x="24" y="115"/>
                  </a:cxn>
                  <a:cxn ang="0">
                    <a:pos x="12" y="103"/>
                  </a:cxn>
                  <a:cxn ang="0">
                    <a:pos x="12" y="30"/>
                  </a:cxn>
                  <a:cxn ang="0">
                    <a:pos x="0" y="15"/>
                  </a:cxn>
                </a:cxnLst>
                <a:rect l="0" t="0" r="r" b="b"/>
                <a:pathLst>
                  <a:path w="67" h="115">
                    <a:moveTo>
                      <a:pt x="0" y="15"/>
                    </a:moveTo>
                    <a:cubicBezTo>
                      <a:pt x="0" y="11"/>
                      <a:pt x="0" y="8"/>
                      <a:pt x="0" y="4"/>
                    </a:cubicBezTo>
                    <a:cubicBezTo>
                      <a:pt x="3" y="4"/>
                      <a:pt x="7" y="5"/>
                      <a:pt x="10" y="6"/>
                    </a:cubicBezTo>
                    <a:cubicBezTo>
                      <a:pt x="18" y="11"/>
                      <a:pt x="23" y="18"/>
                      <a:pt x="23" y="27"/>
                    </a:cubicBezTo>
                    <a:cubicBezTo>
                      <a:pt x="23" y="52"/>
                      <a:pt x="23" y="76"/>
                      <a:pt x="23" y="101"/>
                    </a:cubicBezTo>
                    <a:cubicBezTo>
                      <a:pt x="23" y="104"/>
                      <a:pt x="23" y="104"/>
                      <a:pt x="26" y="104"/>
                    </a:cubicBezTo>
                    <a:cubicBezTo>
                      <a:pt x="32" y="104"/>
                      <a:pt x="39" y="104"/>
                      <a:pt x="45" y="104"/>
                    </a:cubicBezTo>
                    <a:cubicBezTo>
                      <a:pt x="46" y="104"/>
                      <a:pt x="46" y="104"/>
                      <a:pt x="47" y="104"/>
                    </a:cubicBezTo>
                    <a:cubicBezTo>
                      <a:pt x="47" y="80"/>
                      <a:pt x="47" y="56"/>
                      <a:pt x="47" y="32"/>
                    </a:cubicBezTo>
                    <a:cubicBezTo>
                      <a:pt x="47" y="32"/>
                      <a:pt x="46" y="31"/>
                      <a:pt x="46" y="31"/>
                    </a:cubicBezTo>
                    <a:cubicBezTo>
                      <a:pt x="42" y="30"/>
                      <a:pt x="40" y="28"/>
                      <a:pt x="40" y="24"/>
                    </a:cubicBezTo>
                    <a:cubicBezTo>
                      <a:pt x="40" y="21"/>
                      <a:pt x="40" y="17"/>
                      <a:pt x="40" y="14"/>
                    </a:cubicBezTo>
                    <a:cubicBezTo>
                      <a:pt x="40" y="12"/>
                      <a:pt x="40" y="12"/>
                      <a:pt x="42" y="12"/>
                    </a:cubicBezTo>
                    <a:cubicBezTo>
                      <a:pt x="43" y="12"/>
                      <a:pt x="44" y="11"/>
                      <a:pt x="44" y="10"/>
                    </a:cubicBezTo>
                    <a:cubicBezTo>
                      <a:pt x="44" y="6"/>
                      <a:pt x="44" y="3"/>
                      <a:pt x="44" y="0"/>
                    </a:cubicBezTo>
                    <a:cubicBezTo>
                      <a:pt x="45" y="0"/>
                      <a:pt x="46" y="0"/>
                      <a:pt x="47" y="0"/>
                    </a:cubicBezTo>
                    <a:cubicBezTo>
                      <a:pt x="47" y="3"/>
                      <a:pt x="47" y="6"/>
                      <a:pt x="47" y="9"/>
                    </a:cubicBezTo>
                    <a:cubicBezTo>
                      <a:pt x="47" y="11"/>
                      <a:pt x="48" y="12"/>
                      <a:pt x="50" y="12"/>
                    </a:cubicBezTo>
                    <a:cubicBezTo>
                      <a:pt x="53" y="12"/>
                      <a:pt x="56" y="12"/>
                      <a:pt x="59" y="12"/>
                    </a:cubicBezTo>
                    <a:cubicBezTo>
                      <a:pt x="59" y="8"/>
                      <a:pt x="59" y="4"/>
                      <a:pt x="59" y="0"/>
                    </a:cubicBezTo>
                    <a:cubicBezTo>
                      <a:pt x="61" y="0"/>
                      <a:pt x="62" y="0"/>
                      <a:pt x="63" y="0"/>
                    </a:cubicBezTo>
                    <a:cubicBezTo>
                      <a:pt x="63" y="3"/>
                      <a:pt x="63" y="6"/>
                      <a:pt x="63" y="9"/>
                    </a:cubicBezTo>
                    <a:cubicBezTo>
                      <a:pt x="63" y="11"/>
                      <a:pt x="63" y="12"/>
                      <a:pt x="66" y="12"/>
                    </a:cubicBezTo>
                    <a:cubicBezTo>
                      <a:pt x="66" y="12"/>
                      <a:pt x="67" y="13"/>
                      <a:pt x="67" y="14"/>
                    </a:cubicBezTo>
                    <a:cubicBezTo>
                      <a:pt x="67" y="17"/>
                      <a:pt x="67" y="21"/>
                      <a:pt x="67" y="24"/>
                    </a:cubicBezTo>
                    <a:cubicBezTo>
                      <a:pt x="67" y="28"/>
                      <a:pt x="65" y="30"/>
                      <a:pt x="62" y="31"/>
                    </a:cubicBezTo>
                    <a:cubicBezTo>
                      <a:pt x="59" y="31"/>
                      <a:pt x="59" y="33"/>
                      <a:pt x="59" y="34"/>
                    </a:cubicBezTo>
                    <a:cubicBezTo>
                      <a:pt x="59" y="57"/>
                      <a:pt x="59" y="80"/>
                      <a:pt x="59" y="102"/>
                    </a:cubicBezTo>
                    <a:cubicBezTo>
                      <a:pt x="59" y="109"/>
                      <a:pt x="56" y="114"/>
                      <a:pt x="50" y="115"/>
                    </a:cubicBezTo>
                    <a:cubicBezTo>
                      <a:pt x="49" y="115"/>
                      <a:pt x="48" y="115"/>
                      <a:pt x="47" y="115"/>
                    </a:cubicBezTo>
                    <a:cubicBezTo>
                      <a:pt x="39" y="115"/>
                      <a:pt x="32" y="115"/>
                      <a:pt x="24" y="115"/>
                    </a:cubicBezTo>
                    <a:cubicBezTo>
                      <a:pt x="16" y="115"/>
                      <a:pt x="12" y="110"/>
                      <a:pt x="12" y="103"/>
                    </a:cubicBezTo>
                    <a:cubicBezTo>
                      <a:pt x="12" y="79"/>
                      <a:pt x="11" y="54"/>
                      <a:pt x="12" y="30"/>
                    </a:cubicBezTo>
                    <a:cubicBezTo>
                      <a:pt x="12" y="23"/>
                      <a:pt x="9" y="17"/>
                      <a:pt x="0" y="1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74" name="Freeform 12"/>
              <p:cNvSpPr>
                <a:spLocks/>
              </p:cNvSpPr>
              <p:nvPr/>
            </p:nvSpPr>
            <p:spPr bwMode="auto">
              <a:xfrm>
                <a:off x="15481076" y="6954838"/>
                <a:ext cx="192088" cy="55563"/>
              </a:xfrm>
              <a:custGeom>
                <a:avLst/>
                <a:gdLst/>
                <a:ahLst/>
                <a:cxnLst>
                  <a:cxn ang="0">
                    <a:pos x="51" y="0"/>
                  </a:cxn>
                  <a:cxn ang="0">
                    <a:pos x="51" y="15"/>
                  </a:cxn>
                  <a:cxn ang="0">
                    <a:pos x="41" y="15"/>
                  </a:cxn>
                  <a:cxn ang="0">
                    <a:pos x="40" y="14"/>
                  </a:cxn>
                  <a:cxn ang="0">
                    <a:pos x="40" y="12"/>
                  </a:cxn>
                  <a:cxn ang="0">
                    <a:pos x="39" y="8"/>
                  </a:cxn>
                  <a:cxn ang="0">
                    <a:pos x="32" y="8"/>
                  </a:cxn>
                  <a:cxn ang="0">
                    <a:pos x="31" y="9"/>
                  </a:cxn>
                  <a:cxn ang="0">
                    <a:pos x="31" y="10"/>
                  </a:cxn>
                  <a:cxn ang="0">
                    <a:pos x="25" y="15"/>
                  </a:cxn>
                  <a:cxn ang="0">
                    <a:pos x="20" y="15"/>
                  </a:cxn>
                  <a:cxn ang="0">
                    <a:pos x="20" y="9"/>
                  </a:cxn>
                  <a:cxn ang="0">
                    <a:pos x="18" y="7"/>
                  </a:cxn>
                  <a:cxn ang="0">
                    <a:pos x="11" y="13"/>
                  </a:cxn>
                  <a:cxn ang="0">
                    <a:pos x="11" y="15"/>
                  </a:cxn>
                  <a:cxn ang="0">
                    <a:pos x="0" y="15"/>
                  </a:cxn>
                  <a:cxn ang="0">
                    <a:pos x="0" y="0"/>
                  </a:cxn>
                  <a:cxn ang="0">
                    <a:pos x="51" y="0"/>
                  </a:cxn>
                </a:cxnLst>
                <a:rect l="0" t="0" r="r" b="b"/>
                <a:pathLst>
                  <a:path w="51" h="15">
                    <a:moveTo>
                      <a:pt x="51" y="0"/>
                    </a:moveTo>
                    <a:cubicBezTo>
                      <a:pt x="51" y="5"/>
                      <a:pt x="51" y="10"/>
                      <a:pt x="51" y="15"/>
                    </a:cubicBezTo>
                    <a:cubicBezTo>
                      <a:pt x="48" y="15"/>
                      <a:pt x="44" y="15"/>
                      <a:pt x="41" y="15"/>
                    </a:cubicBezTo>
                    <a:cubicBezTo>
                      <a:pt x="40" y="15"/>
                      <a:pt x="40" y="15"/>
                      <a:pt x="40" y="14"/>
                    </a:cubicBezTo>
                    <a:cubicBezTo>
                      <a:pt x="40" y="14"/>
                      <a:pt x="40" y="13"/>
                      <a:pt x="40" y="12"/>
                    </a:cubicBezTo>
                    <a:cubicBezTo>
                      <a:pt x="39" y="11"/>
                      <a:pt x="39" y="8"/>
                      <a:pt x="39" y="8"/>
                    </a:cubicBezTo>
                    <a:cubicBezTo>
                      <a:pt x="37" y="7"/>
                      <a:pt x="34" y="7"/>
                      <a:pt x="32" y="8"/>
                    </a:cubicBezTo>
                    <a:cubicBezTo>
                      <a:pt x="32" y="8"/>
                      <a:pt x="31" y="8"/>
                      <a:pt x="31" y="9"/>
                    </a:cubicBezTo>
                    <a:cubicBezTo>
                      <a:pt x="31" y="9"/>
                      <a:pt x="31" y="9"/>
                      <a:pt x="31" y="10"/>
                    </a:cubicBezTo>
                    <a:cubicBezTo>
                      <a:pt x="31" y="15"/>
                      <a:pt x="31" y="15"/>
                      <a:pt x="25" y="15"/>
                    </a:cubicBezTo>
                    <a:cubicBezTo>
                      <a:pt x="23" y="15"/>
                      <a:pt x="22" y="15"/>
                      <a:pt x="20" y="15"/>
                    </a:cubicBezTo>
                    <a:cubicBezTo>
                      <a:pt x="20" y="13"/>
                      <a:pt x="20" y="11"/>
                      <a:pt x="20" y="9"/>
                    </a:cubicBezTo>
                    <a:cubicBezTo>
                      <a:pt x="20" y="8"/>
                      <a:pt x="19" y="7"/>
                      <a:pt x="18" y="7"/>
                    </a:cubicBezTo>
                    <a:cubicBezTo>
                      <a:pt x="11" y="7"/>
                      <a:pt x="11" y="7"/>
                      <a:pt x="11" y="13"/>
                    </a:cubicBezTo>
                    <a:cubicBezTo>
                      <a:pt x="11" y="14"/>
                      <a:pt x="11" y="14"/>
                      <a:pt x="11" y="15"/>
                    </a:cubicBezTo>
                    <a:cubicBezTo>
                      <a:pt x="7" y="15"/>
                      <a:pt x="4" y="15"/>
                      <a:pt x="0" y="15"/>
                    </a:cubicBezTo>
                    <a:cubicBezTo>
                      <a:pt x="0" y="10"/>
                      <a:pt x="0" y="5"/>
                      <a:pt x="0" y="0"/>
                    </a:cubicBezTo>
                    <a:cubicBezTo>
                      <a:pt x="17" y="0"/>
                      <a:pt x="34" y="0"/>
                      <a:pt x="5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grpSp>
          <p:nvGrpSpPr>
            <p:cNvPr id="75" name="Gruppieren 289"/>
            <p:cNvGrpSpPr/>
            <p:nvPr/>
          </p:nvGrpSpPr>
          <p:grpSpPr>
            <a:xfrm>
              <a:off x="7244257" y="2749929"/>
              <a:ext cx="542792" cy="828555"/>
              <a:chOff x="16246251" y="1666875"/>
              <a:chExt cx="539750" cy="823913"/>
            </a:xfrm>
            <a:grpFill/>
          </p:grpSpPr>
          <p:sp>
            <p:nvSpPr>
              <p:cNvPr id="76" name="Freeform 40"/>
              <p:cNvSpPr>
                <a:spLocks noEditPoints="1"/>
              </p:cNvSpPr>
              <p:nvPr/>
            </p:nvSpPr>
            <p:spPr bwMode="auto">
              <a:xfrm>
                <a:off x="16246251" y="1771650"/>
                <a:ext cx="539750" cy="719138"/>
              </a:xfrm>
              <a:custGeom>
                <a:avLst/>
                <a:gdLst/>
                <a:ahLst/>
                <a:cxnLst>
                  <a:cxn ang="0">
                    <a:pos x="100" y="0"/>
                  </a:cxn>
                  <a:cxn ang="0">
                    <a:pos x="119" y="0"/>
                  </a:cxn>
                  <a:cxn ang="0">
                    <a:pos x="141" y="0"/>
                  </a:cxn>
                  <a:cxn ang="0">
                    <a:pos x="144" y="3"/>
                  </a:cxn>
                  <a:cxn ang="0">
                    <a:pos x="144" y="32"/>
                  </a:cxn>
                  <a:cxn ang="0">
                    <a:pos x="144" y="179"/>
                  </a:cxn>
                  <a:cxn ang="0">
                    <a:pos x="134" y="192"/>
                  </a:cxn>
                  <a:cxn ang="0">
                    <a:pos x="130" y="192"/>
                  </a:cxn>
                  <a:cxn ang="0">
                    <a:pos x="13" y="192"/>
                  </a:cxn>
                  <a:cxn ang="0">
                    <a:pos x="0" y="179"/>
                  </a:cxn>
                  <a:cxn ang="0">
                    <a:pos x="0" y="59"/>
                  </a:cxn>
                  <a:cxn ang="0">
                    <a:pos x="3" y="55"/>
                  </a:cxn>
                  <a:cxn ang="0">
                    <a:pos x="97" y="14"/>
                  </a:cxn>
                  <a:cxn ang="0">
                    <a:pos x="100" y="9"/>
                  </a:cxn>
                  <a:cxn ang="0">
                    <a:pos x="100" y="0"/>
                  </a:cxn>
                  <a:cxn ang="0">
                    <a:pos x="32" y="112"/>
                  </a:cxn>
                  <a:cxn ang="0">
                    <a:pos x="71" y="152"/>
                  </a:cxn>
                  <a:cxn ang="0">
                    <a:pos x="112" y="113"/>
                  </a:cxn>
                  <a:cxn ang="0">
                    <a:pos x="73" y="72"/>
                  </a:cxn>
                  <a:cxn ang="0">
                    <a:pos x="32" y="112"/>
                  </a:cxn>
                </a:cxnLst>
                <a:rect l="0" t="0" r="r" b="b"/>
                <a:pathLst>
                  <a:path w="144" h="192">
                    <a:moveTo>
                      <a:pt x="100" y="0"/>
                    </a:moveTo>
                    <a:cubicBezTo>
                      <a:pt x="106" y="0"/>
                      <a:pt x="113" y="0"/>
                      <a:pt x="119" y="0"/>
                    </a:cubicBezTo>
                    <a:cubicBezTo>
                      <a:pt x="126" y="0"/>
                      <a:pt x="134" y="0"/>
                      <a:pt x="141" y="0"/>
                    </a:cubicBezTo>
                    <a:cubicBezTo>
                      <a:pt x="143" y="0"/>
                      <a:pt x="144" y="1"/>
                      <a:pt x="144" y="3"/>
                    </a:cubicBezTo>
                    <a:cubicBezTo>
                      <a:pt x="143" y="13"/>
                      <a:pt x="144" y="23"/>
                      <a:pt x="144" y="32"/>
                    </a:cubicBezTo>
                    <a:cubicBezTo>
                      <a:pt x="144" y="81"/>
                      <a:pt x="144" y="130"/>
                      <a:pt x="144" y="179"/>
                    </a:cubicBezTo>
                    <a:cubicBezTo>
                      <a:pt x="144" y="186"/>
                      <a:pt x="140" y="190"/>
                      <a:pt x="134" y="192"/>
                    </a:cubicBezTo>
                    <a:cubicBezTo>
                      <a:pt x="133" y="192"/>
                      <a:pt x="132" y="192"/>
                      <a:pt x="130" y="192"/>
                    </a:cubicBezTo>
                    <a:cubicBezTo>
                      <a:pt x="91" y="192"/>
                      <a:pt x="52" y="192"/>
                      <a:pt x="13" y="192"/>
                    </a:cubicBezTo>
                    <a:cubicBezTo>
                      <a:pt x="6" y="192"/>
                      <a:pt x="0" y="187"/>
                      <a:pt x="0" y="179"/>
                    </a:cubicBezTo>
                    <a:cubicBezTo>
                      <a:pt x="0" y="139"/>
                      <a:pt x="0" y="99"/>
                      <a:pt x="0" y="59"/>
                    </a:cubicBezTo>
                    <a:cubicBezTo>
                      <a:pt x="0" y="57"/>
                      <a:pt x="1" y="56"/>
                      <a:pt x="3" y="55"/>
                    </a:cubicBezTo>
                    <a:cubicBezTo>
                      <a:pt x="34" y="41"/>
                      <a:pt x="65" y="27"/>
                      <a:pt x="97" y="14"/>
                    </a:cubicBezTo>
                    <a:cubicBezTo>
                      <a:pt x="99" y="13"/>
                      <a:pt x="100" y="11"/>
                      <a:pt x="100" y="9"/>
                    </a:cubicBezTo>
                    <a:cubicBezTo>
                      <a:pt x="100" y="6"/>
                      <a:pt x="100" y="3"/>
                      <a:pt x="100" y="0"/>
                    </a:cubicBezTo>
                    <a:close/>
                    <a:moveTo>
                      <a:pt x="32" y="112"/>
                    </a:moveTo>
                    <a:cubicBezTo>
                      <a:pt x="32" y="134"/>
                      <a:pt x="50" y="152"/>
                      <a:pt x="71" y="152"/>
                    </a:cubicBezTo>
                    <a:cubicBezTo>
                      <a:pt x="93" y="152"/>
                      <a:pt x="112" y="134"/>
                      <a:pt x="112" y="113"/>
                    </a:cubicBezTo>
                    <a:cubicBezTo>
                      <a:pt x="112" y="91"/>
                      <a:pt x="95" y="73"/>
                      <a:pt x="73" y="72"/>
                    </a:cubicBezTo>
                    <a:cubicBezTo>
                      <a:pt x="51" y="71"/>
                      <a:pt x="32" y="89"/>
                      <a:pt x="32" y="11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77" name="Freeform 41"/>
              <p:cNvSpPr>
                <a:spLocks/>
              </p:cNvSpPr>
              <p:nvPr/>
            </p:nvSpPr>
            <p:spPr bwMode="auto">
              <a:xfrm>
                <a:off x="16620901" y="1666875"/>
                <a:ext cx="165100" cy="74613"/>
              </a:xfrm>
              <a:custGeom>
                <a:avLst/>
                <a:gdLst/>
                <a:ahLst/>
                <a:cxnLst>
                  <a:cxn ang="0">
                    <a:pos x="0" y="19"/>
                  </a:cxn>
                  <a:cxn ang="0">
                    <a:pos x="0" y="8"/>
                  </a:cxn>
                  <a:cxn ang="0">
                    <a:pos x="7" y="0"/>
                  </a:cxn>
                  <a:cxn ang="0">
                    <a:pos x="36" y="0"/>
                  </a:cxn>
                  <a:cxn ang="0">
                    <a:pos x="43" y="7"/>
                  </a:cxn>
                  <a:cxn ang="0">
                    <a:pos x="43" y="18"/>
                  </a:cxn>
                  <a:cxn ang="0">
                    <a:pos x="42" y="20"/>
                  </a:cxn>
                  <a:cxn ang="0">
                    <a:pos x="1" y="20"/>
                  </a:cxn>
                  <a:cxn ang="0">
                    <a:pos x="0" y="19"/>
                  </a:cxn>
                </a:cxnLst>
                <a:rect l="0" t="0" r="r" b="b"/>
                <a:pathLst>
                  <a:path w="44" h="20">
                    <a:moveTo>
                      <a:pt x="0" y="19"/>
                    </a:moveTo>
                    <a:cubicBezTo>
                      <a:pt x="0" y="15"/>
                      <a:pt x="0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7" y="0"/>
                      <a:pt x="26" y="0"/>
                      <a:pt x="36" y="0"/>
                    </a:cubicBezTo>
                    <a:cubicBezTo>
                      <a:pt x="40" y="0"/>
                      <a:pt x="43" y="3"/>
                      <a:pt x="43" y="7"/>
                    </a:cubicBezTo>
                    <a:cubicBezTo>
                      <a:pt x="44" y="11"/>
                      <a:pt x="44" y="15"/>
                      <a:pt x="43" y="18"/>
                    </a:cubicBezTo>
                    <a:cubicBezTo>
                      <a:pt x="43" y="19"/>
                      <a:pt x="42" y="20"/>
                      <a:pt x="42" y="20"/>
                    </a:cubicBezTo>
                    <a:cubicBezTo>
                      <a:pt x="28" y="20"/>
                      <a:pt x="14" y="20"/>
                      <a:pt x="1" y="20"/>
                    </a:cubicBezTo>
                    <a:cubicBezTo>
                      <a:pt x="1" y="20"/>
                      <a:pt x="0" y="20"/>
                      <a:pt x="0" y="1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78" name="Freeform 42"/>
              <p:cNvSpPr>
                <a:spLocks/>
              </p:cNvSpPr>
              <p:nvPr/>
            </p:nvSpPr>
            <p:spPr bwMode="auto">
              <a:xfrm>
                <a:off x="16438339" y="2093912"/>
                <a:ext cx="157163" cy="209550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32" y="14"/>
                  </a:cxn>
                  <a:cxn ang="0">
                    <a:pos x="40" y="30"/>
                  </a:cxn>
                  <a:cxn ang="0">
                    <a:pos x="25" y="54"/>
                  </a:cxn>
                  <a:cxn ang="0">
                    <a:pos x="1" y="38"/>
                  </a:cxn>
                  <a:cxn ang="0">
                    <a:pos x="4" y="23"/>
                  </a:cxn>
                  <a:cxn ang="0">
                    <a:pos x="15" y="8"/>
                  </a:cxn>
                  <a:cxn ang="0">
                    <a:pos x="21" y="0"/>
                  </a:cxn>
                </a:cxnLst>
                <a:rect l="0" t="0" r="r" b="b"/>
                <a:pathLst>
                  <a:path w="42" h="56">
                    <a:moveTo>
                      <a:pt x="21" y="0"/>
                    </a:moveTo>
                    <a:cubicBezTo>
                      <a:pt x="24" y="5"/>
                      <a:pt x="28" y="9"/>
                      <a:pt x="32" y="14"/>
                    </a:cubicBezTo>
                    <a:cubicBezTo>
                      <a:pt x="36" y="19"/>
                      <a:pt x="39" y="24"/>
                      <a:pt x="40" y="30"/>
                    </a:cubicBezTo>
                    <a:cubicBezTo>
                      <a:pt x="42" y="41"/>
                      <a:pt x="35" y="52"/>
                      <a:pt x="25" y="54"/>
                    </a:cubicBezTo>
                    <a:cubicBezTo>
                      <a:pt x="14" y="56"/>
                      <a:pt x="3" y="48"/>
                      <a:pt x="1" y="38"/>
                    </a:cubicBezTo>
                    <a:cubicBezTo>
                      <a:pt x="0" y="32"/>
                      <a:pt x="1" y="27"/>
                      <a:pt x="4" y="23"/>
                    </a:cubicBezTo>
                    <a:cubicBezTo>
                      <a:pt x="7" y="18"/>
                      <a:pt x="11" y="13"/>
                      <a:pt x="15" y="8"/>
                    </a:cubicBezTo>
                    <a:cubicBezTo>
                      <a:pt x="17" y="5"/>
                      <a:pt x="19" y="2"/>
                      <a:pt x="2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grpSp>
          <p:nvGrpSpPr>
            <p:cNvPr id="79" name="Gruppieren 296"/>
            <p:cNvGrpSpPr/>
            <p:nvPr/>
          </p:nvGrpSpPr>
          <p:grpSpPr>
            <a:xfrm>
              <a:off x="2296867" y="4020095"/>
              <a:ext cx="844520" cy="769488"/>
              <a:chOff x="16722501" y="5559425"/>
              <a:chExt cx="839788" cy="765176"/>
            </a:xfrm>
            <a:grpFill/>
          </p:grpSpPr>
          <p:sp>
            <p:nvSpPr>
              <p:cNvPr id="80" name="Freeform 30"/>
              <p:cNvSpPr>
                <a:spLocks/>
              </p:cNvSpPr>
              <p:nvPr/>
            </p:nvSpPr>
            <p:spPr bwMode="auto">
              <a:xfrm>
                <a:off x="16827276" y="5713413"/>
                <a:ext cx="630238" cy="611188"/>
              </a:xfrm>
              <a:custGeom>
                <a:avLst/>
                <a:gdLst/>
                <a:ahLst/>
                <a:cxnLst>
                  <a:cxn ang="0">
                    <a:pos x="56" y="163"/>
                  </a:cxn>
                  <a:cxn ang="0">
                    <a:pos x="1" y="163"/>
                  </a:cxn>
                  <a:cxn ang="0">
                    <a:pos x="0" y="161"/>
                  </a:cxn>
                  <a:cxn ang="0">
                    <a:pos x="0" y="62"/>
                  </a:cxn>
                  <a:cxn ang="0">
                    <a:pos x="2" y="58"/>
                  </a:cxn>
                  <a:cxn ang="0">
                    <a:pos x="82" y="1"/>
                  </a:cxn>
                  <a:cxn ang="0">
                    <a:pos x="87" y="1"/>
                  </a:cxn>
                  <a:cxn ang="0">
                    <a:pos x="166" y="58"/>
                  </a:cxn>
                  <a:cxn ang="0">
                    <a:pos x="168" y="62"/>
                  </a:cxn>
                  <a:cxn ang="0">
                    <a:pos x="168" y="160"/>
                  </a:cxn>
                  <a:cxn ang="0">
                    <a:pos x="165" y="163"/>
                  </a:cxn>
                  <a:cxn ang="0">
                    <a:pos x="115" y="163"/>
                  </a:cxn>
                  <a:cxn ang="0">
                    <a:pos x="112" y="163"/>
                  </a:cxn>
                  <a:cxn ang="0">
                    <a:pos x="112" y="160"/>
                  </a:cxn>
                  <a:cxn ang="0">
                    <a:pos x="112" y="98"/>
                  </a:cxn>
                  <a:cxn ang="0">
                    <a:pos x="109" y="95"/>
                  </a:cxn>
                  <a:cxn ang="0">
                    <a:pos x="59" y="95"/>
                  </a:cxn>
                  <a:cxn ang="0">
                    <a:pos x="56" y="98"/>
                  </a:cxn>
                  <a:cxn ang="0">
                    <a:pos x="56" y="160"/>
                  </a:cxn>
                  <a:cxn ang="0">
                    <a:pos x="56" y="163"/>
                  </a:cxn>
                </a:cxnLst>
                <a:rect l="0" t="0" r="r" b="b"/>
                <a:pathLst>
                  <a:path w="168" h="163">
                    <a:moveTo>
                      <a:pt x="56" y="163"/>
                    </a:moveTo>
                    <a:cubicBezTo>
                      <a:pt x="37" y="163"/>
                      <a:pt x="19" y="163"/>
                      <a:pt x="1" y="163"/>
                    </a:cubicBezTo>
                    <a:cubicBezTo>
                      <a:pt x="1" y="162"/>
                      <a:pt x="0" y="161"/>
                      <a:pt x="0" y="161"/>
                    </a:cubicBezTo>
                    <a:cubicBezTo>
                      <a:pt x="0" y="128"/>
                      <a:pt x="0" y="95"/>
                      <a:pt x="0" y="62"/>
                    </a:cubicBezTo>
                    <a:cubicBezTo>
                      <a:pt x="0" y="60"/>
                      <a:pt x="1" y="59"/>
                      <a:pt x="2" y="58"/>
                    </a:cubicBezTo>
                    <a:cubicBezTo>
                      <a:pt x="29" y="39"/>
                      <a:pt x="55" y="20"/>
                      <a:pt x="82" y="1"/>
                    </a:cubicBezTo>
                    <a:cubicBezTo>
                      <a:pt x="84" y="0"/>
                      <a:pt x="85" y="0"/>
                      <a:pt x="87" y="1"/>
                    </a:cubicBezTo>
                    <a:cubicBezTo>
                      <a:pt x="113" y="20"/>
                      <a:pt x="140" y="39"/>
                      <a:pt x="166" y="58"/>
                    </a:cubicBezTo>
                    <a:cubicBezTo>
                      <a:pt x="167" y="59"/>
                      <a:pt x="168" y="60"/>
                      <a:pt x="168" y="62"/>
                    </a:cubicBezTo>
                    <a:cubicBezTo>
                      <a:pt x="168" y="95"/>
                      <a:pt x="168" y="128"/>
                      <a:pt x="168" y="160"/>
                    </a:cubicBezTo>
                    <a:cubicBezTo>
                      <a:pt x="168" y="163"/>
                      <a:pt x="167" y="163"/>
                      <a:pt x="165" y="163"/>
                    </a:cubicBezTo>
                    <a:cubicBezTo>
                      <a:pt x="149" y="163"/>
                      <a:pt x="132" y="163"/>
                      <a:pt x="115" y="163"/>
                    </a:cubicBezTo>
                    <a:cubicBezTo>
                      <a:pt x="114" y="163"/>
                      <a:pt x="114" y="163"/>
                      <a:pt x="112" y="163"/>
                    </a:cubicBezTo>
                    <a:cubicBezTo>
                      <a:pt x="112" y="162"/>
                      <a:pt x="112" y="161"/>
                      <a:pt x="112" y="160"/>
                    </a:cubicBezTo>
                    <a:cubicBezTo>
                      <a:pt x="112" y="139"/>
                      <a:pt x="112" y="119"/>
                      <a:pt x="112" y="98"/>
                    </a:cubicBezTo>
                    <a:cubicBezTo>
                      <a:pt x="112" y="96"/>
                      <a:pt x="112" y="95"/>
                      <a:pt x="109" y="95"/>
                    </a:cubicBezTo>
                    <a:cubicBezTo>
                      <a:pt x="93" y="95"/>
                      <a:pt x="76" y="95"/>
                      <a:pt x="59" y="95"/>
                    </a:cubicBezTo>
                    <a:cubicBezTo>
                      <a:pt x="57" y="95"/>
                      <a:pt x="56" y="96"/>
                      <a:pt x="56" y="98"/>
                    </a:cubicBezTo>
                    <a:cubicBezTo>
                      <a:pt x="56" y="119"/>
                      <a:pt x="56" y="139"/>
                      <a:pt x="56" y="160"/>
                    </a:cubicBezTo>
                    <a:cubicBezTo>
                      <a:pt x="56" y="161"/>
                      <a:pt x="56" y="162"/>
                      <a:pt x="56" y="1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81" name="Freeform 31"/>
              <p:cNvSpPr>
                <a:spLocks/>
              </p:cNvSpPr>
              <p:nvPr/>
            </p:nvSpPr>
            <p:spPr bwMode="auto">
              <a:xfrm>
                <a:off x="16722501" y="5559425"/>
                <a:ext cx="839788" cy="377825"/>
              </a:xfrm>
              <a:custGeom>
                <a:avLst/>
                <a:gdLst/>
                <a:ahLst/>
                <a:cxnLst>
                  <a:cxn ang="0">
                    <a:pos x="224" y="88"/>
                  </a:cxn>
                  <a:cxn ang="0">
                    <a:pos x="215" y="101"/>
                  </a:cxn>
                  <a:cxn ang="0">
                    <a:pos x="202" y="92"/>
                  </a:cxn>
                  <a:cxn ang="0">
                    <a:pos x="115" y="29"/>
                  </a:cxn>
                  <a:cxn ang="0">
                    <a:pos x="110" y="29"/>
                  </a:cxn>
                  <a:cxn ang="0">
                    <a:pos x="12" y="100"/>
                  </a:cxn>
                  <a:cxn ang="0">
                    <a:pos x="10" y="101"/>
                  </a:cxn>
                  <a:cxn ang="0">
                    <a:pos x="0" y="88"/>
                  </a:cxn>
                  <a:cxn ang="0">
                    <a:pos x="112" y="8"/>
                  </a:cxn>
                  <a:cxn ang="0">
                    <a:pos x="156" y="40"/>
                  </a:cxn>
                  <a:cxn ang="0">
                    <a:pos x="156" y="36"/>
                  </a:cxn>
                  <a:cxn ang="0">
                    <a:pos x="156" y="3"/>
                  </a:cxn>
                  <a:cxn ang="0">
                    <a:pos x="159" y="0"/>
                  </a:cxn>
                  <a:cxn ang="0">
                    <a:pos x="181" y="1"/>
                  </a:cxn>
                  <a:cxn ang="0">
                    <a:pos x="184" y="4"/>
                  </a:cxn>
                  <a:cxn ang="0">
                    <a:pos x="184" y="56"/>
                  </a:cxn>
                  <a:cxn ang="0">
                    <a:pos x="187" y="62"/>
                  </a:cxn>
                  <a:cxn ang="0">
                    <a:pos x="222" y="87"/>
                  </a:cxn>
                  <a:cxn ang="0">
                    <a:pos x="224" y="88"/>
                  </a:cxn>
                </a:cxnLst>
                <a:rect l="0" t="0" r="r" b="b"/>
                <a:pathLst>
                  <a:path w="224" h="101">
                    <a:moveTo>
                      <a:pt x="224" y="88"/>
                    </a:moveTo>
                    <a:cubicBezTo>
                      <a:pt x="221" y="93"/>
                      <a:pt x="218" y="97"/>
                      <a:pt x="215" y="101"/>
                    </a:cubicBezTo>
                    <a:cubicBezTo>
                      <a:pt x="210" y="98"/>
                      <a:pt x="206" y="95"/>
                      <a:pt x="202" y="92"/>
                    </a:cubicBezTo>
                    <a:cubicBezTo>
                      <a:pt x="173" y="71"/>
                      <a:pt x="143" y="50"/>
                      <a:pt x="115" y="29"/>
                    </a:cubicBezTo>
                    <a:cubicBezTo>
                      <a:pt x="113" y="28"/>
                      <a:pt x="112" y="28"/>
                      <a:pt x="110" y="29"/>
                    </a:cubicBezTo>
                    <a:cubicBezTo>
                      <a:pt x="77" y="53"/>
                      <a:pt x="44" y="76"/>
                      <a:pt x="12" y="100"/>
                    </a:cubicBezTo>
                    <a:cubicBezTo>
                      <a:pt x="11" y="100"/>
                      <a:pt x="10" y="101"/>
                      <a:pt x="10" y="101"/>
                    </a:cubicBezTo>
                    <a:cubicBezTo>
                      <a:pt x="7" y="97"/>
                      <a:pt x="4" y="93"/>
                      <a:pt x="0" y="88"/>
                    </a:cubicBezTo>
                    <a:cubicBezTo>
                      <a:pt x="38" y="62"/>
                      <a:pt x="75" y="35"/>
                      <a:pt x="112" y="8"/>
                    </a:cubicBezTo>
                    <a:cubicBezTo>
                      <a:pt x="127" y="19"/>
                      <a:pt x="141" y="29"/>
                      <a:pt x="156" y="40"/>
                    </a:cubicBezTo>
                    <a:cubicBezTo>
                      <a:pt x="156" y="38"/>
                      <a:pt x="156" y="37"/>
                      <a:pt x="156" y="36"/>
                    </a:cubicBezTo>
                    <a:cubicBezTo>
                      <a:pt x="156" y="25"/>
                      <a:pt x="157" y="14"/>
                      <a:pt x="156" y="3"/>
                    </a:cubicBezTo>
                    <a:cubicBezTo>
                      <a:pt x="156" y="1"/>
                      <a:pt x="157" y="0"/>
                      <a:pt x="159" y="0"/>
                    </a:cubicBezTo>
                    <a:cubicBezTo>
                      <a:pt x="166" y="1"/>
                      <a:pt x="174" y="1"/>
                      <a:pt x="181" y="1"/>
                    </a:cubicBezTo>
                    <a:cubicBezTo>
                      <a:pt x="184" y="1"/>
                      <a:pt x="184" y="1"/>
                      <a:pt x="184" y="4"/>
                    </a:cubicBezTo>
                    <a:cubicBezTo>
                      <a:pt x="184" y="21"/>
                      <a:pt x="184" y="39"/>
                      <a:pt x="184" y="56"/>
                    </a:cubicBezTo>
                    <a:cubicBezTo>
                      <a:pt x="184" y="59"/>
                      <a:pt x="185" y="60"/>
                      <a:pt x="187" y="62"/>
                    </a:cubicBezTo>
                    <a:cubicBezTo>
                      <a:pt x="199" y="70"/>
                      <a:pt x="210" y="78"/>
                      <a:pt x="222" y="87"/>
                    </a:cubicBezTo>
                    <a:cubicBezTo>
                      <a:pt x="223" y="87"/>
                      <a:pt x="223" y="88"/>
                      <a:pt x="224" y="8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sp>
          <p:nvSpPr>
            <p:cNvPr id="82" name="Freeform 55"/>
            <p:cNvSpPr>
              <a:spLocks/>
            </p:cNvSpPr>
            <p:nvPr/>
          </p:nvSpPr>
          <p:spPr bwMode="auto">
            <a:xfrm>
              <a:off x="3247134" y="2737439"/>
              <a:ext cx="846116" cy="810994"/>
            </a:xfrm>
            <a:custGeom>
              <a:avLst/>
              <a:gdLst/>
              <a:ahLst/>
              <a:cxnLst>
                <a:cxn ang="0">
                  <a:pos x="60" y="215"/>
                </a:cxn>
                <a:cxn ang="0">
                  <a:pos x="92" y="120"/>
                </a:cxn>
                <a:cxn ang="0">
                  <a:pos x="89" y="119"/>
                </a:cxn>
                <a:cxn ang="0">
                  <a:pos x="42" y="119"/>
                </a:cxn>
                <a:cxn ang="0">
                  <a:pos x="38" y="122"/>
                </a:cxn>
                <a:cxn ang="0">
                  <a:pos x="25" y="142"/>
                </a:cxn>
                <a:cxn ang="0">
                  <a:pos x="22" y="143"/>
                </a:cxn>
                <a:cxn ang="0">
                  <a:pos x="2" y="143"/>
                </a:cxn>
                <a:cxn ang="0">
                  <a:pos x="0" y="143"/>
                </a:cxn>
                <a:cxn ang="0">
                  <a:pos x="6" y="126"/>
                </a:cxn>
                <a:cxn ang="0">
                  <a:pos x="11" y="110"/>
                </a:cxn>
                <a:cxn ang="0">
                  <a:pos x="11" y="105"/>
                </a:cxn>
                <a:cxn ang="0">
                  <a:pos x="1" y="75"/>
                </a:cxn>
                <a:cxn ang="0">
                  <a:pos x="0" y="72"/>
                </a:cxn>
                <a:cxn ang="0">
                  <a:pos x="2" y="72"/>
                </a:cxn>
                <a:cxn ang="0">
                  <a:pos x="22" y="72"/>
                </a:cxn>
                <a:cxn ang="0">
                  <a:pos x="25" y="74"/>
                </a:cxn>
                <a:cxn ang="0">
                  <a:pos x="39" y="94"/>
                </a:cxn>
                <a:cxn ang="0">
                  <a:pos x="42" y="96"/>
                </a:cxn>
                <a:cxn ang="0">
                  <a:pos x="90" y="96"/>
                </a:cxn>
                <a:cxn ang="0">
                  <a:pos x="92" y="96"/>
                </a:cxn>
                <a:cxn ang="0">
                  <a:pos x="60" y="0"/>
                </a:cxn>
                <a:cxn ang="0">
                  <a:pos x="63" y="0"/>
                </a:cxn>
                <a:cxn ang="0">
                  <a:pos x="81" y="0"/>
                </a:cxn>
                <a:cxn ang="0">
                  <a:pos x="85" y="2"/>
                </a:cxn>
                <a:cxn ang="0">
                  <a:pos x="142" y="93"/>
                </a:cxn>
                <a:cxn ang="0">
                  <a:pos x="147" y="96"/>
                </a:cxn>
                <a:cxn ang="0">
                  <a:pos x="211" y="96"/>
                </a:cxn>
                <a:cxn ang="0">
                  <a:pos x="224" y="108"/>
                </a:cxn>
                <a:cxn ang="0">
                  <a:pos x="213" y="119"/>
                </a:cxn>
                <a:cxn ang="0">
                  <a:pos x="210" y="119"/>
                </a:cxn>
                <a:cxn ang="0">
                  <a:pos x="147" y="119"/>
                </a:cxn>
                <a:cxn ang="0">
                  <a:pos x="142" y="122"/>
                </a:cxn>
                <a:cxn ang="0">
                  <a:pos x="85" y="213"/>
                </a:cxn>
                <a:cxn ang="0">
                  <a:pos x="81" y="215"/>
                </a:cxn>
                <a:cxn ang="0">
                  <a:pos x="63" y="215"/>
                </a:cxn>
                <a:cxn ang="0">
                  <a:pos x="60" y="215"/>
                </a:cxn>
              </a:cxnLst>
              <a:rect l="0" t="0" r="r" b="b"/>
              <a:pathLst>
                <a:path w="224" h="215">
                  <a:moveTo>
                    <a:pt x="60" y="215"/>
                  </a:moveTo>
                  <a:cubicBezTo>
                    <a:pt x="71" y="183"/>
                    <a:pt x="81" y="152"/>
                    <a:pt x="92" y="120"/>
                  </a:cubicBezTo>
                  <a:cubicBezTo>
                    <a:pt x="91" y="119"/>
                    <a:pt x="90" y="119"/>
                    <a:pt x="89" y="119"/>
                  </a:cubicBezTo>
                  <a:cubicBezTo>
                    <a:pt x="73" y="119"/>
                    <a:pt x="58" y="119"/>
                    <a:pt x="42" y="119"/>
                  </a:cubicBezTo>
                  <a:cubicBezTo>
                    <a:pt x="40" y="119"/>
                    <a:pt x="39" y="120"/>
                    <a:pt x="38" y="122"/>
                  </a:cubicBezTo>
                  <a:cubicBezTo>
                    <a:pt x="34" y="128"/>
                    <a:pt x="29" y="135"/>
                    <a:pt x="25" y="142"/>
                  </a:cubicBezTo>
                  <a:cubicBezTo>
                    <a:pt x="24" y="142"/>
                    <a:pt x="23" y="143"/>
                    <a:pt x="22" y="143"/>
                  </a:cubicBezTo>
                  <a:cubicBezTo>
                    <a:pt x="15" y="143"/>
                    <a:pt x="9" y="143"/>
                    <a:pt x="2" y="143"/>
                  </a:cubicBezTo>
                  <a:cubicBezTo>
                    <a:pt x="2" y="143"/>
                    <a:pt x="1" y="143"/>
                    <a:pt x="0" y="143"/>
                  </a:cubicBezTo>
                  <a:cubicBezTo>
                    <a:pt x="2" y="137"/>
                    <a:pt x="4" y="132"/>
                    <a:pt x="6" y="126"/>
                  </a:cubicBezTo>
                  <a:cubicBezTo>
                    <a:pt x="8" y="121"/>
                    <a:pt x="9" y="115"/>
                    <a:pt x="11" y="110"/>
                  </a:cubicBezTo>
                  <a:cubicBezTo>
                    <a:pt x="11" y="109"/>
                    <a:pt x="12" y="107"/>
                    <a:pt x="11" y="105"/>
                  </a:cubicBezTo>
                  <a:cubicBezTo>
                    <a:pt x="8" y="95"/>
                    <a:pt x="4" y="85"/>
                    <a:pt x="1" y="75"/>
                  </a:cubicBezTo>
                  <a:cubicBezTo>
                    <a:pt x="1" y="74"/>
                    <a:pt x="1" y="73"/>
                    <a:pt x="0" y="72"/>
                  </a:cubicBezTo>
                  <a:cubicBezTo>
                    <a:pt x="1" y="72"/>
                    <a:pt x="1" y="72"/>
                    <a:pt x="2" y="72"/>
                  </a:cubicBezTo>
                  <a:cubicBezTo>
                    <a:pt x="9" y="72"/>
                    <a:pt x="15" y="72"/>
                    <a:pt x="22" y="72"/>
                  </a:cubicBezTo>
                  <a:cubicBezTo>
                    <a:pt x="23" y="72"/>
                    <a:pt x="24" y="73"/>
                    <a:pt x="25" y="74"/>
                  </a:cubicBezTo>
                  <a:cubicBezTo>
                    <a:pt x="30" y="80"/>
                    <a:pt x="34" y="87"/>
                    <a:pt x="39" y="94"/>
                  </a:cubicBezTo>
                  <a:cubicBezTo>
                    <a:pt x="39" y="95"/>
                    <a:pt x="41" y="96"/>
                    <a:pt x="42" y="96"/>
                  </a:cubicBezTo>
                  <a:cubicBezTo>
                    <a:pt x="58" y="96"/>
                    <a:pt x="74" y="96"/>
                    <a:pt x="90" y="96"/>
                  </a:cubicBezTo>
                  <a:cubicBezTo>
                    <a:pt x="90" y="96"/>
                    <a:pt x="91" y="96"/>
                    <a:pt x="92" y="96"/>
                  </a:cubicBezTo>
                  <a:cubicBezTo>
                    <a:pt x="81" y="64"/>
                    <a:pt x="71" y="32"/>
                    <a:pt x="60" y="0"/>
                  </a:cubicBezTo>
                  <a:cubicBezTo>
                    <a:pt x="61" y="0"/>
                    <a:pt x="62" y="0"/>
                    <a:pt x="63" y="0"/>
                  </a:cubicBezTo>
                  <a:cubicBezTo>
                    <a:pt x="69" y="0"/>
                    <a:pt x="75" y="0"/>
                    <a:pt x="81" y="0"/>
                  </a:cubicBezTo>
                  <a:cubicBezTo>
                    <a:pt x="83" y="0"/>
                    <a:pt x="84" y="0"/>
                    <a:pt x="85" y="2"/>
                  </a:cubicBezTo>
                  <a:cubicBezTo>
                    <a:pt x="104" y="32"/>
                    <a:pt x="123" y="63"/>
                    <a:pt x="142" y="93"/>
                  </a:cubicBezTo>
                  <a:cubicBezTo>
                    <a:pt x="143" y="95"/>
                    <a:pt x="145" y="96"/>
                    <a:pt x="147" y="96"/>
                  </a:cubicBezTo>
                  <a:cubicBezTo>
                    <a:pt x="169" y="96"/>
                    <a:pt x="190" y="96"/>
                    <a:pt x="211" y="96"/>
                  </a:cubicBezTo>
                  <a:cubicBezTo>
                    <a:pt x="219" y="96"/>
                    <a:pt x="224" y="101"/>
                    <a:pt x="224" y="108"/>
                  </a:cubicBezTo>
                  <a:cubicBezTo>
                    <a:pt x="223" y="114"/>
                    <a:pt x="219" y="119"/>
                    <a:pt x="213" y="119"/>
                  </a:cubicBezTo>
                  <a:cubicBezTo>
                    <a:pt x="212" y="119"/>
                    <a:pt x="211" y="119"/>
                    <a:pt x="210" y="119"/>
                  </a:cubicBezTo>
                  <a:cubicBezTo>
                    <a:pt x="189" y="119"/>
                    <a:pt x="168" y="119"/>
                    <a:pt x="147" y="119"/>
                  </a:cubicBezTo>
                  <a:cubicBezTo>
                    <a:pt x="145" y="119"/>
                    <a:pt x="143" y="120"/>
                    <a:pt x="142" y="122"/>
                  </a:cubicBezTo>
                  <a:cubicBezTo>
                    <a:pt x="123" y="153"/>
                    <a:pt x="104" y="183"/>
                    <a:pt x="85" y="213"/>
                  </a:cubicBezTo>
                  <a:cubicBezTo>
                    <a:pt x="84" y="215"/>
                    <a:pt x="83" y="215"/>
                    <a:pt x="81" y="215"/>
                  </a:cubicBezTo>
                  <a:cubicBezTo>
                    <a:pt x="75" y="215"/>
                    <a:pt x="69" y="215"/>
                    <a:pt x="63" y="215"/>
                  </a:cubicBezTo>
                  <a:cubicBezTo>
                    <a:pt x="62" y="215"/>
                    <a:pt x="61" y="215"/>
                    <a:pt x="60" y="2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GB" sz="2701"/>
            </a:p>
          </p:txBody>
        </p:sp>
        <p:sp>
          <p:nvSpPr>
            <p:cNvPr id="83" name="Freeform 58"/>
            <p:cNvSpPr>
              <a:spLocks noEditPoints="1"/>
            </p:cNvSpPr>
            <p:nvPr/>
          </p:nvSpPr>
          <p:spPr bwMode="auto">
            <a:xfrm>
              <a:off x="9958220" y="1495972"/>
              <a:ext cx="841327" cy="734365"/>
            </a:xfrm>
            <a:custGeom>
              <a:avLst/>
              <a:gdLst/>
              <a:ahLst/>
              <a:cxnLst>
                <a:cxn ang="0">
                  <a:pos x="36" y="176"/>
                </a:cxn>
                <a:cxn ang="0">
                  <a:pos x="35" y="105"/>
                </a:cxn>
                <a:cxn ang="0">
                  <a:pos x="56" y="85"/>
                </a:cxn>
                <a:cxn ang="0">
                  <a:pos x="143" y="36"/>
                </a:cxn>
                <a:cxn ang="0">
                  <a:pos x="139" y="13"/>
                </a:cxn>
                <a:cxn ang="0">
                  <a:pos x="159" y="0"/>
                </a:cxn>
                <a:cxn ang="0">
                  <a:pos x="181" y="22"/>
                </a:cxn>
                <a:cxn ang="0">
                  <a:pos x="203" y="83"/>
                </a:cxn>
                <a:cxn ang="0">
                  <a:pos x="200" y="90"/>
                </a:cxn>
                <a:cxn ang="0">
                  <a:pos x="200" y="147"/>
                </a:cxn>
                <a:cxn ang="0">
                  <a:pos x="192" y="146"/>
                </a:cxn>
                <a:cxn ang="0">
                  <a:pos x="192" y="96"/>
                </a:cxn>
                <a:cxn ang="0">
                  <a:pos x="188" y="90"/>
                </a:cxn>
                <a:cxn ang="0">
                  <a:pos x="151" y="50"/>
                </a:cxn>
                <a:cxn ang="0">
                  <a:pos x="123" y="69"/>
                </a:cxn>
                <a:cxn ang="0">
                  <a:pos x="158" y="180"/>
                </a:cxn>
                <a:cxn ang="0">
                  <a:pos x="184" y="177"/>
                </a:cxn>
                <a:cxn ang="0">
                  <a:pos x="184" y="156"/>
                </a:cxn>
                <a:cxn ang="0">
                  <a:pos x="205" y="156"/>
                </a:cxn>
                <a:cxn ang="0">
                  <a:pos x="208" y="177"/>
                </a:cxn>
                <a:cxn ang="0">
                  <a:pos x="223" y="179"/>
                </a:cxn>
                <a:cxn ang="0">
                  <a:pos x="221" y="195"/>
                </a:cxn>
                <a:cxn ang="0">
                  <a:pos x="0" y="192"/>
                </a:cxn>
                <a:cxn ang="0">
                  <a:pos x="2" y="180"/>
                </a:cxn>
                <a:cxn ang="0">
                  <a:pos x="36" y="180"/>
                </a:cxn>
                <a:cxn ang="0">
                  <a:pos x="98" y="81"/>
                </a:cxn>
                <a:cxn ang="0">
                  <a:pos x="66" y="100"/>
                </a:cxn>
                <a:cxn ang="0">
                  <a:pos x="64" y="176"/>
                </a:cxn>
                <a:cxn ang="0">
                  <a:pos x="76" y="179"/>
                </a:cxn>
                <a:cxn ang="0">
                  <a:pos x="56" y="179"/>
                </a:cxn>
                <a:cxn ang="0">
                  <a:pos x="44" y="115"/>
                </a:cxn>
                <a:cxn ang="0">
                  <a:pos x="56" y="179"/>
                </a:cxn>
                <a:cxn ang="0">
                  <a:pos x="109" y="148"/>
                </a:cxn>
                <a:cxn ang="0">
                  <a:pos x="125" y="131"/>
                </a:cxn>
                <a:cxn ang="0">
                  <a:pos x="97" y="155"/>
                </a:cxn>
                <a:cxn ang="0">
                  <a:pos x="122" y="179"/>
                </a:cxn>
                <a:cxn ang="0">
                  <a:pos x="112" y="90"/>
                </a:cxn>
                <a:cxn ang="0">
                  <a:pos x="110" y="106"/>
                </a:cxn>
                <a:cxn ang="0">
                  <a:pos x="120" y="116"/>
                </a:cxn>
                <a:cxn ang="0">
                  <a:pos x="113" y="90"/>
                </a:cxn>
                <a:cxn ang="0">
                  <a:pos x="102" y="137"/>
                </a:cxn>
                <a:cxn ang="0">
                  <a:pos x="106" y="118"/>
                </a:cxn>
                <a:cxn ang="0">
                  <a:pos x="50" y="95"/>
                </a:cxn>
                <a:cxn ang="0">
                  <a:pos x="50" y="104"/>
                </a:cxn>
              </a:cxnLst>
              <a:rect l="0" t="0" r="r" b="b"/>
              <a:pathLst>
                <a:path w="223" h="195">
                  <a:moveTo>
                    <a:pt x="36" y="180"/>
                  </a:moveTo>
                  <a:cubicBezTo>
                    <a:pt x="36" y="178"/>
                    <a:pt x="36" y="177"/>
                    <a:pt x="36" y="176"/>
                  </a:cubicBezTo>
                  <a:cubicBezTo>
                    <a:pt x="36" y="154"/>
                    <a:pt x="36" y="132"/>
                    <a:pt x="36" y="110"/>
                  </a:cubicBezTo>
                  <a:cubicBezTo>
                    <a:pt x="36" y="108"/>
                    <a:pt x="36" y="106"/>
                    <a:pt x="35" y="105"/>
                  </a:cubicBezTo>
                  <a:cubicBezTo>
                    <a:pt x="33" y="99"/>
                    <a:pt x="34" y="93"/>
                    <a:pt x="39" y="88"/>
                  </a:cubicBezTo>
                  <a:cubicBezTo>
                    <a:pt x="44" y="83"/>
                    <a:pt x="50" y="82"/>
                    <a:pt x="56" y="85"/>
                  </a:cubicBezTo>
                  <a:cubicBezTo>
                    <a:pt x="58" y="86"/>
                    <a:pt x="59" y="85"/>
                    <a:pt x="60" y="84"/>
                  </a:cubicBezTo>
                  <a:cubicBezTo>
                    <a:pt x="88" y="68"/>
                    <a:pt x="116" y="52"/>
                    <a:pt x="143" y="36"/>
                  </a:cubicBezTo>
                  <a:cubicBezTo>
                    <a:pt x="145" y="35"/>
                    <a:pt x="146" y="35"/>
                    <a:pt x="145" y="33"/>
                  </a:cubicBezTo>
                  <a:cubicBezTo>
                    <a:pt x="143" y="26"/>
                    <a:pt x="141" y="20"/>
                    <a:pt x="139" y="13"/>
                  </a:cubicBezTo>
                  <a:cubicBezTo>
                    <a:pt x="139" y="12"/>
                    <a:pt x="139" y="12"/>
                    <a:pt x="140" y="11"/>
                  </a:cubicBezTo>
                  <a:cubicBezTo>
                    <a:pt x="147" y="7"/>
                    <a:pt x="153" y="4"/>
                    <a:pt x="159" y="0"/>
                  </a:cubicBezTo>
                  <a:cubicBezTo>
                    <a:pt x="160" y="1"/>
                    <a:pt x="161" y="1"/>
                    <a:pt x="161" y="2"/>
                  </a:cubicBezTo>
                  <a:cubicBezTo>
                    <a:pt x="168" y="8"/>
                    <a:pt x="175" y="15"/>
                    <a:pt x="181" y="22"/>
                  </a:cubicBezTo>
                  <a:cubicBezTo>
                    <a:pt x="182" y="23"/>
                    <a:pt x="182" y="24"/>
                    <a:pt x="183" y="24"/>
                  </a:cubicBezTo>
                  <a:cubicBezTo>
                    <a:pt x="189" y="44"/>
                    <a:pt x="196" y="63"/>
                    <a:pt x="203" y="83"/>
                  </a:cubicBezTo>
                  <a:cubicBezTo>
                    <a:pt x="204" y="84"/>
                    <a:pt x="204" y="85"/>
                    <a:pt x="202" y="86"/>
                  </a:cubicBezTo>
                  <a:cubicBezTo>
                    <a:pt x="200" y="87"/>
                    <a:pt x="200" y="88"/>
                    <a:pt x="200" y="90"/>
                  </a:cubicBezTo>
                  <a:cubicBezTo>
                    <a:pt x="200" y="108"/>
                    <a:pt x="200" y="126"/>
                    <a:pt x="200" y="144"/>
                  </a:cubicBezTo>
                  <a:cubicBezTo>
                    <a:pt x="200" y="145"/>
                    <a:pt x="200" y="146"/>
                    <a:pt x="200" y="147"/>
                  </a:cubicBezTo>
                  <a:cubicBezTo>
                    <a:pt x="197" y="147"/>
                    <a:pt x="195" y="147"/>
                    <a:pt x="193" y="147"/>
                  </a:cubicBezTo>
                  <a:cubicBezTo>
                    <a:pt x="193" y="147"/>
                    <a:pt x="192" y="146"/>
                    <a:pt x="192" y="146"/>
                  </a:cubicBezTo>
                  <a:cubicBezTo>
                    <a:pt x="192" y="145"/>
                    <a:pt x="192" y="144"/>
                    <a:pt x="192" y="144"/>
                  </a:cubicBezTo>
                  <a:cubicBezTo>
                    <a:pt x="192" y="128"/>
                    <a:pt x="192" y="112"/>
                    <a:pt x="192" y="96"/>
                  </a:cubicBezTo>
                  <a:cubicBezTo>
                    <a:pt x="192" y="95"/>
                    <a:pt x="192" y="94"/>
                    <a:pt x="192" y="93"/>
                  </a:cubicBezTo>
                  <a:cubicBezTo>
                    <a:pt x="190" y="92"/>
                    <a:pt x="189" y="91"/>
                    <a:pt x="188" y="90"/>
                  </a:cubicBezTo>
                  <a:cubicBezTo>
                    <a:pt x="177" y="77"/>
                    <a:pt x="166" y="64"/>
                    <a:pt x="154" y="51"/>
                  </a:cubicBezTo>
                  <a:cubicBezTo>
                    <a:pt x="153" y="50"/>
                    <a:pt x="153" y="49"/>
                    <a:pt x="151" y="50"/>
                  </a:cubicBezTo>
                  <a:cubicBezTo>
                    <a:pt x="142" y="55"/>
                    <a:pt x="133" y="61"/>
                    <a:pt x="124" y="66"/>
                  </a:cubicBezTo>
                  <a:cubicBezTo>
                    <a:pt x="122" y="67"/>
                    <a:pt x="122" y="68"/>
                    <a:pt x="123" y="69"/>
                  </a:cubicBezTo>
                  <a:cubicBezTo>
                    <a:pt x="133" y="105"/>
                    <a:pt x="144" y="141"/>
                    <a:pt x="155" y="177"/>
                  </a:cubicBezTo>
                  <a:cubicBezTo>
                    <a:pt x="156" y="179"/>
                    <a:pt x="156" y="180"/>
                    <a:pt x="158" y="180"/>
                  </a:cubicBezTo>
                  <a:cubicBezTo>
                    <a:pt x="166" y="179"/>
                    <a:pt x="174" y="179"/>
                    <a:pt x="182" y="180"/>
                  </a:cubicBezTo>
                  <a:cubicBezTo>
                    <a:pt x="184" y="180"/>
                    <a:pt x="184" y="179"/>
                    <a:pt x="184" y="177"/>
                  </a:cubicBezTo>
                  <a:cubicBezTo>
                    <a:pt x="184" y="171"/>
                    <a:pt x="184" y="165"/>
                    <a:pt x="184" y="159"/>
                  </a:cubicBezTo>
                  <a:cubicBezTo>
                    <a:pt x="184" y="158"/>
                    <a:pt x="184" y="157"/>
                    <a:pt x="184" y="156"/>
                  </a:cubicBezTo>
                  <a:cubicBezTo>
                    <a:pt x="185" y="156"/>
                    <a:pt x="186" y="156"/>
                    <a:pt x="187" y="156"/>
                  </a:cubicBezTo>
                  <a:cubicBezTo>
                    <a:pt x="193" y="156"/>
                    <a:pt x="199" y="156"/>
                    <a:pt x="205" y="156"/>
                  </a:cubicBezTo>
                  <a:cubicBezTo>
                    <a:pt x="208" y="156"/>
                    <a:pt x="208" y="156"/>
                    <a:pt x="208" y="159"/>
                  </a:cubicBezTo>
                  <a:cubicBezTo>
                    <a:pt x="208" y="165"/>
                    <a:pt x="208" y="171"/>
                    <a:pt x="208" y="177"/>
                  </a:cubicBezTo>
                  <a:cubicBezTo>
                    <a:pt x="208" y="177"/>
                    <a:pt x="208" y="178"/>
                    <a:pt x="208" y="179"/>
                  </a:cubicBezTo>
                  <a:cubicBezTo>
                    <a:pt x="213" y="179"/>
                    <a:pt x="218" y="179"/>
                    <a:pt x="223" y="179"/>
                  </a:cubicBezTo>
                  <a:cubicBezTo>
                    <a:pt x="223" y="185"/>
                    <a:pt x="223" y="190"/>
                    <a:pt x="223" y="195"/>
                  </a:cubicBezTo>
                  <a:cubicBezTo>
                    <a:pt x="223" y="195"/>
                    <a:pt x="222" y="195"/>
                    <a:pt x="221" y="195"/>
                  </a:cubicBezTo>
                  <a:cubicBezTo>
                    <a:pt x="148" y="195"/>
                    <a:pt x="76" y="195"/>
                    <a:pt x="3" y="195"/>
                  </a:cubicBezTo>
                  <a:cubicBezTo>
                    <a:pt x="0" y="195"/>
                    <a:pt x="0" y="195"/>
                    <a:pt x="0" y="192"/>
                  </a:cubicBezTo>
                  <a:cubicBezTo>
                    <a:pt x="0" y="189"/>
                    <a:pt x="0" y="185"/>
                    <a:pt x="0" y="182"/>
                  </a:cubicBezTo>
                  <a:cubicBezTo>
                    <a:pt x="0" y="180"/>
                    <a:pt x="1" y="180"/>
                    <a:pt x="2" y="180"/>
                  </a:cubicBezTo>
                  <a:cubicBezTo>
                    <a:pt x="13" y="180"/>
                    <a:pt x="23" y="180"/>
                    <a:pt x="33" y="180"/>
                  </a:cubicBezTo>
                  <a:cubicBezTo>
                    <a:pt x="34" y="180"/>
                    <a:pt x="35" y="180"/>
                    <a:pt x="36" y="180"/>
                  </a:cubicBezTo>
                  <a:close/>
                  <a:moveTo>
                    <a:pt x="99" y="81"/>
                  </a:moveTo>
                  <a:cubicBezTo>
                    <a:pt x="98" y="81"/>
                    <a:pt x="98" y="81"/>
                    <a:pt x="98" y="81"/>
                  </a:cubicBezTo>
                  <a:cubicBezTo>
                    <a:pt x="87" y="87"/>
                    <a:pt x="77" y="93"/>
                    <a:pt x="67" y="99"/>
                  </a:cubicBezTo>
                  <a:cubicBezTo>
                    <a:pt x="67" y="99"/>
                    <a:pt x="66" y="99"/>
                    <a:pt x="66" y="100"/>
                  </a:cubicBezTo>
                  <a:cubicBezTo>
                    <a:pt x="65" y="103"/>
                    <a:pt x="64" y="107"/>
                    <a:pt x="64" y="110"/>
                  </a:cubicBezTo>
                  <a:cubicBezTo>
                    <a:pt x="64" y="132"/>
                    <a:pt x="64" y="154"/>
                    <a:pt x="64" y="176"/>
                  </a:cubicBezTo>
                  <a:cubicBezTo>
                    <a:pt x="64" y="177"/>
                    <a:pt x="64" y="178"/>
                    <a:pt x="64" y="179"/>
                  </a:cubicBezTo>
                  <a:cubicBezTo>
                    <a:pt x="68" y="179"/>
                    <a:pt x="72" y="179"/>
                    <a:pt x="76" y="179"/>
                  </a:cubicBezTo>
                  <a:cubicBezTo>
                    <a:pt x="84" y="146"/>
                    <a:pt x="91" y="114"/>
                    <a:pt x="99" y="81"/>
                  </a:cubicBezTo>
                  <a:close/>
                  <a:moveTo>
                    <a:pt x="56" y="179"/>
                  </a:moveTo>
                  <a:cubicBezTo>
                    <a:pt x="56" y="158"/>
                    <a:pt x="56" y="136"/>
                    <a:pt x="56" y="115"/>
                  </a:cubicBezTo>
                  <a:cubicBezTo>
                    <a:pt x="52" y="115"/>
                    <a:pt x="48" y="115"/>
                    <a:pt x="44" y="115"/>
                  </a:cubicBezTo>
                  <a:cubicBezTo>
                    <a:pt x="44" y="136"/>
                    <a:pt x="44" y="158"/>
                    <a:pt x="44" y="179"/>
                  </a:cubicBezTo>
                  <a:cubicBezTo>
                    <a:pt x="48" y="179"/>
                    <a:pt x="52" y="179"/>
                    <a:pt x="56" y="179"/>
                  </a:cubicBezTo>
                  <a:close/>
                  <a:moveTo>
                    <a:pt x="125" y="131"/>
                  </a:moveTo>
                  <a:cubicBezTo>
                    <a:pt x="120" y="137"/>
                    <a:pt x="114" y="142"/>
                    <a:pt x="109" y="148"/>
                  </a:cubicBezTo>
                  <a:cubicBezTo>
                    <a:pt x="119" y="158"/>
                    <a:pt x="129" y="168"/>
                    <a:pt x="140" y="179"/>
                  </a:cubicBezTo>
                  <a:cubicBezTo>
                    <a:pt x="135" y="163"/>
                    <a:pt x="130" y="147"/>
                    <a:pt x="125" y="131"/>
                  </a:cubicBezTo>
                  <a:close/>
                  <a:moveTo>
                    <a:pt x="122" y="179"/>
                  </a:moveTo>
                  <a:cubicBezTo>
                    <a:pt x="114" y="171"/>
                    <a:pt x="106" y="163"/>
                    <a:pt x="97" y="155"/>
                  </a:cubicBezTo>
                  <a:cubicBezTo>
                    <a:pt x="96" y="162"/>
                    <a:pt x="94" y="171"/>
                    <a:pt x="92" y="179"/>
                  </a:cubicBezTo>
                  <a:cubicBezTo>
                    <a:pt x="102" y="179"/>
                    <a:pt x="113" y="179"/>
                    <a:pt x="122" y="179"/>
                  </a:cubicBezTo>
                  <a:close/>
                  <a:moveTo>
                    <a:pt x="113" y="90"/>
                  </a:moveTo>
                  <a:cubicBezTo>
                    <a:pt x="113" y="90"/>
                    <a:pt x="113" y="90"/>
                    <a:pt x="112" y="90"/>
                  </a:cubicBezTo>
                  <a:cubicBezTo>
                    <a:pt x="111" y="95"/>
                    <a:pt x="110" y="99"/>
                    <a:pt x="109" y="104"/>
                  </a:cubicBezTo>
                  <a:cubicBezTo>
                    <a:pt x="109" y="105"/>
                    <a:pt x="110" y="106"/>
                    <a:pt x="110" y="106"/>
                  </a:cubicBezTo>
                  <a:cubicBezTo>
                    <a:pt x="113" y="109"/>
                    <a:pt x="115" y="111"/>
                    <a:pt x="118" y="114"/>
                  </a:cubicBezTo>
                  <a:cubicBezTo>
                    <a:pt x="119" y="115"/>
                    <a:pt x="120" y="115"/>
                    <a:pt x="120" y="116"/>
                  </a:cubicBezTo>
                  <a:cubicBezTo>
                    <a:pt x="120" y="116"/>
                    <a:pt x="121" y="116"/>
                    <a:pt x="121" y="116"/>
                  </a:cubicBezTo>
                  <a:cubicBezTo>
                    <a:pt x="118" y="107"/>
                    <a:pt x="116" y="99"/>
                    <a:pt x="113" y="90"/>
                  </a:cubicBezTo>
                  <a:close/>
                  <a:moveTo>
                    <a:pt x="106" y="118"/>
                  </a:moveTo>
                  <a:cubicBezTo>
                    <a:pt x="105" y="124"/>
                    <a:pt x="103" y="131"/>
                    <a:pt x="102" y="137"/>
                  </a:cubicBezTo>
                  <a:cubicBezTo>
                    <a:pt x="106" y="133"/>
                    <a:pt x="110" y="129"/>
                    <a:pt x="113" y="125"/>
                  </a:cubicBezTo>
                  <a:cubicBezTo>
                    <a:pt x="111" y="123"/>
                    <a:pt x="109" y="121"/>
                    <a:pt x="106" y="118"/>
                  </a:cubicBezTo>
                  <a:close/>
                  <a:moveTo>
                    <a:pt x="54" y="99"/>
                  </a:moveTo>
                  <a:cubicBezTo>
                    <a:pt x="54" y="97"/>
                    <a:pt x="52" y="95"/>
                    <a:pt x="50" y="95"/>
                  </a:cubicBezTo>
                  <a:cubicBezTo>
                    <a:pt x="48" y="95"/>
                    <a:pt x="46" y="97"/>
                    <a:pt x="46" y="100"/>
                  </a:cubicBezTo>
                  <a:cubicBezTo>
                    <a:pt x="46" y="102"/>
                    <a:pt x="48" y="104"/>
                    <a:pt x="50" y="104"/>
                  </a:cubicBezTo>
                  <a:cubicBezTo>
                    <a:pt x="52" y="104"/>
                    <a:pt x="54" y="102"/>
                    <a:pt x="54" y="9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GB" sz="2701"/>
            </a:p>
          </p:txBody>
        </p:sp>
        <p:grpSp>
          <p:nvGrpSpPr>
            <p:cNvPr id="84" name="Gruppieren 306"/>
            <p:cNvGrpSpPr/>
            <p:nvPr/>
          </p:nvGrpSpPr>
          <p:grpSpPr>
            <a:xfrm>
              <a:off x="4207777" y="2793779"/>
              <a:ext cx="844520" cy="587492"/>
              <a:chOff x="11723464" y="4408488"/>
              <a:chExt cx="839788" cy="584200"/>
            </a:xfrm>
            <a:grpFill/>
          </p:grpSpPr>
          <p:sp>
            <p:nvSpPr>
              <p:cNvPr id="85" name="Freeform 53"/>
              <p:cNvSpPr>
                <a:spLocks noEditPoints="1"/>
              </p:cNvSpPr>
              <p:nvPr/>
            </p:nvSpPr>
            <p:spPr bwMode="auto">
              <a:xfrm>
                <a:off x="11723464" y="4602163"/>
                <a:ext cx="839788" cy="390525"/>
              </a:xfrm>
              <a:custGeom>
                <a:avLst/>
                <a:gdLst/>
                <a:ahLst/>
                <a:cxnLst>
                  <a:cxn ang="0">
                    <a:pos x="20" y="83"/>
                  </a:cxn>
                  <a:cxn ang="0">
                    <a:pos x="3" y="83"/>
                  </a:cxn>
                  <a:cxn ang="0">
                    <a:pos x="0" y="81"/>
                  </a:cxn>
                  <a:cxn ang="0">
                    <a:pos x="0" y="48"/>
                  </a:cxn>
                  <a:cxn ang="0">
                    <a:pos x="12" y="36"/>
                  </a:cxn>
                  <a:cxn ang="0">
                    <a:pos x="22" y="35"/>
                  </a:cxn>
                  <a:cxn ang="0">
                    <a:pos x="26" y="34"/>
                  </a:cxn>
                  <a:cxn ang="0">
                    <a:pos x="54" y="5"/>
                  </a:cxn>
                  <a:cxn ang="0">
                    <a:pos x="58" y="4"/>
                  </a:cxn>
                  <a:cxn ang="0">
                    <a:pos x="114" y="4"/>
                  </a:cxn>
                  <a:cxn ang="0">
                    <a:pos x="118" y="5"/>
                  </a:cxn>
                  <a:cxn ang="0">
                    <a:pos x="158" y="34"/>
                  </a:cxn>
                  <a:cxn ang="0">
                    <a:pos x="160" y="35"/>
                  </a:cxn>
                  <a:cxn ang="0">
                    <a:pos x="196" y="0"/>
                  </a:cxn>
                  <a:cxn ang="0">
                    <a:pos x="202" y="5"/>
                  </a:cxn>
                  <a:cxn ang="0">
                    <a:pos x="170" y="37"/>
                  </a:cxn>
                  <a:cxn ang="0">
                    <a:pos x="183" y="40"/>
                  </a:cxn>
                  <a:cxn ang="0">
                    <a:pos x="222" y="47"/>
                  </a:cxn>
                  <a:cxn ang="0">
                    <a:pos x="224" y="49"/>
                  </a:cxn>
                  <a:cxn ang="0">
                    <a:pos x="224" y="82"/>
                  </a:cxn>
                  <a:cxn ang="0">
                    <a:pos x="224" y="83"/>
                  </a:cxn>
                  <a:cxn ang="0">
                    <a:pos x="207" y="83"/>
                  </a:cxn>
                  <a:cxn ang="0">
                    <a:pos x="204" y="86"/>
                  </a:cxn>
                  <a:cxn ang="0">
                    <a:pos x="185" y="103"/>
                  </a:cxn>
                  <a:cxn ang="0">
                    <a:pos x="165" y="87"/>
                  </a:cxn>
                  <a:cxn ang="0">
                    <a:pos x="164" y="83"/>
                  </a:cxn>
                  <a:cxn ang="0">
                    <a:pos x="161" y="83"/>
                  </a:cxn>
                  <a:cxn ang="0">
                    <a:pos x="63" y="83"/>
                  </a:cxn>
                  <a:cxn ang="0">
                    <a:pos x="60" y="86"/>
                  </a:cxn>
                  <a:cxn ang="0">
                    <a:pos x="41" y="103"/>
                  </a:cxn>
                  <a:cxn ang="0">
                    <a:pos x="21" y="87"/>
                  </a:cxn>
                  <a:cxn ang="0">
                    <a:pos x="20" y="83"/>
                  </a:cxn>
                  <a:cxn ang="0">
                    <a:pos x="145" y="36"/>
                  </a:cxn>
                  <a:cxn ang="0">
                    <a:pos x="146" y="35"/>
                  </a:cxn>
                  <a:cxn ang="0">
                    <a:pos x="145" y="34"/>
                  </a:cxn>
                  <a:cxn ang="0">
                    <a:pos x="114" y="12"/>
                  </a:cxn>
                  <a:cxn ang="0">
                    <a:pos x="111" y="11"/>
                  </a:cxn>
                  <a:cxn ang="0">
                    <a:pos x="86" y="11"/>
                  </a:cxn>
                  <a:cxn ang="0">
                    <a:pos x="84" y="14"/>
                  </a:cxn>
                  <a:cxn ang="0">
                    <a:pos x="84" y="32"/>
                  </a:cxn>
                  <a:cxn ang="0">
                    <a:pos x="87" y="36"/>
                  </a:cxn>
                  <a:cxn ang="0">
                    <a:pos x="143" y="36"/>
                  </a:cxn>
                  <a:cxn ang="0">
                    <a:pos x="145" y="36"/>
                  </a:cxn>
                  <a:cxn ang="0">
                    <a:pos x="72" y="11"/>
                  </a:cxn>
                  <a:cxn ang="0">
                    <a:pos x="61" y="11"/>
                  </a:cxn>
                  <a:cxn ang="0">
                    <a:pos x="58" y="13"/>
                  </a:cxn>
                  <a:cxn ang="0">
                    <a:pos x="37" y="33"/>
                  </a:cxn>
                  <a:cxn ang="0">
                    <a:pos x="36" y="35"/>
                  </a:cxn>
                  <a:cxn ang="0">
                    <a:pos x="72" y="35"/>
                  </a:cxn>
                  <a:cxn ang="0">
                    <a:pos x="72" y="11"/>
                  </a:cxn>
                </a:cxnLst>
                <a:rect l="0" t="0" r="r" b="b"/>
                <a:pathLst>
                  <a:path w="224" h="104">
                    <a:moveTo>
                      <a:pt x="20" y="83"/>
                    </a:moveTo>
                    <a:cubicBezTo>
                      <a:pt x="14" y="83"/>
                      <a:pt x="8" y="83"/>
                      <a:pt x="3" y="83"/>
                    </a:cubicBezTo>
                    <a:cubicBezTo>
                      <a:pt x="1" y="83"/>
                      <a:pt x="0" y="83"/>
                      <a:pt x="0" y="81"/>
                    </a:cubicBezTo>
                    <a:cubicBezTo>
                      <a:pt x="0" y="70"/>
                      <a:pt x="0" y="59"/>
                      <a:pt x="0" y="48"/>
                    </a:cubicBezTo>
                    <a:cubicBezTo>
                      <a:pt x="0" y="41"/>
                      <a:pt x="5" y="36"/>
                      <a:pt x="12" y="36"/>
                    </a:cubicBezTo>
                    <a:cubicBezTo>
                      <a:pt x="15" y="35"/>
                      <a:pt x="19" y="36"/>
                      <a:pt x="22" y="35"/>
                    </a:cubicBezTo>
                    <a:cubicBezTo>
                      <a:pt x="23" y="35"/>
                      <a:pt x="25" y="35"/>
                      <a:pt x="26" y="34"/>
                    </a:cubicBezTo>
                    <a:cubicBezTo>
                      <a:pt x="35" y="24"/>
                      <a:pt x="45" y="15"/>
                      <a:pt x="54" y="5"/>
                    </a:cubicBezTo>
                    <a:cubicBezTo>
                      <a:pt x="55" y="4"/>
                      <a:pt x="56" y="4"/>
                      <a:pt x="58" y="4"/>
                    </a:cubicBezTo>
                    <a:cubicBezTo>
                      <a:pt x="77" y="4"/>
                      <a:pt x="95" y="4"/>
                      <a:pt x="114" y="4"/>
                    </a:cubicBezTo>
                    <a:cubicBezTo>
                      <a:pt x="115" y="4"/>
                      <a:pt x="117" y="4"/>
                      <a:pt x="118" y="5"/>
                    </a:cubicBezTo>
                    <a:cubicBezTo>
                      <a:pt x="131" y="15"/>
                      <a:pt x="144" y="24"/>
                      <a:pt x="158" y="34"/>
                    </a:cubicBezTo>
                    <a:cubicBezTo>
                      <a:pt x="158" y="34"/>
                      <a:pt x="159" y="35"/>
                      <a:pt x="160" y="35"/>
                    </a:cubicBezTo>
                    <a:cubicBezTo>
                      <a:pt x="172" y="23"/>
                      <a:pt x="184" y="12"/>
                      <a:pt x="196" y="0"/>
                    </a:cubicBezTo>
                    <a:cubicBezTo>
                      <a:pt x="198" y="2"/>
                      <a:pt x="199" y="3"/>
                      <a:pt x="202" y="5"/>
                    </a:cubicBezTo>
                    <a:cubicBezTo>
                      <a:pt x="191" y="16"/>
                      <a:pt x="180" y="27"/>
                      <a:pt x="170" y="37"/>
                    </a:cubicBezTo>
                    <a:cubicBezTo>
                      <a:pt x="174" y="38"/>
                      <a:pt x="178" y="39"/>
                      <a:pt x="183" y="40"/>
                    </a:cubicBezTo>
                    <a:cubicBezTo>
                      <a:pt x="196" y="42"/>
                      <a:pt x="209" y="45"/>
                      <a:pt x="222" y="47"/>
                    </a:cubicBezTo>
                    <a:cubicBezTo>
                      <a:pt x="223" y="47"/>
                      <a:pt x="224" y="47"/>
                      <a:pt x="224" y="49"/>
                    </a:cubicBezTo>
                    <a:cubicBezTo>
                      <a:pt x="224" y="60"/>
                      <a:pt x="224" y="71"/>
                      <a:pt x="224" y="82"/>
                    </a:cubicBezTo>
                    <a:cubicBezTo>
                      <a:pt x="224" y="83"/>
                      <a:pt x="224" y="83"/>
                      <a:pt x="224" y="83"/>
                    </a:cubicBezTo>
                    <a:cubicBezTo>
                      <a:pt x="218" y="83"/>
                      <a:pt x="212" y="83"/>
                      <a:pt x="207" y="83"/>
                    </a:cubicBezTo>
                    <a:cubicBezTo>
                      <a:pt x="204" y="83"/>
                      <a:pt x="204" y="84"/>
                      <a:pt x="204" y="86"/>
                    </a:cubicBezTo>
                    <a:cubicBezTo>
                      <a:pt x="203" y="95"/>
                      <a:pt x="194" y="103"/>
                      <a:pt x="185" y="103"/>
                    </a:cubicBezTo>
                    <a:cubicBezTo>
                      <a:pt x="175" y="104"/>
                      <a:pt x="166" y="97"/>
                      <a:pt x="165" y="87"/>
                    </a:cubicBezTo>
                    <a:cubicBezTo>
                      <a:pt x="164" y="86"/>
                      <a:pt x="164" y="85"/>
                      <a:pt x="164" y="83"/>
                    </a:cubicBezTo>
                    <a:cubicBezTo>
                      <a:pt x="163" y="83"/>
                      <a:pt x="162" y="83"/>
                      <a:pt x="161" y="83"/>
                    </a:cubicBezTo>
                    <a:cubicBezTo>
                      <a:pt x="128" y="83"/>
                      <a:pt x="95" y="83"/>
                      <a:pt x="63" y="83"/>
                    </a:cubicBezTo>
                    <a:cubicBezTo>
                      <a:pt x="60" y="83"/>
                      <a:pt x="60" y="84"/>
                      <a:pt x="60" y="86"/>
                    </a:cubicBezTo>
                    <a:cubicBezTo>
                      <a:pt x="59" y="95"/>
                      <a:pt x="50" y="103"/>
                      <a:pt x="41" y="103"/>
                    </a:cubicBezTo>
                    <a:cubicBezTo>
                      <a:pt x="31" y="104"/>
                      <a:pt x="22" y="97"/>
                      <a:pt x="21" y="87"/>
                    </a:cubicBezTo>
                    <a:cubicBezTo>
                      <a:pt x="20" y="86"/>
                      <a:pt x="20" y="85"/>
                      <a:pt x="20" y="83"/>
                    </a:cubicBezTo>
                    <a:close/>
                    <a:moveTo>
                      <a:pt x="145" y="36"/>
                    </a:moveTo>
                    <a:cubicBezTo>
                      <a:pt x="146" y="35"/>
                      <a:pt x="146" y="35"/>
                      <a:pt x="146" y="35"/>
                    </a:cubicBezTo>
                    <a:cubicBezTo>
                      <a:pt x="145" y="35"/>
                      <a:pt x="145" y="34"/>
                      <a:pt x="145" y="34"/>
                    </a:cubicBezTo>
                    <a:cubicBezTo>
                      <a:pt x="135" y="27"/>
                      <a:pt x="124" y="19"/>
                      <a:pt x="114" y="12"/>
                    </a:cubicBezTo>
                    <a:cubicBezTo>
                      <a:pt x="114" y="12"/>
                      <a:pt x="112" y="11"/>
                      <a:pt x="111" y="11"/>
                    </a:cubicBezTo>
                    <a:cubicBezTo>
                      <a:pt x="103" y="11"/>
                      <a:pt x="95" y="11"/>
                      <a:pt x="86" y="11"/>
                    </a:cubicBezTo>
                    <a:cubicBezTo>
                      <a:pt x="84" y="11"/>
                      <a:pt x="84" y="12"/>
                      <a:pt x="84" y="14"/>
                    </a:cubicBezTo>
                    <a:cubicBezTo>
                      <a:pt x="84" y="20"/>
                      <a:pt x="84" y="26"/>
                      <a:pt x="84" y="32"/>
                    </a:cubicBezTo>
                    <a:cubicBezTo>
                      <a:pt x="84" y="36"/>
                      <a:pt x="84" y="36"/>
                      <a:pt x="87" y="36"/>
                    </a:cubicBezTo>
                    <a:cubicBezTo>
                      <a:pt x="106" y="36"/>
                      <a:pt x="124" y="36"/>
                      <a:pt x="143" y="36"/>
                    </a:cubicBezTo>
                    <a:cubicBezTo>
                      <a:pt x="144" y="36"/>
                      <a:pt x="145" y="36"/>
                      <a:pt x="145" y="36"/>
                    </a:cubicBezTo>
                    <a:close/>
                    <a:moveTo>
                      <a:pt x="72" y="11"/>
                    </a:moveTo>
                    <a:cubicBezTo>
                      <a:pt x="68" y="11"/>
                      <a:pt x="65" y="11"/>
                      <a:pt x="61" y="11"/>
                    </a:cubicBezTo>
                    <a:cubicBezTo>
                      <a:pt x="60" y="11"/>
                      <a:pt x="59" y="12"/>
                      <a:pt x="58" y="13"/>
                    </a:cubicBezTo>
                    <a:cubicBezTo>
                      <a:pt x="51" y="20"/>
                      <a:pt x="44" y="26"/>
                      <a:pt x="37" y="33"/>
                    </a:cubicBezTo>
                    <a:cubicBezTo>
                      <a:pt x="37" y="34"/>
                      <a:pt x="36" y="35"/>
                      <a:pt x="36" y="35"/>
                    </a:cubicBezTo>
                    <a:cubicBezTo>
                      <a:pt x="48" y="35"/>
                      <a:pt x="60" y="35"/>
                      <a:pt x="72" y="35"/>
                    </a:cubicBezTo>
                    <a:cubicBezTo>
                      <a:pt x="72" y="27"/>
                      <a:pt x="72" y="19"/>
                      <a:pt x="72" y="1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86" name="Freeform 54"/>
              <p:cNvSpPr>
                <a:spLocks/>
              </p:cNvSpPr>
              <p:nvPr/>
            </p:nvSpPr>
            <p:spPr bwMode="auto">
              <a:xfrm>
                <a:off x="12334651" y="4408488"/>
                <a:ext cx="68263" cy="204788"/>
              </a:xfrm>
              <a:custGeom>
                <a:avLst/>
                <a:gdLst/>
                <a:ahLst/>
                <a:cxnLst>
                  <a:cxn ang="0">
                    <a:pos x="6" y="55"/>
                  </a:cxn>
                  <a:cxn ang="0">
                    <a:pos x="2" y="44"/>
                  </a:cxn>
                  <a:cxn ang="0">
                    <a:pos x="6" y="21"/>
                  </a:cxn>
                  <a:cxn ang="0">
                    <a:pos x="9" y="15"/>
                  </a:cxn>
                  <a:cxn ang="0">
                    <a:pos x="9" y="3"/>
                  </a:cxn>
                  <a:cxn ang="0">
                    <a:pos x="13" y="0"/>
                  </a:cxn>
                  <a:cxn ang="0">
                    <a:pos x="17" y="12"/>
                  </a:cxn>
                  <a:cxn ang="0">
                    <a:pos x="12" y="33"/>
                  </a:cxn>
                  <a:cxn ang="0">
                    <a:pos x="7" y="44"/>
                  </a:cxn>
                  <a:cxn ang="0">
                    <a:pos x="8" y="49"/>
                  </a:cxn>
                  <a:cxn ang="0">
                    <a:pos x="6" y="55"/>
                  </a:cxn>
                </a:cxnLst>
                <a:rect l="0" t="0" r="r" b="b"/>
                <a:pathLst>
                  <a:path w="18" h="55">
                    <a:moveTo>
                      <a:pt x="6" y="55"/>
                    </a:moveTo>
                    <a:cubicBezTo>
                      <a:pt x="3" y="52"/>
                      <a:pt x="2" y="48"/>
                      <a:pt x="2" y="44"/>
                    </a:cubicBezTo>
                    <a:cubicBezTo>
                      <a:pt x="0" y="36"/>
                      <a:pt x="1" y="28"/>
                      <a:pt x="6" y="21"/>
                    </a:cubicBezTo>
                    <a:cubicBezTo>
                      <a:pt x="8" y="20"/>
                      <a:pt x="9" y="17"/>
                      <a:pt x="9" y="15"/>
                    </a:cubicBezTo>
                    <a:cubicBezTo>
                      <a:pt x="11" y="11"/>
                      <a:pt x="11" y="7"/>
                      <a:pt x="9" y="3"/>
                    </a:cubicBezTo>
                    <a:cubicBezTo>
                      <a:pt x="10" y="2"/>
                      <a:pt x="12" y="1"/>
                      <a:pt x="13" y="0"/>
                    </a:cubicBezTo>
                    <a:cubicBezTo>
                      <a:pt x="16" y="4"/>
                      <a:pt x="17" y="8"/>
                      <a:pt x="17" y="12"/>
                    </a:cubicBezTo>
                    <a:cubicBezTo>
                      <a:pt x="18" y="20"/>
                      <a:pt x="16" y="27"/>
                      <a:pt x="12" y="33"/>
                    </a:cubicBezTo>
                    <a:cubicBezTo>
                      <a:pt x="10" y="36"/>
                      <a:pt x="9" y="40"/>
                      <a:pt x="7" y="44"/>
                    </a:cubicBezTo>
                    <a:cubicBezTo>
                      <a:pt x="7" y="45"/>
                      <a:pt x="7" y="47"/>
                      <a:pt x="8" y="49"/>
                    </a:cubicBezTo>
                    <a:cubicBezTo>
                      <a:pt x="8" y="52"/>
                      <a:pt x="9" y="52"/>
                      <a:pt x="6" y="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sp>
          <p:nvSpPr>
            <p:cNvPr id="87" name="Freeform 22"/>
            <p:cNvSpPr>
              <a:spLocks/>
            </p:cNvSpPr>
            <p:nvPr/>
          </p:nvSpPr>
          <p:spPr bwMode="auto">
            <a:xfrm>
              <a:off x="6115667" y="3979386"/>
              <a:ext cx="841327" cy="841327"/>
            </a:xfrm>
            <a:custGeom>
              <a:avLst/>
              <a:gdLst/>
              <a:ahLst/>
              <a:cxnLst>
                <a:cxn ang="0">
                  <a:pos x="56" y="223"/>
                </a:cxn>
                <a:cxn ang="0">
                  <a:pos x="56" y="220"/>
                </a:cxn>
                <a:cxn ang="0">
                  <a:pos x="56" y="170"/>
                </a:cxn>
                <a:cxn ang="0">
                  <a:pos x="53" y="167"/>
                </a:cxn>
                <a:cxn ang="0">
                  <a:pos x="30" y="167"/>
                </a:cxn>
                <a:cxn ang="0">
                  <a:pos x="27" y="170"/>
                </a:cxn>
                <a:cxn ang="0">
                  <a:pos x="27" y="219"/>
                </a:cxn>
                <a:cxn ang="0">
                  <a:pos x="22" y="223"/>
                </a:cxn>
                <a:cxn ang="0">
                  <a:pos x="3" y="223"/>
                </a:cxn>
                <a:cxn ang="0">
                  <a:pos x="0" y="220"/>
                </a:cxn>
                <a:cxn ang="0">
                  <a:pos x="0" y="130"/>
                </a:cxn>
                <a:cxn ang="0">
                  <a:pos x="0" y="114"/>
                </a:cxn>
                <a:cxn ang="0">
                  <a:pos x="1" y="110"/>
                </a:cxn>
                <a:cxn ang="0">
                  <a:pos x="54" y="57"/>
                </a:cxn>
                <a:cxn ang="0">
                  <a:pos x="55" y="56"/>
                </a:cxn>
                <a:cxn ang="0">
                  <a:pos x="55" y="111"/>
                </a:cxn>
                <a:cxn ang="0">
                  <a:pos x="110" y="56"/>
                </a:cxn>
                <a:cxn ang="0">
                  <a:pos x="111" y="57"/>
                </a:cxn>
                <a:cxn ang="0">
                  <a:pos x="111" y="59"/>
                </a:cxn>
                <a:cxn ang="0">
                  <a:pos x="111" y="108"/>
                </a:cxn>
                <a:cxn ang="0">
                  <a:pos x="114" y="112"/>
                </a:cxn>
                <a:cxn ang="0">
                  <a:pos x="133" y="112"/>
                </a:cxn>
                <a:cxn ang="0">
                  <a:pos x="136" y="109"/>
                </a:cxn>
                <a:cxn ang="0">
                  <a:pos x="139" y="72"/>
                </a:cxn>
                <a:cxn ang="0">
                  <a:pos x="141" y="35"/>
                </a:cxn>
                <a:cxn ang="0">
                  <a:pos x="144" y="1"/>
                </a:cxn>
                <a:cxn ang="0">
                  <a:pos x="145" y="0"/>
                </a:cxn>
                <a:cxn ang="0">
                  <a:pos x="162" y="0"/>
                </a:cxn>
                <a:cxn ang="0">
                  <a:pos x="164" y="1"/>
                </a:cxn>
                <a:cxn ang="0">
                  <a:pos x="164" y="11"/>
                </a:cxn>
                <a:cxn ang="0">
                  <a:pos x="167" y="50"/>
                </a:cxn>
                <a:cxn ang="0">
                  <a:pos x="169" y="81"/>
                </a:cxn>
                <a:cxn ang="0">
                  <a:pos x="171" y="109"/>
                </a:cxn>
                <a:cxn ang="0">
                  <a:pos x="173" y="112"/>
                </a:cxn>
                <a:cxn ang="0">
                  <a:pos x="180" y="106"/>
                </a:cxn>
                <a:cxn ang="0">
                  <a:pos x="184" y="52"/>
                </a:cxn>
                <a:cxn ang="0">
                  <a:pos x="187" y="2"/>
                </a:cxn>
                <a:cxn ang="0">
                  <a:pos x="190" y="0"/>
                </a:cxn>
                <a:cxn ang="0">
                  <a:pos x="205" y="0"/>
                </a:cxn>
                <a:cxn ang="0">
                  <a:pos x="208" y="2"/>
                </a:cxn>
                <a:cxn ang="0">
                  <a:pos x="210" y="43"/>
                </a:cxn>
                <a:cxn ang="0">
                  <a:pos x="214" y="87"/>
                </a:cxn>
                <a:cxn ang="0">
                  <a:pos x="215" y="109"/>
                </a:cxn>
                <a:cxn ang="0">
                  <a:pos x="217" y="112"/>
                </a:cxn>
                <a:cxn ang="0">
                  <a:pos x="223" y="112"/>
                </a:cxn>
                <a:cxn ang="0">
                  <a:pos x="223" y="223"/>
                </a:cxn>
                <a:cxn ang="0">
                  <a:pos x="56" y="223"/>
                </a:cxn>
              </a:cxnLst>
              <a:rect l="0" t="0" r="r" b="b"/>
              <a:pathLst>
                <a:path w="223" h="223">
                  <a:moveTo>
                    <a:pt x="56" y="223"/>
                  </a:moveTo>
                  <a:cubicBezTo>
                    <a:pt x="56" y="222"/>
                    <a:pt x="56" y="221"/>
                    <a:pt x="56" y="220"/>
                  </a:cubicBezTo>
                  <a:cubicBezTo>
                    <a:pt x="56" y="203"/>
                    <a:pt x="56" y="187"/>
                    <a:pt x="56" y="170"/>
                  </a:cubicBezTo>
                  <a:cubicBezTo>
                    <a:pt x="56" y="168"/>
                    <a:pt x="55" y="167"/>
                    <a:pt x="53" y="167"/>
                  </a:cubicBezTo>
                  <a:cubicBezTo>
                    <a:pt x="45" y="167"/>
                    <a:pt x="38" y="167"/>
                    <a:pt x="30" y="167"/>
                  </a:cubicBezTo>
                  <a:cubicBezTo>
                    <a:pt x="28" y="167"/>
                    <a:pt x="27" y="168"/>
                    <a:pt x="27" y="170"/>
                  </a:cubicBezTo>
                  <a:cubicBezTo>
                    <a:pt x="27" y="186"/>
                    <a:pt x="27" y="202"/>
                    <a:pt x="27" y="219"/>
                  </a:cubicBezTo>
                  <a:cubicBezTo>
                    <a:pt x="27" y="223"/>
                    <a:pt x="27" y="223"/>
                    <a:pt x="22" y="223"/>
                  </a:cubicBezTo>
                  <a:cubicBezTo>
                    <a:pt x="16" y="223"/>
                    <a:pt x="9" y="223"/>
                    <a:pt x="3" y="223"/>
                  </a:cubicBezTo>
                  <a:cubicBezTo>
                    <a:pt x="0" y="223"/>
                    <a:pt x="0" y="223"/>
                    <a:pt x="0" y="220"/>
                  </a:cubicBezTo>
                  <a:cubicBezTo>
                    <a:pt x="0" y="190"/>
                    <a:pt x="0" y="160"/>
                    <a:pt x="0" y="130"/>
                  </a:cubicBezTo>
                  <a:cubicBezTo>
                    <a:pt x="0" y="125"/>
                    <a:pt x="0" y="119"/>
                    <a:pt x="0" y="114"/>
                  </a:cubicBezTo>
                  <a:cubicBezTo>
                    <a:pt x="0" y="112"/>
                    <a:pt x="0" y="111"/>
                    <a:pt x="1" y="110"/>
                  </a:cubicBezTo>
                  <a:cubicBezTo>
                    <a:pt x="19" y="93"/>
                    <a:pt x="36" y="75"/>
                    <a:pt x="54" y="57"/>
                  </a:cubicBezTo>
                  <a:cubicBezTo>
                    <a:pt x="54" y="57"/>
                    <a:pt x="55" y="57"/>
                    <a:pt x="55" y="56"/>
                  </a:cubicBezTo>
                  <a:cubicBezTo>
                    <a:pt x="55" y="75"/>
                    <a:pt x="55" y="93"/>
                    <a:pt x="55" y="111"/>
                  </a:cubicBezTo>
                  <a:cubicBezTo>
                    <a:pt x="74" y="93"/>
                    <a:pt x="92" y="74"/>
                    <a:pt x="110" y="56"/>
                  </a:cubicBezTo>
                  <a:cubicBezTo>
                    <a:pt x="111" y="56"/>
                    <a:pt x="111" y="56"/>
                    <a:pt x="111" y="57"/>
                  </a:cubicBezTo>
                  <a:cubicBezTo>
                    <a:pt x="111" y="57"/>
                    <a:pt x="111" y="58"/>
                    <a:pt x="111" y="59"/>
                  </a:cubicBezTo>
                  <a:cubicBezTo>
                    <a:pt x="111" y="76"/>
                    <a:pt x="111" y="92"/>
                    <a:pt x="111" y="108"/>
                  </a:cubicBezTo>
                  <a:cubicBezTo>
                    <a:pt x="111" y="112"/>
                    <a:pt x="111" y="112"/>
                    <a:pt x="114" y="112"/>
                  </a:cubicBezTo>
                  <a:cubicBezTo>
                    <a:pt x="121" y="112"/>
                    <a:pt x="127" y="112"/>
                    <a:pt x="133" y="112"/>
                  </a:cubicBezTo>
                  <a:cubicBezTo>
                    <a:pt x="135" y="112"/>
                    <a:pt x="136" y="111"/>
                    <a:pt x="136" y="109"/>
                  </a:cubicBezTo>
                  <a:cubicBezTo>
                    <a:pt x="137" y="97"/>
                    <a:pt x="138" y="84"/>
                    <a:pt x="139" y="72"/>
                  </a:cubicBezTo>
                  <a:cubicBezTo>
                    <a:pt x="139" y="60"/>
                    <a:pt x="140" y="47"/>
                    <a:pt x="141" y="35"/>
                  </a:cubicBezTo>
                  <a:cubicBezTo>
                    <a:pt x="142" y="24"/>
                    <a:pt x="143" y="12"/>
                    <a:pt x="144" y="1"/>
                  </a:cubicBezTo>
                  <a:cubicBezTo>
                    <a:pt x="144" y="1"/>
                    <a:pt x="145" y="0"/>
                    <a:pt x="145" y="0"/>
                  </a:cubicBezTo>
                  <a:cubicBezTo>
                    <a:pt x="151" y="0"/>
                    <a:pt x="156" y="0"/>
                    <a:pt x="162" y="0"/>
                  </a:cubicBezTo>
                  <a:cubicBezTo>
                    <a:pt x="162" y="0"/>
                    <a:pt x="163" y="1"/>
                    <a:pt x="164" y="1"/>
                  </a:cubicBezTo>
                  <a:cubicBezTo>
                    <a:pt x="164" y="5"/>
                    <a:pt x="164" y="8"/>
                    <a:pt x="164" y="11"/>
                  </a:cubicBezTo>
                  <a:cubicBezTo>
                    <a:pt x="165" y="24"/>
                    <a:pt x="166" y="37"/>
                    <a:pt x="167" y="50"/>
                  </a:cubicBezTo>
                  <a:cubicBezTo>
                    <a:pt x="168" y="60"/>
                    <a:pt x="168" y="71"/>
                    <a:pt x="169" y="81"/>
                  </a:cubicBezTo>
                  <a:cubicBezTo>
                    <a:pt x="170" y="90"/>
                    <a:pt x="170" y="100"/>
                    <a:pt x="171" y="109"/>
                  </a:cubicBezTo>
                  <a:cubicBezTo>
                    <a:pt x="171" y="111"/>
                    <a:pt x="172" y="112"/>
                    <a:pt x="173" y="112"/>
                  </a:cubicBezTo>
                  <a:cubicBezTo>
                    <a:pt x="179" y="112"/>
                    <a:pt x="180" y="112"/>
                    <a:pt x="180" y="106"/>
                  </a:cubicBezTo>
                  <a:cubicBezTo>
                    <a:pt x="181" y="88"/>
                    <a:pt x="183" y="70"/>
                    <a:pt x="184" y="52"/>
                  </a:cubicBezTo>
                  <a:cubicBezTo>
                    <a:pt x="185" y="35"/>
                    <a:pt x="186" y="19"/>
                    <a:pt x="187" y="2"/>
                  </a:cubicBezTo>
                  <a:cubicBezTo>
                    <a:pt x="188" y="0"/>
                    <a:pt x="188" y="0"/>
                    <a:pt x="190" y="0"/>
                  </a:cubicBezTo>
                  <a:cubicBezTo>
                    <a:pt x="195" y="0"/>
                    <a:pt x="200" y="0"/>
                    <a:pt x="205" y="0"/>
                  </a:cubicBezTo>
                  <a:cubicBezTo>
                    <a:pt x="207" y="0"/>
                    <a:pt x="208" y="0"/>
                    <a:pt x="208" y="2"/>
                  </a:cubicBezTo>
                  <a:cubicBezTo>
                    <a:pt x="209" y="15"/>
                    <a:pt x="209" y="29"/>
                    <a:pt x="210" y="43"/>
                  </a:cubicBezTo>
                  <a:cubicBezTo>
                    <a:pt x="212" y="58"/>
                    <a:pt x="213" y="72"/>
                    <a:pt x="214" y="87"/>
                  </a:cubicBezTo>
                  <a:cubicBezTo>
                    <a:pt x="214" y="95"/>
                    <a:pt x="215" y="102"/>
                    <a:pt x="215" y="109"/>
                  </a:cubicBezTo>
                  <a:cubicBezTo>
                    <a:pt x="215" y="111"/>
                    <a:pt x="216" y="112"/>
                    <a:pt x="217" y="112"/>
                  </a:cubicBezTo>
                  <a:cubicBezTo>
                    <a:pt x="219" y="112"/>
                    <a:pt x="221" y="112"/>
                    <a:pt x="223" y="112"/>
                  </a:cubicBezTo>
                  <a:cubicBezTo>
                    <a:pt x="223" y="149"/>
                    <a:pt x="223" y="186"/>
                    <a:pt x="223" y="223"/>
                  </a:cubicBezTo>
                  <a:cubicBezTo>
                    <a:pt x="167" y="223"/>
                    <a:pt x="112" y="223"/>
                    <a:pt x="56" y="2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GB" sz="2701"/>
            </a:p>
          </p:txBody>
        </p:sp>
        <p:grpSp>
          <p:nvGrpSpPr>
            <p:cNvPr id="88" name="Gruppieren 316"/>
            <p:cNvGrpSpPr/>
            <p:nvPr/>
          </p:nvGrpSpPr>
          <p:grpSpPr>
            <a:xfrm>
              <a:off x="8048474" y="4025238"/>
              <a:ext cx="844520" cy="769486"/>
              <a:chOff x="13385576" y="5757863"/>
              <a:chExt cx="839788" cy="765175"/>
            </a:xfrm>
            <a:grpFill/>
          </p:grpSpPr>
          <p:sp>
            <p:nvSpPr>
              <p:cNvPr id="89" name="Freeform 17"/>
              <p:cNvSpPr>
                <a:spLocks noEditPoints="1"/>
              </p:cNvSpPr>
              <p:nvPr/>
            </p:nvSpPr>
            <p:spPr bwMode="auto">
              <a:xfrm>
                <a:off x="13385576" y="6088063"/>
                <a:ext cx="839788" cy="360363"/>
              </a:xfrm>
              <a:custGeom>
                <a:avLst/>
                <a:gdLst/>
                <a:ahLst/>
                <a:cxnLst>
                  <a:cxn ang="0">
                    <a:pos x="164" y="0"/>
                  </a:cxn>
                  <a:cxn ang="0">
                    <a:pos x="164" y="10"/>
                  </a:cxn>
                  <a:cxn ang="0">
                    <a:pos x="166" y="12"/>
                  </a:cxn>
                  <a:cxn ang="0">
                    <a:pos x="186" y="12"/>
                  </a:cxn>
                  <a:cxn ang="0">
                    <a:pos x="189" y="14"/>
                  </a:cxn>
                  <a:cxn ang="0">
                    <a:pos x="222" y="46"/>
                  </a:cxn>
                  <a:cxn ang="0">
                    <a:pos x="224" y="50"/>
                  </a:cxn>
                  <a:cxn ang="0">
                    <a:pos x="224" y="93"/>
                  </a:cxn>
                  <a:cxn ang="0">
                    <a:pos x="221" y="96"/>
                  </a:cxn>
                  <a:cxn ang="0">
                    <a:pos x="199" y="96"/>
                  </a:cxn>
                  <a:cxn ang="0">
                    <a:pos x="196" y="93"/>
                  </a:cxn>
                  <a:cxn ang="0">
                    <a:pos x="177" y="72"/>
                  </a:cxn>
                  <a:cxn ang="0">
                    <a:pos x="148" y="93"/>
                  </a:cxn>
                  <a:cxn ang="0">
                    <a:pos x="145" y="96"/>
                  </a:cxn>
                  <a:cxn ang="0">
                    <a:pos x="83" y="96"/>
                  </a:cxn>
                  <a:cxn ang="0">
                    <a:pos x="80" y="93"/>
                  </a:cxn>
                  <a:cxn ang="0">
                    <a:pos x="56" y="72"/>
                  </a:cxn>
                  <a:cxn ang="0">
                    <a:pos x="32" y="94"/>
                  </a:cxn>
                  <a:cxn ang="0">
                    <a:pos x="30" y="96"/>
                  </a:cxn>
                  <a:cxn ang="0">
                    <a:pos x="3" y="96"/>
                  </a:cxn>
                  <a:cxn ang="0">
                    <a:pos x="0" y="93"/>
                  </a:cxn>
                  <a:cxn ang="0">
                    <a:pos x="0" y="62"/>
                  </a:cxn>
                  <a:cxn ang="0">
                    <a:pos x="2" y="60"/>
                  </a:cxn>
                  <a:cxn ang="0">
                    <a:pos x="57" y="49"/>
                  </a:cxn>
                  <a:cxn ang="0">
                    <a:pos x="62" y="46"/>
                  </a:cxn>
                  <a:cxn ang="0">
                    <a:pos x="94" y="14"/>
                  </a:cxn>
                  <a:cxn ang="0">
                    <a:pos x="98" y="12"/>
                  </a:cxn>
                  <a:cxn ang="0">
                    <a:pos x="106" y="12"/>
                  </a:cxn>
                  <a:cxn ang="0">
                    <a:pos x="108" y="10"/>
                  </a:cxn>
                  <a:cxn ang="0">
                    <a:pos x="108" y="2"/>
                  </a:cxn>
                  <a:cxn ang="0">
                    <a:pos x="110" y="0"/>
                  </a:cxn>
                  <a:cxn ang="0">
                    <a:pos x="163" y="0"/>
                  </a:cxn>
                  <a:cxn ang="0">
                    <a:pos x="164" y="0"/>
                  </a:cxn>
                  <a:cxn ang="0">
                    <a:pos x="126" y="48"/>
                  </a:cxn>
                  <a:cxn ang="0">
                    <a:pos x="146" y="48"/>
                  </a:cxn>
                  <a:cxn ang="0">
                    <a:pos x="148" y="46"/>
                  </a:cxn>
                  <a:cxn ang="0">
                    <a:pos x="148" y="26"/>
                  </a:cxn>
                  <a:cxn ang="0">
                    <a:pos x="146" y="24"/>
                  </a:cxn>
                  <a:cxn ang="0">
                    <a:pos x="106" y="24"/>
                  </a:cxn>
                  <a:cxn ang="0">
                    <a:pos x="104" y="26"/>
                  </a:cxn>
                  <a:cxn ang="0">
                    <a:pos x="104" y="46"/>
                  </a:cxn>
                  <a:cxn ang="0">
                    <a:pos x="106" y="48"/>
                  </a:cxn>
                  <a:cxn ang="0">
                    <a:pos x="126" y="48"/>
                  </a:cxn>
                  <a:cxn ang="0">
                    <a:pos x="207" y="48"/>
                  </a:cxn>
                  <a:cxn ang="0">
                    <a:pos x="206" y="47"/>
                  </a:cxn>
                  <a:cxn ang="0">
                    <a:pos x="184" y="25"/>
                  </a:cxn>
                  <a:cxn ang="0">
                    <a:pos x="181" y="24"/>
                  </a:cxn>
                  <a:cxn ang="0">
                    <a:pos x="158" y="24"/>
                  </a:cxn>
                  <a:cxn ang="0">
                    <a:pos x="156" y="26"/>
                  </a:cxn>
                  <a:cxn ang="0">
                    <a:pos x="156" y="45"/>
                  </a:cxn>
                  <a:cxn ang="0">
                    <a:pos x="159" y="48"/>
                  </a:cxn>
                  <a:cxn ang="0">
                    <a:pos x="204" y="48"/>
                  </a:cxn>
                  <a:cxn ang="0">
                    <a:pos x="207" y="48"/>
                  </a:cxn>
                  <a:cxn ang="0">
                    <a:pos x="96" y="29"/>
                  </a:cxn>
                  <a:cxn ang="0">
                    <a:pos x="77" y="48"/>
                  </a:cxn>
                  <a:cxn ang="0">
                    <a:pos x="77" y="48"/>
                  </a:cxn>
                  <a:cxn ang="0">
                    <a:pos x="94" y="48"/>
                  </a:cxn>
                  <a:cxn ang="0">
                    <a:pos x="96" y="46"/>
                  </a:cxn>
                  <a:cxn ang="0">
                    <a:pos x="96" y="36"/>
                  </a:cxn>
                  <a:cxn ang="0">
                    <a:pos x="96" y="29"/>
                  </a:cxn>
                </a:cxnLst>
                <a:rect l="0" t="0" r="r" b="b"/>
                <a:pathLst>
                  <a:path w="224" h="96">
                    <a:moveTo>
                      <a:pt x="164" y="0"/>
                    </a:moveTo>
                    <a:cubicBezTo>
                      <a:pt x="164" y="4"/>
                      <a:pt x="164" y="7"/>
                      <a:pt x="164" y="10"/>
                    </a:cubicBezTo>
                    <a:cubicBezTo>
                      <a:pt x="164" y="12"/>
                      <a:pt x="164" y="12"/>
                      <a:pt x="166" y="12"/>
                    </a:cubicBezTo>
                    <a:cubicBezTo>
                      <a:pt x="173" y="12"/>
                      <a:pt x="179" y="12"/>
                      <a:pt x="186" y="12"/>
                    </a:cubicBezTo>
                    <a:cubicBezTo>
                      <a:pt x="187" y="12"/>
                      <a:pt x="189" y="13"/>
                      <a:pt x="189" y="14"/>
                    </a:cubicBezTo>
                    <a:cubicBezTo>
                      <a:pt x="201" y="24"/>
                      <a:pt x="211" y="35"/>
                      <a:pt x="222" y="46"/>
                    </a:cubicBezTo>
                    <a:cubicBezTo>
                      <a:pt x="223" y="47"/>
                      <a:pt x="224" y="49"/>
                      <a:pt x="224" y="50"/>
                    </a:cubicBezTo>
                    <a:cubicBezTo>
                      <a:pt x="224" y="64"/>
                      <a:pt x="224" y="79"/>
                      <a:pt x="224" y="93"/>
                    </a:cubicBezTo>
                    <a:cubicBezTo>
                      <a:pt x="224" y="95"/>
                      <a:pt x="223" y="96"/>
                      <a:pt x="221" y="96"/>
                    </a:cubicBezTo>
                    <a:cubicBezTo>
                      <a:pt x="214" y="96"/>
                      <a:pt x="206" y="96"/>
                      <a:pt x="199" y="96"/>
                    </a:cubicBezTo>
                    <a:cubicBezTo>
                      <a:pt x="197" y="96"/>
                      <a:pt x="196" y="95"/>
                      <a:pt x="196" y="93"/>
                    </a:cubicBezTo>
                    <a:cubicBezTo>
                      <a:pt x="194" y="82"/>
                      <a:pt x="187" y="75"/>
                      <a:pt x="177" y="72"/>
                    </a:cubicBezTo>
                    <a:cubicBezTo>
                      <a:pt x="163" y="69"/>
                      <a:pt x="149" y="79"/>
                      <a:pt x="148" y="93"/>
                    </a:cubicBezTo>
                    <a:cubicBezTo>
                      <a:pt x="148" y="95"/>
                      <a:pt x="147" y="96"/>
                      <a:pt x="145" y="96"/>
                    </a:cubicBezTo>
                    <a:cubicBezTo>
                      <a:pt x="124" y="96"/>
                      <a:pt x="104" y="96"/>
                      <a:pt x="83" y="96"/>
                    </a:cubicBezTo>
                    <a:cubicBezTo>
                      <a:pt x="81" y="96"/>
                      <a:pt x="80" y="95"/>
                      <a:pt x="80" y="93"/>
                    </a:cubicBezTo>
                    <a:cubicBezTo>
                      <a:pt x="79" y="81"/>
                      <a:pt x="68" y="71"/>
                      <a:pt x="56" y="72"/>
                    </a:cubicBezTo>
                    <a:cubicBezTo>
                      <a:pt x="43" y="72"/>
                      <a:pt x="33" y="81"/>
                      <a:pt x="32" y="94"/>
                    </a:cubicBezTo>
                    <a:cubicBezTo>
                      <a:pt x="32" y="95"/>
                      <a:pt x="31" y="96"/>
                      <a:pt x="30" y="96"/>
                    </a:cubicBezTo>
                    <a:cubicBezTo>
                      <a:pt x="21" y="96"/>
                      <a:pt x="12" y="96"/>
                      <a:pt x="3" y="96"/>
                    </a:cubicBezTo>
                    <a:cubicBezTo>
                      <a:pt x="1" y="96"/>
                      <a:pt x="0" y="95"/>
                      <a:pt x="0" y="93"/>
                    </a:cubicBezTo>
                    <a:cubicBezTo>
                      <a:pt x="0" y="83"/>
                      <a:pt x="0" y="72"/>
                      <a:pt x="0" y="62"/>
                    </a:cubicBezTo>
                    <a:cubicBezTo>
                      <a:pt x="0" y="61"/>
                      <a:pt x="1" y="60"/>
                      <a:pt x="2" y="60"/>
                    </a:cubicBezTo>
                    <a:cubicBezTo>
                      <a:pt x="20" y="56"/>
                      <a:pt x="39" y="52"/>
                      <a:pt x="57" y="49"/>
                    </a:cubicBezTo>
                    <a:cubicBezTo>
                      <a:pt x="59" y="48"/>
                      <a:pt x="61" y="47"/>
                      <a:pt x="62" y="46"/>
                    </a:cubicBezTo>
                    <a:cubicBezTo>
                      <a:pt x="73" y="35"/>
                      <a:pt x="84" y="24"/>
                      <a:pt x="94" y="14"/>
                    </a:cubicBezTo>
                    <a:cubicBezTo>
                      <a:pt x="95" y="13"/>
                      <a:pt x="97" y="12"/>
                      <a:pt x="98" y="12"/>
                    </a:cubicBezTo>
                    <a:cubicBezTo>
                      <a:pt x="101" y="12"/>
                      <a:pt x="103" y="12"/>
                      <a:pt x="106" y="12"/>
                    </a:cubicBezTo>
                    <a:cubicBezTo>
                      <a:pt x="108" y="12"/>
                      <a:pt x="108" y="11"/>
                      <a:pt x="108" y="10"/>
                    </a:cubicBezTo>
                    <a:cubicBezTo>
                      <a:pt x="108" y="7"/>
                      <a:pt x="108" y="5"/>
                      <a:pt x="108" y="2"/>
                    </a:cubicBezTo>
                    <a:cubicBezTo>
                      <a:pt x="108" y="1"/>
                      <a:pt x="109" y="0"/>
                      <a:pt x="110" y="0"/>
                    </a:cubicBezTo>
                    <a:cubicBezTo>
                      <a:pt x="128" y="0"/>
                      <a:pt x="145" y="0"/>
                      <a:pt x="163" y="0"/>
                    </a:cubicBezTo>
                    <a:cubicBezTo>
                      <a:pt x="163" y="0"/>
                      <a:pt x="163" y="0"/>
                      <a:pt x="164" y="0"/>
                    </a:cubicBezTo>
                    <a:close/>
                    <a:moveTo>
                      <a:pt x="126" y="48"/>
                    </a:moveTo>
                    <a:cubicBezTo>
                      <a:pt x="132" y="48"/>
                      <a:pt x="139" y="48"/>
                      <a:pt x="146" y="48"/>
                    </a:cubicBezTo>
                    <a:cubicBezTo>
                      <a:pt x="148" y="48"/>
                      <a:pt x="148" y="47"/>
                      <a:pt x="148" y="46"/>
                    </a:cubicBezTo>
                    <a:cubicBezTo>
                      <a:pt x="148" y="39"/>
                      <a:pt x="148" y="32"/>
                      <a:pt x="148" y="26"/>
                    </a:cubicBezTo>
                    <a:cubicBezTo>
                      <a:pt x="148" y="24"/>
                      <a:pt x="148" y="24"/>
                      <a:pt x="146" y="24"/>
                    </a:cubicBezTo>
                    <a:cubicBezTo>
                      <a:pt x="133" y="24"/>
                      <a:pt x="119" y="24"/>
                      <a:pt x="106" y="24"/>
                    </a:cubicBezTo>
                    <a:cubicBezTo>
                      <a:pt x="104" y="24"/>
                      <a:pt x="104" y="24"/>
                      <a:pt x="104" y="26"/>
                    </a:cubicBezTo>
                    <a:cubicBezTo>
                      <a:pt x="104" y="32"/>
                      <a:pt x="104" y="39"/>
                      <a:pt x="104" y="46"/>
                    </a:cubicBezTo>
                    <a:cubicBezTo>
                      <a:pt x="104" y="48"/>
                      <a:pt x="104" y="48"/>
                      <a:pt x="106" y="48"/>
                    </a:cubicBezTo>
                    <a:cubicBezTo>
                      <a:pt x="113" y="48"/>
                      <a:pt x="119" y="48"/>
                      <a:pt x="126" y="48"/>
                    </a:cubicBezTo>
                    <a:close/>
                    <a:moveTo>
                      <a:pt x="207" y="48"/>
                    </a:moveTo>
                    <a:cubicBezTo>
                      <a:pt x="206" y="47"/>
                      <a:pt x="206" y="47"/>
                      <a:pt x="206" y="47"/>
                    </a:cubicBezTo>
                    <a:cubicBezTo>
                      <a:pt x="199" y="39"/>
                      <a:pt x="191" y="32"/>
                      <a:pt x="184" y="25"/>
                    </a:cubicBezTo>
                    <a:cubicBezTo>
                      <a:pt x="183" y="24"/>
                      <a:pt x="182" y="24"/>
                      <a:pt x="181" y="24"/>
                    </a:cubicBezTo>
                    <a:cubicBezTo>
                      <a:pt x="173" y="24"/>
                      <a:pt x="166" y="24"/>
                      <a:pt x="158" y="24"/>
                    </a:cubicBezTo>
                    <a:cubicBezTo>
                      <a:pt x="156" y="24"/>
                      <a:pt x="156" y="24"/>
                      <a:pt x="156" y="26"/>
                    </a:cubicBezTo>
                    <a:cubicBezTo>
                      <a:pt x="156" y="32"/>
                      <a:pt x="156" y="39"/>
                      <a:pt x="156" y="45"/>
                    </a:cubicBezTo>
                    <a:cubicBezTo>
                      <a:pt x="156" y="47"/>
                      <a:pt x="156" y="48"/>
                      <a:pt x="159" y="48"/>
                    </a:cubicBezTo>
                    <a:cubicBezTo>
                      <a:pt x="174" y="48"/>
                      <a:pt x="189" y="48"/>
                      <a:pt x="204" y="48"/>
                    </a:cubicBezTo>
                    <a:cubicBezTo>
                      <a:pt x="205" y="48"/>
                      <a:pt x="206" y="48"/>
                      <a:pt x="207" y="48"/>
                    </a:cubicBezTo>
                    <a:close/>
                    <a:moveTo>
                      <a:pt x="96" y="29"/>
                    </a:moveTo>
                    <a:cubicBezTo>
                      <a:pt x="90" y="35"/>
                      <a:pt x="83" y="42"/>
                      <a:pt x="77" y="48"/>
                    </a:cubicBezTo>
                    <a:cubicBezTo>
                      <a:pt x="77" y="48"/>
                      <a:pt x="77" y="48"/>
                      <a:pt x="77" y="48"/>
                    </a:cubicBezTo>
                    <a:cubicBezTo>
                      <a:pt x="83" y="48"/>
                      <a:pt x="89" y="48"/>
                      <a:pt x="94" y="48"/>
                    </a:cubicBezTo>
                    <a:cubicBezTo>
                      <a:pt x="96" y="48"/>
                      <a:pt x="96" y="47"/>
                      <a:pt x="96" y="46"/>
                    </a:cubicBezTo>
                    <a:cubicBezTo>
                      <a:pt x="96" y="43"/>
                      <a:pt x="96" y="39"/>
                      <a:pt x="96" y="36"/>
                    </a:cubicBezTo>
                    <a:cubicBezTo>
                      <a:pt x="96" y="33"/>
                      <a:pt x="96" y="31"/>
                      <a:pt x="96" y="2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90" name="Freeform 18"/>
              <p:cNvSpPr>
                <a:spLocks noEditPoints="1"/>
              </p:cNvSpPr>
              <p:nvPr/>
            </p:nvSpPr>
            <p:spPr bwMode="auto">
              <a:xfrm>
                <a:off x="13774514" y="5757863"/>
                <a:ext cx="239713" cy="285750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5" y="28"/>
                  </a:cxn>
                  <a:cxn ang="0">
                    <a:pos x="8" y="25"/>
                  </a:cxn>
                  <a:cxn ang="0">
                    <a:pos x="8" y="3"/>
                  </a:cxn>
                  <a:cxn ang="0">
                    <a:pos x="11" y="0"/>
                  </a:cxn>
                  <a:cxn ang="0">
                    <a:pos x="21" y="0"/>
                  </a:cxn>
                  <a:cxn ang="0">
                    <a:pos x="24" y="3"/>
                  </a:cxn>
                  <a:cxn ang="0">
                    <a:pos x="24" y="25"/>
                  </a:cxn>
                  <a:cxn ang="0">
                    <a:pos x="26" y="28"/>
                  </a:cxn>
                  <a:cxn ang="0">
                    <a:pos x="38" y="28"/>
                  </a:cxn>
                  <a:cxn ang="0">
                    <a:pos x="40" y="25"/>
                  </a:cxn>
                  <a:cxn ang="0">
                    <a:pos x="40" y="3"/>
                  </a:cxn>
                  <a:cxn ang="0">
                    <a:pos x="43" y="0"/>
                  </a:cxn>
                  <a:cxn ang="0">
                    <a:pos x="53" y="0"/>
                  </a:cxn>
                  <a:cxn ang="0">
                    <a:pos x="56" y="3"/>
                  </a:cxn>
                  <a:cxn ang="0">
                    <a:pos x="56" y="25"/>
                  </a:cxn>
                  <a:cxn ang="0">
                    <a:pos x="59" y="28"/>
                  </a:cxn>
                  <a:cxn ang="0">
                    <a:pos x="63" y="28"/>
                  </a:cxn>
                  <a:cxn ang="0">
                    <a:pos x="64" y="29"/>
                  </a:cxn>
                  <a:cxn ang="0">
                    <a:pos x="64" y="57"/>
                  </a:cxn>
                  <a:cxn ang="0">
                    <a:pos x="52" y="68"/>
                  </a:cxn>
                  <a:cxn ang="0">
                    <a:pos x="48" y="73"/>
                  </a:cxn>
                  <a:cxn ang="0">
                    <a:pos x="45" y="76"/>
                  </a:cxn>
                  <a:cxn ang="0">
                    <a:pos x="19" y="76"/>
                  </a:cxn>
                  <a:cxn ang="0">
                    <a:pos x="16" y="73"/>
                  </a:cxn>
                  <a:cxn ang="0">
                    <a:pos x="11" y="68"/>
                  </a:cxn>
                  <a:cxn ang="0">
                    <a:pos x="0" y="57"/>
                  </a:cxn>
                  <a:cxn ang="0">
                    <a:pos x="0" y="29"/>
                  </a:cxn>
                  <a:cxn ang="0">
                    <a:pos x="0" y="28"/>
                  </a:cxn>
                  <a:cxn ang="0">
                    <a:pos x="16" y="4"/>
                  </a:cxn>
                  <a:cxn ang="0">
                    <a:pos x="12" y="8"/>
                  </a:cxn>
                  <a:cxn ang="0">
                    <a:pos x="16" y="12"/>
                  </a:cxn>
                  <a:cxn ang="0">
                    <a:pos x="20" y="8"/>
                  </a:cxn>
                  <a:cxn ang="0">
                    <a:pos x="16" y="4"/>
                  </a:cxn>
                  <a:cxn ang="0">
                    <a:pos x="52" y="8"/>
                  </a:cxn>
                  <a:cxn ang="0">
                    <a:pos x="48" y="4"/>
                  </a:cxn>
                  <a:cxn ang="0">
                    <a:pos x="44" y="8"/>
                  </a:cxn>
                  <a:cxn ang="0">
                    <a:pos x="48" y="12"/>
                  </a:cxn>
                  <a:cxn ang="0">
                    <a:pos x="52" y="8"/>
                  </a:cxn>
                </a:cxnLst>
                <a:rect l="0" t="0" r="r" b="b"/>
                <a:pathLst>
                  <a:path w="64" h="76">
                    <a:moveTo>
                      <a:pt x="0" y="28"/>
                    </a:moveTo>
                    <a:cubicBezTo>
                      <a:pt x="2" y="28"/>
                      <a:pt x="4" y="28"/>
                      <a:pt x="5" y="28"/>
                    </a:cubicBezTo>
                    <a:cubicBezTo>
                      <a:pt x="7" y="28"/>
                      <a:pt x="8" y="28"/>
                      <a:pt x="8" y="25"/>
                    </a:cubicBezTo>
                    <a:cubicBezTo>
                      <a:pt x="8" y="18"/>
                      <a:pt x="8" y="10"/>
                      <a:pt x="8" y="3"/>
                    </a:cubicBezTo>
                    <a:cubicBezTo>
                      <a:pt x="8" y="1"/>
                      <a:pt x="9" y="0"/>
                      <a:pt x="11" y="0"/>
                    </a:cubicBezTo>
                    <a:cubicBezTo>
                      <a:pt x="14" y="0"/>
                      <a:pt x="18" y="0"/>
                      <a:pt x="21" y="0"/>
                    </a:cubicBezTo>
                    <a:cubicBezTo>
                      <a:pt x="23" y="0"/>
                      <a:pt x="24" y="0"/>
                      <a:pt x="24" y="3"/>
                    </a:cubicBezTo>
                    <a:cubicBezTo>
                      <a:pt x="24" y="10"/>
                      <a:pt x="24" y="18"/>
                      <a:pt x="24" y="25"/>
                    </a:cubicBezTo>
                    <a:cubicBezTo>
                      <a:pt x="24" y="27"/>
                      <a:pt x="24" y="28"/>
                      <a:pt x="26" y="28"/>
                    </a:cubicBezTo>
                    <a:cubicBezTo>
                      <a:pt x="30" y="28"/>
                      <a:pt x="34" y="28"/>
                      <a:pt x="38" y="28"/>
                    </a:cubicBezTo>
                    <a:cubicBezTo>
                      <a:pt x="40" y="28"/>
                      <a:pt x="40" y="27"/>
                      <a:pt x="40" y="25"/>
                    </a:cubicBezTo>
                    <a:cubicBezTo>
                      <a:pt x="40" y="18"/>
                      <a:pt x="40" y="10"/>
                      <a:pt x="40" y="3"/>
                    </a:cubicBezTo>
                    <a:cubicBezTo>
                      <a:pt x="40" y="1"/>
                      <a:pt x="41" y="0"/>
                      <a:pt x="43" y="0"/>
                    </a:cubicBezTo>
                    <a:cubicBezTo>
                      <a:pt x="46" y="0"/>
                      <a:pt x="50" y="0"/>
                      <a:pt x="53" y="0"/>
                    </a:cubicBezTo>
                    <a:cubicBezTo>
                      <a:pt x="55" y="0"/>
                      <a:pt x="56" y="1"/>
                      <a:pt x="56" y="3"/>
                    </a:cubicBezTo>
                    <a:cubicBezTo>
                      <a:pt x="56" y="10"/>
                      <a:pt x="56" y="18"/>
                      <a:pt x="56" y="25"/>
                    </a:cubicBezTo>
                    <a:cubicBezTo>
                      <a:pt x="56" y="27"/>
                      <a:pt x="56" y="28"/>
                      <a:pt x="59" y="28"/>
                    </a:cubicBezTo>
                    <a:cubicBezTo>
                      <a:pt x="60" y="28"/>
                      <a:pt x="62" y="28"/>
                      <a:pt x="63" y="28"/>
                    </a:cubicBezTo>
                    <a:cubicBezTo>
                      <a:pt x="64" y="29"/>
                      <a:pt x="64" y="29"/>
                      <a:pt x="64" y="29"/>
                    </a:cubicBezTo>
                    <a:cubicBezTo>
                      <a:pt x="64" y="38"/>
                      <a:pt x="64" y="48"/>
                      <a:pt x="64" y="57"/>
                    </a:cubicBezTo>
                    <a:cubicBezTo>
                      <a:pt x="64" y="63"/>
                      <a:pt x="58" y="67"/>
                      <a:pt x="52" y="68"/>
                    </a:cubicBezTo>
                    <a:cubicBezTo>
                      <a:pt x="48" y="68"/>
                      <a:pt x="48" y="68"/>
                      <a:pt x="48" y="73"/>
                    </a:cubicBezTo>
                    <a:cubicBezTo>
                      <a:pt x="48" y="75"/>
                      <a:pt x="47" y="76"/>
                      <a:pt x="45" y="76"/>
                    </a:cubicBezTo>
                    <a:cubicBezTo>
                      <a:pt x="36" y="76"/>
                      <a:pt x="28" y="76"/>
                      <a:pt x="19" y="76"/>
                    </a:cubicBezTo>
                    <a:cubicBezTo>
                      <a:pt x="17" y="76"/>
                      <a:pt x="16" y="75"/>
                      <a:pt x="16" y="73"/>
                    </a:cubicBezTo>
                    <a:cubicBezTo>
                      <a:pt x="16" y="68"/>
                      <a:pt x="16" y="68"/>
                      <a:pt x="11" y="68"/>
                    </a:cubicBezTo>
                    <a:cubicBezTo>
                      <a:pt x="5" y="67"/>
                      <a:pt x="0" y="63"/>
                      <a:pt x="0" y="57"/>
                    </a:cubicBezTo>
                    <a:cubicBezTo>
                      <a:pt x="0" y="47"/>
                      <a:pt x="0" y="38"/>
                      <a:pt x="0" y="29"/>
                    </a:cubicBezTo>
                    <a:cubicBezTo>
                      <a:pt x="0" y="29"/>
                      <a:pt x="0" y="29"/>
                      <a:pt x="0" y="28"/>
                    </a:cubicBezTo>
                    <a:close/>
                    <a:moveTo>
                      <a:pt x="16" y="4"/>
                    </a:moveTo>
                    <a:cubicBezTo>
                      <a:pt x="14" y="4"/>
                      <a:pt x="12" y="6"/>
                      <a:pt x="12" y="8"/>
                    </a:cubicBezTo>
                    <a:cubicBezTo>
                      <a:pt x="12" y="10"/>
                      <a:pt x="14" y="12"/>
                      <a:pt x="16" y="12"/>
                    </a:cubicBezTo>
                    <a:cubicBezTo>
                      <a:pt x="18" y="12"/>
                      <a:pt x="20" y="10"/>
                      <a:pt x="20" y="8"/>
                    </a:cubicBezTo>
                    <a:cubicBezTo>
                      <a:pt x="20" y="6"/>
                      <a:pt x="18" y="4"/>
                      <a:pt x="16" y="4"/>
                    </a:cubicBezTo>
                    <a:close/>
                    <a:moveTo>
                      <a:pt x="52" y="8"/>
                    </a:moveTo>
                    <a:cubicBezTo>
                      <a:pt x="52" y="6"/>
                      <a:pt x="50" y="4"/>
                      <a:pt x="48" y="4"/>
                    </a:cubicBezTo>
                    <a:cubicBezTo>
                      <a:pt x="46" y="4"/>
                      <a:pt x="44" y="6"/>
                      <a:pt x="44" y="8"/>
                    </a:cubicBezTo>
                    <a:cubicBezTo>
                      <a:pt x="44" y="10"/>
                      <a:pt x="46" y="12"/>
                      <a:pt x="48" y="12"/>
                    </a:cubicBezTo>
                    <a:cubicBezTo>
                      <a:pt x="50" y="12"/>
                      <a:pt x="52" y="10"/>
                      <a:pt x="52" y="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91" name="Freeform 19"/>
              <p:cNvSpPr>
                <a:spLocks noEditPoints="1"/>
              </p:cNvSpPr>
              <p:nvPr/>
            </p:nvSpPr>
            <p:spPr bwMode="auto">
              <a:xfrm>
                <a:off x="13955489" y="6372225"/>
                <a:ext cx="149225" cy="150813"/>
              </a:xfrm>
              <a:custGeom>
                <a:avLst/>
                <a:gdLst/>
                <a:ahLst/>
                <a:cxnLst>
                  <a:cxn ang="0">
                    <a:pos x="40" y="20"/>
                  </a:cxn>
                  <a:cxn ang="0">
                    <a:pos x="20" y="40"/>
                  </a:cxn>
                  <a:cxn ang="0">
                    <a:pos x="0" y="20"/>
                  </a:cxn>
                  <a:cxn ang="0">
                    <a:pos x="20" y="0"/>
                  </a:cxn>
                  <a:cxn ang="0">
                    <a:pos x="40" y="20"/>
                  </a:cxn>
                  <a:cxn ang="0">
                    <a:pos x="20" y="8"/>
                  </a:cxn>
                  <a:cxn ang="0">
                    <a:pos x="8" y="19"/>
                  </a:cxn>
                  <a:cxn ang="0">
                    <a:pos x="20" y="32"/>
                  </a:cxn>
                  <a:cxn ang="0">
                    <a:pos x="32" y="20"/>
                  </a:cxn>
                  <a:cxn ang="0">
                    <a:pos x="20" y="8"/>
                  </a:cxn>
                </a:cxnLst>
                <a:rect l="0" t="0" r="r" b="b"/>
                <a:pathLst>
                  <a:path w="40" h="40">
                    <a:moveTo>
                      <a:pt x="40" y="20"/>
                    </a:moveTo>
                    <a:cubicBezTo>
                      <a:pt x="40" y="31"/>
                      <a:pt x="31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lose/>
                    <a:moveTo>
                      <a:pt x="20" y="8"/>
                    </a:moveTo>
                    <a:cubicBezTo>
                      <a:pt x="14" y="7"/>
                      <a:pt x="8" y="13"/>
                      <a:pt x="8" y="19"/>
                    </a:cubicBezTo>
                    <a:cubicBezTo>
                      <a:pt x="8" y="26"/>
                      <a:pt x="13" y="32"/>
                      <a:pt x="20" y="32"/>
                    </a:cubicBezTo>
                    <a:cubicBezTo>
                      <a:pt x="26" y="32"/>
                      <a:pt x="32" y="27"/>
                      <a:pt x="32" y="20"/>
                    </a:cubicBezTo>
                    <a:cubicBezTo>
                      <a:pt x="32" y="14"/>
                      <a:pt x="27" y="8"/>
                      <a:pt x="20" y="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92" name="Freeform 20"/>
              <p:cNvSpPr>
                <a:spLocks noEditPoints="1"/>
              </p:cNvSpPr>
              <p:nvPr/>
            </p:nvSpPr>
            <p:spPr bwMode="auto">
              <a:xfrm>
                <a:off x="13520514" y="6372225"/>
                <a:ext cx="149225" cy="150813"/>
              </a:xfrm>
              <a:custGeom>
                <a:avLst/>
                <a:gdLst/>
                <a:ahLst/>
                <a:cxnLst>
                  <a:cxn ang="0">
                    <a:pos x="20" y="40"/>
                  </a:cxn>
                  <a:cxn ang="0">
                    <a:pos x="0" y="20"/>
                  </a:cxn>
                  <a:cxn ang="0">
                    <a:pos x="20" y="0"/>
                  </a:cxn>
                  <a:cxn ang="0">
                    <a:pos x="40" y="20"/>
                  </a:cxn>
                  <a:cxn ang="0">
                    <a:pos x="20" y="40"/>
                  </a:cxn>
                  <a:cxn ang="0">
                    <a:pos x="32" y="20"/>
                  </a:cxn>
                  <a:cxn ang="0">
                    <a:pos x="20" y="8"/>
                  </a:cxn>
                  <a:cxn ang="0">
                    <a:pos x="8" y="20"/>
                  </a:cxn>
                  <a:cxn ang="0">
                    <a:pos x="20" y="32"/>
                  </a:cxn>
                  <a:cxn ang="0">
                    <a:pos x="32" y="20"/>
                  </a:cxn>
                </a:cxnLst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32" y="20"/>
                    </a:moveTo>
                    <a:cubicBezTo>
                      <a:pt x="32" y="13"/>
                      <a:pt x="27" y="8"/>
                      <a:pt x="20" y="8"/>
                    </a:cubicBezTo>
                    <a:cubicBezTo>
                      <a:pt x="13" y="8"/>
                      <a:pt x="8" y="13"/>
                      <a:pt x="8" y="20"/>
                    </a:cubicBezTo>
                    <a:cubicBezTo>
                      <a:pt x="8" y="26"/>
                      <a:pt x="13" y="32"/>
                      <a:pt x="20" y="32"/>
                    </a:cubicBezTo>
                    <a:cubicBezTo>
                      <a:pt x="27" y="32"/>
                      <a:pt x="32" y="26"/>
                      <a:pt x="32" y="2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sp>
          <p:nvSpPr>
            <p:cNvPr id="93" name="Freeform 21"/>
            <p:cNvSpPr>
              <a:spLocks/>
            </p:cNvSpPr>
            <p:nvPr/>
          </p:nvSpPr>
          <p:spPr bwMode="auto">
            <a:xfrm>
              <a:off x="7378905" y="3983377"/>
              <a:ext cx="268202" cy="846116"/>
            </a:xfrm>
            <a:custGeom>
              <a:avLst/>
              <a:gdLst/>
              <a:ahLst/>
              <a:cxnLst>
                <a:cxn ang="0">
                  <a:pos x="28" y="127"/>
                </a:cxn>
                <a:cxn ang="0">
                  <a:pos x="0" y="127"/>
                </a:cxn>
                <a:cxn ang="0">
                  <a:pos x="1" y="117"/>
                </a:cxn>
                <a:cxn ang="0">
                  <a:pos x="6" y="80"/>
                </a:cxn>
                <a:cxn ang="0">
                  <a:pos x="10" y="44"/>
                </a:cxn>
                <a:cxn ang="0">
                  <a:pos x="14" y="11"/>
                </a:cxn>
                <a:cxn ang="0">
                  <a:pos x="16" y="1"/>
                </a:cxn>
                <a:cxn ang="0">
                  <a:pos x="17" y="0"/>
                </a:cxn>
                <a:cxn ang="0">
                  <a:pos x="62" y="0"/>
                </a:cxn>
                <a:cxn ang="0">
                  <a:pos x="63" y="0"/>
                </a:cxn>
                <a:cxn ang="0">
                  <a:pos x="39" y="95"/>
                </a:cxn>
                <a:cxn ang="0">
                  <a:pos x="71" y="95"/>
                </a:cxn>
                <a:cxn ang="0">
                  <a:pos x="5" y="224"/>
                </a:cxn>
                <a:cxn ang="0">
                  <a:pos x="4" y="224"/>
                </a:cxn>
                <a:cxn ang="0">
                  <a:pos x="28" y="127"/>
                </a:cxn>
              </a:cxnLst>
              <a:rect l="0" t="0" r="r" b="b"/>
              <a:pathLst>
                <a:path w="71" h="224">
                  <a:moveTo>
                    <a:pt x="28" y="127"/>
                  </a:moveTo>
                  <a:cubicBezTo>
                    <a:pt x="18" y="127"/>
                    <a:pt x="9" y="127"/>
                    <a:pt x="0" y="127"/>
                  </a:cubicBezTo>
                  <a:cubicBezTo>
                    <a:pt x="0" y="124"/>
                    <a:pt x="0" y="121"/>
                    <a:pt x="1" y="117"/>
                  </a:cubicBezTo>
                  <a:cubicBezTo>
                    <a:pt x="2" y="105"/>
                    <a:pt x="4" y="92"/>
                    <a:pt x="6" y="80"/>
                  </a:cubicBezTo>
                  <a:cubicBezTo>
                    <a:pt x="7" y="68"/>
                    <a:pt x="9" y="56"/>
                    <a:pt x="10" y="44"/>
                  </a:cubicBezTo>
                  <a:cubicBezTo>
                    <a:pt x="12" y="33"/>
                    <a:pt x="13" y="22"/>
                    <a:pt x="14" y="11"/>
                  </a:cubicBezTo>
                  <a:cubicBezTo>
                    <a:pt x="15" y="8"/>
                    <a:pt x="15" y="5"/>
                    <a:pt x="16" y="1"/>
                  </a:cubicBezTo>
                  <a:cubicBezTo>
                    <a:pt x="16" y="1"/>
                    <a:pt x="17" y="0"/>
                    <a:pt x="17" y="0"/>
                  </a:cubicBezTo>
                  <a:cubicBezTo>
                    <a:pt x="32" y="0"/>
                    <a:pt x="47" y="0"/>
                    <a:pt x="62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55" y="32"/>
                    <a:pt x="47" y="63"/>
                    <a:pt x="39" y="95"/>
                  </a:cubicBezTo>
                  <a:cubicBezTo>
                    <a:pt x="50" y="95"/>
                    <a:pt x="60" y="95"/>
                    <a:pt x="71" y="95"/>
                  </a:cubicBezTo>
                  <a:cubicBezTo>
                    <a:pt x="49" y="139"/>
                    <a:pt x="27" y="182"/>
                    <a:pt x="5" y="224"/>
                  </a:cubicBezTo>
                  <a:cubicBezTo>
                    <a:pt x="5" y="224"/>
                    <a:pt x="5" y="224"/>
                    <a:pt x="4" y="224"/>
                  </a:cubicBezTo>
                  <a:cubicBezTo>
                    <a:pt x="12" y="192"/>
                    <a:pt x="20" y="160"/>
                    <a:pt x="28" y="1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GB" sz="2701"/>
            </a:p>
          </p:txBody>
        </p:sp>
        <p:sp>
          <p:nvSpPr>
            <p:cNvPr id="94" name="Freeform 13"/>
            <p:cNvSpPr>
              <a:spLocks noEditPoints="1"/>
            </p:cNvSpPr>
            <p:nvPr/>
          </p:nvSpPr>
          <p:spPr bwMode="auto">
            <a:xfrm>
              <a:off x="9961962" y="3984853"/>
              <a:ext cx="849309" cy="852501"/>
            </a:xfrm>
            <a:custGeom>
              <a:avLst/>
              <a:gdLst/>
              <a:ahLst/>
              <a:cxnLst>
                <a:cxn ang="0">
                  <a:pos x="112" y="1"/>
                </a:cxn>
                <a:cxn ang="0">
                  <a:pos x="224" y="115"/>
                </a:cxn>
                <a:cxn ang="0">
                  <a:pos x="110" y="224"/>
                </a:cxn>
                <a:cxn ang="0">
                  <a:pos x="0" y="112"/>
                </a:cxn>
                <a:cxn ang="0">
                  <a:pos x="112" y="1"/>
                </a:cxn>
                <a:cxn ang="0">
                  <a:pos x="112" y="17"/>
                </a:cxn>
                <a:cxn ang="0">
                  <a:pos x="112" y="25"/>
                </a:cxn>
                <a:cxn ang="0">
                  <a:pos x="109" y="29"/>
                </a:cxn>
                <a:cxn ang="0">
                  <a:pos x="95" y="30"/>
                </a:cxn>
                <a:cxn ang="0">
                  <a:pos x="30" y="131"/>
                </a:cxn>
                <a:cxn ang="0">
                  <a:pos x="131" y="195"/>
                </a:cxn>
                <a:cxn ang="0">
                  <a:pos x="186" y="73"/>
                </a:cxn>
                <a:cxn ang="0">
                  <a:pos x="172" y="53"/>
                </a:cxn>
                <a:cxn ang="0">
                  <a:pos x="170" y="55"/>
                </a:cxn>
                <a:cxn ang="0">
                  <a:pos x="156" y="69"/>
                </a:cxn>
                <a:cxn ang="0">
                  <a:pos x="156" y="72"/>
                </a:cxn>
                <a:cxn ang="0">
                  <a:pos x="171" y="124"/>
                </a:cxn>
                <a:cxn ang="0">
                  <a:pos x="102" y="171"/>
                </a:cxn>
                <a:cxn ang="0">
                  <a:pos x="55" y="95"/>
                </a:cxn>
                <a:cxn ang="0">
                  <a:pos x="110" y="53"/>
                </a:cxn>
                <a:cxn ang="0">
                  <a:pos x="112" y="55"/>
                </a:cxn>
                <a:cxn ang="0">
                  <a:pos x="112" y="69"/>
                </a:cxn>
                <a:cxn ang="0">
                  <a:pos x="112" y="72"/>
                </a:cxn>
                <a:cxn ang="0">
                  <a:pos x="139" y="44"/>
                </a:cxn>
                <a:cxn ang="0">
                  <a:pos x="112" y="17"/>
                </a:cxn>
              </a:cxnLst>
              <a:rect l="0" t="0" r="r" b="b"/>
              <a:pathLst>
                <a:path w="225" h="226">
                  <a:moveTo>
                    <a:pt x="112" y="1"/>
                  </a:moveTo>
                  <a:cubicBezTo>
                    <a:pt x="173" y="0"/>
                    <a:pt x="225" y="50"/>
                    <a:pt x="224" y="115"/>
                  </a:cubicBezTo>
                  <a:cubicBezTo>
                    <a:pt x="223" y="175"/>
                    <a:pt x="173" y="226"/>
                    <a:pt x="110" y="224"/>
                  </a:cubicBezTo>
                  <a:cubicBezTo>
                    <a:pt x="49" y="223"/>
                    <a:pt x="0" y="173"/>
                    <a:pt x="0" y="112"/>
                  </a:cubicBezTo>
                  <a:cubicBezTo>
                    <a:pt x="1" y="51"/>
                    <a:pt x="51" y="1"/>
                    <a:pt x="112" y="1"/>
                  </a:cubicBezTo>
                  <a:close/>
                  <a:moveTo>
                    <a:pt x="112" y="17"/>
                  </a:moveTo>
                  <a:cubicBezTo>
                    <a:pt x="112" y="20"/>
                    <a:pt x="112" y="23"/>
                    <a:pt x="112" y="25"/>
                  </a:cubicBezTo>
                  <a:cubicBezTo>
                    <a:pt x="112" y="28"/>
                    <a:pt x="112" y="28"/>
                    <a:pt x="109" y="29"/>
                  </a:cubicBezTo>
                  <a:cubicBezTo>
                    <a:pt x="104" y="29"/>
                    <a:pt x="99" y="29"/>
                    <a:pt x="95" y="30"/>
                  </a:cubicBezTo>
                  <a:cubicBezTo>
                    <a:pt x="49" y="40"/>
                    <a:pt x="20" y="85"/>
                    <a:pt x="30" y="131"/>
                  </a:cubicBezTo>
                  <a:cubicBezTo>
                    <a:pt x="40" y="176"/>
                    <a:pt x="86" y="205"/>
                    <a:pt x="131" y="195"/>
                  </a:cubicBezTo>
                  <a:cubicBezTo>
                    <a:pt x="185" y="182"/>
                    <a:pt x="213" y="122"/>
                    <a:pt x="186" y="73"/>
                  </a:cubicBezTo>
                  <a:cubicBezTo>
                    <a:pt x="183" y="66"/>
                    <a:pt x="178" y="59"/>
                    <a:pt x="172" y="53"/>
                  </a:cubicBezTo>
                  <a:cubicBezTo>
                    <a:pt x="171" y="54"/>
                    <a:pt x="171" y="54"/>
                    <a:pt x="170" y="55"/>
                  </a:cubicBezTo>
                  <a:cubicBezTo>
                    <a:pt x="165" y="59"/>
                    <a:pt x="161" y="64"/>
                    <a:pt x="156" y="69"/>
                  </a:cubicBezTo>
                  <a:cubicBezTo>
                    <a:pt x="155" y="70"/>
                    <a:pt x="155" y="71"/>
                    <a:pt x="156" y="72"/>
                  </a:cubicBezTo>
                  <a:cubicBezTo>
                    <a:pt x="170" y="87"/>
                    <a:pt x="175" y="105"/>
                    <a:pt x="171" y="124"/>
                  </a:cubicBezTo>
                  <a:cubicBezTo>
                    <a:pt x="165" y="154"/>
                    <a:pt x="136" y="178"/>
                    <a:pt x="102" y="171"/>
                  </a:cubicBezTo>
                  <a:cubicBezTo>
                    <a:pt x="66" y="165"/>
                    <a:pt x="45" y="130"/>
                    <a:pt x="55" y="95"/>
                  </a:cubicBezTo>
                  <a:cubicBezTo>
                    <a:pt x="63" y="70"/>
                    <a:pt x="86" y="54"/>
                    <a:pt x="110" y="53"/>
                  </a:cubicBezTo>
                  <a:cubicBezTo>
                    <a:pt x="112" y="53"/>
                    <a:pt x="112" y="53"/>
                    <a:pt x="112" y="55"/>
                  </a:cubicBezTo>
                  <a:cubicBezTo>
                    <a:pt x="112" y="60"/>
                    <a:pt x="112" y="65"/>
                    <a:pt x="112" y="69"/>
                  </a:cubicBezTo>
                  <a:cubicBezTo>
                    <a:pt x="112" y="70"/>
                    <a:pt x="112" y="71"/>
                    <a:pt x="112" y="72"/>
                  </a:cubicBezTo>
                  <a:cubicBezTo>
                    <a:pt x="121" y="62"/>
                    <a:pt x="131" y="53"/>
                    <a:pt x="139" y="44"/>
                  </a:cubicBezTo>
                  <a:cubicBezTo>
                    <a:pt x="131" y="36"/>
                    <a:pt x="121" y="26"/>
                    <a:pt x="112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GB" sz="2701"/>
            </a:p>
          </p:txBody>
        </p:sp>
        <p:sp>
          <p:nvSpPr>
            <p:cNvPr id="95" name="Freeform 56"/>
            <p:cNvSpPr>
              <a:spLocks/>
            </p:cNvSpPr>
            <p:nvPr/>
          </p:nvSpPr>
          <p:spPr bwMode="auto">
            <a:xfrm>
              <a:off x="2288885" y="2823312"/>
              <a:ext cx="747136" cy="739154"/>
            </a:xfrm>
            <a:custGeom>
              <a:avLst/>
              <a:gdLst/>
              <a:ahLst/>
              <a:cxnLst>
                <a:cxn ang="0">
                  <a:pos x="59" y="188"/>
                </a:cxn>
                <a:cxn ang="0">
                  <a:pos x="58" y="185"/>
                </a:cxn>
                <a:cxn ang="0">
                  <a:pos x="43" y="156"/>
                </a:cxn>
                <a:cxn ang="0">
                  <a:pos x="40" y="153"/>
                </a:cxn>
                <a:cxn ang="0">
                  <a:pos x="11" y="138"/>
                </a:cxn>
                <a:cxn ang="0">
                  <a:pos x="8" y="137"/>
                </a:cxn>
                <a:cxn ang="0">
                  <a:pos x="22" y="123"/>
                </a:cxn>
                <a:cxn ang="0">
                  <a:pos x="30" y="121"/>
                </a:cxn>
                <a:cxn ang="0">
                  <a:pos x="52" y="125"/>
                </a:cxn>
                <a:cxn ang="0">
                  <a:pos x="54" y="125"/>
                </a:cxn>
                <a:cxn ang="0">
                  <a:pos x="89" y="90"/>
                </a:cxn>
                <a:cxn ang="0">
                  <a:pos x="90" y="89"/>
                </a:cxn>
                <a:cxn ang="0">
                  <a:pos x="0" y="43"/>
                </a:cxn>
                <a:cxn ang="0">
                  <a:pos x="6" y="37"/>
                </a:cxn>
                <a:cxn ang="0">
                  <a:pos x="15" y="28"/>
                </a:cxn>
                <a:cxn ang="0">
                  <a:pos x="18" y="27"/>
                </a:cxn>
                <a:cxn ang="0">
                  <a:pos x="111" y="49"/>
                </a:cxn>
                <a:cxn ang="0">
                  <a:pos x="125" y="52"/>
                </a:cxn>
                <a:cxn ang="0">
                  <a:pos x="128" y="51"/>
                </a:cxn>
                <a:cxn ang="0">
                  <a:pos x="174" y="5"/>
                </a:cxn>
                <a:cxn ang="0">
                  <a:pos x="188" y="2"/>
                </a:cxn>
                <a:cxn ang="0">
                  <a:pos x="192" y="21"/>
                </a:cxn>
                <a:cxn ang="0">
                  <a:pos x="161" y="52"/>
                </a:cxn>
                <a:cxn ang="0">
                  <a:pos x="145" y="67"/>
                </a:cxn>
                <a:cxn ang="0">
                  <a:pos x="144" y="71"/>
                </a:cxn>
                <a:cxn ang="0">
                  <a:pos x="169" y="177"/>
                </a:cxn>
                <a:cxn ang="0">
                  <a:pos x="168" y="180"/>
                </a:cxn>
                <a:cxn ang="0">
                  <a:pos x="152" y="196"/>
                </a:cxn>
                <a:cxn ang="0">
                  <a:pos x="107" y="106"/>
                </a:cxn>
                <a:cxn ang="0">
                  <a:pos x="105" y="108"/>
                </a:cxn>
                <a:cxn ang="0">
                  <a:pos x="72" y="141"/>
                </a:cxn>
                <a:cxn ang="0">
                  <a:pos x="71" y="145"/>
                </a:cxn>
                <a:cxn ang="0">
                  <a:pos x="75" y="169"/>
                </a:cxn>
                <a:cxn ang="0">
                  <a:pos x="75" y="171"/>
                </a:cxn>
                <a:cxn ang="0">
                  <a:pos x="59" y="188"/>
                </a:cxn>
              </a:cxnLst>
              <a:rect l="0" t="0" r="r" b="b"/>
              <a:pathLst>
                <a:path w="198" h="196">
                  <a:moveTo>
                    <a:pt x="59" y="188"/>
                  </a:moveTo>
                  <a:cubicBezTo>
                    <a:pt x="59" y="187"/>
                    <a:pt x="58" y="186"/>
                    <a:pt x="58" y="185"/>
                  </a:cubicBezTo>
                  <a:cubicBezTo>
                    <a:pt x="53" y="175"/>
                    <a:pt x="48" y="166"/>
                    <a:pt x="43" y="156"/>
                  </a:cubicBezTo>
                  <a:cubicBezTo>
                    <a:pt x="43" y="155"/>
                    <a:pt x="41" y="153"/>
                    <a:pt x="40" y="153"/>
                  </a:cubicBezTo>
                  <a:cubicBezTo>
                    <a:pt x="30" y="148"/>
                    <a:pt x="21" y="143"/>
                    <a:pt x="11" y="138"/>
                  </a:cubicBezTo>
                  <a:cubicBezTo>
                    <a:pt x="10" y="138"/>
                    <a:pt x="9" y="137"/>
                    <a:pt x="8" y="137"/>
                  </a:cubicBezTo>
                  <a:cubicBezTo>
                    <a:pt x="13" y="132"/>
                    <a:pt x="18" y="128"/>
                    <a:pt x="22" y="123"/>
                  </a:cubicBezTo>
                  <a:cubicBezTo>
                    <a:pt x="24" y="121"/>
                    <a:pt x="26" y="120"/>
                    <a:pt x="30" y="121"/>
                  </a:cubicBezTo>
                  <a:cubicBezTo>
                    <a:pt x="37" y="123"/>
                    <a:pt x="44" y="124"/>
                    <a:pt x="52" y="125"/>
                  </a:cubicBezTo>
                  <a:cubicBezTo>
                    <a:pt x="53" y="126"/>
                    <a:pt x="54" y="125"/>
                    <a:pt x="54" y="125"/>
                  </a:cubicBezTo>
                  <a:cubicBezTo>
                    <a:pt x="66" y="113"/>
                    <a:pt x="78" y="101"/>
                    <a:pt x="89" y="90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60" y="74"/>
                    <a:pt x="30" y="59"/>
                    <a:pt x="0" y="43"/>
                  </a:cubicBezTo>
                  <a:cubicBezTo>
                    <a:pt x="2" y="41"/>
                    <a:pt x="4" y="39"/>
                    <a:pt x="6" y="37"/>
                  </a:cubicBezTo>
                  <a:cubicBezTo>
                    <a:pt x="9" y="34"/>
                    <a:pt x="12" y="31"/>
                    <a:pt x="15" y="28"/>
                  </a:cubicBezTo>
                  <a:cubicBezTo>
                    <a:pt x="16" y="27"/>
                    <a:pt x="17" y="27"/>
                    <a:pt x="18" y="27"/>
                  </a:cubicBezTo>
                  <a:cubicBezTo>
                    <a:pt x="49" y="34"/>
                    <a:pt x="80" y="42"/>
                    <a:pt x="111" y="49"/>
                  </a:cubicBezTo>
                  <a:cubicBezTo>
                    <a:pt x="116" y="50"/>
                    <a:pt x="120" y="51"/>
                    <a:pt x="125" y="52"/>
                  </a:cubicBezTo>
                  <a:cubicBezTo>
                    <a:pt x="126" y="52"/>
                    <a:pt x="127" y="52"/>
                    <a:pt x="128" y="51"/>
                  </a:cubicBezTo>
                  <a:cubicBezTo>
                    <a:pt x="144" y="35"/>
                    <a:pt x="159" y="20"/>
                    <a:pt x="174" y="5"/>
                  </a:cubicBezTo>
                  <a:cubicBezTo>
                    <a:pt x="178" y="1"/>
                    <a:pt x="183" y="0"/>
                    <a:pt x="188" y="2"/>
                  </a:cubicBezTo>
                  <a:cubicBezTo>
                    <a:pt x="196" y="5"/>
                    <a:pt x="198" y="15"/>
                    <a:pt x="192" y="21"/>
                  </a:cubicBezTo>
                  <a:cubicBezTo>
                    <a:pt x="182" y="31"/>
                    <a:pt x="171" y="41"/>
                    <a:pt x="161" y="52"/>
                  </a:cubicBezTo>
                  <a:cubicBezTo>
                    <a:pt x="156" y="57"/>
                    <a:pt x="151" y="62"/>
                    <a:pt x="145" y="67"/>
                  </a:cubicBezTo>
                  <a:cubicBezTo>
                    <a:pt x="144" y="69"/>
                    <a:pt x="144" y="70"/>
                    <a:pt x="144" y="71"/>
                  </a:cubicBezTo>
                  <a:cubicBezTo>
                    <a:pt x="152" y="107"/>
                    <a:pt x="160" y="142"/>
                    <a:pt x="169" y="177"/>
                  </a:cubicBezTo>
                  <a:cubicBezTo>
                    <a:pt x="169" y="178"/>
                    <a:pt x="169" y="180"/>
                    <a:pt x="168" y="180"/>
                  </a:cubicBezTo>
                  <a:cubicBezTo>
                    <a:pt x="163" y="186"/>
                    <a:pt x="158" y="191"/>
                    <a:pt x="152" y="196"/>
                  </a:cubicBezTo>
                  <a:cubicBezTo>
                    <a:pt x="137" y="166"/>
                    <a:pt x="122" y="136"/>
                    <a:pt x="107" y="106"/>
                  </a:cubicBezTo>
                  <a:cubicBezTo>
                    <a:pt x="106" y="107"/>
                    <a:pt x="106" y="107"/>
                    <a:pt x="105" y="108"/>
                  </a:cubicBezTo>
                  <a:cubicBezTo>
                    <a:pt x="94" y="119"/>
                    <a:pt x="83" y="130"/>
                    <a:pt x="72" y="141"/>
                  </a:cubicBezTo>
                  <a:cubicBezTo>
                    <a:pt x="71" y="142"/>
                    <a:pt x="70" y="143"/>
                    <a:pt x="71" y="145"/>
                  </a:cubicBezTo>
                  <a:cubicBezTo>
                    <a:pt x="72" y="153"/>
                    <a:pt x="74" y="161"/>
                    <a:pt x="75" y="169"/>
                  </a:cubicBezTo>
                  <a:cubicBezTo>
                    <a:pt x="76" y="170"/>
                    <a:pt x="76" y="171"/>
                    <a:pt x="75" y="171"/>
                  </a:cubicBezTo>
                  <a:cubicBezTo>
                    <a:pt x="70" y="177"/>
                    <a:pt x="65" y="182"/>
                    <a:pt x="59" y="1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GB" sz="2701"/>
            </a:p>
          </p:txBody>
        </p:sp>
        <p:sp>
          <p:nvSpPr>
            <p:cNvPr id="96" name="Freeform 57"/>
            <p:cNvSpPr>
              <a:spLocks/>
            </p:cNvSpPr>
            <p:nvPr/>
          </p:nvSpPr>
          <p:spPr bwMode="auto">
            <a:xfrm>
              <a:off x="1345803" y="2711212"/>
              <a:ext cx="814186" cy="846116"/>
            </a:xfrm>
            <a:custGeom>
              <a:avLst/>
              <a:gdLst/>
              <a:ahLst/>
              <a:cxnLst>
                <a:cxn ang="0">
                  <a:pos x="143" y="224"/>
                </a:cxn>
                <a:cxn ang="0">
                  <a:pos x="141" y="223"/>
                </a:cxn>
                <a:cxn ang="0">
                  <a:pos x="110" y="213"/>
                </a:cxn>
                <a:cxn ang="0">
                  <a:pos x="106" y="213"/>
                </a:cxn>
                <a:cxn ang="0">
                  <a:pos x="75" y="224"/>
                </a:cxn>
                <a:cxn ang="0">
                  <a:pos x="72" y="224"/>
                </a:cxn>
                <a:cxn ang="0">
                  <a:pos x="72" y="220"/>
                </a:cxn>
                <a:cxn ang="0">
                  <a:pos x="72" y="203"/>
                </a:cxn>
                <a:cxn ang="0">
                  <a:pos x="74" y="199"/>
                </a:cxn>
                <a:cxn ang="0">
                  <a:pos x="94" y="186"/>
                </a:cxn>
                <a:cxn ang="0">
                  <a:pos x="96" y="183"/>
                </a:cxn>
                <a:cxn ang="0">
                  <a:pos x="96" y="135"/>
                </a:cxn>
                <a:cxn ang="0">
                  <a:pos x="96" y="133"/>
                </a:cxn>
                <a:cxn ang="0">
                  <a:pos x="0" y="164"/>
                </a:cxn>
                <a:cxn ang="0">
                  <a:pos x="0" y="162"/>
                </a:cxn>
                <a:cxn ang="0">
                  <a:pos x="0" y="144"/>
                </a:cxn>
                <a:cxn ang="0">
                  <a:pos x="2" y="139"/>
                </a:cxn>
                <a:cxn ang="0">
                  <a:pos x="94" y="82"/>
                </a:cxn>
                <a:cxn ang="0">
                  <a:pos x="96" y="78"/>
                </a:cxn>
                <a:cxn ang="0">
                  <a:pos x="96" y="13"/>
                </a:cxn>
                <a:cxn ang="0">
                  <a:pos x="102" y="2"/>
                </a:cxn>
                <a:cxn ang="0">
                  <a:pos x="115" y="3"/>
                </a:cxn>
                <a:cxn ang="0">
                  <a:pos x="120" y="14"/>
                </a:cxn>
                <a:cxn ang="0">
                  <a:pos x="120" y="76"/>
                </a:cxn>
                <a:cxn ang="0">
                  <a:pos x="123" y="83"/>
                </a:cxn>
                <a:cxn ang="0">
                  <a:pos x="214" y="139"/>
                </a:cxn>
                <a:cxn ang="0">
                  <a:pos x="216" y="143"/>
                </a:cxn>
                <a:cxn ang="0">
                  <a:pos x="216" y="162"/>
                </a:cxn>
                <a:cxn ang="0">
                  <a:pos x="215" y="164"/>
                </a:cxn>
                <a:cxn ang="0">
                  <a:pos x="120" y="133"/>
                </a:cxn>
                <a:cxn ang="0">
                  <a:pos x="120" y="136"/>
                </a:cxn>
                <a:cxn ang="0">
                  <a:pos x="120" y="182"/>
                </a:cxn>
                <a:cxn ang="0">
                  <a:pos x="122" y="186"/>
                </a:cxn>
                <a:cxn ang="0">
                  <a:pos x="142" y="199"/>
                </a:cxn>
                <a:cxn ang="0">
                  <a:pos x="144" y="203"/>
                </a:cxn>
                <a:cxn ang="0">
                  <a:pos x="144" y="222"/>
                </a:cxn>
                <a:cxn ang="0">
                  <a:pos x="143" y="224"/>
                </a:cxn>
              </a:cxnLst>
              <a:rect l="0" t="0" r="r" b="b"/>
              <a:pathLst>
                <a:path w="216" h="224">
                  <a:moveTo>
                    <a:pt x="143" y="224"/>
                  </a:moveTo>
                  <a:cubicBezTo>
                    <a:pt x="142" y="224"/>
                    <a:pt x="141" y="224"/>
                    <a:pt x="141" y="223"/>
                  </a:cubicBezTo>
                  <a:cubicBezTo>
                    <a:pt x="130" y="220"/>
                    <a:pt x="120" y="217"/>
                    <a:pt x="110" y="213"/>
                  </a:cubicBezTo>
                  <a:cubicBezTo>
                    <a:pt x="109" y="213"/>
                    <a:pt x="107" y="213"/>
                    <a:pt x="106" y="213"/>
                  </a:cubicBezTo>
                  <a:cubicBezTo>
                    <a:pt x="95" y="217"/>
                    <a:pt x="85" y="220"/>
                    <a:pt x="75" y="224"/>
                  </a:cubicBezTo>
                  <a:cubicBezTo>
                    <a:pt x="74" y="224"/>
                    <a:pt x="73" y="224"/>
                    <a:pt x="72" y="224"/>
                  </a:cubicBezTo>
                  <a:cubicBezTo>
                    <a:pt x="72" y="223"/>
                    <a:pt x="72" y="222"/>
                    <a:pt x="72" y="220"/>
                  </a:cubicBezTo>
                  <a:cubicBezTo>
                    <a:pt x="72" y="215"/>
                    <a:pt x="72" y="209"/>
                    <a:pt x="72" y="203"/>
                  </a:cubicBezTo>
                  <a:cubicBezTo>
                    <a:pt x="72" y="201"/>
                    <a:pt x="73" y="200"/>
                    <a:pt x="74" y="199"/>
                  </a:cubicBezTo>
                  <a:cubicBezTo>
                    <a:pt x="81" y="195"/>
                    <a:pt x="88" y="190"/>
                    <a:pt x="94" y="186"/>
                  </a:cubicBezTo>
                  <a:cubicBezTo>
                    <a:pt x="95" y="185"/>
                    <a:pt x="96" y="184"/>
                    <a:pt x="96" y="183"/>
                  </a:cubicBezTo>
                  <a:cubicBezTo>
                    <a:pt x="96" y="167"/>
                    <a:pt x="96" y="151"/>
                    <a:pt x="96" y="135"/>
                  </a:cubicBezTo>
                  <a:cubicBezTo>
                    <a:pt x="96" y="134"/>
                    <a:pt x="96" y="134"/>
                    <a:pt x="96" y="133"/>
                  </a:cubicBezTo>
                  <a:cubicBezTo>
                    <a:pt x="64" y="143"/>
                    <a:pt x="32" y="154"/>
                    <a:pt x="0" y="164"/>
                  </a:cubicBezTo>
                  <a:cubicBezTo>
                    <a:pt x="0" y="163"/>
                    <a:pt x="0" y="162"/>
                    <a:pt x="0" y="162"/>
                  </a:cubicBezTo>
                  <a:cubicBezTo>
                    <a:pt x="0" y="156"/>
                    <a:pt x="0" y="150"/>
                    <a:pt x="0" y="144"/>
                  </a:cubicBezTo>
                  <a:cubicBezTo>
                    <a:pt x="0" y="141"/>
                    <a:pt x="1" y="140"/>
                    <a:pt x="2" y="139"/>
                  </a:cubicBezTo>
                  <a:cubicBezTo>
                    <a:pt x="33" y="120"/>
                    <a:pt x="63" y="101"/>
                    <a:pt x="94" y="82"/>
                  </a:cubicBezTo>
                  <a:cubicBezTo>
                    <a:pt x="95" y="81"/>
                    <a:pt x="96" y="80"/>
                    <a:pt x="96" y="78"/>
                  </a:cubicBezTo>
                  <a:cubicBezTo>
                    <a:pt x="96" y="56"/>
                    <a:pt x="96" y="34"/>
                    <a:pt x="96" y="13"/>
                  </a:cubicBezTo>
                  <a:cubicBezTo>
                    <a:pt x="96" y="8"/>
                    <a:pt x="98" y="4"/>
                    <a:pt x="102" y="2"/>
                  </a:cubicBezTo>
                  <a:cubicBezTo>
                    <a:pt x="106" y="0"/>
                    <a:pt x="111" y="0"/>
                    <a:pt x="115" y="3"/>
                  </a:cubicBezTo>
                  <a:cubicBezTo>
                    <a:pt x="118" y="5"/>
                    <a:pt x="120" y="9"/>
                    <a:pt x="120" y="14"/>
                  </a:cubicBezTo>
                  <a:cubicBezTo>
                    <a:pt x="120" y="34"/>
                    <a:pt x="120" y="55"/>
                    <a:pt x="120" y="76"/>
                  </a:cubicBezTo>
                  <a:cubicBezTo>
                    <a:pt x="120" y="80"/>
                    <a:pt x="120" y="81"/>
                    <a:pt x="123" y="83"/>
                  </a:cubicBezTo>
                  <a:cubicBezTo>
                    <a:pt x="153" y="102"/>
                    <a:pt x="183" y="121"/>
                    <a:pt x="214" y="139"/>
                  </a:cubicBezTo>
                  <a:cubicBezTo>
                    <a:pt x="215" y="140"/>
                    <a:pt x="216" y="141"/>
                    <a:pt x="216" y="143"/>
                  </a:cubicBezTo>
                  <a:cubicBezTo>
                    <a:pt x="216" y="149"/>
                    <a:pt x="216" y="156"/>
                    <a:pt x="216" y="162"/>
                  </a:cubicBezTo>
                  <a:cubicBezTo>
                    <a:pt x="216" y="162"/>
                    <a:pt x="216" y="163"/>
                    <a:pt x="215" y="164"/>
                  </a:cubicBezTo>
                  <a:cubicBezTo>
                    <a:pt x="184" y="154"/>
                    <a:pt x="152" y="143"/>
                    <a:pt x="120" y="133"/>
                  </a:cubicBezTo>
                  <a:cubicBezTo>
                    <a:pt x="120" y="134"/>
                    <a:pt x="120" y="135"/>
                    <a:pt x="120" y="136"/>
                  </a:cubicBezTo>
                  <a:cubicBezTo>
                    <a:pt x="120" y="151"/>
                    <a:pt x="120" y="167"/>
                    <a:pt x="120" y="182"/>
                  </a:cubicBezTo>
                  <a:cubicBezTo>
                    <a:pt x="120" y="184"/>
                    <a:pt x="120" y="185"/>
                    <a:pt x="122" y="186"/>
                  </a:cubicBezTo>
                  <a:cubicBezTo>
                    <a:pt x="128" y="191"/>
                    <a:pt x="135" y="195"/>
                    <a:pt x="142" y="199"/>
                  </a:cubicBezTo>
                  <a:cubicBezTo>
                    <a:pt x="143" y="200"/>
                    <a:pt x="144" y="201"/>
                    <a:pt x="144" y="203"/>
                  </a:cubicBezTo>
                  <a:cubicBezTo>
                    <a:pt x="144" y="209"/>
                    <a:pt x="144" y="216"/>
                    <a:pt x="144" y="222"/>
                  </a:cubicBezTo>
                  <a:cubicBezTo>
                    <a:pt x="144" y="223"/>
                    <a:pt x="144" y="223"/>
                    <a:pt x="143" y="22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GB" sz="2701"/>
            </a:p>
          </p:txBody>
        </p:sp>
        <p:grpSp>
          <p:nvGrpSpPr>
            <p:cNvPr id="97" name="Gruppieren 333"/>
            <p:cNvGrpSpPr/>
            <p:nvPr/>
          </p:nvGrpSpPr>
          <p:grpSpPr>
            <a:xfrm>
              <a:off x="5294873" y="2714205"/>
              <a:ext cx="603457" cy="874851"/>
              <a:chOff x="11791726" y="5653088"/>
              <a:chExt cx="600075" cy="869950"/>
            </a:xfrm>
            <a:grpFill/>
          </p:grpSpPr>
          <p:sp>
            <p:nvSpPr>
              <p:cNvPr id="98" name="Freeform 50"/>
              <p:cNvSpPr>
                <a:spLocks noEditPoints="1"/>
              </p:cNvSpPr>
              <p:nvPr/>
            </p:nvSpPr>
            <p:spPr bwMode="auto">
              <a:xfrm>
                <a:off x="11791726" y="5653088"/>
                <a:ext cx="600075" cy="869950"/>
              </a:xfrm>
              <a:custGeom>
                <a:avLst/>
                <a:gdLst/>
                <a:ahLst/>
                <a:cxnLst>
                  <a:cxn ang="0">
                    <a:pos x="78" y="0"/>
                  </a:cxn>
                  <a:cxn ang="0">
                    <a:pos x="86" y="10"/>
                  </a:cxn>
                  <a:cxn ang="0">
                    <a:pos x="136" y="86"/>
                  </a:cxn>
                  <a:cxn ang="0">
                    <a:pos x="152" y="131"/>
                  </a:cxn>
                  <a:cxn ang="0">
                    <a:pos x="96" y="221"/>
                  </a:cxn>
                  <a:cxn ang="0">
                    <a:pos x="3" y="162"/>
                  </a:cxn>
                  <a:cxn ang="0">
                    <a:pos x="8" y="115"/>
                  </a:cxn>
                  <a:cxn ang="0">
                    <a:pos x="33" y="63"/>
                  </a:cxn>
                  <a:cxn ang="0">
                    <a:pos x="76" y="2"/>
                  </a:cxn>
                  <a:cxn ang="0">
                    <a:pos x="78" y="0"/>
                  </a:cxn>
                  <a:cxn ang="0">
                    <a:pos x="61" y="155"/>
                  </a:cxn>
                  <a:cxn ang="0">
                    <a:pos x="46" y="155"/>
                  </a:cxn>
                  <a:cxn ang="0">
                    <a:pos x="41" y="160"/>
                  </a:cxn>
                  <a:cxn ang="0">
                    <a:pos x="65" y="187"/>
                  </a:cxn>
                  <a:cxn ang="0">
                    <a:pos x="74" y="189"/>
                  </a:cxn>
                  <a:cxn ang="0">
                    <a:pos x="74" y="191"/>
                  </a:cxn>
                  <a:cxn ang="0">
                    <a:pos x="74" y="202"/>
                  </a:cxn>
                  <a:cxn ang="0">
                    <a:pos x="75" y="204"/>
                  </a:cxn>
                  <a:cxn ang="0">
                    <a:pos x="82" y="204"/>
                  </a:cxn>
                  <a:cxn ang="0">
                    <a:pos x="82" y="188"/>
                  </a:cxn>
                  <a:cxn ang="0">
                    <a:pos x="85" y="188"/>
                  </a:cxn>
                  <a:cxn ang="0">
                    <a:pos x="99" y="184"/>
                  </a:cxn>
                  <a:cxn ang="0">
                    <a:pos x="114" y="156"/>
                  </a:cxn>
                  <a:cxn ang="0">
                    <a:pos x="96" y="133"/>
                  </a:cxn>
                  <a:cxn ang="0">
                    <a:pos x="84" y="130"/>
                  </a:cxn>
                  <a:cxn ang="0">
                    <a:pos x="82" y="126"/>
                  </a:cxn>
                  <a:cxn ang="0">
                    <a:pos x="82" y="114"/>
                  </a:cxn>
                  <a:cxn ang="0">
                    <a:pos x="82" y="104"/>
                  </a:cxn>
                  <a:cxn ang="0">
                    <a:pos x="92" y="112"/>
                  </a:cxn>
                  <a:cxn ang="0">
                    <a:pos x="93" y="116"/>
                  </a:cxn>
                  <a:cxn ang="0">
                    <a:pos x="112" y="116"/>
                  </a:cxn>
                  <a:cxn ang="0">
                    <a:pos x="93" y="90"/>
                  </a:cxn>
                  <a:cxn ang="0">
                    <a:pos x="82" y="88"/>
                  </a:cxn>
                  <a:cxn ang="0">
                    <a:pos x="82" y="75"/>
                  </a:cxn>
                  <a:cxn ang="0">
                    <a:pos x="76" y="75"/>
                  </a:cxn>
                  <a:cxn ang="0">
                    <a:pos x="74" y="78"/>
                  </a:cxn>
                  <a:cxn ang="0">
                    <a:pos x="74" y="87"/>
                  </a:cxn>
                  <a:cxn ang="0">
                    <a:pos x="72" y="89"/>
                  </a:cxn>
                  <a:cxn ang="0">
                    <a:pos x="58" y="93"/>
                  </a:cxn>
                  <a:cxn ang="0">
                    <a:pos x="43" y="118"/>
                  </a:cxn>
                  <a:cxn ang="0">
                    <a:pos x="59" y="142"/>
                  </a:cxn>
                  <a:cxn ang="0">
                    <a:pos x="72" y="147"/>
                  </a:cxn>
                  <a:cxn ang="0">
                    <a:pos x="74" y="149"/>
                  </a:cxn>
                  <a:cxn ang="0">
                    <a:pos x="74" y="171"/>
                  </a:cxn>
                  <a:cxn ang="0">
                    <a:pos x="73" y="172"/>
                  </a:cxn>
                  <a:cxn ang="0">
                    <a:pos x="62" y="163"/>
                  </a:cxn>
                  <a:cxn ang="0">
                    <a:pos x="61" y="155"/>
                  </a:cxn>
                </a:cxnLst>
                <a:rect l="0" t="0" r="r" b="b"/>
                <a:pathLst>
                  <a:path w="160" h="232">
                    <a:moveTo>
                      <a:pt x="78" y="0"/>
                    </a:moveTo>
                    <a:cubicBezTo>
                      <a:pt x="81" y="3"/>
                      <a:pt x="83" y="7"/>
                      <a:pt x="86" y="10"/>
                    </a:cubicBezTo>
                    <a:cubicBezTo>
                      <a:pt x="105" y="34"/>
                      <a:pt x="122" y="59"/>
                      <a:pt x="136" y="86"/>
                    </a:cubicBezTo>
                    <a:cubicBezTo>
                      <a:pt x="143" y="100"/>
                      <a:pt x="149" y="115"/>
                      <a:pt x="152" y="131"/>
                    </a:cubicBezTo>
                    <a:cubicBezTo>
                      <a:pt x="160" y="172"/>
                      <a:pt x="136" y="211"/>
                      <a:pt x="96" y="221"/>
                    </a:cubicBezTo>
                    <a:cubicBezTo>
                      <a:pt x="54" y="232"/>
                      <a:pt x="11" y="204"/>
                      <a:pt x="3" y="162"/>
                    </a:cubicBezTo>
                    <a:cubicBezTo>
                      <a:pt x="0" y="146"/>
                      <a:pt x="3" y="131"/>
                      <a:pt x="8" y="115"/>
                    </a:cubicBezTo>
                    <a:cubicBezTo>
                      <a:pt x="14" y="97"/>
                      <a:pt x="23" y="79"/>
                      <a:pt x="33" y="63"/>
                    </a:cubicBezTo>
                    <a:cubicBezTo>
                      <a:pt x="46" y="41"/>
                      <a:pt x="60" y="21"/>
                      <a:pt x="76" y="2"/>
                    </a:cubicBezTo>
                    <a:cubicBezTo>
                      <a:pt x="76" y="1"/>
                      <a:pt x="77" y="1"/>
                      <a:pt x="78" y="0"/>
                    </a:cubicBezTo>
                    <a:close/>
                    <a:moveTo>
                      <a:pt x="61" y="155"/>
                    </a:moveTo>
                    <a:cubicBezTo>
                      <a:pt x="56" y="155"/>
                      <a:pt x="51" y="155"/>
                      <a:pt x="46" y="155"/>
                    </a:cubicBezTo>
                    <a:cubicBezTo>
                      <a:pt x="41" y="155"/>
                      <a:pt x="41" y="155"/>
                      <a:pt x="41" y="160"/>
                    </a:cubicBezTo>
                    <a:cubicBezTo>
                      <a:pt x="41" y="175"/>
                      <a:pt x="54" y="186"/>
                      <a:pt x="65" y="187"/>
                    </a:cubicBezTo>
                    <a:cubicBezTo>
                      <a:pt x="68" y="188"/>
                      <a:pt x="70" y="188"/>
                      <a:pt x="74" y="189"/>
                    </a:cubicBezTo>
                    <a:cubicBezTo>
                      <a:pt x="74" y="189"/>
                      <a:pt x="74" y="190"/>
                      <a:pt x="74" y="191"/>
                    </a:cubicBezTo>
                    <a:cubicBezTo>
                      <a:pt x="74" y="195"/>
                      <a:pt x="74" y="198"/>
                      <a:pt x="74" y="202"/>
                    </a:cubicBezTo>
                    <a:cubicBezTo>
                      <a:pt x="74" y="202"/>
                      <a:pt x="74" y="204"/>
                      <a:pt x="75" y="204"/>
                    </a:cubicBezTo>
                    <a:cubicBezTo>
                      <a:pt x="77" y="204"/>
                      <a:pt x="79" y="204"/>
                      <a:pt x="82" y="204"/>
                    </a:cubicBezTo>
                    <a:cubicBezTo>
                      <a:pt x="82" y="198"/>
                      <a:pt x="82" y="193"/>
                      <a:pt x="82" y="188"/>
                    </a:cubicBezTo>
                    <a:cubicBezTo>
                      <a:pt x="83" y="188"/>
                      <a:pt x="84" y="188"/>
                      <a:pt x="85" y="188"/>
                    </a:cubicBezTo>
                    <a:cubicBezTo>
                      <a:pt x="90" y="187"/>
                      <a:pt x="95" y="186"/>
                      <a:pt x="99" y="184"/>
                    </a:cubicBezTo>
                    <a:cubicBezTo>
                      <a:pt x="109" y="177"/>
                      <a:pt x="114" y="168"/>
                      <a:pt x="114" y="156"/>
                    </a:cubicBezTo>
                    <a:cubicBezTo>
                      <a:pt x="113" y="144"/>
                      <a:pt x="106" y="137"/>
                      <a:pt x="96" y="133"/>
                    </a:cubicBezTo>
                    <a:cubicBezTo>
                      <a:pt x="92" y="132"/>
                      <a:pt x="88" y="131"/>
                      <a:pt x="84" y="130"/>
                    </a:cubicBezTo>
                    <a:cubicBezTo>
                      <a:pt x="82" y="129"/>
                      <a:pt x="82" y="128"/>
                      <a:pt x="82" y="126"/>
                    </a:cubicBezTo>
                    <a:cubicBezTo>
                      <a:pt x="82" y="122"/>
                      <a:pt x="82" y="118"/>
                      <a:pt x="82" y="114"/>
                    </a:cubicBezTo>
                    <a:cubicBezTo>
                      <a:pt x="82" y="111"/>
                      <a:pt x="82" y="107"/>
                      <a:pt x="82" y="104"/>
                    </a:cubicBezTo>
                    <a:cubicBezTo>
                      <a:pt x="87" y="103"/>
                      <a:pt x="91" y="107"/>
                      <a:pt x="92" y="112"/>
                    </a:cubicBezTo>
                    <a:cubicBezTo>
                      <a:pt x="92" y="113"/>
                      <a:pt x="93" y="115"/>
                      <a:pt x="93" y="116"/>
                    </a:cubicBezTo>
                    <a:cubicBezTo>
                      <a:pt x="99" y="116"/>
                      <a:pt x="106" y="116"/>
                      <a:pt x="112" y="116"/>
                    </a:cubicBezTo>
                    <a:cubicBezTo>
                      <a:pt x="113" y="104"/>
                      <a:pt x="106" y="93"/>
                      <a:pt x="93" y="90"/>
                    </a:cubicBezTo>
                    <a:cubicBezTo>
                      <a:pt x="89" y="89"/>
                      <a:pt x="86" y="89"/>
                      <a:pt x="82" y="88"/>
                    </a:cubicBezTo>
                    <a:cubicBezTo>
                      <a:pt x="82" y="84"/>
                      <a:pt x="82" y="80"/>
                      <a:pt x="82" y="75"/>
                    </a:cubicBezTo>
                    <a:cubicBezTo>
                      <a:pt x="80" y="75"/>
                      <a:pt x="78" y="76"/>
                      <a:pt x="76" y="75"/>
                    </a:cubicBezTo>
                    <a:cubicBezTo>
                      <a:pt x="74" y="75"/>
                      <a:pt x="73" y="76"/>
                      <a:pt x="74" y="78"/>
                    </a:cubicBezTo>
                    <a:cubicBezTo>
                      <a:pt x="74" y="81"/>
                      <a:pt x="74" y="84"/>
                      <a:pt x="74" y="87"/>
                    </a:cubicBezTo>
                    <a:cubicBezTo>
                      <a:pt x="74" y="88"/>
                      <a:pt x="73" y="89"/>
                      <a:pt x="72" y="89"/>
                    </a:cubicBezTo>
                    <a:cubicBezTo>
                      <a:pt x="67" y="89"/>
                      <a:pt x="62" y="91"/>
                      <a:pt x="58" y="93"/>
                    </a:cubicBezTo>
                    <a:cubicBezTo>
                      <a:pt x="48" y="99"/>
                      <a:pt x="43" y="107"/>
                      <a:pt x="43" y="118"/>
                    </a:cubicBezTo>
                    <a:cubicBezTo>
                      <a:pt x="43" y="129"/>
                      <a:pt x="48" y="137"/>
                      <a:pt x="59" y="142"/>
                    </a:cubicBezTo>
                    <a:cubicBezTo>
                      <a:pt x="63" y="144"/>
                      <a:pt x="67" y="145"/>
                      <a:pt x="72" y="147"/>
                    </a:cubicBezTo>
                    <a:cubicBezTo>
                      <a:pt x="73" y="147"/>
                      <a:pt x="74" y="148"/>
                      <a:pt x="74" y="149"/>
                    </a:cubicBezTo>
                    <a:cubicBezTo>
                      <a:pt x="74" y="156"/>
                      <a:pt x="74" y="164"/>
                      <a:pt x="74" y="171"/>
                    </a:cubicBezTo>
                    <a:cubicBezTo>
                      <a:pt x="74" y="171"/>
                      <a:pt x="73" y="172"/>
                      <a:pt x="73" y="172"/>
                    </a:cubicBezTo>
                    <a:cubicBezTo>
                      <a:pt x="67" y="172"/>
                      <a:pt x="63" y="169"/>
                      <a:pt x="62" y="163"/>
                    </a:cubicBezTo>
                    <a:cubicBezTo>
                      <a:pt x="61" y="161"/>
                      <a:pt x="61" y="158"/>
                      <a:pt x="61" y="1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99" name="Freeform 51"/>
              <p:cNvSpPr>
                <a:spLocks/>
              </p:cNvSpPr>
              <p:nvPr/>
            </p:nvSpPr>
            <p:spPr bwMode="auto">
              <a:xfrm>
                <a:off x="12098114" y="6211888"/>
                <a:ext cx="41275" cy="857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" y="12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11" h="23">
                    <a:moveTo>
                      <a:pt x="0" y="0"/>
                    </a:moveTo>
                    <a:cubicBezTo>
                      <a:pt x="7" y="1"/>
                      <a:pt x="11" y="6"/>
                      <a:pt x="11" y="12"/>
                    </a:cubicBezTo>
                    <a:cubicBezTo>
                      <a:pt x="11" y="18"/>
                      <a:pt x="6" y="23"/>
                      <a:pt x="0" y="23"/>
                    </a:cubicBezTo>
                    <a:cubicBezTo>
                      <a:pt x="0" y="16"/>
                      <a:pt x="0" y="8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00" name="Freeform 52"/>
              <p:cNvSpPr>
                <a:spLocks/>
              </p:cNvSpPr>
              <p:nvPr/>
            </p:nvSpPr>
            <p:spPr bwMode="auto">
              <a:xfrm>
                <a:off x="12026676" y="6043613"/>
                <a:ext cx="38100" cy="80963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22"/>
                  </a:cxn>
                  <a:cxn ang="0">
                    <a:pos x="0" y="10"/>
                  </a:cxn>
                  <a:cxn ang="0">
                    <a:pos x="10" y="0"/>
                  </a:cxn>
                </a:cxnLst>
                <a:rect l="0" t="0" r="r" b="b"/>
                <a:pathLst>
                  <a:path w="10" h="22">
                    <a:moveTo>
                      <a:pt x="10" y="0"/>
                    </a:moveTo>
                    <a:cubicBezTo>
                      <a:pt x="10" y="8"/>
                      <a:pt x="10" y="15"/>
                      <a:pt x="10" y="22"/>
                    </a:cubicBezTo>
                    <a:cubicBezTo>
                      <a:pt x="4" y="21"/>
                      <a:pt x="0" y="17"/>
                      <a:pt x="0" y="10"/>
                    </a:cubicBezTo>
                    <a:cubicBezTo>
                      <a:pt x="0" y="4"/>
                      <a:pt x="4" y="1"/>
                      <a:pt x="1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grpSp>
          <p:nvGrpSpPr>
            <p:cNvPr id="101" name="Gruppieren 341"/>
            <p:cNvGrpSpPr/>
            <p:nvPr/>
          </p:nvGrpSpPr>
          <p:grpSpPr>
            <a:xfrm>
              <a:off x="4219688" y="4054518"/>
              <a:ext cx="830984" cy="713170"/>
              <a:chOff x="13298264" y="3046412"/>
              <a:chExt cx="839787" cy="720725"/>
            </a:xfrm>
            <a:grpFill/>
          </p:grpSpPr>
          <p:sp>
            <p:nvSpPr>
              <p:cNvPr id="102" name="Freeform 25"/>
              <p:cNvSpPr>
                <a:spLocks noEditPoints="1"/>
              </p:cNvSpPr>
              <p:nvPr/>
            </p:nvSpPr>
            <p:spPr bwMode="auto">
              <a:xfrm>
                <a:off x="13298264" y="3046412"/>
                <a:ext cx="495300" cy="720725"/>
              </a:xfrm>
              <a:custGeom>
                <a:avLst/>
                <a:gdLst/>
                <a:ahLst/>
                <a:cxnLst>
                  <a:cxn ang="0">
                    <a:pos x="16" y="94"/>
                  </a:cxn>
                  <a:cxn ang="0">
                    <a:pos x="16" y="17"/>
                  </a:cxn>
                  <a:cxn ang="0">
                    <a:pos x="33" y="0"/>
                  </a:cxn>
                  <a:cxn ang="0">
                    <a:pos x="99" y="0"/>
                  </a:cxn>
                  <a:cxn ang="0">
                    <a:pos x="116" y="17"/>
                  </a:cxn>
                  <a:cxn ang="0">
                    <a:pos x="116" y="172"/>
                  </a:cxn>
                  <a:cxn ang="0">
                    <a:pos x="120" y="176"/>
                  </a:cxn>
                  <a:cxn ang="0">
                    <a:pos x="130" y="176"/>
                  </a:cxn>
                  <a:cxn ang="0">
                    <a:pos x="132" y="178"/>
                  </a:cxn>
                  <a:cxn ang="0">
                    <a:pos x="132" y="189"/>
                  </a:cxn>
                  <a:cxn ang="0">
                    <a:pos x="130" y="191"/>
                  </a:cxn>
                  <a:cxn ang="0">
                    <a:pos x="128" y="191"/>
                  </a:cxn>
                  <a:cxn ang="0">
                    <a:pos x="5" y="191"/>
                  </a:cxn>
                  <a:cxn ang="0">
                    <a:pos x="0" y="187"/>
                  </a:cxn>
                  <a:cxn ang="0">
                    <a:pos x="0" y="178"/>
                  </a:cxn>
                  <a:cxn ang="0">
                    <a:pos x="3" y="176"/>
                  </a:cxn>
                  <a:cxn ang="0">
                    <a:pos x="13" y="176"/>
                  </a:cxn>
                  <a:cxn ang="0">
                    <a:pos x="16" y="172"/>
                  </a:cxn>
                  <a:cxn ang="0">
                    <a:pos x="16" y="94"/>
                  </a:cxn>
                  <a:cxn ang="0">
                    <a:pos x="32" y="15"/>
                  </a:cxn>
                  <a:cxn ang="0">
                    <a:pos x="32" y="18"/>
                  </a:cxn>
                  <a:cxn ang="0">
                    <a:pos x="32" y="61"/>
                  </a:cxn>
                  <a:cxn ang="0">
                    <a:pos x="35" y="64"/>
                  </a:cxn>
                  <a:cxn ang="0">
                    <a:pos x="97" y="64"/>
                  </a:cxn>
                  <a:cxn ang="0">
                    <a:pos x="100" y="61"/>
                  </a:cxn>
                  <a:cxn ang="0">
                    <a:pos x="100" y="18"/>
                  </a:cxn>
                  <a:cxn ang="0">
                    <a:pos x="97" y="15"/>
                  </a:cxn>
                  <a:cxn ang="0">
                    <a:pos x="35" y="15"/>
                  </a:cxn>
                  <a:cxn ang="0">
                    <a:pos x="32" y="15"/>
                  </a:cxn>
                </a:cxnLst>
                <a:rect l="0" t="0" r="r" b="b"/>
                <a:pathLst>
                  <a:path w="132" h="192">
                    <a:moveTo>
                      <a:pt x="16" y="94"/>
                    </a:moveTo>
                    <a:cubicBezTo>
                      <a:pt x="16" y="68"/>
                      <a:pt x="17" y="42"/>
                      <a:pt x="16" y="17"/>
                    </a:cubicBezTo>
                    <a:cubicBezTo>
                      <a:pt x="16" y="7"/>
                      <a:pt x="24" y="0"/>
                      <a:pt x="33" y="0"/>
                    </a:cubicBezTo>
                    <a:cubicBezTo>
                      <a:pt x="55" y="0"/>
                      <a:pt x="77" y="0"/>
                      <a:pt x="99" y="0"/>
                    </a:cubicBezTo>
                    <a:cubicBezTo>
                      <a:pt x="109" y="0"/>
                      <a:pt x="116" y="7"/>
                      <a:pt x="116" y="17"/>
                    </a:cubicBezTo>
                    <a:cubicBezTo>
                      <a:pt x="116" y="69"/>
                      <a:pt x="116" y="120"/>
                      <a:pt x="116" y="172"/>
                    </a:cubicBezTo>
                    <a:cubicBezTo>
                      <a:pt x="116" y="176"/>
                      <a:pt x="116" y="176"/>
                      <a:pt x="120" y="176"/>
                    </a:cubicBezTo>
                    <a:cubicBezTo>
                      <a:pt x="123" y="176"/>
                      <a:pt x="126" y="176"/>
                      <a:pt x="130" y="176"/>
                    </a:cubicBezTo>
                    <a:cubicBezTo>
                      <a:pt x="131" y="176"/>
                      <a:pt x="132" y="176"/>
                      <a:pt x="132" y="178"/>
                    </a:cubicBezTo>
                    <a:cubicBezTo>
                      <a:pt x="132" y="182"/>
                      <a:pt x="132" y="186"/>
                      <a:pt x="132" y="189"/>
                    </a:cubicBezTo>
                    <a:cubicBezTo>
                      <a:pt x="132" y="191"/>
                      <a:pt x="131" y="191"/>
                      <a:pt x="130" y="191"/>
                    </a:cubicBezTo>
                    <a:cubicBezTo>
                      <a:pt x="129" y="191"/>
                      <a:pt x="129" y="191"/>
                      <a:pt x="128" y="191"/>
                    </a:cubicBezTo>
                    <a:cubicBezTo>
                      <a:pt x="87" y="191"/>
                      <a:pt x="46" y="191"/>
                      <a:pt x="5" y="191"/>
                    </a:cubicBezTo>
                    <a:cubicBezTo>
                      <a:pt x="0" y="191"/>
                      <a:pt x="0" y="192"/>
                      <a:pt x="0" y="187"/>
                    </a:cubicBezTo>
                    <a:cubicBezTo>
                      <a:pt x="0" y="184"/>
                      <a:pt x="0" y="181"/>
                      <a:pt x="0" y="178"/>
                    </a:cubicBezTo>
                    <a:cubicBezTo>
                      <a:pt x="0" y="176"/>
                      <a:pt x="1" y="176"/>
                      <a:pt x="3" y="176"/>
                    </a:cubicBezTo>
                    <a:cubicBezTo>
                      <a:pt x="6" y="176"/>
                      <a:pt x="9" y="176"/>
                      <a:pt x="13" y="176"/>
                    </a:cubicBezTo>
                    <a:cubicBezTo>
                      <a:pt x="16" y="176"/>
                      <a:pt x="16" y="176"/>
                      <a:pt x="16" y="172"/>
                    </a:cubicBezTo>
                    <a:cubicBezTo>
                      <a:pt x="16" y="146"/>
                      <a:pt x="16" y="120"/>
                      <a:pt x="16" y="94"/>
                    </a:cubicBezTo>
                    <a:close/>
                    <a:moveTo>
                      <a:pt x="32" y="15"/>
                    </a:moveTo>
                    <a:cubicBezTo>
                      <a:pt x="32" y="16"/>
                      <a:pt x="32" y="17"/>
                      <a:pt x="32" y="18"/>
                    </a:cubicBezTo>
                    <a:cubicBezTo>
                      <a:pt x="32" y="32"/>
                      <a:pt x="32" y="47"/>
                      <a:pt x="32" y="61"/>
                    </a:cubicBezTo>
                    <a:cubicBezTo>
                      <a:pt x="32" y="63"/>
                      <a:pt x="33" y="64"/>
                      <a:pt x="35" y="64"/>
                    </a:cubicBezTo>
                    <a:cubicBezTo>
                      <a:pt x="56" y="64"/>
                      <a:pt x="77" y="64"/>
                      <a:pt x="97" y="64"/>
                    </a:cubicBezTo>
                    <a:cubicBezTo>
                      <a:pt x="100" y="64"/>
                      <a:pt x="100" y="63"/>
                      <a:pt x="100" y="61"/>
                    </a:cubicBezTo>
                    <a:cubicBezTo>
                      <a:pt x="100" y="47"/>
                      <a:pt x="100" y="32"/>
                      <a:pt x="100" y="18"/>
                    </a:cubicBezTo>
                    <a:cubicBezTo>
                      <a:pt x="100" y="16"/>
                      <a:pt x="100" y="15"/>
                      <a:pt x="97" y="15"/>
                    </a:cubicBezTo>
                    <a:cubicBezTo>
                      <a:pt x="77" y="15"/>
                      <a:pt x="56" y="15"/>
                      <a:pt x="35" y="15"/>
                    </a:cubicBezTo>
                    <a:cubicBezTo>
                      <a:pt x="34" y="15"/>
                      <a:pt x="33" y="15"/>
                      <a:pt x="32" y="1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03" name="Freeform 26"/>
              <p:cNvSpPr>
                <a:spLocks/>
              </p:cNvSpPr>
              <p:nvPr/>
            </p:nvSpPr>
            <p:spPr bwMode="auto">
              <a:xfrm>
                <a:off x="13763401" y="3084512"/>
                <a:ext cx="374650" cy="547688"/>
              </a:xfrm>
              <a:custGeom>
                <a:avLst/>
                <a:gdLst/>
                <a:ahLst/>
                <a:cxnLst>
                  <a:cxn ang="0">
                    <a:pos x="38" y="44"/>
                  </a:cxn>
                  <a:cxn ang="0">
                    <a:pos x="37" y="42"/>
                  </a:cxn>
                  <a:cxn ang="0">
                    <a:pos x="72" y="6"/>
                  </a:cxn>
                  <a:cxn ang="0">
                    <a:pos x="76" y="10"/>
                  </a:cxn>
                  <a:cxn ang="0">
                    <a:pos x="100" y="2"/>
                  </a:cxn>
                  <a:cxn ang="0">
                    <a:pos x="100" y="9"/>
                  </a:cxn>
                  <a:cxn ang="0">
                    <a:pos x="82" y="15"/>
                  </a:cxn>
                  <a:cxn ang="0">
                    <a:pos x="83" y="22"/>
                  </a:cxn>
                  <a:cxn ang="0">
                    <a:pos x="77" y="40"/>
                  </a:cxn>
                  <a:cxn ang="0">
                    <a:pos x="76" y="42"/>
                  </a:cxn>
                  <a:cxn ang="0">
                    <a:pos x="56" y="62"/>
                  </a:cxn>
                  <a:cxn ang="0">
                    <a:pos x="51" y="55"/>
                  </a:cxn>
                  <a:cxn ang="0">
                    <a:pos x="48" y="60"/>
                  </a:cxn>
                  <a:cxn ang="0">
                    <a:pos x="48" y="129"/>
                  </a:cxn>
                  <a:cxn ang="0">
                    <a:pos x="36" y="145"/>
                  </a:cxn>
                  <a:cxn ang="0">
                    <a:pos x="20" y="145"/>
                  </a:cxn>
                  <a:cxn ang="0">
                    <a:pos x="8" y="129"/>
                  </a:cxn>
                  <a:cxn ang="0">
                    <a:pos x="8" y="75"/>
                  </a:cxn>
                  <a:cxn ang="0">
                    <a:pos x="8" y="56"/>
                  </a:cxn>
                  <a:cxn ang="0">
                    <a:pos x="2" y="45"/>
                  </a:cxn>
                  <a:cxn ang="0">
                    <a:pos x="0" y="43"/>
                  </a:cxn>
                  <a:cxn ang="0">
                    <a:pos x="0" y="27"/>
                  </a:cxn>
                  <a:cxn ang="0">
                    <a:pos x="15" y="35"/>
                  </a:cxn>
                  <a:cxn ang="0">
                    <a:pos x="24" y="58"/>
                  </a:cxn>
                  <a:cxn ang="0">
                    <a:pos x="24" y="126"/>
                  </a:cxn>
                  <a:cxn ang="0">
                    <a:pos x="27" y="130"/>
                  </a:cxn>
                  <a:cxn ang="0">
                    <a:pos x="32" y="125"/>
                  </a:cxn>
                  <a:cxn ang="0">
                    <a:pos x="32" y="60"/>
                  </a:cxn>
                  <a:cxn ang="0">
                    <a:pos x="38" y="44"/>
                  </a:cxn>
                </a:cxnLst>
                <a:rect l="0" t="0" r="r" b="b"/>
                <a:pathLst>
                  <a:path w="100" h="146">
                    <a:moveTo>
                      <a:pt x="38" y="44"/>
                    </a:moveTo>
                    <a:cubicBezTo>
                      <a:pt x="38" y="43"/>
                      <a:pt x="37" y="42"/>
                      <a:pt x="37" y="42"/>
                    </a:cubicBezTo>
                    <a:cubicBezTo>
                      <a:pt x="49" y="30"/>
                      <a:pt x="60" y="18"/>
                      <a:pt x="72" y="6"/>
                    </a:cubicBezTo>
                    <a:cubicBezTo>
                      <a:pt x="73" y="7"/>
                      <a:pt x="75" y="8"/>
                      <a:pt x="76" y="10"/>
                    </a:cubicBezTo>
                    <a:cubicBezTo>
                      <a:pt x="83" y="3"/>
                      <a:pt x="90" y="0"/>
                      <a:pt x="100" y="2"/>
                    </a:cubicBezTo>
                    <a:cubicBezTo>
                      <a:pt x="100" y="4"/>
                      <a:pt x="100" y="7"/>
                      <a:pt x="100" y="9"/>
                    </a:cubicBezTo>
                    <a:cubicBezTo>
                      <a:pt x="93" y="9"/>
                      <a:pt x="87" y="9"/>
                      <a:pt x="82" y="15"/>
                    </a:cubicBezTo>
                    <a:cubicBezTo>
                      <a:pt x="85" y="17"/>
                      <a:pt x="84" y="19"/>
                      <a:pt x="83" y="22"/>
                    </a:cubicBezTo>
                    <a:cubicBezTo>
                      <a:pt x="81" y="28"/>
                      <a:pt x="79" y="34"/>
                      <a:pt x="77" y="40"/>
                    </a:cubicBezTo>
                    <a:cubicBezTo>
                      <a:pt x="76" y="41"/>
                      <a:pt x="76" y="41"/>
                      <a:pt x="76" y="42"/>
                    </a:cubicBezTo>
                    <a:cubicBezTo>
                      <a:pt x="69" y="48"/>
                      <a:pt x="63" y="55"/>
                      <a:pt x="56" y="62"/>
                    </a:cubicBezTo>
                    <a:cubicBezTo>
                      <a:pt x="54" y="60"/>
                      <a:pt x="53" y="57"/>
                      <a:pt x="51" y="55"/>
                    </a:cubicBezTo>
                    <a:cubicBezTo>
                      <a:pt x="48" y="57"/>
                      <a:pt x="48" y="58"/>
                      <a:pt x="48" y="60"/>
                    </a:cubicBezTo>
                    <a:cubicBezTo>
                      <a:pt x="48" y="83"/>
                      <a:pt x="48" y="106"/>
                      <a:pt x="48" y="129"/>
                    </a:cubicBezTo>
                    <a:cubicBezTo>
                      <a:pt x="48" y="137"/>
                      <a:pt x="44" y="143"/>
                      <a:pt x="36" y="145"/>
                    </a:cubicBezTo>
                    <a:cubicBezTo>
                      <a:pt x="31" y="146"/>
                      <a:pt x="25" y="146"/>
                      <a:pt x="20" y="145"/>
                    </a:cubicBezTo>
                    <a:cubicBezTo>
                      <a:pt x="13" y="143"/>
                      <a:pt x="8" y="137"/>
                      <a:pt x="8" y="129"/>
                    </a:cubicBezTo>
                    <a:cubicBezTo>
                      <a:pt x="8" y="111"/>
                      <a:pt x="8" y="93"/>
                      <a:pt x="8" y="75"/>
                    </a:cubicBezTo>
                    <a:cubicBezTo>
                      <a:pt x="8" y="69"/>
                      <a:pt x="8" y="62"/>
                      <a:pt x="8" y="56"/>
                    </a:cubicBezTo>
                    <a:cubicBezTo>
                      <a:pt x="8" y="51"/>
                      <a:pt x="5" y="48"/>
                      <a:pt x="2" y="45"/>
                    </a:cubicBezTo>
                    <a:cubicBezTo>
                      <a:pt x="1" y="44"/>
                      <a:pt x="0" y="43"/>
                      <a:pt x="0" y="43"/>
                    </a:cubicBezTo>
                    <a:cubicBezTo>
                      <a:pt x="0" y="38"/>
                      <a:pt x="0" y="32"/>
                      <a:pt x="0" y="27"/>
                    </a:cubicBezTo>
                    <a:cubicBezTo>
                      <a:pt x="6" y="28"/>
                      <a:pt x="11" y="31"/>
                      <a:pt x="15" y="35"/>
                    </a:cubicBezTo>
                    <a:cubicBezTo>
                      <a:pt x="21" y="41"/>
                      <a:pt x="24" y="49"/>
                      <a:pt x="24" y="58"/>
                    </a:cubicBezTo>
                    <a:cubicBezTo>
                      <a:pt x="24" y="81"/>
                      <a:pt x="24" y="104"/>
                      <a:pt x="24" y="126"/>
                    </a:cubicBezTo>
                    <a:cubicBezTo>
                      <a:pt x="24" y="130"/>
                      <a:pt x="24" y="130"/>
                      <a:pt x="27" y="130"/>
                    </a:cubicBezTo>
                    <a:cubicBezTo>
                      <a:pt x="33" y="130"/>
                      <a:pt x="32" y="131"/>
                      <a:pt x="32" y="125"/>
                    </a:cubicBezTo>
                    <a:cubicBezTo>
                      <a:pt x="32" y="103"/>
                      <a:pt x="32" y="81"/>
                      <a:pt x="32" y="60"/>
                    </a:cubicBezTo>
                    <a:cubicBezTo>
                      <a:pt x="32" y="54"/>
                      <a:pt x="32" y="48"/>
                      <a:pt x="38" y="4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04" name="Freeform 27"/>
              <p:cNvSpPr>
                <a:spLocks/>
              </p:cNvSpPr>
              <p:nvPr/>
            </p:nvSpPr>
            <p:spPr bwMode="auto">
              <a:xfrm>
                <a:off x="13452251" y="3197225"/>
                <a:ext cx="192088" cy="55563"/>
              </a:xfrm>
              <a:custGeom>
                <a:avLst/>
                <a:gdLst/>
                <a:ahLst/>
                <a:cxnLst>
                  <a:cxn ang="0">
                    <a:pos x="51" y="0"/>
                  </a:cxn>
                  <a:cxn ang="0">
                    <a:pos x="51" y="15"/>
                  </a:cxn>
                  <a:cxn ang="0">
                    <a:pos x="39" y="15"/>
                  </a:cxn>
                  <a:cxn ang="0">
                    <a:pos x="39" y="7"/>
                  </a:cxn>
                  <a:cxn ang="0">
                    <a:pos x="32" y="8"/>
                  </a:cxn>
                  <a:cxn ang="0">
                    <a:pos x="31" y="9"/>
                  </a:cxn>
                  <a:cxn ang="0">
                    <a:pos x="31" y="15"/>
                  </a:cxn>
                  <a:cxn ang="0">
                    <a:pos x="21" y="15"/>
                  </a:cxn>
                  <a:cxn ang="0">
                    <a:pos x="19" y="14"/>
                  </a:cxn>
                  <a:cxn ang="0">
                    <a:pos x="19" y="10"/>
                  </a:cxn>
                  <a:cxn ang="0">
                    <a:pos x="17" y="7"/>
                  </a:cxn>
                  <a:cxn ang="0">
                    <a:pos x="11" y="13"/>
                  </a:cxn>
                  <a:cxn ang="0">
                    <a:pos x="9" y="15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0"/>
                  </a:cxn>
                  <a:cxn ang="0">
                    <a:pos x="51" y="0"/>
                  </a:cxn>
                </a:cxnLst>
                <a:rect l="0" t="0" r="r" b="b"/>
                <a:pathLst>
                  <a:path w="51" h="15">
                    <a:moveTo>
                      <a:pt x="51" y="0"/>
                    </a:moveTo>
                    <a:cubicBezTo>
                      <a:pt x="51" y="5"/>
                      <a:pt x="51" y="10"/>
                      <a:pt x="51" y="15"/>
                    </a:cubicBezTo>
                    <a:cubicBezTo>
                      <a:pt x="47" y="15"/>
                      <a:pt x="43" y="15"/>
                      <a:pt x="39" y="15"/>
                    </a:cubicBezTo>
                    <a:cubicBezTo>
                      <a:pt x="39" y="13"/>
                      <a:pt x="39" y="10"/>
                      <a:pt x="39" y="7"/>
                    </a:cubicBezTo>
                    <a:cubicBezTo>
                      <a:pt x="37" y="7"/>
                      <a:pt x="34" y="7"/>
                      <a:pt x="32" y="8"/>
                    </a:cubicBezTo>
                    <a:cubicBezTo>
                      <a:pt x="32" y="8"/>
                      <a:pt x="31" y="9"/>
                      <a:pt x="31" y="9"/>
                    </a:cubicBezTo>
                    <a:cubicBezTo>
                      <a:pt x="31" y="11"/>
                      <a:pt x="31" y="13"/>
                      <a:pt x="31" y="15"/>
                    </a:cubicBezTo>
                    <a:cubicBezTo>
                      <a:pt x="27" y="15"/>
                      <a:pt x="24" y="15"/>
                      <a:pt x="21" y="15"/>
                    </a:cubicBezTo>
                    <a:cubicBezTo>
                      <a:pt x="20" y="15"/>
                      <a:pt x="19" y="14"/>
                      <a:pt x="19" y="14"/>
                    </a:cubicBezTo>
                    <a:cubicBezTo>
                      <a:pt x="19" y="12"/>
                      <a:pt x="19" y="11"/>
                      <a:pt x="19" y="10"/>
                    </a:cubicBezTo>
                    <a:cubicBezTo>
                      <a:pt x="19" y="8"/>
                      <a:pt x="19" y="7"/>
                      <a:pt x="17" y="7"/>
                    </a:cubicBezTo>
                    <a:cubicBezTo>
                      <a:pt x="11" y="7"/>
                      <a:pt x="11" y="7"/>
                      <a:pt x="11" y="13"/>
                    </a:cubicBezTo>
                    <a:cubicBezTo>
                      <a:pt x="11" y="15"/>
                      <a:pt x="10" y="15"/>
                      <a:pt x="9" y="15"/>
                    </a:cubicBezTo>
                    <a:cubicBezTo>
                      <a:pt x="6" y="15"/>
                      <a:pt x="3" y="15"/>
                      <a:pt x="0" y="15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0"/>
                      <a:pt x="0" y="5"/>
                      <a:pt x="0" y="0"/>
                    </a:cubicBezTo>
                    <a:cubicBezTo>
                      <a:pt x="17" y="0"/>
                      <a:pt x="34" y="0"/>
                      <a:pt x="5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grpSp>
          <p:nvGrpSpPr>
            <p:cNvPr id="105" name="Gruppieren 345"/>
            <p:cNvGrpSpPr/>
            <p:nvPr/>
          </p:nvGrpSpPr>
          <p:grpSpPr>
            <a:xfrm>
              <a:off x="9955027" y="2864356"/>
              <a:ext cx="844520" cy="557159"/>
              <a:chOff x="16097026" y="-560388"/>
              <a:chExt cx="839788" cy="554038"/>
            </a:xfrm>
            <a:grpFill/>
          </p:grpSpPr>
          <p:sp>
            <p:nvSpPr>
              <p:cNvPr id="106" name="Freeform 79"/>
              <p:cNvSpPr>
                <a:spLocks/>
              </p:cNvSpPr>
              <p:nvPr/>
            </p:nvSpPr>
            <p:spPr bwMode="auto">
              <a:xfrm>
                <a:off x="16366901" y="-560388"/>
                <a:ext cx="565150" cy="374650"/>
              </a:xfrm>
              <a:custGeom>
                <a:avLst/>
                <a:gdLst/>
                <a:ahLst/>
                <a:cxnLst>
                  <a:cxn ang="0">
                    <a:pos x="151" y="100"/>
                  </a:cxn>
                  <a:cxn ang="0">
                    <a:pos x="149" y="100"/>
                  </a:cxn>
                  <a:cxn ang="0">
                    <a:pos x="3" y="100"/>
                  </a:cxn>
                  <a:cxn ang="0">
                    <a:pos x="0" y="96"/>
                  </a:cxn>
                  <a:cxn ang="0">
                    <a:pos x="0" y="3"/>
                  </a:cxn>
                  <a:cxn ang="0">
                    <a:pos x="3" y="0"/>
                  </a:cxn>
                  <a:cxn ang="0">
                    <a:pos x="149" y="0"/>
                  </a:cxn>
                  <a:cxn ang="0">
                    <a:pos x="151" y="0"/>
                  </a:cxn>
                  <a:cxn ang="0">
                    <a:pos x="151" y="100"/>
                  </a:cxn>
                </a:cxnLst>
                <a:rect l="0" t="0" r="r" b="b"/>
                <a:pathLst>
                  <a:path w="151" h="100">
                    <a:moveTo>
                      <a:pt x="151" y="100"/>
                    </a:moveTo>
                    <a:cubicBezTo>
                      <a:pt x="150" y="100"/>
                      <a:pt x="150" y="100"/>
                      <a:pt x="149" y="100"/>
                    </a:cubicBezTo>
                    <a:cubicBezTo>
                      <a:pt x="100" y="100"/>
                      <a:pt x="52" y="100"/>
                      <a:pt x="3" y="100"/>
                    </a:cubicBezTo>
                    <a:cubicBezTo>
                      <a:pt x="0" y="100"/>
                      <a:pt x="0" y="100"/>
                      <a:pt x="0" y="96"/>
                    </a:cubicBezTo>
                    <a:cubicBezTo>
                      <a:pt x="0" y="65"/>
                      <a:pt x="0" y="34"/>
                      <a:pt x="0" y="3"/>
                    </a:cubicBezTo>
                    <a:cubicBezTo>
                      <a:pt x="0" y="0"/>
                      <a:pt x="0" y="0"/>
                      <a:pt x="3" y="0"/>
                    </a:cubicBezTo>
                    <a:cubicBezTo>
                      <a:pt x="52" y="0"/>
                      <a:pt x="100" y="0"/>
                      <a:pt x="149" y="0"/>
                    </a:cubicBezTo>
                    <a:cubicBezTo>
                      <a:pt x="150" y="0"/>
                      <a:pt x="150" y="0"/>
                      <a:pt x="151" y="0"/>
                    </a:cubicBezTo>
                    <a:cubicBezTo>
                      <a:pt x="151" y="33"/>
                      <a:pt x="151" y="66"/>
                      <a:pt x="151" y="10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07" name="Freeform 80"/>
              <p:cNvSpPr>
                <a:spLocks noEditPoints="1"/>
              </p:cNvSpPr>
              <p:nvPr/>
            </p:nvSpPr>
            <p:spPr bwMode="auto">
              <a:xfrm>
                <a:off x="16097026" y="-441325"/>
                <a:ext cx="704850" cy="360363"/>
              </a:xfrm>
              <a:custGeom>
                <a:avLst/>
                <a:gdLst/>
                <a:ahLst/>
                <a:cxnLst>
                  <a:cxn ang="0">
                    <a:pos x="188" y="72"/>
                  </a:cxn>
                  <a:cxn ang="0">
                    <a:pos x="175" y="95"/>
                  </a:cxn>
                  <a:cxn ang="0">
                    <a:pos x="173" y="96"/>
                  </a:cxn>
                  <a:cxn ang="0">
                    <a:pos x="87" y="96"/>
                  </a:cxn>
                  <a:cxn ang="0">
                    <a:pos x="84" y="93"/>
                  </a:cxn>
                  <a:cxn ang="0">
                    <a:pos x="84" y="87"/>
                  </a:cxn>
                  <a:cxn ang="0">
                    <a:pos x="81" y="84"/>
                  </a:cxn>
                  <a:cxn ang="0">
                    <a:pos x="71" y="84"/>
                  </a:cxn>
                  <a:cxn ang="0">
                    <a:pos x="68" y="82"/>
                  </a:cxn>
                  <a:cxn ang="0">
                    <a:pos x="40" y="68"/>
                  </a:cxn>
                  <a:cxn ang="0">
                    <a:pos x="16" y="90"/>
                  </a:cxn>
                  <a:cxn ang="0">
                    <a:pos x="14" y="92"/>
                  </a:cxn>
                  <a:cxn ang="0">
                    <a:pos x="2" y="92"/>
                  </a:cxn>
                  <a:cxn ang="0">
                    <a:pos x="0" y="90"/>
                  </a:cxn>
                  <a:cxn ang="0">
                    <a:pos x="0" y="45"/>
                  </a:cxn>
                  <a:cxn ang="0">
                    <a:pos x="1" y="42"/>
                  </a:cxn>
                  <a:cxn ang="0">
                    <a:pos x="19" y="2"/>
                  </a:cxn>
                  <a:cxn ang="0">
                    <a:pos x="22" y="0"/>
                  </a:cxn>
                  <a:cxn ang="0">
                    <a:pos x="60" y="0"/>
                  </a:cxn>
                  <a:cxn ang="0">
                    <a:pos x="64" y="3"/>
                  </a:cxn>
                  <a:cxn ang="0">
                    <a:pos x="64" y="68"/>
                  </a:cxn>
                  <a:cxn ang="0">
                    <a:pos x="67" y="72"/>
                  </a:cxn>
                  <a:cxn ang="0">
                    <a:pos x="185" y="72"/>
                  </a:cxn>
                  <a:cxn ang="0">
                    <a:pos x="188" y="72"/>
                  </a:cxn>
                  <a:cxn ang="0">
                    <a:pos x="8" y="44"/>
                  </a:cxn>
                  <a:cxn ang="0">
                    <a:pos x="48" y="44"/>
                  </a:cxn>
                  <a:cxn ang="0">
                    <a:pos x="48" y="8"/>
                  </a:cxn>
                  <a:cxn ang="0">
                    <a:pos x="45" y="8"/>
                  </a:cxn>
                  <a:cxn ang="0">
                    <a:pos x="27" y="8"/>
                  </a:cxn>
                  <a:cxn ang="0">
                    <a:pos x="24" y="10"/>
                  </a:cxn>
                  <a:cxn ang="0">
                    <a:pos x="12" y="36"/>
                  </a:cxn>
                  <a:cxn ang="0">
                    <a:pos x="8" y="44"/>
                  </a:cxn>
                </a:cxnLst>
                <a:rect l="0" t="0" r="r" b="b"/>
                <a:pathLst>
                  <a:path w="188" h="96">
                    <a:moveTo>
                      <a:pt x="188" y="72"/>
                    </a:moveTo>
                    <a:cubicBezTo>
                      <a:pt x="179" y="80"/>
                      <a:pt x="177" y="84"/>
                      <a:pt x="175" y="95"/>
                    </a:cubicBezTo>
                    <a:cubicBezTo>
                      <a:pt x="175" y="95"/>
                      <a:pt x="174" y="96"/>
                      <a:pt x="173" y="96"/>
                    </a:cubicBezTo>
                    <a:cubicBezTo>
                      <a:pt x="144" y="96"/>
                      <a:pt x="115" y="95"/>
                      <a:pt x="87" y="96"/>
                    </a:cubicBezTo>
                    <a:cubicBezTo>
                      <a:pt x="85" y="96"/>
                      <a:pt x="84" y="95"/>
                      <a:pt x="84" y="93"/>
                    </a:cubicBezTo>
                    <a:cubicBezTo>
                      <a:pt x="84" y="91"/>
                      <a:pt x="84" y="89"/>
                      <a:pt x="84" y="87"/>
                    </a:cubicBezTo>
                    <a:cubicBezTo>
                      <a:pt x="84" y="84"/>
                      <a:pt x="84" y="84"/>
                      <a:pt x="81" y="84"/>
                    </a:cubicBezTo>
                    <a:cubicBezTo>
                      <a:pt x="77" y="84"/>
                      <a:pt x="74" y="83"/>
                      <a:pt x="71" y="84"/>
                    </a:cubicBezTo>
                    <a:cubicBezTo>
                      <a:pt x="70" y="84"/>
                      <a:pt x="69" y="83"/>
                      <a:pt x="68" y="82"/>
                    </a:cubicBezTo>
                    <a:cubicBezTo>
                      <a:pt x="62" y="72"/>
                      <a:pt x="51" y="66"/>
                      <a:pt x="40" y="68"/>
                    </a:cubicBezTo>
                    <a:cubicBezTo>
                      <a:pt x="28" y="70"/>
                      <a:pt x="19" y="78"/>
                      <a:pt x="16" y="90"/>
                    </a:cubicBezTo>
                    <a:cubicBezTo>
                      <a:pt x="16" y="91"/>
                      <a:pt x="15" y="92"/>
                      <a:pt x="14" y="92"/>
                    </a:cubicBezTo>
                    <a:cubicBezTo>
                      <a:pt x="10" y="92"/>
                      <a:pt x="6" y="92"/>
                      <a:pt x="2" y="92"/>
                    </a:cubicBezTo>
                    <a:cubicBezTo>
                      <a:pt x="0" y="92"/>
                      <a:pt x="0" y="91"/>
                      <a:pt x="0" y="90"/>
                    </a:cubicBezTo>
                    <a:cubicBezTo>
                      <a:pt x="0" y="75"/>
                      <a:pt x="0" y="60"/>
                      <a:pt x="0" y="45"/>
                    </a:cubicBezTo>
                    <a:cubicBezTo>
                      <a:pt x="0" y="44"/>
                      <a:pt x="0" y="43"/>
                      <a:pt x="1" y="42"/>
                    </a:cubicBezTo>
                    <a:cubicBezTo>
                      <a:pt x="7" y="28"/>
                      <a:pt x="13" y="15"/>
                      <a:pt x="19" y="2"/>
                    </a:cubicBezTo>
                    <a:cubicBezTo>
                      <a:pt x="20" y="0"/>
                      <a:pt x="21" y="0"/>
                      <a:pt x="22" y="0"/>
                    </a:cubicBezTo>
                    <a:cubicBezTo>
                      <a:pt x="35" y="0"/>
                      <a:pt x="48" y="0"/>
                      <a:pt x="60" y="0"/>
                    </a:cubicBezTo>
                    <a:cubicBezTo>
                      <a:pt x="63" y="0"/>
                      <a:pt x="64" y="0"/>
                      <a:pt x="64" y="3"/>
                    </a:cubicBezTo>
                    <a:cubicBezTo>
                      <a:pt x="64" y="25"/>
                      <a:pt x="64" y="47"/>
                      <a:pt x="64" y="68"/>
                    </a:cubicBezTo>
                    <a:cubicBezTo>
                      <a:pt x="64" y="72"/>
                      <a:pt x="64" y="72"/>
                      <a:pt x="67" y="72"/>
                    </a:cubicBezTo>
                    <a:cubicBezTo>
                      <a:pt x="106" y="72"/>
                      <a:pt x="145" y="72"/>
                      <a:pt x="185" y="72"/>
                    </a:cubicBezTo>
                    <a:cubicBezTo>
                      <a:pt x="186" y="72"/>
                      <a:pt x="187" y="72"/>
                      <a:pt x="188" y="72"/>
                    </a:cubicBezTo>
                    <a:close/>
                    <a:moveTo>
                      <a:pt x="8" y="44"/>
                    </a:moveTo>
                    <a:cubicBezTo>
                      <a:pt x="22" y="44"/>
                      <a:pt x="35" y="44"/>
                      <a:pt x="48" y="44"/>
                    </a:cubicBezTo>
                    <a:cubicBezTo>
                      <a:pt x="48" y="32"/>
                      <a:pt x="48" y="20"/>
                      <a:pt x="48" y="8"/>
                    </a:cubicBezTo>
                    <a:cubicBezTo>
                      <a:pt x="47" y="8"/>
                      <a:pt x="46" y="8"/>
                      <a:pt x="45" y="8"/>
                    </a:cubicBezTo>
                    <a:cubicBezTo>
                      <a:pt x="39" y="8"/>
                      <a:pt x="33" y="8"/>
                      <a:pt x="27" y="8"/>
                    </a:cubicBezTo>
                    <a:cubicBezTo>
                      <a:pt x="25" y="8"/>
                      <a:pt x="25" y="8"/>
                      <a:pt x="24" y="10"/>
                    </a:cubicBezTo>
                    <a:cubicBezTo>
                      <a:pt x="20" y="19"/>
                      <a:pt x="16" y="27"/>
                      <a:pt x="12" y="36"/>
                    </a:cubicBezTo>
                    <a:cubicBezTo>
                      <a:pt x="11" y="39"/>
                      <a:pt x="10" y="41"/>
                      <a:pt x="8" y="4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08" name="Freeform 81"/>
              <p:cNvSpPr>
                <a:spLocks noEditPoints="1"/>
              </p:cNvSpPr>
              <p:nvPr/>
            </p:nvSpPr>
            <p:spPr bwMode="auto">
              <a:xfrm>
                <a:off x="16786001" y="-155575"/>
                <a:ext cx="150813" cy="149225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20" y="0"/>
                  </a:cxn>
                  <a:cxn ang="0">
                    <a:pos x="40" y="20"/>
                  </a:cxn>
                  <a:cxn ang="0">
                    <a:pos x="20" y="40"/>
                  </a:cxn>
                  <a:cxn ang="0">
                    <a:pos x="0" y="20"/>
                  </a:cxn>
                  <a:cxn ang="0">
                    <a:pos x="20" y="28"/>
                  </a:cxn>
                  <a:cxn ang="0">
                    <a:pos x="28" y="20"/>
                  </a:cxn>
                  <a:cxn ang="0">
                    <a:pos x="20" y="12"/>
                  </a:cxn>
                  <a:cxn ang="0">
                    <a:pos x="12" y="20"/>
                  </a:cxn>
                  <a:cxn ang="0">
                    <a:pos x="20" y="28"/>
                  </a:cxn>
                </a:cxnLst>
                <a:rect l="0" t="0" r="r" b="b"/>
                <a:pathLst>
                  <a:path w="40" h="40">
                    <a:moveTo>
                      <a:pt x="0" y="20"/>
                    </a:move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lose/>
                    <a:moveTo>
                      <a:pt x="20" y="28"/>
                    </a:moveTo>
                    <a:cubicBezTo>
                      <a:pt x="24" y="28"/>
                      <a:pt x="28" y="24"/>
                      <a:pt x="28" y="20"/>
                    </a:cubicBezTo>
                    <a:cubicBezTo>
                      <a:pt x="28" y="15"/>
                      <a:pt x="24" y="12"/>
                      <a:pt x="20" y="12"/>
                    </a:cubicBezTo>
                    <a:cubicBezTo>
                      <a:pt x="15" y="12"/>
                      <a:pt x="11" y="15"/>
                      <a:pt x="12" y="20"/>
                    </a:cubicBezTo>
                    <a:cubicBezTo>
                      <a:pt x="12" y="24"/>
                      <a:pt x="15" y="28"/>
                      <a:pt x="20" y="2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09" name="Freeform 82"/>
              <p:cNvSpPr>
                <a:spLocks noEditPoints="1"/>
              </p:cNvSpPr>
              <p:nvPr/>
            </p:nvSpPr>
            <p:spPr bwMode="auto">
              <a:xfrm>
                <a:off x="16185926" y="-155575"/>
                <a:ext cx="150813" cy="1492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40" y="20"/>
                  </a:cxn>
                  <a:cxn ang="0">
                    <a:pos x="20" y="40"/>
                  </a:cxn>
                  <a:cxn ang="0">
                    <a:pos x="0" y="20"/>
                  </a:cxn>
                  <a:cxn ang="0">
                    <a:pos x="20" y="0"/>
                  </a:cxn>
                  <a:cxn ang="0">
                    <a:pos x="20" y="12"/>
                  </a:cxn>
                  <a:cxn ang="0">
                    <a:pos x="12" y="20"/>
                  </a:cxn>
                  <a:cxn ang="0">
                    <a:pos x="20" y="28"/>
                  </a:cxn>
                  <a:cxn ang="0">
                    <a:pos x="28" y="20"/>
                  </a:cxn>
                  <a:cxn ang="0">
                    <a:pos x="20" y="12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ubicBezTo>
                      <a:pt x="0" y="8"/>
                      <a:pt x="9" y="0"/>
                      <a:pt x="20" y="0"/>
                    </a:cubicBezTo>
                    <a:close/>
                    <a:moveTo>
                      <a:pt x="20" y="12"/>
                    </a:moveTo>
                    <a:cubicBezTo>
                      <a:pt x="15" y="12"/>
                      <a:pt x="12" y="15"/>
                      <a:pt x="12" y="20"/>
                    </a:cubicBezTo>
                    <a:cubicBezTo>
                      <a:pt x="12" y="24"/>
                      <a:pt x="15" y="28"/>
                      <a:pt x="20" y="28"/>
                    </a:cubicBezTo>
                    <a:cubicBezTo>
                      <a:pt x="24" y="28"/>
                      <a:pt x="28" y="24"/>
                      <a:pt x="28" y="20"/>
                    </a:cubicBezTo>
                    <a:cubicBezTo>
                      <a:pt x="28" y="15"/>
                      <a:pt x="24" y="12"/>
                      <a:pt x="20" y="1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grpSp>
          <p:nvGrpSpPr>
            <p:cNvPr id="110" name="Gruppieren 350"/>
            <p:cNvGrpSpPr/>
            <p:nvPr/>
          </p:nvGrpSpPr>
          <p:grpSpPr>
            <a:xfrm>
              <a:off x="1389705" y="3976194"/>
              <a:ext cx="652947" cy="847713"/>
              <a:chOff x="11786964" y="2979737"/>
              <a:chExt cx="649288" cy="842963"/>
            </a:xfrm>
            <a:grpFill/>
          </p:grpSpPr>
          <p:sp>
            <p:nvSpPr>
              <p:cNvPr id="111" name="Freeform 101"/>
              <p:cNvSpPr>
                <a:spLocks noEditPoints="1"/>
              </p:cNvSpPr>
              <p:nvPr/>
            </p:nvSpPr>
            <p:spPr bwMode="auto">
              <a:xfrm>
                <a:off x="11786964" y="2979737"/>
                <a:ext cx="649288" cy="611188"/>
              </a:xfrm>
              <a:custGeom>
                <a:avLst/>
                <a:gdLst/>
                <a:ahLst/>
                <a:cxnLst>
                  <a:cxn ang="0">
                    <a:pos x="173" y="160"/>
                  </a:cxn>
                  <a:cxn ang="0">
                    <a:pos x="170" y="163"/>
                  </a:cxn>
                  <a:cxn ang="0">
                    <a:pos x="104" y="105"/>
                  </a:cxn>
                  <a:cxn ang="0">
                    <a:pos x="92" y="109"/>
                  </a:cxn>
                  <a:cxn ang="0">
                    <a:pos x="90" y="110"/>
                  </a:cxn>
                  <a:cxn ang="0">
                    <a:pos x="76" y="127"/>
                  </a:cxn>
                  <a:cxn ang="0">
                    <a:pos x="73" y="128"/>
                  </a:cxn>
                  <a:cxn ang="0">
                    <a:pos x="11" y="130"/>
                  </a:cxn>
                  <a:cxn ang="0">
                    <a:pos x="3" y="130"/>
                  </a:cxn>
                  <a:cxn ang="0">
                    <a:pos x="0" y="128"/>
                  </a:cxn>
                  <a:cxn ang="0">
                    <a:pos x="3" y="126"/>
                  </a:cxn>
                  <a:cxn ang="0">
                    <a:pos x="81" y="102"/>
                  </a:cxn>
                  <a:cxn ang="0">
                    <a:pos x="83" y="101"/>
                  </a:cxn>
                  <a:cxn ang="0">
                    <a:pos x="85" y="92"/>
                  </a:cxn>
                  <a:cxn ang="0">
                    <a:pos x="86" y="84"/>
                  </a:cxn>
                  <a:cxn ang="0">
                    <a:pos x="80" y="66"/>
                  </a:cxn>
                  <a:cxn ang="0">
                    <a:pos x="80" y="63"/>
                  </a:cxn>
                  <a:cxn ang="0">
                    <a:pos x="116" y="1"/>
                  </a:cxn>
                  <a:cxn ang="0">
                    <a:pos x="117" y="0"/>
                  </a:cxn>
                  <a:cxn ang="0">
                    <a:pos x="121" y="1"/>
                  </a:cxn>
                  <a:cxn ang="0">
                    <a:pos x="98" y="86"/>
                  </a:cxn>
                  <a:cxn ang="0">
                    <a:pos x="106" y="94"/>
                  </a:cxn>
                  <a:cxn ang="0">
                    <a:pos x="108" y="95"/>
                  </a:cxn>
                  <a:cxn ang="0">
                    <a:pos x="129" y="98"/>
                  </a:cxn>
                  <a:cxn ang="0">
                    <a:pos x="133" y="100"/>
                  </a:cxn>
                  <a:cxn ang="0">
                    <a:pos x="172" y="158"/>
                  </a:cxn>
                  <a:cxn ang="0">
                    <a:pos x="173" y="160"/>
                  </a:cxn>
                  <a:cxn ang="0">
                    <a:pos x="99" y="97"/>
                  </a:cxn>
                  <a:cxn ang="0">
                    <a:pos x="95" y="93"/>
                  </a:cxn>
                  <a:cxn ang="0">
                    <a:pos x="91" y="98"/>
                  </a:cxn>
                  <a:cxn ang="0">
                    <a:pos x="95" y="102"/>
                  </a:cxn>
                  <a:cxn ang="0">
                    <a:pos x="99" y="97"/>
                  </a:cxn>
                </a:cxnLst>
                <a:rect l="0" t="0" r="r" b="b"/>
                <a:pathLst>
                  <a:path w="173" h="163">
                    <a:moveTo>
                      <a:pt x="173" y="160"/>
                    </a:moveTo>
                    <a:cubicBezTo>
                      <a:pt x="172" y="161"/>
                      <a:pt x="171" y="162"/>
                      <a:pt x="170" y="163"/>
                    </a:cubicBezTo>
                    <a:cubicBezTo>
                      <a:pt x="148" y="144"/>
                      <a:pt x="126" y="125"/>
                      <a:pt x="104" y="105"/>
                    </a:cubicBezTo>
                    <a:cubicBezTo>
                      <a:pt x="101" y="109"/>
                      <a:pt x="97" y="110"/>
                      <a:pt x="92" y="109"/>
                    </a:cubicBezTo>
                    <a:cubicBezTo>
                      <a:pt x="91" y="109"/>
                      <a:pt x="91" y="110"/>
                      <a:pt x="90" y="110"/>
                    </a:cubicBezTo>
                    <a:cubicBezTo>
                      <a:pt x="86" y="116"/>
                      <a:pt x="81" y="121"/>
                      <a:pt x="76" y="127"/>
                    </a:cubicBezTo>
                    <a:cubicBezTo>
                      <a:pt x="76" y="128"/>
                      <a:pt x="74" y="128"/>
                      <a:pt x="73" y="128"/>
                    </a:cubicBezTo>
                    <a:cubicBezTo>
                      <a:pt x="52" y="129"/>
                      <a:pt x="32" y="130"/>
                      <a:pt x="11" y="130"/>
                    </a:cubicBezTo>
                    <a:cubicBezTo>
                      <a:pt x="8" y="130"/>
                      <a:pt x="6" y="130"/>
                      <a:pt x="3" y="130"/>
                    </a:cubicBezTo>
                    <a:cubicBezTo>
                      <a:pt x="2" y="131"/>
                      <a:pt x="0" y="130"/>
                      <a:pt x="0" y="128"/>
                    </a:cubicBezTo>
                    <a:cubicBezTo>
                      <a:pt x="0" y="126"/>
                      <a:pt x="1" y="126"/>
                      <a:pt x="3" y="126"/>
                    </a:cubicBezTo>
                    <a:cubicBezTo>
                      <a:pt x="29" y="118"/>
                      <a:pt x="55" y="110"/>
                      <a:pt x="81" y="102"/>
                    </a:cubicBezTo>
                    <a:cubicBezTo>
                      <a:pt x="82" y="102"/>
                      <a:pt x="83" y="101"/>
                      <a:pt x="83" y="101"/>
                    </a:cubicBezTo>
                    <a:cubicBezTo>
                      <a:pt x="83" y="98"/>
                      <a:pt x="83" y="94"/>
                      <a:pt x="85" y="92"/>
                    </a:cubicBezTo>
                    <a:cubicBezTo>
                      <a:pt x="87" y="89"/>
                      <a:pt x="87" y="87"/>
                      <a:pt x="86" y="84"/>
                    </a:cubicBezTo>
                    <a:cubicBezTo>
                      <a:pt x="84" y="78"/>
                      <a:pt x="82" y="72"/>
                      <a:pt x="80" y="66"/>
                    </a:cubicBezTo>
                    <a:cubicBezTo>
                      <a:pt x="80" y="65"/>
                      <a:pt x="80" y="64"/>
                      <a:pt x="80" y="63"/>
                    </a:cubicBezTo>
                    <a:cubicBezTo>
                      <a:pt x="92" y="42"/>
                      <a:pt x="104" y="22"/>
                      <a:pt x="116" y="1"/>
                    </a:cubicBezTo>
                    <a:cubicBezTo>
                      <a:pt x="117" y="1"/>
                      <a:pt x="117" y="1"/>
                      <a:pt x="117" y="0"/>
                    </a:cubicBezTo>
                    <a:cubicBezTo>
                      <a:pt x="118" y="0"/>
                      <a:pt x="119" y="1"/>
                      <a:pt x="121" y="1"/>
                    </a:cubicBezTo>
                    <a:cubicBezTo>
                      <a:pt x="113" y="30"/>
                      <a:pt x="106" y="58"/>
                      <a:pt x="98" y="86"/>
                    </a:cubicBezTo>
                    <a:cubicBezTo>
                      <a:pt x="102" y="87"/>
                      <a:pt x="105" y="90"/>
                      <a:pt x="106" y="94"/>
                    </a:cubicBezTo>
                    <a:cubicBezTo>
                      <a:pt x="106" y="94"/>
                      <a:pt x="108" y="95"/>
                      <a:pt x="108" y="95"/>
                    </a:cubicBezTo>
                    <a:cubicBezTo>
                      <a:pt x="115" y="96"/>
                      <a:pt x="122" y="97"/>
                      <a:pt x="129" y="98"/>
                    </a:cubicBezTo>
                    <a:cubicBezTo>
                      <a:pt x="131" y="98"/>
                      <a:pt x="132" y="98"/>
                      <a:pt x="133" y="100"/>
                    </a:cubicBezTo>
                    <a:cubicBezTo>
                      <a:pt x="146" y="120"/>
                      <a:pt x="159" y="139"/>
                      <a:pt x="172" y="158"/>
                    </a:cubicBezTo>
                    <a:cubicBezTo>
                      <a:pt x="172" y="159"/>
                      <a:pt x="172" y="159"/>
                      <a:pt x="173" y="160"/>
                    </a:cubicBezTo>
                    <a:close/>
                    <a:moveTo>
                      <a:pt x="99" y="97"/>
                    </a:moveTo>
                    <a:cubicBezTo>
                      <a:pt x="99" y="95"/>
                      <a:pt x="97" y="93"/>
                      <a:pt x="95" y="93"/>
                    </a:cubicBezTo>
                    <a:cubicBezTo>
                      <a:pt x="93" y="94"/>
                      <a:pt x="91" y="96"/>
                      <a:pt x="91" y="98"/>
                    </a:cubicBezTo>
                    <a:cubicBezTo>
                      <a:pt x="91" y="100"/>
                      <a:pt x="93" y="102"/>
                      <a:pt x="95" y="102"/>
                    </a:cubicBezTo>
                    <a:cubicBezTo>
                      <a:pt x="97" y="102"/>
                      <a:pt x="99" y="100"/>
                      <a:pt x="99" y="9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12" name="Freeform 102"/>
              <p:cNvSpPr>
                <a:spLocks/>
              </p:cNvSpPr>
              <p:nvPr/>
            </p:nvSpPr>
            <p:spPr bwMode="auto">
              <a:xfrm>
                <a:off x="12053664" y="3406775"/>
                <a:ext cx="179388" cy="415925"/>
              </a:xfrm>
              <a:custGeom>
                <a:avLst/>
                <a:gdLst/>
                <a:ahLst/>
                <a:cxnLst>
                  <a:cxn ang="0">
                    <a:pos x="0" y="111"/>
                  </a:cxn>
                  <a:cxn ang="0">
                    <a:pos x="0" y="100"/>
                  </a:cxn>
                  <a:cxn ang="0">
                    <a:pos x="9" y="100"/>
                  </a:cxn>
                  <a:cxn ang="0">
                    <a:pos x="12" y="97"/>
                  </a:cxn>
                  <a:cxn ang="0">
                    <a:pos x="16" y="52"/>
                  </a:cxn>
                  <a:cxn ang="0">
                    <a:pos x="18" y="19"/>
                  </a:cxn>
                  <a:cxn ang="0">
                    <a:pos x="20" y="0"/>
                  </a:cxn>
                  <a:cxn ang="0">
                    <a:pos x="28" y="0"/>
                  </a:cxn>
                  <a:cxn ang="0">
                    <a:pos x="29" y="11"/>
                  </a:cxn>
                  <a:cxn ang="0">
                    <a:pos x="33" y="58"/>
                  </a:cxn>
                  <a:cxn ang="0">
                    <a:pos x="35" y="97"/>
                  </a:cxn>
                  <a:cxn ang="0">
                    <a:pos x="38" y="100"/>
                  </a:cxn>
                  <a:cxn ang="0">
                    <a:pos x="46" y="100"/>
                  </a:cxn>
                  <a:cxn ang="0">
                    <a:pos x="48" y="102"/>
                  </a:cxn>
                  <a:cxn ang="0">
                    <a:pos x="48" y="110"/>
                  </a:cxn>
                  <a:cxn ang="0">
                    <a:pos x="46" y="111"/>
                  </a:cxn>
                  <a:cxn ang="0">
                    <a:pos x="0" y="111"/>
                  </a:cxn>
                </a:cxnLst>
                <a:rect l="0" t="0" r="r" b="b"/>
                <a:pathLst>
                  <a:path w="48" h="111">
                    <a:moveTo>
                      <a:pt x="0" y="111"/>
                    </a:moveTo>
                    <a:cubicBezTo>
                      <a:pt x="0" y="107"/>
                      <a:pt x="0" y="104"/>
                      <a:pt x="0" y="100"/>
                    </a:cubicBezTo>
                    <a:cubicBezTo>
                      <a:pt x="3" y="100"/>
                      <a:pt x="6" y="100"/>
                      <a:pt x="9" y="100"/>
                    </a:cubicBezTo>
                    <a:cubicBezTo>
                      <a:pt x="11" y="100"/>
                      <a:pt x="12" y="99"/>
                      <a:pt x="12" y="97"/>
                    </a:cubicBezTo>
                    <a:cubicBezTo>
                      <a:pt x="13" y="82"/>
                      <a:pt x="15" y="67"/>
                      <a:pt x="16" y="52"/>
                    </a:cubicBezTo>
                    <a:cubicBezTo>
                      <a:pt x="17" y="41"/>
                      <a:pt x="18" y="30"/>
                      <a:pt x="18" y="19"/>
                    </a:cubicBezTo>
                    <a:cubicBezTo>
                      <a:pt x="19" y="13"/>
                      <a:pt x="20" y="6"/>
                      <a:pt x="20" y="0"/>
                    </a:cubicBezTo>
                    <a:cubicBezTo>
                      <a:pt x="23" y="0"/>
                      <a:pt x="25" y="0"/>
                      <a:pt x="28" y="0"/>
                    </a:cubicBezTo>
                    <a:cubicBezTo>
                      <a:pt x="28" y="4"/>
                      <a:pt x="28" y="7"/>
                      <a:pt x="29" y="11"/>
                    </a:cubicBezTo>
                    <a:cubicBezTo>
                      <a:pt x="30" y="27"/>
                      <a:pt x="31" y="42"/>
                      <a:pt x="33" y="58"/>
                    </a:cubicBezTo>
                    <a:cubicBezTo>
                      <a:pt x="34" y="71"/>
                      <a:pt x="35" y="84"/>
                      <a:pt x="35" y="97"/>
                    </a:cubicBezTo>
                    <a:cubicBezTo>
                      <a:pt x="36" y="99"/>
                      <a:pt x="36" y="100"/>
                      <a:pt x="38" y="100"/>
                    </a:cubicBezTo>
                    <a:cubicBezTo>
                      <a:pt x="41" y="100"/>
                      <a:pt x="43" y="100"/>
                      <a:pt x="46" y="100"/>
                    </a:cubicBezTo>
                    <a:cubicBezTo>
                      <a:pt x="47" y="100"/>
                      <a:pt x="48" y="100"/>
                      <a:pt x="48" y="102"/>
                    </a:cubicBezTo>
                    <a:cubicBezTo>
                      <a:pt x="48" y="104"/>
                      <a:pt x="48" y="107"/>
                      <a:pt x="48" y="110"/>
                    </a:cubicBezTo>
                    <a:cubicBezTo>
                      <a:pt x="48" y="110"/>
                      <a:pt x="47" y="111"/>
                      <a:pt x="46" y="111"/>
                    </a:cubicBezTo>
                    <a:cubicBezTo>
                      <a:pt x="31" y="111"/>
                      <a:pt x="16" y="111"/>
                      <a:pt x="0" y="11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  <p:grpSp>
          <p:nvGrpSpPr>
            <p:cNvPr id="113" name="Gruppieren 353"/>
            <p:cNvGrpSpPr/>
            <p:nvPr/>
          </p:nvGrpSpPr>
          <p:grpSpPr>
            <a:xfrm>
              <a:off x="3325029" y="4106570"/>
              <a:ext cx="694454" cy="589089"/>
              <a:chOff x="13399864" y="500062"/>
              <a:chExt cx="690563" cy="585788"/>
            </a:xfrm>
            <a:grpFill/>
          </p:grpSpPr>
          <p:sp>
            <p:nvSpPr>
              <p:cNvPr id="114" name="Freeform 6"/>
              <p:cNvSpPr>
                <a:spLocks noEditPoints="1"/>
              </p:cNvSpPr>
              <p:nvPr/>
            </p:nvSpPr>
            <p:spPr bwMode="auto">
              <a:xfrm>
                <a:off x="13399864" y="590550"/>
                <a:ext cx="690563" cy="495300"/>
              </a:xfrm>
              <a:custGeom>
                <a:avLst/>
                <a:gdLst/>
                <a:ahLst/>
                <a:cxnLst>
                  <a:cxn ang="0">
                    <a:pos x="92" y="131"/>
                  </a:cxn>
                  <a:cxn ang="0">
                    <a:pos x="14" y="131"/>
                  </a:cxn>
                  <a:cxn ang="0">
                    <a:pos x="0" y="118"/>
                  </a:cxn>
                  <a:cxn ang="0">
                    <a:pos x="0" y="13"/>
                  </a:cxn>
                  <a:cxn ang="0">
                    <a:pos x="13" y="0"/>
                  </a:cxn>
                  <a:cxn ang="0">
                    <a:pos x="171" y="0"/>
                  </a:cxn>
                  <a:cxn ang="0">
                    <a:pos x="184" y="13"/>
                  </a:cxn>
                  <a:cxn ang="0">
                    <a:pos x="184" y="118"/>
                  </a:cxn>
                  <a:cxn ang="0">
                    <a:pos x="171" y="131"/>
                  </a:cxn>
                  <a:cxn ang="0">
                    <a:pos x="92" y="131"/>
                  </a:cxn>
                  <a:cxn ang="0">
                    <a:pos x="132" y="68"/>
                  </a:cxn>
                  <a:cxn ang="0">
                    <a:pos x="92" y="27"/>
                  </a:cxn>
                  <a:cxn ang="0">
                    <a:pos x="52" y="68"/>
                  </a:cxn>
                  <a:cxn ang="0">
                    <a:pos x="92" y="108"/>
                  </a:cxn>
                  <a:cxn ang="0">
                    <a:pos x="132" y="68"/>
                  </a:cxn>
                </a:cxnLst>
                <a:rect l="0" t="0" r="r" b="b"/>
                <a:pathLst>
                  <a:path w="184" h="132">
                    <a:moveTo>
                      <a:pt x="92" y="131"/>
                    </a:moveTo>
                    <a:cubicBezTo>
                      <a:pt x="66" y="131"/>
                      <a:pt x="40" y="131"/>
                      <a:pt x="14" y="131"/>
                    </a:cubicBezTo>
                    <a:cubicBezTo>
                      <a:pt x="6" y="132"/>
                      <a:pt x="0" y="126"/>
                      <a:pt x="0" y="118"/>
                    </a:cubicBezTo>
                    <a:cubicBezTo>
                      <a:pt x="0" y="83"/>
                      <a:pt x="0" y="48"/>
                      <a:pt x="0" y="13"/>
                    </a:cubicBezTo>
                    <a:cubicBezTo>
                      <a:pt x="0" y="5"/>
                      <a:pt x="5" y="0"/>
                      <a:pt x="13" y="0"/>
                    </a:cubicBezTo>
                    <a:cubicBezTo>
                      <a:pt x="66" y="0"/>
                      <a:pt x="119" y="0"/>
                      <a:pt x="171" y="0"/>
                    </a:cubicBezTo>
                    <a:cubicBezTo>
                      <a:pt x="179" y="0"/>
                      <a:pt x="184" y="6"/>
                      <a:pt x="184" y="13"/>
                    </a:cubicBezTo>
                    <a:cubicBezTo>
                      <a:pt x="184" y="48"/>
                      <a:pt x="184" y="83"/>
                      <a:pt x="184" y="118"/>
                    </a:cubicBezTo>
                    <a:cubicBezTo>
                      <a:pt x="184" y="126"/>
                      <a:pt x="179" y="132"/>
                      <a:pt x="171" y="131"/>
                    </a:cubicBezTo>
                    <a:cubicBezTo>
                      <a:pt x="145" y="131"/>
                      <a:pt x="119" y="131"/>
                      <a:pt x="92" y="131"/>
                    </a:cubicBezTo>
                    <a:close/>
                    <a:moveTo>
                      <a:pt x="132" y="68"/>
                    </a:moveTo>
                    <a:cubicBezTo>
                      <a:pt x="132" y="45"/>
                      <a:pt x="114" y="27"/>
                      <a:pt x="92" y="27"/>
                    </a:cubicBezTo>
                    <a:cubicBezTo>
                      <a:pt x="70" y="27"/>
                      <a:pt x="52" y="46"/>
                      <a:pt x="52" y="68"/>
                    </a:cubicBezTo>
                    <a:cubicBezTo>
                      <a:pt x="52" y="90"/>
                      <a:pt x="70" y="108"/>
                      <a:pt x="92" y="108"/>
                    </a:cubicBezTo>
                    <a:cubicBezTo>
                      <a:pt x="114" y="108"/>
                      <a:pt x="132" y="90"/>
                      <a:pt x="132" y="6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15" name="Freeform 7"/>
              <p:cNvSpPr>
                <a:spLocks/>
              </p:cNvSpPr>
              <p:nvPr/>
            </p:nvSpPr>
            <p:spPr bwMode="auto">
              <a:xfrm>
                <a:off x="13504639" y="500062"/>
                <a:ext cx="120650" cy="55563"/>
              </a:xfrm>
              <a:custGeom>
                <a:avLst/>
                <a:gdLst/>
                <a:ahLst/>
                <a:cxnLst>
                  <a:cxn ang="0">
                    <a:pos x="16" y="15"/>
                  </a:cxn>
                  <a:cxn ang="0">
                    <a:pos x="3" y="15"/>
                  </a:cxn>
                  <a:cxn ang="0">
                    <a:pos x="0" y="13"/>
                  </a:cxn>
                  <a:cxn ang="0">
                    <a:pos x="1" y="7"/>
                  </a:cxn>
                  <a:cxn ang="0">
                    <a:pos x="7" y="0"/>
                  </a:cxn>
                  <a:cxn ang="0">
                    <a:pos x="25" y="0"/>
                  </a:cxn>
                  <a:cxn ang="0">
                    <a:pos x="32" y="7"/>
                  </a:cxn>
                  <a:cxn ang="0">
                    <a:pos x="32" y="13"/>
                  </a:cxn>
                  <a:cxn ang="0">
                    <a:pos x="30" y="15"/>
                  </a:cxn>
                  <a:cxn ang="0">
                    <a:pos x="16" y="15"/>
                  </a:cxn>
                </a:cxnLst>
                <a:rect l="0" t="0" r="r" b="b"/>
                <a:pathLst>
                  <a:path w="32" h="15">
                    <a:moveTo>
                      <a:pt x="16" y="15"/>
                    </a:moveTo>
                    <a:cubicBezTo>
                      <a:pt x="12" y="15"/>
                      <a:pt x="7" y="15"/>
                      <a:pt x="3" y="15"/>
                    </a:cubicBezTo>
                    <a:cubicBezTo>
                      <a:pt x="1" y="15"/>
                      <a:pt x="0" y="15"/>
                      <a:pt x="0" y="13"/>
                    </a:cubicBezTo>
                    <a:cubicBezTo>
                      <a:pt x="1" y="11"/>
                      <a:pt x="0" y="9"/>
                      <a:pt x="1" y="7"/>
                    </a:cubicBezTo>
                    <a:cubicBezTo>
                      <a:pt x="1" y="3"/>
                      <a:pt x="4" y="0"/>
                      <a:pt x="7" y="0"/>
                    </a:cubicBezTo>
                    <a:cubicBezTo>
                      <a:pt x="13" y="0"/>
                      <a:pt x="19" y="0"/>
                      <a:pt x="25" y="0"/>
                    </a:cubicBezTo>
                    <a:cubicBezTo>
                      <a:pt x="29" y="0"/>
                      <a:pt x="32" y="3"/>
                      <a:pt x="32" y="7"/>
                    </a:cubicBezTo>
                    <a:cubicBezTo>
                      <a:pt x="32" y="9"/>
                      <a:pt x="32" y="11"/>
                      <a:pt x="32" y="13"/>
                    </a:cubicBezTo>
                    <a:cubicBezTo>
                      <a:pt x="32" y="15"/>
                      <a:pt x="32" y="15"/>
                      <a:pt x="30" y="15"/>
                    </a:cubicBezTo>
                    <a:cubicBezTo>
                      <a:pt x="26" y="15"/>
                      <a:pt x="21" y="15"/>
                      <a:pt x="16" y="1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16" name="Freeform 8"/>
              <p:cNvSpPr>
                <a:spLocks/>
              </p:cNvSpPr>
              <p:nvPr/>
            </p:nvSpPr>
            <p:spPr bwMode="auto">
              <a:xfrm>
                <a:off x="13865001" y="500062"/>
                <a:ext cx="120650" cy="55563"/>
              </a:xfrm>
              <a:custGeom>
                <a:avLst/>
                <a:gdLst/>
                <a:ahLst/>
                <a:cxnLst>
                  <a:cxn ang="0">
                    <a:pos x="16" y="15"/>
                  </a:cxn>
                  <a:cxn ang="0">
                    <a:pos x="3" y="15"/>
                  </a:cxn>
                  <a:cxn ang="0">
                    <a:pos x="0" y="13"/>
                  </a:cxn>
                  <a:cxn ang="0">
                    <a:pos x="1" y="7"/>
                  </a:cxn>
                  <a:cxn ang="0">
                    <a:pos x="7" y="0"/>
                  </a:cxn>
                  <a:cxn ang="0">
                    <a:pos x="25" y="0"/>
                  </a:cxn>
                  <a:cxn ang="0">
                    <a:pos x="32" y="7"/>
                  </a:cxn>
                  <a:cxn ang="0">
                    <a:pos x="32" y="13"/>
                  </a:cxn>
                  <a:cxn ang="0">
                    <a:pos x="30" y="15"/>
                  </a:cxn>
                  <a:cxn ang="0">
                    <a:pos x="16" y="15"/>
                  </a:cxn>
                </a:cxnLst>
                <a:rect l="0" t="0" r="r" b="b"/>
                <a:pathLst>
                  <a:path w="32" h="15">
                    <a:moveTo>
                      <a:pt x="16" y="15"/>
                    </a:moveTo>
                    <a:cubicBezTo>
                      <a:pt x="12" y="15"/>
                      <a:pt x="7" y="15"/>
                      <a:pt x="3" y="15"/>
                    </a:cubicBezTo>
                    <a:cubicBezTo>
                      <a:pt x="1" y="15"/>
                      <a:pt x="0" y="15"/>
                      <a:pt x="0" y="13"/>
                    </a:cubicBezTo>
                    <a:cubicBezTo>
                      <a:pt x="1" y="11"/>
                      <a:pt x="0" y="9"/>
                      <a:pt x="1" y="7"/>
                    </a:cubicBezTo>
                    <a:cubicBezTo>
                      <a:pt x="1" y="3"/>
                      <a:pt x="4" y="0"/>
                      <a:pt x="7" y="0"/>
                    </a:cubicBezTo>
                    <a:cubicBezTo>
                      <a:pt x="13" y="0"/>
                      <a:pt x="19" y="0"/>
                      <a:pt x="25" y="0"/>
                    </a:cubicBezTo>
                    <a:cubicBezTo>
                      <a:pt x="29" y="0"/>
                      <a:pt x="32" y="3"/>
                      <a:pt x="32" y="7"/>
                    </a:cubicBezTo>
                    <a:cubicBezTo>
                      <a:pt x="32" y="9"/>
                      <a:pt x="32" y="11"/>
                      <a:pt x="32" y="13"/>
                    </a:cubicBezTo>
                    <a:cubicBezTo>
                      <a:pt x="32" y="15"/>
                      <a:pt x="32" y="15"/>
                      <a:pt x="30" y="15"/>
                    </a:cubicBezTo>
                    <a:cubicBezTo>
                      <a:pt x="25" y="15"/>
                      <a:pt x="21" y="15"/>
                      <a:pt x="16" y="1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  <p:sp>
            <p:nvSpPr>
              <p:cNvPr id="117" name="Freeform 9"/>
              <p:cNvSpPr>
                <a:spLocks/>
              </p:cNvSpPr>
              <p:nvPr/>
            </p:nvSpPr>
            <p:spPr bwMode="auto">
              <a:xfrm>
                <a:off x="13672914" y="744537"/>
                <a:ext cx="147638" cy="198438"/>
              </a:xfrm>
              <a:custGeom>
                <a:avLst/>
                <a:gdLst/>
                <a:ahLst/>
                <a:cxnLst>
                  <a:cxn ang="0">
                    <a:pos x="19" y="23"/>
                  </a:cxn>
                  <a:cxn ang="0">
                    <a:pos x="39" y="31"/>
                  </a:cxn>
                  <a:cxn ang="0">
                    <a:pos x="1" y="53"/>
                  </a:cxn>
                  <a:cxn ang="0">
                    <a:pos x="1" y="53"/>
                  </a:cxn>
                  <a:cxn ang="0">
                    <a:pos x="19" y="31"/>
                  </a:cxn>
                  <a:cxn ang="0">
                    <a:pos x="0" y="23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19" y="23"/>
                  </a:cxn>
                </a:cxnLst>
                <a:rect l="0" t="0" r="r" b="b"/>
                <a:pathLst>
                  <a:path w="39" h="53">
                    <a:moveTo>
                      <a:pt x="19" y="23"/>
                    </a:moveTo>
                    <a:cubicBezTo>
                      <a:pt x="26" y="25"/>
                      <a:pt x="32" y="28"/>
                      <a:pt x="39" y="31"/>
                    </a:cubicBezTo>
                    <a:cubicBezTo>
                      <a:pt x="26" y="38"/>
                      <a:pt x="13" y="46"/>
                      <a:pt x="1" y="53"/>
                    </a:cubicBezTo>
                    <a:cubicBezTo>
                      <a:pt x="1" y="53"/>
                      <a:pt x="1" y="53"/>
                      <a:pt x="1" y="53"/>
                    </a:cubicBezTo>
                    <a:cubicBezTo>
                      <a:pt x="7" y="46"/>
                      <a:pt x="13" y="38"/>
                      <a:pt x="19" y="31"/>
                    </a:cubicBezTo>
                    <a:cubicBezTo>
                      <a:pt x="13" y="28"/>
                      <a:pt x="7" y="25"/>
                      <a:pt x="0" y="23"/>
                    </a:cubicBezTo>
                    <a:cubicBezTo>
                      <a:pt x="10" y="15"/>
                      <a:pt x="20" y="7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27" y="7"/>
                      <a:pt x="23" y="15"/>
                      <a:pt x="19" y="2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701"/>
              </a:p>
            </p:txBody>
          </p:sp>
        </p:grpSp>
      </p:grpSp>
      <p:sp>
        <p:nvSpPr>
          <p:cNvPr id="120" name="Titel 119">
            <a:extLst>
              <a:ext uri="{FF2B5EF4-FFF2-40B4-BE49-F238E27FC236}">
                <a16:creationId xmlns:a16="http://schemas.microsoft.com/office/drawing/2014/main" id="{972D572D-D677-47C8-968F-FCB40057E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957331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887098" y="4196892"/>
            <a:ext cx="16603457" cy="3690076"/>
            <a:chOff x="1010720" y="2443272"/>
            <a:chExt cx="10170560" cy="2260381"/>
          </a:xfrm>
        </p:grpSpPr>
        <p:sp>
          <p:nvSpPr>
            <p:cNvPr id="119" name="Freeform 10"/>
            <p:cNvSpPr>
              <a:spLocks noEditPoints="1"/>
            </p:cNvSpPr>
            <p:nvPr/>
          </p:nvSpPr>
          <p:spPr bwMode="auto">
            <a:xfrm>
              <a:off x="7189222" y="3853090"/>
              <a:ext cx="901299" cy="804732"/>
            </a:xfrm>
            <a:custGeom>
              <a:avLst/>
              <a:gdLst/>
              <a:ahLst/>
              <a:cxnLst>
                <a:cxn ang="0">
                  <a:pos x="1538" y="788"/>
                </a:cxn>
                <a:cxn ang="0">
                  <a:pos x="1483" y="807"/>
                </a:cxn>
                <a:cxn ang="0">
                  <a:pos x="1440" y="844"/>
                </a:cxn>
                <a:cxn ang="0">
                  <a:pos x="1411" y="894"/>
                </a:cxn>
                <a:cxn ang="0">
                  <a:pos x="1400" y="953"/>
                </a:cxn>
                <a:cxn ang="0">
                  <a:pos x="1411" y="1013"/>
                </a:cxn>
                <a:cxn ang="0">
                  <a:pos x="1441" y="1062"/>
                </a:cxn>
                <a:cxn ang="0">
                  <a:pos x="1485" y="1098"/>
                </a:cxn>
                <a:cxn ang="0">
                  <a:pos x="1512" y="1345"/>
                </a:cxn>
                <a:cxn ang="0">
                  <a:pos x="1624" y="1110"/>
                </a:cxn>
                <a:cxn ang="0">
                  <a:pos x="1674" y="1082"/>
                </a:cxn>
                <a:cxn ang="0">
                  <a:pos x="1712" y="1039"/>
                </a:cxn>
                <a:cxn ang="0">
                  <a:pos x="1733" y="983"/>
                </a:cxn>
                <a:cxn ang="0">
                  <a:pos x="1733" y="923"/>
                </a:cxn>
                <a:cxn ang="0">
                  <a:pos x="1714" y="868"/>
                </a:cxn>
                <a:cxn ang="0">
                  <a:pos x="1677" y="825"/>
                </a:cxn>
                <a:cxn ang="0">
                  <a:pos x="1627" y="795"/>
                </a:cxn>
                <a:cxn ang="0">
                  <a:pos x="1568" y="785"/>
                </a:cxn>
                <a:cxn ang="0">
                  <a:pos x="2632" y="2521"/>
                </a:cxn>
                <a:cxn ang="0">
                  <a:pos x="2800" y="673"/>
                </a:cxn>
                <a:cxn ang="0">
                  <a:pos x="336" y="673"/>
                </a:cxn>
                <a:cxn ang="0">
                  <a:pos x="504" y="2521"/>
                </a:cxn>
                <a:cxn ang="0">
                  <a:pos x="336" y="673"/>
                </a:cxn>
                <a:cxn ang="0">
                  <a:pos x="1176" y="505"/>
                </a:cxn>
                <a:cxn ang="0">
                  <a:pos x="1960" y="225"/>
                </a:cxn>
                <a:cxn ang="0">
                  <a:pos x="1176" y="0"/>
                </a:cxn>
                <a:cxn ang="0">
                  <a:pos x="1996" y="4"/>
                </a:cxn>
                <a:cxn ang="0">
                  <a:pos x="2063" y="27"/>
                </a:cxn>
                <a:cxn ang="0">
                  <a:pos x="2119" y="67"/>
                </a:cxn>
                <a:cxn ang="0">
                  <a:pos x="2159" y="122"/>
                </a:cxn>
                <a:cxn ang="0">
                  <a:pos x="2181" y="188"/>
                </a:cxn>
                <a:cxn ang="0">
                  <a:pos x="2184" y="505"/>
                </a:cxn>
                <a:cxn ang="0">
                  <a:pos x="3136" y="2690"/>
                </a:cxn>
                <a:cxn ang="0">
                  <a:pos x="2913" y="2801"/>
                </a:cxn>
                <a:cxn ang="0">
                  <a:pos x="2520" y="2690"/>
                </a:cxn>
                <a:cxn ang="0">
                  <a:pos x="616" y="2801"/>
                </a:cxn>
                <a:cxn ang="0">
                  <a:pos x="223" y="2690"/>
                </a:cxn>
                <a:cxn ang="0">
                  <a:pos x="0" y="505"/>
                </a:cxn>
                <a:cxn ang="0">
                  <a:pos x="952" y="225"/>
                </a:cxn>
                <a:cxn ang="0">
                  <a:pos x="963" y="155"/>
                </a:cxn>
                <a:cxn ang="0">
                  <a:pos x="996" y="93"/>
                </a:cxn>
                <a:cxn ang="0">
                  <a:pos x="1043" y="44"/>
                </a:cxn>
                <a:cxn ang="0">
                  <a:pos x="1105" y="12"/>
                </a:cxn>
                <a:cxn ang="0">
                  <a:pos x="1176" y="0"/>
                </a:cxn>
              </a:cxnLst>
              <a:rect l="0" t="0" r="r" b="b"/>
              <a:pathLst>
                <a:path w="3136" h="2801">
                  <a:moveTo>
                    <a:pt x="1568" y="785"/>
                  </a:moveTo>
                  <a:lnTo>
                    <a:pt x="1538" y="788"/>
                  </a:lnTo>
                  <a:lnTo>
                    <a:pt x="1509" y="795"/>
                  </a:lnTo>
                  <a:lnTo>
                    <a:pt x="1483" y="807"/>
                  </a:lnTo>
                  <a:lnTo>
                    <a:pt x="1459" y="825"/>
                  </a:lnTo>
                  <a:lnTo>
                    <a:pt x="1440" y="844"/>
                  </a:lnTo>
                  <a:lnTo>
                    <a:pt x="1422" y="868"/>
                  </a:lnTo>
                  <a:lnTo>
                    <a:pt x="1411" y="894"/>
                  </a:lnTo>
                  <a:lnTo>
                    <a:pt x="1403" y="923"/>
                  </a:lnTo>
                  <a:lnTo>
                    <a:pt x="1400" y="953"/>
                  </a:lnTo>
                  <a:lnTo>
                    <a:pt x="1403" y="983"/>
                  </a:lnTo>
                  <a:lnTo>
                    <a:pt x="1411" y="1013"/>
                  </a:lnTo>
                  <a:lnTo>
                    <a:pt x="1424" y="1039"/>
                  </a:lnTo>
                  <a:lnTo>
                    <a:pt x="1441" y="1062"/>
                  </a:lnTo>
                  <a:lnTo>
                    <a:pt x="1462" y="1082"/>
                  </a:lnTo>
                  <a:lnTo>
                    <a:pt x="1485" y="1098"/>
                  </a:lnTo>
                  <a:lnTo>
                    <a:pt x="1512" y="1110"/>
                  </a:lnTo>
                  <a:lnTo>
                    <a:pt x="1512" y="1345"/>
                  </a:lnTo>
                  <a:lnTo>
                    <a:pt x="1624" y="1345"/>
                  </a:lnTo>
                  <a:lnTo>
                    <a:pt x="1624" y="1110"/>
                  </a:lnTo>
                  <a:lnTo>
                    <a:pt x="1651" y="1098"/>
                  </a:lnTo>
                  <a:lnTo>
                    <a:pt x="1674" y="1082"/>
                  </a:lnTo>
                  <a:lnTo>
                    <a:pt x="1695" y="1062"/>
                  </a:lnTo>
                  <a:lnTo>
                    <a:pt x="1712" y="1039"/>
                  </a:lnTo>
                  <a:lnTo>
                    <a:pt x="1725" y="1013"/>
                  </a:lnTo>
                  <a:lnTo>
                    <a:pt x="1733" y="983"/>
                  </a:lnTo>
                  <a:lnTo>
                    <a:pt x="1736" y="953"/>
                  </a:lnTo>
                  <a:lnTo>
                    <a:pt x="1733" y="923"/>
                  </a:lnTo>
                  <a:lnTo>
                    <a:pt x="1725" y="894"/>
                  </a:lnTo>
                  <a:lnTo>
                    <a:pt x="1714" y="868"/>
                  </a:lnTo>
                  <a:lnTo>
                    <a:pt x="1696" y="844"/>
                  </a:lnTo>
                  <a:lnTo>
                    <a:pt x="1677" y="825"/>
                  </a:lnTo>
                  <a:lnTo>
                    <a:pt x="1653" y="807"/>
                  </a:lnTo>
                  <a:lnTo>
                    <a:pt x="1627" y="795"/>
                  </a:lnTo>
                  <a:lnTo>
                    <a:pt x="1598" y="788"/>
                  </a:lnTo>
                  <a:lnTo>
                    <a:pt x="1568" y="785"/>
                  </a:lnTo>
                  <a:close/>
                  <a:moveTo>
                    <a:pt x="2632" y="673"/>
                  </a:moveTo>
                  <a:lnTo>
                    <a:pt x="2632" y="2521"/>
                  </a:lnTo>
                  <a:lnTo>
                    <a:pt x="2800" y="2521"/>
                  </a:lnTo>
                  <a:lnTo>
                    <a:pt x="2800" y="673"/>
                  </a:lnTo>
                  <a:lnTo>
                    <a:pt x="2632" y="673"/>
                  </a:lnTo>
                  <a:close/>
                  <a:moveTo>
                    <a:pt x="336" y="673"/>
                  </a:moveTo>
                  <a:lnTo>
                    <a:pt x="336" y="2521"/>
                  </a:lnTo>
                  <a:lnTo>
                    <a:pt x="504" y="2521"/>
                  </a:lnTo>
                  <a:lnTo>
                    <a:pt x="504" y="673"/>
                  </a:lnTo>
                  <a:lnTo>
                    <a:pt x="336" y="673"/>
                  </a:lnTo>
                  <a:close/>
                  <a:moveTo>
                    <a:pt x="1176" y="225"/>
                  </a:moveTo>
                  <a:lnTo>
                    <a:pt x="1176" y="505"/>
                  </a:lnTo>
                  <a:lnTo>
                    <a:pt x="1960" y="505"/>
                  </a:lnTo>
                  <a:lnTo>
                    <a:pt x="1960" y="225"/>
                  </a:lnTo>
                  <a:lnTo>
                    <a:pt x="1176" y="225"/>
                  </a:lnTo>
                  <a:close/>
                  <a:moveTo>
                    <a:pt x="1176" y="0"/>
                  </a:moveTo>
                  <a:lnTo>
                    <a:pt x="1960" y="0"/>
                  </a:lnTo>
                  <a:lnTo>
                    <a:pt x="1996" y="4"/>
                  </a:lnTo>
                  <a:lnTo>
                    <a:pt x="2031" y="12"/>
                  </a:lnTo>
                  <a:lnTo>
                    <a:pt x="2063" y="27"/>
                  </a:lnTo>
                  <a:lnTo>
                    <a:pt x="2093" y="44"/>
                  </a:lnTo>
                  <a:lnTo>
                    <a:pt x="2119" y="67"/>
                  </a:lnTo>
                  <a:lnTo>
                    <a:pt x="2140" y="93"/>
                  </a:lnTo>
                  <a:lnTo>
                    <a:pt x="2159" y="122"/>
                  </a:lnTo>
                  <a:lnTo>
                    <a:pt x="2173" y="155"/>
                  </a:lnTo>
                  <a:lnTo>
                    <a:pt x="2181" y="188"/>
                  </a:lnTo>
                  <a:lnTo>
                    <a:pt x="2184" y="225"/>
                  </a:lnTo>
                  <a:lnTo>
                    <a:pt x="2184" y="505"/>
                  </a:lnTo>
                  <a:lnTo>
                    <a:pt x="3136" y="505"/>
                  </a:lnTo>
                  <a:lnTo>
                    <a:pt x="3136" y="2690"/>
                  </a:lnTo>
                  <a:lnTo>
                    <a:pt x="2913" y="2690"/>
                  </a:lnTo>
                  <a:lnTo>
                    <a:pt x="2913" y="2801"/>
                  </a:lnTo>
                  <a:lnTo>
                    <a:pt x="2520" y="2801"/>
                  </a:lnTo>
                  <a:lnTo>
                    <a:pt x="2520" y="2690"/>
                  </a:lnTo>
                  <a:lnTo>
                    <a:pt x="616" y="2690"/>
                  </a:lnTo>
                  <a:lnTo>
                    <a:pt x="616" y="2801"/>
                  </a:lnTo>
                  <a:lnTo>
                    <a:pt x="223" y="2801"/>
                  </a:lnTo>
                  <a:lnTo>
                    <a:pt x="223" y="2690"/>
                  </a:lnTo>
                  <a:lnTo>
                    <a:pt x="0" y="2690"/>
                  </a:lnTo>
                  <a:lnTo>
                    <a:pt x="0" y="505"/>
                  </a:lnTo>
                  <a:lnTo>
                    <a:pt x="952" y="505"/>
                  </a:lnTo>
                  <a:lnTo>
                    <a:pt x="952" y="225"/>
                  </a:lnTo>
                  <a:lnTo>
                    <a:pt x="955" y="188"/>
                  </a:lnTo>
                  <a:lnTo>
                    <a:pt x="963" y="155"/>
                  </a:lnTo>
                  <a:lnTo>
                    <a:pt x="977" y="122"/>
                  </a:lnTo>
                  <a:lnTo>
                    <a:pt x="996" y="93"/>
                  </a:lnTo>
                  <a:lnTo>
                    <a:pt x="1017" y="67"/>
                  </a:lnTo>
                  <a:lnTo>
                    <a:pt x="1043" y="44"/>
                  </a:lnTo>
                  <a:lnTo>
                    <a:pt x="1073" y="27"/>
                  </a:lnTo>
                  <a:lnTo>
                    <a:pt x="1105" y="12"/>
                  </a:lnTo>
                  <a:lnTo>
                    <a:pt x="1140" y="4"/>
                  </a:lnTo>
                  <a:lnTo>
                    <a:pt x="1176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de-DE" sz="2701"/>
            </a:p>
          </p:txBody>
        </p:sp>
        <p:grpSp>
          <p:nvGrpSpPr>
            <p:cNvPr id="120" name="Gruppieren 94"/>
            <p:cNvGrpSpPr/>
            <p:nvPr/>
          </p:nvGrpSpPr>
          <p:grpSpPr>
            <a:xfrm>
              <a:off x="6159806" y="3793575"/>
              <a:ext cx="901299" cy="901299"/>
              <a:chOff x="1500646" y="2452778"/>
              <a:chExt cx="711200" cy="711200"/>
            </a:xfrm>
            <a:solidFill>
              <a:schemeClr val="tx1"/>
            </a:solidFill>
          </p:grpSpPr>
          <p:sp>
            <p:nvSpPr>
              <p:cNvPr id="121" name="Freeform 15"/>
              <p:cNvSpPr>
                <a:spLocks noEditPoints="1"/>
              </p:cNvSpPr>
              <p:nvPr/>
            </p:nvSpPr>
            <p:spPr bwMode="auto">
              <a:xfrm>
                <a:off x="1500646" y="2452778"/>
                <a:ext cx="711200" cy="711200"/>
              </a:xfrm>
              <a:custGeom>
                <a:avLst/>
                <a:gdLst/>
                <a:ahLst/>
                <a:cxnLst>
                  <a:cxn ang="0">
                    <a:pos x="1136" y="295"/>
                  </a:cxn>
                  <a:cxn ang="0">
                    <a:pos x="820" y="452"/>
                  </a:cxn>
                  <a:cxn ang="0">
                    <a:pos x="558" y="682"/>
                  </a:cxn>
                  <a:cxn ang="0">
                    <a:pos x="364" y="972"/>
                  </a:cxn>
                  <a:cxn ang="0">
                    <a:pos x="250" y="1310"/>
                  </a:cxn>
                  <a:cxn ang="0">
                    <a:pos x="234" y="1736"/>
                  </a:cxn>
                  <a:cxn ang="0">
                    <a:pos x="327" y="2083"/>
                  </a:cxn>
                  <a:cxn ang="0">
                    <a:pos x="503" y="2387"/>
                  </a:cxn>
                  <a:cxn ang="0">
                    <a:pos x="749" y="2633"/>
                  </a:cxn>
                  <a:cxn ang="0">
                    <a:pos x="1053" y="2809"/>
                  </a:cxn>
                  <a:cxn ang="0">
                    <a:pos x="1400" y="2902"/>
                  </a:cxn>
                  <a:cxn ang="0">
                    <a:pos x="1826" y="2886"/>
                  </a:cxn>
                  <a:cxn ang="0">
                    <a:pos x="2164" y="2772"/>
                  </a:cxn>
                  <a:cxn ang="0">
                    <a:pos x="2454" y="2578"/>
                  </a:cxn>
                  <a:cxn ang="0">
                    <a:pos x="2684" y="2316"/>
                  </a:cxn>
                  <a:cxn ang="0">
                    <a:pos x="2841" y="2000"/>
                  </a:cxn>
                  <a:cxn ang="0">
                    <a:pos x="2688" y="1736"/>
                  </a:cxn>
                  <a:cxn ang="0">
                    <a:pos x="2867" y="1222"/>
                  </a:cxn>
                  <a:cxn ang="0">
                    <a:pos x="2731" y="895"/>
                  </a:cxn>
                  <a:cxn ang="0">
                    <a:pos x="2518" y="618"/>
                  </a:cxn>
                  <a:cxn ang="0">
                    <a:pos x="2241" y="405"/>
                  </a:cxn>
                  <a:cxn ang="0">
                    <a:pos x="1914" y="269"/>
                  </a:cxn>
                  <a:cxn ang="0">
                    <a:pos x="1400" y="448"/>
                  </a:cxn>
                  <a:cxn ang="0">
                    <a:pos x="1772" y="13"/>
                  </a:cxn>
                  <a:cxn ang="0">
                    <a:pos x="2156" y="114"/>
                  </a:cxn>
                  <a:cxn ang="0">
                    <a:pos x="2494" y="303"/>
                  </a:cxn>
                  <a:cxn ang="0">
                    <a:pos x="2775" y="566"/>
                  </a:cxn>
                  <a:cxn ang="0">
                    <a:pos x="2983" y="891"/>
                  </a:cxn>
                  <a:cxn ang="0">
                    <a:pos x="3107" y="1264"/>
                  </a:cxn>
                  <a:cxn ang="0">
                    <a:pos x="3133" y="1671"/>
                  </a:cxn>
                  <a:cxn ang="0">
                    <a:pos x="3056" y="2063"/>
                  </a:cxn>
                  <a:cxn ang="0">
                    <a:pos x="2889" y="2414"/>
                  </a:cxn>
                  <a:cxn ang="0">
                    <a:pos x="2642" y="2711"/>
                  </a:cxn>
                  <a:cxn ang="0">
                    <a:pos x="2332" y="2938"/>
                  </a:cxn>
                  <a:cxn ang="0">
                    <a:pos x="1969" y="3084"/>
                  </a:cxn>
                  <a:cxn ang="0">
                    <a:pos x="1568" y="3136"/>
                  </a:cxn>
                  <a:cxn ang="0">
                    <a:pos x="1167" y="3084"/>
                  </a:cxn>
                  <a:cxn ang="0">
                    <a:pos x="804" y="2938"/>
                  </a:cxn>
                  <a:cxn ang="0">
                    <a:pos x="494" y="2711"/>
                  </a:cxn>
                  <a:cxn ang="0">
                    <a:pos x="247" y="2414"/>
                  </a:cxn>
                  <a:cxn ang="0">
                    <a:pos x="80" y="2063"/>
                  </a:cxn>
                  <a:cxn ang="0">
                    <a:pos x="3" y="1671"/>
                  </a:cxn>
                  <a:cxn ang="0">
                    <a:pos x="29" y="1264"/>
                  </a:cxn>
                  <a:cxn ang="0">
                    <a:pos x="153" y="891"/>
                  </a:cxn>
                  <a:cxn ang="0">
                    <a:pos x="361" y="566"/>
                  </a:cxn>
                  <a:cxn ang="0">
                    <a:pos x="642" y="303"/>
                  </a:cxn>
                  <a:cxn ang="0">
                    <a:pos x="980" y="114"/>
                  </a:cxn>
                  <a:cxn ang="0">
                    <a:pos x="1364" y="13"/>
                  </a:cxn>
                </a:cxnLst>
                <a:rect l="0" t="0" r="r" b="b"/>
                <a:pathLst>
                  <a:path w="3136" h="3136">
                    <a:moveTo>
                      <a:pt x="1400" y="234"/>
                    </a:moveTo>
                    <a:lnTo>
                      <a:pt x="1310" y="250"/>
                    </a:lnTo>
                    <a:lnTo>
                      <a:pt x="1222" y="269"/>
                    </a:lnTo>
                    <a:lnTo>
                      <a:pt x="1136" y="295"/>
                    </a:lnTo>
                    <a:lnTo>
                      <a:pt x="1053" y="327"/>
                    </a:lnTo>
                    <a:lnTo>
                      <a:pt x="972" y="364"/>
                    </a:lnTo>
                    <a:lnTo>
                      <a:pt x="895" y="405"/>
                    </a:lnTo>
                    <a:lnTo>
                      <a:pt x="820" y="452"/>
                    </a:lnTo>
                    <a:lnTo>
                      <a:pt x="749" y="503"/>
                    </a:lnTo>
                    <a:lnTo>
                      <a:pt x="682" y="558"/>
                    </a:lnTo>
                    <a:lnTo>
                      <a:pt x="618" y="618"/>
                    </a:lnTo>
                    <a:lnTo>
                      <a:pt x="558" y="682"/>
                    </a:lnTo>
                    <a:lnTo>
                      <a:pt x="503" y="749"/>
                    </a:lnTo>
                    <a:lnTo>
                      <a:pt x="452" y="820"/>
                    </a:lnTo>
                    <a:lnTo>
                      <a:pt x="405" y="895"/>
                    </a:lnTo>
                    <a:lnTo>
                      <a:pt x="364" y="972"/>
                    </a:lnTo>
                    <a:lnTo>
                      <a:pt x="327" y="1053"/>
                    </a:lnTo>
                    <a:lnTo>
                      <a:pt x="295" y="1136"/>
                    </a:lnTo>
                    <a:lnTo>
                      <a:pt x="269" y="1222"/>
                    </a:lnTo>
                    <a:lnTo>
                      <a:pt x="250" y="1310"/>
                    </a:lnTo>
                    <a:lnTo>
                      <a:pt x="234" y="1400"/>
                    </a:lnTo>
                    <a:lnTo>
                      <a:pt x="448" y="1400"/>
                    </a:lnTo>
                    <a:lnTo>
                      <a:pt x="448" y="1736"/>
                    </a:lnTo>
                    <a:lnTo>
                      <a:pt x="234" y="1736"/>
                    </a:lnTo>
                    <a:lnTo>
                      <a:pt x="250" y="1826"/>
                    </a:lnTo>
                    <a:lnTo>
                      <a:pt x="269" y="1914"/>
                    </a:lnTo>
                    <a:lnTo>
                      <a:pt x="295" y="2000"/>
                    </a:lnTo>
                    <a:lnTo>
                      <a:pt x="327" y="2083"/>
                    </a:lnTo>
                    <a:lnTo>
                      <a:pt x="364" y="2164"/>
                    </a:lnTo>
                    <a:lnTo>
                      <a:pt x="405" y="2241"/>
                    </a:lnTo>
                    <a:lnTo>
                      <a:pt x="452" y="2316"/>
                    </a:lnTo>
                    <a:lnTo>
                      <a:pt x="503" y="2387"/>
                    </a:lnTo>
                    <a:lnTo>
                      <a:pt x="558" y="2454"/>
                    </a:lnTo>
                    <a:lnTo>
                      <a:pt x="618" y="2518"/>
                    </a:lnTo>
                    <a:lnTo>
                      <a:pt x="682" y="2578"/>
                    </a:lnTo>
                    <a:lnTo>
                      <a:pt x="749" y="2633"/>
                    </a:lnTo>
                    <a:lnTo>
                      <a:pt x="820" y="2684"/>
                    </a:lnTo>
                    <a:lnTo>
                      <a:pt x="895" y="2731"/>
                    </a:lnTo>
                    <a:lnTo>
                      <a:pt x="972" y="2772"/>
                    </a:lnTo>
                    <a:lnTo>
                      <a:pt x="1053" y="2809"/>
                    </a:lnTo>
                    <a:lnTo>
                      <a:pt x="1136" y="2841"/>
                    </a:lnTo>
                    <a:lnTo>
                      <a:pt x="1222" y="2867"/>
                    </a:lnTo>
                    <a:lnTo>
                      <a:pt x="1310" y="2886"/>
                    </a:lnTo>
                    <a:lnTo>
                      <a:pt x="1400" y="2902"/>
                    </a:lnTo>
                    <a:lnTo>
                      <a:pt x="1400" y="2688"/>
                    </a:lnTo>
                    <a:lnTo>
                      <a:pt x="1736" y="2688"/>
                    </a:lnTo>
                    <a:lnTo>
                      <a:pt x="1736" y="2902"/>
                    </a:lnTo>
                    <a:lnTo>
                      <a:pt x="1826" y="2886"/>
                    </a:lnTo>
                    <a:lnTo>
                      <a:pt x="1914" y="2867"/>
                    </a:lnTo>
                    <a:lnTo>
                      <a:pt x="2000" y="2841"/>
                    </a:lnTo>
                    <a:lnTo>
                      <a:pt x="2083" y="2809"/>
                    </a:lnTo>
                    <a:lnTo>
                      <a:pt x="2164" y="2772"/>
                    </a:lnTo>
                    <a:lnTo>
                      <a:pt x="2241" y="2731"/>
                    </a:lnTo>
                    <a:lnTo>
                      <a:pt x="2316" y="2684"/>
                    </a:lnTo>
                    <a:lnTo>
                      <a:pt x="2387" y="2633"/>
                    </a:lnTo>
                    <a:lnTo>
                      <a:pt x="2454" y="2578"/>
                    </a:lnTo>
                    <a:lnTo>
                      <a:pt x="2518" y="2518"/>
                    </a:lnTo>
                    <a:lnTo>
                      <a:pt x="2578" y="2454"/>
                    </a:lnTo>
                    <a:lnTo>
                      <a:pt x="2633" y="2387"/>
                    </a:lnTo>
                    <a:lnTo>
                      <a:pt x="2684" y="2316"/>
                    </a:lnTo>
                    <a:lnTo>
                      <a:pt x="2731" y="2241"/>
                    </a:lnTo>
                    <a:lnTo>
                      <a:pt x="2772" y="2164"/>
                    </a:lnTo>
                    <a:lnTo>
                      <a:pt x="2809" y="2083"/>
                    </a:lnTo>
                    <a:lnTo>
                      <a:pt x="2841" y="2000"/>
                    </a:lnTo>
                    <a:lnTo>
                      <a:pt x="2867" y="1914"/>
                    </a:lnTo>
                    <a:lnTo>
                      <a:pt x="2886" y="1826"/>
                    </a:lnTo>
                    <a:lnTo>
                      <a:pt x="2902" y="1736"/>
                    </a:lnTo>
                    <a:lnTo>
                      <a:pt x="2688" y="1736"/>
                    </a:lnTo>
                    <a:lnTo>
                      <a:pt x="2688" y="1400"/>
                    </a:lnTo>
                    <a:lnTo>
                      <a:pt x="2902" y="1400"/>
                    </a:lnTo>
                    <a:lnTo>
                      <a:pt x="2886" y="1310"/>
                    </a:lnTo>
                    <a:lnTo>
                      <a:pt x="2867" y="1222"/>
                    </a:lnTo>
                    <a:lnTo>
                      <a:pt x="2841" y="1136"/>
                    </a:lnTo>
                    <a:lnTo>
                      <a:pt x="2809" y="1053"/>
                    </a:lnTo>
                    <a:lnTo>
                      <a:pt x="2772" y="972"/>
                    </a:lnTo>
                    <a:lnTo>
                      <a:pt x="2731" y="895"/>
                    </a:lnTo>
                    <a:lnTo>
                      <a:pt x="2684" y="820"/>
                    </a:lnTo>
                    <a:lnTo>
                      <a:pt x="2633" y="749"/>
                    </a:lnTo>
                    <a:lnTo>
                      <a:pt x="2578" y="682"/>
                    </a:lnTo>
                    <a:lnTo>
                      <a:pt x="2518" y="618"/>
                    </a:lnTo>
                    <a:lnTo>
                      <a:pt x="2454" y="558"/>
                    </a:lnTo>
                    <a:lnTo>
                      <a:pt x="2387" y="503"/>
                    </a:lnTo>
                    <a:lnTo>
                      <a:pt x="2316" y="452"/>
                    </a:lnTo>
                    <a:lnTo>
                      <a:pt x="2241" y="405"/>
                    </a:lnTo>
                    <a:lnTo>
                      <a:pt x="2164" y="364"/>
                    </a:lnTo>
                    <a:lnTo>
                      <a:pt x="2083" y="327"/>
                    </a:lnTo>
                    <a:lnTo>
                      <a:pt x="2000" y="295"/>
                    </a:lnTo>
                    <a:lnTo>
                      <a:pt x="1914" y="269"/>
                    </a:lnTo>
                    <a:lnTo>
                      <a:pt x="1826" y="250"/>
                    </a:lnTo>
                    <a:lnTo>
                      <a:pt x="1736" y="234"/>
                    </a:lnTo>
                    <a:lnTo>
                      <a:pt x="1736" y="448"/>
                    </a:lnTo>
                    <a:lnTo>
                      <a:pt x="1400" y="448"/>
                    </a:lnTo>
                    <a:lnTo>
                      <a:pt x="1400" y="234"/>
                    </a:lnTo>
                    <a:close/>
                    <a:moveTo>
                      <a:pt x="1568" y="0"/>
                    </a:moveTo>
                    <a:lnTo>
                      <a:pt x="1671" y="3"/>
                    </a:lnTo>
                    <a:lnTo>
                      <a:pt x="1772" y="13"/>
                    </a:lnTo>
                    <a:lnTo>
                      <a:pt x="1872" y="29"/>
                    </a:lnTo>
                    <a:lnTo>
                      <a:pt x="1969" y="52"/>
                    </a:lnTo>
                    <a:lnTo>
                      <a:pt x="2063" y="80"/>
                    </a:lnTo>
                    <a:lnTo>
                      <a:pt x="2156" y="114"/>
                    </a:lnTo>
                    <a:lnTo>
                      <a:pt x="2245" y="153"/>
                    </a:lnTo>
                    <a:lnTo>
                      <a:pt x="2332" y="198"/>
                    </a:lnTo>
                    <a:lnTo>
                      <a:pt x="2414" y="247"/>
                    </a:lnTo>
                    <a:lnTo>
                      <a:pt x="2494" y="303"/>
                    </a:lnTo>
                    <a:lnTo>
                      <a:pt x="2570" y="361"/>
                    </a:lnTo>
                    <a:lnTo>
                      <a:pt x="2642" y="425"/>
                    </a:lnTo>
                    <a:lnTo>
                      <a:pt x="2711" y="494"/>
                    </a:lnTo>
                    <a:lnTo>
                      <a:pt x="2775" y="566"/>
                    </a:lnTo>
                    <a:lnTo>
                      <a:pt x="2833" y="642"/>
                    </a:lnTo>
                    <a:lnTo>
                      <a:pt x="2889" y="722"/>
                    </a:lnTo>
                    <a:lnTo>
                      <a:pt x="2938" y="804"/>
                    </a:lnTo>
                    <a:lnTo>
                      <a:pt x="2983" y="891"/>
                    </a:lnTo>
                    <a:lnTo>
                      <a:pt x="3022" y="980"/>
                    </a:lnTo>
                    <a:lnTo>
                      <a:pt x="3056" y="1073"/>
                    </a:lnTo>
                    <a:lnTo>
                      <a:pt x="3084" y="1167"/>
                    </a:lnTo>
                    <a:lnTo>
                      <a:pt x="3107" y="1264"/>
                    </a:lnTo>
                    <a:lnTo>
                      <a:pt x="3123" y="1364"/>
                    </a:lnTo>
                    <a:lnTo>
                      <a:pt x="3133" y="1465"/>
                    </a:lnTo>
                    <a:lnTo>
                      <a:pt x="3136" y="1568"/>
                    </a:lnTo>
                    <a:lnTo>
                      <a:pt x="3133" y="1671"/>
                    </a:lnTo>
                    <a:lnTo>
                      <a:pt x="3123" y="1772"/>
                    </a:lnTo>
                    <a:lnTo>
                      <a:pt x="3107" y="1872"/>
                    </a:lnTo>
                    <a:lnTo>
                      <a:pt x="3084" y="1969"/>
                    </a:lnTo>
                    <a:lnTo>
                      <a:pt x="3056" y="2063"/>
                    </a:lnTo>
                    <a:lnTo>
                      <a:pt x="3022" y="2156"/>
                    </a:lnTo>
                    <a:lnTo>
                      <a:pt x="2983" y="2245"/>
                    </a:lnTo>
                    <a:lnTo>
                      <a:pt x="2938" y="2332"/>
                    </a:lnTo>
                    <a:lnTo>
                      <a:pt x="2889" y="2414"/>
                    </a:lnTo>
                    <a:lnTo>
                      <a:pt x="2833" y="2494"/>
                    </a:lnTo>
                    <a:lnTo>
                      <a:pt x="2775" y="2570"/>
                    </a:lnTo>
                    <a:lnTo>
                      <a:pt x="2711" y="2642"/>
                    </a:lnTo>
                    <a:lnTo>
                      <a:pt x="2642" y="2711"/>
                    </a:lnTo>
                    <a:lnTo>
                      <a:pt x="2570" y="2775"/>
                    </a:lnTo>
                    <a:lnTo>
                      <a:pt x="2494" y="2833"/>
                    </a:lnTo>
                    <a:lnTo>
                      <a:pt x="2414" y="2889"/>
                    </a:lnTo>
                    <a:lnTo>
                      <a:pt x="2332" y="2938"/>
                    </a:lnTo>
                    <a:lnTo>
                      <a:pt x="2245" y="2983"/>
                    </a:lnTo>
                    <a:lnTo>
                      <a:pt x="2156" y="3022"/>
                    </a:lnTo>
                    <a:lnTo>
                      <a:pt x="2063" y="3056"/>
                    </a:lnTo>
                    <a:lnTo>
                      <a:pt x="1969" y="3084"/>
                    </a:lnTo>
                    <a:lnTo>
                      <a:pt x="1872" y="3107"/>
                    </a:lnTo>
                    <a:lnTo>
                      <a:pt x="1772" y="3123"/>
                    </a:lnTo>
                    <a:lnTo>
                      <a:pt x="1671" y="3133"/>
                    </a:lnTo>
                    <a:lnTo>
                      <a:pt x="1568" y="3136"/>
                    </a:lnTo>
                    <a:lnTo>
                      <a:pt x="1465" y="3133"/>
                    </a:lnTo>
                    <a:lnTo>
                      <a:pt x="1364" y="3123"/>
                    </a:lnTo>
                    <a:lnTo>
                      <a:pt x="1264" y="3107"/>
                    </a:lnTo>
                    <a:lnTo>
                      <a:pt x="1167" y="3084"/>
                    </a:lnTo>
                    <a:lnTo>
                      <a:pt x="1073" y="3056"/>
                    </a:lnTo>
                    <a:lnTo>
                      <a:pt x="980" y="3022"/>
                    </a:lnTo>
                    <a:lnTo>
                      <a:pt x="891" y="2983"/>
                    </a:lnTo>
                    <a:lnTo>
                      <a:pt x="804" y="2938"/>
                    </a:lnTo>
                    <a:lnTo>
                      <a:pt x="722" y="2889"/>
                    </a:lnTo>
                    <a:lnTo>
                      <a:pt x="642" y="2833"/>
                    </a:lnTo>
                    <a:lnTo>
                      <a:pt x="566" y="2775"/>
                    </a:lnTo>
                    <a:lnTo>
                      <a:pt x="494" y="2711"/>
                    </a:lnTo>
                    <a:lnTo>
                      <a:pt x="425" y="2642"/>
                    </a:lnTo>
                    <a:lnTo>
                      <a:pt x="361" y="2570"/>
                    </a:lnTo>
                    <a:lnTo>
                      <a:pt x="303" y="2494"/>
                    </a:lnTo>
                    <a:lnTo>
                      <a:pt x="247" y="2414"/>
                    </a:lnTo>
                    <a:lnTo>
                      <a:pt x="198" y="2332"/>
                    </a:lnTo>
                    <a:lnTo>
                      <a:pt x="153" y="2245"/>
                    </a:lnTo>
                    <a:lnTo>
                      <a:pt x="114" y="2156"/>
                    </a:lnTo>
                    <a:lnTo>
                      <a:pt x="80" y="2063"/>
                    </a:lnTo>
                    <a:lnTo>
                      <a:pt x="52" y="1969"/>
                    </a:lnTo>
                    <a:lnTo>
                      <a:pt x="29" y="1872"/>
                    </a:lnTo>
                    <a:lnTo>
                      <a:pt x="13" y="1772"/>
                    </a:lnTo>
                    <a:lnTo>
                      <a:pt x="3" y="1671"/>
                    </a:lnTo>
                    <a:lnTo>
                      <a:pt x="0" y="1568"/>
                    </a:lnTo>
                    <a:lnTo>
                      <a:pt x="3" y="1465"/>
                    </a:lnTo>
                    <a:lnTo>
                      <a:pt x="13" y="1364"/>
                    </a:lnTo>
                    <a:lnTo>
                      <a:pt x="29" y="1264"/>
                    </a:lnTo>
                    <a:lnTo>
                      <a:pt x="52" y="1167"/>
                    </a:lnTo>
                    <a:lnTo>
                      <a:pt x="80" y="1073"/>
                    </a:lnTo>
                    <a:lnTo>
                      <a:pt x="114" y="980"/>
                    </a:lnTo>
                    <a:lnTo>
                      <a:pt x="153" y="891"/>
                    </a:lnTo>
                    <a:lnTo>
                      <a:pt x="198" y="804"/>
                    </a:lnTo>
                    <a:lnTo>
                      <a:pt x="247" y="722"/>
                    </a:lnTo>
                    <a:lnTo>
                      <a:pt x="303" y="642"/>
                    </a:lnTo>
                    <a:lnTo>
                      <a:pt x="361" y="566"/>
                    </a:lnTo>
                    <a:lnTo>
                      <a:pt x="425" y="494"/>
                    </a:lnTo>
                    <a:lnTo>
                      <a:pt x="494" y="425"/>
                    </a:lnTo>
                    <a:lnTo>
                      <a:pt x="566" y="361"/>
                    </a:lnTo>
                    <a:lnTo>
                      <a:pt x="642" y="303"/>
                    </a:lnTo>
                    <a:lnTo>
                      <a:pt x="722" y="247"/>
                    </a:lnTo>
                    <a:lnTo>
                      <a:pt x="804" y="198"/>
                    </a:lnTo>
                    <a:lnTo>
                      <a:pt x="891" y="153"/>
                    </a:lnTo>
                    <a:lnTo>
                      <a:pt x="980" y="114"/>
                    </a:lnTo>
                    <a:lnTo>
                      <a:pt x="1073" y="80"/>
                    </a:lnTo>
                    <a:lnTo>
                      <a:pt x="1167" y="52"/>
                    </a:lnTo>
                    <a:lnTo>
                      <a:pt x="1264" y="29"/>
                    </a:lnTo>
                    <a:lnTo>
                      <a:pt x="1364" y="13"/>
                    </a:lnTo>
                    <a:lnTo>
                      <a:pt x="1465" y="3"/>
                    </a:lnTo>
                    <a:lnTo>
                      <a:pt x="15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22" name="Freeform 16"/>
              <p:cNvSpPr>
                <a:spLocks/>
              </p:cNvSpPr>
              <p:nvPr/>
            </p:nvSpPr>
            <p:spPr bwMode="auto">
              <a:xfrm>
                <a:off x="1597484" y="2924266"/>
                <a:ext cx="44450" cy="41275"/>
              </a:xfrm>
              <a:custGeom>
                <a:avLst/>
                <a:gdLst/>
                <a:ahLst/>
                <a:cxnLst>
                  <a:cxn ang="0">
                    <a:pos x="146" y="0"/>
                  </a:cxn>
                  <a:cxn ang="0">
                    <a:pos x="202" y="96"/>
                  </a:cxn>
                  <a:cxn ang="0">
                    <a:pos x="57" y="181"/>
                  </a:cxn>
                  <a:cxn ang="0">
                    <a:pos x="0" y="83"/>
                  </a:cxn>
                  <a:cxn ang="0">
                    <a:pos x="146" y="0"/>
                  </a:cxn>
                </a:cxnLst>
                <a:rect l="0" t="0" r="r" b="b"/>
                <a:pathLst>
                  <a:path w="202" h="181">
                    <a:moveTo>
                      <a:pt x="146" y="0"/>
                    </a:moveTo>
                    <a:lnTo>
                      <a:pt x="202" y="96"/>
                    </a:lnTo>
                    <a:lnTo>
                      <a:pt x="57" y="181"/>
                    </a:lnTo>
                    <a:lnTo>
                      <a:pt x="0" y="83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23" name="Freeform 17"/>
              <p:cNvSpPr>
                <a:spLocks/>
              </p:cNvSpPr>
              <p:nvPr/>
            </p:nvSpPr>
            <p:spPr bwMode="auto">
              <a:xfrm>
                <a:off x="2070559" y="2651216"/>
                <a:ext cx="44450" cy="41275"/>
              </a:xfrm>
              <a:custGeom>
                <a:avLst/>
                <a:gdLst/>
                <a:ahLst/>
                <a:cxnLst>
                  <a:cxn ang="0">
                    <a:pos x="145" y="0"/>
                  </a:cxn>
                  <a:cxn ang="0">
                    <a:pos x="202" y="98"/>
                  </a:cxn>
                  <a:cxn ang="0">
                    <a:pos x="56" y="181"/>
                  </a:cxn>
                  <a:cxn ang="0">
                    <a:pos x="0" y="85"/>
                  </a:cxn>
                  <a:cxn ang="0">
                    <a:pos x="145" y="0"/>
                  </a:cxn>
                </a:cxnLst>
                <a:rect l="0" t="0" r="r" b="b"/>
                <a:pathLst>
                  <a:path w="202" h="181">
                    <a:moveTo>
                      <a:pt x="145" y="0"/>
                    </a:moveTo>
                    <a:lnTo>
                      <a:pt x="202" y="98"/>
                    </a:lnTo>
                    <a:lnTo>
                      <a:pt x="56" y="181"/>
                    </a:lnTo>
                    <a:lnTo>
                      <a:pt x="0" y="85"/>
                    </a:lnTo>
                    <a:lnTo>
                      <a:pt x="14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24" name="Freeform 18"/>
              <p:cNvSpPr>
                <a:spLocks/>
              </p:cNvSpPr>
              <p:nvPr/>
            </p:nvSpPr>
            <p:spPr bwMode="auto">
              <a:xfrm>
                <a:off x="1699084" y="3022691"/>
                <a:ext cx="41275" cy="44450"/>
              </a:xfrm>
              <a:custGeom>
                <a:avLst/>
                <a:gdLst/>
                <a:ahLst/>
                <a:cxnLst>
                  <a:cxn ang="0">
                    <a:pos x="85" y="0"/>
                  </a:cxn>
                  <a:cxn ang="0">
                    <a:pos x="181" y="56"/>
                  </a:cxn>
                  <a:cxn ang="0">
                    <a:pos x="98" y="202"/>
                  </a:cxn>
                  <a:cxn ang="0">
                    <a:pos x="0" y="145"/>
                  </a:cxn>
                  <a:cxn ang="0">
                    <a:pos x="85" y="0"/>
                  </a:cxn>
                </a:cxnLst>
                <a:rect l="0" t="0" r="r" b="b"/>
                <a:pathLst>
                  <a:path w="181" h="202">
                    <a:moveTo>
                      <a:pt x="85" y="0"/>
                    </a:moveTo>
                    <a:lnTo>
                      <a:pt x="181" y="56"/>
                    </a:lnTo>
                    <a:lnTo>
                      <a:pt x="98" y="202"/>
                    </a:lnTo>
                    <a:lnTo>
                      <a:pt x="0" y="145"/>
                    </a:lnTo>
                    <a:lnTo>
                      <a:pt x="8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25" name="Freeform 19"/>
              <p:cNvSpPr>
                <a:spLocks/>
              </p:cNvSpPr>
              <p:nvPr/>
            </p:nvSpPr>
            <p:spPr bwMode="auto">
              <a:xfrm>
                <a:off x="1972134" y="2549616"/>
                <a:ext cx="41275" cy="44450"/>
              </a:xfrm>
              <a:custGeom>
                <a:avLst/>
                <a:gdLst/>
                <a:ahLst/>
                <a:cxnLst>
                  <a:cxn ang="0">
                    <a:pos x="83" y="0"/>
                  </a:cxn>
                  <a:cxn ang="0">
                    <a:pos x="181" y="57"/>
                  </a:cxn>
                  <a:cxn ang="0">
                    <a:pos x="96" y="202"/>
                  </a:cxn>
                  <a:cxn ang="0">
                    <a:pos x="0" y="146"/>
                  </a:cxn>
                  <a:cxn ang="0">
                    <a:pos x="83" y="0"/>
                  </a:cxn>
                </a:cxnLst>
                <a:rect l="0" t="0" r="r" b="b"/>
                <a:pathLst>
                  <a:path w="181" h="202">
                    <a:moveTo>
                      <a:pt x="83" y="0"/>
                    </a:moveTo>
                    <a:lnTo>
                      <a:pt x="181" y="57"/>
                    </a:lnTo>
                    <a:lnTo>
                      <a:pt x="96" y="202"/>
                    </a:lnTo>
                    <a:lnTo>
                      <a:pt x="0" y="146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26" name="Freeform 20"/>
              <p:cNvSpPr>
                <a:spLocks/>
              </p:cNvSpPr>
              <p:nvPr/>
            </p:nvSpPr>
            <p:spPr bwMode="auto">
              <a:xfrm>
                <a:off x="1972134" y="3022691"/>
                <a:ext cx="41275" cy="44450"/>
              </a:xfrm>
              <a:custGeom>
                <a:avLst/>
                <a:gdLst/>
                <a:ahLst/>
                <a:cxnLst>
                  <a:cxn ang="0">
                    <a:pos x="96" y="0"/>
                  </a:cxn>
                  <a:cxn ang="0">
                    <a:pos x="181" y="145"/>
                  </a:cxn>
                  <a:cxn ang="0">
                    <a:pos x="83" y="202"/>
                  </a:cxn>
                  <a:cxn ang="0">
                    <a:pos x="0" y="56"/>
                  </a:cxn>
                  <a:cxn ang="0">
                    <a:pos x="96" y="0"/>
                  </a:cxn>
                </a:cxnLst>
                <a:rect l="0" t="0" r="r" b="b"/>
                <a:pathLst>
                  <a:path w="181" h="202">
                    <a:moveTo>
                      <a:pt x="96" y="0"/>
                    </a:moveTo>
                    <a:lnTo>
                      <a:pt x="181" y="145"/>
                    </a:lnTo>
                    <a:lnTo>
                      <a:pt x="83" y="202"/>
                    </a:lnTo>
                    <a:lnTo>
                      <a:pt x="0" y="56"/>
                    </a:lnTo>
                    <a:lnTo>
                      <a:pt x="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27" name="Freeform 21"/>
              <p:cNvSpPr>
                <a:spLocks/>
              </p:cNvSpPr>
              <p:nvPr/>
            </p:nvSpPr>
            <p:spPr bwMode="auto">
              <a:xfrm>
                <a:off x="1699084" y="2549616"/>
                <a:ext cx="41275" cy="44450"/>
              </a:xfrm>
              <a:custGeom>
                <a:avLst/>
                <a:gdLst/>
                <a:ahLst/>
                <a:cxnLst>
                  <a:cxn ang="0">
                    <a:pos x="98" y="0"/>
                  </a:cxn>
                  <a:cxn ang="0">
                    <a:pos x="181" y="146"/>
                  </a:cxn>
                  <a:cxn ang="0">
                    <a:pos x="85" y="202"/>
                  </a:cxn>
                  <a:cxn ang="0">
                    <a:pos x="0" y="57"/>
                  </a:cxn>
                  <a:cxn ang="0">
                    <a:pos x="98" y="0"/>
                  </a:cxn>
                </a:cxnLst>
                <a:rect l="0" t="0" r="r" b="b"/>
                <a:pathLst>
                  <a:path w="181" h="202">
                    <a:moveTo>
                      <a:pt x="98" y="0"/>
                    </a:moveTo>
                    <a:lnTo>
                      <a:pt x="181" y="146"/>
                    </a:lnTo>
                    <a:lnTo>
                      <a:pt x="85" y="202"/>
                    </a:lnTo>
                    <a:lnTo>
                      <a:pt x="0" y="57"/>
                    </a:lnTo>
                    <a:lnTo>
                      <a:pt x="9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28" name="Freeform 22"/>
              <p:cNvSpPr>
                <a:spLocks/>
              </p:cNvSpPr>
              <p:nvPr/>
            </p:nvSpPr>
            <p:spPr bwMode="auto">
              <a:xfrm>
                <a:off x="2070559" y="2924266"/>
                <a:ext cx="44450" cy="41275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202" y="83"/>
                  </a:cxn>
                  <a:cxn ang="0">
                    <a:pos x="145" y="181"/>
                  </a:cxn>
                  <a:cxn ang="0">
                    <a:pos x="0" y="96"/>
                  </a:cxn>
                  <a:cxn ang="0">
                    <a:pos x="56" y="0"/>
                  </a:cxn>
                </a:cxnLst>
                <a:rect l="0" t="0" r="r" b="b"/>
                <a:pathLst>
                  <a:path w="202" h="181">
                    <a:moveTo>
                      <a:pt x="56" y="0"/>
                    </a:moveTo>
                    <a:lnTo>
                      <a:pt x="202" y="83"/>
                    </a:lnTo>
                    <a:lnTo>
                      <a:pt x="145" y="181"/>
                    </a:lnTo>
                    <a:lnTo>
                      <a:pt x="0" y="96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29" name="Freeform 23"/>
              <p:cNvSpPr>
                <a:spLocks/>
              </p:cNvSpPr>
              <p:nvPr/>
            </p:nvSpPr>
            <p:spPr bwMode="auto">
              <a:xfrm>
                <a:off x="1597484" y="2651216"/>
                <a:ext cx="44450" cy="41275"/>
              </a:xfrm>
              <a:custGeom>
                <a:avLst/>
                <a:gdLst/>
                <a:ahLst/>
                <a:cxnLst>
                  <a:cxn ang="0">
                    <a:pos x="57" y="0"/>
                  </a:cxn>
                  <a:cxn ang="0">
                    <a:pos x="202" y="85"/>
                  </a:cxn>
                  <a:cxn ang="0">
                    <a:pos x="146" y="181"/>
                  </a:cxn>
                  <a:cxn ang="0">
                    <a:pos x="0" y="98"/>
                  </a:cxn>
                  <a:cxn ang="0">
                    <a:pos x="57" y="0"/>
                  </a:cxn>
                </a:cxnLst>
                <a:rect l="0" t="0" r="r" b="b"/>
                <a:pathLst>
                  <a:path w="202" h="181">
                    <a:moveTo>
                      <a:pt x="57" y="0"/>
                    </a:moveTo>
                    <a:lnTo>
                      <a:pt x="202" y="85"/>
                    </a:lnTo>
                    <a:lnTo>
                      <a:pt x="146" y="181"/>
                    </a:lnTo>
                    <a:lnTo>
                      <a:pt x="0" y="98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30" name="Freeform 24"/>
              <p:cNvSpPr>
                <a:spLocks/>
              </p:cNvSpPr>
              <p:nvPr/>
            </p:nvSpPr>
            <p:spPr bwMode="auto">
              <a:xfrm>
                <a:off x="1730834" y="2603591"/>
                <a:ext cx="163513" cy="242888"/>
              </a:xfrm>
              <a:custGeom>
                <a:avLst/>
                <a:gdLst/>
                <a:ahLst/>
                <a:cxnLst>
                  <a:cxn ang="0">
                    <a:pos x="98" y="0"/>
                  </a:cxn>
                  <a:cxn ang="0">
                    <a:pos x="441" y="595"/>
                  </a:cxn>
                  <a:cxn ang="0">
                    <a:pos x="441" y="61"/>
                  </a:cxn>
                  <a:cxn ang="0">
                    <a:pos x="665" y="61"/>
                  </a:cxn>
                  <a:cxn ang="0">
                    <a:pos x="665" y="776"/>
                  </a:cxn>
                  <a:cxn ang="0">
                    <a:pos x="684" y="797"/>
                  </a:cxn>
                  <a:cxn ang="0">
                    <a:pos x="700" y="820"/>
                  </a:cxn>
                  <a:cxn ang="0">
                    <a:pos x="712" y="845"/>
                  </a:cxn>
                  <a:cxn ang="0">
                    <a:pos x="718" y="872"/>
                  </a:cxn>
                  <a:cxn ang="0">
                    <a:pos x="721" y="901"/>
                  </a:cxn>
                  <a:cxn ang="0">
                    <a:pos x="718" y="931"/>
                  </a:cxn>
                  <a:cxn ang="0">
                    <a:pos x="710" y="960"/>
                  </a:cxn>
                  <a:cxn ang="0">
                    <a:pos x="699" y="986"/>
                  </a:cxn>
                  <a:cxn ang="0">
                    <a:pos x="681" y="1010"/>
                  </a:cxn>
                  <a:cxn ang="0">
                    <a:pos x="662" y="1029"/>
                  </a:cxn>
                  <a:cxn ang="0">
                    <a:pos x="638" y="1047"/>
                  </a:cxn>
                  <a:cxn ang="0">
                    <a:pos x="612" y="1058"/>
                  </a:cxn>
                  <a:cxn ang="0">
                    <a:pos x="583" y="1066"/>
                  </a:cxn>
                  <a:cxn ang="0">
                    <a:pos x="553" y="1069"/>
                  </a:cxn>
                  <a:cxn ang="0">
                    <a:pos x="523" y="1066"/>
                  </a:cxn>
                  <a:cxn ang="0">
                    <a:pos x="494" y="1058"/>
                  </a:cxn>
                  <a:cxn ang="0">
                    <a:pos x="468" y="1047"/>
                  </a:cxn>
                  <a:cxn ang="0">
                    <a:pos x="444" y="1029"/>
                  </a:cxn>
                  <a:cxn ang="0">
                    <a:pos x="425" y="1010"/>
                  </a:cxn>
                  <a:cxn ang="0">
                    <a:pos x="407" y="986"/>
                  </a:cxn>
                  <a:cxn ang="0">
                    <a:pos x="396" y="960"/>
                  </a:cxn>
                  <a:cxn ang="0">
                    <a:pos x="388" y="931"/>
                  </a:cxn>
                  <a:cxn ang="0">
                    <a:pos x="385" y="901"/>
                  </a:cxn>
                  <a:cxn ang="0">
                    <a:pos x="388" y="871"/>
                  </a:cxn>
                  <a:cxn ang="0">
                    <a:pos x="396" y="842"/>
                  </a:cxn>
                  <a:cxn ang="0">
                    <a:pos x="409" y="816"/>
                  </a:cxn>
                  <a:cxn ang="0">
                    <a:pos x="426" y="792"/>
                  </a:cxn>
                  <a:cxn ang="0">
                    <a:pos x="0" y="56"/>
                  </a:cxn>
                  <a:cxn ang="0">
                    <a:pos x="98" y="0"/>
                  </a:cxn>
                </a:cxnLst>
                <a:rect l="0" t="0" r="r" b="b"/>
                <a:pathLst>
                  <a:path w="721" h="1069">
                    <a:moveTo>
                      <a:pt x="98" y="0"/>
                    </a:moveTo>
                    <a:lnTo>
                      <a:pt x="441" y="595"/>
                    </a:lnTo>
                    <a:lnTo>
                      <a:pt x="441" y="61"/>
                    </a:lnTo>
                    <a:lnTo>
                      <a:pt x="665" y="61"/>
                    </a:lnTo>
                    <a:lnTo>
                      <a:pt x="665" y="776"/>
                    </a:lnTo>
                    <a:lnTo>
                      <a:pt x="684" y="797"/>
                    </a:lnTo>
                    <a:lnTo>
                      <a:pt x="700" y="820"/>
                    </a:lnTo>
                    <a:lnTo>
                      <a:pt x="712" y="845"/>
                    </a:lnTo>
                    <a:lnTo>
                      <a:pt x="718" y="872"/>
                    </a:lnTo>
                    <a:lnTo>
                      <a:pt x="721" y="901"/>
                    </a:lnTo>
                    <a:lnTo>
                      <a:pt x="718" y="931"/>
                    </a:lnTo>
                    <a:lnTo>
                      <a:pt x="710" y="960"/>
                    </a:lnTo>
                    <a:lnTo>
                      <a:pt x="699" y="986"/>
                    </a:lnTo>
                    <a:lnTo>
                      <a:pt x="681" y="1010"/>
                    </a:lnTo>
                    <a:lnTo>
                      <a:pt x="662" y="1029"/>
                    </a:lnTo>
                    <a:lnTo>
                      <a:pt x="638" y="1047"/>
                    </a:lnTo>
                    <a:lnTo>
                      <a:pt x="612" y="1058"/>
                    </a:lnTo>
                    <a:lnTo>
                      <a:pt x="583" y="1066"/>
                    </a:lnTo>
                    <a:lnTo>
                      <a:pt x="553" y="1069"/>
                    </a:lnTo>
                    <a:lnTo>
                      <a:pt x="523" y="1066"/>
                    </a:lnTo>
                    <a:lnTo>
                      <a:pt x="494" y="1058"/>
                    </a:lnTo>
                    <a:lnTo>
                      <a:pt x="468" y="1047"/>
                    </a:lnTo>
                    <a:lnTo>
                      <a:pt x="444" y="1029"/>
                    </a:lnTo>
                    <a:lnTo>
                      <a:pt x="425" y="1010"/>
                    </a:lnTo>
                    <a:lnTo>
                      <a:pt x="407" y="986"/>
                    </a:lnTo>
                    <a:lnTo>
                      <a:pt x="396" y="960"/>
                    </a:lnTo>
                    <a:lnTo>
                      <a:pt x="388" y="931"/>
                    </a:lnTo>
                    <a:lnTo>
                      <a:pt x="385" y="901"/>
                    </a:lnTo>
                    <a:lnTo>
                      <a:pt x="388" y="871"/>
                    </a:lnTo>
                    <a:lnTo>
                      <a:pt x="396" y="842"/>
                    </a:lnTo>
                    <a:lnTo>
                      <a:pt x="409" y="816"/>
                    </a:lnTo>
                    <a:lnTo>
                      <a:pt x="426" y="792"/>
                    </a:lnTo>
                    <a:lnTo>
                      <a:pt x="0" y="56"/>
                    </a:lnTo>
                    <a:lnTo>
                      <a:pt x="9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</p:grpSp>
        <p:grpSp>
          <p:nvGrpSpPr>
            <p:cNvPr id="131" name="Gruppieren 108"/>
            <p:cNvGrpSpPr/>
            <p:nvPr/>
          </p:nvGrpSpPr>
          <p:grpSpPr>
            <a:xfrm>
              <a:off x="2040135" y="3793575"/>
              <a:ext cx="901299" cy="901299"/>
              <a:chOff x="2551521" y="2452778"/>
              <a:chExt cx="711200" cy="711200"/>
            </a:xfrm>
            <a:solidFill>
              <a:schemeClr val="tx1"/>
            </a:solidFill>
          </p:grpSpPr>
          <p:sp>
            <p:nvSpPr>
              <p:cNvPr id="132" name="Freeform 29"/>
              <p:cNvSpPr>
                <a:spLocks/>
              </p:cNvSpPr>
              <p:nvPr/>
            </p:nvSpPr>
            <p:spPr bwMode="auto">
              <a:xfrm>
                <a:off x="2551521" y="2452778"/>
                <a:ext cx="101600" cy="711200"/>
              </a:xfrm>
              <a:custGeom>
                <a:avLst/>
                <a:gdLst/>
                <a:ahLst/>
                <a:cxnLst>
                  <a:cxn ang="0">
                    <a:pos x="223" y="0"/>
                  </a:cxn>
                  <a:cxn ang="0">
                    <a:pos x="260" y="3"/>
                  </a:cxn>
                  <a:cxn ang="0">
                    <a:pos x="295" y="12"/>
                  </a:cxn>
                  <a:cxn ang="0">
                    <a:pos x="327" y="25"/>
                  </a:cxn>
                  <a:cxn ang="0">
                    <a:pos x="356" y="43"/>
                  </a:cxn>
                  <a:cxn ang="0">
                    <a:pos x="382" y="66"/>
                  </a:cxn>
                  <a:cxn ang="0">
                    <a:pos x="405" y="92"/>
                  </a:cxn>
                  <a:cxn ang="0">
                    <a:pos x="423" y="121"/>
                  </a:cxn>
                  <a:cxn ang="0">
                    <a:pos x="436" y="153"/>
                  </a:cxn>
                  <a:cxn ang="0">
                    <a:pos x="445" y="188"/>
                  </a:cxn>
                  <a:cxn ang="0">
                    <a:pos x="448" y="223"/>
                  </a:cxn>
                  <a:cxn ang="0">
                    <a:pos x="445" y="258"/>
                  </a:cxn>
                  <a:cxn ang="0">
                    <a:pos x="437" y="292"/>
                  </a:cxn>
                  <a:cxn ang="0">
                    <a:pos x="424" y="322"/>
                  </a:cxn>
                  <a:cxn ang="0">
                    <a:pos x="408" y="351"/>
                  </a:cxn>
                  <a:cxn ang="0">
                    <a:pos x="387" y="377"/>
                  </a:cxn>
                  <a:cxn ang="0">
                    <a:pos x="364" y="398"/>
                  </a:cxn>
                  <a:cxn ang="0">
                    <a:pos x="336" y="417"/>
                  </a:cxn>
                  <a:cxn ang="0">
                    <a:pos x="336" y="3136"/>
                  </a:cxn>
                  <a:cxn ang="0">
                    <a:pos x="112" y="3136"/>
                  </a:cxn>
                  <a:cxn ang="0">
                    <a:pos x="112" y="417"/>
                  </a:cxn>
                  <a:cxn ang="0">
                    <a:pos x="84" y="398"/>
                  </a:cxn>
                  <a:cxn ang="0">
                    <a:pos x="61" y="377"/>
                  </a:cxn>
                  <a:cxn ang="0">
                    <a:pos x="40" y="351"/>
                  </a:cxn>
                  <a:cxn ang="0">
                    <a:pos x="24" y="322"/>
                  </a:cxn>
                  <a:cxn ang="0">
                    <a:pos x="11" y="292"/>
                  </a:cxn>
                  <a:cxn ang="0">
                    <a:pos x="3" y="258"/>
                  </a:cxn>
                  <a:cxn ang="0">
                    <a:pos x="0" y="223"/>
                  </a:cxn>
                  <a:cxn ang="0">
                    <a:pos x="3" y="188"/>
                  </a:cxn>
                  <a:cxn ang="0">
                    <a:pos x="12" y="153"/>
                  </a:cxn>
                  <a:cxn ang="0">
                    <a:pos x="25" y="121"/>
                  </a:cxn>
                  <a:cxn ang="0">
                    <a:pos x="43" y="92"/>
                  </a:cxn>
                  <a:cxn ang="0">
                    <a:pos x="66" y="66"/>
                  </a:cxn>
                  <a:cxn ang="0">
                    <a:pos x="92" y="43"/>
                  </a:cxn>
                  <a:cxn ang="0">
                    <a:pos x="121" y="25"/>
                  </a:cxn>
                  <a:cxn ang="0">
                    <a:pos x="153" y="12"/>
                  </a:cxn>
                  <a:cxn ang="0">
                    <a:pos x="188" y="3"/>
                  </a:cxn>
                  <a:cxn ang="0">
                    <a:pos x="223" y="0"/>
                  </a:cxn>
                </a:cxnLst>
                <a:rect l="0" t="0" r="r" b="b"/>
                <a:pathLst>
                  <a:path w="448" h="3136">
                    <a:moveTo>
                      <a:pt x="223" y="0"/>
                    </a:moveTo>
                    <a:lnTo>
                      <a:pt x="260" y="3"/>
                    </a:lnTo>
                    <a:lnTo>
                      <a:pt x="295" y="12"/>
                    </a:lnTo>
                    <a:lnTo>
                      <a:pt x="327" y="25"/>
                    </a:lnTo>
                    <a:lnTo>
                      <a:pt x="356" y="43"/>
                    </a:lnTo>
                    <a:lnTo>
                      <a:pt x="382" y="66"/>
                    </a:lnTo>
                    <a:lnTo>
                      <a:pt x="405" y="92"/>
                    </a:lnTo>
                    <a:lnTo>
                      <a:pt x="423" y="121"/>
                    </a:lnTo>
                    <a:lnTo>
                      <a:pt x="436" y="153"/>
                    </a:lnTo>
                    <a:lnTo>
                      <a:pt x="445" y="188"/>
                    </a:lnTo>
                    <a:lnTo>
                      <a:pt x="448" y="223"/>
                    </a:lnTo>
                    <a:lnTo>
                      <a:pt x="445" y="258"/>
                    </a:lnTo>
                    <a:lnTo>
                      <a:pt x="437" y="292"/>
                    </a:lnTo>
                    <a:lnTo>
                      <a:pt x="424" y="322"/>
                    </a:lnTo>
                    <a:lnTo>
                      <a:pt x="408" y="351"/>
                    </a:lnTo>
                    <a:lnTo>
                      <a:pt x="387" y="377"/>
                    </a:lnTo>
                    <a:lnTo>
                      <a:pt x="364" y="398"/>
                    </a:lnTo>
                    <a:lnTo>
                      <a:pt x="336" y="417"/>
                    </a:lnTo>
                    <a:lnTo>
                      <a:pt x="336" y="3136"/>
                    </a:lnTo>
                    <a:lnTo>
                      <a:pt x="112" y="3136"/>
                    </a:lnTo>
                    <a:lnTo>
                      <a:pt x="112" y="417"/>
                    </a:lnTo>
                    <a:lnTo>
                      <a:pt x="84" y="398"/>
                    </a:lnTo>
                    <a:lnTo>
                      <a:pt x="61" y="377"/>
                    </a:lnTo>
                    <a:lnTo>
                      <a:pt x="40" y="351"/>
                    </a:lnTo>
                    <a:lnTo>
                      <a:pt x="24" y="322"/>
                    </a:lnTo>
                    <a:lnTo>
                      <a:pt x="11" y="292"/>
                    </a:lnTo>
                    <a:lnTo>
                      <a:pt x="3" y="258"/>
                    </a:lnTo>
                    <a:lnTo>
                      <a:pt x="0" y="223"/>
                    </a:lnTo>
                    <a:lnTo>
                      <a:pt x="3" y="188"/>
                    </a:lnTo>
                    <a:lnTo>
                      <a:pt x="12" y="153"/>
                    </a:lnTo>
                    <a:lnTo>
                      <a:pt x="25" y="121"/>
                    </a:lnTo>
                    <a:lnTo>
                      <a:pt x="43" y="92"/>
                    </a:lnTo>
                    <a:lnTo>
                      <a:pt x="66" y="66"/>
                    </a:lnTo>
                    <a:lnTo>
                      <a:pt x="92" y="43"/>
                    </a:lnTo>
                    <a:lnTo>
                      <a:pt x="121" y="25"/>
                    </a:lnTo>
                    <a:lnTo>
                      <a:pt x="153" y="12"/>
                    </a:lnTo>
                    <a:lnTo>
                      <a:pt x="188" y="3"/>
                    </a:lnTo>
                    <a:lnTo>
                      <a:pt x="22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33" name="Freeform 30"/>
              <p:cNvSpPr>
                <a:spLocks/>
              </p:cNvSpPr>
              <p:nvPr/>
            </p:nvSpPr>
            <p:spPr bwMode="auto">
              <a:xfrm>
                <a:off x="2653121" y="2528978"/>
                <a:ext cx="609600" cy="508000"/>
              </a:xfrm>
              <a:custGeom>
                <a:avLst/>
                <a:gdLst/>
                <a:ahLst/>
                <a:cxnLst>
                  <a:cxn ang="0">
                    <a:pos x="840" y="0"/>
                  </a:cxn>
                  <a:cxn ang="0">
                    <a:pos x="1680" y="336"/>
                  </a:cxn>
                  <a:cxn ang="0">
                    <a:pos x="2688" y="168"/>
                  </a:cxn>
                  <a:cxn ang="0">
                    <a:pos x="2688" y="2072"/>
                  </a:cxn>
                  <a:cxn ang="0">
                    <a:pos x="1680" y="2240"/>
                  </a:cxn>
                  <a:cxn ang="0">
                    <a:pos x="840" y="1904"/>
                  </a:cxn>
                  <a:cxn ang="0">
                    <a:pos x="0" y="2072"/>
                  </a:cxn>
                  <a:cxn ang="0">
                    <a:pos x="0" y="1904"/>
                  </a:cxn>
                  <a:cxn ang="0">
                    <a:pos x="840" y="1736"/>
                  </a:cxn>
                  <a:cxn ang="0">
                    <a:pos x="1680" y="2072"/>
                  </a:cxn>
                  <a:cxn ang="0">
                    <a:pos x="2520" y="1933"/>
                  </a:cxn>
                  <a:cxn ang="0">
                    <a:pos x="2520" y="364"/>
                  </a:cxn>
                  <a:cxn ang="0">
                    <a:pos x="1680" y="504"/>
                  </a:cxn>
                  <a:cxn ang="0">
                    <a:pos x="840" y="168"/>
                  </a:cxn>
                  <a:cxn ang="0">
                    <a:pos x="0" y="336"/>
                  </a:cxn>
                  <a:cxn ang="0">
                    <a:pos x="0" y="168"/>
                  </a:cxn>
                  <a:cxn ang="0">
                    <a:pos x="840" y="0"/>
                  </a:cxn>
                </a:cxnLst>
                <a:rect l="0" t="0" r="r" b="b"/>
                <a:pathLst>
                  <a:path w="2688" h="2240">
                    <a:moveTo>
                      <a:pt x="840" y="0"/>
                    </a:moveTo>
                    <a:lnTo>
                      <a:pt x="1680" y="336"/>
                    </a:lnTo>
                    <a:lnTo>
                      <a:pt x="2688" y="168"/>
                    </a:lnTo>
                    <a:lnTo>
                      <a:pt x="2688" y="2072"/>
                    </a:lnTo>
                    <a:lnTo>
                      <a:pt x="1680" y="2240"/>
                    </a:lnTo>
                    <a:lnTo>
                      <a:pt x="840" y="1904"/>
                    </a:lnTo>
                    <a:lnTo>
                      <a:pt x="0" y="2072"/>
                    </a:lnTo>
                    <a:lnTo>
                      <a:pt x="0" y="1904"/>
                    </a:lnTo>
                    <a:lnTo>
                      <a:pt x="840" y="1736"/>
                    </a:lnTo>
                    <a:lnTo>
                      <a:pt x="1680" y="2072"/>
                    </a:lnTo>
                    <a:lnTo>
                      <a:pt x="2520" y="1933"/>
                    </a:lnTo>
                    <a:lnTo>
                      <a:pt x="2520" y="364"/>
                    </a:lnTo>
                    <a:lnTo>
                      <a:pt x="1680" y="504"/>
                    </a:lnTo>
                    <a:lnTo>
                      <a:pt x="840" y="168"/>
                    </a:lnTo>
                    <a:lnTo>
                      <a:pt x="0" y="336"/>
                    </a:lnTo>
                    <a:lnTo>
                      <a:pt x="0" y="168"/>
                    </a:lnTo>
                    <a:lnTo>
                      <a:pt x="84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</p:grpSp>
        <p:grpSp>
          <p:nvGrpSpPr>
            <p:cNvPr id="134" name="Gruppieren 116"/>
            <p:cNvGrpSpPr/>
            <p:nvPr/>
          </p:nvGrpSpPr>
          <p:grpSpPr>
            <a:xfrm>
              <a:off x="1010720" y="3793575"/>
              <a:ext cx="901299" cy="901299"/>
              <a:chOff x="3656942" y="2452778"/>
              <a:chExt cx="711200" cy="711200"/>
            </a:xfrm>
            <a:solidFill>
              <a:schemeClr val="tx1"/>
            </a:solidFill>
          </p:grpSpPr>
          <p:sp>
            <p:nvSpPr>
              <p:cNvPr id="135" name="Freeform 35"/>
              <p:cNvSpPr>
                <a:spLocks/>
              </p:cNvSpPr>
              <p:nvPr/>
            </p:nvSpPr>
            <p:spPr bwMode="auto">
              <a:xfrm>
                <a:off x="3733142" y="2490878"/>
                <a:ext cx="203200" cy="469900"/>
              </a:xfrm>
              <a:custGeom>
                <a:avLst/>
                <a:gdLst/>
                <a:ahLst/>
                <a:cxnLst>
                  <a:cxn ang="0">
                    <a:pos x="896" y="0"/>
                  </a:cxn>
                  <a:cxn ang="0">
                    <a:pos x="896" y="1904"/>
                  </a:cxn>
                  <a:cxn ang="0">
                    <a:pos x="0" y="2072"/>
                  </a:cxn>
                  <a:cxn ang="0">
                    <a:pos x="0" y="168"/>
                  </a:cxn>
                  <a:cxn ang="0">
                    <a:pos x="896" y="0"/>
                  </a:cxn>
                </a:cxnLst>
                <a:rect l="0" t="0" r="r" b="b"/>
                <a:pathLst>
                  <a:path w="896" h="2072">
                    <a:moveTo>
                      <a:pt x="896" y="0"/>
                    </a:moveTo>
                    <a:lnTo>
                      <a:pt x="896" y="1904"/>
                    </a:lnTo>
                    <a:lnTo>
                      <a:pt x="0" y="2072"/>
                    </a:lnTo>
                    <a:lnTo>
                      <a:pt x="0" y="168"/>
                    </a:lnTo>
                    <a:lnTo>
                      <a:pt x="8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36" name="Freeform 36"/>
              <p:cNvSpPr>
                <a:spLocks/>
              </p:cNvSpPr>
              <p:nvPr/>
            </p:nvSpPr>
            <p:spPr bwMode="auto">
              <a:xfrm>
                <a:off x="3949042" y="2490878"/>
                <a:ext cx="203200" cy="5080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96" y="336"/>
                  </a:cxn>
                  <a:cxn ang="0">
                    <a:pos x="896" y="2240"/>
                  </a:cxn>
                  <a:cxn ang="0">
                    <a:pos x="0" y="1904"/>
                  </a:cxn>
                  <a:cxn ang="0">
                    <a:pos x="0" y="0"/>
                  </a:cxn>
                </a:cxnLst>
                <a:rect l="0" t="0" r="r" b="b"/>
                <a:pathLst>
                  <a:path w="896" h="2240">
                    <a:moveTo>
                      <a:pt x="0" y="0"/>
                    </a:moveTo>
                    <a:lnTo>
                      <a:pt x="896" y="336"/>
                    </a:lnTo>
                    <a:lnTo>
                      <a:pt x="896" y="2240"/>
                    </a:lnTo>
                    <a:lnTo>
                      <a:pt x="0" y="190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37" name="Freeform 37"/>
              <p:cNvSpPr>
                <a:spLocks/>
              </p:cNvSpPr>
              <p:nvPr/>
            </p:nvSpPr>
            <p:spPr bwMode="auto">
              <a:xfrm>
                <a:off x="4164942" y="2528978"/>
                <a:ext cx="203200" cy="469900"/>
              </a:xfrm>
              <a:custGeom>
                <a:avLst/>
                <a:gdLst/>
                <a:ahLst/>
                <a:cxnLst>
                  <a:cxn ang="0">
                    <a:pos x="896" y="0"/>
                  </a:cxn>
                  <a:cxn ang="0">
                    <a:pos x="896" y="1904"/>
                  </a:cxn>
                  <a:cxn ang="0">
                    <a:pos x="0" y="2072"/>
                  </a:cxn>
                  <a:cxn ang="0">
                    <a:pos x="0" y="168"/>
                  </a:cxn>
                  <a:cxn ang="0">
                    <a:pos x="896" y="0"/>
                  </a:cxn>
                </a:cxnLst>
                <a:rect l="0" t="0" r="r" b="b"/>
                <a:pathLst>
                  <a:path w="896" h="2072">
                    <a:moveTo>
                      <a:pt x="896" y="0"/>
                    </a:moveTo>
                    <a:lnTo>
                      <a:pt x="896" y="1904"/>
                    </a:lnTo>
                    <a:lnTo>
                      <a:pt x="0" y="2072"/>
                    </a:lnTo>
                    <a:lnTo>
                      <a:pt x="0" y="168"/>
                    </a:lnTo>
                    <a:lnTo>
                      <a:pt x="8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38" name="Freeform 38"/>
              <p:cNvSpPr>
                <a:spLocks/>
              </p:cNvSpPr>
              <p:nvPr/>
            </p:nvSpPr>
            <p:spPr bwMode="auto">
              <a:xfrm>
                <a:off x="3656942" y="2452778"/>
                <a:ext cx="76200" cy="711200"/>
              </a:xfrm>
              <a:custGeom>
                <a:avLst/>
                <a:gdLst/>
                <a:ahLst/>
                <a:cxnLst>
                  <a:cxn ang="0">
                    <a:pos x="168" y="0"/>
                  </a:cxn>
                  <a:cxn ang="0">
                    <a:pos x="198" y="3"/>
                  </a:cxn>
                  <a:cxn ang="0">
                    <a:pos x="227" y="11"/>
                  </a:cxn>
                  <a:cxn ang="0">
                    <a:pos x="253" y="23"/>
                  </a:cxn>
                  <a:cxn ang="0">
                    <a:pos x="277" y="40"/>
                  </a:cxn>
                  <a:cxn ang="0">
                    <a:pos x="296" y="59"/>
                  </a:cxn>
                  <a:cxn ang="0">
                    <a:pos x="314" y="83"/>
                  </a:cxn>
                  <a:cxn ang="0">
                    <a:pos x="326" y="109"/>
                  </a:cxn>
                  <a:cxn ang="0">
                    <a:pos x="333" y="138"/>
                  </a:cxn>
                  <a:cxn ang="0">
                    <a:pos x="336" y="168"/>
                  </a:cxn>
                  <a:cxn ang="0">
                    <a:pos x="333" y="198"/>
                  </a:cxn>
                  <a:cxn ang="0">
                    <a:pos x="326" y="227"/>
                  </a:cxn>
                  <a:cxn ang="0">
                    <a:pos x="313" y="254"/>
                  </a:cxn>
                  <a:cxn ang="0">
                    <a:pos x="295" y="277"/>
                  </a:cxn>
                  <a:cxn ang="0">
                    <a:pos x="275" y="297"/>
                  </a:cxn>
                  <a:cxn ang="0">
                    <a:pos x="251" y="314"/>
                  </a:cxn>
                  <a:cxn ang="0">
                    <a:pos x="223" y="326"/>
                  </a:cxn>
                  <a:cxn ang="0">
                    <a:pos x="223" y="3136"/>
                  </a:cxn>
                  <a:cxn ang="0">
                    <a:pos x="112" y="3136"/>
                  </a:cxn>
                  <a:cxn ang="0">
                    <a:pos x="112" y="326"/>
                  </a:cxn>
                  <a:cxn ang="0">
                    <a:pos x="86" y="314"/>
                  </a:cxn>
                  <a:cxn ang="0">
                    <a:pos x="62" y="297"/>
                  </a:cxn>
                  <a:cxn ang="0">
                    <a:pos x="41" y="277"/>
                  </a:cxn>
                  <a:cxn ang="0">
                    <a:pos x="24" y="254"/>
                  </a:cxn>
                  <a:cxn ang="0">
                    <a:pos x="11" y="227"/>
                  </a:cxn>
                  <a:cxn ang="0">
                    <a:pos x="3" y="198"/>
                  </a:cxn>
                  <a:cxn ang="0">
                    <a:pos x="0" y="168"/>
                  </a:cxn>
                  <a:cxn ang="0">
                    <a:pos x="3" y="138"/>
                  </a:cxn>
                  <a:cxn ang="0">
                    <a:pos x="11" y="109"/>
                  </a:cxn>
                  <a:cxn ang="0">
                    <a:pos x="23" y="83"/>
                  </a:cxn>
                  <a:cxn ang="0">
                    <a:pos x="40" y="59"/>
                  </a:cxn>
                  <a:cxn ang="0">
                    <a:pos x="59" y="40"/>
                  </a:cxn>
                  <a:cxn ang="0">
                    <a:pos x="83" y="23"/>
                  </a:cxn>
                  <a:cxn ang="0">
                    <a:pos x="109" y="11"/>
                  </a:cxn>
                  <a:cxn ang="0">
                    <a:pos x="138" y="3"/>
                  </a:cxn>
                  <a:cxn ang="0">
                    <a:pos x="168" y="0"/>
                  </a:cxn>
                </a:cxnLst>
                <a:rect l="0" t="0" r="r" b="b"/>
                <a:pathLst>
                  <a:path w="336" h="3136">
                    <a:moveTo>
                      <a:pt x="168" y="0"/>
                    </a:moveTo>
                    <a:lnTo>
                      <a:pt x="198" y="3"/>
                    </a:lnTo>
                    <a:lnTo>
                      <a:pt x="227" y="11"/>
                    </a:lnTo>
                    <a:lnTo>
                      <a:pt x="253" y="23"/>
                    </a:lnTo>
                    <a:lnTo>
                      <a:pt x="277" y="40"/>
                    </a:lnTo>
                    <a:lnTo>
                      <a:pt x="296" y="59"/>
                    </a:lnTo>
                    <a:lnTo>
                      <a:pt x="314" y="83"/>
                    </a:lnTo>
                    <a:lnTo>
                      <a:pt x="326" y="109"/>
                    </a:lnTo>
                    <a:lnTo>
                      <a:pt x="333" y="138"/>
                    </a:lnTo>
                    <a:lnTo>
                      <a:pt x="336" y="168"/>
                    </a:lnTo>
                    <a:lnTo>
                      <a:pt x="333" y="198"/>
                    </a:lnTo>
                    <a:lnTo>
                      <a:pt x="326" y="227"/>
                    </a:lnTo>
                    <a:lnTo>
                      <a:pt x="313" y="254"/>
                    </a:lnTo>
                    <a:lnTo>
                      <a:pt x="295" y="277"/>
                    </a:lnTo>
                    <a:lnTo>
                      <a:pt x="275" y="297"/>
                    </a:lnTo>
                    <a:lnTo>
                      <a:pt x="251" y="314"/>
                    </a:lnTo>
                    <a:lnTo>
                      <a:pt x="223" y="326"/>
                    </a:lnTo>
                    <a:lnTo>
                      <a:pt x="223" y="3136"/>
                    </a:lnTo>
                    <a:lnTo>
                      <a:pt x="112" y="3136"/>
                    </a:lnTo>
                    <a:lnTo>
                      <a:pt x="112" y="326"/>
                    </a:lnTo>
                    <a:lnTo>
                      <a:pt x="86" y="314"/>
                    </a:lnTo>
                    <a:lnTo>
                      <a:pt x="62" y="297"/>
                    </a:lnTo>
                    <a:lnTo>
                      <a:pt x="41" y="277"/>
                    </a:lnTo>
                    <a:lnTo>
                      <a:pt x="24" y="254"/>
                    </a:lnTo>
                    <a:lnTo>
                      <a:pt x="11" y="227"/>
                    </a:lnTo>
                    <a:lnTo>
                      <a:pt x="3" y="198"/>
                    </a:lnTo>
                    <a:lnTo>
                      <a:pt x="0" y="168"/>
                    </a:lnTo>
                    <a:lnTo>
                      <a:pt x="3" y="138"/>
                    </a:lnTo>
                    <a:lnTo>
                      <a:pt x="11" y="109"/>
                    </a:lnTo>
                    <a:lnTo>
                      <a:pt x="23" y="83"/>
                    </a:lnTo>
                    <a:lnTo>
                      <a:pt x="40" y="59"/>
                    </a:lnTo>
                    <a:lnTo>
                      <a:pt x="59" y="40"/>
                    </a:lnTo>
                    <a:lnTo>
                      <a:pt x="83" y="23"/>
                    </a:lnTo>
                    <a:lnTo>
                      <a:pt x="109" y="11"/>
                    </a:lnTo>
                    <a:lnTo>
                      <a:pt x="138" y="3"/>
                    </a:lnTo>
                    <a:lnTo>
                      <a:pt x="1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</p:grpSp>
        <p:grpSp>
          <p:nvGrpSpPr>
            <p:cNvPr id="139" name="Gruppieren 127"/>
            <p:cNvGrpSpPr/>
            <p:nvPr/>
          </p:nvGrpSpPr>
          <p:grpSpPr>
            <a:xfrm>
              <a:off x="10388983" y="2443272"/>
              <a:ext cx="788637" cy="901299"/>
              <a:chOff x="4762909" y="2452778"/>
              <a:chExt cx="622300" cy="711200"/>
            </a:xfrm>
            <a:solidFill>
              <a:schemeClr val="tx1"/>
            </a:solidFill>
          </p:grpSpPr>
          <p:sp>
            <p:nvSpPr>
              <p:cNvPr id="140" name="Rectangle 48"/>
              <p:cNvSpPr>
                <a:spLocks noChangeArrowheads="1"/>
              </p:cNvSpPr>
              <p:nvPr/>
            </p:nvSpPr>
            <p:spPr bwMode="auto">
              <a:xfrm>
                <a:off x="4762909" y="3100478"/>
                <a:ext cx="533400" cy="6350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41" name="Freeform 49"/>
              <p:cNvSpPr>
                <a:spLocks/>
              </p:cNvSpPr>
              <p:nvPr/>
            </p:nvSpPr>
            <p:spPr bwMode="auto">
              <a:xfrm>
                <a:off x="5067709" y="2846478"/>
                <a:ext cx="203200" cy="203200"/>
              </a:xfrm>
              <a:custGeom>
                <a:avLst/>
                <a:gdLst/>
                <a:ahLst/>
                <a:cxnLst>
                  <a:cxn ang="0">
                    <a:pos x="672" y="0"/>
                  </a:cxn>
                  <a:cxn ang="0">
                    <a:pos x="896" y="224"/>
                  </a:cxn>
                  <a:cxn ang="0">
                    <a:pos x="224" y="896"/>
                  </a:cxn>
                  <a:cxn ang="0">
                    <a:pos x="0" y="672"/>
                  </a:cxn>
                  <a:cxn ang="0">
                    <a:pos x="672" y="0"/>
                  </a:cxn>
                </a:cxnLst>
                <a:rect l="0" t="0" r="r" b="b"/>
                <a:pathLst>
                  <a:path w="896" h="896">
                    <a:moveTo>
                      <a:pt x="672" y="0"/>
                    </a:moveTo>
                    <a:lnTo>
                      <a:pt x="896" y="224"/>
                    </a:lnTo>
                    <a:lnTo>
                      <a:pt x="224" y="896"/>
                    </a:lnTo>
                    <a:lnTo>
                      <a:pt x="0" y="672"/>
                    </a:lnTo>
                    <a:lnTo>
                      <a:pt x="67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42" name="Freeform 50"/>
              <p:cNvSpPr>
                <a:spLocks/>
              </p:cNvSpPr>
              <p:nvPr/>
            </p:nvSpPr>
            <p:spPr bwMode="auto">
              <a:xfrm>
                <a:off x="4788309" y="2567078"/>
                <a:ext cx="203200" cy="203200"/>
              </a:xfrm>
              <a:custGeom>
                <a:avLst/>
                <a:gdLst/>
                <a:ahLst/>
                <a:cxnLst>
                  <a:cxn ang="0">
                    <a:pos x="672" y="0"/>
                  </a:cxn>
                  <a:cxn ang="0">
                    <a:pos x="896" y="224"/>
                  </a:cxn>
                  <a:cxn ang="0">
                    <a:pos x="224" y="896"/>
                  </a:cxn>
                  <a:cxn ang="0">
                    <a:pos x="0" y="672"/>
                  </a:cxn>
                  <a:cxn ang="0">
                    <a:pos x="672" y="0"/>
                  </a:cxn>
                </a:cxnLst>
                <a:rect l="0" t="0" r="r" b="b"/>
                <a:pathLst>
                  <a:path w="896" h="896">
                    <a:moveTo>
                      <a:pt x="672" y="0"/>
                    </a:moveTo>
                    <a:lnTo>
                      <a:pt x="896" y="224"/>
                    </a:lnTo>
                    <a:lnTo>
                      <a:pt x="224" y="896"/>
                    </a:lnTo>
                    <a:lnTo>
                      <a:pt x="0" y="672"/>
                    </a:lnTo>
                    <a:lnTo>
                      <a:pt x="67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43" name="Freeform 51"/>
              <p:cNvSpPr>
                <a:spLocks/>
              </p:cNvSpPr>
              <p:nvPr/>
            </p:nvSpPr>
            <p:spPr bwMode="auto">
              <a:xfrm>
                <a:off x="5080409" y="2452778"/>
                <a:ext cx="304800" cy="304800"/>
              </a:xfrm>
              <a:custGeom>
                <a:avLst/>
                <a:gdLst/>
                <a:ahLst/>
                <a:cxnLst>
                  <a:cxn ang="0">
                    <a:pos x="1176" y="0"/>
                  </a:cxn>
                  <a:cxn ang="0">
                    <a:pos x="1344" y="168"/>
                  </a:cxn>
                  <a:cxn ang="0">
                    <a:pos x="168" y="1344"/>
                  </a:cxn>
                  <a:cxn ang="0">
                    <a:pos x="0" y="1176"/>
                  </a:cxn>
                  <a:cxn ang="0">
                    <a:pos x="1176" y="0"/>
                  </a:cxn>
                </a:cxnLst>
                <a:rect l="0" t="0" r="r" b="b"/>
                <a:pathLst>
                  <a:path w="1344" h="1344">
                    <a:moveTo>
                      <a:pt x="1176" y="0"/>
                    </a:moveTo>
                    <a:lnTo>
                      <a:pt x="1344" y="168"/>
                    </a:lnTo>
                    <a:lnTo>
                      <a:pt x="168" y="1344"/>
                    </a:lnTo>
                    <a:lnTo>
                      <a:pt x="0" y="1176"/>
                    </a:lnTo>
                    <a:lnTo>
                      <a:pt x="117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44" name="Freeform 52"/>
              <p:cNvSpPr>
                <a:spLocks/>
              </p:cNvSpPr>
              <p:nvPr/>
            </p:nvSpPr>
            <p:spPr bwMode="auto">
              <a:xfrm>
                <a:off x="4864509" y="2643278"/>
                <a:ext cx="330200" cy="330200"/>
              </a:xfrm>
              <a:custGeom>
                <a:avLst/>
                <a:gdLst/>
                <a:ahLst/>
                <a:cxnLst>
                  <a:cxn ang="0">
                    <a:pos x="560" y="0"/>
                  </a:cxn>
                  <a:cxn ang="0">
                    <a:pos x="1456" y="896"/>
                  </a:cxn>
                  <a:cxn ang="0">
                    <a:pos x="896" y="1456"/>
                  </a:cxn>
                  <a:cxn ang="0">
                    <a:pos x="0" y="560"/>
                  </a:cxn>
                  <a:cxn ang="0">
                    <a:pos x="560" y="0"/>
                  </a:cxn>
                </a:cxnLst>
                <a:rect l="0" t="0" r="r" b="b"/>
                <a:pathLst>
                  <a:path w="1456" h="1456">
                    <a:moveTo>
                      <a:pt x="560" y="0"/>
                    </a:moveTo>
                    <a:lnTo>
                      <a:pt x="1456" y="896"/>
                    </a:lnTo>
                    <a:lnTo>
                      <a:pt x="896" y="1456"/>
                    </a:lnTo>
                    <a:lnTo>
                      <a:pt x="0" y="560"/>
                    </a:lnTo>
                    <a:lnTo>
                      <a:pt x="56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</p:grpSp>
        <p:grpSp>
          <p:nvGrpSpPr>
            <p:cNvPr id="145" name="Gruppieren 136"/>
            <p:cNvGrpSpPr/>
            <p:nvPr/>
          </p:nvGrpSpPr>
          <p:grpSpPr>
            <a:xfrm>
              <a:off x="8218637" y="2452511"/>
              <a:ext cx="901299" cy="901299"/>
              <a:chOff x="5736542" y="2452778"/>
              <a:chExt cx="711200" cy="711200"/>
            </a:xfrm>
            <a:solidFill>
              <a:schemeClr val="tx1"/>
            </a:solidFill>
          </p:grpSpPr>
          <p:sp>
            <p:nvSpPr>
              <p:cNvPr id="146" name="Freeform 57"/>
              <p:cNvSpPr>
                <a:spLocks noEditPoints="1"/>
              </p:cNvSpPr>
              <p:nvPr/>
            </p:nvSpPr>
            <p:spPr bwMode="auto">
              <a:xfrm>
                <a:off x="5965142" y="2452778"/>
                <a:ext cx="482600" cy="417513"/>
              </a:xfrm>
              <a:custGeom>
                <a:avLst/>
                <a:gdLst/>
                <a:ahLst/>
                <a:cxnLst>
                  <a:cxn ang="0">
                    <a:pos x="1637" y="1451"/>
                  </a:cxn>
                  <a:cxn ang="0">
                    <a:pos x="1756" y="1714"/>
                  </a:cxn>
                  <a:cxn ang="0">
                    <a:pos x="1948" y="1411"/>
                  </a:cxn>
                  <a:cxn ang="0">
                    <a:pos x="1679" y="1119"/>
                  </a:cxn>
                  <a:cxn ang="0">
                    <a:pos x="1353" y="1496"/>
                  </a:cxn>
                  <a:cxn ang="0">
                    <a:pos x="1552" y="1302"/>
                  </a:cxn>
                  <a:cxn ang="0">
                    <a:pos x="567" y="1213"/>
                  </a:cxn>
                  <a:cxn ang="0">
                    <a:pos x="702" y="1520"/>
                  </a:cxn>
                  <a:cxn ang="0">
                    <a:pos x="1009" y="1119"/>
                  </a:cxn>
                  <a:cxn ang="0">
                    <a:pos x="1277" y="651"/>
                  </a:cxn>
                  <a:cxn ang="0">
                    <a:pos x="1561" y="916"/>
                  </a:cxn>
                  <a:cxn ang="0">
                    <a:pos x="631" y="581"/>
                  </a:cxn>
                  <a:cxn ang="0">
                    <a:pos x="561" y="1008"/>
                  </a:cxn>
                  <a:cxn ang="0">
                    <a:pos x="775" y="633"/>
                  </a:cxn>
                  <a:cxn ang="0">
                    <a:pos x="1653" y="495"/>
                  </a:cxn>
                  <a:cxn ang="0">
                    <a:pos x="1666" y="838"/>
                  </a:cxn>
                  <a:cxn ang="0">
                    <a:pos x="1991" y="859"/>
                  </a:cxn>
                  <a:cxn ang="0">
                    <a:pos x="1847" y="526"/>
                  </a:cxn>
                  <a:cxn ang="0">
                    <a:pos x="281" y="526"/>
                  </a:cxn>
                  <a:cxn ang="0">
                    <a:pos x="138" y="859"/>
                  </a:cxn>
                  <a:cxn ang="0">
                    <a:pos x="462" y="838"/>
                  </a:cxn>
                  <a:cxn ang="0">
                    <a:pos x="475" y="495"/>
                  </a:cxn>
                  <a:cxn ang="0">
                    <a:pos x="1470" y="265"/>
                  </a:cxn>
                  <a:cxn ang="0">
                    <a:pos x="1674" y="336"/>
                  </a:cxn>
                  <a:cxn ang="0">
                    <a:pos x="1405" y="178"/>
                  </a:cxn>
                  <a:cxn ang="0">
                    <a:pos x="502" y="297"/>
                  </a:cxn>
                  <a:cxn ang="0">
                    <a:pos x="627" y="314"/>
                  </a:cxn>
                  <a:cxn ang="0">
                    <a:pos x="1120" y="557"/>
                  </a:cxn>
                  <a:cxn ang="0">
                    <a:pos x="1458" y="473"/>
                  </a:cxn>
                  <a:cxn ang="0">
                    <a:pos x="1310" y="235"/>
                  </a:cxn>
                  <a:cxn ang="0">
                    <a:pos x="1120" y="120"/>
                  </a:cxn>
                  <a:cxn ang="0">
                    <a:pos x="853" y="201"/>
                  </a:cxn>
                  <a:cxn ang="0">
                    <a:pos x="695" y="418"/>
                  </a:cxn>
                  <a:cxn ang="0">
                    <a:pos x="937" y="550"/>
                  </a:cxn>
                  <a:cxn ang="0">
                    <a:pos x="1220" y="12"/>
                  </a:cxn>
                  <a:cxn ang="0">
                    <a:pos x="1575" y="131"/>
                  </a:cxn>
                  <a:cxn ang="0">
                    <a:pos x="1813" y="310"/>
                  </a:cxn>
                  <a:cxn ang="0">
                    <a:pos x="2032" y="624"/>
                  </a:cxn>
                  <a:cxn ang="0">
                    <a:pos x="2125" y="1008"/>
                  </a:cxn>
                  <a:cxn ang="0">
                    <a:pos x="2105" y="1274"/>
                  </a:cxn>
                  <a:cxn ang="0">
                    <a:pos x="1969" y="1621"/>
                  </a:cxn>
                  <a:cxn ang="0">
                    <a:pos x="1827" y="1745"/>
                  </a:cxn>
                  <a:cxn ang="0">
                    <a:pos x="1659" y="1782"/>
                  </a:cxn>
                  <a:cxn ang="0">
                    <a:pos x="1465" y="1806"/>
                  </a:cxn>
                  <a:cxn ang="0">
                    <a:pos x="1394" y="1630"/>
                  </a:cxn>
                  <a:cxn ang="0">
                    <a:pos x="1120" y="1680"/>
                  </a:cxn>
                  <a:cxn ang="0">
                    <a:pos x="799" y="1608"/>
                  </a:cxn>
                  <a:cxn ang="0">
                    <a:pos x="452" y="1652"/>
                  </a:cxn>
                  <a:cxn ang="0">
                    <a:pos x="475" y="1371"/>
                  </a:cxn>
                  <a:cxn ang="0">
                    <a:pos x="124" y="1199"/>
                  </a:cxn>
                  <a:cxn ang="0">
                    <a:pos x="254" y="1558"/>
                  </a:cxn>
                  <a:cxn ang="0">
                    <a:pos x="123" y="1558"/>
                  </a:cxn>
                  <a:cxn ang="0">
                    <a:pos x="10" y="1215"/>
                  </a:cxn>
                  <a:cxn ang="0">
                    <a:pos x="28" y="820"/>
                  </a:cxn>
                  <a:cxn ang="0">
                    <a:pos x="187" y="461"/>
                  </a:cxn>
                  <a:cxn ang="0">
                    <a:pos x="461" y="188"/>
                  </a:cxn>
                  <a:cxn ang="0">
                    <a:pos x="820" y="28"/>
                  </a:cxn>
                </a:cxnLst>
                <a:rect l="0" t="0" r="r" b="b"/>
                <a:pathLst>
                  <a:path w="2128" h="1841">
                    <a:moveTo>
                      <a:pt x="1679" y="1119"/>
                    </a:moveTo>
                    <a:lnTo>
                      <a:pt x="1673" y="1206"/>
                    </a:lnTo>
                    <a:lnTo>
                      <a:pt x="1666" y="1290"/>
                    </a:lnTo>
                    <a:lnTo>
                      <a:pt x="1653" y="1371"/>
                    </a:lnTo>
                    <a:lnTo>
                      <a:pt x="1637" y="1451"/>
                    </a:lnTo>
                    <a:lnTo>
                      <a:pt x="1618" y="1527"/>
                    </a:lnTo>
                    <a:lnTo>
                      <a:pt x="1596" y="1599"/>
                    </a:lnTo>
                    <a:lnTo>
                      <a:pt x="1651" y="1634"/>
                    </a:lnTo>
                    <a:lnTo>
                      <a:pt x="1705" y="1672"/>
                    </a:lnTo>
                    <a:lnTo>
                      <a:pt x="1756" y="1714"/>
                    </a:lnTo>
                    <a:lnTo>
                      <a:pt x="1804" y="1659"/>
                    </a:lnTo>
                    <a:lnTo>
                      <a:pt x="1847" y="1602"/>
                    </a:lnTo>
                    <a:lnTo>
                      <a:pt x="1885" y="1541"/>
                    </a:lnTo>
                    <a:lnTo>
                      <a:pt x="1919" y="1477"/>
                    </a:lnTo>
                    <a:lnTo>
                      <a:pt x="1948" y="1411"/>
                    </a:lnTo>
                    <a:lnTo>
                      <a:pt x="1972" y="1341"/>
                    </a:lnTo>
                    <a:lnTo>
                      <a:pt x="1991" y="1269"/>
                    </a:lnTo>
                    <a:lnTo>
                      <a:pt x="2004" y="1195"/>
                    </a:lnTo>
                    <a:lnTo>
                      <a:pt x="2011" y="1119"/>
                    </a:lnTo>
                    <a:lnTo>
                      <a:pt x="1679" y="1119"/>
                    </a:lnTo>
                    <a:close/>
                    <a:moveTo>
                      <a:pt x="1120" y="1119"/>
                    </a:moveTo>
                    <a:lnTo>
                      <a:pt x="1120" y="1459"/>
                    </a:lnTo>
                    <a:lnTo>
                      <a:pt x="1200" y="1466"/>
                    </a:lnTo>
                    <a:lnTo>
                      <a:pt x="1277" y="1479"/>
                    </a:lnTo>
                    <a:lnTo>
                      <a:pt x="1353" y="1496"/>
                    </a:lnTo>
                    <a:lnTo>
                      <a:pt x="1426" y="1520"/>
                    </a:lnTo>
                    <a:lnTo>
                      <a:pt x="1497" y="1548"/>
                    </a:lnTo>
                    <a:lnTo>
                      <a:pt x="1519" y="1470"/>
                    </a:lnTo>
                    <a:lnTo>
                      <a:pt x="1537" y="1388"/>
                    </a:lnTo>
                    <a:lnTo>
                      <a:pt x="1552" y="1302"/>
                    </a:lnTo>
                    <a:lnTo>
                      <a:pt x="1561" y="1213"/>
                    </a:lnTo>
                    <a:lnTo>
                      <a:pt x="1567" y="1119"/>
                    </a:lnTo>
                    <a:lnTo>
                      <a:pt x="1120" y="1119"/>
                    </a:lnTo>
                    <a:close/>
                    <a:moveTo>
                      <a:pt x="561" y="1119"/>
                    </a:moveTo>
                    <a:lnTo>
                      <a:pt x="567" y="1213"/>
                    </a:lnTo>
                    <a:lnTo>
                      <a:pt x="576" y="1302"/>
                    </a:lnTo>
                    <a:lnTo>
                      <a:pt x="590" y="1388"/>
                    </a:lnTo>
                    <a:lnTo>
                      <a:pt x="609" y="1470"/>
                    </a:lnTo>
                    <a:lnTo>
                      <a:pt x="631" y="1548"/>
                    </a:lnTo>
                    <a:lnTo>
                      <a:pt x="702" y="1520"/>
                    </a:lnTo>
                    <a:lnTo>
                      <a:pt x="775" y="1496"/>
                    </a:lnTo>
                    <a:lnTo>
                      <a:pt x="851" y="1479"/>
                    </a:lnTo>
                    <a:lnTo>
                      <a:pt x="928" y="1466"/>
                    </a:lnTo>
                    <a:lnTo>
                      <a:pt x="1009" y="1459"/>
                    </a:lnTo>
                    <a:lnTo>
                      <a:pt x="1009" y="1119"/>
                    </a:lnTo>
                    <a:lnTo>
                      <a:pt x="561" y="1119"/>
                    </a:lnTo>
                    <a:close/>
                    <a:moveTo>
                      <a:pt x="1497" y="581"/>
                    </a:moveTo>
                    <a:lnTo>
                      <a:pt x="1427" y="610"/>
                    </a:lnTo>
                    <a:lnTo>
                      <a:pt x="1353" y="633"/>
                    </a:lnTo>
                    <a:lnTo>
                      <a:pt x="1277" y="651"/>
                    </a:lnTo>
                    <a:lnTo>
                      <a:pt x="1200" y="663"/>
                    </a:lnTo>
                    <a:lnTo>
                      <a:pt x="1120" y="671"/>
                    </a:lnTo>
                    <a:lnTo>
                      <a:pt x="1120" y="1008"/>
                    </a:lnTo>
                    <a:lnTo>
                      <a:pt x="1567" y="1008"/>
                    </a:lnTo>
                    <a:lnTo>
                      <a:pt x="1561" y="916"/>
                    </a:lnTo>
                    <a:lnTo>
                      <a:pt x="1552" y="827"/>
                    </a:lnTo>
                    <a:lnTo>
                      <a:pt x="1537" y="742"/>
                    </a:lnTo>
                    <a:lnTo>
                      <a:pt x="1519" y="659"/>
                    </a:lnTo>
                    <a:lnTo>
                      <a:pt x="1497" y="581"/>
                    </a:lnTo>
                    <a:close/>
                    <a:moveTo>
                      <a:pt x="631" y="581"/>
                    </a:moveTo>
                    <a:lnTo>
                      <a:pt x="609" y="659"/>
                    </a:lnTo>
                    <a:lnTo>
                      <a:pt x="590" y="742"/>
                    </a:lnTo>
                    <a:lnTo>
                      <a:pt x="576" y="827"/>
                    </a:lnTo>
                    <a:lnTo>
                      <a:pt x="567" y="916"/>
                    </a:lnTo>
                    <a:lnTo>
                      <a:pt x="561" y="1008"/>
                    </a:lnTo>
                    <a:lnTo>
                      <a:pt x="1009" y="1008"/>
                    </a:lnTo>
                    <a:lnTo>
                      <a:pt x="1009" y="671"/>
                    </a:lnTo>
                    <a:lnTo>
                      <a:pt x="928" y="663"/>
                    </a:lnTo>
                    <a:lnTo>
                      <a:pt x="851" y="651"/>
                    </a:lnTo>
                    <a:lnTo>
                      <a:pt x="775" y="633"/>
                    </a:lnTo>
                    <a:lnTo>
                      <a:pt x="701" y="610"/>
                    </a:lnTo>
                    <a:lnTo>
                      <a:pt x="631" y="581"/>
                    </a:lnTo>
                    <a:close/>
                    <a:moveTo>
                      <a:pt x="1757" y="416"/>
                    </a:moveTo>
                    <a:lnTo>
                      <a:pt x="1706" y="457"/>
                    </a:lnTo>
                    <a:lnTo>
                      <a:pt x="1653" y="495"/>
                    </a:lnTo>
                    <a:lnTo>
                      <a:pt x="1596" y="530"/>
                    </a:lnTo>
                    <a:lnTo>
                      <a:pt x="1619" y="602"/>
                    </a:lnTo>
                    <a:lnTo>
                      <a:pt x="1637" y="679"/>
                    </a:lnTo>
                    <a:lnTo>
                      <a:pt x="1654" y="757"/>
                    </a:lnTo>
                    <a:lnTo>
                      <a:pt x="1666" y="838"/>
                    </a:lnTo>
                    <a:lnTo>
                      <a:pt x="1674" y="922"/>
                    </a:lnTo>
                    <a:lnTo>
                      <a:pt x="1679" y="1008"/>
                    </a:lnTo>
                    <a:lnTo>
                      <a:pt x="2011" y="1008"/>
                    </a:lnTo>
                    <a:lnTo>
                      <a:pt x="2004" y="933"/>
                    </a:lnTo>
                    <a:lnTo>
                      <a:pt x="1991" y="859"/>
                    </a:lnTo>
                    <a:lnTo>
                      <a:pt x="1972" y="787"/>
                    </a:lnTo>
                    <a:lnTo>
                      <a:pt x="1948" y="719"/>
                    </a:lnTo>
                    <a:lnTo>
                      <a:pt x="1920" y="651"/>
                    </a:lnTo>
                    <a:lnTo>
                      <a:pt x="1885" y="588"/>
                    </a:lnTo>
                    <a:lnTo>
                      <a:pt x="1847" y="526"/>
                    </a:lnTo>
                    <a:lnTo>
                      <a:pt x="1805" y="469"/>
                    </a:lnTo>
                    <a:lnTo>
                      <a:pt x="1757" y="416"/>
                    </a:lnTo>
                    <a:close/>
                    <a:moveTo>
                      <a:pt x="371" y="416"/>
                    </a:moveTo>
                    <a:lnTo>
                      <a:pt x="324" y="469"/>
                    </a:lnTo>
                    <a:lnTo>
                      <a:pt x="281" y="526"/>
                    </a:lnTo>
                    <a:lnTo>
                      <a:pt x="243" y="588"/>
                    </a:lnTo>
                    <a:lnTo>
                      <a:pt x="209" y="651"/>
                    </a:lnTo>
                    <a:lnTo>
                      <a:pt x="180" y="719"/>
                    </a:lnTo>
                    <a:lnTo>
                      <a:pt x="156" y="787"/>
                    </a:lnTo>
                    <a:lnTo>
                      <a:pt x="138" y="859"/>
                    </a:lnTo>
                    <a:lnTo>
                      <a:pt x="123" y="933"/>
                    </a:lnTo>
                    <a:lnTo>
                      <a:pt x="117" y="1008"/>
                    </a:lnTo>
                    <a:lnTo>
                      <a:pt x="449" y="1008"/>
                    </a:lnTo>
                    <a:lnTo>
                      <a:pt x="455" y="922"/>
                    </a:lnTo>
                    <a:lnTo>
                      <a:pt x="462" y="838"/>
                    </a:lnTo>
                    <a:lnTo>
                      <a:pt x="475" y="757"/>
                    </a:lnTo>
                    <a:lnTo>
                      <a:pt x="490" y="679"/>
                    </a:lnTo>
                    <a:lnTo>
                      <a:pt x="509" y="602"/>
                    </a:lnTo>
                    <a:lnTo>
                      <a:pt x="532" y="530"/>
                    </a:lnTo>
                    <a:lnTo>
                      <a:pt x="475" y="495"/>
                    </a:lnTo>
                    <a:lnTo>
                      <a:pt x="422" y="457"/>
                    </a:lnTo>
                    <a:lnTo>
                      <a:pt x="371" y="416"/>
                    </a:lnTo>
                    <a:close/>
                    <a:moveTo>
                      <a:pt x="1405" y="178"/>
                    </a:moveTo>
                    <a:lnTo>
                      <a:pt x="1439" y="219"/>
                    </a:lnTo>
                    <a:lnTo>
                      <a:pt x="1470" y="265"/>
                    </a:lnTo>
                    <a:lnTo>
                      <a:pt x="1501" y="314"/>
                    </a:lnTo>
                    <a:lnTo>
                      <a:pt x="1529" y="367"/>
                    </a:lnTo>
                    <a:lnTo>
                      <a:pt x="1555" y="422"/>
                    </a:lnTo>
                    <a:lnTo>
                      <a:pt x="1616" y="381"/>
                    </a:lnTo>
                    <a:lnTo>
                      <a:pt x="1674" y="336"/>
                    </a:lnTo>
                    <a:lnTo>
                      <a:pt x="1625" y="297"/>
                    </a:lnTo>
                    <a:lnTo>
                      <a:pt x="1573" y="263"/>
                    </a:lnTo>
                    <a:lnTo>
                      <a:pt x="1519" y="230"/>
                    </a:lnTo>
                    <a:lnTo>
                      <a:pt x="1463" y="202"/>
                    </a:lnTo>
                    <a:lnTo>
                      <a:pt x="1405" y="178"/>
                    </a:lnTo>
                    <a:close/>
                    <a:moveTo>
                      <a:pt x="724" y="178"/>
                    </a:moveTo>
                    <a:lnTo>
                      <a:pt x="665" y="202"/>
                    </a:lnTo>
                    <a:lnTo>
                      <a:pt x="609" y="230"/>
                    </a:lnTo>
                    <a:lnTo>
                      <a:pt x="555" y="263"/>
                    </a:lnTo>
                    <a:lnTo>
                      <a:pt x="502" y="297"/>
                    </a:lnTo>
                    <a:lnTo>
                      <a:pt x="454" y="336"/>
                    </a:lnTo>
                    <a:lnTo>
                      <a:pt x="512" y="381"/>
                    </a:lnTo>
                    <a:lnTo>
                      <a:pt x="574" y="422"/>
                    </a:lnTo>
                    <a:lnTo>
                      <a:pt x="600" y="367"/>
                    </a:lnTo>
                    <a:lnTo>
                      <a:pt x="627" y="314"/>
                    </a:lnTo>
                    <a:lnTo>
                      <a:pt x="658" y="265"/>
                    </a:lnTo>
                    <a:lnTo>
                      <a:pt x="690" y="219"/>
                    </a:lnTo>
                    <a:lnTo>
                      <a:pt x="724" y="178"/>
                    </a:lnTo>
                    <a:close/>
                    <a:moveTo>
                      <a:pt x="1120" y="120"/>
                    </a:moveTo>
                    <a:lnTo>
                      <a:pt x="1120" y="557"/>
                    </a:lnTo>
                    <a:lnTo>
                      <a:pt x="1191" y="550"/>
                    </a:lnTo>
                    <a:lnTo>
                      <a:pt x="1262" y="538"/>
                    </a:lnTo>
                    <a:lnTo>
                      <a:pt x="1329" y="521"/>
                    </a:lnTo>
                    <a:lnTo>
                      <a:pt x="1395" y="499"/>
                    </a:lnTo>
                    <a:lnTo>
                      <a:pt x="1458" y="473"/>
                    </a:lnTo>
                    <a:lnTo>
                      <a:pt x="1433" y="418"/>
                    </a:lnTo>
                    <a:lnTo>
                      <a:pt x="1405" y="366"/>
                    </a:lnTo>
                    <a:lnTo>
                      <a:pt x="1376" y="317"/>
                    </a:lnTo>
                    <a:lnTo>
                      <a:pt x="1343" y="273"/>
                    </a:lnTo>
                    <a:lnTo>
                      <a:pt x="1310" y="235"/>
                    </a:lnTo>
                    <a:lnTo>
                      <a:pt x="1275" y="201"/>
                    </a:lnTo>
                    <a:lnTo>
                      <a:pt x="1238" y="172"/>
                    </a:lnTo>
                    <a:lnTo>
                      <a:pt x="1200" y="149"/>
                    </a:lnTo>
                    <a:lnTo>
                      <a:pt x="1161" y="131"/>
                    </a:lnTo>
                    <a:lnTo>
                      <a:pt x="1120" y="120"/>
                    </a:lnTo>
                    <a:close/>
                    <a:moveTo>
                      <a:pt x="1009" y="120"/>
                    </a:moveTo>
                    <a:lnTo>
                      <a:pt x="967" y="131"/>
                    </a:lnTo>
                    <a:lnTo>
                      <a:pt x="928" y="149"/>
                    </a:lnTo>
                    <a:lnTo>
                      <a:pt x="890" y="172"/>
                    </a:lnTo>
                    <a:lnTo>
                      <a:pt x="853" y="201"/>
                    </a:lnTo>
                    <a:lnTo>
                      <a:pt x="818" y="235"/>
                    </a:lnTo>
                    <a:lnTo>
                      <a:pt x="785" y="273"/>
                    </a:lnTo>
                    <a:lnTo>
                      <a:pt x="752" y="317"/>
                    </a:lnTo>
                    <a:lnTo>
                      <a:pt x="723" y="366"/>
                    </a:lnTo>
                    <a:lnTo>
                      <a:pt x="695" y="418"/>
                    </a:lnTo>
                    <a:lnTo>
                      <a:pt x="670" y="473"/>
                    </a:lnTo>
                    <a:lnTo>
                      <a:pt x="733" y="499"/>
                    </a:lnTo>
                    <a:lnTo>
                      <a:pt x="799" y="521"/>
                    </a:lnTo>
                    <a:lnTo>
                      <a:pt x="867" y="538"/>
                    </a:lnTo>
                    <a:lnTo>
                      <a:pt x="937" y="550"/>
                    </a:lnTo>
                    <a:lnTo>
                      <a:pt x="1009" y="557"/>
                    </a:lnTo>
                    <a:lnTo>
                      <a:pt x="1009" y="120"/>
                    </a:lnTo>
                    <a:close/>
                    <a:moveTo>
                      <a:pt x="1064" y="0"/>
                    </a:moveTo>
                    <a:lnTo>
                      <a:pt x="1143" y="3"/>
                    </a:lnTo>
                    <a:lnTo>
                      <a:pt x="1220" y="12"/>
                    </a:lnTo>
                    <a:lnTo>
                      <a:pt x="1295" y="26"/>
                    </a:lnTo>
                    <a:lnTo>
                      <a:pt x="1369" y="44"/>
                    </a:lnTo>
                    <a:lnTo>
                      <a:pt x="1441" y="69"/>
                    </a:lnTo>
                    <a:lnTo>
                      <a:pt x="1509" y="97"/>
                    </a:lnTo>
                    <a:lnTo>
                      <a:pt x="1575" y="131"/>
                    </a:lnTo>
                    <a:lnTo>
                      <a:pt x="1640" y="169"/>
                    </a:lnTo>
                    <a:lnTo>
                      <a:pt x="1700" y="212"/>
                    </a:lnTo>
                    <a:lnTo>
                      <a:pt x="1758" y="258"/>
                    </a:lnTo>
                    <a:lnTo>
                      <a:pt x="1758" y="258"/>
                    </a:lnTo>
                    <a:lnTo>
                      <a:pt x="1813" y="310"/>
                    </a:lnTo>
                    <a:lnTo>
                      <a:pt x="1867" y="366"/>
                    </a:lnTo>
                    <a:lnTo>
                      <a:pt x="1914" y="425"/>
                    </a:lnTo>
                    <a:lnTo>
                      <a:pt x="1958" y="488"/>
                    </a:lnTo>
                    <a:lnTo>
                      <a:pt x="1998" y="556"/>
                    </a:lnTo>
                    <a:lnTo>
                      <a:pt x="2032" y="624"/>
                    </a:lnTo>
                    <a:lnTo>
                      <a:pt x="2062" y="697"/>
                    </a:lnTo>
                    <a:lnTo>
                      <a:pt x="2086" y="771"/>
                    </a:lnTo>
                    <a:lnTo>
                      <a:pt x="2104" y="848"/>
                    </a:lnTo>
                    <a:lnTo>
                      <a:pt x="2117" y="927"/>
                    </a:lnTo>
                    <a:lnTo>
                      <a:pt x="2125" y="1008"/>
                    </a:lnTo>
                    <a:lnTo>
                      <a:pt x="2128" y="1008"/>
                    </a:lnTo>
                    <a:lnTo>
                      <a:pt x="2128" y="1119"/>
                    </a:lnTo>
                    <a:lnTo>
                      <a:pt x="2125" y="1119"/>
                    </a:lnTo>
                    <a:lnTo>
                      <a:pt x="2118" y="1198"/>
                    </a:lnTo>
                    <a:lnTo>
                      <a:pt x="2105" y="1274"/>
                    </a:lnTo>
                    <a:lnTo>
                      <a:pt x="2088" y="1349"/>
                    </a:lnTo>
                    <a:lnTo>
                      <a:pt x="2065" y="1420"/>
                    </a:lnTo>
                    <a:lnTo>
                      <a:pt x="2037" y="1490"/>
                    </a:lnTo>
                    <a:lnTo>
                      <a:pt x="2006" y="1557"/>
                    </a:lnTo>
                    <a:lnTo>
                      <a:pt x="1969" y="1621"/>
                    </a:lnTo>
                    <a:lnTo>
                      <a:pt x="1927" y="1683"/>
                    </a:lnTo>
                    <a:lnTo>
                      <a:pt x="1882" y="1742"/>
                    </a:lnTo>
                    <a:lnTo>
                      <a:pt x="1869" y="1745"/>
                    </a:lnTo>
                    <a:lnTo>
                      <a:pt x="1857" y="1749"/>
                    </a:lnTo>
                    <a:lnTo>
                      <a:pt x="1827" y="1745"/>
                    </a:lnTo>
                    <a:lnTo>
                      <a:pt x="1798" y="1743"/>
                    </a:lnTo>
                    <a:lnTo>
                      <a:pt x="1761" y="1746"/>
                    </a:lnTo>
                    <a:lnTo>
                      <a:pt x="1725" y="1753"/>
                    </a:lnTo>
                    <a:lnTo>
                      <a:pt x="1692" y="1766"/>
                    </a:lnTo>
                    <a:lnTo>
                      <a:pt x="1659" y="1782"/>
                    </a:lnTo>
                    <a:lnTo>
                      <a:pt x="1608" y="1743"/>
                    </a:lnTo>
                    <a:lnTo>
                      <a:pt x="1554" y="1707"/>
                    </a:lnTo>
                    <a:lnTo>
                      <a:pt x="1520" y="1777"/>
                    </a:lnTo>
                    <a:lnTo>
                      <a:pt x="1484" y="1841"/>
                    </a:lnTo>
                    <a:lnTo>
                      <a:pt x="1465" y="1806"/>
                    </a:lnTo>
                    <a:lnTo>
                      <a:pt x="1441" y="1774"/>
                    </a:lnTo>
                    <a:lnTo>
                      <a:pt x="1414" y="1747"/>
                    </a:lnTo>
                    <a:lnTo>
                      <a:pt x="1436" y="1703"/>
                    </a:lnTo>
                    <a:lnTo>
                      <a:pt x="1458" y="1656"/>
                    </a:lnTo>
                    <a:lnTo>
                      <a:pt x="1394" y="1630"/>
                    </a:lnTo>
                    <a:lnTo>
                      <a:pt x="1329" y="1608"/>
                    </a:lnTo>
                    <a:lnTo>
                      <a:pt x="1261" y="1591"/>
                    </a:lnTo>
                    <a:lnTo>
                      <a:pt x="1191" y="1580"/>
                    </a:lnTo>
                    <a:lnTo>
                      <a:pt x="1120" y="1572"/>
                    </a:lnTo>
                    <a:lnTo>
                      <a:pt x="1120" y="1680"/>
                    </a:lnTo>
                    <a:lnTo>
                      <a:pt x="1009" y="1680"/>
                    </a:lnTo>
                    <a:lnTo>
                      <a:pt x="1009" y="1572"/>
                    </a:lnTo>
                    <a:lnTo>
                      <a:pt x="937" y="1580"/>
                    </a:lnTo>
                    <a:lnTo>
                      <a:pt x="867" y="1591"/>
                    </a:lnTo>
                    <a:lnTo>
                      <a:pt x="799" y="1608"/>
                    </a:lnTo>
                    <a:lnTo>
                      <a:pt x="734" y="1630"/>
                    </a:lnTo>
                    <a:lnTo>
                      <a:pt x="670" y="1656"/>
                    </a:lnTo>
                    <a:lnTo>
                      <a:pt x="682" y="1680"/>
                    </a:lnTo>
                    <a:lnTo>
                      <a:pt x="414" y="1680"/>
                    </a:lnTo>
                    <a:lnTo>
                      <a:pt x="452" y="1652"/>
                    </a:lnTo>
                    <a:lnTo>
                      <a:pt x="492" y="1624"/>
                    </a:lnTo>
                    <a:lnTo>
                      <a:pt x="532" y="1599"/>
                    </a:lnTo>
                    <a:lnTo>
                      <a:pt x="510" y="1527"/>
                    </a:lnTo>
                    <a:lnTo>
                      <a:pt x="490" y="1451"/>
                    </a:lnTo>
                    <a:lnTo>
                      <a:pt x="475" y="1371"/>
                    </a:lnTo>
                    <a:lnTo>
                      <a:pt x="462" y="1290"/>
                    </a:lnTo>
                    <a:lnTo>
                      <a:pt x="455" y="1206"/>
                    </a:lnTo>
                    <a:lnTo>
                      <a:pt x="449" y="1119"/>
                    </a:lnTo>
                    <a:lnTo>
                      <a:pt x="117" y="1119"/>
                    </a:lnTo>
                    <a:lnTo>
                      <a:pt x="124" y="1199"/>
                    </a:lnTo>
                    <a:lnTo>
                      <a:pt x="139" y="1276"/>
                    </a:lnTo>
                    <a:lnTo>
                      <a:pt x="159" y="1351"/>
                    </a:lnTo>
                    <a:lnTo>
                      <a:pt x="185" y="1422"/>
                    </a:lnTo>
                    <a:lnTo>
                      <a:pt x="217" y="1492"/>
                    </a:lnTo>
                    <a:lnTo>
                      <a:pt x="254" y="1558"/>
                    </a:lnTo>
                    <a:lnTo>
                      <a:pt x="296" y="1621"/>
                    </a:lnTo>
                    <a:lnTo>
                      <a:pt x="343" y="1680"/>
                    </a:lnTo>
                    <a:lnTo>
                      <a:pt x="199" y="1680"/>
                    </a:lnTo>
                    <a:lnTo>
                      <a:pt x="159" y="1620"/>
                    </a:lnTo>
                    <a:lnTo>
                      <a:pt x="123" y="1558"/>
                    </a:lnTo>
                    <a:lnTo>
                      <a:pt x="92" y="1494"/>
                    </a:lnTo>
                    <a:lnTo>
                      <a:pt x="65" y="1427"/>
                    </a:lnTo>
                    <a:lnTo>
                      <a:pt x="42" y="1358"/>
                    </a:lnTo>
                    <a:lnTo>
                      <a:pt x="23" y="1288"/>
                    </a:lnTo>
                    <a:lnTo>
                      <a:pt x="10" y="1215"/>
                    </a:lnTo>
                    <a:lnTo>
                      <a:pt x="3" y="1140"/>
                    </a:lnTo>
                    <a:lnTo>
                      <a:pt x="0" y="1064"/>
                    </a:lnTo>
                    <a:lnTo>
                      <a:pt x="3" y="980"/>
                    </a:lnTo>
                    <a:lnTo>
                      <a:pt x="13" y="899"/>
                    </a:lnTo>
                    <a:lnTo>
                      <a:pt x="28" y="820"/>
                    </a:lnTo>
                    <a:lnTo>
                      <a:pt x="50" y="743"/>
                    </a:lnTo>
                    <a:lnTo>
                      <a:pt x="76" y="668"/>
                    </a:lnTo>
                    <a:lnTo>
                      <a:pt x="108" y="596"/>
                    </a:lnTo>
                    <a:lnTo>
                      <a:pt x="145" y="526"/>
                    </a:lnTo>
                    <a:lnTo>
                      <a:pt x="187" y="461"/>
                    </a:lnTo>
                    <a:lnTo>
                      <a:pt x="234" y="398"/>
                    </a:lnTo>
                    <a:lnTo>
                      <a:pt x="284" y="340"/>
                    </a:lnTo>
                    <a:lnTo>
                      <a:pt x="340" y="284"/>
                    </a:lnTo>
                    <a:lnTo>
                      <a:pt x="398" y="233"/>
                    </a:lnTo>
                    <a:lnTo>
                      <a:pt x="461" y="188"/>
                    </a:lnTo>
                    <a:lnTo>
                      <a:pt x="527" y="145"/>
                    </a:lnTo>
                    <a:lnTo>
                      <a:pt x="596" y="108"/>
                    </a:lnTo>
                    <a:lnTo>
                      <a:pt x="669" y="76"/>
                    </a:lnTo>
                    <a:lnTo>
                      <a:pt x="742" y="50"/>
                    </a:lnTo>
                    <a:lnTo>
                      <a:pt x="820" y="28"/>
                    </a:lnTo>
                    <a:lnTo>
                      <a:pt x="900" y="13"/>
                    </a:lnTo>
                    <a:lnTo>
                      <a:pt x="981" y="3"/>
                    </a:lnTo>
                    <a:lnTo>
                      <a:pt x="106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47" name="Freeform 58"/>
              <p:cNvSpPr>
                <a:spLocks/>
              </p:cNvSpPr>
              <p:nvPr/>
            </p:nvSpPr>
            <p:spPr bwMode="auto">
              <a:xfrm>
                <a:off x="5736542" y="2859178"/>
                <a:ext cx="711200" cy="304800"/>
              </a:xfrm>
              <a:custGeom>
                <a:avLst/>
                <a:gdLst/>
                <a:ahLst/>
                <a:cxnLst>
                  <a:cxn ang="0">
                    <a:pos x="1008" y="0"/>
                  </a:cxn>
                  <a:cxn ang="0">
                    <a:pos x="2240" y="0"/>
                  </a:cxn>
                  <a:cxn ang="0">
                    <a:pos x="2271" y="3"/>
                  </a:cxn>
                  <a:cxn ang="0">
                    <a:pos x="2299" y="11"/>
                  </a:cxn>
                  <a:cxn ang="0">
                    <a:pos x="2325" y="23"/>
                  </a:cxn>
                  <a:cxn ang="0">
                    <a:pos x="2348" y="40"/>
                  </a:cxn>
                  <a:cxn ang="0">
                    <a:pos x="2368" y="59"/>
                  </a:cxn>
                  <a:cxn ang="0">
                    <a:pos x="2385" y="83"/>
                  </a:cxn>
                  <a:cxn ang="0">
                    <a:pos x="2398" y="109"/>
                  </a:cxn>
                  <a:cxn ang="0">
                    <a:pos x="2405" y="138"/>
                  </a:cxn>
                  <a:cxn ang="0">
                    <a:pos x="2408" y="168"/>
                  </a:cxn>
                  <a:cxn ang="0">
                    <a:pos x="2405" y="198"/>
                  </a:cxn>
                  <a:cxn ang="0">
                    <a:pos x="2398" y="227"/>
                  </a:cxn>
                  <a:cxn ang="0">
                    <a:pos x="2385" y="253"/>
                  </a:cxn>
                  <a:cxn ang="0">
                    <a:pos x="2368" y="277"/>
                  </a:cxn>
                  <a:cxn ang="0">
                    <a:pos x="2348" y="296"/>
                  </a:cxn>
                  <a:cxn ang="0">
                    <a:pos x="2325" y="314"/>
                  </a:cxn>
                  <a:cxn ang="0">
                    <a:pos x="2299" y="326"/>
                  </a:cxn>
                  <a:cxn ang="0">
                    <a:pos x="2271" y="333"/>
                  </a:cxn>
                  <a:cxn ang="0">
                    <a:pos x="2240" y="336"/>
                  </a:cxn>
                  <a:cxn ang="0">
                    <a:pos x="1624" y="336"/>
                  </a:cxn>
                  <a:cxn ang="0">
                    <a:pos x="1848" y="448"/>
                  </a:cxn>
                  <a:cxn ang="0">
                    <a:pos x="2352" y="448"/>
                  </a:cxn>
                  <a:cxn ang="0">
                    <a:pos x="2688" y="112"/>
                  </a:cxn>
                  <a:cxn ang="0">
                    <a:pos x="2708" y="94"/>
                  </a:cxn>
                  <a:cxn ang="0">
                    <a:pos x="2731" y="81"/>
                  </a:cxn>
                  <a:cxn ang="0">
                    <a:pos x="2755" y="71"/>
                  </a:cxn>
                  <a:cxn ang="0">
                    <a:pos x="2781" y="65"/>
                  </a:cxn>
                  <a:cxn ang="0">
                    <a:pos x="2806" y="63"/>
                  </a:cxn>
                  <a:cxn ang="0">
                    <a:pos x="2830" y="65"/>
                  </a:cxn>
                  <a:cxn ang="0">
                    <a:pos x="2853" y="69"/>
                  </a:cxn>
                  <a:cxn ang="0">
                    <a:pos x="2875" y="78"/>
                  </a:cxn>
                  <a:cxn ang="0">
                    <a:pos x="2896" y="65"/>
                  </a:cxn>
                  <a:cxn ang="0">
                    <a:pos x="2920" y="56"/>
                  </a:cxn>
                  <a:cxn ang="0">
                    <a:pos x="2944" y="51"/>
                  </a:cxn>
                  <a:cxn ang="0">
                    <a:pos x="2968" y="50"/>
                  </a:cxn>
                  <a:cxn ang="0">
                    <a:pos x="2994" y="51"/>
                  </a:cxn>
                  <a:cxn ang="0">
                    <a:pos x="3019" y="57"/>
                  </a:cxn>
                  <a:cxn ang="0">
                    <a:pos x="3043" y="67"/>
                  </a:cxn>
                  <a:cxn ang="0">
                    <a:pos x="3066" y="81"/>
                  </a:cxn>
                  <a:cxn ang="0">
                    <a:pos x="3086" y="99"/>
                  </a:cxn>
                  <a:cxn ang="0">
                    <a:pos x="3106" y="121"/>
                  </a:cxn>
                  <a:cxn ang="0">
                    <a:pos x="3121" y="147"/>
                  </a:cxn>
                  <a:cxn ang="0">
                    <a:pos x="3131" y="175"/>
                  </a:cxn>
                  <a:cxn ang="0">
                    <a:pos x="3135" y="203"/>
                  </a:cxn>
                  <a:cxn ang="0">
                    <a:pos x="3135" y="231"/>
                  </a:cxn>
                  <a:cxn ang="0">
                    <a:pos x="3131" y="259"/>
                  </a:cxn>
                  <a:cxn ang="0">
                    <a:pos x="3121" y="288"/>
                  </a:cxn>
                  <a:cxn ang="0">
                    <a:pos x="3106" y="313"/>
                  </a:cxn>
                  <a:cxn ang="0">
                    <a:pos x="3086" y="336"/>
                  </a:cxn>
                  <a:cxn ang="0">
                    <a:pos x="2464" y="952"/>
                  </a:cxn>
                  <a:cxn ang="0">
                    <a:pos x="1512" y="952"/>
                  </a:cxn>
                  <a:cxn ang="0">
                    <a:pos x="1119" y="784"/>
                  </a:cxn>
                  <a:cxn ang="0">
                    <a:pos x="0" y="1344"/>
                  </a:cxn>
                  <a:cxn ang="0">
                    <a:pos x="0" y="504"/>
                  </a:cxn>
                  <a:cxn ang="0">
                    <a:pos x="1008" y="0"/>
                  </a:cxn>
                </a:cxnLst>
                <a:rect l="0" t="0" r="r" b="b"/>
                <a:pathLst>
                  <a:path w="3135" h="1344">
                    <a:moveTo>
                      <a:pt x="1008" y="0"/>
                    </a:moveTo>
                    <a:lnTo>
                      <a:pt x="2240" y="0"/>
                    </a:lnTo>
                    <a:lnTo>
                      <a:pt x="2271" y="3"/>
                    </a:lnTo>
                    <a:lnTo>
                      <a:pt x="2299" y="11"/>
                    </a:lnTo>
                    <a:lnTo>
                      <a:pt x="2325" y="23"/>
                    </a:lnTo>
                    <a:lnTo>
                      <a:pt x="2348" y="40"/>
                    </a:lnTo>
                    <a:lnTo>
                      <a:pt x="2368" y="59"/>
                    </a:lnTo>
                    <a:lnTo>
                      <a:pt x="2385" y="83"/>
                    </a:lnTo>
                    <a:lnTo>
                      <a:pt x="2398" y="109"/>
                    </a:lnTo>
                    <a:lnTo>
                      <a:pt x="2405" y="138"/>
                    </a:lnTo>
                    <a:lnTo>
                      <a:pt x="2408" y="168"/>
                    </a:lnTo>
                    <a:lnTo>
                      <a:pt x="2405" y="198"/>
                    </a:lnTo>
                    <a:lnTo>
                      <a:pt x="2398" y="227"/>
                    </a:lnTo>
                    <a:lnTo>
                      <a:pt x="2385" y="253"/>
                    </a:lnTo>
                    <a:lnTo>
                      <a:pt x="2368" y="277"/>
                    </a:lnTo>
                    <a:lnTo>
                      <a:pt x="2348" y="296"/>
                    </a:lnTo>
                    <a:lnTo>
                      <a:pt x="2325" y="314"/>
                    </a:lnTo>
                    <a:lnTo>
                      <a:pt x="2299" y="326"/>
                    </a:lnTo>
                    <a:lnTo>
                      <a:pt x="2271" y="333"/>
                    </a:lnTo>
                    <a:lnTo>
                      <a:pt x="2240" y="336"/>
                    </a:lnTo>
                    <a:lnTo>
                      <a:pt x="1624" y="336"/>
                    </a:lnTo>
                    <a:lnTo>
                      <a:pt x="1848" y="448"/>
                    </a:lnTo>
                    <a:lnTo>
                      <a:pt x="2352" y="448"/>
                    </a:lnTo>
                    <a:lnTo>
                      <a:pt x="2688" y="112"/>
                    </a:lnTo>
                    <a:lnTo>
                      <a:pt x="2708" y="94"/>
                    </a:lnTo>
                    <a:lnTo>
                      <a:pt x="2731" y="81"/>
                    </a:lnTo>
                    <a:lnTo>
                      <a:pt x="2755" y="71"/>
                    </a:lnTo>
                    <a:lnTo>
                      <a:pt x="2781" y="65"/>
                    </a:lnTo>
                    <a:lnTo>
                      <a:pt x="2806" y="63"/>
                    </a:lnTo>
                    <a:lnTo>
                      <a:pt x="2830" y="65"/>
                    </a:lnTo>
                    <a:lnTo>
                      <a:pt x="2853" y="69"/>
                    </a:lnTo>
                    <a:lnTo>
                      <a:pt x="2875" y="78"/>
                    </a:lnTo>
                    <a:lnTo>
                      <a:pt x="2896" y="65"/>
                    </a:lnTo>
                    <a:lnTo>
                      <a:pt x="2920" y="56"/>
                    </a:lnTo>
                    <a:lnTo>
                      <a:pt x="2944" y="51"/>
                    </a:lnTo>
                    <a:lnTo>
                      <a:pt x="2968" y="50"/>
                    </a:lnTo>
                    <a:lnTo>
                      <a:pt x="2994" y="51"/>
                    </a:lnTo>
                    <a:lnTo>
                      <a:pt x="3019" y="57"/>
                    </a:lnTo>
                    <a:lnTo>
                      <a:pt x="3043" y="67"/>
                    </a:lnTo>
                    <a:lnTo>
                      <a:pt x="3066" y="81"/>
                    </a:lnTo>
                    <a:lnTo>
                      <a:pt x="3086" y="99"/>
                    </a:lnTo>
                    <a:lnTo>
                      <a:pt x="3106" y="121"/>
                    </a:lnTo>
                    <a:lnTo>
                      <a:pt x="3121" y="147"/>
                    </a:lnTo>
                    <a:lnTo>
                      <a:pt x="3131" y="175"/>
                    </a:lnTo>
                    <a:lnTo>
                      <a:pt x="3135" y="203"/>
                    </a:lnTo>
                    <a:lnTo>
                      <a:pt x="3135" y="231"/>
                    </a:lnTo>
                    <a:lnTo>
                      <a:pt x="3131" y="259"/>
                    </a:lnTo>
                    <a:lnTo>
                      <a:pt x="3121" y="288"/>
                    </a:lnTo>
                    <a:lnTo>
                      <a:pt x="3106" y="313"/>
                    </a:lnTo>
                    <a:lnTo>
                      <a:pt x="3086" y="336"/>
                    </a:lnTo>
                    <a:lnTo>
                      <a:pt x="2464" y="952"/>
                    </a:lnTo>
                    <a:lnTo>
                      <a:pt x="1512" y="952"/>
                    </a:lnTo>
                    <a:lnTo>
                      <a:pt x="1119" y="784"/>
                    </a:lnTo>
                    <a:lnTo>
                      <a:pt x="0" y="1344"/>
                    </a:lnTo>
                    <a:lnTo>
                      <a:pt x="0" y="504"/>
                    </a:lnTo>
                    <a:lnTo>
                      <a:pt x="100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</p:grpSp>
        <p:grpSp>
          <p:nvGrpSpPr>
            <p:cNvPr id="148" name="Gruppieren 143"/>
            <p:cNvGrpSpPr/>
            <p:nvPr/>
          </p:nvGrpSpPr>
          <p:grpSpPr>
            <a:xfrm>
              <a:off x="6148098" y="2459367"/>
              <a:ext cx="901299" cy="869110"/>
              <a:chOff x="6838118" y="2452778"/>
              <a:chExt cx="711200" cy="685800"/>
            </a:xfrm>
            <a:solidFill>
              <a:schemeClr val="tx1"/>
            </a:solidFill>
          </p:grpSpPr>
          <p:sp>
            <p:nvSpPr>
              <p:cNvPr id="149" name="Freeform 63"/>
              <p:cNvSpPr>
                <a:spLocks/>
              </p:cNvSpPr>
              <p:nvPr/>
            </p:nvSpPr>
            <p:spPr bwMode="auto">
              <a:xfrm>
                <a:off x="6838118" y="3036978"/>
                <a:ext cx="711200" cy="101600"/>
              </a:xfrm>
              <a:custGeom>
                <a:avLst/>
                <a:gdLst/>
                <a:ahLst/>
                <a:cxnLst>
                  <a:cxn ang="0">
                    <a:pos x="168" y="0"/>
                  </a:cxn>
                  <a:cxn ang="0">
                    <a:pos x="2968" y="0"/>
                  </a:cxn>
                  <a:cxn ang="0">
                    <a:pos x="2968" y="224"/>
                  </a:cxn>
                  <a:cxn ang="0">
                    <a:pos x="3136" y="224"/>
                  </a:cxn>
                  <a:cxn ang="0">
                    <a:pos x="3136" y="448"/>
                  </a:cxn>
                  <a:cxn ang="0">
                    <a:pos x="0" y="448"/>
                  </a:cxn>
                  <a:cxn ang="0">
                    <a:pos x="0" y="224"/>
                  </a:cxn>
                  <a:cxn ang="0">
                    <a:pos x="168" y="224"/>
                  </a:cxn>
                  <a:cxn ang="0">
                    <a:pos x="168" y="0"/>
                  </a:cxn>
                </a:cxnLst>
                <a:rect l="0" t="0" r="r" b="b"/>
                <a:pathLst>
                  <a:path w="3136" h="448">
                    <a:moveTo>
                      <a:pt x="168" y="0"/>
                    </a:moveTo>
                    <a:lnTo>
                      <a:pt x="2968" y="0"/>
                    </a:lnTo>
                    <a:lnTo>
                      <a:pt x="2968" y="224"/>
                    </a:lnTo>
                    <a:lnTo>
                      <a:pt x="3136" y="224"/>
                    </a:lnTo>
                    <a:lnTo>
                      <a:pt x="3136" y="448"/>
                    </a:lnTo>
                    <a:lnTo>
                      <a:pt x="0" y="448"/>
                    </a:lnTo>
                    <a:lnTo>
                      <a:pt x="0" y="224"/>
                    </a:lnTo>
                    <a:lnTo>
                      <a:pt x="168" y="224"/>
                    </a:lnTo>
                    <a:lnTo>
                      <a:pt x="1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50" name="Freeform 64"/>
              <p:cNvSpPr>
                <a:spLocks/>
              </p:cNvSpPr>
              <p:nvPr/>
            </p:nvSpPr>
            <p:spPr bwMode="auto">
              <a:xfrm>
                <a:off x="6888918" y="2719478"/>
                <a:ext cx="622300" cy="2921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745" y="0"/>
                  </a:cxn>
                  <a:cxn ang="0">
                    <a:pos x="2745" y="224"/>
                  </a:cxn>
                  <a:cxn ang="0">
                    <a:pos x="2521" y="224"/>
                  </a:cxn>
                  <a:cxn ang="0">
                    <a:pos x="2521" y="1288"/>
                  </a:cxn>
                  <a:cxn ang="0">
                    <a:pos x="2185" y="1288"/>
                  </a:cxn>
                  <a:cxn ang="0">
                    <a:pos x="2185" y="224"/>
                  </a:cxn>
                  <a:cxn ang="0">
                    <a:pos x="1849" y="224"/>
                  </a:cxn>
                  <a:cxn ang="0">
                    <a:pos x="1849" y="1288"/>
                  </a:cxn>
                  <a:cxn ang="0">
                    <a:pos x="1513" y="1288"/>
                  </a:cxn>
                  <a:cxn ang="0">
                    <a:pos x="1513" y="224"/>
                  </a:cxn>
                  <a:cxn ang="0">
                    <a:pos x="1177" y="224"/>
                  </a:cxn>
                  <a:cxn ang="0">
                    <a:pos x="1177" y="1288"/>
                  </a:cxn>
                  <a:cxn ang="0">
                    <a:pos x="841" y="1288"/>
                  </a:cxn>
                  <a:cxn ang="0">
                    <a:pos x="841" y="224"/>
                  </a:cxn>
                  <a:cxn ang="0">
                    <a:pos x="505" y="224"/>
                  </a:cxn>
                  <a:cxn ang="0">
                    <a:pos x="505" y="1288"/>
                  </a:cxn>
                  <a:cxn ang="0">
                    <a:pos x="169" y="1288"/>
                  </a:cxn>
                  <a:cxn ang="0">
                    <a:pos x="169" y="224"/>
                  </a:cxn>
                  <a:cxn ang="0">
                    <a:pos x="0" y="224"/>
                  </a:cxn>
                  <a:cxn ang="0">
                    <a:pos x="0" y="0"/>
                  </a:cxn>
                </a:cxnLst>
                <a:rect l="0" t="0" r="r" b="b"/>
                <a:pathLst>
                  <a:path w="2745" h="1288">
                    <a:moveTo>
                      <a:pt x="0" y="0"/>
                    </a:moveTo>
                    <a:lnTo>
                      <a:pt x="2745" y="0"/>
                    </a:lnTo>
                    <a:lnTo>
                      <a:pt x="2745" y="224"/>
                    </a:lnTo>
                    <a:lnTo>
                      <a:pt x="2521" y="224"/>
                    </a:lnTo>
                    <a:lnTo>
                      <a:pt x="2521" y="1288"/>
                    </a:lnTo>
                    <a:lnTo>
                      <a:pt x="2185" y="1288"/>
                    </a:lnTo>
                    <a:lnTo>
                      <a:pt x="2185" y="224"/>
                    </a:lnTo>
                    <a:lnTo>
                      <a:pt x="1849" y="224"/>
                    </a:lnTo>
                    <a:lnTo>
                      <a:pt x="1849" y="1288"/>
                    </a:lnTo>
                    <a:lnTo>
                      <a:pt x="1513" y="1288"/>
                    </a:lnTo>
                    <a:lnTo>
                      <a:pt x="1513" y="224"/>
                    </a:lnTo>
                    <a:lnTo>
                      <a:pt x="1177" y="224"/>
                    </a:lnTo>
                    <a:lnTo>
                      <a:pt x="1177" y="1288"/>
                    </a:lnTo>
                    <a:lnTo>
                      <a:pt x="841" y="1288"/>
                    </a:lnTo>
                    <a:lnTo>
                      <a:pt x="841" y="224"/>
                    </a:lnTo>
                    <a:lnTo>
                      <a:pt x="505" y="224"/>
                    </a:lnTo>
                    <a:lnTo>
                      <a:pt x="505" y="1288"/>
                    </a:lnTo>
                    <a:lnTo>
                      <a:pt x="169" y="1288"/>
                    </a:lnTo>
                    <a:lnTo>
                      <a:pt x="169" y="224"/>
                    </a:lnTo>
                    <a:lnTo>
                      <a:pt x="0" y="22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51" name="Freeform 65"/>
              <p:cNvSpPr>
                <a:spLocks/>
              </p:cNvSpPr>
              <p:nvPr/>
            </p:nvSpPr>
            <p:spPr bwMode="auto">
              <a:xfrm>
                <a:off x="6838118" y="2452778"/>
                <a:ext cx="711200" cy="241300"/>
              </a:xfrm>
              <a:custGeom>
                <a:avLst/>
                <a:gdLst/>
                <a:ahLst/>
                <a:cxnLst>
                  <a:cxn ang="0">
                    <a:pos x="1568" y="0"/>
                  </a:cxn>
                  <a:cxn ang="0">
                    <a:pos x="3136" y="952"/>
                  </a:cxn>
                  <a:cxn ang="0">
                    <a:pos x="3136" y="1064"/>
                  </a:cxn>
                  <a:cxn ang="0">
                    <a:pos x="0" y="1064"/>
                  </a:cxn>
                  <a:cxn ang="0">
                    <a:pos x="0" y="952"/>
                  </a:cxn>
                  <a:cxn ang="0">
                    <a:pos x="1568" y="0"/>
                  </a:cxn>
                </a:cxnLst>
                <a:rect l="0" t="0" r="r" b="b"/>
                <a:pathLst>
                  <a:path w="3136" h="1064">
                    <a:moveTo>
                      <a:pt x="1568" y="0"/>
                    </a:moveTo>
                    <a:lnTo>
                      <a:pt x="3136" y="952"/>
                    </a:lnTo>
                    <a:lnTo>
                      <a:pt x="3136" y="1064"/>
                    </a:lnTo>
                    <a:lnTo>
                      <a:pt x="0" y="1064"/>
                    </a:lnTo>
                    <a:lnTo>
                      <a:pt x="0" y="952"/>
                    </a:lnTo>
                    <a:lnTo>
                      <a:pt x="15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</p:grpSp>
        <p:sp>
          <p:nvSpPr>
            <p:cNvPr id="152" name="Freeform 126"/>
            <p:cNvSpPr>
              <a:spLocks/>
            </p:cNvSpPr>
            <p:nvPr/>
          </p:nvSpPr>
          <p:spPr bwMode="auto">
            <a:xfrm>
              <a:off x="1020457" y="2452511"/>
              <a:ext cx="901299" cy="901299"/>
            </a:xfrm>
            <a:custGeom>
              <a:avLst/>
              <a:gdLst/>
              <a:ahLst/>
              <a:cxnLst>
                <a:cxn ang="0">
                  <a:pos x="1904" y="0"/>
                </a:cxn>
                <a:cxn ang="0">
                  <a:pos x="2240" y="448"/>
                </a:cxn>
                <a:cxn ang="0">
                  <a:pos x="2240" y="1736"/>
                </a:cxn>
                <a:cxn ang="0">
                  <a:pos x="2352" y="1736"/>
                </a:cxn>
                <a:cxn ang="0">
                  <a:pos x="2352" y="1344"/>
                </a:cxn>
                <a:cxn ang="0">
                  <a:pos x="3136" y="1344"/>
                </a:cxn>
                <a:cxn ang="0">
                  <a:pos x="3136" y="3136"/>
                </a:cxn>
                <a:cxn ang="0">
                  <a:pos x="0" y="3136"/>
                </a:cxn>
                <a:cxn ang="0">
                  <a:pos x="0" y="1680"/>
                </a:cxn>
                <a:cxn ang="0">
                  <a:pos x="784" y="1680"/>
                </a:cxn>
                <a:cxn ang="0">
                  <a:pos x="784" y="2296"/>
                </a:cxn>
                <a:cxn ang="0">
                  <a:pos x="896" y="2296"/>
                </a:cxn>
                <a:cxn ang="0">
                  <a:pos x="896" y="1008"/>
                </a:cxn>
                <a:cxn ang="0">
                  <a:pos x="1568" y="1008"/>
                </a:cxn>
                <a:cxn ang="0">
                  <a:pos x="1568" y="448"/>
                </a:cxn>
                <a:cxn ang="0">
                  <a:pos x="1904" y="0"/>
                </a:cxn>
              </a:cxnLst>
              <a:rect l="0" t="0" r="r" b="b"/>
              <a:pathLst>
                <a:path w="3136" h="3136">
                  <a:moveTo>
                    <a:pt x="1904" y="0"/>
                  </a:moveTo>
                  <a:lnTo>
                    <a:pt x="2240" y="448"/>
                  </a:lnTo>
                  <a:lnTo>
                    <a:pt x="2240" y="1736"/>
                  </a:lnTo>
                  <a:lnTo>
                    <a:pt x="2352" y="1736"/>
                  </a:lnTo>
                  <a:lnTo>
                    <a:pt x="2352" y="1344"/>
                  </a:lnTo>
                  <a:lnTo>
                    <a:pt x="3136" y="1344"/>
                  </a:lnTo>
                  <a:lnTo>
                    <a:pt x="3136" y="3136"/>
                  </a:lnTo>
                  <a:lnTo>
                    <a:pt x="0" y="3136"/>
                  </a:lnTo>
                  <a:lnTo>
                    <a:pt x="0" y="1680"/>
                  </a:lnTo>
                  <a:lnTo>
                    <a:pt x="784" y="1680"/>
                  </a:lnTo>
                  <a:lnTo>
                    <a:pt x="784" y="2296"/>
                  </a:lnTo>
                  <a:lnTo>
                    <a:pt x="896" y="2296"/>
                  </a:lnTo>
                  <a:lnTo>
                    <a:pt x="896" y="1008"/>
                  </a:lnTo>
                  <a:lnTo>
                    <a:pt x="1568" y="1008"/>
                  </a:lnTo>
                  <a:lnTo>
                    <a:pt x="1568" y="448"/>
                  </a:lnTo>
                  <a:lnTo>
                    <a:pt x="1904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de-DE" sz="2701"/>
            </a:p>
          </p:txBody>
        </p:sp>
        <p:grpSp>
          <p:nvGrpSpPr>
            <p:cNvPr id="153" name="Gruppieren 167"/>
            <p:cNvGrpSpPr/>
            <p:nvPr/>
          </p:nvGrpSpPr>
          <p:grpSpPr>
            <a:xfrm>
              <a:off x="3074039" y="2507232"/>
              <a:ext cx="901299" cy="804732"/>
              <a:chOff x="421096" y="3651861"/>
              <a:chExt cx="711200" cy="635000"/>
            </a:xfrm>
            <a:solidFill>
              <a:schemeClr val="tx1"/>
            </a:solidFill>
          </p:grpSpPr>
          <p:sp>
            <p:nvSpPr>
              <p:cNvPr id="154" name="Freeform 92"/>
              <p:cNvSpPr>
                <a:spLocks/>
              </p:cNvSpPr>
              <p:nvPr/>
            </p:nvSpPr>
            <p:spPr bwMode="auto">
              <a:xfrm>
                <a:off x="421096" y="3651861"/>
                <a:ext cx="228600" cy="596900"/>
              </a:xfrm>
              <a:custGeom>
                <a:avLst/>
                <a:gdLst/>
                <a:ahLst/>
                <a:cxnLst>
                  <a:cxn ang="0">
                    <a:pos x="1008" y="0"/>
                  </a:cxn>
                  <a:cxn ang="0">
                    <a:pos x="1008" y="2297"/>
                  </a:cxn>
                  <a:cxn ang="0">
                    <a:pos x="0" y="2633"/>
                  </a:cxn>
                  <a:cxn ang="0">
                    <a:pos x="0" y="337"/>
                  </a:cxn>
                  <a:cxn ang="0">
                    <a:pos x="1008" y="0"/>
                  </a:cxn>
                </a:cxnLst>
                <a:rect l="0" t="0" r="r" b="b"/>
                <a:pathLst>
                  <a:path w="1008" h="2633">
                    <a:moveTo>
                      <a:pt x="1008" y="0"/>
                    </a:moveTo>
                    <a:lnTo>
                      <a:pt x="1008" y="2297"/>
                    </a:lnTo>
                    <a:lnTo>
                      <a:pt x="0" y="2633"/>
                    </a:lnTo>
                    <a:lnTo>
                      <a:pt x="0" y="337"/>
                    </a:lnTo>
                    <a:lnTo>
                      <a:pt x="100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55" name="Freeform 93"/>
              <p:cNvSpPr>
                <a:spLocks/>
              </p:cNvSpPr>
              <p:nvPr/>
            </p:nvSpPr>
            <p:spPr bwMode="auto">
              <a:xfrm>
                <a:off x="700496" y="3651861"/>
                <a:ext cx="152400" cy="6350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72" y="449"/>
                  </a:cxn>
                  <a:cxn ang="0">
                    <a:pos x="672" y="2801"/>
                  </a:cxn>
                  <a:cxn ang="0">
                    <a:pos x="0" y="2297"/>
                  </a:cxn>
                  <a:cxn ang="0">
                    <a:pos x="0" y="0"/>
                  </a:cxn>
                </a:cxnLst>
                <a:rect l="0" t="0" r="r" b="b"/>
                <a:pathLst>
                  <a:path w="672" h="2801">
                    <a:moveTo>
                      <a:pt x="0" y="0"/>
                    </a:moveTo>
                    <a:lnTo>
                      <a:pt x="672" y="449"/>
                    </a:lnTo>
                    <a:lnTo>
                      <a:pt x="672" y="2801"/>
                    </a:lnTo>
                    <a:lnTo>
                      <a:pt x="0" y="229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56" name="Freeform 94"/>
              <p:cNvSpPr>
                <a:spLocks/>
              </p:cNvSpPr>
              <p:nvPr/>
            </p:nvSpPr>
            <p:spPr bwMode="auto">
              <a:xfrm>
                <a:off x="903696" y="3677261"/>
                <a:ext cx="228600" cy="609600"/>
              </a:xfrm>
              <a:custGeom>
                <a:avLst/>
                <a:gdLst/>
                <a:ahLst/>
                <a:cxnLst>
                  <a:cxn ang="0">
                    <a:pos x="1008" y="0"/>
                  </a:cxn>
                  <a:cxn ang="0">
                    <a:pos x="1008" y="2352"/>
                  </a:cxn>
                  <a:cxn ang="0">
                    <a:pos x="0" y="2688"/>
                  </a:cxn>
                  <a:cxn ang="0">
                    <a:pos x="0" y="336"/>
                  </a:cxn>
                  <a:cxn ang="0">
                    <a:pos x="1008" y="0"/>
                  </a:cxn>
                </a:cxnLst>
                <a:rect l="0" t="0" r="r" b="b"/>
                <a:pathLst>
                  <a:path w="1008" h="2688">
                    <a:moveTo>
                      <a:pt x="1008" y="0"/>
                    </a:moveTo>
                    <a:lnTo>
                      <a:pt x="1008" y="2352"/>
                    </a:lnTo>
                    <a:lnTo>
                      <a:pt x="0" y="2688"/>
                    </a:lnTo>
                    <a:lnTo>
                      <a:pt x="0" y="336"/>
                    </a:lnTo>
                    <a:lnTo>
                      <a:pt x="100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</p:grpSp>
        <p:grpSp>
          <p:nvGrpSpPr>
            <p:cNvPr id="157" name="Gruppieren 176"/>
            <p:cNvGrpSpPr/>
            <p:nvPr/>
          </p:nvGrpSpPr>
          <p:grpSpPr>
            <a:xfrm>
              <a:off x="2044624" y="2452511"/>
              <a:ext cx="901299" cy="901299"/>
              <a:chOff x="1594110" y="3651861"/>
              <a:chExt cx="711200" cy="711200"/>
            </a:xfrm>
            <a:solidFill>
              <a:schemeClr val="tx1"/>
            </a:solidFill>
          </p:grpSpPr>
          <p:sp>
            <p:nvSpPr>
              <p:cNvPr id="158" name="Freeform 84"/>
              <p:cNvSpPr>
                <a:spLocks/>
              </p:cNvSpPr>
              <p:nvPr/>
            </p:nvSpPr>
            <p:spPr bwMode="auto">
              <a:xfrm>
                <a:off x="1873510" y="3651861"/>
                <a:ext cx="152400" cy="5254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72" y="448"/>
                  </a:cxn>
                  <a:cxn ang="0">
                    <a:pos x="672" y="1453"/>
                  </a:cxn>
                  <a:cxn ang="0">
                    <a:pos x="610" y="1479"/>
                  </a:cxn>
                  <a:cxn ang="0">
                    <a:pos x="551" y="1510"/>
                  </a:cxn>
                  <a:cxn ang="0">
                    <a:pos x="496" y="1547"/>
                  </a:cxn>
                  <a:cxn ang="0">
                    <a:pos x="442" y="1589"/>
                  </a:cxn>
                  <a:cxn ang="0">
                    <a:pos x="395" y="1633"/>
                  </a:cxn>
                  <a:cxn ang="0">
                    <a:pos x="349" y="1683"/>
                  </a:cxn>
                  <a:cxn ang="0">
                    <a:pos x="309" y="1735"/>
                  </a:cxn>
                  <a:cxn ang="0">
                    <a:pos x="273" y="1792"/>
                  </a:cxn>
                  <a:cxn ang="0">
                    <a:pos x="242" y="1850"/>
                  </a:cxn>
                  <a:cxn ang="0">
                    <a:pos x="215" y="1913"/>
                  </a:cxn>
                  <a:cxn ang="0">
                    <a:pos x="195" y="1977"/>
                  </a:cxn>
                  <a:cxn ang="0">
                    <a:pos x="180" y="2045"/>
                  </a:cxn>
                  <a:cxn ang="0">
                    <a:pos x="170" y="2114"/>
                  </a:cxn>
                  <a:cxn ang="0">
                    <a:pos x="168" y="2185"/>
                  </a:cxn>
                  <a:cxn ang="0">
                    <a:pos x="169" y="2230"/>
                  </a:cxn>
                  <a:cxn ang="0">
                    <a:pos x="173" y="2275"/>
                  </a:cxn>
                  <a:cxn ang="0">
                    <a:pos x="180" y="2318"/>
                  </a:cxn>
                  <a:cxn ang="0">
                    <a:pos x="0" y="2184"/>
                  </a:cxn>
                  <a:cxn ang="0">
                    <a:pos x="0" y="0"/>
                  </a:cxn>
                </a:cxnLst>
                <a:rect l="0" t="0" r="r" b="b"/>
                <a:pathLst>
                  <a:path w="672" h="2318">
                    <a:moveTo>
                      <a:pt x="0" y="0"/>
                    </a:moveTo>
                    <a:lnTo>
                      <a:pt x="672" y="448"/>
                    </a:lnTo>
                    <a:lnTo>
                      <a:pt x="672" y="1453"/>
                    </a:lnTo>
                    <a:lnTo>
                      <a:pt x="610" y="1479"/>
                    </a:lnTo>
                    <a:lnTo>
                      <a:pt x="551" y="1510"/>
                    </a:lnTo>
                    <a:lnTo>
                      <a:pt x="496" y="1547"/>
                    </a:lnTo>
                    <a:lnTo>
                      <a:pt x="442" y="1589"/>
                    </a:lnTo>
                    <a:lnTo>
                      <a:pt x="395" y="1633"/>
                    </a:lnTo>
                    <a:lnTo>
                      <a:pt x="349" y="1683"/>
                    </a:lnTo>
                    <a:lnTo>
                      <a:pt x="309" y="1735"/>
                    </a:lnTo>
                    <a:lnTo>
                      <a:pt x="273" y="1792"/>
                    </a:lnTo>
                    <a:lnTo>
                      <a:pt x="242" y="1850"/>
                    </a:lnTo>
                    <a:lnTo>
                      <a:pt x="215" y="1913"/>
                    </a:lnTo>
                    <a:lnTo>
                      <a:pt x="195" y="1977"/>
                    </a:lnTo>
                    <a:lnTo>
                      <a:pt x="180" y="2045"/>
                    </a:lnTo>
                    <a:lnTo>
                      <a:pt x="170" y="2114"/>
                    </a:lnTo>
                    <a:lnTo>
                      <a:pt x="168" y="2185"/>
                    </a:lnTo>
                    <a:lnTo>
                      <a:pt x="169" y="2230"/>
                    </a:lnTo>
                    <a:lnTo>
                      <a:pt x="173" y="2275"/>
                    </a:lnTo>
                    <a:lnTo>
                      <a:pt x="180" y="2318"/>
                    </a:lnTo>
                    <a:lnTo>
                      <a:pt x="0" y="218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59" name="Freeform 85"/>
              <p:cNvSpPr>
                <a:spLocks/>
              </p:cNvSpPr>
              <p:nvPr/>
            </p:nvSpPr>
            <p:spPr bwMode="auto">
              <a:xfrm>
                <a:off x="2076710" y="3677261"/>
                <a:ext cx="228600" cy="523875"/>
              </a:xfrm>
              <a:custGeom>
                <a:avLst/>
                <a:gdLst/>
                <a:ahLst/>
                <a:cxnLst>
                  <a:cxn ang="0">
                    <a:pos x="1008" y="0"/>
                  </a:cxn>
                  <a:cxn ang="0">
                    <a:pos x="1008" y="2240"/>
                  </a:cxn>
                  <a:cxn ang="0">
                    <a:pos x="805" y="2307"/>
                  </a:cxn>
                  <a:cxn ang="0">
                    <a:pos x="820" y="2251"/>
                  </a:cxn>
                  <a:cxn ang="0">
                    <a:pos x="831" y="2193"/>
                  </a:cxn>
                  <a:cxn ang="0">
                    <a:pos x="839" y="2134"/>
                  </a:cxn>
                  <a:cxn ang="0">
                    <a:pos x="841" y="2073"/>
                  </a:cxn>
                  <a:cxn ang="0">
                    <a:pos x="838" y="2001"/>
                  </a:cxn>
                  <a:cxn ang="0">
                    <a:pos x="828" y="1932"/>
                  </a:cxn>
                  <a:cxn ang="0">
                    <a:pos x="813" y="1864"/>
                  </a:cxn>
                  <a:cxn ang="0">
                    <a:pos x="792" y="1799"/>
                  </a:cxn>
                  <a:cxn ang="0">
                    <a:pos x="765" y="1736"/>
                  </a:cxn>
                  <a:cxn ang="0">
                    <a:pos x="733" y="1676"/>
                  </a:cxn>
                  <a:cxn ang="0">
                    <a:pos x="698" y="1620"/>
                  </a:cxn>
                  <a:cxn ang="0">
                    <a:pos x="656" y="1567"/>
                  </a:cxn>
                  <a:cxn ang="0">
                    <a:pos x="611" y="1518"/>
                  </a:cxn>
                  <a:cxn ang="0">
                    <a:pos x="562" y="1472"/>
                  </a:cxn>
                  <a:cxn ang="0">
                    <a:pos x="509" y="1432"/>
                  </a:cxn>
                  <a:cxn ang="0">
                    <a:pos x="452" y="1395"/>
                  </a:cxn>
                  <a:cxn ang="0">
                    <a:pos x="392" y="1364"/>
                  </a:cxn>
                  <a:cxn ang="0">
                    <a:pos x="329" y="1338"/>
                  </a:cxn>
                  <a:cxn ang="0">
                    <a:pos x="264" y="1316"/>
                  </a:cxn>
                  <a:cxn ang="0">
                    <a:pos x="197" y="1301"/>
                  </a:cxn>
                  <a:cxn ang="0">
                    <a:pos x="127" y="1291"/>
                  </a:cxn>
                  <a:cxn ang="0">
                    <a:pos x="56" y="1288"/>
                  </a:cxn>
                  <a:cxn ang="0">
                    <a:pos x="28" y="1289"/>
                  </a:cxn>
                  <a:cxn ang="0">
                    <a:pos x="0" y="1291"/>
                  </a:cxn>
                  <a:cxn ang="0">
                    <a:pos x="0" y="336"/>
                  </a:cxn>
                  <a:cxn ang="0">
                    <a:pos x="1008" y="0"/>
                  </a:cxn>
                </a:cxnLst>
                <a:rect l="0" t="0" r="r" b="b"/>
                <a:pathLst>
                  <a:path w="1008" h="2307">
                    <a:moveTo>
                      <a:pt x="1008" y="0"/>
                    </a:moveTo>
                    <a:lnTo>
                      <a:pt x="1008" y="2240"/>
                    </a:lnTo>
                    <a:lnTo>
                      <a:pt x="805" y="2307"/>
                    </a:lnTo>
                    <a:lnTo>
                      <a:pt x="820" y="2251"/>
                    </a:lnTo>
                    <a:lnTo>
                      <a:pt x="831" y="2193"/>
                    </a:lnTo>
                    <a:lnTo>
                      <a:pt x="839" y="2134"/>
                    </a:lnTo>
                    <a:lnTo>
                      <a:pt x="841" y="2073"/>
                    </a:lnTo>
                    <a:lnTo>
                      <a:pt x="838" y="2001"/>
                    </a:lnTo>
                    <a:lnTo>
                      <a:pt x="828" y="1932"/>
                    </a:lnTo>
                    <a:lnTo>
                      <a:pt x="813" y="1864"/>
                    </a:lnTo>
                    <a:lnTo>
                      <a:pt x="792" y="1799"/>
                    </a:lnTo>
                    <a:lnTo>
                      <a:pt x="765" y="1736"/>
                    </a:lnTo>
                    <a:lnTo>
                      <a:pt x="733" y="1676"/>
                    </a:lnTo>
                    <a:lnTo>
                      <a:pt x="698" y="1620"/>
                    </a:lnTo>
                    <a:lnTo>
                      <a:pt x="656" y="1567"/>
                    </a:lnTo>
                    <a:lnTo>
                      <a:pt x="611" y="1518"/>
                    </a:lnTo>
                    <a:lnTo>
                      <a:pt x="562" y="1472"/>
                    </a:lnTo>
                    <a:lnTo>
                      <a:pt x="509" y="1432"/>
                    </a:lnTo>
                    <a:lnTo>
                      <a:pt x="452" y="1395"/>
                    </a:lnTo>
                    <a:lnTo>
                      <a:pt x="392" y="1364"/>
                    </a:lnTo>
                    <a:lnTo>
                      <a:pt x="329" y="1338"/>
                    </a:lnTo>
                    <a:lnTo>
                      <a:pt x="264" y="1316"/>
                    </a:lnTo>
                    <a:lnTo>
                      <a:pt x="197" y="1301"/>
                    </a:lnTo>
                    <a:lnTo>
                      <a:pt x="127" y="1291"/>
                    </a:lnTo>
                    <a:lnTo>
                      <a:pt x="56" y="1288"/>
                    </a:lnTo>
                    <a:lnTo>
                      <a:pt x="28" y="1289"/>
                    </a:lnTo>
                    <a:lnTo>
                      <a:pt x="0" y="1291"/>
                    </a:lnTo>
                    <a:lnTo>
                      <a:pt x="0" y="336"/>
                    </a:lnTo>
                    <a:lnTo>
                      <a:pt x="100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60" name="Freeform 86"/>
              <p:cNvSpPr>
                <a:spLocks/>
              </p:cNvSpPr>
              <p:nvPr/>
            </p:nvSpPr>
            <p:spPr bwMode="auto">
              <a:xfrm>
                <a:off x="1594110" y="3651861"/>
                <a:ext cx="228600" cy="571500"/>
              </a:xfrm>
              <a:custGeom>
                <a:avLst/>
                <a:gdLst/>
                <a:ahLst/>
                <a:cxnLst>
                  <a:cxn ang="0">
                    <a:pos x="1008" y="0"/>
                  </a:cxn>
                  <a:cxn ang="0">
                    <a:pos x="1008" y="2184"/>
                  </a:cxn>
                  <a:cxn ang="0">
                    <a:pos x="0" y="2520"/>
                  </a:cxn>
                  <a:cxn ang="0">
                    <a:pos x="0" y="336"/>
                  </a:cxn>
                  <a:cxn ang="0">
                    <a:pos x="1008" y="0"/>
                  </a:cxn>
                </a:cxnLst>
                <a:rect l="0" t="0" r="r" b="b"/>
                <a:pathLst>
                  <a:path w="1008" h="2520">
                    <a:moveTo>
                      <a:pt x="1008" y="0"/>
                    </a:moveTo>
                    <a:lnTo>
                      <a:pt x="1008" y="2184"/>
                    </a:lnTo>
                    <a:lnTo>
                      <a:pt x="0" y="2520"/>
                    </a:lnTo>
                    <a:lnTo>
                      <a:pt x="0" y="336"/>
                    </a:lnTo>
                    <a:lnTo>
                      <a:pt x="100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61" name="Freeform 87"/>
              <p:cNvSpPr>
                <a:spLocks noEditPoints="1"/>
              </p:cNvSpPr>
              <p:nvPr/>
            </p:nvSpPr>
            <p:spPr bwMode="auto">
              <a:xfrm>
                <a:off x="1937010" y="3994761"/>
                <a:ext cx="304800" cy="368300"/>
              </a:xfrm>
              <a:custGeom>
                <a:avLst/>
                <a:gdLst/>
                <a:ahLst/>
                <a:cxnLst>
                  <a:cxn ang="0">
                    <a:pos x="623" y="324"/>
                  </a:cxn>
                  <a:cxn ang="0">
                    <a:pos x="535" y="349"/>
                  </a:cxn>
                  <a:cxn ang="0">
                    <a:pos x="457" y="395"/>
                  </a:cxn>
                  <a:cxn ang="0">
                    <a:pos x="394" y="458"/>
                  </a:cxn>
                  <a:cxn ang="0">
                    <a:pos x="348" y="536"/>
                  </a:cxn>
                  <a:cxn ang="0">
                    <a:pos x="323" y="624"/>
                  </a:cxn>
                  <a:cxn ang="0">
                    <a:pos x="323" y="720"/>
                  </a:cxn>
                  <a:cxn ang="0">
                    <a:pos x="348" y="809"/>
                  </a:cxn>
                  <a:cxn ang="0">
                    <a:pos x="394" y="886"/>
                  </a:cxn>
                  <a:cxn ang="0">
                    <a:pos x="457" y="950"/>
                  </a:cxn>
                  <a:cxn ang="0">
                    <a:pos x="535" y="995"/>
                  </a:cxn>
                  <a:cxn ang="0">
                    <a:pos x="623" y="1019"/>
                  </a:cxn>
                  <a:cxn ang="0">
                    <a:pos x="719" y="1019"/>
                  </a:cxn>
                  <a:cxn ang="0">
                    <a:pos x="808" y="995"/>
                  </a:cxn>
                  <a:cxn ang="0">
                    <a:pos x="885" y="950"/>
                  </a:cxn>
                  <a:cxn ang="0">
                    <a:pos x="949" y="886"/>
                  </a:cxn>
                  <a:cxn ang="0">
                    <a:pos x="994" y="809"/>
                  </a:cxn>
                  <a:cxn ang="0">
                    <a:pos x="1018" y="720"/>
                  </a:cxn>
                  <a:cxn ang="0">
                    <a:pos x="1018" y="624"/>
                  </a:cxn>
                  <a:cxn ang="0">
                    <a:pos x="994" y="536"/>
                  </a:cxn>
                  <a:cxn ang="0">
                    <a:pos x="949" y="458"/>
                  </a:cxn>
                  <a:cxn ang="0">
                    <a:pos x="885" y="395"/>
                  </a:cxn>
                  <a:cxn ang="0">
                    <a:pos x="808" y="349"/>
                  </a:cxn>
                  <a:cxn ang="0">
                    <a:pos x="719" y="324"/>
                  </a:cxn>
                  <a:cxn ang="0">
                    <a:pos x="671" y="0"/>
                  </a:cxn>
                  <a:cxn ang="0">
                    <a:pos x="785" y="9"/>
                  </a:cxn>
                  <a:cxn ang="0">
                    <a:pos x="897" y="39"/>
                  </a:cxn>
                  <a:cxn ang="0">
                    <a:pos x="1003" y="87"/>
                  </a:cxn>
                  <a:cxn ang="0">
                    <a:pos x="1101" y="156"/>
                  </a:cxn>
                  <a:cxn ang="0">
                    <a:pos x="1189" y="243"/>
                  </a:cxn>
                  <a:cxn ang="0">
                    <a:pos x="1257" y="344"/>
                  </a:cxn>
                  <a:cxn ang="0">
                    <a:pos x="1306" y="452"/>
                  </a:cxn>
                  <a:cxn ang="0">
                    <a:pos x="1334" y="566"/>
                  </a:cxn>
                  <a:cxn ang="0">
                    <a:pos x="1342" y="684"/>
                  </a:cxn>
                  <a:cxn ang="0">
                    <a:pos x="1330" y="801"/>
                  </a:cxn>
                  <a:cxn ang="0">
                    <a:pos x="1297" y="914"/>
                  </a:cxn>
                  <a:cxn ang="0">
                    <a:pos x="1244" y="1022"/>
                  </a:cxn>
                  <a:cxn ang="0">
                    <a:pos x="1170" y="1120"/>
                  </a:cxn>
                  <a:cxn ang="0">
                    <a:pos x="671" y="1624"/>
                  </a:cxn>
                  <a:cxn ang="0">
                    <a:pos x="171" y="1120"/>
                  </a:cxn>
                  <a:cxn ang="0">
                    <a:pos x="97" y="1022"/>
                  </a:cxn>
                  <a:cxn ang="0">
                    <a:pos x="45" y="914"/>
                  </a:cxn>
                  <a:cxn ang="0">
                    <a:pos x="12" y="801"/>
                  </a:cxn>
                  <a:cxn ang="0">
                    <a:pos x="0" y="684"/>
                  </a:cxn>
                  <a:cxn ang="0">
                    <a:pos x="7" y="566"/>
                  </a:cxn>
                  <a:cxn ang="0">
                    <a:pos x="35" y="452"/>
                  </a:cxn>
                  <a:cxn ang="0">
                    <a:pos x="84" y="344"/>
                  </a:cxn>
                  <a:cxn ang="0">
                    <a:pos x="154" y="243"/>
                  </a:cxn>
                  <a:cxn ang="0">
                    <a:pos x="241" y="156"/>
                  </a:cxn>
                  <a:cxn ang="0">
                    <a:pos x="340" y="87"/>
                  </a:cxn>
                  <a:cxn ang="0">
                    <a:pos x="445" y="39"/>
                  </a:cxn>
                  <a:cxn ang="0">
                    <a:pos x="557" y="9"/>
                  </a:cxn>
                  <a:cxn ang="0">
                    <a:pos x="671" y="0"/>
                  </a:cxn>
                </a:cxnLst>
                <a:rect l="0" t="0" r="r" b="b"/>
                <a:pathLst>
                  <a:path w="1342" h="1624">
                    <a:moveTo>
                      <a:pt x="671" y="321"/>
                    </a:moveTo>
                    <a:lnTo>
                      <a:pt x="623" y="324"/>
                    </a:lnTo>
                    <a:lnTo>
                      <a:pt x="577" y="334"/>
                    </a:lnTo>
                    <a:lnTo>
                      <a:pt x="535" y="349"/>
                    </a:lnTo>
                    <a:lnTo>
                      <a:pt x="494" y="369"/>
                    </a:lnTo>
                    <a:lnTo>
                      <a:pt x="457" y="395"/>
                    </a:lnTo>
                    <a:lnTo>
                      <a:pt x="423" y="424"/>
                    </a:lnTo>
                    <a:lnTo>
                      <a:pt x="394" y="458"/>
                    </a:lnTo>
                    <a:lnTo>
                      <a:pt x="368" y="495"/>
                    </a:lnTo>
                    <a:lnTo>
                      <a:pt x="348" y="536"/>
                    </a:lnTo>
                    <a:lnTo>
                      <a:pt x="333" y="578"/>
                    </a:lnTo>
                    <a:lnTo>
                      <a:pt x="323" y="624"/>
                    </a:lnTo>
                    <a:lnTo>
                      <a:pt x="320" y="672"/>
                    </a:lnTo>
                    <a:lnTo>
                      <a:pt x="323" y="720"/>
                    </a:lnTo>
                    <a:lnTo>
                      <a:pt x="333" y="765"/>
                    </a:lnTo>
                    <a:lnTo>
                      <a:pt x="348" y="809"/>
                    </a:lnTo>
                    <a:lnTo>
                      <a:pt x="368" y="849"/>
                    </a:lnTo>
                    <a:lnTo>
                      <a:pt x="394" y="886"/>
                    </a:lnTo>
                    <a:lnTo>
                      <a:pt x="423" y="919"/>
                    </a:lnTo>
                    <a:lnTo>
                      <a:pt x="457" y="950"/>
                    </a:lnTo>
                    <a:lnTo>
                      <a:pt x="494" y="975"/>
                    </a:lnTo>
                    <a:lnTo>
                      <a:pt x="535" y="995"/>
                    </a:lnTo>
                    <a:lnTo>
                      <a:pt x="577" y="1010"/>
                    </a:lnTo>
                    <a:lnTo>
                      <a:pt x="623" y="1019"/>
                    </a:lnTo>
                    <a:lnTo>
                      <a:pt x="671" y="1023"/>
                    </a:lnTo>
                    <a:lnTo>
                      <a:pt x="719" y="1019"/>
                    </a:lnTo>
                    <a:lnTo>
                      <a:pt x="764" y="1010"/>
                    </a:lnTo>
                    <a:lnTo>
                      <a:pt x="808" y="995"/>
                    </a:lnTo>
                    <a:lnTo>
                      <a:pt x="848" y="975"/>
                    </a:lnTo>
                    <a:lnTo>
                      <a:pt x="885" y="950"/>
                    </a:lnTo>
                    <a:lnTo>
                      <a:pt x="918" y="919"/>
                    </a:lnTo>
                    <a:lnTo>
                      <a:pt x="949" y="886"/>
                    </a:lnTo>
                    <a:lnTo>
                      <a:pt x="974" y="849"/>
                    </a:lnTo>
                    <a:lnTo>
                      <a:pt x="994" y="809"/>
                    </a:lnTo>
                    <a:lnTo>
                      <a:pt x="1009" y="765"/>
                    </a:lnTo>
                    <a:lnTo>
                      <a:pt x="1018" y="720"/>
                    </a:lnTo>
                    <a:lnTo>
                      <a:pt x="1022" y="672"/>
                    </a:lnTo>
                    <a:lnTo>
                      <a:pt x="1018" y="624"/>
                    </a:lnTo>
                    <a:lnTo>
                      <a:pt x="1009" y="578"/>
                    </a:lnTo>
                    <a:lnTo>
                      <a:pt x="994" y="536"/>
                    </a:lnTo>
                    <a:lnTo>
                      <a:pt x="974" y="495"/>
                    </a:lnTo>
                    <a:lnTo>
                      <a:pt x="949" y="458"/>
                    </a:lnTo>
                    <a:lnTo>
                      <a:pt x="918" y="424"/>
                    </a:lnTo>
                    <a:lnTo>
                      <a:pt x="885" y="395"/>
                    </a:lnTo>
                    <a:lnTo>
                      <a:pt x="848" y="369"/>
                    </a:lnTo>
                    <a:lnTo>
                      <a:pt x="808" y="349"/>
                    </a:lnTo>
                    <a:lnTo>
                      <a:pt x="764" y="334"/>
                    </a:lnTo>
                    <a:lnTo>
                      <a:pt x="719" y="324"/>
                    </a:lnTo>
                    <a:lnTo>
                      <a:pt x="671" y="321"/>
                    </a:lnTo>
                    <a:close/>
                    <a:moveTo>
                      <a:pt x="671" y="0"/>
                    </a:moveTo>
                    <a:lnTo>
                      <a:pt x="728" y="3"/>
                    </a:lnTo>
                    <a:lnTo>
                      <a:pt x="785" y="9"/>
                    </a:lnTo>
                    <a:lnTo>
                      <a:pt x="841" y="22"/>
                    </a:lnTo>
                    <a:lnTo>
                      <a:pt x="897" y="39"/>
                    </a:lnTo>
                    <a:lnTo>
                      <a:pt x="951" y="60"/>
                    </a:lnTo>
                    <a:lnTo>
                      <a:pt x="1003" y="87"/>
                    </a:lnTo>
                    <a:lnTo>
                      <a:pt x="1053" y="119"/>
                    </a:lnTo>
                    <a:lnTo>
                      <a:pt x="1101" y="156"/>
                    </a:lnTo>
                    <a:lnTo>
                      <a:pt x="1146" y="197"/>
                    </a:lnTo>
                    <a:lnTo>
                      <a:pt x="1189" y="243"/>
                    </a:lnTo>
                    <a:lnTo>
                      <a:pt x="1226" y="292"/>
                    </a:lnTo>
                    <a:lnTo>
                      <a:pt x="1257" y="344"/>
                    </a:lnTo>
                    <a:lnTo>
                      <a:pt x="1284" y="397"/>
                    </a:lnTo>
                    <a:lnTo>
                      <a:pt x="1306" y="452"/>
                    </a:lnTo>
                    <a:lnTo>
                      <a:pt x="1322" y="509"/>
                    </a:lnTo>
                    <a:lnTo>
                      <a:pt x="1334" y="566"/>
                    </a:lnTo>
                    <a:lnTo>
                      <a:pt x="1341" y="625"/>
                    </a:lnTo>
                    <a:lnTo>
                      <a:pt x="1342" y="684"/>
                    </a:lnTo>
                    <a:lnTo>
                      <a:pt x="1339" y="742"/>
                    </a:lnTo>
                    <a:lnTo>
                      <a:pt x="1330" y="801"/>
                    </a:lnTo>
                    <a:lnTo>
                      <a:pt x="1316" y="858"/>
                    </a:lnTo>
                    <a:lnTo>
                      <a:pt x="1297" y="914"/>
                    </a:lnTo>
                    <a:lnTo>
                      <a:pt x="1274" y="968"/>
                    </a:lnTo>
                    <a:lnTo>
                      <a:pt x="1244" y="1022"/>
                    </a:lnTo>
                    <a:lnTo>
                      <a:pt x="1209" y="1073"/>
                    </a:lnTo>
                    <a:lnTo>
                      <a:pt x="1170" y="1120"/>
                    </a:lnTo>
                    <a:lnTo>
                      <a:pt x="1175" y="1120"/>
                    </a:lnTo>
                    <a:lnTo>
                      <a:pt x="671" y="1624"/>
                    </a:lnTo>
                    <a:lnTo>
                      <a:pt x="167" y="1120"/>
                    </a:lnTo>
                    <a:lnTo>
                      <a:pt x="171" y="1120"/>
                    </a:lnTo>
                    <a:lnTo>
                      <a:pt x="132" y="1073"/>
                    </a:lnTo>
                    <a:lnTo>
                      <a:pt x="97" y="1022"/>
                    </a:lnTo>
                    <a:lnTo>
                      <a:pt x="69" y="968"/>
                    </a:lnTo>
                    <a:lnTo>
                      <a:pt x="45" y="914"/>
                    </a:lnTo>
                    <a:lnTo>
                      <a:pt x="26" y="858"/>
                    </a:lnTo>
                    <a:lnTo>
                      <a:pt x="12" y="801"/>
                    </a:lnTo>
                    <a:lnTo>
                      <a:pt x="3" y="742"/>
                    </a:lnTo>
                    <a:lnTo>
                      <a:pt x="0" y="684"/>
                    </a:lnTo>
                    <a:lnTo>
                      <a:pt x="1" y="625"/>
                    </a:lnTo>
                    <a:lnTo>
                      <a:pt x="7" y="566"/>
                    </a:lnTo>
                    <a:lnTo>
                      <a:pt x="19" y="509"/>
                    </a:lnTo>
                    <a:lnTo>
                      <a:pt x="35" y="452"/>
                    </a:lnTo>
                    <a:lnTo>
                      <a:pt x="57" y="397"/>
                    </a:lnTo>
                    <a:lnTo>
                      <a:pt x="84" y="344"/>
                    </a:lnTo>
                    <a:lnTo>
                      <a:pt x="117" y="292"/>
                    </a:lnTo>
                    <a:lnTo>
                      <a:pt x="154" y="243"/>
                    </a:lnTo>
                    <a:lnTo>
                      <a:pt x="196" y="197"/>
                    </a:lnTo>
                    <a:lnTo>
                      <a:pt x="241" y="156"/>
                    </a:lnTo>
                    <a:lnTo>
                      <a:pt x="289" y="119"/>
                    </a:lnTo>
                    <a:lnTo>
                      <a:pt x="340" y="87"/>
                    </a:lnTo>
                    <a:lnTo>
                      <a:pt x="392" y="60"/>
                    </a:lnTo>
                    <a:lnTo>
                      <a:pt x="445" y="39"/>
                    </a:lnTo>
                    <a:lnTo>
                      <a:pt x="500" y="22"/>
                    </a:lnTo>
                    <a:lnTo>
                      <a:pt x="557" y="9"/>
                    </a:lnTo>
                    <a:lnTo>
                      <a:pt x="613" y="3"/>
                    </a:lnTo>
                    <a:lnTo>
                      <a:pt x="6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</p:grpSp>
        <p:sp>
          <p:nvSpPr>
            <p:cNvPr id="162" name="Freeform 74"/>
            <p:cNvSpPr>
              <a:spLocks noEditPoints="1"/>
            </p:cNvSpPr>
            <p:nvPr/>
          </p:nvSpPr>
          <p:spPr bwMode="auto">
            <a:xfrm>
              <a:off x="5214609" y="2452511"/>
              <a:ext cx="740353" cy="889228"/>
            </a:xfrm>
            <a:custGeom>
              <a:avLst/>
              <a:gdLst/>
              <a:ahLst/>
              <a:cxnLst>
                <a:cxn ang="0">
                  <a:pos x="1160" y="629"/>
                </a:cxn>
                <a:cxn ang="0">
                  <a:pos x="985" y="688"/>
                </a:cxn>
                <a:cxn ang="0">
                  <a:pos x="835" y="791"/>
                </a:cxn>
                <a:cxn ang="0">
                  <a:pos x="718" y="932"/>
                </a:cxn>
                <a:cxn ang="0">
                  <a:pos x="643" y="1099"/>
                </a:cxn>
                <a:cxn ang="0">
                  <a:pos x="616" y="1288"/>
                </a:cxn>
                <a:cxn ang="0">
                  <a:pos x="643" y="1477"/>
                </a:cxn>
                <a:cxn ang="0">
                  <a:pos x="718" y="1645"/>
                </a:cxn>
                <a:cxn ang="0">
                  <a:pos x="835" y="1784"/>
                </a:cxn>
                <a:cxn ang="0">
                  <a:pos x="985" y="1887"/>
                </a:cxn>
                <a:cxn ang="0">
                  <a:pos x="1160" y="1948"/>
                </a:cxn>
                <a:cxn ang="0">
                  <a:pos x="1353" y="1957"/>
                </a:cxn>
                <a:cxn ang="0">
                  <a:pos x="1536" y="1913"/>
                </a:cxn>
                <a:cxn ang="0">
                  <a:pos x="1694" y="1823"/>
                </a:cxn>
                <a:cxn ang="0">
                  <a:pos x="1823" y="1695"/>
                </a:cxn>
                <a:cxn ang="0">
                  <a:pos x="1914" y="1535"/>
                </a:cxn>
                <a:cxn ang="0">
                  <a:pos x="1957" y="1353"/>
                </a:cxn>
                <a:cxn ang="0">
                  <a:pos x="1948" y="1161"/>
                </a:cxn>
                <a:cxn ang="0">
                  <a:pos x="1888" y="985"/>
                </a:cxn>
                <a:cxn ang="0">
                  <a:pos x="1784" y="835"/>
                </a:cxn>
                <a:cxn ang="0">
                  <a:pos x="1644" y="719"/>
                </a:cxn>
                <a:cxn ang="0">
                  <a:pos x="1477" y="643"/>
                </a:cxn>
                <a:cxn ang="0">
                  <a:pos x="1288" y="616"/>
                </a:cxn>
                <a:cxn ang="0">
                  <a:pos x="1452" y="11"/>
                </a:cxn>
                <a:cxn ang="0">
                  <a:pos x="1694" y="66"/>
                </a:cxn>
                <a:cxn ang="0">
                  <a:pos x="1924" y="168"/>
                </a:cxn>
                <a:cxn ang="0">
                  <a:pos x="2134" y="317"/>
                </a:cxn>
                <a:cxn ang="0">
                  <a:pos x="2314" y="509"/>
                </a:cxn>
                <a:cxn ang="0">
                  <a:pos x="2448" y="726"/>
                </a:cxn>
                <a:cxn ang="0">
                  <a:pos x="2534" y="961"/>
                </a:cxn>
                <a:cxn ang="0">
                  <a:pos x="2574" y="1205"/>
                </a:cxn>
                <a:cxn ang="0">
                  <a:pos x="2565" y="1453"/>
                </a:cxn>
                <a:cxn ang="0">
                  <a:pos x="2511" y="1694"/>
                </a:cxn>
                <a:cxn ang="0">
                  <a:pos x="2409" y="1924"/>
                </a:cxn>
                <a:cxn ang="0">
                  <a:pos x="2259" y="2134"/>
                </a:cxn>
                <a:cxn ang="0">
                  <a:pos x="377" y="2199"/>
                </a:cxn>
                <a:cxn ang="0">
                  <a:pos x="212" y="1997"/>
                </a:cxn>
                <a:cxn ang="0">
                  <a:pos x="94" y="1772"/>
                </a:cxn>
                <a:cxn ang="0">
                  <a:pos x="24" y="1534"/>
                </a:cxn>
                <a:cxn ang="0">
                  <a:pos x="0" y="1288"/>
                </a:cxn>
                <a:cxn ang="0">
                  <a:pos x="24" y="1042"/>
                </a:cxn>
                <a:cxn ang="0">
                  <a:pos x="94" y="803"/>
                </a:cxn>
                <a:cxn ang="0">
                  <a:pos x="212" y="580"/>
                </a:cxn>
                <a:cxn ang="0">
                  <a:pos x="377" y="378"/>
                </a:cxn>
                <a:cxn ang="0">
                  <a:pos x="579" y="213"/>
                </a:cxn>
                <a:cxn ang="0">
                  <a:pos x="804" y="94"/>
                </a:cxn>
                <a:cxn ang="0">
                  <a:pos x="1041" y="24"/>
                </a:cxn>
                <a:cxn ang="0">
                  <a:pos x="1287" y="0"/>
                </a:cxn>
              </a:cxnLst>
              <a:rect l="0" t="0" r="r" b="b"/>
              <a:pathLst>
                <a:path w="2576" h="3095">
                  <a:moveTo>
                    <a:pt x="1288" y="616"/>
                  </a:moveTo>
                  <a:lnTo>
                    <a:pt x="1223" y="619"/>
                  </a:lnTo>
                  <a:lnTo>
                    <a:pt x="1160" y="629"/>
                  </a:lnTo>
                  <a:lnTo>
                    <a:pt x="1099" y="643"/>
                  </a:lnTo>
                  <a:lnTo>
                    <a:pt x="1040" y="663"/>
                  </a:lnTo>
                  <a:lnTo>
                    <a:pt x="985" y="688"/>
                  </a:lnTo>
                  <a:lnTo>
                    <a:pt x="932" y="719"/>
                  </a:lnTo>
                  <a:lnTo>
                    <a:pt x="882" y="753"/>
                  </a:lnTo>
                  <a:lnTo>
                    <a:pt x="835" y="791"/>
                  </a:lnTo>
                  <a:lnTo>
                    <a:pt x="792" y="835"/>
                  </a:lnTo>
                  <a:lnTo>
                    <a:pt x="753" y="882"/>
                  </a:lnTo>
                  <a:lnTo>
                    <a:pt x="718" y="932"/>
                  </a:lnTo>
                  <a:lnTo>
                    <a:pt x="688" y="985"/>
                  </a:lnTo>
                  <a:lnTo>
                    <a:pt x="662" y="1040"/>
                  </a:lnTo>
                  <a:lnTo>
                    <a:pt x="643" y="1099"/>
                  </a:lnTo>
                  <a:lnTo>
                    <a:pt x="628" y="1161"/>
                  </a:lnTo>
                  <a:lnTo>
                    <a:pt x="619" y="1224"/>
                  </a:lnTo>
                  <a:lnTo>
                    <a:pt x="616" y="1288"/>
                  </a:lnTo>
                  <a:lnTo>
                    <a:pt x="619" y="1353"/>
                  </a:lnTo>
                  <a:lnTo>
                    <a:pt x="628" y="1416"/>
                  </a:lnTo>
                  <a:lnTo>
                    <a:pt x="643" y="1477"/>
                  </a:lnTo>
                  <a:lnTo>
                    <a:pt x="662" y="1535"/>
                  </a:lnTo>
                  <a:lnTo>
                    <a:pt x="688" y="1592"/>
                  </a:lnTo>
                  <a:lnTo>
                    <a:pt x="718" y="1645"/>
                  </a:lnTo>
                  <a:lnTo>
                    <a:pt x="753" y="1695"/>
                  </a:lnTo>
                  <a:lnTo>
                    <a:pt x="792" y="1742"/>
                  </a:lnTo>
                  <a:lnTo>
                    <a:pt x="835" y="1784"/>
                  </a:lnTo>
                  <a:lnTo>
                    <a:pt x="882" y="1823"/>
                  </a:lnTo>
                  <a:lnTo>
                    <a:pt x="932" y="1858"/>
                  </a:lnTo>
                  <a:lnTo>
                    <a:pt x="985" y="1887"/>
                  </a:lnTo>
                  <a:lnTo>
                    <a:pt x="1040" y="1913"/>
                  </a:lnTo>
                  <a:lnTo>
                    <a:pt x="1099" y="1933"/>
                  </a:lnTo>
                  <a:lnTo>
                    <a:pt x="1160" y="1948"/>
                  </a:lnTo>
                  <a:lnTo>
                    <a:pt x="1223" y="1957"/>
                  </a:lnTo>
                  <a:lnTo>
                    <a:pt x="1288" y="1960"/>
                  </a:lnTo>
                  <a:lnTo>
                    <a:pt x="1353" y="1957"/>
                  </a:lnTo>
                  <a:lnTo>
                    <a:pt x="1416" y="1948"/>
                  </a:lnTo>
                  <a:lnTo>
                    <a:pt x="1477" y="1933"/>
                  </a:lnTo>
                  <a:lnTo>
                    <a:pt x="1536" y="1913"/>
                  </a:lnTo>
                  <a:lnTo>
                    <a:pt x="1591" y="1887"/>
                  </a:lnTo>
                  <a:lnTo>
                    <a:pt x="1644" y="1858"/>
                  </a:lnTo>
                  <a:lnTo>
                    <a:pt x="1694" y="1823"/>
                  </a:lnTo>
                  <a:lnTo>
                    <a:pt x="1741" y="1784"/>
                  </a:lnTo>
                  <a:lnTo>
                    <a:pt x="1784" y="1742"/>
                  </a:lnTo>
                  <a:lnTo>
                    <a:pt x="1823" y="1695"/>
                  </a:lnTo>
                  <a:lnTo>
                    <a:pt x="1858" y="1645"/>
                  </a:lnTo>
                  <a:lnTo>
                    <a:pt x="1888" y="1592"/>
                  </a:lnTo>
                  <a:lnTo>
                    <a:pt x="1914" y="1535"/>
                  </a:lnTo>
                  <a:lnTo>
                    <a:pt x="1933" y="1477"/>
                  </a:lnTo>
                  <a:lnTo>
                    <a:pt x="1948" y="1416"/>
                  </a:lnTo>
                  <a:lnTo>
                    <a:pt x="1957" y="1353"/>
                  </a:lnTo>
                  <a:lnTo>
                    <a:pt x="1960" y="1288"/>
                  </a:lnTo>
                  <a:lnTo>
                    <a:pt x="1957" y="1224"/>
                  </a:lnTo>
                  <a:lnTo>
                    <a:pt x="1948" y="1161"/>
                  </a:lnTo>
                  <a:lnTo>
                    <a:pt x="1933" y="1099"/>
                  </a:lnTo>
                  <a:lnTo>
                    <a:pt x="1914" y="1040"/>
                  </a:lnTo>
                  <a:lnTo>
                    <a:pt x="1888" y="985"/>
                  </a:lnTo>
                  <a:lnTo>
                    <a:pt x="1858" y="932"/>
                  </a:lnTo>
                  <a:lnTo>
                    <a:pt x="1823" y="882"/>
                  </a:lnTo>
                  <a:lnTo>
                    <a:pt x="1784" y="835"/>
                  </a:lnTo>
                  <a:lnTo>
                    <a:pt x="1741" y="791"/>
                  </a:lnTo>
                  <a:lnTo>
                    <a:pt x="1694" y="753"/>
                  </a:lnTo>
                  <a:lnTo>
                    <a:pt x="1644" y="719"/>
                  </a:lnTo>
                  <a:lnTo>
                    <a:pt x="1591" y="688"/>
                  </a:lnTo>
                  <a:lnTo>
                    <a:pt x="1536" y="663"/>
                  </a:lnTo>
                  <a:lnTo>
                    <a:pt x="1477" y="643"/>
                  </a:lnTo>
                  <a:lnTo>
                    <a:pt x="1416" y="629"/>
                  </a:lnTo>
                  <a:lnTo>
                    <a:pt x="1353" y="619"/>
                  </a:lnTo>
                  <a:lnTo>
                    <a:pt x="1288" y="616"/>
                  </a:lnTo>
                  <a:close/>
                  <a:moveTo>
                    <a:pt x="1287" y="0"/>
                  </a:moveTo>
                  <a:lnTo>
                    <a:pt x="1371" y="3"/>
                  </a:lnTo>
                  <a:lnTo>
                    <a:pt x="1452" y="11"/>
                  </a:lnTo>
                  <a:lnTo>
                    <a:pt x="1535" y="24"/>
                  </a:lnTo>
                  <a:lnTo>
                    <a:pt x="1615" y="42"/>
                  </a:lnTo>
                  <a:lnTo>
                    <a:pt x="1694" y="66"/>
                  </a:lnTo>
                  <a:lnTo>
                    <a:pt x="1772" y="94"/>
                  </a:lnTo>
                  <a:lnTo>
                    <a:pt x="1849" y="128"/>
                  </a:lnTo>
                  <a:lnTo>
                    <a:pt x="1924" y="168"/>
                  </a:lnTo>
                  <a:lnTo>
                    <a:pt x="1997" y="213"/>
                  </a:lnTo>
                  <a:lnTo>
                    <a:pt x="2067" y="261"/>
                  </a:lnTo>
                  <a:lnTo>
                    <a:pt x="2134" y="317"/>
                  </a:lnTo>
                  <a:lnTo>
                    <a:pt x="2199" y="378"/>
                  </a:lnTo>
                  <a:lnTo>
                    <a:pt x="2259" y="442"/>
                  </a:lnTo>
                  <a:lnTo>
                    <a:pt x="2314" y="509"/>
                  </a:lnTo>
                  <a:lnTo>
                    <a:pt x="2364" y="580"/>
                  </a:lnTo>
                  <a:lnTo>
                    <a:pt x="2409" y="651"/>
                  </a:lnTo>
                  <a:lnTo>
                    <a:pt x="2448" y="726"/>
                  </a:lnTo>
                  <a:lnTo>
                    <a:pt x="2482" y="803"/>
                  </a:lnTo>
                  <a:lnTo>
                    <a:pt x="2511" y="882"/>
                  </a:lnTo>
                  <a:lnTo>
                    <a:pt x="2534" y="961"/>
                  </a:lnTo>
                  <a:lnTo>
                    <a:pt x="2552" y="1042"/>
                  </a:lnTo>
                  <a:lnTo>
                    <a:pt x="2565" y="1124"/>
                  </a:lnTo>
                  <a:lnTo>
                    <a:pt x="2574" y="1205"/>
                  </a:lnTo>
                  <a:lnTo>
                    <a:pt x="2576" y="1288"/>
                  </a:lnTo>
                  <a:lnTo>
                    <a:pt x="2574" y="1370"/>
                  </a:lnTo>
                  <a:lnTo>
                    <a:pt x="2565" y="1453"/>
                  </a:lnTo>
                  <a:lnTo>
                    <a:pt x="2552" y="1534"/>
                  </a:lnTo>
                  <a:lnTo>
                    <a:pt x="2534" y="1615"/>
                  </a:lnTo>
                  <a:lnTo>
                    <a:pt x="2511" y="1694"/>
                  </a:lnTo>
                  <a:lnTo>
                    <a:pt x="2482" y="1772"/>
                  </a:lnTo>
                  <a:lnTo>
                    <a:pt x="2448" y="1849"/>
                  </a:lnTo>
                  <a:lnTo>
                    <a:pt x="2409" y="1924"/>
                  </a:lnTo>
                  <a:lnTo>
                    <a:pt x="2364" y="1997"/>
                  </a:lnTo>
                  <a:lnTo>
                    <a:pt x="2314" y="2067"/>
                  </a:lnTo>
                  <a:lnTo>
                    <a:pt x="2259" y="2134"/>
                  </a:lnTo>
                  <a:lnTo>
                    <a:pt x="2199" y="2199"/>
                  </a:lnTo>
                  <a:lnTo>
                    <a:pt x="1288" y="3095"/>
                  </a:lnTo>
                  <a:lnTo>
                    <a:pt x="377" y="2199"/>
                  </a:lnTo>
                  <a:lnTo>
                    <a:pt x="317" y="2134"/>
                  </a:lnTo>
                  <a:lnTo>
                    <a:pt x="262" y="2067"/>
                  </a:lnTo>
                  <a:lnTo>
                    <a:pt x="212" y="1997"/>
                  </a:lnTo>
                  <a:lnTo>
                    <a:pt x="167" y="1924"/>
                  </a:lnTo>
                  <a:lnTo>
                    <a:pt x="128" y="1849"/>
                  </a:lnTo>
                  <a:lnTo>
                    <a:pt x="94" y="1772"/>
                  </a:lnTo>
                  <a:lnTo>
                    <a:pt x="65" y="1694"/>
                  </a:lnTo>
                  <a:lnTo>
                    <a:pt x="42" y="1615"/>
                  </a:lnTo>
                  <a:lnTo>
                    <a:pt x="24" y="1534"/>
                  </a:lnTo>
                  <a:lnTo>
                    <a:pt x="11" y="1453"/>
                  </a:lnTo>
                  <a:lnTo>
                    <a:pt x="2" y="1370"/>
                  </a:lnTo>
                  <a:lnTo>
                    <a:pt x="0" y="1288"/>
                  </a:lnTo>
                  <a:lnTo>
                    <a:pt x="2" y="1205"/>
                  </a:lnTo>
                  <a:lnTo>
                    <a:pt x="11" y="1124"/>
                  </a:lnTo>
                  <a:lnTo>
                    <a:pt x="24" y="1042"/>
                  </a:lnTo>
                  <a:lnTo>
                    <a:pt x="42" y="961"/>
                  </a:lnTo>
                  <a:lnTo>
                    <a:pt x="65" y="882"/>
                  </a:lnTo>
                  <a:lnTo>
                    <a:pt x="94" y="803"/>
                  </a:lnTo>
                  <a:lnTo>
                    <a:pt x="128" y="726"/>
                  </a:lnTo>
                  <a:lnTo>
                    <a:pt x="167" y="651"/>
                  </a:lnTo>
                  <a:lnTo>
                    <a:pt x="212" y="580"/>
                  </a:lnTo>
                  <a:lnTo>
                    <a:pt x="262" y="509"/>
                  </a:lnTo>
                  <a:lnTo>
                    <a:pt x="317" y="442"/>
                  </a:lnTo>
                  <a:lnTo>
                    <a:pt x="377" y="378"/>
                  </a:lnTo>
                  <a:lnTo>
                    <a:pt x="442" y="317"/>
                  </a:lnTo>
                  <a:lnTo>
                    <a:pt x="509" y="261"/>
                  </a:lnTo>
                  <a:lnTo>
                    <a:pt x="579" y="213"/>
                  </a:lnTo>
                  <a:lnTo>
                    <a:pt x="652" y="168"/>
                  </a:lnTo>
                  <a:lnTo>
                    <a:pt x="727" y="128"/>
                  </a:lnTo>
                  <a:lnTo>
                    <a:pt x="804" y="94"/>
                  </a:lnTo>
                  <a:lnTo>
                    <a:pt x="882" y="66"/>
                  </a:lnTo>
                  <a:lnTo>
                    <a:pt x="961" y="42"/>
                  </a:lnTo>
                  <a:lnTo>
                    <a:pt x="1041" y="24"/>
                  </a:lnTo>
                  <a:lnTo>
                    <a:pt x="1124" y="11"/>
                  </a:lnTo>
                  <a:lnTo>
                    <a:pt x="1205" y="3"/>
                  </a:lnTo>
                  <a:lnTo>
                    <a:pt x="1287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de-DE" sz="2701"/>
            </a:p>
          </p:txBody>
        </p:sp>
        <p:sp>
          <p:nvSpPr>
            <p:cNvPr id="163" name="Freeform 79"/>
            <p:cNvSpPr>
              <a:spLocks noEditPoints="1"/>
            </p:cNvSpPr>
            <p:nvPr/>
          </p:nvSpPr>
          <p:spPr bwMode="auto">
            <a:xfrm>
              <a:off x="4213970" y="2443272"/>
              <a:ext cx="675975" cy="901299"/>
            </a:xfrm>
            <a:custGeom>
              <a:avLst/>
              <a:gdLst/>
              <a:ahLst/>
              <a:cxnLst>
                <a:cxn ang="0">
                  <a:pos x="1096" y="1580"/>
                </a:cxn>
                <a:cxn ang="0">
                  <a:pos x="992" y="1636"/>
                </a:cxn>
                <a:cxn ang="0">
                  <a:pos x="922" y="1730"/>
                </a:cxn>
                <a:cxn ang="0">
                  <a:pos x="896" y="1848"/>
                </a:cxn>
                <a:cxn ang="0">
                  <a:pos x="923" y="1968"/>
                </a:cxn>
                <a:cxn ang="0">
                  <a:pos x="996" y="2062"/>
                </a:cxn>
                <a:cxn ang="0">
                  <a:pos x="1064" y="2576"/>
                </a:cxn>
                <a:cxn ang="0">
                  <a:pos x="1324" y="2086"/>
                </a:cxn>
                <a:cxn ang="0">
                  <a:pos x="1410" y="2004"/>
                </a:cxn>
                <a:cxn ang="0">
                  <a:pos x="1453" y="1891"/>
                </a:cxn>
                <a:cxn ang="0">
                  <a:pos x="1444" y="1767"/>
                </a:cxn>
                <a:cxn ang="0">
                  <a:pos x="1388" y="1665"/>
                </a:cxn>
                <a:cxn ang="0">
                  <a:pos x="1294" y="1594"/>
                </a:cxn>
                <a:cxn ang="0">
                  <a:pos x="1176" y="1568"/>
                </a:cxn>
                <a:cxn ang="0">
                  <a:pos x="657" y="235"/>
                </a:cxn>
                <a:cxn ang="0">
                  <a:pos x="570" y="290"/>
                </a:cxn>
                <a:cxn ang="0">
                  <a:pos x="516" y="378"/>
                </a:cxn>
                <a:cxn ang="0">
                  <a:pos x="504" y="1008"/>
                </a:cxn>
                <a:cxn ang="0">
                  <a:pos x="1845" y="411"/>
                </a:cxn>
                <a:cxn ang="0">
                  <a:pos x="1805" y="316"/>
                </a:cxn>
                <a:cxn ang="0">
                  <a:pos x="1727" y="250"/>
                </a:cxn>
                <a:cxn ang="0">
                  <a:pos x="1625" y="223"/>
                </a:cxn>
                <a:cxn ang="0">
                  <a:pos x="1625" y="0"/>
                </a:cxn>
                <a:cxn ang="0">
                  <a:pos x="1776" y="26"/>
                </a:cxn>
                <a:cxn ang="0">
                  <a:pos x="1904" y="99"/>
                </a:cxn>
                <a:cxn ang="0">
                  <a:pos x="2002" y="208"/>
                </a:cxn>
                <a:cxn ang="0">
                  <a:pos x="2060" y="345"/>
                </a:cxn>
                <a:cxn ang="0">
                  <a:pos x="2072" y="1008"/>
                </a:cxn>
                <a:cxn ang="0">
                  <a:pos x="2349" y="2691"/>
                </a:cxn>
                <a:cxn ang="0">
                  <a:pos x="2301" y="2854"/>
                </a:cxn>
                <a:cxn ang="0">
                  <a:pos x="2204" y="2989"/>
                </a:cxn>
                <a:cxn ang="0">
                  <a:pos x="2070" y="3085"/>
                </a:cxn>
                <a:cxn ang="0">
                  <a:pos x="1907" y="3133"/>
                </a:cxn>
                <a:cxn ang="0">
                  <a:pos x="445" y="3133"/>
                </a:cxn>
                <a:cxn ang="0">
                  <a:pos x="282" y="3085"/>
                </a:cxn>
                <a:cxn ang="0">
                  <a:pos x="148" y="2989"/>
                </a:cxn>
                <a:cxn ang="0">
                  <a:pos x="51" y="2854"/>
                </a:cxn>
                <a:cxn ang="0">
                  <a:pos x="3" y="2691"/>
                </a:cxn>
                <a:cxn ang="0">
                  <a:pos x="280" y="1008"/>
                </a:cxn>
                <a:cxn ang="0">
                  <a:pos x="292" y="345"/>
                </a:cxn>
                <a:cxn ang="0">
                  <a:pos x="350" y="208"/>
                </a:cxn>
                <a:cxn ang="0">
                  <a:pos x="448" y="99"/>
                </a:cxn>
                <a:cxn ang="0">
                  <a:pos x="576" y="26"/>
                </a:cxn>
                <a:cxn ang="0">
                  <a:pos x="727" y="0"/>
                </a:cxn>
              </a:cxnLst>
              <a:rect l="0" t="0" r="r" b="b"/>
              <a:pathLst>
                <a:path w="2352" h="3136">
                  <a:moveTo>
                    <a:pt x="1176" y="1568"/>
                  </a:moveTo>
                  <a:lnTo>
                    <a:pt x="1135" y="1571"/>
                  </a:lnTo>
                  <a:lnTo>
                    <a:pt x="1096" y="1580"/>
                  </a:lnTo>
                  <a:lnTo>
                    <a:pt x="1058" y="1594"/>
                  </a:lnTo>
                  <a:lnTo>
                    <a:pt x="1024" y="1614"/>
                  </a:lnTo>
                  <a:lnTo>
                    <a:pt x="992" y="1636"/>
                  </a:lnTo>
                  <a:lnTo>
                    <a:pt x="964" y="1665"/>
                  </a:lnTo>
                  <a:lnTo>
                    <a:pt x="941" y="1695"/>
                  </a:lnTo>
                  <a:lnTo>
                    <a:pt x="922" y="1730"/>
                  </a:lnTo>
                  <a:lnTo>
                    <a:pt x="908" y="1767"/>
                  </a:lnTo>
                  <a:lnTo>
                    <a:pt x="899" y="1807"/>
                  </a:lnTo>
                  <a:lnTo>
                    <a:pt x="896" y="1848"/>
                  </a:lnTo>
                  <a:lnTo>
                    <a:pt x="899" y="1891"/>
                  </a:lnTo>
                  <a:lnTo>
                    <a:pt x="909" y="1931"/>
                  </a:lnTo>
                  <a:lnTo>
                    <a:pt x="923" y="1968"/>
                  </a:lnTo>
                  <a:lnTo>
                    <a:pt x="942" y="2004"/>
                  </a:lnTo>
                  <a:lnTo>
                    <a:pt x="967" y="2035"/>
                  </a:lnTo>
                  <a:lnTo>
                    <a:pt x="996" y="2062"/>
                  </a:lnTo>
                  <a:lnTo>
                    <a:pt x="1028" y="2086"/>
                  </a:lnTo>
                  <a:lnTo>
                    <a:pt x="1064" y="2105"/>
                  </a:lnTo>
                  <a:lnTo>
                    <a:pt x="1064" y="2576"/>
                  </a:lnTo>
                  <a:lnTo>
                    <a:pt x="1288" y="2576"/>
                  </a:lnTo>
                  <a:lnTo>
                    <a:pt x="1288" y="2105"/>
                  </a:lnTo>
                  <a:lnTo>
                    <a:pt x="1324" y="2086"/>
                  </a:lnTo>
                  <a:lnTo>
                    <a:pt x="1356" y="2062"/>
                  </a:lnTo>
                  <a:lnTo>
                    <a:pt x="1385" y="2035"/>
                  </a:lnTo>
                  <a:lnTo>
                    <a:pt x="1410" y="2004"/>
                  </a:lnTo>
                  <a:lnTo>
                    <a:pt x="1429" y="1968"/>
                  </a:lnTo>
                  <a:lnTo>
                    <a:pt x="1443" y="1931"/>
                  </a:lnTo>
                  <a:lnTo>
                    <a:pt x="1453" y="1891"/>
                  </a:lnTo>
                  <a:lnTo>
                    <a:pt x="1456" y="1848"/>
                  </a:lnTo>
                  <a:lnTo>
                    <a:pt x="1453" y="1807"/>
                  </a:lnTo>
                  <a:lnTo>
                    <a:pt x="1444" y="1767"/>
                  </a:lnTo>
                  <a:lnTo>
                    <a:pt x="1430" y="1730"/>
                  </a:lnTo>
                  <a:lnTo>
                    <a:pt x="1411" y="1695"/>
                  </a:lnTo>
                  <a:lnTo>
                    <a:pt x="1388" y="1665"/>
                  </a:lnTo>
                  <a:lnTo>
                    <a:pt x="1360" y="1636"/>
                  </a:lnTo>
                  <a:lnTo>
                    <a:pt x="1328" y="1614"/>
                  </a:lnTo>
                  <a:lnTo>
                    <a:pt x="1294" y="1594"/>
                  </a:lnTo>
                  <a:lnTo>
                    <a:pt x="1256" y="1580"/>
                  </a:lnTo>
                  <a:lnTo>
                    <a:pt x="1217" y="1571"/>
                  </a:lnTo>
                  <a:lnTo>
                    <a:pt x="1176" y="1568"/>
                  </a:lnTo>
                  <a:close/>
                  <a:moveTo>
                    <a:pt x="727" y="223"/>
                  </a:moveTo>
                  <a:lnTo>
                    <a:pt x="692" y="227"/>
                  </a:lnTo>
                  <a:lnTo>
                    <a:pt x="657" y="235"/>
                  </a:lnTo>
                  <a:lnTo>
                    <a:pt x="625" y="250"/>
                  </a:lnTo>
                  <a:lnTo>
                    <a:pt x="596" y="267"/>
                  </a:lnTo>
                  <a:lnTo>
                    <a:pt x="570" y="290"/>
                  </a:lnTo>
                  <a:lnTo>
                    <a:pt x="547" y="316"/>
                  </a:lnTo>
                  <a:lnTo>
                    <a:pt x="529" y="345"/>
                  </a:lnTo>
                  <a:lnTo>
                    <a:pt x="516" y="378"/>
                  </a:lnTo>
                  <a:lnTo>
                    <a:pt x="507" y="411"/>
                  </a:lnTo>
                  <a:lnTo>
                    <a:pt x="504" y="448"/>
                  </a:lnTo>
                  <a:lnTo>
                    <a:pt x="504" y="1008"/>
                  </a:lnTo>
                  <a:lnTo>
                    <a:pt x="1848" y="1008"/>
                  </a:lnTo>
                  <a:lnTo>
                    <a:pt x="1848" y="448"/>
                  </a:lnTo>
                  <a:lnTo>
                    <a:pt x="1845" y="411"/>
                  </a:lnTo>
                  <a:lnTo>
                    <a:pt x="1836" y="378"/>
                  </a:lnTo>
                  <a:lnTo>
                    <a:pt x="1823" y="345"/>
                  </a:lnTo>
                  <a:lnTo>
                    <a:pt x="1805" y="316"/>
                  </a:lnTo>
                  <a:lnTo>
                    <a:pt x="1782" y="290"/>
                  </a:lnTo>
                  <a:lnTo>
                    <a:pt x="1756" y="267"/>
                  </a:lnTo>
                  <a:lnTo>
                    <a:pt x="1727" y="250"/>
                  </a:lnTo>
                  <a:lnTo>
                    <a:pt x="1695" y="235"/>
                  </a:lnTo>
                  <a:lnTo>
                    <a:pt x="1660" y="227"/>
                  </a:lnTo>
                  <a:lnTo>
                    <a:pt x="1625" y="223"/>
                  </a:lnTo>
                  <a:lnTo>
                    <a:pt x="727" y="223"/>
                  </a:lnTo>
                  <a:close/>
                  <a:moveTo>
                    <a:pt x="727" y="0"/>
                  </a:moveTo>
                  <a:lnTo>
                    <a:pt x="1625" y="0"/>
                  </a:lnTo>
                  <a:lnTo>
                    <a:pt x="1677" y="3"/>
                  </a:lnTo>
                  <a:lnTo>
                    <a:pt x="1727" y="12"/>
                  </a:lnTo>
                  <a:lnTo>
                    <a:pt x="1776" y="26"/>
                  </a:lnTo>
                  <a:lnTo>
                    <a:pt x="1821" y="45"/>
                  </a:lnTo>
                  <a:lnTo>
                    <a:pt x="1865" y="69"/>
                  </a:lnTo>
                  <a:lnTo>
                    <a:pt x="1904" y="99"/>
                  </a:lnTo>
                  <a:lnTo>
                    <a:pt x="1941" y="131"/>
                  </a:lnTo>
                  <a:lnTo>
                    <a:pt x="1973" y="168"/>
                  </a:lnTo>
                  <a:lnTo>
                    <a:pt x="2002" y="208"/>
                  </a:lnTo>
                  <a:lnTo>
                    <a:pt x="2026" y="251"/>
                  </a:lnTo>
                  <a:lnTo>
                    <a:pt x="2046" y="297"/>
                  </a:lnTo>
                  <a:lnTo>
                    <a:pt x="2060" y="345"/>
                  </a:lnTo>
                  <a:lnTo>
                    <a:pt x="2069" y="396"/>
                  </a:lnTo>
                  <a:lnTo>
                    <a:pt x="2072" y="448"/>
                  </a:lnTo>
                  <a:lnTo>
                    <a:pt x="2072" y="1008"/>
                  </a:lnTo>
                  <a:lnTo>
                    <a:pt x="2352" y="1008"/>
                  </a:lnTo>
                  <a:lnTo>
                    <a:pt x="2352" y="2632"/>
                  </a:lnTo>
                  <a:lnTo>
                    <a:pt x="2349" y="2691"/>
                  </a:lnTo>
                  <a:lnTo>
                    <a:pt x="2339" y="2747"/>
                  </a:lnTo>
                  <a:lnTo>
                    <a:pt x="2323" y="2802"/>
                  </a:lnTo>
                  <a:lnTo>
                    <a:pt x="2301" y="2854"/>
                  </a:lnTo>
                  <a:lnTo>
                    <a:pt x="2274" y="2902"/>
                  </a:lnTo>
                  <a:lnTo>
                    <a:pt x="2241" y="2947"/>
                  </a:lnTo>
                  <a:lnTo>
                    <a:pt x="2204" y="2989"/>
                  </a:lnTo>
                  <a:lnTo>
                    <a:pt x="2163" y="3025"/>
                  </a:lnTo>
                  <a:lnTo>
                    <a:pt x="2119" y="3058"/>
                  </a:lnTo>
                  <a:lnTo>
                    <a:pt x="2070" y="3085"/>
                  </a:lnTo>
                  <a:lnTo>
                    <a:pt x="2018" y="3107"/>
                  </a:lnTo>
                  <a:lnTo>
                    <a:pt x="1963" y="3122"/>
                  </a:lnTo>
                  <a:lnTo>
                    <a:pt x="1907" y="3133"/>
                  </a:lnTo>
                  <a:lnTo>
                    <a:pt x="1848" y="3136"/>
                  </a:lnTo>
                  <a:lnTo>
                    <a:pt x="504" y="3136"/>
                  </a:lnTo>
                  <a:lnTo>
                    <a:pt x="445" y="3133"/>
                  </a:lnTo>
                  <a:lnTo>
                    <a:pt x="389" y="3122"/>
                  </a:lnTo>
                  <a:lnTo>
                    <a:pt x="334" y="3107"/>
                  </a:lnTo>
                  <a:lnTo>
                    <a:pt x="282" y="3085"/>
                  </a:lnTo>
                  <a:lnTo>
                    <a:pt x="233" y="3058"/>
                  </a:lnTo>
                  <a:lnTo>
                    <a:pt x="189" y="3025"/>
                  </a:lnTo>
                  <a:lnTo>
                    <a:pt x="148" y="2989"/>
                  </a:lnTo>
                  <a:lnTo>
                    <a:pt x="111" y="2947"/>
                  </a:lnTo>
                  <a:lnTo>
                    <a:pt x="78" y="2902"/>
                  </a:lnTo>
                  <a:lnTo>
                    <a:pt x="51" y="2854"/>
                  </a:lnTo>
                  <a:lnTo>
                    <a:pt x="29" y="2802"/>
                  </a:lnTo>
                  <a:lnTo>
                    <a:pt x="13" y="2747"/>
                  </a:lnTo>
                  <a:lnTo>
                    <a:pt x="3" y="2691"/>
                  </a:lnTo>
                  <a:lnTo>
                    <a:pt x="0" y="2632"/>
                  </a:lnTo>
                  <a:lnTo>
                    <a:pt x="0" y="1008"/>
                  </a:lnTo>
                  <a:lnTo>
                    <a:pt x="280" y="1008"/>
                  </a:lnTo>
                  <a:lnTo>
                    <a:pt x="280" y="448"/>
                  </a:lnTo>
                  <a:lnTo>
                    <a:pt x="283" y="396"/>
                  </a:lnTo>
                  <a:lnTo>
                    <a:pt x="292" y="345"/>
                  </a:lnTo>
                  <a:lnTo>
                    <a:pt x="306" y="297"/>
                  </a:lnTo>
                  <a:lnTo>
                    <a:pt x="326" y="251"/>
                  </a:lnTo>
                  <a:lnTo>
                    <a:pt x="350" y="208"/>
                  </a:lnTo>
                  <a:lnTo>
                    <a:pt x="379" y="168"/>
                  </a:lnTo>
                  <a:lnTo>
                    <a:pt x="411" y="131"/>
                  </a:lnTo>
                  <a:lnTo>
                    <a:pt x="448" y="99"/>
                  </a:lnTo>
                  <a:lnTo>
                    <a:pt x="487" y="69"/>
                  </a:lnTo>
                  <a:lnTo>
                    <a:pt x="531" y="45"/>
                  </a:lnTo>
                  <a:lnTo>
                    <a:pt x="576" y="26"/>
                  </a:lnTo>
                  <a:lnTo>
                    <a:pt x="625" y="12"/>
                  </a:lnTo>
                  <a:lnTo>
                    <a:pt x="675" y="3"/>
                  </a:lnTo>
                  <a:lnTo>
                    <a:pt x="727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de-DE" sz="2701"/>
            </a:p>
          </p:txBody>
        </p:sp>
        <p:grpSp>
          <p:nvGrpSpPr>
            <p:cNvPr id="164" name="Gruppieren 190"/>
            <p:cNvGrpSpPr/>
            <p:nvPr/>
          </p:nvGrpSpPr>
          <p:grpSpPr>
            <a:xfrm>
              <a:off x="9248052" y="3794731"/>
              <a:ext cx="901299" cy="901299"/>
              <a:chOff x="5677110" y="3614828"/>
              <a:chExt cx="711200" cy="711200"/>
            </a:xfrm>
            <a:solidFill>
              <a:schemeClr val="tx1"/>
            </a:solidFill>
          </p:grpSpPr>
          <p:sp>
            <p:nvSpPr>
              <p:cNvPr id="165" name="Freeform 110"/>
              <p:cNvSpPr>
                <a:spLocks noEditPoints="1"/>
              </p:cNvSpPr>
              <p:nvPr/>
            </p:nvSpPr>
            <p:spPr bwMode="auto">
              <a:xfrm>
                <a:off x="5677110" y="3614828"/>
                <a:ext cx="711200" cy="711200"/>
              </a:xfrm>
              <a:custGeom>
                <a:avLst/>
                <a:gdLst/>
                <a:ahLst/>
                <a:cxnLst>
                  <a:cxn ang="0">
                    <a:pos x="1290" y="253"/>
                  </a:cxn>
                  <a:cxn ang="0">
                    <a:pos x="951" y="374"/>
                  </a:cxn>
                  <a:cxn ang="0">
                    <a:pos x="728" y="952"/>
                  </a:cxn>
                  <a:cxn ang="0">
                    <a:pos x="275" y="1202"/>
                  </a:cxn>
                  <a:cxn ang="0">
                    <a:pos x="223" y="1568"/>
                  </a:cxn>
                  <a:cxn ang="0">
                    <a:pos x="277" y="1941"/>
                  </a:cxn>
                  <a:cxn ang="0">
                    <a:pos x="423" y="2272"/>
                  </a:cxn>
                  <a:cxn ang="0">
                    <a:pos x="650" y="2550"/>
                  </a:cxn>
                  <a:cxn ang="0">
                    <a:pos x="942" y="2758"/>
                  </a:cxn>
                  <a:cxn ang="0">
                    <a:pos x="1286" y="2882"/>
                  </a:cxn>
                  <a:cxn ang="0">
                    <a:pos x="1664" y="2908"/>
                  </a:cxn>
                  <a:cxn ang="0">
                    <a:pos x="2027" y="2831"/>
                  </a:cxn>
                  <a:cxn ang="0">
                    <a:pos x="2347" y="2663"/>
                  </a:cxn>
                  <a:cxn ang="0">
                    <a:pos x="2608" y="2418"/>
                  </a:cxn>
                  <a:cxn ang="0">
                    <a:pos x="2797" y="2112"/>
                  </a:cxn>
                  <a:cxn ang="0">
                    <a:pos x="2898" y="1758"/>
                  </a:cxn>
                  <a:cxn ang="0">
                    <a:pos x="2901" y="1396"/>
                  </a:cxn>
                  <a:cxn ang="0">
                    <a:pos x="2464" y="1344"/>
                  </a:cxn>
                  <a:cxn ang="0">
                    <a:pos x="2296" y="1568"/>
                  </a:cxn>
                  <a:cxn ang="0">
                    <a:pos x="2072" y="1792"/>
                  </a:cxn>
                  <a:cxn ang="0">
                    <a:pos x="1568" y="2800"/>
                  </a:cxn>
                  <a:cxn ang="0">
                    <a:pos x="1232" y="2017"/>
                  </a:cxn>
                  <a:cxn ang="0">
                    <a:pos x="952" y="1400"/>
                  </a:cxn>
                  <a:cxn ang="0">
                    <a:pos x="1792" y="1456"/>
                  </a:cxn>
                  <a:cxn ang="0">
                    <a:pos x="1456" y="1344"/>
                  </a:cxn>
                  <a:cxn ang="0">
                    <a:pos x="952" y="1288"/>
                  </a:cxn>
                  <a:cxn ang="0">
                    <a:pos x="1456" y="840"/>
                  </a:cxn>
                  <a:cxn ang="0">
                    <a:pos x="1624" y="672"/>
                  </a:cxn>
                  <a:cxn ang="0">
                    <a:pos x="1344" y="784"/>
                  </a:cxn>
                  <a:cxn ang="0">
                    <a:pos x="1904" y="448"/>
                  </a:cxn>
                  <a:cxn ang="0">
                    <a:pos x="1807" y="245"/>
                  </a:cxn>
                  <a:cxn ang="0">
                    <a:pos x="1568" y="0"/>
                  </a:cxn>
                  <a:cxn ang="0">
                    <a:pos x="1969" y="52"/>
                  </a:cxn>
                  <a:cxn ang="0">
                    <a:pos x="2332" y="198"/>
                  </a:cxn>
                  <a:cxn ang="0">
                    <a:pos x="2642" y="425"/>
                  </a:cxn>
                  <a:cxn ang="0">
                    <a:pos x="2889" y="722"/>
                  </a:cxn>
                  <a:cxn ang="0">
                    <a:pos x="3056" y="1073"/>
                  </a:cxn>
                  <a:cxn ang="0">
                    <a:pos x="3133" y="1465"/>
                  </a:cxn>
                  <a:cxn ang="0">
                    <a:pos x="3107" y="1872"/>
                  </a:cxn>
                  <a:cxn ang="0">
                    <a:pos x="2983" y="2245"/>
                  </a:cxn>
                  <a:cxn ang="0">
                    <a:pos x="2775" y="2570"/>
                  </a:cxn>
                  <a:cxn ang="0">
                    <a:pos x="2494" y="2833"/>
                  </a:cxn>
                  <a:cxn ang="0">
                    <a:pos x="2156" y="3022"/>
                  </a:cxn>
                  <a:cxn ang="0">
                    <a:pos x="1772" y="3123"/>
                  </a:cxn>
                  <a:cxn ang="0">
                    <a:pos x="1364" y="3123"/>
                  </a:cxn>
                  <a:cxn ang="0">
                    <a:pos x="980" y="3022"/>
                  </a:cxn>
                  <a:cxn ang="0">
                    <a:pos x="642" y="2833"/>
                  </a:cxn>
                  <a:cxn ang="0">
                    <a:pos x="361" y="2570"/>
                  </a:cxn>
                  <a:cxn ang="0">
                    <a:pos x="153" y="2245"/>
                  </a:cxn>
                  <a:cxn ang="0">
                    <a:pos x="29" y="1872"/>
                  </a:cxn>
                  <a:cxn ang="0">
                    <a:pos x="3" y="1465"/>
                  </a:cxn>
                  <a:cxn ang="0">
                    <a:pos x="80" y="1073"/>
                  </a:cxn>
                  <a:cxn ang="0">
                    <a:pos x="247" y="722"/>
                  </a:cxn>
                  <a:cxn ang="0">
                    <a:pos x="494" y="425"/>
                  </a:cxn>
                  <a:cxn ang="0">
                    <a:pos x="804" y="198"/>
                  </a:cxn>
                  <a:cxn ang="0">
                    <a:pos x="1167" y="52"/>
                  </a:cxn>
                  <a:cxn ang="0">
                    <a:pos x="1568" y="0"/>
                  </a:cxn>
                </a:cxnLst>
                <a:rect l="0" t="0" r="r" b="b"/>
                <a:pathLst>
                  <a:path w="3136" h="3136">
                    <a:moveTo>
                      <a:pt x="1568" y="223"/>
                    </a:moveTo>
                    <a:lnTo>
                      <a:pt x="1474" y="228"/>
                    </a:lnTo>
                    <a:lnTo>
                      <a:pt x="1380" y="236"/>
                    </a:lnTo>
                    <a:lnTo>
                      <a:pt x="1290" y="253"/>
                    </a:lnTo>
                    <a:lnTo>
                      <a:pt x="1201" y="275"/>
                    </a:lnTo>
                    <a:lnTo>
                      <a:pt x="1115" y="303"/>
                    </a:lnTo>
                    <a:lnTo>
                      <a:pt x="1031" y="335"/>
                    </a:lnTo>
                    <a:lnTo>
                      <a:pt x="951" y="374"/>
                    </a:lnTo>
                    <a:lnTo>
                      <a:pt x="873" y="418"/>
                    </a:lnTo>
                    <a:lnTo>
                      <a:pt x="799" y="466"/>
                    </a:lnTo>
                    <a:lnTo>
                      <a:pt x="728" y="519"/>
                    </a:lnTo>
                    <a:lnTo>
                      <a:pt x="728" y="952"/>
                    </a:lnTo>
                    <a:lnTo>
                      <a:pt x="373" y="952"/>
                    </a:lnTo>
                    <a:lnTo>
                      <a:pt x="335" y="1033"/>
                    </a:lnTo>
                    <a:lnTo>
                      <a:pt x="303" y="1116"/>
                    </a:lnTo>
                    <a:lnTo>
                      <a:pt x="275" y="1202"/>
                    </a:lnTo>
                    <a:lnTo>
                      <a:pt x="253" y="1290"/>
                    </a:lnTo>
                    <a:lnTo>
                      <a:pt x="236" y="1381"/>
                    </a:lnTo>
                    <a:lnTo>
                      <a:pt x="228" y="1474"/>
                    </a:lnTo>
                    <a:lnTo>
                      <a:pt x="223" y="1568"/>
                    </a:lnTo>
                    <a:lnTo>
                      <a:pt x="228" y="1664"/>
                    </a:lnTo>
                    <a:lnTo>
                      <a:pt x="238" y="1758"/>
                    </a:lnTo>
                    <a:lnTo>
                      <a:pt x="254" y="1850"/>
                    </a:lnTo>
                    <a:lnTo>
                      <a:pt x="277" y="1941"/>
                    </a:lnTo>
                    <a:lnTo>
                      <a:pt x="305" y="2027"/>
                    </a:lnTo>
                    <a:lnTo>
                      <a:pt x="339" y="2112"/>
                    </a:lnTo>
                    <a:lnTo>
                      <a:pt x="378" y="2194"/>
                    </a:lnTo>
                    <a:lnTo>
                      <a:pt x="423" y="2272"/>
                    </a:lnTo>
                    <a:lnTo>
                      <a:pt x="473" y="2347"/>
                    </a:lnTo>
                    <a:lnTo>
                      <a:pt x="528" y="2418"/>
                    </a:lnTo>
                    <a:lnTo>
                      <a:pt x="586" y="2486"/>
                    </a:lnTo>
                    <a:lnTo>
                      <a:pt x="650" y="2550"/>
                    </a:lnTo>
                    <a:lnTo>
                      <a:pt x="718" y="2608"/>
                    </a:lnTo>
                    <a:lnTo>
                      <a:pt x="789" y="2663"/>
                    </a:lnTo>
                    <a:lnTo>
                      <a:pt x="864" y="2713"/>
                    </a:lnTo>
                    <a:lnTo>
                      <a:pt x="942" y="2758"/>
                    </a:lnTo>
                    <a:lnTo>
                      <a:pt x="1024" y="2797"/>
                    </a:lnTo>
                    <a:lnTo>
                      <a:pt x="1109" y="2831"/>
                    </a:lnTo>
                    <a:lnTo>
                      <a:pt x="1195" y="2859"/>
                    </a:lnTo>
                    <a:lnTo>
                      <a:pt x="1286" y="2882"/>
                    </a:lnTo>
                    <a:lnTo>
                      <a:pt x="1378" y="2898"/>
                    </a:lnTo>
                    <a:lnTo>
                      <a:pt x="1472" y="2908"/>
                    </a:lnTo>
                    <a:lnTo>
                      <a:pt x="1568" y="2913"/>
                    </a:lnTo>
                    <a:lnTo>
                      <a:pt x="1664" y="2908"/>
                    </a:lnTo>
                    <a:lnTo>
                      <a:pt x="1758" y="2898"/>
                    </a:lnTo>
                    <a:lnTo>
                      <a:pt x="1850" y="2882"/>
                    </a:lnTo>
                    <a:lnTo>
                      <a:pt x="1941" y="2859"/>
                    </a:lnTo>
                    <a:lnTo>
                      <a:pt x="2027" y="2831"/>
                    </a:lnTo>
                    <a:lnTo>
                      <a:pt x="2112" y="2797"/>
                    </a:lnTo>
                    <a:lnTo>
                      <a:pt x="2194" y="2758"/>
                    </a:lnTo>
                    <a:lnTo>
                      <a:pt x="2272" y="2713"/>
                    </a:lnTo>
                    <a:lnTo>
                      <a:pt x="2347" y="2663"/>
                    </a:lnTo>
                    <a:lnTo>
                      <a:pt x="2418" y="2608"/>
                    </a:lnTo>
                    <a:lnTo>
                      <a:pt x="2486" y="2550"/>
                    </a:lnTo>
                    <a:lnTo>
                      <a:pt x="2550" y="2486"/>
                    </a:lnTo>
                    <a:lnTo>
                      <a:pt x="2608" y="2418"/>
                    </a:lnTo>
                    <a:lnTo>
                      <a:pt x="2663" y="2347"/>
                    </a:lnTo>
                    <a:lnTo>
                      <a:pt x="2713" y="2272"/>
                    </a:lnTo>
                    <a:lnTo>
                      <a:pt x="2758" y="2194"/>
                    </a:lnTo>
                    <a:lnTo>
                      <a:pt x="2797" y="2112"/>
                    </a:lnTo>
                    <a:lnTo>
                      <a:pt x="2831" y="2027"/>
                    </a:lnTo>
                    <a:lnTo>
                      <a:pt x="2859" y="1941"/>
                    </a:lnTo>
                    <a:lnTo>
                      <a:pt x="2882" y="1850"/>
                    </a:lnTo>
                    <a:lnTo>
                      <a:pt x="2898" y="1758"/>
                    </a:lnTo>
                    <a:lnTo>
                      <a:pt x="2908" y="1664"/>
                    </a:lnTo>
                    <a:lnTo>
                      <a:pt x="2913" y="1568"/>
                    </a:lnTo>
                    <a:lnTo>
                      <a:pt x="2909" y="1481"/>
                    </a:lnTo>
                    <a:lnTo>
                      <a:pt x="2901" y="1396"/>
                    </a:lnTo>
                    <a:lnTo>
                      <a:pt x="2888" y="1313"/>
                    </a:lnTo>
                    <a:lnTo>
                      <a:pt x="2632" y="1568"/>
                    </a:lnTo>
                    <a:lnTo>
                      <a:pt x="2464" y="1568"/>
                    </a:lnTo>
                    <a:lnTo>
                      <a:pt x="2464" y="1344"/>
                    </a:lnTo>
                    <a:lnTo>
                      <a:pt x="2072" y="1344"/>
                    </a:lnTo>
                    <a:lnTo>
                      <a:pt x="2184" y="1456"/>
                    </a:lnTo>
                    <a:lnTo>
                      <a:pt x="2296" y="1456"/>
                    </a:lnTo>
                    <a:lnTo>
                      <a:pt x="2296" y="1568"/>
                    </a:lnTo>
                    <a:lnTo>
                      <a:pt x="2128" y="1736"/>
                    </a:lnTo>
                    <a:lnTo>
                      <a:pt x="1904" y="1456"/>
                    </a:lnTo>
                    <a:lnTo>
                      <a:pt x="1848" y="1512"/>
                    </a:lnTo>
                    <a:lnTo>
                      <a:pt x="2072" y="1792"/>
                    </a:lnTo>
                    <a:lnTo>
                      <a:pt x="2184" y="1792"/>
                    </a:lnTo>
                    <a:lnTo>
                      <a:pt x="1848" y="2128"/>
                    </a:lnTo>
                    <a:lnTo>
                      <a:pt x="1848" y="2520"/>
                    </a:lnTo>
                    <a:lnTo>
                      <a:pt x="1568" y="2800"/>
                    </a:lnTo>
                    <a:lnTo>
                      <a:pt x="1456" y="2800"/>
                    </a:lnTo>
                    <a:lnTo>
                      <a:pt x="1456" y="2408"/>
                    </a:lnTo>
                    <a:lnTo>
                      <a:pt x="1232" y="2184"/>
                    </a:lnTo>
                    <a:lnTo>
                      <a:pt x="1232" y="2017"/>
                    </a:lnTo>
                    <a:lnTo>
                      <a:pt x="1119" y="2017"/>
                    </a:lnTo>
                    <a:lnTo>
                      <a:pt x="840" y="1736"/>
                    </a:lnTo>
                    <a:lnTo>
                      <a:pt x="840" y="1400"/>
                    </a:lnTo>
                    <a:lnTo>
                      <a:pt x="952" y="1400"/>
                    </a:lnTo>
                    <a:lnTo>
                      <a:pt x="952" y="1344"/>
                    </a:lnTo>
                    <a:lnTo>
                      <a:pt x="1232" y="1344"/>
                    </a:lnTo>
                    <a:lnTo>
                      <a:pt x="1232" y="1456"/>
                    </a:lnTo>
                    <a:lnTo>
                      <a:pt x="1792" y="1456"/>
                    </a:lnTo>
                    <a:lnTo>
                      <a:pt x="1792" y="1288"/>
                    </a:lnTo>
                    <a:lnTo>
                      <a:pt x="1680" y="1288"/>
                    </a:lnTo>
                    <a:lnTo>
                      <a:pt x="1680" y="1344"/>
                    </a:lnTo>
                    <a:lnTo>
                      <a:pt x="1456" y="1344"/>
                    </a:lnTo>
                    <a:lnTo>
                      <a:pt x="1456" y="1232"/>
                    </a:lnTo>
                    <a:lnTo>
                      <a:pt x="1176" y="1232"/>
                    </a:lnTo>
                    <a:lnTo>
                      <a:pt x="1176" y="1288"/>
                    </a:lnTo>
                    <a:lnTo>
                      <a:pt x="952" y="1288"/>
                    </a:lnTo>
                    <a:lnTo>
                      <a:pt x="952" y="1064"/>
                    </a:lnTo>
                    <a:lnTo>
                      <a:pt x="1119" y="1064"/>
                    </a:lnTo>
                    <a:lnTo>
                      <a:pt x="1344" y="840"/>
                    </a:lnTo>
                    <a:lnTo>
                      <a:pt x="1456" y="840"/>
                    </a:lnTo>
                    <a:lnTo>
                      <a:pt x="1456" y="896"/>
                    </a:lnTo>
                    <a:lnTo>
                      <a:pt x="1568" y="896"/>
                    </a:lnTo>
                    <a:lnTo>
                      <a:pt x="1568" y="728"/>
                    </a:lnTo>
                    <a:lnTo>
                      <a:pt x="1624" y="672"/>
                    </a:lnTo>
                    <a:lnTo>
                      <a:pt x="1568" y="616"/>
                    </a:lnTo>
                    <a:lnTo>
                      <a:pt x="1456" y="728"/>
                    </a:lnTo>
                    <a:lnTo>
                      <a:pt x="1456" y="784"/>
                    </a:lnTo>
                    <a:lnTo>
                      <a:pt x="1344" y="784"/>
                    </a:lnTo>
                    <a:lnTo>
                      <a:pt x="1344" y="672"/>
                    </a:lnTo>
                    <a:lnTo>
                      <a:pt x="1624" y="392"/>
                    </a:lnTo>
                    <a:lnTo>
                      <a:pt x="1792" y="560"/>
                    </a:lnTo>
                    <a:lnTo>
                      <a:pt x="1904" y="448"/>
                    </a:lnTo>
                    <a:lnTo>
                      <a:pt x="1848" y="392"/>
                    </a:lnTo>
                    <a:lnTo>
                      <a:pt x="1958" y="282"/>
                    </a:lnTo>
                    <a:lnTo>
                      <a:pt x="1883" y="261"/>
                    </a:lnTo>
                    <a:lnTo>
                      <a:pt x="1807" y="245"/>
                    </a:lnTo>
                    <a:lnTo>
                      <a:pt x="1729" y="233"/>
                    </a:lnTo>
                    <a:lnTo>
                      <a:pt x="1648" y="227"/>
                    </a:lnTo>
                    <a:lnTo>
                      <a:pt x="1568" y="223"/>
                    </a:lnTo>
                    <a:close/>
                    <a:moveTo>
                      <a:pt x="1568" y="0"/>
                    </a:moveTo>
                    <a:lnTo>
                      <a:pt x="1671" y="3"/>
                    </a:lnTo>
                    <a:lnTo>
                      <a:pt x="1772" y="13"/>
                    </a:lnTo>
                    <a:lnTo>
                      <a:pt x="1872" y="29"/>
                    </a:lnTo>
                    <a:lnTo>
                      <a:pt x="1969" y="52"/>
                    </a:lnTo>
                    <a:lnTo>
                      <a:pt x="2063" y="80"/>
                    </a:lnTo>
                    <a:lnTo>
                      <a:pt x="2156" y="114"/>
                    </a:lnTo>
                    <a:lnTo>
                      <a:pt x="2245" y="153"/>
                    </a:lnTo>
                    <a:lnTo>
                      <a:pt x="2332" y="198"/>
                    </a:lnTo>
                    <a:lnTo>
                      <a:pt x="2414" y="247"/>
                    </a:lnTo>
                    <a:lnTo>
                      <a:pt x="2494" y="303"/>
                    </a:lnTo>
                    <a:lnTo>
                      <a:pt x="2570" y="361"/>
                    </a:lnTo>
                    <a:lnTo>
                      <a:pt x="2642" y="425"/>
                    </a:lnTo>
                    <a:lnTo>
                      <a:pt x="2711" y="494"/>
                    </a:lnTo>
                    <a:lnTo>
                      <a:pt x="2775" y="566"/>
                    </a:lnTo>
                    <a:lnTo>
                      <a:pt x="2833" y="642"/>
                    </a:lnTo>
                    <a:lnTo>
                      <a:pt x="2889" y="722"/>
                    </a:lnTo>
                    <a:lnTo>
                      <a:pt x="2938" y="804"/>
                    </a:lnTo>
                    <a:lnTo>
                      <a:pt x="2983" y="891"/>
                    </a:lnTo>
                    <a:lnTo>
                      <a:pt x="3022" y="980"/>
                    </a:lnTo>
                    <a:lnTo>
                      <a:pt x="3056" y="1073"/>
                    </a:lnTo>
                    <a:lnTo>
                      <a:pt x="3084" y="1167"/>
                    </a:lnTo>
                    <a:lnTo>
                      <a:pt x="3107" y="1264"/>
                    </a:lnTo>
                    <a:lnTo>
                      <a:pt x="3123" y="1364"/>
                    </a:lnTo>
                    <a:lnTo>
                      <a:pt x="3133" y="1465"/>
                    </a:lnTo>
                    <a:lnTo>
                      <a:pt x="3136" y="1568"/>
                    </a:lnTo>
                    <a:lnTo>
                      <a:pt x="3133" y="1671"/>
                    </a:lnTo>
                    <a:lnTo>
                      <a:pt x="3123" y="1772"/>
                    </a:lnTo>
                    <a:lnTo>
                      <a:pt x="3107" y="1872"/>
                    </a:lnTo>
                    <a:lnTo>
                      <a:pt x="3084" y="1969"/>
                    </a:lnTo>
                    <a:lnTo>
                      <a:pt x="3056" y="2063"/>
                    </a:lnTo>
                    <a:lnTo>
                      <a:pt x="3022" y="2156"/>
                    </a:lnTo>
                    <a:lnTo>
                      <a:pt x="2983" y="2245"/>
                    </a:lnTo>
                    <a:lnTo>
                      <a:pt x="2938" y="2332"/>
                    </a:lnTo>
                    <a:lnTo>
                      <a:pt x="2889" y="2414"/>
                    </a:lnTo>
                    <a:lnTo>
                      <a:pt x="2833" y="2494"/>
                    </a:lnTo>
                    <a:lnTo>
                      <a:pt x="2775" y="2570"/>
                    </a:lnTo>
                    <a:lnTo>
                      <a:pt x="2711" y="2642"/>
                    </a:lnTo>
                    <a:lnTo>
                      <a:pt x="2642" y="2711"/>
                    </a:lnTo>
                    <a:lnTo>
                      <a:pt x="2570" y="2775"/>
                    </a:lnTo>
                    <a:lnTo>
                      <a:pt x="2494" y="2833"/>
                    </a:lnTo>
                    <a:lnTo>
                      <a:pt x="2414" y="2889"/>
                    </a:lnTo>
                    <a:lnTo>
                      <a:pt x="2332" y="2938"/>
                    </a:lnTo>
                    <a:lnTo>
                      <a:pt x="2245" y="2983"/>
                    </a:lnTo>
                    <a:lnTo>
                      <a:pt x="2156" y="3022"/>
                    </a:lnTo>
                    <a:lnTo>
                      <a:pt x="2063" y="3056"/>
                    </a:lnTo>
                    <a:lnTo>
                      <a:pt x="1969" y="3084"/>
                    </a:lnTo>
                    <a:lnTo>
                      <a:pt x="1872" y="3107"/>
                    </a:lnTo>
                    <a:lnTo>
                      <a:pt x="1772" y="3123"/>
                    </a:lnTo>
                    <a:lnTo>
                      <a:pt x="1671" y="3133"/>
                    </a:lnTo>
                    <a:lnTo>
                      <a:pt x="1568" y="3136"/>
                    </a:lnTo>
                    <a:lnTo>
                      <a:pt x="1465" y="3133"/>
                    </a:lnTo>
                    <a:lnTo>
                      <a:pt x="1364" y="3123"/>
                    </a:lnTo>
                    <a:lnTo>
                      <a:pt x="1264" y="3107"/>
                    </a:lnTo>
                    <a:lnTo>
                      <a:pt x="1167" y="3084"/>
                    </a:lnTo>
                    <a:lnTo>
                      <a:pt x="1073" y="3056"/>
                    </a:lnTo>
                    <a:lnTo>
                      <a:pt x="980" y="3022"/>
                    </a:lnTo>
                    <a:lnTo>
                      <a:pt x="891" y="2983"/>
                    </a:lnTo>
                    <a:lnTo>
                      <a:pt x="804" y="2938"/>
                    </a:lnTo>
                    <a:lnTo>
                      <a:pt x="722" y="2889"/>
                    </a:lnTo>
                    <a:lnTo>
                      <a:pt x="642" y="2833"/>
                    </a:lnTo>
                    <a:lnTo>
                      <a:pt x="566" y="2775"/>
                    </a:lnTo>
                    <a:lnTo>
                      <a:pt x="494" y="2711"/>
                    </a:lnTo>
                    <a:lnTo>
                      <a:pt x="425" y="2642"/>
                    </a:lnTo>
                    <a:lnTo>
                      <a:pt x="361" y="2570"/>
                    </a:lnTo>
                    <a:lnTo>
                      <a:pt x="303" y="2494"/>
                    </a:lnTo>
                    <a:lnTo>
                      <a:pt x="247" y="2414"/>
                    </a:lnTo>
                    <a:lnTo>
                      <a:pt x="198" y="2332"/>
                    </a:lnTo>
                    <a:lnTo>
                      <a:pt x="153" y="2245"/>
                    </a:lnTo>
                    <a:lnTo>
                      <a:pt x="114" y="2156"/>
                    </a:lnTo>
                    <a:lnTo>
                      <a:pt x="80" y="2063"/>
                    </a:lnTo>
                    <a:lnTo>
                      <a:pt x="52" y="1969"/>
                    </a:lnTo>
                    <a:lnTo>
                      <a:pt x="29" y="1872"/>
                    </a:lnTo>
                    <a:lnTo>
                      <a:pt x="13" y="1772"/>
                    </a:lnTo>
                    <a:lnTo>
                      <a:pt x="3" y="1671"/>
                    </a:lnTo>
                    <a:lnTo>
                      <a:pt x="0" y="1568"/>
                    </a:lnTo>
                    <a:lnTo>
                      <a:pt x="3" y="1465"/>
                    </a:lnTo>
                    <a:lnTo>
                      <a:pt x="13" y="1364"/>
                    </a:lnTo>
                    <a:lnTo>
                      <a:pt x="29" y="1264"/>
                    </a:lnTo>
                    <a:lnTo>
                      <a:pt x="52" y="1167"/>
                    </a:lnTo>
                    <a:lnTo>
                      <a:pt x="80" y="1073"/>
                    </a:lnTo>
                    <a:lnTo>
                      <a:pt x="114" y="980"/>
                    </a:lnTo>
                    <a:lnTo>
                      <a:pt x="153" y="891"/>
                    </a:lnTo>
                    <a:lnTo>
                      <a:pt x="198" y="804"/>
                    </a:lnTo>
                    <a:lnTo>
                      <a:pt x="247" y="722"/>
                    </a:lnTo>
                    <a:lnTo>
                      <a:pt x="303" y="642"/>
                    </a:lnTo>
                    <a:lnTo>
                      <a:pt x="361" y="566"/>
                    </a:lnTo>
                    <a:lnTo>
                      <a:pt x="425" y="494"/>
                    </a:lnTo>
                    <a:lnTo>
                      <a:pt x="494" y="425"/>
                    </a:lnTo>
                    <a:lnTo>
                      <a:pt x="566" y="361"/>
                    </a:lnTo>
                    <a:lnTo>
                      <a:pt x="642" y="303"/>
                    </a:lnTo>
                    <a:lnTo>
                      <a:pt x="722" y="247"/>
                    </a:lnTo>
                    <a:lnTo>
                      <a:pt x="804" y="198"/>
                    </a:lnTo>
                    <a:lnTo>
                      <a:pt x="891" y="153"/>
                    </a:lnTo>
                    <a:lnTo>
                      <a:pt x="980" y="114"/>
                    </a:lnTo>
                    <a:lnTo>
                      <a:pt x="1073" y="80"/>
                    </a:lnTo>
                    <a:lnTo>
                      <a:pt x="1167" y="52"/>
                    </a:lnTo>
                    <a:lnTo>
                      <a:pt x="1264" y="29"/>
                    </a:lnTo>
                    <a:lnTo>
                      <a:pt x="1364" y="13"/>
                    </a:lnTo>
                    <a:lnTo>
                      <a:pt x="1465" y="3"/>
                    </a:lnTo>
                    <a:lnTo>
                      <a:pt x="15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66" name="Freeform 111"/>
              <p:cNvSpPr>
                <a:spLocks/>
              </p:cNvSpPr>
              <p:nvPr/>
            </p:nvSpPr>
            <p:spPr bwMode="auto">
              <a:xfrm>
                <a:off x="5931110" y="3779928"/>
                <a:ext cx="25400" cy="508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3" y="0"/>
                  </a:cxn>
                  <a:cxn ang="0">
                    <a:pos x="113" y="112"/>
                  </a:cxn>
                  <a:cxn ang="0">
                    <a:pos x="0" y="224"/>
                  </a:cxn>
                  <a:cxn ang="0">
                    <a:pos x="0" y="0"/>
                  </a:cxn>
                </a:cxnLst>
                <a:rect l="0" t="0" r="r" b="b"/>
                <a:pathLst>
                  <a:path w="113" h="224">
                    <a:moveTo>
                      <a:pt x="0" y="0"/>
                    </a:moveTo>
                    <a:lnTo>
                      <a:pt x="113" y="0"/>
                    </a:lnTo>
                    <a:lnTo>
                      <a:pt x="113" y="112"/>
                    </a:lnTo>
                    <a:lnTo>
                      <a:pt x="0" y="22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</p:grpSp>
        <p:grpSp>
          <p:nvGrpSpPr>
            <p:cNvPr id="167" name="Gruppieren 200"/>
            <p:cNvGrpSpPr/>
            <p:nvPr/>
          </p:nvGrpSpPr>
          <p:grpSpPr>
            <a:xfrm>
              <a:off x="8218637" y="3802354"/>
              <a:ext cx="901299" cy="901299"/>
              <a:chOff x="6694896" y="3614828"/>
              <a:chExt cx="711200" cy="711200"/>
            </a:xfrm>
            <a:solidFill>
              <a:schemeClr val="tx1"/>
            </a:solidFill>
          </p:grpSpPr>
          <p:sp>
            <p:nvSpPr>
              <p:cNvPr id="168" name="Freeform 116"/>
              <p:cNvSpPr>
                <a:spLocks noEditPoints="1"/>
              </p:cNvSpPr>
              <p:nvPr/>
            </p:nvSpPr>
            <p:spPr bwMode="auto">
              <a:xfrm>
                <a:off x="6694896" y="3614828"/>
                <a:ext cx="711200" cy="711200"/>
              </a:xfrm>
              <a:custGeom>
                <a:avLst/>
                <a:gdLst/>
                <a:ahLst/>
                <a:cxnLst>
                  <a:cxn ang="0">
                    <a:pos x="2184" y="896"/>
                  </a:cxn>
                  <a:cxn ang="0">
                    <a:pos x="2017" y="1064"/>
                  </a:cxn>
                  <a:cxn ang="0">
                    <a:pos x="1232" y="1904"/>
                  </a:cxn>
                  <a:cxn ang="0">
                    <a:pos x="1119" y="1736"/>
                  </a:cxn>
                  <a:cxn ang="0">
                    <a:pos x="728" y="1848"/>
                  </a:cxn>
                  <a:cxn ang="0">
                    <a:pos x="240" y="1775"/>
                  </a:cxn>
                  <a:cxn ang="0">
                    <a:pos x="344" y="2125"/>
                  </a:cxn>
                  <a:cxn ang="0">
                    <a:pos x="534" y="2427"/>
                  </a:cxn>
                  <a:cxn ang="0">
                    <a:pos x="795" y="2667"/>
                  </a:cxn>
                  <a:cxn ang="0">
                    <a:pos x="1113" y="2833"/>
                  </a:cxn>
                  <a:cxn ang="0">
                    <a:pos x="1472" y="2908"/>
                  </a:cxn>
                  <a:cxn ang="0">
                    <a:pos x="1850" y="2882"/>
                  </a:cxn>
                  <a:cxn ang="0">
                    <a:pos x="2194" y="2758"/>
                  </a:cxn>
                  <a:cxn ang="0">
                    <a:pos x="2486" y="2550"/>
                  </a:cxn>
                  <a:cxn ang="0">
                    <a:pos x="2713" y="2272"/>
                  </a:cxn>
                  <a:cxn ang="0">
                    <a:pos x="2859" y="1941"/>
                  </a:cxn>
                  <a:cxn ang="0">
                    <a:pos x="2913" y="1568"/>
                  </a:cxn>
                  <a:cxn ang="0">
                    <a:pos x="2865" y="1214"/>
                  </a:cxn>
                  <a:cxn ang="0">
                    <a:pos x="2732" y="896"/>
                  </a:cxn>
                  <a:cxn ang="0">
                    <a:pos x="2526" y="625"/>
                  </a:cxn>
                  <a:cxn ang="0">
                    <a:pos x="1394" y="235"/>
                  </a:cxn>
                  <a:cxn ang="0">
                    <a:pos x="1067" y="320"/>
                  </a:cxn>
                  <a:cxn ang="0">
                    <a:pos x="1848" y="560"/>
                  </a:cxn>
                  <a:cxn ang="0">
                    <a:pos x="2247" y="408"/>
                  </a:cxn>
                  <a:cxn ang="0">
                    <a:pos x="1925" y="272"/>
                  </a:cxn>
                  <a:cxn ang="0">
                    <a:pos x="1568" y="223"/>
                  </a:cxn>
                  <a:cxn ang="0">
                    <a:pos x="1872" y="29"/>
                  </a:cxn>
                  <a:cxn ang="0">
                    <a:pos x="2245" y="153"/>
                  </a:cxn>
                  <a:cxn ang="0">
                    <a:pos x="2570" y="361"/>
                  </a:cxn>
                  <a:cxn ang="0">
                    <a:pos x="2833" y="642"/>
                  </a:cxn>
                  <a:cxn ang="0">
                    <a:pos x="3022" y="980"/>
                  </a:cxn>
                  <a:cxn ang="0">
                    <a:pos x="3123" y="1364"/>
                  </a:cxn>
                  <a:cxn ang="0">
                    <a:pos x="3123" y="1772"/>
                  </a:cxn>
                  <a:cxn ang="0">
                    <a:pos x="3022" y="2156"/>
                  </a:cxn>
                  <a:cxn ang="0">
                    <a:pos x="2833" y="2494"/>
                  </a:cxn>
                  <a:cxn ang="0">
                    <a:pos x="2570" y="2775"/>
                  </a:cxn>
                  <a:cxn ang="0">
                    <a:pos x="2245" y="2983"/>
                  </a:cxn>
                  <a:cxn ang="0">
                    <a:pos x="1872" y="3107"/>
                  </a:cxn>
                  <a:cxn ang="0">
                    <a:pos x="1465" y="3133"/>
                  </a:cxn>
                  <a:cxn ang="0">
                    <a:pos x="1073" y="3056"/>
                  </a:cxn>
                  <a:cxn ang="0">
                    <a:pos x="722" y="2889"/>
                  </a:cxn>
                  <a:cxn ang="0">
                    <a:pos x="425" y="2642"/>
                  </a:cxn>
                  <a:cxn ang="0">
                    <a:pos x="198" y="2332"/>
                  </a:cxn>
                  <a:cxn ang="0">
                    <a:pos x="52" y="1969"/>
                  </a:cxn>
                  <a:cxn ang="0">
                    <a:pos x="0" y="1568"/>
                  </a:cxn>
                  <a:cxn ang="0">
                    <a:pos x="52" y="1167"/>
                  </a:cxn>
                  <a:cxn ang="0">
                    <a:pos x="198" y="804"/>
                  </a:cxn>
                  <a:cxn ang="0">
                    <a:pos x="425" y="494"/>
                  </a:cxn>
                  <a:cxn ang="0">
                    <a:pos x="722" y="247"/>
                  </a:cxn>
                  <a:cxn ang="0">
                    <a:pos x="1073" y="80"/>
                  </a:cxn>
                  <a:cxn ang="0">
                    <a:pos x="1465" y="3"/>
                  </a:cxn>
                </a:cxnLst>
                <a:rect l="0" t="0" r="r" b="b"/>
                <a:pathLst>
                  <a:path w="3136" h="3136">
                    <a:moveTo>
                      <a:pt x="2464" y="567"/>
                    </a:moveTo>
                    <a:lnTo>
                      <a:pt x="2464" y="728"/>
                    </a:lnTo>
                    <a:lnTo>
                      <a:pt x="2352" y="728"/>
                    </a:lnTo>
                    <a:lnTo>
                      <a:pt x="2184" y="896"/>
                    </a:lnTo>
                    <a:lnTo>
                      <a:pt x="2184" y="784"/>
                    </a:lnTo>
                    <a:lnTo>
                      <a:pt x="2240" y="728"/>
                    </a:lnTo>
                    <a:lnTo>
                      <a:pt x="2017" y="728"/>
                    </a:lnTo>
                    <a:lnTo>
                      <a:pt x="2017" y="1064"/>
                    </a:lnTo>
                    <a:lnTo>
                      <a:pt x="1568" y="1512"/>
                    </a:lnTo>
                    <a:lnTo>
                      <a:pt x="1344" y="1512"/>
                    </a:lnTo>
                    <a:lnTo>
                      <a:pt x="1344" y="1792"/>
                    </a:lnTo>
                    <a:lnTo>
                      <a:pt x="1232" y="1904"/>
                    </a:lnTo>
                    <a:lnTo>
                      <a:pt x="1456" y="2128"/>
                    </a:lnTo>
                    <a:lnTo>
                      <a:pt x="1344" y="2240"/>
                    </a:lnTo>
                    <a:lnTo>
                      <a:pt x="1119" y="2017"/>
                    </a:lnTo>
                    <a:lnTo>
                      <a:pt x="1119" y="1736"/>
                    </a:lnTo>
                    <a:lnTo>
                      <a:pt x="1008" y="1736"/>
                    </a:lnTo>
                    <a:lnTo>
                      <a:pt x="1008" y="1568"/>
                    </a:lnTo>
                    <a:lnTo>
                      <a:pt x="896" y="1568"/>
                    </a:lnTo>
                    <a:lnTo>
                      <a:pt x="728" y="1848"/>
                    </a:lnTo>
                    <a:lnTo>
                      <a:pt x="560" y="1848"/>
                    </a:lnTo>
                    <a:lnTo>
                      <a:pt x="560" y="1568"/>
                    </a:lnTo>
                    <a:lnTo>
                      <a:pt x="448" y="1568"/>
                    </a:lnTo>
                    <a:lnTo>
                      <a:pt x="240" y="1775"/>
                    </a:lnTo>
                    <a:lnTo>
                      <a:pt x="257" y="1867"/>
                    </a:lnTo>
                    <a:lnTo>
                      <a:pt x="281" y="1956"/>
                    </a:lnTo>
                    <a:lnTo>
                      <a:pt x="310" y="2042"/>
                    </a:lnTo>
                    <a:lnTo>
                      <a:pt x="344" y="2125"/>
                    </a:lnTo>
                    <a:lnTo>
                      <a:pt x="384" y="2206"/>
                    </a:lnTo>
                    <a:lnTo>
                      <a:pt x="430" y="2283"/>
                    </a:lnTo>
                    <a:lnTo>
                      <a:pt x="480" y="2356"/>
                    </a:lnTo>
                    <a:lnTo>
                      <a:pt x="534" y="2427"/>
                    </a:lnTo>
                    <a:lnTo>
                      <a:pt x="593" y="2493"/>
                    </a:lnTo>
                    <a:lnTo>
                      <a:pt x="657" y="2555"/>
                    </a:lnTo>
                    <a:lnTo>
                      <a:pt x="724" y="2614"/>
                    </a:lnTo>
                    <a:lnTo>
                      <a:pt x="795" y="2667"/>
                    </a:lnTo>
                    <a:lnTo>
                      <a:pt x="870" y="2716"/>
                    </a:lnTo>
                    <a:lnTo>
                      <a:pt x="948" y="2760"/>
                    </a:lnTo>
                    <a:lnTo>
                      <a:pt x="1028" y="2800"/>
                    </a:lnTo>
                    <a:lnTo>
                      <a:pt x="1113" y="2833"/>
                    </a:lnTo>
                    <a:lnTo>
                      <a:pt x="1199" y="2860"/>
                    </a:lnTo>
                    <a:lnTo>
                      <a:pt x="1288" y="2883"/>
                    </a:lnTo>
                    <a:lnTo>
                      <a:pt x="1379" y="2898"/>
                    </a:lnTo>
                    <a:lnTo>
                      <a:pt x="1472" y="2908"/>
                    </a:lnTo>
                    <a:lnTo>
                      <a:pt x="1568" y="2913"/>
                    </a:lnTo>
                    <a:lnTo>
                      <a:pt x="1664" y="2908"/>
                    </a:lnTo>
                    <a:lnTo>
                      <a:pt x="1758" y="2898"/>
                    </a:lnTo>
                    <a:lnTo>
                      <a:pt x="1850" y="2882"/>
                    </a:lnTo>
                    <a:lnTo>
                      <a:pt x="1941" y="2859"/>
                    </a:lnTo>
                    <a:lnTo>
                      <a:pt x="2027" y="2831"/>
                    </a:lnTo>
                    <a:lnTo>
                      <a:pt x="2112" y="2797"/>
                    </a:lnTo>
                    <a:lnTo>
                      <a:pt x="2194" y="2758"/>
                    </a:lnTo>
                    <a:lnTo>
                      <a:pt x="2272" y="2713"/>
                    </a:lnTo>
                    <a:lnTo>
                      <a:pt x="2347" y="2663"/>
                    </a:lnTo>
                    <a:lnTo>
                      <a:pt x="2418" y="2608"/>
                    </a:lnTo>
                    <a:lnTo>
                      <a:pt x="2486" y="2550"/>
                    </a:lnTo>
                    <a:lnTo>
                      <a:pt x="2550" y="2486"/>
                    </a:lnTo>
                    <a:lnTo>
                      <a:pt x="2608" y="2418"/>
                    </a:lnTo>
                    <a:lnTo>
                      <a:pt x="2663" y="2347"/>
                    </a:lnTo>
                    <a:lnTo>
                      <a:pt x="2713" y="2272"/>
                    </a:lnTo>
                    <a:lnTo>
                      <a:pt x="2758" y="2194"/>
                    </a:lnTo>
                    <a:lnTo>
                      <a:pt x="2797" y="2112"/>
                    </a:lnTo>
                    <a:lnTo>
                      <a:pt x="2831" y="2027"/>
                    </a:lnTo>
                    <a:lnTo>
                      <a:pt x="2859" y="1941"/>
                    </a:lnTo>
                    <a:lnTo>
                      <a:pt x="2882" y="1850"/>
                    </a:lnTo>
                    <a:lnTo>
                      <a:pt x="2898" y="1758"/>
                    </a:lnTo>
                    <a:lnTo>
                      <a:pt x="2908" y="1664"/>
                    </a:lnTo>
                    <a:lnTo>
                      <a:pt x="2913" y="1568"/>
                    </a:lnTo>
                    <a:lnTo>
                      <a:pt x="2909" y="1477"/>
                    </a:lnTo>
                    <a:lnTo>
                      <a:pt x="2900" y="1388"/>
                    </a:lnTo>
                    <a:lnTo>
                      <a:pt x="2885" y="1300"/>
                    </a:lnTo>
                    <a:lnTo>
                      <a:pt x="2865" y="1214"/>
                    </a:lnTo>
                    <a:lnTo>
                      <a:pt x="2839" y="1130"/>
                    </a:lnTo>
                    <a:lnTo>
                      <a:pt x="2808" y="1050"/>
                    </a:lnTo>
                    <a:lnTo>
                      <a:pt x="2772" y="972"/>
                    </a:lnTo>
                    <a:lnTo>
                      <a:pt x="2732" y="896"/>
                    </a:lnTo>
                    <a:lnTo>
                      <a:pt x="2687" y="823"/>
                    </a:lnTo>
                    <a:lnTo>
                      <a:pt x="2637" y="753"/>
                    </a:lnTo>
                    <a:lnTo>
                      <a:pt x="2583" y="687"/>
                    </a:lnTo>
                    <a:lnTo>
                      <a:pt x="2526" y="625"/>
                    </a:lnTo>
                    <a:lnTo>
                      <a:pt x="2464" y="567"/>
                    </a:lnTo>
                    <a:close/>
                    <a:moveTo>
                      <a:pt x="1568" y="223"/>
                    </a:moveTo>
                    <a:lnTo>
                      <a:pt x="1480" y="227"/>
                    </a:lnTo>
                    <a:lnTo>
                      <a:pt x="1394" y="235"/>
                    </a:lnTo>
                    <a:lnTo>
                      <a:pt x="1310" y="248"/>
                    </a:lnTo>
                    <a:lnTo>
                      <a:pt x="1226" y="268"/>
                    </a:lnTo>
                    <a:lnTo>
                      <a:pt x="1146" y="292"/>
                    </a:lnTo>
                    <a:lnTo>
                      <a:pt x="1067" y="320"/>
                    </a:lnTo>
                    <a:lnTo>
                      <a:pt x="991" y="354"/>
                    </a:lnTo>
                    <a:lnTo>
                      <a:pt x="917" y="392"/>
                    </a:lnTo>
                    <a:lnTo>
                      <a:pt x="1680" y="392"/>
                    </a:lnTo>
                    <a:lnTo>
                      <a:pt x="1848" y="560"/>
                    </a:lnTo>
                    <a:lnTo>
                      <a:pt x="2456" y="560"/>
                    </a:lnTo>
                    <a:lnTo>
                      <a:pt x="2390" y="505"/>
                    </a:lnTo>
                    <a:lnTo>
                      <a:pt x="2321" y="455"/>
                    </a:lnTo>
                    <a:lnTo>
                      <a:pt x="2247" y="408"/>
                    </a:lnTo>
                    <a:lnTo>
                      <a:pt x="2171" y="367"/>
                    </a:lnTo>
                    <a:lnTo>
                      <a:pt x="2091" y="330"/>
                    </a:lnTo>
                    <a:lnTo>
                      <a:pt x="2010" y="298"/>
                    </a:lnTo>
                    <a:lnTo>
                      <a:pt x="1925" y="272"/>
                    </a:lnTo>
                    <a:lnTo>
                      <a:pt x="1840" y="252"/>
                    </a:lnTo>
                    <a:lnTo>
                      <a:pt x="1750" y="236"/>
                    </a:lnTo>
                    <a:lnTo>
                      <a:pt x="1660" y="227"/>
                    </a:lnTo>
                    <a:lnTo>
                      <a:pt x="1568" y="223"/>
                    </a:lnTo>
                    <a:close/>
                    <a:moveTo>
                      <a:pt x="1568" y="0"/>
                    </a:moveTo>
                    <a:lnTo>
                      <a:pt x="1671" y="3"/>
                    </a:lnTo>
                    <a:lnTo>
                      <a:pt x="1772" y="13"/>
                    </a:lnTo>
                    <a:lnTo>
                      <a:pt x="1872" y="29"/>
                    </a:lnTo>
                    <a:lnTo>
                      <a:pt x="1969" y="52"/>
                    </a:lnTo>
                    <a:lnTo>
                      <a:pt x="2063" y="80"/>
                    </a:lnTo>
                    <a:lnTo>
                      <a:pt x="2156" y="114"/>
                    </a:lnTo>
                    <a:lnTo>
                      <a:pt x="2245" y="153"/>
                    </a:lnTo>
                    <a:lnTo>
                      <a:pt x="2332" y="198"/>
                    </a:lnTo>
                    <a:lnTo>
                      <a:pt x="2414" y="247"/>
                    </a:lnTo>
                    <a:lnTo>
                      <a:pt x="2494" y="303"/>
                    </a:lnTo>
                    <a:lnTo>
                      <a:pt x="2570" y="361"/>
                    </a:lnTo>
                    <a:lnTo>
                      <a:pt x="2642" y="425"/>
                    </a:lnTo>
                    <a:lnTo>
                      <a:pt x="2711" y="494"/>
                    </a:lnTo>
                    <a:lnTo>
                      <a:pt x="2775" y="566"/>
                    </a:lnTo>
                    <a:lnTo>
                      <a:pt x="2833" y="642"/>
                    </a:lnTo>
                    <a:lnTo>
                      <a:pt x="2889" y="722"/>
                    </a:lnTo>
                    <a:lnTo>
                      <a:pt x="2938" y="804"/>
                    </a:lnTo>
                    <a:lnTo>
                      <a:pt x="2983" y="891"/>
                    </a:lnTo>
                    <a:lnTo>
                      <a:pt x="3022" y="980"/>
                    </a:lnTo>
                    <a:lnTo>
                      <a:pt x="3056" y="1073"/>
                    </a:lnTo>
                    <a:lnTo>
                      <a:pt x="3084" y="1167"/>
                    </a:lnTo>
                    <a:lnTo>
                      <a:pt x="3107" y="1264"/>
                    </a:lnTo>
                    <a:lnTo>
                      <a:pt x="3123" y="1364"/>
                    </a:lnTo>
                    <a:lnTo>
                      <a:pt x="3133" y="1465"/>
                    </a:lnTo>
                    <a:lnTo>
                      <a:pt x="3136" y="1568"/>
                    </a:lnTo>
                    <a:lnTo>
                      <a:pt x="3133" y="1671"/>
                    </a:lnTo>
                    <a:lnTo>
                      <a:pt x="3123" y="1772"/>
                    </a:lnTo>
                    <a:lnTo>
                      <a:pt x="3107" y="1872"/>
                    </a:lnTo>
                    <a:lnTo>
                      <a:pt x="3084" y="1969"/>
                    </a:lnTo>
                    <a:lnTo>
                      <a:pt x="3056" y="2063"/>
                    </a:lnTo>
                    <a:lnTo>
                      <a:pt x="3022" y="2156"/>
                    </a:lnTo>
                    <a:lnTo>
                      <a:pt x="2983" y="2245"/>
                    </a:lnTo>
                    <a:lnTo>
                      <a:pt x="2938" y="2332"/>
                    </a:lnTo>
                    <a:lnTo>
                      <a:pt x="2889" y="2414"/>
                    </a:lnTo>
                    <a:lnTo>
                      <a:pt x="2833" y="2494"/>
                    </a:lnTo>
                    <a:lnTo>
                      <a:pt x="2775" y="2570"/>
                    </a:lnTo>
                    <a:lnTo>
                      <a:pt x="2711" y="2642"/>
                    </a:lnTo>
                    <a:lnTo>
                      <a:pt x="2642" y="2711"/>
                    </a:lnTo>
                    <a:lnTo>
                      <a:pt x="2570" y="2775"/>
                    </a:lnTo>
                    <a:lnTo>
                      <a:pt x="2494" y="2833"/>
                    </a:lnTo>
                    <a:lnTo>
                      <a:pt x="2414" y="2889"/>
                    </a:lnTo>
                    <a:lnTo>
                      <a:pt x="2332" y="2938"/>
                    </a:lnTo>
                    <a:lnTo>
                      <a:pt x="2245" y="2983"/>
                    </a:lnTo>
                    <a:lnTo>
                      <a:pt x="2156" y="3022"/>
                    </a:lnTo>
                    <a:lnTo>
                      <a:pt x="2063" y="3056"/>
                    </a:lnTo>
                    <a:lnTo>
                      <a:pt x="1969" y="3084"/>
                    </a:lnTo>
                    <a:lnTo>
                      <a:pt x="1872" y="3107"/>
                    </a:lnTo>
                    <a:lnTo>
                      <a:pt x="1772" y="3123"/>
                    </a:lnTo>
                    <a:lnTo>
                      <a:pt x="1671" y="3133"/>
                    </a:lnTo>
                    <a:lnTo>
                      <a:pt x="1568" y="3136"/>
                    </a:lnTo>
                    <a:lnTo>
                      <a:pt x="1465" y="3133"/>
                    </a:lnTo>
                    <a:lnTo>
                      <a:pt x="1364" y="3123"/>
                    </a:lnTo>
                    <a:lnTo>
                      <a:pt x="1264" y="3107"/>
                    </a:lnTo>
                    <a:lnTo>
                      <a:pt x="1167" y="3084"/>
                    </a:lnTo>
                    <a:lnTo>
                      <a:pt x="1073" y="3056"/>
                    </a:lnTo>
                    <a:lnTo>
                      <a:pt x="980" y="3022"/>
                    </a:lnTo>
                    <a:lnTo>
                      <a:pt x="891" y="2983"/>
                    </a:lnTo>
                    <a:lnTo>
                      <a:pt x="804" y="2938"/>
                    </a:lnTo>
                    <a:lnTo>
                      <a:pt x="722" y="2889"/>
                    </a:lnTo>
                    <a:lnTo>
                      <a:pt x="642" y="2833"/>
                    </a:lnTo>
                    <a:lnTo>
                      <a:pt x="566" y="2775"/>
                    </a:lnTo>
                    <a:lnTo>
                      <a:pt x="494" y="2711"/>
                    </a:lnTo>
                    <a:lnTo>
                      <a:pt x="425" y="2642"/>
                    </a:lnTo>
                    <a:lnTo>
                      <a:pt x="361" y="2570"/>
                    </a:lnTo>
                    <a:lnTo>
                      <a:pt x="303" y="2494"/>
                    </a:lnTo>
                    <a:lnTo>
                      <a:pt x="247" y="2414"/>
                    </a:lnTo>
                    <a:lnTo>
                      <a:pt x="198" y="2332"/>
                    </a:lnTo>
                    <a:lnTo>
                      <a:pt x="153" y="2245"/>
                    </a:lnTo>
                    <a:lnTo>
                      <a:pt x="114" y="2156"/>
                    </a:lnTo>
                    <a:lnTo>
                      <a:pt x="80" y="2063"/>
                    </a:lnTo>
                    <a:lnTo>
                      <a:pt x="52" y="1969"/>
                    </a:lnTo>
                    <a:lnTo>
                      <a:pt x="29" y="1872"/>
                    </a:lnTo>
                    <a:lnTo>
                      <a:pt x="13" y="1772"/>
                    </a:lnTo>
                    <a:lnTo>
                      <a:pt x="3" y="1671"/>
                    </a:lnTo>
                    <a:lnTo>
                      <a:pt x="0" y="1568"/>
                    </a:lnTo>
                    <a:lnTo>
                      <a:pt x="3" y="1465"/>
                    </a:lnTo>
                    <a:lnTo>
                      <a:pt x="13" y="1364"/>
                    </a:lnTo>
                    <a:lnTo>
                      <a:pt x="29" y="1264"/>
                    </a:lnTo>
                    <a:lnTo>
                      <a:pt x="52" y="1167"/>
                    </a:lnTo>
                    <a:lnTo>
                      <a:pt x="80" y="1073"/>
                    </a:lnTo>
                    <a:lnTo>
                      <a:pt x="114" y="980"/>
                    </a:lnTo>
                    <a:lnTo>
                      <a:pt x="153" y="891"/>
                    </a:lnTo>
                    <a:lnTo>
                      <a:pt x="198" y="804"/>
                    </a:lnTo>
                    <a:lnTo>
                      <a:pt x="247" y="722"/>
                    </a:lnTo>
                    <a:lnTo>
                      <a:pt x="303" y="642"/>
                    </a:lnTo>
                    <a:lnTo>
                      <a:pt x="361" y="566"/>
                    </a:lnTo>
                    <a:lnTo>
                      <a:pt x="425" y="494"/>
                    </a:lnTo>
                    <a:lnTo>
                      <a:pt x="494" y="425"/>
                    </a:lnTo>
                    <a:lnTo>
                      <a:pt x="566" y="361"/>
                    </a:lnTo>
                    <a:lnTo>
                      <a:pt x="642" y="303"/>
                    </a:lnTo>
                    <a:lnTo>
                      <a:pt x="722" y="247"/>
                    </a:lnTo>
                    <a:lnTo>
                      <a:pt x="804" y="198"/>
                    </a:lnTo>
                    <a:lnTo>
                      <a:pt x="891" y="153"/>
                    </a:lnTo>
                    <a:lnTo>
                      <a:pt x="980" y="114"/>
                    </a:lnTo>
                    <a:lnTo>
                      <a:pt x="1073" y="80"/>
                    </a:lnTo>
                    <a:lnTo>
                      <a:pt x="1167" y="52"/>
                    </a:lnTo>
                    <a:lnTo>
                      <a:pt x="1264" y="29"/>
                    </a:lnTo>
                    <a:lnTo>
                      <a:pt x="1364" y="13"/>
                    </a:lnTo>
                    <a:lnTo>
                      <a:pt x="1465" y="3"/>
                    </a:lnTo>
                    <a:lnTo>
                      <a:pt x="15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69" name="Freeform 117"/>
              <p:cNvSpPr>
                <a:spLocks/>
              </p:cNvSpPr>
              <p:nvPr/>
            </p:nvSpPr>
            <p:spPr bwMode="auto">
              <a:xfrm>
                <a:off x="7113996" y="3881528"/>
                <a:ext cx="50800" cy="50800"/>
              </a:xfrm>
              <a:custGeom>
                <a:avLst/>
                <a:gdLst/>
                <a:ahLst/>
                <a:cxnLst>
                  <a:cxn ang="0">
                    <a:pos x="169" y="0"/>
                  </a:cxn>
                  <a:cxn ang="0">
                    <a:pos x="224" y="56"/>
                  </a:cxn>
                  <a:cxn ang="0">
                    <a:pos x="56" y="224"/>
                  </a:cxn>
                  <a:cxn ang="0">
                    <a:pos x="0" y="168"/>
                  </a:cxn>
                  <a:cxn ang="0">
                    <a:pos x="169" y="0"/>
                  </a:cxn>
                </a:cxnLst>
                <a:rect l="0" t="0" r="r" b="b"/>
                <a:pathLst>
                  <a:path w="224" h="224">
                    <a:moveTo>
                      <a:pt x="169" y="0"/>
                    </a:moveTo>
                    <a:lnTo>
                      <a:pt x="224" y="56"/>
                    </a:lnTo>
                    <a:lnTo>
                      <a:pt x="56" y="224"/>
                    </a:lnTo>
                    <a:lnTo>
                      <a:pt x="0" y="168"/>
                    </a:lnTo>
                    <a:lnTo>
                      <a:pt x="1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70" name="Freeform 118"/>
              <p:cNvSpPr>
                <a:spLocks/>
              </p:cNvSpPr>
              <p:nvPr/>
            </p:nvSpPr>
            <p:spPr bwMode="auto">
              <a:xfrm>
                <a:off x="6999696" y="4059328"/>
                <a:ext cx="50800" cy="254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24" y="0"/>
                  </a:cxn>
                  <a:cxn ang="0">
                    <a:pos x="224" y="112"/>
                  </a:cxn>
                  <a:cxn ang="0">
                    <a:pos x="112" y="112"/>
                  </a:cxn>
                  <a:cxn ang="0">
                    <a:pos x="0" y="0"/>
                  </a:cxn>
                </a:cxnLst>
                <a:rect l="0" t="0" r="r" b="b"/>
                <a:pathLst>
                  <a:path w="224" h="112">
                    <a:moveTo>
                      <a:pt x="0" y="0"/>
                    </a:moveTo>
                    <a:lnTo>
                      <a:pt x="224" y="0"/>
                    </a:lnTo>
                    <a:lnTo>
                      <a:pt x="224" y="112"/>
                    </a:lnTo>
                    <a:lnTo>
                      <a:pt x="112" y="11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71" name="Freeform 119"/>
              <p:cNvSpPr>
                <a:spLocks/>
              </p:cNvSpPr>
              <p:nvPr/>
            </p:nvSpPr>
            <p:spPr bwMode="auto">
              <a:xfrm>
                <a:off x="7012396" y="4097428"/>
                <a:ext cx="177800" cy="152400"/>
              </a:xfrm>
              <a:custGeom>
                <a:avLst/>
                <a:gdLst/>
                <a:ahLst/>
                <a:cxnLst>
                  <a:cxn ang="0">
                    <a:pos x="617" y="0"/>
                  </a:cxn>
                  <a:cxn ang="0">
                    <a:pos x="784" y="168"/>
                  </a:cxn>
                  <a:cxn ang="0">
                    <a:pos x="784" y="448"/>
                  </a:cxn>
                  <a:cxn ang="0">
                    <a:pos x="560" y="672"/>
                  </a:cxn>
                  <a:cxn ang="0">
                    <a:pos x="504" y="560"/>
                  </a:cxn>
                  <a:cxn ang="0">
                    <a:pos x="112" y="560"/>
                  </a:cxn>
                  <a:cxn ang="0">
                    <a:pos x="0" y="448"/>
                  </a:cxn>
                  <a:cxn ang="0">
                    <a:pos x="0" y="224"/>
                  </a:cxn>
                  <a:cxn ang="0">
                    <a:pos x="168" y="224"/>
                  </a:cxn>
                  <a:cxn ang="0">
                    <a:pos x="280" y="112"/>
                  </a:cxn>
                  <a:cxn ang="0">
                    <a:pos x="448" y="112"/>
                  </a:cxn>
                  <a:cxn ang="0">
                    <a:pos x="448" y="168"/>
                  </a:cxn>
                  <a:cxn ang="0">
                    <a:pos x="617" y="168"/>
                  </a:cxn>
                  <a:cxn ang="0">
                    <a:pos x="617" y="0"/>
                  </a:cxn>
                </a:cxnLst>
                <a:rect l="0" t="0" r="r" b="b"/>
                <a:pathLst>
                  <a:path w="784" h="672">
                    <a:moveTo>
                      <a:pt x="617" y="0"/>
                    </a:moveTo>
                    <a:lnTo>
                      <a:pt x="784" y="168"/>
                    </a:lnTo>
                    <a:lnTo>
                      <a:pt x="784" y="448"/>
                    </a:lnTo>
                    <a:lnTo>
                      <a:pt x="560" y="672"/>
                    </a:lnTo>
                    <a:lnTo>
                      <a:pt x="504" y="560"/>
                    </a:lnTo>
                    <a:lnTo>
                      <a:pt x="112" y="560"/>
                    </a:lnTo>
                    <a:lnTo>
                      <a:pt x="0" y="448"/>
                    </a:lnTo>
                    <a:lnTo>
                      <a:pt x="0" y="224"/>
                    </a:lnTo>
                    <a:lnTo>
                      <a:pt x="168" y="224"/>
                    </a:lnTo>
                    <a:lnTo>
                      <a:pt x="280" y="112"/>
                    </a:lnTo>
                    <a:lnTo>
                      <a:pt x="448" y="112"/>
                    </a:lnTo>
                    <a:lnTo>
                      <a:pt x="448" y="168"/>
                    </a:lnTo>
                    <a:lnTo>
                      <a:pt x="617" y="168"/>
                    </a:lnTo>
                    <a:lnTo>
                      <a:pt x="61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72" name="Freeform 120"/>
              <p:cNvSpPr>
                <a:spLocks/>
              </p:cNvSpPr>
              <p:nvPr/>
            </p:nvSpPr>
            <p:spPr bwMode="auto">
              <a:xfrm>
                <a:off x="7113996" y="4046628"/>
                <a:ext cx="63500" cy="50800"/>
              </a:xfrm>
              <a:custGeom>
                <a:avLst/>
                <a:gdLst/>
                <a:ahLst/>
                <a:cxnLst>
                  <a:cxn ang="0">
                    <a:pos x="112" y="0"/>
                  </a:cxn>
                  <a:cxn ang="0">
                    <a:pos x="280" y="168"/>
                  </a:cxn>
                  <a:cxn ang="0">
                    <a:pos x="224" y="224"/>
                  </a:cxn>
                  <a:cxn ang="0">
                    <a:pos x="112" y="113"/>
                  </a:cxn>
                  <a:cxn ang="0">
                    <a:pos x="56" y="168"/>
                  </a:cxn>
                  <a:cxn ang="0">
                    <a:pos x="0" y="113"/>
                  </a:cxn>
                  <a:cxn ang="0">
                    <a:pos x="112" y="0"/>
                  </a:cxn>
                </a:cxnLst>
                <a:rect l="0" t="0" r="r" b="b"/>
                <a:pathLst>
                  <a:path w="280" h="224">
                    <a:moveTo>
                      <a:pt x="112" y="0"/>
                    </a:moveTo>
                    <a:lnTo>
                      <a:pt x="280" y="168"/>
                    </a:lnTo>
                    <a:lnTo>
                      <a:pt x="224" y="224"/>
                    </a:lnTo>
                    <a:lnTo>
                      <a:pt x="112" y="113"/>
                    </a:lnTo>
                    <a:lnTo>
                      <a:pt x="56" y="168"/>
                    </a:lnTo>
                    <a:lnTo>
                      <a:pt x="0" y="113"/>
                    </a:lnTo>
                    <a:lnTo>
                      <a:pt x="11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73" name="Freeform 121"/>
              <p:cNvSpPr>
                <a:spLocks/>
              </p:cNvSpPr>
              <p:nvPr/>
            </p:nvSpPr>
            <p:spPr bwMode="auto">
              <a:xfrm>
                <a:off x="7215596" y="4160928"/>
                <a:ext cx="25400" cy="50800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112" y="0"/>
                  </a:cxn>
                  <a:cxn ang="0">
                    <a:pos x="112" y="112"/>
                  </a:cxn>
                  <a:cxn ang="0">
                    <a:pos x="0" y="224"/>
                  </a:cxn>
                  <a:cxn ang="0">
                    <a:pos x="0" y="168"/>
                  </a:cxn>
                  <a:cxn ang="0">
                    <a:pos x="56" y="112"/>
                  </a:cxn>
                  <a:cxn ang="0">
                    <a:pos x="56" y="0"/>
                  </a:cxn>
                </a:cxnLst>
                <a:rect l="0" t="0" r="r" b="b"/>
                <a:pathLst>
                  <a:path w="112" h="224">
                    <a:moveTo>
                      <a:pt x="56" y="0"/>
                    </a:moveTo>
                    <a:lnTo>
                      <a:pt x="112" y="0"/>
                    </a:lnTo>
                    <a:lnTo>
                      <a:pt x="112" y="112"/>
                    </a:lnTo>
                    <a:lnTo>
                      <a:pt x="0" y="224"/>
                    </a:lnTo>
                    <a:lnTo>
                      <a:pt x="0" y="168"/>
                    </a:lnTo>
                    <a:lnTo>
                      <a:pt x="56" y="112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</p:grpSp>
        <p:sp>
          <p:nvSpPr>
            <p:cNvPr id="174" name="Freeform 141"/>
            <p:cNvSpPr>
              <a:spLocks noEditPoints="1"/>
            </p:cNvSpPr>
            <p:nvPr/>
          </p:nvSpPr>
          <p:spPr bwMode="auto">
            <a:xfrm>
              <a:off x="10277467" y="3791062"/>
              <a:ext cx="903813" cy="903813"/>
            </a:xfrm>
            <a:custGeom>
              <a:avLst/>
              <a:gdLst/>
              <a:ahLst/>
              <a:cxnLst>
                <a:cxn ang="0">
                  <a:pos x="1288" y="254"/>
                </a:cxn>
                <a:cxn ang="0">
                  <a:pos x="1344" y="672"/>
                </a:cxn>
                <a:cxn ang="0">
                  <a:pos x="1568" y="560"/>
                </a:cxn>
                <a:cxn ang="0">
                  <a:pos x="1848" y="1119"/>
                </a:cxn>
                <a:cxn ang="0">
                  <a:pos x="1344" y="1512"/>
                </a:cxn>
                <a:cxn ang="0">
                  <a:pos x="1344" y="1736"/>
                </a:cxn>
                <a:cxn ang="0">
                  <a:pos x="1624" y="2688"/>
                </a:cxn>
                <a:cxn ang="0">
                  <a:pos x="1288" y="1848"/>
                </a:cxn>
                <a:cxn ang="0">
                  <a:pos x="616" y="1008"/>
                </a:cxn>
                <a:cxn ang="0">
                  <a:pos x="381" y="938"/>
                </a:cxn>
                <a:cxn ang="0">
                  <a:pos x="254" y="1283"/>
                </a:cxn>
                <a:cxn ang="0">
                  <a:pos x="228" y="1664"/>
                </a:cxn>
                <a:cxn ang="0">
                  <a:pos x="305" y="2027"/>
                </a:cxn>
                <a:cxn ang="0">
                  <a:pos x="473" y="2347"/>
                </a:cxn>
                <a:cxn ang="0">
                  <a:pos x="718" y="2608"/>
                </a:cxn>
                <a:cxn ang="0">
                  <a:pos x="1024" y="2797"/>
                </a:cxn>
                <a:cxn ang="0">
                  <a:pos x="1378" y="2898"/>
                </a:cxn>
                <a:cxn ang="0">
                  <a:pos x="1758" y="2898"/>
                </a:cxn>
                <a:cxn ang="0">
                  <a:pos x="2112" y="2797"/>
                </a:cxn>
                <a:cxn ang="0">
                  <a:pos x="2418" y="2608"/>
                </a:cxn>
                <a:cxn ang="0">
                  <a:pos x="2663" y="2347"/>
                </a:cxn>
                <a:cxn ang="0">
                  <a:pos x="2831" y="2027"/>
                </a:cxn>
                <a:cxn ang="0">
                  <a:pos x="2908" y="1664"/>
                </a:cxn>
                <a:cxn ang="0">
                  <a:pos x="2885" y="1300"/>
                </a:cxn>
                <a:cxn ang="0">
                  <a:pos x="2772" y="972"/>
                </a:cxn>
                <a:cxn ang="0">
                  <a:pos x="2583" y="688"/>
                </a:cxn>
                <a:cxn ang="0">
                  <a:pos x="2128" y="784"/>
                </a:cxn>
                <a:cxn ang="0">
                  <a:pos x="1904" y="266"/>
                </a:cxn>
                <a:cxn ang="0">
                  <a:pos x="1568" y="223"/>
                </a:cxn>
                <a:cxn ang="0">
                  <a:pos x="1872" y="29"/>
                </a:cxn>
                <a:cxn ang="0">
                  <a:pos x="2245" y="153"/>
                </a:cxn>
                <a:cxn ang="0">
                  <a:pos x="2570" y="361"/>
                </a:cxn>
                <a:cxn ang="0">
                  <a:pos x="2833" y="642"/>
                </a:cxn>
                <a:cxn ang="0">
                  <a:pos x="3022" y="980"/>
                </a:cxn>
                <a:cxn ang="0">
                  <a:pos x="3123" y="1364"/>
                </a:cxn>
                <a:cxn ang="0">
                  <a:pos x="3123" y="1772"/>
                </a:cxn>
                <a:cxn ang="0">
                  <a:pos x="3022" y="2156"/>
                </a:cxn>
                <a:cxn ang="0">
                  <a:pos x="2833" y="2494"/>
                </a:cxn>
                <a:cxn ang="0">
                  <a:pos x="2570" y="2775"/>
                </a:cxn>
                <a:cxn ang="0">
                  <a:pos x="2245" y="2983"/>
                </a:cxn>
                <a:cxn ang="0">
                  <a:pos x="1872" y="3107"/>
                </a:cxn>
                <a:cxn ang="0">
                  <a:pos x="1465" y="3133"/>
                </a:cxn>
                <a:cxn ang="0">
                  <a:pos x="1073" y="3056"/>
                </a:cxn>
                <a:cxn ang="0">
                  <a:pos x="722" y="2889"/>
                </a:cxn>
                <a:cxn ang="0">
                  <a:pos x="425" y="2642"/>
                </a:cxn>
                <a:cxn ang="0">
                  <a:pos x="198" y="2332"/>
                </a:cxn>
                <a:cxn ang="0">
                  <a:pos x="52" y="1969"/>
                </a:cxn>
                <a:cxn ang="0">
                  <a:pos x="0" y="1568"/>
                </a:cxn>
                <a:cxn ang="0">
                  <a:pos x="52" y="1167"/>
                </a:cxn>
                <a:cxn ang="0">
                  <a:pos x="198" y="804"/>
                </a:cxn>
                <a:cxn ang="0">
                  <a:pos x="425" y="494"/>
                </a:cxn>
                <a:cxn ang="0">
                  <a:pos x="722" y="247"/>
                </a:cxn>
                <a:cxn ang="0">
                  <a:pos x="1073" y="80"/>
                </a:cxn>
                <a:cxn ang="0">
                  <a:pos x="1465" y="3"/>
                </a:cxn>
              </a:cxnLst>
              <a:rect l="0" t="0" r="r" b="b"/>
              <a:pathLst>
                <a:path w="3136" h="3136">
                  <a:moveTo>
                    <a:pt x="1568" y="223"/>
                  </a:moveTo>
                  <a:lnTo>
                    <a:pt x="1472" y="228"/>
                  </a:lnTo>
                  <a:lnTo>
                    <a:pt x="1379" y="238"/>
                  </a:lnTo>
                  <a:lnTo>
                    <a:pt x="1288" y="254"/>
                  </a:lnTo>
                  <a:lnTo>
                    <a:pt x="1288" y="336"/>
                  </a:lnTo>
                  <a:lnTo>
                    <a:pt x="1456" y="504"/>
                  </a:lnTo>
                  <a:lnTo>
                    <a:pt x="1456" y="560"/>
                  </a:lnTo>
                  <a:lnTo>
                    <a:pt x="1344" y="672"/>
                  </a:lnTo>
                  <a:lnTo>
                    <a:pt x="1344" y="840"/>
                  </a:lnTo>
                  <a:lnTo>
                    <a:pt x="1456" y="840"/>
                  </a:lnTo>
                  <a:lnTo>
                    <a:pt x="1568" y="728"/>
                  </a:lnTo>
                  <a:lnTo>
                    <a:pt x="1568" y="560"/>
                  </a:lnTo>
                  <a:lnTo>
                    <a:pt x="1792" y="560"/>
                  </a:lnTo>
                  <a:lnTo>
                    <a:pt x="1792" y="952"/>
                  </a:lnTo>
                  <a:lnTo>
                    <a:pt x="1848" y="952"/>
                  </a:lnTo>
                  <a:lnTo>
                    <a:pt x="1848" y="1119"/>
                  </a:lnTo>
                  <a:lnTo>
                    <a:pt x="1680" y="1119"/>
                  </a:lnTo>
                  <a:lnTo>
                    <a:pt x="1456" y="1344"/>
                  </a:lnTo>
                  <a:lnTo>
                    <a:pt x="1456" y="1512"/>
                  </a:lnTo>
                  <a:lnTo>
                    <a:pt x="1344" y="1512"/>
                  </a:lnTo>
                  <a:lnTo>
                    <a:pt x="1344" y="1400"/>
                  </a:lnTo>
                  <a:lnTo>
                    <a:pt x="1176" y="1400"/>
                  </a:lnTo>
                  <a:lnTo>
                    <a:pt x="1176" y="1568"/>
                  </a:lnTo>
                  <a:lnTo>
                    <a:pt x="1344" y="1736"/>
                  </a:lnTo>
                  <a:lnTo>
                    <a:pt x="1792" y="1736"/>
                  </a:lnTo>
                  <a:lnTo>
                    <a:pt x="2128" y="1904"/>
                  </a:lnTo>
                  <a:lnTo>
                    <a:pt x="2128" y="2296"/>
                  </a:lnTo>
                  <a:lnTo>
                    <a:pt x="1624" y="2688"/>
                  </a:lnTo>
                  <a:lnTo>
                    <a:pt x="1624" y="2800"/>
                  </a:lnTo>
                  <a:lnTo>
                    <a:pt x="1456" y="2800"/>
                  </a:lnTo>
                  <a:lnTo>
                    <a:pt x="1456" y="1848"/>
                  </a:lnTo>
                  <a:lnTo>
                    <a:pt x="1288" y="1848"/>
                  </a:lnTo>
                  <a:lnTo>
                    <a:pt x="1008" y="1624"/>
                  </a:lnTo>
                  <a:lnTo>
                    <a:pt x="896" y="1344"/>
                  </a:lnTo>
                  <a:lnTo>
                    <a:pt x="784" y="1344"/>
                  </a:lnTo>
                  <a:lnTo>
                    <a:pt x="616" y="1008"/>
                  </a:lnTo>
                  <a:lnTo>
                    <a:pt x="616" y="784"/>
                  </a:lnTo>
                  <a:lnTo>
                    <a:pt x="477" y="784"/>
                  </a:lnTo>
                  <a:lnTo>
                    <a:pt x="427" y="860"/>
                  </a:lnTo>
                  <a:lnTo>
                    <a:pt x="381" y="938"/>
                  </a:lnTo>
                  <a:lnTo>
                    <a:pt x="341" y="1021"/>
                  </a:lnTo>
                  <a:lnTo>
                    <a:pt x="306" y="1105"/>
                  </a:lnTo>
                  <a:lnTo>
                    <a:pt x="277" y="1193"/>
                  </a:lnTo>
                  <a:lnTo>
                    <a:pt x="254" y="1283"/>
                  </a:lnTo>
                  <a:lnTo>
                    <a:pt x="238" y="1377"/>
                  </a:lnTo>
                  <a:lnTo>
                    <a:pt x="228" y="1471"/>
                  </a:lnTo>
                  <a:lnTo>
                    <a:pt x="223" y="1568"/>
                  </a:lnTo>
                  <a:lnTo>
                    <a:pt x="228" y="1664"/>
                  </a:lnTo>
                  <a:lnTo>
                    <a:pt x="238" y="1758"/>
                  </a:lnTo>
                  <a:lnTo>
                    <a:pt x="254" y="1850"/>
                  </a:lnTo>
                  <a:lnTo>
                    <a:pt x="277" y="1941"/>
                  </a:lnTo>
                  <a:lnTo>
                    <a:pt x="305" y="2027"/>
                  </a:lnTo>
                  <a:lnTo>
                    <a:pt x="339" y="2112"/>
                  </a:lnTo>
                  <a:lnTo>
                    <a:pt x="378" y="2194"/>
                  </a:lnTo>
                  <a:lnTo>
                    <a:pt x="423" y="2272"/>
                  </a:lnTo>
                  <a:lnTo>
                    <a:pt x="473" y="2347"/>
                  </a:lnTo>
                  <a:lnTo>
                    <a:pt x="528" y="2418"/>
                  </a:lnTo>
                  <a:lnTo>
                    <a:pt x="586" y="2486"/>
                  </a:lnTo>
                  <a:lnTo>
                    <a:pt x="650" y="2550"/>
                  </a:lnTo>
                  <a:lnTo>
                    <a:pt x="718" y="2608"/>
                  </a:lnTo>
                  <a:lnTo>
                    <a:pt x="789" y="2663"/>
                  </a:lnTo>
                  <a:lnTo>
                    <a:pt x="864" y="2713"/>
                  </a:lnTo>
                  <a:lnTo>
                    <a:pt x="942" y="2758"/>
                  </a:lnTo>
                  <a:lnTo>
                    <a:pt x="1024" y="2797"/>
                  </a:lnTo>
                  <a:lnTo>
                    <a:pt x="1109" y="2831"/>
                  </a:lnTo>
                  <a:lnTo>
                    <a:pt x="1195" y="2859"/>
                  </a:lnTo>
                  <a:lnTo>
                    <a:pt x="1286" y="2882"/>
                  </a:lnTo>
                  <a:lnTo>
                    <a:pt x="1378" y="2898"/>
                  </a:lnTo>
                  <a:lnTo>
                    <a:pt x="1472" y="2908"/>
                  </a:lnTo>
                  <a:lnTo>
                    <a:pt x="1568" y="2913"/>
                  </a:lnTo>
                  <a:lnTo>
                    <a:pt x="1664" y="2908"/>
                  </a:lnTo>
                  <a:lnTo>
                    <a:pt x="1758" y="2898"/>
                  </a:lnTo>
                  <a:lnTo>
                    <a:pt x="1850" y="2882"/>
                  </a:lnTo>
                  <a:lnTo>
                    <a:pt x="1941" y="2859"/>
                  </a:lnTo>
                  <a:lnTo>
                    <a:pt x="2027" y="2831"/>
                  </a:lnTo>
                  <a:lnTo>
                    <a:pt x="2112" y="2797"/>
                  </a:lnTo>
                  <a:lnTo>
                    <a:pt x="2194" y="2758"/>
                  </a:lnTo>
                  <a:lnTo>
                    <a:pt x="2272" y="2713"/>
                  </a:lnTo>
                  <a:lnTo>
                    <a:pt x="2347" y="2663"/>
                  </a:lnTo>
                  <a:lnTo>
                    <a:pt x="2418" y="2608"/>
                  </a:lnTo>
                  <a:lnTo>
                    <a:pt x="2486" y="2550"/>
                  </a:lnTo>
                  <a:lnTo>
                    <a:pt x="2550" y="2486"/>
                  </a:lnTo>
                  <a:lnTo>
                    <a:pt x="2608" y="2418"/>
                  </a:lnTo>
                  <a:lnTo>
                    <a:pt x="2663" y="2347"/>
                  </a:lnTo>
                  <a:lnTo>
                    <a:pt x="2713" y="2272"/>
                  </a:lnTo>
                  <a:lnTo>
                    <a:pt x="2758" y="2194"/>
                  </a:lnTo>
                  <a:lnTo>
                    <a:pt x="2797" y="2112"/>
                  </a:lnTo>
                  <a:lnTo>
                    <a:pt x="2831" y="2027"/>
                  </a:lnTo>
                  <a:lnTo>
                    <a:pt x="2859" y="1941"/>
                  </a:lnTo>
                  <a:lnTo>
                    <a:pt x="2882" y="1850"/>
                  </a:lnTo>
                  <a:lnTo>
                    <a:pt x="2898" y="1758"/>
                  </a:lnTo>
                  <a:lnTo>
                    <a:pt x="2908" y="1664"/>
                  </a:lnTo>
                  <a:lnTo>
                    <a:pt x="2913" y="1568"/>
                  </a:lnTo>
                  <a:lnTo>
                    <a:pt x="2909" y="1477"/>
                  </a:lnTo>
                  <a:lnTo>
                    <a:pt x="2900" y="1388"/>
                  </a:lnTo>
                  <a:lnTo>
                    <a:pt x="2885" y="1300"/>
                  </a:lnTo>
                  <a:lnTo>
                    <a:pt x="2865" y="1215"/>
                  </a:lnTo>
                  <a:lnTo>
                    <a:pt x="2840" y="1131"/>
                  </a:lnTo>
                  <a:lnTo>
                    <a:pt x="2808" y="1050"/>
                  </a:lnTo>
                  <a:lnTo>
                    <a:pt x="2772" y="972"/>
                  </a:lnTo>
                  <a:lnTo>
                    <a:pt x="2732" y="897"/>
                  </a:lnTo>
                  <a:lnTo>
                    <a:pt x="2687" y="824"/>
                  </a:lnTo>
                  <a:lnTo>
                    <a:pt x="2638" y="755"/>
                  </a:lnTo>
                  <a:lnTo>
                    <a:pt x="2583" y="688"/>
                  </a:lnTo>
                  <a:lnTo>
                    <a:pt x="2526" y="626"/>
                  </a:lnTo>
                  <a:lnTo>
                    <a:pt x="2465" y="568"/>
                  </a:lnTo>
                  <a:lnTo>
                    <a:pt x="2400" y="512"/>
                  </a:lnTo>
                  <a:lnTo>
                    <a:pt x="2128" y="784"/>
                  </a:lnTo>
                  <a:lnTo>
                    <a:pt x="2017" y="784"/>
                  </a:lnTo>
                  <a:lnTo>
                    <a:pt x="2017" y="616"/>
                  </a:lnTo>
                  <a:lnTo>
                    <a:pt x="1904" y="504"/>
                  </a:lnTo>
                  <a:lnTo>
                    <a:pt x="1904" y="266"/>
                  </a:lnTo>
                  <a:lnTo>
                    <a:pt x="1822" y="248"/>
                  </a:lnTo>
                  <a:lnTo>
                    <a:pt x="1740" y="234"/>
                  </a:lnTo>
                  <a:lnTo>
                    <a:pt x="1655" y="227"/>
                  </a:lnTo>
                  <a:lnTo>
                    <a:pt x="1568" y="223"/>
                  </a:lnTo>
                  <a:close/>
                  <a:moveTo>
                    <a:pt x="1568" y="0"/>
                  </a:moveTo>
                  <a:lnTo>
                    <a:pt x="1671" y="3"/>
                  </a:lnTo>
                  <a:lnTo>
                    <a:pt x="1772" y="13"/>
                  </a:lnTo>
                  <a:lnTo>
                    <a:pt x="1872" y="29"/>
                  </a:lnTo>
                  <a:lnTo>
                    <a:pt x="1969" y="52"/>
                  </a:lnTo>
                  <a:lnTo>
                    <a:pt x="2063" y="80"/>
                  </a:lnTo>
                  <a:lnTo>
                    <a:pt x="2156" y="114"/>
                  </a:lnTo>
                  <a:lnTo>
                    <a:pt x="2245" y="153"/>
                  </a:lnTo>
                  <a:lnTo>
                    <a:pt x="2332" y="198"/>
                  </a:lnTo>
                  <a:lnTo>
                    <a:pt x="2414" y="247"/>
                  </a:lnTo>
                  <a:lnTo>
                    <a:pt x="2494" y="303"/>
                  </a:lnTo>
                  <a:lnTo>
                    <a:pt x="2570" y="361"/>
                  </a:lnTo>
                  <a:lnTo>
                    <a:pt x="2642" y="425"/>
                  </a:lnTo>
                  <a:lnTo>
                    <a:pt x="2711" y="494"/>
                  </a:lnTo>
                  <a:lnTo>
                    <a:pt x="2775" y="566"/>
                  </a:lnTo>
                  <a:lnTo>
                    <a:pt x="2833" y="642"/>
                  </a:lnTo>
                  <a:lnTo>
                    <a:pt x="2889" y="722"/>
                  </a:lnTo>
                  <a:lnTo>
                    <a:pt x="2938" y="804"/>
                  </a:lnTo>
                  <a:lnTo>
                    <a:pt x="2983" y="891"/>
                  </a:lnTo>
                  <a:lnTo>
                    <a:pt x="3022" y="980"/>
                  </a:lnTo>
                  <a:lnTo>
                    <a:pt x="3056" y="1073"/>
                  </a:lnTo>
                  <a:lnTo>
                    <a:pt x="3084" y="1167"/>
                  </a:lnTo>
                  <a:lnTo>
                    <a:pt x="3107" y="1264"/>
                  </a:lnTo>
                  <a:lnTo>
                    <a:pt x="3123" y="1364"/>
                  </a:lnTo>
                  <a:lnTo>
                    <a:pt x="3133" y="1465"/>
                  </a:lnTo>
                  <a:lnTo>
                    <a:pt x="3136" y="1568"/>
                  </a:lnTo>
                  <a:lnTo>
                    <a:pt x="3133" y="1671"/>
                  </a:lnTo>
                  <a:lnTo>
                    <a:pt x="3123" y="1772"/>
                  </a:lnTo>
                  <a:lnTo>
                    <a:pt x="3107" y="1872"/>
                  </a:lnTo>
                  <a:lnTo>
                    <a:pt x="3084" y="1969"/>
                  </a:lnTo>
                  <a:lnTo>
                    <a:pt x="3056" y="2063"/>
                  </a:lnTo>
                  <a:lnTo>
                    <a:pt x="3022" y="2156"/>
                  </a:lnTo>
                  <a:lnTo>
                    <a:pt x="2983" y="2245"/>
                  </a:lnTo>
                  <a:lnTo>
                    <a:pt x="2938" y="2332"/>
                  </a:lnTo>
                  <a:lnTo>
                    <a:pt x="2889" y="2414"/>
                  </a:lnTo>
                  <a:lnTo>
                    <a:pt x="2833" y="2494"/>
                  </a:lnTo>
                  <a:lnTo>
                    <a:pt x="2775" y="2570"/>
                  </a:lnTo>
                  <a:lnTo>
                    <a:pt x="2711" y="2642"/>
                  </a:lnTo>
                  <a:lnTo>
                    <a:pt x="2642" y="2711"/>
                  </a:lnTo>
                  <a:lnTo>
                    <a:pt x="2570" y="2775"/>
                  </a:lnTo>
                  <a:lnTo>
                    <a:pt x="2494" y="2833"/>
                  </a:lnTo>
                  <a:lnTo>
                    <a:pt x="2414" y="2889"/>
                  </a:lnTo>
                  <a:lnTo>
                    <a:pt x="2332" y="2938"/>
                  </a:lnTo>
                  <a:lnTo>
                    <a:pt x="2245" y="2983"/>
                  </a:lnTo>
                  <a:lnTo>
                    <a:pt x="2156" y="3022"/>
                  </a:lnTo>
                  <a:lnTo>
                    <a:pt x="2063" y="3056"/>
                  </a:lnTo>
                  <a:lnTo>
                    <a:pt x="1969" y="3084"/>
                  </a:lnTo>
                  <a:lnTo>
                    <a:pt x="1872" y="3107"/>
                  </a:lnTo>
                  <a:lnTo>
                    <a:pt x="1772" y="3123"/>
                  </a:lnTo>
                  <a:lnTo>
                    <a:pt x="1671" y="3133"/>
                  </a:lnTo>
                  <a:lnTo>
                    <a:pt x="1568" y="3136"/>
                  </a:lnTo>
                  <a:lnTo>
                    <a:pt x="1465" y="3133"/>
                  </a:lnTo>
                  <a:lnTo>
                    <a:pt x="1364" y="3123"/>
                  </a:lnTo>
                  <a:lnTo>
                    <a:pt x="1264" y="3107"/>
                  </a:lnTo>
                  <a:lnTo>
                    <a:pt x="1167" y="3084"/>
                  </a:lnTo>
                  <a:lnTo>
                    <a:pt x="1073" y="3056"/>
                  </a:lnTo>
                  <a:lnTo>
                    <a:pt x="980" y="3022"/>
                  </a:lnTo>
                  <a:lnTo>
                    <a:pt x="891" y="2983"/>
                  </a:lnTo>
                  <a:lnTo>
                    <a:pt x="804" y="2938"/>
                  </a:lnTo>
                  <a:lnTo>
                    <a:pt x="722" y="2889"/>
                  </a:lnTo>
                  <a:lnTo>
                    <a:pt x="642" y="2833"/>
                  </a:lnTo>
                  <a:lnTo>
                    <a:pt x="566" y="2775"/>
                  </a:lnTo>
                  <a:lnTo>
                    <a:pt x="494" y="2711"/>
                  </a:lnTo>
                  <a:lnTo>
                    <a:pt x="425" y="2642"/>
                  </a:lnTo>
                  <a:lnTo>
                    <a:pt x="361" y="2570"/>
                  </a:lnTo>
                  <a:lnTo>
                    <a:pt x="303" y="2494"/>
                  </a:lnTo>
                  <a:lnTo>
                    <a:pt x="247" y="2414"/>
                  </a:lnTo>
                  <a:lnTo>
                    <a:pt x="198" y="2332"/>
                  </a:lnTo>
                  <a:lnTo>
                    <a:pt x="153" y="2245"/>
                  </a:lnTo>
                  <a:lnTo>
                    <a:pt x="114" y="2156"/>
                  </a:lnTo>
                  <a:lnTo>
                    <a:pt x="80" y="2063"/>
                  </a:lnTo>
                  <a:lnTo>
                    <a:pt x="52" y="1969"/>
                  </a:lnTo>
                  <a:lnTo>
                    <a:pt x="29" y="1872"/>
                  </a:lnTo>
                  <a:lnTo>
                    <a:pt x="13" y="1772"/>
                  </a:lnTo>
                  <a:lnTo>
                    <a:pt x="3" y="1671"/>
                  </a:lnTo>
                  <a:lnTo>
                    <a:pt x="0" y="1568"/>
                  </a:lnTo>
                  <a:lnTo>
                    <a:pt x="3" y="1465"/>
                  </a:lnTo>
                  <a:lnTo>
                    <a:pt x="13" y="1364"/>
                  </a:lnTo>
                  <a:lnTo>
                    <a:pt x="29" y="1264"/>
                  </a:lnTo>
                  <a:lnTo>
                    <a:pt x="52" y="1167"/>
                  </a:lnTo>
                  <a:lnTo>
                    <a:pt x="80" y="1073"/>
                  </a:lnTo>
                  <a:lnTo>
                    <a:pt x="114" y="980"/>
                  </a:lnTo>
                  <a:lnTo>
                    <a:pt x="153" y="891"/>
                  </a:lnTo>
                  <a:lnTo>
                    <a:pt x="198" y="804"/>
                  </a:lnTo>
                  <a:lnTo>
                    <a:pt x="247" y="722"/>
                  </a:lnTo>
                  <a:lnTo>
                    <a:pt x="303" y="642"/>
                  </a:lnTo>
                  <a:lnTo>
                    <a:pt x="361" y="566"/>
                  </a:lnTo>
                  <a:lnTo>
                    <a:pt x="425" y="494"/>
                  </a:lnTo>
                  <a:lnTo>
                    <a:pt x="494" y="425"/>
                  </a:lnTo>
                  <a:lnTo>
                    <a:pt x="566" y="361"/>
                  </a:lnTo>
                  <a:lnTo>
                    <a:pt x="642" y="303"/>
                  </a:lnTo>
                  <a:lnTo>
                    <a:pt x="722" y="247"/>
                  </a:lnTo>
                  <a:lnTo>
                    <a:pt x="804" y="198"/>
                  </a:lnTo>
                  <a:lnTo>
                    <a:pt x="891" y="153"/>
                  </a:lnTo>
                  <a:lnTo>
                    <a:pt x="980" y="114"/>
                  </a:lnTo>
                  <a:lnTo>
                    <a:pt x="1073" y="80"/>
                  </a:lnTo>
                  <a:lnTo>
                    <a:pt x="1167" y="52"/>
                  </a:lnTo>
                  <a:lnTo>
                    <a:pt x="1264" y="29"/>
                  </a:lnTo>
                  <a:lnTo>
                    <a:pt x="1364" y="13"/>
                  </a:lnTo>
                  <a:lnTo>
                    <a:pt x="1465" y="3"/>
                  </a:lnTo>
                  <a:lnTo>
                    <a:pt x="1568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de-DE" sz="2701"/>
            </a:p>
          </p:txBody>
        </p:sp>
        <p:grpSp>
          <p:nvGrpSpPr>
            <p:cNvPr id="175" name="Gruppieren 217"/>
            <p:cNvGrpSpPr/>
            <p:nvPr/>
          </p:nvGrpSpPr>
          <p:grpSpPr>
            <a:xfrm>
              <a:off x="5127739" y="3841859"/>
              <a:ext cx="901299" cy="788637"/>
              <a:chOff x="239713" y="5076800"/>
              <a:chExt cx="711200" cy="622300"/>
            </a:xfrm>
            <a:solidFill>
              <a:schemeClr val="tx1"/>
            </a:solidFill>
          </p:grpSpPr>
          <p:sp>
            <p:nvSpPr>
              <p:cNvPr id="176" name="Freeform 235"/>
              <p:cNvSpPr>
                <a:spLocks/>
              </p:cNvSpPr>
              <p:nvPr/>
            </p:nvSpPr>
            <p:spPr bwMode="auto">
              <a:xfrm>
                <a:off x="239713" y="5407000"/>
                <a:ext cx="711200" cy="292100"/>
              </a:xfrm>
              <a:custGeom>
                <a:avLst/>
                <a:gdLst/>
                <a:ahLst/>
                <a:cxnLst>
                  <a:cxn ang="0">
                    <a:pos x="3136" y="0"/>
                  </a:cxn>
                  <a:cxn ang="0">
                    <a:pos x="3136" y="168"/>
                  </a:cxn>
                  <a:cxn ang="0">
                    <a:pos x="1232" y="1289"/>
                  </a:cxn>
                  <a:cxn ang="0">
                    <a:pos x="0" y="672"/>
                  </a:cxn>
                  <a:cxn ang="0">
                    <a:pos x="0" y="504"/>
                  </a:cxn>
                  <a:cxn ang="0">
                    <a:pos x="1232" y="1120"/>
                  </a:cxn>
                  <a:cxn ang="0">
                    <a:pos x="3136" y="0"/>
                  </a:cxn>
                </a:cxnLst>
                <a:rect l="0" t="0" r="r" b="b"/>
                <a:pathLst>
                  <a:path w="3136" h="1289">
                    <a:moveTo>
                      <a:pt x="3136" y="0"/>
                    </a:moveTo>
                    <a:lnTo>
                      <a:pt x="3136" y="168"/>
                    </a:lnTo>
                    <a:lnTo>
                      <a:pt x="1232" y="1289"/>
                    </a:lnTo>
                    <a:lnTo>
                      <a:pt x="0" y="672"/>
                    </a:lnTo>
                    <a:lnTo>
                      <a:pt x="0" y="504"/>
                    </a:lnTo>
                    <a:lnTo>
                      <a:pt x="1232" y="1120"/>
                    </a:lnTo>
                    <a:lnTo>
                      <a:pt x="313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77" name="Freeform 236"/>
              <p:cNvSpPr>
                <a:spLocks noEditPoints="1"/>
              </p:cNvSpPr>
              <p:nvPr/>
            </p:nvSpPr>
            <p:spPr bwMode="auto">
              <a:xfrm>
                <a:off x="239713" y="5076800"/>
                <a:ext cx="711200" cy="393700"/>
              </a:xfrm>
              <a:custGeom>
                <a:avLst/>
                <a:gdLst/>
                <a:ahLst/>
                <a:cxnLst>
                  <a:cxn ang="0">
                    <a:pos x="1904" y="168"/>
                  </a:cxn>
                  <a:cxn ang="0">
                    <a:pos x="309" y="1107"/>
                  </a:cxn>
                  <a:cxn ang="0">
                    <a:pos x="1232" y="1568"/>
                  </a:cxn>
                  <a:cxn ang="0">
                    <a:pos x="2827" y="630"/>
                  </a:cxn>
                  <a:cxn ang="0">
                    <a:pos x="1904" y="168"/>
                  </a:cxn>
                  <a:cxn ang="0">
                    <a:pos x="1904" y="0"/>
                  </a:cxn>
                  <a:cxn ang="0">
                    <a:pos x="3136" y="616"/>
                  </a:cxn>
                  <a:cxn ang="0">
                    <a:pos x="1232" y="1736"/>
                  </a:cxn>
                  <a:cxn ang="0">
                    <a:pos x="0" y="1120"/>
                  </a:cxn>
                  <a:cxn ang="0">
                    <a:pos x="1904" y="0"/>
                  </a:cxn>
                </a:cxnLst>
                <a:rect l="0" t="0" r="r" b="b"/>
                <a:pathLst>
                  <a:path w="3136" h="1736">
                    <a:moveTo>
                      <a:pt x="1904" y="168"/>
                    </a:moveTo>
                    <a:lnTo>
                      <a:pt x="309" y="1107"/>
                    </a:lnTo>
                    <a:lnTo>
                      <a:pt x="1232" y="1568"/>
                    </a:lnTo>
                    <a:lnTo>
                      <a:pt x="2827" y="630"/>
                    </a:lnTo>
                    <a:lnTo>
                      <a:pt x="1904" y="168"/>
                    </a:lnTo>
                    <a:close/>
                    <a:moveTo>
                      <a:pt x="1904" y="0"/>
                    </a:moveTo>
                    <a:lnTo>
                      <a:pt x="3136" y="616"/>
                    </a:lnTo>
                    <a:lnTo>
                      <a:pt x="1232" y="1736"/>
                    </a:lnTo>
                    <a:lnTo>
                      <a:pt x="0" y="1120"/>
                    </a:lnTo>
                    <a:lnTo>
                      <a:pt x="190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78" name="Freeform 237"/>
              <p:cNvSpPr>
                <a:spLocks/>
              </p:cNvSpPr>
              <p:nvPr/>
            </p:nvSpPr>
            <p:spPr bwMode="auto">
              <a:xfrm>
                <a:off x="239713" y="5330800"/>
                <a:ext cx="711200" cy="292100"/>
              </a:xfrm>
              <a:custGeom>
                <a:avLst/>
                <a:gdLst/>
                <a:ahLst/>
                <a:cxnLst>
                  <a:cxn ang="0">
                    <a:pos x="3136" y="0"/>
                  </a:cxn>
                  <a:cxn ang="0">
                    <a:pos x="3136" y="168"/>
                  </a:cxn>
                  <a:cxn ang="0">
                    <a:pos x="1232" y="1288"/>
                  </a:cxn>
                  <a:cxn ang="0">
                    <a:pos x="0" y="672"/>
                  </a:cxn>
                  <a:cxn ang="0">
                    <a:pos x="0" y="504"/>
                  </a:cxn>
                  <a:cxn ang="0">
                    <a:pos x="1232" y="1120"/>
                  </a:cxn>
                  <a:cxn ang="0">
                    <a:pos x="3136" y="0"/>
                  </a:cxn>
                </a:cxnLst>
                <a:rect l="0" t="0" r="r" b="b"/>
                <a:pathLst>
                  <a:path w="3136" h="1288">
                    <a:moveTo>
                      <a:pt x="3136" y="0"/>
                    </a:moveTo>
                    <a:lnTo>
                      <a:pt x="3136" y="168"/>
                    </a:lnTo>
                    <a:lnTo>
                      <a:pt x="1232" y="1288"/>
                    </a:lnTo>
                    <a:lnTo>
                      <a:pt x="0" y="672"/>
                    </a:lnTo>
                    <a:lnTo>
                      <a:pt x="0" y="504"/>
                    </a:lnTo>
                    <a:lnTo>
                      <a:pt x="1232" y="1120"/>
                    </a:lnTo>
                    <a:lnTo>
                      <a:pt x="313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79" name="Freeform 238"/>
              <p:cNvSpPr>
                <a:spLocks/>
              </p:cNvSpPr>
              <p:nvPr/>
            </p:nvSpPr>
            <p:spPr bwMode="auto">
              <a:xfrm>
                <a:off x="239713" y="5254600"/>
                <a:ext cx="711200" cy="292100"/>
              </a:xfrm>
              <a:custGeom>
                <a:avLst/>
                <a:gdLst/>
                <a:ahLst/>
                <a:cxnLst>
                  <a:cxn ang="0">
                    <a:pos x="3136" y="0"/>
                  </a:cxn>
                  <a:cxn ang="0">
                    <a:pos x="3136" y="167"/>
                  </a:cxn>
                  <a:cxn ang="0">
                    <a:pos x="1232" y="1288"/>
                  </a:cxn>
                  <a:cxn ang="0">
                    <a:pos x="0" y="672"/>
                  </a:cxn>
                  <a:cxn ang="0">
                    <a:pos x="0" y="504"/>
                  </a:cxn>
                  <a:cxn ang="0">
                    <a:pos x="1232" y="1120"/>
                  </a:cxn>
                  <a:cxn ang="0">
                    <a:pos x="3136" y="0"/>
                  </a:cxn>
                </a:cxnLst>
                <a:rect l="0" t="0" r="r" b="b"/>
                <a:pathLst>
                  <a:path w="3136" h="1288">
                    <a:moveTo>
                      <a:pt x="3136" y="0"/>
                    </a:moveTo>
                    <a:lnTo>
                      <a:pt x="3136" y="167"/>
                    </a:lnTo>
                    <a:lnTo>
                      <a:pt x="1232" y="1288"/>
                    </a:lnTo>
                    <a:lnTo>
                      <a:pt x="0" y="672"/>
                    </a:lnTo>
                    <a:lnTo>
                      <a:pt x="0" y="504"/>
                    </a:lnTo>
                    <a:lnTo>
                      <a:pt x="1232" y="1120"/>
                    </a:lnTo>
                    <a:lnTo>
                      <a:pt x="313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80" name="Freeform 239"/>
              <p:cNvSpPr>
                <a:spLocks/>
              </p:cNvSpPr>
              <p:nvPr/>
            </p:nvSpPr>
            <p:spPr bwMode="auto">
              <a:xfrm>
                <a:off x="481013" y="5200625"/>
                <a:ext cx="228600" cy="142875"/>
              </a:xfrm>
              <a:custGeom>
                <a:avLst/>
                <a:gdLst/>
                <a:ahLst/>
                <a:cxnLst>
                  <a:cxn ang="0">
                    <a:pos x="500" y="0"/>
                  </a:cxn>
                  <a:cxn ang="0">
                    <a:pos x="556" y="3"/>
                  </a:cxn>
                  <a:cxn ang="0">
                    <a:pos x="612" y="10"/>
                  </a:cxn>
                  <a:cxn ang="0">
                    <a:pos x="665" y="21"/>
                  </a:cxn>
                  <a:cxn ang="0">
                    <a:pos x="716" y="35"/>
                  </a:cxn>
                  <a:cxn ang="0">
                    <a:pos x="765" y="53"/>
                  </a:cxn>
                  <a:cxn ang="0">
                    <a:pos x="810" y="73"/>
                  </a:cxn>
                  <a:cxn ang="0">
                    <a:pos x="853" y="97"/>
                  </a:cxn>
                  <a:cxn ang="0">
                    <a:pos x="891" y="124"/>
                  </a:cxn>
                  <a:cxn ang="0">
                    <a:pos x="924" y="153"/>
                  </a:cxn>
                  <a:cxn ang="0">
                    <a:pos x="953" y="184"/>
                  </a:cxn>
                  <a:cxn ang="0">
                    <a:pos x="975" y="218"/>
                  </a:cxn>
                  <a:cxn ang="0">
                    <a:pos x="993" y="254"/>
                  </a:cxn>
                  <a:cxn ang="0">
                    <a:pos x="1005" y="293"/>
                  </a:cxn>
                  <a:cxn ang="0">
                    <a:pos x="1008" y="332"/>
                  </a:cxn>
                  <a:cxn ang="0">
                    <a:pos x="1004" y="369"/>
                  </a:cxn>
                  <a:cxn ang="0">
                    <a:pos x="992" y="406"/>
                  </a:cxn>
                  <a:cxn ang="0">
                    <a:pos x="974" y="440"/>
                  </a:cxn>
                  <a:cxn ang="0">
                    <a:pos x="949" y="473"/>
                  </a:cxn>
                  <a:cxn ang="0">
                    <a:pos x="919" y="505"/>
                  </a:cxn>
                  <a:cxn ang="0">
                    <a:pos x="882" y="532"/>
                  </a:cxn>
                  <a:cxn ang="0">
                    <a:pos x="840" y="558"/>
                  </a:cxn>
                  <a:cxn ang="0">
                    <a:pos x="793" y="579"/>
                  </a:cxn>
                  <a:cxn ang="0">
                    <a:pos x="741" y="597"/>
                  </a:cxn>
                  <a:cxn ang="0">
                    <a:pos x="684" y="611"/>
                  </a:cxn>
                  <a:cxn ang="0">
                    <a:pos x="624" y="621"/>
                  </a:cxn>
                  <a:cxn ang="0">
                    <a:pos x="566" y="626"/>
                  </a:cxn>
                  <a:cxn ang="0">
                    <a:pos x="508" y="627"/>
                  </a:cxn>
                  <a:cxn ang="0">
                    <a:pos x="452" y="623"/>
                  </a:cxn>
                  <a:cxn ang="0">
                    <a:pos x="397" y="616"/>
                  </a:cxn>
                  <a:cxn ang="0">
                    <a:pos x="342" y="606"/>
                  </a:cxn>
                  <a:cxn ang="0">
                    <a:pos x="291" y="590"/>
                  </a:cxn>
                  <a:cxn ang="0">
                    <a:pos x="242" y="573"/>
                  </a:cxn>
                  <a:cxn ang="0">
                    <a:pos x="197" y="552"/>
                  </a:cxn>
                  <a:cxn ang="0">
                    <a:pos x="154" y="528"/>
                  </a:cxn>
                  <a:cxn ang="0">
                    <a:pos x="116" y="502"/>
                  </a:cxn>
                  <a:cxn ang="0">
                    <a:pos x="84" y="473"/>
                  </a:cxn>
                  <a:cxn ang="0">
                    <a:pos x="54" y="442"/>
                  </a:cxn>
                  <a:cxn ang="0">
                    <a:pos x="32" y="408"/>
                  </a:cxn>
                  <a:cxn ang="0">
                    <a:pos x="14" y="372"/>
                  </a:cxn>
                  <a:cxn ang="0">
                    <a:pos x="3" y="333"/>
                  </a:cxn>
                  <a:cxn ang="0">
                    <a:pos x="0" y="295"/>
                  </a:cxn>
                  <a:cxn ang="0">
                    <a:pos x="4" y="257"/>
                  </a:cxn>
                  <a:cxn ang="0">
                    <a:pos x="15" y="220"/>
                  </a:cxn>
                  <a:cxn ang="0">
                    <a:pos x="34" y="185"/>
                  </a:cxn>
                  <a:cxn ang="0">
                    <a:pos x="58" y="153"/>
                  </a:cxn>
                  <a:cxn ang="0">
                    <a:pos x="89" y="122"/>
                  </a:cxn>
                  <a:cxn ang="0">
                    <a:pos x="126" y="94"/>
                  </a:cxn>
                  <a:cxn ang="0">
                    <a:pos x="167" y="69"/>
                  </a:cxn>
                  <a:cxn ang="0">
                    <a:pos x="215" y="47"/>
                  </a:cxn>
                  <a:cxn ang="0">
                    <a:pos x="267" y="29"/>
                  </a:cxn>
                  <a:cxn ang="0">
                    <a:pos x="324" y="15"/>
                  </a:cxn>
                  <a:cxn ang="0">
                    <a:pos x="384" y="5"/>
                  </a:cxn>
                  <a:cxn ang="0">
                    <a:pos x="442" y="0"/>
                  </a:cxn>
                  <a:cxn ang="0">
                    <a:pos x="500" y="0"/>
                  </a:cxn>
                </a:cxnLst>
                <a:rect l="0" t="0" r="r" b="b"/>
                <a:pathLst>
                  <a:path w="1008" h="627">
                    <a:moveTo>
                      <a:pt x="500" y="0"/>
                    </a:moveTo>
                    <a:lnTo>
                      <a:pt x="556" y="3"/>
                    </a:lnTo>
                    <a:lnTo>
                      <a:pt x="612" y="10"/>
                    </a:lnTo>
                    <a:lnTo>
                      <a:pt x="665" y="21"/>
                    </a:lnTo>
                    <a:lnTo>
                      <a:pt x="716" y="35"/>
                    </a:lnTo>
                    <a:lnTo>
                      <a:pt x="765" y="53"/>
                    </a:lnTo>
                    <a:lnTo>
                      <a:pt x="810" y="73"/>
                    </a:lnTo>
                    <a:lnTo>
                      <a:pt x="853" y="97"/>
                    </a:lnTo>
                    <a:lnTo>
                      <a:pt x="891" y="124"/>
                    </a:lnTo>
                    <a:lnTo>
                      <a:pt x="924" y="153"/>
                    </a:lnTo>
                    <a:lnTo>
                      <a:pt x="953" y="184"/>
                    </a:lnTo>
                    <a:lnTo>
                      <a:pt x="975" y="218"/>
                    </a:lnTo>
                    <a:lnTo>
                      <a:pt x="993" y="254"/>
                    </a:lnTo>
                    <a:lnTo>
                      <a:pt x="1005" y="293"/>
                    </a:lnTo>
                    <a:lnTo>
                      <a:pt x="1008" y="332"/>
                    </a:lnTo>
                    <a:lnTo>
                      <a:pt x="1004" y="369"/>
                    </a:lnTo>
                    <a:lnTo>
                      <a:pt x="992" y="406"/>
                    </a:lnTo>
                    <a:lnTo>
                      <a:pt x="974" y="440"/>
                    </a:lnTo>
                    <a:lnTo>
                      <a:pt x="949" y="473"/>
                    </a:lnTo>
                    <a:lnTo>
                      <a:pt x="919" y="505"/>
                    </a:lnTo>
                    <a:lnTo>
                      <a:pt x="882" y="532"/>
                    </a:lnTo>
                    <a:lnTo>
                      <a:pt x="840" y="558"/>
                    </a:lnTo>
                    <a:lnTo>
                      <a:pt x="793" y="579"/>
                    </a:lnTo>
                    <a:lnTo>
                      <a:pt x="741" y="597"/>
                    </a:lnTo>
                    <a:lnTo>
                      <a:pt x="684" y="611"/>
                    </a:lnTo>
                    <a:lnTo>
                      <a:pt x="624" y="621"/>
                    </a:lnTo>
                    <a:lnTo>
                      <a:pt x="566" y="626"/>
                    </a:lnTo>
                    <a:lnTo>
                      <a:pt x="508" y="627"/>
                    </a:lnTo>
                    <a:lnTo>
                      <a:pt x="452" y="623"/>
                    </a:lnTo>
                    <a:lnTo>
                      <a:pt x="397" y="616"/>
                    </a:lnTo>
                    <a:lnTo>
                      <a:pt x="342" y="606"/>
                    </a:lnTo>
                    <a:lnTo>
                      <a:pt x="291" y="590"/>
                    </a:lnTo>
                    <a:lnTo>
                      <a:pt x="242" y="573"/>
                    </a:lnTo>
                    <a:lnTo>
                      <a:pt x="197" y="552"/>
                    </a:lnTo>
                    <a:lnTo>
                      <a:pt x="154" y="528"/>
                    </a:lnTo>
                    <a:lnTo>
                      <a:pt x="116" y="502"/>
                    </a:lnTo>
                    <a:lnTo>
                      <a:pt x="84" y="473"/>
                    </a:lnTo>
                    <a:lnTo>
                      <a:pt x="54" y="442"/>
                    </a:lnTo>
                    <a:lnTo>
                      <a:pt x="32" y="408"/>
                    </a:lnTo>
                    <a:lnTo>
                      <a:pt x="14" y="372"/>
                    </a:lnTo>
                    <a:lnTo>
                      <a:pt x="3" y="333"/>
                    </a:lnTo>
                    <a:lnTo>
                      <a:pt x="0" y="295"/>
                    </a:lnTo>
                    <a:lnTo>
                      <a:pt x="4" y="257"/>
                    </a:lnTo>
                    <a:lnTo>
                      <a:pt x="15" y="220"/>
                    </a:lnTo>
                    <a:lnTo>
                      <a:pt x="34" y="185"/>
                    </a:lnTo>
                    <a:lnTo>
                      <a:pt x="58" y="153"/>
                    </a:lnTo>
                    <a:lnTo>
                      <a:pt x="89" y="122"/>
                    </a:lnTo>
                    <a:lnTo>
                      <a:pt x="126" y="94"/>
                    </a:lnTo>
                    <a:lnTo>
                      <a:pt x="167" y="69"/>
                    </a:lnTo>
                    <a:lnTo>
                      <a:pt x="215" y="47"/>
                    </a:lnTo>
                    <a:lnTo>
                      <a:pt x="267" y="29"/>
                    </a:lnTo>
                    <a:lnTo>
                      <a:pt x="324" y="15"/>
                    </a:lnTo>
                    <a:lnTo>
                      <a:pt x="384" y="5"/>
                    </a:lnTo>
                    <a:lnTo>
                      <a:pt x="442" y="0"/>
                    </a:lnTo>
                    <a:lnTo>
                      <a:pt x="50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</p:grpSp>
        <p:grpSp>
          <p:nvGrpSpPr>
            <p:cNvPr id="181" name="Gruppieren 231"/>
            <p:cNvGrpSpPr/>
            <p:nvPr/>
          </p:nvGrpSpPr>
          <p:grpSpPr>
            <a:xfrm>
              <a:off x="4100700" y="3791062"/>
              <a:ext cx="901299" cy="901299"/>
              <a:chOff x="1352600" y="4981550"/>
              <a:chExt cx="711200" cy="711200"/>
            </a:xfrm>
            <a:solidFill>
              <a:schemeClr val="tx1"/>
            </a:solidFill>
          </p:grpSpPr>
          <p:sp>
            <p:nvSpPr>
              <p:cNvPr id="182" name="Freeform 224"/>
              <p:cNvSpPr>
                <a:spLocks/>
              </p:cNvSpPr>
              <p:nvPr/>
            </p:nvSpPr>
            <p:spPr bwMode="auto">
              <a:xfrm>
                <a:off x="1352600" y="5235550"/>
                <a:ext cx="711200" cy="292100"/>
              </a:xfrm>
              <a:custGeom>
                <a:avLst/>
                <a:gdLst/>
                <a:ahLst/>
                <a:cxnLst>
                  <a:cxn ang="0">
                    <a:pos x="3136" y="0"/>
                  </a:cxn>
                  <a:cxn ang="0">
                    <a:pos x="3136" y="169"/>
                  </a:cxn>
                  <a:cxn ang="0">
                    <a:pos x="1232" y="1289"/>
                  </a:cxn>
                  <a:cxn ang="0">
                    <a:pos x="0" y="673"/>
                  </a:cxn>
                  <a:cxn ang="0">
                    <a:pos x="0" y="505"/>
                  </a:cxn>
                  <a:cxn ang="0">
                    <a:pos x="1232" y="1121"/>
                  </a:cxn>
                  <a:cxn ang="0">
                    <a:pos x="3136" y="0"/>
                  </a:cxn>
                </a:cxnLst>
                <a:rect l="0" t="0" r="r" b="b"/>
                <a:pathLst>
                  <a:path w="3136" h="1289">
                    <a:moveTo>
                      <a:pt x="3136" y="0"/>
                    </a:moveTo>
                    <a:lnTo>
                      <a:pt x="3136" y="169"/>
                    </a:lnTo>
                    <a:lnTo>
                      <a:pt x="1232" y="1289"/>
                    </a:lnTo>
                    <a:lnTo>
                      <a:pt x="0" y="673"/>
                    </a:lnTo>
                    <a:lnTo>
                      <a:pt x="0" y="505"/>
                    </a:lnTo>
                    <a:lnTo>
                      <a:pt x="1232" y="1121"/>
                    </a:lnTo>
                    <a:lnTo>
                      <a:pt x="313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83" name="Freeform 225"/>
              <p:cNvSpPr>
                <a:spLocks noEditPoints="1"/>
              </p:cNvSpPr>
              <p:nvPr/>
            </p:nvSpPr>
            <p:spPr bwMode="auto">
              <a:xfrm>
                <a:off x="1352600" y="4981550"/>
                <a:ext cx="711200" cy="393700"/>
              </a:xfrm>
              <a:custGeom>
                <a:avLst/>
                <a:gdLst/>
                <a:ahLst/>
                <a:cxnLst>
                  <a:cxn ang="0">
                    <a:pos x="1904" y="168"/>
                  </a:cxn>
                  <a:cxn ang="0">
                    <a:pos x="309" y="1106"/>
                  </a:cxn>
                  <a:cxn ang="0">
                    <a:pos x="1232" y="1568"/>
                  </a:cxn>
                  <a:cxn ang="0">
                    <a:pos x="2827" y="630"/>
                  </a:cxn>
                  <a:cxn ang="0">
                    <a:pos x="1904" y="168"/>
                  </a:cxn>
                  <a:cxn ang="0">
                    <a:pos x="1904" y="0"/>
                  </a:cxn>
                  <a:cxn ang="0">
                    <a:pos x="3136" y="616"/>
                  </a:cxn>
                  <a:cxn ang="0">
                    <a:pos x="1232" y="1736"/>
                  </a:cxn>
                  <a:cxn ang="0">
                    <a:pos x="0" y="1119"/>
                  </a:cxn>
                  <a:cxn ang="0">
                    <a:pos x="1904" y="0"/>
                  </a:cxn>
                </a:cxnLst>
                <a:rect l="0" t="0" r="r" b="b"/>
                <a:pathLst>
                  <a:path w="3136" h="1736">
                    <a:moveTo>
                      <a:pt x="1904" y="168"/>
                    </a:moveTo>
                    <a:lnTo>
                      <a:pt x="309" y="1106"/>
                    </a:lnTo>
                    <a:lnTo>
                      <a:pt x="1232" y="1568"/>
                    </a:lnTo>
                    <a:lnTo>
                      <a:pt x="2827" y="630"/>
                    </a:lnTo>
                    <a:lnTo>
                      <a:pt x="1904" y="168"/>
                    </a:lnTo>
                    <a:close/>
                    <a:moveTo>
                      <a:pt x="1904" y="0"/>
                    </a:moveTo>
                    <a:lnTo>
                      <a:pt x="3136" y="616"/>
                    </a:lnTo>
                    <a:lnTo>
                      <a:pt x="1232" y="1736"/>
                    </a:lnTo>
                    <a:lnTo>
                      <a:pt x="0" y="1119"/>
                    </a:lnTo>
                    <a:lnTo>
                      <a:pt x="190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84" name="Freeform 226"/>
              <p:cNvSpPr>
                <a:spLocks/>
              </p:cNvSpPr>
              <p:nvPr/>
            </p:nvSpPr>
            <p:spPr bwMode="auto">
              <a:xfrm>
                <a:off x="1352600" y="5159350"/>
                <a:ext cx="711200" cy="292100"/>
              </a:xfrm>
              <a:custGeom>
                <a:avLst/>
                <a:gdLst/>
                <a:ahLst/>
                <a:cxnLst>
                  <a:cxn ang="0">
                    <a:pos x="3136" y="0"/>
                  </a:cxn>
                  <a:cxn ang="0">
                    <a:pos x="3136" y="168"/>
                  </a:cxn>
                  <a:cxn ang="0">
                    <a:pos x="1232" y="1288"/>
                  </a:cxn>
                  <a:cxn ang="0">
                    <a:pos x="0" y="672"/>
                  </a:cxn>
                  <a:cxn ang="0">
                    <a:pos x="0" y="504"/>
                  </a:cxn>
                  <a:cxn ang="0">
                    <a:pos x="1232" y="1120"/>
                  </a:cxn>
                  <a:cxn ang="0">
                    <a:pos x="3136" y="0"/>
                  </a:cxn>
                </a:cxnLst>
                <a:rect l="0" t="0" r="r" b="b"/>
                <a:pathLst>
                  <a:path w="3136" h="1288">
                    <a:moveTo>
                      <a:pt x="3136" y="0"/>
                    </a:moveTo>
                    <a:lnTo>
                      <a:pt x="3136" y="168"/>
                    </a:lnTo>
                    <a:lnTo>
                      <a:pt x="1232" y="1288"/>
                    </a:lnTo>
                    <a:lnTo>
                      <a:pt x="0" y="672"/>
                    </a:lnTo>
                    <a:lnTo>
                      <a:pt x="0" y="504"/>
                    </a:lnTo>
                    <a:lnTo>
                      <a:pt x="1232" y="1120"/>
                    </a:lnTo>
                    <a:lnTo>
                      <a:pt x="313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85" name="Freeform 227"/>
              <p:cNvSpPr>
                <a:spLocks/>
              </p:cNvSpPr>
              <p:nvPr/>
            </p:nvSpPr>
            <p:spPr bwMode="auto">
              <a:xfrm>
                <a:off x="1593900" y="5105375"/>
                <a:ext cx="228600" cy="142875"/>
              </a:xfrm>
              <a:custGeom>
                <a:avLst/>
                <a:gdLst/>
                <a:ahLst/>
                <a:cxnLst>
                  <a:cxn ang="0">
                    <a:pos x="500" y="0"/>
                  </a:cxn>
                  <a:cxn ang="0">
                    <a:pos x="556" y="3"/>
                  </a:cxn>
                  <a:cxn ang="0">
                    <a:pos x="612" y="11"/>
                  </a:cxn>
                  <a:cxn ang="0">
                    <a:pos x="665" y="22"/>
                  </a:cxn>
                  <a:cxn ang="0">
                    <a:pos x="716" y="36"/>
                  </a:cxn>
                  <a:cxn ang="0">
                    <a:pos x="765" y="54"/>
                  </a:cxn>
                  <a:cxn ang="0">
                    <a:pos x="810" y="75"/>
                  </a:cxn>
                  <a:cxn ang="0">
                    <a:pos x="853" y="99"/>
                  </a:cxn>
                  <a:cxn ang="0">
                    <a:pos x="891" y="125"/>
                  </a:cxn>
                  <a:cxn ang="0">
                    <a:pos x="924" y="154"/>
                  </a:cxn>
                  <a:cxn ang="0">
                    <a:pos x="953" y="186"/>
                  </a:cxn>
                  <a:cxn ang="0">
                    <a:pos x="975" y="220"/>
                  </a:cxn>
                  <a:cxn ang="0">
                    <a:pos x="993" y="254"/>
                  </a:cxn>
                  <a:cxn ang="0">
                    <a:pos x="1005" y="293"/>
                  </a:cxn>
                  <a:cxn ang="0">
                    <a:pos x="1008" y="333"/>
                  </a:cxn>
                  <a:cxn ang="0">
                    <a:pos x="1004" y="371"/>
                  </a:cxn>
                  <a:cxn ang="0">
                    <a:pos x="992" y="406"/>
                  </a:cxn>
                  <a:cxn ang="0">
                    <a:pos x="974" y="441"/>
                  </a:cxn>
                  <a:cxn ang="0">
                    <a:pos x="949" y="475"/>
                  </a:cxn>
                  <a:cxn ang="0">
                    <a:pos x="919" y="505"/>
                  </a:cxn>
                  <a:cxn ang="0">
                    <a:pos x="882" y="533"/>
                  </a:cxn>
                  <a:cxn ang="0">
                    <a:pos x="840" y="558"/>
                  </a:cxn>
                  <a:cxn ang="0">
                    <a:pos x="793" y="580"/>
                  </a:cxn>
                  <a:cxn ang="0">
                    <a:pos x="741" y="599"/>
                  </a:cxn>
                  <a:cxn ang="0">
                    <a:pos x="684" y="613"/>
                  </a:cxn>
                  <a:cxn ang="0">
                    <a:pos x="624" y="623"/>
                  </a:cxn>
                  <a:cxn ang="0">
                    <a:pos x="566" y="627"/>
                  </a:cxn>
                  <a:cxn ang="0">
                    <a:pos x="508" y="628"/>
                  </a:cxn>
                  <a:cxn ang="0">
                    <a:pos x="452" y="625"/>
                  </a:cxn>
                  <a:cxn ang="0">
                    <a:pos x="397" y="617"/>
                  </a:cxn>
                  <a:cxn ang="0">
                    <a:pos x="342" y="606"/>
                  </a:cxn>
                  <a:cxn ang="0">
                    <a:pos x="291" y="592"/>
                  </a:cxn>
                  <a:cxn ang="0">
                    <a:pos x="242" y="574"/>
                  </a:cxn>
                  <a:cxn ang="0">
                    <a:pos x="197" y="553"/>
                  </a:cxn>
                  <a:cxn ang="0">
                    <a:pos x="154" y="529"/>
                  </a:cxn>
                  <a:cxn ang="0">
                    <a:pos x="116" y="503"/>
                  </a:cxn>
                  <a:cxn ang="0">
                    <a:pos x="84" y="474"/>
                  </a:cxn>
                  <a:cxn ang="0">
                    <a:pos x="54" y="442"/>
                  </a:cxn>
                  <a:cxn ang="0">
                    <a:pos x="32" y="409"/>
                  </a:cxn>
                  <a:cxn ang="0">
                    <a:pos x="14" y="374"/>
                  </a:cxn>
                  <a:cxn ang="0">
                    <a:pos x="3" y="334"/>
                  </a:cxn>
                  <a:cxn ang="0">
                    <a:pos x="0" y="296"/>
                  </a:cxn>
                  <a:cxn ang="0">
                    <a:pos x="4" y="258"/>
                  </a:cxn>
                  <a:cxn ang="0">
                    <a:pos x="15" y="222"/>
                  </a:cxn>
                  <a:cxn ang="0">
                    <a:pos x="34" y="187"/>
                  </a:cxn>
                  <a:cxn ang="0">
                    <a:pos x="58" y="153"/>
                  </a:cxn>
                  <a:cxn ang="0">
                    <a:pos x="89" y="123"/>
                  </a:cxn>
                  <a:cxn ang="0">
                    <a:pos x="126" y="95"/>
                  </a:cxn>
                  <a:cxn ang="0">
                    <a:pos x="167" y="70"/>
                  </a:cxn>
                  <a:cxn ang="0">
                    <a:pos x="215" y="48"/>
                  </a:cxn>
                  <a:cxn ang="0">
                    <a:pos x="267" y="30"/>
                  </a:cxn>
                  <a:cxn ang="0">
                    <a:pos x="324" y="15"/>
                  </a:cxn>
                  <a:cxn ang="0">
                    <a:pos x="384" y="6"/>
                  </a:cxn>
                  <a:cxn ang="0">
                    <a:pos x="442" y="1"/>
                  </a:cxn>
                  <a:cxn ang="0">
                    <a:pos x="500" y="0"/>
                  </a:cxn>
                </a:cxnLst>
                <a:rect l="0" t="0" r="r" b="b"/>
                <a:pathLst>
                  <a:path w="1008" h="628">
                    <a:moveTo>
                      <a:pt x="500" y="0"/>
                    </a:moveTo>
                    <a:lnTo>
                      <a:pt x="556" y="3"/>
                    </a:lnTo>
                    <a:lnTo>
                      <a:pt x="612" y="11"/>
                    </a:lnTo>
                    <a:lnTo>
                      <a:pt x="665" y="22"/>
                    </a:lnTo>
                    <a:lnTo>
                      <a:pt x="716" y="36"/>
                    </a:lnTo>
                    <a:lnTo>
                      <a:pt x="765" y="54"/>
                    </a:lnTo>
                    <a:lnTo>
                      <a:pt x="810" y="75"/>
                    </a:lnTo>
                    <a:lnTo>
                      <a:pt x="853" y="99"/>
                    </a:lnTo>
                    <a:lnTo>
                      <a:pt x="891" y="125"/>
                    </a:lnTo>
                    <a:lnTo>
                      <a:pt x="924" y="154"/>
                    </a:lnTo>
                    <a:lnTo>
                      <a:pt x="953" y="186"/>
                    </a:lnTo>
                    <a:lnTo>
                      <a:pt x="975" y="220"/>
                    </a:lnTo>
                    <a:lnTo>
                      <a:pt x="993" y="254"/>
                    </a:lnTo>
                    <a:lnTo>
                      <a:pt x="1005" y="293"/>
                    </a:lnTo>
                    <a:lnTo>
                      <a:pt x="1008" y="333"/>
                    </a:lnTo>
                    <a:lnTo>
                      <a:pt x="1004" y="371"/>
                    </a:lnTo>
                    <a:lnTo>
                      <a:pt x="992" y="406"/>
                    </a:lnTo>
                    <a:lnTo>
                      <a:pt x="974" y="441"/>
                    </a:lnTo>
                    <a:lnTo>
                      <a:pt x="949" y="475"/>
                    </a:lnTo>
                    <a:lnTo>
                      <a:pt x="919" y="505"/>
                    </a:lnTo>
                    <a:lnTo>
                      <a:pt x="882" y="533"/>
                    </a:lnTo>
                    <a:lnTo>
                      <a:pt x="840" y="558"/>
                    </a:lnTo>
                    <a:lnTo>
                      <a:pt x="793" y="580"/>
                    </a:lnTo>
                    <a:lnTo>
                      <a:pt x="741" y="599"/>
                    </a:lnTo>
                    <a:lnTo>
                      <a:pt x="684" y="613"/>
                    </a:lnTo>
                    <a:lnTo>
                      <a:pt x="624" y="623"/>
                    </a:lnTo>
                    <a:lnTo>
                      <a:pt x="566" y="627"/>
                    </a:lnTo>
                    <a:lnTo>
                      <a:pt x="508" y="628"/>
                    </a:lnTo>
                    <a:lnTo>
                      <a:pt x="452" y="625"/>
                    </a:lnTo>
                    <a:lnTo>
                      <a:pt x="397" y="617"/>
                    </a:lnTo>
                    <a:lnTo>
                      <a:pt x="342" y="606"/>
                    </a:lnTo>
                    <a:lnTo>
                      <a:pt x="291" y="592"/>
                    </a:lnTo>
                    <a:lnTo>
                      <a:pt x="242" y="574"/>
                    </a:lnTo>
                    <a:lnTo>
                      <a:pt x="197" y="553"/>
                    </a:lnTo>
                    <a:lnTo>
                      <a:pt x="154" y="529"/>
                    </a:lnTo>
                    <a:lnTo>
                      <a:pt x="116" y="503"/>
                    </a:lnTo>
                    <a:lnTo>
                      <a:pt x="84" y="474"/>
                    </a:lnTo>
                    <a:lnTo>
                      <a:pt x="54" y="442"/>
                    </a:lnTo>
                    <a:lnTo>
                      <a:pt x="32" y="409"/>
                    </a:lnTo>
                    <a:lnTo>
                      <a:pt x="14" y="374"/>
                    </a:lnTo>
                    <a:lnTo>
                      <a:pt x="3" y="334"/>
                    </a:lnTo>
                    <a:lnTo>
                      <a:pt x="0" y="296"/>
                    </a:lnTo>
                    <a:lnTo>
                      <a:pt x="4" y="258"/>
                    </a:lnTo>
                    <a:lnTo>
                      <a:pt x="15" y="222"/>
                    </a:lnTo>
                    <a:lnTo>
                      <a:pt x="34" y="187"/>
                    </a:lnTo>
                    <a:lnTo>
                      <a:pt x="58" y="153"/>
                    </a:lnTo>
                    <a:lnTo>
                      <a:pt x="89" y="123"/>
                    </a:lnTo>
                    <a:lnTo>
                      <a:pt x="126" y="95"/>
                    </a:lnTo>
                    <a:lnTo>
                      <a:pt x="167" y="70"/>
                    </a:lnTo>
                    <a:lnTo>
                      <a:pt x="215" y="48"/>
                    </a:lnTo>
                    <a:lnTo>
                      <a:pt x="267" y="30"/>
                    </a:lnTo>
                    <a:lnTo>
                      <a:pt x="324" y="15"/>
                    </a:lnTo>
                    <a:lnTo>
                      <a:pt x="384" y="6"/>
                    </a:lnTo>
                    <a:lnTo>
                      <a:pt x="442" y="1"/>
                    </a:lnTo>
                    <a:lnTo>
                      <a:pt x="50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86" name="Freeform 228"/>
              <p:cNvSpPr>
                <a:spLocks/>
              </p:cNvSpPr>
              <p:nvPr/>
            </p:nvSpPr>
            <p:spPr bwMode="auto">
              <a:xfrm>
                <a:off x="1911400" y="5321275"/>
                <a:ext cx="152400" cy="371475"/>
              </a:xfrm>
              <a:custGeom>
                <a:avLst/>
                <a:gdLst/>
                <a:ahLst/>
                <a:cxnLst>
                  <a:cxn ang="0">
                    <a:pos x="504" y="0"/>
                  </a:cxn>
                  <a:cxn ang="0">
                    <a:pos x="504" y="1302"/>
                  </a:cxn>
                  <a:cxn ang="0">
                    <a:pos x="673" y="1302"/>
                  </a:cxn>
                  <a:cxn ang="0">
                    <a:pos x="338" y="1638"/>
                  </a:cxn>
                  <a:cxn ang="0">
                    <a:pos x="0" y="1302"/>
                  </a:cxn>
                  <a:cxn ang="0">
                    <a:pos x="168" y="1302"/>
                  </a:cxn>
                  <a:cxn ang="0">
                    <a:pos x="168" y="198"/>
                  </a:cxn>
                  <a:cxn ang="0">
                    <a:pos x="504" y="0"/>
                  </a:cxn>
                </a:cxnLst>
                <a:rect l="0" t="0" r="r" b="b"/>
                <a:pathLst>
                  <a:path w="673" h="1638">
                    <a:moveTo>
                      <a:pt x="504" y="0"/>
                    </a:moveTo>
                    <a:lnTo>
                      <a:pt x="504" y="1302"/>
                    </a:lnTo>
                    <a:lnTo>
                      <a:pt x="673" y="1302"/>
                    </a:lnTo>
                    <a:lnTo>
                      <a:pt x="338" y="1638"/>
                    </a:lnTo>
                    <a:lnTo>
                      <a:pt x="0" y="1302"/>
                    </a:lnTo>
                    <a:lnTo>
                      <a:pt x="168" y="1302"/>
                    </a:lnTo>
                    <a:lnTo>
                      <a:pt x="168" y="198"/>
                    </a:lnTo>
                    <a:lnTo>
                      <a:pt x="50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87" name="Freeform 229"/>
              <p:cNvSpPr>
                <a:spLocks/>
              </p:cNvSpPr>
              <p:nvPr/>
            </p:nvSpPr>
            <p:spPr bwMode="auto">
              <a:xfrm>
                <a:off x="1352600" y="5432400"/>
                <a:ext cx="152400" cy="260350"/>
              </a:xfrm>
              <a:custGeom>
                <a:avLst/>
                <a:gdLst/>
                <a:ahLst/>
                <a:cxnLst>
                  <a:cxn ang="0">
                    <a:pos x="168" y="0"/>
                  </a:cxn>
                  <a:cxn ang="0">
                    <a:pos x="504" y="168"/>
                  </a:cxn>
                  <a:cxn ang="0">
                    <a:pos x="504" y="812"/>
                  </a:cxn>
                  <a:cxn ang="0">
                    <a:pos x="673" y="812"/>
                  </a:cxn>
                  <a:cxn ang="0">
                    <a:pos x="337" y="1148"/>
                  </a:cxn>
                  <a:cxn ang="0">
                    <a:pos x="0" y="812"/>
                  </a:cxn>
                  <a:cxn ang="0">
                    <a:pos x="168" y="812"/>
                  </a:cxn>
                  <a:cxn ang="0">
                    <a:pos x="168" y="0"/>
                  </a:cxn>
                </a:cxnLst>
                <a:rect l="0" t="0" r="r" b="b"/>
                <a:pathLst>
                  <a:path w="673" h="1148">
                    <a:moveTo>
                      <a:pt x="168" y="0"/>
                    </a:moveTo>
                    <a:lnTo>
                      <a:pt x="504" y="168"/>
                    </a:lnTo>
                    <a:lnTo>
                      <a:pt x="504" y="812"/>
                    </a:lnTo>
                    <a:lnTo>
                      <a:pt x="673" y="812"/>
                    </a:lnTo>
                    <a:lnTo>
                      <a:pt x="337" y="1148"/>
                    </a:lnTo>
                    <a:lnTo>
                      <a:pt x="0" y="812"/>
                    </a:lnTo>
                    <a:lnTo>
                      <a:pt x="168" y="812"/>
                    </a:lnTo>
                    <a:lnTo>
                      <a:pt x="1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88" name="Freeform 230"/>
              <p:cNvSpPr>
                <a:spLocks/>
              </p:cNvSpPr>
              <p:nvPr/>
            </p:nvSpPr>
            <p:spPr bwMode="auto">
              <a:xfrm>
                <a:off x="1632000" y="5486375"/>
                <a:ext cx="152400" cy="206375"/>
              </a:xfrm>
              <a:custGeom>
                <a:avLst/>
                <a:gdLst/>
                <a:ahLst/>
                <a:cxnLst>
                  <a:cxn ang="0">
                    <a:pos x="504" y="0"/>
                  </a:cxn>
                  <a:cxn ang="0">
                    <a:pos x="504" y="576"/>
                  </a:cxn>
                  <a:cxn ang="0">
                    <a:pos x="674" y="576"/>
                  </a:cxn>
                  <a:cxn ang="0">
                    <a:pos x="337" y="912"/>
                  </a:cxn>
                  <a:cxn ang="0">
                    <a:pos x="0" y="576"/>
                  </a:cxn>
                  <a:cxn ang="0">
                    <a:pos x="168" y="576"/>
                  </a:cxn>
                  <a:cxn ang="0">
                    <a:pos x="168" y="198"/>
                  </a:cxn>
                  <a:cxn ang="0">
                    <a:pos x="504" y="0"/>
                  </a:cxn>
                </a:cxnLst>
                <a:rect l="0" t="0" r="r" b="b"/>
                <a:pathLst>
                  <a:path w="674" h="912">
                    <a:moveTo>
                      <a:pt x="504" y="0"/>
                    </a:moveTo>
                    <a:lnTo>
                      <a:pt x="504" y="576"/>
                    </a:lnTo>
                    <a:lnTo>
                      <a:pt x="674" y="576"/>
                    </a:lnTo>
                    <a:lnTo>
                      <a:pt x="337" y="912"/>
                    </a:lnTo>
                    <a:lnTo>
                      <a:pt x="0" y="576"/>
                    </a:lnTo>
                    <a:lnTo>
                      <a:pt x="168" y="576"/>
                    </a:lnTo>
                    <a:lnTo>
                      <a:pt x="168" y="198"/>
                    </a:lnTo>
                    <a:lnTo>
                      <a:pt x="50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</p:grpSp>
        <p:grpSp>
          <p:nvGrpSpPr>
            <p:cNvPr id="189" name="Gruppieren 247"/>
            <p:cNvGrpSpPr/>
            <p:nvPr/>
          </p:nvGrpSpPr>
          <p:grpSpPr>
            <a:xfrm>
              <a:off x="3078059" y="3791062"/>
              <a:ext cx="901299" cy="901299"/>
              <a:chOff x="2400350" y="4886300"/>
              <a:chExt cx="711200" cy="711200"/>
            </a:xfrm>
            <a:solidFill>
              <a:schemeClr val="tx1"/>
            </a:solidFill>
          </p:grpSpPr>
          <p:sp>
            <p:nvSpPr>
              <p:cNvPr id="190" name="Freeform 213"/>
              <p:cNvSpPr>
                <a:spLocks/>
              </p:cNvSpPr>
              <p:nvPr/>
            </p:nvSpPr>
            <p:spPr bwMode="auto">
              <a:xfrm>
                <a:off x="2400350" y="5305400"/>
                <a:ext cx="711200" cy="292100"/>
              </a:xfrm>
              <a:custGeom>
                <a:avLst/>
                <a:gdLst/>
                <a:ahLst/>
                <a:cxnLst>
                  <a:cxn ang="0">
                    <a:pos x="3136" y="0"/>
                  </a:cxn>
                  <a:cxn ang="0">
                    <a:pos x="3136" y="169"/>
                  </a:cxn>
                  <a:cxn ang="0">
                    <a:pos x="1232" y="1288"/>
                  </a:cxn>
                  <a:cxn ang="0">
                    <a:pos x="0" y="672"/>
                  </a:cxn>
                  <a:cxn ang="0">
                    <a:pos x="0" y="504"/>
                  </a:cxn>
                  <a:cxn ang="0">
                    <a:pos x="1232" y="1120"/>
                  </a:cxn>
                  <a:cxn ang="0">
                    <a:pos x="3136" y="0"/>
                  </a:cxn>
                </a:cxnLst>
                <a:rect l="0" t="0" r="r" b="b"/>
                <a:pathLst>
                  <a:path w="3136" h="1288">
                    <a:moveTo>
                      <a:pt x="3136" y="0"/>
                    </a:moveTo>
                    <a:lnTo>
                      <a:pt x="3136" y="169"/>
                    </a:lnTo>
                    <a:lnTo>
                      <a:pt x="1232" y="1288"/>
                    </a:lnTo>
                    <a:lnTo>
                      <a:pt x="0" y="672"/>
                    </a:lnTo>
                    <a:lnTo>
                      <a:pt x="0" y="504"/>
                    </a:lnTo>
                    <a:lnTo>
                      <a:pt x="1232" y="1120"/>
                    </a:lnTo>
                    <a:lnTo>
                      <a:pt x="313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91" name="Freeform 214"/>
              <p:cNvSpPr>
                <a:spLocks noEditPoints="1"/>
              </p:cNvSpPr>
              <p:nvPr/>
            </p:nvSpPr>
            <p:spPr bwMode="auto">
              <a:xfrm>
                <a:off x="2400350" y="5051400"/>
                <a:ext cx="711200" cy="393700"/>
              </a:xfrm>
              <a:custGeom>
                <a:avLst/>
                <a:gdLst/>
                <a:ahLst/>
                <a:cxnLst>
                  <a:cxn ang="0">
                    <a:pos x="1904" y="168"/>
                  </a:cxn>
                  <a:cxn ang="0">
                    <a:pos x="309" y="1106"/>
                  </a:cxn>
                  <a:cxn ang="0">
                    <a:pos x="1232" y="1568"/>
                  </a:cxn>
                  <a:cxn ang="0">
                    <a:pos x="2827" y="629"/>
                  </a:cxn>
                  <a:cxn ang="0">
                    <a:pos x="1904" y="168"/>
                  </a:cxn>
                  <a:cxn ang="0">
                    <a:pos x="1904" y="0"/>
                  </a:cxn>
                  <a:cxn ang="0">
                    <a:pos x="3136" y="616"/>
                  </a:cxn>
                  <a:cxn ang="0">
                    <a:pos x="1232" y="1736"/>
                  </a:cxn>
                  <a:cxn ang="0">
                    <a:pos x="0" y="1120"/>
                  </a:cxn>
                  <a:cxn ang="0">
                    <a:pos x="1904" y="0"/>
                  </a:cxn>
                </a:cxnLst>
                <a:rect l="0" t="0" r="r" b="b"/>
                <a:pathLst>
                  <a:path w="3136" h="1736">
                    <a:moveTo>
                      <a:pt x="1904" y="168"/>
                    </a:moveTo>
                    <a:lnTo>
                      <a:pt x="309" y="1106"/>
                    </a:lnTo>
                    <a:lnTo>
                      <a:pt x="1232" y="1568"/>
                    </a:lnTo>
                    <a:lnTo>
                      <a:pt x="2827" y="629"/>
                    </a:lnTo>
                    <a:lnTo>
                      <a:pt x="1904" y="168"/>
                    </a:lnTo>
                    <a:close/>
                    <a:moveTo>
                      <a:pt x="1904" y="0"/>
                    </a:moveTo>
                    <a:lnTo>
                      <a:pt x="3136" y="616"/>
                    </a:lnTo>
                    <a:lnTo>
                      <a:pt x="1232" y="1736"/>
                    </a:lnTo>
                    <a:lnTo>
                      <a:pt x="0" y="1120"/>
                    </a:lnTo>
                    <a:lnTo>
                      <a:pt x="190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92" name="Freeform 215"/>
              <p:cNvSpPr>
                <a:spLocks/>
              </p:cNvSpPr>
              <p:nvPr/>
            </p:nvSpPr>
            <p:spPr bwMode="auto">
              <a:xfrm>
                <a:off x="2400350" y="5229200"/>
                <a:ext cx="711200" cy="292100"/>
              </a:xfrm>
              <a:custGeom>
                <a:avLst/>
                <a:gdLst/>
                <a:ahLst/>
                <a:cxnLst>
                  <a:cxn ang="0">
                    <a:pos x="3136" y="0"/>
                  </a:cxn>
                  <a:cxn ang="0">
                    <a:pos x="3136" y="168"/>
                  </a:cxn>
                  <a:cxn ang="0">
                    <a:pos x="1232" y="1288"/>
                  </a:cxn>
                  <a:cxn ang="0">
                    <a:pos x="0" y="672"/>
                  </a:cxn>
                  <a:cxn ang="0">
                    <a:pos x="0" y="505"/>
                  </a:cxn>
                  <a:cxn ang="0">
                    <a:pos x="1232" y="1120"/>
                  </a:cxn>
                  <a:cxn ang="0">
                    <a:pos x="3136" y="0"/>
                  </a:cxn>
                </a:cxnLst>
                <a:rect l="0" t="0" r="r" b="b"/>
                <a:pathLst>
                  <a:path w="3136" h="1288">
                    <a:moveTo>
                      <a:pt x="3136" y="0"/>
                    </a:moveTo>
                    <a:lnTo>
                      <a:pt x="3136" y="168"/>
                    </a:lnTo>
                    <a:lnTo>
                      <a:pt x="1232" y="1288"/>
                    </a:lnTo>
                    <a:lnTo>
                      <a:pt x="0" y="672"/>
                    </a:lnTo>
                    <a:lnTo>
                      <a:pt x="0" y="505"/>
                    </a:lnTo>
                    <a:lnTo>
                      <a:pt x="1232" y="1120"/>
                    </a:lnTo>
                    <a:lnTo>
                      <a:pt x="313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93" name="Freeform 216"/>
              <p:cNvSpPr>
                <a:spLocks/>
              </p:cNvSpPr>
              <p:nvPr/>
            </p:nvSpPr>
            <p:spPr bwMode="auto">
              <a:xfrm>
                <a:off x="2641650" y="5175225"/>
                <a:ext cx="228600" cy="142875"/>
              </a:xfrm>
              <a:custGeom>
                <a:avLst/>
                <a:gdLst/>
                <a:ahLst/>
                <a:cxnLst>
                  <a:cxn ang="0">
                    <a:pos x="500" y="0"/>
                  </a:cxn>
                  <a:cxn ang="0">
                    <a:pos x="556" y="4"/>
                  </a:cxn>
                  <a:cxn ang="0">
                    <a:pos x="612" y="11"/>
                  </a:cxn>
                  <a:cxn ang="0">
                    <a:pos x="665" y="22"/>
                  </a:cxn>
                  <a:cxn ang="0">
                    <a:pos x="716" y="37"/>
                  </a:cxn>
                  <a:cxn ang="0">
                    <a:pos x="765" y="54"/>
                  </a:cxn>
                  <a:cxn ang="0">
                    <a:pos x="810" y="75"/>
                  </a:cxn>
                  <a:cxn ang="0">
                    <a:pos x="853" y="99"/>
                  </a:cxn>
                  <a:cxn ang="0">
                    <a:pos x="891" y="125"/>
                  </a:cxn>
                  <a:cxn ang="0">
                    <a:pos x="924" y="154"/>
                  </a:cxn>
                  <a:cxn ang="0">
                    <a:pos x="953" y="186"/>
                  </a:cxn>
                  <a:cxn ang="0">
                    <a:pos x="975" y="219"/>
                  </a:cxn>
                  <a:cxn ang="0">
                    <a:pos x="993" y="255"/>
                  </a:cxn>
                  <a:cxn ang="0">
                    <a:pos x="1005" y="294"/>
                  </a:cxn>
                  <a:cxn ang="0">
                    <a:pos x="1008" y="332"/>
                  </a:cxn>
                  <a:cxn ang="0">
                    <a:pos x="1004" y="370"/>
                  </a:cxn>
                  <a:cxn ang="0">
                    <a:pos x="992" y="407"/>
                  </a:cxn>
                  <a:cxn ang="0">
                    <a:pos x="974" y="442"/>
                  </a:cxn>
                  <a:cxn ang="0">
                    <a:pos x="949" y="474"/>
                  </a:cxn>
                  <a:cxn ang="0">
                    <a:pos x="919" y="505"/>
                  </a:cxn>
                  <a:cxn ang="0">
                    <a:pos x="882" y="533"/>
                  </a:cxn>
                  <a:cxn ang="0">
                    <a:pos x="840" y="558"/>
                  </a:cxn>
                  <a:cxn ang="0">
                    <a:pos x="793" y="580"/>
                  </a:cxn>
                  <a:cxn ang="0">
                    <a:pos x="741" y="598"/>
                  </a:cxn>
                  <a:cxn ang="0">
                    <a:pos x="684" y="612"/>
                  </a:cxn>
                  <a:cxn ang="0">
                    <a:pos x="624" y="622"/>
                  </a:cxn>
                  <a:cxn ang="0">
                    <a:pos x="566" y="628"/>
                  </a:cxn>
                  <a:cxn ang="0">
                    <a:pos x="508" y="628"/>
                  </a:cxn>
                  <a:cxn ang="0">
                    <a:pos x="452" y="624"/>
                  </a:cxn>
                  <a:cxn ang="0">
                    <a:pos x="397" y="617"/>
                  </a:cxn>
                  <a:cxn ang="0">
                    <a:pos x="342" y="606"/>
                  </a:cxn>
                  <a:cxn ang="0">
                    <a:pos x="291" y="592"/>
                  </a:cxn>
                  <a:cxn ang="0">
                    <a:pos x="242" y="574"/>
                  </a:cxn>
                  <a:cxn ang="0">
                    <a:pos x="197" y="553"/>
                  </a:cxn>
                  <a:cxn ang="0">
                    <a:pos x="154" y="530"/>
                  </a:cxn>
                  <a:cxn ang="0">
                    <a:pos x="116" y="503"/>
                  </a:cxn>
                  <a:cxn ang="0">
                    <a:pos x="84" y="473"/>
                  </a:cxn>
                  <a:cxn ang="0">
                    <a:pos x="54" y="442"/>
                  </a:cxn>
                  <a:cxn ang="0">
                    <a:pos x="32" y="409"/>
                  </a:cxn>
                  <a:cxn ang="0">
                    <a:pos x="14" y="373"/>
                  </a:cxn>
                  <a:cxn ang="0">
                    <a:pos x="3" y="334"/>
                  </a:cxn>
                  <a:cxn ang="0">
                    <a:pos x="0" y="295"/>
                  </a:cxn>
                  <a:cxn ang="0">
                    <a:pos x="4" y="258"/>
                  </a:cxn>
                  <a:cxn ang="0">
                    <a:pos x="15" y="221"/>
                  </a:cxn>
                  <a:cxn ang="0">
                    <a:pos x="34" y="187"/>
                  </a:cxn>
                  <a:cxn ang="0">
                    <a:pos x="58" y="154"/>
                  </a:cxn>
                  <a:cxn ang="0">
                    <a:pos x="89" y="123"/>
                  </a:cxn>
                  <a:cxn ang="0">
                    <a:pos x="126" y="94"/>
                  </a:cxn>
                  <a:cxn ang="0">
                    <a:pos x="167" y="69"/>
                  </a:cxn>
                  <a:cxn ang="0">
                    <a:pos x="215" y="48"/>
                  </a:cxn>
                  <a:cxn ang="0">
                    <a:pos x="267" y="29"/>
                  </a:cxn>
                  <a:cxn ang="0">
                    <a:pos x="324" y="15"/>
                  </a:cxn>
                  <a:cxn ang="0">
                    <a:pos x="384" y="5"/>
                  </a:cxn>
                  <a:cxn ang="0">
                    <a:pos x="442" y="1"/>
                  </a:cxn>
                  <a:cxn ang="0">
                    <a:pos x="500" y="0"/>
                  </a:cxn>
                </a:cxnLst>
                <a:rect l="0" t="0" r="r" b="b"/>
                <a:pathLst>
                  <a:path w="1008" h="628">
                    <a:moveTo>
                      <a:pt x="500" y="0"/>
                    </a:moveTo>
                    <a:lnTo>
                      <a:pt x="556" y="4"/>
                    </a:lnTo>
                    <a:lnTo>
                      <a:pt x="612" y="11"/>
                    </a:lnTo>
                    <a:lnTo>
                      <a:pt x="665" y="22"/>
                    </a:lnTo>
                    <a:lnTo>
                      <a:pt x="716" y="37"/>
                    </a:lnTo>
                    <a:lnTo>
                      <a:pt x="765" y="54"/>
                    </a:lnTo>
                    <a:lnTo>
                      <a:pt x="810" y="75"/>
                    </a:lnTo>
                    <a:lnTo>
                      <a:pt x="853" y="99"/>
                    </a:lnTo>
                    <a:lnTo>
                      <a:pt x="891" y="125"/>
                    </a:lnTo>
                    <a:lnTo>
                      <a:pt x="924" y="154"/>
                    </a:lnTo>
                    <a:lnTo>
                      <a:pt x="953" y="186"/>
                    </a:lnTo>
                    <a:lnTo>
                      <a:pt x="975" y="219"/>
                    </a:lnTo>
                    <a:lnTo>
                      <a:pt x="993" y="255"/>
                    </a:lnTo>
                    <a:lnTo>
                      <a:pt x="1005" y="294"/>
                    </a:lnTo>
                    <a:lnTo>
                      <a:pt x="1008" y="332"/>
                    </a:lnTo>
                    <a:lnTo>
                      <a:pt x="1004" y="370"/>
                    </a:lnTo>
                    <a:lnTo>
                      <a:pt x="992" y="407"/>
                    </a:lnTo>
                    <a:lnTo>
                      <a:pt x="974" y="442"/>
                    </a:lnTo>
                    <a:lnTo>
                      <a:pt x="949" y="474"/>
                    </a:lnTo>
                    <a:lnTo>
                      <a:pt x="919" y="505"/>
                    </a:lnTo>
                    <a:lnTo>
                      <a:pt x="882" y="533"/>
                    </a:lnTo>
                    <a:lnTo>
                      <a:pt x="840" y="558"/>
                    </a:lnTo>
                    <a:lnTo>
                      <a:pt x="793" y="580"/>
                    </a:lnTo>
                    <a:lnTo>
                      <a:pt x="741" y="598"/>
                    </a:lnTo>
                    <a:lnTo>
                      <a:pt x="684" y="612"/>
                    </a:lnTo>
                    <a:lnTo>
                      <a:pt x="624" y="622"/>
                    </a:lnTo>
                    <a:lnTo>
                      <a:pt x="566" y="628"/>
                    </a:lnTo>
                    <a:lnTo>
                      <a:pt x="508" y="628"/>
                    </a:lnTo>
                    <a:lnTo>
                      <a:pt x="452" y="624"/>
                    </a:lnTo>
                    <a:lnTo>
                      <a:pt x="397" y="617"/>
                    </a:lnTo>
                    <a:lnTo>
                      <a:pt x="342" y="606"/>
                    </a:lnTo>
                    <a:lnTo>
                      <a:pt x="291" y="592"/>
                    </a:lnTo>
                    <a:lnTo>
                      <a:pt x="242" y="574"/>
                    </a:lnTo>
                    <a:lnTo>
                      <a:pt x="197" y="553"/>
                    </a:lnTo>
                    <a:lnTo>
                      <a:pt x="154" y="530"/>
                    </a:lnTo>
                    <a:lnTo>
                      <a:pt x="116" y="503"/>
                    </a:lnTo>
                    <a:lnTo>
                      <a:pt x="84" y="473"/>
                    </a:lnTo>
                    <a:lnTo>
                      <a:pt x="54" y="442"/>
                    </a:lnTo>
                    <a:lnTo>
                      <a:pt x="32" y="409"/>
                    </a:lnTo>
                    <a:lnTo>
                      <a:pt x="14" y="373"/>
                    </a:lnTo>
                    <a:lnTo>
                      <a:pt x="3" y="334"/>
                    </a:lnTo>
                    <a:lnTo>
                      <a:pt x="0" y="295"/>
                    </a:lnTo>
                    <a:lnTo>
                      <a:pt x="4" y="258"/>
                    </a:lnTo>
                    <a:lnTo>
                      <a:pt x="15" y="221"/>
                    </a:lnTo>
                    <a:lnTo>
                      <a:pt x="34" y="187"/>
                    </a:lnTo>
                    <a:lnTo>
                      <a:pt x="58" y="154"/>
                    </a:lnTo>
                    <a:lnTo>
                      <a:pt x="89" y="123"/>
                    </a:lnTo>
                    <a:lnTo>
                      <a:pt x="126" y="94"/>
                    </a:lnTo>
                    <a:lnTo>
                      <a:pt x="167" y="69"/>
                    </a:lnTo>
                    <a:lnTo>
                      <a:pt x="215" y="48"/>
                    </a:lnTo>
                    <a:lnTo>
                      <a:pt x="267" y="29"/>
                    </a:lnTo>
                    <a:lnTo>
                      <a:pt x="324" y="15"/>
                    </a:lnTo>
                    <a:lnTo>
                      <a:pt x="384" y="5"/>
                    </a:lnTo>
                    <a:lnTo>
                      <a:pt x="442" y="1"/>
                    </a:lnTo>
                    <a:lnTo>
                      <a:pt x="50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94" name="Freeform 217"/>
              <p:cNvSpPr>
                <a:spLocks/>
              </p:cNvSpPr>
              <p:nvPr/>
            </p:nvSpPr>
            <p:spPr bwMode="auto">
              <a:xfrm>
                <a:off x="2400350" y="4886300"/>
                <a:ext cx="152400" cy="371475"/>
              </a:xfrm>
              <a:custGeom>
                <a:avLst/>
                <a:gdLst/>
                <a:ahLst/>
                <a:cxnLst>
                  <a:cxn ang="0">
                    <a:pos x="336" y="0"/>
                  </a:cxn>
                  <a:cxn ang="0">
                    <a:pos x="673" y="336"/>
                  </a:cxn>
                  <a:cxn ang="0">
                    <a:pos x="504" y="336"/>
                  </a:cxn>
                  <a:cxn ang="0">
                    <a:pos x="504" y="1440"/>
                  </a:cxn>
                  <a:cxn ang="0">
                    <a:pos x="168" y="1638"/>
                  </a:cxn>
                  <a:cxn ang="0">
                    <a:pos x="168" y="336"/>
                  </a:cxn>
                  <a:cxn ang="0">
                    <a:pos x="0" y="336"/>
                  </a:cxn>
                  <a:cxn ang="0">
                    <a:pos x="336" y="0"/>
                  </a:cxn>
                </a:cxnLst>
                <a:rect l="0" t="0" r="r" b="b"/>
                <a:pathLst>
                  <a:path w="673" h="1638">
                    <a:moveTo>
                      <a:pt x="336" y="0"/>
                    </a:moveTo>
                    <a:lnTo>
                      <a:pt x="673" y="336"/>
                    </a:lnTo>
                    <a:lnTo>
                      <a:pt x="504" y="336"/>
                    </a:lnTo>
                    <a:lnTo>
                      <a:pt x="504" y="1440"/>
                    </a:lnTo>
                    <a:lnTo>
                      <a:pt x="168" y="1638"/>
                    </a:lnTo>
                    <a:lnTo>
                      <a:pt x="168" y="336"/>
                    </a:lnTo>
                    <a:lnTo>
                      <a:pt x="0" y="336"/>
                    </a:lnTo>
                    <a:lnTo>
                      <a:pt x="33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95" name="Freeform 218"/>
              <p:cNvSpPr>
                <a:spLocks/>
              </p:cNvSpPr>
              <p:nvPr/>
            </p:nvSpPr>
            <p:spPr bwMode="auto">
              <a:xfrm>
                <a:off x="2959150" y="4886300"/>
                <a:ext cx="152400" cy="260350"/>
              </a:xfrm>
              <a:custGeom>
                <a:avLst/>
                <a:gdLst/>
                <a:ahLst/>
                <a:cxnLst>
                  <a:cxn ang="0">
                    <a:pos x="336" y="0"/>
                  </a:cxn>
                  <a:cxn ang="0">
                    <a:pos x="673" y="336"/>
                  </a:cxn>
                  <a:cxn ang="0">
                    <a:pos x="504" y="336"/>
                  </a:cxn>
                  <a:cxn ang="0">
                    <a:pos x="504" y="1148"/>
                  </a:cxn>
                  <a:cxn ang="0">
                    <a:pos x="168" y="980"/>
                  </a:cxn>
                  <a:cxn ang="0">
                    <a:pos x="168" y="336"/>
                  </a:cxn>
                  <a:cxn ang="0">
                    <a:pos x="0" y="336"/>
                  </a:cxn>
                  <a:cxn ang="0">
                    <a:pos x="336" y="0"/>
                  </a:cxn>
                </a:cxnLst>
                <a:rect l="0" t="0" r="r" b="b"/>
                <a:pathLst>
                  <a:path w="673" h="1148">
                    <a:moveTo>
                      <a:pt x="336" y="0"/>
                    </a:moveTo>
                    <a:lnTo>
                      <a:pt x="673" y="336"/>
                    </a:lnTo>
                    <a:lnTo>
                      <a:pt x="504" y="336"/>
                    </a:lnTo>
                    <a:lnTo>
                      <a:pt x="504" y="1148"/>
                    </a:lnTo>
                    <a:lnTo>
                      <a:pt x="168" y="980"/>
                    </a:lnTo>
                    <a:lnTo>
                      <a:pt x="168" y="336"/>
                    </a:lnTo>
                    <a:lnTo>
                      <a:pt x="0" y="336"/>
                    </a:lnTo>
                    <a:lnTo>
                      <a:pt x="33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96" name="Freeform 219"/>
              <p:cNvSpPr>
                <a:spLocks/>
              </p:cNvSpPr>
              <p:nvPr/>
            </p:nvSpPr>
            <p:spPr bwMode="auto">
              <a:xfrm>
                <a:off x="2679750" y="4886300"/>
                <a:ext cx="152400" cy="206375"/>
              </a:xfrm>
              <a:custGeom>
                <a:avLst/>
                <a:gdLst/>
                <a:ahLst/>
                <a:cxnLst>
                  <a:cxn ang="0">
                    <a:pos x="336" y="0"/>
                  </a:cxn>
                  <a:cxn ang="0">
                    <a:pos x="674" y="336"/>
                  </a:cxn>
                  <a:cxn ang="0">
                    <a:pos x="504" y="336"/>
                  </a:cxn>
                  <a:cxn ang="0">
                    <a:pos x="504" y="714"/>
                  </a:cxn>
                  <a:cxn ang="0">
                    <a:pos x="168" y="912"/>
                  </a:cxn>
                  <a:cxn ang="0">
                    <a:pos x="168" y="336"/>
                  </a:cxn>
                  <a:cxn ang="0">
                    <a:pos x="0" y="336"/>
                  </a:cxn>
                  <a:cxn ang="0">
                    <a:pos x="336" y="0"/>
                  </a:cxn>
                </a:cxnLst>
                <a:rect l="0" t="0" r="r" b="b"/>
                <a:pathLst>
                  <a:path w="674" h="912">
                    <a:moveTo>
                      <a:pt x="336" y="0"/>
                    </a:moveTo>
                    <a:lnTo>
                      <a:pt x="674" y="336"/>
                    </a:lnTo>
                    <a:lnTo>
                      <a:pt x="504" y="336"/>
                    </a:lnTo>
                    <a:lnTo>
                      <a:pt x="504" y="714"/>
                    </a:lnTo>
                    <a:lnTo>
                      <a:pt x="168" y="912"/>
                    </a:lnTo>
                    <a:lnTo>
                      <a:pt x="168" y="336"/>
                    </a:lnTo>
                    <a:lnTo>
                      <a:pt x="0" y="336"/>
                    </a:lnTo>
                    <a:lnTo>
                      <a:pt x="33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</p:grpSp>
        <p:grpSp>
          <p:nvGrpSpPr>
            <p:cNvPr id="197" name="Gruppieren 255"/>
            <p:cNvGrpSpPr/>
            <p:nvPr/>
          </p:nvGrpSpPr>
          <p:grpSpPr>
            <a:xfrm>
              <a:off x="7182159" y="2531374"/>
              <a:ext cx="901301" cy="708164"/>
              <a:chOff x="9069795" y="2614281"/>
              <a:chExt cx="711201" cy="558800"/>
            </a:xfrm>
            <a:solidFill>
              <a:schemeClr val="tx1"/>
            </a:solidFill>
          </p:grpSpPr>
          <p:sp>
            <p:nvSpPr>
              <p:cNvPr id="198" name="Freeform 131"/>
              <p:cNvSpPr>
                <a:spLocks/>
              </p:cNvSpPr>
              <p:nvPr/>
            </p:nvSpPr>
            <p:spPr bwMode="auto">
              <a:xfrm>
                <a:off x="9145995" y="2614281"/>
                <a:ext cx="177800" cy="177800"/>
              </a:xfrm>
              <a:custGeom>
                <a:avLst/>
                <a:gdLst/>
                <a:ahLst/>
                <a:cxnLst>
                  <a:cxn ang="0">
                    <a:pos x="392" y="0"/>
                  </a:cxn>
                  <a:cxn ang="0">
                    <a:pos x="441" y="3"/>
                  </a:cxn>
                  <a:cxn ang="0">
                    <a:pos x="488" y="12"/>
                  </a:cxn>
                  <a:cxn ang="0">
                    <a:pos x="534" y="26"/>
                  </a:cxn>
                  <a:cxn ang="0">
                    <a:pos x="576" y="46"/>
                  </a:cxn>
                  <a:cxn ang="0">
                    <a:pos x="616" y="70"/>
                  </a:cxn>
                  <a:cxn ang="0">
                    <a:pos x="652" y="99"/>
                  </a:cxn>
                  <a:cxn ang="0">
                    <a:pos x="685" y="132"/>
                  </a:cxn>
                  <a:cxn ang="0">
                    <a:pos x="714" y="168"/>
                  </a:cxn>
                  <a:cxn ang="0">
                    <a:pos x="738" y="208"/>
                  </a:cxn>
                  <a:cxn ang="0">
                    <a:pos x="757" y="250"/>
                  </a:cxn>
                  <a:cxn ang="0">
                    <a:pos x="772" y="296"/>
                  </a:cxn>
                  <a:cxn ang="0">
                    <a:pos x="781" y="343"/>
                  </a:cxn>
                  <a:cxn ang="0">
                    <a:pos x="783" y="392"/>
                  </a:cxn>
                  <a:cxn ang="0">
                    <a:pos x="781" y="441"/>
                  </a:cxn>
                  <a:cxn ang="0">
                    <a:pos x="772" y="488"/>
                  </a:cxn>
                  <a:cxn ang="0">
                    <a:pos x="757" y="534"/>
                  </a:cxn>
                  <a:cxn ang="0">
                    <a:pos x="738" y="576"/>
                  </a:cxn>
                  <a:cxn ang="0">
                    <a:pos x="714" y="616"/>
                  </a:cxn>
                  <a:cxn ang="0">
                    <a:pos x="685" y="652"/>
                  </a:cxn>
                  <a:cxn ang="0">
                    <a:pos x="652" y="685"/>
                  </a:cxn>
                  <a:cxn ang="0">
                    <a:pos x="616" y="714"/>
                  </a:cxn>
                  <a:cxn ang="0">
                    <a:pos x="576" y="738"/>
                  </a:cxn>
                  <a:cxn ang="0">
                    <a:pos x="534" y="757"/>
                  </a:cxn>
                  <a:cxn ang="0">
                    <a:pos x="488" y="772"/>
                  </a:cxn>
                  <a:cxn ang="0">
                    <a:pos x="441" y="781"/>
                  </a:cxn>
                  <a:cxn ang="0">
                    <a:pos x="392" y="783"/>
                  </a:cxn>
                  <a:cxn ang="0">
                    <a:pos x="343" y="781"/>
                  </a:cxn>
                  <a:cxn ang="0">
                    <a:pos x="296" y="772"/>
                  </a:cxn>
                  <a:cxn ang="0">
                    <a:pos x="250" y="757"/>
                  </a:cxn>
                  <a:cxn ang="0">
                    <a:pos x="208" y="738"/>
                  </a:cxn>
                  <a:cxn ang="0">
                    <a:pos x="168" y="714"/>
                  </a:cxn>
                  <a:cxn ang="0">
                    <a:pos x="132" y="685"/>
                  </a:cxn>
                  <a:cxn ang="0">
                    <a:pos x="99" y="652"/>
                  </a:cxn>
                  <a:cxn ang="0">
                    <a:pos x="70" y="616"/>
                  </a:cxn>
                  <a:cxn ang="0">
                    <a:pos x="46" y="576"/>
                  </a:cxn>
                  <a:cxn ang="0">
                    <a:pos x="26" y="534"/>
                  </a:cxn>
                  <a:cxn ang="0">
                    <a:pos x="12" y="488"/>
                  </a:cxn>
                  <a:cxn ang="0">
                    <a:pos x="3" y="441"/>
                  </a:cxn>
                  <a:cxn ang="0">
                    <a:pos x="0" y="392"/>
                  </a:cxn>
                  <a:cxn ang="0">
                    <a:pos x="3" y="343"/>
                  </a:cxn>
                  <a:cxn ang="0">
                    <a:pos x="12" y="296"/>
                  </a:cxn>
                  <a:cxn ang="0">
                    <a:pos x="26" y="250"/>
                  </a:cxn>
                  <a:cxn ang="0">
                    <a:pos x="46" y="208"/>
                  </a:cxn>
                  <a:cxn ang="0">
                    <a:pos x="70" y="168"/>
                  </a:cxn>
                  <a:cxn ang="0">
                    <a:pos x="99" y="132"/>
                  </a:cxn>
                  <a:cxn ang="0">
                    <a:pos x="132" y="99"/>
                  </a:cxn>
                  <a:cxn ang="0">
                    <a:pos x="168" y="70"/>
                  </a:cxn>
                  <a:cxn ang="0">
                    <a:pos x="208" y="46"/>
                  </a:cxn>
                  <a:cxn ang="0">
                    <a:pos x="250" y="26"/>
                  </a:cxn>
                  <a:cxn ang="0">
                    <a:pos x="296" y="12"/>
                  </a:cxn>
                  <a:cxn ang="0">
                    <a:pos x="343" y="3"/>
                  </a:cxn>
                  <a:cxn ang="0">
                    <a:pos x="392" y="0"/>
                  </a:cxn>
                </a:cxnLst>
                <a:rect l="0" t="0" r="r" b="b"/>
                <a:pathLst>
                  <a:path w="783" h="783">
                    <a:moveTo>
                      <a:pt x="392" y="0"/>
                    </a:moveTo>
                    <a:lnTo>
                      <a:pt x="441" y="3"/>
                    </a:lnTo>
                    <a:lnTo>
                      <a:pt x="488" y="12"/>
                    </a:lnTo>
                    <a:lnTo>
                      <a:pt x="534" y="26"/>
                    </a:lnTo>
                    <a:lnTo>
                      <a:pt x="576" y="46"/>
                    </a:lnTo>
                    <a:lnTo>
                      <a:pt x="616" y="70"/>
                    </a:lnTo>
                    <a:lnTo>
                      <a:pt x="652" y="99"/>
                    </a:lnTo>
                    <a:lnTo>
                      <a:pt x="685" y="132"/>
                    </a:lnTo>
                    <a:lnTo>
                      <a:pt x="714" y="168"/>
                    </a:lnTo>
                    <a:lnTo>
                      <a:pt x="738" y="208"/>
                    </a:lnTo>
                    <a:lnTo>
                      <a:pt x="757" y="250"/>
                    </a:lnTo>
                    <a:lnTo>
                      <a:pt x="772" y="296"/>
                    </a:lnTo>
                    <a:lnTo>
                      <a:pt x="781" y="343"/>
                    </a:lnTo>
                    <a:lnTo>
                      <a:pt x="783" y="392"/>
                    </a:lnTo>
                    <a:lnTo>
                      <a:pt x="781" y="441"/>
                    </a:lnTo>
                    <a:lnTo>
                      <a:pt x="772" y="488"/>
                    </a:lnTo>
                    <a:lnTo>
                      <a:pt x="757" y="534"/>
                    </a:lnTo>
                    <a:lnTo>
                      <a:pt x="738" y="576"/>
                    </a:lnTo>
                    <a:lnTo>
                      <a:pt x="714" y="616"/>
                    </a:lnTo>
                    <a:lnTo>
                      <a:pt x="685" y="652"/>
                    </a:lnTo>
                    <a:lnTo>
                      <a:pt x="652" y="685"/>
                    </a:lnTo>
                    <a:lnTo>
                      <a:pt x="616" y="714"/>
                    </a:lnTo>
                    <a:lnTo>
                      <a:pt x="576" y="738"/>
                    </a:lnTo>
                    <a:lnTo>
                      <a:pt x="534" y="757"/>
                    </a:lnTo>
                    <a:lnTo>
                      <a:pt x="488" y="772"/>
                    </a:lnTo>
                    <a:lnTo>
                      <a:pt x="441" y="781"/>
                    </a:lnTo>
                    <a:lnTo>
                      <a:pt x="392" y="783"/>
                    </a:lnTo>
                    <a:lnTo>
                      <a:pt x="343" y="781"/>
                    </a:lnTo>
                    <a:lnTo>
                      <a:pt x="296" y="772"/>
                    </a:lnTo>
                    <a:lnTo>
                      <a:pt x="250" y="757"/>
                    </a:lnTo>
                    <a:lnTo>
                      <a:pt x="208" y="738"/>
                    </a:lnTo>
                    <a:lnTo>
                      <a:pt x="168" y="714"/>
                    </a:lnTo>
                    <a:lnTo>
                      <a:pt x="132" y="685"/>
                    </a:lnTo>
                    <a:lnTo>
                      <a:pt x="99" y="652"/>
                    </a:lnTo>
                    <a:lnTo>
                      <a:pt x="70" y="616"/>
                    </a:lnTo>
                    <a:lnTo>
                      <a:pt x="46" y="576"/>
                    </a:lnTo>
                    <a:lnTo>
                      <a:pt x="26" y="534"/>
                    </a:lnTo>
                    <a:lnTo>
                      <a:pt x="12" y="488"/>
                    </a:lnTo>
                    <a:lnTo>
                      <a:pt x="3" y="441"/>
                    </a:lnTo>
                    <a:lnTo>
                      <a:pt x="0" y="392"/>
                    </a:lnTo>
                    <a:lnTo>
                      <a:pt x="3" y="343"/>
                    </a:lnTo>
                    <a:lnTo>
                      <a:pt x="12" y="296"/>
                    </a:lnTo>
                    <a:lnTo>
                      <a:pt x="26" y="250"/>
                    </a:lnTo>
                    <a:lnTo>
                      <a:pt x="46" y="208"/>
                    </a:lnTo>
                    <a:lnTo>
                      <a:pt x="70" y="168"/>
                    </a:lnTo>
                    <a:lnTo>
                      <a:pt x="99" y="132"/>
                    </a:lnTo>
                    <a:lnTo>
                      <a:pt x="132" y="99"/>
                    </a:lnTo>
                    <a:lnTo>
                      <a:pt x="168" y="70"/>
                    </a:lnTo>
                    <a:lnTo>
                      <a:pt x="208" y="46"/>
                    </a:lnTo>
                    <a:lnTo>
                      <a:pt x="250" y="26"/>
                    </a:lnTo>
                    <a:lnTo>
                      <a:pt x="296" y="12"/>
                    </a:lnTo>
                    <a:lnTo>
                      <a:pt x="343" y="3"/>
                    </a:lnTo>
                    <a:lnTo>
                      <a:pt x="39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199" name="Freeform 132"/>
              <p:cNvSpPr>
                <a:spLocks/>
              </p:cNvSpPr>
              <p:nvPr/>
            </p:nvSpPr>
            <p:spPr bwMode="auto">
              <a:xfrm>
                <a:off x="9069795" y="2817481"/>
                <a:ext cx="284163" cy="215900"/>
              </a:xfrm>
              <a:custGeom>
                <a:avLst/>
                <a:gdLst/>
                <a:ahLst/>
                <a:cxnLst>
                  <a:cxn ang="0">
                    <a:pos x="392" y="0"/>
                  </a:cxn>
                  <a:cxn ang="0">
                    <a:pos x="1064" y="0"/>
                  </a:cxn>
                  <a:cxn ang="0">
                    <a:pos x="1071" y="0"/>
                  </a:cxn>
                  <a:cxn ang="0">
                    <a:pos x="1077" y="0"/>
                  </a:cxn>
                  <a:cxn ang="0">
                    <a:pos x="1069" y="37"/>
                  </a:cxn>
                  <a:cxn ang="0">
                    <a:pos x="1065" y="74"/>
                  </a:cxn>
                  <a:cxn ang="0">
                    <a:pos x="1064" y="112"/>
                  </a:cxn>
                  <a:cxn ang="0">
                    <a:pos x="1067" y="171"/>
                  </a:cxn>
                  <a:cxn ang="0">
                    <a:pos x="1077" y="227"/>
                  </a:cxn>
                  <a:cxn ang="0">
                    <a:pos x="1093" y="282"/>
                  </a:cxn>
                  <a:cxn ang="0">
                    <a:pos x="1115" y="334"/>
                  </a:cxn>
                  <a:cxn ang="0">
                    <a:pos x="1142" y="382"/>
                  </a:cxn>
                  <a:cxn ang="0">
                    <a:pos x="1175" y="427"/>
                  </a:cxn>
                  <a:cxn ang="0">
                    <a:pos x="1212" y="468"/>
                  </a:cxn>
                  <a:cxn ang="0">
                    <a:pos x="1253" y="505"/>
                  </a:cxn>
                  <a:cxn ang="0">
                    <a:pos x="1232" y="504"/>
                  </a:cxn>
                  <a:cxn ang="0">
                    <a:pos x="1173" y="508"/>
                  </a:cxn>
                  <a:cxn ang="0">
                    <a:pos x="1116" y="517"/>
                  </a:cxn>
                  <a:cxn ang="0">
                    <a:pos x="1062" y="534"/>
                  </a:cxn>
                  <a:cxn ang="0">
                    <a:pos x="1010" y="555"/>
                  </a:cxn>
                  <a:cxn ang="0">
                    <a:pos x="961" y="583"/>
                  </a:cxn>
                  <a:cxn ang="0">
                    <a:pos x="916" y="615"/>
                  </a:cxn>
                  <a:cxn ang="0">
                    <a:pos x="875" y="653"/>
                  </a:cxn>
                  <a:cxn ang="0">
                    <a:pos x="838" y="694"/>
                  </a:cxn>
                  <a:cxn ang="0">
                    <a:pos x="806" y="739"/>
                  </a:cxn>
                  <a:cxn ang="0">
                    <a:pos x="778" y="788"/>
                  </a:cxn>
                  <a:cxn ang="0">
                    <a:pos x="757" y="840"/>
                  </a:cxn>
                  <a:cxn ang="0">
                    <a:pos x="740" y="895"/>
                  </a:cxn>
                  <a:cxn ang="0">
                    <a:pos x="732" y="952"/>
                  </a:cxn>
                  <a:cxn ang="0">
                    <a:pos x="0" y="952"/>
                  </a:cxn>
                  <a:cxn ang="0">
                    <a:pos x="0" y="392"/>
                  </a:cxn>
                  <a:cxn ang="0">
                    <a:pos x="3" y="343"/>
                  </a:cxn>
                  <a:cxn ang="0">
                    <a:pos x="12" y="296"/>
                  </a:cxn>
                  <a:cxn ang="0">
                    <a:pos x="27" y="250"/>
                  </a:cxn>
                  <a:cxn ang="0">
                    <a:pos x="46" y="208"/>
                  </a:cxn>
                  <a:cxn ang="0">
                    <a:pos x="70" y="168"/>
                  </a:cxn>
                  <a:cxn ang="0">
                    <a:pos x="99" y="132"/>
                  </a:cxn>
                  <a:cxn ang="0">
                    <a:pos x="131" y="99"/>
                  </a:cxn>
                  <a:cxn ang="0">
                    <a:pos x="168" y="70"/>
                  </a:cxn>
                  <a:cxn ang="0">
                    <a:pos x="208" y="46"/>
                  </a:cxn>
                  <a:cxn ang="0">
                    <a:pos x="251" y="26"/>
                  </a:cxn>
                  <a:cxn ang="0">
                    <a:pos x="295" y="12"/>
                  </a:cxn>
                  <a:cxn ang="0">
                    <a:pos x="343" y="3"/>
                  </a:cxn>
                  <a:cxn ang="0">
                    <a:pos x="392" y="0"/>
                  </a:cxn>
                </a:cxnLst>
                <a:rect l="0" t="0" r="r" b="b"/>
                <a:pathLst>
                  <a:path w="1253" h="952">
                    <a:moveTo>
                      <a:pt x="392" y="0"/>
                    </a:moveTo>
                    <a:lnTo>
                      <a:pt x="1064" y="0"/>
                    </a:lnTo>
                    <a:lnTo>
                      <a:pt x="1071" y="0"/>
                    </a:lnTo>
                    <a:lnTo>
                      <a:pt x="1077" y="0"/>
                    </a:lnTo>
                    <a:lnTo>
                      <a:pt x="1069" y="37"/>
                    </a:lnTo>
                    <a:lnTo>
                      <a:pt x="1065" y="74"/>
                    </a:lnTo>
                    <a:lnTo>
                      <a:pt x="1064" y="112"/>
                    </a:lnTo>
                    <a:lnTo>
                      <a:pt x="1067" y="171"/>
                    </a:lnTo>
                    <a:lnTo>
                      <a:pt x="1077" y="227"/>
                    </a:lnTo>
                    <a:lnTo>
                      <a:pt x="1093" y="282"/>
                    </a:lnTo>
                    <a:lnTo>
                      <a:pt x="1115" y="334"/>
                    </a:lnTo>
                    <a:lnTo>
                      <a:pt x="1142" y="382"/>
                    </a:lnTo>
                    <a:lnTo>
                      <a:pt x="1175" y="427"/>
                    </a:lnTo>
                    <a:lnTo>
                      <a:pt x="1212" y="468"/>
                    </a:lnTo>
                    <a:lnTo>
                      <a:pt x="1253" y="505"/>
                    </a:lnTo>
                    <a:lnTo>
                      <a:pt x="1232" y="504"/>
                    </a:lnTo>
                    <a:lnTo>
                      <a:pt x="1173" y="508"/>
                    </a:lnTo>
                    <a:lnTo>
                      <a:pt x="1116" y="517"/>
                    </a:lnTo>
                    <a:lnTo>
                      <a:pt x="1062" y="534"/>
                    </a:lnTo>
                    <a:lnTo>
                      <a:pt x="1010" y="555"/>
                    </a:lnTo>
                    <a:lnTo>
                      <a:pt x="961" y="583"/>
                    </a:lnTo>
                    <a:lnTo>
                      <a:pt x="916" y="615"/>
                    </a:lnTo>
                    <a:lnTo>
                      <a:pt x="875" y="653"/>
                    </a:lnTo>
                    <a:lnTo>
                      <a:pt x="838" y="694"/>
                    </a:lnTo>
                    <a:lnTo>
                      <a:pt x="806" y="739"/>
                    </a:lnTo>
                    <a:lnTo>
                      <a:pt x="778" y="788"/>
                    </a:lnTo>
                    <a:lnTo>
                      <a:pt x="757" y="840"/>
                    </a:lnTo>
                    <a:lnTo>
                      <a:pt x="740" y="895"/>
                    </a:lnTo>
                    <a:lnTo>
                      <a:pt x="732" y="952"/>
                    </a:lnTo>
                    <a:lnTo>
                      <a:pt x="0" y="952"/>
                    </a:lnTo>
                    <a:lnTo>
                      <a:pt x="0" y="392"/>
                    </a:lnTo>
                    <a:lnTo>
                      <a:pt x="3" y="343"/>
                    </a:lnTo>
                    <a:lnTo>
                      <a:pt x="12" y="296"/>
                    </a:lnTo>
                    <a:lnTo>
                      <a:pt x="27" y="250"/>
                    </a:lnTo>
                    <a:lnTo>
                      <a:pt x="46" y="208"/>
                    </a:lnTo>
                    <a:lnTo>
                      <a:pt x="70" y="168"/>
                    </a:lnTo>
                    <a:lnTo>
                      <a:pt x="99" y="132"/>
                    </a:lnTo>
                    <a:lnTo>
                      <a:pt x="131" y="99"/>
                    </a:lnTo>
                    <a:lnTo>
                      <a:pt x="168" y="70"/>
                    </a:lnTo>
                    <a:lnTo>
                      <a:pt x="208" y="46"/>
                    </a:lnTo>
                    <a:lnTo>
                      <a:pt x="251" y="26"/>
                    </a:lnTo>
                    <a:lnTo>
                      <a:pt x="295" y="12"/>
                    </a:lnTo>
                    <a:lnTo>
                      <a:pt x="343" y="3"/>
                    </a:lnTo>
                    <a:lnTo>
                      <a:pt x="39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200" name="Freeform 133"/>
              <p:cNvSpPr>
                <a:spLocks/>
              </p:cNvSpPr>
              <p:nvPr/>
            </p:nvSpPr>
            <p:spPr bwMode="auto">
              <a:xfrm>
                <a:off x="9526995" y="2614281"/>
                <a:ext cx="177800" cy="177800"/>
              </a:xfrm>
              <a:custGeom>
                <a:avLst/>
                <a:gdLst/>
                <a:ahLst/>
                <a:cxnLst>
                  <a:cxn ang="0">
                    <a:pos x="391" y="0"/>
                  </a:cxn>
                  <a:cxn ang="0">
                    <a:pos x="440" y="3"/>
                  </a:cxn>
                  <a:cxn ang="0">
                    <a:pos x="487" y="12"/>
                  </a:cxn>
                  <a:cxn ang="0">
                    <a:pos x="533" y="26"/>
                  </a:cxn>
                  <a:cxn ang="0">
                    <a:pos x="575" y="46"/>
                  </a:cxn>
                  <a:cxn ang="0">
                    <a:pos x="615" y="70"/>
                  </a:cxn>
                  <a:cxn ang="0">
                    <a:pos x="651" y="99"/>
                  </a:cxn>
                  <a:cxn ang="0">
                    <a:pos x="684" y="132"/>
                  </a:cxn>
                  <a:cxn ang="0">
                    <a:pos x="713" y="168"/>
                  </a:cxn>
                  <a:cxn ang="0">
                    <a:pos x="737" y="208"/>
                  </a:cxn>
                  <a:cxn ang="0">
                    <a:pos x="757" y="250"/>
                  </a:cxn>
                  <a:cxn ang="0">
                    <a:pos x="771" y="296"/>
                  </a:cxn>
                  <a:cxn ang="0">
                    <a:pos x="780" y="343"/>
                  </a:cxn>
                  <a:cxn ang="0">
                    <a:pos x="783" y="392"/>
                  </a:cxn>
                  <a:cxn ang="0">
                    <a:pos x="780" y="441"/>
                  </a:cxn>
                  <a:cxn ang="0">
                    <a:pos x="771" y="488"/>
                  </a:cxn>
                  <a:cxn ang="0">
                    <a:pos x="757" y="534"/>
                  </a:cxn>
                  <a:cxn ang="0">
                    <a:pos x="737" y="576"/>
                  </a:cxn>
                  <a:cxn ang="0">
                    <a:pos x="713" y="616"/>
                  </a:cxn>
                  <a:cxn ang="0">
                    <a:pos x="684" y="652"/>
                  </a:cxn>
                  <a:cxn ang="0">
                    <a:pos x="651" y="685"/>
                  </a:cxn>
                  <a:cxn ang="0">
                    <a:pos x="615" y="714"/>
                  </a:cxn>
                  <a:cxn ang="0">
                    <a:pos x="575" y="738"/>
                  </a:cxn>
                  <a:cxn ang="0">
                    <a:pos x="533" y="757"/>
                  </a:cxn>
                  <a:cxn ang="0">
                    <a:pos x="487" y="772"/>
                  </a:cxn>
                  <a:cxn ang="0">
                    <a:pos x="440" y="781"/>
                  </a:cxn>
                  <a:cxn ang="0">
                    <a:pos x="391" y="783"/>
                  </a:cxn>
                  <a:cxn ang="0">
                    <a:pos x="342" y="781"/>
                  </a:cxn>
                  <a:cxn ang="0">
                    <a:pos x="295" y="772"/>
                  </a:cxn>
                  <a:cxn ang="0">
                    <a:pos x="249" y="757"/>
                  </a:cxn>
                  <a:cxn ang="0">
                    <a:pos x="207" y="738"/>
                  </a:cxn>
                  <a:cxn ang="0">
                    <a:pos x="167" y="714"/>
                  </a:cxn>
                  <a:cxn ang="0">
                    <a:pos x="131" y="685"/>
                  </a:cxn>
                  <a:cxn ang="0">
                    <a:pos x="98" y="652"/>
                  </a:cxn>
                  <a:cxn ang="0">
                    <a:pos x="69" y="616"/>
                  </a:cxn>
                  <a:cxn ang="0">
                    <a:pos x="45" y="576"/>
                  </a:cxn>
                  <a:cxn ang="0">
                    <a:pos x="26" y="534"/>
                  </a:cxn>
                  <a:cxn ang="0">
                    <a:pos x="11" y="488"/>
                  </a:cxn>
                  <a:cxn ang="0">
                    <a:pos x="2" y="441"/>
                  </a:cxn>
                  <a:cxn ang="0">
                    <a:pos x="0" y="392"/>
                  </a:cxn>
                  <a:cxn ang="0">
                    <a:pos x="2" y="343"/>
                  </a:cxn>
                  <a:cxn ang="0">
                    <a:pos x="11" y="296"/>
                  </a:cxn>
                  <a:cxn ang="0">
                    <a:pos x="26" y="250"/>
                  </a:cxn>
                  <a:cxn ang="0">
                    <a:pos x="45" y="208"/>
                  </a:cxn>
                  <a:cxn ang="0">
                    <a:pos x="69" y="168"/>
                  </a:cxn>
                  <a:cxn ang="0">
                    <a:pos x="98" y="132"/>
                  </a:cxn>
                  <a:cxn ang="0">
                    <a:pos x="131" y="99"/>
                  </a:cxn>
                  <a:cxn ang="0">
                    <a:pos x="167" y="70"/>
                  </a:cxn>
                  <a:cxn ang="0">
                    <a:pos x="207" y="46"/>
                  </a:cxn>
                  <a:cxn ang="0">
                    <a:pos x="249" y="26"/>
                  </a:cxn>
                  <a:cxn ang="0">
                    <a:pos x="295" y="12"/>
                  </a:cxn>
                  <a:cxn ang="0">
                    <a:pos x="342" y="3"/>
                  </a:cxn>
                  <a:cxn ang="0">
                    <a:pos x="391" y="0"/>
                  </a:cxn>
                </a:cxnLst>
                <a:rect l="0" t="0" r="r" b="b"/>
                <a:pathLst>
                  <a:path w="783" h="783">
                    <a:moveTo>
                      <a:pt x="391" y="0"/>
                    </a:moveTo>
                    <a:lnTo>
                      <a:pt x="440" y="3"/>
                    </a:lnTo>
                    <a:lnTo>
                      <a:pt x="487" y="12"/>
                    </a:lnTo>
                    <a:lnTo>
                      <a:pt x="533" y="26"/>
                    </a:lnTo>
                    <a:lnTo>
                      <a:pt x="575" y="46"/>
                    </a:lnTo>
                    <a:lnTo>
                      <a:pt x="615" y="70"/>
                    </a:lnTo>
                    <a:lnTo>
                      <a:pt x="651" y="99"/>
                    </a:lnTo>
                    <a:lnTo>
                      <a:pt x="684" y="132"/>
                    </a:lnTo>
                    <a:lnTo>
                      <a:pt x="713" y="168"/>
                    </a:lnTo>
                    <a:lnTo>
                      <a:pt x="737" y="208"/>
                    </a:lnTo>
                    <a:lnTo>
                      <a:pt x="757" y="250"/>
                    </a:lnTo>
                    <a:lnTo>
                      <a:pt x="771" y="296"/>
                    </a:lnTo>
                    <a:lnTo>
                      <a:pt x="780" y="343"/>
                    </a:lnTo>
                    <a:lnTo>
                      <a:pt x="783" y="392"/>
                    </a:lnTo>
                    <a:lnTo>
                      <a:pt x="780" y="441"/>
                    </a:lnTo>
                    <a:lnTo>
                      <a:pt x="771" y="488"/>
                    </a:lnTo>
                    <a:lnTo>
                      <a:pt x="757" y="534"/>
                    </a:lnTo>
                    <a:lnTo>
                      <a:pt x="737" y="576"/>
                    </a:lnTo>
                    <a:lnTo>
                      <a:pt x="713" y="616"/>
                    </a:lnTo>
                    <a:lnTo>
                      <a:pt x="684" y="652"/>
                    </a:lnTo>
                    <a:lnTo>
                      <a:pt x="651" y="685"/>
                    </a:lnTo>
                    <a:lnTo>
                      <a:pt x="615" y="714"/>
                    </a:lnTo>
                    <a:lnTo>
                      <a:pt x="575" y="738"/>
                    </a:lnTo>
                    <a:lnTo>
                      <a:pt x="533" y="757"/>
                    </a:lnTo>
                    <a:lnTo>
                      <a:pt x="487" y="772"/>
                    </a:lnTo>
                    <a:lnTo>
                      <a:pt x="440" y="781"/>
                    </a:lnTo>
                    <a:lnTo>
                      <a:pt x="391" y="783"/>
                    </a:lnTo>
                    <a:lnTo>
                      <a:pt x="342" y="781"/>
                    </a:lnTo>
                    <a:lnTo>
                      <a:pt x="295" y="772"/>
                    </a:lnTo>
                    <a:lnTo>
                      <a:pt x="249" y="757"/>
                    </a:lnTo>
                    <a:lnTo>
                      <a:pt x="207" y="738"/>
                    </a:lnTo>
                    <a:lnTo>
                      <a:pt x="167" y="714"/>
                    </a:lnTo>
                    <a:lnTo>
                      <a:pt x="131" y="685"/>
                    </a:lnTo>
                    <a:lnTo>
                      <a:pt x="98" y="652"/>
                    </a:lnTo>
                    <a:lnTo>
                      <a:pt x="69" y="616"/>
                    </a:lnTo>
                    <a:lnTo>
                      <a:pt x="45" y="576"/>
                    </a:lnTo>
                    <a:lnTo>
                      <a:pt x="26" y="534"/>
                    </a:lnTo>
                    <a:lnTo>
                      <a:pt x="11" y="488"/>
                    </a:lnTo>
                    <a:lnTo>
                      <a:pt x="2" y="441"/>
                    </a:lnTo>
                    <a:lnTo>
                      <a:pt x="0" y="392"/>
                    </a:lnTo>
                    <a:lnTo>
                      <a:pt x="2" y="343"/>
                    </a:lnTo>
                    <a:lnTo>
                      <a:pt x="11" y="296"/>
                    </a:lnTo>
                    <a:lnTo>
                      <a:pt x="26" y="250"/>
                    </a:lnTo>
                    <a:lnTo>
                      <a:pt x="45" y="208"/>
                    </a:lnTo>
                    <a:lnTo>
                      <a:pt x="69" y="168"/>
                    </a:lnTo>
                    <a:lnTo>
                      <a:pt x="98" y="132"/>
                    </a:lnTo>
                    <a:lnTo>
                      <a:pt x="131" y="99"/>
                    </a:lnTo>
                    <a:lnTo>
                      <a:pt x="167" y="70"/>
                    </a:lnTo>
                    <a:lnTo>
                      <a:pt x="207" y="46"/>
                    </a:lnTo>
                    <a:lnTo>
                      <a:pt x="249" y="26"/>
                    </a:lnTo>
                    <a:lnTo>
                      <a:pt x="295" y="12"/>
                    </a:lnTo>
                    <a:lnTo>
                      <a:pt x="342" y="3"/>
                    </a:lnTo>
                    <a:lnTo>
                      <a:pt x="3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201" name="Freeform 134"/>
              <p:cNvSpPr>
                <a:spLocks/>
              </p:cNvSpPr>
              <p:nvPr/>
            </p:nvSpPr>
            <p:spPr bwMode="auto">
              <a:xfrm>
                <a:off x="9496833" y="2817481"/>
                <a:ext cx="284163" cy="215900"/>
              </a:xfrm>
              <a:custGeom>
                <a:avLst/>
                <a:gdLst/>
                <a:ahLst/>
                <a:cxnLst>
                  <a:cxn ang="0">
                    <a:pos x="189" y="0"/>
                  </a:cxn>
                  <a:cxn ang="0">
                    <a:pos x="861" y="0"/>
                  </a:cxn>
                  <a:cxn ang="0">
                    <a:pos x="910" y="3"/>
                  </a:cxn>
                  <a:cxn ang="0">
                    <a:pos x="958" y="12"/>
                  </a:cxn>
                  <a:cxn ang="0">
                    <a:pos x="1002" y="26"/>
                  </a:cxn>
                  <a:cxn ang="0">
                    <a:pos x="1045" y="46"/>
                  </a:cxn>
                  <a:cxn ang="0">
                    <a:pos x="1085" y="70"/>
                  </a:cxn>
                  <a:cxn ang="0">
                    <a:pos x="1122" y="99"/>
                  </a:cxn>
                  <a:cxn ang="0">
                    <a:pos x="1154" y="132"/>
                  </a:cxn>
                  <a:cxn ang="0">
                    <a:pos x="1183" y="168"/>
                  </a:cxn>
                  <a:cxn ang="0">
                    <a:pos x="1207" y="208"/>
                  </a:cxn>
                  <a:cxn ang="0">
                    <a:pos x="1226" y="250"/>
                  </a:cxn>
                  <a:cxn ang="0">
                    <a:pos x="1241" y="296"/>
                  </a:cxn>
                  <a:cxn ang="0">
                    <a:pos x="1250" y="343"/>
                  </a:cxn>
                  <a:cxn ang="0">
                    <a:pos x="1253" y="392"/>
                  </a:cxn>
                  <a:cxn ang="0">
                    <a:pos x="1253" y="952"/>
                  </a:cxn>
                  <a:cxn ang="0">
                    <a:pos x="521" y="952"/>
                  </a:cxn>
                  <a:cxn ang="0">
                    <a:pos x="513" y="895"/>
                  </a:cxn>
                  <a:cxn ang="0">
                    <a:pos x="496" y="840"/>
                  </a:cxn>
                  <a:cxn ang="0">
                    <a:pos x="475" y="788"/>
                  </a:cxn>
                  <a:cxn ang="0">
                    <a:pos x="447" y="739"/>
                  </a:cxn>
                  <a:cxn ang="0">
                    <a:pos x="415" y="694"/>
                  </a:cxn>
                  <a:cxn ang="0">
                    <a:pos x="378" y="653"/>
                  </a:cxn>
                  <a:cxn ang="0">
                    <a:pos x="337" y="615"/>
                  </a:cxn>
                  <a:cxn ang="0">
                    <a:pos x="292" y="583"/>
                  </a:cxn>
                  <a:cxn ang="0">
                    <a:pos x="243" y="555"/>
                  </a:cxn>
                  <a:cxn ang="0">
                    <a:pos x="191" y="534"/>
                  </a:cxn>
                  <a:cxn ang="0">
                    <a:pos x="137" y="517"/>
                  </a:cxn>
                  <a:cxn ang="0">
                    <a:pos x="80" y="508"/>
                  </a:cxn>
                  <a:cxn ang="0">
                    <a:pos x="21" y="504"/>
                  </a:cxn>
                  <a:cxn ang="0">
                    <a:pos x="0" y="505"/>
                  </a:cxn>
                  <a:cxn ang="0">
                    <a:pos x="41" y="468"/>
                  </a:cxn>
                  <a:cxn ang="0">
                    <a:pos x="78" y="427"/>
                  </a:cxn>
                  <a:cxn ang="0">
                    <a:pos x="111" y="382"/>
                  </a:cxn>
                  <a:cxn ang="0">
                    <a:pos x="138" y="334"/>
                  </a:cxn>
                  <a:cxn ang="0">
                    <a:pos x="160" y="282"/>
                  </a:cxn>
                  <a:cxn ang="0">
                    <a:pos x="176" y="227"/>
                  </a:cxn>
                  <a:cxn ang="0">
                    <a:pos x="186" y="171"/>
                  </a:cxn>
                  <a:cxn ang="0">
                    <a:pos x="189" y="112"/>
                  </a:cxn>
                  <a:cxn ang="0">
                    <a:pos x="188" y="74"/>
                  </a:cxn>
                  <a:cxn ang="0">
                    <a:pos x="184" y="37"/>
                  </a:cxn>
                  <a:cxn ang="0">
                    <a:pos x="176" y="0"/>
                  </a:cxn>
                  <a:cxn ang="0">
                    <a:pos x="182" y="0"/>
                  </a:cxn>
                  <a:cxn ang="0">
                    <a:pos x="189" y="0"/>
                  </a:cxn>
                </a:cxnLst>
                <a:rect l="0" t="0" r="r" b="b"/>
                <a:pathLst>
                  <a:path w="1253" h="952">
                    <a:moveTo>
                      <a:pt x="189" y="0"/>
                    </a:moveTo>
                    <a:lnTo>
                      <a:pt x="861" y="0"/>
                    </a:lnTo>
                    <a:lnTo>
                      <a:pt x="910" y="3"/>
                    </a:lnTo>
                    <a:lnTo>
                      <a:pt x="958" y="12"/>
                    </a:lnTo>
                    <a:lnTo>
                      <a:pt x="1002" y="26"/>
                    </a:lnTo>
                    <a:lnTo>
                      <a:pt x="1045" y="46"/>
                    </a:lnTo>
                    <a:lnTo>
                      <a:pt x="1085" y="70"/>
                    </a:lnTo>
                    <a:lnTo>
                      <a:pt x="1122" y="99"/>
                    </a:lnTo>
                    <a:lnTo>
                      <a:pt x="1154" y="132"/>
                    </a:lnTo>
                    <a:lnTo>
                      <a:pt x="1183" y="168"/>
                    </a:lnTo>
                    <a:lnTo>
                      <a:pt x="1207" y="208"/>
                    </a:lnTo>
                    <a:lnTo>
                      <a:pt x="1226" y="250"/>
                    </a:lnTo>
                    <a:lnTo>
                      <a:pt x="1241" y="296"/>
                    </a:lnTo>
                    <a:lnTo>
                      <a:pt x="1250" y="343"/>
                    </a:lnTo>
                    <a:lnTo>
                      <a:pt x="1253" y="392"/>
                    </a:lnTo>
                    <a:lnTo>
                      <a:pt x="1253" y="952"/>
                    </a:lnTo>
                    <a:lnTo>
                      <a:pt x="521" y="952"/>
                    </a:lnTo>
                    <a:lnTo>
                      <a:pt x="513" y="895"/>
                    </a:lnTo>
                    <a:lnTo>
                      <a:pt x="496" y="840"/>
                    </a:lnTo>
                    <a:lnTo>
                      <a:pt x="475" y="788"/>
                    </a:lnTo>
                    <a:lnTo>
                      <a:pt x="447" y="739"/>
                    </a:lnTo>
                    <a:lnTo>
                      <a:pt x="415" y="694"/>
                    </a:lnTo>
                    <a:lnTo>
                      <a:pt x="378" y="653"/>
                    </a:lnTo>
                    <a:lnTo>
                      <a:pt x="337" y="615"/>
                    </a:lnTo>
                    <a:lnTo>
                      <a:pt x="292" y="583"/>
                    </a:lnTo>
                    <a:lnTo>
                      <a:pt x="243" y="555"/>
                    </a:lnTo>
                    <a:lnTo>
                      <a:pt x="191" y="534"/>
                    </a:lnTo>
                    <a:lnTo>
                      <a:pt x="137" y="517"/>
                    </a:lnTo>
                    <a:lnTo>
                      <a:pt x="80" y="508"/>
                    </a:lnTo>
                    <a:lnTo>
                      <a:pt x="21" y="504"/>
                    </a:lnTo>
                    <a:lnTo>
                      <a:pt x="0" y="505"/>
                    </a:lnTo>
                    <a:lnTo>
                      <a:pt x="41" y="468"/>
                    </a:lnTo>
                    <a:lnTo>
                      <a:pt x="78" y="427"/>
                    </a:lnTo>
                    <a:lnTo>
                      <a:pt x="111" y="382"/>
                    </a:lnTo>
                    <a:lnTo>
                      <a:pt x="138" y="334"/>
                    </a:lnTo>
                    <a:lnTo>
                      <a:pt x="160" y="282"/>
                    </a:lnTo>
                    <a:lnTo>
                      <a:pt x="176" y="227"/>
                    </a:lnTo>
                    <a:lnTo>
                      <a:pt x="186" y="171"/>
                    </a:lnTo>
                    <a:lnTo>
                      <a:pt x="189" y="112"/>
                    </a:lnTo>
                    <a:lnTo>
                      <a:pt x="188" y="74"/>
                    </a:lnTo>
                    <a:lnTo>
                      <a:pt x="184" y="37"/>
                    </a:lnTo>
                    <a:lnTo>
                      <a:pt x="176" y="0"/>
                    </a:lnTo>
                    <a:lnTo>
                      <a:pt x="182" y="0"/>
                    </a:lnTo>
                    <a:lnTo>
                      <a:pt x="18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202" name="Freeform 135"/>
              <p:cNvSpPr>
                <a:spLocks/>
              </p:cNvSpPr>
              <p:nvPr/>
            </p:nvSpPr>
            <p:spPr bwMode="auto">
              <a:xfrm>
                <a:off x="9336495" y="2753981"/>
                <a:ext cx="177800" cy="177800"/>
              </a:xfrm>
              <a:custGeom>
                <a:avLst/>
                <a:gdLst/>
                <a:ahLst/>
                <a:cxnLst>
                  <a:cxn ang="0">
                    <a:pos x="392" y="0"/>
                  </a:cxn>
                  <a:cxn ang="0">
                    <a:pos x="441" y="3"/>
                  </a:cxn>
                  <a:cxn ang="0">
                    <a:pos x="489" y="12"/>
                  </a:cxn>
                  <a:cxn ang="0">
                    <a:pos x="533" y="26"/>
                  </a:cxn>
                  <a:cxn ang="0">
                    <a:pos x="577" y="46"/>
                  </a:cxn>
                  <a:cxn ang="0">
                    <a:pos x="616" y="70"/>
                  </a:cxn>
                  <a:cxn ang="0">
                    <a:pos x="653" y="99"/>
                  </a:cxn>
                  <a:cxn ang="0">
                    <a:pos x="685" y="132"/>
                  </a:cxn>
                  <a:cxn ang="0">
                    <a:pos x="713" y="169"/>
                  </a:cxn>
                  <a:cxn ang="0">
                    <a:pos x="738" y="208"/>
                  </a:cxn>
                  <a:cxn ang="0">
                    <a:pos x="758" y="250"/>
                  </a:cxn>
                  <a:cxn ang="0">
                    <a:pos x="772" y="296"/>
                  </a:cxn>
                  <a:cxn ang="0">
                    <a:pos x="781" y="342"/>
                  </a:cxn>
                  <a:cxn ang="0">
                    <a:pos x="784" y="392"/>
                  </a:cxn>
                  <a:cxn ang="0">
                    <a:pos x="781" y="441"/>
                  </a:cxn>
                  <a:cxn ang="0">
                    <a:pos x="772" y="489"/>
                  </a:cxn>
                  <a:cxn ang="0">
                    <a:pos x="758" y="533"/>
                  </a:cxn>
                  <a:cxn ang="0">
                    <a:pos x="738" y="576"/>
                  </a:cxn>
                  <a:cxn ang="0">
                    <a:pos x="713" y="615"/>
                  </a:cxn>
                  <a:cxn ang="0">
                    <a:pos x="685" y="652"/>
                  </a:cxn>
                  <a:cxn ang="0">
                    <a:pos x="653" y="686"/>
                  </a:cxn>
                  <a:cxn ang="0">
                    <a:pos x="616" y="714"/>
                  </a:cxn>
                  <a:cxn ang="0">
                    <a:pos x="577" y="738"/>
                  </a:cxn>
                  <a:cxn ang="0">
                    <a:pos x="533" y="757"/>
                  </a:cxn>
                  <a:cxn ang="0">
                    <a:pos x="489" y="772"/>
                  </a:cxn>
                  <a:cxn ang="0">
                    <a:pos x="441" y="781"/>
                  </a:cxn>
                  <a:cxn ang="0">
                    <a:pos x="392" y="784"/>
                  </a:cxn>
                  <a:cxn ang="0">
                    <a:pos x="343" y="781"/>
                  </a:cxn>
                  <a:cxn ang="0">
                    <a:pos x="295" y="772"/>
                  </a:cxn>
                  <a:cxn ang="0">
                    <a:pos x="251" y="757"/>
                  </a:cxn>
                  <a:cxn ang="0">
                    <a:pos x="207" y="738"/>
                  </a:cxn>
                  <a:cxn ang="0">
                    <a:pos x="168" y="714"/>
                  </a:cxn>
                  <a:cxn ang="0">
                    <a:pos x="131" y="686"/>
                  </a:cxn>
                  <a:cxn ang="0">
                    <a:pos x="99" y="652"/>
                  </a:cxn>
                  <a:cxn ang="0">
                    <a:pos x="71" y="615"/>
                  </a:cxn>
                  <a:cxn ang="0">
                    <a:pos x="46" y="576"/>
                  </a:cxn>
                  <a:cxn ang="0">
                    <a:pos x="26" y="533"/>
                  </a:cxn>
                  <a:cxn ang="0">
                    <a:pos x="12" y="489"/>
                  </a:cxn>
                  <a:cxn ang="0">
                    <a:pos x="3" y="441"/>
                  </a:cxn>
                  <a:cxn ang="0">
                    <a:pos x="0" y="392"/>
                  </a:cxn>
                  <a:cxn ang="0">
                    <a:pos x="3" y="342"/>
                  </a:cxn>
                  <a:cxn ang="0">
                    <a:pos x="12" y="296"/>
                  </a:cxn>
                  <a:cxn ang="0">
                    <a:pos x="26" y="250"/>
                  </a:cxn>
                  <a:cxn ang="0">
                    <a:pos x="46" y="208"/>
                  </a:cxn>
                  <a:cxn ang="0">
                    <a:pos x="71" y="169"/>
                  </a:cxn>
                  <a:cxn ang="0">
                    <a:pos x="99" y="132"/>
                  </a:cxn>
                  <a:cxn ang="0">
                    <a:pos x="131" y="99"/>
                  </a:cxn>
                  <a:cxn ang="0">
                    <a:pos x="168" y="70"/>
                  </a:cxn>
                  <a:cxn ang="0">
                    <a:pos x="207" y="46"/>
                  </a:cxn>
                  <a:cxn ang="0">
                    <a:pos x="251" y="26"/>
                  </a:cxn>
                  <a:cxn ang="0">
                    <a:pos x="295" y="12"/>
                  </a:cxn>
                  <a:cxn ang="0">
                    <a:pos x="343" y="3"/>
                  </a:cxn>
                  <a:cxn ang="0">
                    <a:pos x="392" y="0"/>
                  </a:cxn>
                </a:cxnLst>
                <a:rect l="0" t="0" r="r" b="b"/>
                <a:pathLst>
                  <a:path w="784" h="784">
                    <a:moveTo>
                      <a:pt x="392" y="0"/>
                    </a:moveTo>
                    <a:lnTo>
                      <a:pt x="441" y="3"/>
                    </a:lnTo>
                    <a:lnTo>
                      <a:pt x="489" y="12"/>
                    </a:lnTo>
                    <a:lnTo>
                      <a:pt x="533" y="26"/>
                    </a:lnTo>
                    <a:lnTo>
                      <a:pt x="577" y="46"/>
                    </a:lnTo>
                    <a:lnTo>
                      <a:pt x="616" y="70"/>
                    </a:lnTo>
                    <a:lnTo>
                      <a:pt x="653" y="99"/>
                    </a:lnTo>
                    <a:lnTo>
                      <a:pt x="685" y="132"/>
                    </a:lnTo>
                    <a:lnTo>
                      <a:pt x="713" y="169"/>
                    </a:lnTo>
                    <a:lnTo>
                      <a:pt x="738" y="208"/>
                    </a:lnTo>
                    <a:lnTo>
                      <a:pt x="758" y="250"/>
                    </a:lnTo>
                    <a:lnTo>
                      <a:pt x="772" y="296"/>
                    </a:lnTo>
                    <a:lnTo>
                      <a:pt x="781" y="342"/>
                    </a:lnTo>
                    <a:lnTo>
                      <a:pt x="784" y="392"/>
                    </a:lnTo>
                    <a:lnTo>
                      <a:pt x="781" y="441"/>
                    </a:lnTo>
                    <a:lnTo>
                      <a:pt x="772" y="489"/>
                    </a:lnTo>
                    <a:lnTo>
                      <a:pt x="758" y="533"/>
                    </a:lnTo>
                    <a:lnTo>
                      <a:pt x="738" y="576"/>
                    </a:lnTo>
                    <a:lnTo>
                      <a:pt x="713" y="615"/>
                    </a:lnTo>
                    <a:lnTo>
                      <a:pt x="685" y="652"/>
                    </a:lnTo>
                    <a:lnTo>
                      <a:pt x="653" y="686"/>
                    </a:lnTo>
                    <a:lnTo>
                      <a:pt x="616" y="714"/>
                    </a:lnTo>
                    <a:lnTo>
                      <a:pt x="577" y="738"/>
                    </a:lnTo>
                    <a:lnTo>
                      <a:pt x="533" y="757"/>
                    </a:lnTo>
                    <a:lnTo>
                      <a:pt x="489" y="772"/>
                    </a:lnTo>
                    <a:lnTo>
                      <a:pt x="441" y="781"/>
                    </a:lnTo>
                    <a:lnTo>
                      <a:pt x="392" y="784"/>
                    </a:lnTo>
                    <a:lnTo>
                      <a:pt x="343" y="781"/>
                    </a:lnTo>
                    <a:lnTo>
                      <a:pt x="295" y="772"/>
                    </a:lnTo>
                    <a:lnTo>
                      <a:pt x="251" y="757"/>
                    </a:lnTo>
                    <a:lnTo>
                      <a:pt x="207" y="738"/>
                    </a:lnTo>
                    <a:lnTo>
                      <a:pt x="168" y="714"/>
                    </a:lnTo>
                    <a:lnTo>
                      <a:pt x="131" y="686"/>
                    </a:lnTo>
                    <a:lnTo>
                      <a:pt x="99" y="652"/>
                    </a:lnTo>
                    <a:lnTo>
                      <a:pt x="71" y="615"/>
                    </a:lnTo>
                    <a:lnTo>
                      <a:pt x="46" y="576"/>
                    </a:lnTo>
                    <a:lnTo>
                      <a:pt x="26" y="533"/>
                    </a:lnTo>
                    <a:lnTo>
                      <a:pt x="12" y="489"/>
                    </a:lnTo>
                    <a:lnTo>
                      <a:pt x="3" y="441"/>
                    </a:lnTo>
                    <a:lnTo>
                      <a:pt x="0" y="392"/>
                    </a:lnTo>
                    <a:lnTo>
                      <a:pt x="3" y="342"/>
                    </a:lnTo>
                    <a:lnTo>
                      <a:pt x="12" y="296"/>
                    </a:lnTo>
                    <a:lnTo>
                      <a:pt x="26" y="250"/>
                    </a:lnTo>
                    <a:lnTo>
                      <a:pt x="46" y="208"/>
                    </a:lnTo>
                    <a:lnTo>
                      <a:pt x="71" y="169"/>
                    </a:lnTo>
                    <a:lnTo>
                      <a:pt x="99" y="132"/>
                    </a:lnTo>
                    <a:lnTo>
                      <a:pt x="131" y="99"/>
                    </a:lnTo>
                    <a:lnTo>
                      <a:pt x="168" y="70"/>
                    </a:lnTo>
                    <a:lnTo>
                      <a:pt x="207" y="46"/>
                    </a:lnTo>
                    <a:lnTo>
                      <a:pt x="251" y="26"/>
                    </a:lnTo>
                    <a:lnTo>
                      <a:pt x="295" y="12"/>
                    </a:lnTo>
                    <a:lnTo>
                      <a:pt x="343" y="3"/>
                    </a:lnTo>
                    <a:lnTo>
                      <a:pt x="39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  <p:sp>
            <p:nvSpPr>
              <p:cNvPr id="203" name="Freeform 136"/>
              <p:cNvSpPr>
                <a:spLocks/>
              </p:cNvSpPr>
              <p:nvPr/>
            </p:nvSpPr>
            <p:spPr bwMode="auto">
              <a:xfrm>
                <a:off x="9260295" y="2957181"/>
                <a:ext cx="330200" cy="215900"/>
              </a:xfrm>
              <a:custGeom>
                <a:avLst/>
                <a:gdLst/>
                <a:ahLst/>
                <a:cxnLst>
                  <a:cxn ang="0">
                    <a:pos x="392" y="0"/>
                  </a:cxn>
                  <a:cxn ang="0">
                    <a:pos x="1064" y="0"/>
                  </a:cxn>
                  <a:cxn ang="0">
                    <a:pos x="1114" y="3"/>
                  </a:cxn>
                  <a:cxn ang="0">
                    <a:pos x="1160" y="12"/>
                  </a:cxn>
                  <a:cxn ang="0">
                    <a:pos x="1206" y="26"/>
                  </a:cxn>
                  <a:cxn ang="0">
                    <a:pos x="1248" y="46"/>
                  </a:cxn>
                  <a:cxn ang="0">
                    <a:pos x="1288" y="70"/>
                  </a:cxn>
                  <a:cxn ang="0">
                    <a:pos x="1324" y="99"/>
                  </a:cxn>
                  <a:cxn ang="0">
                    <a:pos x="1357" y="132"/>
                  </a:cxn>
                  <a:cxn ang="0">
                    <a:pos x="1386" y="169"/>
                  </a:cxn>
                  <a:cxn ang="0">
                    <a:pos x="1410" y="208"/>
                  </a:cxn>
                  <a:cxn ang="0">
                    <a:pos x="1430" y="250"/>
                  </a:cxn>
                  <a:cxn ang="0">
                    <a:pos x="1444" y="296"/>
                  </a:cxn>
                  <a:cxn ang="0">
                    <a:pos x="1453" y="342"/>
                  </a:cxn>
                  <a:cxn ang="0">
                    <a:pos x="1456" y="392"/>
                  </a:cxn>
                  <a:cxn ang="0">
                    <a:pos x="1456" y="952"/>
                  </a:cxn>
                  <a:cxn ang="0">
                    <a:pos x="0" y="952"/>
                  </a:cxn>
                  <a:cxn ang="0">
                    <a:pos x="0" y="392"/>
                  </a:cxn>
                  <a:cxn ang="0">
                    <a:pos x="3" y="342"/>
                  </a:cxn>
                  <a:cxn ang="0">
                    <a:pos x="12" y="296"/>
                  </a:cxn>
                  <a:cxn ang="0">
                    <a:pos x="26" y="250"/>
                  </a:cxn>
                  <a:cxn ang="0">
                    <a:pos x="46" y="208"/>
                  </a:cxn>
                  <a:cxn ang="0">
                    <a:pos x="70" y="169"/>
                  </a:cxn>
                  <a:cxn ang="0">
                    <a:pos x="99" y="132"/>
                  </a:cxn>
                  <a:cxn ang="0">
                    <a:pos x="132" y="99"/>
                  </a:cxn>
                  <a:cxn ang="0">
                    <a:pos x="168" y="70"/>
                  </a:cxn>
                  <a:cxn ang="0">
                    <a:pos x="208" y="46"/>
                  </a:cxn>
                  <a:cxn ang="0">
                    <a:pos x="250" y="26"/>
                  </a:cxn>
                  <a:cxn ang="0">
                    <a:pos x="296" y="12"/>
                  </a:cxn>
                  <a:cxn ang="0">
                    <a:pos x="342" y="3"/>
                  </a:cxn>
                  <a:cxn ang="0">
                    <a:pos x="392" y="0"/>
                  </a:cxn>
                </a:cxnLst>
                <a:rect l="0" t="0" r="r" b="b"/>
                <a:pathLst>
                  <a:path w="1456" h="952">
                    <a:moveTo>
                      <a:pt x="392" y="0"/>
                    </a:moveTo>
                    <a:lnTo>
                      <a:pt x="1064" y="0"/>
                    </a:lnTo>
                    <a:lnTo>
                      <a:pt x="1114" y="3"/>
                    </a:lnTo>
                    <a:lnTo>
                      <a:pt x="1160" y="12"/>
                    </a:lnTo>
                    <a:lnTo>
                      <a:pt x="1206" y="26"/>
                    </a:lnTo>
                    <a:lnTo>
                      <a:pt x="1248" y="46"/>
                    </a:lnTo>
                    <a:lnTo>
                      <a:pt x="1288" y="70"/>
                    </a:lnTo>
                    <a:lnTo>
                      <a:pt x="1324" y="99"/>
                    </a:lnTo>
                    <a:lnTo>
                      <a:pt x="1357" y="132"/>
                    </a:lnTo>
                    <a:lnTo>
                      <a:pt x="1386" y="169"/>
                    </a:lnTo>
                    <a:lnTo>
                      <a:pt x="1410" y="208"/>
                    </a:lnTo>
                    <a:lnTo>
                      <a:pt x="1430" y="250"/>
                    </a:lnTo>
                    <a:lnTo>
                      <a:pt x="1444" y="296"/>
                    </a:lnTo>
                    <a:lnTo>
                      <a:pt x="1453" y="342"/>
                    </a:lnTo>
                    <a:lnTo>
                      <a:pt x="1456" y="392"/>
                    </a:lnTo>
                    <a:lnTo>
                      <a:pt x="1456" y="952"/>
                    </a:lnTo>
                    <a:lnTo>
                      <a:pt x="0" y="952"/>
                    </a:lnTo>
                    <a:lnTo>
                      <a:pt x="0" y="392"/>
                    </a:lnTo>
                    <a:lnTo>
                      <a:pt x="3" y="342"/>
                    </a:lnTo>
                    <a:lnTo>
                      <a:pt x="12" y="296"/>
                    </a:lnTo>
                    <a:lnTo>
                      <a:pt x="26" y="250"/>
                    </a:lnTo>
                    <a:lnTo>
                      <a:pt x="46" y="208"/>
                    </a:lnTo>
                    <a:lnTo>
                      <a:pt x="70" y="169"/>
                    </a:lnTo>
                    <a:lnTo>
                      <a:pt x="99" y="132"/>
                    </a:lnTo>
                    <a:lnTo>
                      <a:pt x="132" y="99"/>
                    </a:lnTo>
                    <a:lnTo>
                      <a:pt x="168" y="70"/>
                    </a:lnTo>
                    <a:lnTo>
                      <a:pt x="208" y="46"/>
                    </a:lnTo>
                    <a:lnTo>
                      <a:pt x="250" y="26"/>
                    </a:lnTo>
                    <a:lnTo>
                      <a:pt x="296" y="12"/>
                    </a:lnTo>
                    <a:lnTo>
                      <a:pt x="342" y="3"/>
                    </a:lnTo>
                    <a:lnTo>
                      <a:pt x="39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98" tIns="34299" rIns="68598" bIns="34299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701"/>
              </a:p>
            </p:txBody>
          </p:sp>
        </p:grpSp>
        <p:sp>
          <p:nvSpPr>
            <p:cNvPr id="204" name="Freeform 105"/>
            <p:cNvSpPr>
              <a:spLocks noEditPoints="1"/>
            </p:cNvSpPr>
            <p:nvPr/>
          </p:nvSpPr>
          <p:spPr bwMode="auto">
            <a:xfrm>
              <a:off x="9358926" y="2452511"/>
              <a:ext cx="675975" cy="901299"/>
            </a:xfrm>
            <a:custGeom>
              <a:avLst/>
              <a:gdLst/>
              <a:ahLst/>
              <a:cxnLst>
                <a:cxn ang="0">
                  <a:pos x="1096" y="1580"/>
                </a:cxn>
                <a:cxn ang="0">
                  <a:pos x="992" y="1636"/>
                </a:cxn>
                <a:cxn ang="0">
                  <a:pos x="922" y="1730"/>
                </a:cxn>
                <a:cxn ang="0">
                  <a:pos x="896" y="1848"/>
                </a:cxn>
                <a:cxn ang="0">
                  <a:pos x="923" y="1968"/>
                </a:cxn>
                <a:cxn ang="0">
                  <a:pos x="996" y="2062"/>
                </a:cxn>
                <a:cxn ang="0">
                  <a:pos x="1064" y="2576"/>
                </a:cxn>
                <a:cxn ang="0">
                  <a:pos x="1324" y="2086"/>
                </a:cxn>
                <a:cxn ang="0">
                  <a:pos x="1410" y="2004"/>
                </a:cxn>
                <a:cxn ang="0">
                  <a:pos x="1453" y="1891"/>
                </a:cxn>
                <a:cxn ang="0">
                  <a:pos x="1444" y="1767"/>
                </a:cxn>
                <a:cxn ang="0">
                  <a:pos x="1388" y="1665"/>
                </a:cxn>
                <a:cxn ang="0">
                  <a:pos x="1294" y="1594"/>
                </a:cxn>
                <a:cxn ang="0">
                  <a:pos x="1176" y="1568"/>
                </a:cxn>
                <a:cxn ang="0">
                  <a:pos x="1677" y="3"/>
                </a:cxn>
                <a:cxn ang="0">
                  <a:pos x="1821" y="45"/>
                </a:cxn>
                <a:cxn ang="0">
                  <a:pos x="1941" y="131"/>
                </a:cxn>
                <a:cxn ang="0">
                  <a:pos x="2026" y="251"/>
                </a:cxn>
                <a:cxn ang="0">
                  <a:pos x="2069" y="396"/>
                </a:cxn>
                <a:cxn ang="0">
                  <a:pos x="1848" y="672"/>
                </a:cxn>
                <a:cxn ang="0">
                  <a:pos x="1836" y="378"/>
                </a:cxn>
                <a:cxn ang="0">
                  <a:pos x="1782" y="290"/>
                </a:cxn>
                <a:cxn ang="0">
                  <a:pos x="1695" y="235"/>
                </a:cxn>
                <a:cxn ang="0">
                  <a:pos x="727" y="223"/>
                </a:cxn>
                <a:cxn ang="0">
                  <a:pos x="625" y="250"/>
                </a:cxn>
                <a:cxn ang="0">
                  <a:pos x="547" y="316"/>
                </a:cxn>
                <a:cxn ang="0">
                  <a:pos x="507" y="411"/>
                </a:cxn>
                <a:cxn ang="0">
                  <a:pos x="2352" y="1008"/>
                </a:cxn>
                <a:cxn ang="0">
                  <a:pos x="2339" y="2747"/>
                </a:cxn>
                <a:cxn ang="0">
                  <a:pos x="2274" y="2902"/>
                </a:cxn>
                <a:cxn ang="0">
                  <a:pos x="2163" y="3025"/>
                </a:cxn>
                <a:cxn ang="0">
                  <a:pos x="2018" y="3107"/>
                </a:cxn>
                <a:cxn ang="0">
                  <a:pos x="1848" y="3136"/>
                </a:cxn>
                <a:cxn ang="0">
                  <a:pos x="389" y="3122"/>
                </a:cxn>
                <a:cxn ang="0">
                  <a:pos x="233" y="3058"/>
                </a:cxn>
                <a:cxn ang="0">
                  <a:pos x="111" y="2947"/>
                </a:cxn>
                <a:cxn ang="0">
                  <a:pos x="29" y="2802"/>
                </a:cxn>
                <a:cxn ang="0">
                  <a:pos x="0" y="2632"/>
                </a:cxn>
                <a:cxn ang="0">
                  <a:pos x="280" y="448"/>
                </a:cxn>
                <a:cxn ang="0">
                  <a:pos x="306" y="297"/>
                </a:cxn>
                <a:cxn ang="0">
                  <a:pos x="379" y="168"/>
                </a:cxn>
                <a:cxn ang="0">
                  <a:pos x="487" y="69"/>
                </a:cxn>
                <a:cxn ang="0">
                  <a:pos x="625" y="12"/>
                </a:cxn>
              </a:cxnLst>
              <a:rect l="0" t="0" r="r" b="b"/>
              <a:pathLst>
                <a:path w="2352" h="3136">
                  <a:moveTo>
                    <a:pt x="1176" y="1568"/>
                  </a:moveTo>
                  <a:lnTo>
                    <a:pt x="1135" y="1571"/>
                  </a:lnTo>
                  <a:lnTo>
                    <a:pt x="1096" y="1580"/>
                  </a:lnTo>
                  <a:lnTo>
                    <a:pt x="1058" y="1594"/>
                  </a:lnTo>
                  <a:lnTo>
                    <a:pt x="1024" y="1614"/>
                  </a:lnTo>
                  <a:lnTo>
                    <a:pt x="992" y="1636"/>
                  </a:lnTo>
                  <a:lnTo>
                    <a:pt x="964" y="1665"/>
                  </a:lnTo>
                  <a:lnTo>
                    <a:pt x="941" y="1695"/>
                  </a:lnTo>
                  <a:lnTo>
                    <a:pt x="922" y="1730"/>
                  </a:lnTo>
                  <a:lnTo>
                    <a:pt x="908" y="1767"/>
                  </a:lnTo>
                  <a:lnTo>
                    <a:pt x="899" y="1807"/>
                  </a:lnTo>
                  <a:lnTo>
                    <a:pt x="896" y="1848"/>
                  </a:lnTo>
                  <a:lnTo>
                    <a:pt x="899" y="1891"/>
                  </a:lnTo>
                  <a:lnTo>
                    <a:pt x="909" y="1931"/>
                  </a:lnTo>
                  <a:lnTo>
                    <a:pt x="923" y="1968"/>
                  </a:lnTo>
                  <a:lnTo>
                    <a:pt x="942" y="2004"/>
                  </a:lnTo>
                  <a:lnTo>
                    <a:pt x="967" y="2035"/>
                  </a:lnTo>
                  <a:lnTo>
                    <a:pt x="996" y="2062"/>
                  </a:lnTo>
                  <a:lnTo>
                    <a:pt x="1028" y="2086"/>
                  </a:lnTo>
                  <a:lnTo>
                    <a:pt x="1064" y="2105"/>
                  </a:lnTo>
                  <a:lnTo>
                    <a:pt x="1064" y="2576"/>
                  </a:lnTo>
                  <a:lnTo>
                    <a:pt x="1288" y="2576"/>
                  </a:lnTo>
                  <a:lnTo>
                    <a:pt x="1288" y="2105"/>
                  </a:lnTo>
                  <a:lnTo>
                    <a:pt x="1324" y="2086"/>
                  </a:lnTo>
                  <a:lnTo>
                    <a:pt x="1356" y="2062"/>
                  </a:lnTo>
                  <a:lnTo>
                    <a:pt x="1385" y="2035"/>
                  </a:lnTo>
                  <a:lnTo>
                    <a:pt x="1410" y="2004"/>
                  </a:lnTo>
                  <a:lnTo>
                    <a:pt x="1429" y="1968"/>
                  </a:lnTo>
                  <a:lnTo>
                    <a:pt x="1443" y="1931"/>
                  </a:lnTo>
                  <a:lnTo>
                    <a:pt x="1453" y="1891"/>
                  </a:lnTo>
                  <a:lnTo>
                    <a:pt x="1456" y="1848"/>
                  </a:lnTo>
                  <a:lnTo>
                    <a:pt x="1453" y="1807"/>
                  </a:lnTo>
                  <a:lnTo>
                    <a:pt x="1444" y="1767"/>
                  </a:lnTo>
                  <a:lnTo>
                    <a:pt x="1430" y="1730"/>
                  </a:lnTo>
                  <a:lnTo>
                    <a:pt x="1411" y="1695"/>
                  </a:lnTo>
                  <a:lnTo>
                    <a:pt x="1388" y="1665"/>
                  </a:lnTo>
                  <a:lnTo>
                    <a:pt x="1360" y="1636"/>
                  </a:lnTo>
                  <a:lnTo>
                    <a:pt x="1328" y="1614"/>
                  </a:lnTo>
                  <a:lnTo>
                    <a:pt x="1294" y="1594"/>
                  </a:lnTo>
                  <a:lnTo>
                    <a:pt x="1256" y="1580"/>
                  </a:lnTo>
                  <a:lnTo>
                    <a:pt x="1217" y="1571"/>
                  </a:lnTo>
                  <a:lnTo>
                    <a:pt x="1176" y="1568"/>
                  </a:lnTo>
                  <a:close/>
                  <a:moveTo>
                    <a:pt x="727" y="0"/>
                  </a:moveTo>
                  <a:lnTo>
                    <a:pt x="1625" y="0"/>
                  </a:lnTo>
                  <a:lnTo>
                    <a:pt x="1677" y="3"/>
                  </a:lnTo>
                  <a:lnTo>
                    <a:pt x="1727" y="12"/>
                  </a:lnTo>
                  <a:lnTo>
                    <a:pt x="1776" y="26"/>
                  </a:lnTo>
                  <a:lnTo>
                    <a:pt x="1821" y="45"/>
                  </a:lnTo>
                  <a:lnTo>
                    <a:pt x="1865" y="69"/>
                  </a:lnTo>
                  <a:lnTo>
                    <a:pt x="1904" y="99"/>
                  </a:lnTo>
                  <a:lnTo>
                    <a:pt x="1941" y="131"/>
                  </a:lnTo>
                  <a:lnTo>
                    <a:pt x="1973" y="168"/>
                  </a:lnTo>
                  <a:lnTo>
                    <a:pt x="2002" y="208"/>
                  </a:lnTo>
                  <a:lnTo>
                    <a:pt x="2026" y="251"/>
                  </a:lnTo>
                  <a:lnTo>
                    <a:pt x="2046" y="297"/>
                  </a:lnTo>
                  <a:lnTo>
                    <a:pt x="2060" y="345"/>
                  </a:lnTo>
                  <a:lnTo>
                    <a:pt x="2069" y="396"/>
                  </a:lnTo>
                  <a:lnTo>
                    <a:pt x="2072" y="448"/>
                  </a:lnTo>
                  <a:lnTo>
                    <a:pt x="2072" y="672"/>
                  </a:lnTo>
                  <a:lnTo>
                    <a:pt x="1848" y="672"/>
                  </a:lnTo>
                  <a:lnTo>
                    <a:pt x="1848" y="448"/>
                  </a:lnTo>
                  <a:lnTo>
                    <a:pt x="1845" y="411"/>
                  </a:lnTo>
                  <a:lnTo>
                    <a:pt x="1836" y="378"/>
                  </a:lnTo>
                  <a:lnTo>
                    <a:pt x="1823" y="345"/>
                  </a:lnTo>
                  <a:lnTo>
                    <a:pt x="1805" y="316"/>
                  </a:lnTo>
                  <a:lnTo>
                    <a:pt x="1782" y="290"/>
                  </a:lnTo>
                  <a:lnTo>
                    <a:pt x="1756" y="267"/>
                  </a:lnTo>
                  <a:lnTo>
                    <a:pt x="1727" y="250"/>
                  </a:lnTo>
                  <a:lnTo>
                    <a:pt x="1695" y="235"/>
                  </a:lnTo>
                  <a:lnTo>
                    <a:pt x="1660" y="227"/>
                  </a:lnTo>
                  <a:lnTo>
                    <a:pt x="1625" y="223"/>
                  </a:lnTo>
                  <a:lnTo>
                    <a:pt x="727" y="223"/>
                  </a:lnTo>
                  <a:lnTo>
                    <a:pt x="692" y="227"/>
                  </a:lnTo>
                  <a:lnTo>
                    <a:pt x="657" y="235"/>
                  </a:lnTo>
                  <a:lnTo>
                    <a:pt x="625" y="250"/>
                  </a:lnTo>
                  <a:lnTo>
                    <a:pt x="596" y="267"/>
                  </a:lnTo>
                  <a:lnTo>
                    <a:pt x="570" y="290"/>
                  </a:lnTo>
                  <a:lnTo>
                    <a:pt x="547" y="316"/>
                  </a:lnTo>
                  <a:lnTo>
                    <a:pt x="529" y="345"/>
                  </a:lnTo>
                  <a:lnTo>
                    <a:pt x="516" y="378"/>
                  </a:lnTo>
                  <a:lnTo>
                    <a:pt x="507" y="411"/>
                  </a:lnTo>
                  <a:lnTo>
                    <a:pt x="504" y="448"/>
                  </a:lnTo>
                  <a:lnTo>
                    <a:pt x="504" y="1008"/>
                  </a:lnTo>
                  <a:lnTo>
                    <a:pt x="2352" y="1008"/>
                  </a:lnTo>
                  <a:lnTo>
                    <a:pt x="2352" y="2632"/>
                  </a:lnTo>
                  <a:lnTo>
                    <a:pt x="2349" y="2691"/>
                  </a:lnTo>
                  <a:lnTo>
                    <a:pt x="2339" y="2747"/>
                  </a:lnTo>
                  <a:lnTo>
                    <a:pt x="2323" y="2802"/>
                  </a:lnTo>
                  <a:lnTo>
                    <a:pt x="2301" y="2854"/>
                  </a:lnTo>
                  <a:lnTo>
                    <a:pt x="2274" y="2902"/>
                  </a:lnTo>
                  <a:lnTo>
                    <a:pt x="2241" y="2947"/>
                  </a:lnTo>
                  <a:lnTo>
                    <a:pt x="2204" y="2989"/>
                  </a:lnTo>
                  <a:lnTo>
                    <a:pt x="2163" y="3025"/>
                  </a:lnTo>
                  <a:lnTo>
                    <a:pt x="2119" y="3058"/>
                  </a:lnTo>
                  <a:lnTo>
                    <a:pt x="2070" y="3085"/>
                  </a:lnTo>
                  <a:lnTo>
                    <a:pt x="2018" y="3107"/>
                  </a:lnTo>
                  <a:lnTo>
                    <a:pt x="1963" y="3122"/>
                  </a:lnTo>
                  <a:lnTo>
                    <a:pt x="1907" y="3133"/>
                  </a:lnTo>
                  <a:lnTo>
                    <a:pt x="1848" y="3136"/>
                  </a:lnTo>
                  <a:lnTo>
                    <a:pt x="504" y="3136"/>
                  </a:lnTo>
                  <a:lnTo>
                    <a:pt x="445" y="3133"/>
                  </a:lnTo>
                  <a:lnTo>
                    <a:pt x="389" y="3122"/>
                  </a:lnTo>
                  <a:lnTo>
                    <a:pt x="334" y="3107"/>
                  </a:lnTo>
                  <a:lnTo>
                    <a:pt x="282" y="3085"/>
                  </a:lnTo>
                  <a:lnTo>
                    <a:pt x="233" y="3058"/>
                  </a:lnTo>
                  <a:lnTo>
                    <a:pt x="189" y="3025"/>
                  </a:lnTo>
                  <a:lnTo>
                    <a:pt x="148" y="2989"/>
                  </a:lnTo>
                  <a:lnTo>
                    <a:pt x="111" y="2947"/>
                  </a:lnTo>
                  <a:lnTo>
                    <a:pt x="78" y="2902"/>
                  </a:lnTo>
                  <a:lnTo>
                    <a:pt x="51" y="2854"/>
                  </a:lnTo>
                  <a:lnTo>
                    <a:pt x="29" y="2802"/>
                  </a:lnTo>
                  <a:lnTo>
                    <a:pt x="13" y="2747"/>
                  </a:lnTo>
                  <a:lnTo>
                    <a:pt x="3" y="2691"/>
                  </a:lnTo>
                  <a:lnTo>
                    <a:pt x="0" y="2632"/>
                  </a:lnTo>
                  <a:lnTo>
                    <a:pt x="0" y="1008"/>
                  </a:lnTo>
                  <a:lnTo>
                    <a:pt x="280" y="1008"/>
                  </a:lnTo>
                  <a:lnTo>
                    <a:pt x="280" y="448"/>
                  </a:lnTo>
                  <a:lnTo>
                    <a:pt x="283" y="396"/>
                  </a:lnTo>
                  <a:lnTo>
                    <a:pt x="292" y="345"/>
                  </a:lnTo>
                  <a:lnTo>
                    <a:pt x="306" y="297"/>
                  </a:lnTo>
                  <a:lnTo>
                    <a:pt x="326" y="251"/>
                  </a:lnTo>
                  <a:lnTo>
                    <a:pt x="350" y="208"/>
                  </a:lnTo>
                  <a:lnTo>
                    <a:pt x="379" y="168"/>
                  </a:lnTo>
                  <a:lnTo>
                    <a:pt x="411" y="131"/>
                  </a:lnTo>
                  <a:lnTo>
                    <a:pt x="448" y="99"/>
                  </a:lnTo>
                  <a:lnTo>
                    <a:pt x="487" y="69"/>
                  </a:lnTo>
                  <a:lnTo>
                    <a:pt x="531" y="45"/>
                  </a:lnTo>
                  <a:lnTo>
                    <a:pt x="576" y="26"/>
                  </a:lnTo>
                  <a:lnTo>
                    <a:pt x="625" y="12"/>
                  </a:lnTo>
                  <a:lnTo>
                    <a:pt x="675" y="3"/>
                  </a:lnTo>
                  <a:lnTo>
                    <a:pt x="727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de-DE" sz="2701"/>
            </a:p>
          </p:txBody>
        </p:sp>
      </p:grpSp>
      <p:sp>
        <p:nvSpPr>
          <p:cNvPr id="6" name="Titel 5">
            <a:extLst>
              <a:ext uri="{FF2B5EF4-FFF2-40B4-BE49-F238E27FC236}">
                <a16:creationId xmlns:a16="http://schemas.microsoft.com/office/drawing/2014/main" id="{99C39725-EEB5-454E-9604-794002ECF8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2200624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5" name="Shape 2525"/>
          <p:cNvSpPr/>
          <p:nvPr/>
        </p:nvSpPr>
        <p:spPr>
          <a:xfrm>
            <a:off x="1758543" y="409599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26" name="Shape 2526"/>
          <p:cNvSpPr/>
          <p:nvPr/>
        </p:nvSpPr>
        <p:spPr>
          <a:xfrm>
            <a:off x="2825064" y="409599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4236" y="16752"/>
                </a:moveTo>
                <a:cubicBezTo>
                  <a:pt x="14001" y="16887"/>
                  <a:pt x="13921" y="17188"/>
                  <a:pt x="14057" y="17422"/>
                </a:cubicBezTo>
                <a:cubicBezTo>
                  <a:pt x="14192" y="17658"/>
                  <a:pt x="14493" y="17738"/>
                  <a:pt x="14727" y="17602"/>
                </a:cubicBezTo>
                <a:cubicBezTo>
                  <a:pt x="14962" y="17467"/>
                  <a:pt x="15042" y="17167"/>
                  <a:pt x="14907" y="16932"/>
                </a:cubicBezTo>
                <a:cubicBezTo>
                  <a:pt x="14771" y="16697"/>
                  <a:pt x="14472" y="16617"/>
                  <a:pt x="14236" y="16752"/>
                </a:cubicBezTo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5218" y="10309"/>
                </a:moveTo>
                <a:lnTo>
                  <a:pt x="12694" y="10309"/>
                </a:lnTo>
                <a:cubicBezTo>
                  <a:pt x="12515" y="9624"/>
                  <a:pt x="11978" y="9084"/>
                  <a:pt x="11291" y="8906"/>
                </a:cubicBezTo>
                <a:lnTo>
                  <a:pt x="11291" y="3436"/>
                </a:lnTo>
                <a:cubicBezTo>
                  <a:pt x="11291" y="3166"/>
                  <a:pt x="11071" y="2945"/>
                  <a:pt x="10800" y="2945"/>
                </a:cubicBezTo>
                <a:cubicBezTo>
                  <a:pt x="10529" y="2945"/>
                  <a:pt x="10309" y="3166"/>
                  <a:pt x="10309" y="3436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5218" y="11291"/>
                </a:lnTo>
                <a:cubicBezTo>
                  <a:pt x="15489" y="11291"/>
                  <a:pt x="15709" y="11072"/>
                  <a:pt x="15709" y="10800"/>
                </a:cubicBezTo>
                <a:cubicBezTo>
                  <a:pt x="15709" y="10529"/>
                  <a:pt x="15489" y="10309"/>
                  <a:pt x="15218" y="10309"/>
                </a:cubicBezTo>
                <a:moveTo>
                  <a:pt x="16932" y="6693"/>
                </a:moveTo>
                <a:cubicBezTo>
                  <a:pt x="16697" y="6829"/>
                  <a:pt x="16616" y="7129"/>
                  <a:pt x="16752" y="7364"/>
                </a:cubicBezTo>
                <a:cubicBezTo>
                  <a:pt x="16887" y="7599"/>
                  <a:pt x="17188" y="7679"/>
                  <a:pt x="17422" y="7543"/>
                </a:cubicBezTo>
                <a:cubicBezTo>
                  <a:pt x="17657" y="7408"/>
                  <a:pt x="17737" y="7108"/>
                  <a:pt x="17602" y="6873"/>
                </a:cubicBezTo>
                <a:cubicBezTo>
                  <a:pt x="17467" y="6638"/>
                  <a:pt x="17166" y="6557"/>
                  <a:pt x="16932" y="6693"/>
                </a:cubicBezTo>
                <a:moveTo>
                  <a:pt x="10800" y="17673"/>
                </a:moveTo>
                <a:cubicBezTo>
                  <a:pt x="10529" y="17673"/>
                  <a:pt x="10309" y="17893"/>
                  <a:pt x="10309" y="18164"/>
                </a:cubicBezTo>
                <a:cubicBezTo>
                  <a:pt x="10309" y="18435"/>
                  <a:pt x="10529" y="18655"/>
                  <a:pt x="10800" y="18655"/>
                </a:cubicBezTo>
                <a:cubicBezTo>
                  <a:pt x="11071" y="18655"/>
                  <a:pt x="11291" y="18435"/>
                  <a:pt x="11291" y="18164"/>
                </a:cubicBezTo>
                <a:cubicBezTo>
                  <a:pt x="11291" y="17893"/>
                  <a:pt x="11071" y="17673"/>
                  <a:pt x="10800" y="17673"/>
                </a:cubicBezTo>
                <a:moveTo>
                  <a:pt x="17422" y="14057"/>
                </a:moveTo>
                <a:cubicBezTo>
                  <a:pt x="17188" y="13921"/>
                  <a:pt x="16887" y="14001"/>
                  <a:pt x="16752" y="14236"/>
                </a:cubicBezTo>
                <a:cubicBezTo>
                  <a:pt x="16616" y="14472"/>
                  <a:pt x="16697" y="14772"/>
                  <a:pt x="16932" y="14907"/>
                </a:cubicBezTo>
                <a:cubicBezTo>
                  <a:pt x="17166" y="15043"/>
                  <a:pt x="17467" y="14962"/>
                  <a:pt x="17602" y="14727"/>
                </a:cubicBezTo>
                <a:cubicBezTo>
                  <a:pt x="17737" y="14492"/>
                  <a:pt x="17657" y="14192"/>
                  <a:pt x="17422" y="14057"/>
                </a:cubicBezTo>
                <a:moveTo>
                  <a:pt x="4668" y="6693"/>
                </a:moveTo>
                <a:cubicBezTo>
                  <a:pt x="4433" y="6557"/>
                  <a:pt x="4133" y="6638"/>
                  <a:pt x="3998" y="6873"/>
                </a:cubicBezTo>
                <a:cubicBezTo>
                  <a:pt x="3863" y="7108"/>
                  <a:pt x="3942" y="7408"/>
                  <a:pt x="4178" y="7543"/>
                </a:cubicBezTo>
                <a:cubicBezTo>
                  <a:pt x="4412" y="7679"/>
                  <a:pt x="4713" y="7599"/>
                  <a:pt x="4848" y="7364"/>
                </a:cubicBezTo>
                <a:cubicBezTo>
                  <a:pt x="4984" y="7129"/>
                  <a:pt x="4903" y="6829"/>
                  <a:pt x="4668" y="6693"/>
                </a:cubicBezTo>
                <a:moveTo>
                  <a:pt x="14236" y="4848"/>
                </a:moveTo>
                <a:cubicBezTo>
                  <a:pt x="14472" y="4984"/>
                  <a:pt x="14771" y="4903"/>
                  <a:pt x="14907" y="4669"/>
                </a:cubicBezTo>
                <a:cubicBezTo>
                  <a:pt x="15042" y="4434"/>
                  <a:pt x="14962" y="4134"/>
                  <a:pt x="14727" y="3998"/>
                </a:cubicBezTo>
                <a:cubicBezTo>
                  <a:pt x="14493" y="3863"/>
                  <a:pt x="14192" y="3943"/>
                  <a:pt x="14057" y="4178"/>
                </a:cubicBezTo>
                <a:cubicBezTo>
                  <a:pt x="13921" y="4412"/>
                  <a:pt x="14001" y="4713"/>
                  <a:pt x="14236" y="4848"/>
                </a:cubicBezTo>
                <a:moveTo>
                  <a:pt x="3436" y="10309"/>
                </a:moveTo>
                <a:cubicBezTo>
                  <a:pt x="3166" y="10309"/>
                  <a:pt x="2945" y="10529"/>
                  <a:pt x="2945" y="10800"/>
                </a:cubicBezTo>
                <a:cubicBezTo>
                  <a:pt x="2945" y="11072"/>
                  <a:pt x="3166" y="11291"/>
                  <a:pt x="3436" y="11291"/>
                </a:cubicBezTo>
                <a:cubicBezTo>
                  <a:pt x="3707" y="11291"/>
                  <a:pt x="3927" y="11072"/>
                  <a:pt x="3927" y="10800"/>
                </a:cubicBezTo>
                <a:cubicBezTo>
                  <a:pt x="3927" y="10529"/>
                  <a:pt x="3707" y="10309"/>
                  <a:pt x="3436" y="10309"/>
                </a:cubicBezTo>
                <a:moveTo>
                  <a:pt x="6873" y="3998"/>
                </a:moveTo>
                <a:cubicBezTo>
                  <a:pt x="6638" y="4134"/>
                  <a:pt x="6558" y="4434"/>
                  <a:pt x="6693" y="4669"/>
                </a:cubicBezTo>
                <a:cubicBezTo>
                  <a:pt x="6829" y="4903"/>
                  <a:pt x="7129" y="4984"/>
                  <a:pt x="7364" y="4848"/>
                </a:cubicBezTo>
                <a:cubicBezTo>
                  <a:pt x="7599" y="4713"/>
                  <a:pt x="7679" y="4412"/>
                  <a:pt x="7543" y="4178"/>
                </a:cubicBezTo>
                <a:cubicBezTo>
                  <a:pt x="7408" y="3943"/>
                  <a:pt x="7108" y="3863"/>
                  <a:pt x="6873" y="3998"/>
                </a:cubicBezTo>
                <a:moveTo>
                  <a:pt x="4178" y="14057"/>
                </a:moveTo>
                <a:cubicBezTo>
                  <a:pt x="3942" y="14192"/>
                  <a:pt x="3863" y="14492"/>
                  <a:pt x="3998" y="14727"/>
                </a:cubicBezTo>
                <a:cubicBezTo>
                  <a:pt x="4133" y="14962"/>
                  <a:pt x="4433" y="15043"/>
                  <a:pt x="4668" y="14907"/>
                </a:cubicBezTo>
                <a:cubicBezTo>
                  <a:pt x="4903" y="14772"/>
                  <a:pt x="4984" y="14472"/>
                  <a:pt x="4848" y="14236"/>
                </a:cubicBezTo>
                <a:cubicBezTo>
                  <a:pt x="4713" y="14001"/>
                  <a:pt x="4412" y="13921"/>
                  <a:pt x="4178" y="14057"/>
                </a:cubicBezTo>
                <a:moveTo>
                  <a:pt x="7364" y="16752"/>
                </a:moveTo>
                <a:cubicBezTo>
                  <a:pt x="7129" y="16617"/>
                  <a:pt x="6829" y="16697"/>
                  <a:pt x="6693" y="16932"/>
                </a:cubicBezTo>
                <a:cubicBezTo>
                  <a:pt x="6558" y="17167"/>
                  <a:pt x="6638" y="17467"/>
                  <a:pt x="6873" y="17602"/>
                </a:cubicBezTo>
                <a:cubicBezTo>
                  <a:pt x="7108" y="17738"/>
                  <a:pt x="7408" y="17658"/>
                  <a:pt x="7543" y="17422"/>
                </a:cubicBezTo>
                <a:cubicBezTo>
                  <a:pt x="7679" y="17188"/>
                  <a:pt x="7599" y="16887"/>
                  <a:pt x="7364" y="16752"/>
                </a:cubicBezTo>
                <a:moveTo>
                  <a:pt x="18164" y="10309"/>
                </a:moveTo>
                <a:cubicBezTo>
                  <a:pt x="17893" y="10309"/>
                  <a:pt x="17673" y="10529"/>
                  <a:pt x="17673" y="10800"/>
                </a:cubicBezTo>
                <a:cubicBezTo>
                  <a:pt x="17673" y="11072"/>
                  <a:pt x="17893" y="11291"/>
                  <a:pt x="18164" y="11291"/>
                </a:cubicBezTo>
                <a:cubicBezTo>
                  <a:pt x="18434" y="11291"/>
                  <a:pt x="18655" y="11072"/>
                  <a:pt x="18655" y="10800"/>
                </a:cubicBezTo>
                <a:cubicBezTo>
                  <a:pt x="18655" y="10529"/>
                  <a:pt x="18434" y="10309"/>
                  <a:pt x="18164" y="103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27" name="Shape 2527"/>
          <p:cNvSpPr/>
          <p:nvPr/>
        </p:nvSpPr>
        <p:spPr>
          <a:xfrm>
            <a:off x="3891587" y="409599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4236" y="10309"/>
                </a:moveTo>
                <a:lnTo>
                  <a:pt x="12694" y="10309"/>
                </a:lnTo>
                <a:cubicBezTo>
                  <a:pt x="12516" y="9622"/>
                  <a:pt x="11979" y="9084"/>
                  <a:pt x="11291" y="8906"/>
                </a:cubicBez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4236" y="11291"/>
                </a:lnTo>
                <a:cubicBezTo>
                  <a:pt x="14507" y="11291"/>
                  <a:pt x="14727" y="11072"/>
                  <a:pt x="14727" y="10800"/>
                </a:cubicBezTo>
                <a:cubicBezTo>
                  <a:pt x="14727" y="10529"/>
                  <a:pt x="14507" y="10309"/>
                  <a:pt x="14236" y="103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8655"/>
                </a:moveTo>
                <a:cubicBezTo>
                  <a:pt x="6462" y="18655"/>
                  <a:pt x="2945" y="15138"/>
                  <a:pt x="2945" y="10800"/>
                </a:cubicBezTo>
                <a:cubicBezTo>
                  <a:pt x="2945" y="6462"/>
                  <a:pt x="6462" y="2945"/>
                  <a:pt x="10800" y="2945"/>
                </a:cubicBezTo>
                <a:cubicBezTo>
                  <a:pt x="15138" y="2945"/>
                  <a:pt x="18655" y="6462"/>
                  <a:pt x="18655" y="10800"/>
                </a:cubicBezTo>
                <a:cubicBezTo>
                  <a:pt x="18655" y="15138"/>
                  <a:pt x="15138" y="18655"/>
                  <a:pt x="10800" y="18655"/>
                </a:cubicBezTo>
                <a:moveTo>
                  <a:pt x="10800" y="1964"/>
                </a:moveTo>
                <a:cubicBezTo>
                  <a:pt x="5920" y="1964"/>
                  <a:pt x="1964" y="5920"/>
                  <a:pt x="1964" y="10800"/>
                </a:cubicBezTo>
                <a:cubicBezTo>
                  <a:pt x="1964" y="15680"/>
                  <a:pt x="5920" y="19636"/>
                  <a:pt x="10800" y="19636"/>
                </a:cubicBezTo>
                <a:cubicBezTo>
                  <a:pt x="15680" y="19636"/>
                  <a:pt x="19636" y="15680"/>
                  <a:pt x="19636" y="10800"/>
                </a:cubicBezTo>
                <a:cubicBezTo>
                  <a:pt x="19636" y="5920"/>
                  <a:pt x="15680" y="1964"/>
                  <a:pt x="10800" y="19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28" name="Shape 2528"/>
          <p:cNvSpPr/>
          <p:nvPr/>
        </p:nvSpPr>
        <p:spPr>
          <a:xfrm>
            <a:off x="5034291" y="4095990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8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8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4050" y="5891"/>
                </a:move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4050" y="8836"/>
                </a:lnTo>
                <a:cubicBezTo>
                  <a:pt x="4050" y="8836"/>
                  <a:pt x="4050" y="5891"/>
                  <a:pt x="4050" y="5891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  <a:moveTo>
                  <a:pt x="11475" y="15573"/>
                </a:moveTo>
                <a:lnTo>
                  <a:pt x="11475" y="16200"/>
                </a:lnTo>
                <a:cubicBezTo>
                  <a:pt x="11475" y="16472"/>
                  <a:pt x="11172" y="16691"/>
                  <a:pt x="10800" y="16691"/>
                </a:cubicBezTo>
                <a:cubicBezTo>
                  <a:pt x="10428" y="16691"/>
                  <a:pt x="10125" y="16472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6"/>
                  <a:pt x="10055" y="13745"/>
                  <a:pt x="10800" y="13745"/>
                </a:cubicBezTo>
                <a:cubicBezTo>
                  <a:pt x="11545" y="13745"/>
                  <a:pt x="12150" y="14186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7"/>
                  <a:pt x="8798" y="16034"/>
                </a:cubicBezTo>
                <a:cubicBezTo>
                  <a:pt x="8789" y="16089"/>
                  <a:pt x="8775" y="16144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4"/>
                  <a:pt x="12810" y="16089"/>
                  <a:pt x="12802" y="16034"/>
                </a:cubicBezTo>
                <a:cubicBezTo>
                  <a:pt x="13231" y="15686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29" name="Shape 2529"/>
          <p:cNvSpPr/>
          <p:nvPr/>
        </p:nvSpPr>
        <p:spPr>
          <a:xfrm>
            <a:off x="6100813" y="4095990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475" y="15573"/>
                </a:moveTo>
                <a:lnTo>
                  <a:pt x="11475" y="16200"/>
                </a:lnTo>
                <a:cubicBezTo>
                  <a:pt x="11475" y="16471"/>
                  <a:pt x="11172" y="16691"/>
                  <a:pt x="10800" y="16691"/>
                </a:cubicBezTo>
                <a:cubicBezTo>
                  <a:pt x="10428" y="16691"/>
                  <a:pt x="10125" y="16471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5"/>
                  <a:pt x="10055" y="13745"/>
                  <a:pt x="10800" y="13745"/>
                </a:cubicBezTo>
                <a:cubicBezTo>
                  <a:pt x="11545" y="13745"/>
                  <a:pt x="12150" y="14185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6"/>
                  <a:pt x="8798" y="16034"/>
                </a:cubicBezTo>
                <a:cubicBezTo>
                  <a:pt x="8789" y="16089"/>
                  <a:pt x="8775" y="16143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3"/>
                  <a:pt x="12810" y="16089"/>
                  <a:pt x="12802" y="16034"/>
                </a:cubicBezTo>
                <a:cubicBezTo>
                  <a:pt x="13231" y="15687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9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cubicBezTo>
                  <a:pt x="2700" y="6162"/>
                  <a:pt x="3003" y="6382"/>
                  <a:pt x="3375" y="6382"/>
                </a:cubicBezTo>
                <a:cubicBezTo>
                  <a:pt x="3747" y="6382"/>
                  <a:pt x="4050" y="6162"/>
                  <a:pt x="4050" y="5891"/>
                </a:cubicBez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0" name="Shape 2530"/>
          <p:cNvSpPr/>
          <p:nvPr/>
        </p:nvSpPr>
        <p:spPr>
          <a:xfrm>
            <a:off x="7141939" y="4095991"/>
            <a:ext cx="457082" cy="558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6000" y="20617"/>
                </a:lnTo>
                <a:lnTo>
                  <a:pt x="6000" y="982"/>
                </a:lnTo>
                <a:lnTo>
                  <a:pt x="13200" y="982"/>
                </a:lnTo>
                <a:lnTo>
                  <a:pt x="13200" y="6872"/>
                </a:lnTo>
                <a:lnTo>
                  <a:pt x="15600" y="4909"/>
                </a:lnTo>
                <a:lnTo>
                  <a:pt x="18000" y="6872"/>
                </a:lnTo>
                <a:lnTo>
                  <a:pt x="180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4800" y="20617"/>
                </a:move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4800" y="982"/>
                </a:lnTo>
                <a:cubicBezTo>
                  <a:pt x="4800" y="982"/>
                  <a:pt x="4800" y="20617"/>
                  <a:pt x="4800" y="20617"/>
                </a:cubicBezTo>
                <a:close/>
                <a:moveTo>
                  <a:pt x="14400" y="982"/>
                </a:moveTo>
                <a:lnTo>
                  <a:pt x="16800" y="982"/>
                </a:lnTo>
                <a:lnTo>
                  <a:pt x="16800" y="4418"/>
                </a:lnTo>
                <a:lnTo>
                  <a:pt x="15600" y="3436"/>
                </a:lnTo>
                <a:lnTo>
                  <a:pt x="14400" y="4418"/>
                </a:lnTo>
                <a:cubicBezTo>
                  <a:pt x="14400" y="4418"/>
                  <a:pt x="14400" y="982"/>
                  <a:pt x="14400" y="982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1" name="Shape 2531"/>
          <p:cNvSpPr/>
          <p:nvPr/>
        </p:nvSpPr>
        <p:spPr>
          <a:xfrm>
            <a:off x="8208461" y="4095990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7200" y="20618"/>
                </a:lnTo>
                <a:lnTo>
                  <a:pt x="72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6000" y="20618"/>
                </a:moveTo>
                <a:lnTo>
                  <a:pt x="3600" y="20618"/>
                </a:lnTo>
                <a:cubicBezTo>
                  <a:pt x="2937" y="20618"/>
                  <a:pt x="2400" y="20179"/>
                  <a:pt x="2400" y="19636"/>
                </a:cubicBezTo>
                <a:lnTo>
                  <a:pt x="2400" y="18655"/>
                </a:lnTo>
                <a:lnTo>
                  <a:pt x="3000" y="18655"/>
                </a:lnTo>
                <a:cubicBezTo>
                  <a:pt x="3332" y="18655"/>
                  <a:pt x="3600" y="18435"/>
                  <a:pt x="3600" y="18164"/>
                </a:cubicBezTo>
                <a:cubicBezTo>
                  <a:pt x="3600" y="17893"/>
                  <a:pt x="3332" y="17673"/>
                  <a:pt x="3000" y="17673"/>
                </a:cubicBezTo>
                <a:lnTo>
                  <a:pt x="2400" y="17673"/>
                </a:lnTo>
                <a:lnTo>
                  <a:pt x="2400" y="15709"/>
                </a:lnTo>
                <a:lnTo>
                  <a:pt x="3000" y="15709"/>
                </a:lnTo>
                <a:cubicBezTo>
                  <a:pt x="3332" y="15709"/>
                  <a:pt x="3600" y="15490"/>
                  <a:pt x="3600" y="15218"/>
                </a:cubicBezTo>
                <a:cubicBezTo>
                  <a:pt x="3600" y="14947"/>
                  <a:pt x="3332" y="14727"/>
                  <a:pt x="3000" y="14727"/>
                </a:cubicBezTo>
                <a:lnTo>
                  <a:pt x="2400" y="14727"/>
                </a:lnTo>
                <a:lnTo>
                  <a:pt x="2400" y="12764"/>
                </a:lnTo>
                <a:lnTo>
                  <a:pt x="3000" y="12764"/>
                </a:lnTo>
                <a:cubicBezTo>
                  <a:pt x="3332" y="12764"/>
                  <a:pt x="3600" y="12544"/>
                  <a:pt x="3600" y="12273"/>
                </a:cubicBezTo>
                <a:cubicBezTo>
                  <a:pt x="3600" y="12002"/>
                  <a:pt x="3332" y="11782"/>
                  <a:pt x="3000" y="11782"/>
                </a:cubicBezTo>
                <a:lnTo>
                  <a:pt x="2400" y="11782"/>
                </a:lnTo>
                <a:lnTo>
                  <a:pt x="2400" y="9818"/>
                </a:lnTo>
                <a:lnTo>
                  <a:pt x="3000" y="9818"/>
                </a:lnTo>
                <a:cubicBezTo>
                  <a:pt x="3332" y="9818"/>
                  <a:pt x="3600" y="9599"/>
                  <a:pt x="3600" y="9327"/>
                </a:cubicBezTo>
                <a:cubicBezTo>
                  <a:pt x="3600" y="9056"/>
                  <a:pt x="3332" y="8836"/>
                  <a:pt x="3000" y="8836"/>
                </a:cubicBezTo>
                <a:lnTo>
                  <a:pt x="2400" y="8836"/>
                </a:lnTo>
                <a:lnTo>
                  <a:pt x="2400" y="6873"/>
                </a:lnTo>
                <a:lnTo>
                  <a:pt x="3000" y="6873"/>
                </a:lnTo>
                <a:cubicBezTo>
                  <a:pt x="3332" y="6873"/>
                  <a:pt x="3600" y="6653"/>
                  <a:pt x="3600" y="6382"/>
                </a:cubicBezTo>
                <a:cubicBezTo>
                  <a:pt x="3600" y="6111"/>
                  <a:pt x="3332" y="5891"/>
                  <a:pt x="3000" y="5891"/>
                </a:cubicBezTo>
                <a:lnTo>
                  <a:pt x="2400" y="5891"/>
                </a:lnTo>
                <a:lnTo>
                  <a:pt x="2400" y="3927"/>
                </a:lnTo>
                <a:lnTo>
                  <a:pt x="3000" y="3927"/>
                </a:lnTo>
                <a:cubicBezTo>
                  <a:pt x="3332" y="3927"/>
                  <a:pt x="3600" y="3708"/>
                  <a:pt x="3600" y="3436"/>
                </a:cubicBezTo>
                <a:cubicBezTo>
                  <a:pt x="3600" y="3166"/>
                  <a:pt x="3332" y="2945"/>
                  <a:pt x="3000" y="2945"/>
                </a:cubicBezTo>
                <a:lnTo>
                  <a:pt x="2400" y="2945"/>
                </a:lnTo>
                <a:lnTo>
                  <a:pt x="2400" y="1964"/>
                </a:lnTo>
                <a:cubicBezTo>
                  <a:pt x="2400" y="1422"/>
                  <a:pt x="2937" y="982"/>
                  <a:pt x="3600" y="982"/>
                </a:cubicBezTo>
                <a:lnTo>
                  <a:pt x="6000" y="982"/>
                </a:lnTo>
                <a:cubicBezTo>
                  <a:pt x="6000" y="982"/>
                  <a:pt x="6000" y="20618"/>
                  <a:pt x="6000" y="20618"/>
                </a:cubicBezTo>
                <a:close/>
                <a:moveTo>
                  <a:pt x="19200" y="0"/>
                </a:moveTo>
                <a:lnTo>
                  <a:pt x="3600" y="0"/>
                </a:lnTo>
                <a:cubicBezTo>
                  <a:pt x="2275" y="0"/>
                  <a:pt x="1200" y="879"/>
                  <a:pt x="1200" y="1964"/>
                </a:cubicBezTo>
                <a:lnTo>
                  <a:pt x="1200" y="2945"/>
                </a:lnTo>
                <a:lnTo>
                  <a:pt x="600" y="2945"/>
                </a:lnTo>
                <a:cubicBezTo>
                  <a:pt x="268" y="2945"/>
                  <a:pt x="0" y="3166"/>
                  <a:pt x="0" y="3436"/>
                </a:cubicBezTo>
                <a:cubicBezTo>
                  <a:pt x="0" y="3708"/>
                  <a:pt x="268" y="3927"/>
                  <a:pt x="600" y="3927"/>
                </a:cubicBezTo>
                <a:lnTo>
                  <a:pt x="1200" y="3927"/>
                </a:lnTo>
                <a:lnTo>
                  <a:pt x="1200" y="5891"/>
                </a:lnTo>
                <a:lnTo>
                  <a:pt x="600" y="5891"/>
                </a:lnTo>
                <a:cubicBezTo>
                  <a:pt x="268" y="5891"/>
                  <a:pt x="0" y="6111"/>
                  <a:pt x="0" y="6382"/>
                </a:cubicBezTo>
                <a:cubicBezTo>
                  <a:pt x="0" y="6653"/>
                  <a:pt x="268" y="6873"/>
                  <a:pt x="600" y="6873"/>
                </a:cubicBezTo>
                <a:lnTo>
                  <a:pt x="1200" y="6873"/>
                </a:lnTo>
                <a:lnTo>
                  <a:pt x="1200" y="8836"/>
                </a:lnTo>
                <a:lnTo>
                  <a:pt x="600" y="8836"/>
                </a:lnTo>
                <a:cubicBezTo>
                  <a:pt x="268" y="8836"/>
                  <a:pt x="0" y="9056"/>
                  <a:pt x="0" y="9327"/>
                </a:cubicBezTo>
                <a:cubicBezTo>
                  <a:pt x="0" y="9599"/>
                  <a:pt x="268" y="9818"/>
                  <a:pt x="600" y="9818"/>
                </a:cubicBezTo>
                <a:lnTo>
                  <a:pt x="1200" y="9818"/>
                </a:lnTo>
                <a:lnTo>
                  <a:pt x="1200" y="11782"/>
                </a:lnTo>
                <a:lnTo>
                  <a:pt x="600" y="11782"/>
                </a:lnTo>
                <a:cubicBezTo>
                  <a:pt x="268" y="11782"/>
                  <a:pt x="0" y="12002"/>
                  <a:pt x="0" y="12273"/>
                </a:cubicBezTo>
                <a:cubicBezTo>
                  <a:pt x="0" y="12544"/>
                  <a:pt x="268" y="12764"/>
                  <a:pt x="600" y="12764"/>
                </a:cubicBezTo>
                <a:lnTo>
                  <a:pt x="1200" y="12764"/>
                </a:lnTo>
                <a:lnTo>
                  <a:pt x="1200" y="14727"/>
                </a:lnTo>
                <a:lnTo>
                  <a:pt x="600" y="14727"/>
                </a:lnTo>
                <a:cubicBezTo>
                  <a:pt x="268" y="14727"/>
                  <a:pt x="0" y="14947"/>
                  <a:pt x="0" y="15218"/>
                </a:cubicBezTo>
                <a:cubicBezTo>
                  <a:pt x="0" y="15490"/>
                  <a:pt x="268" y="15709"/>
                  <a:pt x="600" y="15709"/>
                </a:cubicBezTo>
                <a:lnTo>
                  <a:pt x="1200" y="15709"/>
                </a:lnTo>
                <a:lnTo>
                  <a:pt x="1200" y="17673"/>
                </a:lnTo>
                <a:lnTo>
                  <a:pt x="600" y="17673"/>
                </a:lnTo>
                <a:cubicBezTo>
                  <a:pt x="268" y="17673"/>
                  <a:pt x="0" y="17893"/>
                  <a:pt x="0" y="18164"/>
                </a:cubicBezTo>
                <a:cubicBezTo>
                  <a:pt x="0" y="18435"/>
                  <a:pt x="268" y="18655"/>
                  <a:pt x="600" y="18655"/>
                </a:cubicBezTo>
                <a:lnTo>
                  <a:pt x="1200" y="18655"/>
                </a:lnTo>
                <a:lnTo>
                  <a:pt x="1200" y="19636"/>
                </a:lnTo>
                <a:cubicBezTo>
                  <a:pt x="1200" y="20721"/>
                  <a:pt x="2275" y="21600"/>
                  <a:pt x="36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2" name="Shape 2532"/>
          <p:cNvSpPr/>
          <p:nvPr/>
        </p:nvSpPr>
        <p:spPr>
          <a:xfrm>
            <a:off x="9274983" y="4095990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3"/>
                  <a:pt x="14400" y="6873"/>
                </a:cubicBezTo>
                <a:lnTo>
                  <a:pt x="20400" y="6873"/>
                </a:lnTo>
                <a:cubicBezTo>
                  <a:pt x="20400" y="6873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4800" y="8836"/>
                </a:moveTo>
                <a:cubicBezTo>
                  <a:pt x="4800" y="9108"/>
                  <a:pt x="5068" y="9327"/>
                  <a:pt x="5400" y="9327"/>
                </a:cubicBezTo>
                <a:lnTo>
                  <a:pt x="16200" y="9327"/>
                </a:lnTo>
                <a:cubicBezTo>
                  <a:pt x="16532" y="9327"/>
                  <a:pt x="16800" y="9108"/>
                  <a:pt x="16800" y="8836"/>
                </a:cubicBezTo>
                <a:cubicBezTo>
                  <a:pt x="16800" y="8566"/>
                  <a:pt x="16532" y="8345"/>
                  <a:pt x="16200" y="8345"/>
                </a:cubicBezTo>
                <a:lnTo>
                  <a:pt x="5400" y="8345"/>
                </a:lnTo>
                <a:cubicBezTo>
                  <a:pt x="5068" y="8345"/>
                  <a:pt x="4800" y="8566"/>
                  <a:pt x="4800" y="8836"/>
                </a:cubicBezTo>
                <a:moveTo>
                  <a:pt x="16200" y="12273"/>
                </a:moveTo>
                <a:lnTo>
                  <a:pt x="5400" y="12273"/>
                </a:lnTo>
                <a:cubicBezTo>
                  <a:pt x="5068" y="12273"/>
                  <a:pt x="4800" y="12493"/>
                  <a:pt x="4800" y="12764"/>
                </a:cubicBezTo>
                <a:cubicBezTo>
                  <a:pt x="4800" y="13035"/>
                  <a:pt x="5068" y="13255"/>
                  <a:pt x="5400" y="13255"/>
                </a:cubicBezTo>
                <a:lnTo>
                  <a:pt x="16200" y="13255"/>
                </a:lnTo>
                <a:cubicBezTo>
                  <a:pt x="16532" y="13255"/>
                  <a:pt x="16800" y="13035"/>
                  <a:pt x="16800" y="12764"/>
                </a:cubicBezTo>
                <a:cubicBezTo>
                  <a:pt x="16800" y="12493"/>
                  <a:pt x="16532" y="12273"/>
                  <a:pt x="16200" y="12273"/>
                </a:cubicBezTo>
                <a:moveTo>
                  <a:pt x="5400" y="5400"/>
                </a:moveTo>
                <a:lnTo>
                  <a:pt x="8400" y="5400"/>
                </a:lnTo>
                <a:cubicBezTo>
                  <a:pt x="8732" y="5400"/>
                  <a:pt x="9000" y="5181"/>
                  <a:pt x="9000" y="4909"/>
                </a:cubicBezTo>
                <a:cubicBezTo>
                  <a:pt x="9000" y="4638"/>
                  <a:pt x="8732" y="4418"/>
                  <a:pt x="8400" y="4418"/>
                </a:cubicBezTo>
                <a:lnTo>
                  <a:pt x="5400" y="4418"/>
                </a:lnTo>
                <a:cubicBezTo>
                  <a:pt x="5068" y="4418"/>
                  <a:pt x="4800" y="4638"/>
                  <a:pt x="4800" y="4909"/>
                </a:cubicBezTo>
                <a:cubicBezTo>
                  <a:pt x="4800" y="5181"/>
                  <a:pt x="5068" y="5400"/>
                  <a:pt x="5400" y="5400"/>
                </a:cubicBezTo>
                <a:moveTo>
                  <a:pt x="12600" y="16200"/>
                </a:moveTo>
                <a:lnTo>
                  <a:pt x="5400" y="16200"/>
                </a:lnTo>
                <a:cubicBezTo>
                  <a:pt x="5068" y="16200"/>
                  <a:pt x="4800" y="16420"/>
                  <a:pt x="4800" y="16691"/>
                </a:cubicBezTo>
                <a:cubicBezTo>
                  <a:pt x="4800" y="16962"/>
                  <a:pt x="5068" y="17182"/>
                  <a:pt x="5400" y="17182"/>
                </a:cubicBezTo>
                <a:lnTo>
                  <a:pt x="12600" y="17182"/>
                </a:lnTo>
                <a:cubicBezTo>
                  <a:pt x="12932" y="17182"/>
                  <a:pt x="13200" y="16962"/>
                  <a:pt x="13200" y="16691"/>
                </a:cubicBezTo>
                <a:cubicBezTo>
                  <a:pt x="13200" y="16420"/>
                  <a:pt x="12932" y="16200"/>
                  <a:pt x="12600" y="16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3" name="Shape 2533"/>
          <p:cNvSpPr/>
          <p:nvPr/>
        </p:nvSpPr>
        <p:spPr>
          <a:xfrm>
            <a:off x="10341508" y="4095990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7"/>
                </a:lnTo>
                <a:lnTo>
                  <a:pt x="13929" y="8836"/>
                </a:lnTo>
                <a:cubicBezTo>
                  <a:pt x="13929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9"/>
                  <a:pt x="13862" y="20618"/>
                  <a:pt x="13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6873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1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9" y="3927"/>
                </a:lnTo>
                <a:cubicBezTo>
                  <a:pt x="19929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8" y="3927"/>
                  <a:pt x="6600" y="3927"/>
                </a:cubicBezTo>
                <a:cubicBezTo>
                  <a:pt x="6932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8" y="15709"/>
                  <a:pt x="16800" y="15929"/>
                  <a:pt x="16800" y="16200"/>
                </a:cubicBezTo>
                <a:cubicBezTo>
                  <a:pt x="16800" y="16472"/>
                  <a:pt x="17068" y="16691"/>
                  <a:pt x="17400" y="16691"/>
                </a:cubicBezTo>
                <a:lnTo>
                  <a:pt x="19200" y="16691"/>
                </a:lnTo>
                <a:cubicBezTo>
                  <a:pt x="20525" y="16691"/>
                  <a:pt x="21600" y="15812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  <a:moveTo>
                  <a:pt x="3600" y="12273"/>
                </a:moveTo>
                <a:cubicBezTo>
                  <a:pt x="3600" y="12544"/>
                  <a:pt x="3868" y="12764"/>
                  <a:pt x="4200" y="12764"/>
                </a:cubicBezTo>
                <a:lnTo>
                  <a:pt x="11400" y="12764"/>
                </a:lnTo>
                <a:cubicBezTo>
                  <a:pt x="11732" y="12764"/>
                  <a:pt x="12000" y="12544"/>
                  <a:pt x="12000" y="12273"/>
                </a:cubicBezTo>
                <a:cubicBezTo>
                  <a:pt x="12000" y="12002"/>
                  <a:pt x="11732" y="11782"/>
                  <a:pt x="11400" y="11782"/>
                </a:cubicBezTo>
                <a:lnTo>
                  <a:pt x="4200" y="11782"/>
                </a:lnTo>
                <a:cubicBezTo>
                  <a:pt x="3868" y="11782"/>
                  <a:pt x="3600" y="12002"/>
                  <a:pt x="3600" y="12273"/>
                </a:cubicBezTo>
                <a:moveTo>
                  <a:pt x="4200" y="9818"/>
                </a:moveTo>
                <a:lnTo>
                  <a:pt x="6600" y="9818"/>
                </a:lnTo>
                <a:cubicBezTo>
                  <a:pt x="6932" y="9818"/>
                  <a:pt x="7200" y="9599"/>
                  <a:pt x="7200" y="9327"/>
                </a:cubicBezTo>
                <a:cubicBezTo>
                  <a:pt x="7200" y="9056"/>
                  <a:pt x="6932" y="8836"/>
                  <a:pt x="66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9000" y="17673"/>
                </a:moveTo>
                <a:lnTo>
                  <a:pt x="4200" y="17673"/>
                </a:lnTo>
                <a:cubicBezTo>
                  <a:pt x="3868" y="17673"/>
                  <a:pt x="3600" y="17893"/>
                  <a:pt x="3600" y="18164"/>
                </a:cubicBezTo>
                <a:cubicBezTo>
                  <a:pt x="3600" y="18435"/>
                  <a:pt x="3868" y="18655"/>
                  <a:pt x="4200" y="18655"/>
                </a:cubicBezTo>
                <a:lnTo>
                  <a:pt x="9000" y="18655"/>
                </a:lnTo>
                <a:cubicBezTo>
                  <a:pt x="9332" y="18655"/>
                  <a:pt x="9600" y="18435"/>
                  <a:pt x="9600" y="18164"/>
                </a:cubicBezTo>
                <a:cubicBezTo>
                  <a:pt x="9600" y="17893"/>
                  <a:pt x="9332" y="17673"/>
                  <a:pt x="9000" y="17673"/>
                </a:cubicBezTo>
                <a:moveTo>
                  <a:pt x="11400" y="14727"/>
                </a:moveTo>
                <a:lnTo>
                  <a:pt x="4200" y="14727"/>
                </a:lnTo>
                <a:cubicBezTo>
                  <a:pt x="3868" y="14727"/>
                  <a:pt x="3600" y="14947"/>
                  <a:pt x="3600" y="15218"/>
                </a:cubicBezTo>
                <a:cubicBezTo>
                  <a:pt x="3600" y="15490"/>
                  <a:pt x="3868" y="15709"/>
                  <a:pt x="4200" y="15709"/>
                </a:cubicBezTo>
                <a:lnTo>
                  <a:pt x="11400" y="15709"/>
                </a:lnTo>
                <a:cubicBezTo>
                  <a:pt x="11732" y="15709"/>
                  <a:pt x="12000" y="15490"/>
                  <a:pt x="12000" y="15218"/>
                </a:cubicBezTo>
                <a:cubicBezTo>
                  <a:pt x="12000" y="14947"/>
                  <a:pt x="11732" y="14727"/>
                  <a:pt x="11400" y="147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4" name="Shape 2534"/>
          <p:cNvSpPr/>
          <p:nvPr/>
        </p:nvSpPr>
        <p:spPr>
          <a:xfrm>
            <a:off x="11408029" y="4095991"/>
            <a:ext cx="457082" cy="558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5" name="Shape 2535"/>
          <p:cNvSpPr/>
          <p:nvPr/>
        </p:nvSpPr>
        <p:spPr>
          <a:xfrm>
            <a:off x="1809328" y="5162513"/>
            <a:ext cx="457082" cy="558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6"/>
                </a:lnTo>
                <a:lnTo>
                  <a:pt x="13928" y="8836"/>
                </a:lnTo>
                <a:cubicBezTo>
                  <a:pt x="13928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8"/>
                  <a:pt x="13862" y="20617"/>
                  <a:pt x="13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6872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2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0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8" y="3927"/>
                </a:lnTo>
                <a:cubicBezTo>
                  <a:pt x="19928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9" y="3927"/>
                  <a:pt x="6600" y="3927"/>
                </a:cubicBezTo>
                <a:cubicBezTo>
                  <a:pt x="6931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9" y="15709"/>
                  <a:pt x="16800" y="15929"/>
                  <a:pt x="16800" y="16199"/>
                </a:cubicBezTo>
                <a:cubicBezTo>
                  <a:pt x="16800" y="16471"/>
                  <a:pt x="17069" y="16690"/>
                  <a:pt x="17400" y="16690"/>
                </a:cubicBezTo>
                <a:lnTo>
                  <a:pt x="19200" y="16690"/>
                </a:lnTo>
                <a:cubicBezTo>
                  <a:pt x="20525" y="16690"/>
                  <a:pt x="21600" y="15811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6" name="Shape 2536"/>
          <p:cNvSpPr/>
          <p:nvPr/>
        </p:nvSpPr>
        <p:spPr>
          <a:xfrm>
            <a:off x="2825064" y="516251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18" y="11782"/>
                </a:moveTo>
                <a:lnTo>
                  <a:pt x="14236" y="11782"/>
                </a:lnTo>
                <a:cubicBezTo>
                  <a:pt x="14507" y="11782"/>
                  <a:pt x="14727" y="11562"/>
                  <a:pt x="14727" y="11291"/>
                </a:cubicBezTo>
                <a:cubicBezTo>
                  <a:pt x="14727" y="11020"/>
                  <a:pt x="14507" y="10800"/>
                  <a:pt x="14236" y="10800"/>
                </a:cubicBezTo>
                <a:lnTo>
                  <a:pt x="4418" y="10800"/>
                </a:lnTo>
                <a:cubicBezTo>
                  <a:pt x="4147" y="10800"/>
                  <a:pt x="3927" y="11020"/>
                  <a:pt x="3927" y="11291"/>
                </a:cubicBezTo>
                <a:cubicBezTo>
                  <a:pt x="3927" y="11562"/>
                  <a:pt x="4147" y="11782"/>
                  <a:pt x="4418" y="11782"/>
                </a:cubicBezTo>
                <a:moveTo>
                  <a:pt x="20618" y="20618"/>
                </a:moveTo>
                <a:lnTo>
                  <a:pt x="5891" y="20618"/>
                </a:lnTo>
                <a:lnTo>
                  <a:pt x="5891" y="16200"/>
                </a:lnTo>
                <a:cubicBezTo>
                  <a:pt x="5891" y="15929"/>
                  <a:pt x="5671" y="15709"/>
                  <a:pt x="5400" y="15709"/>
                </a:cubicBez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0618"/>
                  <a:pt x="20618" y="20618"/>
                </a:cubicBezTo>
                <a:close/>
                <a:moveTo>
                  <a:pt x="4909" y="20127"/>
                </a:moveTo>
                <a:lnTo>
                  <a:pt x="1473" y="16691"/>
                </a:lnTo>
                <a:lnTo>
                  <a:pt x="4909" y="16691"/>
                </a:lnTo>
                <a:cubicBezTo>
                  <a:pt x="4909" y="16691"/>
                  <a:pt x="4909" y="20127"/>
                  <a:pt x="4909" y="20127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lnTo>
                  <a:pt x="4909" y="21600"/>
                </a:lnTo>
                <a:lnTo>
                  <a:pt x="20618" y="21600"/>
                </a:lnTo>
                <a:cubicBezTo>
                  <a:pt x="21160" y="21600"/>
                  <a:pt x="21600" y="21161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418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4418" y="7855"/>
                </a:lnTo>
                <a:cubicBezTo>
                  <a:pt x="4147" y="7855"/>
                  <a:pt x="3927" y="8075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4418" y="5891"/>
                </a:moveTo>
                <a:lnTo>
                  <a:pt x="10309" y="5891"/>
                </a:lnTo>
                <a:cubicBezTo>
                  <a:pt x="10580" y="5891"/>
                  <a:pt x="10800" y="5672"/>
                  <a:pt x="10800" y="5400"/>
                </a:cubicBezTo>
                <a:cubicBezTo>
                  <a:pt x="10800" y="5129"/>
                  <a:pt x="10580" y="4909"/>
                  <a:pt x="10309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cubicBezTo>
                  <a:pt x="3927" y="5672"/>
                  <a:pt x="4147" y="5891"/>
                  <a:pt x="4418" y="58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7" name="Shape 2537"/>
          <p:cNvSpPr/>
          <p:nvPr/>
        </p:nvSpPr>
        <p:spPr>
          <a:xfrm>
            <a:off x="3942375" y="5162513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3600" y="13745"/>
                </a:lnTo>
                <a:cubicBezTo>
                  <a:pt x="3269" y="13745"/>
                  <a:pt x="3000" y="13966"/>
                  <a:pt x="3000" y="14236"/>
                </a:cubicBezTo>
                <a:cubicBezTo>
                  <a:pt x="3000" y="14508"/>
                  <a:pt x="3269" y="14727"/>
                  <a:pt x="3600" y="14727"/>
                </a:cubicBezTo>
                <a:lnTo>
                  <a:pt x="14400" y="14727"/>
                </a:lnTo>
                <a:cubicBezTo>
                  <a:pt x="14731" y="14727"/>
                  <a:pt x="15000" y="14508"/>
                  <a:pt x="15000" y="14236"/>
                </a:cubicBezTo>
                <a:cubicBezTo>
                  <a:pt x="15000" y="13966"/>
                  <a:pt x="14731" y="13745"/>
                  <a:pt x="14400" y="13745"/>
                </a:cubicBezTo>
                <a:moveTo>
                  <a:pt x="3000" y="11291"/>
                </a:moveTo>
                <a:cubicBezTo>
                  <a:pt x="3000" y="11562"/>
                  <a:pt x="3269" y="11782"/>
                  <a:pt x="3600" y="11782"/>
                </a:cubicBezTo>
                <a:lnTo>
                  <a:pt x="18000" y="11782"/>
                </a:lnTo>
                <a:cubicBezTo>
                  <a:pt x="18331" y="11782"/>
                  <a:pt x="18600" y="11562"/>
                  <a:pt x="18600" y="11291"/>
                </a:cubicBezTo>
                <a:cubicBezTo>
                  <a:pt x="18600" y="11020"/>
                  <a:pt x="18331" y="10800"/>
                  <a:pt x="18000" y="10800"/>
                </a:cubicBezTo>
                <a:lnTo>
                  <a:pt x="3600" y="10800"/>
                </a:lnTo>
                <a:cubicBezTo>
                  <a:pt x="3269" y="10800"/>
                  <a:pt x="3000" y="11020"/>
                  <a:pt x="3000" y="11291"/>
                </a:cubicBezTo>
                <a:moveTo>
                  <a:pt x="20400" y="20618"/>
                </a:moveTo>
                <a:lnTo>
                  <a:pt x="6600" y="20618"/>
                </a:lnTo>
                <a:lnTo>
                  <a:pt x="1200" y="16200"/>
                </a:lnTo>
                <a:lnTo>
                  <a:pt x="1200" y="2945"/>
                </a:lnTo>
                <a:lnTo>
                  <a:pt x="4200" y="2945"/>
                </a:lnTo>
                <a:lnTo>
                  <a:pt x="4200" y="4418"/>
                </a:lnTo>
                <a:cubicBezTo>
                  <a:pt x="4200" y="4690"/>
                  <a:pt x="4469" y="4909"/>
                  <a:pt x="4800" y="4909"/>
                </a:cubicBezTo>
                <a:cubicBezTo>
                  <a:pt x="5131" y="4909"/>
                  <a:pt x="5400" y="4690"/>
                  <a:pt x="5400" y="4418"/>
                </a:cubicBezTo>
                <a:lnTo>
                  <a:pt x="5400" y="2945"/>
                </a:lnTo>
                <a:lnTo>
                  <a:pt x="6600" y="2945"/>
                </a:lnTo>
                <a:lnTo>
                  <a:pt x="6600" y="4418"/>
                </a:lnTo>
                <a:cubicBezTo>
                  <a:pt x="6600" y="4690"/>
                  <a:pt x="6869" y="4909"/>
                  <a:pt x="7200" y="4909"/>
                </a:cubicBezTo>
                <a:cubicBezTo>
                  <a:pt x="7531" y="4909"/>
                  <a:pt x="7800" y="4690"/>
                  <a:pt x="7800" y="4418"/>
                </a:cubicBezTo>
                <a:lnTo>
                  <a:pt x="7800" y="2945"/>
                </a:lnTo>
                <a:lnTo>
                  <a:pt x="9000" y="2945"/>
                </a:lnTo>
                <a:lnTo>
                  <a:pt x="9000" y="4418"/>
                </a:lnTo>
                <a:cubicBezTo>
                  <a:pt x="9000" y="4690"/>
                  <a:pt x="9269" y="4909"/>
                  <a:pt x="9600" y="4909"/>
                </a:cubicBezTo>
                <a:cubicBezTo>
                  <a:pt x="9931" y="4909"/>
                  <a:pt x="10200" y="4690"/>
                  <a:pt x="10200" y="4418"/>
                </a:cubicBezTo>
                <a:lnTo>
                  <a:pt x="10200" y="2945"/>
                </a:lnTo>
                <a:lnTo>
                  <a:pt x="11400" y="2945"/>
                </a:lnTo>
                <a:lnTo>
                  <a:pt x="11400" y="4418"/>
                </a:lnTo>
                <a:cubicBezTo>
                  <a:pt x="11400" y="4690"/>
                  <a:pt x="11669" y="4909"/>
                  <a:pt x="12000" y="4909"/>
                </a:cubicBezTo>
                <a:cubicBezTo>
                  <a:pt x="12331" y="4909"/>
                  <a:pt x="12600" y="4690"/>
                  <a:pt x="12600" y="4418"/>
                </a:cubicBezTo>
                <a:lnTo>
                  <a:pt x="12600" y="2945"/>
                </a:lnTo>
                <a:lnTo>
                  <a:pt x="13800" y="2945"/>
                </a:lnTo>
                <a:lnTo>
                  <a:pt x="13800" y="4418"/>
                </a:lnTo>
                <a:cubicBezTo>
                  <a:pt x="13800" y="4690"/>
                  <a:pt x="14069" y="4909"/>
                  <a:pt x="14400" y="4909"/>
                </a:cubicBezTo>
                <a:cubicBezTo>
                  <a:pt x="14731" y="4909"/>
                  <a:pt x="15000" y="4690"/>
                  <a:pt x="15000" y="4418"/>
                </a:cubicBezTo>
                <a:lnTo>
                  <a:pt x="15000" y="2945"/>
                </a:lnTo>
                <a:lnTo>
                  <a:pt x="16200" y="2945"/>
                </a:lnTo>
                <a:lnTo>
                  <a:pt x="16200" y="4418"/>
                </a:lnTo>
                <a:cubicBezTo>
                  <a:pt x="16200" y="4690"/>
                  <a:pt x="16469" y="4909"/>
                  <a:pt x="16800" y="4909"/>
                </a:cubicBezTo>
                <a:cubicBezTo>
                  <a:pt x="17131" y="4909"/>
                  <a:pt x="17400" y="4690"/>
                  <a:pt x="17400" y="4418"/>
                </a:cubicBezTo>
                <a:lnTo>
                  <a:pt x="17400" y="2945"/>
                </a:lnTo>
                <a:lnTo>
                  <a:pt x="20400" y="2945"/>
                </a:lnTo>
                <a:cubicBezTo>
                  <a:pt x="20400" y="2945"/>
                  <a:pt x="20400" y="20618"/>
                  <a:pt x="20400" y="20618"/>
                </a:cubicBezTo>
                <a:close/>
                <a:moveTo>
                  <a:pt x="1200" y="20618"/>
                </a:moveTo>
                <a:lnTo>
                  <a:pt x="1200" y="17673"/>
                </a:lnTo>
                <a:lnTo>
                  <a:pt x="4800" y="20618"/>
                </a:lnTo>
                <a:cubicBezTo>
                  <a:pt x="4800" y="20618"/>
                  <a:pt x="1200" y="20618"/>
                  <a:pt x="1200" y="20618"/>
                </a:cubicBezTo>
                <a:close/>
                <a:moveTo>
                  <a:pt x="20400" y="1964"/>
                </a:moveTo>
                <a:lnTo>
                  <a:pt x="17400" y="1964"/>
                </a:lnTo>
                <a:lnTo>
                  <a:pt x="17400" y="491"/>
                </a:lnTo>
                <a:cubicBezTo>
                  <a:pt x="17400" y="220"/>
                  <a:pt x="17131" y="0"/>
                  <a:pt x="16800" y="0"/>
                </a:cubicBezTo>
                <a:cubicBezTo>
                  <a:pt x="16469" y="0"/>
                  <a:pt x="16200" y="220"/>
                  <a:pt x="16200" y="491"/>
                </a:cubicBezTo>
                <a:lnTo>
                  <a:pt x="16200" y="1964"/>
                </a:lnTo>
                <a:lnTo>
                  <a:pt x="15000" y="1964"/>
                </a:lnTo>
                <a:lnTo>
                  <a:pt x="15000" y="491"/>
                </a:lnTo>
                <a:cubicBezTo>
                  <a:pt x="15000" y="220"/>
                  <a:pt x="14731" y="0"/>
                  <a:pt x="14400" y="0"/>
                </a:cubicBezTo>
                <a:cubicBezTo>
                  <a:pt x="14069" y="0"/>
                  <a:pt x="13800" y="220"/>
                  <a:pt x="13800" y="491"/>
                </a:cubicBezTo>
                <a:lnTo>
                  <a:pt x="13800" y="1964"/>
                </a:lnTo>
                <a:lnTo>
                  <a:pt x="12600" y="1964"/>
                </a:lnTo>
                <a:lnTo>
                  <a:pt x="12600" y="491"/>
                </a:lnTo>
                <a:cubicBezTo>
                  <a:pt x="12600" y="220"/>
                  <a:pt x="12331" y="0"/>
                  <a:pt x="12000" y="0"/>
                </a:cubicBezTo>
                <a:cubicBezTo>
                  <a:pt x="11669" y="0"/>
                  <a:pt x="11400" y="220"/>
                  <a:pt x="11400" y="491"/>
                </a:cubicBezTo>
                <a:lnTo>
                  <a:pt x="11400" y="1964"/>
                </a:lnTo>
                <a:lnTo>
                  <a:pt x="10200" y="1964"/>
                </a:lnTo>
                <a:lnTo>
                  <a:pt x="10200" y="491"/>
                </a:lnTo>
                <a:cubicBezTo>
                  <a:pt x="10200" y="220"/>
                  <a:pt x="9931" y="0"/>
                  <a:pt x="9600" y="0"/>
                </a:cubicBezTo>
                <a:cubicBezTo>
                  <a:pt x="9269" y="0"/>
                  <a:pt x="9000" y="220"/>
                  <a:pt x="9000" y="491"/>
                </a:cubicBezTo>
                <a:lnTo>
                  <a:pt x="9000" y="1964"/>
                </a:lnTo>
                <a:lnTo>
                  <a:pt x="7800" y="1964"/>
                </a:lnTo>
                <a:lnTo>
                  <a:pt x="7800" y="491"/>
                </a:lnTo>
                <a:cubicBezTo>
                  <a:pt x="7800" y="220"/>
                  <a:pt x="7531" y="0"/>
                  <a:pt x="7200" y="0"/>
                </a:cubicBezTo>
                <a:cubicBezTo>
                  <a:pt x="6869" y="0"/>
                  <a:pt x="6600" y="220"/>
                  <a:pt x="6600" y="491"/>
                </a:cubicBezTo>
                <a:lnTo>
                  <a:pt x="6600" y="1964"/>
                </a:lnTo>
                <a:lnTo>
                  <a:pt x="5400" y="1964"/>
                </a:lnTo>
                <a:lnTo>
                  <a:pt x="5400" y="491"/>
                </a:lnTo>
                <a:cubicBezTo>
                  <a:pt x="5400" y="220"/>
                  <a:pt x="5131" y="0"/>
                  <a:pt x="4800" y="0"/>
                </a:cubicBezTo>
                <a:cubicBezTo>
                  <a:pt x="4469" y="0"/>
                  <a:pt x="4200" y="220"/>
                  <a:pt x="4200" y="491"/>
                </a:cubicBezTo>
                <a:lnTo>
                  <a:pt x="4200" y="1964"/>
                </a:lnTo>
                <a:lnTo>
                  <a:pt x="1200" y="1964"/>
                </a:lnTo>
                <a:cubicBezTo>
                  <a:pt x="538" y="1964"/>
                  <a:pt x="0" y="2404"/>
                  <a:pt x="0" y="2945"/>
                </a:cubicBezTo>
                <a:lnTo>
                  <a:pt x="0" y="20618"/>
                </a:lnTo>
                <a:cubicBezTo>
                  <a:pt x="0" y="21161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1"/>
                  <a:pt x="21600" y="20618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3600" y="8836"/>
                </a:moveTo>
                <a:lnTo>
                  <a:pt x="10800" y="8836"/>
                </a:lnTo>
                <a:cubicBezTo>
                  <a:pt x="11131" y="8836"/>
                  <a:pt x="11400" y="8617"/>
                  <a:pt x="11400" y="8345"/>
                </a:cubicBezTo>
                <a:cubicBezTo>
                  <a:pt x="11400" y="8075"/>
                  <a:pt x="11131" y="7855"/>
                  <a:pt x="10800" y="7855"/>
                </a:cubicBezTo>
                <a:lnTo>
                  <a:pt x="3600" y="7855"/>
                </a:lnTo>
                <a:cubicBezTo>
                  <a:pt x="3269" y="7855"/>
                  <a:pt x="3000" y="8075"/>
                  <a:pt x="3000" y="8345"/>
                </a:cubicBezTo>
                <a:cubicBezTo>
                  <a:pt x="3000" y="8617"/>
                  <a:pt x="3269" y="8836"/>
                  <a:pt x="3600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8" name="Shape 2538"/>
          <p:cNvSpPr/>
          <p:nvPr/>
        </p:nvSpPr>
        <p:spPr>
          <a:xfrm>
            <a:off x="5008896" y="5162513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39" name="Shape 2539"/>
          <p:cNvSpPr/>
          <p:nvPr/>
        </p:nvSpPr>
        <p:spPr>
          <a:xfrm>
            <a:off x="6024631" y="5251391"/>
            <a:ext cx="558654" cy="380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0" name="Shape 2540"/>
          <p:cNvSpPr/>
          <p:nvPr/>
        </p:nvSpPr>
        <p:spPr>
          <a:xfrm>
            <a:off x="7091154" y="516251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1" name="Shape 2541"/>
          <p:cNvSpPr/>
          <p:nvPr/>
        </p:nvSpPr>
        <p:spPr>
          <a:xfrm>
            <a:off x="8208461" y="5213301"/>
            <a:ext cx="457082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2" name="Shape 2542"/>
          <p:cNvSpPr/>
          <p:nvPr/>
        </p:nvSpPr>
        <p:spPr>
          <a:xfrm>
            <a:off x="9224197" y="516251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10309"/>
                </a:moveTo>
                <a:lnTo>
                  <a:pt x="4909" y="10309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10309"/>
                  <a:pt x="16691" y="10309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1291"/>
                </a:lnTo>
                <a:lnTo>
                  <a:pt x="16691" y="11291"/>
                </a:lnTo>
                <a:cubicBezTo>
                  <a:pt x="16691" y="11291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3" name="Shape 2543"/>
          <p:cNvSpPr/>
          <p:nvPr/>
        </p:nvSpPr>
        <p:spPr>
          <a:xfrm>
            <a:off x="10290720" y="516251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8655"/>
                </a:moveTo>
                <a:lnTo>
                  <a:pt x="14727" y="18655"/>
                </a:lnTo>
                <a:lnTo>
                  <a:pt x="14727" y="19636"/>
                </a:lnTo>
                <a:lnTo>
                  <a:pt x="15709" y="19636"/>
                </a:lnTo>
                <a:cubicBezTo>
                  <a:pt x="15709" y="19636"/>
                  <a:pt x="15709" y="18655"/>
                  <a:pt x="15709" y="18655"/>
                </a:cubicBezTo>
                <a:close/>
                <a:moveTo>
                  <a:pt x="15709" y="14727"/>
                </a:moveTo>
                <a:lnTo>
                  <a:pt x="14727" y="14727"/>
                </a:lnTo>
                <a:lnTo>
                  <a:pt x="14727" y="15709"/>
                </a:lnTo>
                <a:lnTo>
                  <a:pt x="15709" y="15709"/>
                </a:lnTo>
                <a:cubicBezTo>
                  <a:pt x="15709" y="15709"/>
                  <a:pt x="15709" y="14727"/>
                  <a:pt x="15709" y="14727"/>
                </a:cubicBezTo>
                <a:close/>
                <a:moveTo>
                  <a:pt x="14727" y="10800"/>
                </a:moveTo>
                <a:lnTo>
                  <a:pt x="15709" y="10800"/>
                </a:lnTo>
                <a:lnTo>
                  <a:pt x="15709" y="9818"/>
                </a:lnTo>
                <a:lnTo>
                  <a:pt x="14727" y="9818"/>
                </a:lnTo>
                <a:cubicBezTo>
                  <a:pt x="14727" y="9818"/>
                  <a:pt x="14727" y="10800"/>
                  <a:pt x="14727" y="10800"/>
                </a:cubicBezTo>
                <a:close/>
                <a:moveTo>
                  <a:pt x="15709" y="16691"/>
                </a:moveTo>
                <a:lnTo>
                  <a:pt x="14727" y="16691"/>
                </a:lnTo>
                <a:lnTo>
                  <a:pt x="14727" y="17673"/>
                </a:lnTo>
                <a:lnTo>
                  <a:pt x="15709" y="17673"/>
                </a:lnTo>
                <a:cubicBezTo>
                  <a:pt x="15709" y="17673"/>
                  <a:pt x="15709" y="16691"/>
                  <a:pt x="15709" y="16691"/>
                </a:cubicBezTo>
                <a:close/>
                <a:moveTo>
                  <a:pt x="14727" y="8836"/>
                </a:moveTo>
                <a:lnTo>
                  <a:pt x="15709" y="8836"/>
                </a:lnTo>
                <a:lnTo>
                  <a:pt x="15709" y="7855"/>
                </a:lnTo>
                <a:lnTo>
                  <a:pt x="14727" y="7855"/>
                </a:lnTo>
                <a:cubicBezTo>
                  <a:pt x="14727" y="7855"/>
                  <a:pt x="14727" y="8836"/>
                  <a:pt x="14727" y="8836"/>
                </a:cubicBezTo>
                <a:close/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1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7" y="6873"/>
                </a:moveTo>
                <a:lnTo>
                  <a:pt x="15709" y="6873"/>
                </a:lnTo>
                <a:lnTo>
                  <a:pt x="15709" y="5891"/>
                </a:lnTo>
                <a:lnTo>
                  <a:pt x="14727" y="5891"/>
                </a:lnTo>
                <a:cubicBezTo>
                  <a:pt x="14727" y="5891"/>
                  <a:pt x="14727" y="6873"/>
                  <a:pt x="14727" y="6873"/>
                </a:cubicBezTo>
                <a:close/>
                <a:moveTo>
                  <a:pt x="16691" y="12273"/>
                </a:moveTo>
                <a:lnTo>
                  <a:pt x="13745" y="12273"/>
                </a:lnTo>
                <a:lnTo>
                  <a:pt x="13745" y="4909"/>
                </a:ln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2273"/>
                  <a:pt x="16691" y="12273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3745" y="20618"/>
                </a:lnTo>
                <a:lnTo>
                  <a:pt x="13745" y="13255"/>
                </a:lnTo>
                <a:lnTo>
                  <a:pt x="16691" y="13255"/>
                </a:lnTo>
                <a:cubicBezTo>
                  <a:pt x="16691" y="13255"/>
                  <a:pt x="16691" y="19636"/>
                  <a:pt x="16691" y="19636"/>
                </a:cubicBezTo>
                <a:close/>
                <a:moveTo>
                  <a:pt x="12764" y="12273"/>
                </a:moveTo>
                <a:lnTo>
                  <a:pt x="4909" y="12273"/>
                </a:lnTo>
                <a:lnTo>
                  <a:pt x="4909" y="4909"/>
                </a:lnTo>
                <a:lnTo>
                  <a:pt x="12764" y="4909"/>
                </a:lnTo>
                <a:cubicBezTo>
                  <a:pt x="12764" y="4909"/>
                  <a:pt x="12764" y="12273"/>
                  <a:pt x="12764" y="12273"/>
                </a:cubicBezTo>
                <a:close/>
                <a:moveTo>
                  <a:pt x="12764" y="20618"/>
                </a:moveTo>
                <a:lnTo>
                  <a:pt x="4909" y="20618"/>
                </a:lnTo>
                <a:lnTo>
                  <a:pt x="4909" y="13255"/>
                </a:lnTo>
                <a:lnTo>
                  <a:pt x="12764" y="13255"/>
                </a:lnTo>
                <a:cubicBezTo>
                  <a:pt x="12764" y="13255"/>
                  <a:pt x="12764" y="20618"/>
                  <a:pt x="12764" y="20618"/>
                </a:cubicBezTo>
                <a:close/>
                <a:moveTo>
                  <a:pt x="3927" y="12273"/>
                </a:moveTo>
                <a:lnTo>
                  <a:pt x="982" y="12273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3927" y="4909"/>
                </a:lnTo>
                <a:cubicBezTo>
                  <a:pt x="3927" y="4909"/>
                  <a:pt x="3927" y="12273"/>
                  <a:pt x="3927" y="12273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255"/>
                </a:lnTo>
                <a:lnTo>
                  <a:pt x="3927" y="13255"/>
                </a:lnTo>
                <a:cubicBezTo>
                  <a:pt x="3927" y="13255"/>
                  <a:pt x="3927" y="20618"/>
                  <a:pt x="3927" y="20618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1964" y="10800"/>
                </a:moveTo>
                <a:lnTo>
                  <a:pt x="2945" y="10800"/>
                </a:lnTo>
                <a:lnTo>
                  <a:pt x="2945" y="9818"/>
                </a:lnTo>
                <a:lnTo>
                  <a:pt x="1964" y="9818"/>
                </a:lnTo>
                <a:cubicBezTo>
                  <a:pt x="1964" y="9818"/>
                  <a:pt x="1964" y="10800"/>
                  <a:pt x="1964" y="10800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4" name="Shape 2544"/>
          <p:cNvSpPr/>
          <p:nvPr/>
        </p:nvSpPr>
        <p:spPr>
          <a:xfrm>
            <a:off x="11357242" y="516251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8255"/>
                </a:moveTo>
                <a:lnTo>
                  <a:pt x="12837" y="10800"/>
                </a:lnTo>
                <a:lnTo>
                  <a:pt x="8836" y="13345"/>
                </a:lnTo>
                <a:cubicBezTo>
                  <a:pt x="8836" y="13345"/>
                  <a:pt x="8836" y="8255"/>
                  <a:pt x="8836" y="8255"/>
                </a:cubicBezTo>
                <a:close/>
                <a:moveTo>
                  <a:pt x="8345" y="14727"/>
                </a:moveTo>
                <a:cubicBezTo>
                  <a:pt x="8461" y="14727"/>
                  <a:pt x="8564" y="14681"/>
                  <a:pt x="8647" y="14614"/>
                </a:cubicBezTo>
                <a:lnTo>
                  <a:pt x="8652" y="14620"/>
                </a:lnTo>
                <a:lnTo>
                  <a:pt x="14052" y="11184"/>
                </a:lnTo>
                <a:lnTo>
                  <a:pt x="14047" y="11178"/>
                </a:lnTo>
                <a:cubicBezTo>
                  <a:pt x="14160" y="11088"/>
                  <a:pt x="14236" y="10955"/>
                  <a:pt x="14236" y="10800"/>
                </a:cubicBezTo>
                <a:cubicBezTo>
                  <a:pt x="14236" y="10645"/>
                  <a:pt x="14160" y="10512"/>
                  <a:pt x="14047" y="10422"/>
                </a:cubicBezTo>
                <a:lnTo>
                  <a:pt x="14052" y="10417"/>
                </a:lnTo>
                <a:lnTo>
                  <a:pt x="8652" y="6980"/>
                </a:lnTo>
                <a:lnTo>
                  <a:pt x="8647" y="6986"/>
                </a:lnTo>
                <a:cubicBezTo>
                  <a:pt x="8564" y="6919"/>
                  <a:pt x="8461" y="6873"/>
                  <a:pt x="8345" y="6873"/>
                </a:cubicBezTo>
                <a:cubicBezTo>
                  <a:pt x="8074" y="6873"/>
                  <a:pt x="7855" y="7093"/>
                  <a:pt x="7855" y="7364"/>
                </a:cubicBezTo>
                <a:lnTo>
                  <a:pt x="7855" y="14236"/>
                </a:lnTo>
                <a:cubicBezTo>
                  <a:pt x="7855" y="14507"/>
                  <a:pt x="8074" y="14727"/>
                  <a:pt x="8345" y="14727"/>
                </a:cubicBezTo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5" name="Shape 2545"/>
          <p:cNvSpPr/>
          <p:nvPr/>
        </p:nvSpPr>
        <p:spPr>
          <a:xfrm>
            <a:off x="1758543" y="622903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9"/>
                </a:moveTo>
                <a:cubicBezTo>
                  <a:pt x="5377" y="20619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3336" y="982"/>
                  <a:pt x="15638" y="1950"/>
                  <a:pt x="17377" y="3529"/>
                </a:cubicBezTo>
                <a:lnTo>
                  <a:pt x="10453" y="10453"/>
                </a:lnTo>
                <a:cubicBezTo>
                  <a:pt x="10364" y="10542"/>
                  <a:pt x="10309" y="10665"/>
                  <a:pt x="10309" y="10800"/>
                </a:cubicBezTo>
                <a:cubicBezTo>
                  <a:pt x="10309" y="11072"/>
                  <a:pt x="10529" y="11291"/>
                  <a:pt x="10800" y="11291"/>
                </a:cubicBezTo>
                <a:lnTo>
                  <a:pt x="20594" y="11291"/>
                </a:lnTo>
                <a:cubicBezTo>
                  <a:pt x="20336" y="16484"/>
                  <a:pt x="16057" y="20619"/>
                  <a:pt x="10800" y="20619"/>
                </a:cubicBezTo>
                <a:moveTo>
                  <a:pt x="20594" y="10309"/>
                </a:moveTo>
                <a:lnTo>
                  <a:pt x="11985" y="10309"/>
                </a:lnTo>
                <a:lnTo>
                  <a:pt x="18071" y="4223"/>
                </a:lnTo>
                <a:cubicBezTo>
                  <a:pt x="19541" y="5852"/>
                  <a:pt x="20477" y="7971"/>
                  <a:pt x="20594" y="10309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6" name="Shape 2546"/>
          <p:cNvSpPr/>
          <p:nvPr/>
        </p:nvSpPr>
        <p:spPr>
          <a:xfrm>
            <a:off x="2825064" y="6279822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7" name="Shape 2547"/>
          <p:cNvSpPr/>
          <p:nvPr/>
        </p:nvSpPr>
        <p:spPr>
          <a:xfrm>
            <a:off x="3891587" y="622903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8" name="Shape 2548"/>
          <p:cNvSpPr/>
          <p:nvPr/>
        </p:nvSpPr>
        <p:spPr>
          <a:xfrm>
            <a:off x="4958109" y="6444879"/>
            <a:ext cx="558654" cy="1269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7280"/>
                </a:moveTo>
                <a:cubicBezTo>
                  <a:pt x="18332" y="17280"/>
                  <a:pt x="17673" y="14380"/>
                  <a:pt x="17673" y="10800"/>
                </a:cubicBezTo>
                <a:cubicBezTo>
                  <a:pt x="17673" y="7224"/>
                  <a:pt x="18332" y="4320"/>
                  <a:pt x="19145" y="4320"/>
                </a:cubicBezTo>
                <a:cubicBezTo>
                  <a:pt x="19959" y="4320"/>
                  <a:pt x="20618" y="7224"/>
                  <a:pt x="20618" y="10800"/>
                </a:cubicBezTo>
                <a:cubicBezTo>
                  <a:pt x="20618" y="14380"/>
                  <a:pt x="19959" y="17280"/>
                  <a:pt x="19145" y="17280"/>
                </a:cubicBezTo>
                <a:moveTo>
                  <a:pt x="19145" y="0"/>
                </a:moveTo>
                <a:cubicBezTo>
                  <a:pt x="17790" y="0"/>
                  <a:pt x="16691" y="4837"/>
                  <a:pt x="16691" y="10800"/>
                </a:cubicBezTo>
                <a:cubicBezTo>
                  <a:pt x="16691" y="16766"/>
                  <a:pt x="17790" y="21600"/>
                  <a:pt x="19145" y="21600"/>
                </a:cubicBezTo>
                <a:cubicBezTo>
                  <a:pt x="20501" y="21600"/>
                  <a:pt x="21600" y="16766"/>
                  <a:pt x="21600" y="10800"/>
                </a:cubicBezTo>
                <a:cubicBezTo>
                  <a:pt x="21600" y="4837"/>
                  <a:pt x="20501" y="0"/>
                  <a:pt x="19145" y="0"/>
                </a:cubicBezTo>
                <a:moveTo>
                  <a:pt x="10800" y="17280"/>
                </a:moveTo>
                <a:cubicBezTo>
                  <a:pt x="9986" y="17280"/>
                  <a:pt x="9327" y="14380"/>
                  <a:pt x="9327" y="10800"/>
                </a:cubicBezTo>
                <a:cubicBezTo>
                  <a:pt x="9327" y="7224"/>
                  <a:pt x="9986" y="4320"/>
                  <a:pt x="10800" y="4320"/>
                </a:cubicBezTo>
                <a:cubicBezTo>
                  <a:pt x="11614" y="4320"/>
                  <a:pt x="12273" y="7224"/>
                  <a:pt x="12273" y="10800"/>
                </a:cubicBezTo>
                <a:cubicBezTo>
                  <a:pt x="12273" y="14380"/>
                  <a:pt x="11614" y="17280"/>
                  <a:pt x="10800" y="17280"/>
                </a:cubicBezTo>
                <a:moveTo>
                  <a:pt x="10800" y="0"/>
                </a:moveTo>
                <a:cubicBezTo>
                  <a:pt x="9444" y="0"/>
                  <a:pt x="8345" y="4837"/>
                  <a:pt x="8345" y="10800"/>
                </a:cubicBezTo>
                <a:cubicBezTo>
                  <a:pt x="8345" y="16766"/>
                  <a:pt x="9444" y="21600"/>
                  <a:pt x="10800" y="21600"/>
                </a:cubicBezTo>
                <a:cubicBezTo>
                  <a:pt x="12156" y="21600"/>
                  <a:pt x="13255" y="16766"/>
                  <a:pt x="13255" y="10800"/>
                </a:cubicBezTo>
                <a:cubicBezTo>
                  <a:pt x="13255" y="4837"/>
                  <a:pt x="12156" y="0"/>
                  <a:pt x="10800" y="0"/>
                </a:cubicBezTo>
                <a:moveTo>
                  <a:pt x="2455" y="17280"/>
                </a:moveTo>
                <a:cubicBezTo>
                  <a:pt x="1641" y="17280"/>
                  <a:pt x="982" y="14380"/>
                  <a:pt x="982" y="10800"/>
                </a:cubicBezTo>
                <a:cubicBezTo>
                  <a:pt x="982" y="7224"/>
                  <a:pt x="1641" y="4320"/>
                  <a:pt x="2455" y="4320"/>
                </a:cubicBezTo>
                <a:cubicBezTo>
                  <a:pt x="3268" y="4320"/>
                  <a:pt x="3927" y="7224"/>
                  <a:pt x="3927" y="10800"/>
                </a:cubicBezTo>
                <a:cubicBezTo>
                  <a:pt x="3927" y="14380"/>
                  <a:pt x="3268" y="17280"/>
                  <a:pt x="2455" y="17280"/>
                </a:cubicBezTo>
                <a:moveTo>
                  <a:pt x="2455" y="0"/>
                </a:moveTo>
                <a:cubicBezTo>
                  <a:pt x="1099" y="0"/>
                  <a:pt x="0" y="4837"/>
                  <a:pt x="0" y="10800"/>
                </a:cubicBezTo>
                <a:cubicBezTo>
                  <a:pt x="0" y="16766"/>
                  <a:pt x="1099" y="21600"/>
                  <a:pt x="2455" y="21600"/>
                </a:cubicBezTo>
                <a:cubicBezTo>
                  <a:pt x="3811" y="21600"/>
                  <a:pt x="4909" y="16766"/>
                  <a:pt x="4909" y="10800"/>
                </a:cubicBezTo>
                <a:cubicBezTo>
                  <a:pt x="4909" y="4837"/>
                  <a:pt x="3811" y="0"/>
                  <a:pt x="2455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49" name="Shape 2549"/>
          <p:cNvSpPr/>
          <p:nvPr/>
        </p:nvSpPr>
        <p:spPr>
          <a:xfrm>
            <a:off x="6024631" y="622903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1291"/>
                </a:moveTo>
                <a:cubicBezTo>
                  <a:pt x="10529" y="11291"/>
                  <a:pt x="10309" y="11072"/>
                  <a:pt x="10309" y="10800"/>
                </a:cubicBezTo>
                <a:cubicBezTo>
                  <a:pt x="10309" y="10529"/>
                  <a:pt x="10529" y="10309"/>
                  <a:pt x="10800" y="10309"/>
                </a:cubicBezTo>
                <a:cubicBezTo>
                  <a:pt x="11071" y="10309"/>
                  <a:pt x="11291" y="10529"/>
                  <a:pt x="11291" y="10800"/>
                </a:cubicBezTo>
                <a:cubicBezTo>
                  <a:pt x="11291" y="11072"/>
                  <a:pt x="11071" y="11291"/>
                  <a:pt x="10800" y="11291"/>
                </a:cubicBezTo>
                <a:moveTo>
                  <a:pt x="10800" y="9327"/>
                </a:moveTo>
                <a:cubicBezTo>
                  <a:pt x="9986" y="9327"/>
                  <a:pt x="9327" y="9987"/>
                  <a:pt x="9327" y="10800"/>
                </a:cubicBezTo>
                <a:cubicBezTo>
                  <a:pt x="9327" y="11614"/>
                  <a:pt x="9986" y="12273"/>
                  <a:pt x="10800" y="12273"/>
                </a:cubicBezTo>
                <a:cubicBezTo>
                  <a:pt x="11614" y="12273"/>
                  <a:pt x="12273" y="11614"/>
                  <a:pt x="12273" y="10800"/>
                </a:cubicBezTo>
                <a:cubicBezTo>
                  <a:pt x="12273" y="9987"/>
                  <a:pt x="11614" y="9327"/>
                  <a:pt x="10800" y="9327"/>
                </a:cubicBezTo>
                <a:moveTo>
                  <a:pt x="5400" y="11291"/>
                </a:moveTo>
                <a:cubicBezTo>
                  <a:pt x="5129" y="11291"/>
                  <a:pt x="4909" y="11072"/>
                  <a:pt x="4909" y="10800"/>
                </a:cubicBezTo>
                <a:cubicBezTo>
                  <a:pt x="4909" y="10529"/>
                  <a:pt x="5129" y="10309"/>
                  <a:pt x="5400" y="10309"/>
                </a:cubicBezTo>
                <a:cubicBezTo>
                  <a:pt x="5671" y="10309"/>
                  <a:pt x="5891" y="10529"/>
                  <a:pt x="5891" y="10800"/>
                </a:cubicBezTo>
                <a:cubicBezTo>
                  <a:pt x="5891" y="11072"/>
                  <a:pt x="5671" y="11291"/>
                  <a:pt x="5400" y="11291"/>
                </a:cubicBezTo>
                <a:moveTo>
                  <a:pt x="5400" y="9327"/>
                </a:moveTo>
                <a:cubicBezTo>
                  <a:pt x="4586" y="9327"/>
                  <a:pt x="3927" y="9987"/>
                  <a:pt x="3927" y="10800"/>
                </a:cubicBezTo>
                <a:cubicBezTo>
                  <a:pt x="3927" y="11614"/>
                  <a:pt x="4586" y="12273"/>
                  <a:pt x="5400" y="12273"/>
                </a:cubicBezTo>
                <a:cubicBezTo>
                  <a:pt x="6214" y="12273"/>
                  <a:pt x="6873" y="11614"/>
                  <a:pt x="6873" y="10800"/>
                </a:cubicBezTo>
                <a:cubicBezTo>
                  <a:pt x="6873" y="9987"/>
                  <a:pt x="6214" y="9327"/>
                  <a:pt x="5400" y="9327"/>
                </a:cubicBezTo>
                <a:moveTo>
                  <a:pt x="16200" y="11291"/>
                </a:moveTo>
                <a:cubicBezTo>
                  <a:pt x="15929" y="11291"/>
                  <a:pt x="15709" y="11072"/>
                  <a:pt x="15709" y="10800"/>
                </a:cubicBezTo>
                <a:cubicBezTo>
                  <a:pt x="15709" y="10529"/>
                  <a:pt x="15929" y="10309"/>
                  <a:pt x="16200" y="10309"/>
                </a:cubicBezTo>
                <a:cubicBezTo>
                  <a:pt x="16471" y="10309"/>
                  <a:pt x="16691" y="10529"/>
                  <a:pt x="16691" y="10800"/>
                </a:cubicBezTo>
                <a:cubicBezTo>
                  <a:pt x="16691" y="11072"/>
                  <a:pt x="16471" y="11291"/>
                  <a:pt x="16200" y="11291"/>
                </a:cubicBezTo>
                <a:moveTo>
                  <a:pt x="16200" y="9327"/>
                </a:moveTo>
                <a:cubicBezTo>
                  <a:pt x="15386" y="9327"/>
                  <a:pt x="14727" y="9987"/>
                  <a:pt x="14727" y="10800"/>
                </a:cubicBezTo>
                <a:cubicBezTo>
                  <a:pt x="14727" y="11614"/>
                  <a:pt x="15386" y="12273"/>
                  <a:pt x="16200" y="12273"/>
                </a:cubicBezTo>
                <a:cubicBezTo>
                  <a:pt x="17014" y="12273"/>
                  <a:pt x="17673" y="11614"/>
                  <a:pt x="17673" y="10800"/>
                </a:cubicBezTo>
                <a:cubicBezTo>
                  <a:pt x="17673" y="9987"/>
                  <a:pt x="17014" y="9327"/>
                  <a:pt x="16200" y="93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0" name="Shape 2550"/>
          <p:cNvSpPr/>
          <p:nvPr/>
        </p:nvSpPr>
        <p:spPr>
          <a:xfrm>
            <a:off x="7091154" y="622903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1" name="Shape 2551"/>
          <p:cNvSpPr/>
          <p:nvPr/>
        </p:nvSpPr>
        <p:spPr>
          <a:xfrm>
            <a:off x="8157677" y="622903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55" y="6010"/>
                </a:moveTo>
                <a:lnTo>
                  <a:pt x="18630" y="7136"/>
                </a:lnTo>
                <a:lnTo>
                  <a:pt x="14465" y="2970"/>
                </a:lnTo>
                <a:lnTo>
                  <a:pt x="15590" y="1845"/>
                </a:lnTo>
                <a:cubicBezTo>
                  <a:pt x="15590" y="1845"/>
                  <a:pt x="16391" y="982"/>
                  <a:pt x="17673" y="982"/>
                </a:cubicBezTo>
                <a:cubicBezTo>
                  <a:pt x="19300" y="982"/>
                  <a:pt x="20618" y="2300"/>
                  <a:pt x="20618" y="3927"/>
                </a:cubicBezTo>
                <a:cubicBezTo>
                  <a:pt x="20618" y="4741"/>
                  <a:pt x="20288" y="5477"/>
                  <a:pt x="19755" y="6010"/>
                </a:cubicBezTo>
                <a:moveTo>
                  <a:pt x="7364" y="18402"/>
                </a:moveTo>
                <a:lnTo>
                  <a:pt x="7364" y="14727"/>
                </a:lnTo>
                <a:cubicBezTo>
                  <a:pt x="7364" y="14456"/>
                  <a:pt x="7144" y="14236"/>
                  <a:pt x="6873" y="14236"/>
                </a:cubicBezTo>
                <a:lnTo>
                  <a:pt x="3198" y="14236"/>
                </a:lnTo>
                <a:lnTo>
                  <a:pt x="13770" y="3665"/>
                </a:lnTo>
                <a:lnTo>
                  <a:pt x="17935" y="7830"/>
                </a:lnTo>
                <a:cubicBezTo>
                  <a:pt x="17935" y="7830"/>
                  <a:pt x="7364" y="18402"/>
                  <a:pt x="7364" y="18402"/>
                </a:cubicBezTo>
                <a:close/>
                <a:moveTo>
                  <a:pt x="6382" y="19042"/>
                </a:moveTo>
                <a:lnTo>
                  <a:pt x="2945" y="19845"/>
                </a:lnTo>
                <a:lnTo>
                  <a:pt x="2945" y="18655"/>
                </a:lnTo>
                <a:lnTo>
                  <a:pt x="1755" y="18655"/>
                </a:lnTo>
                <a:lnTo>
                  <a:pt x="2558" y="15218"/>
                </a:lnTo>
                <a:lnTo>
                  <a:pt x="6382" y="15218"/>
                </a:lnTo>
                <a:cubicBezTo>
                  <a:pt x="6382" y="15218"/>
                  <a:pt x="6382" y="19042"/>
                  <a:pt x="6382" y="19042"/>
                </a:cubicBezTo>
                <a:close/>
                <a:moveTo>
                  <a:pt x="17673" y="0"/>
                </a:moveTo>
                <a:cubicBezTo>
                  <a:pt x="16588" y="0"/>
                  <a:pt x="15606" y="439"/>
                  <a:pt x="14896" y="1151"/>
                </a:cubicBezTo>
                <a:lnTo>
                  <a:pt x="1641" y="14405"/>
                </a:lnTo>
                <a:lnTo>
                  <a:pt x="0" y="21600"/>
                </a:lnTo>
                <a:lnTo>
                  <a:pt x="7195" y="19959"/>
                </a:lnTo>
                <a:lnTo>
                  <a:pt x="20449" y="6704"/>
                </a:lnTo>
                <a:cubicBezTo>
                  <a:pt x="21160" y="5994"/>
                  <a:pt x="21600" y="5012"/>
                  <a:pt x="21600" y="3927"/>
                </a:cubicBezTo>
                <a:cubicBezTo>
                  <a:pt x="21600" y="1758"/>
                  <a:pt x="19842" y="0"/>
                  <a:pt x="17673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2" name="Shape 2552"/>
          <p:cNvSpPr/>
          <p:nvPr/>
        </p:nvSpPr>
        <p:spPr>
          <a:xfrm>
            <a:off x="9224197" y="625443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3" name="Shape 2553"/>
          <p:cNvSpPr/>
          <p:nvPr/>
        </p:nvSpPr>
        <p:spPr>
          <a:xfrm>
            <a:off x="10290720" y="625443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8100"/>
                </a:moveTo>
                <a:cubicBezTo>
                  <a:pt x="14896" y="8100"/>
                  <a:pt x="14236" y="8826"/>
                  <a:pt x="14236" y="9720"/>
                </a:cubicBezTo>
                <a:cubicBezTo>
                  <a:pt x="14236" y="10615"/>
                  <a:pt x="14896" y="11340"/>
                  <a:pt x="15709" y="11340"/>
                </a:cubicBezTo>
                <a:cubicBezTo>
                  <a:pt x="16522" y="11340"/>
                  <a:pt x="17182" y="10615"/>
                  <a:pt x="17182" y="9720"/>
                </a:cubicBezTo>
                <a:cubicBezTo>
                  <a:pt x="17182" y="8826"/>
                  <a:pt x="16522" y="8100"/>
                  <a:pt x="15709" y="8100"/>
                </a:cubicBezTo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  <a:moveTo>
                  <a:pt x="10800" y="8100"/>
                </a:moveTo>
                <a:cubicBezTo>
                  <a:pt x="9987" y="8100"/>
                  <a:pt x="9327" y="8826"/>
                  <a:pt x="9327" y="9720"/>
                </a:cubicBezTo>
                <a:cubicBezTo>
                  <a:pt x="9327" y="10615"/>
                  <a:pt x="9987" y="11340"/>
                  <a:pt x="10800" y="11340"/>
                </a:cubicBezTo>
                <a:cubicBezTo>
                  <a:pt x="11613" y="11340"/>
                  <a:pt x="12273" y="10615"/>
                  <a:pt x="12273" y="9720"/>
                </a:cubicBezTo>
                <a:cubicBezTo>
                  <a:pt x="12273" y="8826"/>
                  <a:pt x="11613" y="8100"/>
                  <a:pt x="10800" y="8100"/>
                </a:cubicBezTo>
                <a:moveTo>
                  <a:pt x="5891" y="8100"/>
                </a:moveTo>
                <a:cubicBezTo>
                  <a:pt x="5078" y="8100"/>
                  <a:pt x="4418" y="8826"/>
                  <a:pt x="4418" y="9720"/>
                </a:cubicBezTo>
                <a:cubicBezTo>
                  <a:pt x="4418" y="10615"/>
                  <a:pt x="5078" y="11340"/>
                  <a:pt x="5891" y="11340"/>
                </a:cubicBezTo>
                <a:cubicBezTo>
                  <a:pt x="6704" y="11340"/>
                  <a:pt x="7364" y="10615"/>
                  <a:pt x="7364" y="9720"/>
                </a:cubicBezTo>
                <a:cubicBezTo>
                  <a:pt x="7364" y="8826"/>
                  <a:pt x="6704" y="8100"/>
                  <a:pt x="5891" y="81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4" name="Shape 2554"/>
          <p:cNvSpPr/>
          <p:nvPr/>
        </p:nvSpPr>
        <p:spPr>
          <a:xfrm>
            <a:off x="11357242" y="625443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18900"/>
                </a:moveTo>
                <a:cubicBezTo>
                  <a:pt x="7279" y="18900"/>
                  <a:pt x="6684" y="18827"/>
                  <a:pt x="6086" y="18683"/>
                </a:cubicBezTo>
                <a:cubicBezTo>
                  <a:pt x="6017" y="18666"/>
                  <a:pt x="5946" y="18658"/>
                  <a:pt x="5876" y="18658"/>
                </a:cubicBezTo>
                <a:cubicBezTo>
                  <a:pt x="5756" y="18658"/>
                  <a:pt x="5636" y="18682"/>
                  <a:pt x="5523" y="18729"/>
                </a:cubicBezTo>
                <a:lnTo>
                  <a:pt x="2957" y="19815"/>
                </a:lnTo>
                <a:lnTo>
                  <a:pt x="3365" y="18243"/>
                </a:lnTo>
                <a:cubicBezTo>
                  <a:pt x="3474" y="17827"/>
                  <a:pt x="3345" y="17380"/>
                  <a:pt x="3039" y="17108"/>
                </a:cubicBezTo>
                <a:cubicBezTo>
                  <a:pt x="1712" y="15926"/>
                  <a:pt x="982" y="14358"/>
                  <a:pt x="982" y="12690"/>
                </a:cubicBezTo>
                <a:cubicBezTo>
                  <a:pt x="982" y="9266"/>
                  <a:pt x="4065" y="6480"/>
                  <a:pt x="7855" y="6480"/>
                </a:cubicBezTo>
                <a:cubicBezTo>
                  <a:pt x="11644" y="6480"/>
                  <a:pt x="14727" y="9266"/>
                  <a:pt x="14727" y="12690"/>
                </a:cubicBezTo>
                <a:cubicBezTo>
                  <a:pt x="14727" y="16114"/>
                  <a:pt x="11644" y="18900"/>
                  <a:pt x="7855" y="18900"/>
                </a:cubicBezTo>
                <a:moveTo>
                  <a:pt x="7855" y="5400"/>
                </a:moveTo>
                <a:cubicBezTo>
                  <a:pt x="3517" y="5400"/>
                  <a:pt x="0" y="8664"/>
                  <a:pt x="0" y="12690"/>
                </a:cubicBezTo>
                <a:cubicBezTo>
                  <a:pt x="0" y="14758"/>
                  <a:pt x="932" y="16620"/>
                  <a:pt x="2422" y="17947"/>
                </a:cubicBezTo>
                <a:lnTo>
                  <a:pt x="1473" y="21600"/>
                </a:lnTo>
                <a:lnTo>
                  <a:pt x="5876" y="19738"/>
                </a:lnTo>
                <a:cubicBezTo>
                  <a:pt x="6509" y="19891"/>
                  <a:pt x="7169" y="19980"/>
                  <a:pt x="7855" y="19980"/>
                </a:cubicBezTo>
                <a:cubicBezTo>
                  <a:pt x="12192" y="19980"/>
                  <a:pt x="15709" y="16716"/>
                  <a:pt x="15709" y="12690"/>
                </a:cubicBezTo>
                <a:cubicBezTo>
                  <a:pt x="15709" y="8664"/>
                  <a:pt x="12192" y="5400"/>
                  <a:pt x="7855" y="5400"/>
                </a:cubicBezTo>
                <a:moveTo>
                  <a:pt x="21600" y="7290"/>
                </a:moveTo>
                <a:cubicBezTo>
                  <a:pt x="21600" y="3264"/>
                  <a:pt x="18084" y="0"/>
                  <a:pt x="13745" y="0"/>
                </a:cubicBezTo>
                <a:cubicBezTo>
                  <a:pt x="10506" y="0"/>
                  <a:pt x="7725" y="1821"/>
                  <a:pt x="6525" y="4422"/>
                </a:cubicBezTo>
                <a:cubicBezTo>
                  <a:pt x="6912" y="4367"/>
                  <a:pt x="7306" y="4332"/>
                  <a:pt x="7708" y="4326"/>
                </a:cubicBezTo>
                <a:cubicBezTo>
                  <a:pt x="8875" y="2394"/>
                  <a:pt x="11143" y="1080"/>
                  <a:pt x="13745" y="1080"/>
                </a:cubicBezTo>
                <a:cubicBezTo>
                  <a:pt x="17535" y="1080"/>
                  <a:pt x="20618" y="3866"/>
                  <a:pt x="20618" y="7290"/>
                </a:cubicBezTo>
                <a:cubicBezTo>
                  <a:pt x="20618" y="8958"/>
                  <a:pt x="19888" y="10526"/>
                  <a:pt x="18561" y="11707"/>
                </a:cubicBezTo>
                <a:cubicBezTo>
                  <a:pt x="18255" y="11980"/>
                  <a:pt x="18126" y="12428"/>
                  <a:pt x="18234" y="12843"/>
                </a:cubicBezTo>
                <a:lnTo>
                  <a:pt x="18643" y="14415"/>
                </a:lnTo>
                <a:lnTo>
                  <a:pt x="16613" y="13556"/>
                </a:lnTo>
                <a:cubicBezTo>
                  <a:pt x="16573" y="13922"/>
                  <a:pt x="16500" y="14278"/>
                  <a:pt x="16411" y="14628"/>
                </a:cubicBezTo>
                <a:lnTo>
                  <a:pt x="20127" y="16200"/>
                </a:lnTo>
                <a:lnTo>
                  <a:pt x="19178" y="12547"/>
                </a:lnTo>
                <a:cubicBezTo>
                  <a:pt x="20669" y="11220"/>
                  <a:pt x="21600" y="9358"/>
                  <a:pt x="21600" y="729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5" name="Shape 2555"/>
          <p:cNvSpPr/>
          <p:nvPr/>
        </p:nvSpPr>
        <p:spPr>
          <a:xfrm>
            <a:off x="1758543" y="729555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35"/>
                  <a:pt x="19650" y="15637"/>
                  <a:pt x="18073" y="1737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8266"/>
                  <a:pt x="1950" y="5963"/>
                  <a:pt x="3527" y="4221"/>
                </a:cubicBezTo>
                <a:lnTo>
                  <a:pt x="17379" y="18073"/>
                </a:lnTo>
                <a:cubicBezTo>
                  <a:pt x="15637" y="19650"/>
                  <a:pt x="13334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6" name="Shape 2556"/>
          <p:cNvSpPr/>
          <p:nvPr/>
        </p:nvSpPr>
        <p:spPr>
          <a:xfrm>
            <a:off x="2825064" y="729555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874" y="5396"/>
                </a:moveTo>
                <a:cubicBezTo>
                  <a:pt x="11493" y="5396"/>
                  <a:pt x="11166" y="5519"/>
                  <a:pt x="10894" y="5766"/>
                </a:cubicBezTo>
                <a:cubicBezTo>
                  <a:pt x="10621" y="6013"/>
                  <a:pt x="10484" y="6310"/>
                  <a:pt x="10484" y="6658"/>
                </a:cubicBezTo>
                <a:cubicBezTo>
                  <a:pt x="10484" y="7005"/>
                  <a:pt x="10621" y="7301"/>
                  <a:pt x="10894" y="7545"/>
                </a:cubicBezTo>
                <a:cubicBezTo>
                  <a:pt x="11166" y="7790"/>
                  <a:pt x="11493" y="7912"/>
                  <a:pt x="11874" y="7912"/>
                </a:cubicBezTo>
                <a:cubicBezTo>
                  <a:pt x="12255" y="7912"/>
                  <a:pt x="12581" y="7790"/>
                  <a:pt x="12852" y="7545"/>
                </a:cubicBezTo>
                <a:cubicBezTo>
                  <a:pt x="13122" y="7301"/>
                  <a:pt x="13257" y="7005"/>
                  <a:pt x="13257" y="6658"/>
                </a:cubicBezTo>
                <a:cubicBezTo>
                  <a:pt x="13257" y="6310"/>
                  <a:pt x="13122" y="6013"/>
                  <a:pt x="12852" y="5766"/>
                </a:cubicBezTo>
                <a:cubicBezTo>
                  <a:pt x="12581" y="5519"/>
                  <a:pt x="12255" y="5396"/>
                  <a:pt x="11874" y="5396"/>
                </a:cubicBezTo>
                <a:moveTo>
                  <a:pt x="12242" y="15228"/>
                </a:moveTo>
                <a:cubicBezTo>
                  <a:pt x="11942" y="15228"/>
                  <a:pt x="11730" y="15180"/>
                  <a:pt x="11608" y="15083"/>
                </a:cubicBezTo>
                <a:cubicBezTo>
                  <a:pt x="11486" y="14987"/>
                  <a:pt x="11425" y="14807"/>
                  <a:pt x="11425" y="14542"/>
                </a:cubicBezTo>
                <a:cubicBezTo>
                  <a:pt x="11425" y="14436"/>
                  <a:pt x="11444" y="14281"/>
                  <a:pt x="11482" y="14076"/>
                </a:cubicBezTo>
                <a:cubicBezTo>
                  <a:pt x="11519" y="13870"/>
                  <a:pt x="11562" y="13687"/>
                  <a:pt x="11609" y="13527"/>
                </a:cubicBezTo>
                <a:lnTo>
                  <a:pt x="12189" y="11532"/>
                </a:lnTo>
                <a:cubicBezTo>
                  <a:pt x="12246" y="11349"/>
                  <a:pt x="12284" y="11148"/>
                  <a:pt x="12306" y="10929"/>
                </a:cubicBezTo>
                <a:cubicBezTo>
                  <a:pt x="12327" y="10709"/>
                  <a:pt x="12337" y="10557"/>
                  <a:pt x="12337" y="10469"/>
                </a:cubicBezTo>
                <a:cubicBezTo>
                  <a:pt x="12337" y="10049"/>
                  <a:pt x="12185" y="9707"/>
                  <a:pt x="11882" y="9444"/>
                </a:cubicBezTo>
                <a:cubicBezTo>
                  <a:pt x="11578" y="9182"/>
                  <a:pt x="11146" y="9050"/>
                  <a:pt x="10586" y="9050"/>
                </a:cubicBezTo>
                <a:cubicBezTo>
                  <a:pt x="10275" y="9050"/>
                  <a:pt x="9945" y="9104"/>
                  <a:pt x="9597" y="9211"/>
                </a:cubicBezTo>
                <a:cubicBezTo>
                  <a:pt x="9248" y="9319"/>
                  <a:pt x="8884" y="9448"/>
                  <a:pt x="8502" y="9599"/>
                </a:cubicBezTo>
                <a:lnTo>
                  <a:pt x="8347" y="10216"/>
                </a:lnTo>
                <a:cubicBezTo>
                  <a:pt x="8460" y="10175"/>
                  <a:pt x="8595" y="10131"/>
                  <a:pt x="8753" y="10085"/>
                </a:cubicBezTo>
                <a:cubicBezTo>
                  <a:pt x="8911" y="10040"/>
                  <a:pt x="9066" y="10017"/>
                  <a:pt x="9217" y="10017"/>
                </a:cubicBezTo>
                <a:cubicBezTo>
                  <a:pt x="9524" y="10017"/>
                  <a:pt x="9731" y="10068"/>
                  <a:pt x="9839" y="10168"/>
                </a:cubicBezTo>
                <a:cubicBezTo>
                  <a:pt x="9948" y="10269"/>
                  <a:pt x="10002" y="10447"/>
                  <a:pt x="10002" y="10703"/>
                </a:cubicBezTo>
                <a:cubicBezTo>
                  <a:pt x="10002" y="10844"/>
                  <a:pt x="9985" y="11001"/>
                  <a:pt x="9949" y="11172"/>
                </a:cubicBezTo>
                <a:cubicBezTo>
                  <a:pt x="9914" y="11343"/>
                  <a:pt x="9870" y="11526"/>
                  <a:pt x="9818" y="11717"/>
                </a:cubicBezTo>
                <a:lnTo>
                  <a:pt x="9235" y="13719"/>
                </a:lnTo>
                <a:cubicBezTo>
                  <a:pt x="9184" y="13929"/>
                  <a:pt x="9146" y="14118"/>
                  <a:pt x="9123" y="14285"/>
                </a:cubicBezTo>
                <a:cubicBezTo>
                  <a:pt x="9100" y="14451"/>
                  <a:pt x="9088" y="14615"/>
                  <a:pt x="9088" y="14775"/>
                </a:cubicBezTo>
                <a:cubicBezTo>
                  <a:pt x="9088" y="15186"/>
                  <a:pt x="9244" y="15526"/>
                  <a:pt x="9556" y="15793"/>
                </a:cubicBezTo>
                <a:cubicBezTo>
                  <a:pt x="9869" y="16060"/>
                  <a:pt x="10308" y="16194"/>
                  <a:pt x="10872" y="16194"/>
                </a:cubicBezTo>
                <a:cubicBezTo>
                  <a:pt x="11239" y="16194"/>
                  <a:pt x="11561" y="16147"/>
                  <a:pt x="11839" y="16053"/>
                </a:cubicBezTo>
                <a:cubicBezTo>
                  <a:pt x="12117" y="15960"/>
                  <a:pt x="12488" y="15824"/>
                  <a:pt x="12954" y="15645"/>
                </a:cubicBezTo>
                <a:lnTo>
                  <a:pt x="13109" y="15028"/>
                </a:lnTo>
                <a:cubicBezTo>
                  <a:pt x="13029" y="15065"/>
                  <a:pt x="12900" y="15107"/>
                  <a:pt x="12721" y="15155"/>
                </a:cubicBezTo>
                <a:cubicBezTo>
                  <a:pt x="12543" y="15204"/>
                  <a:pt x="12383" y="15228"/>
                  <a:pt x="12242" y="1522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7" name="Shape 2557"/>
          <p:cNvSpPr/>
          <p:nvPr/>
        </p:nvSpPr>
        <p:spPr>
          <a:xfrm>
            <a:off x="3891587" y="729555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91" y="6559"/>
                </a:moveTo>
                <a:cubicBezTo>
                  <a:pt x="12727" y="6341"/>
                  <a:pt x="12420" y="6172"/>
                  <a:pt x="12078" y="6058"/>
                </a:cubicBezTo>
                <a:cubicBezTo>
                  <a:pt x="11737" y="5946"/>
                  <a:pt x="11367" y="5889"/>
                  <a:pt x="10978" y="5889"/>
                </a:cubicBezTo>
                <a:cubicBezTo>
                  <a:pt x="10477" y="5889"/>
                  <a:pt x="10025" y="5967"/>
                  <a:pt x="9633" y="6120"/>
                </a:cubicBezTo>
                <a:cubicBezTo>
                  <a:pt x="9239" y="6275"/>
                  <a:pt x="8900" y="6494"/>
                  <a:pt x="8623" y="6771"/>
                </a:cubicBezTo>
                <a:cubicBezTo>
                  <a:pt x="8346" y="7049"/>
                  <a:pt x="8133" y="7392"/>
                  <a:pt x="7992" y="7788"/>
                </a:cubicBezTo>
                <a:cubicBezTo>
                  <a:pt x="7853" y="8180"/>
                  <a:pt x="7782" y="8620"/>
                  <a:pt x="7782" y="9096"/>
                </a:cubicBezTo>
                <a:lnTo>
                  <a:pt x="7782" y="9217"/>
                </a:lnTo>
                <a:lnTo>
                  <a:pt x="8880" y="9217"/>
                </a:lnTo>
                <a:lnTo>
                  <a:pt x="8877" y="9093"/>
                </a:lnTo>
                <a:cubicBezTo>
                  <a:pt x="8868" y="8767"/>
                  <a:pt x="8908" y="8461"/>
                  <a:pt x="8993" y="8187"/>
                </a:cubicBezTo>
                <a:cubicBezTo>
                  <a:pt x="9079" y="7914"/>
                  <a:pt x="9207" y="7675"/>
                  <a:pt x="9377" y="7473"/>
                </a:cubicBezTo>
                <a:cubicBezTo>
                  <a:pt x="9545" y="7274"/>
                  <a:pt x="9762" y="7115"/>
                  <a:pt x="10024" y="7000"/>
                </a:cubicBezTo>
                <a:cubicBezTo>
                  <a:pt x="10287" y="6884"/>
                  <a:pt x="10594" y="6827"/>
                  <a:pt x="10937" y="6827"/>
                </a:cubicBezTo>
                <a:cubicBezTo>
                  <a:pt x="11182" y="6827"/>
                  <a:pt x="11418" y="6868"/>
                  <a:pt x="11639" y="6950"/>
                </a:cubicBezTo>
                <a:cubicBezTo>
                  <a:pt x="11858" y="7032"/>
                  <a:pt x="12053" y="7146"/>
                  <a:pt x="12218" y="7289"/>
                </a:cubicBezTo>
                <a:cubicBezTo>
                  <a:pt x="12381" y="7431"/>
                  <a:pt x="12512" y="7605"/>
                  <a:pt x="12609" y="7808"/>
                </a:cubicBezTo>
                <a:cubicBezTo>
                  <a:pt x="12704" y="8011"/>
                  <a:pt x="12752" y="8236"/>
                  <a:pt x="12752" y="8478"/>
                </a:cubicBezTo>
                <a:cubicBezTo>
                  <a:pt x="12752" y="8797"/>
                  <a:pt x="12674" y="9089"/>
                  <a:pt x="12519" y="9350"/>
                </a:cubicBezTo>
                <a:cubicBezTo>
                  <a:pt x="12359" y="9618"/>
                  <a:pt x="12154" y="9865"/>
                  <a:pt x="11913" y="10082"/>
                </a:cubicBezTo>
                <a:cubicBezTo>
                  <a:pt x="11624" y="10337"/>
                  <a:pt x="11374" y="10568"/>
                  <a:pt x="11170" y="10771"/>
                </a:cubicBezTo>
                <a:cubicBezTo>
                  <a:pt x="10959" y="10979"/>
                  <a:pt x="10789" y="11200"/>
                  <a:pt x="10662" y="11428"/>
                </a:cubicBezTo>
                <a:cubicBezTo>
                  <a:pt x="10534" y="11657"/>
                  <a:pt x="10441" y="11916"/>
                  <a:pt x="10385" y="12199"/>
                </a:cubicBezTo>
                <a:cubicBezTo>
                  <a:pt x="10329" y="12478"/>
                  <a:pt x="10305" y="12827"/>
                  <a:pt x="10315" y="13237"/>
                </a:cubicBezTo>
                <a:lnTo>
                  <a:pt x="10318" y="13355"/>
                </a:lnTo>
                <a:lnTo>
                  <a:pt x="11407" y="13355"/>
                </a:lnTo>
                <a:lnTo>
                  <a:pt x="11410" y="13237"/>
                </a:lnTo>
                <a:cubicBezTo>
                  <a:pt x="11418" y="12838"/>
                  <a:pt x="11436" y="12531"/>
                  <a:pt x="11463" y="12322"/>
                </a:cubicBezTo>
                <a:cubicBezTo>
                  <a:pt x="11488" y="12125"/>
                  <a:pt x="11538" y="11956"/>
                  <a:pt x="11611" y="11821"/>
                </a:cubicBezTo>
                <a:cubicBezTo>
                  <a:pt x="11687" y="11684"/>
                  <a:pt x="11803" y="11541"/>
                  <a:pt x="11959" y="11399"/>
                </a:cubicBezTo>
                <a:cubicBezTo>
                  <a:pt x="12127" y="11245"/>
                  <a:pt x="12351" y="11031"/>
                  <a:pt x="12630" y="10762"/>
                </a:cubicBezTo>
                <a:cubicBezTo>
                  <a:pt x="12979" y="10441"/>
                  <a:pt x="13270" y="10102"/>
                  <a:pt x="13495" y="9753"/>
                </a:cubicBezTo>
                <a:cubicBezTo>
                  <a:pt x="13729" y="9393"/>
                  <a:pt x="13847" y="8952"/>
                  <a:pt x="13847" y="8439"/>
                </a:cubicBezTo>
                <a:cubicBezTo>
                  <a:pt x="13847" y="8038"/>
                  <a:pt x="13770" y="7675"/>
                  <a:pt x="13618" y="7362"/>
                </a:cubicBezTo>
                <a:cubicBezTo>
                  <a:pt x="13467" y="7050"/>
                  <a:pt x="13256" y="6780"/>
                  <a:pt x="12991" y="6559"/>
                </a:cubicBezTo>
                <a:moveTo>
                  <a:pt x="10179" y="15706"/>
                </a:moveTo>
                <a:lnTo>
                  <a:pt x="11558" y="15706"/>
                </a:lnTo>
                <a:lnTo>
                  <a:pt x="11558" y="14072"/>
                </a:lnTo>
                <a:lnTo>
                  <a:pt x="10179" y="14072"/>
                </a:lnTo>
                <a:cubicBezTo>
                  <a:pt x="10179" y="14072"/>
                  <a:pt x="10179" y="15706"/>
                  <a:pt x="10179" y="15706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8" name="Shape 2558"/>
          <p:cNvSpPr/>
          <p:nvPr/>
        </p:nvSpPr>
        <p:spPr>
          <a:xfrm>
            <a:off x="4958109" y="729555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59" name="Shape 2559"/>
          <p:cNvSpPr/>
          <p:nvPr/>
        </p:nvSpPr>
        <p:spPr>
          <a:xfrm>
            <a:off x="6024631" y="7346344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0"/>
                  <a:pt x="982" y="16800"/>
                </a:cubicBezTo>
                <a:lnTo>
                  <a:pt x="2455" y="16800"/>
                </a:lnTo>
                <a:cubicBezTo>
                  <a:pt x="2725" y="16800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20618" y="20400"/>
                </a:move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0" name="Shape 2560"/>
          <p:cNvSpPr/>
          <p:nvPr/>
        </p:nvSpPr>
        <p:spPr>
          <a:xfrm>
            <a:off x="7091154" y="729555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3745"/>
                </a:moveTo>
                <a:cubicBezTo>
                  <a:pt x="2726" y="13745"/>
                  <a:pt x="2945" y="13526"/>
                  <a:pt x="2945" y="13255"/>
                </a:cubicBezTo>
                <a:cubicBezTo>
                  <a:pt x="2945" y="12984"/>
                  <a:pt x="2726" y="12764"/>
                  <a:pt x="2455" y="12764"/>
                </a:cubicBezTo>
                <a:lnTo>
                  <a:pt x="982" y="12764"/>
                </a:lnTo>
                <a:lnTo>
                  <a:pt x="982" y="982"/>
                </a:lnTo>
                <a:lnTo>
                  <a:pt x="16691" y="982"/>
                </a:lnTo>
                <a:lnTo>
                  <a:pt x="16691" y="2455"/>
                </a:lnTo>
                <a:cubicBezTo>
                  <a:pt x="16691" y="2726"/>
                  <a:pt x="16910" y="2945"/>
                  <a:pt x="17182" y="2945"/>
                </a:cubicBezTo>
                <a:cubicBezTo>
                  <a:pt x="17453" y="2945"/>
                  <a:pt x="17673" y="2726"/>
                  <a:pt x="17673" y="2455"/>
                </a:cubicBez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cubicBezTo>
                  <a:pt x="0" y="17233"/>
                  <a:pt x="440" y="17673"/>
                  <a:pt x="982" y="17673"/>
                </a:cubicBezTo>
                <a:lnTo>
                  <a:pt x="2455" y="17673"/>
                </a:lnTo>
                <a:cubicBezTo>
                  <a:pt x="2726" y="17673"/>
                  <a:pt x="2945" y="17453"/>
                  <a:pt x="2945" y="17182"/>
                </a:cubicBezTo>
                <a:cubicBezTo>
                  <a:pt x="2945" y="16911"/>
                  <a:pt x="2726" y="16691"/>
                  <a:pt x="2455" y="16691"/>
                </a:cubicBezTo>
                <a:lnTo>
                  <a:pt x="982" y="16691"/>
                </a:lnTo>
                <a:lnTo>
                  <a:pt x="982" y="13745"/>
                </a:lnTo>
                <a:cubicBezTo>
                  <a:pt x="982" y="13745"/>
                  <a:pt x="2455" y="13745"/>
                  <a:pt x="2455" y="13745"/>
                </a:cubicBezTo>
                <a:close/>
                <a:moveTo>
                  <a:pt x="20618" y="16691"/>
                </a:moveTo>
                <a:lnTo>
                  <a:pt x="4909" y="16691"/>
                </a:lnTo>
                <a:lnTo>
                  <a:pt x="4909" y="4909"/>
                </a:lnTo>
                <a:lnTo>
                  <a:pt x="20618" y="4909"/>
                </a:lnTo>
                <a:cubicBezTo>
                  <a:pt x="20618" y="4909"/>
                  <a:pt x="20618" y="16691"/>
                  <a:pt x="20618" y="16691"/>
                </a:cubicBezTo>
                <a:close/>
                <a:moveTo>
                  <a:pt x="20618" y="20618"/>
                </a:moveTo>
                <a:lnTo>
                  <a:pt x="4909" y="20618"/>
                </a:lnTo>
                <a:lnTo>
                  <a:pt x="4909" y="17673"/>
                </a:lnTo>
                <a:lnTo>
                  <a:pt x="20618" y="17673"/>
                </a:lnTo>
                <a:cubicBezTo>
                  <a:pt x="20618" y="17673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4909" y="3927"/>
                </a:lnTo>
                <a:cubicBezTo>
                  <a:pt x="4367" y="3927"/>
                  <a:pt x="3927" y="4367"/>
                  <a:pt x="3927" y="4909"/>
                </a:cubicBezTo>
                <a:lnTo>
                  <a:pt x="3927" y="20618"/>
                </a:lnTo>
                <a:cubicBezTo>
                  <a:pt x="3927" y="21160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1" name="Shape 2561"/>
          <p:cNvSpPr/>
          <p:nvPr/>
        </p:nvSpPr>
        <p:spPr>
          <a:xfrm>
            <a:off x="8157677" y="7346344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3600"/>
                </a:moveTo>
                <a:lnTo>
                  <a:pt x="19145" y="3600"/>
                </a:lnTo>
                <a:cubicBezTo>
                  <a:pt x="19417" y="3600"/>
                  <a:pt x="19636" y="3332"/>
                  <a:pt x="19636" y="3000"/>
                </a:cubicBezTo>
                <a:cubicBezTo>
                  <a:pt x="19636" y="2669"/>
                  <a:pt x="19417" y="2400"/>
                  <a:pt x="19145" y="2400"/>
                </a:cubicBezTo>
                <a:lnTo>
                  <a:pt x="2455" y="2400"/>
                </a:lnTo>
                <a:cubicBezTo>
                  <a:pt x="2183" y="2400"/>
                  <a:pt x="1964" y="2669"/>
                  <a:pt x="1964" y="3000"/>
                </a:cubicBezTo>
                <a:cubicBezTo>
                  <a:pt x="1964" y="3332"/>
                  <a:pt x="2183" y="3600"/>
                  <a:pt x="2455" y="3600"/>
                </a:cubicBezTo>
                <a:moveTo>
                  <a:pt x="20618" y="20400"/>
                </a:moveTo>
                <a:lnTo>
                  <a:pt x="982" y="20400"/>
                </a:lnTo>
                <a:lnTo>
                  <a:pt x="982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4418" y="1200"/>
                </a:moveTo>
                <a:lnTo>
                  <a:pt x="17182" y="1200"/>
                </a:lnTo>
                <a:cubicBezTo>
                  <a:pt x="17453" y="1200"/>
                  <a:pt x="17673" y="932"/>
                  <a:pt x="17673" y="600"/>
                </a:cubicBezTo>
                <a:cubicBezTo>
                  <a:pt x="17673" y="269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269"/>
                  <a:pt x="3927" y="600"/>
                </a:cubicBezTo>
                <a:cubicBezTo>
                  <a:pt x="3927" y="932"/>
                  <a:pt x="4147" y="1200"/>
                  <a:pt x="4418" y="1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2" name="Shape 2562"/>
          <p:cNvSpPr/>
          <p:nvPr/>
        </p:nvSpPr>
        <p:spPr>
          <a:xfrm>
            <a:off x="9224197" y="729555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1" y="20619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294" y="17673"/>
                </a:moveTo>
                <a:lnTo>
                  <a:pt x="8376" y="10732"/>
                </a:lnTo>
                <a:lnTo>
                  <a:pt x="10838" y="14425"/>
                </a:lnTo>
                <a:cubicBezTo>
                  <a:pt x="10862" y="14484"/>
                  <a:pt x="10898" y="14536"/>
                  <a:pt x="10942" y="14581"/>
                </a:cubicBezTo>
                <a:lnTo>
                  <a:pt x="10944" y="14583"/>
                </a:lnTo>
                <a:cubicBezTo>
                  <a:pt x="11033" y="14673"/>
                  <a:pt x="11155" y="14727"/>
                  <a:pt x="11291" y="14727"/>
                </a:cubicBezTo>
                <a:cubicBezTo>
                  <a:pt x="11427" y="14727"/>
                  <a:pt x="11549" y="14673"/>
                  <a:pt x="11638" y="14583"/>
                </a:cubicBezTo>
                <a:lnTo>
                  <a:pt x="13686" y="12536"/>
                </a:lnTo>
                <a:lnTo>
                  <a:pt x="17242" y="17673"/>
                </a:lnTo>
                <a:cubicBezTo>
                  <a:pt x="17242" y="17673"/>
                  <a:pt x="4294" y="17673"/>
                  <a:pt x="4294" y="17673"/>
                </a:cubicBezTo>
                <a:close/>
                <a:moveTo>
                  <a:pt x="18620" y="17982"/>
                </a:moveTo>
                <a:lnTo>
                  <a:pt x="18617" y="17978"/>
                </a:lnTo>
                <a:cubicBezTo>
                  <a:pt x="18590" y="17913"/>
                  <a:pt x="18551" y="17858"/>
                  <a:pt x="18501" y="17810"/>
                </a:cubicBezTo>
                <a:lnTo>
                  <a:pt x="14201" y="11600"/>
                </a:lnTo>
                <a:lnTo>
                  <a:pt x="14200" y="11601"/>
                </a:lnTo>
                <a:cubicBezTo>
                  <a:pt x="14127" y="11420"/>
                  <a:pt x="13952" y="11291"/>
                  <a:pt x="13745" y="11291"/>
                </a:cubicBezTo>
                <a:cubicBezTo>
                  <a:pt x="13610" y="11291"/>
                  <a:pt x="13488" y="11346"/>
                  <a:pt x="13398" y="11435"/>
                </a:cubicBezTo>
                <a:lnTo>
                  <a:pt x="11360" y="13473"/>
                </a:lnTo>
                <a:lnTo>
                  <a:pt x="8798" y="9630"/>
                </a:lnTo>
                <a:cubicBezTo>
                  <a:pt x="8724" y="9453"/>
                  <a:pt x="8550" y="9327"/>
                  <a:pt x="8345" y="9327"/>
                </a:cubicBezTo>
                <a:cubicBezTo>
                  <a:pt x="8175" y="9327"/>
                  <a:pt x="8033" y="9420"/>
                  <a:pt x="7945" y="9551"/>
                </a:cubicBezTo>
                <a:lnTo>
                  <a:pt x="7937" y="9546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8164" y="18655"/>
                </a:lnTo>
                <a:cubicBezTo>
                  <a:pt x="18435" y="18655"/>
                  <a:pt x="18655" y="18435"/>
                  <a:pt x="18655" y="18164"/>
                </a:cubicBezTo>
                <a:cubicBezTo>
                  <a:pt x="18655" y="18099"/>
                  <a:pt x="18640" y="18039"/>
                  <a:pt x="18618" y="17983"/>
                </a:cubicBezTo>
                <a:cubicBezTo>
                  <a:pt x="18618" y="17983"/>
                  <a:pt x="18620" y="17982"/>
                  <a:pt x="18620" y="17982"/>
                </a:cubicBezTo>
                <a:close/>
                <a:moveTo>
                  <a:pt x="5400" y="3927"/>
                </a:moveTo>
                <a:cubicBezTo>
                  <a:pt x="6213" y="3927"/>
                  <a:pt x="6873" y="4587"/>
                  <a:pt x="6873" y="5400"/>
                </a:cubicBezTo>
                <a:cubicBezTo>
                  <a:pt x="6873" y="6214"/>
                  <a:pt x="6213" y="6873"/>
                  <a:pt x="5400" y="6873"/>
                </a:cubicBezTo>
                <a:cubicBezTo>
                  <a:pt x="4587" y="6873"/>
                  <a:pt x="3927" y="6214"/>
                  <a:pt x="3927" y="5400"/>
                </a:cubicBezTo>
                <a:cubicBezTo>
                  <a:pt x="3927" y="4587"/>
                  <a:pt x="4587" y="3927"/>
                  <a:pt x="5400" y="3927"/>
                </a:cubicBezTo>
                <a:moveTo>
                  <a:pt x="5400" y="7855"/>
                </a:moveTo>
                <a:cubicBezTo>
                  <a:pt x="6756" y="7855"/>
                  <a:pt x="7855" y="6756"/>
                  <a:pt x="7855" y="5400"/>
                </a:cubicBezTo>
                <a:cubicBezTo>
                  <a:pt x="7855" y="4045"/>
                  <a:pt x="6756" y="2945"/>
                  <a:pt x="5400" y="2945"/>
                </a:cubicBezTo>
                <a:cubicBezTo>
                  <a:pt x="4044" y="2945"/>
                  <a:pt x="2945" y="4045"/>
                  <a:pt x="2945" y="5400"/>
                </a:cubicBezTo>
                <a:cubicBezTo>
                  <a:pt x="2945" y="6756"/>
                  <a:pt x="4044" y="7855"/>
                  <a:pt x="5400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3" name="Shape 2563"/>
          <p:cNvSpPr/>
          <p:nvPr/>
        </p:nvSpPr>
        <p:spPr>
          <a:xfrm>
            <a:off x="10290720" y="729555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354" y="17673"/>
                </a:moveTo>
                <a:lnTo>
                  <a:pt x="7369" y="13149"/>
                </a:lnTo>
                <a:lnTo>
                  <a:pt x="8875" y="15407"/>
                </a:lnTo>
                <a:cubicBezTo>
                  <a:pt x="8949" y="15584"/>
                  <a:pt x="9123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1198" y="14042"/>
                </a:lnTo>
                <a:lnTo>
                  <a:pt x="13376" y="17673"/>
                </a:lnTo>
                <a:cubicBezTo>
                  <a:pt x="13376" y="17673"/>
                  <a:pt x="4354" y="17673"/>
                  <a:pt x="4354" y="17673"/>
                </a:cubicBezTo>
                <a:close/>
                <a:moveTo>
                  <a:pt x="14692" y="17982"/>
                </a:moveTo>
                <a:lnTo>
                  <a:pt x="14690" y="17977"/>
                </a:lnTo>
                <a:cubicBezTo>
                  <a:pt x="14685" y="17967"/>
                  <a:pt x="14677" y="17959"/>
                  <a:pt x="14673" y="17949"/>
                </a:cubicBezTo>
                <a:lnTo>
                  <a:pt x="11747" y="13073"/>
                </a:lnTo>
                <a:lnTo>
                  <a:pt x="11745" y="13073"/>
                </a:lnTo>
                <a:cubicBezTo>
                  <a:pt x="11673" y="12892"/>
                  <a:pt x="11498" y="12764"/>
                  <a:pt x="11291" y="12764"/>
                </a:cubicBezTo>
                <a:cubicBezTo>
                  <a:pt x="11155" y="12764"/>
                  <a:pt x="11033" y="12819"/>
                  <a:pt x="10944" y="12908"/>
                </a:cubicBezTo>
                <a:lnTo>
                  <a:pt x="9397" y="14454"/>
                </a:lnTo>
                <a:lnTo>
                  <a:pt x="7816" y="12084"/>
                </a:lnTo>
                <a:cubicBezTo>
                  <a:pt x="7742" y="11907"/>
                  <a:pt x="7568" y="11782"/>
                  <a:pt x="7364" y="11782"/>
                </a:cubicBezTo>
                <a:cubicBezTo>
                  <a:pt x="7193" y="11782"/>
                  <a:pt x="7051" y="11874"/>
                  <a:pt x="6963" y="12006"/>
                </a:cubicBezTo>
                <a:lnTo>
                  <a:pt x="6955" y="12000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8099"/>
                  <a:pt x="14713" y="18039"/>
                  <a:pt x="14691" y="17983"/>
                </a:cubicBezTo>
                <a:cubicBezTo>
                  <a:pt x="14691" y="17983"/>
                  <a:pt x="14692" y="17982"/>
                  <a:pt x="14692" y="17982"/>
                </a:cubicBezTo>
                <a:close/>
                <a:moveTo>
                  <a:pt x="4909" y="7855"/>
                </a:moveTo>
                <a:cubicBezTo>
                  <a:pt x="5451" y="7855"/>
                  <a:pt x="5891" y="8295"/>
                  <a:pt x="5891" y="8836"/>
                </a:cubicBezTo>
                <a:cubicBezTo>
                  <a:pt x="5891" y="9379"/>
                  <a:pt x="5451" y="9818"/>
                  <a:pt x="4909" y="9818"/>
                </a:cubicBezTo>
                <a:cubicBezTo>
                  <a:pt x="4367" y="9818"/>
                  <a:pt x="3927" y="9379"/>
                  <a:pt x="3927" y="8836"/>
                </a:cubicBezTo>
                <a:cubicBezTo>
                  <a:pt x="3927" y="8295"/>
                  <a:pt x="4367" y="7855"/>
                  <a:pt x="4909" y="7855"/>
                </a:cubicBezTo>
                <a:moveTo>
                  <a:pt x="4909" y="10800"/>
                </a:moveTo>
                <a:cubicBezTo>
                  <a:pt x="5994" y="10800"/>
                  <a:pt x="6873" y="9921"/>
                  <a:pt x="6873" y="8836"/>
                </a:cubicBezTo>
                <a:cubicBezTo>
                  <a:pt x="6873" y="7752"/>
                  <a:pt x="5994" y="6873"/>
                  <a:pt x="4909" y="6873"/>
                </a:cubicBezTo>
                <a:cubicBezTo>
                  <a:pt x="3825" y="6873"/>
                  <a:pt x="2945" y="7752"/>
                  <a:pt x="2945" y="8836"/>
                </a:cubicBezTo>
                <a:cubicBezTo>
                  <a:pt x="2945" y="9921"/>
                  <a:pt x="3825" y="10800"/>
                  <a:pt x="4909" y="10800"/>
                </a:cubicBezTo>
                <a:moveTo>
                  <a:pt x="16691" y="19636"/>
                </a:moveTo>
                <a:cubicBezTo>
                  <a:pt x="16691" y="20179"/>
                  <a:pt x="16251" y="20619"/>
                  <a:pt x="15709" y="20619"/>
                </a:cubicBezTo>
                <a:lnTo>
                  <a:pt x="1964" y="20619"/>
                </a:lnTo>
                <a:cubicBezTo>
                  <a:pt x="1422" y="20619"/>
                  <a:pt x="982" y="20179"/>
                  <a:pt x="982" y="19636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4" name="Shape 2564"/>
          <p:cNvSpPr/>
          <p:nvPr/>
        </p:nvSpPr>
        <p:spPr>
          <a:xfrm>
            <a:off x="11357242" y="729555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10800"/>
                </a:moveTo>
                <a:lnTo>
                  <a:pt x="11782" y="10800"/>
                </a:lnTo>
                <a:lnTo>
                  <a:pt x="11782" y="12764"/>
                </a:lnTo>
                <a:lnTo>
                  <a:pt x="9818" y="12764"/>
                </a:lnTo>
                <a:cubicBezTo>
                  <a:pt x="9818" y="12764"/>
                  <a:pt x="9818" y="10800"/>
                  <a:pt x="9818" y="10800"/>
                </a:cubicBezTo>
                <a:close/>
                <a:moveTo>
                  <a:pt x="9327" y="13745"/>
                </a:moveTo>
                <a:lnTo>
                  <a:pt x="12273" y="13745"/>
                </a:lnTo>
                <a:cubicBezTo>
                  <a:pt x="12544" y="13745"/>
                  <a:pt x="12764" y="13526"/>
                  <a:pt x="12764" y="13255"/>
                </a:cubicBezTo>
                <a:lnTo>
                  <a:pt x="12764" y="10309"/>
                </a:lnTo>
                <a:cubicBezTo>
                  <a:pt x="12764" y="10038"/>
                  <a:pt x="12544" y="9818"/>
                  <a:pt x="12273" y="9818"/>
                </a:cubicBezTo>
                <a:lnTo>
                  <a:pt x="9327" y="9818"/>
                </a:lnTo>
                <a:cubicBezTo>
                  <a:pt x="9056" y="9818"/>
                  <a:pt x="8836" y="10038"/>
                  <a:pt x="8836" y="10309"/>
                </a:cubicBezTo>
                <a:lnTo>
                  <a:pt x="8836" y="13255"/>
                </a:lnTo>
                <a:cubicBezTo>
                  <a:pt x="8836" y="13526"/>
                  <a:pt x="9056" y="13745"/>
                  <a:pt x="9327" y="13745"/>
                </a:cubicBezTo>
                <a:moveTo>
                  <a:pt x="14727" y="15709"/>
                </a:moveTo>
                <a:lnTo>
                  <a:pt x="16691" y="15709"/>
                </a:lnTo>
                <a:lnTo>
                  <a:pt x="16691" y="17673"/>
                </a:lnTo>
                <a:lnTo>
                  <a:pt x="14727" y="17673"/>
                </a:lnTo>
                <a:cubicBezTo>
                  <a:pt x="14727" y="17673"/>
                  <a:pt x="14727" y="15709"/>
                  <a:pt x="14727" y="15709"/>
                </a:cubicBezTo>
                <a:close/>
                <a:moveTo>
                  <a:pt x="14236" y="18655"/>
                </a:moveTo>
                <a:lnTo>
                  <a:pt x="17182" y="18655"/>
                </a:lnTo>
                <a:cubicBezTo>
                  <a:pt x="17453" y="18655"/>
                  <a:pt x="17673" y="18435"/>
                  <a:pt x="17673" y="18164"/>
                </a:cubicBezTo>
                <a:lnTo>
                  <a:pt x="17673" y="15218"/>
                </a:lnTo>
                <a:cubicBezTo>
                  <a:pt x="17673" y="14947"/>
                  <a:pt x="17453" y="14727"/>
                  <a:pt x="17182" y="14727"/>
                </a:cubicBezTo>
                <a:lnTo>
                  <a:pt x="14236" y="14727"/>
                </a:lnTo>
                <a:cubicBezTo>
                  <a:pt x="13965" y="14727"/>
                  <a:pt x="13745" y="14947"/>
                  <a:pt x="13745" y="15218"/>
                </a:cubicBezTo>
                <a:lnTo>
                  <a:pt x="13745" y="18164"/>
                </a:lnTo>
                <a:cubicBezTo>
                  <a:pt x="13745" y="18435"/>
                  <a:pt x="13965" y="18655"/>
                  <a:pt x="14236" y="18655"/>
                </a:cubicBezTo>
                <a:moveTo>
                  <a:pt x="9818" y="5891"/>
                </a:moveTo>
                <a:lnTo>
                  <a:pt x="11782" y="5891"/>
                </a:lnTo>
                <a:lnTo>
                  <a:pt x="11782" y="7855"/>
                </a:lnTo>
                <a:lnTo>
                  <a:pt x="9818" y="7855"/>
                </a:lnTo>
                <a:cubicBezTo>
                  <a:pt x="9818" y="7855"/>
                  <a:pt x="9818" y="5891"/>
                  <a:pt x="9818" y="5891"/>
                </a:cubicBezTo>
                <a:close/>
                <a:moveTo>
                  <a:pt x="9327" y="8836"/>
                </a:moveTo>
                <a:lnTo>
                  <a:pt x="12273" y="8836"/>
                </a:lnTo>
                <a:cubicBezTo>
                  <a:pt x="12544" y="8836"/>
                  <a:pt x="12764" y="8617"/>
                  <a:pt x="12764" y="8345"/>
                </a:cubicBezTo>
                <a:lnTo>
                  <a:pt x="12764" y="5400"/>
                </a:lnTo>
                <a:cubicBezTo>
                  <a:pt x="12764" y="5129"/>
                  <a:pt x="12544" y="4909"/>
                  <a:pt x="12273" y="4909"/>
                </a:cubicBezTo>
                <a:lnTo>
                  <a:pt x="9327" y="4909"/>
                </a:lnTo>
                <a:cubicBezTo>
                  <a:pt x="9056" y="4909"/>
                  <a:pt x="8836" y="5129"/>
                  <a:pt x="8836" y="5400"/>
                </a:cubicBezTo>
                <a:lnTo>
                  <a:pt x="8836" y="8345"/>
                </a:lnTo>
                <a:cubicBezTo>
                  <a:pt x="8836" y="8617"/>
                  <a:pt x="9056" y="8836"/>
                  <a:pt x="9327" y="8836"/>
                </a:cubicBezTo>
                <a:moveTo>
                  <a:pt x="4909" y="15709"/>
                </a:moveTo>
                <a:lnTo>
                  <a:pt x="6873" y="15709"/>
                </a:lnTo>
                <a:lnTo>
                  <a:pt x="6873" y="17673"/>
                </a:lnTo>
                <a:lnTo>
                  <a:pt x="4909" y="17673"/>
                </a:lnTo>
                <a:cubicBezTo>
                  <a:pt x="4909" y="17673"/>
                  <a:pt x="4909" y="15709"/>
                  <a:pt x="4909" y="15709"/>
                </a:cubicBezTo>
                <a:close/>
                <a:moveTo>
                  <a:pt x="4418" y="18655"/>
                </a:moveTo>
                <a:lnTo>
                  <a:pt x="7364" y="18655"/>
                </a:lnTo>
                <a:cubicBezTo>
                  <a:pt x="7635" y="18655"/>
                  <a:pt x="7855" y="18435"/>
                  <a:pt x="7855" y="18164"/>
                </a:cubicBezTo>
                <a:lnTo>
                  <a:pt x="7855" y="15218"/>
                </a:lnTo>
                <a:cubicBezTo>
                  <a:pt x="7855" y="14947"/>
                  <a:pt x="7635" y="14727"/>
                  <a:pt x="7364" y="14727"/>
                </a:cubicBezTo>
                <a:lnTo>
                  <a:pt x="4418" y="14727"/>
                </a:lnTo>
                <a:cubicBezTo>
                  <a:pt x="4147" y="14727"/>
                  <a:pt x="3927" y="14947"/>
                  <a:pt x="3927" y="15218"/>
                </a:cubicBez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moveTo>
                  <a:pt x="14727" y="10800"/>
                </a:moveTo>
                <a:lnTo>
                  <a:pt x="16691" y="10800"/>
                </a:lnTo>
                <a:lnTo>
                  <a:pt x="16691" y="12764"/>
                </a:lnTo>
                <a:lnTo>
                  <a:pt x="14727" y="12764"/>
                </a:lnTo>
                <a:cubicBezTo>
                  <a:pt x="14727" y="12764"/>
                  <a:pt x="14727" y="10800"/>
                  <a:pt x="14727" y="10800"/>
                </a:cubicBezTo>
                <a:close/>
                <a:moveTo>
                  <a:pt x="14236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lnTo>
                  <a:pt x="17673" y="10309"/>
                </a:lnTo>
                <a:cubicBezTo>
                  <a:pt x="17673" y="10038"/>
                  <a:pt x="17453" y="9818"/>
                  <a:pt x="17182" y="9818"/>
                </a:cubicBezTo>
                <a:lnTo>
                  <a:pt x="14236" y="9818"/>
                </a:lnTo>
                <a:cubicBezTo>
                  <a:pt x="13965" y="9818"/>
                  <a:pt x="13745" y="10038"/>
                  <a:pt x="13745" y="10309"/>
                </a:cubicBezTo>
                <a:lnTo>
                  <a:pt x="13745" y="13255"/>
                </a:lnTo>
                <a:cubicBezTo>
                  <a:pt x="13745" y="13526"/>
                  <a:pt x="13965" y="13745"/>
                  <a:pt x="14236" y="13745"/>
                </a:cubicBezTo>
                <a:moveTo>
                  <a:pt x="4909" y="10800"/>
                </a:moveTo>
                <a:lnTo>
                  <a:pt x="6873" y="10800"/>
                </a:lnTo>
                <a:lnTo>
                  <a:pt x="6873" y="12764"/>
                </a:lnTo>
                <a:lnTo>
                  <a:pt x="4909" y="12764"/>
                </a:lnTo>
                <a:cubicBezTo>
                  <a:pt x="4909" y="12764"/>
                  <a:pt x="4909" y="10800"/>
                  <a:pt x="4909" y="10800"/>
                </a:cubicBezTo>
                <a:close/>
                <a:moveTo>
                  <a:pt x="4418" y="13745"/>
                </a:moveTo>
                <a:lnTo>
                  <a:pt x="7364" y="13745"/>
                </a:lnTo>
                <a:cubicBezTo>
                  <a:pt x="7635" y="13745"/>
                  <a:pt x="7855" y="13526"/>
                  <a:pt x="7855" y="13255"/>
                </a:cubicBezTo>
                <a:lnTo>
                  <a:pt x="7855" y="10309"/>
                </a:lnTo>
                <a:cubicBezTo>
                  <a:pt x="7855" y="10038"/>
                  <a:pt x="7635" y="9818"/>
                  <a:pt x="7364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lnTo>
                  <a:pt x="3927" y="13255"/>
                </a:lnTo>
                <a:cubicBezTo>
                  <a:pt x="3927" y="13526"/>
                  <a:pt x="4147" y="13745"/>
                  <a:pt x="4418" y="13745"/>
                </a:cubicBezTo>
                <a:moveTo>
                  <a:pt x="4909" y="5891"/>
                </a:moveTo>
                <a:lnTo>
                  <a:pt x="6873" y="5891"/>
                </a:lnTo>
                <a:lnTo>
                  <a:pt x="6873" y="7855"/>
                </a:lnTo>
                <a:lnTo>
                  <a:pt x="4909" y="7855"/>
                </a:lnTo>
                <a:cubicBezTo>
                  <a:pt x="4909" y="7855"/>
                  <a:pt x="4909" y="5891"/>
                  <a:pt x="4909" y="5891"/>
                </a:cubicBezTo>
                <a:close/>
                <a:moveTo>
                  <a:pt x="4418" y="8836"/>
                </a:moveTo>
                <a:lnTo>
                  <a:pt x="7364" y="8836"/>
                </a:lnTo>
                <a:cubicBezTo>
                  <a:pt x="7635" y="8836"/>
                  <a:pt x="7855" y="8617"/>
                  <a:pt x="7855" y="8345"/>
                </a:cubicBezTo>
                <a:lnTo>
                  <a:pt x="7855" y="5400"/>
                </a:lnTo>
                <a:cubicBezTo>
                  <a:pt x="7855" y="5129"/>
                  <a:pt x="7635" y="4909"/>
                  <a:pt x="7364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lnTo>
                  <a:pt x="3927" y="8345"/>
                </a:lnTo>
                <a:cubicBezTo>
                  <a:pt x="3927" y="8617"/>
                  <a:pt x="4147" y="8836"/>
                  <a:pt x="4418" y="8836"/>
                </a:cubicBezTo>
                <a:moveTo>
                  <a:pt x="14727" y="5891"/>
                </a:moveTo>
                <a:lnTo>
                  <a:pt x="16691" y="5891"/>
                </a:lnTo>
                <a:lnTo>
                  <a:pt x="16691" y="7855"/>
                </a:lnTo>
                <a:lnTo>
                  <a:pt x="14727" y="7855"/>
                </a:lnTo>
                <a:cubicBezTo>
                  <a:pt x="14727" y="7855"/>
                  <a:pt x="14727" y="5891"/>
                  <a:pt x="14727" y="5891"/>
                </a:cubicBezTo>
                <a:close/>
                <a:moveTo>
                  <a:pt x="14236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lnTo>
                  <a:pt x="17673" y="5400"/>
                </a:lnTo>
                <a:cubicBezTo>
                  <a:pt x="17673" y="5129"/>
                  <a:pt x="17453" y="4909"/>
                  <a:pt x="17182" y="4909"/>
                </a:cubicBezTo>
                <a:lnTo>
                  <a:pt x="14236" y="4909"/>
                </a:lnTo>
                <a:cubicBezTo>
                  <a:pt x="13965" y="4909"/>
                  <a:pt x="13745" y="5129"/>
                  <a:pt x="13745" y="5400"/>
                </a:cubicBezTo>
                <a:lnTo>
                  <a:pt x="13745" y="8345"/>
                </a:lnTo>
                <a:cubicBezTo>
                  <a:pt x="13745" y="8617"/>
                  <a:pt x="13965" y="8836"/>
                  <a:pt x="14236" y="8836"/>
                </a:cubicBezTo>
                <a:moveTo>
                  <a:pt x="19636" y="1964"/>
                </a:moveTo>
                <a:lnTo>
                  <a:pt x="1964" y="1964"/>
                </a:lnTo>
                <a:lnTo>
                  <a:pt x="1964" y="982"/>
                </a:lnTo>
                <a:lnTo>
                  <a:pt x="19636" y="982"/>
                </a:lnTo>
                <a:cubicBezTo>
                  <a:pt x="19636" y="982"/>
                  <a:pt x="19636" y="1964"/>
                  <a:pt x="19636" y="1964"/>
                </a:cubicBezTo>
                <a:close/>
                <a:moveTo>
                  <a:pt x="19636" y="20618"/>
                </a:moveTo>
                <a:lnTo>
                  <a:pt x="12764" y="20618"/>
                </a:lnTo>
                <a:lnTo>
                  <a:pt x="12764" y="15218"/>
                </a:lnTo>
                <a:cubicBezTo>
                  <a:pt x="12764" y="14947"/>
                  <a:pt x="12544" y="14727"/>
                  <a:pt x="12273" y="14727"/>
                </a:cubicBezTo>
                <a:lnTo>
                  <a:pt x="9327" y="14727"/>
                </a:lnTo>
                <a:cubicBezTo>
                  <a:pt x="9056" y="14727"/>
                  <a:pt x="8836" y="14947"/>
                  <a:pt x="8836" y="15218"/>
                </a:cubicBezTo>
                <a:lnTo>
                  <a:pt x="8836" y="20618"/>
                </a:lnTo>
                <a:lnTo>
                  <a:pt x="1964" y="20618"/>
                </a:lnTo>
                <a:lnTo>
                  <a:pt x="1964" y="2945"/>
                </a:lnTo>
                <a:lnTo>
                  <a:pt x="19636" y="2945"/>
                </a:lnTo>
                <a:cubicBezTo>
                  <a:pt x="19636" y="2945"/>
                  <a:pt x="19636" y="20618"/>
                  <a:pt x="19636" y="20618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5709"/>
                </a:lnTo>
                <a:lnTo>
                  <a:pt x="11782" y="15709"/>
                </a:lnTo>
                <a:cubicBezTo>
                  <a:pt x="11782" y="15709"/>
                  <a:pt x="11782" y="20618"/>
                  <a:pt x="11782" y="20618"/>
                </a:cubicBezTo>
                <a:close/>
                <a:moveTo>
                  <a:pt x="21109" y="1964"/>
                </a:moveTo>
                <a:lnTo>
                  <a:pt x="20618" y="1964"/>
                </a:lnTo>
                <a:lnTo>
                  <a:pt x="20618" y="491"/>
                </a:lnTo>
                <a:cubicBezTo>
                  <a:pt x="20618" y="220"/>
                  <a:pt x="20399" y="0"/>
                  <a:pt x="20127" y="0"/>
                </a:cubicBezTo>
                <a:lnTo>
                  <a:pt x="1473" y="0"/>
                </a:lnTo>
                <a:cubicBezTo>
                  <a:pt x="1201" y="0"/>
                  <a:pt x="982" y="220"/>
                  <a:pt x="982" y="491"/>
                </a:cubicBezTo>
                <a:lnTo>
                  <a:pt x="982" y="1964"/>
                </a:lnTo>
                <a:lnTo>
                  <a:pt x="491" y="1964"/>
                </a:lnTo>
                <a:cubicBezTo>
                  <a:pt x="220" y="1964"/>
                  <a:pt x="0" y="2184"/>
                  <a:pt x="0" y="2455"/>
                </a:cubicBezTo>
                <a:cubicBezTo>
                  <a:pt x="0" y="2726"/>
                  <a:pt x="220" y="2945"/>
                  <a:pt x="491" y="2945"/>
                </a:cubicBezTo>
                <a:lnTo>
                  <a:pt x="982" y="2945"/>
                </a:lnTo>
                <a:lnTo>
                  <a:pt x="982" y="21109"/>
                </a:lnTo>
                <a:cubicBezTo>
                  <a:pt x="982" y="21381"/>
                  <a:pt x="1201" y="21600"/>
                  <a:pt x="1473" y="21600"/>
                </a:cubicBezTo>
                <a:lnTo>
                  <a:pt x="20127" y="21600"/>
                </a:lnTo>
                <a:cubicBezTo>
                  <a:pt x="20399" y="21600"/>
                  <a:pt x="20618" y="21381"/>
                  <a:pt x="20618" y="21109"/>
                </a:cubicBezTo>
                <a:lnTo>
                  <a:pt x="20618" y="2945"/>
                </a:lnTo>
                <a:lnTo>
                  <a:pt x="21109" y="2945"/>
                </a:lnTo>
                <a:cubicBezTo>
                  <a:pt x="21380" y="2945"/>
                  <a:pt x="21600" y="2726"/>
                  <a:pt x="21600" y="2455"/>
                </a:cubicBezTo>
                <a:cubicBezTo>
                  <a:pt x="21600" y="2184"/>
                  <a:pt x="21380" y="1964"/>
                  <a:pt x="21109" y="19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5" name="Shape 2565"/>
          <p:cNvSpPr/>
          <p:nvPr/>
        </p:nvSpPr>
        <p:spPr>
          <a:xfrm>
            <a:off x="1758543" y="8412866"/>
            <a:ext cx="558654" cy="4570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8400"/>
                </a:moveTo>
                <a:lnTo>
                  <a:pt x="13745" y="8400"/>
                </a:lnTo>
                <a:lnTo>
                  <a:pt x="13745" y="9600"/>
                </a:lnTo>
                <a:lnTo>
                  <a:pt x="7855" y="9600"/>
                </a:lnTo>
                <a:cubicBezTo>
                  <a:pt x="7855" y="9600"/>
                  <a:pt x="7855" y="8400"/>
                  <a:pt x="7855" y="8400"/>
                </a:cubicBezTo>
                <a:close/>
                <a:moveTo>
                  <a:pt x="7855" y="10800"/>
                </a:moveTo>
                <a:lnTo>
                  <a:pt x="13745" y="10800"/>
                </a:lnTo>
                <a:cubicBezTo>
                  <a:pt x="14287" y="10800"/>
                  <a:pt x="14727" y="10262"/>
                  <a:pt x="14727" y="9600"/>
                </a:cubicBezTo>
                <a:lnTo>
                  <a:pt x="14727" y="8400"/>
                </a:lnTo>
                <a:cubicBezTo>
                  <a:pt x="14727" y="7737"/>
                  <a:pt x="14287" y="7200"/>
                  <a:pt x="13745" y="7200"/>
                </a:cubicBezTo>
                <a:lnTo>
                  <a:pt x="7855" y="7200"/>
                </a:lnTo>
                <a:cubicBezTo>
                  <a:pt x="7313" y="7200"/>
                  <a:pt x="6873" y="7737"/>
                  <a:pt x="6873" y="8400"/>
                </a:cubicBezTo>
                <a:lnTo>
                  <a:pt x="6873" y="9600"/>
                </a:lnTo>
                <a:cubicBezTo>
                  <a:pt x="6873" y="10262"/>
                  <a:pt x="7313" y="10800"/>
                  <a:pt x="7855" y="10800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6" name="Shape 2566"/>
          <p:cNvSpPr/>
          <p:nvPr/>
        </p:nvSpPr>
        <p:spPr>
          <a:xfrm>
            <a:off x="2825064" y="8412868"/>
            <a:ext cx="558654" cy="4571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2000"/>
                </a:moveTo>
                <a:cubicBezTo>
                  <a:pt x="6653" y="12000"/>
                  <a:pt x="6873" y="12268"/>
                  <a:pt x="6873" y="12599"/>
                </a:cubicBezTo>
                <a:cubicBezTo>
                  <a:pt x="6873" y="12931"/>
                  <a:pt x="6653" y="13199"/>
                  <a:pt x="6382" y="13199"/>
                </a:cubicBezTo>
                <a:cubicBezTo>
                  <a:pt x="6111" y="13199"/>
                  <a:pt x="5891" y="12931"/>
                  <a:pt x="5891" y="12599"/>
                </a:cubicBezTo>
                <a:cubicBezTo>
                  <a:pt x="5891" y="12268"/>
                  <a:pt x="6111" y="12000"/>
                  <a:pt x="6382" y="12000"/>
                </a:cubicBezTo>
                <a:moveTo>
                  <a:pt x="6382" y="14399"/>
                </a:moveTo>
                <a:cubicBezTo>
                  <a:pt x="7195" y="14399"/>
                  <a:pt x="7855" y="13594"/>
                  <a:pt x="7855" y="12599"/>
                </a:cubicBezTo>
                <a:cubicBezTo>
                  <a:pt x="7855" y="11606"/>
                  <a:pt x="7195" y="10800"/>
                  <a:pt x="6382" y="10800"/>
                </a:cubicBezTo>
                <a:cubicBezTo>
                  <a:pt x="5568" y="10800"/>
                  <a:pt x="4909" y="11606"/>
                  <a:pt x="4909" y="12599"/>
                </a:cubicBezTo>
                <a:cubicBezTo>
                  <a:pt x="4909" y="13594"/>
                  <a:pt x="5568" y="14399"/>
                  <a:pt x="6382" y="14399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0800" y="12000"/>
                </a:moveTo>
                <a:cubicBezTo>
                  <a:pt x="11071" y="12000"/>
                  <a:pt x="11291" y="12268"/>
                  <a:pt x="11291" y="12599"/>
                </a:cubicBezTo>
                <a:cubicBezTo>
                  <a:pt x="11291" y="12931"/>
                  <a:pt x="11071" y="13199"/>
                  <a:pt x="10800" y="13199"/>
                </a:cubicBezTo>
                <a:cubicBezTo>
                  <a:pt x="10529" y="13199"/>
                  <a:pt x="10309" y="12931"/>
                  <a:pt x="10309" y="12599"/>
                </a:cubicBezTo>
                <a:cubicBezTo>
                  <a:pt x="10309" y="12268"/>
                  <a:pt x="10529" y="12000"/>
                  <a:pt x="10800" y="12000"/>
                </a:cubicBezTo>
                <a:moveTo>
                  <a:pt x="10800" y="14399"/>
                </a:moveTo>
                <a:cubicBezTo>
                  <a:pt x="11614" y="14399"/>
                  <a:pt x="12273" y="13594"/>
                  <a:pt x="12273" y="12599"/>
                </a:cubicBezTo>
                <a:cubicBezTo>
                  <a:pt x="12273" y="11606"/>
                  <a:pt x="11614" y="10800"/>
                  <a:pt x="10800" y="10800"/>
                </a:cubicBezTo>
                <a:cubicBezTo>
                  <a:pt x="9986" y="10800"/>
                  <a:pt x="9327" y="11606"/>
                  <a:pt x="9327" y="12599"/>
                </a:cubicBezTo>
                <a:cubicBezTo>
                  <a:pt x="9327" y="13594"/>
                  <a:pt x="9986" y="14399"/>
                  <a:pt x="10800" y="14399"/>
                </a:cubicBezTo>
                <a:moveTo>
                  <a:pt x="15218" y="12000"/>
                </a:moveTo>
                <a:cubicBezTo>
                  <a:pt x="15489" y="12000"/>
                  <a:pt x="15709" y="12268"/>
                  <a:pt x="15709" y="12599"/>
                </a:cubicBezTo>
                <a:cubicBezTo>
                  <a:pt x="15709" y="12931"/>
                  <a:pt x="15489" y="13199"/>
                  <a:pt x="15218" y="13199"/>
                </a:cubicBezTo>
                <a:cubicBezTo>
                  <a:pt x="14947" y="13199"/>
                  <a:pt x="14727" y="12931"/>
                  <a:pt x="14727" y="12599"/>
                </a:cubicBezTo>
                <a:cubicBezTo>
                  <a:pt x="14727" y="12268"/>
                  <a:pt x="14947" y="12000"/>
                  <a:pt x="15218" y="12000"/>
                </a:cubicBezTo>
                <a:moveTo>
                  <a:pt x="15218" y="14399"/>
                </a:moveTo>
                <a:cubicBezTo>
                  <a:pt x="16032" y="14399"/>
                  <a:pt x="16691" y="13594"/>
                  <a:pt x="16691" y="12599"/>
                </a:cubicBezTo>
                <a:cubicBezTo>
                  <a:pt x="16691" y="11606"/>
                  <a:pt x="16032" y="10800"/>
                  <a:pt x="15218" y="10800"/>
                </a:cubicBezTo>
                <a:cubicBezTo>
                  <a:pt x="14405" y="10800"/>
                  <a:pt x="13745" y="11606"/>
                  <a:pt x="13745" y="12599"/>
                </a:cubicBezTo>
                <a:cubicBezTo>
                  <a:pt x="13745" y="13594"/>
                  <a:pt x="14405" y="14399"/>
                  <a:pt x="15218" y="1439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7" name="Shape 2567"/>
          <p:cNvSpPr/>
          <p:nvPr/>
        </p:nvSpPr>
        <p:spPr>
          <a:xfrm>
            <a:off x="3891587" y="8362078"/>
            <a:ext cx="558654" cy="558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11782"/>
                </a:moveTo>
                <a:cubicBezTo>
                  <a:pt x="7584" y="11782"/>
                  <a:pt x="7364" y="12001"/>
                  <a:pt x="7364" y="12272"/>
                </a:cubicBezTo>
                <a:cubicBezTo>
                  <a:pt x="7364" y="12408"/>
                  <a:pt x="7419" y="12531"/>
                  <a:pt x="7507" y="12619"/>
                </a:cubicBezTo>
                <a:lnTo>
                  <a:pt x="10453" y="15565"/>
                </a:lnTo>
                <a:cubicBezTo>
                  <a:pt x="10542" y="15654"/>
                  <a:pt x="10665" y="15709"/>
                  <a:pt x="10800" y="15709"/>
                </a:cubicBezTo>
                <a:cubicBezTo>
                  <a:pt x="10935" y="15709"/>
                  <a:pt x="11058" y="15654"/>
                  <a:pt x="11147" y="15565"/>
                </a:cubicBezTo>
                <a:lnTo>
                  <a:pt x="14093" y="12619"/>
                </a:lnTo>
                <a:cubicBezTo>
                  <a:pt x="14181" y="12531"/>
                  <a:pt x="14236" y="12408"/>
                  <a:pt x="14236" y="12272"/>
                </a:cubicBezTo>
                <a:cubicBezTo>
                  <a:pt x="14236" y="12001"/>
                  <a:pt x="14016" y="11782"/>
                  <a:pt x="13745" y="11782"/>
                </a:cubicBezTo>
                <a:cubicBezTo>
                  <a:pt x="13610" y="11782"/>
                  <a:pt x="13487" y="11837"/>
                  <a:pt x="13398" y="11925"/>
                </a:cubicBezTo>
                <a:lnTo>
                  <a:pt x="11291" y="14033"/>
                </a:lnTo>
                <a:lnTo>
                  <a:pt x="11291" y="492"/>
                </a:ln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4033"/>
                </a:lnTo>
                <a:lnTo>
                  <a:pt x="8202" y="11925"/>
                </a:lnTo>
                <a:cubicBezTo>
                  <a:pt x="8113" y="11837"/>
                  <a:pt x="7990" y="11782"/>
                  <a:pt x="7855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8" name="Shape 2568"/>
          <p:cNvSpPr/>
          <p:nvPr/>
        </p:nvSpPr>
        <p:spPr>
          <a:xfrm>
            <a:off x="4958109" y="8362078"/>
            <a:ext cx="558654" cy="558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3927"/>
                </a:moveTo>
                <a:cubicBezTo>
                  <a:pt x="7990" y="3927"/>
                  <a:pt x="8113" y="3872"/>
                  <a:pt x="8202" y="3784"/>
                </a:cubicBezTo>
                <a:lnTo>
                  <a:pt x="10309" y="1676"/>
                </a:lnTo>
                <a:lnTo>
                  <a:pt x="10309" y="15218"/>
                </a:lnTo>
                <a:lnTo>
                  <a:pt x="10309" y="15218"/>
                </a:lnTo>
                <a:cubicBezTo>
                  <a:pt x="10309" y="15489"/>
                  <a:pt x="10529" y="15709"/>
                  <a:pt x="10800" y="15709"/>
                </a:cubicBezTo>
                <a:cubicBezTo>
                  <a:pt x="11071" y="15709"/>
                  <a:pt x="11291" y="15489"/>
                  <a:pt x="11291" y="15218"/>
                </a:cubicBezTo>
                <a:lnTo>
                  <a:pt x="11291" y="1676"/>
                </a:lnTo>
                <a:lnTo>
                  <a:pt x="13398" y="3784"/>
                </a:lnTo>
                <a:cubicBezTo>
                  <a:pt x="13487" y="3872"/>
                  <a:pt x="13610" y="3927"/>
                  <a:pt x="13745" y="3927"/>
                </a:cubicBezTo>
                <a:cubicBezTo>
                  <a:pt x="14016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9" y="3178"/>
                  <a:pt x="7364" y="3301"/>
                  <a:pt x="7364" y="3436"/>
                </a:cubicBezTo>
                <a:cubicBezTo>
                  <a:pt x="7364" y="3708"/>
                  <a:pt x="7584" y="3927"/>
                  <a:pt x="7855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69" name="Shape 2569"/>
          <p:cNvSpPr/>
          <p:nvPr/>
        </p:nvSpPr>
        <p:spPr>
          <a:xfrm>
            <a:off x="6024631" y="8362077"/>
            <a:ext cx="558654" cy="5586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18655" y="20618"/>
                </a:moveTo>
                <a:lnTo>
                  <a:pt x="2945" y="20618"/>
                </a:lnTo>
                <a:lnTo>
                  <a:pt x="2945" y="9818"/>
                </a:lnTo>
                <a:lnTo>
                  <a:pt x="18655" y="9818"/>
                </a:lnTo>
                <a:cubicBezTo>
                  <a:pt x="18655" y="9818"/>
                  <a:pt x="18655" y="20618"/>
                  <a:pt x="18655" y="20618"/>
                </a:cubicBezTo>
                <a:close/>
                <a:moveTo>
                  <a:pt x="3927" y="982"/>
                </a:moveTo>
                <a:lnTo>
                  <a:pt x="11782" y="982"/>
                </a:lnTo>
                <a:lnTo>
                  <a:pt x="11782" y="3436"/>
                </a:lnTo>
                <a:cubicBezTo>
                  <a:pt x="11782" y="3708"/>
                  <a:pt x="12002" y="3927"/>
                  <a:pt x="12273" y="3927"/>
                </a:cubicBezTo>
                <a:lnTo>
                  <a:pt x="14727" y="3927"/>
                </a:lnTo>
                <a:lnTo>
                  <a:pt x="14727" y="5891"/>
                </a:lnTo>
                <a:lnTo>
                  <a:pt x="3927" y="5891"/>
                </a:lnTo>
                <a:cubicBezTo>
                  <a:pt x="3927" y="5891"/>
                  <a:pt x="3927" y="982"/>
                  <a:pt x="3927" y="982"/>
                </a:cubicBezTo>
                <a:close/>
                <a:moveTo>
                  <a:pt x="12764" y="1473"/>
                </a:moveTo>
                <a:lnTo>
                  <a:pt x="14236" y="2945"/>
                </a:lnTo>
                <a:lnTo>
                  <a:pt x="12764" y="2945"/>
                </a:lnTo>
                <a:cubicBezTo>
                  <a:pt x="12764" y="2945"/>
                  <a:pt x="12764" y="1473"/>
                  <a:pt x="12764" y="1473"/>
                </a:cubicBezTo>
                <a:close/>
                <a:moveTo>
                  <a:pt x="17673" y="1964"/>
                </a:moveTo>
                <a:lnTo>
                  <a:pt x="17673" y="5891"/>
                </a:lnTo>
                <a:lnTo>
                  <a:pt x="15709" y="5891"/>
                </a:lnTo>
                <a:lnTo>
                  <a:pt x="15709" y="2945"/>
                </a:lnTo>
                <a:lnTo>
                  <a:pt x="14727" y="1964"/>
                </a:lnTo>
                <a:cubicBezTo>
                  <a:pt x="14727" y="1964"/>
                  <a:pt x="17673" y="1964"/>
                  <a:pt x="17673" y="1964"/>
                </a:cubicBezTo>
                <a:close/>
                <a:moveTo>
                  <a:pt x="20618" y="5891"/>
                </a:moveTo>
                <a:lnTo>
                  <a:pt x="18655" y="5891"/>
                </a:lnTo>
                <a:lnTo>
                  <a:pt x="18655" y="1964"/>
                </a:lnTo>
                <a:cubicBezTo>
                  <a:pt x="18655" y="1422"/>
                  <a:pt x="18215" y="982"/>
                  <a:pt x="17673" y="982"/>
                </a:cubicBezTo>
                <a:lnTo>
                  <a:pt x="13745" y="982"/>
                </a:lnTo>
                <a:lnTo>
                  <a:pt x="12764" y="0"/>
                </a:lnTo>
                <a:lnTo>
                  <a:pt x="3927" y="0"/>
                </a:lnTo>
                <a:cubicBezTo>
                  <a:pt x="3385" y="0"/>
                  <a:pt x="2945" y="440"/>
                  <a:pt x="2945" y="982"/>
                </a:cubicBezTo>
                <a:lnTo>
                  <a:pt x="2945" y="5891"/>
                </a:ln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9"/>
                  <a:pt x="440" y="9818"/>
                  <a:pt x="982" y="9818"/>
                </a:cubicBezTo>
                <a:lnTo>
                  <a:pt x="1964" y="9818"/>
                </a:lnTo>
                <a:lnTo>
                  <a:pt x="1964" y="20618"/>
                </a:lnTo>
                <a:cubicBezTo>
                  <a:pt x="1964" y="21160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60"/>
                  <a:pt x="19636" y="20618"/>
                </a:cubicBezTo>
                <a:lnTo>
                  <a:pt x="19636" y="9818"/>
                </a:lnTo>
                <a:lnTo>
                  <a:pt x="20618" y="9818"/>
                </a:lnTo>
                <a:cubicBezTo>
                  <a:pt x="21160" y="9818"/>
                  <a:pt x="21600" y="9379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7855" y="12763"/>
                </a:moveTo>
                <a:lnTo>
                  <a:pt x="13745" y="12763"/>
                </a:lnTo>
                <a:lnTo>
                  <a:pt x="13745" y="13745"/>
                </a:lnTo>
                <a:lnTo>
                  <a:pt x="7855" y="13745"/>
                </a:lnTo>
                <a:cubicBezTo>
                  <a:pt x="7855" y="13745"/>
                  <a:pt x="7855" y="12763"/>
                  <a:pt x="7855" y="12763"/>
                </a:cubicBezTo>
                <a:close/>
                <a:moveTo>
                  <a:pt x="7855" y="14727"/>
                </a:moveTo>
                <a:lnTo>
                  <a:pt x="13745" y="14727"/>
                </a:lnTo>
                <a:cubicBezTo>
                  <a:pt x="14287" y="14727"/>
                  <a:pt x="14727" y="14287"/>
                  <a:pt x="14727" y="13745"/>
                </a:cubicBezTo>
                <a:lnTo>
                  <a:pt x="14727" y="12763"/>
                </a:lnTo>
                <a:cubicBezTo>
                  <a:pt x="14727" y="12221"/>
                  <a:pt x="14287" y="11782"/>
                  <a:pt x="13745" y="11782"/>
                </a:cubicBezTo>
                <a:lnTo>
                  <a:pt x="7855" y="11782"/>
                </a:lnTo>
                <a:cubicBezTo>
                  <a:pt x="7313" y="11782"/>
                  <a:pt x="6873" y="12221"/>
                  <a:pt x="6873" y="12763"/>
                </a:cubicBezTo>
                <a:lnTo>
                  <a:pt x="6873" y="13745"/>
                </a:lnTo>
                <a:cubicBezTo>
                  <a:pt x="6873" y="14287"/>
                  <a:pt x="7313" y="14727"/>
                  <a:pt x="7855" y="147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0" name="Shape 2570"/>
          <p:cNvSpPr/>
          <p:nvPr/>
        </p:nvSpPr>
        <p:spPr>
          <a:xfrm>
            <a:off x="7091154" y="8374775"/>
            <a:ext cx="558654" cy="5459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19" extrusionOk="0">
                <a:moveTo>
                  <a:pt x="7530" y="4197"/>
                </a:moveTo>
                <a:lnTo>
                  <a:pt x="6680" y="3701"/>
                </a:lnTo>
                <a:lnTo>
                  <a:pt x="6189" y="4560"/>
                </a:lnTo>
                <a:lnTo>
                  <a:pt x="7040" y="5056"/>
                </a:lnTo>
                <a:cubicBezTo>
                  <a:pt x="7040" y="5056"/>
                  <a:pt x="7530" y="4197"/>
                  <a:pt x="7530" y="4197"/>
                </a:cubicBezTo>
                <a:close/>
                <a:moveTo>
                  <a:pt x="8512" y="2479"/>
                </a:moveTo>
                <a:lnTo>
                  <a:pt x="7662" y="1984"/>
                </a:lnTo>
                <a:lnTo>
                  <a:pt x="7171" y="2843"/>
                </a:lnTo>
                <a:lnTo>
                  <a:pt x="8021" y="3339"/>
                </a:lnTo>
                <a:cubicBezTo>
                  <a:pt x="8021" y="3339"/>
                  <a:pt x="8512" y="2479"/>
                  <a:pt x="8512" y="2479"/>
                </a:cubicBezTo>
                <a:close/>
                <a:moveTo>
                  <a:pt x="20618" y="8428"/>
                </a:moveTo>
                <a:lnTo>
                  <a:pt x="982" y="8428"/>
                </a:lnTo>
                <a:lnTo>
                  <a:pt x="982" y="6445"/>
                </a:lnTo>
                <a:lnTo>
                  <a:pt x="20618" y="6445"/>
                </a:lnTo>
                <a:cubicBezTo>
                  <a:pt x="20618" y="6445"/>
                  <a:pt x="20618" y="8428"/>
                  <a:pt x="20618" y="8428"/>
                </a:cubicBezTo>
                <a:close/>
                <a:moveTo>
                  <a:pt x="18655" y="20327"/>
                </a:moveTo>
                <a:lnTo>
                  <a:pt x="2945" y="20327"/>
                </a:lnTo>
                <a:lnTo>
                  <a:pt x="2945" y="9420"/>
                </a:lnTo>
                <a:lnTo>
                  <a:pt x="18655" y="9420"/>
                </a:lnTo>
                <a:cubicBezTo>
                  <a:pt x="18655" y="9420"/>
                  <a:pt x="18655" y="20327"/>
                  <a:pt x="18655" y="20327"/>
                </a:cubicBezTo>
                <a:close/>
                <a:moveTo>
                  <a:pt x="6811" y="1488"/>
                </a:moveTo>
                <a:cubicBezTo>
                  <a:pt x="7083" y="1014"/>
                  <a:pt x="7683" y="851"/>
                  <a:pt x="8153" y="1125"/>
                </a:cubicBezTo>
                <a:lnTo>
                  <a:pt x="9854" y="2117"/>
                </a:lnTo>
                <a:lnTo>
                  <a:pt x="7946" y="5454"/>
                </a:lnTo>
                <a:lnTo>
                  <a:pt x="5759" y="5454"/>
                </a:lnTo>
                <a:lnTo>
                  <a:pt x="5698" y="5419"/>
                </a:lnTo>
                <a:lnTo>
                  <a:pt x="5678" y="5454"/>
                </a:lnTo>
                <a:lnTo>
                  <a:pt x="4545" y="5454"/>
                </a:lnTo>
                <a:cubicBezTo>
                  <a:pt x="4545" y="5454"/>
                  <a:pt x="6811" y="1488"/>
                  <a:pt x="6811" y="1488"/>
                </a:cubicBezTo>
                <a:close/>
                <a:moveTo>
                  <a:pt x="15577" y="5454"/>
                </a:moveTo>
                <a:lnTo>
                  <a:pt x="9079" y="5454"/>
                </a:lnTo>
                <a:lnTo>
                  <a:pt x="10704" y="2612"/>
                </a:lnTo>
                <a:cubicBezTo>
                  <a:pt x="10704" y="2612"/>
                  <a:pt x="15577" y="5454"/>
                  <a:pt x="15577" y="5454"/>
                </a:cubicBezTo>
                <a:close/>
                <a:moveTo>
                  <a:pt x="15930" y="2759"/>
                </a:moveTo>
                <a:cubicBezTo>
                  <a:pt x="16454" y="2617"/>
                  <a:pt x="16991" y="2931"/>
                  <a:pt x="17132" y="3460"/>
                </a:cubicBezTo>
                <a:lnTo>
                  <a:pt x="17661" y="5454"/>
                </a:lnTo>
                <a:lnTo>
                  <a:pt x="17540" y="5454"/>
                </a:lnTo>
                <a:lnTo>
                  <a:pt x="16279" y="4718"/>
                </a:lnTo>
                <a:lnTo>
                  <a:pt x="16438" y="4674"/>
                </a:lnTo>
                <a:lnTo>
                  <a:pt x="16184" y="3716"/>
                </a:lnTo>
                <a:lnTo>
                  <a:pt x="15236" y="3973"/>
                </a:lnTo>
                <a:lnTo>
                  <a:pt x="15279" y="4135"/>
                </a:lnTo>
                <a:lnTo>
                  <a:pt x="14076" y="3434"/>
                </a:lnTo>
                <a:lnTo>
                  <a:pt x="14033" y="3272"/>
                </a:lnTo>
                <a:cubicBezTo>
                  <a:pt x="14033" y="3272"/>
                  <a:pt x="15930" y="2759"/>
                  <a:pt x="15930" y="2759"/>
                </a:cubicBezTo>
                <a:close/>
                <a:moveTo>
                  <a:pt x="20618" y="5454"/>
                </a:moveTo>
                <a:lnTo>
                  <a:pt x="18678" y="5454"/>
                </a:lnTo>
                <a:lnTo>
                  <a:pt x="18081" y="3203"/>
                </a:lnTo>
                <a:cubicBezTo>
                  <a:pt x="17800" y="2145"/>
                  <a:pt x="16724" y="1518"/>
                  <a:pt x="15676" y="1801"/>
                </a:cubicBezTo>
                <a:lnTo>
                  <a:pt x="12671" y="2615"/>
                </a:lnTo>
                <a:lnTo>
                  <a:pt x="8644" y="266"/>
                </a:lnTo>
                <a:cubicBezTo>
                  <a:pt x="7704" y="-281"/>
                  <a:pt x="6504" y="44"/>
                  <a:pt x="5961" y="992"/>
                </a:cubicBezTo>
                <a:lnTo>
                  <a:pt x="3410" y="5454"/>
                </a:lnTo>
                <a:lnTo>
                  <a:pt x="982" y="5454"/>
                </a:lnTo>
                <a:cubicBezTo>
                  <a:pt x="440" y="5454"/>
                  <a:pt x="0" y="5898"/>
                  <a:pt x="0" y="6445"/>
                </a:cubicBezTo>
                <a:lnTo>
                  <a:pt x="0" y="8428"/>
                </a:lnTo>
                <a:cubicBezTo>
                  <a:pt x="0" y="8977"/>
                  <a:pt x="440" y="9420"/>
                  <a:pt x="982" y="9420"/>
                </a:cubicBezTo>
                <a:lnTo>
                  <a:pt x="1964" y="9420"/>
                </a:lnTo>
                <a:lnTo>
                  <a:pt x="1964" y="20327"/>
                </a:lnTo>
                <a:cubicBezTo>
                  <a:pt x="1964" y="20875"/>
                  <a:pt x="2403" y="21319"/>
                  <a:pt x="2945" y="21319"/>
                </a:cubicBezTo>
                <a:lnTo>
                  <a:pt x="18655" y="21319"/>
                </a:lnTo>
                <a:cubicBezTo>
                  <a:pt x="19197" y="21319"/>
                  <a:pt x="19636" y="20875"/>
                  <a:pt x="19636" y="20327"/>
                </a:cubicBezTo>
                <a:lnTo>
                  <a:pt x="19636" y="9420"/>
                </a:lnTo>
                <a:lnTo>
                  <a:pt x="20618" y="9420"/>
                </a:lnTo>
                <a:cubicBezTo>
                  <a:pt x="21160" y="9420"/>
                  <a:pt x="21600" y="8977"/>
                  <a:pt x="21600" y="8428"/>
                </a:cubicBezTo>
                <a:lnTo>
                  <a:pt x="21600" y="6445"/>
                </a:lnTo>
                <a:cubicBezTo>
                  <a:pt x="21600" y="5898"/>
                  <a:pt x="21160" y="5454"/>
                  <a:pt x="20618" y="5454"/>
                </a:cubicBezTo>
                <a:moveTo>
                  <a:pt x="7855" y="12395"/>
                </a:moveTo>
                <a:lnTo>
                  <a:pt x="13745" y="12395"/>
                </a:lnTo>
                <a:lnTo>
                  <a:pt x="13745" y="13386"/>
                </a:lnTo>
                <a:lnTo>
                  <a:pt x="7855" y="13386"/>
                </a:lnTo>
                <a:cubicBezTo>
                  <a:pt x="7855" y="13386"/>
                  <a:pt x="7855" y="12395"/>
                  <a:pt x="7855" y="12395"/>
                </a:cubicBezTo>
                <a:close/>
                <a:moveTo>
                  <a:pt x="7855" y="14378"/>
                </a:moveTo>
                <a:lnTo>
                  <a:pt x="13745" y="14378"/>
                </a:lnTo>
                <a:cubicBezTo>
                  <a:pt x="14288" y="14378"/>
                  <a:pt x="14727" y="13934"/>
                  <a:pt x="14727" y="13386"/>
                </a:cubicBezTo>
                <a:lnTo>
                  <a:pt x="14727" y="12395"/>
                </a:lnTo>
                <a:cubicBezTo>
                  <a:pt x="14727" y="11847"/>
                  <a:pt x="14288" y="11403"/>
                  <a:pt x="13745" y="11403"/>
                </a:cubicBezTo>
                <a:lnTo>
                  <a:pt x="7855" y="11403"/>
                </a:lnTo>
                <a:cubicBezTo>
                  <a:pt x="7312" y="11403"/>
                  <a:pt x="6873" y="11847"/>
                  <a:pt x="6873" y="12395"/>
                </a:cubicBezTo>
                <a:lnTo>
                  <a:pt x="6873" y="13386"/>
                </a:lnTo>
                <a:cubicBezTo>
                  <a:pt x="6873" y="13934"/>
                  <a:pt x="7312" y="14378"/>
                  <a:pt x="7855" y="1437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1" name="Shape 2571"/>
          <p:cNvSpPr/>
          <p:nvPr/>
        </p:nvSpPr>
        <p:spPr>
          <a:xfrm>
            <a:off x="8157677" y="836208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2" name="Shape 2572"/>
          <p:cNvSpPr/>
          <p:nvPr/>
        </p:nvSpPr>
        <p:spPr>
          <a:xfrm>
            <a:off x="9224197" y="836208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9818" y="8836"/>
                </a:lnTo>
                <a:lnTo>
                  <a:pt x="9818" y="4909"/>
                </a:lnTo>
                <a:cubicBezTo>
                  <a:pt x="9818" y="4638"/>
                  <a:pt x="9599" y="4418"/>
                  <a:pt x="9327" y="4418"/>
                </a:cubicBezTo>
                <a:cubicBezTo>
                  <a:pt x="9056" y="4418"/>
                  <a:pt x="8836" y="4638"/>
                  <a:pt x="8836" y="4909"/>
                </a:cubicBezTo>
                <a:lnTo>
                  <a:pt x="8836" y="8836"/>
                </a:ln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8836" y="9818"/>
                </a:lnTo>
                <a:lnTo>
                  <a:pt x="8836" y="13745"/>
                </a:lnTo>
                <a:cubicBezTo>
                  <a:pt x="8836" y="14017"/>
                  <a:pt x="9056" y="14236"/>
                  <a:pt x="9327" y="14236"/>
                </a:cubicBezTo>
                <a:cubicBezTo>
                  <a:pt x="9599" y="14236"/>
                  <a:pt x="9818" y="14017"/>
                  <a:pt x="9818" y="13745"/>
                </a:cubicBezTo>
                <a:lnTo>
                  <a:pt x="9818" y="9818"/>
                </a:ln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3" name="Shape 2573"/>
          <p:cNvSpPr/>
          <p:nvPr/>
        </p:nvSpPr>
        <p:spPr>
          <a:xfrm>
            <a:off x="10290720" y="836208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4" name="Shape 2574"/>
          <p:cNvSpPr/>
          <p:nvPr/>
        </p:nvSpPr>
        <p:spPr>
          <a:xfrm>
            <a:off x="11382637" y="8362080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32" y="4909"/>
                  <a:pt x="1080" y="4030"/>
                  <a:pt x="1080" y="2945"/>
                </a:cubicBezTo>
                <a:cubicBezTo>
                  <a:pt x="1080" y="1861"/>
                  <a:pt x="5432" y="982"/>
                  <a:pt x="10800" y="982"/>
                </a:cubicBezTo>
                <a:cubicBezTo>
                  <a:pt x="16168" y="982"/>
                  <a:pt x="20520" y="1861"/>
                  <a:pt x="20520" y="2945"/>
                </a:cubicBezTo>
                <a:cubicBezTo>
                  <a:pt x="20520" y="4030"/>
                  <a:pt x="16168" y="4909"/>
                  <a:pt x="10800" y="4909"/>
                </a:cubicBezTo>
                <a:moveTo>
                  <a:pt x="16305" y="8659"/>
                </a:moveTo>
                <a:cubicBezTo>
                  <a:pt x="14130" y="10260"/>
                  <a:pt x="11880" y="11916"/>
                  <a:pt x="11880" y="14727"/>
                </a:cubicBezTo>
                <a:cubicBezTo>
                  <a:pt x="11880" y="17561"/>
                  <a:pt x="11880" y="19270"/>
                  <a:pt x="11642" y="20135"/>
                </a:cubicBezTo>
                <a:cubicBezTo>
                  <a:pt x="11522" y="20573"/>
                  <a:pt x="11509" y="20618"/>
                  <a:pt x="10800" y="20618"/>
                </a:cubicBezTo>
                <a:cubicBezTo>
                  <a:pt x="10091" y="20618"/>
                  <a:pt x="10078" y="20573"/>
                  <a:pt x="9957" y="20135"/>
                </a:cubicBezTo>
                <a:cubicBezTo>
                  <a:pt x="9818" y="19627"/>
                  <a:pt x="9761" y="18820"/>
                  <a:pt x="9738" y="17673"/>
                </a:cubicBezTo>
                <a:lnTo>
                  <a:pt x="10260" y="17673"/>
                </a:lnTo>
                <a:cubicBezTo>
                  <a:pt x="10558" y="17673"/>
                  <a:pt x="10800" y="17453"/>
                  <a:pt x="10800" y="17182"/>
                </a:cubicBezTo>
                <a:cubicBezTo>
                  <a:pt x="10800" y="16911"/>
                  <a:pt x="10558" y="16691"/>
                  <a:pt x="10260" y="16691"/>
                </a:cubicBezTo>
                <a:lnTo>
                  <a:pt x="9724" y="16691"/>
                </a:lnTo>
                <a:cubicBezTo>
                  <a:pt x="9722" y="16381"/>
                  <a:pt x="9721" y="16059"/>
                  <a:pt x="9721" y="15709"/>
                </a:cubicBezTo>
                <a:lnTo>
                  <a:pt x="10260" y="15709"/>
                </a:lnTo>
                <a:cubicBezTo>
                  <a:pt x="10558" y="15709"/>
                  <a:pt x="10800" y="15489"/>
                  <a:pt x="10800" y="15218"/>
                </a:cubicBezTo>
                <a:cubicBezTo>
                  <a:pt x="10800" y="14947"/>
                  <a:pt x="10558" y="14727"/>
                  <a:pt x="10260" y="14727"/>
                </a:cubicBezTo>
                <a:lnTo>
                  <a:pt x="9720" y="14727"/>
                </a:lnTo>
                <a:cubicBezTo>
                  <a:pt x="9720" y="11916"/>
                  <a:pt x="7470" y="10260"/>
                  <a:pt x="5295" y="8659"/>
                </a:cubicBezTo>
                <a:cubicBezTo>
                  <a:pt x="3543" y="7370"/>
                  <a:pt x="1872" y="6139"/>
                  <a:pt x="1294" y="4344"/>
                </a:cubicBezTo>
                <a:cubicBezTo>
                  <a:pt x="3119" y="5266"/>
                  <a:pt x="6691" y="5891"/>
                  <a:pt x="10800" y="5891"/>
                </a:cubicBezTo>
                <a:cubicBezTo>
                  <a:pt x="14905" y="5891"/>
                  <a:pt x="18475" y="5266"/>
                  <a:pt x="20302" y="4347"/>
                </a:cubicBezTo>
                <a:cubicBezTo>
                  <a:pt x="19721" y="6143"/>
                  <a:pt x="18053" y="7373"/>
                  <a:pt x="16305" y="8659"/>
                </a:cubicBezTo>
                <a:moveTo>
                  <a:pt x="10800" y="0"/>
                </a:moveTo>
                <a:cubicBezTo>
                  <a:pt x="4835" y="0"/>
                  <a:pt x="0" y="1319"/>
                  <a:pt x="0" y="2945"/>
                </a:cubicBezTo>
                <a:cubicBezTo>
                  <a:pt x="0" y="8836"/>
                  <a:pt x="8640" y="9818"/>
                  <a:pt x="8640" y="14727"/>
                </a:cubicBezTo>
                <a:lnTo>
                  <a:pt x="8640" y="15217"/>
                </a:lnTo>
                <a:lnTo>
                  <a:pt x="8640" y="15218"/>
                </a:lnTo>
                <a:lnTo>
                  <a:pt x="8640" y="15219"/>
                </a:lnTo>
                <a:cubicBezTo>
                  <a:pt x="8641" y="15938"/>
                  <a:pt x="8642" y="16572"/>
                  <a:pt x="8649" y="17142"/>
                </a:cubicBezTo>
                <a:cubicBezTo>
                  <a:pt x="8647" y="17155"/>
                  <a:pt x="8640" y="17168"/>
                  <a:pt x="8640" y="17182"/>
                </a:cubicBezTo>
                <a:cubicBezTo>
                  <a:pt x="8640" y="17199"/>
                  <a:pt x="8648" y="17212"/>
                  <a:pt x="8651" y="17230"/>
                </a:cubicBezTo>
                <a:cubicBezTo>
                  <a:pt x="8699" y="20896"/>
                  <a:pt x="8995" y="21600"/>
                  <a:pt x="10800" y="21600"/>
                </a:cubicBezTo>
                <a:cubicBezTo>
                  <a:pt x="12960" y="21600"/>
                  <a:pt x="12960" y="20618"/>
                  <a:pt x="12960" y="14727"/>
                </a:cubicBezTo>
                <a:cubicBezTo>
                  <a:pt x="12960" y="9818"/>
                  <a:pt x="21600" y="8836"/>
                  <a:pt x="21600" y="2945"/>
                </a:cubicBezTo>
                <a:cubicBezTo>
                  <a:pt x="21600" y="1319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5" name="Shape 2575"/>
          <p:cNvSpPr/>
          <p:nvPr/>
        </p:nvSpPr>
        <p:spPr>
          <a:xfrm>
            <a:off x="1758543" y="942860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8655" y="14727"/>
                </a:lnTo>
                <a:lnTo>
                  <a:pt x="18655" y="12273"/>
                </a:lnTo>
                <a:cubicBezTo>
                  <a:pt x="18655" y="12002"/>
                  <a:pt x="18434" y="11782"/>
                  <a:pt x="18164" y="11782"/>
                </a:cubicBezTo>
                <a:cubicBezTo>
                  <a:pt x="17893" y="11782"/>
                  <a:pt x="17673" y="12002"/>
                  <a:pt x="17673" y="12273"/>
                </a:cubicBezTo>
                <a:lnTo>
                  <a:pt x="17673" y="14727"/>
                </a:ln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17673" y="15709"/>
                </a:lnTo>
                <a:lnTo>
                  <a:pt x="17673" y="18164"/>
                </a:lnTo>
                <a:cubicBezTo>
                  <a:pt x="17673" y="18435"/>
                  <a:pt x="17893" y="18655"/>
                  <a:pt x="18164" y="18655"/>
                </a:cubicBezTo>
                <a:cubicBezTo>
                  <a:pt x="18434" y="18655"/>
                  <a:pt x="18655" y="18435"/>
                  <a:pt x="18655" y="18164"/>
                </a:cubicBezTo>
                <a:lnTo>
                  <a:pt x="18655" y="15709"/>
                </a:ln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6" name="Shape 2576"/>
          <p:cNvSpPr/>
          <p:nvPr/>
        </p:nvSpPr>
        <p:spPr>
          <a:xfrm>
            <a:off x="2825064" y="942860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7" name="Shape 2577"/>
          <p:cNvSpPr/>
          <p:nvPr/>
        </p:nvSpPr>
        <p:spPr>
          <a:xfrm>
            <a:off x="3916982" y="9428603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20" y="4979"/>
                </a:moveTo>
                <a:lnTo>
                  <a:pt x="7560" y="6792"/>
                </a:lnTo>
                <a:lnTo>
                  <a:pt x="7560" y="2876"/>
                </a:lnTo>
                <a:lnTo>
                  <a:pt x="20520" y="1063"/>
                </a:lnTo>
                <a:cubicBezTo>
                  <a:pt x="20520" y="1063"/>
                  <a:pt x="20520" y="4979"/>
                  <a:pt x="20520" y="4979"/>
                </a:cubicBezTo>
                <a:close/>
                <a:moveTo>
                  <a:pt x="18900" y="17673"/>
                </a:moveTo>
                <a:lnTo>
                  <a:pt x="16740" y="17673"/>
                </a:lnTo>
                <a:cubicBezTo>
                  <a:pt x="15845" y="17673"/>
                  <a:pt x="15120" y="17014"/>
                  <a:pt x="15120" y="16200"/>
                </a:cubicBezTo>
                <a:cubicBezTo>
                  <a:pt x="15120" y="15387"/>
                  <a:pt x="15845" y="14727"/>
                  <a:pt x="16740" y="14727"/>
                </a:cubicBezTo>
                <a:lnTo>
                  <a:pt x="18900" y="14727"/>
                </a:lnTo>
                <a:cubicBezTo>
                  <a:pt x="19795" y="14727"/>
                  <a:pt x="20520" y="15387"/>
                  <a:pt x="20520" y="16200"/>
                </a:cubicBezTo>
                <a:cubicBezTo>
                  <a:pt x="20520" y="17014"/>
                  <a:pt x="19795" y="17673"/>
                  <a:pt x="18900" y="17673"/>
                </a:cubicBezTo>
                <a:moveTo>
                  <a:pt x="4860" y="20618"/>
                </a:moveTo>
                <a:lnTo>
                  <a:pt x="2700" y="20618"/>
                </a:lnTo>
                <a:cubicBezTo>
                  <a:pt x="1805" y="20618"/>
                  <a:pt x="1080" y="19959"/>
                  <a:pt x="1080" y="19146"/>
                </a:cubicBezTo>
                <a:cubicBezTo>
                  <a:pt x="1080" y="18332"/>
                  <a:pt x="1805" y="17673"/>
                  <a:pt x="2700" y="17673"/>
                </a:cubicBezTo>
                <a:lnTo>
                  <a:pt x="4860" y="17673"/>
                </a:lnTo>
                <a:cubicBezTo>
                  <a:pt x="5755" y="17673"/>
                  <a:pt x="6480" y="18332"/>
                  <a:pt x="6480" y="19146"/>
                </a:cubicBezTo>
                <a:cubicBezTo>
                  <a:pt x="6480" y="19959"/>
                  <a:pt x="5755" y="20618"/>
                  <a:pt x="4860" y="20618"/>
                </a:cubicBezTo>
                <a:moveTo>
                  <a:pt x="21060" y="0"/>
                </a:moveTo>
                <a:cubicBezTo>
                  <a:pt x="21031" y="0"/>
                  <a:pt x="21006" y="11"/>
                  <a:pt x="20980" y="15"/>
                </a:cubicBezTo>
                <a:lnTo>
                  <a:pt x="20978" y="6"/>
                </a:lnTo>
                <a:lnTo>
                  <a:pt x="6938" y="1969"/>
                </a:lnTo>
                <a:lnTo>
                  <a:pt x="6940" y="1979"/>
                </a:lnTo>
                <a:cubicBezTo>
                  <a:pt x="6681" y="2016"/>
                  <a:pt x="6480" y="2210"/>
                  <a:pt x="6480" y="2455"/>
                </a:cubicBezTo>
                <a:lnTo>
                  <a:pt x="6480" y="17193"/>
                </a:lnTo>
                <a:cubicBezTo>
                  <a:pt x="6028" y="16882"/>
                  <a:pt x="5471" y="16691"/>
                  <a:pt x="4860" y="16691"/>
                </a:cubicBezTo>
                <a:lnTo>
                  <a:pt x="2700" y="16691"/>
                </a:lnTo>
                <a:cubicBezTo>
                  <a:pt x="1209" y="16691"/>
                  <a:pt x="0" y="17790"/>
                  <a:pt x="0" y="19146"/>
                </a:cubicBezTo>
                <a:cubicBezTo>
                  <a:pt x="0" y="20501"/>
                  <a:pt x="1209" y="21600"/>
                  <a:pt x="2700" y="21600"/>
                </a:cubicBezTo>
                <a:lnTo>
                  <a:pt x="4860" y="21600"/>
                </a:lnTo>
                <a:cubicBezTo>
                  <a:pt x="6352" y="21600"/>
                  <a:pt x="7560" y="20501"/>
                  <a:pt x="7560" y="19146"/>
                </a:cubicBezTo>
                <a:lnTo>
                  <a:pt x="7560" y="7785"/>
                </a:lnTo>
                <a:lnTo>
                  <a:pt x="20520" y="5972"/>
                </a:lnTo>
                <a:lnTo>
                  <a:pt x="20520" y="14248"/>
                </a:lnTo>
                <a:cubicBezTo>
                  <a:pt x="20068" y="13937"/>
                  <a:pt x="19511" y="13745"/>
                  <a:pt x="18900" y="13745"/>
                </a:cubicBezTo>
                <a:lnTo>
                  <a:pt x="16740" y="13745"/>
                </a:lnTo>
                <a:cubicBezTo>
                  <a:pt x="15249" y="13745"/>
                  <a:pt x="14040" y="14845"/>
                  <a:pt x="14040" y="16200"/>
                </a:cubicBezTo>
                <a:cubicBezTo>
                  <a:pt x="14040" y="17556"/>
                  <a:pt x="15249" y="18655"/>
                  <a:pt x="16740" y="18655"/>
                </a:cubicBezTo>
                <a:lnTo>
                  <a:pt x="18900" y="18655"/>
                </a:lnTo>
                <a:cubicBezTo>
                  <a:pt x="20392" y="18655"/>
                  <a:pt x="21600" y="17556"/>
                  <a:pt x="21600" y="16200"/>
                </a:cubicBezTo>
                <a:lnTo>
                  <a:pt x="21600" y="491"/>
                </a:lnTo>
                <a:cubicBezTo>
                  <a:pt x="21600" y="220"/>
                  <a:pt x="21358" y="0"/>
                  <a:pt x="2106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8" name="Shape 2578"/>
          <p:cNvSpPr/>
          <p:nvPr/>
        </p:nvSpPr>
        <p:spPr>
          <a:xfrm>
            <a:off x="5059682" y="9428603"/>
            <a:ext cx="355507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5837"/>
                </a:moveTo>
                <a:lnTo>
                  <a:pt x="10800" y="4996"/>
                </a:lnTo>
                <a:lnTo>
                  <a:pt x="10800" y="1036"/>
                </a:lnTo>
                <a:lnTo>
                  <a:pt x="20057" y="1878"/>
                </a:lnTo>
                <a:cubicBezTo>
                  <a:pt x="20057" y="1878"/>
                  <a:pt x="20057" y="5837"/>
                  <a:pt x="20057" y="5837"/>
                </a:cubicBezTo>
                <a:close/>
                <a:moveTo>
                  <a:pt x="6943" y="20618"/>
                </a:moveTo>
                <a:lnTo>
                  <a:pt x="3857" y="20618"/>
                </a:lnTo>
                <a:cubicBezTo>
                  <a:pt x="2579" y="20618"/>
                  <a:pt x="1543" y="19959"/>
                  <a:pt x="1543" y="19146"/>
                </a:cubicBezTo>
                <a:cubicBezTo>
                  <a:pt x="1543" y="18332"/>
                  <a:pt x="2579" y="17673"/>
                  <a:pt x="3857" y="17673"/>
                </a:cubicBezTo>
                <a:lnTo>
                  <a:pt x="6943" y="17673"/>
                </a:lnTo>
                <a:cubicBezTo>
                  <a:pt x="8221" y="17673"/>
                  <a:pt x="9257" y="18332"/>
                  <a:pt x="9257" y="19146"/>
                </a:cubicBezTo>
                <a:cubicBezTo>
                  <a:pt x="9257" y="19959"/>
                  <a:pt x="8221" y="20618"/>
                  <a:pt x="6943" y="20618"/>
                </a:cubicBezTo>
                <a:moveTo>
                  <a:pt x="20829" y="982"/>
                </a:moveTo>
                <a:cubicBezTo>
                  <a:pt x="20788" y="982"/>
                  <a:pt x="20752" y="993"/>
                  <a:pt x="20714" y="997"/>
                </a:cubicBezTo>
                <a:lnTo>
                  <a:pt x="20711" y="988"/>
                </a:lnTo>
                <a:lnTo>
                  <a:pt x="10344" y="45"/>
                </a:lnTo>
                <a:cubicBezTo>
                  <a:pt x="10248" y="17"/>
                  <a:pt x="10141" y="0"/>
                  <a:pt x="10029" y="0"/>
                </a:cubicBezTo>
                <a:cubicBezTo>
                  <a:pt x="10002" y="0"/>
                  <a:pt x="9979" y="8"/>
                  <a:pt x="9954" y="10"/>
                </a:cubicBezTo>
                <a:lnTo>
                  <a:pt x="9911" y="6"/>
                </a:lnTo>
                <a:lnTo>
                  <a:pt x="9914" y="15"/>
                </a:lnTo>
                <a:cubicBezTo>
                  <a:pt x="9545" y="52"/>
                  <a:pt x="9257" y="246"/>
                  <a:pt x="9257" y="491"/>
                </a:cubicBezTo>
                <a:lnTo>
                  <a:pt x="9257" y="17193"/>
                </a:lnTo>
                <a:cubicBezTo>
                  <a:pt x="8612" y="16882"/>
                  <a:pt x="7815" y="16691"/>
                  <a:pt x="6943" y="16691"/>
                </a:cubicBezTo>
                <a:lnTo>
                  <a:pt x="3857" y="16691"/>
                </a:lnTo>
                <a:cubicBezTo>
                  <a:pt x="1727" y="16691"/>
                  <a:pt x="0" y="17790"/>
                  <a:pt x="0" y="19146"/>
                </a:cubicBezTo>
                <a:cubicBezTo>
                  <a:pt x="0" y="20501"/>
                  <a:pt x="1727" y="21600"/>
                  <a:pt x="3857" y="21600"/>
                </a:cubicBezTo>
                <a:lnTo>
                  <a:pt x="6943" y="21600"/>
                </a:lnTo>
                <a:cubicBezTo>
                  <a:pt x="9074" y="21600"/>
                  <a:pt x="10800" y="20501"/>
                  <a:pt x="10800" y="19146"/>
                </a:cubicBezTo>
                <a:lnTo>
                  <a:pt x="10800" y="5945"/>
                </a:lnTo>
                <a:lnTo>
                  <a:pt x="20513" y="6828"/>
                </a:lnTo>
                <a:cubicBezTo>
                  <a:pt x="20610" y="6855"/>
                  <a:pt x="20715" y="6873"/>
                  <a:pt x="20829" y="6873"/>
                </a:cubicBezTo>
                <a:cubicBezTo>
                  <a:pt x="20855" y="6873"/>
                  <a:pt x="20877" y="6865"/>
                  <a:pt x="20904" y="6864"/>
                </a:cubicBezTo>
                <a:lnTo>
                  <a:pt x="20946" y="6867"/>
                </a:lnTo>
                <a:lnTo>
                  <a:pt x="20943" y="6858"/>
                </a:lnTo>
                <a:cubicBezTo>
                  <a:pt x="21313" y="6822"/>
                  <a:pt x="21600" y="6627"/>
                  <a:pt x="21600" y="6382"/>
                </a:cubicBezTo>
                <a:lnTo>
                  <a:pt x="21600" y="1473"/>
                </a:lnTo>
                <a:cubicBezTo>
                  <a:pt x="21600" y="1202"/>
                  <a:pt x="21254" y="982"/>
                  <a:pt x="20829" y="9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79" name="Shape 2579"/>
          <p:cNvSpPr/>
          <p:nvPr/>
        </p:nvSpPr>
        <p:spPr>
          <a:xfrm>
            <a:off x="6024631" y="942860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57" y="18984"/>
                </a:moveTo>
                <a:lnTo>
                  <a:pt x="11380" y="15408"/>
                </a:lnTo>
                <a:lnTo>
                  <a:pt x="10800" y="14983"/>
                </a:lnTo>
                <a:lnTo>
                  <a:pt x="10219" y="15408"/>
                </a:lnTo>
                <a:lnTo>
                  <a:pt x="5343" y="18984"/>
                </a:lnTo>
                <a:lnTo>
                  <a:pt x="7313" y="13075"/>
                </a:lnTo>
                <a:lnTo>
                  <a:pt x="7534" y="12411"/>
                </a:lnTo>
                <a:lnTo>
                  <a:pt x="6980" y="11985"/>
                </a:lnTo>
                <a:lnTo>
                  <a:pt x="2887" y="8836"/>
                </a:lnTo>
                <a:lnTo>
                  <a:pt x="8535" y="8836"/>
                </a:lnTo>
                <a:lnTo>
                  <a:pt x="8774" y="8199"/>
                </a:lnTo>
                <a:lnTo>
                  <a:pt x="10800" y="2796"/>
                </a:lnTo>
                <a:lnTo>
                  <a:pt x="12826" y="8199"/>
                </a:lnTo>
                <a:lnTo>
                  <a:pt x="13065" y="8836"/>
                </a:lnTo>
                <a:lnTo>
                  <a:pt x="18714" y="8836"/>
                </a:lnTo>
                <a:lnTo>
                  <a:pt x="14619" y="11985"/>
                </a:lnTo>
                <a:lnTo>
                  <a:pt x="14066" y="12411"/>
                </a:lnTo>
                <a:cubicBezTo>
                  <a:pt x="14066" y="12411"/>
                  <a:pt x="16257" y="18984"/>
                  <a:pt x="16257" y="18984"/>
                </a:cubicBezTo>
                <a:close/>
                <a:moveTo>
                  <a:pt x="21600" y="7855"/>
                </a:moveTo>
                <a:lnTo>
                  <a:pt x="13745" y="7855"/>
                </a:lnTo>
                <a:lnTo>
                  <a:pt x="10800" y="0"/>
                </a:lnTo>
                <a:lnTo>
                  <a:pt x="7855" y="7855"/>
                </a:lnTo>
                <a:lnTo>
                  <a:pt x="0" y="7855"/>
                </a:lnTo>
                <a:lnTo>
                  <a:pt x="6382" y="12764"/>
                </a:lnTo>
                <a:lnTo>
                  <a:pt x="3436" y="21600"/>
                </a:lnTo>
                <a:lnTo>
                  <a:pt x="10800" y="16200"/>
                </a:lnTo>
                <a:lnTo>
                  <a:pt x="18164" y="21600"/>
                </a:lnTo>
                <a:lnTo>
                  <a:pt x="15218" y="12764"/>
                </a:lnTo>
                <a:cubicBezTo>
                  <a:pt x="15218" y="12764"/>
                  <a:pt x="21600" y="7855"/>
                  <a:pt x="21600" y="785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0" name="Shape 2580"/>
          <p:cNvSpPr/>
          <p:nvPr/>
        </p:nvSpPr>
        <p:spPr>
          <a:xfrm>
            <a:off x="7091154" y="942860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445" y="15886"/>
                </a:moveTo>
                <a:lnTo>
                  <a:pt x="10478" y="18984"/>
                </a:lnTo>
                <a:lnTo>
                  <a:pt x="7944" y="17126"/>
                </a:lnTo>
                <a:lnTo>
                  <a:pt x="7364" y="16700"/>
                </a:lnTo>
                <a:lnTo>
                  <a:pt x="6783" y="17126"/>
                </a:lnTo>
                <a:lnTo>
                  <a:pt x="4249" y="18984"/>
                </a:lnTo>
                <a:lnTo>
                  <a:pt x="5283" y="15886"/>
                </a:lnTo>
                <a:lnTo>
                  <a:pt x="5505" y="15220"/>
                </a:lnTo>
                <a:lnTo>
                  <a:pt x="4946" y="14794"/>
                </a:lnTo>
                <a:lnTo>
                  <a:pt x="2908" y="13240"/>
                </a:lnTo>
                <a:lnTo>
                  <a:pt x="6037" y="13240"/>
                </a:lnTo>
                <a:lnTo>
                  <a:pt x="6275" y="12602"/>
                </a:lnTo>
                <a:lnTo>
                  <a:pt x="7364" y="9683"/>
                </a:lnTo>
                <a:lnTo>
                  <a:pt x="8452" y="12602"/>
                </a:lnTo>
                <a:lnTo>
                  <a:pt x="8690" y="13240"/>
                </a:lnTo>
                <a:lnTo>
                  <a:pt x="11820" y="13240"/>
                </a:lnTo>
                <a:lnTo>
                  <a:pt x="9781" y="14794"/>
                </a:lnTo>
                <a:lnTo>
                  <a:pt x="9223" y="15220"/>
                </a:lnTo>
                <a:cubicBezTo>
                  <a:pt x="9223" y="15220"/>
                  <a:pt x="9445" y="15886"/>
                  <a:pt x="9445" y="15886"/>
                </a:cubicBezTo>
                <a:close/>
                <a:moveTo>
                  <a:pt x="9372" y="12259"/>
                </a:moveTo>
                <a:lnTo>
                  <a:pt x="7364" y="6873"/>
                </a:lnTo>
                <a:lnTo>
                  <a:pt x="5355" y="12259"/>
                </a:lnTo>
                <a:lnTo>
                  <a:pt x="0" y="12259"/>
                </a:lnTo>
                <a:lnTo>
                  <a:pt x="4351" y="15575"/>
                </a:lnTo>
                <a:lnTo>
                  <a:pt x="2343" y="21600"/>
                </a:lnTo>
                <a:lnTo>
                  <a:pt x="7364" y="17918"/>
                </a:lnTo>
                <a:lnTo>
                  <a:pt x="12384" y="21600"/>
                </a:lnTo>
                <a:lnTo>
                  <a:pt x="10376" y="15575"/>
                </a:lnTo>
                <a:lnTo>
                  <a:pt x="14727" y="12259"/>
                </a:lnTo>
                <a:cubicBezTo>
                  <a:pt x="14727" y="12259"/>
                  <a:pt x="9372" y="12259"/>
                  <a:pt x="9372" y="12259"/>
                </a:cubicBezTo>
                <a:close/>
                <a:moveTo>
                  <a:pt x="16781" y="7308"/>
                </a:moveTo>
                <a:lnTo>
                  <a:pt x="16200" y="6883"/>
                </a:lnTo>
                <a:lnTo>
                  <a:pt x="15619" y="7308"/>
                </a:lnTo>
                <a:lnTo>
                  <a:pt x="14426" y="8184"/>
                </a:lnTo>
                <a:lnTo>
                  <a:pt x="14922" y="6693"/>
                </a:lnTo>
                <a:lnTo>
                  <a:pt x="15143" y="6031"/>
                </a:lnTo>
                <a:lnTo>
                  <a:pt x="14590" y="5605"/>
                </a:lnTo>
                <a:lnTo>
                  <a:pt x="13682" y="4905"/>
                </a:lnTo>
                <a:lnTo>
                  <a:pt x="15408" y="4905"/>
                </a:lnTo>
                <a:lnTo>
                  <a:pt x="15647" y="4267"/>
                </a:lnTo>
                <a:lnTo>
                  <a:pt x="16200" y="2793"/>
                </a:lnTo>
                <a:lnTo>
                  <a:pt x="16754" y="4267"/>
                </a:lnTo>
                <a:lnTo>
                  <a:pt x="16992" y="4905"/>
                </a:lnTo>
                <a:lnTo>
                  <a:pt x="18718" y="4905"/>
                </a:lnTo>
                <a:lnTo>
                  <a:pt x="17810" y="5605"/>
                </a:lnTo>
                <a:lnTo>
                  <a:pt x="17257" y="6031"/>
                </a:lnTo>
                <a:lnTo>
                  <a:pt x="17478" y="6693"/>
                </a:lnTo>
                <a:lnTo>
                  <a:pt x="17975" y="8184"/>
                </a:lnTo>
                <a:cubicBezTo>
                  <a:pt x="17975" y="8184"/>
                  <a:pt x="16781" y="7308"/>
                  <a:pt x="16781" y="7308"/>
                </a:cubicBezTo>
                <a:close/>
                <a:moveTo>
                  <a:pt x="21600" y="3922"/>
                </a:moveTo>
                <a:lnTo>
                  <a:pt x="17673" y="3922"/>
                </a:lnTo>
                <a:lnTo>
                  <a:pt x="16200" y="0"/>
                </a:lnTo>
                <a:lnTo>
                  <a:pt x="14727" y="3922"/>
                </a:lnTo>
                <a:lnTo>
                  <a:pt x="10800" y="3922"/>
                </a:lnTo>
                <a:lnTo>
                  <a:pt x="13991" y="6382"/>
                </a:lnTo>
                <a:lnTo>
                  <a:pt x="12518" y="10800"/>
                </a:lnTo>
                <a:lnTo>
                  <a:pt x="16200" y="8100"/>
                </a:lnTo>
                <a:lnTo>
                  <a:pt x="19882" y="10800"/>
                </a:lnTo>
                <a:lnTo>
                  <a:pt x="18409" y="6382"/>
                </a:lnTo>
                <a:cubicBezTo>
                  <a:pt x="18409" y="6382"/>
                  <a:pt x="21600" y="3922"/>
                  <a:pt x="21600" y="3922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1" name="Shape 2581"/>
          <p:cNvSpPr/>
          <p:nvPr/>
        </p:nvSpPr>
        <p:spPr>
          <a:xfrm>
            <a:off x="8157677" y="942860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33" y="11950"/>
                </a:moveTo>
                <a:lnTo>
                  <a:pt x="12831" y="14044"/>
                </a:lnTo>
                <a:lnTo>
                  <a:pt x="11135" y="12801"/>
                </a:lnTo>
                <a:lnTo>
                  <a:pt x="10555" y="12375"/>
                </a:lnTo>
                <a:lnTo>
                  <a:pt x="9974" y="12801"/>
                </a:lnTo>
                <a:lnTo>
                  <a:pt x="8277" y="14044"/>
                </a:lnTo>
                <a:lnTo>
                  <a:pt x="8976" y="11950"/>
                </a:lnTo>
                <a:lnTo>
                  <a:pt x="9195" y="11291"/>
                </a:lnTo>
                <a:lnTo>
                  <a:pt x="8647" y="10864"/>
                </a:lnTo>
                <a:lnTo>
                  <a:pt x="7280" y="9801"/>
                </a:lnTo>
                <a:lnTo>
                  <a:pt x="9560" y="9801"/>
                </a:lnTo>
                <a:lnTo>
                  <a:pt x="9799" y="9167"/>
                </a:lnTo>
                <a:lnTo>
                  <a:pt x="10555" y="7167"/>
                </a:lnTo>
                <a:lnTo>
                  <a:pt x="11310" y="9167"/>
                </a:lnTo>
                <a:lnTo>
                  <a:pt x="11549" y="9801"/>
                </a:lnTo>
                <a:lnTo>
                  <a:pt x="13829" y="9801"/>
                </a:lnTo>
                <a:lnTo>
                  <a:pt x="12462" y="10864"/>
                </a:lnTo>
                <a:lnTo>
                  <a:pt x="11914" y="11291"/>
                </a:lnTo>
                <a:cubicBezTo>
                  <a:pt x="11914" y="11291"/>
                  <a:pt x="12133" y="11950"/>
                  <a:pt x="12133" y="11950"/>
                </a:cubicBezTo>
                <a:close/>
                <a:moveTo>
                  <a:pt x="12228" y="8820"/>
                </a:moveTo>
                <a:lnTo>
                  <a:pt x="10555" y="4388"/>
                </a:lnTo>
                <a:lnTo>
                  <a:pt x="8881" y="8820"/>
                </a:lnTo>
                <a:lnTo>
                  <a:pt x="4418" y="8820"/>
                </a:lnTo>
                <a:lnTo>
                  <a:pt x="8044" y="11639"/>
                </a:lnTo>
                <a:lnTo>
                  <a:pt x="6371" y="16660"/>
                </a:lnTo>
                <a:lnTo>
                  <a:pt x="10555" y="13592"/>
                </a:lnTo>
                <a:lnTo>
                  <a:pt x="14738" y="16660"/>
                </a:lnTo>
                <a:lnTo>
                  <a:pt x="13065" y="11639"/>
                </a:lnTo>
                <a:lnTo>
                  <a:pt x="16691" y="8820"/>
                </a:lnTo>
                <a:cubicBezTo>
                  <a:pt x="16691" y="8820"/>
                  <a:pt x="12228" y="8820"/>
                  <a:pt x="12228" y="8820"/>
                </a:cubicBezTo>
                <a:close/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2" name="Shape 2582"/>
          <p:cNvSpPr/>
          <p:nvPr/>
        </p:nvSpPr>
        <p:spPr>
          <a:xfrm>
            <a:off x="9224197" y="942860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4419"/>
                </a:moveTo>
                <a:lnTo>
                  <a:pt x="9327" y="4419"/>
                </a:lnTo>
                <a:cubicBezTo>
                  <a:pt x="9056" y="4419"/>
                  <a:pt x="8836" y="4638"/>
                  <a:pt x="8836" y="4909"/>
                </a:cubicBezTo>
                <a:cubicBezTo>
                  <a:pt x="8836" y="5181"/>
                  <a:pt x="9056" y="5400"/>
                  <a:pt x="9327" y="5400"/>
                </a:cubicBezTo>
                <a:lnTo>
                  <a:pt x="18164" y="5400"/>
                </a:lnTo>
                <a:cubicBezTo>
                  <a:pt x="18435" y="5400"/>
                  <a:pt x="18655" y="5181"/>
                  <a:pt x="18655" y="4909"/>
                </a:cubicBezTo>
                <a:cubicBezTo>
                  <a:pt x="18655" y="4638"/>
                  <a:pt x="18435" y="4419"/>
                  <a:pt x="18164" y="4419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164" y="10310"/>
                </a:moveTo>
                <a:lnTo>
                  <a:pt x="9327" y="10310"/>
                </a:lnTo>
                <a:cubicBezTo>
                  <a:pt x="9056" y="10310"/>
                  <a:pt x="8836" y="10529"/>
                  <a:pt x="8836" y="10800"/>
                </a:cubicBezTo>
                <a:cubicBezTo>
                  <a:pt x="8836" y="11072"/>
                  <a:pt x="9056" y="11291"/>
                  <a:pt x="9327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5445" y="16155"/>
                </a:moveTo>
                <a:lnTo>
                  <a:pt x="4909" y="14728"/>
                </a:lnTo>
                <a:lnTo>
                  <a:pt x="4374" y="16155"/>
                </a:lnTo>
                <a:lnTo>
                  <a:pt x="2945" y="16155"/>
                </a:lnTo>
                <a:lnTo>
                  <a:pt x="4106" y="17048"/>
                </a:lnTo>
                <a:lnTo>
                  <a:pt x="3571" y="18655"/>
                </a:lnTo>
                <a:lnTo>
                  <a:pt x="4909" y="17673"/>
                </a:lnTo>
                <a:lnTo>
                  <a:pt x="6248" y="18655"/>
                </a:lnTo>
                <a:lnTo>
                  <a:pt x="5713" y="17048"/>
                </a:lnTo>
                <a:lnTo>
                  <a:pt x="6873" y="16155"/>
                </a:lnTo>
                <a:cubicBezTo>
                  <a:pt x="6873" y="16155"/>
                  <a:pt x="5445" y="16155"/>
                  <a:pt x="5445" y="16155"/>
                </a:cubicBezTo>
                <a:close/>
                <a:moveTo>
                  <a:pt x="4909" y="8836"/>
                </a:moveTo>
                <a:lnTo>
                  <a:pt x="4374" y="10265"/>
                </a:lnTo>
                <a:lnTo>
                  <a:pt x="2945" y="10265"/>
                </a:lnTo>
                <a:lnTo>
                  <a:pt x="4106" y="11157"/>
                </a:lnTo>
                <a:lnTo>
                  <a:pt x="3571" y="12764"/>
                </a:lnTo>
                <a:lnTo>
                  <a:pt x="4909" y="11782"/>
                </a:lnTo>
                <a:lnTo>
                  <a:pt x="6248" y="12764"/>
                </a:lnTo>
                <a:lnTo>
                  <a:pt x="5713" y="11157"/>
                </a:lnTo>
                <a:lnTo>
                  <a:pt x="6873" y="10265"/>
                </a:lnTo>
                <a:lnTo>
                  <a:pt x="5445" y="10265"/>
                </a:lnTo>
                <a:cubicBezTo>
                  <a:pt x="5445" y="10265"/>
                  <a:pt x="4909" y="8836"/>
                  <a:pt x="4909" y="8836"/>
                </a:cubicBezTo>
                <a:close/>
                <a:moveTo>
                  <a:pt x="4909" y="2945"/>
                </a:moveTo>
                <a:lnTo>
                  <a:pt x="4374" y="4374"/>
                </a:lnTo>
                <a:lnTo>
                  <a:pt x="2945" y="4374"/>
                </a:lnTo>
                <a:lnTo>
                  <a:pt x="4106" y="5266"/>
                </a:lnTo>
                <a:lnTo>
                  <a:pt x="3571" y="6873"/>
                </a:lnTo>
                <a:lnTo>
                  <a:pt x="4909" y="5891"/>
                </a:lnTo>
                <a:lnTo>
                  <a:pt x="6248" y="6873"/>
                </a:lnTo>
                <a:lnTo>
                  <a:pt x="5713" y="5266"/>
                </a:lnTo>
                <a:lnTo>
                  <a:pt x="6873" y="4374"/>
                </a:lnTo>
                <a:lnTo>
                  <a:pt x="5445" y="4374"/>
                </a:lnTo>
                <a:cubicBezTo>
                  <a:pt x="5445" y="4374"/>
                  <a:pt x="4909" y="2945"/>
                  <a:pt x="4909" y="2945"/>
                </a:cubicBezTo>
                <a:close/>
                <a:moveTo>
                  <a:pt x="18164" y="16200"/>
                </a:moveTo>
                <a:lnTo>
                  <a:pt x="9327" y="16200"/>
                </a:lnTo>
                <a:cubicBezTo>
                  <a:pt x="9056" y="16200"/>
                  <a:pt x="8836" y="16420"/>
                  <a:pt x="8836" y="16691"/>
                </a:cubicBezTo>
                <a:cubicBezTo>
                  <a:pt x="8836" y="16962"/>
                  <a:pt x="9056" y="17182"/>
                  <a:pt x="9327" y="17182"/>
                </a:cubicBezTo>
                <a:lnTo>
                  <a:pt x="18164" y="17182"/>
                </a:lnTo>
                <a:cubicBezTo>
                  <a:pt x="18435" y="17182"/>
                  <a:pt x="18655" y="16962"/>
                  <a:pt x="18655" y="16691"/>
                </a:cubicBezTo>
                <a:cubicBezTo>
                  <a:pt x="18655" y="16420"/>
                  <a:pt x="18435" y="16200"/>
                  <a:pt x="18164" y="16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3" name="Shape 2583"/>
          <p:cNvSpPr/>
          <p:nvPr/>
        </p:nvSpPr>
        <p:spPr>
          <a:xfrm>
            <a:off x="10290720" y="942860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90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1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90"/>
                </a:cubicBezTo>
                <a:cubicBezTo>
                  <a:pt x="9962" y="13890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6"/>
                  <a:pt x="11155" y="21600"/>
                  <a:pt x="11291" y="21600"/>
                </a:cubicBezTo>
                <a:cubicBezTo>
                  <a:pt x="11427" y="21600"/>
                  <a:pt x="11549" y="21546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9"/>
                  <a:pt x="11291" y="12764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4" name="Shape 2584"/>
          <p:cNvSpPr/>
          <p:nvPr/>
        </p:nvSpPr>
        <p:spPr>
          <a:xfrm>
            <a:off x="11357242" y="942860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7673"/>
                </a:moveTo>
                <a:cubicBezTo>
                  <a:pt x="10445" y="17673"/>
                  <a:pt x="10567" y="17618"/>
                  <a:pt x="10656" y="17529"/>
                </a:cubicBezTo>
                <a:lnTo>
                  <a:pt x="12620" y="15565"/>
                </a:lnTo>
                <a:cubicBezTo>
                  <a:pt x="12709" y="15477"/>
                  <a:pt x="12764" y="15354"/>
                  <a:pt x="12764" y="15218"/>
                </a:cubicBezTo>
                <a:cubicBezTo>
                  <a:pt x="12764" y="14947"/>
                  <a:pt x="12544" y="14728"/>
                  <a:pt x="12273" y="14728"/>
                </a:cubicBezTo>
                <a:cubicBezTo>
                  <a:pt x="12137" y="14728"/>
                  <a:pt x="12014" y="14782"/>
                  <a:pt x="11926" y="14871"/>
                </a:cubicBezTo>
                <a:lnTo>
                  <a:pt x="9962" y="16835"/>
                </a:lnTo>
                <a:cubicBezTo>
                  <a:pt x="9873" y="16924"/>
                  <a:pt x="9818" y="17046"/>
                  <a:pt x="9818" y="17183"/>
                </a:cubicBezTo>
                <a:cubicBezTo>
                  <a:pt x="9818" y="17453"/>
                  <a:pt x="10038" y="17673"/>
                  <a:pt x="10309" y="17673"/>
                </a:cubicBezTo>
                <a:moveTo>
                  <a:pt x="10309" y="20415"/>
                </a:moveTo>
                <a:lnTo>
                  <a:pt x="982" y="11088"/>
                </a:lnTo>
                <a:lnTo>
                  <a:pt x="982" y="4418"/>
                </a:lnTo>
                <a:cubicBezTo>
                  <a:pt x="982" y="4147"/>
                  <a:pt x="1201" y="3927"/>
                  <a:pt x="1473" y="3927"/>
                </a:cubicBezTo>
                <a:lnTo>
                  <a:pt x="8142" y="3927"/>
                </a:lnTo>
                <a:lnTo>
                  <a:pt x="17469" y="13255"/>
                </a:lnTo>
                <a:cubicBezTo>
                  <a:pt x="17469" y="13255"/>
                  <a:pt x="10309" y="20415"/>
                  <a:pt x="10309" y="20415"/>
                </a:cubicBezTo>
                <a:close/>
                <a:moveTo>
                  <a:pt x="8693" y="3090"/>
                </a:moveTo>
                <a:cubicBezTo>
                  <a:pt x="8604" y="3001"/>
                  <a:pt x="8481" y="2945"/>
                  <a:pt x="8345" y="2945"/>
                </a:cubicBezTo>
                <a:lnTo>
                  <a:pt x="1473" y="2945"/>
                </a:lnTo>
                <a:cubicBezTo>
                  <a:pt x="660" y="2945"/>
                  <a:pt x="0" y="3605"/>
                  <a:pt x="0" y="4418"/>
                </a:cubicBezTo>
                <a:lnTo>
                  <a:pt x="0" y="11291"/>
                </a:lnTo>
                <a:cubicBezTo>
                  <a:pt x="0" y="11427"/>
                  <a:pt x="55" y="11549"/>
                  <a:pt x="144" y="11638"/>
                </a:cubicBezTo>
                <a:lnTo>
                  <a:pt x="9962" y="21456"/>
                </a:lnTo>
                <a:cubicBezTo>
                  <a:pt x="10051" y="21546"/>
                  <a:pt x="10174" y="21600"/>
                  <a:pt x="10309" y="21600"/>
                </a:cubicBezTo>
                <a:cubicBezTo>
                  <a:pt x="10445" y="21600"/>
                  <a:pt x="10567" y="21546"/>
                  <a:pt x="10656" y="21456"/>
                </a:cubicBezTo>
                <a:lnTo>
                  <a:pt x="18511" y="13602"/>
                </a:lnTo>
                <a:cubicBezTo>
                  <a:pt x="18600" y="13513"/>
                  <a:pt x="18655" y="13390"/>
                  <a:pt x="18655" y="13255"/>
                </a:cubicBezTo>
                <a:cubicBezTo>
                  <a:pt x="18655" y="13119"/>
                  <a:pt x="18599" y="12997"/>
                  <a:pt x="18511" y="12908"/>
                </a:cubicBezTo>
                <a:cubicBezTo>
                  <a:pt x="18511" y="12908"/>
                  <a:pt x="8693" y="3090"/>
                  <a:pt x="8693" y="3090"/>
                </a:cubicBezTo>
                <a:close/>
                <a:moveTo>
                  <a:pt x="7855" y="15218"/>
                </a:moveTo>
                <a:cubicBezTo>
                  <a:pt x="7855" y="15490"/>
                  <a:pt x="8074" y="15709"/>
                  <a:pt x="8345" y="15709"/>
                </a:cubicBezTo>
                <a:cubicBezTo>
                  <a:pt x="8481" y="15709"/>
                  <a:pt x="8604" y="15655"/>
                  <a:pt x="8693" y="15565"/>
                </a:cubicBezTo>
                <a:lnTo>
                  <a:pt x="9183" y="15074"/>
                </a:lnTo>
                <a:cubicBezTo>
                  <a:pt x="9273" y="14986"/>
                  <a:pt x="9327" y="14863"/>
                  <a:pt x="9327" y="14728"/>
                </a:cubicBezTo>
                <a:cubicBezTo>
                  <a:pt x="9327" y="14456"/>
                  <a:pt x="9108" y="14236"/>
                  <a:pt x="8836" y="14236"/>
                </a:cubicBezTo>
                <a:cubicBezTo>
                  <a:pt x="8701" y="14236"/>
                  <a:pt x="8578" y="14291"/>
                  <a:pt x="8489" y="14381"/>
                </a:cubicBezTo>
                <a:lnTo>
                  <a:pt x="7998" y="14871"/>
                </a:lnTo>
                <a:cubicBezTo>
                  <a:pt x="7910" y="14961"/>
                  <a:pt x="7855" y="15083"/>
                  <a:pt x="7855" y="15218"/>
                </a:cubicBezTo>
                <a:moveTo>
                  <a:pt x="21456" y="9962"/>
                </a:moveTo>
                <a:lnTo>
                  <a:pt x="11638" y="144"/>
                </a:lnTo>
                <a:cubicBezTo>
                  <a:pt x="11549" y="55"/>
                  <a:pt x="11427" y="0"/>
                  <a:pt x="11291" y="0"/>
                </a:cubicBezTo>
                <a:lnTo>
                  <a:pt x="4418" y="0"/>
                </a:lnTo>
                <a:cubicBezTo>
                  <a:pt x="3605" y="0"/>
                  <a:pt x="2945" y="660"/>
                  <a:pt x="2945" y="1473"/>
                </a:cubicBezTo>
                <a:cubicBezTo>
                  <a:pt x="2945" y="1744"/>
                  <a:pt x="3165" y="1964"/>
                  <a:pt x="3436" y="1964"/>
                </a:cubicBezTo>
                <a:cubicBezTo>
                  <a:pt x="3708" y="1964"/>
                  <a:pt x="3927" y="1744"/>
                  <a:pt x="3927" y="1473"/>
                </a:cubicBezTo>
                <a:cubicBezTo>
                  <a:pt x="3927" y="1202"/>
                  <a:pt x="4147" y="982"/>
                  <a:pt x="4418" y="982"/>
                </a:cubicBezTo>
                <a:lnTo>
                  <a:pt x="11088" y="982"/>
                </a:lnTo>
                <a:lnTo>
                  <a:pt x="20415" y="10310"/>
                </a:lnTo>
                <a:lnTo>
                  <a:pt x="19289" y="11435"/>
                </a:lnTo>
                <a:cubicBezTo>
                  <a:pt x="19201" y="11524"/>
                  <a:pt x="19145" y="11646"/>
                  <a:pt x="19145" y="11782"/>
                </a:cubicBezTo>
                <a:cubicBezTo>
                  <a:pt x="19145" y="12053"/>
                  <a:pt x="19366" y="12273"/>
                  <a:pt x="19636" y="12273"/>
                </a:cubicBezTo>
                <a:cubicBezTo>
                  <a:pt x="19772" y="12273"/>
                  <a:pt x="19895" y="12218"/>
                  <a:pt x="19983" y="12129"/>
                </a:cubicBezTo>
                <a:lnTo>
                  <a:pt x="21456" y="10656"/>
                </a:lnTo>
                <a:cubicBezTo>
                  <a:pt x="21545" y="10567"/>
                  <a:pt x="21600" y="10445"/>
                  <a:pt x="21600" y="10310"/>
                </a:cubicBezTo>
                <a:cubicBezTo>
                  <a:pt x="21600" y="10174"/>
                  <a:pt x="21545" y="10051"/>
                  <a:pt x="21456" y="9962"/>
                </a:cubicBezTo>
                <a:moveTo>
                  <a:pt x="10309" y="13745"/>
                </a:moveTo>
                <a:cubicBezTo>
                  <a:pt x="10445" y="13745"/>
                  <a:pt x="10567" y="13691"/>
                  <a:pt x="10656" y="13602"/>
                </a:cubicBezTo>
                <a:lnTo>
                  <a:pt x="11638" y="12620"/>
                </a:lnTo>
                <a:cubicBezTo>
                  <a:pt x="11727" y="12531"/>
                  <a:pt x="11782" y="12408"/>
                  <a:pt x="11782" y="12273"/>
                </a:cubicBezTo>
                <a:cubicBezTo>
                  <a:pt x="11782" y="12002"/>
                  <a:pt x="11562" y="11782"/>
                  <a:pt x="11291" y="11782"/>
                </a:cubicBezTo>
                <a:cubicBezTo>
                  <a:pt x="11156" y="11782"/>
                  <a:pt x="11033" y="11837"/>
                  <a:pt x="10944" y="11926"/>
                </a:cubicBezTo>
                <a:lnTo>
                  <a:pt x="9962" y="12908"/>
                </a:lnTo>
                <a:cubicBezTo>
                  <a:pt x="9873" y="12997"/>
                  <a:pt x="9818" y="13119"/>
                  <a:pt x="9818" y="13255"/>
                </a:cubicBezTo>
                <a:cubicBezTo>
                  <a:pt x="9818" y="13526"/>
                  <a:pt x="10038" y="13745"/>
                  <a:pt x="10309" y="13745"/>
                </a:cubicBezTo>
                <a:moveTo>
                  <a:pt x="4418" y="7855"/>
                </a:moveTo>
                <a:cubicBezTo>
                  <a:pt x="4147" y="7855"/>
                  <a:pt x="3927" y="7635"/>
                  <a:pt x="3927" y="7364"/>
                </a:cubicBezTo>
                <a:cubicBezTo>
                  <a:pt x="3927" y="7093"/>
                  <a:pt x="4147" y="6873"/>
                  <a:pt x="4418" y="6873"/>
                </a:cubicBezTo>
                <a:cubicBezTo>
                  <a:pt x="4690" y="6873"/>
                  <a:pt x="4909" y="7093"/>
                  <a:pt x="4909" y="7364"/>
                </a:cubicBezTo>
                <a:cubicBezTo>
                  <a:pt x="4909" y="7635"/>
                  <a:pt x="4690" y="7855"/>
                  <a:pt x="4418" y="7855"/>
                </a:cubicBezTo>
                <a:moveTo>
                  <a:pt x="4418" y="5891"/>
                </a:moveTo>
                <a:cubicBezTo>
                  <a:pt x="3605" y="5891"/>
                  <a:pt x="2945" y="6551"/>
                  <a:pt x="2945" y="7364"/>
                </a:cubicBezTo>
                <a:cubicBezTo>
                  <a:pt x="2945" y="8177"/>
                  <a:pt x="3605" y="8837"/>
                  <a:pt x="4418" y="8837"/>
                </a:cubicBezTo>
                <a:cubicBezTo>
                  <a:pt x="5232" y="8837"/>
                  <a:pt x="5891" y="8177"/>
                  <a:pt x="5891" y="7364"/>
                </a:cubicBezTo>
                <a:cubicBezTo>
                  <a:pt x="5891" y="6551"/>
                  <a:pt x="5232" y="5891"/>
                  <a:pt x="4418" y="58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5" name="Shape 2585"/>
          <p:cNvSpPr/>
          <p:nvPr/>
        </p:nvSpPr>
        <p:spPr>
          <a:xfrm>
            <a:off x="12550730" y="4096010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000" y="14727"/>
                </a:moveTo>
                <a:lnTo>
                  <a:pt x="5400" y="14727"/>
                </a:lnTo>
                <a:cubicBezTo>
                  <a:pt x="5069" y="14727"/>
                  <a:pt x="4800" y="14947"/>
                  <a:pt x="4800" y="15218"/>
                </a:cubicBezTo>
                <a:cubicBezTo>
                  <a:pt x="4800" y="15490"/>
                  <a:pt x="5069" y="15709"/>
                  <a:pt x="5400" y="15709"/>
                </a:cubicBezTo>
                <a:lnTo>
                  <a:pt x="9000" y="15709"/>
                </a:lnTo>
                <a:cubicBezTo>
                  <a:pt x="9331" y="15709"/>
                  <a:pt x="9600" y="15490"/>
                  <a:pt x="9600" y="15218"/>
                </a:cubicBezTo>
                <a:cubicBezTo>
                  <a:pt x="9600" y="14947"/>
                  <a:pt x="9331" y="14727"/>
                  <a:pt x="9000" y="14727"/>
                </a:cubicBezTo>
                <a:moveTo>
                  <a:pt x="20400" y="2579"/>
                </a:moveTo>
                <a:cubicBezTo>
                  <a:pt x="18840" y="3757"/>
                  <a:pt x="15638" y="4614"/>
                  <a:pt x="12466" y="4845"/>
                </a:cubicBezTo>
                <a:cubicBezTo>
                  <a:pt x="12197" y="4307"/>
                  <a:pt x="11554" y="3927"/>
                  <a:pt x="10800" y="3927"/>
                </a:cubicBezTo>
                <a:cubicBezTo>
                  <a:pt x="10046" y="3927"/>
                  <a:pt x="9403" y="4307"/>
                  <a:pt x="9135" y="4845"/>
                </a:cubicBezTo>
                <a:cubicBezTo>
                  <a:pt x="5962" y="4614"/>
                  <a:pt x="2760" y="3757"/>
                  <a:pt x="1200" y="2579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2579"/>
                  <a:pt x="20400" y="2579"/>
                </a:cubicBezTo>
                <a:close/>
                <a:moveTo>
                  <a:pt x="10200" y="5400"/>
                </a:moveTo>
                <a:cubicBezTo>
                  <a:pt x="10200" y="5129"/>
                  <a:pt x="10469" y="4909"/>
                  <a:pt x="10800" y="4909"/>
                </a:cubicBezTo>
                <a:cubicBezTo>
                  <a:pt x="11131" y="4909"/>
                  <a:pt x="11400" y="5129"/>
                  <a:pt x="11400" y="5400"/>
                </a:cubicBezTo>
                <a:cubicBezTo>
                  <a:pt x="11400" y="5672"/>
                  <a:pt x="11131" y="5891"/>
                  <a:pt x="10800" y="5891"/>
                </a:cubicBezTo>
                <a:cubicBezTo>
                  <a:pt x="10469" y="5891"/>
                  <a:pt x="10200" y="5672"/>
                  <a:pt x="10200" y="5400"/>
                </a:cubicBezTo>
                <a:moveTo>
                  <a:pt x="20400" y="19636"/>
                </a:moveTo>
                <a:cubicBezTo>
                  <a:pt x="20400" y="20178"/>
                  <a:pt x="19862" y="20619"/>
                  <a:pt x="19200" y="20619"/>
                </a:cubicBezTo>
                <a:lnTo>
                  <a:pt x="2400" y="20619"/>
                </a:lnTo>
                <a:cubicBezTo>
                  <a:pt x="1738" y="20619"/>
                  <a:pt x="1200" y="20178"/>
                  <a:pt x="1200" y="19636"/>
                </a:cubicBezTo>
                <a:lnTo>
                  <a:pt x="1200" y="3859"/>
                </a:lnTo>
                <a:cubicBezTo>
                  <a:pt x="3007" y="4894"/>
                  <a:pt x="6118" y="5617"/>
                  <a:pt x="9086" y="5827"/>
                </a:cubicBezTo>
                <a:cubicBezTo>
                  <a:pt x="9311" y="6431"/>
                  <a:pt x="9988" y="6873"/>
                  <a:pt x="10800" y="6873"/>
                </a:cubicBezTo>
                <a:cubicBezTo>
                  <a:pt x="11611" y="6873"/>
                  <a:pt x="12289" y="6431"/>
                  <a:pt x="12514" y="5827"/>
                </a:cubicBezTo>
                <a:cubicBezTo>
                  <a:pt x="15482" y="5617"/>
                  <a:pt x="18593" y="4894"/>
                  <a:pt x="20400" y="3859"/>
                </a:cubicBezTo>
                <a:cubicBezTo>
                  <a:pt x="20400" y="3859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7800" y="16691"/>
                </a:moveTo>
                <a:lnTo>
                  <a:pt x="5400" y="16691"/>
                </a:lnTo>
                <a:cubicBezTo>
                  <a:pt x="5069" y="16691"/>
                  <a:pt x="4800" y="16911"/>
                  <a:pt x="4800" y="17182"/>
                </a:cubicBezTo>
                <a:cubicBezTo>
                  <a:pt x="4800" y="17453"/>
                  <a:pt x="5069" y="17673"/>
                  <a:pt x="5400" y="17673"/>
                </a:cubicBezTo>
                <a:lnTo>
                  <a:pt x="7800" y="17673"/>
                </a:lnTo>
                <a:cubicBezTo>
                  <a:pt x="8131" y="17673"/>
                  <a:pt x="8400" y="17453"/>
                  <a:pt x="8400" y="17182"/>
                </a:cubicBezTo>
                <a:cubicBezTo>
                  <a:pt x="8400" y="16911"/>
                  <a:pt x="8131" y="16691"/>
                  <a:pt x="7800" y="166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6" name="Shape 2586"/>
          <p:cNvSpPr/>
          <p:nvPr/>
        </p:nvSpPr>
        <p:spPr>
          <a:xfrm>
            <a:off x="13617252" y="4096010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00" y="6076"/>
                </a:moveTo>
                <a:cubicBezTo>
                  <a:pt x="14428" y="7109"/>
                  <a:pt x="12685" y="7649"/>
                  <a:pt x="10071" y="7803"/>
                </a:cubicBezTo>
                <a:cubicBezTo>
                  <a:pt x="9806" y="7259"/>
                  <a:pt x="9160" y="6873"/>
                  <a:pt x="8400" y="6873"/>
                </a:cubicBezTo>
                <a:cubicBezTo>
                  <a:pt x="7640" y="6873"/>
                  <a:pt x="6994" y="7259"/>
                  <a:pt x="6729" y="7803"/>
                </a:cubicBezTo>
                <a:cubicBezTo>
                  <a:pt x="4115" y="7649"/>
                  <a:pt x="2372" y="7109"/>
                  <a:pt x="1200" y="6076"/>
                </a:cubicBezTo>
                <a:lnTo>
                  <a:pt x="1200" y="5891"/>
                </a:lnTo>
                <a:cubicBezTo>
                  <a:pt x="1200" y="5349"/>
                  <a:pt x="1738" y="4909"/>
                  <a:pt x="2400" y="4909"/>
                </a:cubicBezTo>
                <a:lnTo>
                  <a:pt x="14400" y="4909"/>
                </a:lnTo>
                <a:cubicBezTo>
                  <a:pt x="15062" y="4909"/>
                  <a:pt x="15600" y="5349"/>
                  <a:pt x="15600" y="5891"/>
                </a:cubicBezTo>
                <a:cubicBezTo>
                  <a:pt x="15600" y="5891"/>
                  <a:pt x="15600" y="6076"/>
                  <a:pt x="15600" y="6076"/>
                </a:cubicBezTo>
                <a:close/>
                <a:moveTo>
                  <a:pt x="7800" y="8346"/>
                </a:moveTo>
                <a:cubicBezTo>
                  <a:pt x="7800" y="8074"/>
                  <a:pt x="8069" y="7855"/>
                  <a:pt x="8400" y="7855"/>
                </a:cubicBezTo>
                <a:cubicBezTo>
                  <a:pt x="8731" y="7855"/>
                  <a:pt x="9000" y="8074"/>
                  <a:pt x="9000" y="8346"/>
                </a:cubicBezTo>
                <a:cubicBezTo>
                  <a:pt x="9000" y="8617"/>
                  <a:pt x="8731" y="8836"/>
                  <a:pt x="8400" y="8836"/>
                </a:cubicBezTo>
                <a:cubicBezTo>
                  <a:pt x="8069" y="8836"/>
                  <a:pt x="7800" y="8617"/>
                  <a:pt x="7800" y="8346"/>
                </a:cubicBezTo>
                <a:moveTo>
                  <a:pt x="15600" y="19636"/>
                </a:moveTo>
                <a:cubicBezTo>
                  <a:pt x="15600" y="20179"/>
                  <a:pt x="15062" y="20619"/>
                  <a:pt x="14400" y="20619"/>
                </a:cubicBezTo>
                <a:lnTo>
                  <a:pt x="2400" y="20619"/>
                </a:lnTo>
                <a:cubicBezTo>
                  <a:pt x="1738" y="20619"/>
                  <a:pt x="1200" y="20179"/>
                  <a:pt x="1200" y="19636"/>
                </a:cubicBezTo>
                <a:lnTo>
                  <a:pt x="1200" y="7318"/>
                </a:lnTo>
                <a:cubicBezTo>
                  <a:pt x="2658" y="8244"/>
                  <a:pt x="4301" y="8666"/>
                  <a:pt x="6693" y="8790"/>
                </a:cubicBezTo>
                <a:cubicBezTo>
                  <a:pt x="6924" y="9385"/>
                  <a:pt x="7597" y="9819"/>
                  <a:pt x="8400" y="9819"/>
                </a:cubicBezTo>
                <a:cubicBezTo>
                  <a:pt x="9203" y="9819"/>
                  <a:pt x="9875" y="9385"/>
                  <a:pt x="10108" y="8790"/>
                </a:cubicBezTo>
                <a:cubicBezTo>
                  <a:pt x="12499" y="8666"/>
                  <a:pt x="14142" y="8244"/>
                  <a:pt x="15600" y="7318"/>
                </a:cubicBezTo>
                <a:cubicBezTo>
                  <a:pt x="15600" y="7318"/>
                  <a:pt x="15600" y="19636"/>
                  <a:pt x="15600" y="19636"/>
                </a:cubicBezTo>
                <a:close/>
                <a:moveTo>
                  <a:pt x="14400" y="3927"/>
                </a:moveTo>
                <a:lnTo>
                  <a:pt x="2400" y="3927"/>
                </a:lnTo>
                <a:cubicBezTo>
                  <a:pt x="1075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4400" y="21600"/>
                </a:lnTo>
                <a:cubicBezTo>
                  <a:pt x="15725" y="21600"/>
                  <a:pt x="16800" y="20721"/>
                  <a:pt x="16800" y="19636"/>
                </a:cubicBezTo>
                <a:lnTo>
                  <a:pt x="16800" y="5891"/>
                </a:lnTo>
                <a:cubicBezTo>
                  <a:pt x="16800" y="4806"/>
                  <a:pt x="15725" y="3927"/>
                  <a:pt x="14400" y="3927"/>
                </a:cubicBezTo>
                <a:moveTo>
                  <a:pt x="5400" y="17673"/>
                </a:moveTo>
                <a:lnTo>
                  <a:pt x="4200" y="17673"/>
                </a:lnTo>
                <a:cubicBezTo>
                  <a:pt x="3869" y="17673"/>
                  <a:pt x="3600" y="17893"/>
                  <a:pt x="3600" y="18164"/>
                </a:cubicBezTo>
                <a:cubicBezTo>
                  <a:pt x="3600" y="18435"/>
                  <a:pt x="3869" y="18655"/>
                  <a:pt x="4200" y="18655"/>
                </a:cubicBezTo>
                <a:lnTo>
                  <a:pt x="5400" y="18655"/>
                </a:lnTo>
                <a:cubicBezTo>
                  <a:pt x="5731" y="18655"/>
                  <a:pt x="6000" y="18435"/>
                  <a:pt x="6000" y="18164"/>
                </a:cubicBezTo>
                <a:cubicBezTo>
                  <a:pt x="6000" y="17893"/>
                  <a:pt x="5731" y="17673"/>
                  <a:pt x="5400" y="17673"/>
                </a:cubicBezTo>
                <a:moveTo>
                  <a:pt x="6600" y="15709"/>
                </a:move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lnTo>
                  <a:pt x="6600" y="16691"/>
                </a:lnTo>
                <a:cubicBezTo>
                  <a:pt x="6931" y="16691"/>
                  <a:pt x="7200" y="16472"/>
                  <a:pt x="7200" y="16200"/>
                </a:cubicBezTo>
                <a:cubicBezTo>
                  <a:pt x="7200" y="15929"/>
                  <a:pt x="6931" y="15709"/>
                  <a:pt x="6600" y="15709"/>
                </a:cubicBezTo>
                <a:moveTo>
                  <a:pt x="19200" y="0"/>
                </a:moveTo>
                <a:lnTo>
                  <a:pt x="7200" y="0"/>
                </a:lnTo>
                <a:cubicBezTo>
                  <a:pt x="5875" y="0"/>
                  <a:pt x="4800" y="879"/>
                  <a:pt x="4800" y="1964"/>
                </a:cubicBezTo>
                <a:lnTo>
                  <a:pt x="4800" y="2455"/>
                </a:lnTo>
                <a:cubicBezTo>
                  <a:pt x="4800" y="2726"/>
                  <a:pt x="5069" y="2945"/>
                  <a:pt x="5400" y="2945"/>
                </a:cubicBezTo>
                <a:cubicBezTo>
                  <a:pt x="5731" y="2945"/>
                  <a:pt x="6000" y="2726"/>
                  <a:pt x="6000" y="2455"/>
                </a:cubicBezTo>
                <a:lnTo>
                  <a:pt x="6000" y="1964"/>
                </a:lnTo>
                <a:cubicBezTo>
                  <a:pt x="6000" y="1422"/>
                  <a:pt x="6538" y="982"/>
                  <a:pt x="72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lnTo>
                  <a:pt x="20400" y="15709"/>
                </a:lnTo>
                <a:cubicBezTo>
                  <a:pt x="20400" y="16252"/>
                  <a:pt x="19862" y="16691"/>
                  <a:pt x="19200" y="16691"/>
                </a:cubicBezTo>
                <a:lnTo>
                  <a:pt x="18600" y="16691"/>
                </a:lnTo>
                <a:cubicBezTo>
                  <a:pt x="18269" y="16691"/>
                  <a:pt x="18000" y="16911"/>
                  <a:pt x="18000" y="17182"/>
                </a:cubicBezTo>
                <a:cubicBezTo>
                  <a:pt x="18000" y="17453"/>
                  <a:pt x="18269" y="17673"/>
                  <a:pt x="18600" y="17673"/>
                </a:cubicBezTo>
                <a:lnTo>
                  <a:pt x="19200" y="17673"/>
                </a:lnTo>
                <a:cubicBezTo>
                  <a:pt x="20525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7" name="Shape 2587"/>
          <p:cNvSpPr/>
          <p:nvPr/>
        </p:nvSpPr>
        <p:spPr>
          <a:xfrm>
            <a:off x="14632989" y="409601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8" name="Shape 2588"/>
          <p:cNvSpPr/>
          <p:nvPr/>
        </p:nvSpPr>
        <p:spPr>
          <a:xfrm>
            <a:off x="15699511" y="4121401"/>
            <a:ext cx="558654" cy="5078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89" name="Shape 2589"/>
          <p:cNvSpPr/>
          <p:nvPr/>
        </p:nvSpPr>
        <p:spPr>
          <a:xfrm>
            <a:off x="16766033" y="4121401"/>
            <a:ext cx="558654" cy="5078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5119"/>
                </a:moveTo>
                <a:cubicBezTo>
                  <a:pt x="7195" y="15119"/>
                  <a:pt x="7855" y="14394"/>
                  <a:pt x="7855" y="13500"/>
                </a:cubicBezTo>
                <a:cubicBezTo>
                  <a:pt x="7855" y="12605"/>
                  <a:pt x="7195" y="11880"/>
                  <a:pt x="6382" y="11880"/>
                </a:cubicBezTo>
                <a:cubicBezTo>
                  <a:pt x="5568" y="11880"/>
                  <a:pt x="4909" y="12605"/>
                  <a:pt x="4909" y="13500"/>
                </a:cubicBezTo>
                <a:cubicBezTo>
                  <a:pt x="4909" y="14394"/>
                  <a:pt x="5568" y="15119"/>
                  <a:pt x="6382" y="15119"/>
                </a:cubicBezTo>
                <a:moveTo>
                  <a:pt x="2455" y="3240"/>
                </a:moveTo>
                <a:cubicBezTo>
                  <a:pt x="2725" y="3240"/>
                  <a:pt x="2945" y="2999"/>
                  <a:pt x="2945" y="2700"/>
                </a:cubicBezTo>
                <a:cubicBezTo>
                  <a:pt x="2945" y="2402"/>
                  <a:pt x="2725" y="2160"/>
                  <a:pt x="2455" y="2160"/>
                </a:cubicBezTo>
                <a:cubicBezTo>
                  <a:pt x="2184" y="2160"/>
                  <a:pt x="1964" y="2402"/>
                  <a:pt x="1964" y="2700"/>
                </a:cubicBezTo>
                <a:cubicBezTo>
                  <a:pt x="1964" y="2999"/>
                  <a:pt x="2184" y="3240"/>
                  <a:pt x="2455" y="3240"/>
                </a:cubicBezTo>
                <a:moveTo>
                  <a:pt x="3927" y="8100"/>
                </a:moveTo>
                <a:cubicBezTo>
                  <a:pt x="3927" y="6609"/>
                  <a:pt x="5026" y="5400"/>
                  <a:pt x="6382" y="5400"/>
                </a:cubicBezTo>
                <a:cubicBezTo>
                  <a:pt x="7738" y="5400"/>
                  <a:pt x="8836" y="6609"/>
                  <a:pt x="8836" y="8100"/>
                </a:cubicBezTo>
                <a:lnTo>
                  <a:pt x="8836" y="13500"/>
                </a:lnTo>
                <a:cubicBezTo>
                  <a:pt x="8836" y="14991"/>
                  <a:pt x="7738" y="16199"/>
                  <a:pt x="6382" y="16199"/>
                </a:cubicBezTo>
                <a:cubicBezTo>
                  <a:pt x="5026" y="16199"/>
                  <a:pt x="3927" y="14991"/>
                  <a:pt x="3927" y="13500"/>
                </a:cubicBezTo>
                <a:cubicBezTo>
                  <a:pt x="3927" y="13500"/>
                  <a:pt x="3927" y="8100"/>
                  <a:pt x="3927" y="8100"/>
                </a:cubicBezTo>
                <a:close/>
                <a:moveTo>
                  <a:pt x="2945" y="13500"/>
                </a:moveTo>
                <a:cubicBezTo>
                  <a:pt x="2945" y="15587"/>
                  <a:pt x="4484" y="17279"/>
                  <a:pt x="6382" y="17279"/>
                </a:cubicBezTo>
                <a:cubicBezTo>
                  <a:pt x="8280" y="17279"/>
                  <a:pt x="9818" y="15587"/>
                  <a:pt x="9818" y="13500"/>
                </a:cubicBezTo>
                <a:lnTo>
                  <a:pt x="9818" y="8100"/>
                </a:lnTo>
                <a:cubicBezTo>
                  <a:pt x="9818" y="6012"/>
                  <a:pt x="8280" y="4320"/>
                  <a:pt x="6382" y="4320"/>
                </a:cubicBezTo>
                <a:cubicBezTo>
                  <a:pt x="4484" y="4320"/>
                  <a:pt x="2945" y="6012"/>
                  <a:pt x="2945" y="8100"/>
                </a:cubicBezTo>
                <a:cubicBezTo>
                  <a:pt x="2945" y="8100"/>
                  <a:pt x="2945" y="13500"/>
                  <a:pt x="2945" y="13500"/>
                </a:cubicBezTo>
                <a:close/>
                <a:moveTo>
                  <a:pt x="2455" y="19439"/>
                </a:moveTo>
                <a:cubicBezTo>
                  <a:pt x="2725" y="19439"/>
                  <a:pt x="2945" y="19198"/>
                  <a:pt x="2945" y="18899"/>
                </a:cubicBezTo>
                <a:cubicBezTo>
                  <a:pt x="2945" y="18601"/>
                  <a:pt x="2725" y="18359"/>
                  <a:pt x="2455" y="18359"/>
                </a:cubicBezTo>
                <a:cubicBezTo>
                  <a:pt x="2184" y="18359"/>
                  <a:pt x="1964" y="18601"/>
                  <a:pt x="1964" y="18899"/>
                </a:cubicBezTo>
                <a:cubicBezTo>
                  <a:pt x="1964" y="19198"/>
                  <a:pt x="2184" y="19439"/>
                  <a:pt x="2455" y="19439"/>
                </a:cubicBezTo>
                <a:moveTo>
                  <a:pt x="20618" y="20519"/>
                </a:moveTo>
                <a:lnTo>
                  <a:pt x="982" y="20519"/>
                </a:lnTo>
                <a:lnTo>
                  <a:pt x="982" y="1080"/>
                </a:lnTo>
                <a:lnTo>
                  <a:pt x="20618" y="1080"/>
                </a:lnTo>
                <a:cubicBezTo>
                  <a:pt x="20618" y="1080"/>
                  <a:pt x="20618" y="20519"/>
                  <a:pt x="20618" y="2051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20519"/>
                </a:lnTo>
                <a:cubicBezTo>
                  <a:pt x="0" y="2111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15"/>
                  <a:pt x="21600" y="20519"/>
                </a:cubicBezTo>
                <a:lnTo>
                  <a:pt x="21600" y="1080"/>
                </a:lnTo>
                <a:cubicBezTo>
                  <a:pt x="21600" y="484"/>
                  <a:pt x="21160" y="0"/>
                  <a:pt x="20618" y="0"/>
                </a:cubicBezTo>
                <a:moveTo>
                  <a:pt x="19145" y="3240"/>
                </a:moveTo>
                <a:cubicBezTo>
                  <a:pt x="19416" y="3240"/>
                  <a:pt x="19636" y="2999"/>
                  <a:pt x="19636" y="2700"/>
                </a:cubicBezTo>
                <a:cubicBezTo>
                  <a:pt x="19636" y="2402"/>
                  <a:pt x="19416" y="2160"/>
                  <a:pt x="19145" y="2160"/>
                </a:cubicBezTo>
                <a:cubicBezTo>
                  <a:pt x="18875" y="2160"/>
                  <a:pt x="18655" y="2402"/>
                  <a:pt x="18655" y="2700"/>
                </a:cubicBezTo>
                <a:cubicBezTo>
                  <a:pt x="18655" y="2999"/>
                  <a:pt x="18875" y="3240"/>
                  <a:pt x="19145" y="3240"/>
                </a:cubicBezTo>
                <a:moveTo>
                  <a:pt x="12764" y="8100"/>
                </a:moveTo>
                <a:cubicBezTo>
                  <a:pt x="12764" y="6609"/>
                  <a:pt x="13863" y="5400"/>
                  <a:pt x="15218" y="5400"/>
                </a:cubicBezTo>
                <a:cubicBezTo>
                  <a:pt x="16574" y="5400"/>
                  <a:pt x="17673" y="6609"/>
                  <a:pt x="17673" y="8100"/>
                </a:cubicBezTo>
                <a:lnTo>
                  <a:pt x="17673" y="13500"/>
                </a:lnTo>
                <a:cubicBezTo>
                  <a:pt x="17673" y="14991"/>
                  <a:pt x="16574" y="16199"/>
                  <a:pt x="15218" y="16199"/>
                </a:cubicBezTo>
                <a:cubicBezTo>
                  <a:pt x="13863" y="16199"/>
                  <a:pt x="12764" y="14991"/>
                  <a:pt x="12764" y="13500"/>
                </a:cubicBezTo>
                <a:cubicBezTo>
                  <a:pt x="12764" y="13500"/>
                  <a:pt x="12764" y="8100"/>
                  <a:pt x="12764" y="8100"/>
                </a:cubicBezTo>
                <a:close/>
                <a:moveTo>
                  <a:pt x="15218" y="17279"/>
                </a:moveTo>
                <a:cubicBezTo>
                  <a:pt x="17116" y="17279"/>
                  <a:pt x="18655" y="15587"/>
                  <a:pt x="18655" y="13500"/>
                </a:cubicBezTo>
                <a:lnTo>
                  <a:pt x="18655" y="8100"/>
                </a:lnTo>
                <a:cubicBezTo>
                  <a:pt x="18655" y="6012"/>
                  <a:pt x="17116" y="4320"/>
                  <a:pt x="15218" y="4320"/>
                </a:cubicBezTo>
                <a:cubicBezTo>
                  <a:pt x="13320" y="4320"/>
                  <a:pt x="11782" y="6012"/>
                  <a:pt x="11782" y="8100"/>
                </a:cubicBezTo>
                <a:lnTo>
                  <a:pt x="11782" y="13500"/>
                </a:lnTo>
                <a:cubicBezTo>
                  <a:pt x="11782" y="15587"/>
                  <a:pt x="13320" y="17279"/>
                  <a:pt x="15218" y="17279"/>
                </a:cubicBezTo>
                <a:moveTo>
                  <a:pt x="15218" y="9720"/>
                </a:moveTo>
                <a:cubicBezTo>
                  <a:pt x="16032" y="9720"/>
                  <a:pt x="16691" y="8995"/>
                  <a:pt x="16691" y="8100"/>
                </a:cubicBezTo>
                <a:cubicBezTo>
                  <a:pt x="16691" y="7206"/>
                  <a:pt x="16032" y="6480"/>
                  <a:pt x="15218" y="6480"/>
                </a:cubicBezTo>
                <a:cubicBezTo>
                  <a:pt x="14405" y="6480"/>
                  <a:pt x="13745" y="7206"/>
                  <a:pt x="13745" y="8100"/>
                </a:cubicBezTo>
                <a:cubicBezTo>
                  <a:pt x="13745" y="8995"/>
                  <a:pt x="14405" y="9720"/>
                  <a:pt x="15218" y="9720"/>
                </a:cubicBezTo>
                <a:moveTo>
                  <a:pt x="19145" y="18359"/>
                </a:moveTo>
                <a:cubicBezTo>
                  <a:pt x="18875" y="18359"/>
                  <a:pt x="18655" y="18601"/>
                  <a:pt x="18655" y="18899"/>
                </a:cubicBezTo>
                <a:cubicBezTo>
                  <a:pt x="18655" y="19198"/>
                  <a:pt x="18875" y="19439"/>
                  <a:pt x="19145" y="19439"/>
                </a:cubicBezTo>
                <a:cubicBezTo>
                  <a:pt x="19416" y="19439"/>
                  <a:pt x="19636" y="19198"/>
                  <a:pt x="19636" y="18899"/>
                </a:cubicBezTo>
                <a:cubicBezTo>
                  <a:pt x="19636" y="18601"/>
                  <a:pt x="19416" y="18359"/>
                  <a:pt x="19145" y="1835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0" name="Shape 2590"/>
          <p:cNvSpPr/>
          <p:nvPr/>
        </p:nvSpPr>
        <p:spPr>
          <a:xfrm>
            <a:off x="17832556" y="409601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5" y="6382"/>
                </a:moveTo>
                <a:cubicBezTo>
                  <a:pt x="7313" y="6382"/>
                  <a:pt x="6873" y="5943"/>
                  <a:pt x="6873" y="5400"/>
                </a:cubicBezTo>
                <a:cubicBezTo>
                  <a:pt x="6873" y="4858"/>
                  <a:pt x="7313" y="4418"/>
                  <a:pt x="7855" y="4418"/>
                </a:cubicBezTo>
                <a:cubicBezTo>
                  <a:pt x="8396" y="4418"/>
                  <a:pt x="8836" y="4858"/>
                  <a:pt x="8836" y="5400"/>
                </a:cubicBezTo>
                <a:cubicBezTo>
                  <a:pt x="8836" y="5943"/>
                  <a:pt x="8396" y="6382"/>
                  <a:pt x="7855" y="6382"/>
                </a:cubicBezTo>
                <a:moveTo>
                  <a:pt x="18164" y="4909"/>
                </a:moveTo>
                <a:lnTo>
                  <a:pt x="9749" y="4909"/>
                </a:lnTo>
                <a:cubicBezTo>
                  <a:pt x="9530" y="4064"/>
                  <a:pt x="8768" y="3436"/>
                  <a:pt x="7855" y="3436"/>
                </a:cubicBezTo>
                <a:cubicBezTo>
                  <a:pt x="6941" y="3436"/>
                  <a:pt x="6180" y="4064"/>
                  <a:pt x="5960" y="4909"/>
                </a:cubicBezTo>
                <a:lnTo>
                  <a:pt x="3436" y="4909"/>
                </a:lnTo>
                <a:cubicBezTo>
                  <a:pt x="3165" y="4909"/>
                  <a:pt x="2945" y="5129"/>
                  <a:pt x="2945" y="5400"/>
                </a:cubicBezTo>
                <a:cubicBezTo>
                  <a:pt x="2945" y="5672"/>
                  <a:pt x="3165" y="5891"/>
                  <a:pt x="3436" y="5891"/>
                </a:cubicBezTo>
                <a:lnTo>
                  <a:pt x="5960" y="5891"/>
                </a:lnTo>
                <a:cubicBezTo>
                  <a:pt x="6180" y="6737"/>
                  <a:pt x="6941" y="7364"/>
                  <a:pt x="7855" y="7364"/>
                </a:cubicBezTo>
                <a:cubicBezTo>
                  <a:pt x="8768" y="7364"/>
                  <a:pt x="9530" y="6737"/>
                  <a:pt x="9749" y="5891"/>
                </a:cubicBezTo>
                <a:lnTo>
                  <a:pt x="18164" y="5891"/>
                </a:lnTo>
                <a:cubicBezTo>
                  <a:pt x="18435" y="5891"/>
                  <a:pt x="18655" y="5672"/>
                  <a:pt x="18655" y="5400"/>
                </a:cubicBezTo>
                <a:cubicBezTo>
                  <a:pt x="18655" y="5129"/>
                  <a:pt x="18435" y="4909"/>
                  <a:pt x="18164" y="4909"/>
                </a:cubicBezTo>
                <a:moveTo>
                  <a:pt x="14727" y="11782"/>
                </a:moveTo>
                <a:cubicBezTo>
                  <a:pt x="14186" y="11782"/>
                  <a:pt x="13745" y="11342"/>
                  <a:pt x="13745" y="10800"/>
                </a:cubicBezTo>
                <a:cubicBezTo>
                  <a:pt x="13745" y="10258"/>
                  <a:pt x="14186" y="9818"/>
                  <a:pt x="14727" y="9818"/>
                </a:cubicBezTo>
                <a:cubicBezTo>
                  <a:pt x="15269" y="9818"/>
                  <a:pt x="15709" y="10258"/>
                  <a:pt x="15709" y="10800"/>
                </a:cubicBezTo>
                <a:cubicBezTo>
                  <a:pt x="15709" y="11342"/>
                  <a:pt x="15269" y="11782"/>
                  <a:pt x="14727" y="11782"/>
                </a:cubicBezTo>
                <a:moveTo>
                  <a:pt x="18164" y="10310"/>
                </a:moveTo>
                <a:lnTo>
                  <a:pt x="16621" y="10310"/>
                </a:lnTo>
                <a:cubicBezTo>
                  <a:pt x="16402" y="9464"/>
                  <a:pt x="15641" y="8836"/>
                  <a:pt x="14727" y="8836"/>
                </a:cubicBezTo>
                <a:cubicBezTo>
                  <a:pt x="13814" y="8836"/>
                  <a:pt x="13052" y="9464"/>
                  <a:pt x="12833" y="10310"/>
                </a:cubicBezTo>
                <a:lnTo>
                  <a:pt x="3436" y="10310"/>
                </a:lnTo>
                <a:cubicBezTo>
                  <a:pt x="3165" y="10310"/>
                  <a:pt x="2945" y="10529"/>
                  <a:pt x="2945" y="10800"/>
                </a:cubicBezTo>
                <a:cubicBezTo>
                  <a:pt x="2945" y="11072"/>
                  <a:pt x="3165" y="11291"/>
                  <a:pt x="3436" y="11291"/>
                </a:cubicBezTo>
                <a:lnTo>
                  <a:pt x="12833" y="11291"/>
                </a:lnTo>
                <a:cubicBezTo>
                  <a:pt x="13052" y="12137"/>
                  <a:pt x="13814" y="12764"/>
                  <a:pt x="14727" y="12764"/>
                </a:cubicBezTo>
                <a:cubicBezTo>
                  <a:pt x="15641" y="12764"/>
                  <a:pt x="16402" y="12137"/>
                  <a:pt x="16621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9818" y="17182"/>
                </a:moveTo>
                <a:cubicBezTo>
                  <a:pt x="9276" y="17182"/>
                  <a:pt x="8836" y="16743"/>
                  <a:pt x="8836" y="16200"/>
                </a:cubicBezTo>
                <a:cubicBezTo>
                  <a:pt x="8836" y="15658"/>
                  <a:pt x="9276" y="15218"/>
                  <a:pt x="9818" y="15218"/>
                </a:cubicBezTo>
                <a:cubicBezTo>
                  <a:pt x="10360" y="15218"/>
                  <a:pt x="10800" y="15658"/>
                  <a:pt x="10800" y="16200"/>
                </a:cubicBezTo>
                <a:cubicBezTo>
                  <a:pt x="10800" y="16743"/>
                  <a:pt x="10360" y="17182"/>
                  <a:pt x="9818" y="17182"/>
                </a:cubicBezTo>
                <a:moveTo>
                  <a:pt x="18164" y="15709"/>
                </a:moveTo>
                <a:lnTo>
                  <a:pt x="11712" y="15709"/>
                </a:lnTo>
                <a:cubicBezTo>
                  <a:pt x="11493" y="14863"/>
                  <a:pt x="10732" y="14237"/>
                  <a:pt x="9818" y="14237"/>
                </a:cubicBezTo>
                <a:cubicBezTo>
                  <a:pt x="8904" y="14237"/>
                  <a:pt x="8143" y="14863"/>
                  <a:pt x="7924" y="15709"/>
                </a:cubicBezTo>
                <a:lnTo>
                  <a:pt x="3436" y="15709"/>
                </a:lnTo>
                <a:cubicBezTo>
                  <a:pt x="3165" y="15709"/>
                  <a:pt x="2945" y="15929"/>
                  <a:pt x="2945" y="16200"/>
                </a:cubicBezTo>
                <a:cubicBezTo>
                  <a:pt x="2945" y="16472"/>
                  <a:pt x="3165" y="16691"/>
                  <a:pt x="3436" y="16691"/>
                </a:cubicBezTo>
                <a:lnTo>
                  <a:pt x="7924" y="16691"/>
                </a:lnTo>
                <a:cubicBezTo>
                  <a:pt x="8143" y="17537"/>
                  <a:pt x="8904" y="18164"/>
                  <a:pt x="9818" y="18164"/>
                </a:cubicBezTo>
                <a:cubicBezTo>
                  <a:pt x="10732" y="18164"/>
                  <a:pt x="11493" y="17537"/>
                  <a:pt x="11712" y="16691"/>
                </a:cubicBezTo>
                <a:lnTo>
                  <a:pt x="18164" y="16691"/>
                </a:lnTo>
                <a:cubicBezTo>
                  <a:pt x="18435" y="16691"/>
                  <a:pt x="18655" y="16472"/>
                  <a:pt x="18655" y="16200"/>
                </a:cubicBezTo>
                <a:cubicBezTo>
                  <a:pt x="18655" y="15929"/>
                  <a:pt x="18435" y="15709"/>
                  <a:pt x="18164" y="157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1" name="Shape 2591"/>
          <p:cNvSpPr/>
          <p:nvPr/>
        </p:nvSpPr>
        <p:spPr>
          <a:xfrm>
            <a:off x="18899079" y="409601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2" name="Shape 2592"/>
          <p:cNvSpPr/>
          <p:nvPr/>
        </p:nvSpPr>
        <p:spPr>
          <a:xfrm>
            <a:off x="19965600" y="409601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012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2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8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2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8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2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9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9"/>
                  <a:pt x="3000" y="4715"/>
                </a:cubicBezTo>
                <a:lnTo>
                  <a:pt x="4715" y="3000"/>
                </a:lnTo>
                <a:lnTo>
                  <a:pt x="5621" y="3543"/>
                </a:lnTo>
                <a:cubicBezTo>
                  <a:pt x="5777" y="3637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2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2"/>
                  <a:pt x="9331" y="2006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6"/>
                </a:lnTo>
                <a:cubicBezTo>
                  <a:pt x="12356" y="2352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2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7"/>
                  <a:pt x="15978" y="3543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9"/>
                  <a:pt x="18597" y="4722"/>
                  <a:pt x="18595" y="4725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2"/>
                  <a:pt x="20618" y="12012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9"/>
                  <a:pt x="17136" y="1968"/>
                  <a:pt x="16975" y="1968"/>
                </a:cubicBezTo>
                <a:cubicBezTo>
                  <a:pt x="16778" y="1968"/>
                  <a:pt x="16572" y="2043"/>
                  <a:pt x="16400" y="2145"/>
                </a:cubicBezTo>
                <a:lnTo>
                  <a:pt x="15473" y="2701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1"/>
                </a:cubicBezTo>
                <a:lnTo>
                  <a:pt x="5200" y="2145"/>
                </a:lnTo>
                <a:cubicBezTo>
                  <a:pt x="5028" y="2043"/>
                  <a:pt x="4822" y="1968"/>
                  <a:pt x="4625" y="1968"/>
                </a:cubicBezTo>
                <a:cubicBezTo>
                  <a:pt x="4464" y="1968"/>
                  <a:pt x="4308" y="2019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2"/>
                  <a:pt x="0" y="9361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9"/>
                </a:cubicBezTo>
                <a:lnTo>
                  <a:pt x="2145" y="16400"/>
                </a:lnTo>
                <a:cubicBezTo>
                  <a:pt x="1959" y="16713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3"/>
                  <a:pt x="19455" y="16400"/>
                </a:cubicBezTo>
                <a:lnTo>
                  <a:pt x="18902" y="15479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1"/>
                </a:lnTo>
                <a:cubicBezTo>
                  <a:pt x="21600" y="8962"/>
                  <a:pt x="21233" y="8730"/>
                  <a:pt x="20880" y="8641"/>
                </a:cubicBezTo>
                <a:moveTo>
                  <a:pt x="15709" y="10800"/>
                </a:moveTo>
                <a:cubicBezTo>
                  <a:pt x="15709" y="13346"/>
                  <a:pt x="13771" y="15438"/>
                  <a:pt x="11291" y="15685"/>
                </a:cubicBezTo>
                <a:lnTo>
                  <a:pt x="11291" y="12694"/>
                </a:lnTo>
                <a:cubicBezTo>
                  <a:pt x="12137" y="12476"/>
                  <a:pt x="12764" y="11714"/>
                  <a:pt x="12764" y="10800"/>
                </a:cubicBezTo>
                <a:cubicBezTo>
                  <a:pt x="12764" y="10630"/>
                  <a:pt x="12735" y="10468"/>
                  <a:pt x="12694" y="10310"/>
                </a:cubicBezTo>
                <a:lnTo>
                  <a:pt x="15308" y="8857"/>
                </a:lnTo>
                <a:cubicBezTo>
                  <a:pt x="15565" y="9453"/>
                  <a:pt x="15709" y="10110"/>
                  <a:pt x="15709" y="10800"/>
                </a:cubicBezTo>
                <a:moveTo>
                  <a:pt x="9818" y="10800"/>
                </a:move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cubicBezTo>
                  <a:pt x="10258" y="11782"/>
                  <a:pt x="9818" y="11342"/>
                  <a:pt x="9818" y="10800"/>
                </a:cubicBezTo>
                <a:moveTo>
                  <a:pt x="10309" y="15685"/>
                </a:moveTo>
                <a:cubicBezTo>
                  <a:pt x="7829" y="15438"/>
                  <a:pt x="5891" y="13346"/>
                  <a:pt x="5891" y="10800"/>
                </a:cubicBezTo>
                <a:cubicBezTo>
                  <a:pt x="5891" y="10110"/>
                  <a:pt x="6035" y="9453"/>
                  <a:pt x="6292" y="8857"/>
                </a:cubicBezTo>
                <a:lnTo>
                  <a:pt x="8906" y="10310"/>
                </a:lnTo>
                <a:cubicBezTo>
                  <a:pt x="8865" y="10468"/>
                  <a:pt x="8836" y="10630"/>
                  <a:pt x="8836" y="10800"/>
                </a:cubicBezTo>
                <a:cubicBezTo>
                  <a:pt x="8836" y="11714"/>
                  <a:pt x="9463" y="12476"/>
                  <a:pt x="10309" y="12694"/>
                </a:cubicBezTo>
                <a:cubicBezTo>
                  <a:pt x="10309" y="12694"/>
                  <a:pt x="10309" y="15685"/>
                  <a:pt x="10309" y="15685"/>
                </a:cubicBezTo>
                <a:close/>
                <a:moveTo>
                  <a:pt x="10800" y="5891"/>
                </a:moveTo>
                <a:cubicBezTo>
                  <a:pt x="12470" y="5891"/>
                  <a:pt x="13942" y="6727"/>
                  <a:pt x="14829" y="8000"/>
                </a:cubicBezTo>
                <a:lnTo>
                  <a:pt x="12220" y="9450"/>
                </a:lnTo>
                <a:cubicBezTo>
                  <a:pt x="11862" y="9074"/>
                  <a:pt x="11360" y="8836"/>
                  <a:pt x="10800" y="8836"/>
                </a:cubicBezTo>
                <a:cubicBezTo>
                  <a:pt x="10240" y="8836"/>
                  <a:pt x="9738" y="9074"/>
                  <a:pt x="9380" y="9450"/>
                </a:cubicBezTo>
                <a:lnTo>
                  <a:pt x="6771" y="8000"/>
                </a:lnTo>
                <a:cubicBezTo>
                  <a:pt x="7658" y="6727"/>
                  <a:pt x="9130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3" name="Shape 2593"/>
          <p:cNvSpPr/>
          <p:nvPr/>
        </p:nvSpPr>
        <p:spPr>
          <a:xfrm>
            <a:off x="21032122" y="4096010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095"/>
                </a:moveTo>
                <a:lnTo>
                  <a:pt x="20091" y="8640"/>
                </a:lnTo>
                <a:cubicBezTo>
                  <a:pt x="19294" y="8426"/>
                  <a:pt x="18482" y="8322"/>
                  <a:pt x="17675" y="8322"/>
                </a:cubicBezTo>
                <a:lnTo>
                  <a:pt x="17150" y="7377"/>
                </a:lnTo>
                <a:cubicBezTo>
                  <a:pt x="17052" y="7203"/>
                  <a:pt x="16911" y="7035"/>
                  <a:pt x="16741" y="6937"/>
                </a:cubicBezTo>
                <a:cubicBezTo>
                  <a:pt x="16601" y="6856"/>
                  <a:pt x="16442" y="6822"/>
                  <a:pt x="16268" y="6868"/>
                </a:cubicBezTo>
                <a:lnTo>
                  <a:pt x="13487" y="7613"/>
                </a:lnTo>
                <a:cubicBezTo>
                  <a:pt x="13102" y="7716"/>
                  <a:pt x="12995" y="8125"/>
                  <a:pt x="12977" y="8495"/>
                </a:cubicBezTo>
                <a:lnTo>
                  <a:pt x="12996" y="9570"/>
                </a:lnTo>
                <a:cubicBezTo>
                  <a:pt x="12293" y="9973"/>
                  <a:pt x="11639" y="10471"/>
                  <a:pt x="11053" y="11057"/>
                </a:cubicBezTo>
                <a:lnTo>
                  <a:pt x="10023" y="10762"/>
                </a:lnTo>
                <a:cubicBezTo>
                  <a:pt x="9673" y="10664"/>
                  <a:pt x="9239" y="10682"/>
                  <a:pt x="9040" y="11026"/>
                </a:cubicBezTo>
                <a:lnTo>
                  <a:pt x="7600" y="13520"/>
                </a:lnTo>
                <a:cubicBezTo>
                  <a:pt x="7401" y="13864"/>
                  <a:pt x="7614" y="14229"/>
                  <a:pt x="7863" y="14504"/>
                </a:cubicBezTo>
                <a:lnTo>
                  <a:pt x="8633" y="15248"/>
                </a:lnTo>
                <a:cubicBezTo>
                  <a:pt x="8419" y="16049"/>
                  <a:pt x="8315" y="16864"/>
                  <a:pt x="8317" y="17674"/>
                </a:cubicBezTo>
                <a:lnTo>
                  <a:pt x="7377" y="18196"/>
                </a:lnTo>
                <a:cubicBezTo>
                  <a:pt x="7060" y="18373"/>
                  <a:pt x="6765" y="18693"/>
                  <a:pt x="6868" y="19077"/>
                </a:cubicBezTo>
                <a:lnTo>
                  <a:pt x="7281" y="20619"/>
                </a:ln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1291"/>
                </a:lnTo>
                <a:lnTo>
                  <a:pt x="1931" y="11291"/>
                </a:lnTo>
                <a:cubicBezTo>
                  <a:pt x="2328" y="11291"/>
                  <a:pt x="2538" y="10924"/>
                  <a:pt x="2651" y="10571"/>
                </a:cubicBezTo>
                <a:lnTo>
                  <a:pt x="2913" y="9523"/>
                </a:lnTo>
                <a:cubicBezTo>
                  <a:pt x="3711" y="9310"/>
                  <a:pt x="4466" y="8993"/>
                  <a:pt x="5164" y="8590"/>
                </a:cubicBezTo>
                <a:lnTo>
                  <a:pt x="6091" y="9146"/>
                </a:lnTo>
                <a:cubicBezTo>
                  <a:pt x="6275" y="9241"/>
                  <a:pt x="6484" y="9317"/>
                  <a:pt x="6681" y="9317"/>
                </a:cubicBezTo>
                <a:cubicBezTo>
                  <a:pt x="6837" y="9317"/>
                  <a:pt x="6985" y="9270"/>
                  <a:pt x="7110" y="9146"/>
                </a:cubicBezTo>
                <a:lnTo>
                  <a:pt x="9146" y="7109"/>
                </a:lnTo>
                <a:cubicBezTo>
                  <a:pt x="9427" y="6828"/>
                  <a:pt x="9332" y="6404"/>
                  <a:pt x="9146" y="6091"/>
                </a:cubicBezTo>
                <a:lnTo>
                  <a:pt x="8593" y="5169"/>
                </a:lnTo>
                <a:cubicBezTo>
                  <a:pt x="8999" y="4469"/>
                  <a:pt x="9317" y="3711"/>
                  <a:pt x="9531" y="2911"/>
                </a:cubicBezTo>
                <a:lnTo>
                  <a:pt x="10571" y="2651"/>
                </a:lnTo>
                <a:cubicBezTo>
                  <a:pt x="10924" y="2538"/>
                  <a:pt x="11291" y="2328"/>
                  <a:pt x="11291" y="1931"/>
                </a:cubicBezTo>
                <a:lnTo>
                  <a:pt x="11291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8095"/>
                  <a:pt x="20618" y="8095"/>
                </a:cubicBezTo>
                <a:close/>
                <a:moveTo>
                  <a:pt x="20618" y="12594"/>
                </a:moveTo>
                <a:cubicBezTo>
                  <a:pt x="19750" y="12088"/>
                  <a:pt x="18750" y="11782"/>
                  <a:pt x="17673" y="11782"/>
                </a:cubicBezTo>
                <a:cubicBezTo>
                  <a:pt x="14419" y="11782"/>
                  <a:pt x="11782" y="14419"/>
                  <a:pt x="11782" y="17673"/>
                </a:cubicBezTo>
                <a:cubicBezTo>
                  <a:pt x="11782" y="18751"/>
                  <a:pt x="12088" y="19750"/>
                  <a:pt x="12594" y="20619"/>
                </a:cubicBezTo>
                <a:lnTo>
                  <a:pt x="8298" y="20619"/>
                </a:lnTo>
                <a:lnTo>
                  <a:pt x="7875" y="19042"/>
                </a:lnTo>
                <a:lnTo>
                  <a:pt x="8794" y="18532"/>
                </a:lnTo>
                <a:cubicBezTo>
                  <a:pt x="9106" y="18358"/>
                  <a:pt x="9299" y="18028"/>
                  <a:pt x="9299" y="17671"/>
                </a:cubicBezTo>
                <a:cubicBezTo>
                  <a:pt x="9298" y="16938"/>
                  <a:pt x="9392" y="16208"/>
                  <a:pt x="9582" y="15502"/>
                </a:cubicBezTo>
                <a:cubicBezTo>
                  <a:pt x="9674" y="15158"/>
                  <a:pt x="9572" y="14791"/>
                  <a:pt x="9316" y="14543"/>
                </a:cubicBezTo>
                <a:lnTo>
                  <a:pt x="8572" y="13823"/>
                </a:lnTo>
                <a:cubicBezTo>
                  <a:pt x="8569" y="13820"/>
                  <a:pt x="8566" y="13817"/>
                  <a:pt x="8564" y="13813"/>
                </a:cubicBezTo>
                <a:lnTo>
                  <a:pt x="9776" y="11713"/>
                </a:lnTo>
                <a:lnTo>
                  <a:pt x="10783" y="12001"/>
                </a:lnTo>
                <a:cubicBezTo>
                  <a:pt x="11126" y="12099"/>
                  <a:pt x="11495" y="12003"/>
                  <a:pt x="11748" y="11751"/>
                </a:cubicBezTo>
                <a:cubicBezTo>
                  <a:pt x="12264" y="11234"/>
                  <a:pt x="12848" y="10787"/>
                  <a:pt x="13485" y="10421"/>
                </a:cubicBezTo>
                <a:cubicBezTo>
                  <a:pt x="13794" y="10243"/>
                  <a:pt x="13983" y="9911"/>
                  <a:pt x="13977" y="9554"/>
                </a:cubicBezTo>
                <a:lnTo>
                  <a:pt x="13960" y="8514"/>
                </a:lnTo>
                <a:lnTo>
                  <a:pt x="13960" y="8503"/>
                </a:lnTo>
                <a:lnTo>
                  <a:pt x="16304" y="7875"/>
                </a:lnTo>
                <a:lnTo>
                  <a:pt x="16817" y="8799"/>
                </a:lnTo>
                <a:cubicBezTo>
                  <a:pt x="16905" y="8958"/>
                  <a:pt x="17032" y="9085"/>
                  <a:pt x="17184" y="9172"/>
                </a:cubicBezTo>
                <a:cubicBezTo>
                  <a:pt x="17330" y="9257"/>
                  <a:pt x="17499" y="9304"/>
                  <a:pt x="17675" y="9304"/>
                </a:cubicBezTo>
                <a:cubicBezTo>
                  <a:pt x="18407" y="9304"/>
                  <a:pt x="19135" y="9399"/>
                  <a:pt x="19837" y="9589"/>
                </a:cubicBezTo>
                <a:cubicBezTo>
                  <a:pt x="20106" y="9660"/>
                  <a:pt x="20389" y="9611"/>
                  <a:pt x="20618" y="9464"/>
                </a:cubicBezTo>
                <a:cubicBezTo>
                  <a:pt x="20618" y="9464"/>
                  <a:pt x="20618" y="12594"/>
                  <a:pt x="20618" y="12594"/>
                </a:cubicBezTo>
                <a:close/>
                <a:moveTo>
                  <a:pt x="20618" y="15475"/>
                </a:moveTo>
                <a:lnTo>
                  <a:pt x="19093" y="16323"/>
                </a:lnTo>
                <a:cubicBezTo>
                  <a:pt x="18735" y="15946"/>
                  <a:pt x="18233" y="15709"/>
                  <a:pt x="17673" y="15709"/>
                </a:cubicBezTo>
                <a:cubicBezTo>
                  <a:pt x="17113" y="15709"/>
                  <a:pt x="16610" y="15946"/>
                  <a:pt x="16253" y="16323"/>
                </a:cubicBezTo>
                <a:lnTo>
                  <a:pt x="13643" y="14873"/>
                </a:lnTo>
                <a:cubicBezTo>
                  <a:pt x="14530" y="13599"/>
                  <a:pt x="16003" y="12764"/>
                  <a:pt x="17673" y="12764"/>
                </a:cubicBezTo>
                <a:cubicBezTo>
                  <a:pt x="18783" y="12764"/>
                  <a:pt x="19798" y="13141"/>
                  <a:pt x="20618" y="13764"/>
                </a:cubicBezTo>
                <a:cubicBezTo>
                  <a:pt x="20618" y="13764"/>
                  <a:pt x="20618" y="15475"/>
                  <a:pt x="20618" y="1547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8164" y="20619"/>
                </a:lnTo>
                <a:lnTo>
                  <a:pt x="18164" y="19567"/>
                </a:lnTo>
                <a:cubicBezTo>
                  <a:pt x="19009" y="19348"/>
                  <a:pt x="19636" y="18587"/>
                  <a:pt x="19636" y="17673"/>
                </a:cubicBezTo>
                <a:cubicBezTo>
                  <a:pt x="19636" y="17502"/>
                  <a:pt x="19608" y="17339"/>
                  <a:pt x="19567" y="17182"/>
                </a:cubicBezTo>
                <a:lnTo>
                  <a:pt x="20618" y="16598"/>
                </a:lnTo>
                <a:cubicBezTo>
                  <a:pt x="20618" y="16598"/>
                  <a:pt x="20618" y="19636"/>
                  <a:pt x="20618" y="19636"/>
                </a:cubicBezTo>
                <a:close/>
                <a:moveTo>
                  <a:pt x="16691" y="17673"/>
                </a:moveTo>
                <a:cubicBezTo>
                  <a:pt x="16691" y="17131"/>
                  <a:pt x="17131" y="16691"/>
                  <a:pt x="17673" y="16691"/>
                </a:cubicBezTo>
                <a:cubicBezTo>
                  <a:pt x="18214" y="16691"/>
                  <a:pt x="18655" y="17131"/>
                  <a:pt x="18655" y="17673"/>
                </a:cubicBezTo>
                <a:cubicBezTo>
                  <a:pt x="18655" y="18215"/>
                  <a:pt x="18214" y="18655"/>
                  <a:pt x="17673" y="18655"/>
                </a:cubicBezTo>
                <a:cubicBezTo>
                  <a:pt x="17131" y="18655"/>
                  <a:pt x="16691" y="18215"/>
                  <a:pt x="16691" y="17673"/>
                </a:cubicBezTo>
                <a:moveTo>
                  <a:pt x="17182" y="20619"/>
                </a:moveTo>
                <a:lnTo>
                  <a:pt x="13757" y="20619"/>
                </a:lnTo>
                <a:cubicBezTo>
                  <a:pt x="13138" y="19797"/>
                  <a:pt x="12764" y="18781"/>
                  <a:pt x="12764" y="17673"/>
                </a:cubicBezTo>
                <a:cubicBezTo>
                  <a:pt x="12764" y="16982"/>
                  <a:pt x="12907" y="16326"/>
                  <a:pt x="13165" y="15730"/>
                </a:cubicBezTo>
                <a:lnTo>
                  <a:pt x="15779" y="17182"/>
                </a:lnTo>
                <a:cubicBezTo>
                  <a:pt x="15738" y="17339"/>
                  <a:pt x="15709" y="17502"/>
                  <a:pt x="15709" y="17673"/>
                </a:cubicBezTo>
                <a:cubicBezTo>
                  <a:pt x="15709" y="18587"/>
                  <a:pt x="16336" y="19348"/>
                  <a:pt x="17182" y="19567"/>
                </a:cubicBezTo>
                <a:cubicBezTo>
                  <a:pt x="17182" y="19567"/>
                  <a:pt x="17182" y="20619"/>
                  <a:pt x="17182" y="20619"/>
                </a:cubicBezTo>
                <a:close/>
                <a:moveTo>
                  <a:pt x="982" y="5376"/>
                </a:moveTo>
                <a:cubicBezTo>
                  <a:pt x="3301" y="5145"/>
                  <a:pt x="5145" y="3301"/>
                  <a:pt x="5375" y="982"/>
                </a:cubicBezTo>
                <a:lnTo>
                  <a:pt x="10309" y="982"/>
                </a:lnTo>
                <a:lnTo>
                  <a:pt x="10309" y="1703"/>
                </a:lnTo>
                <a:cubicBezTo>
                  <a:pt x="10305" y="1705"/>
                  <a:pt x="10302" y="1706"/>
                  <a:pt x="10298" y="1707"/>
                </a:cubicBezTo>
                <a:lnTo>
                  <a:pt x="9293" y="1958"/>
                </a:lnTo>
                <a:cubicBezTo>
                  <a:pt x="8947" y="2045"/>
                  <a:pt x="8675" y="2313"/>
                  <a:pt x="8583" y="2657"/>
                </a:cubicBezTo>
                <a:cubicBezTo>
                  <a:pt x="8394" y="3363"/>
                  <a:pt x="8112" y="4042"/>
                  <a:pt x="7744" y="4676"/>
                </a:cubicBezTo>
                <a:cubicBezTo>
                  <a:pt x="7564" y="4986"/>
                  <a:pt x="7567" y="5368"/>
                  <a:pt x="7751" y="5674"/>
                </a:cubicBezTo>
                <a:lnTo>
                  <a:pt x="8292" y="6575"/>
                </a:lnTo>
                <a:lnTo>
                  <a:pt x="6576" y="8291"/>
                </a:lnTo>
                <a:cubicBezTo>
                  <a:pt x="6573" y="8290"/>
                  <a:pt x="6569" y="8288"/>
                  <a:pt x="6566" y="8286"/>
                </a:cubicBezTo>
                <a:lnTo>
                  <a:pt x="5669" y="7748"/>
                </a:lnTo>
                <a:cubicBezTo>
                  <a:pt x="5513" y="7655"/>
                  <a:pt x="5339" y="7608"/>
                  <a:pt x="5164" y="7608"/>
                </a:cubicBezTo>
                <a:cubicBezTo>
                  <a:pt x="4995" y="7608"/>
                  <a:pt x="4825" y="7652"/>
                  <a:pt x="4673" y="7739"/>
                </a:cubicBezTo>
                <a:cubicBezTo>
                  <a:pt x="4039" y="8106"/>
                  <a:pt x="3362" y="8387"/>
                  <a:pt x="2659" y="8575"/>
                </a:cubicBezTo>
                <a:cubicBezTo>
                  <a:pt x="2315" y="8666"/>
                  <a:pt x="2047" y="8938"/>
                  <a:pt x="1960" y="9285"/>
                </a:cubicBezTo>
                <a:lnTo>
                  <a:pt x="1707" y="10298"/>
                </a:lnTo>
                <a:cubicBezTo>
                  <a:pt x="1706" y="10302"/>
                  <a:pt x="1705" y="10305"/>
                  <a:pt x="1703" y="10310"/>
                </a:cubicBezTo>
                <a:lnTo>
                  <a:pt x="982" y="10310"/>
                </a:lnTo>
                <a:cubicBezTo>
                  <a:pt x="982" y="10310"/>
                  <a:pt x="982" y="5376"/>
                  <a:pt x="982" y="5376"/>
                </a:cubicBezTo>
                <a:close/>
                <a:moveTo>
                  <a:pt x="982" y="1964"/>
                </a:moveTo>
                <a:cubicBezTo>
                  <a:pt x="982" y="1421"/>
                  <a:pt x="1422" y="982"/>
                  <a:pt x="1964" y="982"/>
                </a:cubicBezTo>
                <a:lnTo>
                  <a:pt x="4384" y="982"/>
                </a:lnTo>
                <a:cubicBezTo>
                  <a:pt x="4162" y="2758"/>
                  <a:pt x="2758" y="4162"/>
                  <a:pt x="982" y="4384"/>
                </a:cubicBezTo>
                <a:cubicBezTo>
                  <a:pt x="982" y="4384"/>
                  <a:pt x="982" y="1964"/>
                  <a:pt x="982" y="1964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4" name="Shape 2594"/>
          <p:cNvSpPr/>
          <p:nvPr/>
        </p:nvSpPr>
        <p:spPr>
          <a:xfrm>
            <a:off x="22098644" y="4146795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8400"/>
                </a:moveTo>
                <a:lnTo>
                  <a:pt x="18164" y="8400"/>
                </a:lnTo>
                <a:cubicBezTo>
                  <a:pt x="18435" y="8400"/>
                  <a:pt x="18655" y="8132"/>
                  <a:pt x="18655" y="7800"/>
                </a:cubicBezTo>
                <a:cubicBezTo>
                  <a:pt x="18655" y="7468"/>
                  <a:pt x="18435" y="7200"/>
                  <a:pt x="18164" y="7200"/>
                </a:cubicBezTo>
                <a:lnTo>
                  <a:pt x="3436" y="7200"/>
                </a:lnTo>
                <a:cubicBezTo>
                  <a:pt x="3165" y="7200"/>
                  <a:pt x="2945" y="7468"/>
                  <a:pt x="2945" y="7800"/>
                </a:cubicBezTo>
                <a:cubicBezTo>
                  <a:pt x="2945" y="8132"/>
                  <a:pt x="3165" y="8400"/>
                  <a:pt x="3436" y="8400"/>
                </a:cubicBezTo>
                <a:moveTo>
                  <a:pt x="3436" y="10800"/>
                </a:moveTo>
                <a:lnTo>
                  <a:pt x="18164" y="10800"/>
                </a:lnTo>
                <a:cubicBezTo>
                  <a:pt x="18435" y="10800"/>
                  <a:pt x="18655" y="10532"/>
                  <a:pt x="18655" y="10200"/>
                </a:cubicBezTo>
                <a:cubicBezTo>
                  <a:pt x="18655" y="9868"/>
                  <a:pt x="18435" y="9600"/>
                  <a:pt x="18164" y="9600"/>
                </a:cubicBezTo>
                <a:lnTo>
                  <a:pt x="3436" y="9600"/>
                </a:lnTo>
                <a:cubicBezTo>
                  <a:pt x="3165" y="9600"/>
                  <a:pt x="2945" y="9868"/>
                  <a:pt x="2945" y="10200"/>
                </a:cubicBezTo>
                <a:cubicBezTo>
                  <a:pt x="2945" y="10532"/>
                  <a:pt x="3165" y="10800"/>
                  <a:pt x="3436" y="10800"/>
                </a:cubicBezTo>
                <a:moveTo>
                  <a:pt x="3436" y="13200"/>
                </a:moveTo>
                <a:lnTo>
                  <a:pt x="13255" y="13200"/>
                </a:lnTo>
                <a:cubicBezTo>
                  <a:pt x="13526" y="13200"/>
                  <a:pt x="13745" y="12931"/>
                  <a:pt x="13745" y="12601"/>
                </a:cubicBezTo>
                <a:cubicBezTo>
                  <a:pt x="13745" y="12268"/>
                  <a:pt x="13526" y="12000"/>
                  <a:pt x="13255" y="12000"/>
                </a:cubicBezTo>
                <a:lnTo>
                  <a:pt x="3436" y="12000"/>
                </a:lnTo>
                <a:cubicBezTo>
                  <a:pt x="3165" y="12000"/>
                  <a:pt x="2945" y="12268"/>
                  <a:pt x="2945" y="12601"/>
                </a:cubicBezTo>
                <a:cubicBezTo>
                  <a:pt x="2945" y="12931"/>
                  <a:pt x="3165" y="13200"/>
                  <a:pt x="3436" y="13200"/>
                </a:cubicBezTo>
                <a:moveTo>
                  <a:pt x="20618" y="19200"/>
                </a:moveTo>
                <a:lnTo>
                  <a:pt x="18114" y="19200"/>
                </a:lnTo>
                <a:cubicBezTo>
                  <a:pt x="17887" y="17831"/>
                  <a:pt x="16897" y="16800"/>
                  <a:pt x="15709" y="16800"/>
                </a:cubicBezTo>
                <a:cubicBezTo>
                  <a:pt x="14522" y="16800"/>
                  <a:pt x="13532" y="17831"/>
                  <a:pt x="13304" y="19200"/>
                </a:cubicBezTo>
                <a:lnTo>
                  <a:pt x="8296" y="19200"/>
                </a:lnTo>
                <a:cubicBezTo>
                  <a:pt x="8068" y="17831"/>
                  <a:pt x="7078" y="16800"/>
                  <a:pt x="5891" y="16800"/>
                </a:cubicBezTo>
                <a:cubicBezTo>
                  <a:pt x="4703" y="16800"/>
                  <a:pt x="3713" y="17831"/>
                  <a:pt x="3486" y="19200"/>
                </a:cubicBezTo>
                <a:lnTo>
                  <a:pt x="982" y="192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19200"/>
                  <a:pt x="20618" y="1920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9200"/>
                </a:lnTo>
                <a:cubicBezTo>
                  <a:pt x="0" y="19862"/>
                  <a:pt x="440" y="20400"/>
                  <a:pt x="982" y="20400"/>
                </a:cubicBezTo>
                <a:lnTo>
                  <a:pt x="3927" y="20400"/>
                </a:lnTo>
                <a:cubicBezTo>
                  <a:pt x="4199" y="20400"/>
                  <a:pt x="4418" y="20132"/>
                  <a:pt x="4418" y="19800"/>
                </a:cubicBezTo>
                <a:cubicBezTo>
                  <a:pt x="4418" y="18807"/>
                  <a:pt x="5078" y="18000"/>
                  <a:pt x="5891" y="18000"/>
                </a:cubicBezTo>
                <a:cubicBezTo>
                  <a:pt x="6704" y="18000"/>
                  <a:pt x="7364" y="18807"/>
                  <a:pt x="7364" y="19800"/>
                </a:cubicBezTo>
                <a:cubicBezTo>
                  <a:pt x="7364" y="20132"/>
                  <a:pt x="7583" y="20400"/>
                  <a:pt x="7855" y="20400"/>
                </a:cubicBezTo>
                <a:lnTo>
                  <a:pt x="13745" y="20400"/>
                </a:lnTo>
                <a:cubicBezTo>
                  <a:pt x="14017" y="20400"/>
                  <a:pt x="14236" y="20132"/>
                  <a:pt x="14236" y="19800"/>
                </a:cubicBezTo>
                <a:cubicBezTo>
                  <a:pt x="14236" y="18807"/>
                  <a:pt x="14896" y="18000"/>
                  <a:pt x="15709" y="18000"/>
                </a:cubicBezTo>
                <a:cubicBezTo>
                  <a:pt x="16523" y="18000"/>
                  <a:pt x="17182" y="18807"/>
                  <a:pt x="17182" y="19800"/>
                </a:cubicBezTo>
                <a:cubicBezTo>
                  <a:pt x="17182" y="20132"/>
                  <a:pt x="17401" y="20400"/>
                  <a:pt x="17673" y="20400"/>
                </a:cubicBezTo>
                <a:lnTo>
                  <a:pt x="20618" y="20400"/>
                </a:lnTo>
                <a:cubicBezTo>
                  <a:pt x="21160" y="20400"/>
                  <a:pt x="21600" y="19862"/>
                  <a:pt x="21600" y="192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891" y="19200"/>
                </a:moveTo>
                <a:cubicBezTo>
                  <a:pt x="5620" y="19200"/>
                  <a:pt x="5400" y="19468"/>
                  <a:pt x="5400" y="19800"/>
                </a:cubicBezTo>
                <a:lnTo>
                  <a:pt x="5400" y="21000"/>
                </a:lnTo>
                <a:cubicBezTo>
                  <a:pt x="5400" y="21332"/>
                  <a:pt x="5620" y="21600"/>
                  <a:pt x="5891" y="21600"/>
                </a:cubicBezTo>
                <a:cubicBezTo>
                  <a:pt x="6162" y="21600"/>
                  <a:pt x="6382" y="21332"/>
                  <a:pt x="6382" y="21000"/>
                </a:cubicBezTo>
                <a:lnTo>
                  <a:pt x="6382" y="19800"/>
                </a:lnTo>
                <a:cubicBezTo>
                  <a:pt x="6382" y="19468"/>
                  <a:pt x="6162" y="19200"/>
                  <a:pt x="5891" y="19200"/>
                </a:cubicBezTo>
                <a:moveTo>
                  <a:pt x="3436" y="6000"/>
                </a:moveTo>
                <a:lnTo>
                  <a:pt x="18164" y="6000"/>
                </a:lnTo>
                <a:cubicBezTo>
                  <a:pt x="18435" y="6000"/>
                  <a:pt x="18655" y="5732"/>
                  <a:pt x="18655" y="5400"/>
                </a:cubicBezTo>
                <a:cubicBezTo>
                  <a:pt x="18655" y="5069"/>
                  <a:pt x="18435" y="4800"/>
                  <a:pt x="18164" y="4800"/>
                </a:cubicBezTo>
                <a:lnTo>
                  <a:pt x="3436" y="4800"/>
                </a:lnTo>
                <a:cubicBezTo>
                  <a:pt x="3165" y="4800"/>
                  <a:pt x="2945" y="5069"/>
                  <a:pt x="2945" y="5400"/>
                </a:cubicBezTo>
                <a:cubicBezTo>
                  <a:pt x="2945" y="5732"/>
                  <a:pt x="3165" y="6000"/>
                  <a:pt x="3436" y="6000"/>
                </a:cubicBezTo>
                <a:moveTo>
                  <a:pt x="15709" y="19200"/>
                </a:moveTo>
                <a:cubicBezTo>
                  <a:pt x="15438" y="19200"/>
                  <a:pt x="15218" y="19468"/>
                  <a:pt x="15218" y="19800"/>
                </a:cubicBezTo>
                <a:lnTo>
                  <a:pt x="15218" y="21000"/>
                </a:lnTo>
                <a:cubicBezTo>
                  <a:pt x="15218" y="21332"/>
                  <a:pt x="15438" y="21600"/>
                  <a:pt x="15709" y="21600"/>
                </a:cubicBezTo>
                <a:cubicBezTo>
                  <a:pt x="15980" y="21600"/>
                  <a:pt x="16200" y="21332"/>
                  <a:pt x="16200" y="21000"/>
                </a:cubicBezTo>
                <a:lnTo>
                  <a:pt x="16200" y="19800"/>
                </a:lnTo>
                <a:cubicBezTo>
                  <a:pt x="16200" y="19468"/>
                  <a:pt x="15980" y="19200"/>
                  <a:pt x="15709" y="19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5" name="Shape 2595"/>
          <p:cNvSpPr/>
          <p:nvPr/>
        </p:nvSpPr>
        <p:spPr>
          <a:xfrm>
            <a:off x="12499946" y="5187926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4040"/>
                </a:moveTo>
                <a:lnTo>
                  <a:pt x="14236" y="14040"/>
                </a:lnTo>
                <a:cubicBezTo>
                  <a:pt x="14507" y="14040"/>
                  <a:pt x="14727" y="13799"/>
                  <a:pt x="14727" y="13500"/>
                </a:cubicBezTo>
                <a:cubicBezTo>
                  <a:pt x="14727" y="13202"/>
                  <a:pt x="14507" y="12960"/>
                  <a:pt x="14236" y="12960"/>
                </a:cubicBezTo>
                <a:lnTo>
                  <a:pt x="7364" y="12960"/>
                </a:lnTo>
                <a:cubicBezTo>
                  <a:pt x="7093" y="12960"/>
                  <a:pt x="6873" y="13202"/>
                  <a:pt x="6873" y="13500"/>
                </a:cubicBezTo>
                <a:cubicBezTo>
                  <a:pt x="6873" y="13799"/>
                  <a:pt x="7093" y="14040"/>
                  <a:pt x="7364" y="14040"/>
                </a:cubicBezTo>
                <a:moveTo>
                  <a:pt x="7364" y="11880"/>
                </a:moveTo>
                <a:lnTo>
                  <a:pt x="18164" y="11880"/>
                </a:lnTo>
                <a:cubicBezTo>
                  <a:pt x="18434" y="11880"/>
                  <a:pt x="18655" y="11639"/>
                  <a:pt x="18655" y="11340"/>
                </a:cubicBezTo>
                <a:cubicBezTo>
                  <a:pt x="18655" y="11042"/>
                  <a:pt x="18434" y="10800"/>
                  <a:pt x="18164" y="10800"/>
                </a:cubicBezTo>
                <a:lnTo>
                  <a:pt x="7364" y="10800"/>
                </a:lnTo>
                <a:cubicBezTo>
                  <a:pt x="7093" y="10800"/>
                  <a:pt x="6873" y="11042"/>
                  <a:pt x="6873" y="11340"/>
                </a:cubicBezTo>
                <a:cubicBezTo>
                  <a:pt x="6873" y="11639"/>
                  <a:pt x="7093" y="11880"/>
                  <a:pt x="7364" y="11880"/>
                </a:cubicBezTo>
                <a:moveTo>
                  <a:pt x="20618" y="19440"/>
                </a:moveTo>
                <a:lnTo>
                  <a:pt x="18605" y="19440"/>
                </a:lnTo>
                <a:cubicBezTo>
                  <a:pt x="18378" y="18208"/>
                  <a:pt x="17387" y="17280"/>
                  <a:pt x="16200" y="17280"/>
                </a:cubicBezTo>
                <a:cubicBezTo>
                  <a:pt x="15013" y="17280"/>
                  <a:pt x="14022" y="18208"/>
                  <a:pt x="13795" y="19440"/>
                </a:cubicBezTo>
                <a:lnTo>
                  <a:pt x="11732" y="19440"/>
                </a:lnTo>
                <a:cubicBezTo>
                  <a:pt x="11505" y="18208"/>
                  <a:pt x="10515" y="17280"/>
                  <a:pt x="9327" y="17280"/>
                </a:cubicBezTo>
                <a:cubicBezTo>
                  <a:pt x="8140" y="17280"/>
                  <a:pt x="7150" y="18208"/>
                  <a:pt x="6922" y="19440"/>
                </a:cubicBezTo>
                <a:lnTo>
                  <a:pt x="4909" y="19440"/>
                </a:lnTo>
                <a:lnTo>
                  <a:pt x="4909" y="5400"/>
                </a:lnTo>
                <a:lnTo>
                  <a:pt x="20618" y="5400"/>
                </a:lnTo>
                <a:cubicBezTo>
                  <a:pt x="20618" y="5400"/>
                  <a:pt x="20618" y="19440"/>
                  <a:pt x="20618" y="19440"/>
                </a:cubicBezTo>
                <a:close/>
                <a:moveTo>
                  <a:pt x="20618" y="4320"/>
                </a:moveTo>
                <a:lnTo>
                  <a:pt x="4909" y="4320"/>
                </a:lnTo>
                <a:cubicBezTo>
                  <a:pt x="4367" y="4320"/>
                  <a:pt x="3927" y="4804"/>
                  <a:pt x="3927" y="5400"/>
                </a:cubicBezTo>
                <a:lnTo>
                  <a:pt x="3927" y="19440"/>
                </a:lnTo>
                <a:cubicBezTo>
                  <a:pt x="3927" y="20036"/>
                  <a:pt x="4367" y="20520"/>
                  <a:pt x="4909" y="20520"/>
                </a:cubicBezTo>
                <a:lnTo>
                  <a:pt x="7364" y="20520"/>
                </a:lnTo>
                <a:cubicBezTo>
                  <a:pt x="7634" y="20520"/>
                  <a:pt x="7855" y="20279"/>
                  <a:pt x="7855" y="19980"/>
                </a:cubicBezTo>
                <a:cubicBezTo>
                  <a:pt x="7855" y="19085"/>
                  <a:pt x="8514" y="18360"/>
                  <a:pt x="9327" y="18360"/>
                </a:cubicBezTo>
                <a:cubicBezTo>
                  <a:pt x="10141" y="18360"/>
                  <a:pt x="10800" y="19085"/>
                  <a:pt x="10800" y="19980"/>
                </a:cubicBezTo>
                <a:cubicBezTo>
                  <a:pt x="10800" y="20279"/>
                  <a:pt x="11020" y="20520"/>
                  <a:pt x="11291" y="20520"/>
                </a:cubicBezTo>
                <a:lnTo>
                  <a:pt x="14236" y="20520"/>
                </a:lnTo>
                <a:cubicBezTo>
                  <a:pt x="14507" y="20520"/>
                  <a:pt x="14727" y="20279"/>
                  <a:pt x="14727" y="19980"/>
                </a:cubicBezTo>
                <a:cubicBezTo>
                  <a:pt x="14727" y="19085"/>
                  <a:pt x="15386" y="18360"/>
                  <a:pt x="16200" y="18360"/>
                </a:cubicBezTo>
                <a:cubicBezTo>
                  <a:pt x="17014" y="18360"/>
                  <a:pt x="17673" y="19085"/>
                  <a:pt x="17673" y="19980"/>
                </a:cubicBezTo>
                <a:cubicBezTo>
                  <a:pt x="17673" y="20279"/>
                  <a:pt x="17893" y="20520"/>
                  <a:pt x="18164" y="20520"/>
                </a:cubicBezTo>
                <a:lnTo>
                  <a:pt x="20618" y="20520"/>
                </a:lnTo>
                <a:cubicBezTo>
                  <a:pt x="21160" y="20520"/>
                  <a:pt x="21600" y="20036"/>
                  <a:pt x="21600" y="19440"/>
                </a:cubicBezTo>
                <a:lnTo>
                  <a:pt x="21600" y="5400"/>
                </a:lnTo>
                <a:cubicBezTo>
                  <a:pt x="21600" y="4804"/>
                  <a:pt x="21160" y="4320"/>
                  <a:pt x="20618" y="4320"/>
                </a:cubicBezTo>
                <a:moveTo>
                  <a:pt x="7364" y="9720"/>
                </a:moveTo>
                <a:lnTo>
                  <a:pt x="18164" y="9720"/>
                </a:lnTo>
                <a:cubicBezTo>
                  <a:pt x="18434" y="9720"/>
                  <a:pt x="18655" y="9479"/>
                  <a:pt x="18655" y="9180"/>
                </a:cubicBezTo>
                <a:cubicBezTo>
                  <a:pt x="18655" y="8882"/>
                  <a:pt x="18434" y="8640"/>
                  <a:pt x="18164" y="8640"/>
                </a:cubicBezTo>
                <a:lnTo>
                  <a:pt x="7364" y="8640"/>
                </a:lnTo>
                <a:cubicBezTo>
                  <a:pt x="7093" y="8640"/>
                  <a:pt x="6873" y="8882"/>
                  <a:pt x="6873" y="9180"/>
                </a:cubicBezTo>
                <a:cubicBezTo>
                  <a:pt x="6873" y="9479"/>
                  <a:pt x="7093" y="9720"/>
                  <a:pt x="7364" y="9720"/>
                </a:cubicBezTo>
                <a:moveTo>
                  <a:pt x="9327" y="19440"/>
                </a:moveTo>
                <a:cubicBezTo>
                  <a:pt x="9056" y="19440"/>
                  <a:pt x="8836" y="19682"/>
                  <a:pt x="8836" y="19980"/>
                </a:cubicBezTo>
                <a:lnTo>
                  <a:pt x="8836" y="21060"/>
                </a:lnTo>
                <a:cubicBezTo>
                  <a:pt x="8836" y="21359"/>
                  <a:pt x="9056" y="21600"/>
                  <a:pt x="9327" y="21600"/>
                </a:cubicBezTo>
                <a:cubicBezTo>
                  <a:pt x="9598" y="21600"/>
                  <a:pt x="9818" y="21359"/>
                  <a:pt x="9818" y="21060"/>
                </a:cubicBezTo>
                <a:lnTo>
                  <a:pt x="9818" y="19980"/>
                </a:lnTo>
                <a:cubicBezTo>
                  <a:pt x="9818" y="19682"/>
                  <a:pt x="9598" y="19440"/>
                  <a:pt x="9327" y="19440"/>
                </a:cubicBezTo>
                <a:moveTo>
                  <a:pt x="2455" y="15120"/>
                </a:moveTo>
                <a:lnTo>
                  <a:pt x="982" y="15120"/>
                </a:lnTo>
                <a:lnTo>
                  <a:pt x="982" y="1080"/>
                </a:lnTo>
                <a:lnTo>
                  <a:pt x="16691" y="1080"/>
                </a:lnTo>
                <a:lnTo>
                  <a:pt x="16691" y="2700"/>
                </a:lnTo>
                <a:cubicBezTo>
                  <a:pt x="16691" y="2999"/>
                  <a:pt x="16911" y="3240"/>
                  <a:pt x="17182" y="3240"/>
                </a:cubicBezTo>
                <a:cubicBezTo>
                  <a:pt x="17453" y="3240"/>
                  <a:pt x="17673" y="2999"/>
                  <a:pt x="17673" y="2700"/>
                </a:cubicBezTo>
                <a:lnTo>
                  <a:pt x="17673" y="1080"/>
                </a:lnTo>
                <a:cubicBezTo>
                  <a:pt x="17673" y="484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15120"/>
                </a:lnTo>
                <a:cubicBezTo>
                  <a:pt x="0" y="15716"/>
                  <a:pt x="440" y="16201"/>
                  <a:pt x="982" y="16201"/>
                </a:cubicBezTo>
                <a:lnTo>
                  <a:pt x="2455" y="16201"/>
                </a:lnTo>
                <a:cubicBezTo>
                  <a:pt x="2725" y="16201"/>
                  <a:pt x="2945" y="15959"/>
                  <a:pt x="2945" y="15660"/>
                </a:cubicBezTo>
                <a:cubicBezTo>
                  <a:pt x="2945" y="15362"/>
                  <a:pt x="2725" y="15120"/>
                  <a:pt x="2455" y="15120"/>
                </a:cubicBezTo>
                <a:moveTo>
                  <a:pt x="16200" y="19440"/>
                </a:moveTo>
                <a:cubicBezTo>
                  <a:pt x="15929" y="19440"/>
                  <a:pt x="15709" y="19682"/>
                  <a:pt x="15709" y="19980"/>
                </a:cubicBezTo>
                <a:lnTo>
                  <a:pt x="15709" y="21060"/>
                </a:lnTo>
                <a:cubicBezTo>
                  <a:pt x="15709" y="21359"/>
                  <a:pt x="15929" y="21600"/>
                  <a:pt x="16200" y="21600"/>
                </a:cubicBezTo>
                <a:cubicBezTo>
                  <a:pt x="16471" y="21600"/>
                  <a:pt x="16691" y="21359"/>
                  <a:pt x="16691" y="21060"/>
                </a:cubicBezTo>
                <a:lnTo>
                  <a:pt x="16691" y="19980"/>
                </a:lnTo>
                <a:cubicBezTo>
                  <a:pt x="16691" y="19682"/>
                  <a:pt x="16471" y="19440"/>
                  <a:pt x="16200" y="1944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6" name="Shape 2596"/>
          <p:cNvSpPr/>
          <p:nvPr/>
        </p:nvSpPr>
        <p:spPr>
          <a:xfrm>
            <a:off x="13566466" y="5238713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5400"/>
                </a:moveTo>
                <a:lnTo>
                  <a:pt x="9327" y="5400"/>
                </a:lnTo>
                <a:cubicBezTo>
                  <a:pt x="9598" y="5400"/>
                  <a:pt x="9818" y="5098"/>
                  <a:pt x="9818" y="4725"/>
                </a:cubicBezTo>
                <a:cubicBezTo>
                  <a:pt x="9818" y="4353"/>
                  <a:pt x="9598" y="4050"/>
                  <a:pt x="9327" y="4050"/>
                </a:cubicBezTo>
                <a:lnTo>
                  <a:pt x="3436" y="4050"/>
                </a:lnTo>
                <a:cubicBezTo>
                  <a:pt x="3166" y="4050"/>
                  <a:pt x="2945" y="4353"/>
                  <a:pt x="2945" y="4725"/>
                </a:cubicBezTo>
                <a:cubicBezTo>
                  <a:pt x="2945" y="5098"/>
                  <a:pt x="3166" y="5400"/>
                  <a:pt x="3436" y="5400"/>
                </a:cubicBezTo>
                <a:moveTo>
                  <a:pt x="3436" y="8100"/>
                </a:moveTo>
                <a:lnTo>
                  <a:pt x="7364" y="8100"/>
                </a:lnTo>
                <a:cubicBezTo>
                  <a:pt x="7634" y="8100"/>
                  <a:pt x="7855" y="7798"/>
                  <a:pt x="7855" y="7425"/>
                </a:cubicBezTo>
                <a:cubicBezTo>
                  <a:pt x="7855" y="7053"/>
                  <a:pt x="7634" y="6750"/>
                  <a:pt x="7364" y="6750"/>
                </a:cubicBezTo>
                <a:lnTo>
                  <a:pt x="3436" y="6750"/>
                </a:lnTo>
                <a:cubicBezTo>
                  <a:pt x="3166" y="6750"/>
                  <a:pt x="2945" y="7053"/>
                  <a:pt x="2945" y="7425"/>
                </a:cubicBezTo>
                <a:cubicBezTo>
                  <a:pt x="2945" y="7798"/>
                  <a:pt x="3166" y="8100"/>
                  <a:pt x="3436" y="8100"/>
                </a:cubicBezTo>
                <a:moveTo>
                  <a:pt x="3436" y="10800"/>
                </a:moveTo>
                <a:lnTo>
                  <a:pt x="9327" y="10800"/>
                </a:lnTo>
                <a:cubicBezTo>
                  <a:pt x="9598" y="10800"/>
                  <a:pt x="9818" y="10498"/>
                  <a:pt x="9818" y="10125"/>
                </a:cubicBezTo>
                <a:cubicBezTo>
                  <a:pt x="9818" y="9753"/>
                  <a:pt x="9598" y="9450"/>
                  <a:pt x="9327" y="9450"/>
                </a:cubicBezTo>
                <a:lnTo>
                  <a:pt x="3436" y="9450"/>
                </a:lnTo>
                <a:cubicBezTo>
                  <a:pt x="3166" y="9450"/>
                  <a:pt x="2945" y="9753"/>
                  <a:pt x="2945" y="10125"/>
                </a:cubicBezTo>
                <a:cubicBezTo>
                  <a:pt x="2945" y="10498"/>
                  <a:pt x="3166" y="10800"/>
                  <a:pt x="3436" y="10800"/>
                </a:cubicBezTo>
                <a:moveTo>
                  <a:pt x="20618" y="20250"/>
                </a:moveTo>
                <a:lnTo>
                  <a:pt x="15709" y="20250"/>
                </a:lnTo>
                <a:lnTo>
                  <a:pt x="15709" y="17551"/>
                </a:lnTo>
                <a:lnTo>
                  <a:pt x="16691" y="17551"/>
                </a:lnTo>
                <a:cubicBezTo>
                  <a:pt x="16962" y="17551"/>
                  <a:pt x="17182" y="17248"/>
                  <a:pt x="17182" y="16875"/>
                </a:cubicBezTo>
                <a:cubicBezTo>
                  <a:pt x="17182" y="16503"/>
                  <a:pt x="16962" y="16200"/>
                  <a:pt x="16691" y="16200"/>
                </a:cubicBezTo>
                <a:lnTo>
                  <a:pt x="13745" y="16200"/>
                </a:lnTo>
                <a:cubicBezTo>
                  <a:pt x="13475" y="16200"/>
                  <a:pt x="13255" y="16503"/>
                  <a:pt x="13255" y="16875"/>
                </a:cubicBezTo>
                <a:cubicBezTo>
                  <a:pt x="13255" y="17248"/>
                  <a:pt x="13475" y="17551"/>
                  <a:pt x="13745" y="17551"/>
                </a:cubicBezTo>
                <a:lnTo>
                  <a:pt x="14727" y="17551"/>
                </a:lnTo>
                <a:lnTo>
                  <a:pt x="14727" y="20250"/>
                </a:lnTo>
                <a:lnTo>
                  <a:pt x="6873" y="20250"/>
                </a:lnTo>
                <a:lnTo>
                  <a:pt x="6873" y="17551"/>
                </a:lnTo>
                <a:lnTo>
                  <a:pt x="7855" y="17551"/>
                </a:lnTo>
                <a:cubicBezTo>
                  <a:pt x="8125" y="17551"/>
                  <a:pt x="8345" y="17248"/>
                  <a:pt x="8345" y="16875"/>
                </a:cubicBezTo>
                <a:cubicBezTo>
                  <a:pt x="8345" y="16503"/>
                  <a:pt x="8125" y="16200"/>
                  <a:pt x="7855" y="16200"/>
                </a:cubicBezTo>
                <a:lnTo>
                  <a:pt x="4909" y="16200"/>
                </a:lnTo>
                <a:cubicBezTo>
                  <a:pt x="4638" y="16200"/>
                  <a:pt x="4418" y="16503"/>
                  <a:pt x="4418" y="16875"/>
                </a:cubicBezTo>
                <a:cubicBezTo>
                  <a:pt x="4418" y="17248"/>
                  <a:pt x="4638" y="17551"/>
                  <a:pt x="4909" y="17551"/>
                </a:cubicBezTo>
                <a:lnTo>
                  <a:pt x="5891" y="17551"/>
                </a:lnTo>
                <a:lnTo>
                  <a:pt x="5891" y="20250"/>
                </a:lnTo>
                <a:lnTo>
                  <a:pt x="982" y="202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3436" y="13500"/>
                </a:moveTo>
                <a:lnTo>
                  <a:pt x="7364" y="13500"/>
                </a:lnTo>
                <a:cubicBezTo>
                  <a:pt x="7634" y="13500"/>
                  <a:pt x="7855" y="13198"/>
                  <a:pt x="7855" y="12825"/>
                </a:cubicBezTo>
                <a:cubicBezTo>
                  <a:pt x="7855" y="12452"/>
                  <a:pt x="7634" y="12150"/>
                  <a:pt x="7364" y="12150"/>
                </a:cubicBezTo>
                <a:lnTo>
                  <a:pt x="3436" y="12150"/>
                </a:lnTo>
                <a:cubicBezTo>
                  <a:pt x="3166" y="12150"/>
                  <a:pt x="2945" y="12452"/>
                  <a:pt x="2945" y="12825"/>
                </a:cubicBezTo>
                <a:cubicBezTo>
                  <a:pt x="2945" y="13198"/>
                  <a:pt x="3166" y="13500"/>
                  <a:pt x="3436" y="13500"/>
                </a:cubicBezTo>
                <a:moveTo>
                  <a:pt x="12273" y="5400"/>
                </a:moveTo>
                <a:lnTo>
                  <a:pt x="16200" y="5400"/>
                </a:lnTo>
                <a:cubicBezTo>
                  <a:pt x="16471" y="5400"/>
                  <a:pt x="16691" y="5098"/>
                  <a:pt x="16691" y="4725"/>
                </a:cubicBezTo>
                <a:cubicBezTo>
                  <a:pt x="16691" y="4353"/>
                  <a:pt x="16471" y="4050"/>
                  <a:pt x="16200" y="4050"/>
                </a:cubicBezTo>
                <a:lnTo>
                  <a:pt x="12273" y="4050"/>
                </a:lnTo>
                <a:cubicBezTo>
                  <a:pt x="12002" y="4050"/>
                  <a:pt x="11782" y="4353"/>
                  <a:pt x="11782" y="4725"/>
                </a:cubicBezTo>
                <a:cubicBezTo>
                  <a:pt x="11782" y="5098"/>
                  <a:pt x="12002" y="5400"/>
                  <a:pt x="12273" y="5400"/>
                </a:cubicBezTo>
                <a:moveTo>
                  <a:pt x="12273" y="10800"/>
                </a:moveTo>
                <a:lnTo>
                  <a:pt x="16200" y="10800"/>
                </a:lnTo>
                <a:cubicBezTo>
                  <a:pt x="16471" y="10800"/>
                  <a:pt x="16691" y="10498"/>
                  <a:pt x="16691" y="10125"/>
                </a:cubicBezTo>
                <a:cubicBezTo>
                  <a:pt x="16691" y="9753"/>
                  <a:pt x="16471" y="9450"/>
                  <a:pt x="16200" y="9450"/>
                </a:cubicBezTo>
                <a:lnTo>
                  <a:pt x="12273" y="9450"/>
                </a:lnTo>
                <a:cubicBezTo>
                  <a:pt x="12002" y="9450"/>
                  <a:pt x="11782" y="9753"/>
                  <a:pt x="11782" y="10125"/>
                </a:cubicBezTo>
                <a:cubicBezTo>
                  <a:pt x="11782" y="10498"/>
                  <a:pt x="12002" y="10800"/>
                  <a:pt x="12273" y="10800"/>
                </a:cubicBezTo>
                <a:moveTo>
                  <a:pt x="12273" y="13500"/>
                </a:moveTo>
                <a:lnTo>
                  <a:pt x="18164" y="13500"/>
                </a:lnTo>
                <a:cubicBezTo>
                  <a:pt x="18434" y="13500"/>
                  <a:pt x="18655" y="13198"/>
                  <a:pt x="18655" y="12825"/>
                </a:cubicBezTo>
                <a:cubicBezTo>
                  <a:pt x="18655" y="12452"/>
                  <a:pt x="18434" y="12150"/>
                  <a:pt x="18164" y="12150"/>
                </a:cubicBezTo>
                <a:lnTo>
                  <a:pt x="12273" y="12150"/>
                </a:lnTo>
                <a:cubicBezTo>
                  <a:pt x="12002" y="12150"/>
                  <a:pt x="11782" y="12452"/>
                  <a:pt x="11782" y="12825"/>
                </a:cubicBezTo>
                <a:cubicBezTo>
                  <a:pt x="11782" y="13198"/>
                  <a:pt x="12002" y="13500"/>
                  <a:pt x="12273" y="13500"/>
                </a:cubicBezTo>
                <a:moveTo>
                  <a:pt x="12273" y="8100"/>
                </a:moveTo>
                <a:lnTo>
                  <a:pt x="18164" y="8100"/>
                </a:lnTo>
                <a:cubicBezTo>
                  <a:pt x="18434" y="8100"/>
                  <a:pt x="18655" y="7798"/>
                  <a:pt x="18655" y="7425"/>
                </a:cubicBezTo>
                <a:cubicBezTo>
                  <a:pt x="18655" y="7053"/>
                  <a:pt x="18434" y="6750"/>
                  <a:pt x="18164" y="6750"/>
                </a:cubicBezTo>
                <a:lnTo>
                  <a:pt x="12273" y="6750"/>
                </a:lnTo>
                <a:cubicBezTo>
                  <a:pt x="12002" y="6750"/>
                  <a:pt x="11782" y="7053"/>
                  <a:pt x="11782" y="7425"/>
                </a:cubicBezTo>
                <a:cubicBezTo>
                  <a:pt x="11782" y="7798"/>
                  <a:pt x="12002" y="8100"/>
                  <a:pt x="12273" y="81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7" name="Shape 2597"/>
          <p:cNvSpPr/>
          <p:nvPr/>
        </p:nvSpPr>
        <p:spPr>
          <a:xfrm>
            <a:off x="14632989" y="5213320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9600"/>
                </a:moveTo>
                <a:lnTo>
                  <a:pt x="11291" y="9600"/>
                </a:lnTo>
                <a:cubicBezTo>
                  <a:pt x="11562" y="9600"/>
                  <a:pt x="11782" y="9332"/>
                  <a:pt x="11782" y="9000"/>
                </a:cubicBezTo>
                <a:cubicBezTo>
                  <a:pt x="11782" y="8669"/>
                  <a:pt x="11562" y="8400"/>
                  <a:pt x="11291" y="8400"/>
                </a:cubicBezTo>
                <a:lnTo>
                  <a:pt x="7364" y="8400"/>
                </a:lnTo>
                <a:cubicBezTo>
                  <a:pt x="7093" y="8400"/>
                  <a:pt x="6873" y="8669"/>
                  <a:pt x="6873" y="9000"/>
                </a:cubicBezTo>
                <a:cubicBezTo>
                  <a:pt x="6873" y="9332"/>
                  <a:pt x="7093" y="9600"/>
                  <a:pt x="7364" y="9600"/>
                </a:cubicBezTo>
                <a:moveTo>
                  <a:pt x="7364" y="12000"/>
                </a:moveTo>
                <a:lnTo>
                  <a:pt x="9327" y="12000"/>
                </a:lnTo>
                <a:cubicBezTo>
                  <a:pt x="9598" y="12000"/>
                  <a:pt x="9818" y="11732"/>
                  <a:pt x="9818" y="11400"/>
                </a:cubicBezTo>
                <a:cubicBezTo>
                  <a:pt x="9818" y="11069"/>
                  <a:pt x="9598" y="10800"/>
                  <a:pt x="9327" y="10800"/>
                </a:cubicBezTo>
                <a:lnTo>
                  <a:pt x="7364" y="10800"/>
                </a:lnTo>
                <a:cubicBezTo>
                  <a:pt x="7093" y="10800"/>
                  <a:pt x="6873" y="11069"/>
                  <a:pt x="6873" y="11400"/>
                </a:cubicBezTo>
                <a:cubicBezTo>
                  <a:pt x="6873" y="11732"/>
                  <a:pt x="7093" y="12000"/>
                  <a:pt x="7364" y="12000"/>
                </a:cubicBezTo>
                <a:moveTo>
                  <a:pt x="20618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182" y="19200"/>
                </a:lnTo>
                <a:cubicBezTo>
                  <a:pt x="17453" y="19200"/>
                  <a:pt x="17673" y="18932"/>
                  <a:pt x="17673" y="18600"/>
                </a:cubicBezTo>
                <a:cubicBezTo>
                  <a:pt x="17673" y="18269"/>
                  <a:pt x="17453" y="18000"/>
                  <a:pt x="17182" y="18000"/>
                </a:cubicBezTo>
                <a:lnTo>
                  <a:pt x="15218" y="18000"/>
                </a:lnTo>
                <a:cubicBezTo>
                  <a:pt x="14947" y="18000"/>
                  <a:pt x="14727" y="18269"/>
                  <a:pt x="14727" y="18600"/>
                </a:cubicBezTo>
                <a:cubicBezTo>
                  <a:pt x="14727" y="18932"/>
                  <a:pt x="14947" y="19200"/>
                  <a:pt x="15218" y="19200"/>
                </a:cubicBezTo>
                <a:lnTo>
                  <a:pt x="15709" y="19200"/>
                </a:lnTo>
                <a:lnTo>
                  <a:pt x="15709" y="20400"/>
                </a:lnTo>
                <a:lnTo>
                  <a:pt x="9818" y="20400"/>
                </a:lnTo>
                <a:lnTo>
                  <a:pt x="9818" y="19200"/>
                </a:lnTo>
                <a:lnTo>
                  <a:pt x="10309" y="19200"/>
                </a:lnTo>
                <a:cubicBezTo>
                  <a:pt x="10580" y="19200"/>
                  <a:pt x="10800" y="18932"/>
                  <a:pt x="10800" y="18600"/>
                </a:cubicBezTo>
                <a:cubicBezTo>
                  <a:pt x="10800" y="18269"/>
                  <a:pt x="10580" y="18000"/>
                  <a:pt x="10309" y="18000"/>
                </a:cubicBezTo>
                <a:lnTo>
                  <a:pt x="8345" y="18000"/>
                </a:lnTo>
                <a:cubicBezTo>
                  <a:pt x="8075" y="18000"/>
                  <a:pt x="7855" y="18269"/>
                  <a:pt x="7855" y="18600"/>
                </a:cubicBezTo>
                <a:cubicBezTo>
                  <a:pt x="7855" y="18932"/>
                  <a:pt x="8075" y="19200"/>
                  <a:pt x="8345" y="19200"/>
                </a:cubicBezTo>
                <a:lnTo>
                  <a:pt x="8836" y="19200"/>
                </a:lnTo>
                <a:lnTo>
                  <a:pt x="8836" y="20400"/>
                </a:ln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7364" y="14400"/>
                </a:moveTo>
                <a:lnTo>
                  <a:pt x="11291" y="14400"/>
                </a:lnTo>
                <a:cubicBezTo>
                  <a:pt x="11562" y="14400"/>
                  <a:pt x="11782" y="14132"/>
                  <a:pt x="11782" y="13800"/>
                </a:cubicBezTo>
                <a:cubicBezTo>
                  <a:pt x="11782" y="13469"/>
                  <a:pt x="11562" y="13200"/>
                  <a:pt x="11291" y="13200"/>
                </a:cubicBezTo>
                <a:lnTo>
                  <a:pt x="7364" y="13200"/>
                </a:lnTo>
                <a:cubicBezTo>
                  <a:pt x="7093" y="13200"/>
                  <a:pt x="6873" y="13469"/>
                  <a:pt x="6873" y="13800"/>
                </a:cubicBezTo>
                <a:cubicBezTo>
                  <a:pt x="6873" y="14132"/>
                  <a:pt x="7093" y="14400"/>
                  <a:pt x="7364" y="14400"/>
                </a:cubicBezTo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1"/>
                  <a:pt x="982" y="16801"/>
                </a:cubicBezTo>
                <a:lnTo>
                  <a:pt x="2455" y="16801"/>
                </a:lnTo>
                <a:cubicBezTo>
                  <a:pt x="2725" y="16801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14236" y="14400"/>
                </a:moveTo>
                <a:lnTo>
                  <a:pt x="16200" y="14400"/>
                </a:lnTo>
                <a:cubicBezTo>
                  <a:pt x="16471" y="14400"/>
                  <a:pt x="16691" y="14132"/>
                  <a:pt x="16691" y="13800"/>
                </a:cubicBezTo>
                <a:cubicBezTo>
                  <a:pt x="16691" y="13469"/>
                  <a:pt x="16471" y="13200"/>
                  <a:pt x="16200" y="13200"/>
                </a:cubicBezTo>
                <a:lnTo>
                  <a:pt x="14236" y="13200"/>
                </a:lnTo>
                <a:cubicBezTo>
                  <a:pt x="13966" y="13200"/>
                  <a:pt x="13745" y="13469"/>
                  <a:pt x="13745" y="13800"/>
                </a:cubicBezTo>
                <a:cubicBezTo>
                  <a:pt x="13745" y="14132"/>
                  <a:pt x="13966" y="14400"/>
                  <a:pt x="14236" y="14400"/>
                </a:cubicBezTo>
                <a:moveTo>
                  <a:pt x="14236" y="9600"/>
                </a:move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cubicBezTo>
                  <a:pt x="16691" y="8669"/>
                  <a:pt x="16471" y="8400"/>
                  <a:pt x="16200" y="8400"/>
                </a:cubicBezTo>
                <a:lnTo>
                  <a:pt x="14236" y="8400"/>
                </a:lnTo>
                <a:cubicBezTo>
                  <a:pt x="13966" y="8400"/>
                  <a:pt x="13745" y="8669"/>
                  <a:pt x="13745" y="9000"/>
                </a:cubicBezTo>
                <a:cubicBezTo>
                  <a:pt x="13745" y="9332"/>
                  <a:pt x="13966" y="9600"/>
                  <a:pt x="14236" y="9600"/>
                </a:cubicBezTo>
                <a:moveTo>
                  <a:pt x="14236" y="12000"/>
                </a:moveTo>
                <a:lnTo>
                  <a:pt x="18164" y="12000"/>
                </a:lnTo>
                <a:cubicBezTo>
                  <a:pt x="18434" y="12000"/>
                  <a:pt x="18655" y="11732"/>
                  <a:pt x="18655" y="11400"/>
                </a:cubicBezTo>
                <a:cubicBezTo>
                  <a:pt x="18655" y="11069"/>
                  <a:pt x="18434" y="10800"/>
                  <a:pt x="18164" y="10800"/>
                </a:cubicBezTo>
                <a:lnTo>
                  <a:pt x="14236" y="10800"/>
                </a:lnTo>
                <a:cubicBezTo>
                  <a:pt x="13966" y="10800"/>
                  <a:pt x="13745" y="11069"/>
                  <a:pt x="13745" y="11400"/>
                </a:cubicBezTo>
                <a:cubicBezTo>
                  <a:pt x="13745" y="11732"/>
                  <a:pt x="13966" y="12000"/>
                  <a:pt x="14236" y="120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8" name="Shape 2598"/>
          <p:cNvSpPr/>
          <p:nvPr/>
        </p:nvSpPr>
        <p:spPr>
          <a:xfrm>
            <a:off x="15699511" y="5213320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873" y="8400"/>
                </a:moveTo>
                <a:lnTo>
                  <a:pt x="10800" y="8400"/>
                </a:lnTo>
                <a:lnTo>
                  <a:pt x="10800" y="12001"/>
                </a:lnTo>
                <a:lnTo>
                  <a:pt x="6873" y="12001"/>
                </a:lnTo>
                <a:cubicBezTo>
                  <a:pt x="6873" y="12001"/>
                  <a:pt x="6873" y="8400"/>
                  <a:pt x="6873" y="8400"/>
                </a:cubicBezTo>
                <a:close/>
                <a:moveTo>
                  <a:pt x="6382" y="13200"/>
                </a:moveTo>
                <a:lnTo>
                  <a:pt x="11291" y="13200"/>
                </a:lnTo>
                <a:cubicBezTo>
                  <a:pt x="11562" y="13200"/>
                  <a:pt x="11782" y="12932"/>
                  <a:pt x="11782" y="12600"/>
                </a:cubicBezTo>
                <a:lnTo>
                  <a:pt x="11782" y="7800"/>
                </a:lnTo>
                <a:cubicBezTo>
                  <a:pt x="11782" y="7469"/>
                  <a:pt x="11562" y="7200"/>
                  <a:pt x="11291" y="7200"/>
                </a:cubicBezTo>
                <a:lnTo>
                  <a:pt x="6382" y="7200"/>
                </a:lnTo>
                <a:cubicBezTo>
                  <a:pt x="6111" y="7200"/>
                  <a:pt x="5891" y="7469"/>
                  <a:pt x="5891" y="7800"/>
                </a:cubicBezTo>
                <a:lnTo>
                  <a:pt x="5891" y="12600"/>
                </a:lnTo>
                <a:cubicBezTo>
                  <a:pt x="5891" y="12932"/>
                  <a:pt x="6111" y="13200"/>
                  <a:pt x="6382" y="13200"/>
                </a:cubicBezTo>
                <a:moveTo>
                  <a:pt x="6382" y="4800"/>
                </a:moveTo>
                <a:cubicBezTo>
                  <a:pt x="6653" y="4800"/>
                  <a:pt x="6873" y="4531"/>
                  <a:pt x="6873" y="4200"/>
                </a:cubicBezTo>
                <a:cubicBezTo>
                  <a:pt x="6873" y="3868"/>
                  <a:pt x="6653" y="3600"/>
                  <a:pt x="6382" y="3600"/>
                </a:cubicBezTo>
                <a:cubicBezTo>
                  <a:pt x="6111" y="3600"/>
                  <a:pt x="5891" y="3868"/>
                  <a:pt x="5891" y="4200"/>
                </a:cubicBezTo>
                <a:cubicBezTo>
                  <a:pt x="5891" y="4531"/>
                  <a:pt x="6111" y="4800"/>
                  <a:pt x="6382" y="4800"/>
                </a:cubicBezTo>
                <a:moveTo>
                  <a:pt x="20618" y="20400"/>
                </a:moveTo>
                <a:lnTo>
                  <a:pt x="2945" y="20400"/>
                </a:lnTo>
                <a:cubicBezTo>
                  <a:pt x="1861" y="20400"/>
                  <a:pt x="982" y="19325"/>
                  <a:pt x="982" y="18000"/>
                </a:cubicBezTo>
                <a:lnTo>
                  <a:pt x="982" y="4800"/>
                </a:lnTo>
                <a:lnTo>
                  <a:pt x="2945" y="4800"/>
                </a:lnTo>
                <a:lnTo>
                  <a:pt x="2945" y="17400"/>
                </a:lnTo>
                <a:cubicBezTo>
                  <a:pt x="2945" y="17732"/>
                  <a:pt x="3166" y="18000"/>
                  <a:pt x="3436" y="18000"/>
                </a:cubicBezTo>
                <a:cubicBezTo>
                  <a:pt x="3707" y="18000"/>
                  <a:pt x="3927" y="17732"/>
                  <a:pt x="3927" y="17400"/>
                </a:cubicBezTo>
                <a:lnTo>
                  <a:pt x="3927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600"/>
                </a:lnTo>
                <a:lnTo>
                  <a:pt x="982" y="3600"/>
                </a:lnTo>
                <a:cubicBezTo>
                  <a:pt x="440" y="3600"/>
                  <a:pt x="0" y="4138"/>
                  <a:pt x="0" y="4800"/>
                </a:cubicBezTo>
                <a:lnTo>
                  <a:pt x="0" y="18000"/>
                </a:lnTo>
                <a:cubicBezTo>
                  <a:pt x="0" y="19988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6382" y="18000"/>
                </a:moveTo>
                <a:lnTo>
                  <a:pt x="18164" y="18000"/>
                </a:lnTo>
                <a:cubicBezTo>
                  <a:pt x="18434" y="18000"/>
                  <a:pt x="18655" y="17732"/>
                  <a:pt x="18655" y="17400"/>
                </a:cubicBezTo>
                <a:cubicBezTo>
                  <a:pt x="18655" y="17068"/>
                  <a:pt x="18434" y="16801"/>
                  <a:pt x="18164" y="16801"/>
                </a:cubicBezTo>
                <a:lnTo>
                  <a:pt x="6382" y="16801"/>
                </a:lnTo>
                <a:cubicBezTo>
                  <a:pt x="6111" y="16801"/>
                  <a:pt x="5891" y="17068"/>
                  <a:pt x="5891" y="17400"/>
                </a:cubicBezTo>
                <a:cubicBezTo>
                  <a:pt x="5891" y="17732"/>
                  <a:pt x="6111" y="18000"/>
                  <a:pt x="6382" y="18000"/>
                </a:cubicBezTo>
                <a:moveTo>
                  <a:pt x="6382" y="15600"/>
                </a:moveTo>
                <a:lnTo>
                  <a:pt x="18164" y="15600"/>
                </a:lnTo>
                <a:cubicBezTo>
                  <a:pt x="18434" y="15600"/>
                  <a:pt x="18655" y="15332"/>
                  <a:pt x="18655" y="15000"/>
                </a:cubicBezTo>
                <a:cubicBezTo>
                  <a:pt x="18655" y="14668"/>
                  <a:pt x="18434" y="14401"/>
                  <a:pt x="18164" y="14401"/>
                </a:cubicBezTo>
                <a:lnTo>
                  <a:pt x="6382" y="14401"/>
                </a:lnTo>
                <a:cubicBezTo>
                  <a:pt x="6111" y="14401"/>
                  <a:pt x="5891" y="14668"/>
                  <a:pt x="5891" y="15000"/>
                </a:cubicBezTo>
                <a:cubicBezTo>
                  <a:pt x="5891" y="15332"/>
                  <a:pt x="6111" y="15600"/>
                  <a:pt x="6382" y="15600"/>
                </a:cubicBezTo>
                <a:moveTo>
                  <a:pt x="8345" y="4800"/>
                </a:moveTo>
                <a:cubicBezTo>
                  <a:pt x="8616" y="4800"/>
                  <a:pt x="8836" y="4531"/>
                  <a:pt x="8836" y="4200"/>
                </a:cubicBezTo>
                <a:cubicBezTo>
                  <a:pt x="8836" y="3868"/>
                  <a:pt x="8616" y="3600"/>
                  <a:pt x="8345" y="3600"/>
                </a:cubicBezTo>
                <a:cubicBezTo>
                  <a:pt x="8075" y="3600"/>
                  <a:pt x="7855" y="3868"/>
                  <a:pt x="7855" y="4200"/>
                </a:cubicBezTo>
                <a:cubicBezTo>
                  <a:pt x="7855" y="4531"/>
                  <a:pt x="8075" y="4800"/>
                  <a:pt x="8345" y="4800"/>
                </a:cubicBezTo>
                <a:moveTo>
                  <a:pt x="18164" y="7200"/>
                </a:moveTo>
                <a:lnTo>
                  <a:pt x="14236" y="7200"/>
                </a:lnTo>
                <a:cubicBezTo>
                  <a:pt x="13966" y="7200"/>
                  <a:pt x="13745" y="7469"/>
                  <a:pt x="13745" y="7800"/>
                </a:cubicBezTo>
                <a:cubicBezTo>
                  <a:pt x="13745" y="8132"/>
                  <a:pt x="13966" y="8400"/>
                  <a:pt x="14236" y="8400"/>
                </a:cubicBezTo>
                <a:lnTo>
                  <a:pt x="18164" y="8400"/>
                </a:lnTo>
                <a:cubicBezTo>
                  <a:pt x="18434" y="8400"/>
                  <a:pt x="18655" y="8132"/>
                  <a:pt x="18655" y="7800"/>
                </a:cubicBezTo>
                <a:cubicBezTo>
                  <a:pt x="18655" y="7469"/>
                  <a:pt x="18434" y="7200"/>
                  <a:pt x="18164" y="7200"/>
                </a:cubicBezTo>
                <a:moveTo>
                  <a:pt x="18164" y="12001"/>
                </a:moveTo>
                <a:lnTo>
                  <a:pt x="14236" y="12001"/>
                </a:lnTo>
                <a:cubicBezTo>
                  <a:pt x="13966" y="12001"/>
                  <a:pt x="13745" y="12268"/>
                  <a:pt x="13745" y="12600"/>
                </a:cubicBezTo>
                <a:cubicBezTo>
                  <a:pt x="13745" y="12932"/>
                  <a:pt x="13966" y="13200"/>
                  <a:pt x="14236" y="13200"/>
                </a:cubicBezTo>
                <a:lnTo>
                  <a:pt x="18164" y="13200"/>
                </a:lnTo>
                <a:cubicBezTo>
                  <a:pt x="18434" y="13200"/>
                  <a:pt x="18655" y="12932"/>
                  <a:pt x="18655" y="12600"/>
                </a:cubicBezTo>
                <a:cubicBezTo>
                  <a:pt x="18655" y="12268"/>
                  <a:pt x="18434" y="12001"/>
                  <a:pt x="18164" y="12001"/>
                </a:cubicBezTo>
                <a:moveTo>
                  <a:pt x="18164" y="9600"/>
                </a:moveTo>
                <a:lnTo>
                  <a:pt x="14236" y="9600"/>
                </a:lnTo>
                <a:cubicBezTo>
                  <a:pt x="13966" y="9600"/>
                  <a:pt x="13745" y="9869"/>
                  <a:pt x="13745" y="10200"/>
                </a:cubicBezTo>
                <a:cubicBezTo>
                  <a:pt x="13745" y="10532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32"/>
                  <a:pt x="18655" y="10200"/>
                </a:cubicBezTo>
                <a:cubicBezTo>
                  <a:pt x="18655" y="9869"/>
                  <a:pt x="18434" y="9600"/>
                  <a:pt x="18164" y="9600"/>
                </a:cubicBezTo>
                <a:moveTo>
                  <a:pt x="18164" y="4800"/>
                </a:moveTo>
                <a:cubicBezTo>
                  <a:pt x="18434" y="4800"/>
                  <a:pt x="18655" y="4531"/>
                  <a:pt x="18655" y="4200"/>
                </a:cubicBezTo>
                <a:cubicBezTo>
                  <a:pt x="18655" y="3868"/>
                  <a:pt x="18434" y="3600"/>
                  <a:pt x="18164" y="3600"/>
                </a:cubicBezTo>
                <a:cubicBezTo>
                  <a:pt x="17893" y="3600"/>
                  <a:pt x="17673" y="3868"/>
                  <a:pt x="17673" y="4200"/>
                </a:cubicBezTo>
                <a:cubicBezTo>
                  <a:pt x="17673" y="4531"/>
                  <a:pt x="17893" y="4800"/>
                  <a:pt x="18164" y="4800"/>
                </a:cubicBezTo>
                <a:moveTo>
                  <a:pt x="16200" y="4800"/>
                </a:moveTo>
                <a:cubicBezTo>
                  <a:pt x="16471" y="4800"/>
                  <a:pt x="16691" y="4531"/>
                  <a:pt x="16691" y="4200"/>
                </a:cubicBezTo>
                <a:cubicBezTo>
                  <a:pt x="16691" y="3868"/>
                  <a:pt x="16471" y="3600"/>
                  <a:pt x="16200" y="3600"/>
                </a:cubicBezTo>
                <a:cubicBezTo>
                  <a:pt x="15929" y="3600"/>
                  <a:pt x="15709" y="3868"/>
                  <a:pt x="15709" y="4200"/>
                </a:cubicBezTo>
                <a:cubicBezTo>
                  <a:pt x="15709" y="4531"/>
                  <a:pt x="15929" y="4800"/>
                  <a:pt x="16200" y="4800"/>
                </a:cubicBezTo>
                <a:moveTo>
                  <a:pt x="10309" y="4800"/>
                </a:moveTo>
                <a:lnTo>
                  <a:pt x="14236" y="4800"/>
                </a:lnTo>
                <a:cubicBezTo>
                  <a:pt x="14507" y="4800"/>
                  <a:pt x="14727" y="4531"/>
                  <a:pt x="14727" y="4200"/>
                </a:cubicBezTo>
                <a:cubicBezTo>
                  <a:pt x="14727" y="3868"/>
                  <a:pt x="14507" y="3600"/>
                  <a:pt x="14236" y="3600"/>
                </a:cubicBezTo>
                <a:lnTo>
                  <a:pt x="10309" y="3600"/>
                </a:lnTo>
                <a:cubicBezTo>
                  <a:pt x="10038" y="3600"/>
                  <a:pt x="9818" y="3868"/>
                  <a:pt x="9818" y="4200"/>
                </a:cubicBezTo>
                <a:cubicBezTo>
                  <a:pt x="9818" y="4531"/>
                  <a:pt x="10038" y="4800"/>
                  <a:pt x="10309" y="4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599" name="Shape 2599"/>
          <p:cNvSpPr/>
          <p:nvPr/>
        </p:nvSpPr>
        <p:spPr>
          <a:xfrm>
            <a:off x="16766033" y="516253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7855"/>
                </a:moveTo>
                <a:cubicBezTo>
                  <a:pt x="6653" y="7855"/>
                  <a:pt x="6873" y="7635"/>
                  <a:pt x="6873" y="7364"/>
                </a:cubicBezTo>
                <a:cubicBezTo>
                  <a:pt x="6873" y="7092"/>
                  <a:pt x="6653" y="6873"/>
                  <a:pt x="6382" y="6873"/>
                </a:cubicBezTo>
                <a:cubicBezTo>
                  <a:pt x="6111" y="6873"/>
                  <a:pt x="5891" y="7092"/>
                  <a:pt x="5891" y="7364"/>
                </a:cubicBezTo>
                <a:cubicBezTo>
                  <a:pt x="5891" y="7635"/>
                  <a:pt x="6111" y="7855"/>
                  <a:pt x="6382" y="7855"/>
                </a:cubicBezTo>
                <a:moveTo>
                  <a:pt x="6873" y="10800"/>
                </a:moveTo>
                <a:lnTo>
                  <a:pt x="10800" y="10800"/>
                </a:lnTo>
                <a:lnTo>
                  <a:pt x="10800" y="13746"/>
                </a:lnTo>
                <a:lnTo>
                  <a:pt x="6873" y="13746"/>
                </a:lnTo>
                <a:cubicBezTo>
                  <a:pt x="6873" y="13746"/>
                  <a:pt x="6873" y="10800"/>
                  <a:pt x="6873" y="10800"/>
                </a:cubicBezTo>
                <a:close/>
                <a:moveTo>
                  <a:pt x="6382" y="14727"/>
                </a:moveTo>
                <a:lnTo>
                  <a:pt x="11291" y="14727"/>
                </a:lnTo>
                <a:cubicBezTo>
                  <a:pt x="11562" y="14727"/>
                  <a:pt x="11782" y="14508"/>
                  <a:pt x="11782" y="14236"/>
                </a:cubicBezTo>
                <a:lnTo>
                  <a:pt x="11782" y="10309"/>
                </a:lnTo>
                <a:cubicBezTo>
                  <a:pt x="11782" y="10038"/>
                  <a:pt x="11562" y="9818"/>
                  <a:pt x="11291" y="9818"/>
                </a:cubicBezTo>
                <a:lnTo>
                  <a:pt x="6382" y="9818"/>
                </a:lnTo>
                <a:cubicBezTo>
                  <a:pt x="6111" y="9818"/>
                  <a:pt x="5891" y="10038"/>
                  <a:pt x="5891" y="10309"/>
                </a:cubicBezTo>
                <a:lnTo>
                  <a:pt x="5891" y="14236"/>
                </a:lnTo>
                <a:cubicBezTo>
                  <a:pt x="5891" y="14508"/>
                  <a:pt x="6111" y="14727"/>
                  <a:pt x="6382" y="14727"/>
                </a:cubicBezTo>
                <a:moveTo>
                  <a:pt x="8345" y="7855"/>
                </a:moveTo>
                <a:cubicBezTo>
                  <a:pt x="8616" y="7855"/>
                  <a:pt x="8836" y="7635"/>
                  <a:pt x="8836" y="7364"/>
                </a:cubicBezTo>
                <a:cubicBezTo>
                  <a:pt x="8836" y="7092"/>
                  <a:pt x="8616" y="6873"/>
                  <a:pt x="8345" y="6873"/>
                </a:cubicBezTo>
                <a:cubicBezTo>
                  <a:pt x="8075" y="6873"/>
                  <a:pt x="7855" y="7092"/>
                  <a:pt x="7855" y="7364"/>
                </a:cubicBezTo>
                <a:cubicBezTo>
                  <a:pt x="7855" y="7635"/>
                  <a:pt x="8075" y="7855"/>
                  <a:pt x="8345" y="7855"/>
                </a:cubicBezTo>
                <a:moveTo>
                  <a:pt x="20618" y="20618"/>
                </a:move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7855"/>
                </a:lnTo>
                <a:lnTo>
                  <a:pt x="2945" y="7855"/>
                </a:lnTo>
                <a:lnTo>
                  <a:pt x="2945" y="18164"/>
                </a:lnTo>
                <a:cubicBezTo>
                  <a:pt x="2945" y="18435"/>
                  <a:pt x="3166" y="18655"/>
                  <a:pt x="3436" y="18655"/>
                </a:cubicBezTo>
                <a:cubicBezTo>
                  <a:pt x="3707" y="18655"/>
                  <a:pt x="3927" y="18435"/>
                  <a:pt x="3927" y="18164"/>
                </a:cubicBezTo>
                <a:lnTo>
                  <a:pt x="3927" y="4909"/>
                </a:lnTo>
                <a:lnTo>
                  <a:pt x="20618" y="4909"/>
                </a:lnTo>
                <a:cubicBezTo>
                  <a:pt x="20618" y="4909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3927" y="3927"/>
                </a:lnTo>
                <a:cubicBezTo>
                  <a:pt x="3385" y="3927"/>
                  <a:pt x="2945" y="4367"/>
                  <a:pt x="2945" y="4909"/>
                </a:cubicBezTo>
                <a:lnTo>
                  <a:pt x="2945" y="6873"/>
                </a:lnTo>
                <a:lnTo>
                  <a:pt x="982" y="6873"/>
                </a:lnTo>
                <a:cubicBezTo>
                  <a:pt x="440" y="6873"/>
                  <a:pt x="0" y="7313"/>
                  <a:pt x="0" y="7855"/>
                </a:cubicBezTo>
                <a:lnTo>
                  <a:pt x="0" y="18655"/>
                </a:lnTo>
                <a:cubicBezTo>
                  <a:pt x="0" y="20282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  <a:moveTo>
                  <a:pt x="6382" y="16691"/>
                </a:moveTo>
                <a:lnTo>
                  <a:pt x="18164" y="16691"/>
                </a:lnTo>
                <a:cubicBezTo>
                  <a:pt x="18434" y="16691"/>
                  <a:pt x="18655" y="16472"/>
                  <a:pt x="18655" y="16200"/>
                </a:cubicBezTo>
                <a:cubicBezTo>
                  <a:pt x="18655" y="15929"/>
                  <a:pt x="18434" y="15710"/>
                  <a:pt x="18164" y="15710"/>
                </a:cubicBezTo>
                <a:lnTo>
                  <a:pt x="6382" y="15710"/>
                </a:lnTo>
                <a:cubicBezTo>
                  <a:pt x="6111" y="15710"/>
                  <a:pt x="5891" y="15929"/>
                  <a:pt x="5891" y="16200"/>
                </a:cubicBezTo>
                <a:cubicBezTo>
                  <a:pt x="5891" y="16472"/>
                  <a:pt x="6111" y="16691"/>
                  <a:pt x="6382" y="16691"/>
                </a:cubicBezTo>
                <a:moveTo>
                  <a:pt x="10309" y="7855"/>
                </a:moveTo>
                <a:lnTo>
                  <a:pt x="14236" y="7855"/>
                </a:lnTo>
                <a:cubicBezTo>
                  <a:pt x="14507" y="7855"/>
                  <a:pt x="14727" y="7635"/>
                  <a:pt x="14727" y="7364"/>
                </a:cubicBezTo>
                <a:cubicBezTo>
                  <a:pt x="14727" y="7092"/>
                  <a:pt x="14507" y="6873"/>
                  <a:pt x="14236" y="6873"/>
                </a:cubicBezTo>
                <a:lnTo>
                  <a:pt x="10309" y="6873"/>
                </a:lnTo>
                <a:cubicBezTo>
                  <a:pt x="10038" y="6873"/>
                  <a:pt x="9818" y="7092"/>
                  <a:pt x="9818" y="7364"/>
                </a:cubicBezTo>
                <a:cubicBezTo>
                  <a:pt x="9818" y="7635"/>
                  <a:pt x="10038" y="7855"/>
                  <a:pt x="10309" y="7855"/>
                </a:cubicBezTo>
                <a:moveTo>
                  <a:pt x="6382" y="18655"/>
                </a:moveTo>
                <a:lnTo>
                  <a:pt x="18164" y="18655"/>
                </a:lnTo>
                <a:cubicBezTo>
                  <a:pt x="18434" y="18655"/>
                  <a:pt x="18655" y="18435"/>
                  <a:pt x="18655" y="18164"/>
                </a:cubicBezTo>
                <a:cubicBezTo>
                  <a:pt x="18655" y="17893"/>
                  <a:pt x="18434" y="17673"/>
                  <a:pt x="18164" y="17673"/>
                </a:cubicBezTo>
                <a:lnTo>
                  <a:pt x="6382" y="17673"/>
                </a:lnTo>
                <a:cubicBezTo>
                  <a:pt x="6111" y="17673"/>
                  <a:pt x="5891" y="17893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moveTo>
                  <a:pt x="4909" y="2945"/>
                </a:moveTo>
                <a:lnTo>
                  <a:pt x="20127" y="2945"/>
                </a:lnTo>
                <a:cubicBezTo>
                  <a:pt x="20398" y="2945"/>
                  <a:pt x="20618" y="2726"/>
                  <a:pt x="20618" y="2455"/>
                </a:cubicBezTo>
                <a:cubicBezTo>
                  <a:pt x="20618" y="2184"/>
                  <a:pt x="20398" y="1964"/>
                  <a:pt x="20127" y="1964"/>
                </a:cubicBezTo>
                <a:lnTo>
                  <a:pt x="4909" y="1964"/>
                </a:lnTo>
                <a:cubicBezTo>
                  <a:pt x="4638" y="1964"/>
                  <a:pt x="4418" y="2184"/>
                  <a:pt x="4418" y="2455"/>
                </a:cubicBezTo>
                <a:cubicBezTo>
                  <a:pt x="4418" y="2726"/>
                  <a:pt x="4638" y="2945"/>
                  <a:pt x="4909" y="2945"/>
                </a:cubicBezTo>
                <a:moveTo>
                  <a:pt x="18164" y="11783"/>
                </a:moveTo>
                <a:lnTo>
                  <a:pt x="14236" y="11783"/>
                </a:lnTo>
                <a:cubicBezTo>
                  <a:pt x="13966" y="11783"/>
                  <a:pt x="13745" y="12001"/>
                  <a:pt x="13745" y="12273"/>
                </a:cubicBezTo>
                <a:cubicBezTo>
                  <a:pt x="13745" y="12544"/>
                  <a:pt x="13966" y="12764"/>
                  <a:pt x="14236" y="12764"/>
                </a:cubicBezTo>
                <a:lnTo>
                  <a:pt x="18164" y="12764"/>
                </a:lnTo>
                <a:cubicBezTo>
                  <a:pt x="18434" y="12764"/>
                  <a:pt x="18655" y="12544"/>
                  <a:pt x="18655" y="12273"/>
                </a:cubicBezTo>
                <a:cubicBezTo>
                  <a:pt x="18655" y="12001"/>
                  <a:pt x="18434" y="11783"/>
                  <a:pt x="18164" y="11783"/>
                </a:cubicBezTo>
                <a:moveTo>
                  <a:pt x="6382" y="982"/>
                </a:moveTo>
                <a:lnTo>
                  <a:pt x="19145" y="982"/>
                </a:lnTo>
                <a:cubicBezTo>
                  <a:pt x="19416" y="982"/>
                  <a:pt x="19636" y="762"/>
                  <a:pt x="19636" y="491"/>
                </a:cubicBezTo>
                <a:cubicBezTo>
                  <a:pt x="19636" y="220"/>
                  <a:pt x="19416" y="0"/>
                  <a:pt x="19145" y="0"/>
                </a:cubicBezTo>
                <a:lnTo>
                  <a:pt x="6382" y="0"/>
                </a:lnTo>
                <a:cubicBezTo>
                  <a:pt x="6111" y="0"/>
                  <a:pt x="5891" y="220"/>
                  <a:pt x="5891" y="491"/>
                </a:cubicBezTo>
                <a:cubicBezTo>
                  <a:pt x="5891" y="762"/>
                  <a:pt x="6111" y="982"/>
                  <a:pt x="6382" y="982"/>
                </a:cubicBezTo>
                <a:moveTo>
                  <a:pt x="18164" y="13746"/>
                </a:moveTo>
                <a:lnTo>
                  <a:pt x="14236" y="13746"/>
                </a:lnTo>
                <a:cubicBezTo>
                  <a:pt x="13966" y="13746"/>
                  <a:pt x="13745" y="13965"/>
                  <a:pt x="13745" y="14236"/>
                </a:cubicBezTo>
                <a:cubicBezTo>
                  <a:pt x="13745" y="14508"/>
                  <a:pt x="13966" y="14727"/>
                  <a:pt x="14236" y="14727"/>
                </a:cubicBezTo>
                <a:lnTo>
                  <a:pt x="18164" y="14727"/>
                </a:lnTo>
                <a:cubicBezTo>
                  <a:pt x="18434" y="14727"/>
                  <a:pt x="18655" y="14508"/>
                  <a:pt x="18655" y="14236"/>
                </a:cubicBezTo>
                <a:cubicBezTo>
                  <a:pt x="18655" y="13965"/>
                  <a:pt x="18434" y="13746"/>
                  <a:pt x="18164" y="13746"/>
                </a:cubicBezTo>
                <a:moveTo>
                  <a:pt x="16200" y="7855"/>
                </a:moveTo>
                <a:cubicBezTo>
                  <a:pt x="16471" y="7855"/>
                  <a:pt x="16691" y="7635"/>
                  <a:pt x="16691" y="7364"/>
                </a:cubicBezTo>
                <a:cubicBezTo>
                  <a:pt x="16691" y="7092"/>
                  <a:pt x="16471" y="6873"/>
                  <a:pt x="16200" y="6873"/>
                </a:cubicBezTo>
                <a:cubicBezTo>
                  <a:pt x="15929" y="6873"/>
                  <a:pt x="15709" y="7092"/>
                  <a:pt x="15709" y="7364"/>
                </a:cubicBezTo>
                <a:cubicBezTo>
                  <a:pt x="15709" y="7635"/>
                  <a:pt x="15929" y="7855"/>
                  <a:pt x="16200" y="7855"/>
                </a:cubicBezTo>
                <a:moveTo>
                  <a:pt x="18164" y="7855"/>
                </a:moveTo>
                <a:cubicBezTo>
                  <a:pt x="18434" y="7855"/>
                  <a:pt x="18655" y="7635"/>
                  <a:pt x="18655" y="7364"/>
                </a:cubicBezTo>
                <a:cubicBezTo>
                  <a:pt x="18655" y="7092"/>
                  <a:pt x="18434" y="6873"/>
                  <a:pt x="18164" y="6873"/>
                </a:cubicBezTo>
                <a:cubicBezTo>
                  <a:pt x="17893" y="6873"/>
                  <a:pt x="17673" y="7092"/>
                  <a:pt x="17673" y="7364"/>
                </a:cubicBezTo>
                <a:cubicBezTo>
                  <a:pt x="17673" y="7635"/>
                  <a:pt x="17893" y="7855"/>
                  <a:pt x="18164" y="7855"/>
                </a:cubicBezTo>
                <a:moveTo>
                  <a:pt x="18164" y="9818"/>
                </a:moveTo>
                <a:lnTo>
                  <a:pt x="14236" y="9818"/>
                </a:lnTo>
                <a:cubicBezTo>
                  <a:pt x="13966" y="9818"/>
                  <a:pt x="13745" y="10038"/>
                  <a:pt x="13745" y="10309"/>
                </a:cubicBezTo>
                <a:cubicBezTo>
                  <a:pt x="13745" y="10581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81"/>
                  <a:pt x="18655" y="10309"/>
                </a:cubicBezTo>
                <a:cubicBezTo>
                  <a:pt x="18655" y="10038"/>
                  <a:pt x="18434" y="9818"/>
                  <a:pt x="18164" y="98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0" name="Shape 2600"/>
          <p:cNvSpPr/>
          <p:nvPr/>
        </p:nvSpPr>
        <p:spPr>
          <a:xfrm>
            <a:off x="17832556" y="516253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11291" y="10309"/>
                </a:lnTo>
                <a:lnTo>
                  <a:pt x="11291" y="5401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1"/>
                </a:cubicBezTo>
                <a:lnTo>
                  <a:pt x="10309" y="10309"/>
                </a:ln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0309" y="11292"/>
                </a:lnTo>
                <a:lnTo>
                  <a:pt x="10309" y="16200"/>
                </a:lnTo>
                <a:cubicBezTo>
                  <a:pt x="10309" y="16472"/>
                  <a:pt x="10529" y="16691"/>
                  <a:pt x="10800" y="16691"/>
                </a:cubicBezTo>
                <a:cubicBezTo>
                  <a:pt x="11071" y="16691"/>
                  <a:pt x="11291" y="16472"/>
                  <a:pt x="11291" y="16200"/>
                </a:cubicBezTo>
                <a:lnTo>
                  <a:pt x="11291" y="11292"/>
                </a:ln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1" name="Shape 2601"/>
          <p:cNvSpPr/>
          <p:nvPr/>
        </p:nvSpPr>
        <p:spPr>
          <a:xfrm>
            <a:off x="18899079" y="516253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2" name="Shape 2602"/>
          <p:cNvSpPr/>
          <p:nvPr/>
        </p:nvSpPr>
        <p:spPr>
          <a:xfrm>
            <a:off x="19965600" y="5213320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6001"/>
                </a:moveTo>
                <a:lnTo>
                  <a:pt x="8345" y="6001"/>
                </a:lnTo>
                <a:cubicBezTo>
                  <a:pt x="8617" y="6001"/>
                  <a:pt x="8836" y="5732"/>
                  <a:pt x="8836" y="5400"/>
                </a:cubicBezTo>
                <a:cubicBezTo>
                  <a:pt x="8836" y="5069"/>
                  <a:pt x="8617" y="4800"/>
                  <a:pt x="8345" y="4800"/>
                </a:cubicBezTo>
                <a:lnTo>
                  <a:pt x="5400" y="4800"/>
                </a:lnTo>
                <a:cubicBezTo>
                  <a:pt x="5129" y="4800"/>
                  <a:pt x="4909" y="5069"/>
                  <a:pt x="4909" y="5400"/>
                </a:cubicBezTo>
                <a:cubicBezTo>
                  <a:pt x="4909" y="5732"/>
                  <a:pt x="5129" y="6001"/>
                  <a:pt x="5400" y="6001"/>
                </a:cubicBezTo>
                <a:moveTo>
                  <a:pt x="20618" y="20400"/>
                </a:moveTo>
                <a:lnTo>
                  <a:pt x="18655" y="20400"/>
                </a:lnTo>
                <a:lnTo>
                  <a:pt x="18655" y="18000"/>
                </a:lnTo>
                <a:cubicBezTo>
                  <a:pt x="18926" y="18000"/>
                  <a:pt x="19145" y="17732"/>
                  <a:pt x="19145" y="17400"/>
                </a:cubicBezTo>
                <a:cubicBezTo>
                  <a:pt x="19145" y="17069"/>
                  <a:pt x="18926" y="16801"/>
                  <a:pt x="18655" y="16801"/>
                </a:cubicBezTo>
                <a:lnTo>
                  <a:pt x="18655" y="3601"/>
                </a:lnTo>
                <a:lnTo>
                  <a:pt x="20618" y="3601"/>
                </a:lnTo>
                <a:cubicBezTo>
                  <a:pt x="20618" y="3601"/>
                  <a:pt x="20618" y="20400"/>
                  <a:pt x="20618" y="20400"/>
                </a:cubicBezTo>
                <a:close/>
                <a:moveTo>
                  <a:pt x="17673" y="16801"/>
                </a:moveTo>
                <a:cubicBezTo>
                  <a:pt x="17401" y="16801"/>
                  <a:pt x="17182" y="17069"/>
                  <a:pt x="17182" y="17400"/>
                </a:cubicBezTo>
                <a:cubicBezTo>
                  <a:pt x="17182" y="17732"/>
                  <a:pt x="17401" y="18000"/>
                  <a:pt x="17673" y="18000"/>
                </a:cubicBezTo>
                <a:lnTo>
                  <a:pt x="17673" y="20400"/>
                </a:lnTo>
                <a:lnTo>
                  <a:pt x="3927" y="20400"/>
                </a:lnTo>
                <a:lnTo>
                  <a:pt x="3927" y="18000"/>
                </a:lnTo>
                <a:cubicBezTo>
                  <a:pt x="4199" y="18000"/>
                  <a:pt x="4418" y="17732"/>
                  <a:pt x="4418" y="17400"/>
                </a:cubicBezTo>
                <a:cubicBezTo>
                  <a:pt x="4418" y="17069"/>
                  <a:pt x="4199" y="16801"/>
                  <a:pt x="3927" y="16801"/>
                </a:cubicBezTo>
                <a:lnTo>
                  <a:pt x="3927" y="3601"/>
                </a:lnTo>
                <a:lnTo>
                  <a:pt x="17673" y="3601"/>
                </a:lnTo>
                <a:cubicBezTo>
                  <a:pt x="17673" y="3601"/>
                  <a:pt x="17673" y="16801"/>
                  <a:pt x="17673" y="16801"/>
                </a:cubicBezTo>
                <a:close/>
                <a:moveTo>
                  <a:pt x="2945" y="16801"/>
                </a:moveTo>
                <a:cubicBezTo>
                  <a:pt x="2674" y="16801"/>
                  <a:pt x="2455" y="17069"/>
                  <a:pt x="2455" y="17400"/>
                </a:cubicBezTo>
                <a:cubicBezTo>
                  <a:pt x="2455" y="17732"/>
                  <a:pt x="2674" y="18000"/>
                  <a:pt x="2945" y="18000"/>
                </a:cubicBezTo>
                <a:lnTo>
                  <a:pt x="2945" y="20400"/>
                </a:lnTo>
                <a:lnTo>
                  <a:pt x="982" y="20400"/>
                </a:lnTo>
                <a:lnTo>
                  <a:pt x="982" y="3601"/>
                </a:lnTo>
                <a:lnTo>
                  <a:pt x="2945" y="3601"/>
                </a:lnTo>
                <a:cubicBezTo>
                  <a:pt x="2945" y="3601"/>
                  <a:pt x="2945" y="16801"/>
                  <a:pt x="2945" y="16801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39" y="2400"/>
                  <a:pt x="0" y="2938"/>
                  <a:pt x="0" y="3601"/>
                </a:cubicBezTo>
                <a:lnTo>
                  <a:pt x="0" y="20400"/>
                </a:lnTo>
                <a:cubicBezTo>
                  <a:pt x="0" y="2106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3"/>
                  <a:pt x="21600" y="204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  <a:moveTo>
                  <a:pt x="5400" y="8400"/>
                </a:moveTo>
                <a:lnTo>
                  <a:pt x="6382" y="8400"/>
                </a:lnTo>
                <a:cubicBezTo>
                  <a:pt x="6653" y="8400"/>
                  <a:pt x="6873" y="8132"/>
                  <a:pt x="6873" y="7800"/>
                </a:cubicBezTo>
                <a:cubicBezTo>
                  <a:pt x="6873" y="7469"/>
                  <a:pt x="6653" y="7200"/>
                  <a:pt x="6382" y="7200"/>
                </a:cubicBez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0"/>
                  <a:pt x="5400" y="84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3" name="Shape 2603"/>
          <p:cNvSpPr/>
          <p:nvPr/>
        </p:nvSpPr>
        <p:spPr>
          <a:xfrm>
            <a:off x="21032122" y="5187926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520"/>
                </a:moveTo>
                <a:lnTo>
                  <a:pt x="14727" y="20520"/>
                </a:lnTo>
                <a:lnTo>
                  <a:pt x="14727" y="18360"/>
                </a:lnTo>
                <a:cubicBezTo>
                  <a:pt x="14999" y="18360"/>
                  <a:pt x="15218" y="18119"/>
                  <a:pt x="15218" y="17820"/>
                </a:cubicBezTo>
                <a:cubicBezTo>
                  <a:pt x="15218" y="17522"/>
                  <a:pt x="14999" y="17280"/>
                  <a:pt x="14727" y="17280"/>
                </a:cubicBezTo>
                <a:lnTo>
                  <a:pt x="14727" y="7560"/>
                </a:lnTo>
                <a:lnTo>
                  <a:pt x="16691" y="7560"/>
                </a:lnTo>
                <a:cubicBezTo>
                  <a:pt x="16691" y="7560"/>
                  <a:pt x="16691" y="20520"/>
                  <a:pt x="16691" y="20520"/>
                </a:cubicBezTo>
                <a:close/>
                <a:moveTo>
                  <a:pt x="13745" y="17280"/>
                </a:moveTo>
                <a:cubicBezTo>
                  <a:pt x="13474" y="17280"/>
                  <a:pt x="13255" y="17522"/>
                  <a:pt x="13255" y="17820"/>
                </a:cubicBezTo>
                <a:cubicBezTo>
                  <a:pt x="13255" y="18119"/>
                  <a:pt x="13474" y="18360"/>
                  <a:pt x="13745" y="18360"/>
                </a:cubicBezTo>
                <a:lnTo>
                  <a:pt x="13745" y="20520"/>
                </a:lnTo>
                <a:lnTo>
                  <a:pt x="3927" y="20520"/>
                </a:lnTo>
                <a:lnTo>
                  <a:pt x="3927" y="18360"/>
                </a:lnTo>
                <a:cubicBezTo>
                  <a:pt x="4199" y="18360"/>
                  <a:pt x="4418" y="18119"/>
                  <a:pt x="4418" y="17820"/>
                </a:cubicBezTo>
                <a:cubicBezTo>
                  <a:pt x="4418" y="17522"/>
                  <a:pt x="4199" y="17280"/>
                  <a:pt x="3927" y="17280"/>
                </a:cubicBezTo>
                <a:lnTo>
                  <a:pt x="3927" y="7560"/>
                </a:lnTo>
                <a:lnTo>
                  <a:pt x="13745" y="7560"/>
                </a:lnTo>
                <a:cubicBezTo>
                  <a:pt x="13745" y="7560"/>
                  <a:pt x="13745" y="17280"/>
                  <a:pt x="13745" y="17280"/>
                </a:cubicBezTo>
                <a:close/>
                <a:moveTo>
                  <a:pt x="2945" y="17280"/>
                </a:moveTo>
                <a:cubicBezTo>
                  <a:pt x="2674" y="17280"/>
                  <a:pt x="2455" y="17522"/>
                  <a:pt x="2455" y="17820"/>
                </a:cubicBezTo>
                <a:cubicBezTo>
                  <a:pt x="2455" y="18119"/>
                  <a:pt x="2674" y="18360"/>
                  <a:pt x="2945" y="18360"/>
                </a:cubicBezTo>
                <a:lnTo>
                  <a:pt x="2945" y="20520"/>
                </a:lnTo>
                <a:lnTo>
                  <a:pt x="982" y="20520"/>
                </a:lnTo>
                <a:lnTo>
                  <a:pt x="982" y="7560"/>
                </a:lnTo>
                <a:lnTo>
                  <a:pt x="2945" y="7560"/>
                </a:lnTo>
                <a:cubicBezTo>
                  <a:pt x="2945" y="7560"/>
                  <a:pt x="2945" y="17280"/>
                  <a:pt x="2945" y="17280"/>
                </a:cubicBezTo>
                <a:close/>
                <a:moveTo>
                  <a:pt x="7855" y="5400"/>
                </a:moveTo>
                <a:lnTo>
                  <a:pt x="9818" y="5400"/>
                </a:lnTo>
                <a:cubicBezTo>
                  <a:pt x="10360" y="5400"/>
                  <a:pt x="10800" y="5884"/>
                  <a:pt x="10800" y="6481"/>
                </a:cubicBezTo>
                <a:lnTo>
                  <a:pt x="6873" y="6481"/>
                </a:lnTo>
                <a:cubicBezTo>
                  <a:pt x="6873" y="5884"/>
                  <a:pt x="7313" y="5400"/>
                  <a:pt x="7855" y="5400"/>
                </a:cubicBezTo>
                <a:moveTo>
                  <a:pt x="16691" y="6481"/>
                </a:moveTo>
                <a:lnTo>
                  <a:pt x="11782" y="6481"/>
                </a:lnTo>
                <a:cubicBezTo>
                  <a:pt x="11782" y="5287"/>
                  <a:pt x="10903" y="4321"/>
                  <a:pt x="9818" y="4321"/>
                </a:cubicBezTo>
                <a:lnTo>
                  <a:pt x="7855" y="4321"/>
                </a:lnTo>
                <a:cubicBezTo>
                  <a:pt x="6770" y="4321"/>
                  <a:pt x="5891" y="5287"/>
                  <a:pt x="5891" y="6481"/>
                </a:cubicBezTo>
                <a:lnTo>
                  <a:pt x="982" y="6481"/>
                </a:lnTo>
                <a:cubicBezTo>
                  <a:pt x="440" y="6481"/>
                  <a:pt x="0" y="6964"/>
                  <a:pt x="0" y="7560"/>
                </a:cubicBezTo>
                <a:lnTo>
                  <a:pt x="0" y="20520"/>
                </a:lnTo>
                <a:cubicBezTo>
                  <a:pt x="0" y="21116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116"/>
                  <a:pt x="17673" y="20520"/>
                </a:cubicBezTo>
                <a:lnTo>
                  <a:pt x="17673" y="7560"/>
                </a:lnTo>
                <a:cubicBezTo>
                  <a:pt x="17673" y="6964"/>
                  <a:pt x="17233" y="6481"/>
                  <a:pt x="16691" y="6481"/>
                </a:cubicBezTo>
                <a:moveTo>
                  <a:pt x="10800" y="2161"/>
                </a:moveTo>
                <a:cubicBezTo>
                  <a:pt x="10800" y="1564"/>
                  <a:pt x="11240" y="1080"/>
                  <a:pt x="11782" y="1080"/>
                </a:cubicBezTo>
                <a:lnTo>
                  <a:pt x="13745" y="1080"/>
                </a:lnTo>
                <a:cubicBezTo>
                  <a:pt x="14287" y="1080"/>
                  <a:pt x="14727" y="1564"/>
                  <a:pt x="14727" y="2161"/>
                </a:cubicBezTo>
                <a:cubicBezTo>
                  <a:pt x="14727" y="2161"/>
                  <a:pt x="10800" y="2161"/>
                  <a:pt x="10800" y="2161"/>
                </a:cubicBezTo>
                <a:close/>
                <a:moveTo>
                  <a:pt x="20618" y="2161"/>
                </a:moveTo>
                <a:lnTo>
                  <a:pt x="15709" y="2161"/>
                </a:lnTo>
                <a:cubicBezTo>
                  <a:pt x="15709" y="967"/>
                  <a:pt x="14830" y="0"/>
                  <a:pt x="13745" y="0"/>
                </a:cubicBezTo>
                <a:lnTo>
                  <a:pt x="11782" y="0"/>
                </a:lnTo>
                <a:cubicBezTo>
                  <a:pt x="10697" y="0"/>
                  <a:pt x="9818" y="967"/>
                  <a:pt x="9818" y="2161"/>
                </a:cubicBezTo>
                <a:lnTo>
                  <a:pt x="4909" y="2161"/>
                </a:lnTo>
                <a:cubicBezTo>
                  <a:pt x="4367" y="2161"/>
                  <a:pt x="3927" y="2644"/>
                  <a:pt x="3927" y="3240"/>
                </a:cubicBezTo>
                <a:lnTo>
                  <a:pt x="3927" y="4860"/>
                </a:lnTo>
                <a:cubicBezTo>
                  <a:pt x="3927" y="5159"/>
                  <a:pt x="4147" y="5400"/>
                  <a:pt x="4418" y="5400"/>
                </a:cubicBezTo>
                <a:cubicBezTo>
                  <a:pt x="4690" y="5400"/>
                  <a:pt x="4909" y="5159"/>
                  <a:pt x="4909" y="4860"/>
                </a:cubicBezTo>
                <a:lnTo>
                  <a:pt x="4909" y="3240"/>
                </a:lnTo>
                <a:lnTo>
                  <a:pt x="20618" y="3240"/>
                </a:lnTo>
                <a:lnTo>
                  <a:pt x="20618" y="16201"/>
                </a:lnTo>
                <a:lnTo>
                  <a:pt x="19145" y="16201"/>
                </a:lnTo>
                <a:cubicBezTo>
                  <a:pt x="18874" y="16201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20618" y="17280"/>
                </a:lnTo>
                <a:cubicBezTo>
                  <a:pt x="21160" y="17280"/>
                  <a:pt x="21600" y="16796"/>
                  <a:pt x="21600" y="16201"/>
                </a:cubicBezTo>
                <a:lnTo>
                  <a:pt x="21600" y="3240"/>
                </a:lnTo>
                <a:cubicBezTo>
                  <a:pt x="21600" y="2644"/>
                  <a:pt x="21160" y="2161"/>
                  <a:pt x="20618" y="2161"/>
                </a:cubicBezTo>
                <a:moveTo>
                  <a:pt x="5400" y="11881"/>
                </a:moveTo>
                <a:lnTo>
                  <a:pt x="6382" y="11881"/>
                </a:lnTo>
                <a:cubicBezTo>
                  <a:pt x="6653" y="11881"/>
                  <a:pt x="6873" y="11639"/>
                  <a:pt x="6873" y="11341"/>
                </a:cubicBezTo>
                <a:cubicBezTo>
                  <a:pt x="6873" y="11042"/>
                  <a:pt x="6653" y="10800"/>
                  <a:pt x="6382" y="10800"/>
                </a:cubicBezTo>
                <a:lnTo>
                  <a:pt x="5400" y="10800"/>
                </a:lnTo>
                <a:cubicBezTo>
                  <a:pt x="5129" y="10800"/>
                  <a:pt x="4909" y="11042"/>
                  <a:pt x="4909" y="11341"/>
                </a:cubicBezTo>
                <a:cubicBezTo>
                  <a:pt x="4909" y="11639"/>
                  <a:pt x="5129" y="11881"/>
                  <a:pt x="5400" y="11881"/>
                </a:cubicBezTo>
                <a:moveTo>
                  <a:pt x="5400" y="9720"/>
                </a:moveTo>
                <a:lnTo>
                  <a:pt x="8345" y="9720"/>
                </a:lnTo>
                <a:cubicBezTo>
                  <a:pt x="8617" y="9720"/>
                  <a:pt x="8836" y="9479"/>
                  <a:pt x="8836" y="9181"/>
                </a:cubicBezTo>
                <a:cubicBezTo>
                  <a:pt x="8836" y="8882"/>
                  <a:pt x="8617" y="8640"/>
                  <a:pt x="8345" y="8640"/>
                </a:cubicBezTo>
                <a:lnTo>
                  <a:pt x="5400" y="8640"/>
                </a:lnTo>
                <a:cubicBezTo>
                  <a:pt x="5129" y="8640"/>
                  <a:pt x="4909" y="8882"/>
                  <a:pt x="4909" y="9181"/>
                </a:cubicBezTo>
                <a:cubicBezTo>
                  <a:pt x="4909" y="9479"/>
                  <a:pt x="5129" y="9720"/>
                  <a:pt x="5400" y="972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4" name="Shape 2604"/>
          <p:cNvSpPr/>
          <p:nvPr/>
        </p:nvSpPr>
        <p:spPr>
          <a:xfrm>
            <a:off x="22098644" y="5213320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17673" y="9600"/>
                </a:lnTo>
                <a:lnTo>
                  <a:pt x="17673" y="8400"/>
                </a:lnTo>
                <a:cubicBezTo>
                  <a:pt x="17673" y="7738"/>
                  <a:pt x="17233" y="7200"/>
                  <a:pt x="16691" y="7200"/>
                </a:cubicBezTo>
                <a:lnTo>
                  <a:pt x="14727" y="7200"/>
                </a:lnTo>
                <a:cubicBezTo>
                  <a:pt x="14186" y="7200"/>
                  <a:pt x="13745" y="7738"/>
                  <a:pt x="13745" y="8400"/>
                </a:cubicBezTo>
                <a:lnTo>
                  <a:pt x="13745" y="9600"/>
                </a:lnTo>
                <a:lnTo>
                  <a:pt x="7855" y="9600"/>
                </a:lnTo>
                <a:lnTo>
                  <a:pt x="7855" y="8400"/>
                </a:lnTo>
                <a:cubicBezTo>
                  <a:pt x="7855" y="7738"/>
                  <a:pt x="7414" y="7200"/>
                  <a:pt x="6873" y="7200"/>
                </a:cubicBezTo>
                <a:lnTo>
                  <a:pt x="4909" y="7200"/>
                </a:lnTo>
                <a:cubicBezTo>
                  <a:pt x="4367" y="7200"/>
                  <a:pt x="3927" y="7738"/>
                  <a:pt x="3927" y="8400"/>
                </a:cubicBezTo>
                <a:lnTo>
                  <a:pt x="3927" y="9600"/>
                </a:lnTo>
                <a:lnTo>
                  <a:pt x="982" y="9600"/>
                </a:lnTo>
                <a:lnTo>
                  <a:pt x="982" y="3601"/>
                </a:lnTo>
                <a:lnTo>
                  <a:pt x="20618" y="3601"/>
                </a:lnTo>
                <a:cubicBezTo>
                  <a:pt x="20618" y="3601"/>
                  <a:pt x="20618" y="9600"/>
                  <a:pt x="20618" y="9600"/>
                </a:cubicBezTo>
                <a:close/>
                <a:moveTo>
                  <a:pt x="14727" y="8400"/>
                </a:moveTo>
                <a:lnTo>
                  <a:pt x="16691" y="8400"/>
                </a:lnTo>
                <a:lnTo>
                  <a:pt x="16691" y="12001"/>
                </a:lnTo>
                <a:lnTo>
                  <a:pt x="14727" y="12001"/>
                </a:lnTo>
                <a:cubicBezTo>
                  <a:pt x="14727" y="12001"/>
                  <a:pt x="14727" y="8400"/>
                  <a:pt x="14727" y="8400"/>
                </a:cubicBezTo>
                <a:close/>
                <a:moveTo>
                  <a:pt x="4909" y="8400"/>
                </a:moveTo>
                <a:lnTo>
                  <a:pt x="6873" y="8400"/>
                </a:lnTo>
                <a:lnTo>
                  <a:pt x="6873" y="12001"/>
                </a:lnTo>
                <a:lnTo>
                  <a:pt x="4909" y="12001"/>
                </a:lnTo>
                <a:cubicBezTo>
                  <a:pt x="4909" y="12001"/>
                  <a:pt x="4909" y="8400"/>
                  <a:pt x="4909" y="8400"/>
                </a:cubicBezTo>
                <a:close/>
                <a:moveTo>
                  <a:pt x="19636" y="20400"/>
                </a:moveTo>
                <a:lnTo>
                  <a:pt x="1964" y="20400"/>
                </a:lnTo>
                <a:lnTo>
                  <a:pt x="1964" y="10800"/>
                </a:lnTo>
                <a:lnTo>
                  <a:pt x="3927" y="10800"/>
                </a:lnTo>
                <a:lnTo>
                  <a:pt x="3927" y="12001"/>
                </a:lnTo>
                <a:cubicBezTo>
                  <a:pt x="3927" y="12662"/>
                  <a:pt x="4367" y="13200"/>
                  <a:pt x="4909" y="13200"/>
                </a:cubicBezTo>
                <a:lnTo>
                  <a:pt x="6873" y="13200"/>
                </a:lnTo>
                <a:cubicBezTo>
                  <a:pt x="7414" y="13200"/>
                  <a:pt x="7855" y="12662"/>
                  <a:pt x="7855" y="12001"/>
                </a:cubicBezTo>
                <a:lnTo>
                  <a:pt x="7855" y="10800"/>
                </a:lnTo>
                <a:lnTo>
                  <a:pt x="13745" y="10800"/>
                </a:lnTo>
                <a:lnTo>
                  <a:pt x="13745" y="12001"/>
                </a:lnTo>
                <a:cubicBezTo>
                  <a:pt x="13745" y="12662"/>
                  <a:pt x="14186" y="13200"/>
                  <a:pt x="14727" y="13200"/>
                </a:cubicBezTo>
                <a:lnTo>
                  <a:pt x="16691" y="13200"/>
                </a:lnTo>
                <a:cubicBezTo>
                  <a:pt x="17233" y="13200"/>
                  <a:pt x="17673" y="12662"/>
                  <a:pt x="17673" y="12001"/>
                </a:cubicBezTo>
                <a:lnTo>
                  <a:pt x="17673" y="10800"/>
                </a:lnTo>
                <a:lnTo>
                  <a:pt x="19636" y="10800"/>
                </a:lnTo>
                <a:cubicBezTo>
                  <a:pt x="19636" y="10800"/>
                  <a:pt x="19636" y="20400"/>
                  <a:pt x="19636" y="20400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40" y="2400"/>
                  <a:pt x="0" y="2938"/>
                  <a:pt x="0" y="3601"/>
                </a:cubicBezTo>
                <a:lnTo>
                  <a:pt x="0" y="9600"/>
                </a:lnTo>
                <a:cubicBezTo>
                  <a:pt x="0" y="10262"/>
                  <a:pt x="440" y="10800"/>
                  <a:pt x="982" y="10800"/>
                </a:cubicBezTo>
                <a:lnTo>
                  <a:pt x="982" y="20400"/>
                </a:lnTo>
                <a:cubicBezTo>
                  <a:pt x="982" y="21062"/>
                  <a:pt x="1422" y="21600"/>
                  <a:pt x="1964" y="21600"/>
                </a:cubicBezTo>
                <a:lnTo>
                  <a:pt x="19636" y="21600"/>
                </a:lnTo>
                <a:cubicBezTo>
                  <a:pt x="20178" y="21600"/>
                  <a:pt x="20618" y="21062"/>
                  <a:pt x="20618" y="20400"/>
                </a:cubicBez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5" name="Shape 2605"/>
          <p:cNvSpPr/>
          <p:nvPr/>
        </p:nvSpPr>
        <p:spPr>
          <a:xfrm>
            <a:off x="12499943" y="6229053"/>
            <a:ext cx="558920" cy="5589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6" name="Shape 2606"/>
          <p:cNvSpPr/>
          <p:nvPr/>
        </p:nvSpPr>
        <p:spPr>
          <a:xfrm>
            <a:off x="13566466" y="622905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309"/>
                </a:moveTo>
                <a:cubicBezTo>
                  <a:pt x="10800" y="10581"/>
                  <a:pt x="10580" y="10800"/>
                  <a:pt x="10309" y="10800"/>
                </a:cubicBezTo>
                <a:cubicBezTo>
                  <a:pt x="10038" y="10800"/>
                  <a:pt x="9818" y="10581"/>
                  <a:pt x="9818" y="10309"/>
                </a:cubicBezTo>
                <a:cubicBezTo>
                  <a:pt x="9818" y="10038"/>
                  <a:pt x="10038" y="9818"/>
                  <a:pt x="10309" y="9818"/>
                </a:cubicBezTo>
                <a:cubicBezTo>
                  <a:pt x="10580" y="9818"/>
                  <a:pt x="10800" y="10038"/>
                  <a:pt x="10800" y="10309"/>
                </a:cubicBezTo>
                <a:moveTo>
                  <a:pt x="20618" y="20618"/>
                </a:moveTo>
                <a:lnTo>
                  <a:pt x="18655" y="20618"/>
                </a:lnTo>
                <a:lnTo>
                  <a:pt x="18655" y="19145"/>
                </a:lnTo>
                <a:cubicBezTo>
                  <a:pt x="18655" y="18875"/>
                  <a:pt x="18434" y="18655"/>
                  <a:pt x="18164" y="18655"/>
                </a:cubicBezTo>
                <a:lnTo>
                  <a:pt x="16691" y="18655"/>
                </a:lnTo>
                <a:lnTo>
                  <a:pt x="16691" y="17182"/>
                </a:lnTo>
                <a:cubicBezTo>
                  <a:pt x="16691" y="16911"/>
                  <a:pt x="16471" y="16691"/>
                  <a:pt x="16200" y="16691"/>
                </a:cubicBezTo>
                <a:lnTo>
                  <a:pt x="14441" y="16691"/>
                </a:lnTo>
                <a:lnTo>
                  <a:pt x="12850" y="15086"/>
                </a:lnTo>
                <a:cubicBezTo>
                  <a:pt x="12761" y="14997"/>
                  <a:pt x="12639" y="14943"/>
                  <a:pt x="12503" y="14943"/>
                </a:cubicBezTo>
                <a:cubicBezTo>
                  <a:pt x="12356" y="14943"/>
                  <a:pt x="12228" y="15010"/>
                  <a:pt x="12138" y="15113"/>
                </a:cubicBezTo>
                <a:lnTo>
                  <a:pt x="11833" y="15418"/>
                </a:lnTo>
                <a:cubicBezTo>
                  <a:pt x="11450" y="15801"/>
                  <a:pt x="10829" y="15801"/>
                  <a:pt x="10445" y="15418"/>
                </a:cubicBezTo>
                <a:lnTo>
                  <a:pt x="6167" y="11139"/>
                </a:lnTo>
                <a:cubicBezTo>
                  <a:pt x="5784" y="10756"/>
                  <a:pt x="5784" y="10136"/>
                  <a:pt x="6167" y="9752"/>
                </a:cubicBezTo>
                <a:lnTo>
                  <a:pt x="9752" y="6167"/>
                </a:lnTo>
                <a:cubicBezTo>
                  <a:pt x="10135" y="5784"/>
                  <a:pt x="10756" y="5784"/>
                  <a:pt x="11139" y="6167"/>
                </a:cubicBezTo>
                <a:lnTo>
                  <a:pt x="11761" y="6789"/>
                </a:lnTo>
                <a:cubicBezTo>
                  <a:pt x="11699" y="7609"/>
                  <a:pt x="11457" y="8377"/>
                  <a:pt x="11069" y="9054"/>
                </a:cubicBezTo>
                <a:cubicBezTo>
                  <a:pt x="10847" y="8919"/>
                  <a:pt x="10588" y="8837"/>
                  <a:pt x="10309" y="8837"/>
                </a:cubicBezTo>
                <a:cubicBezTo>
                  <a:pt x="9496" y="8837"/>
                  <a:pt x="8836" y="9496"/>
                  <a:pt x="8836" y="10309"/>
                </a:cubicBezTo>
                <a:cubicBezTo>
                  <a:pt x="8836" y="11123"/>
                  <a:pt x="9496" y="11782"/>
                  <a:pt x="10309" y="11782"/>
                </a:cubicBezTo>
                <a:cubicBezTo>
                  <a:pt x="11123" y="11782"/>
                  <a:pt x="11782" y="11123"/>
                  <a:pt x="11782" y="10309"/>
                </a:cubicBezTo>
                <a:cubicBezTo>
                  <a:pt x="11782" y="10156"/>
                  <a:pt x="11752" y="10012"/>
                  <a:pt x="11709" y="9873"/>
                </a:cubicBezTo>
                <a:cubicBezTo>
                  <a:pt x="12146" y="9210"/>
                  <a:pt x="12466" y="8463"/>
                  <a:pt x="12631" y="7659"/>
                </a:cubicBezTo>
                <a:lnTo>
                  <a:pt x="15417" y="10446"/>
                </a:lnTo>
                <a:cubicBezTo>
                  <a:pt x="15800" y="10829"/>
                  <a:pt x="15800" y="11450"/>
                  <a:pt x="15417" y="11833"/>
                </a:cubicBezTo>
                <a:lnTo>
                  <a:pt x="15128" y="12122"/>
                </a:lnTo>
                <a:cubicBezTo>
                  <a:pt x="15025" y="12213"/>
                  <a:pt x="14957" y="12341"/>
                  <a:pt x="14957" y="12487"/>
                </a:cubicBezTo>
                <a:cubicBezTo>
                  <a:pt x="14957" y="12623"/>
                  <a:pt x="15013" y="12746"/>
                  <a:pt x="15101" y="12835"/>
                </a:cubicBezTo>
                <a:lnTo>
                  <a:pt x="20618" y="18367"/>
                </a:lnTo>
                <a:cubicBezTo>
                  <a:pt x="20618" y="18367"/>
                  <a:pt x="20618" y="20618"/>
                  <a:pt x="20618" y="20618"/>
                </a:cubicBezTo>
                <a:close/>
                <a:moveTo>
                  <a:pt x="5343" y="11673"/>
                </a:moveTo>
                <a:cubicBezTo>
                  <a:pt x="2859" y="11190"/>
                  <a:pt x="982" y="9008"/>
                  <a:pt x="982" y="6383"/>
                </a:cubicBezTo>
                <a:cubicBezTo>
                  <a:pt x="982" y="3400"/>
                  <a:pt x="3399" y="982"/>
                  <a:pt x="6382" y="982"/>
                </a:cubicBezTo>
                <a:cubicBezTo>
                  <a:pt x="9011" y="982"/>
                  <a:pt x="11198" y="2862"/>
                  <a:pt x="11681" y="5349"/>
                </a:cubicBezTo>
                <a:cubicBezTo>
                  <a:pt x="10910" y="4719"/>
                  <a:pt x="9777" y="4755"/>
                  <a:pt x="9058" y="5473"/>
                </a:cubicBezTo>
                <a:lnTo>
                  <a:pt x="5474" y="9058"/>
                </a:lnTo>
                <a:cubicBezTo>
                  <a:pt x="4757" y="9775"/>
                  <a:pt x="4719" y="10904"/>
                  <a:pt x="5343" y="11673"/>
                </a:cubicBezTo>
                <a:moveTo>
                  <a:pt x="21456" y="17817"/>
                </a:moveTo>
                <a:lnTo>
                  <a:pt x="16142" y="12488"/>
                </a:lnTo>
                <a:cubicBezTo>
                  <a:pt x="16874" y="11720"/>
                  <a:pt x="16865" y="10507"/>
                  <a:pt x="16111" y="9752"/>
                </a:cubicBezTo>
                <a:lnTo>
                  <a:pt x="12763" y="6404"/>
                </a:lnTo>
                <a:cubicBezTo>
                  <a:pt x="12763" y="6396"/>
                  <a:pt x="12764" y="6389"/>
                  <a:pt x="12764" y="6383"/>
                </a:cubicBezTo>
                <a:cubicBezTo>
                  <a:pt x="12764" y="2857"/>
                  <a:pt x="9907" y="0"/>
                  <a:pt x="6382" y="0"/>
                </a:cubicBezTo>
                <a:cubicBezTo>
                  <a:pt x="2857" y="0"/>
                  <a:pt x="0" y="2857"/>
                  <a:pt x="0" y="6383"/>
                </a:cubicBezTo>
                <a:cubicBezTo>
                  <a:pt x="0" y="9907"/>
                  <a:pt x="2857" y="12764"/>
                  <a:pt x="6382" y="12764"/>
                </a:cubicBezTo>
                <a:cubicBezTo>
                  <a:pt x="6389" y="12764"/>
                  <a:pt x="6396" y="12763"/>
                  <a:pt x="6403" y="12763"/>
                </a:cubicBezTo>
                <a:lnTo>
                  <a:pt x="9752" y="16111"/>
                </a:lnTo>
                <a:cubicBezTo>
                  <a:pt x="10511" y="16870"/>
                  <a:pt x="11735" y="16875"/>
                  <a:pt x="12503" y="16130"/>
                </a:cubicBezTo>
                <a:lnTo>
                  <a:pt x="13889" y="17529"/>
                </a:lnTo>
                <a:cubicBezTo>
                  <a:pt x="13978" y="17618"/>
                  <a:pt x="14101" y="17673"/>
                  <a:pt x="14236" y="17673"/>
                </a:cubicBezTo>
                <a:lnTo>
                  <a:pt x="15709" y="17673"/>
                </a:lnTo>
                <a:lnTo>
                  <a:pt x="15709" y="19145"/>
                </a:lnTo>
                <a:cubicBezTo>
                  <a:pt x="15709" y="19417"/>
                  <a:pt x="15929" y="19636"/>
                  <a:pt x="16200" y="19636"/>
                </a:cubicBezTo>
                <a:lnTo>
                  <a:pt x="17673" y="19636"/>
                </a:lnTo>
                <a:lnTo>
                  <a:pt x="17673" y="21109"/>
                </a:lnTo>
                <a:cubicBezTo>
                  <a:pt x="17673" y="21381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lnTo>
                  <a:pt x="21600" y="18164"/>
                </a:lnTo>
                <a:cubicBezTo>
                  <a:pt x="21600" y="18029"/>
                  <a:pt x="21545" y="17906"/>
                  <a:pt x="21456" y="1781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7" name="Shape 2607"/>
          <p:cNvSpPr/>
          <p:nvPr/>
        </p:nvSpPr>
        <p:spPr>
          <a:xfrm>
            <a:off x="14632989" y="6279839"/>
            <a:ext cx="558654" cy="4570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1964" y="16800"/>
                </a:lnTo>
                <a:cubicBezTo>
                  <a:pt x="879" y="16800"/>
                  <a:pt x="0" y="17874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4"/>
                  <a:pt x="20721" y="16800"/>
                  <a:pt x="19636" y="16800"/>
                </a:cubicBezTo>
                <a:moveTo>
                  <a:pt x="1964" y="1200"/>
                </a:moveTo>
                <a:lnTo>
                  <a:pt x="19636" y="1200"/>
                </a:lnTo>
                <a:cubicBezTo>
                  <a:pt x="20178" y="1200"/>
                  <a:pt x="20618" y="1737"/>
                  <a:pt x="20618" y="2399"/>
                </a:cubicBezTo>
                <a:cubicBezTo>
                  <a:pt x="20618" y="3063"/>
                  <a:pt x="20178" y="3599"/>
                  <a:pt x="19636" y="3599"/>
                </a:cubicBezTo>
                <a:lnTo>
                  <a:pt x="1964" y="3599"/>
                </a:lnTo>
                <a:cubicBezTo>
                  <a:pt x="1422" y="3599"/>
                  <a:pt x="982" y="3063"/>
                  <a:pt x="982" y="2399"/>
                </a:cubicBezTo>
                <a:cubicBezTo>
                  <a:pt x="982" y="1737"/>
                  <a:pt x="1422" y="1200"/>
                  <a:pt x="1964" y="1200"/>
                </a:cubicBezTo>
                <a:moveTo>
                  <a:pt x="1964" y="4799"/>
                </a:moveTo>
                <a:lnTo>
                  <a:pt x="19636" y="4799"/>
                </a:lnTo>
                <a:cubicBezTo>
                  <a:pt x="20721" y="4799"/>
                  <a:pt x="21600" y="3725"/>
                  <a:pt x="21600" y="2399"/>
                </a:cubicBezTo>
                <a:cubicBezTo>
                  <a:pt x="21600" y="1074"/>
                  <a:pt x="20721" y="0"/>
                  <a:pt x="19636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cubicBezTo>
                  <a:pt x="0" y="3725"/>
                  <a:pt x="879" y="4799"/>
                  <a:pt x="1964" y="4799"/>
                </a:cubicBezTo>
                <a:moveTo>
                  <a:pt x="19636" y="12000"/>
                </a:moveTo>
                <a:lnTo>
                  <a:pt x="1964" y="12000"/>
                </a:lnTo>
                <a:cubicBezTo>
                  <a:pt x="1422" y="12000"/>
                  <a:pt x="982" y="11463"/>
                  <a:pt x="982" y="10800"/>
                </a:cubicBezTo>
                <a:cubicBezTo>
                  <a:pt x="982" y="10137"/>
                  <a:pt x="1422" y="9600"/>
                  <a:pt x="1964" y="9600"/>
                </a:cubicBezTo>
                <a:lnTo>
                  <a:pt x="19636" y="9600"/>
                </a:lnTo>
                <a:cubicBezTo>
                  <a:pt x="20178" y="9600"/>
                  <a:pt x="20618" y="10137"/>
                  <a:pt x="20618" y="10800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0"/>
                </a:moveTo>
                <a:lnTo>
                  <a:pt x="1964" y="8400"/>
                </a:lnTo>
                <a:cubicBezTo>
                  <a:pt x="879" y="8400"/>
                  <a:pt x="0" y="9474"/>
                  <a:pt x="0" y="10800"/>
                </a:cubicBezTo>
                <a:cubicBezTo>
                  <a:pt x="0" y="12125"/>
                  <a:pt x="879" y="13200"/>
                  <a:pt x="1964" y="13200"/>
                </a:cubicBezTo>
                <a:lnTo>
                  <a:pt x="19636" y="13200"/>
                </a:lnTo>
                <a:cubicBezTo>
                  <a:pt x="20721" y="13200"/>
                  <a:pt x="21600" y="12125"/>
                  <a:pt x="21600" y="10800"/>
                </a:cubicBezTo>
                <a:cubicBezTo>
                  <a:pt x="21600" y="9474"/>
                  <a:pt x="20721" y="8400"/>
                  <a:pt x="19636" y="84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8" name="Shape 2608"/>
          <p:cNvSpPr/>
          <p:nvPr/>
        </p:nvSpPr>
        <p:spPr>
          <a:xfrm>
            <a:off x="15699511" y="6279842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3600"/>
                </a:moveTo>
                <a:cubicBezTo>
                  <a:pt x="1422" y="3600"/>
                  <a:pt x="982" y="3063"/>
                  <a:pt x="982" y="2400"/>
                </a:cubicBezTo>
                <a:cubicBezTo>
                  <a:pt x="982" y="1738"/>
                  <a:pt x="1422" y="1200"/>
                  <a:pt x="1964" y="1200"/>
                </a:cubicBezTo>
                <a:cubicBezTo>
                  <a:pt x="2506" y="1200"/>
                  <a:pt x="2945" y="1738"/>
                  <a:pt x="2945" y="2400"/>
                </a:cubicBezTo>
                <a:cubicBezTo>
                  <a:pt x="2945" y="3063"/>
                  <a:pt x="2506" y="3600"/>
                  <a:pt x="1964" y="3600"/>
                </a:cubicBezTo>
                <a:moveTo>
                  <a:pt x="1964" y="0"/>
                </a:moveTo>
                <a:cubicBezTo>
                  <a:pt x="879" y="0"/>
                  <a:pt x="0" y="1075"/>
                  <a:pt x="0" y="2400"/>
                </a:cubicBezTo>
                <a:cubicBezTo>
                  <a:pt x="0" y="3726"/>
                  <a:pt x="879" y="4800"/>
                  <a:pt x="1964" y="4800"/>
                </a:cubicBezTo>
                <a:cubicBezTo>
                  <a:pt x="3048" y="4800"/>
                  <a:pt x="3927" y="3726"/>
                  <a:pt x="3927" y="2400"/>
                </a:cubicBezTo>
                <a:cubicBezTo>
                  <a:pt x="3927" y="1075"/>
                  <a:pt x="3048" y="0"/>
                  <a:pt x="1964" y="0"/>
                </a:cubicBezTo>
                <a:moveTo>
                  <a:pt x="1964" y="12000"/>
                </a:moveTo>
                <a:cubicBezTo>
                  <a:pt x="1422" y="12000"/>
                  <a:pt x="982" y="11463"/>
                  <a:pt x="982" y="10800"/>
                </a:cubicBezTo>
                <a:cubicBezTo>
                  <a:pt x="982" y="10138"/>
                  <a:pt x="1422" y="9600"/>
                  <a:pt x="1964" y="9600"/>
                </a:cubicBezTo>
                <a:cubicBezTo>
                  <a:pt x="2506" y="9600"/>
                  <a:pt x="2945" y="10138"/>
                  <a:pt x="2945" y="10800"/>
                </a:cubicBezTo>
                <a:cubicBezTo>
                  <a:pt x="2945" y="11463"/>
                  <a:pt x="2506" y="12000"/>
                  <a:pt x="1964" y="12000"/>
                </a:cubicBezTo>
                <a:moveTo>
                  <a:pt x="1964" y="8401"/>
                </a:moveTo>
                <a:cubicBezTo>
                  <a:pt x="879" y="8401"/>
                  <a:pt x="0" y="9475"/>
                  <a:pt x="0" y="10800"/>
                </a:cubicBezTo>
                <a:cubicBezTo>
                  <a:pt x="0" y="12126"/>
                  <a:pt x="879" y="13200"/>
                  <a:pt x="1964" y="13200"/>
                </a:cubicBezTo>
                <a:cubicBezTo>
                  <a:pt x="3048" y="13200"/>
                  <a:pt x="3927" y="12126"/>
                  <a:pt x="3927" y="10800"/>
                </a:cubicBezTo>
                <a:cubicBezTo>
                  <a:pt x="3927" y="9475"/>
                  <a:pt x="3048" y="8401"/>
                  <a:pt x="1964" y="8401"/>
                </a:cubicBezTo>
                <a:moveTo>
                  <a:pt x="19636" y="12000"/>
                </a:moveTo>
                <a:lnTo>
                  <a:pt x="7855" y="12000"/>
                </a:lnTo>
                <a:cubicBezTo>
                  <a:pt x="7313" y="12000"/>
                  <a:pt x="6873" y="11463"/>
                  <a:pt x="6873" y="10801"/>
                </a:cubicBezTo>
                <a:cubicBezTo>
                  <a:pt x="6873" y="10138"/>
                  <a:pt x="7313" y="9600"/>
                  <a:pt x="7855" y="9600"/>
                </a:cubicBezTo>
                <a:lnTo>
                  <a:pt x="19636" y="9600"/>
                </a:lnTo>
                <a:cubicBezTo>
                  <a:pt x="20178" y="9600"/>
                  <a:pt x="20618" y="10138"/>
                  <a:pt x="20618" y="10801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1"/>
                </a:moveTo>
                <a:lnTo>
                  <a:pt x="7855" y="8401"/>
                </a:lnTo>
                <a:cubicBezTo>
                  <a:pt x="6770" y="8401"/>
                  <a:pt x="5891" y="9475"/>
                  <a:pt x="5891" y="10801"/>
                </a:cubicBezTo>
                <a:cubicBezTo>
                  <a:pt x="5891" y="12126"/>
                  <a:pt x="6770" y="13200"/>
                  <a:pt x="7855" y="13200"/>
                </a:cubicBezTo>
                <a:lnTo>
                  <a:pt x="19636" y="13200"/>
                </a:lnTo>
                <a:cubicBezTo>
                  <a:pt x="20721" y="13200"/>
                  <a:pt x="21600" y="12126"/>
                  <a:pt x="21600" y="10801"/>
                </a:cubicBezTo>
                <a:cubicBezTo>
                  <a:pt x="21600" y="9475"/>
                  <a:pt x="20721" y="8401"/>
                  <a:pt x="19636" y="8401"/>
                </a:cubicBezTo>
                <a:moveTo>
                  <a:pt x="19636" y="20400"/>
                </a:moveTo>
                <a:lnTo>
                  <a:pt x="7855" y="20400"/>
                </a:lnTo>
                <a:cubicBezTo>
                  <a:pt x="7313" y="20400"/>
                  <a:pt x="6873" y="19862"/>
                  <a:pt x="6873" y="19200"/>
                </a:cubicBezTo>
                <a:cubicBezTo>
                  <a:pt x="6873" y="18538"/>
                  <a:pt x="7313" y="18000"/>
                  <a:pt x="7855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7855" y="16800"/>
                </a:lnTo>
                <a:cubicBezTo>
                  <a:pt x="6770" y="16800"/>
                  <a:pt x="5891" y="17875"/>
                  <a:pt x="5891" y="19200"/>
                </a:cubicBezTo>
                <a:cubicBezTo>
                  <a:pt x="5891" y="20526"/>
                  <a:pt x="6770" y="21600"/>
                  <a:pt x="7855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5"/>
                  <a:pt x="20721" y="16800"/>
                  <a:pt x="19636" y="16800"/>
                </a:cubicBezTo>
                <a:moveTo>
                  <a:pt x="7855" y="1201"/>
                </a:moveTo>
                <a:lnTo>
                  <a:pt x="19636" y="1201"/>
                </a:lnTo>
                <a:cubicBezTo>
                  <a:pt x="20178" y="1201"/>
                  <a:pt x="20618" y="1738"/>
                  <a:pt x="20618" y="2400"/>
                </a:cubicBezTo>
                <a:cubicBezTo>
                  <a:pt x="20618" y="3063"/>
                  <a:pt x="20178" y="3600"/>
                  <a:pt x="19636" y="3600"/>
                </a:cubicBezTo>
                <a:lnTo>
                  <a:pt x="7855" y="3600"/>
                </a:lnTo>
                <a:cubicBezTo>
                  <a:pt x="7313" y="3600"/>
                  <a:pt x="6873" y="3063"/>
                  <a:pt x="6873" y="2400"/>
                </a:cubicBezTo>
                <a:cubicBezTo>
                  <a:pt x="6873" y="1738"/>
                  <a:pt x="7313" y="1201"/>
                  <a:pt x="7855" y="1201"/>
                </a:cubicBezTo>
                <a:moveTo>
                  <a:pt x="7855" y="4800"/>
                </a:moveTo>
                <a:lnTo>
                  <a:pt x="19636" y="4800"/>
                </a:lnTo>
                <a:cubicBezTo>
                  <a:pt x="20721" y="4800"/>
                  <a:pt x="21600" y="3726"/>
                  <a:pt x="21600" y="2400"/>
                </a:cubicBezTo>
                <a:cubicBezTo>
                  <a:pt x="21600" y="1075"/>
                  <a:pt x="20721" y="1"/>
                  <a:pt x="19636" y="1"/>
                </a:cubicBezTo>
                <a:lnTo>
                  <a:pt x="7855" y="1"/>
                </a:lnTo>
                <a:cubicBezTo>
                  <a:pt x="6770" y="1"/>
                  <a:pt x="5891" y="1075"/>
                  <a:pt x="5891" y="2400"/>
                </a:cubicBezTo>
                <a:cubicBezTo>
                  <a:pt x="5891" y="3726"/>
                  <a:pt x="6770" y="4800"/>
                  <a:pt x="7855" y="4800"/>
                </a:cubicBezTo>
                <a:moveTo>
                  <a:pt x="1964" y="20400"/>
                </a:move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cubicBezTo>
                  <a:pt x="2506" y="18000"/>
                  <a:pt x="2945" y="18538"/>
                  <a:pt x="2945" y="19200"/>
                </a:cubicBezTo>
                <a:cubicBezTo>
                  <a:pt x="2945" y="19862"/>
                  <a:pt x="2506" y="20400"/>
                  <a:pt x="1964" y="20400"/>
                </a:cubicBezTo>
                <a:moveTo>
                  <a:pt x="1964" y="16800"/>
                </a:moveTo>
                <a:cubicBezTo>
                  <a:pt x="879" y="16800"/>
                  <a:pt x="0" y="17875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cubicBezTo>
                  <a:pt x="3048" y="21600"/>
                  <a:pt x="3927" y="20526"/>
                  <a:pt x="3927" y="19200"/>
                </a:cubicBezTo>
                <a:cubicBezTo>
                  <a:pt x="3927" y="17875"/>
                  <a:pt x="3048" y="16800"/>
                  <a:pt x="1964" y="16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09" name="Shape 2609"/>
          <p:cNvSpPr/>
          <p:nvPr/>
        </p:nvSpPr>
        <p:spPr>
          <a:xfrm>
            <a:off x="16766033" y="6279842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3200"/>
                </a:moveTo>
                <a:lnTo>
                  <a:pt x="5400" y="13200"/>
                </a:lnTo>
                <a:cubicBezTo>
                  <a:pt x="5129" y="13200"/>
                  <a:pt x="4909" y="13469"/>
                  <a:pt x="4909" y="13800"/>
                </a:cubicBezTo>
                <a:cubicBezTo>
                  <a:pt x="4909" y="14132"/>
                  <a:pt x="5129" y="14400"/>
                  <a:pt x="5400" y="14400"/>
                </a:cubicBezTo>
                <a:lnTo>
                  <a:pt x="21109" y="14400"/>
                </a:lnTo>
                <a:cubicBezTo>
                  <a:pt x="21380" y="14400"/>
                  <a:pt x="21600" y="14132"/>
                  <a:pt x="21600" y="13800"/>
                </a:cubicBezTo>
                <a:cubicBezTo>
                  <a:pt x="21600" y="13469"/>
                  <a:pt x="21380" y="13200"/>
                  <a:pt x="21109" y="13200"/>
                </a:cubicBezTo>
                <a:moveTo>
                  <a:pt x="21109" y="7200"/>
                </a:move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1"/>
                  <a:pt x="5400" y="8401"/>
                </a:cubicBezTo>
                <a:lnTo>
                  <a:pt x="21109" y="8401"/>
                </a:lnTo>
                <a:cubicBezTo>
                  <a:pt x="21380" y="8401"/>
                  <a:pt x="21600" y="8132"/>
                  <a:pt x="21600" y="7800"/>
                </a:cubicBezTo>
                <a:cubicBezTo>
                  <a:pt x="21600" y="7469"/>
                  <a:pt x="21380" y="7200"/>
                  <a:pt x="21109" y="7200"/>
                </a:cubicBezTo>
                <a:moveTo>
                  <a:pt x="1473" y="0"/>
                </a:moveTo>
                <a:cubicBezTo>
                  <a:pt x="659" y="0"/>
                  <a:pt x="0" y="807"/>
                  <a:pt x="0" y="1800"/>
                </a:cubicBezTo>
                <a:cubicBezTo>
                  <a:pt x="0" y="2794"/>
                  <a:pt x="659" y="3600"/>
                  <a:pt x="1473" y="3600"/>
                </a:cubicBezTo>
                <a:cubicBezTo>
                  <a:pt x="2286" y="3600"/>
                  <a:pt x="2945" y="2794"/>
                  <a:pt x="2945" y="1800"/>
                </a:cubicBezTo>
                <a:cubicBezTo>
                  <a:pt x="2945" y="807"/>
                  <a:pt x="2286" y="0"/>
                  <a:pt x="1473" y="0"/>
                </a:cubicBezTo>
                <a:moveTo>
                  <a:pt x="21109" y="19200"/>
                </a:moveTo>
                <a:lnTo>
                  <a:pt x="5400" y="19200"/>
                </a:lnTo>
                <a:cubicBezTo>
                  <a:pt x="5129" y="19200"/>
                  <a:pt x="4909" y="19469"/>
                  <a:pt x="4909" y="19800"/>
                </a:cubicBezTo>
                <a:cubicBezTo>
                  <a:pt x="4909" y="20132"/>
                  <a:pt x="5129" y="20400"/>
                  <a:pt x="5400" y="20400"/>
                </a:cubicBezTo>
                <a:lnTo>
                  <a:pt x="21109" y="20400"/>
                </a:lnTo>
                <a:cubicBezTo>
                  <a:pt x="21380" y="20400"/>
                  <a:pt x="21600" y="20132"/>
                  <a:pt x="21600" y="19800"/>
                </a:cubicBezTo>
                <a:cubicBezTo>
                  <a:pt x="21600" y="19469"/>
                  <a:pt x="21380" y="19200"/>
                  <a:pt x="21109" y="19200"/>
                </a:cubicBezTo>
                <a:moveTo>
                  <a:pt x="5400" y="2400"/>
                </a:moveTo>
                <a:lnTo>
                  <a:pt x="21109" y="2400"/>
                </a:lnTo>
                <a:cubicBezTo>
                  <a:pt x="21380" y="2400"/>
                  <a:pt x="21600" y="2132"/>
                  <a:pt x="21600" y="1800"/>
                </a:cubicBezTo>
                <a:cubicBezTo>
                  <a:pt x="21600" y="1469"/>
                  <a:pt x="21380" y="1200"/>
                  <a:pt x="21109" y="1200"/>
                </a:cubicBezTo>
                <a:lnTo>
                  <a:pt x="5400" y="1200"/>
                </a:lnTo>
                <a:cubicBezTo>
                  <a:pt x="5129" y="1200"/>
                  <a:pt x="4909" y="1469"/>
                  <a:pt x="4909" y="1800"/>
                </a:cubicBezTo>
                <a:cubicBezTo>
                  <a:pt x="4909" y="2132"/>
                  <a:pt x="5129" y="2400"/>
                  <a:pt x="5400" y="2400"/>
                </a:cubicBezTo>
                <a:moveTo>
                  <a:pt x="1473" y="18000"/>
                </a:moveTo>
                <a:cubicBezTo>
                  <a:pt x="659" y="18000"/>
                  <a:pt x="0" y="18806"/>
                  <a:pt x="0" y="19800"/>
                </a:cubicBezTo>
                <a:cubicBezTo>
                  <a:pt x="0" y="20794"/>
                  <a:pt x="659" y="21600"/>
                  <a:pt x="1473" y="21600"/>
                </a:cubicBezTo>
                <a:cubicBezTo>
                  <a:pt x="2286" y="21600"/>
                  <a:pt x="2945" y="20794"/>
                  <a:pt x="2945" y="19800"/>
                </a:cubicBezTo>
                <a:cubicBezTo>
                  <a:pt x="2945" y="18806"/>
                  <a:pt x="2286" y="18000"/>
                  <a:pt x="1473" y="18000"/>
                </a:cubicBezTo>
                <a:moveTo>
                  <a:pt x="1473" y="6000"/>
                </a:moveTo>
                <a:cubicBezTo>
                  <a:pt x="659" y="6000"/>
                  <a:pt x="0" y="6807"/>
                  <a:pt x="0" y="7800"/>
                </a:cubicBezTo>
                <a:cubicBezTo>
                  <a:pt x="0" y="8794"/>
                  <a:pt x="659" y="9600"/>
                  <a:pt x="1473" y="9600"/>
                </a:cubicBezTo>
                <a:cubicBezTo>
                  <a:pt x="2286" y="9600"/>
                  <a:pt x="2945" y="8794"/>
                  <a:pt x="2945" y="7800"/>
                </a:cubicBezTo>
                <a:cubicBezTo>
                  <a:pt x="2945" y="6807"/>
                  <a:pt x="2286" y="6000"/>
                  <a:pt x="1473" y="6000"/>
                </a:cubicBezTo>
                <a:moveTo>
                  <a:pt x="1473" y="12000"/>
                </a:moveTo>
                <a:cubicBezTo>
                  <a:pt x="659" y="12000"/>
                  <a:pt x="0" y="12807"/>
                  <a:pt x="0" y="13800"/>
                </a:cubicBezTo>
                <a:cubicBezTo>
                  <a:pt x="0" y="14794"/>
                  <a:pt x="659" y="15600"/>
                  <a:pt x="1473" y="15600"/>
                </a:cubicBezTo>
                <a:cubicBezTo>
                  <a:pt x="2286" y="15600"/>
                  <a:pt x="2945" y="14794"/>
                  <a:pt x="2945" y="13800"/>
                </a:cubicBezTo>
                <a:cubicBezTo>
                  <a:pt x="2945" y="12807"/>
                  <a:pt x="2286" y="12000"/>
                  <a:pt x="1473" y="120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0" name="Shape 2610"/>
          <p:cNvSpPr/>
          <p:nvPr/>
        </p:nvSpPr>
        <p:spPr>
          <a:xfrm>
            <a:off x="17832556" y="6279842"/>
            <a:ext cx="558654" cy="4570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2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800"/>
                </a:cubicBezTo>
                <a:cubicBezTo>
                  <a:pt x="20618" y="4800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3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3"/>
                  <a:pt x="982" y="19200"/>
                </a:cubicBezTo>
                <a:lnTo>
                  <a:pt x="982" y="7200"/>
                </a:lnTo>
                <a:lnTo>
                  <a:pt x="20618" y="7200"/>
                </a:lnTo>
                <a:cubicBezTo>
                  <a:pt x="20618" y="7200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800"/>
                </a:lnTo>
                <a:cubicBezTo>
                  <a:pt x="21600" y="3474"/>
                  <a:pt x="20721" y="2399"/>
                  <a:pt x="19636" y="239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1" name="Shape 2611"/>
          <p:cNvSpPr/>
          <p:nvPr/>
        </p:nvSpPr>
        <p:spPr>
          <a:xfrm>
            <a:off x="18899079" y="6254449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161"/>
                </a:moveTo>
                <a:lnTo>
                  <a:pt x="13745" y="2161"/>
                </a:lnTo>
                <a:cubicBezTo>
                  <a:pt x="11782" y="2160"/>
                  <a:pt x="11782" y="0"/>
                  <a:pt x="9818" y="0"/>
                </a:cubicBezTo>
                <a:lnTo>
                  <a:pt x="5891" y="0"/>
                </a:lnTo>
                <a:cubicBezTo>
                  <a:pt x="4806" y="0"/>
                  <a:pt x="3927" y="967"/>
                  <a:pt x="3927" y="2161"/>
                </a:cubicBezTo>
                <a:lnTo>
                  <a:pt x="3927" y="2700"/>
                </a:lnTo>
                <a:cubicBezTo>
                  <a:pt x="3927" y="2999"/>
                  <a:pt x="4147" y="3240"/>
                  <a:pt x="4418" y="3240"/>
                </a:cubicBezTo>
                <a:cubicBezTo>
                  <a:pt x="4690" y="3240"/>
                  <a:pt x="4909" y="2999"/>
                  <a:pt x="4909" y="2700"/>
                </a:cubicBezTo>
                <a:lnTo>
                  <a:pt x="4909" y="2161"/>
                </a:lnTo>
                <a:cubicBezTo>
                  <a:pt x="4909" y="1564"/>
                  <a:pt x="5348" y="1080"/>
                  <a:pt x="5891" y="1080"/>
                </a:cubicBezTo>
                <a:lnTo>
                  <a:pt x="9818" y="1080"/>
                </a:lnTo>
                <a:cubicBezTo>
                  <a:pt x="11291" y="1080"/>
                  <a:pt x="11291" y="3239"/>
                  <a:pt x="13744" y="3240"/>
                </a:cubicBezTo>
                <a:lnTo>
                  <a:pt x="19636" y="3240"/>
                </a:lnTo>
                <a:cubicBezTo>
                  <a:pt x="20178" y="3240"/>
                  <a:pt x="20618" y="3724"/>
                  <a:pt x="20618" y="4321"/>
                </a:cubicBezTo>
                <a:lnTo>
                  <a:pt x="20618" y="15120"/>
                </a:lnTo>
                <a:cubicBezTo>
                  <a:pt x="20618" y="15717"/>
                  <a:pt x="20178" y="16200"/>
                  <a:pt x="19636" y="16200"/>
                </a:cubicBezTo>
                <a:lnTo>
                  <a:pt x="19145" y="16200"/>
                </a:lnTo>
                <a:cubicBezTo>
                  <a:pt x="18874" y="16200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19636" y="17280"/>
                </a:lnTo>
                <a:cubicBezTo>
                  <a:pt x="20721" y="17280"/>
                  <a:pt x="21600" y="16314"/>
                  <a:pt x="21600" y="15120"/>
                </a:cubicBezTo>
                <a:lnTo>
                  <a:pt x="21600" y="4321"/>
                </a:lnTo>
                <a:cubicBezTo>
                  <a:pt x="21600" y="3127"/>
                  <a:pt x="20721" y="2161"/>
                  <a:pt x="19636" y="2161"/>
                </a:cubicBezTo>
                <a:moveTo>
                  <a:pt x="16691" y="9720"/>
                </a:moveTo>
                <a:lnTo>
                  <a:pt x="982" y="9720"/>
                </a:lnTo>
                <a:lnTo>
                  <a:pt x="982" y="6481"/>
                </a:lnTo>
                <a:cubicBezTo>
                  <a:pt x="982" y="5884"/>
                  <a:pt x="1421" y="5400"/>
                  <a:pt x="1964" y="5400"/>
                </a:cubicBezTo>
                <a:lnTo>
                  <a:pt x="5891" y="5400"/>
                </a:lnTo>
                <a:cubicBezTo>
                  <a:pt x="7364" y="5400"/>
                  <a:pt x="7364" y="7560"/>
                  <a:pt x="9818" y="7560"/>
                </a:cubicBezTo>
                <a:lnTo>
                  <a:pt x="15709" y="7560"/>
                </a:lnTo>
                <a:cubicBezTo>
                  <a:pt x="16251" y="7560"/>
                  <a:pt x="16691" y="8044"/>
                  <a:pt x="16691" y="8641"/>
                </a:cubicBezTo>
                <a:cubicBezTo>
                  <a:pt x="16691" y="8641"/>
                  <a:pt x="16691" y="9720"/>
                  <a:pt x="16691" y="9720"/>
                </a:cubicBezTo>
                <a:close/>
                <a:moveTo>
                  <a:pt x="16691" y="19440"/>
                </a:moveTo>
                <a:cubicBezTo>
                  <a:pt x="16691" y="20037"/>
                  <a:pt x="16251" y="20520"/>
                  <a:pt x="15709" y="20520"/>
                </a:cubicBezTo>
                <a:lnTo>
                  <a:pt x="1964" y="20520"/>
                </a:lnTo>
                <a:cubicBezTo>
                  <a:pt x="1421" y="20520"/>
                  <a:pt x="982" y="20037"/>
                  <a:pt x="982" y="19440"/>
                </a:cubicBezTo>
                <a:lnTo>
                  <a:pt x="982" y="10801"/>
                </a:lnTo>
                <a:lnTo>
                  <a:pt x="16691" y="10801"/>
                </a:lnTo>
                <a:cubicBezTo>
                  <a:pt x="16691" y="10801"/>
                  <a:pt x="16691" y="19440"/>
                  <a:pt x="16691" y="19440"/>
                </a:cubicBezTo>
                <a:close/>
                <a:moveTo>
                  <a:pt x="15709" y="6481"/>
                </a:moveTo>
                <a:lnTo>
                  <a:pt x="9818" y="6481"/>
                </a:lnTo>
                <a:cubicBezTo>
                  <a:pt x="7855" y="6480"/>
                  <a:pt x="7855" y="4320"/>
                  <a:pt x="5891" y="4320"/>
                </a:cubicBezTo>
                <a:lnTo>
                  <a:pt x="1964" y="4320"/>
                </a:lnTo>
                <a:cubicBezTo>
                  <a:pt x="879" y="4320"/>
                  <a:pt x="0" y="5287"/>
                  <a:pt x="0" y="6481"/>
                </a:cubicBezTo>
                <a:lnTo>
                  <a:pt x="0" y="19440"/>
                </a:lnTo>
                <a:cubicBezTo>
                  <a:pt x="0" y="20634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634"/>
                  <a:pt x="17673" y="19440"/>
                </a:cubicBezTo>
                <a:lnTo>
                  <a:pt x="17673" y="8641"/>
                </a:lnTo>
                <a:cubicBezTo>
                  <a:pt x="17673" y="7447"/>
                  <a:pt x="16794" y="6481"/>
                  <a:pt x="15709" y="648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2" name="Shape 2612"/>
          <p:cNvSpPr/>
          <p:nvPr/>
        </p:nvSpPr>
        <p:spPr>
          <a:xfrm>
            <a:off x="19965600" y="6279839"/>
            <a:ext cx="558654" cy="4570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3200"/>
                </a:moveTo>
                <a:cubicBezTo>
                  <a:pt x="11071" y="13200"/>
                  <a:pt x="11291" y="13469"/>
                  <a:pt x="11291" y="13800"/>
                </a:cubicBezTo>
                <a:cubicBezTo>
                  <a:pt x="11291" y="14132"/>
                  <a:pt x="11071" y="14400"/>
                  <a:pt x="10800" y="14400"/>
                </a:cubicBezTo>
                <a:cubicBezTo>
                  <a:pt x="10529" y="14400"/>
                  <a:pt x="10309" y="14132"/>
                  <a:pt x="10309" y="13800"/>
                </a:cubicBezTo>
                <a:cubicBezTo>
                  <a:pt x="10309" y="13469"/>
                  <a:pt x="10529" y="13200"/>
                  <a:pt x="10800" y="13200"/>
                </a:cubicBezTo>
                <a:moveTo>
                  <a:pt x="10800" y="15600"/>
                </a:moveTo>
                <a:cubicBezTo>
                  <a:pt x="11613" y="15600"/>
                  <a:pt x="12273" y="14794"/>
                  <a:pt x="12273" y="13800"/>
                </a:cubicBezTo>
                <a:cubicBezTo>
                  <a:pt x="12273" y="12806"/>
                  <a:pt x="11613" y="12000"/>
                  <a:pt x="10800" y="12000"/>
                </a:cubicBezTo>
                <a:cubicBezTo>
                  <a:pt x="9987" y="12000"/>
                  <a:pt x="9327" y="12806"/>
                  <a:pt x="9327" y="13800"/>
                </a:cubicBezTo>
                <a:cubicBezTo>
                  <a:pt x="9327" y="14794"/>
                  <a:pt x="9987" y="15600"/>
                  <a:pt x="10800" y="15600"/>
                </a:cubicBezTo>
                <a:moveTo>
                  <a:pt x="5400" y="13200"/>
                </a:moveTo>
                <a:cubicBezTo>
                  <a:pt x="5671" y="13200"/>
                  <a:pt x="5891" y="13469"/>
                  <a:pt x="5891" y="13800"/>
                </a:cubicBezTo>
                <a:cubicBezTo>
                  <a:pt x="5891" y="14132"/>
                  <a:pt x="5671" y="14400"/>
                  <a:pt x="5400" y="14400"/>
                </a:cubicBezTo>
                <a:cubicBezTo>
                  <a:pt x="5129" y="14400"/>
                  <a:pt x="4909" y="14132"/>
                  <a:pt x="4909" y="13800"/>
                </a:cubicBezTo>
                <a:cubicBezTo>
                  <a:pt x="4909" y="13469"/>
                  <a:pt x="5129" y="13200"/>
                  <a:pt x="5400" y="13200"/>
                </a:cubicBezTo>
                <a:moveTo>
                  <a:pt x="5400" y="15600"/>
                </a:moveTo>
                <a:cubicBezTo>
                  <a:pt x="6213" y="15600"/>
                  <a:pt x="6873" y="14794"/>
                  <a:pt x="6873" y="13800"/>
                </a:cubicBezTo>
                <a:cubicBezTo>
                  <a:pt x="6873" y="12806"/>
                  <a:pt x="6213" y="12000"/>
                  <a:pt x="5400" y="12000"/>
                </a:cubicBezTo>
                <a:cubicBezTo>
                  <a:pt x="4587" y="12000"/>
                  <a:pt x="3927" y="12806"/>
                  <a:pt x="3927" y="13800"/>
                </a:cubicBezTo>
                <a:cubicBezTo>
                  <a:pt x="3927" y="14794"/>
                  <a:pt x="4587" y="15600"/>
                  <a:pt x="5400" y="15600"/>
                </a:cubicBezTo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1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799"/>
                </a:cubicBezTo>
                <a:cubicBezTo>
                  <a:pt x="20618" y="4799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2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1" y="20400"/>
                  <a:pt x="982" y="19862"/>
                  <a:pt x="982" y="19200"/>
                </a:cubicBezTo>
                <a:lnTo>
                  <a:pt x="982" y="7199"/>
                </a:lnTo>
                <a:lnTo>
                  <a:pt x="20618" y="7199"/>
                </a:lnTo>
                <a:cubicBezTo>
                  <a:pt x="20618" y="7199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799"/>
                </a:lnTo>
                <a:cubicBezTo>
                  <a:pt x="21600" y="3474"/>
                  <a:pt x="20721" y="2399"/>
                  <a:pt x="19636" y="2399"/>
                </a:cubicBezTo>
                <a:moveTo>
                  <a:pt x="16200" y="13200"/>
                </a:moveTo>
                <a:cubicBezTo>
                  <a:pt x="16471" y="13200"/>
                  <a:pt x="16691" y="13469"/>
                  <a:pt x="16691" y="13800"/>
                </a:cubicBezTo>
                <a:cubicBezTo>
                  <a:pt x="16691" y="14132"/>
                  <a:pt x="16471" y="14400"/>
                  <a:pt x="16200" y="14400"/>
                </a:cubicBezTo>
                <a:cubicBezTo>
                  <a:pt x="15929" y="14400"/>
                  <a:pt x="15709" y="14132"/>
                  <a:pt x="15709" y="13800"/>
                </a:cubicBezTo>
                <a:cubicBezTo>
                  <a:pt x="15709" y="13469"/>
                  <a:pt x="15929" y="13200"/>
                  <a:pt x="16200" y="13200"/>
                </a:cubicBezTo>
                <a:moveTo>
                  <a:pt x="16200" y="15600"/>
                </a:moveTo>
                <a:cubicBezTo>
                  <a:pt x="17013" y="15600"/>
                  <a:pt x="17673" y="14794"/>
                  <a:pt x="17673" y="13800"/>
                </a:cubicBezTo>
                <a:cubicBezTo>
                  <a:pt x="17673" y="12806"/>
                  <a:pt x="17013" y="12000"/>
                  <a:pt x="16200" y="12000"/>
                </a:cubicBezTo>
                <a:cubicBezTo>
                  <a:pt x="15387" y="12000"/>
                  <a:pt x="14727" y="12806"/>
                  <a:pt x="14727" y="13800"/>
                </a:cubicBezTo>
                <a:cubicBezTo>
                  <a:pt x="14727" y="14794"/>
                  <a:pt x="15387" y="15600"/>
                  <a:pt x="16200" y="156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3" name="Shape 2613"/>
          <p:cNvSpPr/>
          <p:nvPr/>
        </p:nvSpPr>
        <p:spPr>
          <a:xfrm>
            <a:off x="21032122" y="622905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964"/>
                </a:moveTo>
                <a:lnTo>
                  <a:pt x="10800" y="1964"/>
                </a:lnTo>
                <a:cubicBezTo>
                  <a:pt x="8836" y="1964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5709"/>
                </a:lnTo>
                <a:cubicBezTo>
                  <a:pt x="0" y="16794"/>
                  <a:pt x="879" y="17673"/>
                  <a:pt x="1964" y="17673"/>
                </a:cubicBezTo>
                <a:lnTo>
                  <a:pt x="6599" y="17673"/>
                </a:lnTo>
                <a:cubicBezTo>
                  <a:pt x="6257" y="17372"/>
                  <a:pt x="5941" y="17046"/>
                  <a:pt x="5656" y="16691"/>
                </a:cubicBezTo>
                <a:lnTo>
                  <a:pt x="1964" y="16691"/>
                </a:lnTo>
                <a:cubicBezTo>
                  <a:pt x="1422" y="16691"/>
                  <a:pt x="982" y="16252"/>
                  <a:pt x="982" y="15709"/>
                </a:cubicBezTo>
                <a:lnTo>
                  <a:pt x="982" y="5891"/>
                </a:lnTo>
                <a:lnTo>
                  <a:pt x="6599" y="5891"/>
                </a:lnTo>
                <a:cubicBezTo>
                  <a:pt x="7023" y="5517"/>
                  <a:pt x="7484" y="5185"/>
                  <a:pt x="7982" y="4909"/>
                </a:cubicBezTo>
                <a:lnTo>
                  <a:pt x="982" y="4909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6873" y="982"/>
                </a:lnTo>
                <a:cubicBezTo>
                  <a:pt x="8345" y="982"/>
                  <a:pt x="8345" y="2946"/>
                  <a:pt x="10800" y="2946"/>
                </a:cubicBezTo>
                <a:lnTo>
                  <a:pt x="19636" y="2946"/>
                </a:lnTo>
                <a:cubicBezTo>
                  <a:pt x="20178" y="2946"/>
                  <a:pt x="20618" y="3385"/>
                  <a:pt x="20618" y="3927"/>
                </a:cubicBezTo>
                <a:lnTo>
                  <a:pt x="20618" y="4909"/>
                </a:lnTo>
                <a:lnTo>
                  <a:pt x="15582" y="4909"/>
                </a:lnTo>
                <a:cubicBezTo>
                  <a:pt x="16080" y="5185"/>
                  <a:pt x="16541" y="5517"/>
                  <a:pt x="16965" y="5891"/>
                </a:cubicBezTo>
                <a:lnTo>
                  <a:pt x="20618" y="5891"/>
                </a:ln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8766" y="16691"/>
                </a:lnTo>
                <a:lnTo>
                  <a:pt x="19738" y="17663"/>
                </a:lnTo>
                <a:cubicBezTo>
                  <a:pt x="20774" y="17609"/>
                  <a:pt x="21600" y="16759"/>
                  <a:pt x="21600" y="15709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1782" y="17673"/>
                </a:moveTo>
                <a:cubicBezTo>
                  <a:pt x="8529" y="17673"/>
                  <a:pt x="5891" y="15036"/>
                  <a:pt x="5891" y="11782"/>
                </a:cubicBezTo>
                <a:cubicBezTo>
                  <a:pt x="5891" y="8529"/>
                  <a:pt x="8529" y="5891"/>
                  <a:pt x="11782" y="5891"/>
                </a:cubicBezTo>
                <a:cubicBezTo>
                  <a:pt x="15035" y="5891"/>
                  <a:pt x="17673" y="8529"/>
                  <a:pt x="17673" y="11782"/>
                </a:cubicBezTo>
                <a:cubicBezTo>
                  <a:pt x="17673" y="15036"/>
                  <a:pt x="15035" y="17673"/>
                  <a:pt x="11782" y="17673"/>
                </a:cubicBezTo>
                <a:moveTo>
                  <a:pt x="16972" y="16278"/>
                </a:moveTo>
                <a:cubicBezTo>
                  <a:pt x="18018" y="15072"/>
                  <a:pt x="18655" y="13503"/>
                  <a:pt x="18655" y="11782"/>
                </a:cubicBezTo>
                <a:cubicBezTo>
                  <a:pt x="18655" y="7987"/>
                  <a:pt x="15578" y="4910"/>
                  <a:pt x="11782" y="4910"/>
                </a:cubicBezTo>
                <a:cubicBezTo>
                  <a:pt x="7986" y="4910"/>
                  <a:pt x="4909" y="7987"/>
                  <a:pt x="4909" y="11782"/>
                </a:cubicBezTo>
                <a:cubicBezTo>
                  <a:pt x="4909" y="15578"/>
                  <a:pt x="7986" y="18655"/>
                  <a:pt x="11782" y="18655"/>
                </a:cubicBezTo>
                <a:cubicBezTo>
                  <a:pt x="13503" y="18655"/>
                  <a:pt x="15072" y="18017"/>
                  <a:pt x="16278" y="16972"/>
                </a:cubicBezTo>
                <a:lnTo>
                  <a:pt x="16972" y="17666"/>
                </a:lnTo>
                <a:cubicBezTo>
                  <a:pt x="16969" y="17668"/>
                  <a:pt x="16967" y="17671"/>
                  <a:pt x="16965" y="17673"/>
                </a:cubicBezTo>
                <a:lnTo>
                  <a:pt x="16979" y="17673"/>
                </a:lnTo>
                <a:lnTo>
                  <a:pt x="20762" y="21457"/>
                </a:lnTo>
                <a:cubicBezTo>
                  <a:pt x="20851" y="21546"/>
                  <a:pt x="20974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6972" y="16278"/>
                  <a:pt x="16972" y="16278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4" name="Shape 2614"/>
          <p:cNvSpPr/>
          <p:nvPr/>
        </p:nvSpPr>
        <p:spPr>
          <a:xfrm>
            <a:off x="22098644" y="622905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5" name="Shape 2615"/>
          <p:cNvSpPr/>
          <p:nvPr/>
        </p:nvSpPr>
        <p:spPr>
          <a:xfrm>
            <a:off x="12499946" y="729557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93" y="17878"/>
                </a:moveTo>
                <a:cubicBezTo>
                  <a:pt x="16514" y="16546"/>
                  <a:pt x="15177" y="15812"/>
                  <a:pt x="14084" y="15323"/>
                </a:cubicBezTo>
                <a:cubicBezTo>
                  <a:pt x="13842" y="15214"/>
                  <a:pt x="13687" y="15099"/>
                  <a:pt x="13598" y="14990"/>
                </a:cubicBezTo>
                <a:cubicBezTo>
                  <a:pt x="15238" y="14959"/>
                  <a:pt x="16521" y="14237"/>
                  <a:pt x="16581" y="14203"/>
                </a:cubicBezTo>
                <a:cubicBezTo>
                  <a:pt x="16751" y="14106"/>
                  <a:pt x="16846" y="13918"/>
                  <a:pt x="16826" y="13724"/>
                </a:cubicBezTo>
                <a:cubicBezTo>
                  <a:pt x="16807" y="13546"/>
                  <a:pt x="16693" y="13394"/>
                  <a:pt x="16530" y="13325"/>
                </a:cubicBezTo>
                <a:cubicBezTo>
                  <a:pt x="16461" y="13275"/>
                  <a:pt x="15663" y="12629"/>
                  <a:pt x="15663" y="9051"/>
                </a:cubicBezTo>
                <a:cubicBezTo>
                  <a:pt x="15663" y="5000"/>
                  <a:pt x="14115" y="2945"/>
                  <a:pt x="11061" y="2945"/>
                </a:cubicBezTo>
                <a:cubicBezTo>
                  <a:pt x="8481" y="2945"/>
                  <a:pt x="5845" y="3642"/>
                  <a:pt x="5845" y="8806"/>
                </a:cubicBezTo>
                <a:cubicBezTo>
                  <a:pt x="5845" y="12555"/>
                  <a:pt x="5219" y="13278"/>
                  <a:pt x="5122" y="13367"/>
                </a:cubicBezTo>
                <a:cubicBezTo>
                  <a:pt x="4957" y="13416"/>
                  <a:pt x="4826" y="13551"/>
                  <a:pt x="4784" y="13723"/>
                </a:cubicBezTo>
                <a:cubicBezTo>
                  <a:pt x="4734" y="13935"/>
                  <a:pt x="4828" y="14153"/>
                  <a:pt x="5015" y="14262"/>
                </a:cubicBezTo>
                <a:cubicBezTo>
                  <a:pt x="6396" y="15064"/>
                  <a:pt x="7482" y="15136"/>
                  <a:pt x="8065" y="15091"/>
                </a:cubicBezTo>
                <a:cubicBezTo>
                  <a:pt x="7994" y="15151"/>
                  <a:pt x="7850" y="15241"/>
                  <a:pt x="7564" y="15335"/>
                </a:cubicBezTo>
                <a:cubicBezTo>
                  <a:pt x="6211" y="15776"/>
                  <a:pt x="4766" y="16807"/>
                  <a:pt x="3958" y="17834"/>
                </a:cubicBezTo>
                <a:cubicBezTo>
                  <a:pt x="2125" y="16050"/>
                  <a:pt x="982" y="13560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3584"/>
                  <a:pt x="19454" y="16092"/>
                  <a:pt x="17593" y="17878"/>
                </a:cubicBezTo>
                <a:moveTo>
                  <a:pt x="10800" y="20618"/>
                </a:moveTo>
                <a:cubicBezTo>
                  <a:pt x="8489" y="20618"/>
                  <a:pt x="6370" y="19815"/>
                  <a:pt x="4693" y="18480"/>
                </a:cubicBezTo>
                <a:cubicBezTo>
                  <a:pt x="5360" y="17604"/>
                  <a:pt x="6693" y="16652"/>
                  <a:pt x="7869" y="16268"/>
                </a:cubicBezTo>
                <a:cubicBezTo>
                  <a:pt x="8578" y="16037"/>
                  <a:pt x="8988" y="15688"/>
                  <a:pt x="9087" y="15232"/>
                </a:cubicBezTo>
                <a:cubicBezTo>
                  <a:pt x="9214" y="14656"/>
                  <a:pt x="8775" y="14230"/>
                  <a:pt x="8725" y="14183"/>
                </a:cubicBezTo>
                <a:cubicBezTo>
                  <a:pt x="8597" y="14065"/>
                  <a:pt x="8412" y="14025"/>
                  <a:pt x="8246" y="14075"/>
                </a:cubicBezTo>
                <a:cubicBezTo>
                  <a:pt x="8208" y="14086"/>
                  <a:pt x="7406" y="14309"/>
                  <a:pt x="6089" y="13714"/>
                </a:cubicBezTo>
                <a:cubicBezTo>
                  <a:pt x="6486" y="13026"/>
                  <a:pt x="6826" y="11618"/>
                  <a:pt x="6826" y="8806"/>
                </a:cubicBezTo>
                <a:cubicBezTo>
                  <a:pt x="6826" y="4301"/>
                  <a:pt x="8829" y="3928"/>
                  <a:pt x="11061" y="3928"/>
                </a:cubicBezTo>
                <a:cubicBezTo>
                  <a:pt x="12615" y="3928"/>
                  <a:pt x="14681" y="4458"/>
                  <a:pt x="14681" y="9051"/>
                </a:cubicBezTo>
                <a:cubicBezTo>
                  <a:pt x="14681" y="11662"/>
                  <a:pt x="15092" y="12966"/>
                  <a:pt x="15499" y="13617"/>
                </a:cubicBezTo>
                <a:cubicBezTo>
                  <a:pt x="14943" y="13829"/>
                  <a:pt x="14058" y="14076"/>
                  <a:pt x="13097" y="13993"/>
                </a:cubicBezTo>
                <a:cubicBezTo>
                  <a:pt x="12883" y="13971"/>
                  <a:pt x="12690" y="14092"/>
                  <a:pt x="12605" y="14285"/>
                </a:cubicBezTo>
                <a:cubicBezTo>
                  <a:pt x="12420" y="14704"/>
                  <a:pt x="12408" y="15649"/>
                  <a:pt x="13683" y="16219"/>
                </a:cubicBezTo>
                <a:cubicBezTo>
                  <a:pt x="14677" y="16664"/>
                  <a:pt x="15893" y="17331"/>
                  <a:pt x="16850" y="18522"/>
                </a:cubicBezTo>
                <a:cubicBezTo>
                  <a:pt x="15182" y="19831"/>
                  <a:pt x="13085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6" name="Shape 2616"/>
          <p:cNvSpPr/>
          <p:nvPr/>
        </p:nvSpPr>
        <p:spPr>
          <a:xfrm>
            <a:off x="13566466" y="7320968"/>
            <a:ext cx="558654" cy="5079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7" name="Shape 2617"/>
          <p:cNvSpPr/>
          <p:nvPr/>
        </p:nvSpPr>
        <p:spPr>
          <a:xfrm>
            <a:off x="14632989" y="7346362"/>
            <a:ext cx="558654" cy="4571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8" name="Shape 2618"/>
          <p:cNvSpPr/>
          <p:nvPr/>
        </p:nvSpPr>
        <p:spPr>
          <a:xfrm>
            <a:off x="15699510" y="7295578"/>
            <a:ext cx="558602" cy="5586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8" h="21600" extrusionOk="0">
                <a:moveTo>
                  <a:pt x="2560" y="18308"/>
                </a:moveTo>
                <a:cubicBezTo>
                  <a:pt x="2472" y="18397"/>
                  <a:pt x="2418" y="18520"/>
                  <a:pt x="2418" y="18655"/>
                </a:cubicBezTo>
                <a:cubicBezTo>
                  <a:pt x="2418" y="18926"/>
                  <a:pt x="2635" y="19146"/>
                  <a:pt x="2902" y="19146"/>
                </a:cubicBezTo>
                <a:cubicBezTo>
                  <a:pt x="3169" y="19146"/>
                  <a:pt x="3385" y="18926"/>
                  <a:pt x="3385" y="18655"/>
                </a:cubicBezTo>
                <a:cubicBezTo>
                  <a:pt x="3385" y="18384"/>
                  <a:pt x="3169" y="18164"/>
                  <a:pt x="2902" y="18164"/>
                </a:cubicBezTo>
                <a:cubicBezTo>
                  <a:pt x="2768" y="18164"/>
                  <a:pt x="2647" y="18219"/>
                  <a:pt x="2560" y="18308"/>
                </a:cubicBezTo>
                <a:moveTo>
                  <a:pt x="20499" y="4279"/>
                </a:moveTo>
                <a:lnTo>
                  <a:pt x="20091" y="4692"/>
                </a:lnTo>
                <a:lnTo>
                  <a:pt x="20088" y="4688"/>
                </a:lnTo>
                <a:lnTo>
                  <a:pt x="17670" y="7143"/>
                </a:lnTo>
                <a:lnTo>
                  <a:pt x="17664" y="7137"/>
                </a:lnTo>
                <a:cubicBezTo>
                  <a:pt x="17227" y="7580"/>
                  <a:pt x="16624" y="7853"/>
                  <a:pt x="15958" y="7853"/>
                </a:cubicBezTo>
                <a:cubicBezTo>
                  <a:pt x="14624" y="7853"/>
                  <a:pt x="13543" y="6755"/>
                  <a:pt x="13543" y="5401"/>
                </a:cubicBezTo>
                <a:cubicBezTo>
                  <a:pt x="13543" y="4725"/>
                  <a:pt x="13813" y="4113"/>
                  <a:pt x="14248" y="3670"/>
                </a:cubicBezTo>
                <a:lnTo>
                  <a:pt x="13563" y="2975"/>
                </a:lnTo>
                <a:cubicBezTo>
                  <a:pt x="12951" y="3596"/>
                  <a:pt x="12571" y="4452"/>
                  <a:pt x="12571" y="5401"/>
                </a:cubicBezTo>
                <a:cubicBezTo>
                  <a:pt x="12571" y="7300"/>
                  <a:pt x="14087" y="8840"/>
                  <a:pt x="15958" y="8840"/>
                </a:cubicBezTo>
                <a:cubicBezTo>
                  <a:pt x="16893" y="8840"/>
                  <a:pt x="17737" y="8454"/>
                  <a:pt x="18348" y="7832"/>
                </a:cubicBezTo>
                <a:lnTo>
                  <a:pt x="18353" y="7837"/>
                </a:lnTo>
                <a:lnTo>
                  <a:pt x="20152" y="6011"/>
                </a:lnTo>
                <a:cubicBezTo>
                  <a:pt x="20516" y="7368"/>
                  <a:pt x="20343" y="8670"/>
                  <a:pt x="19540" y="9505"/>
                </a:cubicBezTo>
                <a:lnTo>
                  <a:pt x="16947" y="12198"/>
                </a:lnTo>
                <a:cubicBezTo>
                  <a:pt x="16605" y="12553"/>
                  <a:pt x="16104" y="12766"/>
                  <a:pt x="15610" y="12766"/>
                </a:cubicBezTo>
                <a:cubicBezTo>
                  <a:pt x="15590" y="12765"/>
                  <a:pt x="13953" y="12652"/>
                  <a:pt x="12318" y="11611"/>
                </a:cubicBezTo>
                <a:lnTo>
                  <a:pt x="12314" y="11620"/>
                </a:lnTo>
                <a:cubicBezTo>
                  <a:pt x="12239" y="11572"/>
                  <a:pt x="12155" y="11537"/>
                  <a:pt x="12060" y="11537"/>
                </a:cubicBezTo>
                <a:cubicBezTo>
                  <a:pt x="11897" y="11537"/>
                  <a:pt x="11759" y="11625"/>
                  <a:pt x="11671" y="11753"/>
                </a:cubicBezTo>
                <a:lnTo>
                  <a:pt x="11654" y="11742"/>
                </a:lnTo>
                <a:lnTo>
                  <a:pt x="4270" y="20043"/>
                </a:lnTo>
                <a:cubicBezTo>
                  <a:pt x="3919" y="20399"/>
                  <a:pt x="3436" y="20618"/>
                  <a:pt x="2902" y="20618"/>
                </a:cubicBezTo>
                <a:cubicBezTo>
                  <a:pt x="1833" y="20618"/>
                  <a:pt x="967" y="19740"/>
                  <a:pt x="967" y="18655"/>
                </a:cubicBezTo>
                <a:cubicBezTo>
                  <a:pt x="967" y="18113"/>
                  <a:pt x="1184" y="17622"/>
                  <a:pt x="1534" y="17267"/>
                </a:cubicBezTo>
                <a:lnTo>
                  <a:pt x="9684" y="9801"/>
                </a:lnTo>
                <a:lnTo>
                  <a:pt x="9671" y="9786"/>
                </a:lnTo>
                <a:cubicBezTo>
                  <a:pt x="9796" y="9698"/>
                  <a:pt x="9884" y="9557"/>
                  <a:pt x="9884" y="9389"/>
                </a:cubicBezTo>
                <a:cubicBezTo>
                  <a:pt x="9884" y="9283"/>
                  <a:pt x="9844" y="9190"/>
                  <a:pt x="9787" y="9110"/>
                </a:cubicBezTo>
                <a:lnTo>
                  <a:pt x="9790" y="9107"/>
                </a:lnTo>
                <a:cubicBezTo>
                  <a:pt x="8390" y="7219"/>
                  <a:pt x="8340" y="5816"/>
                  <a:pt x="9546" y="4488"/>
                </a:cubicBezTo>
                <a:lnTo>
                  <a:pt x="12130" y="1805"/>
                </a:lnTo>
                <a:cubicBezTo>
                  <a:pt x="12785" y="1125"/>
                  <a:pt x="13641" y="982"/>
                  <a:pt x="14244" y="982"/>
                </a:cubicBezTo>
                <a:lnTo>
                  <a:pt x="14246" y="982"/>
                </a:lnTo>
                <a:cubicBezTo>
                  <a:pt x="14611" y="982"/>
                  <a:pt x="14988" y="1037"/>
                  <a:pt x="15366" y="1136"/>
                </a:cubicBezTo>
                <a:lnTo>
                  <a:pt x="13559" y="2970"/>
                </a:lnTo>
                <a:lnTo>
                  <a:pt x="14243" y="3664"/>
                </a:lnTo>
                <a:lnTo>
                  <a:pt x="16661" y="1210"/>
                </a:lnTo>
                <a:lnTo>
                  <a:pt x="16657" y="1206"/>
                </a:lnTo>
                <a:lnTo>
                  <a:pt x="17082" y="775"/>
                </a:lnTo>
                <a:cubicBezTo>
                  <a:pt x="16139" y="269"/>
                  <a:pt x="15160" y="0"/>
                  <a:pt x="14246" y="0"/>
                </a:cubicBezTo>
                <a:lnTo>
                  <a:pt x="14244" y="0"/>
                </a:lnTo>
                <a:cubicBezTo>
                  <a:pt x="13167" y="0"/>
                  <a:pt x="12182" y="361"/>
                  <a:pt x="11460" y="1111"/>
                </a:cubicBezTo>
                <a:lnTo>
                  <a:pt x="8867" y="3804"/>
                </a:lnTo>
                <a:cubicBezTo>
                  <a:pt x="7163" y="5672"/>
                  <a:pt x="7613" y="7584"/>
                  <a:pt x="8769" y="9315"/>
                </a:cubicBezTo>
                <a:lnTo>
                  <a:pt x="850" y="16572"/>
                </a:lnTo>
                <a:cubicBezTo>
                  <a:pt x="325" y="17106"/>
                  <a:pt x="0" y="17842"/>
                  <a:pt x="0" y="18655"/>
                </a:cubicBezTo>
                <a:cubicBezTo>
                  <a:pt x="0" y="20282"/>
                  <a:pt x="1299" y="21600"/>
                  <a:pt x="2902" y="21600"/>
                </a:cubicBezTo>
                <a:cubicBezTo>
                  <a:pt x="3703" y="21600"/>
                  <a:pt x="4429" y="21271"/>
                  <a:pt x="4954" y="20738"/>
                </a:cubicBezTo>
                <a:lnTo>
                  <a:pt x="12160" y="12652"/>
                </a:lnTo>
                <a:cubicBezTo>
                  <a:pt x="13800" y="13590"/>
                  <a:pt x="15363" y="13747"/>
                  <a:pt x="15606" y="13747"/>
                </a:cubicBezTo>
                <a:cubicBezTo>
                  <a:pt x="16313" y="13747"/>
                  <a:pt x="17067" y="13463"/>
                  <a:pt x="17617" y="12892"/>
                </a:cubicBezTo>
                <a:lnTo>
                  <a:pt x="20209" y="10198"/>
                </a:lnTo>
                <a:cubicBezTo>
                  <a:pt x="21560" y="8795"/>
                  <a:pt x="21600" y="6433"/>
                  <a:pt x="20499" y="427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19" name="Shape 2619"/>
          <p:cNvSpPr/>
          <p:nvPr/>
        </p:nvSpPr>
        <p:spPr>
          <a:xfrm>
            <a:off x="16766033" y="7295579"/>
            <a:ext cx="558654" cy="5586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3" extrusionOk="0">
                <a:moveTo>
                  <a:pt x="12364" y="11941"/>
                </a:moveTo>
                <a:lnTo>
                  <a:pt x="13062" y="14033"/>
                </a:lnTo>
                <a:lnTo>
                  <a:pt x="11365" y="12790"/>
                </a:lnTo>
                <a:lnTo>
                  <a:pt x="10785" y="12365"/>
                </a:lnTo>
                <a:lnTo>
                  <a:pt x="10205" y="12790"/>
                </a:lnTo>
                <a:lnTo>
                  <a:pt x="8508" y="14033"/>
                </a:lnTo>
                <a:lnTo>
                  <a:pt x="9206" y="11941"/>
                </a:lnTo>
                <a:lnTo>
                  <a:pt x="9426" y="11282"/>
                </a:lnTo>
                <a:lnTo>
                  <a:pt x="8877" y="10856"/>
                </a:lnTo>
                <a:lnTo>
                  <a:pt x="7511" y="9794"/>
                </a:lnTo>
                <a:lnTo>
                  <a:pt x="9790" y="9794"/>
                </a:lnTo>
                <a:lnTo>
                  <a:pt x="10030" y="9160"/>
                </a:lnTo>
                <a:lnTo>
                  <a:pt x="10785" y="7162"/>
                </a:lnTo>
                <a:lnTo>
                  <a:pt x="11540" y="9160"/>
                </a:lnTo>
                <a:lnTo>
                  <a:pt x="11779" y="9794"/>
                </a:lnTo>
                <a:lnTo>
                  <a:pt x="14059" y="9794"/>
                </a:lnTo>
                <a:lnTo>
                  <a:pt x="12692" y="10856"/>
                </a:lnTo>
                <a:lnTo>
                  <a:pt x="12144" y="11282"/>
                </a:lnTo>
                <a:cubicBezTo>
                  <a:pt x="12144" y="11282"/>
                  <a:pt x="12364" y="11941"/>
                  <a:pt x="12364" y="11941"/>
                </a:cubicBezTo>
                <a:close/>
                <a:moveTo>
                  <a:pt x="12458" y="8813"/>
                </a:moveTo>
                <a:lnTo>
                  <a:pt x="10785" y="4384"/>
                </a:lnTo>
                <a:lnTo>
                  <a:pt x="9111" y="8813"/>
                </a:lnTo>
                <a:lnTo>
                  <a:pt x="4649" y="8813"/>
                </a:lnTo>
                <a:lnTo>
                  <a:pt x="8275" y="11631"/>
                </a:lnTo>
                <a:lnTo>
                  <a:pt x="6601" y="16647"/>
                </a:lnTo>
                <a:lnTo>
                  <a:pt x="10785" y="13582"/>
                </a:lnTo>
                <a:lnTo>
                  <a:pt x="14969" y="16647"/>
                </a:lnTo>
                <a:lnTo>
                  <a:pt x="13295" y="11631"/>
                </a:lnTo>
                <a:lnTo>
                  <a:pt x="16921" y="8813"/>
                </a:lnTo>
                <a:cubicBezTo>
                  <a:pt x="16921" y="8813"/>
                  <a:pt x="12458" y="8813"/>
                  <a:pt x="12458" y="8813"/>
                </a:cubicBezTo>
                <a:close/>
                <a:moveTo>
                  <a:pt x="10800" y="20592"/>
                </a:moveTo>
                <a:cubicBezTo>
                  <a:pt x="9796" y="20381"/>
                  <a:pt x="982" y="17399"/>
                  <a:pt x="982" y="12263"/>
                </a:cubicBezTo>
                <a:cubicBezTo>
                  <a:pt x="982" y="7469"/>
                  <a:pt x="2322" y="2919"/>
                  <a:pt x="2778" y="1179"/>
                </a:cubicBezTo>
                <a:cubicBezTo>
                  <a:pt x="4022" y="1719"/>
                  <a:pt x="7232" y="2943"/>
                  <a:pt x="10800" y="2943"/>
                </a:cubicBezTo>
                <a:cubicBezTo>
                  <a:pt x="14368" y="2943"/>
                  <a:pt x="17579" y="1719"/>
                  <a:pt x="18823" y="1179"/>
                </a:cubicBezTo>
                <a:cubicBezTo>
                  <a:pt x="19278" y="2918"/>
                  <a:pt x="20618" y="7466"/>
                  <a:pt x="20618" y="12263"/>
                </a:cubicBezTo>
                <a:cubicBezTo>
                  <a:pt x="20618" y="17393"/>
                  <a:pt x="11803" y="20381"/>
                  <a:pt x="10800" y="20592"/>
                </a:cubicBezTo>
                <a:moveTo>
                  <a:pt x="19618" y="356"/>
                </a:moveTo>
                <a:cubicBezTo>
                  <a:pt x="19577" y="216"/>
                  <a:pt x="19477" y="101"/>
                  <a:pt x="19343" y="42"/>
                </a:cubicBezTo>
                <a:cubicBezTo>
                  <a:pt x="19210" y="-17"/>
                  <a:pt x="19057" y="-13"/>
                  <a:pt x="18926" y="52"/>
                </a:cubicBezTo>
                <a:cubicBezTo>
                  <a:pt x="18888" y="71"/>
                  <a:pt x="15053" y="1962"/>
                  <a:pt x="10800" y="1962"/>
                </a:cubicBezTo>
                <a:cubicBezTo>
                  <a:pt x="6556" y="1962"/>
                  <a:pt x="2712" y="71"/>
                  <a:pt x="2674" y="52"/>
                </a:cubicBezTo>
                <a:cubicBezTo>
                  <a:pt x="2543" y="-13"/>
                  <a:pt x="2391" y="-17"/>
                  <a:pt x="2257" y="42"/>
                </a:cubicBezTo>
                <a:cubicBezTo>
                  <a:pt x="2124" y="101"/>
                  <a:pt x="2023" y="216"/>
                  <a:pt x="1983" y="356"/>
                </a:cubicBezTo>
                <a:cubicBezTo>
                  <a:pt x="1963" y="426"/>
                  <a:pt x="0" y="6376"/>
                  <a:pt x="0" y="12263"/>
                </a:cubicBezTo>
                <a:cubicBezTo>
                  <a:pt x="0" y="18484"/>
                  <a:pt x="10271" y="21491"/>
                  <a:pt x="10708" y="21575"/>
                </a:cubicBezTo>
                <a:cubicBezTo>
                  <a:pt x="10739" y="21580"/>
                  <a:pt x="10770" y="21583"/>
                  <a:pt x="10800" y="21583"/>
                </a:cubicBezTo>
                <a:cubicBezTo>
                  <a:pt x="10831" y="21583"/>
                  <a:pt x="10862" y="21580"/>
                  <a:pt x="10892" y="21575"/>
                </a:cubicBezTo>
                <a:cubicBezTo>
                  <a:pt x="11329" y="21491"/>
                  <a:pt x="21600" y="18484"/>
                  <a:pt x="21600" y="12263"/>
                </a:cubicBezTo>
                <a:cubicBezTo>
                  <a:pt x="21600" y="6376"/>
                  <a:pt x="19637" y="426"/>
                  <a:pt x="19618" y="35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0" name="Shape 2620"/>
          <p:cNvSpPr/>
          <p:nvPr/>
        </p:nvSpPr>
        <p:spPr>
          <a:xfrm>
            <a:off x="17832556" y="7320971"/>
            <a:ext cx="558654" cy="5080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44" extrusionOk="0">
                <a:moveTo>
                  <a:pt x="20618" y="7406"/>
                </a:moveTo>
                <a:lnTo>
                  <a:pt x="13580" y="7406"/>
                </a:lnTo>
                <a:cubicBezTo>
                  <a:pt x="13156" y="6803"/>
                  <a:pt x="12718" y="6095"/>
                  <a:pt x="12319" y="5293"/>
                </a:cubicBezTo>
                <a:lnTo>
                  <a:pt x="20618" y="5293"/>
                </a:lnTo>
                <a:cubicBezTo>
                  <a:pt x="20618" y="5293"/>
                  <a:pt x="20618" y="7406"/>
                  <a:pt x="20618" y="7406"/>
                </a:cubicBezTo>
                <a:close/>
                <a:moveTo>
                  <a:pt x="19636" y="13747"/>
                </a:moveTo>
                <a:lnTo>
                  <a:pt x="11291" y="13747"/>
                </a:lnTo>
                <a:lnTo>
                  <a:pt x="11291" y="8463"/>
                </a:lnTo>
                <a:lnTo>
                  <a:pt x="13090" y="8463"/>
                </a:lnTo>
                <a:cubicBezTo>
                  <a:pt x="14022" y="9712"/>
                  <a:pt x="14815" y="10437"/>
                  <a:pt x="14882" y="10497"/>
                </a:cubicBezTo>
                <a:cubicBezTo>
                  <a:pt x="15009" y="10610"/>
                  <a:pt x="15174" y="10644"/>
                  <a:pt x="15323" y="10601"/>
                </a:cubicBezTo>
                <a:cubicBezTo>
                  <a:pt x="15418" y="10574"/>
                  <a:pt x="15505" y="10516"/>
                  <a:pt x="15573" y="10429"/>
                </a:cubicBezTo>
                <a:cubicBezTo>
                  <a:pt x="15746" y="10205"/>
                  <a:pt x="15718" y="9871"/>
                  <a:pt x="15510" y="9684"/>
                </a:cubicBezTo>
                <a:cubicBezTo>
                  <a:pt x="15498" y="9674"/>
                  <a:pt x="15023" y="9238"/>
                  <a:pt x="14383" y="8463"/>
                </a:cubicBezTo>
                <a:lnTo>
                  <a:pt x="19636" y="8463"/>
                </a:lnTo>
                <a:cubicBezTo>
                  <a:pt x="19636" y="8463"/>
                  <a:pt x="19636" y="13747"/>
                  <a:pt x="19636" y="13747"/>
                </a:cubicBezTo>
                <a:close/>
                <a:moveTo>
                  <a:pt x="19636" y="20087"/>
                </a:moveTo>
                <a:lnTo>
                  <a:pt x="11291" y="20087"/>
                </a:lnTo>
                <a:lnTo>
                  <a:pt x="11291" y="14803"/>
                </a:lnTo>
                <a:lnTo>
                  <a:pt x="19636" y="14803"/>
                </a:lnTo>
                <a:cubicBezTo>
                  <a:pt x="19636" y="14803"/>
                  <a:pt x="19636" y="20087"/>
                  <a:pt x="19636" y="20087"/>
                </a:cubicBezTo>
                <a:close/>
                <a:moveTo>
                  <a:pt x="11291" y="5461"/>
                </a:moveTo>
                <a:cubicBezTo>
                  <a:pt x="11626" y="6178"/>
                  <a:pt x="11991" y="6828"/>
                  <a:pt x="12360" y="7406"/>
                </a:cubicBezTo>
                <a:lnTo>
                  <a:pt x="11291" y="7406"/>
                </a:lnTo>
                <a:cubicBezTo>
                  <a:pt x="11291" y="7406"/>
                  <a:pt x="11291" y="5461"/>
                  <a:pt x="11291" y="5461"/>
                </a:cubicBezTo>
                <a:close/>
                <a:moveTo>
                  <a:pt x="12871" y="1481"/>
                </a:moveTo>
                <a:cubicBezTo>
                  <a:pt x="14045" y="751"/>
                  <a:pt x="15436" y="979"/>
                  <a:pt x="15979" y="1990"/>
                </a:cubicBezTo>
                <a:cubicBezTo>
                  <a:pt x="16343" y="2668"/>
                  <a:pt x="16223" y="3523"/>
                  <a:pt x="15755" y="4236"/>
                </a:cubicBezTo>
                <a:lnTo>
                  <a:pt x="11845" y="4236"/>
                </a:lnTo>
                <a:cubicBezTo>
                  <a:pt x="11740" y="3975"/>
                  <a:pt x="11641" y="3708"/>
                  <a:pt x="11550" y="3432"/>
                </a:cubicBezTo>
                <a:cubicBezTo>
                  <a:pt x="11653" y="2691"/>
                  <a:pt x="12120" y="1947"/>
                  <a:pt x="12871" y="1481"/>
                </a:cubicBezTo>
                <a:moveTo>
                  <a:pt x="10309" y="7406"/>
                </a:moveTo>
                <a:lnTo>
                  <a:pt x="9224" y="7406"/>
                </a:lnTo>
                <a:cubicBezTo>
                  <a:pt x="9600" y="6819"/>
                  <a:pt x="9970" y="6158"/>
                  <a:pt x="10309" y="5429"/>
                </a:cubicBezTo>
                <a:cubicBezTo>
                  <a:pt x="10309" y="5429"/>
                  <a:pt x="10309" y="7406"/>
                  <a:pt x="10309" y="7406"/>
                </a:cubicBezTo>
                <a:close/>
                <a:moveTo>
                  <a:pt x="10309" y="13747"/>
                </a:moveTo>
                <a:lnTo>
                  <a:pt x="1964" y="13747"/>
                </a:lnTo>
                <a:lnTo>
                  <a:pt x="1964" y="8463"/>
                </a:lnTo>
                <a:lnTo>
                  <a:pt x="7202" y="8463"/>
                </a:lnTo>
                <a:cubicBezTo>
                  <a:pt x="6563" y="9238"/>
                  <a:pt x="6087" y="9674"/>
                  <a:pt x="6075" y="9684"/>
                </a:cubicBezTo>
                <a:cubicBezTo>
                  <a:pt x="5867" y="9871"/>
                  <a:pt x="5839" y="10205"/>
                  <a:pt x="6012" y="10429"/>
                </a:cubicBezTo>
                <a:cubicBezTo>
                  <a:pt x="6080" y="10516"/>
                  <a:pt x="6167" y="10574"/>
                  <a:pt x="6261" y="10601"/>
                </a:cubicBezTo>
                <a:cubicBezTo>
                  <a:pt x="6411" y="10644"/>
                  <a:pt x="6575" y="10610"/>
                  <a:pt x="6703" y="10497"/>
                </a:cubicBezTo>
                <a:cubicBezTo>
                  <a:pt x="6770" y="10437"/>
                  <a:pt x="7563" y="9712"/>
                  <a:pt x="8495" y="8463"/>
                </a:cubicBezTo>
                <a:lnTo>
                  <a:pt x="10309" y="8463"/>
                </a:lnTo>
                <a:cubicBezTo>
                  <a:pt x="10309" y="8463"/>
                  <a:pt x="10309" y="13747"/>
                  <a:pt x="10309" y="13747"/>
                </a:cubicBezTo>
                <a:close/>
                <a:moveTo>
                  <a:pt x="10309" y="20087"/>
                </a:moveTo>
                <a:lnTo>
                  <a:pt x="1964" y="20087"/>
                </a:lnTo>
                <a:lnTo>
                  <a:pt x="1964" y="14803"/>
                </a:lnTo>
                <a:lnTo>
                  <a:pt x="10309" y="14803"/>
                </a:lnTo>
                <a:cubicBezTo>
                  <a:pt x="10309" y="14803"/>
                  <a:pt x="10309" y="20087"/>
                  <a:pt x="10309" y="20087"/>
                </a:cubicBezTo>
                <a:close/>
                <a:moveTo>
                  <a:pt x="982" y="7406"/>
                </a:moveTo>
                <a:lnTo>
                  <a:pt x="982" y="5293"/>
                </a:lnTo>
                <a:lnTo>
                  <a:pt x="9266" y="5293"/>
                </a:lnTo>
                <a:cubicBezTo>
                  <a:pt x="8867" y="6095"/>
                  <a:pt x="8429" y="6803"/>
                  <a:pt x="8005" y="7406"/>
                </a:cubicBezTo>
                <a:cubicBezTo>
                  <a:pt x="8005" y="7406"/>
                  <a:pt x="982" y="7406"/>
                  <a:pt x="982" y="7406"/>
                </a:cubicBezTo>
                <a:close/>
                <a:moveTo>
                  <a:pt x="5606" y="1990"/>
                </a:moveTo>
                <a:cubicBezTo>
                  <a:pt x="6148" y="980"/>
                  <a:pt x="7540" y="751"/>
                  <a:pt x="8714" y="1481"/>
                </a:cubicBezTo>
                <a:cubicBezTo>
                  <a:pt x="9465" y="1948"/>
                  <a:pt x="9931" y="2692"/>
                  <a:pt x="10035" y="3433"/>
                </a:cubicBezTo>
                <a:cubicBezTo>
                  <a:pt x="9944" y="3708"/>
                  <a:pt x="9845" y="3975"/>
                  <a:pt x="9740" y="4236"/>
                </a:cubicBezTo>
                <a:lnTo>
                  <a:pt x="5830" y="4236"/>
                </a:lnTo>
                <a:cubicBezTo>
                  <a:pt x="5362" y="3523"/>
                  <a:pt x="5242" y="2668"/>
                  <a:pt x="5606" y="1990"/>
                </a:cubicBezTo>
                <a:moveTo>
                  <a:pt x="20618" y="4236"/>
                </a:moveTo>
                <a:lnTo>
                  <a:pt x="16874" y="4236"/>
                </a:lnTo>
                <a:cubicBezTo>
                  <a:pt x="17259" y="3325"/>
                  <a:pt x="17284" y="2310"/>
                  <a:pt x="16829" y="1461"/>
                </a:cubicBezTo>
                <a:cubicBezTo>
                  <a:pt x="16015" y="-54"/>
                  <a:pt x="14024" y="-456"/>
                  <a:pt x="12380" y="565"/>
                </a:cubicBezTo>
                <a:cubicBezTo>
                  <a:pt x="11747" y="959"/>
                  <a:pt x="11277" y="1511"/>
                  <a:pt x="10965" y="2122"/>
                </a:cubicBezTo>
                <a:cubicBezTo>
                  <a:pt x="10949" y="2115"/>
                  <a:pt x="10937" y="2103"/>
                  <a:pt x="10920" y="2098"/>
                </a:cubicBezTo>
                <a:cubicBezTo>
                  <a:pt x="10909" y="2095"/>
                  <a:pt x="10899" y="2097"/>
                  <a:pt x="10888" y="2095"/>
                </a:cubicBezTo>
                <a:cubicBezTo>
                  <a:pt x="10861" y="2089"/>
                  <a:pt x="10834" y="2089"/>
                  <a:pt x="10806" y="2088"/>
                </a:cubicBezTo>
                <a:cubicBezTo>
                  <a:pt x="10782" y="2089"/>
                  <a:pt x="10759" y="2089"/>
                  <a:pt x="10735" y="2093"/>
                </a:cubicBezTo>
                <a:cubicBezTo>
                  <a:pt x="10712" y="2096"/>
                  <a:pt x="10689" y="2090"/>
                  <a:pt x="10665" y="2098"/>
                </a:cubicBezTo>
                <a:cubicBezTo>
                  <a:pt x="10648" y="2103"/>
                  <a:pt x="10636" y="2115"/>
                  <a:pt x="10620" y="2122"/>
                </a:cubicBezTo>
                <a:cubicBezTo>
                  <a:pt x="10307" y="1511"/>
                  <a:pt x="9837" y="959"/>
                  <a:pt x="9205" y="566"/>
                </a:cubicBezTo>
                <a:cubicBezTo>
                  <a:pt x="7561" y="-456"/>
                  <a:pt x="5569" y="-54"/>
                  <a:pt x="4755" y="1461"/>
                </a:cubicBezTo>
                <a:cubicBezTo>
                  <a:pt x="4301" y="2310"/>
                  <a:pt x="4325" y="3325"/>
                  <a:pt x="4711" y="4236"/>
                </a:cubicBezTo>
                <a:lnTo>
                  <a:pt x="982" y="4236"/>
                </a:lnTo>
                <a:cubicBezTo>
                  <a:pt x="440" y="4236"/>
                  <a:pt x="0" y="4709"/>
                  <a:pt x="0" y="5293"/>
                </a:cubicBezTo>
                <a:lnTo>
                  <a:pt x="0" y="7406"/>
                </a:lnTo>
                <a:cubicBezTo>
                  <a:pt x="0" y="7990"/>
                  <a:pt x="440" y="8463"/>
                  <a:pt x="982" y="8463"/>
                </a:cubicBezTo>
                <a:lnTo>
                  <a:pt x="982" y="20087"/>
                </a:lnTo>
                <a:cubicBezTo>
                  <a:pt x="982" y="20671"/>
                  <a:pt x="1422" y="21144"/>
                  <a:pt x="1964" y="21144"/>
                </a:cubicBezTo>
                <a:lnTo>
                  <a:pt x="19636" y="21144"/>
                </a:lnTo>
                <a:cubicBezTo>
                  <a:pt x="20178" y="21144"/>
                  <a:pt x="20618" y="20671"/>
                  <a:pt x="20618" y="20087"/>
                </a:cubicBezTo>
                <a:lnTo>
                  <a:pt x="20618" y="8463"/>
                </a:lnTo>
                <a:cubicBezTo>
                  <a:pt x="21160" y="8463"/>
                  <a:pt x="21600" y="7990"/>
                  <a:pt x="21600" y="7406"/>
                </a:cubicBezTo>
                <a:lnTo>
                  <a:pt x="21600" y="5293"/>
                </a:lnTo>
                <a:cubicBezTo>
                  <a:pt x="21600" y="4709"/>
                  <a:pt x="21160" y="4236"/>
                  <a:pt x="20618" y="42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1" name="Shape 2621"/>
          <p:cNvSpPr/>
          <p:nvPr/>
        </p:nvSpPr>
        <p:spPr>
          <a:xfrm>
            <a:off x="18899079" y="7397149"/>
            <a:ext cx="558654" cy="3555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057"/>
                </a:moveTo>
                <a:cubicBezTo>
                  <a:pt x="5378" y="20057"/>
                  <a:pt x="982" y="13445"/>
                  <a:pt x="982" y="10800"/>
                </a:cubicBezTo>
                <a:cubicBezTo>
                  <a:pt x="982" y="8155"/>
                  <a:pt x="5378" y="1543"/>
                  <a:pt x="10800" y="1543"/>
                </a:cubicBezTo>
                <a:cubicBezTo>
                  <a:pt x="16223" y="1543"/>
                  <a:pt x="20618" y="8155"/>
                  <a:pt x="20618" y="10800"/>
                </a:cubicBezTo>
                <a:cubicBezTo>
                  <a:pt x="20618" y="13445"/>
                  <a:pt x="16223" y="20057"/>
                  <a:pt x="10800" y="20057"/>
                </a:cubicBezTo>
                <a:moveTo>
                  <a:pt x="10800" y="0"/>
                </a:moveTo>
                <a:cubicBezTo>
                  <a:pt x="4835" y="0"/>
                  <a:pt x="0" y="7714"/>
                  <a:pt x="0" y="10800"/>
                </a:cubicBezTo>
                <a:cubicBezTo>
                  <a:pt x="0" y="13886"/>
                  <a:pt x="4835" y="21600"/>
                  <a:pt x="10800" y="21600"/>
                </a:cubicBezTo>
                <a:cubicBezTo>
                  <a:pt x="16765" y="21600"/>
                  <a:pt x="21600" y="13886"/>
                  <a:pt x="21600" y="10800"/>
                </a:cubicBezTo>
                <a:cubicBezTo>
                  <a:pt x="21600" y="7714"/>
                  <a:pt x="16765" y="0"/>
                  <a:pt x="10800" y="0"/>
                </a:cubicBezTo>
                <a:moveTo>
                  <a:pt x="10800" y="16971"/>
                </a:moveTo>
                <a:cubicBezTo>
                  <a:pt x="8631" y="16971"/>
                  <a:pt x="6873" y="14209"/>
                  <a:pt x="6873" y="10800"/>
                </a:cubicBezTo>
                <a:cubicBezTo>
                  <a:pt x="6873" y="7392"/>
                  <a:pt x="8631" y="4629"/>
                  <a:pt x="10800" y="4629"/>
                </a:cubicBezTo>
                <a:cubicBezTo>
                  <a:pt x="12969" y="4629"/>
                  <a:pt x="14727" y="7392"/>
                  <a:pt x="14727" y="10800"/>
                </a:cubicBezTo>
                <a:cubicBezTo>
                  <a:pt x="14727" y="14209"/>
                  <a:pt x="12969" y="16971"/>
                  <a:pt x="10800" y="16971"/>
                </a:cubicBezTo>
                <a:moveTo>
                  <a:pt x="10800" y="3087"/>
                </a:moveTo>
                <a:cubicBezTo>
                  <a:pt x="8088" y="3087"/>
                  <a:pt x="5891" y="6540"/>
                  <a:pt x="5891" y="10800"/>
                </a:cubicBezTo>
                <a:cubicBezTo>
                  <a:pt x="5891" y="15061"/>
                  <a:pt x="8088" y="18514"/>
                  <a:pt x="10800" y="18514"/>
                </a:cubicBezTo>
                <a:cubicBezTo>
                  <a:pt x="13512" y="18514"/>
                  <a:pt x="15709" y="15061"/>
                  <a:pt x="15709" y="10800"/>
                </a:cubicBezTo>
                <a:cubicBezTo>
                  <a:pt x="15709" y="6540"/>
                  <a:pt x="13512" y="3087"/>
                  <a:pt x="10800" y="3087"/>
                </a:cubicBezTo>
                <a:moveTo>
                  <a:pt x="10800" y="8486"/>
                </a:moveTo>
                <a:cubicBezTo>
                  <a:pt x="9987" y="8486"/>
                  <a:pt x="9327" y="9523"/>
                  <a:pt x="9327" y="10800"/>
                </a:cubicBezTo>
                <a:cubicBezTo>
                  <a:pt x="9327" y="12078"/>
                  <a:pt x="9987" y="13114"/>
                  <a:pt x="10800" y="13114"/>
                </a:cubicBezTo>
                <a:cubicBezTo>
                  <a:pt x="11613" y="13114"/>
                  <a:pt x="12273" y="12078"/>
                  <a:pt x="12273" y="10800"/>
                </a:cubicBezTo>
                <a:cubicBezTo>
                  <a:pt x="12273" y="9523"/>
                  <a:pt x="11613" y="8486"/>
                  <a:pt x="10800" y="848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2" name="Shape 2622"/>
          <p:cNvSpPr/>
          <p:nvPr/>
        </p:nvSpPr>
        <p:spPr>
          <a:xfrm>
            <a:off x="19965600" y="729557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79" y="17044"/>
                </a:moveTo>
                <a:cubicBezTo>
                  <a:pt x="9428" y="17174"/>
                  <a:pt x="9252" y="17274"/>
                  <a:pt x="9050" y="17344"/>
                </a:cubicBezTo>
                <a:cubicBezTo>
                  <a:pt x="8849" y="17415"/>
                  <a:pt x="8636" y="17450"/>
                  <a:pt x="8413" y="17450"/>
                </a:cubicBezTo>
                <a:cubicBezTo>
                  <a:pt x="7887" y="17450"/>
                  <a:pt x="7488" y="17288"/>
                  <a:pt x="7214" y="16966"/>
                </a:cubicBezTo>
                <a:cubicBezTo>
                  <a:pt x="6941" y="16644"/>
                  <a:pt x="6797" y="16226"/>
                  <a:pt x="6782" y="15715"/>
                </a:cubicBezTo>
                <a:lnTo>
                  <a:pt x="5864" y="15715"/>
                </a:lnTo>
                <a:cubicBezTo>
                  <a:pt x="5857" y="16122"/>
                  <a:pt x="5913" y="16486"/>
                  <a:pt x="6032" y="16805"/>
                </a:cubicBezTo>
                <a:cubicBezTo>
                  <a:pt x="6151" y="17123"/>
                  <a:pt x="6321" y="17393"/>
                  <a:pt x="6545" y="17611"/>
                </a:cubicBezTo>
                <a:cubicBezTo>
                  <a:pt x="6767" y="17830"/>
                  <a:pt x="7038" y="17995"/>
                  <a:pt x="7355" y="18106"/>
                </a:cubicBezTo>
                <a:cubicBezTo>
                  <a:pt x="7671" y="18218"/>
                  <a:pt x="8024" y="18273"/>
                  <a:pt x="8413" y="18273"/>
                </a:cubicBezTo>
                <a:cubicBezTo>
                  <a:pt x="8773" y="18273"/>
                  <a:pt x="9113" y="18223"/>
                  <a:pt x="9434" y="18123"/>
                </a:cubicBezTo>
                <a:cubicBezTo>
                  <a:pt x="9754" y="18023"/>
                  <a:pt x="10033" y="17873"/>
                  <a:pt x="10271" y="17672"/>
                </a:cubicBezTo>
                <a:cubicBezTo>
                  <a:pt x="10509" y="17472"/>
                  <a:pt x="10697" y="17222"/>
                  <a:pt x="10837" y="16922"/>
                </a:cubicBezTo>
                <a:cubicBezTo>
                  <a:pt x="10978" y="16621"/>
                  <a:pt x="11048" y="16275"/>
                  <a:pt x="11048" y="15881"/>
                </a:cubicBezTo>
                <a:cubicBezTo>
                  <a:pt x="11048" y="15407"/>
                  <a:pt x="10935" y="14995"/>
                  <a:pt x="10708" y="14646"/>
                </a:cubicBezTo>
                <a:cubicBezTo>
                  <a:pt x="10481" y="14298"/>
                  <a:pt x="10134" y="14072"/>
                  <a:pt x="9666" y="13968"/>
                </a:cubicBezTo>
                <a:lnTo>
                  <a:pt x="9666" y="13946"/>
                </a:lnTo>
                <a:cubicBezTo>
                  <a:pt x="9968" y="13805"/>
                  <a:pt x="10220" y="13597"/>
                  <a:pt x="10422" y="13323"/>
                </a:cubicBezTo>
                <a:cubicBezTo>
                  <a:pt x="10624" y="13048"/>
                  <a:pt x="10724" y="12734"/>
                  <a:pt x="10724" y="12377"/>
                </a:cubicBezTo>
                <a:cubicBezTo>
                  <a:pt x="10724" y="12014"/>
                  <a:pt x="10665" y="11698"/>
                  <a:pt x="10546" y="11432"/>
                </a:cubicBezTo>
                <a:cubicBezTo>
                  <a:pt x="10427" y="11165"/>
                  <a:pt x="10263" y="10946"/>
                  <a:pt x="10055" y="10776"/>
                </a:cubicBezTo>
                <a:cubicBezTo>
                  <a:pt x="9846" y="10605"/>
                  <a:pt x="9599" y="10477"/>
                  <a:pt x="9315" y="10392"/>
                </a:cubicBezTo>
                <a:cubicBezTo>
                  <a:pt x="9030" y="10306"/>
                  <a:pt x="8722" y="10264"/>
                  <a:pt x="8391" y="10264"/>
                </a:cubicBezTo>
                <a:cubicBezTo>
                  <a:pt x="8010" y="10264"/>
                  <a:pt x="7673" y="10326"/>
                  <a:pt x="7382" y="10453"/>
                </a:cubicBezTo>
                <a:cubicBezTo>
                  <a:pt x="7090" y="10579"/>
                  <a:pt x="6847" y="10753"/>
                  <a:pt x="6653" y="10976"/>
                </a:cubicBezTo>
                <a:cubicBezTo>
                  <a:pt x="6459" y="11198"/>
                  <a:pt x="6309" y="11466"/>
                  <a:pt x="6204" y="11777"/>
                </a:cubicBezTo>
                <a:cubicBezTo>
                  <a:pt x="6100" y="12088"/>
                  <a:pt x="6040" y="12433"/>
                  <a:pt x="6026" y="12811"/>
                </a:cubicBezTo>
                <a:lnTo>
                  <a:pt x="6944" y="12811"/>
                </a:lnTo>
                <a:cubicBezTo>
                  <a:pt x="6944" y="12581"/>
                  <a:pt x="6972" y="12363"/>
                  <a:pt x="7031" y="12155"/>
                </a:cubicBezTo>
                <a:cubicBezTo>
                  <a:pt x="7088" y="11947"/>
                  <a:pt x="7177" y="11766"/>
                  <a:pt x="7296" y="11610"/>
                </a:cubicBezTo>
                <a:cubicBezTo>
                  <a:pt x="7414" y="11454"/>
                  <a:pt x="7565" y="11330"/>
                  <a:pt x="7749" y="11237"/>
                </a:cubicBezTo>
                <a:cubicBezTo>
                  <a:pt x="7932" y="11144"/>
                  <a:pt x="8147" y="11098"/>
                  <a:pt x="8391" y="11098"/>
                </a:cubicBezTo>
                <a:cubicBezTo>
                  <a:pt x="8780" y="11098"/>
                  <a:pt x="9104" y="11204"/>
                  <a:pt x="9364" y="11415"/>
                </a:cubicBezTo>
                <a:cubicBezTo>
                  <a:pt x="9623" y="11627"/>
                  <a:pt x="9752" y="11943"/>
                  <a:pt x="9752" y="12366"/>
                </a:cubicBezTo>
                <a:cubicBezTo>
                  <a:pt x="9752" y="12574"/>
                  <a:pt x="9713" y="12759"/>
                  <a:pt x="9634" y="12922"/>
                </a:cubicBezTo>
                <a:cubicBezTo>
                  <a:pt x="9554" y="13086"/>
                  <a:pt x="9448" y="13221"/>
                  <a:pt x="9315" y="13329"/>
                </a:cubicBezTo>
                <a:cubicBezTo>
                  <a:pt x="9182" y="13436"/>
                  <a:pt x="9027" y="13517"/>
                  <a:pt x="8851" y="13574"/>
                </a:cubicBezTo>
                <a:cubicBezTo>
                  <a:pt x="8674" y="13629"/>
                  <a:pt x="8488" y="13657"/>
                  <a:pt x="8294" y="13657"/>
                </a:cubicBezTo>
                <a:lnTo>
                  <a:pt x="7992" y="13657"/>
                </a:lnTo>
                <a:cubicBezTo>
                  <a:pt x="7963" y="13657"/>
                  <a:pt x="7930" y="13653"/>
                  <a:pt x="7895" y="13645"/>
                </a:cubicBezTo>
                <a:lnTo>
                  <a:pt x="7895" y="14447"/>
                </a:lnTo>
                <a:cubicBezTo>
                  <a:pt x="8067" y="14424"/>
                  <a:pt x="8251" y="14413"/>
                  <a:pt x="8445" y="14413"/>
                </a:cubicBezTo>
                <a:cubicBezTo>
                  <a:pt x="8676" y="14413"/>
                  <a:pt x="8890" y="14444"/>
                  <a:pt x="9088" y="14507"/>
                </a:cubicBezTo>
                <a:cubicBezTo>
                  <a:pt x="9286" y="14571"/>
                  <a:pt x="9457" y="14667"/>
                  <a:pt x="9601" y="14797"/>
                </a:cubicBezTo>
                <a:cubicBezTo>
                  <a:pt x="9745" y="14927"/>
                  <a:pt x="9860" y="15086"/>
                  <a:pt x="9947" y="15275"/>
                </a:cubicBezTo>
                <a:cubicBezTo>
                  <a:pt x="10033" y="15464"/>
                  <a:pt x="10076" y="15682"/>
                  <a:pt x="10076" y="15926"/>
                </a:cubicBezTo>
                <a:cubicBezTo>
                  <a:pt x="10076" y="16163"/>
                  <a:pt x="10031" y="16377"/>
                  <a:pt x="9941" y="16565"/>
                </a:cubicBezTo>
                <a:cubicBezTo>
                  <a:pt x="9851" y="16754"/>
                  <a:pt x="9731" y="16914"/>
                  <a:pt x="9579" y="17044"/>
                </a:cubicBezTo>
                <a:moveTo>
                  <a:pt x="14257" y="18151"/>
                </a:moveTo>
                <a:lnTo>
                  <a:pt x="15175" y="18151"/>
                </a:lnTo>
                <a:lnTo>
                  <a:pt x="15175" y="10264"/>
                </a:lnTo>
                <a:lnTo>
                  <a:pt x="14473" y="10264"/>
                </a:lnTo>
                <a:cubicBezTo>
                  <a:pt x="14422" y="10561"/>
                  <a:pt x="14329" y="10805"/>
                  <a:pt x="14192" y="10998"/>
                </a:cubicBezTo>
                <a:cubicBezTo>
                  <a:pt x="14055" y="11191"/>
                  <a:pt x="13888" y="11343"/>
                  <a:pt x="13690" y="11454"/>
                </a:cubicBezTo>
                <a:cubicBezTo>
                  <a:pt x="13492" y="11565"/>
                  <a:pt x="13271" y="11641"/>
                  <a:pt x="13026" y="11682"/>
                </a:cubicBezTo>
                <a:cubicBezTo>
                  <a:pt x="12781" y="11723"/>
                  <a:pt x="12529" y="11743"/>
                  <a:pt x="12270" y="11743"/>
                </a:cubicBezTo>
                <a:lnTo>
                  <a:pt x="12270" y="12499"/>
                </a:lnTo>
                <a:lnTo>
                  <a:pt x="14257" y="12499"/>
                </a:lnTo>
                <a:cubicBezTo>
                  <a:pt x="14257" y="12499"/>
                  <a:pt x="14257" y="18151"/>
                  <a:pt x="14257" y="1815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1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9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3" name="Shape 2623"/>
          <p:cNvSpPr/>
          <p:nvPr/>
        </p:nvSpPr>
        <p:spPr>
          <a:xfrm>
            <a:off x="21032122" y="729557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3255"/>
                </a:moveTo>
                <a:lnTo>
                  <a:pt x="5400" y="13255"/>
                </a:lnTo>
                <a:lnTo>
                  <a:pt x="5400" y="15218"/>
                </a:lnTo>
                <a:lnTo>
                  <a:pt x="7364" y="15218"/>
                </a:lnTo>
                <a:cubicBezTo>
                  <a:pt x="7364" y="15218"/>
                  <a:pt x="7364" y="13255"/>
                  <a:pt x="7364" y="13255"/>
                </a:cubicBezTo>
                <a:close/>
                <a:moveTo>
                  <a:pt x="7364" y="16691"/>
                </a:moveTo>
                <a:lnTo>
                  <a:pt x="5400" y="16691"/>
                </a:lnTo>
                <a:lnTo>
                  <a:pt x="5400" y="18655"/>
                </a:lnTo>
                <a:lnTo>
                  <a:pt x="7364" y="18655"/>
                </a:lnTo>
                <a:cubicBezTo>
                  <a:pt x="7364" y="18655"/>
                  <a:pt x="7364" y="16691"/>
                  <a:pt x="7364" y="16691"/>
                </a:cubicBezTo>
                <a:close/>
                <a:moveTo>
                  <a:pt x="7364" y="9818"/>
                </a:moveTo>
                <a:lnTo>
                  <a:pt x="5400" y="9818"/>
                </a:lnTo>
                <a:lnTo>
                  <a:pt x="5400" y="11782"/>
                </a:lnTo>
                <a:lnTo>
                  <a:pt x="7364" y="11782"/>
                </a:lnTo>
                <a:cubicBezTo>
                  <a:pt x="7364" y="11782"/>
                  <a:pt x="7364" y="9818"/>
                  <a:pt x="7364" y="9818"/>
                </a:cubicBezTo>
                <a:close/>
                <a:moveTo>
                  <a:pt x="4418" y="16691"/>
                </a:moveTo>
                <a:lnTo>
                  <a:pt x="2455" y="16691"/>
                </a:lnTo>
                <a:lnTo>
                  <a:pt x="2455" y="18655"/>
                </a:lnTo>
                <a:lnTo>
                  <a:pt x="4418" y="18655"/>
                </a:lnTo>
                <a:cubicBezTo>
                  <a:pt x="4418" y="18655"/>
                  <a:pt x="4418" y="16691"/>
                  <a:pt x="4418" y="1669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2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8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4418" y="9818"/>
                </a:moveTo>
                <a:lnTo>
                  <a:pt x="2455" y="9818"/>
                </a:lnTo>
                <a:lnTo>
                  <a:pt x="2455" y="11782"/>
                </a:lnTo>
                <a:lnTo>
                  <a:pt x="4418" y="11782"/>
                </a:lnTo>
                <a:cubicBezTo>
                  <a:pt x="4418" y="11782"/>
                  <a:pt x="4418" y="9818"/>
                  <a:pt x="4418" y="9818"/>
                </a:cubicBezTo>
                <a:close/>
                <a:moveTo>
                  <a:pt x="4418" y="13255"/>
                </a:moveTo>
                <a:lnTo>
                  <a:pt x="2455" y="13255"/>
                </a:lnTo>
                <a:lnTo>
                  <a:pt x="2455" y="15218"/>
                </a:lnTo>
                <a:lnTo>
                  <a:pt x="4418" y="15218"/>
                </a:lnTo>
                <a:cubicBezTo>
                  <a:pt x="4418" y="15218"/>
                  <a:pt x="4418" y="13255"/>
                  <a:pt x="4418" y="13255"/>
                </a:cubicBezTo>
                <a:close/>
                <a:moveTo>
                  <a:pt x="10309" y="16691"/>
                </a:moveTo>
                <a:lnTo>
                  <a:pt x="8345" y="16691"/>
                </a:lnTo>
                <a:lnTo>
                  <a:pt x="8345" y="18655"/>
                </a:lnTo>
                <a:lnTo>
                  <a:pt x="10309" y="18655"/>
                </a:lnTo>
                <a:cubicBezTo>
                  <a:pt x="10309" y="18655"/>
                  <a:pt x="10309" y="16691"/>
                  <a:pt x="10309" y="16691"/>
                </a:cubicBezTo>
                <a:close/>
                <a:moveTo>
                  <a:pt x="10309" y="9818"/>
                </a:moveTo>
                <a:lnTo>
                  <a:pt x="8345" y="9818"/>
                </a:lnTo>
                <a:lnTo>
                  <a:pt x="8345" y="11782"/>
                </a:lnTo>
                <a:lnTo>
                  <a:pt x="10309" y="11782"/>
                </a:lnTo>
                <a:cubicBezTo>
                  <a:pt x="10309" y="11782"/>
                  <a:pt x="10309" y="9818"/>
                  <a:pt x="10309" y="9818"/>
                </a:cubicBezTo>
                <a:close/>
                <a:moveTo>
                  <a:pt x="10309" y="13255"/>
                </a:moveTo>
                <a:lnTo>
                  <a:pt x="8345" y="13255"/>
                </a:lnTo>
                <a:lnTo>
                  <a:pt x="8345" y="15218"/>
                </a:lnTo>
                <a:lnTo>
                  <a:pt x="10309" y="15218"/>
                </a:lnTo>
                <a:cubicBezTo>
                  <a:pt x="10309" y="15218"/>
                  <a:pt x="10309" y="13255"/>
                  <a:pt x="10309" y="13255"/>
                </a:cubicBezTo>
                <a:close/>
                <a:moveTo>
                  <a:pt x="19145" y="13255"/>
                </a:moveTo>
                <a:lnTo>
                  <a:pt x="17182" y="13255"/>
                </a:lnTo>
                <a:lnTo>
                  <a:pt x="17182" y="15218"/>
                </a:lnTo>
                <a:lnTo>
                  <a:pt x="19145" y="15218"/>
                </a:lnTo>
                <a:cubicBezTo>
                  <a:pt x="19145" y="15218"/>
                  <a:pt x="19145" y="13255"/>
                  <a:pt x="19145" y="13255"/>
                </a:cubicBezTo>
                <a:close/>
                <a:moveTo>
                  <a:pt x="16200" y="13255"/>
                </a:moveTo>
                <a:lnTo>
                  <a:pt x="14236" y="13255"/>
                </a:lnTo>
                <a:lnTo>
                  <a:pt x="14236" y="15218"/>
                </a:lnTo>
                <a:lnTo>
                  <a:pt x="16200" y="15218"/>
                </a:lnTo>
                <a:cubicBezTo>
                  <a:pt x="16200" y="15218"/>
                  <a:pt x="16200" y="13255"/>
                  <a:pt x="16200" y="13255"/>
                </a:cubicBezTo>
                <a:close/>
                <a:moveTo>
                  <a:pt x="19145" y="9818"/>
                </a:moveTo>
                <a:lnTo>
                  <a:pt x="17182" y="9818"/>
                </a:lnTo>
                <a:lnTo>
                  <a:pt x="17182" y="11782"/>
                </a:lnTo>
                <a:lnTo>
                  <a:pt x="19145" y="11782"/>
                </a:lnTo>
                <a:cubicBezTo>
                  <a:pt x="19145" y="11782"/>
                  <a:pt x="19145" y="9818"/>
                  <a:pt x="19145" y="9818"/>
                </a:cubicBezTo>
                <a:close/>
                <a:moveTo>
                  <a:pt x="16200" y="9818"/>
                </a:moveTo>
                <a:lnTo>
                  <a:pt x="14236" y="9818"/>
                </a:lnTo>
                <a:lnTo>
                  <a:pt x="14236" y="11782"/>
                </a:lnTo>
                <a:lnTo>
                  <a:pt x="16200" y="11782"/>
                </a:lnTo>
                <a:cubicBezTo>
                  <a:pt x="16200" y="11782"/>
                  <a:pt x="16200" y="9818"/>
                  <a:pt x="16200" y="9818"/>
                </a:cubicBezTo>
                <a:close/>
                <a:moveTo>
                  <a:pt x="13255" y="16691"/>
                </a:moveTo>
                <a:lnTo>
                  <a:pt x="11291" y="16691"/>
                </a:lnTo>
                <a:lnTo>
                  <a:pt x="11291" y="18655"/>
                </a:lnTo>
                <a:lnTo>
                  <a:pt x="13255" y="18655"/>
                </a:lnTo>
                <a:cubicBezTo>
                  <a:pt x="13255" y="18655"/>
                  <a:pt x="13255" y="16691"/>
                  <a:pt x="13255" y="16691"/>
                </a:cubicBezTo>
                <a:close/>
                <a:moveTo>
                  <a:pt x="13255" y="9818"/>
                </a:moveTo>
                <a:lnTo>
                  <a:pt x="11291" y="9818"/>
                </a:lnTo>
                <a:lnTo>
                  <a:pt x="11291" y="11782"/>
                </a:lnTo>
                <a:lnTo>
                  <a:pt x="13255" y="11782"/>
                </a:lnTo>
                <a:cubicBezTo>
                  <a:pt x="13255" y="11782"/>
                  <a:pt x="13255" y="9818"/>
                  <a:pt x="13255" y="9818"/>
                </a:cubicBezTo>
                <a:close/>
                <a:moveTo>
                  <a:pt x="13255" y="13255"/>
                </a:moveTo>
                <a:lnTo>
                  <a:pt x="11291" y="13255"/>
                </a:lnTo>
                <a:lnTo>
                  <a:pt x="11291" y="15218"/>
                </a:lnTo>
                <a:lnTo>
                  <a:pt x="13255" y="15218"/>
                </a:lnTo>
                <a:cubicBezTo>
                  <a:pt x="13255" y="15218"/>
                  <a:pt x="13255" y="13255"/>
                  <a:pt x="13255" y="1325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4" name="Shape 2624"/>
          <p:cNvSpPr/>
          <p:nvPr/>
        </p:nvSpPr>
        <p:spPr>
          <a:xfrm>
            <a:off x="22098644" y="729557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5" name="Shape 2625"/>
          <p:cNvSpPr/>
          <p:nvPr/>
        </p:nvSpPr>
        <p:spPr>
          <a:xfrm>
            <a:off x="12499946" y="8412885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5" y="18796"/>
                  <a:pt x="1048" y="18734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4" y="1873"/>
                </a:lnTo>
                <a:cubicBezTo>
                  <a:pt x="9930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6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4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7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8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0800" y="15600"/>
                </a:moveTo>
                <a:cubicBezTo>
                  <a:pt x="10258" y="15600"/>
                  <a:pt x="9818" y="16138"/>
                  <a:pt x="9818" y="16800"/>
                </a:cubicBezTo>
                <a:cubicBezTo>
                  <a:pt x="9818" y="17462"/>
                  <a:pt x="10258" y="18000"/>
                  <a:pt x="10800" y="18000"/>
                </a:cubicBezTo>
                <a:cubicBezTo>
                  <a:pt x="11342" y="18000"/>
                  <a:pt x="11782" y="17462"/>
                  <a:pt x="11782" y="16800"/>
                </a:cubicBezTo>
                <a:cubicBezTo>
                  <a:pt x="11782" y="16138"/>
                  <a:pt x="11342" y="15600"/>
                  <a:pt x="10800" y="15600"/>
                </a:cubicBezTo>
                <a:moveTo>
                  <a:pt x="10800" y="6000"/>
                </a:moveTo>
                <a:cubicBezTo>
                  <a:pt x="10258" y="6000"/>
                  <a:pt x="9818" y="6538"/>
                  <a:pt x="9818" y="7200"/>
                </a:cubicBezTo>
                <a:lnTo>
                  <a:pt x="10309" y="13800"/>
                </a:lnTo>
                <a:cubicBezTo>
                  <a:pt x="10309" y="14132"/>
                  <a:pt x="10529" y="14400"/>
                  <a:pt x="10800" y="14400"/>
                </a:cubicBezTo>
                <a:cubicBezTo>
                  <a:pt x="11071" y="14400"/>
                  <a:pt x="11291" y="14132"/>
                  <a:pt x="11291" y="13800"/>
                </a:cubicBezTo>
                <a:lnTo>
                  <a:pt x="11782" y="7200"/>
                </a:lnTo>
                <a:cubicBezTo>
                  <a:pt x="11782" y="6538"/>
                  <a:pt x="11342" y="6000"/>
                  <a:pt x="10800" y="60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6" name="Shape 2626"/>
          <p:cNvSpPr/>
          <p:nvPr/>
        </p:nvSpPr>
        <p:spPr>
          <a:xfrm>
            <a:off x="13617252" y="8362099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22" y="18655"/>
                </a:moveTo>
                <a:cubicBezTo>
                  <a:pt x="7553" y="18644"/>
                  <a:pt x="7811" y="18417"/>
                  <a:pt x="7799" y="18146"/>
                </a:cubicBezTo>
                <a:lnTo>
                  <a:pt x="6916" y="6377"/>
                </a:lnTo>
                <a:cubicBezTo>
                  <a:pt x="6904" y="6106"/>
                  <a:pt x="6626" y="5895"/>
                  <a:pt x="6295" y="5904"/>
                </a:cubicBezTo>
                <a:cubicBezTo>
                  <a:pt x="5963" y="5915"/>
                  <a:pt x="5705" y="6142"/>
                  <a:pt x="5717" y="6413"/>
                </a:cubicBezTo>
                <a:lnTo>
                  <a:pt x="6601" y="18182"/>
                </a:lnTo>
                <a:cubicBezTo>
                  <a:pt x="6613" y="18453"/>
                  <a:pt x="6891" y="18664"/>
                  <a:pt x="7222" y="18655"/>
                </a:cubicBezTo>
                <a:moveTo>
                  <a:pt x="17400" y="19636"/>
                </a:moveTo>
                <a:cubicBezTo>
                  <a:pt x="17319" y="20154"/>
                  <a:pt x="16862" y="20618"/>
                  <a:pt x="16200" y="20618"/>
                </a:cubicBezTo>
                <a:lnTo>
                  <a:pt x="5400" y="20618"/>
                </a:lnTo>
                <a:cubicBezTo>
                  <a:pt x="4737" y="20618"/>
                  <a:pt x="4291" y="20160"/>
                  <a:pt x="4200" y="19636"/>
                </a:cubicBezTo>
                <a:lnTo>
                  <a:pt x="3000" y="3927"/>
                </a:lnTo>
                <a:lnTo>
                  <a:pt x="18600" y="3927"/>
                </a:lnTo>
                <a:cubicBezTo>
                  <a:pt x="18600" y="3927"/>
                  <a:pt x="17400" y="19636"/>
                  <a:pt x="17400" y="19636"/>
                </a:cubicBezTo>
                <a:close/>
                <a:moveTo>
                  <a:pt x="7800" y="983"/>
                </a:moveTo>
                <a:lnTo>
                  <a:pt x="13800" y="983"/>
                </a:lnTo>
                <a:lnTo>
                  <a:pt x="13800" y="2945"/>
                </a:lnTo>
                <a:lnTo>
                  <a:pt x="7800" y="2945"/>
                </a:lnTo>
                <a:cubicBezTo>
                  <a:pt x="7800" y="2945"/>
                  <a:pt x="7800" y="983"/>
                  <a:pt x="7800" y="983"/>
                </a:cubicBezTo>
                <a:close/>
                <a:moveTo>
                  <a:pt x="21000" y="2945"/>
                </a:moveTo>
                <a:lnTo>
                  <a:pt x="15000" y="2945"/>
                </a:lnTo>
                <a:lnTo>
                  <a:pt x="15000" y="983"/>
                </a:lnTo>
                <a:cubicBezTo>
                  <a:pt x="15000" y="440"/>
                  <a:pt x="14462" y="0"/>
                  <a:pt x="13800" y="0"/>
                </a:cubicBezTo>
                <a:lnTo>
                  <a:pt x="7800" y="0"/>
                </a:lnTo>
                <a:cubicBezTo>
                  <a:pt x="7137" y="0"/>
                  <a:pt x="6600" y="440"/>
                  <a:pt x="6600" y="983"/>
                </a:cubicBezTo>
                <a:lnTo>
                  <a:pt x="6600" y="2945"/>
                </a:lnTo>
                <a:lnTo>
                  <a:pt x="600" y="2945"/>
                </a:lnTo>
                <a:cubicBezTo>
                  <a:pt x="269" y="2945"/>
                  <a:pt x="0" y="3166"/>
                  <a:pt x="0" y="3437"/>
                </a:cubicBezTo>
                <a:cubicBezTo>
                  <a:pt x="0" y="3708"/>
                  <a:pt x="269" y="3927"/>
                  <a:pt x="600" y="3927"/>
                </a:cubicBezTo>
                <a:lnTo>
                  <a:pt x="1800" y="3927"/>
                </a:lnTo>
                <a:lnTo>
                  <a:pt x="3000" y="19636"/>
                </a:lnTo>
                <a:cubicBezTo>
                  <a:pt x="3193" y="20711"/>
                  <a:pt x="4075" y="21600"/>
                  <a:pt x="5400" y="21600"/>
                </a:cubicBezTo>
                <a:lnTo>
                  <a:pt x="16200" y="21600"/>
                </a:lnTo>
                <a:cubicBezTo>
                  <a:pt x="17525" y="21600"/>
                  <a:pt x="18374" y="20700"/>
                  <a:pt x="18600" y="19636"/>
                </a:cubicBezTo>
                <a:lnTo>
                  <a:pt x="19800" y="3927"/>
                </a:lnTo>
                <a:lnTo>
                  <a:pt x="21000" y="3927"/>
                </a:lnTo>
                <a:cubicBezTo>
                  <a:pt x="21331" y="3927"/>
                  <a:pt x="21600" y="3708"/>
                  <a:pt x="21600" y="3437"/>
                </a:cubicBezTo>
                <a:cubicBezTo>
                  <a:pt x="21600" y="3166"/>
                  <a:pt x="21331" y="2945"/>
                  <a:pt x="21000" y="2945"/>
                </a:cubicBezTo>
                <a:moveTo>
                  <a:pt x="14380" y="18654"/>
                </a:moveTo>
                <a:cubicBezTo>
                  <a:pt x="14711" y="18664"/>
                  <a:pt x="14989" y="18452"/>
                  <a:pt x="15001" y="18181"/>
                </a:cubicBezTo>
                <a:lnTo>
                  <a:pt x="15871" y="6413"/>
                </a:lnTo>
                <a:cubicBezTo>
                  <a:pt x="15883" y="6142"/>
                  <a:pt x="15625" y="5914"/>
                  <a:pt x="15294" y="5904"/>
                </a:cubicBezTo>
                <a:cubicBezTo>
                  <a:pt x="14962" y="5895"/>
                  <a:pt x="14684" y="6106"/>
                  <a:pt x="14672" y="6377"/>
                </a:cubicBezTo>
                <a:lnTo>
                  <a:pt x="13802" y="18146"/>
                </a:lnTo>
                <a:cubicBezTo>
                  <a:pt x="13790" y="18417"/>
                  <a:pt x="14049" y="18644"/>
                  <a:pt x="14380" y="18654"/>
                </a:cubicBezTo>
                <a:moveTo>
                  <a:pt x="10800" y="18655"/>
                </a:moveTo>
                <a:cubicBezTo>
                  <a:pt x="11131" y="18655"/>
                  <a:pt x="11400" y="18435"/>
                  <a:pt x="11400" y="18164"/>
                </a:cubicBezTo>
                <a:lnTo>
                  <a:pt x="11400" y="6382"/>
                </a:lnTo>
                <a:cubicBezTo>
                  <a:pt x="11400" y="6110"/>
                  <a:pt x="11131" y="5891"/>
                  <a:pt x="10800" y="5891"/>
                </a:cubicBezTo>
                <a:cubicBezTo>
                  <a:pt x="10469" y="5891"/>
                  <a:pt x="10200" y="6110"/>
                  <a:pt x="10200" y="6382"/>
                </a:cubicBezTo>
                <a:lnTo>
                  <a:pt x="10200" y="18164"/>
                </a:lnTo>
                <a:cubicBezTo>
                  <a:pt x="10200" y="18435"/>
                  <a:pt x="10469" y="18655"/>
                  <a:pt x="10800" y="186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7" name="Shape 2627"/>
          <p:cNvSpPr/>
          <p:nvPr/>
        </p:nvSpPr>
        <p:spPr>
          <a:xfrm>
            <a:off x="14721867" y="8362099"/>
            <a:ext cx="38090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720" y="19636"/>
                </a:moveTo>
                <a:cubicBezTo>
                  <a:pt x="18623" y="20154"/>
                  <a:pt x="18075" y="20618"/>
                  <a:pt x="17280" y="20618"/>
                </a:cubicBezTo>
                <a:lnTo>
                  <a:pt x="4320" y="20618"/>
                </a:lnTo>
                <a:cubicBezTo>
                  <a:pt x="3525" y="20618"/>
                  <a:pt x="2989" y="20160"/>
                  <a:pt x="2880" y="19636"/>
                </a:cubicBezTo>
                <a:lnTo>
                  <a:pt x="1483" y="3927"/>
                </a:lnTo>
                <a:lnTo>
                  <a:pt x="20117" y="3927"/>
                </a:lnTo>
                <a:cubicBezTo>
                  <a:pt x="20117" y="3927"/>
                  <a:pt x="18720" y="19636"/>
                  <a:pt x="18720" y="19636"/>
                </a:cubicBezTo>
                <a:close/>
                <a:moveTo>
                  <a:pt x="4529" y="2227"/>
                </a:moveTo>
                <a:cubicBezTo>
                  <a:pt x="4971" y="2122"/>
                  <a:pt x="5311" y="1878"/>
                  <a:pt x="5440" y="1571"/>
                </a:cubicBezTo>
                <a:cubicBezTo>
                  <a:pt x="5563" y="1278"/>
                  <a:pt x="6084" y="982"/>
                  <a:pt x="6840" y="982"/>
                </a:cubicBezTo>
                <a:cubicBezTo>
                  <a:pt x="7596" y="982"/>
                  <a:pt x="8117" y="1094"/>
                  <a:pt x="8240" y="1387"/>
                </a:cubicBezTo>
                <a:cubicBezTo>
                  <a:pt x="8286" y="1495"/>
                  <a:pt x="8358" y="1598"/>
                  <a:pt x="8454" y="1688"/>
                </a:cubicBezTo>
                <a:cubicBezTo>
                  <a:pt x="8957" y="2167"/>
                  <a:pt x="9732" y="2442"/>
                  <a:pt x="10577" y="2442"/>
                </a:cubicBezTo>
                <a:cubicBezTo>
                  <a:pt x="11235" y="2442"/>
                  <a:pt x="11854" y="2268"/>
                  <a:pt x="12300" y="1947"/>
                </a:cubicBezTo>
                <a:cubicBezTo>
                  <a:pt x="12697" y="1647"/>
                  <a:pt x="13446" y="1473"/>
                  <a:pt x="14760" y="1473"/>
                </a:cubicBezTo>
                <a:cubicBezTo>
                  <a:pt x="16059" y="1473"/>
                  <a:pt x="16752" y="1940"/>
                  <a:pt x="16920" y="2209"/>
                </a:cubicBezTo>
                <a:cubicBezTo>
                  <a:pt x="17107" y="2509"/>
                  <a:pt x="17391" y="2750"/>
                  <a:pt x="17688" y="2945"/>
                </a:cubicBezTo>
                <a:lnTo>
                  <a:pt x="2830" y="2945"/>
                </a:lnTo>
                <a:cubicBezTo>
                  <a:pt x="3170" y="2668"/>
                  <a:pt x="3770" y="2408"/>
                  <a:pt x="4529" y="2227"/>
                </a:cubicBezTo>
                <a:moveTo>
                  <a:pt x="20880" y="2945"/>
                </a:moveTo>
                <a:lnTo>
                  <a:pt x="19676" y="2945"/>
                </a:lnTo>
                <a:cubicBezTo>
                  <a:pt x="19217" y="2693"/>
                  <a:pt x="18780" y="2403"/>
                  <a:pt x="18405" y="1964"/>
                </a:cubicBezTo>
                <a:cubicBezTo>
                  <a:pt x="17787" y="1241"/>
                  <a:pt x="16749" y="491"/>
                  <a:pt x="14760" y="491"/>
                </a:cubicBezTo>
                <a:cubicBezTo>
                  <a:pt x="13012" y="491"/>
                  <a:pt x="11880" y="798"/>
                  <a:pt x="11231" y="1289"/>
                </a:cubicBezTo>
                <a:cubicBezTo>
                  <a:pt x="11081" y="1397"/>
                  <a:pt x="10839" y="1461"/>
                  <a:pt x="10577" y="1461"/>
                </a:cubicBezTo>
                <a:cubicBezTo>
                  <a:pt x="10245" y="1461"/>
                  <a:pt x="9879" y="1359"/>
                  <a:pt x="9624" y="1116"/>
                </a:cubicBezTo>
                <a:cubicBezTo>
                  <a:pt x="9310" y="370"/>
                  <a:pt x="8188" y="0"/>
                  <a:pt x="6840" y="0"/>
                </a:cubicBezTo>
                <a:cubicBezTo>
                  <a:pt x="5492" y="0"/>
                  <a:pt x="4370" y="554"/>
                  <a:pt x="4056" y="1300"/>
                </a:cubicBezTo>
                <a:cubicBezTo>
                  <a:pt x="2613" y="1643"/>
                  <a:pt x="1555" y="2238"/>
                  <a:pt x="1211" y="2945"/>
                </a:cubicBezTo>
                <a:lnTo>
                  <a:pt x="720" y="2945"/>
                </a:lnTo>
                <a:cubicBezTo>
                  <a:pt x="323" y="2945"/>
                  <a:pt x="0" y="3165"/>
                  <a:pt x="0" y="3436"/>
                </a:cubicBezTo>
                <a:lnTo>
                  <a:pt x="0" y="3437"/>
                </a:lnTo>
                <a:lnTo>
                  <a:pt x="1440" y="19636"/>
                </a:lnTo>
                <a:cubicBezTo>
                  <a:pt x="1672" y="20711"/>
                  <a:pt x="2730" y="21600"/>
                  <a:pt x="4320" y="21600"/>
                </a:cubicBezTo>
                <a:lnTo>
                  <a:pt x="17280" y="21600"/>
                </a:lnTo>
                <a:cubicBezTo>
                  <a:pt x="18870" y="21600"/>
                  <a:pt x="19890" y="20700"/>
                  <a:pt x="20160" y="19636"/>
                </a:cubicBezTo>
                <a:lnTo>
                  <a:pt x="21600" y="3437"/>
                </a:lnTo>
                <a:lnTo>
                  <a:pt x="21600" y="3436"/>
                </a:lnTo>
                <a:cubicBezTo>
                  <a:pt x="21600" y="3165"/>
                  <a:pt x="21277" y="2945"/>
                  <a:pt x="20880" y="2945"/>
                </a:cubicBezTo>
                <a:moveTo>
                  <a:pt x="6507" y="18655"/>
                </a:moveTo>
                <a:cubicBezTo>
                  <a:pt x="6904" y="18644"/>
                  <a:pt x="7214" y="18417"/>
                  <a:pt x="7200" y="18146"/>
                </a:cubicBezTo>
                <a:lnTo>
                  <a:pt x="6139" y="6377"/>
                </a:lnTo>
                <a:cubicBezTo>
                  <a:pt x="6125" y="6106"/>
                  <a:pt x="5791" y="5895"/>
                  <a:pt x="5394" y="5904"/>
                </a:cubicBezTo>
                <a:cubicBezTo>
                  <a:pt x="4996" y="5915"/>
                  <a:pt x="4686" y="6142"/>
                  <a:pt x="4700" y="6413"/>
                </a:cubicBezTo>
                <a:lnTo>
                  <a:pt x="5761" y="18182"/>
                </a:lnTo>
                <a:cubicBezTo>
                  <a:pt x="5775" y="18453"/>
                  <a:pt x="6109" y="18664"/>
                  <a:pt x="6507" y="18655"/>
                </a:cubicBezTo>
                <a:moveTo>
                  <a:pt x="10800" y="18655"/>
                </a:moveTo>
                <a:cubicBezTo>
                  <a:pt x="11197" y="18655"/>
                  <a:pt x="11520" y="18435"/>
                  <a:pt x="11520" y="18164"/>
                </a:cubicBezTo>
                <a:lnTo>
                  <a:pt x="11520" y="6382"/>
                </a:lnTo>
                <a:cubicBezTo>
                  <a:pt x="11520" y="6110"/>
                  <a:pt x="11197" y="5891"/>
                  <a:pt x="10800" y="5891"/>
                </a:cubicBezTo>
                <a:cubicBezTo>
                  <a:pt x="10403" y="5891"/>
                  <a:pt x="10080" y="6110"/>
                  <a:pt x="10080" y="6382"/>
                </a:cubicBezTo>
                <a:lnTo>
                  <a:pt x="10080" y="18164"/>
                </a:lnTo>
                <a:cubicBezTo>
                  <a:pt x="10080" y="18435"/>
                  <a:pt x="10403" y="18655"/>
                  <a:pt x="10800" y="18655"/>
                </a:cubicBezTo>
                <a:moveTo>
                  <a:pt x="15095" y="18654"/>
                </a:moveTo>
                <a:cubicBezTo>
                  <a:pt x="15494" y="18664"/>
                  <a:pt x="15827" y="18452"/>
                  <a:pt x="15841" y="18181"/>
                </a:cubicBezTo>
                <a:lnTo>
                  <a:pt x="16886" y="6413"/>
                </a:lnTo>
                <a:cubicBezTo>
                  <a:pt x="16900" y="6142"/>
                  <a:pt x="16590" y="5914"/>
                  <a:pt x="16192" y="5904"/>
                </a:cubicBezTo>
                <a:cubicBezTo>
                  <a:pt x="15795" y="5895"/>
                  <a:pt x="15461" y="6106"/>
                  <a:pt x="15447" y="6377"/>
                </a:cubicBezTo>
                <a:lnTo>
                  <a:pt x="14402" y="18146"/>
                </a:lnTo>
                <a:cubicBezTo>
                  <a:pt x="14388" y="18417"/>
                  <a:pt x="14699" y="18644"/>
                  <a:pt x="15095" y="1865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8" name="Shape 2628"/>
          <p:cNvSpPr/>
          <p:nvPr/>
        </p:nvSpPr>
        <p:spPr>
          <a:xfrm>
            <a:off x="15699511" y="836209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29" name="Shape 2629"/>
          <p:cNvSpPr/>
          <p:nvPr/>
        </p:nvSpPr>
        <p:spPr>
          <a:xfrm>
            <a:off x="16766032" y="8362099"/>
            <a:ext cx="558810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1" y="20618"/>
                </a:moveTo>
                <a:cubicBezTo>
                  <a:pt x="15826" y="20618"/>
                  <a:pt x="15226" y="20482"/>
                  <a:pt x="14660" y="20214"/>
                </a:cubicBezTo>
                <a:cubicBezTo>
                  <a:pt x="14607" y="20189"/>
                  <a:pt x="14552" y="20170"/>
                  <a:pt x="14497" y="20155"/>
                </a:cubicBezTo>
                <a:cubicBezTo>
                  <a:pt x="8918" y="17308"/>
                  <a:pt x="4295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7" y="6369"/>
                  <a:pt x="982" y="5770"/>
                  <a:pt x="982" y="5155"/>
                </a:cubicBezTo>
                <a:cubicBezTo>
                  <a:pt x="982" y="2774"/>
                  <a:pt x="3066" y="982"/>
                  <a:pt x="4417" y="982"/>
                </a:cubicBezTo>
                <a:cubicBezTo>
                  <a:pt x="4594" y="982"/>
                  <a:pt x="4711" y="1072"/>
                  <a:pt x="4764" y="1126"/>
                </a:cubicBezTo>
                <a:cubicBezTo>
                  <a:pt x="4776" y="1139"/>
                  <a:pt x="4798" y="1164"/>
                  <a:pt x="4831" y="1216"/>
                </a:cubicBezTo>
                <a:cubicBezTo>
                  <a:pt x="4848" y="1244"/>
                  <a:pt x="4867" y="1271"/>
                  <a:pt x="4887" y="1297"/>
                </a:cubicBezTo>
                <a:lnTo>
                  <a:pt x="8118" y="5453"/>
                </a:lnTo>
                <a:cubicBezTo>
                  <a:pt x="8143" y="5485"/>
                  <a:pt x="8170" y="5515"/>
                  <a:pt x="8199" y="5544"/>
                </a:cubicBezTo>
                <a:cubicBezTo>
                  <a:pt x="8253" y="5598"/>
                  <a:pt x="8343" y="5715"/>
                  <a:pt x="8343" y="5891"/>
                </a:cubicBezTo>
                <a:cubicBezTo>
                  <a:pt x="8343" y="5978"/>
                  <a:pt x="8319" y="6060"/>
                  <a:pt x="8272" y="6135"/>
                </a:cubicBezTo>
                <a:lnTo>
                  <a:pt x="7178" y="7221"/>
                </a:lnTo>
                <a:cubicBezTo>
                  <a:pt x="7173" y="7226"/>
                  <a:pt x="7168" y="7231"/>
                  <a:pt x="7163" y="7236"/>
                </a:cubicBezTo>
                <a:cubicBezTo>
                  <a:pt x="6767" y="7609"/>
                  <a:pt x="6541" y="8126"/>
                  <a:pt x="6541" y="8668"/>
                </a:cubicBezTo>
                <a:cubicBezTo>
                  <a:pt x="6541" y="9175"/>
                  <a:pt x="6738" y="9658"/>
                  <a:pt x="7080" y="10020"/>
                </a:cubicBezTo>
                <a:cubicBezTo>
                  <a:pt x="7092" y="10040"/>
                  <a:pt x="7105" y="10059"/>
                  <a:pt x="7119" y="10078"/>
                </a:cubicBezTo>
                <a:cubicBezTo>
                  <a:pt x="8325" y="11745"/>
                  <a:pt x="9807" y="13222"/>
                  <a:pt x="11525" y="14469"/>
                </a:cubicBezTo>
                <a:cubicBezTo>
                  <a:pt x="11538" y="14478"/>
                  <a:pt x="11551" y="14487"/>
                  <a:pt x="11565" y="14496"/>
                </a:cubicBezTo>
                <a:cubicBezTo>
                  <a:pt x="11928" y="14844"/>
                  <a:pt x="12414" y="15045"/>
                  <a:pt x="12924" y="15045"/>
                </a:cubicBezTo>
                <a:cubicBezTo>
                  <a:pt x="13436" y="15045"/>
                  <a:pt x="13930" y="14840"/>
                  <a:pt x="14297" y="14479"/>
                </a:cubicBezTo>
                <a:cubicBezTo>
                  <a:pt x="14316" y="14463"/>
                  <a:pt x="14335" y="14446"/>
                  <a:pt x="14352" y="14427"/>
                </a:cubicBezTo>
                <a:lnTo>
                  <a:pt x="15451" y="13320"/>
                </a:lnTo>
                <a:cubicBezTo>
                  <a:pt x="15529" y="13271"/>
                  <a:pt x="15611" y="13247"/>
                  <a:pt x="15697" y="13247"/>
                </a:cubicBezTo>
                <a:cubicBezTo>
                  <a:pt x="15874" y="13247"/>
                  <a:pt x="15990" y="13337"/>
                  <a:pt x="16044" y="13391"/>
                </a:cubicBezTo>
                <a:cubicBezTo>
                  <a:pt x="16073" y="13420"/>
                  <a:pt x="16103" y="13447"/>
                  <a:pt x="16135" y="13472"/>
                </a:cubicBezTo>
                <a:lnTo>
                  <a:pt x="20291" y="16704"/>
                </a:lnTo>
                <a:cubicBezTo>
                  <a:pt x="20317" y="16725"/>
                  <a:pt x="20345" y="16744"/>
                  <a:pt x="20374" y="16762"/>
                </a:cubicBezTo>
                <a:cubicBezTo>
                  <a:pt x="20426" y="16795"/>
                  <a:pt x="20449" y="16816"/>
                  <a:pt x="20461" y="16827"/>
                </a:cubicBezTo>
                <a:cubicBezTo>
                  <a:pt x="20515" y="16881"/>
                  <a:pt x="20605" y="16997"/>
                  <a:pt x="20605" y="17174"/>
                </a:cubicBezTo>
                <a:cubicBezTo>
                  <a:pt x="20605" y="17207"/>
                  <a:pt x="20606" y="17240"/>
                  <a:pt x="20610" y="17273"/>
                </a:cubicBezTo>
                <a:cubicBezTo>
                  <a:pt x="20533" y="18625"/>
                  <a:pt x="18769" y="20618"/>
                  <a:pt x="16441" y="20618"/>
                </a:cubicBezTo>
                <a:moveTo>
                  <a:pt x="21586" y="17174"/>
                </a:moveTo>
                <a:cubicBezTo>
                  <a:pt x="21586" y="16768"/>
                  <a:pt x="21421" y="16399"/>
                  <a:pt x="21155" y="16133"/>
                </a:cubicBezTo>
                <a:cubicBezTo>
                  <a:pt x="21077" y="16054"/>
                  <a:pt x="20988" y="15988"/>
                  <a:pt x="20893" y="15929"/>
                </a:cubicBezTo>
                <a:lnTo>
                  <a:pt x="16738" y="12697"/>
                </a:lnTo>
                <a:cubicBezTo>
                  <a:pt x="16471" y="12430"/>
                  <a:pt x="16104" y="12265"/>
                  <a:pt x="15697" y="12265"/>
                </a:cubicBezTo>
                <a:cubicBezTo>
                  <a:pt x="15364" y="12265"/>
                  <a:pt x="15060" y="12380"/>
                  <a:pt x="14815" y="12567"/>
                </a:cubicBezTo>
                <a:lnTo>
                  <a:pt x="13655" y="13736"/>
                </a:lnTo>
                <a:lnTo>
                  <a:pt x="13652" y="13733"/>
                </a:lnTo>
                <a:cubicBezTo>
                  <a:pt x="13473" y="13934"/>
                  <a:pt x="13214" y="14063"/>
                  <a:pt x="12924" y="14063"/>
                </a:cubicBezTo>
                <a:cubicBezTo>
                  <a:pt x="12592" y="14063"/>
                  <a:pt x="12300" y="13897"/>
                  <a:pt x="12122" y="13645"/>
                </a:cubicBezTo>
                <a:cubicBezTo>
                  <a:pt x="12116" y="13654"/>
                  <a:pt x="12107" y="13663"/>
                  <a:pt x="12101" y="13674"/>
                </a:cubicBezTo>
                <a:cubicBezTo>
                  <a:pt x="10497" y="12510"/>
                  <a:pt x="9076" y="11108"/>
                  <a:pt x="7914" y="9502"/>
                </a:cubicBezTo>
                <a:cubicBezTo>
                  <a:pt x="7925" y="9495"/>
                  <a:pt x="7935" y="9486"/>
                  <a:pt x="7947" y="9479"/>
                </a:cubicBezTo>
                <a:cubicBezTo>
                  <a:pt x="7691" y="9299"/>
                  <a:pt x="7523" y="9004"/>
                  <a:pt x="7523" y="8668"/>
                </a:cubicBezTo>
                <a:cubicBezTo>
                  <a:pt x="7523" y="8367"/>
                  <a:pt x="7659" y="8101"/>
                  <a:pt x="7871" y="7920"/>
                </a:cubicBezTo>
                <a:lnTo>
                  <a:pt x="7870" y="7918"/>
                </a:lnTo>
                <a:lnTo>
                  <a:pt x="9023" y="6773"/>
                </a:lnTo>
                <a:cubicBezTo>
                  <a:pt x="9211" y="6528"/>
                  <a:pt x="9325" y="6224"/>
                  <a:pt x="9325" y="5891"/>
                </a:cubicBezTo>
                <a:cubicBezTo>
                  <a:pt x="9325" y="5485"/>
                  <a:pt x="9160" y="5116"/>
                  <a:pt x="8893" y="4850"/>
                </a:cubicBezTo>
                <a:lnTo>
                  <a:pt x="5662" y="693"/>
                </a:lnTo>
                <a:cubicBezTo>
                  <a:pt x="5603" y="599"/>
                  <a:pt x="5537" y="510"/>
                  <a:pt x="5458" y="432"/>
                </a:cubicBezTo>
                <a:cubicBezTo>
                  <a:pt x="5191" y="165"/>
                  <a:pt x="4823" y="0"/>
                  <a:pt x="4417" y="0"/>
                </a:cubicBezTo>
                <a:cubicBezTo>
                  <a:pt x="2454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2" y="7373"/>
                </a:lnTo>
                <a:cubicBezTo>
                  <a:pt x="3435" y="13255"/>
                  <a:pt x="8343" y="18164"/>
                  <a:pt x="14224" y="21117"/>
                </a:cubicBezTo>
                <a:lnTo>
                  <a:pt x="14240" y="21101"/>
                </a:lnTo>
                <a:cubicBezTo>
                  <a:pt x="14908" y="21418"/>
                  <a:pt x="15652" y="21600"/>
                  <a:pt x="16441" y="21600"/>
                </a:cubicBezTo>
                <a:cubicBezTo>
                  <a:pt x="19287" y="21600"/>
                  <a:pt x="21594" y="19145"/>
                  <a:pt x="21594" y="17182"/>
                </a:cubicBezTo>
                <a:cubicBezTo>
                  <a:pt x="21594" y="17179"/>
                  <a:pt x="21594" y="17177"/>
                  <a:pt x="21594" y="17174"/>
                </a:cubicBezTo>
                <a:cubicBezTo>
                  <a:pt x="21594" y="17174"/>
                  <a:pt x="21586" y="17174"/>
                  <a:pt x="21586" y="17174"/>
                </a:cubicBezTo>
                <a:close/>
                <a:moveTo>
                  <a:pt x="11785" y="10800"/>
                </a:moveTo>
                <a:cubicBezTo>
                  <a:pt x="12326" y="10800"/>
                  <a:pt x="12766" y="10360"/>
                  <a:pt x="12766" y="9819"/>
                </a:cubicBezTo>
                <a:cubicBezTo>
                  <a:pt x="12766" y="9276"/>
                  <a:pt x="12326" y="8836"/>
                  <a:pt x="11785" y="8836"/>
                </a:cubicBezTo>
                <a:cubicBezTo>
                  <a:pt x="11242" y="8836"/>
                  <a:pt x="10803" y="9276"/>
                  <a:pt x="10803" y="9819"/>
                </a:cubicBezTo>
                <a:cubicBezTo>
                  <a:pt x="10803" y="10360"/>
                  <a:pt x="11242" y="10800"/>
                  <a:pt x="11785" y="10800"/>
                </a:cubicBezTo>
                <a:moveTo>
                  <a:pt x="11785" y="5891"/>
                </a:moveTo>
                <a:cubicBezTo>
                  <a:pt x="13953" y="5891"/>
                  <a:pt x="15711" y="7649"/>
                  <a:pt x="15711" y="9819"/>
                </a:cubicBezTo>
                <a:cubicBezTo>
                  <a:pt x="15711" y="10090"/>
                  <a:pt x="15930" y="10309"/>
                  <a:pt x="16201" y="10309"/>
                </a:cubicBezTo>
                <a:cubicBezTo>
                  <a:pt x="16472" y="10309"/>
                  <a:pt x="16692" y="10090"/>
                  <a:pt x="16692" y="9819"/>
                </a:cubicBezTo>
                <a:cubicBezTo>
                  <a:pt x="16692" y="7107"/>
                  <a:pt x="14495" y="4909"/>
                  <a:pt x="11785" y="4909"/>
                </a:cubicBezTo>
                <a:cubicBezTo>
                  <a:pt x="11513" y="4909"/>
                  <a:pt x="11294" y="5129"/>
                  <a:pt x="11294" y="5400"/>
                </a:cubicBezTo>
                <a:cubicBezTo>
                  <a:pt x="11294" y="5672"/>
                  <a:pt x="11513" y="5891"/>
                  <a:pt x="11785" y="5891"/>
                </a:cubicBezTo>
                <a:moveTo>
                  <a:pt x="11785" y="982"/>
                </a:moveTo>
                <a:cubicBezTo>
                  <a:pt x="16663" y="982"/>
                  <a:pt x="20618" y="4939"/>
                  <a:pt x="20618" y="9819"/>
                </a:cubicBezTo>
                <a:cubicBezTo>
                  <a:pt x="20618" y="10090"/>
                  <a:pt x="20838" y="10309"/>
                  <a:pt x="21109" y="10309"/>
                </a:cubicBezTo>
                <a:cubicBezTo>
                  <a:pt x="21380" y="10309"/>
                  <a:pt x="21600" y="10090"/>
                  <a:pt x="21600" y="9819"/>
                </a:cubicBezTo>
                <a:cubicBezTo>
                  <a:pt x="21600" y="4396"/>
                  <a:pt x="17206" y="0"/>
                  <a:pt x="11785" y="0"/>
                </a:cubicBezTo>
                <a:cubicBezTo>
                  <a:pt x="11513" y="0"/>
                  <a:pt x="11294" y="220"/>
                  <a:pt x="11294" y="491"/>
                </a:cubicBezTo>
                <a:cubicBezTo>
                  <a:pt x="11294" y="762"/>
                  <a:pt x="11513" y="982"/>
                  <a:pt x="11785" y="9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30" name="Shape 2630"/>
          <p:cNvSpPr/>
          <p:nvPr/>
        </p:nvSpPr>
        <p:spPr>
          <a:xfrm>
            <a:off x="17959524" y="8362099"/>
            <a:ext cx="30473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07" y="18651"/>
                </a:moveTo>
                <a:lnTo>
                  <a:pt x="10795" y="12327"/>
                </a:lnTo>
                <a:lnTo>
                  <a:pt x="10781" y="12326"/>
                </a:lnTo>
                <a:cubicBezTo>
                  <a:pt x="10785" y="12307"/>
                  <a:pt x="10800" y="12292"/>
                  <a:pt x="10800" y="12273"/>
                </a:cubicBezTo>
                <a:cubicBezTo>
                  <a:pt x="10800" y="12001"/>
                  <a:pt x="10398" y="11782"/>
                  <a:pt x="9900" y="11782"/>
                </a:cubicBezTo>
                <a:lnTo>
                  <a:pt x="2149" y="11782"/>
                </a:lnTo>
                <a:lnTo>
                  <a:pt x="8749" y="982"/>
                </a:lnTo>
                <a:lnTo>
                  <a:pt x="15850" y="982"/>
                </a:lnTo>
                <a:lnTo>
                  <a:pt x="11436" y="8190"/>
                </a:lnTo>
                <a:lnTo>
                  <a:pt x="11447" y="8192"/>
                </a:lnTo>
                <a:cubicBezTo>
                  <a:pt x="11417" y="8241"/>
                  <a:pt x="11391" y="8291"/>
                  <a:pt x="11391" y="8345"/>
                </a:cubicBezTo>
                <a:cubicBezTo>
                  <a:pt x="11391" y="8617"/>
                  <a:pt x="11794" y="8836"/>
                  <a:pt x="12291" y="8836"/>
                </a:cubicBezTo>
                <a:lnTo>
                  <a:pt x="19195" y="8836"/>
                </a:lnTo>
                <a:cubicBezTo>
                  <a:pt x="19195" y="8836"/>
                  <a:pt x="9507" y="18651"/>
                  <a:pt x="9507" y="18651"/>
                </a:cubicBezTo>
                <a:close/>
                <a:moveTo>
                  <a:pt x="21600" y="8345"/>
                </a:moveTo>
                <a:cubicBezTo>
                  <a:pt x="21600" y="8074"/>
                  <a:pt x="21197" y="7855"/>
                  <a:pt x="20700" y="7855"/>
                </a:cubicBezTo>
                <a:lnTo>
                  <a:pt x="13541" y="7855"/>
                </a:lnTo>
                <a:lnTo>
                  <a:pt x="17954" y="646"/>
                </a:lnTo>
                <a:lnTo>
                  <a:pt x="17944" y="644"/>
                </a:lnTo>
                <a:cubicBezTo>
                  <a:pt x="17974" y="595"/>
                  <a:pt x="18000" y="545"/>
                  <a:pt x="18000" y="491"/>
                </a:cubicBezTo>
                <a:cubicBezTo>
                  <a:pt x="18000" y="220"/>
                  <a:pt x="17598" y="0"/>
                  <a:pt x="17100" y="0"/>
                </a:cubicBezTo>
                <a:lnTo>
                  <a:pt x="8101" y="0"/>
                </a:lnTo>
                <a:cubicBezTo>
                  <a:pt x="7703" y="0"/>
                  <a:pt x="7376" y="143"/>
                  <a:pt x="7257" y="337"/>
                </a:cubicBezTo>
                <a:lnTo>
                  <a:pt x="7246" y="335"/>
                </a:lnTo>
                <a:lnTo>
                  <a:pt x="47" y="12117"/>
                </a:lnTo>
                <a:lnTo>
                  <a:pt x="57" y="12120"/>
                </a:lnTo>
                <a:cubicBezTo>
                  <a:pt x="27" y="12168"/>
                  <a:pt x="0" y="12218"/>
                  <a:pt x="0" y="12273"/>
                </a:cubicBezTo>
                <a:cubicBezTo>
                  <a:pt x="0" y="12544"/>
                  <a:pt x="403" y="12764"/>
                  <a:pt x="900" y="12764"/>
                </a:cubicBezTo>
                <a:lnTo>
                  <a:pt x="8895" y="12764"/>
                </a:lnTo>
                <a:lnTo>
                  <a:pt x="7206" y="21055"/>
                </a:lnTo>
                <a:lnTo>
                  <a:pt x="7220" y="21056"/>
                </a:lnTo>
                <a:cubicBezTo>
                  <a:pt x="7216" y="21074"/>
                  <a:pt x="7200" y="21090"/>
                  <a:pt x="7200" y="21109"/>
                </a:cubicBezTo>
                <a:cubicBezTo>
                  <a:pt x="7200" y="21380"/>
                  <a:pt x="7603" y="21600"/>
                  <a:pt x="8101" y="21600"/>
                </a:cubicBezTo>
                <a:cubicBezTo>
                  <a:pt x="8464" y="21600"/>
                  <a:pt x="8761" y="21480"/>
                  <a:pt x="8900" y="21310"/>
                </a:cubicBezTo>
                <a:lnTo>
                  <a:pt x="8918" y="21315"/>
                </a:lnTo>
                <a:lnTo>
                  <a:pt x="21517" y="8551"/>
                </a:lnTo>
                <a:lnTo>
                  <a:pt x="21513" y="8550"/>
                </a:lnTo>
                <a:cubicBezTo>
                  <a:pt x="21567" y="8487"/>
                  <a:pt x="21600" y="8419"/>
                  <a:pt x="21600" y="83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31" name="Shape 2631"/>
          <p:cNvSpPr/>
          <p:nvPr/>
        </p:nvSpPr>
        <p:spPr>
          <a:xfrm>
            <a:off x="18899079" y="8412885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3600"/>
                </a:moveTo>
                <a:lnTo>
                  <a:pt x="1964" y="3600"/>
                </a:lnTo>
                <a:lnTo>
                  <a:pt x="1964" y="1200"/>
                </a:lnTo>
                <a:lnTo>
                  <a:pt x="19636" y="1200"/>
                </a:lnTo>
                <a:cubicBezTo>
                  <a:pt x="19636" y="1200"/>
                  <a:pt x="19636" y="3600"/>
                  <a:pt x="19636" y="3600"/>
                </a:cubicBezTo>
                <a:close/>
                <a:moveTo>
                  <a:pt x="17182" y="6000"/>
                </a:moveTo>
                <a:lnTo>
                  <a:pt x="17182" y="4800"/>
                </a:lnTo>
                <a:lnTo>
                  <a:pt x="19145" y="4800"/>
                </a:lnTo>
                <a:lnTo>
                  <a:pt x="19145" y="6000"/>
                </a:lnTo>
                <a:cubicBezTo>
                  <a:pt x="19145" y="6662"/>
                  <a:pt x="18705" y="7200"/>
                  <a:pt x="18164" y="7200"/>
                </a:cubicBezTo>
                <a:cubicBezTo>
                  <a:pt x="17621" y="7200"/>
                  <a:pt x="17182" y="6662"/>
                  <a:pt x="17182" y="6000"/>
                </a:cubicBezTo>
                <a:moveTo>
                  <a:pt x="14236" y="6000"/>
                </a:moveTo>
                <a:lnTo>
                  <a:pt x="14236" y="4800"/>
                </a:lnTo>
                <a:lnTo>
                  <a:pt x="16200" y="4800"/>
                </a:lnTo>
                <a:lnTo>
                  <a:pt x="16200" y="6000"/>
                </a:lnTo>
                <a:cubicBezTo>
                  <a:pt x="16200" y="6662"/>
                  <a:pt x="15760" y="7200"/>
                  <a:pt x="15218" y="7200"/>
                </a:cubicBezTo>
                <a:cubicBezTo>
                  <a:pt x="14675" y="7200"/>
                  <a:pt x="14236" y="6662"/>
                  <a:pt x="14236" y="6000"/>
                </a:cubicBezTo>
                <a:moveTo>
                  <a:pt x="11291" y="6000"/>
                </a:moveTo>
                <a:lnTo>
                  <a:pt x="11291" y="4800"/>
                </a:lnTo>
                <a:lnTo>
                  <a:pt x="13255" y="4800"/>
                </a:lnTo>
                <a:lnTo>
                  <a:pt x="13255" y="6000"/>
                </a:lnTo>
                <a:cubicBezTo>
                  <a:pt x="13255" y="6662"/>
                  <a:pt x="12814" y="7200"/>
                  <a:pt x="12273" y="7200"/>
                </a:cubicBezTo>
                <a:cubicBezTo>
                  <a:pt x="11730" y="7200"/>
                  <a:pt x="11291" y="6662"/>
                  <a:pt x="11291" y="6000"/>
                </a:cubicBezTo>
                <a:moveTo>
                  <a:pt x="8345" y="6000"/>
                </a:moveTo>
                <a:lnTo>
                  <a:pt x="8345" y="4800"/>
                </a:lnTo>
                <a:lnTo>
                  <a:pt x="10309" y="4800"/>
                </a:lnTo>
                <a:lnTo>
                  <a:pt x="10309" y="6000"/>
                </a:lnTo>
                <a:cubicBezTo>
                  <a:pt x="10309" y="6662"/>
                  <a:pt x="9869" y="7200"/>
                  <a:pt x="9327" y="7200"/>
                </a:cubicBezTo>
                <a:cubicBezTo>
                  <a:pt x="8785" y="7200"/>
                  <a:pt x="8345" y="6662"/>
                  <a:pt x="8345" y="6000"/>
                </a:cubicBezTo>
                <a:moveTo>
                  <a:pt x="5400" y="6000"/>
                </a:moveTo>
                <a:lnTo>
                  <a:pt x="5400" y="4800"/>
                </a:lnTo>
                <a:lnTo>
                  <a:pt x="7364" y="4800"/>
                </a:lnTo>
                <a:lnTo>
                  <a:pt x="7364" y="6000"/>
                </a:lnTo>
                <a:cubicBezTo>
                  <a:pt x="7364" y="6662"/>
                  <a:pt x="6924" y="7200"/>
                  <a:pt x="6382" y="7200"/>
                </a:cubicBezTo>
                <a:cubicBezTo>
                  <a:pt x="5839" y="7200"/>
                  <a:pt x="5400" y="6662"/>
                  <a:pt x="5400" y="6000"/>
                </a:cubicBezTo>
                <a:moveTo>
                  <a:pt x="2455" y="6000"/>
                </a:moveTo>
                <a:lnTo>
                  <a:pt x="2455" y="4800"/>
                </a:lnTo>
                <a:lnTo>
                  <a:pt x="4418" y="4800"/>
                </a:lnTo>
                <a:lnTo>
                  <a:pt x="4418" y="6000"/>
                </a:lnTo>
                <a:cubicBezTo>
                  <a:pt x="4418" y="6662"/>
                  <a:pt x="3978" y="7200"/>
                  <a:pt x="3436" y="7200"/>
                </a:cubicBezTo>
                <a:cubicBezTo>
                  <a:pt x="2894" y="7200"/>
                  <a:pt x="2455" y="6662"/>
                  <a:pt x="2455" y="6000"/>
                </a:cubicBezTo>
                <a:moveTo>
                  <a:pt x="19636" y="20400"/>
                </a:moveTo>
                <a:lnTo>
                  <a:pt x="12764" y="20400"/>
                </a:lnTo>
                <a:lnTo>
                  <a:pt x="12764" y="13800"/>
                </a:lnTo>
                <a:cubicBezTo>
                  <a:pt x="12764" y="13469"/>
                  <a:pt x="12544" y="13200"/>
                  <a:pt x="12273" y="13200"/>
                </a:cubicBezTo>
                <a:lnTo>
                  <a:pt x="9327" y="13200"/>
                </a:lnTo>
                <a:cubicBezTo>
                  <a:pt x="9056" y="13200"/>
                  <a:pt x="8836" y="13469"/>
                  <a:pt x="8836" y="13800"/>
                </a:cubicBezTo>
                <a:lnTo>
                  <a:pt x="8836" y="20400"/>
                </a:lnTo>
                <a:lnTo>
                  <a:pt x="1964" y="20400"/>
                </a:lnTo>
                <a:lnTo>
                  <a:pt x="1964" y="7573"/>
                </a:lnTo>
                <a:cubicBezTo>
                  <a:pt x="2324" y="8076"/>
                  <a:pt x="2847" y="8400"/>
                  <a:pt x="3436" y="8400"/>
                </a:cubicBezTo>
                <a:cubicBezTo>
                  <a:pt x="4026" y="8400"/>
                  <a:pt x="4549" y="8076"/>
                  <a:pt x="4909" y="7573"/>
                </a:cubicBezTo>
                <a:cubicBezTo>
                  <a:pt x="5269" y="8076"/>
                  <a:pt x="5792" y="8400"/>
                  <a:pt x="6382" y="8400"/>
                </a:cubicBezTo>
                <a:cubicBezTo>
                  <a:pt x="6971" y="8400"/>
                  <a:pt x="7495" y="8076"/>
                  <a:pt x="7855" y="7573"/>
                </a:cubicBezTo>
                <a:cubicBezTo>
                  <a:pt x="8215" y="8076"/>
                  <a:pt x="8738" y="8400"/>
                  <a:pt x="9327" y="8400"/>
                </a:cubicBezTo>
                <a:cubicBezTo>
                  <a:pt x="9917" y="8400"/>
                  <a:pt x="10440" y="8076"/>
                  <a:pt x="10800" y="7573"/>
                </a:cubicBezTo>
                <a:cubicBezTo>
                  <a:pt x="11160" y="8076"/>
                  <a:pt x="11683" y="8400"/>
                  <a:pt x="12273" y="8400"/>
                </a:cubicBezTo>
                <a:cubicBezTo>
                  <a:pt x="12862" y="8400"/>
                  <a:pt x="13385" y="8076"/>
                  <a:pt x="13745" y="7573"/>
                </a:cubicBezTo>
                <a:cubicBezTo>
                  <a:pt x="14105" y="8076"/>
                  <a:pt x="14629" y="8400"/>
                  <a:pt x="15218" y="8400"/>
                </a:cubicBezTo>
                <a:cubicBezTo>
                  <a:pt x="15808" y="8400"/>
                  <a:pt x="16331" y="8076"/>
                  <a:pt x="16691" y="7573"/>
                </a:cubicBezTo>
                <a:cubicBezTo>
                  <a:pt x="17051" y="8076"/>
                  <a:pt x="17574" y="8400"/>
                  <a:pt x="18164" y="8400"/>
                </a:cubicBezTo>
                <a:cubicBezTo>
                  <a:pt x="18753" y="8400"/>
                  <a:pt x="19276" y="8076"/>
                  <a:pt x="19636" y="7573"/>
                </a:cubicBezTo>
                <a:cubicBezTo>
                  <a:pt x="19636" y="7573"/>
                  <a:pt x="19636" y="20400"/>
                  <a:pt x="19636" y="20400"/>
                </a:cubicBezTo>
                <a:close/>
                <a:moveTo>
                  <a:pt x="11782" y="20400"/>
                </a:moveTo>
                <a:lnTo>
                  <a:pt x="9818" y="204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20400"/>
                  <a:pt x="11782" y="20400"/>
                </a:cubicBezTo>
                <a:close/>
                <a:moveTo>
                  <a:pt x="21109" y="20400"/>
                </a:moveTo>
                <a:lnTo>
                  <a:pt x="20618" y="20400"/>
                </a:lnTo>
                <a:lnTo>
                  <a:pt x="20618" y="4800"/>
                </a:lnTo>
                <a:lnTo>
                  <a:pt x="21109" y="4800"/>
                </a:lnTo>
                <a:cubicBezTo>
                  <a:pt x="21380" y="4800"/>
                  <a:pt x="21600" y="4532"/>
                  <a:pt x="21600" y="4200"/>
                </a:cubicBezTo>
                <a:cubicBezTo>
                  <a:pt x="21600" y="3868"/>
                  <a:pt x="21380" y="3600"/>
                  <a:pt x="21109" y="3600"/>
                </a:cubicBezTo>
                <a:lnTo>
                  <a:pt x="20618" y="3600"/>
                </a:lnTo>
                <a:lnTo>
                  <a:pt x="20618" y="1200"/>
                </a:lnTo>
                <a:cubicBezTo>
                  <a:pt x="20618" y="538"/>
                  <a:pt x="20178" y="0"/>
                  <a:pt x="19636" y="0"/>
                </a:cubicBezTo>
                <a:lnTo>
                  <a:pt x="1964" y="0"/>
                </a:lnTo>
                <a:cubicBezTo>
                  <a:pt x="1421" y="0"/>
                  <a:pt x="982" y="538"/>
                  <a:pt x="982" y="1200"/>
                </a:cubicBezTo>
                <a:lnTo>
                  <a:pt x="982" y="3600"/>
                </a:lnTo>
                <a:lnTo>
                  <a:pt x="491" y="3600"/>
                </a:lnTo>
                <a:cubicBezTo>
                  <a:pt x="220" y="3600"/>
                  <a:pt x="0" y="3868"/>
                  <a:pt x="0" y="4200"/>
                </a:cubicBezTo>
                <a:cubicBezTo>
                  <a:pt x="0" y="4532"/>
                  <a:pt x="220" y="4800"/>
                  <a:pt x="491" y="4800"/>
                </a:cubicBezTo>
                <a:lnTo>
                  <a:pt x="982" y="4800"/>
                </a:lnTo>
                <a:lnTo>
                  <a:pt x="982" y="20400"/>
                </a:lnTo>
                <a:lnTo>
                  <a:pt x="491" y="20400"/>
                </a:lnTo>
                <a:cubicBezTo>
                  <a:pt x="220" y="20400"/>
                  <a:pt x="0" y="20669"/>
                  <a:pt x="0" y="21000"/>
                </a:cubicBez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cubicBezTo>
                  <a:pt x="21600" y="20669"/>
                  <a:pt x="21380" y="20400"/>
                  <a:pt x="21109" y="20400"/>
                </a:cubicBezTo>
                <a:moveTo>
                  <a:pt x="16691" y="16800"/>
                </a:moveTo>
                <a:lnTo>
                  <a:pt x="14727" y="16800"/>
                </a:lnTo>
                <a:lnTo>
                  <a:pt x="14727" y="14400"/>
                </a:lnTo>
                <a:lnTo>
                  <a:pt x="16691" y="14400"/>
                </a:lnTo>
                <a:cubicBezTo>
                  <a:pt x="16691" y="14400"/>
                  <a:pt x="16691" y="16800"/>
                  <a:pt x="16691" y="16800"/>
                </a:cubicBezTo>
                <a:close/>
                <a:moveTo>
                  <a:pt x="17182" y="13200"/>
                </a:moveTo>
                <a:lnTo>
                  <a:pt x="14236" y="13200"/>
                </a:lnTo>
                <a:cubicBezTo>
                  <a:pt x="13965" y="13200"/>
                  <a:pt x="13745" y="13469"/>
                  <a:pt x="13745" y="13800"/>
                </a:cubicBezTo>
                <a:lnTo>
                  <a:pt x="13745" y="17400"/>
                </a:lnTo>
                <a:cubicBezTo>
                  <a:pt x="13745" y="17732"/>
                  <a:pt x="13965" y="18000"/>
                  <a:pt x="14236" y="18000"/>
                </a:cubicBezTo>
                <a:lnTo>
                  <a:pt x="17182" y="18000"/>
                </a:lnTo>
                <a:cubicBezTo>
                  <a:pt x="17453" y="18000"/>
                  <a:pt x="17673" y="17732"/>
                  <a:pt x="17673" y="17400"/>
                </a:cubicBezTo>
                <a:lnTo>
                  <a:pt x="17673" y="13800"/>
                </a:lnTo>
                <a:cubicBezTo>
                  <a:pt x="17673" y="13469"/>
                  <a:pt x="17453" y="13200"/>
                  <a:pt x="17182" y="13200"/>
                </a:cubicBezTo>
                <a:moveTo>
                  <a:pt x="6873" y="16800"/>
                </a:moveTo>
                <a:lnTo>
                  <a:pt x="4909" y="16800"/>
                </a:lnTo>
                <a:lnTo>
                  <a:pt x="4909" y="14400"/>
                </a:lnTo>
                <a:lnTo>
                  <a:pt x="6873" y="14400"/>
                </a:lnTo>
                <a:cubicBezTo>
                  <a:pt x="6873" y="14400"/>
                  <a:pt x="6873" y="16800"/>
                  <a:pt x="6873" y="16800"/>
                </a:cubicBezTo>
                <a:close/>
                <a:moveTo>
                  <a:pt x="7364" y="13200"/>
                </a:moveTo>
                <a:lnTo>
                  <a:pt x="4418" y="13200"/>
                </a:lnTo>
                <a:cubicBezTo>
                  <a:pt x="4147" y="13200"/>
                  <a:pt x="3927" y="13469"/>
                  <a:pt x="3927" y="13800"/>
                </a:cubicBezTo>
                <a:lnTo>
                  <a:pt x="3927" y="17400"/>
                </a:lnTo>
                <a:cubicBezTo>
                  <a:pt x="3927" y="17732"/>
                  <a:pt x="4147" y="18000"/>
                  <a:pt x="4418" y="18000"/>
                </a:cubicBezTo>
                <a:lnTo>
                  <a:pt x="7364" y="18000"/>
                </a:lnTo>
                <a:cubicBezTo>
                  <a:pt x="7635" y="18000"/>
                  <a:pt x="7855" y="17732"/>
                  <a:pt x="7855" y="17400"/>
                </a:cubicBezTo>
                <a:lnTo>
                  <a:pt x="7855" y="13800"/>
                </a:lnTo>
                <a:cubicBezTo>
                  <a:pt x="7855" y="13469"/>
                  <a:pt x="7635" y="13200"/>
                  <a:pt x="7364" y="13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32" name="Shape 2632"/>
          <p:cNvSpPr/>
          <p:nvPr/>
        </p:nvSpPr>
        <p:spPr>
          <a:xfrm>
            <a:off x="20016388" y="8362099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7673"/>
                </a:moveTo>
                <a:cubicBezTo>
                  <a:pt x="4588" y="17673"/>
                  <a:pt x="1200" y="16051"/>
                  <a:pt x="1200" y="15218"/>
                </a:cubicBezTo>
                <a:cubicBezTo>
                  <a:pt x="1200" y="14690"/>
                  <a:pt x="1355" y="14275"/>
                  <a:pt x="1611" y="13896"/>
                </a:cubicBezTo>
                <a:cubicBezTo>
                  <a:pt x="3255" y="14967"/>
                  <a:pt x="6746" y="15709"/>
                  <a:pt x="10800" y="15709"/>
                </a:cubicBezTo>
                <a:cubicBezTo>
                  <a:pt x="14856" y="15709"/>
                  <a:pt x="18345" y="14966"/>
                  <a:pt x="19987" y="13894"/>
                </a:cubicBezTo>
                <a:cubicBezTo>
                  <a:pt x="20244" y="14273"/>
                  <a:pt x="20400" y="14689"/>
                  <a:pt x="20400" y="15218"/>
                </a:cubicBezTo>
                <a:cubicBezTo>
                  <a:pt x="20400" y="16051"/>
                  <a:pt x="17011" y="17673"/>
                  <a:pt x="10800" y="17673"/>
                </a:cubicBezTo>
                <a:moveTo>
                  <a:pt x="10800" y="20618"/>
                </a:moveTo>
                <a:cubicBezTo>
                  <a:pt x="9475" y="20618"/>
                  <a:pt x="8400" y="19739"/>
                  <a:pt x="8400" y="18655"/>
                </a:cubicBezTo>
                <a:cubicBezTo>
                  <a:pt x="8400" y="18625"/>
                  <a:pt x="8408" y="18597"/>
                  <a:pt x="8409" y="18567"/>
                </a:cubicBezTo>
                <a:cubicBezTo>
                  <a:pt x="9179" y="18623"/>
                  <a:pt x="9977" y="18655"/>
                  <a:pt x="10800" y="18655"/>
                </a:cubicBezTo>
                <a:cubicBezTo>
                  <a:pt x="11623" y="18655"/>
                  <a:pt x="12421" y="18623"/>
                  <a:pt x="13191" y="18567"/>
                </a:cubicBezTo>
                <a:cubicBezTo>
                  <a:pt x="13192" y="18597"/>
                  <a:pt x="13200" y="18625"/>
                  <a:pt x="13200" y="18655"/>
                </a:cubicBezTo>
                <a:cubicBezTo>
                  <a:pt x="13200" y="19739"/>
                  <a:pt x="12125" y="20618"/>
                  <a:pt x="10800" y="20618"/>
                </a:cubicBezTo>
                <a:moveTo>
                  <a:pt x="2948" y="12551"/>
                </a:moveTo>
                <a:cubicBezTo>
                  <a:pt x="4308" y="11388"/>
                  <a:pt x="6000" y="9939"/>
                  <a:pt x="6000" y="6873"/>
                </a:cubicBezTo>
                <a:cubicBezTo>
                  <a:pt x="6000" y="5232"/>
                  <a:pt x="7238" y="3825"/>
                  <a:pt x="8988" y="3239"/>
                </a:cubicBezTo>
                <a:cubicBezTo>
                  <a:pt x="9428" y="3657"/>
                  <a:pt x="10072" y="3927"/>
                  <a:pt x="10800" y="3927"/>
                </a:cubicBezTo>
                <a:cubicBezTo>
                  <a:pt x="11528" y="3927"/>
                  <a:pt x="12172" y="3657"/>
                  <a:pt x="12611" y="3239"/>
                </a:cubicBezTo>
                <a:cubicBezTo>
                  <a:pt x="14362" y="3825"/>
                  <a:pt x="15600" y="5232"/>
                  <a:pt x="15600" y="6873"/>
                </a:cubicBezTo>
                <a:cubicBezTo>
                  <a:pt x="15600" y="9939"/>
                  <a:pt x="17292" y="11388"/>
                  <a:pt x="18652" y="12551"/>
                </a:cubicBezTo>
                <a:cubicBezTo>
                  <a:pt x="18911" y="12773"/>
                  <a:pt x="19152" y="12979"/>
                  <a:pt x="19366" y="13183"/>
                </a:cubicBezTo>
                <a:cubicBezTo>
                  <a:pt x="18217" y="14077"/>
                  <a:pt x="14825" y="14727"/>
                  <a:pt x="10800" y="14727"/>
                </a:cubicBezTo>
                <a:cubicBezTo>
                  <a:pt x="6779" y="14727"/>
                  <a:pt x="3383" y="14079"/>
                  <a:pt x="2230" y="13186"/>
                </a:cubicBezTo>
                <a:cubicBezTo>
                  <a:pt x="2446" y="12981"/>
                  <a:pt x="2687" y="12774"/>
                  <a:pt x="2948" y="12551"/>
                </a:cubicBezTo>
                <a:moveTo>
                  <a:pt x="10800" y="982"/>
                </a:moveTo>
                <a:cubicBezTo>
                  <a:pt x="11462" y="982"/>
                  <a:pt x="12000" y="1422"/>
                  <a:pt x="12000" y="1964"/>
                </a:cubicBezTo>
                <a:cubicBezTo>
                  <a:pt x="12000" y="2506"/>
                  <a:pt x="11462" y="2945"/>
                  <a:pt x="10800" y="2945"/>
                </a:cubicBezTo>
                <a:cubicBezTo>
                  <a:pt x="10138" y="2945"/>
                  <a:pt x="9600" y="2506"/>
                  <a:pt x="9600" y="1964"/>
                </a:cubicBezTo>
                <a:cubicBezTo>
                  <a:pt x="9600" y="1422"/>
                  <a:pt x="10138" y="982"/>
                  <a:pt x="10800" y="982"/>
                </a:cubicBezTo>
                <a:moveTo>
                  <a:pt x="21600" y="15218"/>
                </a:moveTo>
                <a:cubicBezTo>
                  <a:pt x="21600" y="11782"/>
                  <a:pt x="16800" y="11782"/>
                  <a:pt x="16800" y="6873"/>
                </a:cubicBezTo>
                <a:cubicBezTo>
                  <a:pt x="16800" y="4845"/>
                  <a:pt x="15296" y="3105"/>
                  <a:pt x="13152" y="2356"/>
                </a:cubicBezTo>
                <a:cubicBezTo>
                  <a:pt x="13183" y="2229"/>
                  <a:pt x="13200" y="2098"/>
                  <a:pt x="13200" y="1964"/>
                </a:cubicBezTo>
                <a:cubicBezTo>
                  <a:pt x="13200" y="879"/>
                  <a:pt x="12125" y="0"/>
                  <a:pt x="10800" y="0"/>
                </a:cubicBezTo>
                <a:cubicBezTo>
                  <a:pt x="9475" y="0"/>
                  <a:pt x="8400" y="879"/>
                  <a:pt x="8400" y="1964"/>
                </a:cubicBezTo>
                <a:cubicBezTo>
                  <a:pt x="8400" y="2098"/>
                  <a:pt x="8417" y="2229"/>
                  <a:pt x="8448" y="2356"/>
                </a:cubicBezTo>
                <a:cubicBezTo>
                  <a:pt x="6304" y="3105"/>
                  <a:pt x="4800" y="4845"/>
                  <a:pt x="4800" y="6873"/>
                </a:cubicBezTo>
                <a:cubicBezTo>
                  <a:pt x="4800" y="11782"/>
                  <a:pt x="0" y="11782"/>
                  <a:pt x="0" y="15218"/>
                </a:cubicBezTo>
                <a:cubicBezTo>
                  <a:pt x="0" y="16716"/>
                  <a:pt x="3016" y="17986"/>
                  <a:pt x="7217" y="18457"/>
                </a:cubicBezTo>
                <a:cubicBezTo>
                  <a:pt x="7211" y="18523"/>
                  <a:pt x="7200" y="18587"/>
                  <a:pt x="7200" y="18655"/>
                </a:cubicBezTo>
                <a:cubicBezTo>
                  <a:pt x="7200" y="20282"/>
                  <a:pt x="8812" y="21600"/>
                  <a:pt x="10800" y="21600"/>
                </a:cubicBezTo>
                <a:cubicBezTo>
                  <a:pt x="12788" y="21600"/>
                  <a:pt x="14400" y="20282"/>
                  <a:pt x="14400" y="18655"/>
                </a:cubicBezTo>
                <a:cubicBezTo>
                  <a:pt x="14400" y="18587"/>
                  <a:pt x="14389" y="18523"/>
                  <a:pt x="14383" y="18457"/>
                </a:cubicBezTo>
                <a:cubicBezTo>
                  <a:pt x="18584" y="17986"/>
                  <a:pt x="21600" y="16716"/>
                  <a:pt x="21600" y="152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33" name="Shape 2633"/>
          <p:cNvSpPr/>
          <p:nvPr/>
        </p:nvSpPr>
        <p:spPr>
          <a:xfrm>
            <a:off x="21032122" y="836209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34" name="Shape 2634"/>
          <p:cNvSpPr/>
          <p:nvPr/>
        </p:nvSpPr>
        <p:spPr>
          <a:xfrm>
            <a:off x="22098644" y="836209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4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800" y="3145"/>
                </a:lnTo>
                <a:lnTo>
                  <a:pt x="11480" y="2491"/>
                </a:lnTo>
                <a:cubicBezTo>
                  <a:pt x="12493" y="1518"/>
                  <a:pt x="13820" y="982"/>
                  <a:pt x="15218" y="982"/>
                </a:cubicBezTo>
                <a:cubicBezTo>
                  <a:pt x="18196" y="982"/>
                  <a:pt x="20618" y="3404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4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41" name="Shape 2707"/>
          <p:cNvSpPr/>
          <p:nvPr/>
        </p:nvSpPr>
        <p:spPr>
          <a:xfrm>
            <a:off x="11397134" y="2641002"/>
            <a:ext cx="1627990" cy="6309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8090" tIns="38090" rIns="38090" bIns="38090" anchor="ctr">
            <a:spAutoFit/>
          </a:bodyPr>
          <a:lstStyle>
            <a:lvl1pPr algn="l">
              <a:defRPr sz="3000" b="1" cap="none" spc="-90">
                <a:solidFill>
                  <a:srgbClr val="1C1D21"/>
                </a:solidFill>
                <a:latin typeface="+mj-lt"/>
                <a:ea typeface="+mj-ea"/>
                <a:cs typeface="+mj-cs"/>
                <a:sym typeface="Karla"/>
              </a:defRPr>
            </a:lvl1pPr>
          </a:lstStyle>
          <a:p>
            <a:pPr algn="ctr"/>
            <a:r>
              <a:rPr lang="en-US" sz="3600" b="0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General</a:t>
            </a:r>
          </a:p>
        </p:txBody>
      </p:sp>
    </p:spTree>
    <p:extLst>
      <p:ext uri="{BB962C8B-B14F-4D97-AF65-F5344CB8AC3E}">
        <p14:creationId xmlns:p14="http://schemas.microsoft.com/office/powerpoint/2010/main" val="586235379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7" name="Shape 2637"/>
          <p:cNvSpPr/>
          <p:nvPr/>
        </p:nvSpPr>
        <p:spPr>
          <a:xfrm>
            <a:off x="1885508" y="2853085"/>
            <a:ext cx="30472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836"/>
                </a:moveTo>
                <a:lnTo>
                  <a:pt x="16200" y="8836"/>
                </a:lnTo>
                <a:lnTo>
                  <a:pt x="16200" y="11782"/>
                </a:lnTo>
                <a:cubicBezTo>
                  <a:pt x="16200" y="13409"/>
                  <a:pt x="13783" y="14727"/>
                  <a:pt x="10800" y="14727"/>
                </a:cubicBezTo>
                <a:cubicBezTo>
                  <a:pt x="7817" y="14727"/>
                  <a:pt x="5400" y="13409"/>
                  <a:pt x="5400" y="11782"/>
                </a:cubicBezTo>
                <a:cubicBezTo>
                  <a:pt x="5400" y="11782"/>
                  <a:pt x="5400" y="8836"/>
                  <a:pt x="5400" y="8836"/>
                </a:cubicBezTo>
                <a:close/>
                <a:moveTo>
                  <a:pt x="5400" y="3927"/>
                </a:moveTo>
                <a:cubicBezTo>
                  <a:pt x="5400" y="2301"/>
                  <a:pt x="7817" y="982"/>
                  <a:pt x="10800" y="982"/>
                </a:cubicBezTo>
                <a:cubicBezTo>
                  <a:pt x="13783" y="982"/>
                  <a:pt x="16200" y="2301"/>
                  <a:pt x="16200" y="3927"/>
                </a:cubicBezTo>
                <a:lnTo>
                  <a:pt x="16200" y="7855"/>
                </a:lnTo>
                <a:lnTo>
                  <a:pt x="5400" y="7855"/>
                </a:lnTo>
                <a:cubicBezTo>
                  <a:pt x="5400" y="7855"/>
                  <a:pt x="5400" y="3927"/>
                  <a:pt x="5400" y="3927"/>
                </a:cubicBezTo>
                <a:close/>
                <a:moveTo>
                  <a:pt x="10800" y="15709"/>
                </a:moveTo>
                <a:cubicBezTo>
                  <a:pt x="14777" y="15709"/>
                  <a:pt x="18000" y="13951"/>
                  <a:pt x="18000" y="11782"/>
                </a:cubicBezTo>
                <a:lnTo>
                  <a:pt x="18000" y="3927"/>
                </a:lnTo>
                <a:cubicBezTo>
                  <a:pt x="18000" y="1758"/>
                  <a:pt x="14777" y="0"/>
                  <a:pt x="10800" y="0"/>
                </a:cubicBezTo>
                <a:cubicBezTo>
                  <a:pt x="6823" y="0"/>
                  <a:pt x="3600" y="1758"/>
                  <a:pt x="3600" y="3927"/>
                </a:cubicBezTo>
                <a:lnTo>
                  <a:pt x="3600" y="11782"/>
                </a:lnTo>
                <a:cubicBezTo>
                  <a:pt x="3600" y="13951"/>
                  <a:pt x="6823" y="15709"/>
                  <a:pt x="10800" y="15709"/>
                </a:cubicBezTo>
                <a:moveTo>
                  <a:pt x="21600" y="11782"/>
                </a:moveTo>
                <a:lnTo>
                  <a:pt x="21600" y="10309"/>
                </a:lnTo>
                <a:cubicBezTo>
                  <a:pt x="21600" y="10038"/>
                  <a:pt x="21197" y="9818"/>
                  <a:pt x="20700" y="9818"/>
                </a:cubicBezTo>
                <a:cubicBezTo>
                  <a:pt x="20203" y="9818"/>
                  <a:pt x="19800" y="10038"/>
                  <a:pt x="19800" y="10309"/>
                </a:cubicBezTo>
                <a:lnTo>
                  <a:pt x="19800" y="11782"/>
                </a:lnTo>
                <a:cubicBezTo>
                  <a:pt x="19800" y="14493"/>
                  <a:pt x="15771" y="16691"/>
                  <a:pt x="10800" y="16691"/>
                </a:cubicBezTo>
                <a:cubicBezTo>
                  <a:pt x="5829" y="16691"/>
                  <a:pt x="1800" y="14493"/>
                  <a:pt x="1800" y="11782"/>
                </a:cubicBezTo>
                <a:lnTo>
                  <a:pt x="1800" y="10309"/>
                </a:lnTo>
                <a:cubicBezTo>
                  <a:pt x="1800" y="10038"/>
                  <a:pt x="1397" y="9818"/>
                  <a:pt x="900" y="9818"/>
                </a:cubicBezTo>
                <a:cubicBezTo>
                  <a:pt x="403" y="9818"/>
                  <a:pt x="0" y="10038"/>
                  <a:pt x="0" y="10309"/>
                </a:cubicBezTo>
                <a:lnTo>
                  <a:pt x="0" y="11782"/>
                </a:lnTo>
                <a:cubicBezTo>
                  <a:pt x="0" y="14870"/>
                  <a:pt x="4358" y="17398"/>
                  <a:pt x="9900" y="17648"/>
                </a:cubicBezTo>
                <a:lnTo>
                  <a:pt x="9900" y="20618"/>
                </a:lnTo>
                <a:lnTo>
                  <a:pt x="3600" y="20618"/>
                </a:lnTo>
                <a:cubicBezTo>
                  <a:pt x="3103" y="20618"/>
                  <a:pt x="2700" y="20838"/>
                  <a:pt x="2700" y="21110"/>
                </a:cubicBezTo>
                <a:cubicBezTo>
                  <a:pt x="2700" y="21381"/>
                  <a:pt x="3103" y="21600"/>
                  <a:pt x="3600" y="21600"/>
                </a:cubicBezTo>
                <a:lnTo>
                  <a:pt x="18000" y="21600"/>
                </a:lnTo>
                <a:cubicBezTo>
                  <a:pt x="18497" y="21600"/>
                  <a:pt x="18900" y="21381"/>
                  <a:pt x="18900" y="21110"/>
                </a:cubicBezTo>
                <a:cubicBezTo>
                  <a:pt x="18900" y="20838"/>
                  <a:pt x="18497" y="20618"/>
                  <a:pt x="18000" y="20618"/>
                </a:cubicBezTo>
                <a:lnTo>
                  <a:pt x="11700" y="20618"/>
                </a:lnTo>
                <a:lnTo>
                  <a:pt x="11700" y="17648"/>
                </a:lnTo>
                <a:cubicBezTo>
                  <a:pt x="17243" y="17398"/>
                  <a:pt x="21600" y="14870"/>
                  <a:pt x="21600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38" name="Shape 2638"/>
          <p:cNvSpPr/>
          <p:nvPr/>
        </p:nvSpPr>
        <p:spPr>
          <a:xfrm>
            <a:off x="2825064" y="2853085"/>
            <a:ext cx="558463" cy="5589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31" h="21132" extrusionOk="0">
                <a:moveTo>
                  <a:pt x="19045" y="7530"/>
                </a:moveTo>
                <a:cubicBezTo>
                  <a:pt x="17544" y="9030"/>
                  <a:pt x="15110" y="9030"/>
                  <a:pt x="13610" y="7530"/>
                </a:cubicBezTo>
                <a:cubicBezTo>
                  <a:pt x="12108" y="6031"/>
                  <a:pt x="12108" y="3600"/>
                  <a:pt x="13610" y="2100"/>
                </a:cubicBezTo>
                <a:cubicBezTo>
                  <a:pt x="15110" y="600"/>
                  <a:pt x="17544" y="600"/>
                  <a:pt x="19045" y="2100"/>
                </a:cubicBezTo>
                <a:cubicBezTo>
                  <a:pt x="20546" y="3600"/>
                  <a:pt x="20546" y="6031"/>
                  <a:pt x="19045" y="7530"/>
                </a:cubicBezTo>
                <a:moveTo>
                  <a:pt x="7605" y="16245"/>
                </a:moveTo>
                <a:cubicBezTo>
                  <a:pt x="7256" y="16593"/>
                  <a:pt x="6776" y="16807"/>
                  <a:pt x="6245" y="16807"/>
                </a:cubicBezTo>
                <a:cubicBezTo>
                  <a:pt x="5184" y="16807"/>
                  <a:pt x="4324" y="15948"/>
                  <a:pt x="4324" y="14888"/>
                </a:cubicBezTo>
                <a:cubicBezTo>
                  <a:pt x="4324" y="14358"/>
                  <a:pt x="4539" y="13878"/>
                  <a:pt x="4887" y="13530"/>
                </a:cubicBezTo>
                <a:lnTo>
                  <a:pt x="11678" y="5991"/>
                </a:lnTo>
                <a:cubicBezTo>
                  <a:pt x="11884" y="6798"/>
                  <a:pt x="12298" y="7563"/>
                  <a:pt x="12930" y="8194"/>
                </a:cubicBezTo>
                <a:cubicBezTo>
                  <a:pt x="13569" y="8832"/>
                  <a:pt x="14343" y="9248"/>
                  <a:pt x="15160" y="9451"/>
                </a:cubicBezTo>
                <a:cubicBezTo>
                  <a:pt x="15160" y="9451"/>
                  <a:pt x="7605" y="16245"/>
                  <a:pt x="7605" y="16245"/>
                </a:cubicBezTo>
                <a:close/>
                <a:moveTo>
                  <a:pt x="19724" y="1406"/>
                </a:moveTo>
                <a:cubicBezTo>
                  <a:pt x="17848" y="-468"/>
                  <a:pt x="14806" y="-468"/>
                  <a:pt x="12930" y="1406"/>
                </a:cubicBezTo>
                <a:cubicBezTo>
                  <a:pt x="12024" y="2312"/>
                  <a:pt x="11559" y="3489"/>
                  <a:pt x="11529" y="4676"/>
                </a:cubicBezTo>
                <a:lnTo>
                  <a:pt x="4207" y="12851"/>
                </a:lnTo>
                <a:cubicBezTo>
                  <a:pt x="3686" y="13373"/>
                  <a:pt x="3363" y="14093"/>
                  <a:pt x="3363" y="14888"/>
                </a:cubicBezTo>
                <a:cubicBezTo>
                  <a:pt x="3363" y="15420"/>
                  <a:pt x="3518" y="15912"/>
                  <a:pt x="3769" y="16340"/>
                </a:cubicBezTo>
                <a:cubicBezTo>
                  <a:pt x="2436" y="17104"/>
                  <a:pt x="1907" y="17813"/>
                  <a:pt x="2425" y="19364"/>
                </a:cubicBezTo>
                <a:cubicBezTo>
                  <a:pt x="2487" y="19550"/>
                  <a:pt x="2434" y="19622"/>
                  <a:pt x="2409" y="19658"/>
                </a:cubicBezTo>
                <a:cubicBezTo>
                  <a:pt x="2160" y="20003"/>
                  <a:pt x="1132" y="20167"/>
                  <a:pt x="500" y="20172"/>
                </a:cubicBezTo>
                <a:cubicBezTo>
                  <a:pt x="493" y="20171"/>
                  <a:pt x="487" y="20167"/>
                  <a:pt x="480" y="20167"/>
                </a:cubicBezTo>
                <a:cubicBezTo>
                  <a:pt x="215" y="20167"/>
                  <a:pt x="0" y="20383"/>
                  <a:pt x="0" y="20647"/>
                </a:cubicBezTo>
                <a:cubicBezTo>
                  <a:pt x="0" y="20912"/>
                  <a:pt x="214" y="21126"/>
                  <a:pt x="479" y="21127"/>
                </a:cubicBezTo>
                <a:lnTo>
                  <a:pt x="479" y="21132"/>
                </a:lnTo>
                <a:cubicBezTo>
                  <a:pt x="821" y="21132"/>
                  <a:pt x="2562" y="21088"/>
                  <a:pt x="3189" y="20219"/>
                </a:cubicBezTo>
                <a:cubicBezTo>
                  <a:pt x="3355" y="19988"/>
                  <a:pt x="3516" y="19599"/>
                  <a:pt x="3336" y="19060"/>
                </a:cubicBezTo>
                <a:cubicBezTo>
                  <a:pt x="3030" y="18141"/>
                  <a:pt x="3071" y="17806"/>
                  <a:pt x="4399" y="17082"/>
                </a:cubicBezTo>
                <a:cubicBezTo>
                  <a:pt x="4900" y="17504"/>
                  <a:pt x="5539" y="17767"/>
                  <a:pt x="6245" y="17767"/>
                </a:cubicBezTo>
                <a:cubicBezTo>
                  <a:pt x="7042" y="17767"/>
                  <a:pt x="7762" y="17445"/>
                  <a:pt x="8284" y="16924"/>
                </a:cubicBezTo>
                <a:lnTo>
                  <a:pt x="16485" y="9592"/>
                </a:lnTo>
                <a:cubicBezTo>
                  <a:pt x="17662" y="9554"/>
                  <a:pt x="18826" y="9091"/>
                  <a:pt x="19724" y="8194"/>
                </a:cubicBezTo>
                <a:cubicBezTo>
                  <a:pt x="21600" y="6320"/>
                  <a:pt x="21600" y="3281"/>
                  <a:pt x="19724" y="1406"/>
                </a:cubicBezTo>
                <a:moveTo>
                  <a:pt x="8953" y="11504"/>
                </a:moveTo>
                <a:lnTo>
                  <a:pt x="9633" y="12183"/>
                </a:lnTo>
                <a:lnTo>
                  <a:pt x="12690" y="9807"/>
                </a:lnTo>
                <a:lnTo>
                  <a:pt x="11331" y="8449"/>
                </a:lnTo>
                <a:cubicBezTo>
                  <a:pt x="11331" y="8449"/>
                  <a:pt x="8953" y="11504"/>
                  <a:pt x="8953" y="1150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39" name="Shape 2639"/>
          <p:cNvSpPr/>
          <p:nvPr/>
        </p:nvSpPr>
        <p:spPr>
          <a:xfrm>
            <a:off x="3891587" y="2954657"/>
            <a:ext cx="558654" cy="3555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3086"/>
                </a:moveTo>
                <a:cubicBezTo>
                  <a:pt x="12984" y="3086"/>
                  <a:pt x="12764" y="3432"/>
                  <a:pt x="12764" y="3857"/>
                </a:cubicBezTo>
                <a:cubicBezTo>
                  <a:pt x="12764" y="4284"/>
                  <a:pt x="12984" y="4629"/>
                  <a:pt x="13255" y="4629"/>
                </a:cubicBezTo>
                <a:cubicBezTo>
                  <a:pt x="13525" y="4629"/>
                  <a:pt x="13745" y="4284"/>
                  <a:pt x="13745" y="3857"/>
                </a:cubicBezTo>
                <a:cubicBezTo>
                  <a:pt x="13745" y="3432"/>
                  <a:pt x="13525" y="3086"/>
                  <a:pt x="13255" y="3086"/>
                </a:cubicBezTo>
                <a:moveTo>
                  <a:pt x="20618" y="16495"/>
                </a:moveTo>
                <a:lnTo>
                  <a:pt x="15709" y="12638"/>
                </a:lnTo>
                <a:lnTo>
                  <a:pt x="15709" y="8963"/>
                </a:lnTo>
                <a:lnTo>
                  <a:pt x="20618" y="5105"/>
                </a:lnTo>
                <a:cubicBezTo>
                  <a:pt x="20618" y="5105"/>
                  <a:pt x="20618" y="16495"/>
                  <a:pt x="20618" y="16495"/>
                </a:cubicBezTo>
                <a:close/>
                <a:moveTo>
                  <a:pt x="14727" y="16971"/>
                </a:moveTo>
                <a:lnTo>
                  <a:pt x="982" y="16971"/>
                </a:lnTo>
                <a:lnTo>
                  <a:pt x="982" y="3086"/>
                </a:lnTo>
                <a:cubicBezTo>
                  <a:pt x="982" y="2234"/>
                  <a:pt x="1422" y="1543"/>
                  <a:pt x="1964" y="1543"/>
                </a:cubicBezTo>
                <a:lnTo>
                  <a:pt x="13745" y="1543"/>
                </a:lnTo>
                <a:cubicBezTo>
                  <a:pt x="14287" y="1543"/>
                  <a:pt x="14727" y="2234"/>
                  <a:pt x="14727" y="3086"/>
                </a:cubicBezTo>
                <a:cubicBezTo>
                  <a:pt x="14727" y="3086"/>
                  <a:pt x="14727" y="16971"/>
                  <a:pt x="14727" y="16971"/>
                </a:cubicBezTo>
                <a:close/>
                <a:moveTo>
                  <a:pt x="13745" y="20057"/>
                </a:moveTo>
                <a:lnTo>
                  <a:pt x="1964" y="20057"/>
                </a:lnTo>
                <a:cubicBezTo>
                  <a:pt x="1422" y="20057"/>
                  <a:pt x="982" y="19367"/>
                  <a:pt x="982" y="18514"/>
                </a:cubicBezTo>
                <a:lnTo>
                  <a:pt x="14727" y="18514"/>
                </a:lnTo>
                <a:cubicBezTo>
                  <a:pt x="14727" y="19367"/>
                  <a:pt x="14287" y="20057"/>
                  <a:pt x="13745" y="20057"/>
                </a:cubicBezTo>
                <a:moveTo>
                  <a:pt x="21109" y="3086"/>
                </a:moveTo>
                <a:cubicBezTo>
                  <a:pt x="21030" y="3086"/>
                  <a:pt x="20958" y="3122"/>
                  <a:pt x="20892" y="3175"/>
                </a:cubicBezTo>
                <a:lnTo>
                  <a:pt x="20890" y="3167"/>
                </a:lnTo>
                <a:lnTo>
                  <a:pt x="15709" y="7237"/>
                </a:lnTo>
                <a:lnTo>
                  <a:pt x="15709" y="3086"/>
                </a:lnTo>
                <a:cubicBezTo>
                  <a:pt x="15709" y="1382"/>
                  <a:pt x="14830" y="0"/>
                  <a:pt x="13745" y="0"/>
                </a:cubicBezTo>
                <a:lnTo>
                  <a:pt x="1964" y="0"/>
                </a:lnTo>
                <a:cubicBezTo>
                  <a:pt x="879" y="0"/>
                  <a:pt x="0" y="1382"/>
                  <a:pt x="0" y="3086"/>
                </a:cubicBezTo>
                <a:lnTo>
                  <a:pt x="0" y="18514"/>
                </a:lnTo>
                <a:cubicBezTo>
                  <a:pt x="0" y="20219"/>
                  <a:pt x="879" y="21600"/>
                  <a:pt x="1964" y="21600"/>
                </a:cubicBezTo>
                <a:lnTo>
                  <a:pt x="13745" y="21600"/>
                </a:lnTo>
                <a:cubicBezTo>
                  <a:pt x="14830" y="21600"/>
                  <a:pt x="15709" y="20219"/>
                  <a:pt x="15709" y="18514"/>
                </a:cubicBezTo>
                <a:lnTo>
                  <a:pt x="15709" y="14363"/>
                </a:lnTo>
                <a:lnTo>
                  <a:pt x="20890" y="18433"/>
                </a:lnTo>
                <a:lnTo>
                  <a:pt x="20892" y="18427"/>
                </a:lnTo>
                <a:cubicBezTo>
                  <a:pt x="20958" y="18478"/>
                  <a:pt x="21030" y="18514"/>
                  <a:pt x="21109" y="18514"/>
                </a:cubicBezTo>
                <a:cubicBezTo>
                  <a:pt x="21380" y="18514"/>
                  <a:pt x="21600" y="18170"/>
                  <a:pt x="21600" y="17743"/>
                </a:cubicBezTo>
                <a:lnTo>
                  <a:pt x="21600" y="3857"/>
                </a:lnTo>
                <a:cubicBezTo>
                  <a:pt x="21600" y="3432"/>
                  <a:pt x="21380" y="3086"/>
                  <a:pt x="21109" y="3086"/>
                </a:cubicBezTo>
                <a:moveTo>
                  <a:pt x="10309" y="6171"/>
                </a:moveTo>
                <a:cubicBezTo>
                  <a:pt x="10038" y="6171"/>
                  <a:pt x="9818" y="5827"/>
                  <a:pt x="9818" y="5400"/>
                </a:cubicBezTo>
                <a:cubicBezTo>
                  <a:pt x="9818" y="4974"/>
                  <a:pt x="10038" y="4629"/>
                  <a:pt x="10309" y="4629"/>
                </a:cubicBezTo>
                <a:cubicBezTo>
                  <a:pt x="10580" y="4629"/>
                  <a:pt x="10800" y="4974"/>
                  <a:pt x="10800" y="5400"/>
                </a:cubicBezTo>
                <a:cubicBezTo>
                  <a:pt x="10800" y="5827"/>
                  <a:pt x="10580" y="6171"/>
                  <a:pt x="10309" y="6171"/>
                </a:cubicBezTo>
                <a:moveTo>
                  <a:pt x="10309" y="3086"/>
                </a:moveTo>
                <a:cubicBezTo>
                  <a:pt x="9496" y="3086"/>
                  <a:pt x="8836" y="4123"/>
                  <a:pt x="8836" y="5400"/>
                </a:cubicBezTo>
                <a:cubicBezTo>
                  <a:pt x="8836" y="6678"/>
                  <a:pt x="9496" y="7714"/>
                  <a:pt x="10309" y="7714"/>
                </a:cubicBezTo>
                <a:cubicBezTo>
                  <a:pt x="11123" y="7714"/>
                  <a:pt x="11782" y="6678"/>
                  <a:pt x="11782" y="5400"/>
                </a:cubicBezTo>
                <a:cubicBezTo>
                  <a:pt x="11782" y="4123"/>
                  <a:pt x="11123" y="3086"/>
                  <a:pt x="10309" y="308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0" name="Shape 2640"/>
          <p:cNvSpPr/>
          <p:nvPr/>
        </p:nvSpPr>
        <p:spPr>
          <a:xfrm>
            <a:off x="4958109" y="2954657"/>
            <a:ext cx="558654" cy="3555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6495"/>
                </a:moveTo>
                <a:lnTo>
                  <a:pt x="19636" y="15723"/>
                </a:lnTo>
                <a:lnTo>
                  <a:pt x="19636" y="5877"/>
                </a:lnTo>
                <a:lnTo>
                  <a:pt x="20618" y="5105"/>
                </a:lnTo>
                <a:cubicBezTo>
                  <a:pt x="20618" y="5105"/>
                  <a:pt x="20618" y="16495"/>
                  <a:pt x="20618" y="16495"/>
                </a:cubicBezTo>
                <a:close/>
                <a:moveTo>
                  <a:pt x="18655" y="14952"/>
                </a:moveTo>
                <a:lnTo>
                  <a:pt x="16691" y="13409"/>
                </a:lnTo>
                <a:lnTo>
                  <a:pt x="16691" y="8191"/>
                </a:lnTo>
                <a:lnTo>
                  <a:pt x="18655" y="6648"/>
                </a:lnTo>
                <a:cubicBezTo>
                  <a:pt x="18655" y="6648"/>
                  <a:pt x="18655" y="14952"/>
                  <a:pt x="18655" y="14952"/>
                </a:cubicBezTo>
                <a:close/>
                <a:moveTo>
                  <a:pt x="15709" y="6171"/>
                </a:moveTo>
                <a:lnTo>
                  <a:pt x="982" y="6171"/>
                </a:lnTo>
                <a:lnTo>
                  <a:pt x="982" y="3086"/>
                </a:lnTo>
                <a:cubicBezTo>
                  <a:pt x="982" y="2234"/>
                  <a:pt x="1422" y="1543"/>
                  <a:pt x="1964" y="1543"/>
                </a:cubicBezTo>
                <a:lnTo>
                  <a:pt x="14727" y="1543"/>
                </a:lnTo>
                <a:cubicBezTo>
                  <a:pt x="15269" y="1543"/>
                  <a:pt x="15709" y="2234"/>
                  <a:pt x="15709" y="3086"/>
                </a:cubicBezTo>
                <a:cubicBezTo>
                  <a:pt x="15709" y="3086"/>
                  <a:pt x="15709" y="6171"/>
                  <a:pt x="15709" y="6171"/>
                </a:cubicBezTo>
                <a:close/>
                <a:moveTo>
                  <a:pt x="15709" y="18514"/>
                </a:moveTo>
                <a:cubicBezTo>
                  <a:pt x="15709" y="19367"/>
                  <a:pt x="15269" y="20057"/>
                  <a:pt x="14727" y="20057"/>
                </a:cubicBezTo>
                <a:lnTo>
                  <a:pt x="1964" y="20057"/>
                </a:lnTo>
                <a:cubicBezTo>
                  <a:pt x="1422" y="20057"/>
                  <a:pt x="982" y="19367"/>
                  <a:pt x="982" y="18514"/>
                </a:cubicBezTo>
                <a:lnTo>
                  <a:pt x="982" y="7714"/>
                </a:lnTo>
                <a:lnTo>
                  <a:pt x="15709" y="7714"/>
                </a:lnTo>
                <a:cubicBezTo>
                  <a:pt x="15709" y="7714"/>
                  <a:pt x="15709" y="18514"/>
                  <a:pt x="15709" y="18514"/>
                </a:cubicBezTo>
                <a:close/>
                <a:moveTo>
                  <a:pt x="21109" y="3086"/>
                </a:moveTo>
                <a:cubicBezTo>
                  <a:pt x="21030" y="3086"/>
                  <a:pt x="20958" y="3122"/>
                  <a:pt x="20892" y="3175"/>
                </a:cubicBezTo>
                <a:lnTo>
                  <a:pt x="20890" y="3167"/>
                </a:lnTo>
                <a:lnTo>
                  <a:pt x="16691" y="6467"/>
                </a:lnTo>
                <a:lnTo>
                  <a:pt x="16691" y="3086"/>
                </a:lnTo>
                <a:cubicBezTo>
                  <a:pt x="16691" y="1382"/>
                  <a:pt x="15812" y="0"/>
                  <a:pt x="14727" y="0"/>
                </a:cubicBezTo>
                <a:lnTo>
                  <a:pt x="1964" y="0"/>
                </a:lnTo>
                <a:cubicBezTo>
                  <a:pt x="879" y="0"/>
                  <a:pt x="0" y="1382"/>
                  <a:pt x="0" y="3086"/>
                </a:cubicBezTo>
                <a:lnTo>
                  <a:pt x="0" y="18514"/>
                </a:lnTo>
                <a:cubicBezTo>
                  <a:pt x="0" y="20219"/>
                  <a:pt x="879" y="21600"/>
                  <a:pt x="1964" y="21600"/>
                </a:cubicBezTo>
                <a:lnTo>
                  <a:pt x="14727" y="21600"/>
                </a:lnTo>
                <a:cubicBezTo>
                  <a:pt x="15812" y="21600"/>
                  <a:pt x="16691" y="20219"/>
                  <a:pt x="16691" y="18514"/>
                </a:cubicBezTo>
                <a:lnTo>
                  <a:pt x="16691" y="15134"/>
                </a:lnTo>
                <a:lnTo>
                  <a:pt x="20890" y="18433"/>
                </a:lnTo>
                <a:lnTo>
                  <a:pt x="20892" y="18426"/>
                </a:lnTo>
                <a:cubicBezTo>
                  <a:pt x="20958" y="18478"/>
                  <a:pt x="21030" y="18514"/>
                  <a:pt x="21109" y="18514"/>
                </a:cubicBezTo>
                <a:cubicBezTo>
                  <a:pt x="21380" y="18514"/>
                  <a:pt x="21600" y="18169"/>
                  <a:pt x="21600" y="17743"/>
                </a:cubicBezTo>
                <a:lnTo>
                  <a:pt x="21600" y="3857"/>
                </a:lnTo>
                <a:cubicBezTo>
                  <a:pt x="21600" y="3432"/>
                  <a:pt x="21380" y="3086"/>
                  <a:pt x="21109" y="3086"/>
                </a:cubicBezTo>
                <a:moveTo>
                  <a:pt x="12273" y="3086"/>
                </a:moveTo>
                <a:cubicBezTo>
                  <a:pt x="12002" y="3086"/>
                  <a:pt x="11782" y="3432"/>
                  <a:pt x="11782" y="3857"/>
                </a:cubicBezTo>
                <a:cubicBezTo>
                  <a:pt x="11782" y="4284"/>
                  <a:pt x="12002" y="4629"/>
                  <a:pt x="12273" y="4629"/>
                </a:cubicBezTo>
                <a:cubicBezTo>
                  <a:pt x="12544" y="4629"/>
                  <a:pt x="12764" y="4284"/>
                  <a:pt x="12764" y="3857"/>
                </a:cubicBezTo>
                <a:cubicBezTo>
                  <a:pt x="12764" y="3432"/>
                  <a:pt x="12544" y="3086"/>
                  <a:pt x="12273" y="3086"/>
                </a:cubicBezTo>
                <a:moveTo>
                  <a:pt x="14236" y="3086"/>
                </a:moveTo>
                <a:cubicBezTo>
                  <a:pt x="13966" y="3086"/>
                  <a:pt x="13745" y="3432"/>
                  <a:pt x="13745" y="3857"/>
                </a:cubicBezTo>
                <a:cubicBezTo>
                  <a:pt x="13745" y="4284"/>
                  <a:pt x="13966" y="4629"/>
                  <a:pt x="14236" y="4629"/>
                </a:cubicBezTo>
                <a:cubicBezTo>
                  <a:pt x="14507" y="4629"/>
                  <a:pt x="14727" y="4284"/>
                  <a:pt x="14727" y="3857"/>
                </a:cubicBezTo>
                <a:cubicBezTo>
                  <a:pt x="14727" y="3432"/>
                  <a:pt x="14507" y="3086"/>
                  <a:pt x="14236" y="3086"/>
                </a:cubicBezTo>
                <a:moveTo>
                  <a:pt x="5400" y="10800"/>
                </a:moveTo>
                <a:cubicBezTo>
                  <a:pt x="6214" y="10800"/>
                  <a:pt x="6873" y="11837"/>
                  <a:pt x="6873" y="13114"/>
                </a:cubicBezTo>
                <a:cubicBezTo>
                  <a:pt x="6873" y="14393"/>
                  <a:pt x="6214" y="15429"/>
                  <a:pt x="5400" y="15429"/>
                </a:cubicBezTo>
                <a:cubicBezTo>
                  <a:pt x="4586" y="15429"/>
                  <a:pt x="3927" y="14393"/>
                  <a:pt x="3927" y="13114"/>
                </a:cubicBezTo>
                <a:cubicBezTo>
                  <a:pt x="3927" y="11837"/>
                  <a:pt x="4586" y="10800"/>
                  <a:pt x="5400" y="10800"/>
                </a:cubicBezTo>
                <a:moveTo>
                  <a:pt x="11291" y="10800"/>
                </a:moveTo>
                <a:cubicBezTo>
                  <a:pt x="12104" y="10800"/>
                  <a:pt x="12764" y="11837"/>
                  <a:pt x="12764" y="13114"/>
                </a:cubicBezTo>
                <a:cubicBezTo>
                  <a:pt x="12764" y="14393"/>
                  <a:pt x="12104" y="15429"/>
                  <a:pt x="11291" y="15429"/>
                </a:cubicBezTo>
                <a:cubicBezTo>
                  <a:pt x="10477" y="15429"/>
                  <a:pt x="9818" y="14393"/>
                  <a:pt x="9818" y="13114"/>
                </a:cubicBezTo>
                <a:cubicBezTo>
                  <a:pt x="9818" y="11837"/>
                  <a:pt x="10477" y="10800"/>
                  <a:pt x="11291" y="10800"/>
                </a:cubicBezTo>
                <a:moveTo>
                  <a:pt x="5400" y="16971"/>
                </a:moveTo>
                <a:lnTo>
                  <a:pt x="11291" y="16971"/>
                </a:lnTo>
                <a:cubicBezTo>
                  <a:pt x="12647" y="16971"/>
                  <a:pt x="13745" y="15245"/>
                  <a:pt x="13745" y="13114"/>
                </a:cubicBezTo>
                <a:cubicBezTo>
                  <a:pt x="13745" y="10984"/>
                  <a:pt x="12647" y="9257"/>
                  <a:pt x="11291" y="9257"/>
                </a:cubicBezTo>
                <a:cubicBezTo>
                  <a:pt x="9935" y="9257"/>
                  <a:pt x="8836" y="10984"/>
                  <a:pt x="8836" y="13114"/>
                </a:cubicBezTo>
                <a:cubicBezTo>
                  <a:pt x="8836" y="13987"/>
                  <a:pt x="9028" y="14782"/>
                  <a:pt x="9338" y="15429"/>
                </a:cubicBezTo>
                <a:lnTo>
                  <a:pt x="7352" y="15429"/>
                </a:lnTo>
                <a:cubicBezTo>
                  <a:pt x="7663" y="14782"/>
                  <a:pt x="7855" y="13987"/>
                  <a:pt x="7855" y="13114"/>
                </a:cubicBezTo>
                <a:cubicBezTo>
                  <a:pt x="7855" y="10984"/>
                  <a:pt x="6755" y="9257"/>
                  <a:pt x="5400" y="9257"/>
                </a:cubicBezTo>
                <a:cubicBezTo>
                  <a:pt x="4044" y="9257"/>
                  <a:pt x="2945" y="10984"/>
                  <a:pt x="2945" y="13114"/>
                </a:cubicBezTo>
                <a:cubicBezTo>
                  <a:pt x="2945" y="15245"/>
                  <a:pt x="4044" y="16971"/>
                  <a:pt x="5400" y="1697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1" name="Shape 2641"/>
          <p:cNvSpPr/>
          <p:nvPr/>
        </p:nvSpPr>
        <p:spPr>
          <a:xfrm>
            <a:off x="6024631" y="2954657"/>
            <a:ext cx="558654" cy="3555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6606"/>
                </a:moveTo>
                <a:lnTo>
                  <a:pt x="16691" y="14138"/>
                </a:lnTo>
                <a:lnTo>
                  <a:pt x="16691" y="7462"/>
                </a:lnTo>
                <a:lnTo>
                  <a:pt x="20618" y="4994"/>
                </a:lnTo>
                <a:cubicBezTo>
                  <a:pt x="20618" y="4994"/>
                  <a:pt x="20618" y="16606"/>
                  <a:pt x="20618" y="16606"/>
                </a:cubicBezTo>
                <a:close/>
                <a:moveTo>
                  <a:pt x="21109" y="3086"/>
                </a:moveTo>
                <a:cubicBezTo>
                  <a:pt x="21030" y="3086"/>
                  <a:pt x="20958" y="3122"/>
                  <a:pt x="20892" y="3174"/>
                </a:cubicBezTo>
                <a:lnTo>
                  <a:pt x="20890" y="3167"/>
                </a:lnTo>
                <a:lnTo>
                  <a:pt x="16018" y="6229"/>
                </a:lnTo>
                <a:cubicBezTo>
                  <a:pt x="16013" y="6233"/>
                  <a:pt x="16008" y="6235"/>
                  <a:pt x="16003" y="6239"/>
                </a:cubicBezTo>
                <a:lnTo>
                  <a:pt x="15980" y="6252"/>
                </a:lnTo>
                <a:lnTo>
                  <a:pt x="15983" y="6260"/>
                </a:lnTo>
                <a:cubicBezTo>
                  <a:pt x="15822" y="6387"/>
                  <a:pt x="15709" y="6641"/>
                  <a:pt x="15709" y="6943"/>
                </a:cubicBezTo>
                <a:lnTo>
                  <a:pt x="15709" y="14657"/>
                </a:lnTo>
                <a:cubicBezTo>
                  <a:pt x="15709" y="14959"/>
                  <a:pt x="15822" y="15213"/>
                  <a:pt x="15983" y="15340"/>
                </a:cubicBezTo>
                <a:lnTo>
                  <a:pt x="15980" y="15347"/>
                </a:lnTo>
                <a:lnTo>
                  <a:pt x="16002" y="15360"/>
                </a:lnTo>
                <a:cubicBezTo>
                  <a:pt x="16008" y="15365"/>
                  <a:pt x="16013" y="15368"/>
                  <a:pt x="16018" y="15371"/>
                </a:cubicBezTo>
                <a:lnTo>
                  <a:pt x="20890" y="18433"/>
                </a:lnTo>
                <a:lnTo>
                  <a:pt x="20892" y="18426"/>
                </a:lnTo>
                <a:cubicBezTo>
                  <a:pt x="20958" y="18478"/>
                  <a:pt x="21030" y="18514"/>
                  <a:pt x="21109" y="18514"/>
                </a:cubicBezTo>
                <a:cubicBezTo>
                  <a:pt x="21380" y="18514"/>
                  <a:pt x="21600" y="18169"/>
                  <a:pt x="21600" y="17743"/>
                </a:cubicBezTo>
                <a:lnTo>
                  <a:pt x="21600" y="3857"/>
                </a:lnTo>
                <a:cubicBezTo>
                  <a:pt x="21600" y="3431"/>
                  <a:pt x="21380" y="3086"/>
                  <a:pt x="21109" y="3086"/>
                </a:cubicBezTo>
                <a:moveTo>
                  <a:pt x="13745" y="18514"/>
                </a:moveTo>
                <a:cubicBezTo>
                  <a:pt x="13745" y="19367"/>
                  <a:pt x="13306" y="20057"/>
                  <a:pt x="12764" y="20057"/>
                </a:cubicBezTo>
                <a:lnTo>
                  <a:pt x="1964" y="20057"/>
                </a:lnTo>
                <a:cubicBezTo>
                  <a:pt x="1422" y="20057"/>
                  <a:pt x="982" y="19367"/>
                  <a:pt x="982" y="18514"/>
                </a:cubicBezTo>
                <a:lnTo>
                  <a:pt x="982" y="3086"/>
                </a:lnTo>
                <a:cubicBezTo>
                  <a:pt x="982" y="2233"/>
                  <a:pt x="1422" y="1543"/>
                  <a:pt x="1964" y="1543"/>
                </a:cubicBezTo>
                <a:lnTo>
                  <a:pt x="12764" y="1543"/>
                </a:lnTo>
                <a:cubicBezTo>
                  <a:pt x="13306" y="1543"/>
                  <a:pt x="13745" y="2233"/>
                  <a:pt x="13745" y="3086"/>
                </a:cubicBezTo>
                <a:cubicBezTo>
                  <a:pt x="13745" y="3086"/>
                  <a:pt x="13745" y="18514"/>
                  <a:pt x="13745" y="18514"/>
                </a:cubicBezTo>
                <a:close/>
                <a:moveTo>
                  <a:pt x="12764" y="0"/>
                </a:moveTo>
                <a:lnTo>
                  <a:pt x="1964" y="0"/>
                </a:lnTo>
                <a:cubicBezTo>
                  <a:pt x="879" y="0"/>
                  <a:pt x="0" y="1382"/>
                  <a:pt x="0" y="3086"/>
                </a:cubicBezTo>
                <a:lnTo>
                  <a:pt x="0" y="18514"/>
                </a:lnTo>
                <a:cubicBezTo>
                  <a:pt x="0" y="20219"/>
                  <a:pt x="879" y="21600"/>
                  <a:pt x="1964" y="21600"/>
                </a:cubicBezTo>
                <a:lnTo>
                  <a:pt x="12764" y="21600"/>
                </a:lnTo>
                <a:cubicBezTo>
                  <a:pt x="13848" y="21600"/>
                  <a:pt x="14727" y="20219"/>
                  <a:pt x="14727" y="18514"/>
                </a:cubicBezTo>
                <a:lnTo>
                  <a:pt x="14727" y="3086"/>
                </a:lnTo>
                <a:cubicBezTo>
                  <a:pt x="14727" y="1382"/>
                  <a:pt x="13848" y="0"/>
                  <a:pt x="12764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2" name="Shape 2642"/>
          <p:cNvSpPr/>
          <p:nvPr/>
        </p:nvSpPr>
        <p:spPr>
          <a:xfrm>
            <a:off x="7091154" y="287848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0800"/>
                </a:moveTo>
                <a:cubicBezTo>
                  <a:pt x="6653" y="10800"/>
                  <a:pt x="6873" y="10559"/>
                  <a:pt x="6873" y="10260"/>
                </a:cubicBezTo>
                <a:cubicBezTo>
                  <a:pt x="6873" y="9962"/>
                  <a:pt x="6653" y="9720"/>
                  <a:pt x="6382" y="9720"/>
                </a:cubicBezTo>
                <a:cubicBezTo>
                  <a:pt x="6110" y="9720"/>
                  <a:pt x="5891" y="9962"/>
                  <a:pt x="5891" y="10260"/>
                </a:cubicBezTo>
                <a:cubicBezTo>
                  <a:pt x="5891" y="10559"/>
                  <a:pt x="6110" y="10800"/>
                  <a:pt x="6382" y="10800"/>
                </a:cubicBezTo>
                <a:moveTo>
                  <a:pt x="3436" y="10800"/>
                </a:moveTo>
                <a:cubicBezTo>
                  <a:pt x="3708" y="10800"/>
                  <a:pt x="3927" y="11042"/>
                  <a:pt x="3927" y="11340"/>
                </a:cubicBezTo>
                <a:cubicBezTo>
                  <a:pt x="3927" y="11639"/>
                  <a:pt x="3708" y="11880"/>
                  <a:pt x="3436" y="11880"/>
                </a:cubicBezTo>
                <a:cubicBezTo>
                  <a:pt x="3165" y="11880"/>
                  <a:pt x="2945" y="11639"/>
                  <a:pt x="2945" y="11340"/>
                </a:cubicBezTo>
                <a:cubicBezTo>
                  <a:pt x="2945" y="11042"/>
                  <a:pt x="3165" y="10800"/>
                  <a:pt x="3436" y="10800"/>
                </a:cubicBezTo>
                <a:moveTo>
                  <a:pt x="3436" y="12960"/>
                </a:moveTo>
                <a:cubicBezTo>
                  <a:pt x="4249" y="12960"/>
                  <a:pt x="4909" y="12235"/>
                  <a:pt x="4909" y="11340"/>
                </a:cubicBezTo>
                <a:cubicBezTo>
                  <a:pt x="4909" y="10446"/>
                  <a:pt x="4249" y="9720"/>
                  <a:pt x="3436" y="9720"/>
                </a:cubicBezTo>
                <a:cubicBezTo>
                  <a:pt x="2623" y="9720"/>
                  <a:pt x="1964" y="10446"/>
                  <a:pt x="1964" y="11340"/>
                </a:cubicBezTo>
                <a:cubicBezTo>
                  <a:pt x="1964" y="12235"/>
                  <a:pt x="2623" y="12960"/>
                  <a:pt x="3436" y="12960"/>
                </a:cubicBezTo>
                <a:moveTo>
                  <a:pt x="14236" y="18360"/>
                </a:moveTo>
                <a:lnTo>
                  <a:pt x="2455" y="18360"/>
                </a:lnTo>
                <a:cubicBezTo>
                  <a:pt x="2183" y="18360"/>
                  <a:pt x="1964" y="18602"/>
                  <a:pt x="1964" y="18900"/>
                </a:cubicBezTo>
                <a:cubicBezTo>
                  <a:pt x="1964" y="19199"/>
                  <a:pt x="2183" y="19440"/>
                  <a:pt x="2455" y="19440"/>
                </a:cubicBezTo>
                <a:lnTo>
                  <a:pt x="14236" y="19440"/>
                </a:lnTo>
                <a:cubicBezTo>
                  <a:pt x="14508" y="19440"/>
                  <a:pt x="14727" y="19199"/>
                  <a:pt x="14727" y="18900"/>
                </a:cubicBezTo>
                <a:cubicBezTo>
                  <a:pt x="14727" y="18602"/>
                  <a:pt x="14508" y="18360"/>
                  <a:pt x="14236" y="18360"/>
                </a:cubicBezTo>
                <a:moveTo>
                  <a:pt x="20618" y="18105"/>
                </a:moveTo>
                <a:lnTo>
                  <a:pt x="16691" y="16377"/>
                </a:lnTo>
                <a:lnTo>
                  <a:pt x="16691" y="12784"/>
                </a:lnTo>
                <a:lnTo>
                  <a:pt x="20618" y="11056"/>
                </a:lnTo>
                <a:cubicBezTo>
                  <a:pt x="20618" y="11056"/>
                  <a:pt x="20618" y="18105"/>
                  <a:pt x="20618" y="18105"/>
                </a:cubicBezTo>
                <a:close/>
                <a:moveTo>
                  <a:pt x="15709" y="19440"/>
                </a:moveTo>
                <a:cubicBezTo>
                  <a:pt x="15709" y="20037"/>
                  <a:pt x="15269" y="20520"/>
                  <a:pt x="14727" y="20520"/>
                </a:cubicBezTo>
                <a:lnTo>
                  <a:pt x="1964" y="20520"/>
                </a:lnTo>
                <a:cubicBezTo>
                  <a:pt x="1422" y="20520"/>
                  <a:pt x="982" y="20037"/>
                  <a:pt x="982" y="19440"/>
                </a:cubicBezTo>
                <a:lnTo>
                  <a:pt x="982" y="9720"/>
                </a:lnTo>
                <a:cubicBezTo>
                  <a:pt x="982" y="9124"/>
                  <a:pt x="1422" y="8640"/>
                  <a:pt x="1964" y="8640"/>
                </a:cubicBezTo>
                <a:lnTo>
                  <a:pt x="14727" y="8640"/>
                </a:lnTo>
                <a:cubicBezTo>
                  <a:pt x="15269" y="8640"/>
                  <a:pt x="15709" y="9124"/>
                  <a:pt x="15709" y="9720"/>
                </a:cubicBezTo>
                <a:cubicBezTo>
                  <a:pt x="15709" y="9720"/>
                  <a:pt x="15709" y="19440"/>
                  <a:pt x="15709" y="19440"/>
                </a:cubicBezTo>
                <a:close/>
                <a:moveTo>
                  <a:pt x="1964" y="4320"/>
                </a:moveTo>
                <a:cubicBezTo>
                  <a:pt x="1964" y="2531"/>
                  <a:pt x="3282" y="1080"/>
                  <a:pt x="4909" y="1080"/>
                </a:cubicBezTo>
                <a:cubicBezTo>
                  <a:pt x="6536" y="1080"/>
                  <a:pt x="7855" y="2531"/>
                  <a:pt x="7855" y="4320"/>
                </a:cubicBezTo>
                <a:cubicBezTo>
                  <a:pt x="7855" y="6110"/>
                  <a:pt x="6536" y="7560"/>
                  <a:pt x="4909" y="7560"/>
                </a:cubicBezTo>
                <a:cubicBezTo>
                  <a:pt x="3282" y="7560"/>
                  <a:pt x="1964" y="6110"/>
                  <a:pt x="1964" y="4320"/>
                </a:cubicBezTo>
                <a:moveTo>
                  <a:pt x="9190" y="7560"/>
                </a:moveTo>
                <a:lnTo>
                  <a:pt x="7501" y="7560"/>
                </a:lnTo>
                <a:cubicBezTo>
                  <a:pt x="7839" y="7233"/>
                  <a:pt x="8122" y="6840"/>
                  <a:pt x="8342" y="6404"/>
                </a:cubicBezTo>
                <a:cubicBezTo>
                  <a:pt x="8562" y="6842"/>
                  <a:pt x="8851" y="7232"/>
                  <a:pt x="9190" y="7560"/>
                </a:cubicBezTo>
                <a:moveTo>
                  <a:pt x="11782" y="1080"/>
                </a:moveTo>
                <a:cubicBezTo>
                  <a:pt x="13409" y="1080"/>
                  <a:pt x="14727" y="2531"/>
                  <a:pt x="14727" y="4320"/>
                </a:cubicBezTo>
                <a:cubicBezTo>
                  <a:pt x="14727" y="6110"/>
                  <a:pt x="13409" y="7560"/>
                  <a:pt x="11782" y="7560"/>
                </a:cubicBezTo>
                <a:cubicBezTo>
                  <a:pt x="10155" y="7560"/>
                  <a:pt x="8836" y="6110"/>
                  <a:pt x="8836" y="4320"/>
                </a:cubicBezTo>
                <a:cubicBezTo>
                  <a:pt x="8836" y="2531"/>
                  <a:pt x="10155" y="1080"/>
                  <a:pt x="11782" y="1080"/>
                </a:cubicBezTo>
                <a:moveTo>
                  <a:pt x="21109" y="9720"/>
                </a:moveTo>
                <a:cubicBezTo>
                  <a:pt x="21030" y="9720"/>
                  <a:pt x="20958" y="9745"/>
                  <a:pt x="20892" y="9782"/>
                </a:cubicBezTo>
                <a:lnTo>
                  <a:pt x="20890" y="9777"/>
                </a:lnTo>
                <a:lnTo>
                  <a:pt x="16691" y="11625"/>
                </a:lnTo>
                <a:lnTo>
                  <a:pt x="16691" y="9720"/>
                </a:lnTo>
                <a:cubicBezTo>
                  <a:pt x="16691" y="8527"/>
                  <a:pt x="15812" y="7560"/>
                  <a:pt x="14727" y="7560"/>
                </a:cubicBezTo>
                <a:lnTo>
                  <a:pt x="14373" y="7560"/>
                </a:lnTo>
                <a:cubicBezTo>
                  <a:pt x="15191" y="6768"/>
                  <a:pt x="15709" y="5612"/>
                  <a:pt x="15709" y="4320"/>
                </a:cubicBezTo>
                <a:cubicBezTo>
                  <a:pt x="15709" y="1934"/>
                  <a:pt x="13951" y="0"/>
                  <a:pt x="11782" y="0"/>
                </a:cubicBezTo>
                <a:cubicBezTo>
                  <a:pt x="10302" y="0"/>
                  <a:pt x="9015" y="901"/>
                  <a:pt x="8345" y="2231"/>
                </a:cubicBezTo>
                <a:cubicBezTo>
                  <a:pt x="7676" y="901"/>
                  <a:pt x="6389" y="0"/>
                  <a:pt x="4909" y="0"/>
                </a:cubicBezTo>
                <a:cubicBezTo>
                  <a:pt x="2740" y="0"/>
                  <a:pt x="982" y="1934"/>
                  <a:pt x="982" y="4320"/>
                </a:cubicBezTo>
                <a:cubicBezTo>
                  <a:pt x="982" y="5612"/>
                  <a:pt x="1501" y="6768"/>
                  <a:pt x="2317" y="7560"/>
                </a:cubicBezTo>
                <a:lnTo>
                  <a:pt x="1964" y="7560"/>
                </a:lnTo>
                <a:cubicBezTo>
                  <a:pt x="879" y="7560"/>
                  <a:pt x="0" y="8527"/>
                  <a:pt x="0" y="9720"/>
                </a:cubicBezTo>
                <a:lnTo>
                  <a:pt x="0" y="19440"/>
                </a:lnTo>
                <a:cubicBezTo>
                  <a:pt x="0" y="20633"/>
                  <a:pt x="879" y="21600"/>
                  <a:pt x="1964" y="21600"/>
                </a:cubicBezTo>
                <a:lnTo>
                  <a:pt x="14727" y="21600"/>
                </a:lnTo>
                <a:cubicBezTo>
                  <a:pt x="15812" y="21600"/>
                  <a:pt x="16691" y="20633"/>
                  <a:pt x="16691" y="19440"/>
                </a:cubicBezTo>
                <a:lnTo>
                  <a:pt x="16691" y="17536"/>
                </a:lnTo>
                <a:lnTo>
                  <a:pt x="20890" y="19383"/>
                </a:lnTo>
                <a:lnTo>
                  <a:pt x="20891" y="19379"/>
                </a:lnTo>
                <a:cubicBezTo>
                  <a:pt x="20958" y="19415"/>
                  <a:pt x="21030" y="19440"/>
                  <a:pt x="21109" y="19440"/>
                </a:cubicBezTo>
                <a:cubicBezTo>
                  <a:pt x="21380" y="19440"/>
                  <a:pt x="21600" y="19199"/>
                  <a:pt x="21600" y="18900"/>
                </a:cubicBezTo>
                <a:lnTo>
                  <a:pt x="21600" y="10260"/>
                </a:lnTo>
                <a:cubicBezTo>
                  <a:pt x="21600" y="9962"/>
                  <a:pt x="21380" y="9720"/>
                  <a:pt x="21109" y="9720"/>
                </a:cubicBezTo>
                <a:moveTo>
                  <a:pt x="11782" y="5400"/>
                </a:moveTo>
                <a:cubicBezTo>
                  <a:pt x="12324" y="5400"/>
                  <a:pt x="12764" y="4916"/>
                  <a:pt x="12764" y="4320"/>
                </a:cubicBezTo>
                <a:cubicBezTo>
                  <a:pt x="12764" y="3724"/>
                  <a:pt x="12324" y="3240"/>
                  <a:pt x="11782" y="3240"/>
                </a:cubicBezTo>
                <a:cubicBezTo>
                  <a:pt x="11240" y="3240"/>
                  <a:pt x="10800" y="3724"/>
                  <a:pt x="10800" y="4320"/>
                </a:cubicBezTo>
                <a:cubicBezTo>
                  <a:pt x="10800" y="4916"/>
                  <a:pt x="11240" y="5400"/>
                  <a:pt x="11782" y="5400"/>
                </a:cubicBezTo>
                <a:moveTo>
                  <a:pt x="4909" y="5400"/>
                </a:moveTo>
                <a:cubicBezTo>
                  <a:pt x="5451" y="5400"/>
                  <a:pt x="5891" y="4916"/>
                  <a:pt x="5891" y="4320"/>
                </a:cubicBezTo>
                <a:cubicBezTo>
                  <a:pt x="5891" y="3724"/>
                  <a:pt x="5451" y="3240"/>
                  <a:pt x="4909" y="3240"/>
                </a:cubicBezTo>
                <a:cubicBezTo>
                  <a:pt x="4367" y="3240"/>
                  <a:pt x="3927" y="3724"/>
                  <a:pt x="3927" y="4320"/>
                </a:cubicBezTo>
                <a:cubicBezTo>
                  <a:pt x="3927" y="4916"/>
                  <a:pt x="4367" y="5400"/>
                  <a:pt x="4909" y="54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3" name="Shape 2643"/>
          <p:cNvSpPr/>
          <p:nvPr/>
        </p:nvSpPr>
        <p:spPr>
          <a:xfrm>
            <a:off x="8284641" y="2853085"/>
            <a:ext cx="30472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4" name="Shape 2644"/>
          <p:cNvSpPr/>
          <p:nvPr/>
        </p:nvSpPr>
        <p:spPr>
          <a:xfrm>
            <a:off x="9300380" y="2853085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4" y="20618"/>
                  <a:pt x="1350" y="20179"/>
                  <a:pt x="1350" y="19636"/>
                </a:cubicBezTo>
                <a:lnTo>
                  <a:pt x="1350" y="1964"/>
                </a:lnTo>
                <a:cubicBezTo>
                  <a:pt x="1350" y="1422"/>
                  <a:pt x="1954" y="982"/>
                  <a:pt x="2700" y="982"/>
                </a:cubicBezTo>
                <a:lnTo>
                  <a:pt x="18900" y="982"/>
                </a:lnTo>
                <a:cubicBezTo>
                  <a:pt x="19645" y="982"/>
                  <a:pt x="20250" y="1422"/>
                  <a:pt x="20250" y="1964"/>
                </a:cubicBezTo>
                <a:cubicBezTo>
                  <a:pt x="20250" y="1964"/>
                  <a:pt x="20250" y="19636"/>
                  <a:pt x="20250" y="19636"/>
                </a:cubicBezTo>
                <a:close/>
                <a:moveTo>
                  <a:pt x="18900" y="0"/>
                </a:moveTo>
                <a:lnTo>
                  <a:pt x="2700" y="0"/>
                </a:lnTo>
                <a:cubicBezTo>
                  <a:pt x="120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391" y="0"/>
                  <a:pt x="18900" y="0"/>
                </a:cubicBezTo>
                <a:moveTo>
                  <a:pt x="4050" y="3927"/>
                </a:moveTo>
                <a:lnTo>
                  <a:pt x="17550" y="3927"/>
                </a:lnTo>
                <a:lnTo>
                  <a:pt x="17550" y="17673"/>
                </a:lnTo>
                <a:lnTo>
                  <a:pt x="4050" y="17673"/>
                </a:lnTo>
                <a:cubicBezTo>
                  <a:pt x="4050" y="17673"/>
                  <a:pt x="4050" y="3927"/>
                  <a:pt x="4050" y="3927"/>
                </a:cubicBezTo>
                <a:close/>
                <a:moveTo>
                  <a:pt x="2700" y="18655"/>
                </a:moveTo>
                <a:lnTo>
                  <a:pt x="18900" y="18655"/>
                </a:lnTo>
                <a:lnTo>
                  <a:pt x="18900" y="2945"/>
                </a:lnTo>
                <a:lnTo>
                  <a:pt x="2700" y="2945"/>
                </a:lnTo>
                <a:cubicBezTo>
                  <a:pt x="2700" y="2945"/>
                  <a:pt x="2700" y="18655"/>
                  <a:pt x="2700" y="18655"/>
                </a:cubicBezTo>
                <a:close/>
                <a:moveTo>
                  <a:pt x="10125" y="2455"/>
                </a:moveTo>
                <a:lnTo>
                  <a:pt x="11475" y="2455"/>
                </a:lnTo>
                <a:cubicBezTo>
                  <a:pt x="11848" y="2455"/>
                  <a:pt x="12150" y="2235"/>
                  <a:pt x="12150" y="1964"/>
                </a:cubicBezTo>
                <a:cubicBezTo>
                  <a:pt x="12150" y="1692"/>
                  <a:pt x="11848" y="1473"/>
                  <a:pt x="11475" y="1473"/>
                </a:cubicBezTo>
                <a:lnTo>
                  <a:pt x="10125" y="1473"/>
                </a:lnTo>
                <a:cubicBezTo>
                  <a:pt x="9752" y="1473"/>
                  <a:pt x="9450" y="1692"/>
                  <a:pt x="9450" y="1964"/>
                </a:cubicBezTo>
                <a:cubicBezTo>
                  <a:pt x="9450" y="2235"/>
                  <a:pt x="9752" y="2455"/>
                  <a:pt x="10125" y="2455"/>
                </a:cubicBezTo>
                <a:moveTo>
                  <a:pt x="10800" y="19145"/>
                </a:moveTo>
                <a:cubicBezTo>
                  <a:pt x="10427" y="19145"/>
                  <a:pt x="10125" y="19366"/>
                  <a:pt x="10125" y="19636"/>
                </a:cubicBezTo>
                <a:cubicBezTo>
                  <a:pt x="10125" y="19908"/>
                  <a:pt x="10427" y="20127"/>
                  <a:pt x="10800" y="20127"/>
                </a:cubicBezTo>
                <a:cubicBezTo>
                  <a:pt x="11173" y="20127"/>
                  <a:pt x="11475" y="19908"/>
                  <a:pt x="11475" y="19636"/>
                </a:cubicBezTo>
                <a:cubicBezTo>
                  <a:pt x="11475" y="19366"/>
                  <a:pt x="11173" y="19145"/>
                  <a:pt x="10800" y="191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5" name="Shape 2645"/>
          <p:cNvSpPr/>
          <p:nvPr/>
        </p:nvSpPr>
        <p:spPr>
          <a:xfrm>
            <a:off x="10290720" y="2929267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20250"/>
                </a:moveTo>
                <a:lnTo>
                  <a:pt x="2740" y="17504"/>
                </a:lnTo>
                <a:cubicBezTo>
                  <a:pt x="2807" y="17526"/>
                  <a:pt x="2874" y="17550"/>
                  <a:pt x="2945" y="17550"/>
                </a:cubicBezTo>
                <a:lnTo>
                  <a:pt x="18655" y="17550"/>
                </a:lnTo>
                <a:cubicBezTo>
                  <a:pt x="18726" y="17550"/>
                  <a:pt x="18793" y="17526"/>
                  <a:pt x="18860" y="17504"/>
                </a:cubicBezTo>
                <a:lnTo>
                  <a:pt x="20192" y="20250"/>
                </a:lnTo>
                <a:cubicBezTo>
                  <a:pt x="20192" y="20250"/>
                  <a:pt x="1408" y="20250"/>
                  <a:pt x="1408" y="20250"/>
                </a:cubicBezTo>
                <a:close/>
                <a:moveTo>
                  <a:pt x="2945" y="1350"/>
                </a:moveTo>
                <a:lnTo>
                  <a:pt x="18655" y="1350"/>
                </a:lnTo>
                <a:lnTo>
                  <a:pt x="18655" y="16200"/>
                </a:lnTo>
                <a:lnTo>
                  <a:pt x="2945" y="16200"/>
                </a:lnTo>
                <a:cubicBezTo>
                  <a:pt x="2945" y="16200"/>
                  <a:pt x="2945" y="1350"/>
                  <a:pt x="2945" y="1350"/>
                </a:cubicBezTo>
                <a:close/>
                <a:moveTo>
                  <a:pt x="21510" y="20558"/>
                </a:moveTo>
                <a:lnTo>
                  <a:pt x="21518" y="20551"/>
                </a:lnTo>
                <a:lnTo>
                  <a:pt x="19591" y="16577"/>
                </a:lnTo>
                <a:cubicBezTo>
                  <a:pt x="19617" y="16457"/>
                  <a:pt x="19636" y="16332"/>
                  <a:pt x="19636" y="16200"/>
                </a:cubicBezTo>
                <a:lnTo>
                  <a:pt x="19636" y="1350"/>
                </a:lnTo>
                <a:cubicBezTo>
                  <a:pt x="19636" y="605"/>
                  <a:pt x="19197" y="0"/>
                  <a:pt x="18655" y="0"/>
                </a:cubicBezTo>
                <a:lnTo>
                  <a:pt x="2945" y="0"/>
                </a:lnTo>
                <a:cubicBezTo>
                  <a:pt x="2403" y="0"/>
                  <a:pt x="1964" y="605"/>
                  <a:pt x="1964" y="1350"/>
                </a:cubicBezTo>
                <a:lnTo>
                  <a:pt x="1964" y="16200"/>
                </a:lnTo>
                <a:cubicBezTo>
                  <a:pt x="1964" y="16332"/>
                  <a:pt x="1983" y="16457"/>
                  <a:pt x="2009" y="16577"/>
                </a:cubicBezTo>
                <a:lnTo>
                  <a:pt x="82" y="20551"/>
                </a:lnTo>
                <a:lnTo>
                  <a:pt x="90" y="20558"/>
                </a:lnTo>
                <a:cubicBezTo>
                  <a:pt x="38" y="20665"/>
                  <a:pt x="0" y="20787"/>
                  <a:pt x="0" y="20925"/>
                </a:cubicBezTo>
                <a:cubicBezTo>
                  <a:pt x="0" y="21298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298"/>
                  <a:pt x="21600" y="20925"/>
                </a:cubicBezTo>
                <a:cubicBezTo>
                  <a:pt x="21600" y="20787"/>
                  <a:pt x="21562" y="20665"/>
                  <a:pt x="21510" y="2055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6" name="Shape 2646"/>
          <p:cNvSpPr/>
          <p:nvPr/>
        </p:nvSpPr>
        <p:spPr>
          <a:xfrm>
            <a:off x="11357242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2" y="20618"/>
                  <a:pt x="6873" y="20838"/>
                  <a:pt x="6873" y="21109"/>
                </a:cubicBezTo>
                <a:cubicBezTo>
                  <a:pt x="6873" y="21381"/>
                  <a:pt x="7092" y="21600"/>
                  <a:pt x="7364" y="21600"/>
                </a:cubicBezTo>
                <a:lnTo>
                  <a:pt x="14236" y="21600"/>
                </a:lnTo>
                <a:cubicBezTo>
                  <a:pt x="14508" y="21600"/>
                  <a:pt x="14727" y="21381"/>
                  <a:pt x="14727" y="21109"/>
                </a:cubicBezTo>
                <a:cubicBezTo>
                  <a:pt x="14727" y="20838"/>
                  <a:pt x="14508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7" name="Shape 2647"/>
          <p:cNvSpPr/>
          <p:nvPr/>
        </p:nvSpPr>
        <p:spPr>
          <a:xfrm>
            <a:off x="1758543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773" y="5201"/>
                </a:moveTo>
                <a:cubicBezTo>
                  <a:pt x="10712" y="5093"/>
                  <a:pt x="10614" y="5023"/>
                  <a:pt x="10504" y="4986"/>
                </a:cubicBezTo>
                <a:lnTo>
                  <a:pt x="10517" y="4938"/>
                </a:lnTo>
                <a:cubicBezTo>
                  <a:pt x="10483" y="4941"/>
                  <a:pt x="10451" y="4949"/>
                  <a:pt x="10419" y="4957"/>
                </a:cubicBezTo>
                <a:lnTo>
                  <a:pt x="8464" y="4433"/>
                </a:lnTo>
                <a:cubicBezTo>
                  <a:pt x="8343" y="4400"/>
                  <a:pt x="8209" y="4414"/>
                  <a:pt x="8091" y="4482"/>
                </a:cubicBezTo>
                <a:cubicBezTo>
                  <a:pt x="7856" y="4618"/>
                  <a:pt x="7776" y="4918"/>
                  <a:pt x="7912" y="5153"/>
                </a:cubicBezTo>
                <a:cubicBezTo>
                  <a:pt x="7979" y="5270"/>
                  <a:pt x="8088" y="5349"/>
                  <a:pt x="8210" y="5381"/>
                </a:cubicBezTo>
                <a:lnTo>
                  <a:pt x="8965" y="5584"/>
                </a:lnTo>
                <a:cubicBezTo>
                  <a:pt x="8292" y="6116"/>
                  <a:pt x="7855" y="6927"/>
                  <a:pt x="7855" y="7855"/>
                </a:cubicBezTo>
                <a:cubicBezTo>
                  <a:pt x="7855" y="9081"/>
                  <a:pt x="8605" y="10131"/>
                  <a:pt x="9671" y="10574"/>
                </a:cubicBezTo>
                <a:lnTo>
                  <a:pt x="9934" y="9609"/>
                </a:lnTo>
                <a:cubicBezTo>
                  <a:pt x="9286" y="9288"/>
                  <a:pt x="8836" y="8627"/>
                  <a:pt x="8836" y="7855"/>
                </a:cubicBezTo>
                <a:cubicBezTo>
                  <a:pt x="8836" y="7221"/>
                  <a:pt x="9142" y="6665"/>
                  <a:pt x="9609" y="6309"/>
                </a:cubicBezTo>
                <a:lnTo>
                  <a:pt x="9336" y="7331"/>
                </a:lnTo>
                <a:cubicBezTo>
                  <a:pt x="9303" y="7453"/>
                  <a:pt x="9316" y="7586"/>
                  <a:pt x="9384" y="7704"/>
                </a:cubicBezTo>
                <a:cubicBezTo>
                  <a:pt x="9520" y="7938"/>
                  <a:pt x="9820" y="8019"/>
                  <a:pt x="10055" y="7884"/>
                </a:cubicBezTo>
                <a:cubicBezTo>
                  <a:pt x="10172" y="7815"/>
                  <a:pt x="10251" y="7706"/>
                  <a:pt x="10284" y="7585"/>
                </a:cubicBezTo>
                <a:lnTo>
                  <a:pt x="10823" y="5573"/>
                </a:lnTo>
                <a:cubicBezTo>
                  <a:pt x="10855" y="5452"/>
                  <a:pt x="10841" y="5318"/>
                  <a:pt x="10773" y="5201"/>
                </a:cubicBezTo>
                <a:moveTo>
                  <a:pt x="13421" y="10343"/>
                </a:moveTo>
                <a:lnTo>
                  <a:pt x="12630" y="10132"/>
                </a:lnTo>
                <a:cubicBezTo>
                  <a:pt x="13306" y="9598"/>
                  <a:pt x="13745" y="8785"/>
                  <a:pt x="13745" y="7855"/>
                </a:cubicBezTo>
                <a:cubicBezTo>
                  <a:pt x="13745" y="6643"/>
                  <a:pt x="13013" y="5604"/>
                  <a:pt x="11967" y="5152"/>
                </a:cubicBezTo>
                <a:lnTo>
                  <a:pt x="11702" y="6121"/>
                </a:lnTo>
                <a:cubicBezTo>
                  <a:pt x="12330" y="6448"/>
                  <a:pt x="12764" y="7098"/>
                  <a:pt x="12764" y="7855"/>
                </a:cubicBezTo>
                <a:cubicBezTo>
                  <a:pt x="12764" y="8468"/>
                  <a:pt x="12477" y="9008"/>
                  <a:pt x="12035" y="9366"/>
                </a:cubicBezTo>
                <a:lnTo>
                  <a:pt x="12295" y="8394"/>
                </a:lnTo>
                <a:cubicBezTo>
                  <a:pt x="12328" y="8273"/>
                  <a:pt x="12314" y="8139"/>
                  <a:pt x="12246" y="8021"/>
                </a:cubicBezTo>
                <a:cubicBezTo>
                  <a:pt x="12111" y="7786"/>
                  <a:pt x="11811" y="7706"/>
                  <a:pt x="11576" y="7842"/>
                </a:cubicBezTo>
                <a:cubicBezTo>
                  <a:pt x="11458" y="7910"/>
                  <a:pt x="11380" y="8019"/>
                  <a:pt x="11347" y="8140"/>
                </a:cubicBezTo>
                <a:lnTo>
                  <a:pt x="10808" y="10152"/>
                </a:lnTo>
                <a:lnTo>
                  <a:pt x="10808" y="10152"/>
                </a:lnTo>
                <a:cubicBezTo>
                  <a:pt x="10776" y="10273"/>
                  <a:pt x="10789" y="10407"/>
                  <a:pt x="10857" y="10524"/>
                </a:cubicBezTo>
                <a:cubicBezTo>
                  <a:pt x="10920" y="10634"/>
                  <a:pt x="11021" y="10706"/>
                  <a:pt x="11133" y="10742"/>
                </a:cubicBezTo>
                <a:lnTo>
                  <a:pt x="11126" y="10768"/>
                </a:lnTo>
                <a:cubicBezTo>
                  <a:pt x="11142" y="10766"/>
                  <a:pt x="11157" y="10761"/>
                  <a:pt x="11173" y="10758"/>
                </a:cubicBezTo>
                <a:lnTo>
                  <a:pt x="13167" y="11292"/>
                </a:lnTo>
                <a:cubicBezTo>
                  <a:pt x="13288" y="11324"/>
                  <a:pt x="13422" y="11311"/>
                  <a:pt x="13540" y="11243"/>
                </a:cubicBezTo>
                <a:cubicBezTo>
                  <a:pt x="13774" y="11107"/>
                  <a:pt x="13855" y="10807"/>
                  <a:pt x="13719" y="10572"/>
                </a:cubicBezTo>
                <a:cubicBezTo>
                  <a:pt x="13651" y="10455"/>
                  <a:pt x="13542" y="10376"/>
                  <a:pt x="13421" y="1034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8" name="Shape 2648"/>
          <p:cNvSpPr/>
          <p:nvPr/>
        </p:nvSpPr>
        <p:spPr>
          <a:xfrm>
            <a:off x="2825064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764" y="8836"/>
                </a:moveTo>
                <a:cubicBezTo>
                  <a:pt x="12628" y="8836"/>
                  <a:pt x="12505" y="8891"/>
                  <a:pt x="12417" y="8980"/>
                </a:cubicBezTo>
                <a:lnTo>
                  <a:pt x="11291" y="10106"/>
                </a:lnTo>
                <a:lnTo>
                  <a:pt x="11291" y="4419"/>
                </a:lnTo>
                <a:lnTo>
                  <a:pt x="11291" y="4418"/>
                </a:lnTo>
                <a:cubicBezTo>
                  <a:pt x="11291" y="4147"/>
                  <a:pt x="11071" y="3927"/>
                  <a:pt x="10800" y="3927"/>
                </a:cubicBezTo>
                <a:cubicBezTo>
                  <a:pt x="10529" y="3927"/>
                  <a:pt x="10309" y="4147"/>
                  <a:pt x="10309" y="4418"/>
                </a:cubicBezTo>
                <a:lnTo>
                  <a:pt x="10309" y="10106"/>
                </a:lnTo>
                <a:lnTo>
                  <a:pt x="9183" y="8980"/>
                </a:lnTo>
                <a:cubicBezTo>
                  <a:pt x="9095" y="8891"/>
                  <a:pt x="8972" y="8836"/>
                  <a:pt x="8836" y="8836"/>
                </a:cubicBezTo>
                <a:cubicBezTo>
                  <a:pt x="8566" y="8836"/>
                  <a:pt x="8345" y="9056"/>
                  <a:pt x="8345" y="9327"/>
                </a:cubicBezTo>
                <a:cubicBezTo>
                  <a:pt x="8345" y="9463"/>
                  <a:pt x="8400" y="9586"/>
                  <a:pt x="8489" y="9674"/>
                </a:cubicBezTo>
                <a:lnTo>
                  <a:pt x="10453" y="11638"/>
                </a:lnTo>
                <a:cubicBezTo>
                  <a:pt x="10542" y="11727"/>
                  <a:pt x="10665" y="11782"/>
                  <a:pt x="10800" y="11782"/>
                </a:cubicBezTo>
                <a:cubicBezTo>
                  <a:pt x="10935" y="11782"/>
                  <a:pt x="11058" y="11727"/>
                  <a:pt x="11147" y="11638"/>
                </a:cubicBezTo>
                <a:lnTo>
                  <a:pt x="13111" y="9674"/>
                </a:lnTo>
                <a:cubicBezTo>
                  <a:pt x="13200" y="9586"/>
                  <a:pt x="13255" y="9463"/>
                  <a:pt x="13255" y="9327"/>
                </a:cubicBezTo>
                <a:cubicBezTo>
                  <a:pt x="13255" y="9056"/>
                  <a:pt x="13034" y="8836"/>
                  <a:pt x="12764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49" name="Shape 2649"/>
          <p:cNvSpPr/>
          <p:nvPr/>
        </p:nvSpPr>
        <p:spPr>
          <a:xfrm>
            <a:off x="3891587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1147" y="4071"/>
                </a:moveTo>
                <a:cubicBezTo>
                  <a:pt x="11058" y="3982"/>
                  <a:pt x="10935" y="3927"/>
                  <a:pt x="10800" y="3927"/>
                </a:cubicBezTo>
                <a:cubicBezTo>
                  <a:pt x="10665" y="3927"/>
                  <a:pt x="10542" y="3982"/>
                  <a:pt x="10453" y="4071"/>
                </a:cubicBezTo>
                <a:lnTo>
                  <a:pt x="8489" y="6035"/>
                </a:lnTo>
                <a:cubicBezTo>
                  <a:pt x="8400" y="6124"/>
                  <a:pt x="8345" y="6247"/>
                  <a:pt x="8345" y="6382"/>
                </a:cubicBezTo>
                <a:cubicBezTo>
                  <a:pt x="8345" y="6653"/>
                  <a:pt x="8566" y="6873"/>
                  <a:pt x="8836" y="6873"/>
                </a:cubicBezTo>
                <a:cubicBezTo>
                  <a:pt x="8972" y="6873"/>
                  <a:pt x="9095" y="6818"/>
                  <a:pt x="9183" y="6729"/>
                </a:cubicBezTo>
                <a:lnTo>
                  <a:pt x="10309" y="5603"/>
                </a:lnTo>
                <a:lnTo>
                  <a:pt x="10309" y="11291"/>
                </a:lnTo>
                <a:cubicBezTo>
                  <a:pt x="10309" y="11562"/>
                  <a:pt x="10529" y="11782"/>
                  <a:pt x="10800" y="11782"/>
                </a:cubicBezTo>
                <a:cubicBezTo>
                  <a:pt x="11071" y="11782"/>
                  <a:pt x="11291" y="11562"/>
                  <a:pt x="11291" y="11291"/>
                </a:cubicBezTo>
                <a:lnTo>
                  <a:pt x="11291" y="5603"/>
                </a:lnTo>
                <a:lnTo>
                  <a:pt x="12417" y="6729"/>
                </a:lnTo>
                <a:cubicBezTo>
                  <a:pt x="12505" y="6818"/>
                  <a:pt x="12628" y="6873"/>
                  <a:pt x="12764" y="6873"/>
                </a:cubicBezTo>
                <a:cubicBezTo>
                  <a:pt x="13034" y="6873"/>
                  <a:pt x="13255" y="6653"/>
                  <a:pt x="13255" y="6382"/>
                </a:cubicBezTo>
                <a:cubicBezTo>
                  <a:pt x="13255" y="6247"/>
                  <a:pt x="13200" y="6124"/>
                  <a:pt x="13111" y="6035"/>
                </a:cubicBezTo>
                <a:cubicBezTo>
                  <a:pt x="13111" y="6035"/>
                  <a:pt x="11147" y="4071"/>
                  <a:pt x="11147" y="4071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0" name="Shape 2650"/>
          <p:cNvSpPr/>
          <p:nvPr/>
        </p:nvSpPr>
        <p:spPr>
          <a:xfrm>
            <a:off x="4958109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36" y="7364"/>
                </a:moveTo>
                <a:lnTo>
                  <a:pt x="8549" y="7364"/>
                </a:lnTo>
                <a:lnTo>
                  <a:pt x="9674" y="6238"/>
                </a:lnTo>
                <a:cubicBezTo>
                  <a:pt x="9763" y="6149"/>
                  <a:pt x="9818" y="6027"/>
                  <a:pt x="9818" y="5891"/>
                </a:cubicBezTo>
                <a:cubicBezTo>
                  <a:pt x="9818" y="5620"/>
                  <a:pt x="9598" y="5400"/>
                  <a:pt x="9327" y="5400"/>
                </a:cubicBezTo>
                <a:cubicBezTo>
                  <a:pt x="9192" y="5400"/>
                  <a:pt x="9069" y="5455"/>
                  <a:pt x="8980" y="5544"/>
                </a:cubicBezTo>
                <a:lnTo>
                  <a:pt x="7017" y="7507"/>
                </a:lnTo>
                <a:cubicBezTo>
                  <a:pt x="6928" y="7597"/>
                  <a:pt x="6873" y="7720"/>
                  <a:pt x="6873" y="7855"/>
                </a:cubicBezTo>
                <a:cubicBezTo>
                  <a:pt x="6873" y="7990"/>
                  <a:pt x="6928" y="8113"/>
                  <a:pt x="7017" y="8202"/>
                </a:cubicBezTo>
                <a:lnTo>
                  <a:pt x="8980" y="10165"/>
                </a:lnTo>
                <a:cubicBezTo>
                  <a:pt x="9069" y="10255"/>
                  <a:pt x="9192" y="10309"/>
                  <a:pt x="9327" y="10309"/>
                </a:cubicBezTo>
                <a:cubicBezTo>
                  <a:pt x="9598" y="10309"/>
                  <a:pt x="9818" y="10090"/>
                  <a:pt x="9818" y="9818"/>
                </a:cubicBezTo>
                <a:cubicBezTo>
                  <a:pt x="9818" y="9683"/>
                  <a:pt x="9763" y="9560"/>
                  <a:pt x="9674" y="9471"/>
                </a:cubicBezTo>
                <a:lnTo>
                  <a:pt x="8549" y="8345"/>
                </a:lnTo>
                <a:lnTo>
                  <a:pt x="14236" y="8345"/>
                </a:lnTo>
                <a:cubicBezTo>
                  <a:pt x="14507" y="8345"/>
                  <a:pt x="14727" y="8126"/>
                  <a:pt x="14727" y="7855"/>
                </a:cubicBezTo>
                <a:cubicBezTo>
                  <a:pt x="14727" y="7584"/>
                  <a:pt x="14507" y="7364"/>
                  <a:pt x="14236" y="73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1" name="Shape 2651"/>
          <p:cNvSpPr/>
          <p:nvPr/>
        </p:nvSpPr>
        <p:spPr>
          <a:xfrm>
            <a:off x="6024631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583" y="7507"/>
                </a:moveTo>
                <a:lnTo>
                  <a:pt x="12620" y="5544"/>
                </a:lnTo>
                <a:cubicBezTo>
                  <a:pt x="12531" y="5455"/>
                  <a:pt x="12408" y="5400"/>
                  <a:pt x="12273" y="5400"/>
                </a:cubicBezTo>
                <a:cubicBezTo>
                  <a:pt x="12001" y="5400"/>
                  <a:pt x="11782" y="5620"/>
                  <a:pt x="11782" y="5891"/>
                </a:cubicBezTo>
                <a:cubicBezTo>
                  <a:pt x="11782" y="6027"/>
                  <a:pt x="11837" y="6149"/>
                  <a:pt x="11926" y="6238"/>
                </a:cubicBezTo>
                <a:lnTo>
                  <a:pt x="13051" y="7364"/>
                </a:lnTo>
                <a:lnTo>
                  <a:pt x="7364" y="7364"/>
                </a:lnTo>
                <a:cubicBezTo>
                  <a:pt x="7092" y="7364"/>
                  <a:pt x="6873" y="7584"/>
                  <a:pt x="6873" y="7855"/>
                </a:cubicBezTo>
                <a:cubicBezTo>
                  <a:pt x="6873" y="8126"/>
                  <a:pt x="7092" y="8345"/>
                  <a:pt x="7364" y="8345"/>
                </a:cubicBezTo>
                <a:lnTo>
                  <a:pt x="13051" y="8345"/>
                </a:lnTo>
                <a:lnTo>
                  <a:pt x="11926" y="9471"/>
                </a:lnTo>
                <a:cubicBezTo>
                  <a:pt x="11837" y="9560"/>
                  <a:pt x="11782" y="9683"/>
                  <a:pt x="11782" y="9818"/>
                </a:cubicBezTo>
                <a:cubicBezTo>
                  <a:pt x="11782" y="10090"/>
                  <a:pt x="12001" y="10309"/>
                  <a:pt x="12273" y="10309"/>
                </a:cubicBezTo>
                <a:cubicBezTo>
                  <a:pt x="12408" y="10309"/>
                  <a:pt x="12531" y="10255"/>
                  <a:pt x="12620" y="10165"/>
                </a:cubicBezTo>
                <a:lnTo>
                  <a:pt x="14583" y="8202"/>
                </a:lnTo>
                <a:cubicBezTo>
                  <a:pt x="14672" y="8113"/>
                  <a:pt x="14727" y="7990"/>
                  <a:pt x="14727" y="7855"/>
                </a:cubicBezTo>
                <a:cubicBezTo>
                  <a:pt x="14727" y="7720"/>
                  <a:pt x="14672" y="7597"/>
                  <a:pt x="14583" y="7507"/>
                </a:cubicBezTo>
                <a:close/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1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2" y="20618"/>
                  <a:pt x="6873" y="20838"/>
                  <a:pt x="6873" y="21109"/>
                </a:cubicBezTo>
                <a:cubicBezTo>
                  <a:pt x="6873" y="21380"/>
                  <a:pt x="7092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0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2" name="Shape 2652"/>
          <p:cNvSpPr/>
          <p:nvPr/>
        </p:nvSpPr>
        <p:spPr>
          <a:xfrm>
            <a:off x="7091154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7547" y="14727"/>
                  <a:pt x="4909" y="12969"/>
                  <a:pt x="4909" y="10800"/>
                </a:cubicBezTo>
                <a:cubicBezTo>
                  <a:pt x="4909" y="8631"/>
                  <a:pt x="7547" y="6873"/>
                  <a:pt x="10800" y="6873"/>
                </a:cubicBezTo>
                <a:cubicBezTo>
                  <a:pt x="11895" y="6873"/>
                  <a:pt x="12917" y="7076"/>
                  <a:pt x="13795" y="7423"/>
                </a:cubicBezTo>
                <a:lnTo>
                  <a:pt x="15709" y="5073"/>
                </a:lnTo>
                <a:lnTo>
                  <a:pt x="15709" y="8631"/>
                </a:lnTo>
                <a:cubicBezTo>
                  <a:pt x="16328" y="9253"/>
                  <a:pt x="16691" y="9998"/>
                  <a:pt x="16691" y="10800"/>
                </a:cubicBezTo>
                <a:cubicBezTo>
                  <a:pt x="16691" y="12969"/>
                  <a:pt x="14053" y="14727"/>
                  <a:pt x="10800" y="14727"/>
                </a:cubicBezTo>
                <a:moveTo>
                  <a:pt x="16691" y="1964"/>
                </a:moveTo>
                <a:lnTo>
                  <a:pt x="13360" y="6247"/>
                </a:lnTo>
                <a:cubicBezTo>
                  <a:pt x="12568" y="6020"/>
                  <a:pt x="11706" y="5891"/>
                  <a:pt x="10800" y="5891"/>
                </a:cubicBezTo>
                <a:cubicBezTo>
                  <a:pt x="7004" y="5891"/>
                  <a:pt x="3927" y="8089"/>
                  <a:pt x="3927" y="10800"/>
                </a:cubicBezTo>
                <a:cubicBezTo>
                  <a:pt x="3927" y="13511"/>
                  <a:pt x="7004" y="15709"/>
                  <a:pt x="10800" y="15709"/>
                </a:cubicBezTo>
                <a:cubicBezTo>
                  <a:pt x="14596" y="15709"/>
                  <a:pt x="17673" y="13511"/>
                  <a:pt x="17673" y="10800"/>
                </a:cubicBezTo>
                <a:cubicBezTo>
                  <a:pt x="17673" y="9878"/>
                  <a:pt x="17310" y="9018"/>
                  <a:pt x="16691" y="8281"/>
                </a:cubicBezTo>
                <a:cubicBezTo>
                  <a:pt x="16691" y="8281"/>
                  <a:pt x="16691" y="1964"/>
                  <a:pt x="16691" y="1964"/>
                </a:cubicBezTo>
                <a:close/>
                <a:moveTo>
                  <a:pt x="19145" y="1964"/>
                </a:moveTo>
                <a:cubicBezTo>
                  <a:pt x="18874" y="1964"/>
                  <a:pt x="18655" y="2184"/>
                  <a:pt x="18655" y="2455"/>
                </a:cubicBezTo>
                <a:cubicBezTo>
                  <a:pt x="18655" y="2726"/>
                  <a:pt x="18874" y="2945"/>
                  <a:pt x="19145" y="2945"/>
                </a:cubicBezTo>
                <a:cubicBezTo>
                  <a:pt x="19417" y="2945"/>
                  <a:pt x="19636" y="2726"/>
                  <a:pt x="19636" y="2455"/>
                </a:cubicBezTo>
                <a:cubicBezTo>
                  <a:pt x="19636" y="2184"/>
                  <a:pt x="19417" y="1964"/>
                  <a:pt x="19145" y="1964"/>
                </a:cubicBezTo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6691"/>
                  <a:pt x="20618" y="16691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8382"/>
                </a:lnTo>
                <a:cubicBezTo>
                  <a:pt x="1271" y="18551"/>
                  <a:pt x="1604" y="18655"/>
                  <a:pt x="1964" y="18655"/>
                </a:cubicBezTo>
                <a:lnTo>
                  <a:pt x="19636" y="18655"/>
                </a:lnTo>
                <a:cubicBezTo>
                  <a:pt x="19996" y="18655"/>
                  <a:pt x="20329" y="18551"/>
                  <a:pt x="20618" y="18382"/>
                </a:cubicBezTo>
                <a:cubicBezTo>
                  <a:pt x="20618" y="18382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800" y="11291"/>
                </a:moveTo>
                <a:cubicBezTo>
                  <a:pt x="10258" y="11291"/>
                  <a:pt x="9818" y="11072"/>
                  <a:pt x="9818" y="10800"/>
                </a:cubicBezTo>
                <a:cubicBezTo>
                  <a:pt x="9818" y="10529"/>
                  <a:pt x="10258" y="10309"/>
                  <a:pt x="10800" y="10309"/>
                </a:cubicBezTo>
                <a:cubicBezTo>
                  <a:pt x="11342" y="10309"/>
                  <a:pt x="11782" y="10529"/>
                  <a:pt x="11782" y="10800"/>
                </a:cubicBezTo>
                <a:cubicBezTo>
                  <a:pt x="11782" y="11072"/>
                  <a:pt x="11342" y="11291"/>
                  <a:pt x="10800" y="11291"/>
                </a:cubicBezTo>
                <a:moveTo>
                  <a:pt x="10800" y="9327"/>
                </a:moveTo>
                <a:cubicBezTo>
                  <a:pt x="9716" y="9327"/>
                  <a:pt x="8836" y="9986"/>
                  <a:pt x="8836" y="10800"/>
                </a:cubicBezTo>
                <a:cubicBezTo>
                  <a:pt x="8836" y="11614"/>
                  <a:pt x="9716" y="12273"/>
                  <a:pt x="10800" y="12273"/>
                </a:cubicBezTo>
                <a:cubicBezTo>
                  <a:pt x="11884" y="12273"/>
                  <a:pt x="12764" y="11614"/>
                  <a:pt x="12764" y="10800"/>
                </a:cubicBezTo>
                <a:cubicBezTo>
                  <a:pt x="12764" y="9986"/>
                  <a:pt x="11884" y="9327"/>
                  <a:pt x="10800" y="9327"/>
                </a:cubicBezTo>
                <a:moveTo>
                  <a:pt x="19145" y="15709"/>
                </a:moveTo>
                <a:cubicBezTo>
                  <a:pt x="18874" y="15709"/>
                  <a:pt x="18655" y="15929"/>
                  <a:pt x="18655" y="16200"/>
                </a:cubicBezTo>
                <a:cubicBezTo>
                  <a:pt x="18655" y="16472"/>
                  <a:pt x="18874" y="16691"/>
                  <a:pt x="19145" y="16691"/>
                </a:cubicBezTo>
                <a:cubicBezTo>
                  <a:pt x="19417" y="16691"/>
                  <a:pt x="19636" y="16472"/>
                  <a:pt x="19636" y="16200"/>
                </a:cubicBezTo>
                <a:cubicBezTo>
                  <a:pt x="19636" y="15929"/>
                  <a:pt x="19417" y="15709"/>
                  <a:pt x="19145" y="15709"/>
                </a:cubicBezTo>
                <a:moveTo>
                  <a:pt x="2455" y="15709"/>
                </a:moveTo>
                <a:cubicBezTo>
                  <a:pt x="2183" y="15709"/>
                  <a:pt x="1964" y="15929"/>
                  <a:pt x="1964" y="16200"/>
                </a:cubicBezTo>
                <a:cubicBezTo>
                  <a:pt x="1964" y="16472"/>
                  <a:pt x="2183" y="16691"/>
                  <a:pt x="2455" y="16691"/>
                </a:cubicBezTo>
                <a:cubicBezTo>
                  <a:pt x="2726" y="16691"/>
                  <a:pt x="2945" y="16472"/>
                  <a:pt x="2945" y="16200"/>
                </a:cubicBezTo>
                <a:cubicBezTo>
                  <a:pt x="2945" y="15929"/>
                  <a:pt x="2726" y="15709"/>
                  <a:pt x="2455" y="15709"/>
                </a:cubicBezTo>
                <a:moveTo>
                  <a:pt x="5645" y="4418"/>
                </a:moveTo>
                <a:lnTo>
                  <a:pt x="12027" y="4418"/>
                </a:lnTo>
                <a:cubicBezTo>
                  <a:pt x="12434" y="4418"/>
                  <a:pt x="12764" y="4088"/>
                  <a:pt x="12764" y="3682"/>
                </a:cubicBezTo>
                <a:cubicBezTo>
                  <a:pt x="12764" y="3275"/>
                  <a:pt x="12434" y="2945"/>
                  <a:pt x="12027" y="2945"/>
                </a:cubicBezTo>
                <a:lnTo>
                  <a:pt x="5645" y="2945"/>
                </a:lnTo>
                <a:cubicBezTo>
                  <a:pt x="5239" y="2945"/>
                  <a:pt x="4909" y="3275"/>
                  <a:pt x="4909" y="3682"/>
                </a:cubicBezTo>
                <a:cubicBezTo>
                  <a:pt x="4909" y="4088"/>
                  <a:pt x="5239" y="4418"/>
                  <a:pt x="5645" y="4418"/>
                </a:cubicBezTo>
                <a:moveTo>
                  <a:pt x="2455" y="1964"/>
                </a:moveTo>
                <a:cubicBezTo>
                  <a:pt x="2183" y="1964"/>
                  <a:pt x="1964" y="2184"/>
                  <a:pt x="1964" y="2455"/>
                </a:cubicBezTo>
                <a:cubicBezTo>
                  <a:pt x="1964" y="2726"/>
                  <a:pt x="2183" y="2945"/>
                  <a:pt x="2455" y="2945"/>
                </a:cubicBezTo>
                <a:cubicBezTo>
                  <a:pt x="2726" y="2945"/>
                  <a:pt x="2945" y="2726"/>
                  <a:pt x="2945" y="2455"/>
                </a:cubicBezTo>
                <a:cubicBezTo>
                  <a:pt x="2945" y="2184"/>
                  <a:pt x="2726" y="1964"/>
                  <a:pt x="2455" y="19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3" name="Shape 2653"/>
          <p:cNvSpPr/>
          <p:nvPr/>
        </p:nvSpPr>
        <p:spPr>
          <a:xfrm>
            <a:off x="8157677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764" y="5891"/>
                </a:moveTo>
                <a:lnTo>
                  <a:pt x="14727" y="5891"/>
                </a:lnTo>
                <a:lnTo>
                  <a:pt x="14727" y="1964"/>
                </a:lnTo>
                <a:lnTo>
                  <a:pt x="12764" y="1964"/>
                </a:lnTo>
                <a:cubicBezTo>
                  <a:pt x="12764" y="1964"/>
                  <a:pt x="12764" y="5891"/>
                  <a:pt x="12764" y="5891"/>
                </a:cubicBezTo>
                <a:close/>
                <a:moveTo>
                  <a:pt x="6873" y="2945"/>
                </a:moveTo>
                <a:lnTo>
                  <a:pt x="10800" y="2945"/>
                </a:lnTo>
                <a:lnTo>
                  <a:pt x="10800" y="1964"/>
                </a:lnTo>
                <a:lnTo>
                  <a:pt x="6873" y="1964"/>
                </a:lnTo>
                <a:cubicBezTo>
                  <a:pt x="6873" y="1964"/>
                  <a:pt x="6873" y="2945"/>
                  <a:pt x="6873" y="294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8655" y="20618"/>
                </a:lnTo>
                <a:lnTo>
                  <a:pt x="18655" y="11782"/>
                </a:lnTo>
                <a:cubicBezTo>
                  <a:pt x="18655" y="11240"/>
                  <a:pt x="18214" y="10800"/>
                  <a:pt x="17673" y="10800"/>
                </a:cubicBezTo>
                <a:lnTo>
                  <a:pt x="3927" y="10800"/>
                </a:lnTo>
                <a:cubicBezTo>
                  <a:pt x="3385" y="10800"/>
                  <a:pt x="2945" y="11240"/>
                  <a:pt x="2945" y="11782"/>
                </a:cubicBezTo>
                <a:lnTo>
                  <a:pt x="2945" y="20618"/>
                </a:ln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4909" y="982"/>
                </a:lnTo>
                <a:lnTo>
                  <a:pt x="4909" y="6873"/>
                </a:lnTo>
                <a:cubicBezTo>
                  <a:pt x="4909" y="7415"/>
                  <a:pt x="5348" y="7855"/>
                  <a:pt x="5891" y="7855"/>
                </a:cubicBezTo>
                <a:lnTo>
                  <a:pt x="15709" y="7855"/>
                </a:lnTo>
                <a:cubicBezTo>
                  <a:pt x="16251" y="7855"/>
                  <a:pt x="16691" y="7415"/>
                  <a:pt x="16691" y="6873"/>
                </a:cubicBezTo>
                <a:lnTo>
                  <a:pt x="16691" y="982"/>
                </a:lnTo>
                <a:lnTo>
                  <a:pt x="17182" y="982"/>
                </a:lnTo>
                <a:lnTo>
                  <a:pt x="20618" y="4418"/>
                </a:lnTo>
                <a:cubicBezTo>
                  <a:pt x="20618" y="4418"/>
                  <a:pt x="20618" y="19636"/>
                  <a:pt x="20618" y="19636"/>
                </a:cubicBezTo>
                <a:close/>
                <a:moveTo>
                  <a:pt x="17673" y="20618"/>
                </a:moveTo>
                <a:lnTo>
                  <a:pt x="3927" y="20618"/>
                </a:lnTo>
                <a:lnTo>
                  <a:pt x="3927" y="11782"/>
                </a:lnTo>
                <a:lnTo>
                  <a:pt x="17673" y="11782"/>
                </a:lnTo>
                <a:cubicBezTo>
                  <a:pt x="17673" y="11782"/>
                  <a:pt x="17673" y="20618"/>
                  <a:pt x="17673" y="20618"/>
                </a:cubicBezTo>
                <a:close/>
                <a:moveTo>
                  <a:pt x="5891" y="982"/>
                </a:moveTo>
                <a:lnTo>
                  <a:pt x="15709" y="982"/>
                </a:lnTo>
                <a:lnTo>
                  <a:pt x="15709" y="6873"/>
                </a:lnTo>
                <a:lnTo>
                  <a:pt x="5891" y="6873"/>
                </a:lnTo>
                <a:cubicBezTo>
                  <a:pt x="5891" y="6873"/>
                  <a:pt x="5891" y="982"/>
                  <a:pt x="5891" y="982"/>
                </a:cubicBezTo>
                <a:close/>
                <a:moveTo>
                  <a:pt x="17673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7"/>
                </a:lnTo>
                <a:cubicBezTo>
                  <a:pt x="21600" y="3927"/>
                  <a:pt x="17673" y="0"/>
                  <a:pt x="17673" y="0"/>
                </a:cubicBezTo>
                <a:close/>
                <a:moveTo>
                  <a:pt x="6873" y="4909"/>
                </a:moveTo>
                <a:lnTo>
                  <a:pt x="9818" y="4909"/>
                </a:lnTo>
                <a:lnTo>
                  <a:pt x="9818" y="3927"/>
                </a:lnTo>
                <a:lnTo>
                  <a:pt x="6873" y="3927"/>
                </a:lnTo>
                <a:cubicBezTo>
                  <a:pt x="6873" y="3927"/>
                  <a:pt x="6873" y="4909"/>
                  <a:pt x="6873" y="4909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4" name="Shape 2654"/>
          <p:cNvSpPr/>
          <p:nvPr/>
        </p:nvSpPr>
        <p:spPr>
          <a:xfrm>
            <a:off x="9224197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5709"/>
                </a:moveTo>
                <a:lnTo>
                  <a:pt x="5891" y="15709"/>
                </a:lnTo>
                <a:lnTo>
                  <a:pt x="5891" y="16691"/>
                </a:lnTo>
                <a:lnTo>
                  <a:pt x="15709" y="16691"/>
                </a:lnTo>
                <a:cubicBezTo>
                  <a:pt x="15709" y="16691"/>
                  <a:pt x="15709" y="15709"/>
                  <a:pt x="15709" y="15709"/>
                </a:cubicBezTo>
                <a:close/>
                <a:moveTo>
                  <a:pt x="15709" y="17673"/>
                </a:moveTo>
                <a:lnTo>
                  <a:pt x="5891" y="17673"/>
                </a:lnTo>
                <a:lnTo>
                  <a:pt x="5891" y="18655"/>
                </a:lnTo>
                <a:lnTo>
                  <a:pt x="15709" y="18655"/>
                </a:lnTo>
                <a:cubicBezTo>
                  <a:pt x="15709" y="18655"/>
                  <a:pt x="15709" y="17673"/>
                  <a:pt x="15709" y="17673"/>
                </a:cubicBezTo>
                <a:close/>
                <a:moveTo>
                  <a:pt x="11782" y="13745"/>
                </a:moveTo>
                <a:lnTo>
                  <a:pt x="5891" y="13745"/>
                </a:lnTo>
                <a:lnTo>
                  <a:pt x="5891" y="14727"/>
                </a:lnTo>
                <a:lnTo>
                  <a:pt x="11782" y="14727"/>
                </a:lnTo>
                <a:cubicBezTo>
                  <a:pt x="11782" y="14727"/>
                  <a:pt x="11782" y="13745"/>
                  <a:pt x="11782" y="1374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8655" y="20618"/>
                </a:lnTo>
                <a:lnTo>
                  <a:pt x="18655" y="11782"/>
                </a:lnTo>
                <a:cubicBezTo>
                  <a:pt x="18655" y="11240"/>
                  <a:pt x="18214" y="10800"/>
                  <a:pt x="17673" y="10800"/>
                </a:cubicBezTo>
                <a:lnTo>
                  <a:pt x="3927" y="10800"/>
                </a:lnTo>
                <a:cubicBezTo>
                  <a:pt x="3385" y="10800"/>
                  <a:pt x="2945" y="11240"/>
                  <a:pt x="2945" y="11782"/>
                </a:cubicBezTo>
                <a:lnTo>
                  <a:pt x="2945" y="20618"/>
                </a:ln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4909" y="982"/>
                </a:lnTo>
                <a:lnTo>
                  <a:pt x="4909" y="6873"/>
                </a:lnTo>
                <a:cubicBezTo>
                  <a:pt x="4909" y="7415"/>
                  <a:pt x="5348" y="7855"/>
                  <a:pt x="5891" y="7855"/>
                </a:cubicBezTo>
                <a:lnTo>
                  <a:pt x="15709" y="7855"/>
                </a:lnTo>
                <a:cubicBezTo>
                  <a:pt x="16251" y="7855"/>
                  <a:pt x="16691" y="7415"/>
                  <a:pt x="16691" y="6873"/>
                </a:cubicBezTo>
                <a:lnTo>
                  <a:pt x="16691" y="982"/>
                </a:lnTo>
                <a:lnTo>
                  <a:pt x="17182" y="982"/>
                </a:lnTo>
                <a:lnTo>
                  <a:pt x="20618" y="4418"/>
                </a:lnTo>
                <a:cubicBezTo>
                  <a:pt x="20618" y="4418"/>
                  <a:pt x="20618" y="19636"/>
                  <a:pt x="20618" y="19636"/>
                </a:cubicBezTo>
                <a:close/>
                <a:moveTo>
                  <a:pt x="17673" y="20618"/>
                </a:moveTo>
                <a:lnTo>
                  <a:pt x="3927" y="20618"/>
                </a:lnTo>
                <a:lnTo>
                  <a:pt x="3927" y="11782"/>
                </a:lnTo>
                <a:lnTo>
                  <a:pt x="17673" y="11782"/>
                </a:lnTo>
                <a:cubicBezTo>
                  <a:pt x="17673" y="11782"/>
                  <a:pt x="17673" y="20618"/>
                  <a:pt x="17673" y="20618"/>
                </a:cubicBezTo>
                <a:close/>
                <a:moveTo>
                  <a:pt x="5891" y="982"/>
                </a:moveTo>
                <a:lnTo>
                  <a:pt x="15709" y="982"/>
                </a:lnTo>
                <a:lnTo>
                  <a:pt x="15709" y="6873"/>
                </a:lnTo>
                <a:lnTo>
                  <a:pt x="5891" y="6873"/>
                </a:lnTo>
                <a:cubicBezTo>
                  <a:pt x="5891" y="6873"/>
                  <a:pt x="5891" y="982"/>
                  <a:pt x="5891" y="982"/>
                </a:cubicBezTo>
                <a:close/>
                <a:moveTo>
                  <a:pt x="17673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7"/>
                </a:lnTo>
                <a:cubicBezTo>
                  <a:pt x="21600" y="3927"/>
                  <a:pt x="17673" y="0"/>
                  <a:pt x="17673" y="0"/>
                </a:cubicBezTo>
                <a:close/>
                <a:moveTo>
                  <a:pt x="12764" y="5891"/>
                </a:moveTo>
                <a:lnTo>
                  <a:pt x="14727" y="5891"/>
                </a:lnTo>
                <a:lnTo>
                  <a:pt x="14727" y="1964"/>
                </a:lnTo>
                <a:lnTo>
                  <a:pt x="12764" y="1964"/>
                </a:lnTo>
                <a:cubicBezTo>
                  <a:pt x="12764" y="1964"/>
                  <a:pt x="12764" y="5891"/>
                  <a:pt x="12764" y="5891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5" name="Shape 2655"/>
          <p:cNvSpPr/>
          <p:nvPr/>
        </p:nvSpPr>
        <p:spPr>
          <a:xfrm>
            <a:off x="10290720" y="3970394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400"/>
                </a:moveTo>
                <a:lnTo>
                  <a:pt x="16349" y="14400"/>
                </a:lnTo>
                <a:cubicBezTo>
                  <a:pt x="16227" y="14820"/>
                  <a:pt x="16076" y="15221"/>
                  <a:pt x="15897" y="15600"/>
                </a:cubicBezTo>
                <a:lnTo>
                  <a:pt x="20618" y="15600"/>
                </a:lnTo>
                <a:lnTo>
                  <a:pt x="20618" y="19200"/>
                </a:lnTo>
                <a:cubicBezTo>
                  <a:pt x="20618" y="19862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lnTo>
                  <a:pt x="982" y="15600"/>
                </a:lnTo>
                <a:lnTo>
                  <a:pt x="5704" y="15600"/>
                </a:lnTo>
                <a:cubicBezTo>
                  <a:pt x="5524" y="15221"/>
                  <a:pt x="5373" y="14820"/>
                  <a:pt x="5251" y="14400"/>
                </a:cubicBezTo>
                <a:lnTo>
                  <a:pt x="982" y="14400"/>
                </a:lnTo>
                <a:lnTo>
                  <a:pt x="982" y="4800"/>
                </a:lnTo>
                <a:cubicBezTo>
                  <a:pt x="982" y="4138"/>
                  <a:pt x="1422" y="3600"/>
                  <a:pt x="1964" y="3600"/>
                </a:cubicBezTo>
                <a:lnTo>
                  <a:pt x="3927" y="3600"/>
                </a:lnTo>
                <a:cubicBezTo>
                  <a:pt x="5891" y="3600"/>
                  <a:pt x="5891" y="1200"/>
                  <a:pt x="7364" y="1200"/>
                </a:cubicBezTo>
                <a:lnTo>
                  <a:pt x="10800" y="1200"/>
                </a:lnTo>
                <a:lnTo>
                  <a:pt x="14236" y="1200"/>
                </a:lnTo>
                <a:cubicBezTo>
                  <a:pt x="15709" y="1200"/>
                  <a:pt x="15709" y="3600"/>
                  <a:pt x="17673" y="3600"/>
                </a:cubicBezTo>
                <a:lnTo>
                  <a:pt x="19636" y="3600"/>
                </a:lnTo>
                <a:cubicBezTo>
                  <a:pt x="20178" y="3600"/>
                  <a:pt x="20618" y="4138"/>
                  <a:pt x="20618" y="4800"/>
                </a:cubicBezTo>
                <a:cubicBezTo>
                  <a:pt x="20618" y="4800"/>
                  <a:pt x="20618" y="14400"/>
                  <a:pt x="20618" y="14400"/>
                </a:cubicBezTo>
                <a:close/>
                <a:moveTo>
                  <a:pt x="19636" y="2400"/>
                </a:moveTo>
                <a:lnTo>
                  <a:pt x="17673" y="2400"/>
                </a:lnTo>
                <a:cubicBezTo>
                  <a:pt x="16200" y="2400"/>
                  <a:pt x="16200" y="0"/>
                  <a:pt x="14236" y="0"/>
                </a:cubicBezTo>
                <a:lnTo>
                  <a:pt x="10800" y="0"/>
                </a:lnTo>
                <a:lnTo>
                  <a:pt x="7364" y="0"/>
                </a:lnTo>
                <a:cubicBezTo>
                  <a:pt x="5400" y="0"/>
                  <a:pt x="5400" y="2400"/>
                  <a:pt x="3927" y="2400"/>
                </a:cubicBezTo>
                <a:lnTo>
                  <a:pt x="1964" y="2400"/>
                </a:lnTo>
                <a:cubicBezTo>
                  <a:pt x="879" y="2400"/>
                  <a:pt x="0" y="3475"/>
                  <a:pt x="0" y="4800"/>
                </a:cubicBezTo>
                <a:lnTo>
                  <a:pt x="0" y="19200"/>
                </a:lnTo>
                <a:cubicBezTo>
                  <a:pt x="0" y="20525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5"/>
                  <a:pt x="21600" y="19200"/>
                </a:cubicBezTo>
                <a:lnTo>
                  <a:pt x="21600" y="4800"/>
                </a:lnTo>
                <a:cubicBezTo>
                  <a:pt x="21600" y="3475"/>
                  <a:pt x="20721" y="2400"/>
                  <a:pt x="19636" y="2400"/>
                </a:cubicBezTo>
                <a:moveTo>
                  <a:pt x="18164" y="7200"/>
                </a:moveTo>
                <a:cubicBezTo>
                  <a:pt x="17892" y="7200"/>
                  <a:pt x="17673" y="6932"/>
                  <a:pt x="17673" y="6600"/>
                </a:cubicBezTo>
                <a:cubicBezTo>
                  <a:pt x="17673" y="6269"/>
                  <a:pt x="17892" y="6000"/>
                  <a:pt x="18164" y="6000"/>
                </a:cubicBezTo>
                <a:cubicBezTo>
                  <a:pt x="18435" y="6000"/>
                  <a:pt x="18655" y="6269"/>
                  <a:pt x="18655" y="6600"/>
                </a:cubicBezTo>
                <a:cubicBezTo>
                  <a:pt x="18655" y="6932"/>
                  <a:pt x="18435" y="7200"/>
                  <a:pt x="18164" y="7200"/>
                </a:cubicBezTo>
                <a:moveTo>
                  <a:pt x="18164" y="4800"/>
                </a:moveTo>
                <a:cubicBezTo>
                  <a:pt x="17351" y="4800"/>
                  <a:pt x="16691" y="5607"/>
                  <a:pt x="16691" y="6600"/>
                </a:cubicBezTo>
                <a:cubicBezTo>
                  <a:pt x="16691" y="7594"/>
                  <a:pt x="17351" y="8400"/>
                  <a:pt x="18164" y="8400"/>
                </a:cubicBezTo>
                <a:cubicBezTo>
                  <a:pt x="18977" y="8400"/>
                  <a:pt x="19636" y="7594"/>
                  <a:pt x="19636" y="6600"/>
                </a:cubicBezTo>
                <a:cubicBezTo>
                  <a:pt x="19636" y="5607"/>
                  <a:pt x="18977" y="4800"/>
                  <a:pt x="18164" y="4800"/>
                </a:cubicBezTo>
                <a:moveTo>
                  <a:pt x="18164" y="9600"/>
                </a:moveTo>
                <a:cubicBezTo>
                  <a:pt x="17892" y="9600"/>
                  <a:pt x="17673" y="9869"/>
                  <a:pt x="17673" y="10200"/>
                </a:cubicBezTo>
                <a:cubicBezTo>
                  <a:pt x="17673" y="10532"/>
                  <a:pt x="17892" y="10800"/>
                  <a:pt x="18164" y="10800"/>
                </a:cubicBezTo>
                <a:cubicBezTo>
                  <a:pt x="18435" y="10800"/>
                  <a:pt x="18655" y="10532"/>
                  <a:pt x="18655" y="10200"/>
                </a:cubicBezTo>
                <a:cubicBezTo>
                  <a:pt x="18655" y="9869"/>
                  <a:pt x="18435" y="9600"/>
                  <a:pt x="18164" y="9600"/>
                </a:cubicBezTo>
                <a:moveTo>
                  <a:pt x="10800" y="16800"/>
                </a:moveTo>
                <a:cubicBezTo>
                  <a:pt x="8631" y="16800"/>
                  <a:pt x="6873" y="14651"/>
                  <a:pt x="6873" y="12000"/>
                </a:cubicBezTo>
                <a:cubicBezTo>
                  <a:pt x="6873" y="9349"/>
                  <a:pt x="8631" y="7200"/>
                  <a:pt x="10800" y="7200"/>
                </a:cubicBezTo>
                <a:cubicBezTo>
                  <a:pt x="12969" y="7200"/>
                  <a:pt x="14727" y="9349"/>
                  <a:pt x="14727" y="12000"/>
                </a:cubicBezTo>
                <a:cubicBezTo>
                  <a:pt x="14727" y="14651"/>
                  <a:pt x="12969" y="16800"/>
                  <a:pt x="10800" y="16800"/>
                </a:cubicBezTo>
                <a:moveTo>
                  <a:pt x="10800" y="6000"/>
                </a:moveTo>
                <a:cubicBezTo>
                  <a:pt x="8088" y="6000"/>
                  <a:pt x="5891" y="8687"/>
                  <a:pt x="5891" y="12000"/>
                </a:cubicBezTo>
                <a:cubicBezTo>
                  <a:pt x="5891" y="15314"/>
                  <a:pt x="8088" y="18000"/>
                  <a:pt x="10800" y="18000"/>
                </a:cubicBezTo>
                <a:cubicBezTo>
                  <a:pt x="13512" y="18000"/>
                  <a:pt x="15709" y="15314"/>
                  <a:pt x="15709" y="12000"/>
                </a:cubicBezTo>
                <a:cubicBezTo>
                  <a:pt x="15709" y="8687"/>
                  <a:pt x="13512" y="6000"/>
                  <a:pt x="10800" y="6000"/>
                </a:cubicBezTo>
                <a:moveTo>
                  <a:pt x="10800" y="14400"/>
                </a:moveTo>
                <a:cubicBezTo>
                  <a:pt x="9716" y="14400"/>
                  <a:pt x="8836" y="13325"/>
                  <a:pt x="8836" y="12000"/>
                </a:cubicBezTo>
                <a:cubicBezTo>
                  <a:pt x="8836" y="10675"/>
                  <a:pt x="9716" y="9600"/>
                  <a:pt x="10800" y="9600"/>
                </a:cubicBezTo>
                <a:cubicBezTo>
                  <a:pt x="11884" y="9600"/>
                  <a:pt x="12764" y="10675"/>
                  <a:pt x="12764" y="12000"/>
                </a:cubicBezTo>
                <a:cubicBezTo>
                  <a:pt x="12764" y="13325"/>
                  <a:pt x="11884" y="14400"/>
                  <a:pt x="10800" y="14400"/>
                </a:cubicBezTo>
                <a:moveTo>
                  <a:pt x="10800" y="8400"/>
                </a:moveTo>
                <a:cubicBezTo>
                  <a:pt x="9173" y="8400"/>
                  <a:pt x="7855" y="10012"/>
                  <a:pt x="7855" y="12000"/>
                </a:cubicBezTo>
                <a:cubicBezTo>
                  <a:pt x="7855" y="13988"/>
                  <a:pt x="9173" y="15600"/>
                  <a:pt x="10800" y="15600"/>
                </a:cubicBezTo>
                <a:cubicBezTo>
                  <a:pt x="12426" y="15600"/>
                  <a:pt x="13745" y="13988"/>
                  <a:pt x="13745" y="12000"/>
                </a:cubicBezTo>
                <a:cubicBezTo>
                  <a:pt x="13745" y="10012"/>
                  <a:pt x="12426" y="8400"/>
                  <a:pt x="10800" y="8400"/>
                </a:cubicBezTo>
                <a:moveTo>
                  <a:pt x="8345" y="3600"/>
                </a:moveTo>
                <a:lnTo>
                  <a:pt x="13255" y="3600"/>
                </a:lnTo>
                <a:cubicBezTo>
                  <a:pt x="13526" y="3600"/>
                  <a:pt x="13745" y="3332"/>
                  <a:pt x="13745" y="3000"/>
                </a:cubicBezTo>
                <a:cubicBezTo>
                  <a:pt x="13745" y="2669"/>
                  <a:pt x="13526" y="2400"/>
                  <a:pt x="13255" y="2400"/>
                </a:cubicBezTo>
                <a:lnTo>
                  <a:pt x="8345" y="2400"/>
                </a:lnTo>
                <a:cubicBezTo>
                  <a:pt x="8074" y="2400"/>
                  <a:pt x="7855" y="2669"/>
                  <a:pt x="7855" y="3000"/>
                </a:cubicBezTo>
                <a:cubicBezTo>
                  <a:pt x="7855" y="3332"/>
                  <a:pt x="8074" y="3600"/>
                  <a:pt x="8345" y="36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6" name="Shape 2656"/>
          <p:cNvSpPr/>
          <p:nvPr/>
        </p:nvSpPr>
        <p:spPr>
          <a:xfrm>
            <a:off x="11357242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0800"/>
                </a:moveTo>
                <a:cubicBezTo>
                  <a:pt x="14186" y="10800"/>
                  <a:pt x="13745" y="11240"/>
                  <a:pt x="13745" y="11782"/>
                </a:cubicBezTo>
                <a:cubicBezTo>
                  <a:pt x="13745" y="12324"/>
                  <a:pt x="14186" y="12764"/>
                  <a:pt x="14727" y="12764"/>
                </a:cubicBezTo>
                <a:cubicBezTo>
                  <a:pt x="15269" y="12764"/>
                  <a:pt x="15709" y="12324"/>
                  <a:pt x="15709" y="11782"/>
                </a:cubicBezTo>
                <a:cubicBezTo>
                  <a:pt x="15709" y="11240"/>
                  <a:pt x="15269" y="10800"/>
                  <a:pt x="14727" y="10800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440"/>
                  <a:pt x="3927" y="982"/>
                </a:cubicBezTo>
                <a:lnTo>
                  <a:pt x="3927" y="5891"/>
                </a:lnTo>
                <a:cubicBezTo>
                  <a:pt x="3927" y="6162"/>
                  <a:pt x="4147" y="6382"/>
                  <a:pt x="4418" y="6382"/>
                </a:cubicBezTo>
                <a:cubicBezTo>
                  <a:pt x="4690" y="6382"/>
                  <a:pt x="4909" y="6162"/>
                  <a:pt x="4909" y="5891"/>
                </a:cubicBezTo>
                <a:lnTo>
                  <a:pt x="4909" y="982"/>
                </a:lnTo>
                <a:lnTo>
                  <a:pt x="20618" y="982"/>
                </a:lnTo>
                <a:lnTo>
                  <a:pt x="20618" y="12764"/>
                </a:lnTo>
                <a:lnTo>
                  <a:pt x="19145" y="12764"/>
                </a:lnTo>
                <a:cubicBezTo>
                  <a:pt x="18874" y="12764"/>
                  <a:pt x="18655" y="12984"/>
                  <a:pt x="18655" y="13255"/>
                </a:cubicBezTo>
                <a:cubicBezTo>
                  <a:pt x="18655" y="13526"/>
                  <a:pt x="18874" y="13745"/>
                  <a:pt x="19145" y="13745"/>
                </a:cubicBezTo>
                <a:lnTo>
                  <a:pt x="20618" y="13745"/>
                </a:lnTo>
                <a:lnTo>
                  <a:pt x="20618" y="16691"/>
                </a:ln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20618" y="17673"/>
                </a:lnTo>
                <a:cubicBezTo>
                  <a:pt x="21160" y="17673"/>
                  <a:pt x="21600" y="17234"/>
                  <a:pt x="21600" y="16691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14727" y="13745"/>
                </a:moveTo>
                <a:cubicBezTo>
                  <a:pt x="14456" y="13745"/>
                  <a:pt x="14236" y="13966"/>
                  <a:pt x="14236" y="14236"/>
                </a:cubicBezTo>
                <a:cubicBezTo>
                  <a:pt x="14236" y="14508"/>
                  <a:pt x="14456" y="14727"/>
                  <a:pt x="14727" y="14727"/>
                </a:cubicBezTo>
                <a:cubicBezTo>
                  <a:pt x="14999" y="14727"/>
                  <a:pt x="15218" y="14508"/>
                  <a:pt x="15218" y="14236"/>
                </a:cubicBezTo>
                <a:cubicBezTo>
                  <a:pt x="15218" y="13966"/>
                  <a:pt x="14999" y="13745"/>
                  <a:pt x="14727" y="13745"/>
                </a:cubicBezTo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0800"/>
                </a:lnTo>
                <a:cubicBezTo>
                  <a:pt x="982" y="10258"/>
                  <a:pt x="1422" y="9818"/>
                  <a:pt x="1964" y="9818"/>
                </a:cubicBezTo>
                <a:lnTo>
                  <a:pt x="3927" y="9818"/>
                </a:lnTo>
                <a:cubicBezTo>
                  <a:pt x="5891" y="9818"/>
                  <a:pt x="5891" y="7855"/>
                  <a:pt x="7364" y="7855"/>
                </a:cubicBezTo>
                <a:lnTo>
                  <a:pt x="8836" y="7855"/>
                </a:lnTo>
                <a:lnTo>
                  <a:pt x="10309" y="7855"/>
                </a:lnTo>
                <a:cubicBezTo>
                  <a:pt x="11782" y="7855"/>
                  <a:pt x="11782" y="9818"/>
                  <a:pt x="13745" y="9818"/>
                </a:cubicBezTo>
                <a:lnTo>
                  <a:pt x="15709" y="9818"/>
                </a:lnTo>
                <a:cubicBezTo>
                  <a:pt x="16251" y="9818"/>
                  <a:pt x="16691" y="10258"/>
                  <a:pt x="16691" y="10800"/>
                </a:cubicBezTo>
                <a:cubicBezTo>
                  <a:pt x="16691" y="10800"/>
                  <a:pt x="16691" y="19636"/>
                  <a:pt x="16691" y="19636"/>
                </a:cubicBezTo>
                <a:close/>
                <a:moveTo>
                  <a:pt x="15709" y="8836"/>
                </a:moveTo>
                <a:lnTo>
                  <a:pt x="13745" y="8836"/>
                </a:lnTo>
                <a:cubicBezTo>
                  <a:pt x="12273" y="8836"/>
                  <a:pt x="12273" y="6873"/>
                  <a:pt x="10309" y="6873"/>
                </a:cubicBezTo>
                <a:lnTo>
                  <a:pt x="7364" y="6873"/>
                </a:lnTo>
                <a:cubicBezTo>
                  <a:pt x="5400" y="6873"/>
                  <a:pt x="5400" y="8836"/>
                  <a:pt x="3927" y="8836"/>
                </a:cubicBezTo>
                <a:lnTo>
                  <a:pt x="1964" y="8836"/>
                </a:lnTo>
                <a:cubicBezTo>
                  <a:pt x="87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10800"/>
                </a:lnTo>
                <a:cubicBezTo>
                  <a:pt x="17673" y="9716"/>
                  <a:pt x="16794" y="8836"/>
                  <a:pt x="15709" y="8836"/>
                </a:cubicBezTo>
                <a:moveTo>
                  <a:pt x="8836" y="17673"/>
                </a:moveTo>
                <a:cubicBezTo>
                  <a:pt x="7210" y="17673"/>
                  <a:pt x="5891" y="16354"/>
                  <a:pt x="5891" y="14727"/>
                </a:cubicBezTo>
                <a:cubicBezTo>
                  <a:pt x="5891" y="13101"/>
                  <a:pt x="7210" y="11782"/>
                  <a:pt x="8836" y="11782"/>
                </a:cubicBezTo>
                <a:cubicBezTo>
                  <a:pt x="10463" y="11782"/>
                  <a:pt x="11782" y="13101"/>
                  <a:pt x="11782" y="14727"/>
                </a:cubicBezTo>
                <a:cubicBezTo>
                  <a:pt x="11782" y="16354"/>
                  <a:pt x="10463" y="17673"/>
                  <a:pt x="8836" y="17673"/>
                </a:cubicBezTo>
                <a:moveTo>
                  <a:pt x="8836" y="10800"/>
                </a:moveTo>
                <a:cubicBezTo>
                  <a:pt x="6668" y="10800"/>
                  <a:pt x="4909" y="12558"/>
                  <a:pt x="4909" y="14727"/>
                </a:cubicBezTo>
                <a:cubicBezTo>
                  <a:pt x="4909" y="16896"/>
                  <a:pt x="6668" y="18655"/>
                  <a:pt x="8836" y="18655"/>
                </a:cubicBezTo>
                <a:cubicBezTo>
                  <a:pt x="11005" y="18655"/>
                  <a:pt x="12764" y="16896"/>
                  <a:pt x="12764" y="14727"/>
                </a:cubicBezTo>
                <a:cubicBezTo>
                  <a:pt x="12764" y="12558"/>
                  <a:pt x="11005" y="10800"/>
                  <a:pt x="8836" y="10800"/>
                </a:cubicBezTo>
                <a:moveTo>
                  <a:pt x="8836" y="15709"/>
                </a:moveTo>
                <a:cubicBezTo>
                  <a:pt x="8295" y="15709"/>
                  <a:pt x="7855" y="15269"/>
                  <a:pt x="7855" y="14727"/>
                </a:cubicBezTo>
                <a:cubicBezTo>
                  <a:pt x="7855" y="14186"/>
                  <a:pt x="8295" y="13745"/>
                  <a:pt x="8836" y="13745"/>
                </a:cubicBezTo>
                <a:cubicBezTo>
                  <a:pt x="9378" y="13745"/>
                  <a:pt x="9818" y="14186"/>
                  <a:pt x="9818" y="14727"/>
                </a:cubicBezTo>
                <a:cubicBezTo>
                  <a:pt x="9818" y="15269"/>
                  <a:pt x="9378" y="15709"/>
                  <a:pt x="8836" y="15709"/>
                </a:cubicBezTo>
                <a:moveTo>
                  <a:pt x="8836" y="12764"/>
                </a:moveTo>
                <a:cubicBezTo>
                  <a:pt x="7752" y="12764"/>
                  <a:pt x="6873" y="13643"/>
                  <a:pt x="6873" y="14727"/>
                </a:cubicBezTo>
                <a:cubicBezTo>
                  <a:pt x="6873" y="15812"/>
                  <a:pt x="7752" y="16691"/>
                  <a:pt x="8836" y="16691"/>
                </a:cubicBezTo>
                <a:cubicBezTo>
                  <a:pt x="9921" y="16691"/>
                  <a:pt x="10800" y="15812"/>
                  <a:pt x="10800" y="14727"/>
                </a:cubicBezTo>
                <a:cubicBezTo>
                  <a:pt x="10800" y="13643"/>
                  <a:pt x="9921" y="12764"/>
                  <a:pt x="8836" y="127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7" name="Shape 2657"/>
          <p:cNvSpPr/>
          <p:nvPr/>
        </p:nvSpPr>
        <p:spPr>
          <a:xfrm>
            <a:off x="1758543" y="49861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4909"/>
                </a:moveTo>
                <a:lnTo>
                  <a:pt x="6873" y="4909"/>
                </a:lnTo>
                <a:lnTo>
                  <a:pt x="6873" y="3927"/>
                </a:lnTo>
                <a:lnTo>
                  <a:pt x="5891" y="3927"/>
                </a:lnTo>
                <a:cubicBezTo>
                  <a:pt x="5891" y="3927"/>
                  <a:pt x="5891" y="4909"/>
                  <a:pt x="5891" y="4909"/>
                </a:cubicBezTo>
                <a:close/>
                <a:moveTo>
                  <a:pt x="18655" y="13745"/>
                </a:moveTo>
                <a:lnTo>
                  <a:pt x="19636" y="13745"/>
                </a:lnTo>
                <a:lnTo>
                  <a:pt x="19636" y="12764"/>
                </a:lnTo>
                <a:lnTo>
                  <a:pt x="18655" y="12764"/>
                </a:lnTo>
                <a:cubicBezTo>
                  <a:pt x="18655" y="12764"/>
                  <a:pt x="18655" y="13745"/>
                  <a:pt x="18655" y="13745"/>
                </a:cubicBezTo>
                <a:close/>
                <a:moveTo>
                  <a:pt x="6873" y="1964"/>
                </a:moveTo>
                <a:lnTo>
                  <a:pt x="5891" y="1964"/>
                </a:lnTo>
                <a:lnTo>
                  <a:pt x="5891" y="2945"/>
                </a:lnTo>
                <a:lnTo>
                  <a:pt x="6873" y="2945"/>
                </a:lnTo>
                <a:cubicBezTo>
                  <a:pt x="6873" y="2945"/>
                  <a:pt x="6873" y="1964"/>
                  <a:pt x="6873" y="1964"/>
                </a:cubicBezTo>
                <a:close/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440"/>
                  <a:pt x="3927" y="982"/>
                </a:cubicBezTo>
                <a:lnTo>
                  <a:pt x="3927" y="5891"/>
                </a:lnTo>
                <a:cubicBezTo>
                  <a:pt x="3927" y="6162"/>
                  <a:pt x="4147" y="6382"/>
                  <a:pt x="4418" y="6382"/>
                </a:cubicBezTo>
                <a:cubicBezTo>
                  <a:pt x="4689" y="6382"/>
                  <a:pt x="4909" y="6162"/>
                  <a:pt x="4909" y="5891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7855" y="982"/>
                </a:lnTo>
                <a:lnTo>
                  <a:pt x="7855" y="5400"/>
                </a:lnTo>
                <a:cubicBezTo>
                  <a:pt x="7855" y="5671"/>
                  <a:pt x="8075" y="5891"/>
                  <a:pt x="8345" y="5891"/>
                </a:cubicBezTo>
                <a:cubicBezTo>
                  <a:pt x="8616" y="5891"/>
                  <a:pt x="8836" y="5671"/>
                  <a:pt x="8836" y="5400"/>
                </a:cubicBezTo>
                <a:lnTo>
                  <a:pt x="8836" y="982"/>
                </a:lnTo>
                <a:lnTo>
                  <a:pt x="16691" y="982"/>
                </a:lnTo>
                <a:lnTo>
                  <a:pt x="16691" y="7364"/>
                </a:lnTo>
                <a:cubicBezTo>
                  <a:pt x="16691" y="7635"/>
                  <a:pt x="16911" y="7855"/>
                  <a:pt x="17182" y="7855"/>
                </a:cubicBezTo>
                <a:cubicBezTo>
                  <a:pt x="17453" y="7855"/>
                  <a:pt x="17673" y="7635"/>
                  <a:pt x="17673" y="7364"/>
                </a:cubicBez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8345"/>
                </a:lnTo>
                <a:lnTo>
                  <a:pt x="19145" y="8345"/>
                </a:lnTo>
                <a:cubicBezTo>
                  <a:pt x="18875" y="8345"/>
                  <a:pt x="18655" y="8566"/>
                  <a:pt x="18655" y="8836"/>
                </a:cubicBezTo>
                <a:cubicBezTo>
                  <a:pt x="18655" y="9108"/>
                  <a:pt x="18875" y="9327"/>
                  <a:pt x="19145" y="9327"/>
                </a:cubicBezTo>
                <a:lnTo>
                  <a:pt x="20618" y="9327"/>
                </a:lnTo>
                <a:lnTo>
                  <a:pt x="20618" y="15709"/>
                </a:lnTo>
                <a:cubicBezTo>
                  <a:pt x="20618" y="16252"/>
                  <a:pt x="20179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1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145" y="17673"/>
                </a:lnTo>
                <a:lnTo>
                  <a:pt x="19636" y="17673"/>
                </a:lnTo>
                <a:lnTo>
                  <a:pt x="19636" y="17673"/>
                </a:lnTo>
                <a:lnTo>
                  <a:pt x="20618" y="17673"/>
                </a:lnTo>
                <a:cubicBezTo>
                  <a:pt x="21160" y="17673"/>
                  <a:pt x="21600" y="17233"/>
                  <a:pt x="21600" y="16691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19636" y="10800"/>
                </a:moveTo>
                <a:lnTo>
                  <a:pt x="18655" y="10800"/>
                </a:lnTo>
                <a:lnTo>
                  <a:pt x="18655" y="11782"/>
                </a:lnTo>
                <a:lnTo>
                  <a:pt x="19636" y="11782"/>
                </a:lnTo>
                <a:cubicBezTo>
                  <a:pt x="19636" y="11782"/>
                  <a:pt x="19636" y="10800"/>
                  <a:pt x="19636" y="10800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15709"/>
                </a:moveTo>
                <a:lnTo>
                  <a:pt x="19636" y="15709"/>
                </a:lnTo>
                <a:lnTo>
                  <a:pt x="19636" y="14727"/>
                </a:lnTo>
                <a:lnTo>
                  <a:pt x="18655" y="14727"/>
                </a:lnTo>
                <a:cubicBezTo>
                  <a:pt x="18655" y="14727"/>
                  <a:pt x="18655" y="15709"/>
                  <a:pt x="18655" y="15709"/>
                </a:cubicBezTo>
                <a:close/>
                <a:moveTo>
                  <a:pt x="19636" y="1964"/>
                </a:moveTo>
                <a:lnTo>
                  <a:pt x="18655" y="1964"/>
                </a:lnTo>
                <a:lnTo>
                  <a:pt x="18655" y="2945"/>
                </a:lnTo>
                <a:lnTo>
                  <a:pt x="19636" y="2945"/>
                </a:lnTo>
                <a:cubicBezTo>
                  <a:pt x="19636" y="2945"/>
                  <a:pt x="19636" y="1964"/>
                  <a:pt x="19636" y="1964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8836" y="17673"/>
                </a:moveTo>
                <a:cubicBezTo>
                  <a:pt x="7210" y="17673"/>
                  <a:pt x="5891" y="16354"/>
                  <a:pt x="5891" y="14727"/>
                </a:cubicBezTo>
                <a:cubicBezTo>
                  <a:pt x="5891" y="13101"/>
                  <a:pt x="7210" y="11782"/>
                  <a:pt x="8836" y="11782"/>
                </a:cubicBezTo>
                <a:cubicBezTo>
                  <a:pt x="10463" y="11782"/>
                  <a:pt x="11782" y="13101"/>
                  <a:pt x="11782" y="14727"/>
                </a:cubicBezTo>
                <a:cubicBezTo>
                  <a:pt x="11782" y="16354"/>
                  <a:pt x="10463" y="17673"/>
                  <a:pt x="8836" y="17673"/>
                </a:cubicBezTo>
                <a:moveTo>
                  <a:pt x="8836" y="10800"/>
                </a:moveTo>
                <a:cubicBezTo>
                  <a:pt x="6667" y="10800"/>
                  <a:pt x="4909" y="12558"/>
                  <a:pt x="4909" y="14727"/>
                </a:cubicBezTo>
                <a:cubicBezTo>
                  <a:pt x="4909" y="16897"/>
                  <a:pt x="6667" y="18655"/>
                  <a:pt x="8836" y="18655"/>
                </a:cubicBezTo>
                <a:cubicBezTo>
                  <a:pt x="11006" y="18655"/>
                  <a:pt x="12764" y="16897"/>
                  <a:pt x="12764" y="14727"/>
                </a:cubicBezTo>
                <a:cubicBezTo>
                  <a:pt x="12764" y="12558"/>
                  <a:pt x="11006" y="10800"/>
                  <a:pt x="8836" y="10800"/>
                </a:cubicBezTo>
                <a:moveTo>
                  <a:pt x="8836" y="15709"/>
                </a:moveTo>
                <a:cubicBezTo>
                  <a:pt x="8294" y="15709"/>
                  <a:pt x="7855" y="15269"/>
                  <a:pt x="7855" y="14727"/>
                </a:cubicBezTo>
                <a:cubicBezTo>
                  <a:pt x="7855" y="14185"/>
                  <a:pt x="8294" y="13745"/>
                  <a:pt x="8836" y="13745"/>
                </a:cubicBezTo>
                <a:cubicBezTo>
                  <a:pt x="9378" y="13745"/>
                  <a:pt x="9818" y="14185"/>
                  <a:pt x="9818" y="14727"/>
                </a:cubicBezTo>
                <a:cubicBezTo>
                  <a:pt x="9818" y="15269"/>
                  <a:pt x="9378" y="15709"/>
                  <a:pt x="8836" y="15709"/>
                </a:cubicBezTo>
                <a:moveTo>
                  <a:pt x="8836" y="12764"/>
                </a:moveTo>
                <a:cubicBezTo>
                  <a:pt x="7752" y="12764"/>
                  <a:pt x="6873" y="13643"/>
                  <a:pt x="6873" y="14727"/>
                </a:cubicBezTo>
                <a:cubicBezTo>
                  <a:pt x="6873" y="15812"/>
                  <a:pt x="7752" y="16691"/>
                  <a:pt x="8836" y="16691"/>
                </a:cubicBezTo>
                <a:cubicBezTo>
                  <a:pt x="9921" y="16691"/>
                  <a:pt x="10800" y="15812"/>
                  <a:pt x="10800" y="14727"/>
                </a:cubicBezTo>
                <a:cubicBezTo>
                  <a:pt x="10800" y="13643"/>
                  <a:pt x="9921" y="12764"/>
                  <a:pt x="8836" y="12764"/>
                </a:cubicBezTo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0800"/>
                </a:lnTo>
                <a:cubicBezTo>
                  <a:pt x="982" y="10258"/>
                  <a:pt x="1422" y="9818"/>
                  <a:pt x="1964" y="9818"/>
                </a:cubicBezTo>
                <a:lnTo>
                  <a:pt x="3927" y="9818"/>
                </a:lnTo>
                <a:cubicBezTo>
                  <a:pt x="5891" y="9818"/>
                  <a:pt x="5891" y="7855"/>
                  <a:pt x="7364" y="7855"/>
                </a:cubicBezTo>
                <a:lnTo>
                  <a:pt x="8836" y="7855"/>
                </a:lnTo>
                <a:lnTo>
                  <a:pt x="10309" y="7855"/>
                </a:lnTo>
                <a:cubicBezTo>
                  <a:pt x="11782" y="7855"/>
                  <a:pt x="11782" y="9818"/>
                  <a:pt x="13745" y="9818"/>
                </a:cubicBezTo>
                <a:lnTo>
                  <a:pt x="15709" y="9818"/>
                </a:lnTo>
                <a:cubicBezTo>
                  <a:pt x="16251" y="9818"/>
                  <a:pt x="16691" y="10258"/>
                  <a:pt x="16691" y="10800"/>
                </a:cubicBezTo>
                <a:cubicBezTo>
                  <a:pt x="16691" y="10800"/>
                  <a:pt x="16691" y="19636"/>
                  <a:pt x="16691" y="19636"/>
                </a:cubicBezTo>
                <a:close/>
                <a:moveTo>
                  <a:pt x="15709" y="8836"/>
                </a:moveTo>
                <a:lnTo>
                  <a:pt x="13745" y="8836"/>
                </a:lnTo>
                <a:cubicBezTo>
                  <a:pt x="12273" y="8836"/>
                  <a:pt x="12273" y="6873"/>
                  <a:pt x="10309" y="6873"/>
                </a:cubicBezTo>
                <a:lnTo>
                  <a:pt x="7364" y="6873"/>
                </a:lnTo>
                <a:cubicBezTo>
                  <a:pt x="5400" y="6873"/>
                  <a:pt x="5400" y="8836"/>
                  <a:pt x="3927" y="8836"/>
                </a:cubicBezTo>
                <a:lnTo>
                  <a:pt x="1964" y="8836"/>
                </a:lnTo>
                <a:cubicBezTo>
                  <a:pt x="87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10800"/>
                </a:lnTo>
                <a:cubicBezTo>
                  <a:pt x="17673" y="9716"/>
                  <a:pt x="16794" y="8836"/>
                  <a:pt x="15709" y="8836"/>
                </a:cubicBezTo>
                <a:moveTo>
                  <a:pt x="14727" y="10800"/>
                </a:moveTo>
                <a:cubicBezTo>
                  <a:pt x="14185" y="10800"/>
                  <a:pt x="13745" y="11240"/>
                  <a:pt x="13745" y="11782"/>
                </a:cubicBezTo>
                <a:cubicBezTo>
                  <a:pt x="13745" y="12324"/>
                  <a:pt x="14185" y="12764"/>
                  <a:pt x="14727" y="12764"/>
                </a:cubicBezTo>
                <a:cubicBezTo>
                  <a:pt x="15269" y="12764"/>
                  <a:pt x="15709" y="12324"/>
                  <a:pt x="15709" y="11782"/>
                </a:cubicBezTo>
                <a:cubicBezTo>
                  <a:pt x="15709" y="11240"/>
                  <a:pt x="15269" y="10800"/>
                  <a:pt x="14727" y="10800"/>
                </a:cubicBezTo>
                <a:moveTo>
                  <a:pt x="14727" y="13745"/>
                </a:moveTo>
                <a:cubicBezTo>
                  <a:pt x="14456" y="13745"/>
                  <a:pt x="14236" y="13966"/>
                  <a:pt x="14236" y="14236"/>
                </a:cubicBezTo>
                <a:cubicBezTo>
                  <a:pt x="14236" y="14508"/>
                  <a:pt x="14456" y="14727"/>
                  <a:pt x="14727" y="14727"/>
                </a:cubicBezTo>
                <a:cubicBezTo>
                  <a:pt x="14998" y="14727"/>
                  <a:pt x="15218" y="14508"/>
                  <a:pt x="15218" y="14236"/>
                </a:cubicBezTo>
                <a:cubicBezTo>
                  <a:pt x="15218" y="13966"/>
                  <a:pt x="14998" y="13745"/>
                  <a:pt x="14727" y="137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8" name="Shape 2658"/>
          <p:cNvSpPr/>
          <p:nvPr/>
        </p:nvSpPr>
        <p:spPr>
          <a:xfrm>
            <a:off x="2825064" y="49861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3745"/>
                </a:moveTo>
                <a:cubicBezTo>
                  <a:pt x="16420" y="13745"/>
                  <a:pt x="16200" y="13966"/>
                  <a:pt x="16200" y="14236"/>
                </a:cubicBezTo>
                <a:cubicBezTo>
                  <a:pt x="16200" y="14508"/>
                  <a:pt x="16420" y="14727"/>
                  <a:pt x="16691" y="14727"/>
                </a:cubicBezTo>
                <a:cubicBezTo>
                  <a:pt x="16962" y="14727"/>
                  <a:pt x="17182" y="14508"/>
                  <a:pt x="17182" y="14236"/>
                </a:cubicBezTo>
                <a:cubicBezTo>
                  <a:pt x="17182" y="13966"/>
                  <a:pt x="16962" y="13745"/>
                  <a:pt x="16691" y="13745"/>
                </a:cubicBezTo>
                <a:moveTo>
                  <a:pt x="16691" y="10800"/>
                </a:moveTo>
                <a:cubicBezTo>
                  <a:pt x="16149" y="10800"/>
                  <a:pt x="15709" y="11240"/>
                  <a:pt x="15709" y="11782"/>
                </a:cubicBezTo>
                <a:cubicBezTo>
                  <a:pt x="15709" y="12325"/>
                  <a:pt x="16149" y="12764"/>
                  <a:pt x="16691" y="12764"/>
                </a:cubicBezTo>
                <a:cubicBezTo>
                  <a:pt x="17233" y="12764"/>
                  <a:pt x="17673" y="12325"/>
                  <a:pt x="17673" y="11782"/>
                </a:cubicBezTo>
                <a:cubicBezTo>
                  <a:pt x="17673" y="11240"/>
                  <a:pt x="17233" y="10800"/>
                  <a:pt x="16691" y="10800"/>
                </a:cubicBezTo>
                <a:moveTo>
                  <a:pt x="14236" y="5891"/>
                </a:moveTo>
                <a:lnTo>
                  <a:pt x="17960" y="5891"/>
                </a:lnTo>
                <a:lnTo>
                  <a:pt x="16835" y="7017"/>
                </a:lnTo>
                <a:cubicBezTo>
                  <a:pt x="16746" y="7106"/>
                  <a:pt x="16691" y="7229"/>
                  <a:pt x="16691" y="7364"/>
                </a:cubicBezTo>
                <a:cubicBezTo>
                  <a:pt x="16691" y="7635"/>
                  <a:pt x="16911" y="7855"/>
                  <a:pt x="17182" y="7855"/>
                </a:cubicBezTo>
                <a:cubicBezTo>
                  <a:pt x="17317" y="7855"/>
                  <a:pt x="17440" y="7800"/>
                  <a:pt x="17529" y="7711"/>
                </a:cubicBezTo>
                <a:lnTo>
                  <a:pt x="19493" y="5748"/>
                </a:lnTo>
                <a:cubicBezTo>
                  <a:pt x="19581" y="5658"/>
                  <a:pt x="19636" y="5536"/>
                  <a:pt x="19636" y="5400"/>
                </a:cubicBezTo>
                <a:cubicBezTo>
                  <a:pt x="19636" y="5265"/>
                  <a:pt x="19581" y="5142"/>
                  <a:pt x="19493" y="5053"/>
                </a:cubicBezTo>
                <a:lnTo>
                  <a:pt x="17529" y="3089"/>
                </a:lnTo>
                <a:cubicBezTo>
                  <a:pt x="17440" y="3001"/>
                  <a:pt x="17317" y="2945"/>
                  <a:pt x="17182" y="2945"/>
                </a:cubicBezTo>
                <a:cubicBezTo>
                  <a:pt x="16911" y="2945"/>
                  <a:pt x="16691" y="3166"/>
                  <a:pt x="16691" y="3436"/>
                </a:cubicBezTo>
                <a:cubicBezTo>
                  <a:pt x="16691" y="3572"/>
                  <a:pt x="16746" y="3695"/>
                  <a:pt x="16835" y="3784"/>
                </a:cubicBezTo>
                <a:lnTo>
                  <a:pt x="17960" y="4909"/>
                </a:lnTo>
                <a:lnTo>
                  <a:pt x="14236" y="4909"/>
                </a:lnTo>
                <a:cubicBezTo>
                  <a:pt x="13966" y="4909"/>
                  <a:pt x="13745" y="5129"/>
                  <a:pt x="13745" y="5400"/>
                </a:cubicBezTo>
                <a:cubicBezTo>
                  <a:pt x="13745" y="5672"/>
                  <a:pt x="13966" y="5891"/>
                  <a:pt x="14236" y="5891"/>
                </a:cubicBezTo>
                <a:moveTo>
                  <a:pt x="10800" y="15709"/>
                </a:moveTo>
                <a:cubicBezTo>
                  <a:pt x="10258" y="15709"/>
                  <a:pt x="9818" y="15269"/>
                  <a:pt x="9818" y="14727"/>
                </a:cubicBezTo>
                <a:cubicBezTo>
                  <a:pt x="9818" y="14186"/>
                  <a:pt x="10258" y="13745"/>
                  <a:pt x="10800" y="13745"/>
                </a:cubicBezTo>
                <a:cubicBezTo>
                  <a:pt x="11342" y="13745"/>
                  <a:pt x="11782" y="14186"/>
                  <a:pt x="11782" y="14727"/>
                </a:cubicBezTo>
                <a:cubicBezTo>
                  <a:pt x="11782" y="15269"/>
                  <a:pt x="11342" y="15709"/>
                  <a:pt x="10800" y="15709"/>
                </a:cubicBezTo>
                <a:moveTo>
                  <a:pt x="10800" y="12764"/>
                </a:moveTo>
                <a:cubicBezTo>
                  <a:pt x="9716" y="12764"/>
                  <a:pt x="8836" y="13643"/>
                  <a:pt x="8836" y="14727"/>
                </a:cubicBezTo>
                <a:cubicBezTo>
                  <a:pt x="8836" y="15812"/>
                  <a:pt x="9716" y="16691"/>
                  <a:pt x="10800" y="16691"/>
                </a:cubicBezTo>
                <a:cubicBezTo>
                  <a:pt x="11884" y="16691"/>
                  <a:pt x="12764" y="15812"/>
                  <a:pt x="12764" y="14727"/>
                </a:cubicBezTo>
                <a:cubicBezTo>
                  <a:pt x="12764" y="13643"/>
                  <a:pt x="11884" y="12764"/>
                  <a:pt x="10800" y="12764"/>
                </a:cubicBezTo>
                <a:moveTo>
                  <a:pt x="4071" y="7711"/>
                </a:moveTo>
                <a:cubicBezTo>
                  <a:pt x="4160" y="7800"/>
                  <a:pt x="4283" y="7855"/>
                  <a:pt x="4418" y="7855"/>
                </a:cubicBezTo>
                <a:cubicBezTo>
                  <a:pt x="4689" y="7855"/>
                  <a:pt x="4909" y="7635"/>
                  <a:pt x="4909" y="7364"/>
                </a:cubicBezTo>
                <a:cubicBezTo>
                  <a:pt x="4909" y="7229"/>
                  <a:pt x="4854" y="7106"/>
                  <a:pt x="4765" y="7017"/>
                </a:cubicBezTo>
                <a:lnTo>
                  <a:pt x="3640" y="5891"/>
                </a:lnTo>
                <a:lnTo>
                  <a:pt x="7364" y="5891"/>
                </a:lnTo>
                <a:cubicBezTo>
                  <a:pt x="7634" y="5891"/>
                  <a:pt x="7855" y="5672"/>
                  <a:pt x="7855" y="5400"/>
                </a:cubicBezTo>
                <a:cubicBezTo>
                  <a:pt x="7855" y="5129"/>
                  <a:pt x="7634" y="4909"/>
                  <a:pt x="7364" y="4909"/>
                </a:cubicBezTo>
                <a:lnTo>
                  <a:pt x="3640" y="4909"/>
                </a:lnTo>
                <a:lnTo>
                  <a:pt x="4765" y="3784"/>
                </a:lnTo>
                <a:cubicBezTo>
                  <a:pt x="4854" y="3695"/>
                  <a:pt x="4909" y="3572"/>
                  <a:pt x="4909" y="3436"/>
                </a:cubicBezTo>
                <a:cubicBezTo>
                  <a:pt x="4909" y="3166"/>
                  <a:pt x="4689" y="2945"/>
                  <a:pt x="4418" y="2945"/>
                </a:cubicBezTo>
                <a:cubicBezTo>
                  <a:pt x="4283" y="2945"/>
                  <a:pt x="4160" y="3001"/>
                  <a:pt x="4071" y="3089"/>
                </a:cubicBezTo>
                <a:lnTo>
                  <a:pt x="2107" y="5053"/>
                </a:lnTo>
                <a:cubicBezTo>
                  <a:pt x="2019" y="5142"/>
                  <a:pt x="1964" y="5265"/>
                  <a:pt x="1964" y="5400"/>
                </a:cubicBezTo>
                <a:cubicBezTo>
                  <a:pt x="1964" y="5536"/>
                  <a:pt x="2019" y="5658"/>
                  <a:pt x="2107" y="5748"/>
                </a:cubicBezTo>
                <a:cubicBezTo>
                  <a:pt x="2107" y="5748"/>
                  <a:pt x="4071" y="7711"/>
                  <a:pt x="4071" y="7711"/>
                </a:cubicBezTo>
                <a:close/>
                <a:moveTo>
                  <a:pt x="20618" y="15709"/>
                </a:moveTo>
                <a:lnTo>
                  <a:pt x="19636" y="15709"/>
                </a:lnTo>
                <a:lnTo>
                  <a:pt x="19636" y="10800"/>
                </a:lnTo>
                <a:cubicBezTo>
                  <a:pt x="19636" y="9716"/>
                  <a:pt x="18757" y="8836"/>
                  <a:pt x="17673" y="8836"/>
                </a:cubicBezTo>
                <a:lnTo>
                  <a:pt x="15709" y="8836"/>
                </a:lnTo>
                <a:cubicBezTo>
                  <a:pt x="14236" y="8836"/>
                  <a:pt x="14236" y="6873"/>
                  <a:pt x="12273" y="6873"/>
                </a:cubicBezTo>
                <a:lnTo>
                  <a:pt x="9327" y="6873"/>
                </a:lnTo>
                <a:cubicBezTo>
                  <a:pt x="7364" y="6873"/>
                  <a:pt x="7364" y="8836"/>
                  <a:pt x="5891" y="8836"/>
                </a:cubicBezTo>
                <a:lnTo>
                  <a:pt x="3927" y="8836"/>
                </a:lnTo>
                <a:cubicBezTo>
                  <a:pt x="2843" y="8836"/>
                  <a:pt x="1964" y="9716"/>
                  <a:pt x="1964" y="10800"/>
                </a:cubicBezTo>
                <a:lnTo>
                  <a:pt x="1964" y="15709"/>
                </a:ln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15709"/>
                  <a:pt x="20618" y="15709"/>
                </a:cubicBezTo>
                <a:close/>
                <a:moveTo>
                  <a:pt x="18655" y="19636"/>
                </a:moveTo>
                <a:cubicBezTo>
                  <a:pt x="18655" y="20178"/>
                  <a:pt x="18215" y="20618"/>
                  <a:pt x="17673" y="20618"/>
                </a:cubicBezTo>
                <a:lnTo>
                  <a:pt x="3927" y="20618"/>
                </a:lnTo>
                <a:cubicBezTo>
                  <a:pt x="3385" y="20618"/>
                  <a:pt x="2945" y="20178"/>
                  <a:pt x="2945" y="19636"/>
                </a:cubicBezTo>
                <a:lnTo>
                  <a:pt x="2945" y="10800"/>
                </a:lnTo>
                <a:cubicBezTo>
                  <a:pt x="2945" y="10258"/>
                  <a:pt x="3385" y="9818"/>
                  <a:pt x="3927" y="9818"/>
                </a:cubicBezTo>
                <a:lnTo>
                  <a:pt x="5891" y="9818"/>
                </a:lnTo>
                <a:cubicBezTo>
                  <a:pt x="7855" y="9818"/>
                  <a:pt x="7855" y="7855"/>
                  <a:pt x="9327" y="7855"/>
                </a:cubicBezTo>
                <a:lnTo>
                  <a:pt x="10800" y="7855"/>
                </a:lnTo>
                <a:lnTo>
                  <a:pt x="12273" y="7855"/>
                </a:lnTo>
                <a:cubicBezTo>
                  <a:pt x="13745" y="7855"/>
                  <a:pt x="13745" y="9818"/>
                  <a:pt x="15709" y="9818"/>
                </a:cubicBezTo>
                <a:lnTo>
                  <a:pt x="17673" y="9818"/>
                </a:lnTo>
                <a:cubicBezTo>
                  <a:pt x="18215" y="9818"/>
                  <a:pt x="18655" y="10258"/>
                  <a:pt x="18655" y="10800"/>
                </a:cubicBezTo>
                <a:cubicBezTo>
                  <a:pt x="18655" y="10800"/>
                  <a:pt x="18655" y="19636"/>
                  <a:pt x="18655" y="19636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5709"/>
                </a:lnTo>
                <a:cubicBezTo>
                  <a:pt x="0" y="16252"/>
                  <a:pt x="440" y="16691"/>
                  <a:pt x="982" y="16691"/>
                </a:cubicBezTo>
                <a:lnTo>
                  <a:pt x="1964" y="16691"/>
                </a:lnTo>
                <a:lnTo>
                  <a:pt x="1964" y="19636"/>
                </a:lnTo>
                <a:cubicBezTo>
                  <a:pt x="1964" y="20721"/>
                  <a:pt x="2843" y="21600"/>
                  <a:pt x="3927" y="21600"/>
                </a:cubicBezTo>
                <a:lnTo>
                  <a:pt x="17673" y="21600"/>
                </a:lnTo>
                <a:cubicBezTo>
                  <a:pt x="18757" y="21600"/>
                  <a:pt x="19636" y="20721"/>
                  <a:pt x="19636" y="19636"/>
                </a:cubicBezTo>
                <a:lnTo>
                  <a:pt x="19636" y="16691"/>
                </a:lnTo>
                <a:lnTo>
                  <a:pt x="20618" y="16691"/>
                </a:lnTo>
                <a:cubicBezTo>
                  <a:pt x="21160" y="16691"/>
                  <a:pt x="21600" y="16252"/>
                  <a:pt x="21600" y="15709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10800" y="17673"/>
                </a:moveTo>
                <a:cubicBezTo>
                  <a:pt x="9173" y="17673"/>
                  <a:pt x="7855" y="16354"/>
                  <a:pt x="7855" y="14727"/>
                </a:cubicBezTo>
                <a:cubicBezTo>
                  <a:pt x="7855" y="13101"/>
                  <a:pt x="9173" y="11782"/>
                  <a:pt x="10800" y="11782"/>
                </a:cubicBezTo>
                <a:cubicBezTo>
                  <a:pt x="12427" y="11782"/>
                  <a:pt x="13745" y="13101"/>
                  <a:pt x="13745" y="14727"/>
                </a:cubicBezTo>
                <a:cubicBezTo>
                  <a:pt x="13745" y="16354"/>
                  <a:pt x="12427" y="17673"/>
                  <a:pt x="10800" y="17673"/>
                </a:cubicBezTo>
                <a:moveTo>
                  <a:pt x="10800" y="10800"/>
                </a:moveTo>
                <a:cubicBezTo>
                  <a:pt x="8631" y="10800"/>
                  <a:pt x="6873" y="12558"/>
                  <a:pt x="6873" y="14727"/>
                </a:cubicBezTo>
                <a:cubicBezTo>
                  <a:pt x="6873" y="16897"/>
                  <a:pt x="8631" y="18655"/>
                  <a:pt x="10800" y="18655"/>
                </a:cubicBezTo>
                <a:cubicBezTo>
                  <a:pt x="12969" y="18655"/>
                  <a:pt x="14727" y="16897"/>
                  <a:pt x="14727" y="14727"/>
                </a:cubicBezTo>
                <a:cubicBezTo>
                  <a:pt x="14727" y="12558"/>
                  <a:pt x="12969" y="10800"/>
                  <a:pt x="10800" y="10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59" name="Shape 2659"/>
          <p:cNvSpPr/>
          <p:nvPr/>
        </p:nvSpPr>
        <p:spPr>
          <a:xfrm>
            <a:off x="3891587" y="49861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7855"/>
                </a:moveTo>
                <a:cubicBezTo>
                  <a:pt x="16052" y="7855"/>
                  <a:pt x="16376" y="7925"/>
                  <a:pt x="16682" y="8033"/>
                </a:cubicBezTo>
                <a:cubicBezTo>
                  <a:pt x="16684" y="7973"/>
                  <a:pt x="16691" y="7915"/>
                  <a:pt x="16691" y="7855"/>
                </a:cubicBezTo>
                <a:cubicBezTo>
                  <a:pt x="16691" y="5686"/>
                  <a:pt x="14932" y="3927"/>
                  <a:pt x="12764" y="3927"/>
                </a:cubicBezTo>
                <a:cubicBezTo>
                  <a:pt x="11311" y="3927"/>
                  <a:pt x="10045" y="4718"/>
                  <a:pt x="9366" y="5891"/>
                </a:cubicBezTo>
                <a:lnTo>
                  <a:pt x="10309" y="5891"/>
                </a:lnTo>
                <a:cubicBezTo>
                  <a:pt x="10401" y="5891"/>
                  <a:pt x="10481" y="5904"/>
                  <a:pt x="10567" y="5910"/>
                </a:cubicBezTo>
                <a:cubicBezTo>
                  <a:pt x="11107" y="5301"/>
                  <a:pt x="11886" y="4909"/>
                  <a:pt x="12764" y="4909"/>
                </a:cubicBezTo>
                <a:cubicBezTo>
                  <a:pt x="14390" y="4909"/>
                  <a:pt x="15709" y="6228"/>
                  <a:pt x="15709" y="7855"/>
                </a:cubicBezTo>
                <a:moveTo>
                  <a:pt x="11716" y="6199"/>
                </a:moveTo>
                <a:cubicBezTo>
                  <a:pt x="12102" y="6387"/>
                  <a:pt x="12403" y="6637"/>
                  <a:pt x="12649" y="6884"/>
                </a:cubicBezTo>
                <a:cubicBezTo>
                  <a:pt x="12687" y="6880"/>
                  <a:pt x="12724" y="6873"/>
                  <a:pt x="12764" y="6873"/>
                </a:cubicBezTo>
                <a:cubicBezTo>
                  <a:pt x="13306" y="6873"/>
                  <a:pt x="13745" y="7313"/>
                  <a:pt x="13745" y="7855"/>
                </a:cubicBezTo>
                <a:lnTo>
                  <a:pt x="14727" y="7855"/>
                </a:lnTo>
                <a:cubicBezTo>
                  <a:pt x="14727" y="6770"/>
                  <a:pt x="13848" y="5891"/>
                  <a:pt x="12764" y="5891"/>
                </a:cubicBezTo>
                <a:cubicBezTo>
                  <a:pt x="12377" y="5891"/>
                  <a:pt x="12020" y="6006"/>
                  <a:pt x="11716" y="6199"/>
                </a:cubicBezTo>
                <a:moveTo>
                  <a:pt x="19636" y="1964"/>
                </a:moveTo>
                <a:lnTo>
                  <a:pt x="17673" y="1964"/>
                </a:lnTo>
                <a:cubicBezTo>
                  <a:pt x="16200" y="1964"/>
                  <a:pt x="16200" y="0"/>
                  <a:pt x="14236" y="0"/>
                </a:cubicBezTo>
                <a:lnTo>
                  <a:pt x="11291" y="0"/>
                </a:lnTo>
                <a:cubicBezTo>
                  <a:pt x="9327" y="0"/>
                  <a:pt x="9327" y="1964"/>
                  <a:pt x="7855" y="1964"/>
                </a:cubicBezTo>
                <a:lnTo>
                  <a:pt x="5891" y="1964"/>
                </a:lnTo>
                <a:cubicBezTo>
                  <a:pt x="4806" y="1964"/>
                  <a:pt x="3927" y="2843"/>
                  <a:pt x="3927" y="3927"/>
                </a:cubicBezTo>
                <a:lnTo>
                  <a:pt x="3927" y="7855"/>
                </a:lnTo>
                <a:cubicBezTo>
                  <a:pt x="4125" y="7855"/>
                  <a:pt x="4236" y="7769"/>
                  <a:pt x="4627" y="7318"/>
                </a:cubicBezTo>
                <a:cubicBezTo>
                  <a:pt x="4712" y="7220"/>
                  <a:pt x="4807" y="7113"/>
                  <a:pt x="4909" y="7005"/>
                </a:cubicBezTo>
                <a:lnTo>
                  <a:pt x="4909" y="3927"/>
                </a:lnTo>
                <a:cubicBezTo>
                  <a:pt x="4909" y="3386"/>
                  <a:pt x="5349" y="2945"/>
                  <a:pt x="5891" y="2945"/>
                </a:cubicBezTo>
                <a:lnTo>
                  <a:pt x="7855" y="2945"/>
                </a:lnTo>
                <a:cubicBezTo>
                  <a:pt x="9818" y="2945"/>
                  <a:pt x="9818" y="982"/>
                  <a:pt x="11291" y="982"/>
                </a:cubicBezTo>
                <a:lnTo>
                  <a:pt x="12764" y="982"/>
                </a:lnTo>
                <a:lnTo>
                  <a:pt x="14236" y="982"/>
                </a:lnTo>
                <a:cubicBezTo>
                  <a:pt x="15709" y="982"/>
                  <a:pt x="15709" y="2945"/>
                  <a:pt x="17673" y="2945"/>
                </a:cubicBezTo>
                <a:lnTo>
                  <a:pt x="19636" y="2945"/>
                </a:lnTo>
                <a:cubicBezTo>
                  <a:pt x="20178" y="2945"/>
                  <a:pt x="20618" y="3386"/>
                  <a:pt x="20618" y="3927"/>
                </a:cubicBezTo>
                <a:lnTo>
                  <a:pt x="20618" y="12764"/>
                </a:lnTo>
                <a:cubicBezTo>
                  <a:pt x="20618" y="13306"/>
                  <a:pt x="20178" y="13745"/>
                  <a:pt x="19636" y="13745"/>
                </a:cubicBezTo>
                <a:lnTo>
                  <a:pt x="18655" y="13745"/>
                </a:lnTo>
                <a:lnTo>
                  <a:pt x="18655" y="14727"/>
                </a:lnTo>
                <a:lnTo>
                  <a:pt x="19636" y="14727"/>
                </a:lnTo>
                <a:cubicBezTo>
                  <a:pt x="20721" y="14727"/>
                  <a:pt x="21600" y="13849"/>
                  <a:pt x="21600" y="12764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0800"/>
                </a:lnTo>
                <a:cubicBezTo>
                  <a:pt x="982" y="10258"/>
                  <a:pt x="1422" y="9818"/>
                  <a:pt x="1964" y="9818"/>
                </a:cubicBezTo>
                <a:lnTo>
                  <a:pt x="3927" y="9818"/>
                </a:lnTo>
                <a:cubicBezTo>
                  <a:pt x="5891" y="9818"/>
                  <a:pt x="5891" y="7855"/>
                  <a:pt x="7364" y="7855"/>
                </a:cubicBezTo>
                <a:lnTo>
                  <a:pt x="8836" y="7855"/>
                </a:lnTo>
                <a:lnTo>
                  <a:pt x="10309" y="7855"/>
                </a:lnTo>
                <a:cubicBezTo>
                  <a:pt x="11782" y="7855"/>
                  <a:pt x="11782" y="9818"/>
                  <a:pt x="13745" y="9818"/>
                </a:cubicBezTo>
                <a:lnTo>
                  <a:pt x="15709" y="9818"/>
                </a:lnTo>
                <a:cubicBezTo>
                  <a:pt x="16251" y="9818"/>
                  <a:pt x="16691" y="10258"/>
                  <a:pt x="16691" y="10800"/>
                </a:cubicBezTo>
                <a:cubicBezTo>
                  <a:pt x="16691" y="10800"/>
                  <a:pt x="16691" y="19636"/>
                  <a:pt x="16691" y="19636"/>
                </a:cubicBezTo>
                <a:close/>
                <a:moveTo>
                  <a:pt x="15709" y="8836"/>
                </a:moveTo>
                <a:lnTo>
                  <a:pt x="13745" y="8836"/>
                </a:lnTo>
                <a:cubicBezTo>
                  <a:pt x="12273" y="8836"/>
                  <a:pt x="12273" y="6873"/>
                  <a:pt x="10309" y="6873"/>
                </a:cubicBezTo>
                <a:lnTo>
                  <a:pt x="7364" y="6873"/>
                </a:lnTo>
                <a:cubicBezTo>
                  <a:pt x="5400" y="6873"/>
                  <a:pt x="5400" y="8836"/>
                  <a:pt x="3927" y="8836"/>
                </a:cubicBezTo>
                <a:lnTo>
                  <a:pt x="1964" y="8836"/>
                </a:lnTo>
                <a:cubicBezTo>
                  <a:pt x="87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10800"/>
                </a:lnTo>
                <a:cubicBezTo>
                  <a:pt x="17673" y="9716"/>
                  <a:pt x="16794" y="8836"/>
                  <a:pt x="15709" y="8836"/>
                </a:cubicBezTo>
                <a:moveTo>
                  <a:pt x="19636" y="4909"/>
                </a:moveTo>
                <a:cubicBezTo>
                  <a:pt x="19636" y="4367"/>
                  <a:pt x="19197" y="3927"/>
                  <a:pt x="18655" y="3927"/>
                </a:cubicBezTo>
                <a:cubicBezTo>
                  <a:pt x="18113" y="3927"/>
                  <a:pt x="17673" y="4367"/>
                  <a:pt x="17673" y="4909"/>
                </a:cubicBezTo>
                <a:cubicBezTo>
                  <a:pt x="17673" y="5451"/>
                  <a:pt x="18113" y="5891"/>
                  <a:pt x="18655" y="5891"/>
                </a:cubicBezTo>
                <a:cubicBezTo>
                  <a:pt x="19197" y="5891"/>
                  <a:pt x="19636" y="5451"/>
                  <a:pt x="19636" y="4909"/>
                </a:cubicBezTo>
                <a:moveTo>
                  <a:pt x="19145" y="7364"/>
                </a:moveTo>
                <a:cubicBezTo>
                  <a:pt x="19145" y="7093"/>
                  <a:pt x="18925" y="6873"/>
                  <a:pt x="18655" y="6873"/>
                </a:cubicBezTo>
                <a:cubicBezTo>
                  <a:pt x="18384" y="6873"/>
                  <a:pt x="18164" y="7093"/>
                  <a:pt x="18164" y="7364"/>
                </a:cubicBezTo>
                <a:cubicBezTo>
                  <a:pt x="18164" y="7635"/>
                  <a:pt x="18384" y="7855"/>
                  <a:pt x="18655" y="7855"/>
                </a:cubicBezTo>
                <a:cubicBezTo>
                  <a:pt x="18925" y="7855"/>
                  <a:pt x="19145" y="7635"/>
                  <a:pt x="19145" y="7364"/>
                </a:cubicBezTo>
                <a:moveTo>
                  <a:pt x="8836" y="15709"/>
                </a:moveTo>
                <a:cubicBezTo>
                  <a:pt x="8294" y="15709"/>
                  <a:pt x="7855" y="15269"/>
                  <a:pt x="7855" y="14727"/>
                </a:cubicBezTo>
                <a:cubicBezTo>
                  <a:pt x="7855" y="14186"/>
                  <a:pt x="8294" y="13745"/>
                  <a:pt x="8836" y="13745"/>
                </a:cubicBezTo>
                <a:cubicBezTo>
                  <a:pt x="9378" y="13745"/>
                  <a:pt x="9818" y="14186"/>
                  <a:pt x="9818" y="14727"/>
                </a:cubicBezTo>
                <a:cubicBezTo>
                  <a:pt x="9818" y="15269"/>
                  <a:pt x="9378" y="15709"/>
                  <a:pt x="8836" y="15709"/>
                </a:cubicBezTo>
                <a:moveTo>
                  <a:pt x="8836" y="12764"/>
                </a:moveTo>
                <a:cubicBezTo>
                  <a:pt x="7752" y="12764"/>
                  <a:pt x="6873" y="13643"/>
                  <a:pt x="6873" y="14727"/>
                </a:cubicBezTo>
                <a:cubicBezTo>
                  <a:pt x="6873" y="15812"/>
                  <a:pt x="7752" y="16691"/>
                  <a:pt x="8836" y="16691"/>
                </a:cubicBezTo>
                <a:cubicBezTo>
                  <a:pt x="9921" y="16691"/>
                  <a:pt x="10800" y="15812"/>
                  <a:pt x="10800" y="14727"/>
                </a:cubicBezTo>
                <a:cubicBezTo>
                  <a:pt x="10800" y="13643"/>
                  <a:pt x="9921" y="12764"/>
                  <a:pt x="8836" y="12764"/>
                </a:cubicBezTo>
                <a:moveTo>
                  <a:pt x="14727" y="10800"/>
                </a:moveTo>
                <a:cubicBezTo>
                  <a:pt x="14185" y="10800"/>
                  <a:pt x="13745" y="11240"/>
                  <a:pt x="13745" y="11782"/>
                </a:cubicBezTo>
                <a:cubicBezTo>
                  <a:pt x="13745" y="12325"/>
                  <a:pt x="14185" y="12764"/>
                  <a:pt x="14727" y="12764"/>
                </a:cubicBezTo>
                <a:cubicBezTo>
                  <a:pt x="15269" y="12764"/>
                  <a:pt x="15709" y="12325"/>
                  <a:pt x="15709" y="11782"/>
                </a:cubicBezTo>
                <a:cubicBezTo>
                  <a:pt x="15709" y="11240"/>
                  <a:pt x="15269" y="10800"/>
                  <a:pt x="14727" y="10800"/>
                </a:cubicBezTo>
                <a:moveTo>
                  <a:pt x="14727" y="13745"/>
                </a:moveTo>
                <a:cubicBezTo>
                  <a:pt x="14456" y="13745"/>
                  <a:pt x="14236" y="13966"/>
                  <a:pt x="14236" y="14236"/>
                </a:cubicBezTo>
                <a:cubicBezTo>
                  <a:pt x="14236" y="14508"/>
                  <a:pt x="14456" y="14727"/>
                  <a:pt x="14727" y="14727"/>
                </a:cubicBezTo>
                <a:cubicBezTo>
                  <a:pt x="14998" y="14727"/>
                  <a:pt x="15218" y="14508"/>
                  <a:pt x="15218" y="14236"/>
                </a:cubicBezTo>
                <a:cubicBezTo>
                  <a:pt x="15218" y="13966"/>
                  <a:pt x="14998" y="13745"/>
                  <a:pt x="14727" y="13745"/>
                </a:cubicBezTo>
                <a:moveTo>
                  <a:pt x="8836" y="17673"/>
                </a:moveTo>
                <a:cubicBezTo>
                  <a:pt x="7210" y="17673"/>
                  <a:pt x="5891" y="16354"/>
                  <a:pt x="5891" y="14727"/>
                </a:cubicBezTo>
                <a:cubicBezTo>
                  <a:pt x="5891" y="13101"/>
                  <a:pt x="7210" y="11782"/>
                  <a:pt x="8836" y="11782"/>
                </a:cubicBezTo>
                <a:cubicBezTo>
                  <a:pt x="10463" y="11782"/>
                  <a:pt x="11782" y="13101"/>
                  <a:pt x="11782" y="14727"/>
                </a:cubicBezTo>
                <a:cubicBezTo>
                  <a:pt x="11782" y="16354"/>
                  <a:pt x="10463" y="17673"/>
                  <a:pt x="8836" y="17673"/>
                </a:cubicBezTo>
                <a:moveTo>
                  <a:pt x="8836" y="10800"/>
                </a:moveTo>
                <a:cubicBezTo>
                  <a:pt x="6668" y="10800"/>
                  <a:pt x="4909" y="12558"/>
                  <a:pt x="4909" y="14727"/>
                </a:cubicBezTo>
                <a:cubicBezTo>
                  <a:pt x="4909" y="16897"/>
                  <a:pt x="6668" y="18655"/>
                  <a:pt x="8836" y="18655"/>
                </a:cubicBezTo>
                <a:cubicBezTo>
                  <a:pt x="11005" y="18655"/>
                  <a:pt x="12764" y="16897"/>
                  <a:pt x="12764" y="14727"/>
                </a:cubicBezTo>
                <a:cubicBezTo>
                  <a:pt x="12764" y="12558"/>
                  <a:pt x="11005" y="10800"/>
                  <a:pt x="8836" y="10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0" name="Shape 2660"/>
          <p:cNvSpPr/>
          <p:nvPr/>
        </p:nvSpPr>
        <p:spPr>
          <a:xfrm>
            <a:off x="4958109" y="49861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7673"/>
                </a:moveTo>
                <a:cubicBezTo>
                  <a:pt x="20618" y="18215"/>
                  <a:pt x="20178" y="18655"/>
                  <a:pt x="19636" y="18655"/>
                </a:cubicBezTo>
                <a:lnTo>
                  <a:pt x="1964" y="18655"/>
                </a:lnTo>
                <a:cubicBezTo>
                  <a:pt x="1422" y="18655"/>
                  <a:pt x="982" y="18215"/>
                  <a:pt x="982" y="17673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9636" y="4909"/>
                </a:lnTo>
                <a:cubicBezTo>
                  <a:pt x="20178" y="4909"/>
                  <a:pt x="20618" y="5349"/>
                  <a:pt x="20618" y="5891"/>
                </a:cubicBezTo>
                <a:cubicBezTo>
                  <a:pt x="20618" y="5891"/>
                  <a:pt x="20618" y="17673"/>
                  <a:pt x="20618" y="17673"/>
                </a:cubicBezTo>
                <a:close/>
                <a:moveTo>
                  <a:pt x="19636" y="3927"/>
                </a:moveTo>
                <a:lnTo>
                  <a:pt x="12476" y="3927"/>
                </a:lnTo>
                <a:lnTo>
                  <a:pt x="14476" y="1927"/>
                </a:lnTo>
                <a:cubicBezTo>
                  <a:pt x="14557" y="1949"/>
                  <a:pt x="14640" y="1964"/>
                  <a:pt x="14727" y="1964"/>
                </a:cubicBezTo>
                <a:cubicBezTo>
                  <a:pt x="15269" y="1964"/>
                  <a:pt x="15709" y="1524"/>
                  <a:pt x="15709" y="982"/>
                </a:cubicBezTo>
                <a:cubicBezTo>
                  <a:pt x="15709" y="440"/>
                  <a:pt x="15269" y="0"/>
                  <a:pt x="14727" y="0"/>
                </a:cubicBezTo>
                <a:cubicBezTo>
                  <a:pt x="14185" y="0"/>
                  <a:pt x="13745" y="440"/>
                  <a:pt x="13745" y="982"/>
                </a:cubicBezTo>
                <a:cubicBezTo>
                  <a:pt x="13745" y="1069"/>
                  <a:pt x="13761" y="1153"/>
                  <a:pt x="13782" y="1233"/>
                </a:cubicBezTo>
                <a:lnTo>
                  <a:pt x="11088" y="3927"/>
                </a:lnTo>
                <a:lnTo>
                  <a:pt x="10513" y="3927"/>
                </a:lnTo>
                <a:lnTo>
                  <a:pt x="7818" y="1233"/>
                </a:lnTo>
                <a:cubicBezTo>
                  <a:pt x="7839" y="1153"/>
                  <a:pt x="7855" y="1069"/>
                  <a:pt x="7855" y="982"/>
                </a:cubicBezTo>
                <a:cubicBezTo>
                  <a:pt x="7855" y="440"/>
                  <a:pt x="7415" y="0"/>
                  <a:pt x="6873" y="0"/>
                </a:cubicBezTo>
                <a:cubicBezTo>
                  <a:pt x="6331" y="0"/>
                  <a:pt x="5891" y="440"/>
                  <a:pt x="5891" y="982"/>
                </a:cubicBezTo>
                <a:cubicBezTo>
                  <a:pt x="5891" y="1524"/>
                  <a:pt x="6331" y="1964"/>
                  <a:pt x="6873" y="1964"/>
                </a:cubicBezTo>
                <a:cubicBezTo>
                  <a:pt x="6960" y="1964"/>
                  <a:pt x="7043" y="1949"/>
                  <a:pt x="7124" y="1927"/>
                </a:cubicBezTo>
                <a:lnTo>
                  <a:pt x="9124" y="3927"/>
                </a:ln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7673"/>
                </a:lnTo>
                <a:cubicBezTo>
                  <a:pt x="0" y="18757"/>
                  <a:pt x="879" y="19637"/>
                  <a:pt x="1964" y="19637"/>
                </a:cubicBezTo>
                <a:lnTo>
                  <a:pt x="3927" y="19637"/>
                </a:lnTo>
                <a:lnTo>
                  <a:pt x="3927" y="21109"/>
                </a:lnTo>
                <a:cubicBezTo>
                  <a:pt x="3927" y="21381"/>
                  <a:pt x="4147" y="21600"/>
                  <a:pt x="4418" y="21600"/>
                </a:cubicBezTo>
                <a:cubicBezTo>
                  <a:pt x="4689" y="21600"/>
                  <a:pt x="4909" y="21381"/>
                  <a:pt x="4909" y="21109"/>
                </a:cubicBezTo>
                <a:lnTo>
                  <a:pt x="4909" y="20618"/>
                </a:lnTo>
                <a:lnTo>
                  <a:pt x="16691" y="20618"/>
                </a:lnTo>
                <a:lnTo>
                  <a:pt x="16691" y="21109"/>
                </a:lnTo>
                <a:cubicBezTo>
                  <a:pt x="16691" y="21381"/>
                  <a:pt x="16911" y="21600"/>
                  <a:pt x="17182" y="21600"/>
                </a:cubicBezTo>
                <a:cubicBezTo>
                  <a:pt x="17453" y="21600"/>
                  <a:pt x="17673" y="21381"/>
                  <a:pt x="17673" y="21109"/>
                </a:cubicBezTo>
                <a:lnTo>
                  <a:pt x="17673" y="19637"/>
                </a:lnTo>
                <a:lnTo>
                  <a:pt x="19636" y="19637"/>
                </a:lnTo>
                <a:cubicBezTo>
                  <a:pt x="20721" y="19637"/>
                  <a:pt x="21600" y="18757"/>
                  <a:pt x="21600" y="17673"/>
                </a:cubicBezTo>
                <a:lnTo>
                  <a:pt x="21600" y="5891"/>
                </a:lnTo>
                <a:cubicBezTo>
                  <a:pt x="21600" y="4806"/>
                  <a:pt x="20721" y="3927"/>
                  <a:pt x="19636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1" name="Shape 2661"/>
          <p:cNvSpPr/>
          <p:nvPr/>
        </p:nvSpPr>
        <p:spPr>
          <a:xfrm>
            <a:off x="6024631" y="49861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7855"/>
                </a:moveTo>
                <a:lnTo>
                  <a:pt x="7855" y="7855"/>
                </a:lnTo>
                <a:lnTo>
                  <a:pt x="7855" y="9818"/>
                </a:lnTo>
                <a:lnTo>
                  <a:pt x="9818" y="9818"/>
                </a:lnTo>
                <a:cubicBezTo>
                  <a:pt x="9818" y="9818"/>
                  <a:pt x="9818" y="7855"/>
                  <a:pt x="9818" y="7855"/>
                </a:cubicBezTo>
                <a:close/>
                <a:moveTo>
                  <a:pt x="5891" y="7855"/>
                </a:moveTo>
                <a:lnTo>
                  <a:pt x="3927" y="7855"/>
                </a:lnTo>
                <a:lnTo>
                  <a:pt x="3927" y="9818"/>
                </a:lnTo>
                <a:lnTo>
                  <a:pt x="5891" y="9818"/>
                </a:lnTo>
                <a:cubicBezTo>
                  <a:pt x="5891" y="9818"/>
                  <a:pt x="5891" y="7855"/>
                  <a:pt x="5891" y="7855"/>
                </a:cubicBezTo>
                <a:close/>
                <a:moveTo>
                  <a:pt x="13745" y="7855"/>
                </a:moveTo>
                <a:lnTo>
                  <a:pt x="11782" y="7855"/>
                </a:lnTo>
                <a:lnTo>
                  <a:pt x="11782" y="9818"/>
                </a:lnTo>
                <a:lnTo>
                  <a:pt x="13745" y="9818"/>
                </a:lnTo>
                <a:cubicBezTo>
                  <a:pt x="13745" y="9818"/>
                  <a:pt x="13745" y="7855"/>
                  <a:pt x="13745" y="7855"/>
                </a:cubicBezTo>
                <a:close/>
                <a:moveTo>
                  <a:pt x="7855" y="13745"/>
                </a:moveTo>
                <a:lnTo>
                  <a:pt x="9818" y="13745"/>
                </a:lnTo>
                <a:lnTo>
                  <a:pt x="9818" y="11782"/>
                </a:lnTo>
                <a:lnTo>
                  <a:pt x="7855" y="11782"/>
                </a:lnTo>
                <a:cubicBezTo>
                  <a:pt x="7855" y="11782"/>
                  <a:pt x="7855" y="13745"/>
                  <a:pt x="7855" y="13745"/>
                </a:cubicBezTo>
                <a:close/>
                <a:moveTo>
                  <a:pt x="13745" y="11782"/>
                </a:moveTo>
                <a:lnTo>
                  <a:pt x="15709" y="11782"/>
                </a:lnTo>
                <a:lnTo>
                  <a:pt x="15709" y="9818"/>
                </a:lnTo>
                <a:lnTo>
                  <a:pt x="13745" y="9818"/>
                </a:lnTo>
                <a:cubicBezTo>
                  <a:pt x="13745" y="9818"/>
                  <a:pt x="13745" y="11782"/>
                  <a:pt x="13745" y="11782"/>
                </a:cubicBezTo>
                <a:close/>
                <a:moveTo>
                  <a:pt x="5891" y="11782"/>
                </a:moveTo>
                <a:lnTo>
                  <a:pt x="3927" y="11782"/>
                </a:lnTo>
                <a:lnTo>
                  <a:pt x="3927" y="13745"/>
                </a:lnTo>
                <a:lnTo>
                  <a:pt x="5891" y="13745"/>
                </a:lnTo>
                <a:cubicBezTo>
                  <a:pt x="5891" y="13745"/>
                  <a:pt x="5891" y="11782"/>
                  <a:pt x="5891" y="11782"/>
                </a:cubicBezTo>
                <a:close/>
                <a:moveTo>
                  <a:pt x="11782" y="13745"/>
                </a:moveTo>
                <a:lnTo>
                  <a:pt x="13745" y="13745"/>
                </a:lnTo>
                <a:lnTo>
                  <a:pt x="13745" y="11782"/>
                </a:lnTo>
                <a:lnTo>
                  <a:pt x="11782" y="11782"/>
                </a:lnTo>
                <a:cubicBezTo>
                  <a:pt x="11782" y="11782"/>
                  <a:pt x="11782" y="13745"/>
                  <a:pt x="11782" y="13745"/>
                </a:cubicBezTo>
                <a:close/>
                <a:moveTo>
                  <a:pt x="13745" y="15709"/>
                </a:moveTo>
                <a:lnTo>
                  <a:pt x="15709" y="15709"/>
                </a:lnTo>
                <a:lnTo>
                  <a:pt x="15709" y="13745"/>
                </a:lnTo>
                <a:lnTo>
                  <a:pt x="13745" y="13745"/>
                </a:lnTo>
                <a:cubicBezTo>
                  <a:pt x="13745" y="13745"/>
                  <a:pt x="13745" y="15709"/>
                  <a:pt x="13745" y="15709"/>
                </a:cubicBezTo>
                <a:close/>
                <a:moveTo>
                  <a:pt x="17673" y="7855"/>
                </a:moveTo>
                <a:lnTo>
                  <a:pt x="19636" y="7855"/>
                </a:lnTo>
                <a:lnTo>
                  <a:pt x="19636" y="5891"/>
                </a:lnTo>
                <a:lnTo>
                  <a:pt x="17673" y="5891"/>
                </a:lnTo>
                <a:cubicBezTo>
                  <a:pt x="17673" y="5891"/>
                  <a:pt x="17673" y="7855"/>
                  <a:pt x="17673" y="7855"/>
                </a:cubicBezTo>
                <a:close/>
                <a:moveTo>
                  <a:pt x="15709" y="9818"/>
                </a:moveTo>
                <a:lnTo>
                  <a:pt x="17673" y="9818"/>
                </a:lnTo>
                <a:lnTo>
                  <a:pt x="17673" y="7855"/>
                </a:lnTo>
                <a:lnTo>
                  <a:pt x="15709" y="7855"/>
                </a:lnTo>
                <a:cubicBezTo>
                  <a:pt x="15709" y="7855"/>
                  <a:pt x="15709" y="9818"/>
                  <a:pt x="15709" y="9818"/>
                </a:cubicBezTo>
                <a:close/>
                <a:moveTo>
                  <a:pt x="20618" y="17673"/>
                </a:moveTo>
                <a:cubicBezTo>
                  <a:pt x="20618" y="18215"/>
                  <a:pt x="20178" y="18655"/>
                  <a:pt x="19636" y="18655"/>
                </a:cubicBezTo>
                <a:lnTo>
                  <a:pt x="1964" y="18655"/>
                </a:lnTo>
                <a:cubicBezTo>
                  <a:pt x="1422" y="18655"/>
                  <a:pt x="982" y="18215"/>
                  <a:pt x="982" y="17673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9636" y="4909"/>
                </a:lnTo>
                <a:cubicBezTo>
                  <a:pt x="20178" y="4909"/>
                  <a:pt x="20618" y="5349"/>
                  <a:pt x="20618" y="5891"/>
                </a:cubicBezTo>
                <a:cubicBezTo>
                  <a:pt x="20618" y="5891"/>
                  <a:pt x="20618" y="17673"/>
                  <a:pt x="20618" y="17673"/>
                </a:cubicBezTo>
                <a:close/>
                <a:moveTo>
                  <a:pt x="19636" y="3927"/>
                </a:moveTo>
                <a:lnTo>
                  <a:pt x="12476" y="3927"/>
                </a:lnTo>
                <a:lnTo>
                  <a:pt x="14476" y="1927"/>
                </a:lnTo>
                <a:cubicBezTo>
                  <a:pt x="14557" y="1949"/>
                  <a:pt x="14640" y="1964"/>
                  <a:pt x="14727" y="1964"/>
                </a:cubicBezTo>
                <a:cubicBezTo>
                  <a:pt x="15269" y="1964"/>
                  <a:pt x="15709" y="1524"/>
                  <a:pt x="15709" y="982"/>
                </a:cubicBezTo>
                <a:cubicBezTo>
                  <a:pt x="15709" y="440"/>
                  <a:pt x="15269" y="0"/>
                  <a:pt x="14727" y="0"/>
                </a:cubicBezTo>
                <a:cubicBezTo>
                  <a:pt x="14185" y="0"/>
                  <a:pt x="13745" y="440"/>
                  <a:pt x="13745" y="982"/>
                </a:cubicBezTo>
                <a:cubicBezTo>
                  <a:pt x="13745" y="1069"/>
                  <a:pt x="13761" y="1152"/>
                  <a:pt x="13782" y="1233"/>
                </a:cubicBezTo>
                <a:lnTo>
                  <a:pt x="11088" y="3927"/>
                </a:lnTo>
                <a:lnTo>
                  <a:pt x="10513" y="3927"/>
                </a:lnTo>
                <a:lnTo>
                  <a:pt x="7818" y="1233"/>
                </a:lnTo>
                <a:cubicBezTo>
                  <a:pt x="7839" y="1152"/>
                  <a:pt x="7855" y="1069"/>
                  <a:pt x="7855" y="982"/>
                </a:cubicBezTo>
                <a:cubicBezTo>
                  <a:pt x="7855" y="440"/>
                  <a:pt x="7415" y="0"/>
                  <a:pt x="6873" y="0"/>
                </a:cubicBezTo>
                <a:cubicBezTo>
                  <a:pt x="6331" y="0"/>
                  <a:pt x="5891" y="440"/>
                  <a:pt x="5891" y="982"/>
                </a:cubicBezTo>
                <a:cubicBezTo>
                  <a:pt x="5891" y="1524"/>
                  <a:pt x="6331" y="1964"/>
                  <a:pt x="6873" y="1964"/>
                </a:cubicBezTo>
                <a:cubicBezTo>
                  <a:pt x="6960" y="1964"/>
                  <a:pt x="7043" y="1949"/>
                  <a:pt x="7124" y="1927"/>
                </a:cubicBezTo>
                <a:lnTo>
                  <a:pt x="9124" y="3927"/>
                </a:ln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7673"/>
                </a:lnTo>
                <a:cubicBezTo>
                  <a:pt x="0" y="18757"/>
                  <a:pt x="879" y="19637"/>
                  <a:pt x="1964" y="19637"/>
                </a:cubicBezTo>
                <a:lnTo>
                  <a:pt x="3927" y="19637"/>
                </a:lnTo>
                <a:lnTo>
                  <a:pt x="3927" y="21109"/>
                </a:lnTo>
                <a:cubicBezTo>
                  <a:pt x="3927" y="21380"/>
                  <a:pt x="4147" y="21600"/>
                  <a:pt x="4418" y="21600"/>
                </a:cubicBezTo>
                <a:cubicBezTo>
                  <a:pt x="4689" y="21600"/>
                  <a:pt x="4909" y="21380"/>
                  <a:pt x="4909" y="21109"/>
                </a:cubicBezTo>
                <a:lnTo>
                  <a:pt x="4909" y="20618"/>
                </a:lnTo>
                <a:lnTo>
                  <a:pt x="16691" y="20618"/>
                </a:lnTo>
                <a:lnTo>
                  <a:pt x="16691" y="21109"/>
                </a:lnTo>
                <a:cubicBezTo>
                  <a:pt x="16691" y="21380"/>
                  <a:pt x="16911" y="21600"/>
                  <a:pt x="17182" y="21600"/>
                </a:cubicBezTo>
                <a:cubicBezTo>
                  <a:pt x="17453" y="21600"/>
                  <a:pt x="17673" y="21380"/>
                  <a:pt x="17673" y="21109"/>
                </a:cubicBezTo>
                <a:lnTo>
                  <a:pt x="17673" y="19637"/>
                </a:lnTo>
                <a:lnTo>
                  <a:pt x="19636" y="19637"/>
                </a:lnTo>
                <a:cubicBezTo>
                  <a:pt x="20721" y="19637"/>
                  <a:pt x="21600" y="18757"/>
                  <a:pt x="21600" y="17673"/>
                </a:cubicBezTo>
                <a:lnTo>
                  <a:pt x="21600" y="5891"/>
                </a:lnTo>
                <a:cubicBezTo>
                  <a:pt x="21600" y="4806"/>
                  <a:pt x="20721" y="3927"/>
                  <a:pt x="19636" y="3927"/>
                </a:cubicBezTo>
                <a:moveTo>
                  <a:pt x="5891" y="15709"/>
                </a:moveTo>
                <a:lnTo>
                  <a:pt x="7855" y="15709"/>
                </a:lnTo>
                <a:lnTo>
                  <a:pt x="7855" y="13745"/>
                </a:lnTo>
                <a:lnTo>
                  <a:pt x="5891" y="13745"/>
                </a:lnTo>
                <a:cubicBezTo>
                  <a:pt x="5891" y="13745"/>
                  <a:pt x="5891" y="15709"/>
                  <a:pt x="5891" y="15709"/>
                </a:cubicBezTo>
                <a:close/>
                <a:moveTo>
                  <a:pt x="9818" y="15709"/>
                </a:moveTo>
                <a:lnTo>
                  <a:pt x="11782" y="15709"/>
                </a:lnTo>
                <a:lnTo>
                  <a:pt x="11782" y="13745"/>
                </a:lnTo>
                <a:lnTo>
                  <a:pt x="9818" y="13745"/>
                </a:lnTo>
                <a:cubicBezTo>
                  <a:pt x="9818" y="13745"/>
                  <a:pt x="9818" y="15709"/>
                  <a:pt x="9818" y="15709"/>
                </a:cubicBezTo>
                <a:close/>
                <a:moveTo>
                  <a:pt x="7855" y="9818"/>
                </a:moveTo>
                <a:lnTo>
                  <a:pt x="5891" y="9818"/>
                </a:lnTo>
                <a:lnTo>
                  <a:pt x="5891" y="11782"/>
                </a:lnTo>
                <a:lnTo>
                  <a:pt x="7855" y="11782"/>
                </a:lnTo>
                <a:cubicBezTo>
                  <a:pt x="7855" y="11782"/>
                  <a:pt x="7855" y="9818"/>
                  <a:pt x="7855" y="9818"/>
                </a:cubicBezTo>
                <a:close/>
                <a:moveTo>
                  <a:pt x="15709" y="13745"/>
                </a:moveTo>
                <a:lnTo>
                  <a:pt x="17673" y="13745"/>
                </a:lnTo>
                <a:lnTo>
                  <a:pt x="17673" y="11782"/>
                </a:lnTo>
                <a:lnTo>
                  <a:pt x="15709" y="11782"/>
                </a:lnTo>
                <a:cubicBezTo>
                  <a:pt x="15709" y="11782"/>
                  <a:pt x="15709" y="13745"/>
                  <a:pt x="15709" y="13745"/>
                </a:cubicBezTo>
                <a:close/>
                <a:moveTo>
                  <a:pt x="1964" y="7855"/>
                </a:moveTo>
                <a:lnTo>
                  <a:pt x="3927" y="7855"/>
                </a:lnTo>
                <a:lnTo>
                  <a:pt x="3927" y="5891"/>
                </a:lnTo>
                <a:lnTo>
                  <a:pt x="1964" y="5891"/>
                </a:lnTo>
                <a:cubicBezTo>
                  <a:pt x="1964" y="5891"/>
                  <a:pt x="1964" y="7855"/>
                  <a:pt x="1964" y="7855"/>
                </a:cubicBezTo>
                <a:close/>
                <a:moveTo>
                  <a:pt x="3927" y="17673"/>
                </a:moveTo>
                <a:lnTo>
                  <a:pt x="5891" y="17673"/>
                </a:lnTo>
                <a:lnTo>
                  <a:pt x="5891" y="15709"/>
                </a:lnTo>
                <a:lnTo>
                  <a:pt x="3927" y="15709"/>
                </a:lnTo>
                <a:cubicBezTo>
                  <a:pt x="3927" y="15709"/>
                  <a:pt x="3927" y="17673"/>
                  <a:pt x="3927" y="17673"/>
                </a:cubicBezTo>
                <a:close/>
                <a:moveTo>
                  <a:pt x="11782" y="5891"/>
                </a:moveTo>
                <a:lnTo>
                  <a:pt x="9818" y="5891"/>
                </a:lnTo>
                <a:lnTo>
                  <a:pt x="9818" y="7855"/>
                </a:lnTo>
                <a:lnTo>
                  <a:pt x="11782" y="7855"/>
                </a:lnTo>
                <a:cubicBezTo>
                  <a:pt x="11782" y="7855"/>
                  <a:pt x="11782" y="5891"/>
                  <a:pt x="11782" y="5891"/>
                </a:cubicBezTo>
                <a:close/>
                <a:moveTo>
                  <a:pt x="7855" y="5891"/>
                </a:moveTo>
                <a:lnTo>
                  <a:pt x="5891" y="5891"/>
                </a:lnTo>
                <a:lnTo>
                  <a:pt x="5891" y="7855"/>
                </a:lnTo>
                <a:lnTo>
                  <a:pt x="7855" y="7855"/>
                </a:lnTo>
                <a:cubicBezTo>
                  <a:pt x="7855" y="7855"/>
                  <a:pt x="7855" y="5891"/>
                  <a:pt x="7855" y="5891"/>
                </a:cubicBezTo>
                <a:close/>
                <a:moveTo>
                  <a:pt x="1964" y="15709"/>
                </a:moveTo>
                <a:lnTo>
                  <a:pt x="3927" y="15709"/>
                </a:lnTo>
                <a:lnTo>
                  <a:pt x="3927" y="13745"/>
                </a:lnTo>
                <a:lnTo>
                  <a:pt x="1964" y="13745"/>
                </a:lnTo>
                <a:cubicBezTo>
                  <a:pt x="1964" y="13745"/>
                  <a:pt x="1964" y="15709"/>
                  <a:pt x="1964" y="15709"/>
                </a:cubicBezTo>
                <a:close/>
                <a:moveTo>
                  <a:pt x="1964" y="11782"/>
                </a:moveTo>
                <a:lnTo>
                  <a:pt x="3927" y="11782"/>
                </a:lnTo>
                <a:lnTo>
                  <a:pt x="3927" y="9818"/>
                </a:lnTo>
                <a:lnTo>
                  <a:pt x="1964" y="9818"/>
                </a:lnTo>
                <a:cubicBezTo>
                  <a:pt x="1964" y="9818"/>
                  <a:pt x="1964" y="11782"/>
                  <a:pt x="1964" y="11782"/>
                </a:cubicBezTo>
                <a:close/>
                <a:moveTo>
                  <a:pt x="7855" y="17673"/>
                </a:moveTo>
                <a:lnTo>
                  <a:pt x="9818" y="17673"/>
                </a:lnTo>
                <a:lnTo>
                  <a:pt x="9818" y="15709"/>
                </a:lnTo>
                <a:lnTo>
                  <a:pt x="7855" y="15709"/>
                </a:lnTo>
                <a:cubicBezTo>
                  <a:pt x="7855" y="15709"/>
                  <a:pt x="7855" y="17673"/>
                  <a:pt x="7855" y="17673"/>
                </a:cubicBezTo>
                <a:close/>
                <a:moveTo>
                  <a:pt x="11782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1782" y="15709"/>
                </a:lnTo>
                <a:cubicBezTo>
                  <a:pt x="11782" y="15709"/>
                  <a:pt x="11782" y="17673"/>
                  <a:pt x="11782" y="17673"/>
                </a:cubicBezTo>
                <a:close/>
                <a:moveTo>
                  <a:pt x="15709" y="17673"/>
                </a:moveTo>
                <a:lnTo>
                  <a:pt x="17673" y="17673"/>
                </a:lnTo>
                <a:lnTo>
                  <a:pt x="17673" y="15709"/>
                </a:lnTo>
                <a:lnTo>
                  <a:pt x="15709" y="15709"/>
                </a:lnTo>
                <a:cubicBezTo>
                  <a:pt x="15709" y="15709"/>
                  <a:pt x="15709" y="17673"/>
                  <a:pt x="15709" y="17673"/>
                </a:cubicBezTo>
                <a:close/>
                <a:moveTo>
                  <a:pt x="11782" y="9818"/>
                </a:moveTo>
                <a:lnTo>
                  <a:pt x="9818" y="9818"/>
                </a:lnTo>
                <a:lnTo>
                  <a:pt x="9818" y="11782"/>
                </a:lnTo>
                <a:lnTo>
                  <a:pt x="11782" y="11782"/>
                </a:lnTo>
                <a:cubicBezTo>
                  <a:pt x="11782" y="11782"/>
                  <a:pt x="11782" y="9818"/>
                  <a:pt x="11782" y="9818"/>
                </a:cubicBezTo>
                <a:close/>
                <a:moveTo>
                  <a:pt x="19636" y="9818"/>
                </a:moveTo>
                <a:lnTo>
                  <a:pt x="17673" y="9818"/>
                </a:lnTo>
                <a:lnTo>
                  <a:pt x="17673" y="11782"/>
                </a:lnTo>
                <a:lnTo>
                  <a:pt x="19636" y="11782"/>
                </a:lnTo>
                <a:cubicBezTo>
                  <a:pt x="19636" y="11782"/>
                  <a:pt x="19636" y="9818"/>
                  <a:pt x="19636" y="9818"/>
                </a:cubicBezTo>
                <a:close/>
                <a:moveTo>
                  <a:pt x="19636" y="13745"/>
                </a:moveTo>
                <a:lnTo>
                  <a:pt x="17673" y="13745"/>
                </a:lnTo>
                <a:lnTo>
                  <a:pt x="17673" y="15709"/>
                </a:lnTo>
                <a:lnTo>
                  <a:pt x="19636" y="15709"/>
                </a:lnTo>
                <a:cubicBezTo>
                  <a:pt x="19636" y="15709"/>
                  <a:pt x="19636" y="13745"/>
                  <a:pt x="19636" y="13745"/>
                </a:cubicBezTo>
                <a:close/>
                <a:moveTo>
                  <a:pt x="15709" y="5891"/>
                </a:moveTo>
                <a:lnTo>
                  <a:pt x="13745" y="5891"/>
                </a:lnTo>
                <a:lnTo>
                  <a:pt x="13745" y="7855"/>
                </a:lnTo>
                <a:lnTo>
                  <a:pt x="15709" y="7855"/>
                </a:lnTo>
                <a:cubicBezTo>
                  <a:pt x="15709" y="7855"/>
                  <a:pt x="15709" y="5891"/>
                  <a:pt x="15709" y="5891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2" name="Shape 2662"/>
          <p:cNvSpPr/>
          <p:nvPr/>
        </p:nvSpPr>
        <p:spPr>
          <a:xfrm>
            <a:off x="7091154" y="49861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1782"/>
                </a:moveTo>
                <a:cubicBezTo>
                  <a:pt x="18383" y="11782"/>
                  <a:pt x="18164" y="12002"/>
                  <a:pt x="18164" y="12273"/>
                </a:cubicBezTo>
                <a:cubicBezTo>
                  <a:pt x="18164" y="12544"/>
                  <a:pt x="18383" y="12764"/>
                  <a:pt x="18655" y="12764"/>
                </a:cubicBezTo>
                <a:cubicBezTo>
                  <a:pt x="18926" y="12764"/>
                  <a:pt x="19145" y="12544"/>
                  <a:pt x="19145" y="12273"/>
                </a:cubicBezTo>
                <a:cubicBezTo>
                  <a:pt x="19145" y="12002"/>
                  <a:pt x="18926" y="11782"/>
                  <a:pt x="18655" y="11782"/>
                </a:cubicBezTo>
                <a:moveTo>
                  <a:pt x="18655" y="13745"/>
                </a:moveTo>
                <a:cubicBezTo>
                  <a:pt x="18383" y="13745"/>
                  <a:pt x="18164" y="13966"/>
                  <a:pt x="18164" y="14236"/>
                </a:cubicBezTo>
                <a:cubicBezTo>
                  <a:pt x="18164" y="14508"/>
                  <a:pt x="18383" y="14727"/>
                  <a:pt x="18655" y="14727"/>
                </a:cubicBezTo>
                <a:cubicBezTo>
                  <a:pt x="18926" y="14727"/>
                  <a:pt x="19145" y="14508"/>
                  <a:pt x="19145" y="14236"/>
                </a:cubicBezTo>
                <a:cubicBezTo>
                  <a:pt x="19145" y="13966"/>
                  <a:pt x="18926" y="13745"/>
                  <a:pt x="18655" y="13745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6691" y="20618"/>
                </a:lnTo>
                <a:lnTo>
                  <a:pt x="16691" y="6873"/>
                </a:lnTo>
                <a:lnTo>
                  <a:pt x="19636" y="6873"/>
                </a:lnTo>
                <a:cubicBezTo>
                  <a:pt x="20178" y="6873"/>
                  <a:pt x="20618" y="7313"/>
                  <a:pt x="20618" y="7855"/>
                </a:cubicBez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5709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cubicBezTo>
                  <a:pt x="982" y="7313"/>
                  <a:pt x="1422" y="6873"/>
                  <a:pt x="1964" y="6873"/>
                </a:cubicBezTo>
                <a:lnTo>
                  <a:pt x="15709" y="6873"/>
                </a:lnTo>
                <a:cubicBezTo>
                  <a:pt x="15709" y="6873"/>
                  <a:pt x="15709" y="20618"/>
                  <a:pt x="15709" y="20618"/>
                </a:cubicBezTo>
                <a:close/>
                <a:moveTo>
                  <a:pt x="19636" y="5891"/>
                </a:moveTo>
                <a:lnTo>
                  <a:pt x="13205" y="5891"/>
                </a:lnTo>
                <a:cubicBezTo>
                  <a:pt x="13069" y="5222"/>
                  <a:pt x="12657" y="4657"/>
                  <a:pt x="12097" y="4306"/>
                </a:cubicBezTo>
                <a:lnTo>
                  <a:pt x="14476" y="1927"/>
                </a:lnTo>
                <a:cubicBezTo>
                  <a:pt x="14557" y="1949"/>
                  <a:pt x="14640" y="1964"/>
                  <a:pt x="14727" y="1964"/>
                </a:cubicBezTo>
                <a:cubicBezTo>
                  <a:pt x="15269" y="1964"/>
                  <a:pt x="15709" y="1524"/>
                  <a:pt x="15709" y="982"/>
                </a:cubicBezTo>
                <a:cubicBezTo>
                  <a:pt x="15709" y="440"/>
                  <a:pt x="15269" y="0"/>
                  <a:pt x="14727" y="0"/>
                </a:cubicBezTo>
                <a:cubicBezTo>
                  <a:pt x="14186" y="0"/>
                  <a:pt x="13745" y="440"/>
                  <a:pt x="13745" y="982"/>
                </a:cubicBezTo>
                <a:cubicBezTo>
                  <a:pt x="13745" y="1070"/>
                  <a:pt x="13761" y="1153"/>
                  <a:pt x="13782" y="1233"/>
                </a:cubicBezTo>
                <a:lnTo>
                  <a:pt x="11061" y="3954"/>
                </a:lnTo>
                <a:cubicBezTo>
                  <a:pt x="10975" y="3945"/>
                  <a:pt x="10889" y="3927"/>
                  <a:pt x="10800" y="3927"/>
                </a:cubicBezTo>
                <a:cubicBezTo>
                  <a:pt x="10711" y="3927"/>
                  <a:pt x="10625" y="3945"/>
                  <a:pt x="10539" y="3954"/>
                </a:cubicBezTo>
                <a:lnTo>
                  <a:pt x="7818" y="1233"/>
                </a:lnTo>
                <a:cubicBezTo>
                  <a:pt x="7839" y="1153"/>
                  <a:pt x="7855" y="1070"/>
                  <a:pt x="7855" y="982"/>
                </a:cubicBezTo>
                <a:cubicBezTo>
                  <a:pt x="7855" y="440"/>
                  <a:pt x="7414" y="0"/>
                  <a:pt x="6873" y="0"/>
                </a:cubicBezTo>
                <a:cubicBezTo>
                  <a:pt x="6331" y="0"/>
                  <a:pt x="5891" y="440"/>
                  <a:pt x="5891" y="982"/>
                </a:cubicBezTo>
                <a:cubicBezTo>
                  <a:pt x="5891" y="1524"/>
                  <a:pt x="6331" y="1964"/>
                  <a:pt x="6873" y="1964"/>
                </a:cubicBezTo>
                <a:cubicBezTo>
                  <a:pt x="6960" y="1964"/>
                  <a:pt x="7043" y="1949"/>
                  <a:pt x="7124" y="1927"/>
                </a:cubicBezTo>
                <a:lnTo>
                  <a:pt x="9503" y="4306"/>
                </a:lnTo>
                <a:cubicBezTo>
                  <a:pt x="8943" y="4657"/>
                  <a:pt x="8531" y="5222"/>
                  <a:pt x="8395" y="5891"/>
                </a:cubicBezTo>
                <a:lnTo>
                  <a:pt x="1964" y="5891"/>
                </a:lnTo>
                <a:cubicBezTo>
                  <a:pt x="879" y="5891"/>
                  <a:pt x="0" y="6770"/>
                  <a:pt x="0" y="7855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7855"/>
                </a:lnTo>
                <a:cubicBezTo>
                  <a:pt x="21600" y="6770"/>
                  <a:pt x="20721" y="5891"/>
                  <a:pt x="19636" y="5891"/>
                </a:cubicBezTo>
                <a:moveTo>
                  <a:pt x="12764" y="17673"/>
                </a:moveTo>
                <a:lnTo>
                  <a:pt x="3927" y="17673"/>
                </a:lnTo>
                <a:lnTo>
                  <a:pt x="3927" y="9818"/>
                </a:lnTo>
                <a:lnTo>
                  <a:pt x="12764" y="9818"/>
                </a:lnTo>
                <a:cubicBezTo>
                  <a:pt x="12764" y="9818"/>
                  <a:pt x="12764" y="17673"/>
                  <a:pt x="12764" y="17673"/>
                </a:cubicBezTo>
                <a:close/>
                <a:moveTo>
                  <a:pt x="13745" y="8836"/>
                </a:moveTo>
                <a:lnTo>
                  <a:pt x="2945" y="8836"/>
                </a:lnTo>
                <a:lnTo>
                  <a:pt x="2945" y="18655"/>
                </a:lnTo>
                <a:lnTo>
                  <a:pt x="13745" y="18655"/>
                </a:lnTo>
                <a:cubicBezTo>
                  <a:pt x="13745" y="18655"/>
                  <a:pt x="13745" y="8836"/>
                  <a:pt x="13745" y="8836"/>
                </a:cubicBezTo>
                <a:close/>
                <a:moveTo>
                  <a:pt x="18655" y="8836"/>
                </a:moveTo>
                <a:cubicBezTo>
                  <a:pt x="18113" y="8836"/>
                  <a:pt x="17673" y="9276"/>
                  <a:pt x="17673" y="9818"/>
                </a:cubicBezTo>
                <a:cubicBezTo>
                  <a:pt x="17673" y="10360"/>
                  <a:pt x="18113" y="10800"/>
                  <a:pt x="18655" y="10800"/>
                </a:cubicBezTo>
                <a:cubicBezTo>
                  <a:pt x="19196" y="10800"/>
                  <a:pt x="19636" y="10360"/>
                  <a:pt x="19636" y="9818"/>
                </a:cubicBezTo>
                <a:cubicBezTo>
                  <a:pt x="19636" y="9276"/>
                  <a:pt x="19196" y="8836"/>
                  <a:pt x="18655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3" name="Shape 2663"/>
          <p:cNvSpPr/>
          <p:nvPr/>
        </p:nvSpPr>
        <p:spPr>
          <a:xfrm>
            <a:off x="8157677" y="5113095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8000"/>
                </a:moveTo>
                <a:cubicBezTo>
                  <a:pt x="19636" y="18995"/>
                  <a:pt x="19196" y="19800"/>
                  <a:pt x="18655" y="19800"/>
                </a:cubicBezTo>
                <a:lnTo>
                  <a:pt x="1964" y="19800"/>
                </a:lnTo>
                <a:cubicBezTo>
                  <a:pt x="1421" y="19800"/>
                  <a:pt x="982" y="18995"/>
                  <a:pt x="982" y="18000"/>
                </a:cubicBezTo>
                <a:lnTo>
                  <a:pt x="982" y="3600"/>
                </a:lnTo>
                <a:cubicBezTo>
                  <a:pt x="982" y="2607"/>
                  <a:pt x="1421" y="1800"/>
                  <a:pt x="1964" y="1800"/>
                </a:cubicBezTo>
                <a:lnTo>
                  <a:pt x="18655" y="1800"/>
                </a:lnTo>
                <a:cubicBezTo>
                  <a:pt x="19196" y="1800"/>
                  <a:pt x="19636" y="2607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9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9"/>
                  <a:pt x="20618" y="18000"/>
                </a:cubicBezTo>
                <a:lnTo>
                  <a:pt x="20618" y="14400"/>
                </a:lnTo>
                <a:cubicBezTo>
                  <a:pt x="21160" y="14400"/>
                  <a:pt x="21600" y="13595"/>
                  <a:pt x="21600" y="12600"/>
                </a:cubicBezTo>
                <a:lnTo>
                  <a:pt x="21600" y="9000"/>
                </a:lnTo>
                <a:cubicBezTo>
                  <a:pt x="21600" y="8007"/>
                  <a:pt x="21160" y="7200"/>
                  <a:pt x="20618" y="7200"/>
                </a:cubicBezTo>
                <a:moveTo>
                  <a:pt x="10800" y="5400"/>
                </a:moveTo>
                <a:lnTo>
                  <a:pt x="3927" y="10800"/>
                </a:lnTo>
                <a:lnTo>
                  <a:pt x="8836" y="10800"/>
                </a:lnTo>
                <a:lnTo>
                  <a:pt x="9818" y="16200"/>
                </a:lnTo>
                <a:lnTo>
                  <a:pt x="16691" y="10800"/>
                </a:lnTo>
                <a:lnTo>
                  <a:pt x="11782" y="10800"/>
                </a:lnTo>
                <a:cubicBezTo>
                  <a:pt x="11782" y="10800"/>
                  <a:pt x="10800" y="5400"/>
                  <a:pt x="10800" y="54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4" name="Shape 2664"/>
          <p:cNvSpPr/>
          <p:nvPr/>
        </p:nvSpPr>
        <p:spPr>
          <a:xfrm>
            <a:off x="9224197" y="5113095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8000"/>
                </a:moveTo>
                <a:cubicBezTo>
                  <a:pt x="19636" y="18995"/>
                  <a:pt x="19196" y="19800"/>
                  <a:pt x="18655" y="19800"/>
                </a:cubicBezTo>
                <a:lnTo>
                  <a:pt x="1964" y="19800"/>
                </a:lnTo>
                <a:cubicBezTo>
                  <a:pt x="1421" y="19800"/>
                  <a:pt x="982" y="18995"/>
                  <a:pt x="982" y="18000"/>
                </a:cubicBezTo>
                <a:lnTo>
                  <a:pt x="982" y="3600"/>
                </a:lnTo>
                <a:cubicBezTo>
                  <a:pt x="982" y="2607"/>
                  <a:pt x="1421" y="1800"/>
                  <a:pt x="1964" y="1800"/>
                </a:cubicBezTo>
                <a:lnTo>
                  <a:pt x="18655" y="1800"/>
                </a:lnTo>
                <a:cubicBezTo>
                  <a:pt x="19196" y="1800"/>
                  <a:pt x="19636" y="2607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9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9"/>
                  <a:pt x="20618" y="18000"/>
                </a:cubicBezTo>
                <a:lnTo>
                  <a:pt x="20618" y="14400"/>
                </a:lnTo>
                <a:cubicBezTo>
                  <a:pt x="21160" y="14400"/>
                  <a:pt x="21600" y="13595"/>
                  <a:pt x="21600" y="12600"/>
                </a:cubicBezTo>
                <a:lnTo>
                  <a:pt x="21600" y="9000"/>
                </a:lnTo>
                <a:cubicBezTo>
                  <a:pt x="21600" y="8007"/>
                  <a:pt x="21160" y="7200"/>
                  <a:pt x="20618" y="7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5" name="Shape 2665"/>
          <p:cNvSpPr/>
          <p:nvPr/>
        </p:nvSpPr>
        <p:spPr>
          <a:xfrm>
            <a:off x="10290720" y="5113095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8000"/>
                </a:moveTo>
                <a:cubicBezTo>
                  <a:pt x="19636" y="18995"/>
                  <a:pt x="19196" y="19800"/>
                  <a:pt x="18655" y="19800"/>
                </a:cubicBezTo>
                <a:lnTo>
                  <a:pt x="1964" y="19800"/>
                </a:lnTo>
                <a:cubicBezTo>
                  <a:pt x="1422" y="19800"/>
                  <a:pt x="982" y="18995"/>
                  <a:pt x="982" y="18000"/>
                </a:cubicBezTo>
                <a:lnTo>
                  <a:pt x="982" y="3600"/>
                </a:lnTo>
                <a:cubicBezTo>
                  <a:pt x="982" y="2607"/>
                  <a:pt x="1422" y="1800"/>
                  <a:pt x="1964" y="1800"/>
                </a:cubicBezTo>
                <a:lnTo>
                  <a:pt x="18655" y="1800"/>
                </a:lnTo>
                <a:cubicBezTo>
                  <a:pt x="19196" y="1800"/>
                  <a:pt x="19636" y="2607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9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9"/>
                  <a:pt x="20618" y="18000"/>
                </a:cubicBezTo>
                <a:lnTo>
                  <a:pt x="20618" y="14400"/>
                </a:lnTo>
                <a:cubicBezTo>
                  <a:pt x="21160" y="14400"/>
                  <a:pt x="21600" y="13595"/>
                  <a:pt x="21600" y="12600"/>
                </a:cubicBezTo>
                <a:lnTo>
                  <a:pt x="21600" y="9000"/>
                </a:lnTo>
                <a:cubicBezTo>
                  <a:pt x="21600" y="8007"/>
                  <a:pt x="21160" y="7200"/>
                  <a:pt x="20618" y="7200"/>
                </a:cubicBezTo>
                <a:moveTo>
                  <a:pt x="1964" y="18000"/>
                </a:moveTo>
                <a:lnTo>
                  <a:pt x="6873" y="18000"/>
                </a:lnTo>
                <a:lnTo>
                  <a:pt x="6873" y="3600"/>
                </a:lnTo>
                <a:lnTo>
                  <a:pt x="1964" y="3600"/>
                </a:lnTo>
                <a:cubicBezTo>
                  <a:pt x="1964" y="3600"/>
                  <a:pt x="1964" y="18000"/>
                  <a:pt x="1964" y="180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6" name="Shape 2666"/>
          <p:cNvSpPr/>
          <p:nvPr/>
        </p:nvSpPr>
        <p:spPr>
          <a:xfrm>
            <a:off x="11357242" y="5113095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8000"/>
                </a:moveTo>
                <a:cubicBezTo>
                  <a:pt x="19636" y="18995"/>
                  <a:pt x="19196" y="19800"/>
                  <a:pt x="18655" y="19800"/>
                </a:cubicBezTo>
                <a:lnTo>
                  <a:pt x="1964" y="19800"/>
                </a:lnTo>
                <a:cubicBezTo>
                  <a:pt x="1422" y="19800"/>
                  <a:pt x="982" y="18995"/>
                  <a:pt x="982" y="18000"/>
                </a:cubicBezTo>
                <a:lnTo>
                  <a:pt x="982" y="3600"/>
                </a:lnTo>
                <a:cubicBezTo>
                  <a:pt x="982" y="2607"/>
                  <a:pt x="1422" y="1800"/>
                  <a:pt x="1964" y="1800"/>
                </a:cubicBezTo>
                <a:lnTo>
                  <a:pt x="18655" y="1800"/>
                </a:lnTo>
                <a:cubicBezTo>
                  <a:pt x="19196" y="1800"/>
                  <a:pt x="19636" y="2607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9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9"/>
                  <a:pt x="20618" y="18000"/>
                </a:cubicBezTo>
                <a:lnTo>
                  <a:pt x="20618" y="14400"/>
                </a:lnTo>
                <a:cubicBezTo>
                  <a:pt x="21160" y="14400"/>
                  <a:pt x="21600" y="13595"/>
                  <a:pt x="21600" y="12600"/>
                </a:cubicBezTo>
                <a:lnTo>
                  <a:pt x="21600" y="9000"/>
                </a:lnTo>
                <a:cubicBezTo>
                  <a:pt x="21600" y="8007"/>
                  <a:pt x="21160" y="7200"/>
                  <a:pt x="20618" y="7200"/>
                </a:cubicBezTo>
                <a:moveTo>
                  <a:pt x="1964" y="18000"/>
                </a:moveTo>
                <a:lnTo>
                  <a:pt x="10800" y="18000"/>
                </a:lnTo>
                <a:lnTo>
                  <a:pt x="10800" y="3600"/>
                </a:lnTo>
                <a:lnTo>
                  <a:pt x="1964" y="3600"/>
                </a:lnTo>
                <a:cubicBezTo>
                  <a:pt x="1964" y="3600"/>
                  <a:pt x="1964" y="18000"/>
                  <a:pt x="1964" y="180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7" name="Shape 2667"/>
          <p:cNvSpPr/>
          <p:nvPr/>
        </p:nvSpPr>
        <p:spPr>
          <a:xfrm>
            <a:off x="1758543" y="6179617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18000"/>
                </a:moveTo>
                <a:lnTo>
                  <a:pt x="14727" y="18000"/>
                </a:lnTo>
                <a:lnTo>
                  <a:pt x="14727" y="3600"/>
                </a:lnTo>
                <a:lnTo>
                  <a:pt x="1964" y="3600"/>
                </a:lnTo>
                <a:cubicBezTo>
                  <a:pt x="1964" y="3600"/>
                  <a:pt x="1964" y="18000"/>
                  <a:pt x="1964" y="18000"/>
                </a:cubicBezTo>
                <a:close/>
                <a:moveTo>
                  <a:pt x="19636" y="18000"/>
                </a:moveTo>
                <a:cubicBezTo>
                  <a:pt x="19636" y="18994"/>
                  <a:pt x="19197" y="19800"/>
                  <a:pt x="18655" y="19800"/>
                </a:cubicBezTo>
                <a:lnTo>
                  <a:pt x="1964" y="19800"/>
                </a:lnTo>
                <a:cubicBezTo>
                  <a:pt x="1422" y="19800"/>
                  <a:pt x="982" y="18994"/>
                  <a:pt x="982" y="18000"/>
                </a:cubicBezTo>
                <a:lnTo>
                  <a:pt x="982" y="3600"/>
                </a:lnTo>
                <a:cubicBezTo>
                  <a:pt x="982" y="2606"/>
                  <a:pt x="1422" y="1800"/>
                  <a:pt x="1964" y="1800"/>
                </a:cubicBezTo>
                <a:lnTo>
                  <a:pt x="18655" y="1800"/>
                </a:lnTo>
                <a:cubicBezTo>
                  <a:pt x="19197" y="1800"/>
                  <a:pt x="19636" y="2606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8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8"/>
                  <a:pt x="20618" y="18000"/>
                </a:cubicBezTo>
                <a:lnTo>
                  <a:pt x="20618" y="14401"/>
                </a:lnTo>
                <a:cubicBezTo>
                  <a:pt x="21160" y="14401"/>
                  <a:pt x="21600" y="13594"/>
                  <a:pt x="21600" y="12600"/>
                </a:cubicBezTo>
                <a:lnTo>
                  <a:pt x="21600" y="9000"/>
                </a:lnTo>
                <a:cubicBezTo>
                  <a:pt x="21600" y="8006"/>
                  <a:pt x="21160" y="7200"/>
                  <a:pt x="20618" y="7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8" name="Shape 2668"/>
          <p:cNvSpPr/>
          <p:nvPr/>
        </p:nvSpPr>
        <p:spPr>
          <a:xfrm>
            <a:off x="2825064" y="6179617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18000"/>
                </a:moveTo>
                <a:lnTo>
                  <a:pt x="18655" y="18000"/>
                </a:lnTo>
                <a:lnTo>
                  <a:pt x="18655" y="3600"/>
                </a:lnTo>
                <a:lnTo>
                  <a:pt x="1964" y="3600"/>
                </a:lnTo>
                <a:cubicBezTo>
                  <a:pt x="1964" y="3600"/>
                  <a:pt x="1964" y="18000"/>
                  <a:pt x="1964" y="18000"/>
                </a:cubicBezTo>
                <a:close/>
                <a:moveTo>
                  <a:pt x="19636" y="18000"/>
                </a:moveTo>
                <a:cubicBezTo>
                  <a:pt x="19636" y="18994"/>
                  <a:pt x="19197" y="19800"/>
                  <a:pt x="18655" y="19800"/>
                </a:cubicBezTo>
                <a:lnTo>
                  <a:pt x="1964" y="19800"/>
                </a:lnTo>
                <a:cubicBezTo>
                  <a:pt x="1422" y="19800"/>
                  <a:pt x="982" y="18994"/>
                  <a:pt x="982" y="18000"/>
                </a:cubicBezTo>
                <a:lnTo>
                  <a:pt x="982" y="3600"/>
                </a:lnTo>
                <a:cubicBezTo>
                  <a:pt x="982" y="2606"/>
                  <a:pt x="1422" y="1800"/>
                  <a:pt x="1964" y="1800"/>
                </a:cubicBezTo>
                <a:lnTo>
                  <a:pt x="18655" y="1800"/>
                </a:lnTo>
                <a:cubicBezTo>
                  <a:pt x="19197" y="1800"/>
                  <a:pt x="19636" y="2606"/>
                  <a:pt x="19636" y="3600"/>
                </a:cubicBezTo>
                <a:cubicBezTo>
                  <a:pt x="19636" y="3600"/>
                  <a:pt x="19636" y="18000"/>
                  <a:pt x="19636" y="18000"/>
                </a:cubicBezTo>
                <a:close/>
                <a:moveTo>
                  <a:pt x="20618" y="7200"/>
                </a:moveTo>
                <a:lnTo>
                  <a:pt x="20618" y="3600"/>
                </a:lnTo>
                <a:cubicBezTo>
                  <a:pt x="20618" y="1612"/>
                  <a:pt x="19739" y="0"/>
                  <a:pt x="18655" y="0"/>
                </a:cubicBezTo>
                <a:lnTo>
                  <a:pt x="1964" y="0"/>
                </a:lnTo>
                <a:cubicBezTo>
                  <a:pt x="879" y="0"/>
                  <a:pt x="0" y="1612"/>
                  <a:pt x="0" y="3600"/>
                </a:cubicBezTo>
                <a:lnTo>
                  <a:pt x="0" y="18000"/>
                </a:lnTo>
                <a:cubicBezTo>
                  <a:pt x="0" y="19988"/>
                  <a:pt x="879" y="21600"/>
                  <a:pt x="1964" y="21600"/>
                </a:cubicBezTo>
                <a:lnTo>
                  <a:pt x="18655" y="21600"/>
                </a:lnTo>
                <a:cubicBezTo>
                  <a:pt x="19739" y="21600"/>
                  <a:pt x="20618" y="19988"/>
                  <a:pt x="20618" y="18000"/>
                </a:cubicBezTo>
                <a:lnTo>
                  <a:pt x="20618" y="14401"/>
                </a:lnTo>
                <a:cubicBezTo>
                  <a:pt x="21160" y="14401"/>
                  <a:pt x="21600" y="13594"/>
                  <a:pt x="21600" y="12600"/>
                </a:cubicBezTo>
                <a:lnTo>
                  <a:pt x="21600" y="9000"/>
                </a:lnTo>
                <a:cubicBezTo>
                  <a:pt x="21600" y="8006"/>
                  <a:pt x="21160" y="7200"/>
                  <a:pt x="20618" y="7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69" name="Shape 2669"/>
          <p:cNvSpPr/>
          <p:nvPr/>
        </p:nvSpPr>
        <p:spPr>
          <a:xfrm>
            <a:off x="3916982" y="6052650"/>
            <a:ext cx="507869" cy="5586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60" y="2161"/>
                </a:moveTo>
                <a:lnTo>
                  <a:pt x="12960" y="2178"/>
                </a:lnTo>
                <a:cubicBezTo>
                  <a:pt x="12662" y="2178"/>
                  <a:pt x="12420" y="2398"/>
                  <a:pt x="12420" y="2669"/>
                </a:cubicBezTo>
                <a:cubicBezTo>
                  <a:pt x="12420" y="2940"/>
                  <a:pt x="12662" y="3160"/>
                  <a:pt x="12960" y="3160"/>
                </a:cubicBezTo>
                <a:lnTo>
                  <a:pt x="12960" y="3172"/>
                </a:lnTo>
                <a:cubicBezTo>
                  <a:pt x="17287" y="4066"/>
                  <a:pt x="20520" y="7577"/>
                  <a:pt x="20520" y="11782"/>
                </a:cubicBezTo>
                <a:cubicBezTo>
                  <a:pt x="20520" y="16662"/>
                  <a:pt x="16168" y="20618"/>
                  <a:pt x="10800" y="20618"/>
                </a:cubicBezTo>
                <a:cubicBezTo>
                  <a:pt x="5432" y="20618"/>
                  <a:pt x="1080" y="16662"/>
                  <a:pt x="1080" y="11782"/>
                </a:cubicBezTo>
                <a:cubicBezTo>
                  <a:pt x="1080" y="7577"/>
                  <a:pt x="4313" y="4066"/>
                  <a:pt x="8640" y="3172"/>
                </a:cubicBezTo>
                <a:lnTo>
                  <a:pt x="8640" y="3160"/>
                </a:lnTo>
                <a:cubicBezTo>
                  <a:pt x="8938" y="3160"/>
                  <a:pt x="9180" y="2940"/>
                  <a:pt x="9180" y="2669"/>
                </a:cubicBezTo>
                <a:cubicBezTo>
                  <a:pt x="9180" y="2398"/>
                  <a:pt x="8938" y="2178"/>
                  <a:pt x="8640" y="2178"/>
                </a:cubicBezTo>
                <a:lnTo>
                  <a:pt x="8640" y="2161"/>
                </a:lnTo>
                <a:cubicBezTo>
                  <a:pt x="3710" y="3071"/>
                  <a:pt x="0" y="7031"/>
                  <a:pt x="0" y="11782"/>
                </a:cubicBezTo>
                <a:cubicBezTo>
                  <a:pt x="0" y="17204"/>
                  <a:pt x="4835" y="21600"/>
                  <a:pt x="10800" y="21600"/>
                </a:cubicBezTo>
                <a:cubicBezTo>
                  <a:pt x="16765" y="21600"/>
                  <a:pt x="21600" y="17204"/>
                  <a:pt x="21600" y="11782"/>
                </a:cubicBezTo>
                <a:cubicBezTo>
                  <a:pt x="21600" y="7031"/>
                  <a:pt x="17890" y="3071"/>
                  <a:pt x="12960" y="2161"/>
                </a:cubicBezTo>
                <a:moveTo>
                  <a:pt x="10800" y="12763"/>
                </a:moveTo>
                <a:cubicBezTo>
                  <a:pt x="11098" y="12763"/>
                  <a:pt x="11340" y="12544"/>
                  <a:pt x="11340" y="12272"/>
                </a:cubicBezTo>
                <a:lnTo>
                  <a:pt x="11340" y="491"/>
                </a:lnTo>
                <a:cubicBezTo>
                  <a:pt x="11340" y="220"/>
                  <a:pt x="11098" y="0"/>
                  <a:pt x="10800" y="0"/>
                </a:cubicBezTo>
                <a:cubicBezTo>
                  <a:pt x="10502" y="0"/>
                  <a:pt x="10260" y="220"/>
                  <a:pt x="10260" y="491"/>
                </a:cubicBezTo>
                <a:lnTo>
                  <a:pt x="10260" y="12272"/>
                </a:lnTo>
                <a:cubicBezTo>
                  <a:pt x="10260" y="12544"/>
                  <a:pt x="10502" y="12763"/>
                  <a:pt x="10800" y="1276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0" name="Shape 2670"/>
          <p:cNvSpPr/>
          <p:nvPr/>
        </p:nvSpPr>
        <p:spPr>
          <a:xfrm>
            <a:off x="4958109" y="6128834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21600"/>
                </a:moveTo>
                <a:lnTo>
                  <a:pt x="13255" y="21600"/>
                </a:lnTo>
                <a:lnTo>
                  <a:pt x="13255" y="0"/>
                </a:lnTo>
                <a:lnTo>
                  <a:pt x="12273" y="0"/>
                </a:lnTo>
                <a:cubicBezTo>
                  <a:pt x="12273" y="0"/>
                  <a:pt x="12273" y="21600"/>
                  <a:pt x="12273" y="21600"/>
                </a:cubicBezTo>
                <a:close/>
                <a:moveTo>
                  <a:pt x="14236" y="21600"/>
                </a:moveTo>
                <a:lnTo>
                  <a:pt x="16691" y="21600"/>
                </a:lnTo>
                <a:lnTo>
                  <a:pt x="16691" y="0"/>
                </a:lnTo>
                <a:lnTo>
                  <a:pt x="14236" y="0"/>
                </a:lnTo>
                <a:cubicBezTo>
                  <a:pt x="14236" y="0"/>
                  <a:pt x="14236" y="21600"/>
                  <a:pt x="14236" y="21600"/>
                </a:cubicBezTo>
                <a:close/>
                <a:moveTo>
                  <a:pt x="17673" y="21600"/>
                </a:moveTo>
                <a:lnTo>
                  <a:pt x="18655" y="21600"/>
                </a:lnTo>
                <a:lnTo>
                  <a:pt x="18655" y="0"/>
                </a:lnTo>
                <a:lnTo>
                  <a:pt x="17673" y="0"/>
                </a:lnTo>
                <a:cubicBezTo>
                  <a:pt x="17673" y="0"/>
                  <a:pt x="17673" y="21600"/>
                  <a:pt x="17673" y="21600"/>
                </a:cubicBezTo>
                <a:close/>
                <a:moveTo>
                  <a:pt x="20618" y="0"/>
                </a:moveTo>
                <a:lnTo>
                  <a:pt x="19636" y="0"/>
                </a:lnTo>
                <a:lnTo>
                  <a:pt x="19636" y="21600"/>
                </a:ln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4909" y="21600"/>
                </a:moveTo>
                <a:lnTo>
                  <a:pt x="5891" y="21600"/>
                </a:lnTo>
                <a:lnTo>
                  <a:pt x="5891" y="0"/>
                </a:lnTo>
                <a:lnTo>
                  <a:pt x="4909" y="0"/>
                </a:lnTo>
                <a:cubicBezTo>
                  <a:pt x="4909" y="0"/>
                  <a:pt x="4909" y="21600"/>
                  <a:pt x="4909" y="21600"/>
                </a:cubicBezTo>
                <a:close/>
                <a:moveTo>
                  <a:pt x="0" y="1350"/>
                </a:move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moveTo>
                  <a:pt x="1964" y="21600"/>
                </a:moveTo>
                <a:lnTo>
                  <a:pt x="3927" y="21600"/>
                </a:lnTo>
                <a:lnTo>
                  <a:pt x="3927" y="0"/>
                </a:lnTo>
                <a:lnTo>
                  <a:pt x="1964" y="0"/>
                </a:lnTo>
                <a:cubicBezTo>
                  <a:pt x="1964" y="0"/>
                  <a:pt x="1964" y="21600"/>
                  <a:pt x="1964" y="21600"/>
                </a:cubicBezTo>
                <a:close/>
                <a:moveTo>
                  <a:pt x="6873" y="21600"/>
                </a:moveTo>
                <a:lnTo>
                  <a:pt x="9327" y="21600"/>
                </a:lnTo>
                <a:lnTo>
                  <a:pt x="9327" y="0"/>
                </a:lnTo>
                <a:lnTo>
                  <a:pt x="6873" y="0"/>
                </a:lnTo>
                <a:cubicBezTo>
                  <a:pt x="6873" y="0"/>
                  <a:pt x="6873" y="21600"/>
                  <a:pt x="6873" y="21600"/>
                </a:cubicBezTo>
                <a:close/>
                <a:moveTo>
                  <a:pt x="10309" y="21600"/>
                </a:moveTo>
                <a:lnTo>
                  <a:pt x="11291" y="21600"/>
                </a:lnTo>
                <a:lnTo>
                  <a:pt x="11291" y="0"/>
                </a:lnTo>
                <a:lnTo>
                  <a:pt x="10309" y="0"/>
                </a:lnTo>
                <a:cubicBezTo>
                  <a:pt x="10309" y="0"/>
                  <a:pt x="10309" y="21600"/>
                  <a:pt x="10309" y="216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1" name="Shape 2671"/>
          <p:cNvSpPr/>
          <p:nvPr/>
        </p:nvSpPr>
        <p:spPr>
          <a:xfrm>
            <a:off x="6024631" y="6052650"/>
            <a:ext cx="558654" cy="5586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5421"/>
                </a:moveTo>
                <a:cubicBezTo>
                  <a:pt x="10666" y="15276"/>
                  <a:pt x="10995" y="15082"/>
                  <a:pt x="11291" y="14845"/>
                </a:cubicBezTo>
                <a:lnTo>
                  <a:pt x="11291" y="8719"/>
                </a:lnTo>
                <a:cubicBezTo>
                  <a:pt x="10995" y="8482"/>
                  <a:pt x="10666" y="8287"/>
                  <a:pt x="10309" y="8143"/>
                </a:cubicBezTo>
                <a:cubicBezTo>
                  <a:pt x="10309" y="8143"/>
                  <a:pt x="10309" y="15421"/>
                  <a:pt x="10309" y="15421"/>
                </a:cubicBezTo>
                <a:close/>
                <a:moveTo>
                  <a:pt x="12273" y="13681"/>
                </a:moveTo>
                <a:cubicBezTo>
                  <a:pt x="12585" y="13118"/>
                  <a:pt x="12764" y="12471"/>
                  <a:pt x="12764" y="11782"/>
                </a:cubicBezTo>
                <a:cubicBezTo>
                  <a:pt x="12764" y="11092"/>
                  <a:pt x="12585" y="10445"/>
                  <a:pt x="12273" y="9882"/>
                </a:cubicBezTo>
                <a:cubicBezTo>
                  <a:pt x="12273" y="9882"/>
                  <a:pt x="12273" y="13681"/>
                  <a:pt x="12273" y="13681"/>
                </a:cubicBezTo>
                <a:close/>
                <a:moveTo>
                  <a:pt x="5891" y="14373"/>
                </a:moveTo>
                <a:lnTo>
                  <a:pt x="5891" y="9190"/>
                </a:lnTo>
                <a:cubicBezTo>
                  <a:pt x="5282" y="9882"/>
                  <a:pt x="4909" y="10788"/>
                  <a:pt x="4909" y="11782"/>
                </a:cubicBezTo>
                <a:cubicBezTo>
                  <a:pt x="4909" y="12776"/>
                  <a:pt x="5282" y="13681"/>
                  <a:pt x="5891" y="14373"/>
                </a:cubicBezTo>
                <a:moveTo>
                  <a:pt x="6873" y="8384"/>
                </a:moveTo>
                <a:lnTo>
                  <a:pt x="6873" y="15179"/>
                </a:lnTo>
                <a:cubicBezTo>
                  <a:pt x="7451" y="15514"/>
                  <a:pt x="8120" y="15709"/>
                  <a:pt x="8836" y="15709"/>
                </a:cubicBezTo>
                <a:cubicBezTo>
                  <a:pt x="9003" y="15709"/>
                  <a:pt x="9166" y="15696"/>
                  <a:pt x="9327" y="15675"/>
                </a:cubicBezTo>
                <a:lnTo>
                  <a:pt x="9327" y="7888"/>
                </a:lnTo>
                <a:cubicBezTo>
                  <a:pt x="9166" y="7868"/>
                  <a:pt x="9003" y="7854"/>
                  <a:pt x="8836" y="7854"/>
                </a:cubicBezTo>
                <a:cubicBezTo>
                  <a:pt x="8120" y="7854"/>
                  <a:pt x="7451" y="8049"/>
                  <a:pt x="6873" y="8384"/>
                </a:cubicBezTo>
                <a:moveTo>
                  <a:pt x="20618" y="0"/>
                </a:moveTo>
                <a:lnTo>
                  <a:pt x="19636" y="0"/>
                </a:lnTo>
                <a:lnTo>
                  <a:pt x="19636" y="15709"/>
                </a:ln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8836" y="17672"/>
                </a:moveTo>
                <a:cubicBezTo>
                  <a:pt x="5583" y="17672"/>
                  <a:pt x="2945" y="15035"/>
                  <a:pt x="2945" y="11782"/>
                </a:cubicBezTo>
                <a:cubicBezTo>
                  <a:pt x="2945" y="8528"/>
                  <a:pt x="5583" y="5891"/>
                  <a:pt x="8836" y="5891"/>
                </a:cubicBezTo>
                <a:cubicBezTo>
                  <a:pt x="12090" y="5891"/>
                  <a:pt x="14727" y="8528"/>
                  <a:pt x="14727" y="11782"/>
                </a:cubicBezTo>
                <a:cubicBezTo>
                  <a:pt x="14727" y="15035"/>
                  <a:pt x="12090" y="17672"/>
                  <a:pt x="8836" y="17672"/>
                </a:cubicBezTo>
                <a:moveTo>
                  <a:pt x="14027" y="16277"/>
                </a:moveTo>
                <a:cubicBezTo>
                  <a:pt x="15072" y="15072"/>
                  <a:pt x="15709" y="13503"/>
                  <a:pt x="15709" y="11782"/>
                </a:cubicBezTo>
                <a:cubicBezTo>
                  <a:pt x="15709" y="7986"/>
                  <a:pt x="12632" y="4909"/>
                  <a:pt x="8836" y="4909"/>
                </a:cubicBezTo>
                <a:cubicBezTo>
                  <a:pt x="5041" y="4909"/>
                  <a:pt x="1964" y="7986"/>
                  <a:pt x="1964" y="11782"/>
                </a:cubicBezTo>
                <a:cubicBezTo>
                  <a:pt x="1964" y="15577"/>
                  <a:pt x="5041" y="18654"/>
                  <a:pt x="8836" y="18654"/>
                </a:cubicBezTo>
                <a:cubicBezTo>
                  <a:pt x="10557" y="18654"/>
                  <a:pt x="12127" y="18017"/>
                  <a:pt x="13333" y="16972"/>
                </a:cubicBezTo>
                <a:lnTo>
                  <a:pt x="17817" y="21456"/>
                </a:lnTo>
                <a:cubicBezTo>
                  <a:pt x="17905" y="21545"/>
                  <a:pt x="18028" y="21600"/>
                  <a:pt x="18164" y="21600"/>
                </a:cubicBezTo>
                <a:cubicBezTo>
                  <a:pt x="18434" y="21600"/>
                  <a:pt x="18655" y="21380"/>
                  <a:pt x="18655" y="21109"/>
                </a:cubicBezTo>
                <a:cubicBezTo>
                  <a:pt x="18655" y="20974"/>
                  <a:pt x="18600" y="20851"/>
                  <a:pt x="18511" y="20762"/>
                </a:cubicBezTo>
                <a:cubicBezTo>
                  <a:pt x="18511" y="20762"/>
                  <a:pt x="14027" y="16277"/>
                  <a:pt x="14027" y="16277"/>
                </a:cubicBezTo>
                <a:close/>
                <a:moveTo>
                  <a:pt x="17673" y="15709"/>
                </a:moveTo>
                <a:lnTo>
                  <a:pt x="18655" y="15709"/>
                </a:lnTo>
                <a:lnTo>
                  <a:pt x="18655" y="0"/>
                </a:lnTo>
                <a:lnTo>
                  <a:pt x="17673" y="0"/>
                </a:lnTo>
                <a:cubicBezTo>
                  <a:pt x="17673" y="0"/>
                  <a:pt x="17673" y="15709"/>
                  <a:pt x="17673" y="15709"/>
                </a:cubicBezTo>
                <a:close/>
                <a:moveTo>
                  <a:pt x="16691" y="15709"/>
                </a:moveTo>
                <a:lnTo>
                  <a:pt x="16691" y="11783"/>
                </a:lnTo>
                <a:cubicBezTo>
                  <a:pt x="16691" y="13214"/>
                  <a:pt x="16301" y="14553"/>
                  <a:pt x="15631" y="15709"/>
                </a:cubicBezTo>
                <a:cubicBezTo>
                  <a:pt x="15631" y="15709"/>
                  <a:pt x="16691" y="15709"/>
                  <a:pt x="16691" y="15709"/>
                </a:cubicBezTo>
                <a:close/>
                <a:moveTo>
                  <a:pt x="16691" y="0"/>
                </a:moveTo>
                <a:lnTo>
                  <a:pt x="14236" y="0"/>
                </a:lnTo>
                <a:lnTo>
                  <a:pt x="14236" y="6088"/>
                </a:lnTo>
                <a:cubicBezTo>
                  <a:pt x="15745" y="7519"/>
                  <a:pt x="16691" y="9538"/>
                  <a:pt x="16691" y="11781"/>
                </a:cubicBezTo>
                <a:cubicBezTo>
                  <a:pt x="16691" y="11781"/>
                  <a:pt x="16691" y="0"/>
                  <a:pt x="16691" y="0"/>
                </a:cubicBezTo>
                <a:close/>
                <a:moveTo>
                  <a:pt x="11291" y="0"/>
                </a:moveTo>
                <a:lnTo>
                  <a:pt x="10309" y="0"/>
                </a:lnTo>
                <a:lnTo>
                  <a:pt x="10309" y="4070"/>
                </a:lnTo>
                <a:cubicBezTo>
                  <a:pt x="10645" y="4134"/>
                  <a:pt x="10972" y="4219"/>
                  <a:pt x="11291" y="4324"/>
                </a:cubicBezTo>
                <a:cubicBezTo>
                  <a:pt x="11291" y="4324"/>
                  <a:pt x="11291" y="0"/>
                  <a:pt x="11291" y="0"/>
                </a:cubicBezTo>
                <a:close/>
                <a:moveTo>
                  <a:pt x="1964" y="15709"/>
                </a:moveTo>
                <a:lnTo>
                  <a:pt x="2041" y="15709"/>
                </a:lnTo>
                <a:cubicBezTo>
                  <a:pt x="2016" y="15666"/>
                  <a:pt x="1988" y="15625"/>
                  <a:pt x="1964" y="15581"/>
                </a:cubicBezTo>
                <a:cubicBezTo>
                  <a:pt x="1964" y="15581"/>
                  <a:pt x="1964" y="15709"/>
                  <a:pt x="1964" y="15709"/>
                </a:cubicBezTo>
                <a:close/>
                <a:moveTo>
                  <a:pt x="13255" y="0"/>
                </a:moveTo>
                <a:lnTo>
                  <a:pt x="12273" y="0"/>
                </a:lnTo>
                <a:lnTo>
                  <a:pt x="12273" y="4727"/>
                </a:lnTo>
                <a:cubicBezTo>
                  <a:pt x="12613" y="4894"/>
                  <a:pt x="12944" y="5077"/>
                  <a:pt x="13255" y="5289"/>
                </a:cubicBezTo>
                <a:cubicBezTo>
                  <a:pt x="13255" y="5289"/>
                  <a:pt x="13255" y="0"/>
                  <a:pt x="13255" y="0"/>
                </a:cubicBezTo>
                <a:close/>
                <a:moveTo>
                  <a:pt x="9327" y="3952"/>
                </a:moveTo>
                <a:lnTo>
                  <a:pt x="9327" y="0"/>
                </a:lnTo>
                <a:lnTo>
                  <a:pt x="6873" y="0"/>
                </a:lnTo>
                <a:lnTo>
                  <a:pt x="6873" y="4185"/>
                </a:lnTo>
                <a:cubicBezTo>
                  <a:pt x="7501" y="4023"/>
                  <a:pt x="8157" y="3927"/>
                  <a:pt x="8836" y="3927"/>
                </a:cubicBezTo>
                <a:cubicBezTo>
                  <a:pt x="9002" y="3927"/>
                  <a:pt x="9164" y="3942"/>
                  <a:pt x="9327" y="3952"/>
                </a:cubicBezTo>
                <a:moveTo>
                  <a:pt x="5891" y="0"/>
                </a:moveTo>
                <a:lnTo>
                  <a:pt x="4909" y="0"/>
                </a:lnTo>
                <a:lnTo>
                  <a:pt x="4909" y="4987"/>
                </a:lnTo>
                <a:cubicBezTo>
                  <a:pt x="5224" y="4804"/>
                  <a:pt x="5551" y="4641"/>
                  <a:pt x="5891" y="4504"/>
                </a:cubicBezTo>
                <a:cubicBezTo>
                  <a:pt x="5891" y="4504"/>
                  <a:pt x="5891" y="0"/>
                  <a:pt x="5891" y="0"/>
                </a:cubicBezTo>
                <a:close/>
                <a:moveTo>
                  <a:pt x="0" y="982"/>
                </a:move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moveTo>
                  <a:pt x="3927" y="5656"/>
                </a:moveTo>
                <a:lnTo>
                  <a:pt x="3927" y="0"/>
                </a:lnTo>
                <a:lnTo>
                  <a:pt x="1964" y="0"/>
                </a:lnTo>
                <a:lnTo>
                  <a:pt x="1964" y="7982"/>
                </a:lnTo>
                <a:cubicBezTo>
                  <a:pt x="2462" y="7084"/>
                  <a:pt x="3131" y="6294"/>
                  <a:pt x="3927" y="565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2" name="Shape 2672"/>
          <p:cNvSpPr/>
          <p:nvPr/>
        </p:nvSpPr>
        <p:spPr>
          <a:xfrm>
            <a:off x="7091154" y="6128834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21600"/>
                </a:moveTo>
                <a:lnTo>
                  <a:pt x="11782" y="21600"/>
                </a:lnTo>
                <a:lnTo>
                  <a:pt x="11782" y="17550"/>
                </a:lnTo>
                <a:lnTo>
                  <a:pt x="9818" y="17550"/>
                </a:lnTo>
                <a:cubicBezTo>
                  <a:pt x="9818" y="17550"/>
                  <a:pt x="9818" y="21600"/>
                  <a:pt x="9818" y="21600"/>
                </a:cubicBezTo>
                <a:close/>
                <a:moveTo>
                  <a:pt x="7855" y="21600"/>
                </a:moveTo>
                <a:lnTo>
                  <a:pt x="8836" y="21600"/>
                </a:lnTo>
                <a:lnTo>
                  <a:pt x="8836" y="17550"/>
                </a:lnTo>
                <a:lnTo>
                  <a:pt x="7855" y="17550"/>
                </a:lnTo>
                <a:cubicBezTo>
                  <a:pt x="7855" y="17550"/>
                  <a:pt x="7855" y="21600"/>
                  <a:pt x="7855" y="21600"/>
                </a:cubicBezTo>
                <a:close/>
                <a:moveTo>
                  <a:pt x="2945" y="21600"/>
                </a:moveTo>
                <a:lnTo>
                  <a:pt x="3927" y="21600"/>
                </a:lnTo>
                <a:lnTo>
                  <a:pt x="3927" y="17550"/>
                </a:lnTo>
                <a:lnTo>
                  <a:pt x="2945" y="17550"/>
                </a:lnTo>
                <a:cubicBezTo>
                  <a:pt x="2945" y="17550"/>
                  <a:pt x="2945" y="21600"/>
                  <a:pt x="2945" y="21600"/>
                </a:cubicBezTo>
                <a:close/>
                <a:moveTo>
                  <a:pt x="4909" y="21600"/>
                </a:moveTo>
                <a:lnTo>
                  <a:pt x="6873" y="21600"/>
                </a:lnTo>
                <a:lnTo>
                  <a:pt x="6873" y="17550"/>
                </a:lnTo>
                <a:lnTo>
                  <a:pt x="4909" y="17550"/>
                </a:lnTo>
                <a:cubicBezTo>
                  <a:pt x="4909" y="17550"/>
                  <a:pt x="4909" y="21600"/>
                  <a:pt x="4909" y="21600"/>
                </a:cubicBezTo>
                <a:close/>
                <a:moveTo>
                  <a:pt x="12764" y="21600"/>
                </a:moveTo>
                <a:lnTo>
                  <a:pt x="13745" y="21600"/>
                </a:lnTo>
                <a:lnTo>
                  <a:pt x="13745" y="17550"/>
                </a:lnTo>
                <a:lnTo>
                  <a:pt x="12764" y="17550"/>
                </a:lnTo>
                <a:cubicBezTo>
                  <a:pt x="12764" y="17550"/>
                  <a:pt x="12764" y="21600"/>
                  <a:pt x="12764" y="21600"/>
                </a:cubicBezTo>
                <a:close/>
                <a:moveTo>
                  <a:pt x="20618" y="14850"/>
                </a:moveTo>
                <a:lnTo>
                  <a:pt x="982" y="14850"/>
                </a:lnTo>
                <a:lnTo>
                  <a:pt x="982" y="13500"/>
                </a:lnTo>
                <a:lnTo>
                  <a:pt x="20618" y="13500"/>
                </a:lnTo>
                <a:cubicBezTo>
                  <a:pt x="20618" y="13500"/>
                  <a:pt x="20618" y="14850"/>
                  <a:pt x="20618" y="14850"/>
                </a:cubicBezTo>
                <a:close/>
                <a:moveTo>
                  <a:pt x="20618" y="12150"/>
                </a:moveTo>
                <a:lnTo>
                  <a:pt x="982" y="12150"/>
                </a:lnTo>
                <a:cubicBezTo>
                  <a:pt x="440" y="12150"/>
                  <a:pt x="0" y="12755"/>
                  <a:pt x="0" y="13500"/>
                </a:cubicBezTo>
                <a:lnTo>
                  <a:pt x="0" y="14850"/>
                </a:lnTo>
                <a:cubicBezTo>
                  <a:pt x="0" y="15595"/>
                  <a:pt x="440" y="16200"/>
                  <a:pt x="982" y="16200"/>
                </a:cubicBezTo>
                <a:lnTo>
                  <a:pt x="20618" y="16200"/>
                </a:lnTo>
                <a:cubicBezTo>
                  <a:pt x="21160" y="16200"/>
                  <a:pt x="21600" y="15595"/>
                  <a:pt x="21600" y="14850"/>
                </a:cubicBezTo>
                <a:lnTo>
                  <a:pt x="21600" y="13500"/>
                </a:lnTo>
                <a:cubicBezTo>
                  <a:pt x="21600" y="12755"/>
                  <a:pt x="21160" y="12150"/>
                  <a:pt x="20618" y="12150"/>
                </a:cubicBezTo>
                <a:moveTo>
                  <a:pt x="982" y="20250"/>
                </a:moveTo>
                <a:cubicBezTo>
                  <a:pt x="982" y="20996"/>
                  <a:pt x="1422" y="21600"/>
                  <a:pt x="1964" y="21600"/>
                </a:cubicBezTo>
                <a:lnTo>
                  <a:pt x="1964" y="17550"/>
                </a:lnTo>
                <a:lnTo>
                  <a:pt x="982" y="17550"/>
                </a:lnTo>
                <a:cubicBezTo>
                  <a:pt x="982" y="17550"/>
                  <a:pt x="982" y="20250"/>
                  <a:pt x="982" y="20250"/>
                </a:cubicBezTo>
                <a:close/>
                <a:moveTo>
                  <a:pt x="16691" y="21600"/>
                </a:moveTo>
                <a:lnTo>
                  <a:pt x="17673" y="21600"/>
                </a:lnTo>
                <a:lnTo>
                  <a:pt x="17673" y="17550"/>
                </a:lnTo>
                <a:lnTo>
                  <a:pt x="16691" y="17550"/>
                </a:lnTo>
                <a:cubicBezTo>
                  <a:pt x="16691" y="17550"/>
                  <a:pt x="16691" y="21600"/>
                  <a:pt x="16691" y="21600"/>
                </a:cubicBezTo>
                <a:close/>
                <a:moveTo>
                  <a:pt x="14727" y="21600"/>
                </a:moveTo>
                <a:lnTo>
                  <a:pt x="15709" y="21600"/>
                </a:lnTo>
                <a:lnTo>
                  <a:pt x="15709" y="17550"/>
                </a:lnTo>
                <a:lnTo>
                  <a:pt x="14727" y="17550"/>
                </a:lnTo>
                <a:cubicBezTo>
                  <a:pt x="14727" y="17550"/>
                  <a:pt x="14727" y="21600"/>
                  <a:pt x="14727" y="21600"/>
                </a:cubicBezTo>
                <a:close/>
                <a:moveTo>
                  <a:pt x="18655" y="21600"/>
                </a:moveTo>
                <a:lnTo>
                  <a:pt x="19636" y="21600"/>
                </a:lnTo>
                <a:cubicBezTo>
                  <a:pt x="20178" y="21600"/>
                  <a:pt x="20618" y="20996"/>
                  <a:pt x="20618" y="20250"/>
                </a:cubicBezTo>
                <a:lnTo>
                  <a:pt x="20618" y="17550"/>
                </a:lnTo>
                <a:lnTo>
                  <a:pt x="18655" y="17550"/>
                </a:lnTo>
                <a:cubicBezTo>
                  <a:pt x="18655" y="17550"/>
                  <a:pt x="18655" y="21600"/>
                  <a:pt x="18655" y="21600"/>
                </a:cubicBezTo>
                <a:close/>
                <a:moveTo>
                  <a:pt x="15709" y="0"/>
                </a:moveTo>
                <a:lnTo>
                  <a:pt x="14727" y="0"/>
                </a:lnTo>
                <a:lnTo>
                  <a:pt x="14727" y="10800"/>
                </a:lnTo>
                <a:lnTo>
                  <a:pt x="15709" y="10800"/>
                </a:lnTo>
                <a:cubicBezTo>
                  <a:pt x="15709" y="10800"/>
                  <a:pt x="15709" y="0"/>
                  <a:pt x="15709" y="0"/>
                </a:cubicBezTo>
                <a:close/>
                <a:moveTo>
                  <a:pt x="20618" y="1350"/>
                </a:moveTo>
                <a:cubicBezTo>
                  <a:pt x="20618" y="605"/>
                  <a:pt x="20178" y="0"/>
                  <a:pt x="19636" y="0"/>
                </a:cubicBezTo>
                <a:lnTo>
                  <a:pt x="18655" y="0"/>
                </a:lnTo>
                <a:lnTo>
                  <a:pt x="18655" y="10800"/>
                </a:lnTo>
                <a:lnTo>
                  <a:pt x="20618" y="10800"/>
                </a:lnTo>
                <a:cubicBezTo>
                  <a:pt x="20618" y="10800"/>
                  <a:pt x="20618" y="1350"/>
                  <a:pt x="20618" y="1350"/>
                </a:cubicBezTo>
                <a:close/>
                <a:moveTo>
                  <a:pt x="13745" y="0"/>
                </a:moveTo>
                <a:lnTo>
                  <a:pt x="12764" y="0"/>
                </a:lnTo>
                <a:lnTo>
                  <a:pt x="12764" y="10800"/>
                </a:lnTo>
                <a:lnTo>
                  <a:pt x="13745" y="10800"/>
                </a:lnTo>
                <a:cubicBezTo>
                  <a:pt x="13745" y="10800"/>
                  <a:pt x="13745" y="0"/>
                  <a:pt x="13745" y="0"/>
                </a:cubicBezTo>
                <a:close/>
                <a:moveTo>
                  <a:pt x="17673" y="0"/>
                </a:moveTo>
                <a:lnTo>
                  <a:pt x="16691" y="0"/>
                </a:lnTo>
                <a:lnTo>
                  <a:pt x="16691" y="10800"/>
                </a:lnTo>
                <a:lnTo>
                  <a:pt x="17673" y="10800"/>
                </a:lnTo>
                <a:cubicBezTo>
                  <a:pt x="17673" y="10800"/>
                  <a:pt x="17673" y="0"/>
                  <a:pt x="17673" y="0"/>
                </a:cubicBezTo>
                <a:close/>
                <a:moveTo>
                  <a:pt x="1964" y="0"/>
                </a:moveTo>
                <a:cubicBezTo>
                  <a:pt x="1422" y="0"/>
                  <a:pt x="982" y="605"/>
                  <a:pt x="982" y="1350"/>
                </a:cubicBezTo>
                <a:lnTo>
                  <a:pt x="982" y="10800"/>
                </a:lnTo>
                <a:lnTo>
                  <a:pt x="1964" y="10800"/>
                </a:lnTo>
                <a:cubicBezTo>
                  <a:pt x="1964" y="10800"/>
                  <a:pt x="1964" y="0"/>
                  <a:pt x="1964" y="0"/>
                </a:cubicBezTo>
                <a:close/>
                <a:moveTo>
                  <a:pt x="3927" y="0"/>
                </a:moveTo>
                <a:lnTo>
                  <a:pt x="2945" y="0"/>
                </a:lnTo>
                <a:lnTo>
                  <a:pt x="2945" y="10800"/>
                </a:lnTo>
                <a:lnTo>
                  <a:pt x="3927" y="10800"/>
                </a:lnTo>
                <a:cubicBezTo>
                  <a:pt x="3927" y="10800"/>
                  <a:pt x="3927" y="0"/>
                  <a:pt x="3927" y="0"/>
                </a:cubicBezTo>
                <a:close/>
                <a:moveTo>
                  <a:pt x="6873" y="0"/>
                </a:moveTo>
                <a:lnTo>
                  <a:pt x="4909" y="0"/>
                </a:lnTo>
                <a:lnTo>
                  <a:pt x="4909" y="10800"/>
                </a:lnTo>
                <a:lnTo>
                  <a:pt x="6873" y="10800"/>
                </a:lnTo>
                <a:cubicBezTo>
                  <a:pt x="6873" y="10800"/>
                  <a:pt x="6873" y="0"/>
                  <a:pt x="6873" y="0"/>
                </a:cubicBezTo>
                <a:close/>
                <a:moveTo>
                  <a:pt x="8836" y="0"/>
                </a:moveTo>
                <a:lnTo>
                  <a:pt x="7855" y="0"/>
                </a:lnTo>
                <a:lnTo>
                  <a:pt x="7855" y="10800"/>
                </a:lnTo>
                <a:lnTo>
                  <a:pt x="8836" y="10800"/>
                </a:lnTo>
                <a:cubicBezTo>
                  <a:pt x="8836" y="10800"/>
                  <a:pt x="8836" y="0"/>
                  <a:pt x="8836" y="0"/>
                </a:cubicBezTo>
                <a:close/>
                <a:moveTo>
                  <a:pt x="11782" y="0"/>
                </a:moveTo>
                <a:lnTo>
                  <a:pt x="9818" y="0"/>
                </a:lnTo>
                <a:lnTo>
                  <a:pt x="9818" y="10800"/>
                </a:lnTo>
                <a:lnTo>
                  <a:pt x="11782" y="10800"/>
                </a:lnTo>
                <a:cubicBezTo>
                  <a:pt x="11782" y="10800"/>
                  <a:pt x="11782" y="0"/>
                  <a:pt x="11782" y="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3" name="Shape 2673"/>
          <p:cNvSpPr/>
          <p:nvPr/>
        </p:nvSpPr>
        <p:spPr>
          <a:xfrm>
            <a:off x="8157677" y="605265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0309"/>
                </a:moveTo>
                <a:cubicBezTo>
                  <a:pt x="2726" y="10309"/>
                  <a:pt x="2945" y="10090"/>
                  <a:pt x="2945" y="9818"/>
                </a:cubicBezTo>
                <a:cubicBezTo>
                  <a:pt x="2945" y="9547"/>
                  <a:pt x="2726" y="9327"/>
                  <a:pt x="2455" y="9327"/>
                </a:cubicBezTo>
                <a:cubicBezTo>
                  <a:pt x="2183" y="9327"/>
                  <a:pt x="1964" y="9547"/>
                  <a:pt x="1964" y="9818"/>
                </a:cubicBezTo>
                <a:cubicBezTo>
                  <a:pt x="1964" y="10090"/>
                  <a:pt x="2183" y="10309"/>
                  <a:pt x="2455" y="10309"/>
                </a:cubicBezTo>
                <a:moveTo>
                  <a:pt x="20618" y="11782"/>
                </a:moveTo>
                <a:lnTo>
                  <a:pt x="982" y="11782"/>
                </a:ln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1782"/>
                  <a:pt x="20618" y="11782"/>
                </a:cubicBezTo>
                <a:close/>
                <a:moveTo>
                  <a:pt x="2945" y="982"/>
                </a:moveTo>
                <a:lnTo>
                  <a:pt x="14727" y="982"/>
                </a:lnTo>
                <a:lnTo>
                  <a:pt x="14727" y="4418"/>
                </a:lnTo>
                <a:cubicBezTo>
                  <a:pt x="14727" y="4690"/>
                  <a:pt x="14947" y="4909"/>
                  <a:pt x="15218" y="4909"/>
                </a:cubicBezTo>
                <a:lnTo>
                  <a:pt x="18655" y="4909"/>
                </a:lnTo>
                <a:lnTo>
                  <a:pt x="18655" y="6873"/>
                </a:lnTo>
                <a:lnTo>
                  <a:pt x="2945" y="6873"/>
                </a:lnTo>
                <a:cubicBezTo>
                  <a:pt x="2945" y="6873"/>
                  <a:pt x="2945" y="982"/>
                  <a:pt x="2945" y="982"/>
                </a:cubicBezTo>
                <a:close/>
                <a:moveTo>
                  <a:pt x="15709" y="1473"/>
                </a:moveTo>
                <a:lnTo>
                  <a:pt x="18164" y="3927"/>
                </a:lnTo>
                <a:lnTo>
                  <a:pt x="15709" y="3927"/>
                </a:lnTo>
                <a:cubicBezTo>
                  <a:pt x="15709" y="3927"/>
                  <a:pt x="15709" y="1473"/>
                  <a:pt x="15709" y="1473"/>
                </a:cubicBezTo>
                <a:close/>
                <a:moveTo>
                  <a:pt x="20618" y="6873"/>
                </a:moveTo>
                <a:lnTo>
                  <a:pt x="19636" y="6873"/>
                </a:lnTo>
                <a:lnTo>
                  <a:pt x="19636" y="3927"/>
                </a:lnTo>
                <a:lnTo>
                  <a:pt x="15709" y="0"/>
                </a:lnTo>
                <a:lnTo>
                  <a:pt x="2945" y="0"/>
                </a:lnTo>
                <a:cubicBezTo>
                  <a:pt x="2403" y="0"/>
                  <a:pt x="1964" y="440"/>
                  <a:pt x="1964" y="982"/>
                </a:cubicBezTo>
                <a:lnTo>
                  <a:pt x="1964" y="6873"/>
                </a:lnTo>
                <a:lnTo>
                  <a:pt x="982" y="6873"/>
                </a:lnTo>
                <a:cubicBezTo>
                  <a:pt x="439" y="6873"/>
                  <a:pt x="0" y="7313"/>
                  <a:pt x="0" y="7855"/>
                </a:cubicBezTo>
                <a:lnTo>
                  <a:pt x="0" y="11782"/>
                </a:lnTo>
                <a:cubicBezTo>
                  <a:pt x="0" y="12324"/>
                  <a:pt x="439" y="12764"/>
                  <a:pt x="982" y="12764"/>
                </a:cubicBezTo>
                <a:lnTo>
                  <a:pt x="1964" y="12764"/>
                </a:lnTo>
                <a:lnTo>
                  <a:pt x="1964" y="21109"/>
                </a:lnTo>
                <a:cubicBezTo>
                  <a:pt x="1964" y="21381"/>
                  <a:pt x="2183" y="21600"/>
                  <a:pt x="2455" y="21600"/>
                </a:cubicBezTo>
                <a:cubicBezTo>
                  <a:pt x="2726" y="21600"/>
                  <a:pt x="2945" y="21381"/>
                  <a:pt x="2945" y="21109"/>
                </a:cubicBezTo>
                <a:lnTo>
                  <a:pt x="2945" y="12764"/>
                </a:lnTo>
                <a:lnTo>
                  <a:pt x="3927" y="12764"/>
                </a:ln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cubicBezTo>
                  <a:pt x="4690" y="18655"/>
                  <a:pt x="4909" y="18435"/>
                  <a:pt x="4909" y="18164"/>
                </a:cubicBezTo>
                <a:lnTo>
                  <a:pt x="4909" y="12764"/>
                </a:lnTo>
                <a:lnTo>
                  <a:pt x="5891" y="12764"/>
                </a:lnTo>
                <a:lnTo>
                  <a:pt x="5891" y="15218"/>
                </a:lnTo>
                <a:cubicBezTo>
                  <a:pt x="5891" y="15490"/>
                  <a:pt x="6110" y="15709"/>
                  <a:pt x="6382" y="15709"/>
                </a:cubicBezTo>
                <a:cubicBezTo>
                  <a:pt x="6653" y="15709"/>
                  <a:pt x="6873" y="15490"/>
                  <a:pt x="6873" y="15218"/>
                </a:cubicBezTo>
                <a:lnTo>
                  <a:pt x="6873" y="12764"/>
                </a:lnTo>
                <a:lnTo>
                  <a:pt x="7855" y="12764"/>
                </a:lnTo>
                <a:lnTo>
                  <a:pt x="7855" y="20127"/>
                </a:lnTo>
                <a:cubicBezTo>
                  <a:pt x="7855" y="20399"/>
                  <a:pt x="8074" y="20618"/>
                  <a:pt x="8345" y="20618"/>
                </a:cubicBezTo>
                <a:cubicBezTo>
                  <a:pt x="8617" y="20618"/>
                  <a:pt x="8836" y="20399"/>
                  <a:pt x="8836" y="20127"/>
                </a:cubicBezTo>
                <a:lnTo>
                  <a:pt x="8836" y="12764"/>
                </a:lnTo>
                <a:lnTo>
                  <a:pt x="10309" y="12764"/>
                </a:lnTo>
                <a:lnTo>
                  <a:pt x="10309" y="19145"/>
                </a:lnTo>
                <a:cubicBezTo>
                  <a:pt x="10309" y="19417"/>
                  <a:pt x="10529" y="19636"/>
                  <a:pt x="10800" y="19636"/>
                </a:cubicBezTo>
                <a:cubicBezTo>
                  <a:pt x="11071" y="19636"/>
                  <a:pt x="11291" y="19417"/>
                  <a:pt x="11291" y="19145"/>
                </a:cubicBezTo>
                <a:lnTo>
                  <a:pt x="11291" y="12764"/>
                </a:lnTo>
                <a:lnTo>
                  <a:pt x="12764" y="12764"/>
                </a:lnTo>
                <a:lnTo>
                  <a:pt x="12764" y="16200"/>
                </a:lnTo>
                <a:cubicBezTo>
                  <a:pt x="12764" y="16472"/>
                  <a:pt x="12983" y="16691"/>
                  <a:pt x="13255" y="16691"/>
                </a:cubicBezTo>
                <a:cubicBezTo>
                  <a:pt x="13526" y="16691"/>
                  <a:pt x="13745" y="16472"/>
                  <a:pt x="13745" y="16200"/>
                </a:cubicBezTo>
                <a:lnTo>
                  <a:pt x="13745" y="12764"/>
                </a:lnTo>
                <a:lnTo>
                  <a:pt x="14727" y="12764"/>
                </a:lnTo>
                <a:lnTo>
                  <a:pt x="14727" y="17182"/>
                </a:lnTo>
                <a:cubicBezTo>
                  <a:pt x="14727" y="17453"/>
                  <a:pt x="14947" y="17673"/>
                  <a:pt x="15218" y="17673"/>
                </a:cubicBezTo>
                <a:cubicBezTo>
                  <a:pt x="15490" y="17673"/>
                  <a:pt x="15709" y="17453"/>
                  <a:pt x="15709" y="17182"/>
                </a:cubicBezTo>
                <a:lnTo>
                  <a:pt x="15709" y="12764"/>
                </a:lnTo>
                <a:lnTo>
                  <a:pt x="16691" y="12764"/>
                </a:lnTo>
                <a:lnTo>
                  <a:pt x="16691" y="20127"/>
                </a:lnTo>
                <a:cubicBezTo>
                  <a:pt x="16691" y="20399"/>
                  <a:pt x="16910" y="20618"/>
                  <a:pt x="17182" y="20618"/>
                </a:cubicBezTo>
                <a:cubicBezTo>
                  <a:pt x="17453" y="20618"/>
                  <a:pt x="17673" y="20399"/>
                  <a:pt x="17673" y="20127"/>
                </a:cubicBezTo>
                <a:lnTo>
                  <a:pt x="17673" y="12764"/>
                </a:lnTo>
                <a:lnTo>
                  <a:pt x="18655" y="12764"/>
                </a:lnTo>
                <a:lnTo>
                  <a:pt x="18655" y="19145"/>
                </a:lnTo>
                <a:cubicBezTo>
                  <a:pt x="18655" y="19417"/>
                  <a:pt x="18874" y="19636"/>
                  <a:pt x="19145" y="19636"/>
                </a:cubicBezTo>
                <a:cubicBezTo>
                  <a:pt x="19417" y="19636"/>
                  <a:pt x="19636" y="19417"/>
                  <a:pt x="19636" y="19145"/>
                </a:cubicBezTo>
                <a:lnTo>
                  <a:pt x="19636" y="12764"/>
                </a:lnTo>
                <a:lnTo>
                  <a:pt x="20618" y="12764"/>
                </a:lnTo>
                <a:cubicBezTo>
                  <a:pt x="21160" y="12764"/>
                  <a:pt x="21600" y="12324"/>
                  <a:pt x="21600" y="11782"/>
                </a:cubicBezTo>
                <a:lnTo>
                  <a:pt x="21600" y="7855"/>
                </a:lnTo>
                <a:cubicBezTo>
                  <a:pt x="21600" y="7313"/>
                  <a:pt x="21160" y="6873"/>
                  <a:pt x="20618" y="6873"/>
                </a:cubicBezTo>
                <a:moveTo>
                  <a:pt x="4418" y="10309"/>
                </a:moveTo>
                <a:cubicBezTo>
                  <a:pt x="4690" y="10309"/>
                  <a:pt x="4909" y="10090"/>
                  <a:pt x="4909" y="9818"/>
                </a:cubicBezTo>
                <a:cubicBezTo>
                  <a:pt x="4909" y="9547"/>
                  <a:pt x="4690" y="9327"/>
                  <a:pt x="4418" y="9327"/>
                </a:cubicBezTo>
                <a:cubicBezTo>
                  <a:pt x="4147" y="9327"/>
                  <a:pt x="3927" y="9547"/>
                  <a:pt x="3927" y="9818"/>
                </a:cubicBezTo>
                <a:cubicBezTo>
                  <a:pt x="3927" y="10090"/>
                  <a:pt x="4147" y="10309"/>
                  <a:pt x="4418" y="10309"/>
                </a:cubicBezTo>
                <a:moveTo>
                  <a:pt x="12273" y="3927"/>
                </a:moveTo>
                <a:lnTo>
                  <a:pt x="5400" y="3927"/>
                </a:lnTo>
                <a:cubicBezTo>
                  <a:pt x="5129" y="3927"/>
                  <a:pt x="4909" y="4147"/>
                  <a:pt x="4909" y="4418"/>
                </a:cubicBezTo>
                <a:cubicBezTo>
                  <a:pt x="4909" y="4690"/>
                  <a:pt x="5129" y="4909"/>
                  <a:pt x="5400" y="4909"/>
                </a:cubicBezTo>
                <a:lnTo>
                  <a:pt x="12273" y="4909"/>
                </a:lnTo>
                <a:cubicBezTo>
                  <a:pt x="12544" y="4909"/>
                  <a:pt x="12764" y="4690"/>
                  <a:pt x="12764" y="4418"/>
                </a:cubicBezTo>
                <a:cubicBezTo>
                  <a:pt x="12764" y="4147"/>
                  <a:pt x="12544" y="3927"/>
                  <a:pt x="12273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4" name="Shape 2674"/>
          <p:cNvSpPr/>
          <p:nvPr/>
        </p:nvSpPr>
        <p:spPr>
          <a:xfrm>
            <a:off x="9249593" y="6052651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80" y="20121"/>
                </a:moveTo>
                <a:cubicBezTo>
                  <a:pt x="11880" y="20393"/>
                  <a:pt x="11637" y="20612"/>
                  <a:pt x="11337" y="20612"/>
                </a:cubicBezTo>
                <a:cubicBezTo>
                  <a:pt x="11181" y="20612"/>
                  <a:pt x="11043" y="20552"/>
                  <a:pt x="10944" y="20457"/>
                </a:cubicBezTo>
                <a:lnTo>
                  <a:pt x="10941" y="20459"/>
                </a:lnTo>
                <a:lnTo>
                  <a:pt x="10800" y="20342"/>
                </a:lnTo>
                <a:lnTo>
                  <a:pt x="10800" y="1256"/>
                </a:lnTo>
                <a:lnTo>
                  <a:pt x="10958" y="1126"/>
                </a:lnTo>
                <a:lnTo>
                  <a:pt x="10960" y="1127"/>
                </a:lnTo>
                <a:cubicBezTo>
                  <a:pt x="11057" y="1042"/>
                  <a:pt x="11190" y="987"/>
                  <a:pt x="11337" y="987"/>
                </a:cubicBezTo>
                <a:cubicBezTo>
                  <a:pt x="11637" y="987"/>
                  <a:pt x="11880" y="1208"/>
                  <a:pt x="11880" y="1479"/>
                </a:cubicBezTo>
                <a:cubicBezTo>
                  <a:pt x="11880" y="1479"/>
                  <a:pt x="11880" y="20121"/>
                  <a:pt x="11880" y="20121"/>
                </a:cubicBezTo>
                <a:close/>
                <a:moveTo>
                  <a:pt x="9720" y="19448"/>
                </a:moveTo>
                <a:lnTo>
                  <a:pt x="4320" y="14979"/>
                </a:lnTo>
                <a:lnTo>
                  <a:pt x="4320" y="6606"/>
                </a:lnTo>
                <a:lnTo>
                  <a:pt x="4562" y="6407"/>
                </a:lnTo>
                <a:lnTo>
                  <a:pt x="4559" y="6406"/>
                </a:lnTo>
                <a:lnTo>
                  <a:pt x="9720" y="2147"/>
                </a:lnTo>
                <a:cubicBezTo>
                  <a:pt x="9720" y="2147"/>
                  <a:pt x="9720" y="19448"/>
                  <a:pt x="9720" y="19448"/>
                </a:cubicBezTo>
                <a:close/>
                <a:moveTo>
                  <a:pt x="3240" y="14649"/>
                </a:moveTo>
                <a:cubicBezTo>
                  <a:pt x="2008" y="14285"/>
                  <a:pt x="1080" y="12700"/>
                  <a:pt x="1080" y="10800"/>
                </a:cubicBezTo>
                <a:cubicBezTo>
                  <a:pt x="1080" y="8900"/>
                  <a:pt x="2008" y="7315"/>
                  <a:pt x="3240" y="6952"/>
                </a:cubicBezTo>
                <a:cubicBezTo>
                  <a:pt x="3240" y="6952"/>
                  <a:pt x="3240" y="14649"/>
                  <a:pt x="3240" y="14649"/>
                </a:cubicBezTo>
                <a:close/>
                <a:moveTo>
                  <a:pt x="12966" y="1472"/>
                </a:moveTo>
                <a:cubicBezTo>
                  <a:pt x="12966" y="658"/>
                  <a:pt x="12238" y="0"/>
                  <a:pt x="11339" y="0"/>
                </a:cubicBezTo>
                <a:cubicBezTo>
                  <a:pt x="10880" y="0"/>
                  <a:pt x="10467" y="174"/>
                  <a:pt x="10170" y="451"/>
                </a:cubicBezTo>
                <a:lnTo>
                  <a:pt x="3565" y="5905"/>
                </a:lnTo>
                <a:cubicBezTo>
                  <a:pt x="1578" y="6050"/>
                  <a:pt x="0" y="8183"/>
                  <a:pt x="0" y="10800"/>
                </a:cubicBezTo>
                <a:cubicBezTo>
                  <a:pt x="0" y="13425"/>
                  <a:pt x="1588" y="15563"/>
                  <a:pt x="3585" y="15696"/>
                </a:cubicBezTo>
                <a:lnTo>
                  <a:pt x="10170" y="21149"/>
                </a:lnTo>
                <a:cubicBezTo>
                  <a:pt x="10466" y="21426"/>
                  <a:pt x="10879" y="21600"/>
                  <a:pt x="11339" y="21600"/>
                </a:cubicBezTo>
                <a:cubicBezTo>
                  <a:pt x="12238" y="21600"/>
                  <a:pt x="12966" y="20941"/>
                  <a:pt x="12966" y="20129"/>
                </a:cubicBezTo>
                <a:cubicBezTo>
                  <a:pt x="12966" y="20110"/>
                  <a:pt x="12961" y="20092"/>
                  <a:pt x="12960" y="20073"/>
                </a:cubicBezTo>
                <a:lnTo>
                  <a:pt x="12960" y="1527"/>
                </a:lnTo>
                <a:cubicBezTo>
                  <a:pt x="12961" y="1508"/>
                  <a:pt x="12966" y="1490"/>
                  <a:pt x="12966" y="1472"/>
                </a:cubicBezTo>
                <a:moveTo>
                  <a:pt x="19124" y="10800"/>
                </a:moveTo>
                <a:lnTo>
                  <a:pt x="21442" y="8693"/>
                </a:lnTo>
                <a:cubicBezTo>
                  <a:pt x="21540" y="8604"/>
                  <a:pt x="21600" y="8481"/>
                  <a:pt x="21600" y="8345"/>
                </a:cubicBezTo>
                <a:cubicBezTo>
                  <a:pt x="21600" y="8074"/>
                  <a:pt x="21358" y="7855"/>
                  <a:pt x="21060" y="7855"/>
                </a:cubicBezTo>
                <a:cubicBezTo>
                  <a:pt x="20911" y="7855"/>
                  <a:pt x="20776" y="7909"/>
                  <a:pt x="20678" y="7998"/>
                </a:cubicBezTo>
                <a:lnTo>
                  <a:pt x="18360" y="10106"/>
                </a:lnTo>
                <a:lnTo>
                  <a:pt x="16042" y="7998"/>
                </a:lnTo>
                <a:cubicBezTo>
                  <a:pt x="15944" y="7909"/>
                  <a:pt x="15809" y="7855"/>
                  <a:pt x="15660" y="7855"/>
                </a:cubicBezTo>
                <a:cubicBezTo>
                  <a:pt x="15362" y="7855"/>
                  <a:pt x="15120" y="8074"/>
                  <a:pt x="15120" y="8345"/>
                </a:cubicBezTo>
                <a:cubicBezTo>
                  <a:pt x="15120" y="8481"/>
                  <a:pt x="15180" y="8604"/>
                  <a:pt x="15278" y="8693"/>
                </a:cubicBezTo>
                <a:lnTo>
                  <a:pt x="17596" y="10800"/>
                </a:lnTo>
                <a:lnTo>
                  <a:pt x="15278" y="12907"/>
                </a:lnTo>
                <a:cubicBezTo>
                  <a:pt x="15180" y="12996"/>
                  <a:pt x="15120" y="13119"/>
                  <a:pt x="15120" y="13255"/>
                </a:cubicBezTo>
                <a:cubicBezTo>
                  <a:pt x="15120" y="13526"/>
                  <a:pt x="15362" y="13745"/>
                  <a:pt x="15660" y="13745"/>
                </a:cubicBezTo>
                <a:cubicBezTo>
                  <a:pt x="15809" y="13745"/>
                  <a:pt x="15944" y="13691"/>
                  <a:pt x="16042" y="13602"/>
                </a:cubicBezTo>
                <a:lnTo>
                  <a:pt x="18360" y="11494"/>
                </a:lnTo>
                <a:lnTo>
                  <a:pt x="20678" y="13602"/>
                </a:lnTo>
                <a:cubicBezTo>
                  <a:pt x="20776" y="13691"/>
                  <a:pt x="20911" y="13745"/>
                  <a:pt x="21060" y="13745"/>
                </a:cubicBezTo>
                <a:cubicBezTo>
                  <a:pt x="21358" y="13745"/>
                  <a:pt x="21600" y="13526"/>
                  <a:pt x="21600" y="13255"/>
                </a:cubicBezTo>
                <a:cubicBezTo>
                  <a:pt x="21600" y="13119"/>
                  <a:pt x="21540" y="12996"/>
                  <a:pt x="21442" y="12907"/>
                </a:cubicBezTo>
                <a:cubicBezTo>
                  <a:pt x="21442" y="12907"/>
                  <a:pt x="19124" y="10800"/>
                  <a:pt x="19124" y="108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5" name="Shape 2675"/>
          <p:cNvSpPr/>
          <p:nvPr/>
        </p:nvSpPr>
        <p:spPr>
          <a:xfrm>
            <a:off x="10417687" y="6052651"/>
            <a:ext cx="304871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90" y="20121"/>
                </a:moveTo>
                <a:cubicBezTo>
                  <a:pt x="19790" y="20393"/>
                  <a:pt x="19385" y="20612"/>
                  <a:pt x="18886" y="20612"/>
                </a:cubicBezTo>
                <a:cubicBezTo>
                  <a:pt x="18626" y="20612"/>
                  <a:pt x="18396" y="20552"/>
                  <a:pt x="18231" y="20457"/>
                </a:cubicBezTo>
                <a:lnTo>
                  <a:pt x="18227" y="20459"/>
                </a:lnTo>
                <a:lnTo>
                  <a:pt x="17991" y="20342"/>
                </a:lnTo>
                <a:lnTo>
                  <a:pt x="17991" y="1256"/>
                </a:lnTo>
                <a:lnTo>
                  <a:pt x="18255" y="1126"/>
                </a:lnTo>
                <a:lnTo>
                  <a:pt x="18258" y="1127"/>
                </a:lnTo>
                <a:cubicBezTo>
                  <a:pt x="18421" y="1042"/>
                  <a:pt x="18641" y="987"/>
                  <a:pt x="18886" y="987"/>
                </a:cubicBezTo>
                <a:cubicBezTo>
                  <a:pt x="19385" y="987"/>
                  <a:pt x="19790" y="1208"/>
                  <a:pt x="19790" y="1479"/>
                </a:cubicBezTo>
                <a:cubicBezTo>
                  <a:pt x="19790" y="1479"/>
                  <a:pt x="19790" y="20121"/>
                  <a:pt x="19790" y="20121"/>
                </a:cubicBezTo>
                <a:close/>
                <a:moveTo>
                  <a:pt x="16192" y="19448"/>
                </a:moveTo>
                <a:lnTo>
                  <a:pt x="7196" y="14978"/>
                </a:lnTo>
                <a:lnTo>
                  <a:pt x="7196" y="6607"/>
                </a:lnTo>
                <a:lnTo>
                  <a:pt x="7599" y="6407"/>
                </a:lnTo>
                <a:lnTo>
                  <a:pt x="7595" y="6406"/>
                </a:lnTo>
                <a:lnTo>
                  <a:pt x="16192" y="2147"/>
                </a:lnTo>
                <a:cubicBezTo>
                  <a:pt x="16192" y="2147"/>
                  <a:pt x="16192" y="19448"/>
                  <a:pt x="16192" y="19448"/>
                </a:cubicBezTo>
                <a:close/>
                <a:moveTo>
                  <a:pt x="5397" y="14648"/>
                </a:moveTo>
                <a:cubicBezTo>
                  <a:pt x="3344" y="14284"/>
                  <a:pt x="1799" y="12700"/>
                  <a:pt x="1799" y="10800"/>
                </a:cubicBezTo>
                <a:cubicBezTo>
                  <a:pt x="1799" y="8900"/>
                  <a:pt x="3344" y="7315"/>
                  <a:pt x="5397" y="6952"/>
                </a:cubicBezTo>
                <a:cubicBezTo>
                  <a:pt x="5397" y="6952"/>
                  <a:pt x="5397" y="14648"/>
                  <a:pt x="5397" y="14648"/>
                </a:cubicBezTo>
                <a:close/>
                <a:moveTo>
                  <a:pt x="21589" y="1527"/>
                </a:moveTo>
                <a:cubicBezTo>
                  <a:pt x="21591" y="1508"/>
                  <a:pt x="21600" y="1490"/>
                  <a:pt x="21600" y="1472"/>
                </a:cubicBezTo>
                <a:cubicBezTo>
                  <a:pt x="21600" y="658"/>
                  <a:pt x="20386" y="0"/>
                  <a:pt x="18889" y="0"/>
                </a:cubicBezTo>
                <a:cubicBezTo>
                  <a:pt x="18123" y="0"/>
                  <a:pt x="17435" y="174"/>
                  <a:pt x="16942" y="451"/>
                </a:cubicBezTo>
                <a:lnTo>
                  <a:pt x="5939" y="5905"/>
                </a:lnTo>
                <a:cubicBezTo>
                  <a:pt x="2628" y="6050"/>
                  <a:pt x="0" y="8183"/>
                  <a:pt x="0" y="10800"/>
                </a:cubicBezTo>
                <a:cubicBezTo>
                  <a:pt x="0" y="13425"/>
                  <a:pt x="2646" y="15563"/>
                  <a:pt x="5972" y="15696"/>
                </a:cubicBezTo>
                <a:lnTo>
                  <a:pt x="16942" y="21148"/>
                </a:lnTo>
                <a:cubicBezTo>
                  <a:pt x="17434" y="21426"/>
                  <a:pt x="18123" y="21600"/>
                  <a:pt x="18889" y="21600"/>
                </a:cubicBezTo>
                <a:cubicBezTo>
                  <a:pt x="20386" y="21600"/>
                  <a:pt x="21600" y="20941"/>
                  <a:pt x="21600" y="20129"/>
                </a:cubicBezTo>
                <a:cubicBezTo>
                  <a:pt x="21600" y="20110"/>
                  <a:pt x="21591" y="20092"/>
                  <a:pt x="21589" y="20073"/>
                </a:cubicBezTo>
                <a:cubicBezTo>
                  <a:pt x="21589" y="20073"/>
                  <a:pt x="21589" y="1527"/>
                  <a:pt x="21589" y="1527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6" name="Shape 2676"/>
          <p:cNvSpPr/>
          <p:nvPr/>
        </p:nvSpPr>
        <p:spPr>
          <a:xfrm>
            <a:off x="11433424" y="6052651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50" y="20121"/>
                </a:moveTo>
                <a:cubicBezTo>
                  <a:pt x="14850" y="20393"/>
                  <a:pt x="14546" y="20612"/>
                  <a:pt x="14171" y="20612"/>
                </a:cubicBezTo>
                <a:cubicBezTo>
                  <a:pt x="13977" y="20612"/>
                  <a:pt x="13804" y="20552"/>
                  <a:pt x="13680" y="20457"/>
                </a:cubicBezTo>
                <a:lnTo>
                  <a:pt x="13677" y="20459"/>
                </a:lnTo>
                <a:lnTo>
                  <a:pt x="13500" y="20342"/>
                </a:lnTo>
                <a:lnTo>
                  <a:pt x="13500" y="1256"/>
                </a:lnTo>
                <a:lnTo>
                  <a:pt x="13698" y="1126"/>
                </a:lnTo>
                <a:lnTo>
                  <a:pt x="13700" y="1127"/>
                </a:lnTo>
                <a:cubicBezTo>
                  <a:pt x="13822" y="1042"/>
                  <a:pt x="13988" y="987"/>
                  <a:pt x="14171" y="987"/>
                </a:cubicBezTo>
                <a:cubicBezTo>
                  <a:pt x="14546" y="987"/>
                  <a:pt x="14850" y="1208"/>
                  <a:pt x="14850" y="1479"/>
                </a:cubicBezTo>
                <a:cubicBezTo>
                  <a:pt x="14850" y="1479"/>
                  <a:pt x="14850" y="20121"/>
                  <a:pt x="14850" y="20121"/>
                </a:cubicBezTo>
                <a:close/>
                <a:moveTo>
                  <a:pt x="12150" y="19448"/>
                </a:moveTo>
                <a:lnTo>
                  <a:pt x="5400" y="14978"/>
                </a:lnTo>
                <a:lnTo>
                  <a:pt x="5400" y="6607"/>
                </a:lnTo>
                <a:lnTo>
                  <a:pt x="5702" y="6407"/>
                </a:lnTo>
                <a:lnTo>
                  <a:pt x="5699" y="6406"/>
                </a:lnTo>
                <a:lnTo>
                  <a:pt x="12150" y="2147"/>
                </a:lnTo>
                <a:cubicBezTo>
                  <a:pt x="12150" y="2147"/>
                  <a:pt x="12150" y="19448"/>
                  <a:pt x="12150" y="19448"/>
                </a:cubicBezTo>
                <a:close/>
                <a:moveTo>
                  <a:pt x="4050" y="14648"/>
                </a:moveTo>
                <a:cubicBezTo>
                  <a:pt x="2509" y="14284"/>
                  <a:pt x="1350" y="12700"/>
                  <a:pt x="1350" y="10800"/>
                </a:cubicBezTo>
                <a:cubicBezTo>
                  <a:pt x="1350" y="8900"/>
                  <a:pt x="2509" y="7315"/>
                  <a:pt x="4050" y="6952"/>
                </a:cubicBezTo>
                <a:cubicBezTo>
                  <a:pt x="4050" y="6952"/>
                  <a:pt x="4050" y="14648"/>
                  <a:pt x="4050" y="14648"/>
                </a:cubicBezTo>
                <a:close/>
                <a:moveTo>
                  <a:pt x="16208" y="1472"/>
                </a:moveTo>
                <a:cubicBezTo>
                  <a:pt x="16208" y="658"/>
                  <a:pt x="15297" y="0"/>
                  <a:pt x="14174" y="0"/>
                </a:cubicBezTo>
                <a:cubicBezTo>
                  <a:pt x="13599" y="0"/>
                  <a:pt x="13083" y="174"/>
                  <a:pt x="12713" y="451"/>
                </a:cubicBezTo>
                <a:lnTo>
                  <a:pt x="4456" y="5905"/>
                </a:lnTo>
                <a:cubicBezTo>
                  <a:pt x="1972" y="6050"/>
                  <a:pt x="0" y="8183"/>
                  <a:pt x="0" y="10800"/>
                </a:cubicBezTo>
                <a:cubicBezTo>
                  <a:pt x="0" y="13425"/>
                  <a:pt x="1985" y="15563"/>
                  <a:pt x="4481" y="15696"/>
                </a:cubicBezTo>
                <a:lnTo>
                  <a:pt x="12713" y="21148"/>
                </a:lnTo>
                <a:cubicBezTo>
                  <a:pt x="13083" y="21426"/>
                  <a:pt x="13599" y="21600"/>
                  <a:pt x="14174" y="21600"/>
                </a:cubicBezTo>
                <a:cubicBezTo>
                  <a:pt x="15297" y="21600"/>
                  <a:pt x="16208" y="20941"/>
                  <a:pt x="16208" y="20129"/>
                </a:cubicBezTo>
                <a:cubicBezTo>
                  <a:pt x="16208" y="20110"/>
                  <a:pt x="16201" y="20092"/>
                  <a:pt x="16200" y="20073"/>
                </a:cubicBezTo>
                <a:lnTo>
                  <a:pt x="16200" y="1527"/>
                </a:lnTo>
                <a:cubicBezTo>
                  <a:pt x="16201" y="1508"/>
                  <a:pt x="16208" y="1490"/>
                  <a:pt x="16208" y="1472"/>
                </a:cubicBezTo>
                <a:moveTo>
                  <a:pt x="18225" y="7855"/>
                </a:moveTo>
                <a:cubicBezTo>
                  <a:pt x="17852" y="7855"/>
                  <a:pt x="17550" y="8074"/>
                  <a:pt x="17550" y="8345"/>
                </a:cubicBezTo>
                <a:cubicBezTo>
                  <a:pt x="17550" y="8617"/>
                  <a:pt x="17852" y="8836"/>
                  <a:pt x="18225" y="8836"/>
                </a:cubicBezTo>
                <a:cubicBezTo>
                  <a:pt x="19344" y="8836"/>
                  <a:pt x="20250" y="9716"/>
                  <a:pt x="20250" y="10800"/>
                </a:cubicBezTo>
                <a:cubicBezTo>
                  <a:pt x="20250" y="11884"/>
                  <a:pt x="19344" y="12764"/>
                  <a:pt x="18225" y="12764"/>
                </a:cubicBezTo>
                <a:cubicBezTo>
                  <a:pt x="17852" y="12764"/>
                  <a:pt x="17550" y="12983"/>
                  <a:pt x="17550" y="13255"/>
                </a:cubicBezTo>
                <a:cubicBezTo>
                  <a:pt x="17550" y="13526"/>
                  <a:pt x="17852" y="13745"/>
                  <a:pt x="18225" y="13745"/>
                </a:cubicBezTo>
                <a:cubicBezTo>
                  <a:pt x="20089" y="13745"/>
                  <a:pt x="21600" y="12426"/>
                  <a:pt x="21600" y="10800"/>
                </a:cubicBezTo>
                <a:cubicBezTo>
                  <a:pt x="21600" y="9173"/>
                  <a:pt x="20089" y="7855"/>
                  <a:pt x="18225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7" name="Shape 2677"/>
          <p:cNvSpPr/>
          <p:nvPr/>
        </p:nvSpPr>
        <p:spPr>
          <a:xfrm>
            <a:off x="12576318" y="2853085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60" y="7855"/>
                </a:moveTo>
                <a:cubicBezTo>
                  <a:pt x="15362" y="7855"/>
                  <a:pt x="15120" y="8075"/>
                  <a:pt x="15120" y="8345"/>
                </a:cubicBezTo>
                <a:cubicBezTo>
                  <a:pt x="15120" y="8617"/>
                  <a:pt x="15362" y="8836"/>
                  <a:pt x="15660" y="8836"/>
                </a:cubicBezTo>
                <a:cubicBezTo>
                  <a:pt x="16555" y="8836"/>
                  <a:pt x="17280" y="9716"/>
                  <a:pt x="17280" y="10800"/>
                </a:cubicBezTo>
                <a:cubicBezTo>
                  <a:pt x="17280" y="11884"/>
                  <a:pt x="16555" y="12764"/>
                  <a:pt x="15660" y="12764"/>
                </a:cubicBezTo>
                <a:cubicBezTo>
                  <a:pt x="15362" y="12764"/>
                  <a:pt x="15120" y="12984"/>
                  <a:pt x="15120" y="13255"/>
                </a:cubicBezTo>
                <a:cubicBezTo>
                  <a:pt x="15120" y="13526"/>
                  <a:pt x="15362" y="13745"/>
                  <a:pt x="15660" y="13745"/>
                </a:cubicBezTo>
                <a:cubicBezTo>
                  <a:pt x="17151" y="13745"/>
                  <a:pt x="18360" y="12427"/>
                  <a:pt x="18360" y="10800"/>
                </a:cubicBezTo>
                <a:cubicBezTo>
                  <a:pt x="18360" y="9174"/>
                  <a:pt x="17151" y="7855"/>
                  <a:pt x="15660" y="7855"/>
                </a:cubicBezTo>
                <a:moveTo>
                  <a:pt x="18472" y="5611"/>
                </a:moveTo>
                <a:lnTo>
                  <a:pt x="18463" y="5625"/>
                </a:lnTo>
                <a:cubicBezTo>
                  <a:pt x="18383" y="5584"/>
                  <a:pt x="18296" y="5554"/>
                  <a:pt x="18198" y="5554"/>
                </a:cubicBezTo>
                <a:cubicBezTo>
                  <a:pt x="17900" y="5554"/>
                  <a:pt x="17660" y="5774"/>
                  <a:pt x="17660" y="6044"/>
                </a:cubicBezTo>
                <a:cubicBezTo>
                  <a:pt x="17660" y="6216"/>
                  <a:pt x="17763" y="6361"/>
                  <a:pt x="17910" y="6449"/>
                </a:cubicBezTo>
                <a:lnTo>
                  <a:pt x="17909" y="6451"/>
                </a:lnTo>
                <a:cubicBezTo>
                  <a:pt x="19460" y="7271"/>
                  <a:pt x="20520" y="8909"/>
                  <a:pt x="20520" y="10800"/>
                </a:cubicBezTo>
                <a:cubicBezTo>
                  <a:pt x="20520" y="12689"/>
                  <a:pt x="19463" y="14325"/>
                  <a:pt x="17915" y="15147"/>
                </a:cubicBezTo>
                <a:lnTo>
                  <a:pt x="17919" y="15152"/>
                </a:lnTo>
                <a:cubicBezTo>
                  <a:pt x="17771" y="15239"/>
                  <a:pt x="17668" y="15384"/>
                  <a:pt x="17668" y="15556"/>
                </a:cubicBezTo>
                <a:cubicBezTo>
                  <a:pt x="17668" y="15827"/>
                  <a:pt x="17910" y="16046"/>
                  <a:pt x="18208" y="16046"/>
                </a:cubicBezTo>
                <a:cubicBezTo>
                  <a:pt x="18306" y="16046"/>
                  <a:pt x="18393" y="16016"/>
                  <a:pt x="18473" y="15975"/>
                </a:cubicBezTo>
                <a:lnTo>
                  <a:pt x="18480" y="15985"/>
                </a:lnTo>
                <a:cubicBezTo>
                  <a:pt x="20338" y="14990"/>
                  <a:pt x="21600" y="13041"/>
                  <a:pt x="21600" y="10800"/>
                </a:cubicBezTo>
                <a:cubicBezTo>
                  <a:pt x="21600" y="8556"/>
                  <a:pt x="20334" y="6606"/>
                  <a:pt x="18472" y="5611"/>
                </a:cubicBezTo>
                <a:moveTo>
                  <a:pt x="11880" y="20121"/>
                </a:moveTo>
                <a:cubicBezTo>
                  <a:pt x="11880" y="20393"/>
                  <a:pt x="11637" y="20612"/>
                  <a:pt x="11337" y="20612"/>
                </a:cubicBezTo>
                <a:cubicBezTo>
                  <a:pt x="11181" y="20612"/>
                  <a:pt x="11043" y="20552"/>
                  <a:pt x="10944" y="20457"/>
                </a:cubicBezTo>
                <a:lnTo>
                  <a:pt x="10942" y="20459"/>
                </a:lnTo>
                <a:lnTo>
                  <a:pt x="10800" y="20342"/>
                </a:lnTo>
                <a:lnTo>
                  <a:pt x="10800" y="1256"/>
                </a:lnTo>
                <a:lnTo>
                  <a:pt x="10958" y="1126"/>
                </a:lnTo>
                <a:lnTo>
                  <a:pt x="10960" y="1127"/>
                </a:lnTo>
                <a:cubicBezTo>
                  <a:pt x="11058" y="1042"/>
                  <a:pt x="11190" y="988"/>
                  <a:pt x="11337" y="988"/>
                </a:cubicBezTo>
                <a:cubicBezTo>
                  <a:pt x="11637" y="988"/>
                  <a:pt x="11880" y="1208"/>
                  <a:pt x="11880" y="1480"/>
                </a:cubicBezTo>
                <a:cubicBezTo>
                  <a:pt x="11880" y="1480"/>
                  <a:pt x="11880" y="20121"/>
                  <a:pt x="11880" y="20121"/>
                </a:cubicBezTo>
                <a:close/>
                <a:moveTo>
                  <a:pt x="9720" y="19448"/>
                </a:moveTo>
                <a:lnTo>
                  <a:pt x="4320" y="14979"/>
                </a:lnTo>
                <a:lnTo>
                  <a:pt x="4320" y="6607"/>
                </a:lnTo>
                <a:lnTo>
                  <a:pt x="4561" y="6407"/>
                </a:lnTo>
                <a:lnTo>
                  <a:pt x="4560" y="6406"/>
                </a:lnTo>
                <a:lnTo>
                  <a:pt x="9720" y="2147"/>
                </a:lnTo>
                <a:cubicBezTo>
                  <a:pt x="9720" y="2147"/>
                  <a:pt x="9720" y="19448"/>
                  <a:pt x="9720" y="19448"/>
                </a:cubicBezTo>
                <a:close/>
                <a:moveTo>
                  <a:pt x="3240" y="14649"/>
                </a:moveTo>
                <a:cubicBezTo>
                  <a:pt x="2008" y="14285"/>
                  <a:pt x="1080" y="12700"/>
                  <a:pt x="1080" y="10800"/>
                </a:cubicBezTo>
                <a:cubicBezTo>
                  <a:pt x="1080" y="8900"/>
                  <a:pt x="2008" y="7316"/>
                  <a:pt x="3240" y="6952"/>
                </a:cubicBezTo>
                <a:cubicBezTo>
                  <a:pt x="3240" y="6952"/>
                  <a:pt x="3240" y="14649"/>
                  <a:pt x="3240" y="14649"/>
                </a:cubicBezTo>
                <a:close/>
                <a:moveTo>
                  <a:pt x="12966" y="1472"/>
                </a:moveTo>
                <a:cubicBezTo>
                  <a:pt x="12966" y="659"/>
                  <a:pt x="12238" y="0"/>
                  <a:pt x="11339" y="0"/>
                </a:cubicBezTo>
                <a:cubicBezTo>
                  <a:pt x="10879" y="0"/>
                  <a:pt x="10466" y="175"/>
                  <a:pt x="10170" y="451"/>
                </a:cubicBezTo>
                <a:lnTo>
                  <a:pt x="3565" y="5905"/>
                </a:lnTo>
                <a:cubicBezTo>
                  <a:pt x="1578" y="6051"/>
                  <a:pt x="0" y="8183"/>
                  <a:pt x="0" y="10800"/>
                </a:cubicBezTo>
                <a:cubicBezTo>
                  <a:pt x="0" y="13426"/>
                  <a:pt x="1588" y="15564"/>
                  <a:pt x="3585" y="15697"/>
                </a:cubicBezTo>
                <a:lnTo>
                  <a:pt x="10170" y="21148"/>
                </a:lnTo>
                <a:cubicBezTo>
                  <a:pt x="10466" y="21426"/>
                  <a:pt x="10879" y="21600"/>
                  <a:pt x="11339" y="21600"/>
                </a:cubicBezTo>
                <a:cubicBezTo>
                  <a:pt x="12238" y="21600"/>
                  <a:pt x="12966" y="20941"/>
                  <a:pt x="12966" y="20129"/>
                </a:cubicBezTo>
                <a:cubicBezTo>
                  <a:pt x="12966" y="20110"/>
                  <a:pt x="12961" y="20093"/>
                  <a:pt x="12960" y="20074"/>
                </a:cubicBezTo>
                <a:lnTo>
                  <a:pt x="12960" y="1527"/>
                </a:lnTo>
                <a:cubicBezTo>
                  <a:pt x="12961" y="1508"/>
                  <a:pt x="12966" y="1490"/>
                  <a:pt x="12966" y="147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8" name="Shape 2678"/>
          <p:cNvSpPr/>
          <p:nvPr/>
        </p:nvSpPr>
        <p:spPr>
          <a:xfrm>
            <a:off x="13617448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121"/>
                </a:moveTo>
                <a:cubicBezTo>
                  <a:pt x="10800" y="20393"/>
                  <a:pt x="10579" y="20612"/>
                  <a:pt x="10306" y="20612"/>
                </a:cubicBezTo>
                <a:cubicBezTo>
                  <a:pt x="10165" y="20612"/>
                  <a:pt x="10039" y="20552"/>
                  <a:pt x="9949" y="20457"/>
                </a:cubicBezTo>
                <a:lnTo>
                  <a:pt x="9947" y="20459"/>
                </a:lnTo>
                <a:lnTo>
                  <a:pt x="9818" y="20342"/>
                </a:lnTo>
                <a:lnTo>
                  <a:pt x="9818" y="1256"/>
                </a:lnTo>
                <a:lnTo>
                  <a:pt x="9962" y="1126"/>
                </a:lnTo>
                <a:lnTo>
                  <a:pt x="9963" y="1127"/>
                </a:lnTo>
                <a:cubicBezTo>
                  <a:pt x="10052" y="1042"/>
                  <a:pt x="10173" y="987"/>
                  <a:pt x="10306" y="987"/>
                </a:cubicBezTo>
                <a:cubicBezTo>
                  <a:pt x="10579" y="987"/>
                  <a:pt x="10800" y="1208"/>
                  <a:pt x="10800" y="1479"/>
                </a:cubicBezTo>
                <a:cubicBezTo>
                  <a:pt x="10800" y="1479"/>
                  <a:pt x="10800" y="20121"/>
                  <a:pt x="10800" y="20121"/>
                </a:cubicBezTo>
                <a:close/>
                <a:moveTo>
                  <a:pt x="8836" y="19448"/>
                </a:moveTo>
                <a:lnTo>
                  <a:pt x="3927" y="14979"/>
                </a:lnTo>
                <a:lnTo>
                  <a:pt x="3927" y="6607"/>
                </a:lnTo>
                <a:lnTo>
                  <a:pt x="4147" y="6407"/>
                </a:lnTo>
                <a:lnTo>
                  <a:pt x="4145" y="6406"/>
                </a:lnTo>
                <a:lnTo>
                  <a:pt x="8836" y="2147"/>
                </a:lnTo>
                <a:cubicBezTo>
                  <a:pt x="8836" y="2147"/>
                  <a:pt x="8836" y="19448"/>
                  <a:pt x="8836" y="19448"/>
                </a:cubicBezTo>
                <a:close/>
                <a:moveTo>
                  <a:pt x="2945" y="14649"/>
                </a:moveTo>
                <a:cubicBezTo>
                  <a:pt x="1825" y="14285"/>
                  <a:pt x="982" y="12700"/>
                  <a:pt x="982" y="10800"/>
                </a:cubicBezTo>
                <a:cubicBezTo>
                  <a:pt x="982" y="8900"/>
                  <a:pt x="1825" y="7315"/>
                  <a:pt x="2945" y="6952"/>
                </a:cubicBezTo>
                <a:cubicBezTo>
                  <a:pt x="2945" y="6952"/>
                  <a:pt x="2945" y="14649"/>
                  <a:pt x="2945" y="14649"/>
                </a:cubicBezTo>
                <a:close/>
                <a:moveTo>
                  <a:pt x="11787" y="1472"/>
                </a:moveTo>
                <a:cubicBezTo>
                  <a:pt x="11787" y="658"/>
                  <a:pt x="11126" y="0"/>
                  <a:pt x="10308" y="0"/>
                </a:cubicBezTo>
                <a:cubicBezTo>
                  <a:pt x="9890" y="0"/>
                  <a:pt x="9515" y="174"/>
                  <a:pt x="9246" y="451"/>
                </a:cubicBezTo>
                <a:lnTo>
                  <a:pt x="3241" y="5905"/>
                </a:lnTo>
                <a:cubicBezTo>
                  <a:pt x="1434" y="6051"/>
                  <a:pt x="0" y="8183"/>
                  <a:pt x="0" y="10800"/>
                </a:cubicBezTo>
                <a:cubicBezTo>
                  <a:pt x="0" y="13425"/>
                  <a:pt x="1444" y="15563"/>
                  <a:pt x="3259" y="15696"/>
                </a:cubicBezTo>
                <a:lnTo>
                  <a:pt x="9245" y="21148"/>
                </a:lnTo>
                <a:cubicBezTo>
                  <a:pt x="9514" y="21426"/>
                  <a:pt x="9890" y="21600"/>
                  <a:pt x="10308" y="21600"/>
                </a:cubicBezTo>
                <a:cubicBezTo>
                  <a:pt x="11126" y="21600"/>
                  <a:pt x="11787" y="20941"/>
                  <a:pt x="11787" y="20129"/>
                </a:cubicBezTo>
                <a:cubicBezTo>
                  <a:pt x="11787" y="20110"/>
                  <a:pt x="11782" y="20092"/>
                  <a:pt x="11782" y="20073"/>
                </a:cubicBezTo>
                <a:lnTo>
                  <a:pt x="11782" y="1527"/>
                </a:lnTo>
                <a:cubicBezTo>
                  <a:pt x="11782" y="1508"/>
                  <a:pt x="11787" y="1490"/>
                  <a:pt x="11787" y="1472"/>
                </a:cubicBezTo>
                <a:moveTo>
                  <a:pt x="13255" y="7855"/>
                </a:moveTo>
                <a:cubicBezTo>
                  <a:pt x="12984" y="7855"/>
                  <a:pt x="12764" y="8074"/>
                  <a:pt x="12764" y="8345"/>
                </a:cubicBezTo>
                <a:cubicBezTo>
                  <a:pt x="12764" y="8617"/>
                  <a:pt x="12984" y="8836"/>
                  <a:pt x="13255" y="8836"/>
                </a:cubicBezTo>
                <a:cubicBezTo>
                  <a:pt x="14068" y="8836"/>
                  <a:pt x="14727" y="9716"/>
                  <a:pt x="14727" y="10800"/>
                </a:cubicBezTo>
                <a:cubicBezTo>
                  <a:pt x="14727" y="11884"/>
                  <a:pt x="14068" y="12764"/>
                  <a:pt x="13255" y="12764"/>
                </a:cubicBezTo>
                <a:cubicBezTo>
                  <a:pt x="12984" y="12764"/>
                  <a:pt x="12764" y="12983"/>
                  <a:pt x="12764" y="13255"/>
                </a:cubicBezTo>
                <a:cubicBezTo>
                  <a:pt x="12764" y="13526"/>
                  <a:pt x="12984" y="13745"/>
                  <a:pt x="13255" y="13745"/>
                </a:cubicBezTo>
                <a:cubicBezTo>
                  <a:pt x="14610" y="13745"/>
                  <a:pt x="15709" y="12427"/>
                  <a:pt x="15709" y="10800"/>
                </a:cubicBezTo>
                <a:cubicBezTo>
                  <a:pt x="15709" y="9173"/>
                  <a:pt x="14610" y="7855"/>
                  <a:pt x="13255" y="7855"/>
                </a:cubicBezTo>
                <a:moveTo>
                  <a:pt x="17948" y="3495"/>
                </a:moveTo>
                <a:lnTo>
                  <a:pt x="17938" y="3509"/>
                </a:lnTo>
                <a:cubicBezTo>
                  <a:pt x="17860" y="3458"/>
                  <a:pt x="17773" y="3421"/>
                  <a:pt x="17674" y="3421"/>
                </a:cubicBezTo>
                <a:cubicBezTo>
                  <a:pt x="17403" y="3421"/>
                  <a:pt x="17184" y="3641"/>
                  <a:pt x="17184" y="3912"/>
                </a:cubicBezTo>
                <a:cubicBezTo>
                  <a:pt x="17184" y="4073"/>
                  <a:pt x="17266" y="4209"/>
                  <a:pt x="17386" y="4298"/>
                </a:cubicBezTo>
                <a:cubicBezTo>
                  <a:pt x="19336" y="5711"/>
                  <a:pt x="20618" y="8095"/>
                  <a:pt x="20618" y="10800"/>
                </a:cubicBezTo>
                <a:cubicBezTo>
                  <a:pt x="20618" y="13505"/>
                  <a:pt x="19336" y="15889"/>
                  <a:pt x="17385" y="17302"/>
                </a:cubicBezTo>
                <a:lnTo>
                  <a:pt x="17389" y="17309"/>
                </a:lnTo>
                <a:cubicBezTo>
                  <a:pt x="17275" y="17398"/>
                  <a:pt x="17197" y="17531"/>
                  <a:pt x="17197" y="17688"/>
                </a:cubicBezTo>
                <a:cubicBezTo>
                  <a:pt x="17197" y="17959"/>
                  <a:pt x="17417" y="18179"/>
                  <a:pt x="17688" y="18179"/>
                </a:cubicBezTo>
                <a:cubicBezTo>
                  <a:pt x="17788" y="18179"/>
                  <a:pt x="17875" y="18142"/>
                  <a:pt x="17952" y="18091"/>
                </a:cubicBezTo>
                <a:lnTo>
                  <a:pt x="17957" y="18098"/>
                </a:lnTo>
                <a:cubicBezTo>
                  <a:pt x="17982" y="18080"/>
                  <a:pt x="18004" y="18057"/>
                  <a:pt x="18029" y="18039"/>
                </a:cubicBezTo>
                <a:cubicBezTo>
                  <a:pt x="18031" y="18037"/>
                  <a:pt x="18034" y="18035"/>
                  <a:pt x="18037" y="18033"/>
                </a:cubicBezTo>
                <a:cubicBezTo>
                  <a:pt x="20189" y="16435"/>
                  <a:pt x="21600" y="13794"/>
                  <a:pt x="21600" y="10800"/>
                </a:cubicBezTo>
                <a:cubicBezTo>
                  <a:pt x="21600" y="7763"/>
                  <a:pt x="20152" y="5085"/>
                  <a:pt x="17948" y="3495"/>
                </a:cubicBezTo>
                <a:moveTo>
                  <a:pt x="15811" y="5611"/>
                </a:moveTo>
                <a:lnTo>
                  <a:pt x="15802" y="5625"/>
                </a:lnTo>
                <a:cubicBezTo>
                  <a:pt x="15730" y="5584"/>
                  <a:pt x="15651" y="5553"/>
                  <a:pt x="15562" y="5553"/>
                </a:cubicBezTo>
                <a:cubicBezTo>
                  <a:pt x="15291" y="5553"/>
                  <a:pt x="15072" y="5773"/>
                  <a:pt x="15072" y="6044"/>
                </a:cubicBezTo>
                <a:cubicBezTo>
                  <a:pt x="15072" y="6216"/>
                  <a:pt x="15166" y="6361"/>
                  <a:pt x="15300" y="6448"/>
                </a:cubicBezTo>
                <a:lnTo>
                  <a:pt x="15299" y="6450"/>
                </a:lnTo>
                <a:cubicBezTo>
                  <a:pt x="16709" y="7270"/>
                  <a:pt x="17673" y="8909"/>
                  <a:pt x="17673" y="10800"/>
                </a:cubicBezTo>
                <a:cubicBezTo>
                  <a:pt x="17673" y="12688"/>
                  <a:pt x="16712" y="14325"/>
                  <a:pt x="15305" y="15146"/>
                </a:cubicBezTo>
                <a:lnTo>
                  <a:pt x="15309" y="15151"/>
                </a:lnTo>
                <a:cubicBezTo>
                  <a:pt x="15174" y="15239"/>
                  <a:pt x="15080" y="15384"/>
                  <a:pt x="15080" y="15555"/>
                </a:cubicBezTo>
                <a:cubicBezTo>
                  <a:pt x="15080" y="15827"/>
                  <a:pt x="15300" y="16046"/>
                  <a:pt x="15571" y="16046"/>
                </a:cubicBezTo>
                <a:cubicBezTo>
                  <a:pt x="15660" y="16046"/>
                  <a:pt x="15740" y="16016"/>
                  <a:pt x="15812" y="15975"/>
                </a:cubicBezTo>
                <a:lnTo>
                  <a:pt x="15819" y="15985"/>
                </a:lnTo>
                <a:cubicBezTo>
                  <a:pt x="17507" y="14989"/>
                  <a:pt x="18655" y="13041"/>
                  <a:pt x="18655" y="10800"/>
                </a:cubicBezTo>
                <a:cubicBezTo>
                  <a:pt x="18655" y="8556"/>
                  <a:pt x="17504" y="6606"/>
                  <a:pt x="15811" y="561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79" name="Shape 2679"/>
          <p:cNvSpPr/>
          <p:nvPr/>
        </p:nvSpPr>
        <p:spPr>
          <a:xfrm>
            <a:off x="14683970" y="2878478"/>
            <a:ext cx="558654" cy="5078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24" extrusionOk="0">
                <a:moveTo>
                  <a:pt x="17182" y="13452"/>
                </a:moveTo>
                <a:cubicBezTo>
                  <a:pt x="16640" y="13452"/>
                  <a:pt x="16200" y="13935"/>
                  <a:pt x="16200" y="14529"/>
                </a:cubicBezTo>
                <a:cubicBezTo>
                  <a:pt x="16200" y="15123"/>
                  <a:pt x="16640" y="15605"/>
                  <a:pt x="17182" y="15605"/>
                </a:cubicBezTo>
                <a:cubicBezTo>
                  <a:pt x="17724" y="15605"/>
                  <a:pt x="18164" y="15123"/>
                  <a:pt x="18164" y="14529"/>
                </a:cubicBezTo>
                <a:cubicBezTo>
                  <a:pt x="18164" y="13935"/>
                  <a:pt x="17724" y="13452"/>
                  <a:pt x="17182" y="13452"/>
                </a:cubicBezTo>
                <a:moveTo>
                  <a:pt x="15218" y="15605"/>
                </a:moveTo>
                <a:cubicBezTo>
                  <a:pt x="14676" y="15605"/>
                  <a:pt x="14236" y="16087"/>
                  <a:pt x="14236" y="16681"/>
                </a:cubicBezTo>
                <a:cubicBezTo>
                  <a:pt x="14236" y="17276"/>
                  <a:pt x="14676" y="17757"/>
                  <a:pt x="15218" y="17757"/>
                </a:cubicBezTo>
                <a:cubicBezTo>
                  <a:pt x="15760" y="17757"/>
                  <a:pt x="16200" y="17276"/>
                  <a:pt x="16200" y="16681"/>
                </a:cubicBezTo>
                <a:cubicBezTo>
                  <a:pt x="16200" y="16087"/>
                  <a:pt x="15760" y="15605"/>
                  <a:pt x="15218" y="15605"/>
                </a:cubicBezTo>
                <a:moveTo>
                  <a:pt x="16200" y="20448"/>
                </a:moveTo>
                <a:cubicBezTo>
                  <a:pt x="14668" y="20448"/>
                  <a:pt x="13319" y="19593"/>
                  <a:pt x="12527" y="18295"/>
                </a:cubicBezTo>
                <a:lnTo>
                  <a:pt x="9073" y="18295"/>
                </a:lnTo>
                <a:cubicBezTo>
                  <a:pt x="8281" y="19593"/>
                  <a:pt x="6932" y="20448"/>
                  <a:pt x="5400" y="20448"/>
                </a:cubicBezTo>
                <a:cubicBezTo>
                  <a:pt x="2960" y="20448"/>
                  <a:pt x="982" y="18280"/>
                  <a:pt x="982" y="15605"/>
                </a:cubicBezTo>
                <a:cubicBezTo>
                  <a:pt x="982" y="12930"/>
                  <a:pt x="2960" y="10762"/>
                  <a:pt x="5400" y="10762"/>
                </a:cubicBezTo>
                <a:lnTo>
                  <a:pt x="16200" y="10762"/>
                </a:lnTo>
                <a:cubicBezTo>
                  <a:pt x="18640" y="10762"/>
                  <a:pt x="20618" y="12930"/>
                  <a:pt x="20618" y="15605"/>
                </a:cubicBezTo>
                <a:cubicBezTo>
                  <a:pt x="20618" y="18280"/>
                  <a:pt x="18640" y="20448"/>
                  <a:pt x="16200" y="20448"/>
                </a:cubicBezTo>
                <a:moveTo>
                  <a:pt x="16200" y="9686"/>
                </a:moveTo>
                <a:lnTo>
                  <a:pt x="11319" y="9686"/>
                </a:lnTo>
                <a:cubicBezTo>
                  <a:pt x="10837" y="8713"/>
                  <a:pt x="11227" y="8217"/>
                  <a:pt x="11943" y="7448"/>
                </a:cubicBezTo>
                <a:cubicBezTo>
                  <a:pt x="12528" y="6820"/>
                  <a:pt x="13255" y="6038"/>
                  <a:pt x="13255" y="4843"/>
                </a:cubicBezTo>
                <a:cubicBezTo>
                  <a:pt x="13255" y="1854"/>
                  <a:pt x="10169" y="128"/>
                  <a:pt x="10038" y="56"/>
                </a:cubicBezTo>
                <a:cubicBezTo>
                  <a:pt x="9796" y="-76"/>
                  <a:pt x="9501" y="32"/>
                  <a:pt x="9379" y="297"/>
                </a:cubicBezTo>
                <a:cubicBezTo>
                  <a:pt x="9258" y="562"/>
                  <a:pt x="9356" y="886"/>
                  <a:pt x="9598" y="1019"/>
                </a:cubicBezTo>
                <a:cubicBezTo>
                  <a:pt x="9625" y="1034"/>
                  <a:pt x="12273" y="2523"/>
                  <a:pt x="12273" y="4843"/>
                </a:cubicBezTo>
                <a:cubicBezTo>
                  <a:pt x="12273" y="5586"/>
                  <a:pt x="11779" y="6117"/>
                  <a:pt x="11255" y="6679"/>
                </a:cubicBezTo>
                <a:cubicBezTo>
                  <a:pt x="10584" y="7401"/>
                  <a:pt x="9775" y="8296"/>
                  <a:pt x="10277" y="9686"/>
                </a:cubicBezTo>
                <a:lnTo>
                  <a:pt x="5400" y="9686"/>
                </a:lnTo>
                <a:cubicBezTo>
                  <a:pt x="2418" y="9686"/>
                  <a:pt x="0" y="12336"/>
                  <a:pt x="0" y="15605"/>
                </a:cubicBezTo>
                <a:cubicBezTo>
                  <a:pt x="0" y="18874"/>
                  <a:pt x="2418" y="21524"/>
                  <a:pt x="5400" y="21524"/>
                </a:cubicBezTo>
                <a:cubicBezTo>
                  <a:pt x="7077" y="21524"/>
                  <a:pt x="8575" y="20686"/>
                  <a:pt x="9565" y="19372"/>
                </a:cubicBezTo>
                <a:lnTo>
                  <a:pt x="12035" y="19372"/>
                </a:lnTo>
                <a:cubicBezTo>
                  <a:pt x="13025" y="20686"/>
                  <a:pt x="14523" y="21524"/>
                  <a:pt x="16200" y="21524"/>
                </a:cubicBezTo>
                <a:cubicBezTo>
                  <a:pt x="19182" y="21524"/>
                  <a:pt x="21600" y="18874"/>
                  <a:pt x="21600" y="15605"/>
                </a:cubicBezTo>
                <a:cubicBezTo>
                  <a:pt x="21600" y="12336"/>
                  <a:pt x="19182" y="9686"/>
                  <a:pt x="16200" y="9686"/>
                </a:cubicBezTo>
                <a:moveTo>
                  <a:pt x="6873" y="15067"/>
                </a:moveTo>
                <a:lnTo>
                  <a:pt x="5891" y="15067"/>
                </a:lnTo>
                <a:lnTo>
                  <a:pt x="5891" y="13990"/>
                </a:lnTo>
                <a:cubicBezTo>
                  <a:pt x="5891" y="13694"/>
                  <a:pt x="5671" y="13452"/>
                  <a:pt x="5400" y="13452"/>
                </a:cubicBezTo>
                <a:cubicBezTo>
                  <a:pt x="5129" y="13452"/>
                  <a:pt x="4909" y="13694"/>
                  <a:pt x="4909" y="13990"/>
                </a:cubicBezTo>
                <a:lnTo>
                  <a:pt x="4909" y="15067"/>
                </a:lnTo>
                <a:lnTo>
                  <a:pt x="3927" y="15067"/>
                </a:lnTo>
                <a:cubicBezTo>
                  <a:pt x="3656" y="15067"/>
                  <a:pt x="3436" y="15307"/>
                  <a:pt x="3436" y="15605"/>
                </a:cubicBezTo>
                <a:cubicBezTo>
                  <a:pt x="3436" y="15903"/>
                  <a:pt x="3656" y="16143"/>
                  <a:pt x="3927" y="16143"/>
                </a:cubicBezTo>
                <a:lnTo>
                  <a:pt x="4909" y="16143"/>
                </a:lnTo>
                <a:lnTo>
                  <a:pt x="4909" y="17219"/>
                </a:lnTo>
                <a:cubicBezTo>
                  <a:pt x="4909" y="17517"/>
                  <a:pt x="5129" y="17757"/>
                  <a:pt x="5400" y="17757"/>
                </a:cubicBezTo>
                <a:cubicBezTo>
                  <a:pt x="5671" y="17757"/>
                  <a:pt x="5891" y="17517"/>
                  <a:pt x="5891" y="17219"/>
                </a:cubicBezTo>
                <a:lnTo>
                  <a:pt x="5891" y="16143"/>
                </a:lnTo>
                <a:lnTo>
                  <a:pt x="6873" y="16143"/>
                </a:lnTo>
                <a:cubicBezTo>
                  <a:pt x="7144" y="16143"/>
                  <a:pt x="7364" y="15903"/>
                  <a:pt x="7364" y="15605"/>
                </a:cubicBezTo>
                <a:cubicBezTo>
                  <a:pt x="7364" y="15307"/>
                  <a:pt x="7144" y="15067"/>
                  <a:pt x="6873" y="15067"/>
                </a:cubicBezTo>
                <a:moveTo>
                  <a:pt x="12273" y="12376"/>
                </a:moveTo>
                <a:cubicBezTo>
                  <a:pt x="12002" y="12376"/>
                  <a:pt x="11782" y="12617"/>
                  <a:pt x="11782" y="12914"/>
                </a:cubicBezTo>
                <a:cubicBezTo>
                  <a:pt x="11782" y="13212"/>
                  <a:pt x="12002" y="13452"/>
                  <a:pt x="12273" y="13452"/>
                </a:cubicBezTo>
                <a:cubicBezTo>
                  <a:pt x="12544" y="13452"/>
                  <a:pt x="12764" y="13212"/>
                  <a:pt x="12764" y="12914"/>
                </a:cubicBezTo>
                <a:cubicBezTo>
                  <a:pt x="12764" y="12617"/>
                  <a:pt x="12544" y="12376"/>
                  <a:pt x="12273" y="12376"/>
                </a:cubicBezTo>
                <a:moveTo>
                  <a:pt x="9327" y="12376"/>
                </a:moveTo>
                <a:cubicBezTo>
                  <a:pt x="9056" y="12376"/>
                  <a:pt x="8836" y="12617"/>
                  <a:pt x="8836" y="12914"/>
                </a:cubicBezTo>
                <a:cubicBezTo>
                  <a:pt x="8836" y="13212"/>
                  <a:pt x="9056" y="13452"/>
                  <a:pt x="9327" y="13452"/>
                </a:cubicBezTo>
                <a:cubicBezTo>
                  <a:pt x="9598" y="13452"/>
                  <a:pt x="9818" y="13212"/>
                  <a:pt x="9818" y="12914"/>
                </a:cubicBezTo>
                <a:cubicBezTo>
                  <a:pt x="9818" y="12617"/>
                  <a:pt x="9598" y="12376"/>
                  <a:pt x="9327" y="1237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0" name="Shape 2680"/>
          <p:cNvSpPr/>
          <p:nvPr/>
        </p:nvSpPr>
        <p:spPr>
          <a:xfrm>
            <a:off x="15750492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15709"/>
                </a:moveTo>
                <a:lnTo>
                  <a:pt x="10309" y="15709"/>
                </a:lnTo>
                <a:cubicBezTo>
                  <a:pt x="10038" y="15709"/>
                  <a:pt x="9818" y="15929"/>
                  <a:pt x="9818" y="16200"/>
                </a:cubicBezTo>
                <a:cubicBezTo>
                  <a:pt x="9818" y="16472"/>
                  <a:pt x="10038" y="16691"/>
                  <a:pt x="10309" y="16691"/>
                </a:cubicBezTo>
                <a:lnTo>
                  <a:pt x="13255" y="16691"/>
                </a:lnTo>
                <a:cubicBezTo>
                  <a:pt x="13525" y="16691"/>
                  <a:pt x="13745" y="16472"/>
                  <a:pt x="13745" y="16200"/>
                </a:cubicBezTo>
                <a:cubicBezTo>
                  <a:pt x="13745" y="15929"/>
                  <a:pt x="13525" y="15709"/>
                  <a:pt x="13255" y="15709"/>
                </a:cubicBezTo>
                <a:moveTo>
                  <a:pt x="9818" y="12273"/>
                </a:moveTo>
                <a:cubicBezTo>
                  <a:pt x="9818" y="12112"/>
                  <a:pt x="9736" y="11976"/>
                  <a:pt x="9617" y="11887"/>
                </a:cubicBezTo>
                <a:lnTo>
                  <a:pt x="9622" y="11880"/>
                </a:lnTo>
                <a:lnTo>
                  <a:pt x="5695" y="8935"/>
                </a:lnTo>
                <a:lnTo>
                  <a:pt x="5690" y="8941"/>
                </a:lnTo>
                <a:cubicBezTo>
                  <a:pt x="5608" y="8880"/>
                  <a:pt x="5511" y="8836"/>
                  <a:pt x="5400" y="8836"/>
                </a:cubicBezTo>
                <a:cubicBezTo>
                  <a:pt x="5129" y="8836"/>
                  <a:pt x="4909" y="9056"/>
                  <a:pt x="4909" y="9327"/>
                </a:cubicBezTo>
                <a:cubicBezTo>
                  <a:pt x="4909" y="9488"/>
                  <a:pt x="4991" y="9624"/>
                  <a:pt x="5110" y="9713"/>
                </a:cubicBezTo>
                <a:lnTo>
                  <a:pt x="5105" y="9720"/>
                </a:lnTo>
                <a:lnTo>
                  <a:pt x="8509" y="12273"/>
                </a:lnTo>
                <a:lnTo>
                  <a:pt x="5105" y="14826"/>
                </a:lnTo>
                <a:lnTo>
                  <a:pt x="5110" y="14832"/>
                </a:lnTo>
                <a:cubicBezTo>
                  <a:pt x="4991" y="14922"/>
                  <a:pt x="4909" y="15058"/>
                  <a:pt x="4909" y="15218"/>
                </a:cubicBezTo>
                <a:cubicBezTo>
                  <a:pt x="4909" y="15490"/>
                  <a:pt x="5129" y="15709"/>
                  <a:pt x="5400" y="15709"/>
                </a:cubicBezTo>
                <a:cubicBezTo>
                  <a:pt x="5511" y="15709"/>
                  <a:pt x="5607" y="15666"/>
                  <a:pt x="5690" y="15604"/>
                </a:cubicBezTo>
                <a:lnTo>
                  <a:pt x="5695" y="15611"/>
                </a:lnTo>
                <a:lnTo>
                  <a:pt x="9622" y="12666"/>
                </a:lnTo>
                <a:lnTo>
                  <a:pt x="9617" y="12659"/>
                </a:lnTo>
                <a:cubicBezTo>
                  <a:pt x="9736" y="12569"/>
                  <a:pt x="9818" y="12433"/>
                  <a:pt x="9818" y="12273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1" name="Shape 2681"/>
          <p:cNvSpPr/>
          <p:nvPr/>
        </p:nvSpPr>
        <p:spPr>
          <a:xfrm>
            <a:off x="16817014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36"/>
                </a:moveTo>
                <a:lnTo>
                  <a:pt x="11291" y="19636"/>
                </a:lnTo>
                <a:cubicBezTo>
                  <a:pt x="11562" y="19636"/>
                  <a:pt x="11782" y="19416"/>
                  <a:pt x="11782" y="19146"/>
                </a:cubicBezTo>
                <a:cubicBezTo>
                  <a:pt x="11782" y="18874"/>
                  <a:pt x="11562" y="18655"/>
                  <a:pt x="11291" y="18655"/>
                </a:cubicBezTo>
                <a:lnTo>
                  <a:pt x="6382" y="18655"/>
                </a:lnTo>
                <a:cubicBezTo>
                  <a:pt x="6111" y="18655"/>
                  <a:pt x="5891" y="18874"/>
                  <a:pt x="5891" y="19146"/>
                </a:cubicBezTo>
                <a:cubicBezTo>
                  <a:pt x="5891" y="19416"/>
                  <a:pt x="6111" y="19636"/>
                  <a:pt x="6382" y="19636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7673"/>
                </a:lnTo>
                <a:lnTo>
                  <a:pt x="20618" y="17673"/>
                </a:lnTo>
                <a:cubicBezTo>
                  <a:pt x="20618" y="17673"/>
                  <a:pt x="20618" y="19636"/>
                  <a:pt x="20618" y="19636"/>
                </a:cubicBezTo>
                <a:close/>
                <a:moveTo>
                  <a:pt x="2822" y="10800"/>
                </a:moveTo>
                <a:lnTo>
                  <a:pt x="18778" y="10800"/>
                </a:lnTo>
                <a:lnTo>
                  <a:pt x="20461" y="16691"/>
                </a:lnTo>
                <a:lnTo>
                  <a:pt x="1139" y="16691"/>
                </a:lnTo>
                <a:cubicBezTo>
                  <a:pt x="1139" y="16691"/>
                  <a:pt x="2822" y="10800"/>
                  <a:pt x="2822" y="10800"/>
                </a:cubicBezTo>
                <a:close/>
                <a:moveTo>
                  <a:pt x="21600" y="17182"/>
                </a:moveTo>
                <a:cubicBezTo>
                  <a:pt x="21600" y="17118"/>
                  <a:pt x="21586" y="17057"/>
                  <a:pt x="21563" y="17000"/>
                </a:cubicBezTo>
                <a:lnTo>
                  <a:pt x="21565" y="17000"/>
                </a:lnTo>
                <a:lnTo>
                  <a:pt x="19602" y="10127"/>
                </a:lnTo>
                <a:lnTo>
                  <a:pt x="19599" y="10128"/>
                </a:lnTo>
                <a:cubicBezTo>
                  <a:pt x="19527" y="9947"/>
                  <a:pt x="19352" y="9818"/>
                  <a:pt x="19145" y="9818"/>
                </a:cubicBezTo>
                <a:lnTo>
                  <a:pt x="18164" y="9818"/>
                </a:lnTo>
                <a:lnTo>
                  <a:pt x="18164" y="3927"/>
                </a:lnTo>
                <a:cubicBezTo>
                  <a:pt x="18164" y="3656"/>
                  <a:pt x="17944" y="3436"/>
                  <a:pt x="17673" y="3436"/>
                </a:cubicBezTo>
                <a:cubicBezTo>
                  <a:pt x="17402" y="3436"/>
                  <a:pt x="17182" y="3656"/>
                  <a:pt x="17182" y="3927"/>
                </a:cubicBezTo>
                <a:lnTo>
                  <a:pt x="17182" y="9818"/>
                </a:lnTo>
                <a:lnTo>
                  <a:pt x="4418" y="9818"/>
                </a:lnTo>
                <a:lnTo>
                  <a:pt x="4418" y="3927"/>
                </a:lnTo>
                <a:cubicBezTo>
                  <a:pt x="4418" y="3656"/>
                  <a:pt x="4198" y="3436"/>
                  <a:pt x="3927" y="3436"/>
                </a:cubicBezTo>
                <a:cubicBezTo>
                  <a:pt x="3656" y="3436"/>
                  <a:pt x="3436" y="3656"/>
                  <a:pt x="3436" y="3927"/>
                </a:cubicBezTo>
                <a:lnTo>
                  <a:pt x="3436" y="9818"/>
                </a:lnTo>
                <a:lnTo>
                  <a:pt x="2455" y="9818"/>
                </a:lnTo>
                <a:cubicBezTo>
                  <a:pt x="2248" y="9818"/>
                  <a:pt x="2073" y="9947"/>
                  <a:pt x="2001" y="10128"/>
                </a:cubicBezTo>
                <a:lnTo>
                  <a:pt x="1998" y="10127"/>
                </a:lnTo>
                <a:lnTo>
                  <a:pt x="35" y="17000"/>
                </a:lnTo>
                <a:lnTo>
                  <a:pt x="37" y="17001"/>
                </a:lnTo>
                <a:cubicBezTo>
                  <a:pt x="14" y="17057"/>
                  <a:pt x="0" y="17118"/>
                  <a:pt x="0" y="17182"/>
                </a:cubicBezTo>
                <a:lnTo>
                  <a:pt x="0" y="18164"/>
                </a:lnTo>
                <a:lnTo>
                  <a:pt x="68" y="18164"/>
                </a:lnTo>
                <a:cubicBezTo>
                  <a:pt x="25" y="18320"/>
                  <a:pt x="0" y="18484"/>
                  <a:pt x="0" y="18655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8655"/>
                </a:lnTo>
                <a:cubicBezTo>
                  <a:pt x="21600" y="18484"/>
                  <a:pt x="21575" y="18320"/>
                  <a:pt x="21532" y="18164"/>
                </a:cubicBezTo>
                <a:lnTo>
                  <a:pt x="21600" y="18164"/>
                </a:lnTo>
                <a:cubicBezTo>
                  <a:pt x="21600" y="18164"/>
                  <a:pt x="21600" y="17182"/>
                  <a:pt x="21600" y="17182"/>
                </a:cubicBezTo>
                <a:close/>
                <a:moveTo>
                  <a:pt x="4418" y="19636"/>
                </a:moveTo>
                <a:cubicBezTo>
                  <a:pt x="4689" y="19636"/>
                  <a:pt x="4909" y="19416"/>
                  <a:pt x="4909" y="19146"/>
                </a:cubicBezTo>
                <a:cubicBezTo>
                  <a:pt x="4909" y="18874"/>
                  <a:pt x="4689" y="18655"/>
                  <a:pt x="4418" y="18655"/>
                </a:cubicBezTo>
                <a:cubicBezTo>
                  <a:pt x="4147" y="18655"/>
                  <a:pt x="3927" y="18874"/>
                  <a:pt x="3927" y="19146"/>
                </a:cubicBezTo>
                <a:cubicBezTo>
                  <a:pt x="3927" y="19416"/>
                  <a:pt x="4147" y="19636"/>
                  <a:pt x="4418" y="19636"/>
                </a:cubicBezTo>
                <a:moveTo>
                  <a:pt x="2455" y="19636"/>
                </a:moveTo>
                <a:cubicBezTo>
                  <a:pt x="2725" y="19636"/>
                  <a:pt x="2945" y="19416"/>
                  <a:pt x="2945" y="19146"/>
                </a:cubicBezTo>
                <a:cubicBezTo>
                  <a:pt x="2945" y="18874"/>
                  <a:pt x="2725" y="18655"/>
                  <a:pt x="2455" y="18655"/>
                </a:cubicBezTo>
                <a:cubicBezTo>
                  <a:pt x="2184" y="18655"/>
                  <a:pt x="1964" y="18874"/>
                  <a:pt x="1964" y="19146"/>
                </a:cubicBezTo>
                <a:cubicBezTo>
                  <a:pt x="1964" y="19416"/>
                  <a:pt x="2184" y="19636"/>
                  <a:pt x="2455" y="19636"/>
                </a:cubicBezTo>
                <a:moveTo>
                  <a:pt x="12003" y="3573"/>
                </a:moveTo>
                <a:lnTo>
                  <a:pt x="12664" y="2838"/>
                </a:lnTo>
                <a:cubicBezTo>
                  <a:pt x="12214" y="2308"/>
                  <a:pt x="11550" y="1964"/>
                  <a:pt x="10800" y="1964"/>
                </a:cubicBezTo>
                <a:cubicBezTo>
                  <a:pt x="9997" y="1964"/>
                  <a:pt x="9290" y="2355"/>
                  <a:pt x="8842" y="2952"/>
                </a:cubicBezTo>
                <a:lnTo>
                  <a:pt x="9546" y="3655"/>
                </a:lnTo>
                <a:cubicBezTo>
                  <a:pt x="9805" y="3231"/>
                  <a:pt x="10267" y="2945"/>
                  <a:pt x="10800" y="2945"/>
                </a:cubicBezTo>
                <a:cubicBezTo>
                  <a:pt x="11298" y="2945"/>
                  <a:pt x="11736" y="3194"/>
                  <a:pt x="12003" y="3573"/>
                </a:cubicBezTo>
                <a:moveTo>
                  <a:pt x="10309" y="4418"/>
                </a:moveTo>
                <a:cubicBezTo>
                  <a:pt x="10309" y="4690"/>
                  <a:pt x="10529" y="4909"/>
                  <a:pt x="10800" y="4909"/>
                </a:cubicBezTo>
                <a:cubicBezTo>
                  <a:pt x="11071" y="4909"/>
                  <a:pt x="11291" y="4690"/>
                  <a:pt x="11291" y="4418"/>
                </a:cubicBezTo>
                <a:cubicBezTo>
                  <a:pt x="11291" y="4147"/>
                  <a:pt x="11071" y="3927"/>
                  <a:pt x="10800" y="3927"/>
                </a:cubicBezTo>
                <a:cubicBezTo>
                  <a:pt x="10529" y="3927"/>
                  <a:pt x="10309" y="4147"/>
                  <a:pt x="10309" y="4418"/>
                </a:cubicBezTo>
                <a:moveTo>
                  <a:pt x="10800" y="982"/>
                </a:moveTo>
                <a:cubicBezTo>
                  <a:pt x="11802" y="982"/>
                  <a:pt x="12701" y="1414"/>
                  <a:pt x="13330" y="2098"/>
                </a:cubicBezTo>
                <a:lnTo>
                  <a:pt x="13989" y="1366"/>
                </a:lnTo>
                <a:cubicBezTo>
                  <a:pt x="13185" y="525"/>
                  <a:pt x="12055" y="0"/>
                  <a:pt x="10800" y="0"/>
                </a:cubicBezTo>
                <a:cubicBezTo>
                  <a:pt x="9455" y="0"/>
                  <a:pt x="8252" y="603"/>
                  <a:pt x="7442" y="1551"/>
                </a:cubicBezTo>
                <a:lnTo>
                  <a:pt x="8138" y="2246"/>
                </a:lnTo>
                <a:cubicBezTo>
                  <a:pt x="8768" y="1475"/>
                  <a:pt x="9726" y="982"/>
                  <a:pt x="10800" y="9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2" name="Shape 2682"/>
          <p:cNvSpPr/>
          <p:nvPr/>
        </p:nvSpPr>
        <p:spPr>
          <a:xfrm>
            <a:off x="17883537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6691"/>
                </a:moveTo>
                <a:cubicBezTo>
                  <a:pt x="20618" y="17775"/>
                  <a:pt x="19739" y="18655"/>
                  <a:pt x="18655" y="18655"/>
                </a:cubicBezTo>
                <a:lnTo>
                  <a:pt x="17673" y="18655"/>
                </a:lnTo>
                <a:lnTo>
                  <a:pt x="17673" y="14727"/>
                </a:lnTo>
                <a:cubicBezTo>
                  <a:pt x="17673" y="14186"/>
                  <a:pt x="17233" y="13745"/>
                  <a:pt x="16691" y="13745"/>
                </a:cubicBezTo>
                <a:lnTo>
                  <a:pt x="4909" y="13745"/>
                </a:lnTo>
                <a:cubicBezTo>
                  <a:pt x="4367" y="13745"/>
                  <a:pt x="3927" y="14186"/>
                  <a:pt x="3927" y="14727"/>
                </a:cubicBezTo>
                <a:lnTo>
                  <a:pt x="3927" y="18655"/>
                </a:lnTo>
                <a:lnTo>
                  <a:pt x="2945" y="18655"/>
                </a:lnTo>
                <a:cubicBezTo>
                  <a:pt x="1861" y="18655"/>
                  <a:pt x="982" y="17775"/>
                  <a:pt x="982" y="16691"/>
                </a:cubicBezTo>
                <a:lnTo>
                  <a:pt x="982" y="8836"/>
                </a:lnTo>
                <a:cubicBezTo>
                  <a:pt x="982" y="7752"/>
                  <a:pt x="1861" y="6873"/>
                  <a:pt x="2945" y="6873"/>
                </a:cubicBezTo>
                <a:lnTo>
                  <a:pt x="18655" y="6873"/>
                </a:lnTo>
                <a:cubicBezTo>
                  <a:pt x="19739" y="6873"/>
                  <a:pt x="20618" y="7752"/>
                  <a:pt x="20618" y="8836"/>
                </a:cubicBezTo>
                <a:cubicBezTo>
                  <a:pt x="20618" y="8836"/>
                  <a:pt x="20618" y="16691"/>
                  <a:pt x="20618" y="16691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4727"/>
                </a:lnTo>
                <a:lnTo>
                  <a:pt x="16691" y="14727"/>
                </a:lnTo>
                <a:cubicBezTo>
                  <a:pt x="16691" y="14727"/>
                  <a:pt x="16691" y="20618"/>
                  <a:pt x="16691" y="20618"/>
                </a:cubicBezTo>
                <a:close/>
                <a:moveTo>
                  <a:pt x="4909" y="982"/>
                </a:moveTo>
                <a:lnTo>
                  <a:pt x="16691" y="982"/>
                </a:lnTo>
                <a:lnTo>
                  <a:pt x="16691" y="5891"/>
                </a:lnTo>
                <a:lnTo>
                  <a:pt x="4909" y="5891"/>
                </a:lnTo>
                <a:cubicBezTo>
                  <a:pt x="4909" y="5891"/>
                  <a:pt x="4909" y="982"/>
                  <a:pt x="4909" y="982"/>
                </a:cubicBezTo>
                <a:close/>
                <a:moveTo>
                  <a:pt x="18655" y="5891"/>
                </a:moveTo>
                <a:lnTo>
                  <a:pt x="17673" y="5891"/>
                </a:ln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4909" y="0"/>
                </a:lnTo>
                <a:cubicBezTo>
                  <a:pt x="4367" y="0"/>
                  <a:pt x="3927" y="440"/>
                  <a:pt x="3927" y="982"/>
                </a:cubicBezTo>
                <a:lnTo>
                  <a:pt x="3927" y="5891"/>
                </a:lnTo>
                <a:lnTo>
                  <a:pt x="2945" y="5891"/>
                </a:lnTo>
                <a:cubicBezTo>
                  <a:pt x="1318" y="5891"/>
                  <a:pt x="0" y="7210"/>
                  <a:pt x="0" y="8836"/>
                </a:cubicBezTo>
                <a:lnTo>
                  <a:pt x="0" y="16691"/>
                </a:lnTo>
                <a:cubicBezTo>
                  <a:pt x="0" y="18318"/>
                  <a:pt x="1318" y="19636"/>
                  <a:pt x="2945" y="19636"/>
                </a:cubicBezTo>
                <a:lnTo>
                  <a:pt x="3927" y="19636"/>
                </a:lnTo>
                <a:lnTo>
                  <a:pt x="3927" y="20618"/>
                </a:lnTo>
                <a:cubicBezTo>
                  <a:pt x="3927" y="21161"/>
                  <a:pt x="4367" y="21600"/>
                  <a:pt x="4909" y="21600"/>
                </a:cubicBezTo>
                <a:lnTo>
                  <a:pt x="16691" y="21600"/>
                </a:lnTo>
                <a:cubicBezTo>
                  <a:pt x="17233" y="21600"/>
                  <a:pt x="17673" y="21161"/>
                  <a:pt x="17673" y="20618"/>
                </a:cubicBezTo>
                <a:lnTo>
                  <a:pt x="17673" y="19636"/>
                </a:lnTo>
                <a:lnTo>
                  <a:pt x="18655" y="19636"/>
                </a:lnTo>
                <a:cubicBezTo>
                  <a:pt x="20282" y="19636"/>
                  <a:pt x="21600" y="18318"/>
                  <a:pt x="21600" y="16691"/>
                </a:cubicBezTo>
                <a:lnTo>
                  <a:pt x="21600" y="8836"/>
                </a:lnTo>
                <a:cubicBezTo>
                  <a:pt x="21600" y="7210"/>
                  <a:pt x="20282" y="5891"/>
                  <a:pt x="18655" y="5891"/>
                </a:cubicBezTo>
                <a:moveTo>
                  <a:pt x="17673" y="8836"/>
                </a:moveTo>
                <a:cubicBezTo>
                  <a:pt x="17131" y="8836"/>
                  <a:pt x="16691" y="9276"/>
                  <a:pt x="16691" y="9818"/>
                </a:cubicBezTo>
                <a:cubicBezTo>
                  <a:pt x="16691" y="10360"/>
                  <a:pt x="17131" y="10800"/>
                  <a:pt x="17673" y="10800"/>
                </a:cubicBezTo>
                <a:cubicBezTo>
                  <a:pt x="18214" y="10800"/>
                  <a:pt x="18655" y="10360"/>
                  <a:pt x="18655" y="9818"/>
                </a:cubicBezTo>
                <a:cubicBezTo>
                  <a:pt x="18655" y="9276"/>
                  <a:pt x="18214" y="8836"/>
                  <a:pt x="17673" y="8836"/>
                </a:cubicBezTo>
                <a:moveTo>
                  <a:pt x="14727" y="8836"/>
                </a:moveTo>
                <a:cubicBezTo>
                  <a:pt x="14186" y="8836"/>
                  <a:pt x="13745" y="9276"/>
                  <a:pt x="13745" y="9818"/>
                </a:cubicBezTo>
                <a:cubicBezTo>
                  <a:pt x="13745" y="10360"/>
                  <a:pt x="14186" y="10800"/>
                  <a:pt x="14727" y="10800"/>
                </a:cubicBezTo>
                <a:cubicBezTo>
                  <a:pt x="15269" y="10800"/>
                  <a:pt x="15709" y="10360"/>
                  <a:pt x="15709" y="9818"/>
                </a:cubicBezTo>
                <a:cubicBezTo>
                  <a:pt x="15709" y="9276"/>
                  <a:pt x="15269" y="8836"/>
                  <a:pt x="14727" y="8836"/>
                </a:cubicBezTo>
                <a:moveTo>
                  <a:pt x="7364" y="16691"/>
                </a:moveTo>
                <a:lnTo>
                  <a:pt x="12273" y="16691"/>
                </a:lnTo>
                <a:cubicBezTo>
                  <a:pt x="12544" y="16691"/>
                  <a:pt x="12764" y="16472"/>
                  <a:pt x="12764" y="16200"/>
                </a:cubicBezTo>
                <a:cubicBezTo>
                  <a:pt x="12764" y="15929"/>
                  <a:pt x="12544" y="15709"/>
                  <a:pt x="12273" y="15709"/>
                </a:cubicBezTo>
                <a:lnTo>
                  <a:pt x="7364" y="15709"/>
                </a:lnTo>
                <a:cubicBezTo>
                  <a:pt x="7092" y="15709"/>
                  <a:pt x="6873" y="15929"/>
                  <a:pt x="6873" y="16200"/>
                </a:cubicBezTo>
                <a:cubicBezTo>
                  <a:pt x="6873" y="16472"/>
                  <a:pt x="7092" y="16691"/>
                  <a:pt x="7364" y="16691"/>
                </a:cubicBezTo>
                <a:moveTo>
                  <a:pt x="7364" y="18655"/>
                </a:move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7893"/>
                  <a:pt x="14508" y="17673"/>
                  <a:pt x="14236" y="17673"/>
                </a:cubicBezTo>
                <a:lnTo>
                  <a:pt x="7364" y="17673"/>
                </a:lnTo>
                <a:cubicBezTo>
                  <a:pt x="7092" y="17673"/>
                  <a:pt x="6873" y="17893"/>
                  <a:pt x="6873" y="18164"/>
                </a:cubicBezTo>
                <a:cubicBezTo>
                  <a:pt x="6873" y="18435"/>
                  <a:pt x="7092" y="18655"/>
                  <a:pt x="7364" y="186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3" name="Shape 2683"/>
          <p:cNvSpPr/>
          <p:nvPr/>
        </p:nvSpPr>
        <p:spPr>
          <a:xfrm>
            <a:off x="19026238" y="2853085"/>
            <a:ext cx="406290" cy="558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05" h="21528" extrusionOk="0">
                <a:moveTo>
                  <a:pt x="13441" y="9294"/>
                </a:moveTo>
                <a:lnTo>
                  <a:pt x="13441" y="9784"/>
                </a:lnTo>
                <a:lnTo>
                  <a:pt x="1344" y="9784"/>
                </a:lnTo>
                <a:lnTo>
                  <a:pt x="1344" y="9294"/>
                </a:lnTo>
                <a:cubicBezTo>
                  <a:pt x="1344" y="7028"/>
                  <a:pt x="3696" y="5163"/>
                  <a:pt x="6720" y="4919"/>
                </a:cubicBezTo>
                <a:lnTo>
                  <a:pt x="6720" y="9784"/>
                </a:lnTo>
                <a:lnTo>
                  <a:pt x="8065" y="9784"/>
                </a:lnTo>
                <a:lnTo>
                  <a:pt x="8065" y="4919"/>
                </a:lnTo>
                <a:cubicBezTo>
                  <a:pt x="11089" y="5163"/>
                  <a:pt x="13441" y="7028"/>
                  <a:pt x="13441" y="9294"/>
                </a:cubicBezTo>
                <a:moveTo>
                  <a:pt x="13441" y="16145"/>
                </a:moveTo>
                <a:cubicBezTo>
                  <a:pt x="13441" y="18578"/>
                  <a:pt x="10733" y="20549"/>
                  <a:pt x="7393" y="20549"/>
                </a:cubicBezTo>
                <a:cubicBezTo>
                  <a:pt x="4052" y="20549"/>
                  <a:pt x="1344" y="18578"/>
                  <a:pt x="1344" y="16145"/>
                </a:cubicBezTo>
                <a:lnTo>
                  <a:pt x="1344" y="10762"/>
                </a:lnTo>
                <a:lnTo>
                  <a:pt x="13441" y="10762"/>
                </a:lnTo>
                <a:cubicBezTo>
                  <a:pt x="13441" y="10762"/>
                  <a:pt x="13441" y="16145"/>
                  <a:pt x="13441" y="16145"/>
                </a:cubicBezTo>
                <a:close/>
                <a:moveTo>
                  <a:pt x="21134" y="48"/>
                </a:moveTo>
                <a:cubicBezTo>
                  <a:pt x="20801" y="-72"/>
                  <a:pt x="20436" y="41"/>
                  <a:pt x="20232" y="268"/>
                </a:cubicBezTo>
                <a:cubicBezTo>
                  <a:pt x="18723" y="1944"/>
                  <a:pt x="16716" y="3504"/>
                  <a:pt x="13069" y="2006"/>
                </a:cubicBezTo>
                <a:cubicBezTo>
                  <a:pt x="10993" y="1153"/>
                  <a:pt x="9603" y="1431"/>
                  <a:pt x="8642" y="1862"/>
                </a:cubicBezTo>
                <a:cubicBezTo>
                  <a:pt x="7655" y="2307"/>
                  <a:pt x="6969" y="3089"/>
                  <a:pt x="6778" y="3935"/>
                </a:cubicBezTo>
                <a:cubicBezTo>
                  <a:pt x="2984" y="4162"/>
                  <a:pt x="0" y="6473"/>
                  <a:pt x="0" y="9294"/>
                </a:cubicBezTo>
                <a:lnTo>
                  <a:pt x="0" y="16145"/>
                </a:lnTo>
                <a:cubicBezTo>
                  <a:pt x="0" y="19118"/>
                  <a:pt x="3310" y="21528"/>
                  <a:pt x="7393" y="21528"/>
                </a:cubicBezTo>
                <a:cubicBezTo>
                  <a:pt x="11475" y="21528"/>
                  <a:pt x="14785" y="19118"/>
                  <a:pt x="14785" y="16145"/>
                </a:cubicBezTo>
                <a:lnTo>
                  <a:pt x="14785" y="9294"/>
                </a:lnTo>
                <a:cubicBezTo>
                  <a:pt x="14785" y="6507"/>
                  <a:pt x="11875" y="4215"/>
                  <a:pt x="8146" y="3940"/>
                </a:cubicBezTo>
                <a:cubicBezTo>
                  <a:pt x="8301" y="3479"/>
                  <a:pt x="8690" y="2991"/>
                  <a:pt x="9348" y="2695"/>
                </a:cubicBezTo>
                <a:cubicBezTo>
                  <a:pt x="10308" y="2263"/>
                  <a:pt x="10946" y="2328"/>
                  <a:pt x="12468" y="2882"/>
                </a:cubicBezTo>
                <a:cubicBezTo>
                  <a:pt x="15022" y="3811"/>
                  <a:pt x="16657" y="3572"/>
                  <a:pt x="17947" y="3206"/>
                </a:cubicBezTo>
                <a:cubicBezTo>
                  <a:pt x="19526" y="2759"/>
                  <a:pt x="20650" y="1847"/>
                  <a:pt x="21434" y="705"/>
                </a:cubicBezTo>
                <a:cubicBezTo>
                  <a:pt x="21600" y="463"/>
                  <a:pt x="21466" y="170"/>
                  <a:pt x="21134" y="48"/>
                </a:cubicBezTo>
                <a:moveTo>
                  <a:pt x="7393" y="18592"/>
                </a:moveTo>
                <a:cubicBezTo>
                  <a:pt x="8134" y="18592"/>
                  <a:pt x="8737" y="18153"/>
                  <a:pt x="8737" y="17613"/>
                </a:cubicBezTo>
                <a:cubicBezTo>
                  <a:pt x="8737" y="17073"/>
                  <a:pt x="8134" y="16635"/>
                  <a:pt x="7393" y="16635"/>
                </a:cubicBezTo>
                <a:cubicBezTo>
                  <a:pt x="6650" y="16635"/>
                  <a:pt x="6048" y="17073"/>
                  <a:pt x="6048" y="17613"/>
                </a:cubicBezTo>
                <a:cubicBezTo>
                  <a:pt x="6048" y="18153"/>
                  <a:pt x="6650" y="18592"/>
                  <a:pt x="7393" y="1859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4" name="Shape 2684"/>
          <p:cNvSpPr/>
          <p:nvPr/>
        </p:nvSpPr>
        <p:spPr>
          <a:xfrm>
            <a:off x="20016581" y="2853083"/>
            <a:ext cx="558654" cy="5592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40" extrusionOk="0">
                <a:moveTo>
                  <a:pt x="4418" y="19095"/>
                </a:moveTo>
                <a:lnTo>
                  <a:pt x="5400" y="19095"/>
                </a:lnTo>
                <a:lnTo>
                  <a:pt x="5400" y="18117"/>
                </a:lnTo>
                <a:lnTo>
                  <a:pt x="4418" y="18117"/>
                </a:lnTo>
                <a:cubicBezTo>
                  <a:pt x="4418" y="18117"/>
                  <a:pt x="4418" y="19095"/>
                  <a:pt x="4418" y="19095"/>
                </a:cubicBezTo>
                <a:close/>
                <a:moveTo>
                  <a:pt x="6382" y="16160"/>
                </a:moveTo>
                <a:lnTo>
                  <a:pt x="5400" y="16160"/>
                </a:lnTo>
                <a:lnTo>
                  <a:pt x="5400" y="17139"/>
                </a:lnTo>
                <a:lnTo>
                  <a:pt x="6382" y="17139"/>
                </a:lnTo>
                <a:cubicBezTo>
                  <a:pt x="6382" y="17139"/>
                  <a:pt x="6382" y="16160"/>
                  <a:pt x="6382" y="16160"/>
                </a:cubicBezTo>
                <a:close/>
                <a:moveTo>
                  <a:pt x="2455" y="19095"/>
                </a:moveTo>
                <a:lnTo>
                  <a:pt x="3436" y="19095"/>
                </a:lnTo>
                <a:lnTo>
                  <a:pt x="3436" y="18117"/>
                </a:lnTo>
                <a:lnTo>
                  <a:pt x="2455" y="18117"/>
                </a:lnTo>
                <a:cubicBezTo>
                  <a:pt x="2455" y="18117"/>
                  <a:pt x="2455" y="19095"/>
                  <a:pt x="2455" y="19095"/>
                </a:cubicBezTo>
                <a:close/>
                <a:moveTo>
                  <a:pt x="4418" y="16160"/>
                </a:moveTo>
                <a:lnTo>
                  <a:pt x="2455" y="16160"/>
                </a:lnTo>
                <a:lnTo>
                  <a:pt x="2455" y="17139"/>
                </a:lnTo>
                <a:lnTo>
                  <a:pt x="4418" y="17139"/>
                </a:lnTo>
                <a:cubicBezTo>
                  <a:pt x="4418" y="17139"/>
                  <a:pt x="4418" y="16160"/>
                  <a:pt x="4418" y="16160"/>
                </a:cubicBezTo>
                <a:close/>
                <a:moveTo>
                  <a:pt x="3436" y="12248"/>
                </a:moveTo>
                <a:lnTo>
                  <a:pt x="2455" y="12248"/>
                </a:lnTo>
                <a:lnTo>
                  <a:pt x="2455" y="13226"/>
                </a:lnTo>
                <a:lnTo>
                  <a:pt x="3436" y="13226"/>
                </a:lnTo>
                <a:cubicBezTo>
                  <a:pt x="3436" y="13226"/>
                  <a:pt x="3436" y="12248"/>
                  <a:pt x="3436" y="12248"/>
                </a:cubicBezTo>
                <a:close/>
                <a:moveTo>
                  <a:pt x="3436" y="14204"/>
                </a:moveTo>
                <a:lnTo>
                  <a:pt x="2455" y="14204"/>
                </a:lnTo>
                <a:lnTo>
                  <a:pt x="2455" y="15182"/>
                </a:lnTo>
                <a:lnTo>
                  <a:pt x="3436" y="15182"/>
                </a:lnTo>
                <a:cubicBezTo>
                  <a:pt x="3436" y="15182"/>
                  <a:pt x="3436" y="14204"/>
                  <a:pt x="3436" y="14204"/>
                </a:cubicBezTo>
                <a:close/>
                <a:moveTo>
                  <a:pt x="6382" y="19095"/>
                </a:moveTo>
                <a:lnTo>
                  <a:pt x="13255" y="19095"/>
                </a:lnTo>
                <a:lnTo>
                  <a:pt x="13255" y="18117"/>
                </a:lnTo>
                <a:lnTo>
                  <a:pt x="6382" y="18117"/>
                </a:lnTo>
                <a:cubicBezTo>
                  <a:pt x="6382" y="18117"/>
                  <a:pt x="6382" y="19095"/>
                  <a:pt x="6382" y="19095"/>
                </a:cubicBezTo>
                <a:close/>
                <a:moveTo>
                  <a:pt x="18164" y="15182"/>
                </a:moveTo>
                <a:lnTo>
                  <a:pt x="19145" y="15182"/>
                </a:lnTo>
                <a:lnTo>
                  <a:pt x="19145" y="14204"/>
                </a:lnTo>
                <a:lnTo>
                  <a:pt x="18164" y="14204"/>
                </a:lnTo>
                <a:cubicBezTo>
                  <a:pt x="18164" y="14204"/>
                  <a:pt x="18164" y="15182"/>
                  <a:pt x="18164" y="15182"/>
                </a:cubicBezTo>
                <a:close/>
                <a:moveTo>
                  <a:pt x="5400" y="14204"/>
                </a:moveTo>
                <a:lnTo>
                  <a:pt x="4418" y="14204"/>
                </a:lnTo>
                <a:lnTo>
                  <a:pt x="4418" y="15182"/>
                </a:lnTo>
                <a:lnTo>
                  <a:pt x="5400" y="15182"/>
                </a:lnTo>
                <a:cubicBezTo>
                  <a:pt x="5400" y="15182"/>
                  <a:pt x="5400" y="14204"/>
                  <a:pt x="5400" y="14204"/>
                </a:cubicBezTo>
                <a:close/>
                <a:moveTo>
                  <a:pt x="14236" y="16160"/>
                </a:moveTo>
                <a:lnTo>
                  <a:pt x="13255" y="16160"/>
                </a:lnTo>
                <a:lnTo>
                  <a:pt x="13255" y="17139"/>
                </a:lnTo>
                <a:lnTo>
                  <a:pt x="14236" y="17139"/>
                </a:lnTo>
                <a:cubicBezTo>
                  <a:pt x="14236" y="17139"/>
                  <a:pt x="14236" y="16160"/>
                  <a:pt x="14236" y="16160"/>
                </a:cubicBezTo>
                <a:close/>
                <a:moveTo>
                  <a:pt x="20618" y="19584"/>
                </a:moveTo>
                <a:cubicBezTo>
                  <a:pt x="20618" y="20124"/>
                  <a:pt x="20178" y="20562"/>
                  <a:pt x="19636" y="20562"/>
                </a:cubicBezTo>
                <a:lnTo>
                  <a:pt x="1964" y="20562"/>
                </a:lnTo>
                <a:cubicBezTo>
                  <a:pt x="1421" y="20562"/>
                  <a:pt x="982" y="20124"/>
                  <a:pt x="982" y="19584"/>
                </a:cubicBezTo>
                <a:lnTo>
                  <a:pt x="982" y="11759"/>
                </a:lnTo>
                <a:cubicBezTo>
                  <a:pt x="982" y="11219"/>
                  <a:pt x="1421" y="10781"/>
                  <a:pt x="1964" y="10781"/>
                </a:cubicBezTo>
                <a:lnTo>
                  <a:pt x="19636" y="10781"/>
                </a:lnTo>
                <a:cubicBezTo>
                  <a:pt x="20178" y="10781"/>
                  <a:pt x="20618" y="11219"/>
                  <a:pt x="20618" y="11759"/>
                </a:cubicBezTo>
                <a:cubicBezTo>
                  <a:pt x="20618" y="11759"/>
                  <a:pt x="20618" y="19584"/>
                  <a:pt x="20618" y="19584"/>
                </a:cubicBezTo>
                <a:close/>
                <a:moveTo>
                  <a:pt x="19636" y="9803"/>
                </a:moveTo>
                <a:lnTo>
                  <a:pt x="10965" y="9803"/>
                </a:lnTo>
                <a:cubicBezTo>
                  <a:pt x="10831" y="9456"/>
                  <a:pt x="10774" y="9056"/>
                  <a:pt x="10870" y="8651"/>
                </a:cubicBezTo>
                <a:cubicBezTo>
                  <a:pt x="11059" y="7853"/>
                  <a:pt x="11782" y="7224"/>
                  <a:pt x="12961" y="6833"/>
                </a:cubicBezTo>
                <a:cubicBezTo>
                  <a:pt x="14940" y="6175"/>
                  <a:pt x="15841" y="4938"/>
                  <a:pt x="16249" y="4015"/>
                </a:cubicBezTo>
                <a:cubicBezTo>
                  <a:pt x="16747" y="2886"/>
                  <a:pt x="16801" y="1546"/>
                  <a:pt x="16396" y="335"/>
                </a:cubicBezTo>
                <a:cubicBezTo>
                  <a:pt x="16310" y="79"/>
                  <a:pt x="16032" y="-60"/>
                  <a:pt x="15774" y="25"/>
                </a:cubicBezTo>
                <a:cubicBezTo>
                  <a:pt x="15517" y="112"/>
                  <a:pt x="15378" y="388"/>
                  <a:pt x="15464" y="644"/>
                </a:cubicBezTo>
                <a:cubicBezTo>
                  <a:pt x="16091" y="2519"/>
                  <a:pt x="15480" y="4964"/>
                  <a:pt x="12650" y="5904"/>
                </a:cubicBezTo>
                <a:cubicBezTo>
                  <a:pt x="10733" y="6542"/>
                  <a:pt x="10105" y="7627"/>
                  <a:pt x="9915" y="8427"/>
                </a:cubicBezTo>
                <a:cubicBezTo>
                  <a:pt x="9809" y="8876"/>
                  <a:pt x="9824" y="9351"/>
                  <a:pt x="9937" y="9803"/>
                </a:cubicBezTo>
                <a:lnTo>
                  <a:pt x="1964" y="9803"/>
                </a:lnTo>
                <a:cubicBezTo>
                  <a:pt x="879" y="9803"/>
                  <a:pt x="0" y="10679"/>
                  <a:pt x="0" y="11759"/>
                </a:cubicBezTo>
                <a:lnTo>
                  <a:pt x="0" y="19584"/>
                </a:lnTo>
                <a:cubicBezTo>
                  <a:pt x="0" y="20664"/>
                  <a:pt x="879" y="21540"/>
                  <a:pt x="1964" y="21540"/>
                </a:cubicBezTo>
                <a:lnTo>
                  <a:pt x="19636" y="21540"/>
                </a:lnTo>
                <a:cubicBezTo>
                  <a:pt x="20721" y="21540"/>
                  <a:pt x="21600" y="20664"/>
                  <a:pt x="21600" y="19584"/>
                </a:cubicBezTo>
                <a:lnTo>
                  <a:pt x="21600" y="11759"/>
                </a:lnTo>
                <a:cubicBezTo>
                  <a:pt x="21600" y="10679"/>
                  <a:pt x="20721" y="9803"/>
                  <a:pt x="19636" y="9803"/>
                </a:cubicBezTo>
                <a:moveTo>
                  <a:pt x="17182" y="17139"/>
                </a:moveTo>
                <a:lnTo>
                  <a:pt x="19145" y="17139"/>
                </a:lnTo>
                <a:lnTo>
                  <a:pt x="19145" y="16160"/>
                </a:lnTo>
                <a:lnTo>
                  <a:pt x="17182" y="16160"/>
                </a:lnTo>
                <a:cubicBezTo>
                  <a:pt x="17182" y="16160"/>
                  <a:pt x="17182" y="17139"/>
                  <a:pt x="17182" y="17139"/>
                </a:cubicBezTo>
                <a:close/>
                <a:moveTo>
                  <a:pt x="14236" y="19095"/>
                </a:moveTo>
                <a:lnTo>
                  <a:pt x="15218" y="19095"/>
                </a:lnTo>
                <a:lnTo>
                  <a:pt x="15218" y="18117"/>
                </a:lnTo>
                <a:lnTo>
                  <a:pt x="14236" y="18117"/>
                </a:lnTo>
                <a:cubicBezTo>
                  <a:pt x="14236" y="18117"/>
                  <a:pt x="14236" y="19095"/>
                  <a:pt x="14236" y="19095"/>
                </a:cubicBezTo>
                <a:close/>
                <a:moveTo>
                  <a:pt x="16200" y="19095"/>
                </a:moveTo>
                <a:lnTo>
                  <a:pt x="17182" y="19095"/>
                </a:lnTo>
                <a:lnTo>
                  <a:pt x="17182" y="18117"/>
                </a:lnTo>
                <a:lnTo>
                  <a:pt x="16200" y="18117"/>
                </a:lnTo>
                <a:cubicBezTo>
                  <a:pt x="16200" y="18117"/>
                  <a:pt x="16200" y="19095"/>
                  <a:pt x="16200" y="19095"/>
                </a:cubicBezTo>
                <a:close/>
                <a:moveTo>
                  <a:pt x="18164" y="19095"/>
                </a:moveTo>
                <a:lnTo>
                  <a:pt x="19145" y="19095"/>
                </a:lnTo>
                <a:lnTo>
                  <a:pt x="19145" y="18117"/>
                </a:lnTo>
                <a:lnTo>
                  <a:pt x="18164" y="18117"/>
                </a:lnTo>
                <a:cubicBezTo>
                  <a:pt x="18164" y="18117"/>
                  <a:pt x="18164" y="19095"/>
                  <a:pt x="18164" y="19095"/>
                </a:cubicBezTo>
                <a:close/>
                <a:moveTo>
                  <a:pt x="16200" y="16160"/>
                </a:moveTo>
                <a:lnTo>
                  <a:pt x="15218" y="16160"/>
                </a:lnTo>
                <a:lnTo>
                  <a:pt x="15218" y="17139"/>
                </a:lnTo>
                <a:lnTo>
                  <a:pt x="16200" y="17139"/>
                </a:lnTo>
                <a:cubicBezTo>
                  <a:pt x="16200" y="17139"/>
                  <a:pt x="16200" y="16160"/>
                  <a:pt x="16200" y="16160"/>
                </a:cubicBezTo>
                <a:close/>
                <a:moveTo>
                  <a:pt x="18164" y="13226"/>
                </a:moveTo>
                <a:lnTo>
                  <a:pt x="19145" y="13226"/>
                </a:lnTo>
                <a:lnTo>
                  <a:pt x="19145" y="12248"/>
                </a:lnTo>
                <a:lnTo>
                  <a:pt x="18164" y="12248"/>
                </a:lnTo>
                <a:cubicBezTo>
                  <a:pt x="18164" y="12248"/>
                  <a:pt x="18164" y="13226"/>
                  <a:pt x="18164" y="13226"/>
                </a:cubicBezTo>
                <a:close/>
                <a:moveTo>
                  <a:pt x="13255" y="12248"/>
                </a:moveTo>
                <a:lnTo>
                  <a:pt x="12273" y="12248"/>
                </a:lnTo>
                <a:lnTo>
                  <a:pt x="12273" y="13226"/>
                </a:lnTo>
                <a:lnTo>
                  <a:pt x="13255" y="13226"/>
                </a:lnTo>
                <a:cubicBezTo>
                  <a:pt x="13255" y="13226"/>
                  <a:pt x="13255" y="12248"/>
                  <a:pt x="13255" y="12248"/>
                </a:cubicBezTo>
                <a:close/>
                <a:moveTo>
                  <a:pt x="13255" y="14204"/>
                </a:moveTo>
                <a:lnTo>
                  <a:pt x="12273" y="14204"/>
                </a:lnTo>
                <a:lnTo>
                  <a:pt x="12273" y="15182"/>
                </a:lnTo>
                <a:lnTo>
                  <a:pt x="13255" y="15182"/>
                </a:lnTo>
                <a:cubicBezTo>
                  <a:pt x="13255" y="15182"/>
                  <a:pt x="13255" y="14204"/>
                  <a:pt x="13255" y="14204"/>
                </a:cubicBezTo>
                <a:close/>
                <a:moveTo>
                  <a:pt x="15218" y="14204"/>
                </a:moveTo>
                <a:lnTo>
                  <a:pt x="14236" y="14204"/>
                </a:lnTo>
                <a:lnTo>
                  <a:pt x="14236" y="15182"/>
                </a:lnTo>
                <a:lnTo>
                  <a:pt x="15218" y="15182"/>
                </a:lnTo>
                <a:cubicBezTo>
                  <a:pt x="15218" y="15182"/>
                  <a:pt x="15218" y="14204"/>
                  <a:pt x="15218" y="14204"/>
                </a:cubicBezTo>
                <a:close/>
                <a:moveTo>
                  <a:pt x="17182" y="14204"/>
                </a:moveTo>
                <a:lnTo>
                  <a:pt x="16200" y="14204"/>
                </a:lnTo>
                <a:lnTo>
                  <a:pt x="16200" y="15182"/>
                </a:lnTo>
                <a:lnTo>
                  <a:pt x="17182" y="15182"/>
                </a:lnTo>
                <a:cubicBezTo>
                  <a:pt x="17182" y="15182"/>
                  <a:pt x="17182" y="14204"/>
                  <a:pt x="17182" y="14204"/>
                </a:cubicBezTo>
                <a:close/>
                <a:moveTo>
                  <a:pt x="15218" y="12248"/>
                </a:moveTo>
                <a:lnTo>
                  <a:pt x="14236" y="12248"/>
                </a:lnTo>
                <a:lnTo>
                  <a:pt x="14236" y="13226"/>
                </a:lnTo>
                <a:lnTo>
                  <a:pt x="15218" y="13226"/>
                </a:lnTo>
                <a:cubicBezTo>
                  <a:pt x="15218" y="13226"/>
                  <a:pt x="15218" y="12248"/>
                  <a:pt x="15218" y="12248"/>
                </a:cubicBezTo>
                <a:close/>
                <a:moveTo>
                  <a:pt x="17182" y="12248"/>
                </a:moveTo>
                <a:lnTo>
                  <a:pt x="16200" y="12248"/>
                </a:lnTo>
                <a:lnTo>
                  <a:pt x="16200" y="13226"/>
                </a:lnTo>
                <a:lnTo>
                  <a:pt x="17182" y="13226"/>
                </a:lnTo>
                <a:cubicBezTo>
                  <a:pt x="17182" y="13226"/>
                  <a:pt x="17182" y="12248"/>
                  <a:pt x="17182" y="12248"/>
                </a:cubicBezTo>
                <a:close/>
                <a:moveTo>
                  <a:pt x="11291" y="12248"/>
                </a:moveTo>
                <a:lnTo>
                  <a:pt x="10309" y="12248"/>
                </a:lnTo>
                <a:lnTo>
                  <a:pt x="10309" y="13226"/>
                </a:lnTo>
                <a:lnTo>
                  <a:pt x="11291" y="13226"/>
                </a:lnTo>
                <a:cubicBezTo>
                  <a:pt x="11291" y="13226"/>
                  <a:pt x="11291" y="12248"/>
                  <a:pt x="11291" y="12248"/>
                </a:cubicBezTo>
                <a:close/>
                <a:moveTo>
                  <a:pt x="5400" y="12248"/>
                </a:moveTo>
                <a:lnTo>
                  <a:pt x="4418" y="12248"/>
                </a:lnTo>
                <a:lnTo>
                  <a:pt x="4418" y="13226"/>
                </a:lnTo>
                <a:lnTo>
                  <a:pt x="5400" y="13226"/>
                </a:lnTo>
                <a:cubicBezTo>
                  <a:pt x="5400" y="13226"/>
                  <a:pt x="5400" y="12248"/>
                  <a:pt x="5400" y="12248"/>
                </a:cubicBezTo>
                <a:close/>
                <a:moveTo>
                  <a:pt x="7364" y="17139"/>
                </a:moveTo>
                <a:lnTo>
                  <a:pt x="8345" y="17139"/>
                </a:lnTo>
                <a:lnTo>
                  <a:pt x="8345" y="16160"/>
                </a:lnTo>
                <a:lnTo>
                  <a:pt x="7364" y="16160"/>
                </a:lnTo>
                <a:cubicBezTo>
                  <a:pt x="7364" y="16160"/>
                  <a:pt x="7364" y="17139"/>
                  <a:pt x="7364" y="17139"/>
                </a:cubicBezTo>
                <a:close/>
                <a:moveTo>
                  <a:pt x="7364" y="14204"/>
                </a:moveTo>
                <a:lnTo>
                  <a:pt x="6382" y="14204"/>
                </a:lnTo>
                <a:lnTo>
                  <a:pt x="6382" y="15182"/>
                </a:lnTo>
                <a:lnTo>
                  <a:pt x="7364" y="15182"/>
                </a:lnTo>
                <a:cubicBezTo>
                  <a:pt x="7364" y="15182"/>
                  <a:pt x="7364" y="14204"/>
                  <a:pt x="7364" y="14204"/>
                </a:cubicBezTo>
                <a:close/>
                <a:moveTo>
                  <a:pt x="7364" y="12248"/>
                </a:moveTo>
                <a:lnTo>
                  <a:pt x="6382" y="12248"/>
                </a:lnTo>
                <a:lnTo>
                  <a:pt x="6382" y="13226"/>
                </a:lnTo>
                <a:lnTo>
                  <a:pt x="7364" y="13226"/>
                </a:lnTo>
                <a:cubicBezTo>
                  <a:pt x="7364" y="13226"/>
                  <a:pt x="7364" y="12248"/>
                  <a:pt x="7364" y="12248"/>
                </a:cubicBezTo>
                <a:close/>
                <a:moveTo>
                  <a:pt x="9327" y="14204"/>
                </a:moveTo>
                <a:lnTo>
                  <a:pt x="8345" y="14204"/>
                </a:lnTo>
                <a:lnTo>
                  <a:pt x="8345" y="15182"/>
                </a:lnTo>
                <a:lnTo>
                  <a:pt x="9327" y="15182"/>
                </a:lnTo>
                <a:cubicBezTo>
                  <a:pt x="9327" y="15182"/>
                  <a:pt x="9327" y="14204"/>
                  <a:pt x="9327" y="14204"/>
                </a:cubicBezTo>
                <a:close/>
                <a:moveTo>
                  <a:pt x="11291" y="14204"/>
                </a:moveTo>
                <a:lnTo>
                  <a:pt x="10309" y="14204"/>
                </a:lnTo>
                <a:lnTo>
                  <a:pt x="10309" y="15182"/>
                </a:lnTo>
                <a:lnTo>
                  <a:pt x="11291" y="15182"/>
                </a:lnTo>
                <a:cubicBezTo>
                  <a:pt x="11291" y="15182"/>
                  <a:pt x="11291" y="14204"/>
                  <a:pt x="11291" y="14204"/>
                </a:cubicBezTo>
                <a:close/>
                <a:moveTo>
                  <a:pt x="9327" y="12248"/>
                </a:moveTo>
                <a:lnTo>
                  <a:pt x="8345" y="12248"/>
                </a:lnTo>
                <a:lnTo>
                  <a:pt x="8345" y="13226"/>
                </a:lnTo>
                <a:lnTo>
                  <a:pt x="9327" y="13226"/>
                </a:lnTo>
                <a:cubicBezTo>
                  <a:pt x="9327" y="13226"/>
                  <a:pt x="9327" y="12248"/>
                  <a:pt x="9327" y="12248"/>
                </a:cubicBezTo>
                <a:close/>
                <a:moveTo>
                  <a:pt x="11291" y="17139"/>
                </a:moveTo>
                <a:lnTo>
                  <a:pt x="12273" y="17139"/>
                </a:lnTo>
                <a:lnTo>
                  <a:pt x="12273" y="16160"/>
                </a:lnTo>
                <a:lnTo>
                  <a:pt x="11291" y="16160"/>
                </a:lnTo>
                <a:cubicBezTo>
                  <a:pt x="11291" y="16160"/>
                  <a:pt x="11291" y="17139"/>
                  <a:pt x="11291" y="17139"/>
                </a:cubicBezTo>
                <a:close/>
                <a:moveTo>
                  <a:pt x="9327" y="17139"/>
                </a:moveTo>
                <a:lnTo>
                  <a:pt x="10309" y="17139"/>
                </a:lnTo>
                <a:lnTo>
                  <a:pt x="10309" y="16160"/>
                </a:lnTo>
                <a:lnTo>
                  <a:pt x="9327" y="16160"/>
                </a:lnTo>
                <a:cubicBezTo>
                  <a:pt x="9327" y="16160"/>
                  <a:pt x="9327" y="17139"/>
                  <a:pt x="9327" y="17139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5" name="Shape 2685"/>
          <p:cNvSpPr/>
          <p:nvPr/>
        </p:nvSpPr>
        <p:spPr>
          <a:xfrm>
            <a:off x="21083103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145"/>
                </a:moveTo>
                <a:cubicBezTo>
                  <a:pt x="20618" y="19959"/>
                  <a:pt x="19959" y="20618"/>
                  <a:pt x="19145" y="20618"/>
                </a:cubicBezTo>
                <a:cubicBezTo>
                  <a:pt x="18332" y="20618"/>
                  <a:pt x="17673" y="19959"/>
                  <a:pt x="17673" y="19145"/>
                </a:cubicBezTo>
                <a:lnTo>
                  <a:pt x="17673" y="14236"/>
                </a:lnTo>
                <a:cubicBezTo>
                  <a:pt x="17673" y="13424"/>
                  <a:pt x="18332" y="12764"/>
                  <a:pt x="19145" y="12764"/>
                </a:cubicBezTo>
                <a:cubicBezTo>
                  <a:pt x="19959" y="12764"/>
                  <a:pt x="20618" y="13424"/>
                  <a:pt x="20618" y="14236"/>
                </a:cubicBezTo>
                <a:cubicBezTo>
                  <a:pt x="20618" y="14236"/>
                  <a:pt x="20618" y="19145"/>
                  <a:pt x="20618" y="19145"/>
                </a:cubicBezTo>
                <a:close/>
                <a:moveTo>
                  <a:pt x="3927" y="14236"/>
                </a:moveTo>
                <a:lnTo>
                  <a:pt x="3927" y="19145"/>
                </a:lnTo>
                <a:cubicBezTo>
                  <a:pt x="3927" y="19959"/>
                  <a:pt x="3268" y="20618"/>
                  <a:pt x="2455" y="20618"/>
                </a:cubicBezTo>
                <a:cubicBezTo>
                  <a:pt x="1641" y="20618"/>
                  <a:pt x="982" y="19959"/>
                  <a:pt x="982" y="19145"/>
                </a:cubicBezTo>
                <a:lnTo>
                  <a:pt x="982" y="14236"/>
                </a:lnTo>
                <a:cubicBezTo>
                  <a:pt x="982" y="13424"/>
                  <a:pt x="1641" y="12764"/>
                  <a:pt x="2455" y="12764"/>
                </a:cubicBezTo>
                <a:cubicBezTo>
                  <a:pt x="3268" y="12764"/>
                  <a:pt x="3927" y="13424"/>
                  <a:pt x="3927" y="14236"/>
                </a:cubicBezTo>
                <a:moveTo>
                  <a:pt x="19636" y="11831"/>
                </a:moveTo>
                <a:lnTo>
                  <a:pt x="19636" y="5891"/>
                </a:lnTo>
                <a:cubicBezTo>
                  <a:pt x="19636" y="2638"/>
                  <a:pt x="16999" y="0"/>
                  <a:pt x="13745" y="0"/>
                </a:cubicBezTo>
                <a:lnTo>
                  <a:pt x="7855" y="0"/>
                </a:lnTo>
                <a:cubicBezTo>
                  <a:pt x="4601" y="0"/>
                  <a:pt x="1964" y="2638"/>
                  <a:pt x="1964" y="5891"/>
                </a:cubicBezTo>
                <a:lnTo>
                  <a:pt x="1964" y="11831"/>
                </a:lnTo>
                <a:cubicBezTo>
                  <a:pt x="843" y="12059"/>
                  <a:pt x="0" y="13049"/>
                  <a:pt x="0" y="14236"/>
                </a:cubicBezTo>
                <a:lnTo>
                  <a:pt x="0" y="19145"/>
                </a:lnTo>
                <a:cubicBezTo>
                  <a:pt x="0" y="20501"/>
                  <a:pt x="1099" y="21600"/>
                  <a:pt x="2455" y="21600"/>
                </a:cubicBezTo>
                <a:cubicBezTo>
                  <a:pt x="3810" y="21600"/>
                  <a:pt x="4909" y="20501"/>
                  <a:pt x="4909" y="19145"/>
                </a:cubicBezTo>
                <a:lnTo>
                  <a:pt x="4909" y="14236"/>
                </a:lnTo>
                <a:cubicBezTo>
                  <a:pt x="4909" y="13049"/>
                  <a:pt x="4066" y="12059"/>
                  <a:pt x="2945" y="11831"/>
                </a:cubicBezTo>
                <a:lnTo>
                  <a:pt x="2945" y="5891"/>
                </a:lnTo>
                <a:cubicBezTo>
                  <a:pt x="2945" y="3180"/>
                  <a:pt x="5144" y="982"/>
                  <a:pt x="7855" y="982"/>
                </a:cubicBezTo>
                <a:lnTo>
                  <a:pt x="13745" y="982"/>
                </a:lnTo>
                <a:cubicBezTo>
                  <a:pt x="16457" y="982"/>
                  <a:pt x="18655" y="3180"/>
                  <a:pt x="18655" y="5891"/>
                </a:cubicBezTo>
                <a:lnTo>
                  <a:pt x="18655" y="11831"/>
                </a:lnTo>
                <a:cubicBezTo>
                  <a:pt x="17534" y="12059"/>
                  <a:pt x="16691" y="13049"/>
                  <a:pt x="16691" y="14236"/>
                </a:cubicBezTo>
                <a:lnTo>
                  <a:pt x="16691" y="19145"/>
                </a:lnTo>
                <a:cubicBezTo>
                  <a:pt x="16691" y="20501"/>
                  <a:pt x="17790" y="21600"/>
                  <a:pt x="19145" y="21600"/>
                </a:cubicBezTo>
                <a:cubicBezTo>
                  <a:pt x="20501" y="21600"/>
                  <a:pt x="21600" y="20501"/>
                  <a:pt x="21600" y="19145"/>
                </a:cubicBezTo>
                <a:lnTo>
                  <a:pt x="21600" y="14236"/>
                </a:lnTo>
                <a:cubicBezTo>
                  <a:pt x="21600" y="13049"/>
                  <a:pt x="20757" y="12059"/>
                  <a:pt x="19636" y="1183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6" name="Shape 2686"/>
          <p:cNvSpPr/>
          <p:nvPr/>
        </p:nvSpPr>
        <p:spPr>
          <a:xfrm>
            <a:off x="22149625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7673"/>
                </a:moveTo>
                <a:cubicBezTo>
                  <a:pt x="20618" y="18215"/>
                  <a:pt x="20178" y="18655"/>
                  <a:pt x="19636" y="18655"/>
                </a:cubicBezTo>
                <a:lnTo>
                  <a:pt x="19636" y="14727"/>
                </a:lnTo>
                <a:cubicBezTo>
                  <a:pt x="20178" y="14727"/>
                  <a:pt x="20618" y="15167"/>
                  <a:pt x="20618" y="15709"/>
                </a:cubicBez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18655" y="19145"/>
                </a:moveTo>
                <a:cubicBezTo>
                  <a:pt x="18655" y="19959"/>
                  <a:pt x="17995" y="20618"/>
                  <a:pt x="17182" y="20618"/>
                </a:cubicBezTo>
                <a:cubicBezTo>
                  <a:pt x="16368" y="20618"/>
                  <a:pt x="15709" y="19959"/>
                  <a:pt x="15709" y="19145"/>
                </a:cubicBezTo>
                <a:lnTo>
                  <a:pt x="15709" y="14236"/>
                </a:lnTo>
                <a:cubicBezTo>
                  <a:pt x="15709" y="13424"/>
                  <a:pt x="16368" y="12764"/>
                  <a:pt x="17182" y="12764"/>
                </a:cubicBezTo>
                <a:cubicBezTo>
                  <a:pt x="17995" y="12764"/>
                  <a:pt x="18655" y="13424"/>
                  <a:pt x="18655" y="14236"/>
                </a:cubicBezTo>
                <a:cubicBezTo>
                  <a:pt x="18655" y="14236"/>
                  <a:pt x="18655" y="19145"/>
                  <a:pt x="18655" y="19145"/>
                </a:cubicBezTo>
                <a:close/>
                <a:moveTo>
                  <a:pt x="4418" y="12764"/>
                </a:moveTo>
                <a:cubicBezTo>
                  <a:pt x="5231" y="12764"/>
                  <a:pt x="5891" y="13424"/>
                  <a:pt x="5891" y="14236"/>
                </a:cubicBezTo>
                <a:lnTo>
                  <a:pt x="5891" y="19145"/>
                </a:lnTo>
                <a:cubicBezTo>
                  <a:pt x="5891" y="19959"/>
                  <a:pt x="5231" y="20618"/>
                  <a:pt x="4418" y="20618"/>
                </a:cubicBezTo>
                <a:cubicBezTo>
                  <a:pt x="3605" y="20618"/>
                  <a:pt x="2945" y="19959"/>
                  <a:pt x="2945" y="19145"/>
                </a:cubicBezTo>
                <a:lnTo>
                  <a:pt x="2945" y="14236"/>
                </a:lnTo>
                <a:cubicBezTo>
                  <a:pt x="2945" y="13424"/>
                  <a:pt x="3605" y="12764"/>
                  <a:pt x="4418" y="12764"/>
                </a:cubicBezTo>
                <a:moveTo>
                  <a:pt x="1964" y="18655"/>
                </a:moveTo>
                <a:cubicBezTo>
                  <a:pt x="1422" y="18655"/>
                  <a:pt x="982" y="18215"/>
                  <a:pt x="982" y="17673"/>
                </a:cubicBezTo>
                <a:lnTo>
                  <a:pt x="982" y="15709"/>
                </a:lnTo>
                <a:cubicBezTo>
                  <a:pt x="982" y="15167"/>
                  <a:pt x="1422" y="14727"/>
                  <a:pt x="1964" y="14727"/>
                </a:cubicBezTo>
                <a:cubicBezTo>
                  <a:pt x="1964" y="14727"/>
                  <a:pt x="1964" y="18655"/>
                  <a:pt x="1964" y="18655"/>
                </a:cubicBezTo>
                <a:close/>
                <a:moveTo>
                  <a:pt x="19636" y="13745"/>
                </a:moveTo>
                <a:lnTo>
                  <a:pt x="19636" y="5891"/>
                </a:lnTo>
                <a:cubicBezTo>
                  <a:pt x="19636" y="2638"/>
                  <a:pt x="16999" y="0"/>
                  <a:pt x="13745" y="0"/>
                </a:cubicBezTo>
                <a:lnTo>
                  <a:pt x="7855" y="0"/>
                </a:lnTo>
                <a:cubicBezTo>
                  <a:pt x="4601" y="0"/>
                  <a:pt x="1964" y="2638"/>
                  <a:pt x="1964" y="5891"/>
                </a:cubicBezTo>
                <a:lnTo>
                  <a:pt x="1964" y="13745"/>
                </a:lnTo>
                <a:cubicBezTo>
                  <a:pt x="879" y="13745"/>
                  <a:pt x="0" y="14625"/>
                  <a:pt x="0" y="15709"/>
                </a:cubicBezTo>
                <a:lnTo>
                  <a:pt x="0" y="17673"/>
                </a:lnTo>
                <a:cubicBezTo>
                  <a:pt x="0" y="18757"/>
                  <a:pt x="879" y="19636"/>
                  <a:pt x="1964" y="19636"/>
                </a:cubicBezTo>
                <a:lnTo>
                  <a:pt x="2013" y="19636"/>
                </a:lnTo>
                <a:cubicBezTo>
                  <a:pt x="2241" y="20757"/>
                  <a:pt x="3231" y="21600"/>
                  <a:pt x="4418" y="21600"/>
                </a:cubicBezTo>
                <a:cubicBezTo>
                  <a:pt x="5774" y="21600"/>
                  <a:pt x="6873" y="20501"/>
                  <a:pt x="6873" y="19145"/>
                </a:cubicBezTo>
                <a:lnTo>
                  <a:pt x="6873" y="14236"/>
                </a:lnTo>
                <a:cubicBezTo>
                  <a:pt x="6873" y="12881"/>
                  <a:pt x="5774" y="11782"/>
                  <a:pt x="4418" y="11782"/>
                </a:cubicBezTo>
                <a:cubicBezTo>
                  <a:pt x="3863" y="11782"/>
                  <a:pt x="3357" y="11973"/>
                  <a:pt x="2945" y="12284"/>
                </a:cubicBezTo>
                <a:lnTo>
                  <a:pt x="2945" y="5891"/>
                </a:lnTo>
                <a:cubicBezTo>
                  <a:pt x="2945" y="3180"/>
                  <a:pt x="5144" y="982"/>
                  <a:pt x="7855" y="982"/>
                </a:cubicBezTo>
                <a:lnTo>
                  <a:pt x="13745" y="982"/>
                </a:lnTo>
                <a:cubicBezTo>
                  <a:pt x="16456" y="982"/>
                  <a:pt x="18655" y="3180"/>
                  <a:pt x="18655" y="5891"/>
                </a:cubicBezTo>
                <a:lnTo>
                  <a:pt x="18655" y="12284"/>
                </a:lnTo>
                <a:cubicBezTo>
                  <a:pt x="18243" y="11973"/>
                  <a:pt x="17737" y="11782"/>
                  <a:pt x="17182" y="11782"/>
                </a:cubicBezTo>
                <a:cubicBezTo>
                  <a:pt x="15826" y="11782"/>
                  <a:pt x="14727" y="12881"/>
                  <a:pt x="14727" y="14236"/>
                </a:cubicBezTo>
                <a:lnTo>
                  <a:pt x="14727" y="19145"/>
                </a:lnTo>
                <a:cubicBezTo>
                  <a:pt x="14727" y="20501"/>
                  <a:pt x="15826" y="21600"/>
                  <a:pt x="17182" y="21600"/>
                </a:cubicBezTo>
                <a:cubicBezTo>
                  <a:pt x="18369" y="21600"/>
                  <a:pt x="19359" y="20757"/>
                  <a:pt x="19587" y="19636"/>
                </a:cubicBezTo>
                <a:lnTo>
                  <a:pt x="19636" y="19636"/>
                </a:lnTo>
                <a:cubicBezTo>
                  <a:pt x="20721" y="19636"/>
                  <a:pt x="21600" y="18757"/>
                  <a:pt x="21600" y="17673"/>
                </a:cubicBezTo>
                <a:lnTo>
                  <a:pt x="21600" y="15709"/>
                </a:lnTo>
                <a:cubicBezTo>
                  <a:pt x="21600" y="14625"/>
                  <a:pt x="20721" y="13745"/>
                  <a:pt x="19636" y="137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7" name="Shape 2687"/>
          <p:cNvSpPr/>
          <p:nvPr/>
        </p:nvSpPr>
        <p:spPr>
          <a:xfrm>
            <a:off x="12550924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6200"/>
                </a:moveTo>
                <a:lnTo>
                  <a:pt x="15709" y="16200"/>
                </a:lnTo>
                <a:lnTo>
                  <a:pt x="15709" y="14727"/>
                </a:lnTo>
                <a:lnTo>
                  <a:pt x="18655" y="14727"/>
                </a:lnTo>
                <a:cubicBezTo>
                  <a:pt x="18655" y="14727"/>
                  <a:pt x="18655" y="16200"/>
                  <a:pt x="18655" y="16200"/>
                </a:cubicBezTo>
                <a:close/>
                <a:moveTo>
                  <a:pt x="18655" y="18655"/>
                </a:moveTo>
                <a:lnTo>
                  <a:pt x="15709" y="18655"/>
                </a:lnTo>
                <a:lnTo>
                  <a:pt x="15709" y="17182"/>
                </a:lnTo>
                <a:lnTo>
                  <a:pt x="18655" y="17182"/>
                </a:lnTo>
                <a:cubicBezTo>
                  <a:pt x="18655" y="17182"/>
                  <a:pt x="18655" y="18655"/>
                  <a:pt x="18655" y="18655"/>
                </a:cubicBezTo>
                <a:close/>
                <a:moveTo>
                  <a:pt x="17182" y="20618"/>
                </a:moveTo>
                <a:cubicBezTo>
                  <a:pt x="16542" y="20618"/>
                  <a:pt x="16002" y="20207"/>
                  <a:pt x="15799" y="19636"/>
                </a:cubicBezTo>
                <a:lnTo>
                  <a:pt x="18564" y="19636"/>
                </a:lnTo>
                <a:cubicBezTo>
                  <a:pt x="18361" y="20207"/>
                  <a:pt x="17822" y="20618"/>
                  <a:pt x="17182" y="20618"/>
                </a:cubicBezTo>
                <a:moveTo>
                  <a:pt x="17182" y="12764"/>
                </a:moveTo>
                <a:cubicBezTo>
                  <a:pt x="17822" y="12764"/>
                  <a:pt x="18361" y="13175"/>
                  <a:pt x="18564" y="13745"/>
                </a:cubicBezTo>
                <a:lnTo>
                  <a:pt x="15799" y="13745"/>
                </a:lnTo>
                <a:cubicBezTo>
                  <a:pt x="16002" y="13175"/>
                  <a:pt x="16542" y="12764"/>
                  <a:pt x="17182" y="12764"/>
                </a:cubicBezTo>
                <a:moveTo>
                  <a:pt x="5891" y="16200"/>
                </a:moveTo>
                <a:lnTo>
                  <a:pt x="2945" y="16200"/>
                </a:lnTo>
                <a:lnTo>
                  <a:pt x="2945" y="14727"/>
                </a:lnTo>
                <a:lnTo>
                  <a:pt x="5891" y="14727"/>
                </a:lnTo>
                <a:cubicBezTo>
                  <a:pt x="5891" y="14727"/>
                  <a:pt x="5891" y="16200"/>
                  <a:pt x="5891" y="16200"/>
                </a:cubicBezTo>
                <a:close/>
                <a:moveTo>
                  <a:pt x="4418" y="12764"/>
                </a:moveTo>
                <a:cubicBezTo>
                  <a:pt x="5058" y="12764"/>
                  <a:pt x="5598" y="13175"/>
                  <a:pt x="5801" y="13745"/>
                </a:cubicBezTo>
                <a:lnTo>
                  <a:pt x="3036" y="13745"/>
                </a:lnTo>
                <a:cubicBezTo>
                  <a:pt x="3239" y="13175"/>
                  <a:pt x="3778" y="12764"/>
                  <a:pt x="4418" y="12764"/>
                </a:cubicBezTo>
                <a:moveTo>
                  <a:pt x="5891" y="18655"/>
                </a:moveTo>
                <a:lnTo>
                  <a:pt x="2945" y="18655"/>
                </a:lnTo>
                <a:lnTo>
                  <a:pt x="2945" y="17182"/>
                </a:lnTo>
                <a:lnTo>
                  <a:pt x="5891" y="17182"/>
                </a:lnTo>
                <a:cubicBezTo>
                  <a:pt x="5891" y="17182"/>
                  <a:pt x="5891" y="18655"/>
                  <a:pt x="5891" y="18655"/>
                </a:cubicBezTo>
                <a:close/>
                <a:moveTo>
                  <a:pt x="4418" y="20618"/>
                </a:moveTo>
                <a:cubicBezTo>
                  <a:pt x="3778" y="20618"/>
                  <a:pt x="3239" y="20207"/>
                  <a:pt x="3036" y="19636"/>
                </a:cubicBezTo>
                <a:lnTo>
                  <a:pt x="5801" y="19636"/>
                </a:lnTo>
                <a:cubicBezTo>
                  <a:pt x="5598" y="20207"/>
                  <a:pt x="5058" y="20618"/>
                  <a:pt x="4418" y="20618"/>
                </a:cubicBezTo>
                <a:moveTo>
                  <a:pt x="19636" y="13745"/>
                </a:moveTo>
                <a:lnTo>
                  <a:pt x="19636" y="8836"/>
                </a:lnTo>
                <a:cubicBezTo>
                  <a:pt x="19636" y="3956"/>
                  <a:pt x="15680" y="0"/>
                  <a:pt x="10800" y="0"/>
                </a:cubicBezTo>
                <a:cubicBezTo>
                  <a:pt x="5920" y="0"/>
                  <a:pt x="1964" y="3956"/>
                  <a:pt x="1964" y="8836"/>
                </a:cubicBezTo>
                <a:lnTo>
                  <a:pt x="1964" y="13745"/>
                </a:lnTo>
                <a:cubicBezTo>
                  <a:pt x="879" y="13745"/>
                  <a:pt x="0" y="14625"/>
                  <a:pt x="0" y="15709"/>
                </a:cubicBezTo>
                <a:lnTo>
                  <a:pt x="0" y="17673"/>
                </a:lnTo>
                <a:cubicBezTo>
                  <a:pt x="0" y="18757"/>
                  <a:pt x="879" y="19636"/>
                  <a:pt x="1964" y="19636"/>
                </a:cubicBezTo>
                <a:lnTo>
                  <a:pt x="2013" y="19636"/>
                </a:lnTo>
                <a:cubicBezTo>
                  <a:pt x="2241" y="20757"/>
                  <a:pt x="3231" y="21600"/>
                  <a:pt x="4418" y="21600"/>
                </a:cubicBezTo>
                <a:cubicBezTo>
                  <a:pt x="5774" y="21600"/>
                  <a:pt x="6873" y="20501"/>
                  <a:pt x="6873" y="19145"/>
                </a:cubicBezTo>
                <a:lnTo>
                  <a:pt x="6873" y="14236"/>
                </a:lnTo>
                <a:cubicBezTo>
                  <a:pt x="6873" y="12881"/>
                  <a:pt x="5774" y="11782"/>
                  <a:pt x="4418" y="11782"/>
                </a:cubicBezTo>
                <a:cubicBezTo>
                  <a:pt x="3864" y="11782"/>
                  <a:pt x="3356" y="11971"/>
                  <a:pt x="2945" y="12282"/>
                </a:cubicBezTo>
                <a:lnTo>
                  <a:pt x="2945" y="8836"/>
                </a:lnTo>
                <a:cubicBezTo>
                  <a:pt x="2945" y="4499"/>
                  <a:pt x="6462" y="982"/>
                  <a:pt x="10800" y="982"/>
                </a:cubicBezTo>
                <a:cubicBezTo>
                  <a:pt x="15138" y="982"/>
                  <a:pt x="18655" y="4499"/>
                  <a:pt x="18655" y="8836"/>
                </a:cubicBezTo>
                <a:lnTo>
                  <a:pt x="18655" y="12282"/>
                </a:lnTo>
                <a:cubicBezTo>
                  <a:pt x="18244" y="11971"/>
                  <a:pt x="17736" y="11782"/>
                  <a:pt x="17182" y="11782"/>
                </a:cubicBezTo>
                <a:cubicBezTo>
                  <a:pt x="15826" y="11782"/>
                  <a:pt x="14727" y="12881"/>
                  <a:pt x="14727" y="14236"/>
                </a:cubicBezTo>
                <a:lnTo>
                  <a:pt x="14727" y="19145"/>
                </a:lnTo>
                <a:cubicBezTo>
                  <a:pt x="14727" y="20501"/>
                  <a:pt x="15826" y="21600"/>
                  <a:pt x="17182" y="21600"/>
                </a:cubicBezTo>
                <a:cubicBezTo>
                  <a:pt x="18369" y="21600"/>
                  <a:pt x="19360" y="20757"/>
                  <a:pt x="19587" y="19636"/>
                </a:cubicBezTo>
                <a:lnTo>
                  <a:pt x="19636" y="19636"/>
                </a:lnTo>
                <a:cubicBezTo>
                  <a:pt x="20721" y="19636"/>
                  <a:pt x="21600" y="18757"/>
                  <a:pt x="21600" y="17673"/>
                </a:cubicBezTo>
                <a:lnTo>
                  <a:pt x="21600" y="15709"/>
                </a:lnTo>
                <a:cubicBezTo>
                  <a:pt x="21600" y="14625"/>
                  <a:pt x="20721" y="13745"/>
                  <a:pt x="19636" y="137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8" name="Shape 2688"/>
          <p:cNvSpPr/>
          <p:nvPr/>
        </p:nvSpPr>
        <p:spPr>
          <a:xfrm>
            <a:off x="13617448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309"/>
                </a:moveTo>
                <a:cubicBezTo>
                  <a:pt x="20618" y="10851"/>
                  <a:pt x="20178" y="11291"/>
                  <a:pt x="19636" y="11291"/>
                </a:cubicBezTo>
                <a:lnTo>
                  <a:pt x="19636" y="7364"/>
                </a:lnTo>
                <a:cubicBezTo>
                  <a:pt x="20178" y="7364"/>
                  <a:pt x="20618" y="7804"/>
                  <a:pt x="20618" y="8345"/>
                </a:cubicBezTo>
                <a:cubicBezTo>
                  <a:pt x="20618" y="8345"/>
                  <a:pt x="20618" y="10309"/>
                  <a:pt x="20618" y="10309"/>
                </a:cubicBezTo>
                <a:close/>
                <a:moveTo>
                  <a:pt x="18655" y="17182"/>
                </a:moveTo>
                <a:cubicBezTo>
                  <a:pt x="18655" y="17453"/>
                  <a:pt x="18434" y="17673"/>
                  <a:pt x="18164" y="17673"/>
                </a:cubicBezTo>
                <a:cubicBezTo>
                  <a:pt x="17893" y="17673"/>
                  <a:pt x="17673" y="17453"/>
                  <a:pt x="17673" y="17182"/>
                </a:cubicBezTo>
                <a:lnTo>
                  <a:pt x="17673" y="1473"/>
                </a:lnTo>
                <a:cubicBezTo>
                  <a:pt x="17673" y="1202"/>
                  <a:pt x="17893" y="982"/>
                  <a:pt x="18164" y="982"/>
                </a:cubicBezTo>
                <a:cubicBezTo>
                  <a:pt x="18434" y="982"/>
                  <a:pt x="18655" y="1202"/>
                  <a:pt x="18655" y="1473"/>
                </a:cubicBezTo>
                <a:cubicBezTo>
                  <a:pt x="18655" y="1473"/>
                  <a:pt x="18655" y="17182"/>
                  <a:pt x="18655" y="17182"/>
                </a:cubicBezTo>
                <a:close/>
                <a:moveTo>
                  <a:pt x="16691" y="15788"/>
                </a:moveTo>
                <a:lnTo>
                  <a:pt x="2945" y="11745"/>
                </a:lnTo>
                <a:lnTo>
                  <a:pt x="2945" y="6910"/>
                </a:lnTo>
                <a:lnTo>
                  <a:pt x="16691" y="2867"/>
                </a:lnTo>
                <a:cubicBezTo>
                  <a:pt x="16691" y="2867"/>
                  <a:pt x="16691" y="15788"/>
                  <a:pt x="16691" y="15788"/>
                </a:cubicBezTo>
                <a:close/>
                <a:moveTo>
                  <a:pt x="8251" y="18655"/>
                </a:moveTo>
                <a:lnTo>
                  <a:pt x="5357" y="18655"/>
                </a:lnTo>
                <a:lnTo>
                  <a:pt x="4126" y="13116"/>
                </a:lnTo>
                <a:lnTo>
                  <a:pt x="7167" y="14010"/>
                </a:lnTo>
                <a:cubicBezTo>
                  <a:pt x="7167" y="14010"/>
                  <a:pt x="8251" y="18655"/>
                  <a:pt x="8251" y="18655"/>
                </a:cubicBezTo>
                <a:close/>
                <a:moveTo>
                  <a:pt x="8709" y="20618"/>
                </a:moveTo>
                <a:lnTo>
                  <a:pt x="5794" y="20618"/>
                </a:lnTo>
                <a:lnTo>
                  <a:pt x="5576" y="19636"/>
                </a:lnTo>
                <a:lnTo>
                  <a:pt x="8479" y="19636"/>
                </a:lnTo>
                <a:cubicBezTo>
                  <a:pt x="8479" y="19636"/>
                  <a:pt x="8709" y="20618"/>
                  <a:pt x="8709" y="20618"/>
                </a:cubicBezTo>
                <a:close/>
                <a:moveTo>
                  <a:pt x="1964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1964" y="6873"/>
                </a:lnTo>
                <a:cubicBezTo>
                  <a:pt x="1964" y="6873"/>
                  <a:pt x="1964" y="11782"/>
                  <a:pt x="1964" y="11782"/>
                </a:cubicBezTo>
                <a:close/>
                <a:moveTo>
                  <a:pt x="19636" y="6382"/>
                </a:moveTo>
                <a:lnTo>
                  <a:pt x="19636" y="1473"/>
                </a:lnTo>
                <a:cubicBezTo>
                  <a:pt x="19636" y="659"/>
                  <a:pt x="18977" y="0"/>
                  <a:pt x="18164" y="0"/>
                </a:cubicBezTo>
                <a:cubicBezTo>
                  <a:pt x="17350" y="0"/>
                  <a:pt x="16691" y="659"/>
                  <a:pt x="16691" y="1473"/>
                </a:cubicBezTo>
                <a:lnTo>
                  <a:pt x="16691" y="1844"/>
                </a:lnTo>
                <a:lnTo>
                  <a:pt x="2459" y="6029"/>
                </a:lnTo>
                <a:cubicBezTo>
                  <a:pt x="2313" y="5944"/>
                  <a:pt x="2145" y="5891"/>
                  <a:pt x="1964" y="5891"/>
                </a:cubicBez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11782"/>
                </a:lnTo>
                <a:cubicBezTo>
                  <a:pt x="0" y="12324"/>
                  <a:pt x="440" y="12764"/>
                  <a:pt x="982" y="12764"/>
                </a:cubicBezTo>
                <a:lnTo>
                  <a:pt x="1964" y="12764"/>
                </a:lnTo>
                <a:cubicBezTo>
                  <a:pt x="2145" y="12764"/>
                  <a:pt x="2313" y="12711"/>
                  <a:pt x="2458" y="12626"/>
                </a:cubicBezTo>
                <a:lnTo>
                  <a:pt x="3050" y="12799"/>
                </a:lnTo>
                <a:lnTo>
                  <a:pt x="4921" y="21216"/>
                </a:lnTo>
                <a:lnTo>
                  <a:pt x="4930" y="21214"/>
                </a:lnTo>
                <a:cubicBezTo>
                  <a:pt x="4979" y="21433"/>
                  <a:pt x="5166" y="21600"/>
                  <a:pt x="5400" y="21600"/>
                </a:cubicBezTo>
                <a:lnTo>
                  <a:pt x="9327" y="21600"/>
                </a:lnTo>
                <a:cubicBezTo>
                  <a:pt x="9598" y="21600"/>
                  <a:pt x="9818" y="21381"/>
                  <a:pt x="9818" y="21109"/>
                </a:cubicBezTo>
                <a:cubicBezTo>
                  <a:pt x="9818" y="21072"/>
                  <a:pt x="9805" y="21039"/>
                  <a:pt x="9797" y="21005"/>
                </a:cubicBezTo>
                <a:lnTo>
                  <a:pt x="9806" y="21003"/>
                </a:lnTo>
                <a:lnTo>
                  <a:pt x="8249" y="14329"/>
                </a:lnTo>
                <a:lnTo>
                  <a:pt x="16691" y="16811"/>
                </a:lnTo>
                <a:lnTo>
                  <a:pt x="16691" y="17182"/>
                </a:lnTo>
                <a:cubicBezTo>
                  <a:pt x="16691" y="17995"/>
                  <a:pt x="17350" y="18655"/>
                  <a:pt x="18164" y="18655"/>
                </a:cubicBezTo>
                <a:cubicBezTo>
                  <a:pt x="18977" y="18655"/>
                  <a:pt x="19636" y="17995"/>
                  <a:pt x="19636" y="17182"/>
                </a:cubicBezTo>
                <a:lnTo>
                  <a:pt x="19636" y="12273"/>
                </a:lnTo>
                <a:cubicBezTo>
                  <a:pt x="20721" y="12273"/>
                  <a:pt x="21600" y="11394"/>
                  <a:pt x="21600" y="10309"/>
                </a:cubicBezTo>
                <a:lnTo>
                  <a:pt x="21600" y="8345"/>
                </a:lnTo>
                <a:cubicBezTo>
                  <a:pt x="21600" y="7261"/>
                  <a:pt x="20721" y="6382"/>
                  <a:pt x="19636" y="63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89" name="Shape 2689"/>
          <p:cNvSpPr/>
          <p:nvPr/>
        </p:nvSpPr>
        <p:spPr>
          <a:xfrm>
            <a:off x="14683970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1291"/>
                </a:moveTo>
                <a:lnTo>
                  <a:pt x="18655" y="7364"/>
                </a:lnTo>
                <a:cubicBezTo>
                  <a:pt x="19739" y="7364"/>
                  <a:pt x="20618" y="8243"/>
                  <a:pt x="20618" y="9327"/>
                </a:cubicBezTo>
                <a:cubicBezTo>
                  <a:pt x="20618" y="10412"/>
                  <a:pt x="19739" y="11291"/>
                  <a:pt x="18655" y="11291"/>
                </a:cubicBezTo>
                <a:moveTo>
                  <a:pt x="17673" y="17182"/>
                </a:moveTo>
                <a:cubicBezTo>
                  <a:pt x="17673" y="17453"/>
                  <a:pt x="17453" y="17673"/>
                  <a:pt x="17182" y="17673"/>
                </a:cubicBezTo>
                <a:cubicBezTo>
                  <a:pt x="16911" y="17673"/>
                  <a:pt x="16691" y="17453"/>
                  <a:pt x="16691" y="17182"/>
                </a:cubicBezTo>
                <a:lnTo>
                  <a:pt x="16691" y="1473"/>
                </a:lnTo>
                <a:cubicBezTo>
                  <a:pt x="16691" y="1202"/>
                  <a:pt x="16911" y="982"/>
                  <a:pt x="17182" y="982"/>
                </a:cubicBezTo>
                <a:cubicBezTo>
                  <a:pt x="17453" y="982"/>
                  <a:pt x="17673" y="1202"/>
                  <a:pt x="17673" y="1473"/>
                </a:cubicBezTo>
                <a:cubicBezTo>
                  <a:pt x="17673" y="1473"/>
                  <a:pt x="17673" y="17182"/>
                  <a:pt x="17673" y="17182"/>
                </a:cubicBezTo>
                <a:close/>
                <a:moveTo>
                  <a:pt x="15709" y="15780"/>
                </a:moveTo>
                <a:lnTo>
                  <a:pt x="8836" y="13718"/>
                </a:lnTo>
                <a:lnTo>
                  <a:pt x="8836" y="4937"/>
                </a:lnTo>
                <a:lnTo>
                  <a:pt x="15709" y="2875"/>
                </a:lnTo>
                <a:cubicBezTo>
                  <a:pt x="15709" y="2875"/>
                  <a:pt x="15709" y="15780"/>
                  <a:pt x="15709" y="15780"/>
                </a:cubicBezTo>
                <a:close/>
                <a:moveTo>
                  <a:pt x="9479" y="19636"/>
                </a:moveTo>
                <a:lnTo>
                  <a:pt x="9697" y="20618"/>
                </a:lnTo>
                <a:lnTo>
                  <a:pt x="6775" y="20618"/>
                </a:lnTo>
                <a:lnTo>
                  <a:pt x="6558" y="19636"/>
                </a:lnTo>
                <a:cubicBezTo>
                  <a:pt x="6558" y="19636"/>
                  <a:pt x="9479" y="19636"/>
                  <a:pt x="9479" y="19636"/>
                </a:cubicBezTo>
                <a:close/>
                <a:moveTo>
                  <a:pt x="6339" y="18655"/>
                </a:moveTo>
                <a:lnTo>
                  <a:pt x="5356" y="14232"/>
                </a:lnTo>
                <a:lnTo>
                  <a:pt x="8176" y="14545"/>
                </a:lnTo>
                <a:lnTo>
                  <a:pt x="8360" y="14600"/>
                </a:lnTo>
                <a:lnTo>
                  <a:pt x="9260" y="18655"/>
                </a:lnTo>
                <a:cubicBezTo>
                  <a:pt x="9260" y="18655"/>
                  <a:pt x="6339" y="18655"/>
                  <a:pt x="6339" y="18655"/>
                </a:cubicBezTo>
                <a:close/>
                <a:moveTo>
                  <a:pt x="982" y="12764"/>
                </a:moveTo>
                <a:lnTo>
                  <a:pt x="982" y="10800"/>
                </a:lnTo>
                <a:lnTo>
                  <a:pt x="3436" y="10800"/>
                </a:lnTo>
                <a:cubicBezTo>
                  <a:pt x="3707" y="10800"/>
                  <a:pt x="3927" y="10581"/>
                  <a:pt x="3927" y="10309"/>
                </a:cubicBezTo>
                <a:cubicBezTo>
                  <a:pt x="3927" y="10038"/>
                  <a:pt x="3707" y="9818"/>
                  <a:pt x="3436" y="9818"/>
                </a:cubicBezTo>
                <a:lnTo>
                  <a:pt x="982" y="9818"/>
                </a:lnTo>
                <a:lnTo>
                  <a:pt x="982" y="8836"/>
                </a:lnTo>
                <a:lnTo>
                  <a:pt x="2455" y="8836"/>
                </a:lnTo>
                <a:cubicBezTo>
                  <a:pt x="2725" y="8836"/>
                  <a:pt x="2945" y="8617"/>
                  <a:pt x="2945" y="8345"/>
                </a:cubicBezTo>
                <a:cubicBezTo>
                  <a:pt x="2945" y="8075"/>
                  <a:pt x="2725" y="7855"/>
                  <a:pt x="2455" y="7855"/>
                </a:cubicBezTo>
                <a:lnTo>
                  <a:pt x="982" y="7855"/>
                </a:lnTo>
                <a:lnTo>
                  <a:pt x="982" y="5891"/>
                </a:lnTo>
                <a:lnTo>
                  <a:pt x="7855" y="5128"/>
                </a:lnTo>
                <a:lnTo>
                  <a:pt x="7855" y="13528"/>
                </a:lnTo>
                <a:cubicBezTo>
                  <a:pt x="7855" y="13528"/>
                  <a:pt x="982" y="12764"/>
                  <a:pt x="982" y="12764"/>
                </a:cubicBezTo>
                <a:close/>
                <a:moveTo>
                  <a:pt x="18655" y="6382"/>
                </a:moveTo>
                <a:lnTo>
                  <a:pt x="18655" y="1473"/>
                </a:lnTo>
                <a:cubicBezTo>
                  <a:pt x="18655" y="659"/>
                  <a:pt x="17995" y="0"/>
                  <a:pt x="17182" y="0"/>
                </a:cubicBezTo>
                <a:cubicBezTo>
                  <a:pt x="16368" y="0"/>
                  <a:pt x="15709" y="659"/>
                  <a:pt x="15709" y="1473"/>
                </a:cubicBezTo>
                <a:lnTo>
                  <a:pt x="15709" y="1850"/>
                </a:lnTo>
                <a:lnTo>
                  <a:pt x="8175" y="4110"/>
                </a:ln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12764"/>
                </a:lnTo>
                <a:cubicBezTo>
                  <a:pt x="0" y="13306"/>
                  <a:pt x="440" y="13745"/>
                  <a:pt x="982" y="13745"/>
                </a:cubicBezTo>
                <a:lnTo>
                  <a:pt x="4325" y="14117"/>
                </a:lnTo>
                <a:lnTo>
                  <a:pt x="5903" y="21216"/>
                </a:lnTo>
                <a:lnTo>
                  <a:pt x="5912" y="21214"/>
                </a:lnTo>
                <a:cubicBezTo>
                  <a:pt x="5961" y="21433"/>
                  <a:pt x="6148" y="21600"/>
                  <a:pt x="6382" y="21600"/>
                </a:cubicBezTo>
                <a:lnTo>
                  <a:pt x="10309" y="21600"/>
                </a:lnTo>
                <a:cubicBezTo>
                  <a:pt x="10580" y="21600"/>
                  <a:pt x="10800" y="21381"/>
                  <a:pt x="10800" y="21109"/>
                </a:cubicBezTo>
                <a:cubicBezTo>
                  <a:pt x="10800" y="21072"/>
                  <a:pt x="10787" y="21039"/>
                  <a:pt x="10779" y="21005"/>
                </a:cubicBezTo>
                <a:lnTo>
                  <a:pt x="10788" y="21003"/>
                </a:lnTo>
                <a:lnTo>
                  <a:pt x="9437" y="14923"/>
                </a:lnTo>
                <a:lnTo>
                  <a:pt x="15709" y="16805"/>
                </a:lnTo>
                <a:lnTo>
                  <a:pt x="15709" y="17182"/>
                </a:lnTo>
                <a:cubicBezTo>
                  <a:pt x="15709" y="17995"/>
                  <a:pt x="16368" y="18655"/>
                  <a:pt x="17182" y="18655"/>
                </a:cubicBezTo>
                <a:cubicBezTo>
                  <a:pt x="17995" y="18655"/>
                  <a:pt x="18655" y="17995"/>
                  <a:pt x="18655" y="17182"/>
                </a:cubicBezTo>
                <a:lnTo>
                  <a:pt x="18655" y="12273"/>
                </a:lnTo>
                <a:cubicBezTo>
                  <a:pt x="20281" y="12273"/>
                  <a:pt x="21600" y="10954"/>
                  <a:pt x="21600" y="9327"/>
                </a:cubicBezTo>
                <a:cubicBezTo>
                  <a:pt x="21600" y="7701"/>
                  <a:pt x="20281" y="6382"/>
                  <a:pt x="18655" y="63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0" name="Shape 2690"/>
          <p:cNvSpPr/>
          <p:nvPr/>
        </p:nvSpPr>
        <p:spPr>
          <a:xfrm>
            <a:off x="15750492" y="3945002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880"/>
                </a:moveTo>
                <a:cubicBezTo>
                  <a:pt x="20618" y="12476"/>
                  <a:pt x="20178" y="12960"/>
                  <a:pt x="19636" y="12960"/>
                </a:cubicBezTo>
                <a:lnTo>
                  <a:pt x="19636" y="8640"/>
                </a:lnTo>
                <a:cubicBezTo>
                  <a:pt x="20178" y="8640"/>
                  <a:pt x="20618" y="9124"/>
                  <a:pt x="20618" y="9720"/>
                </a:cubicBezTo>
                <a:cubicBezTo>
                  <a:pt x="20618" y="9720"/>
                  <a:pt x="20618" y="11880"/>
                  <a:pt x="20618" y="11880"/>
                </a:cubicBezTo>
                <a:close/>
                <a:moveTo>
                  <a:pt x="18655" y="19980"/>
                </a:moveTo>
                <a:cubicBezTo>
                  <a:pt x="18655" y="20279"/>
                  <a:pt x="18434" y="20520"/>
                  <a:pt x="18164" y="20520"/>
                </a:cubicBezTo>
                <a:cubicBezTo>
                  <a:pt x="17893" y="20520"/>
                  <a:pt x="17673" y="20279"/>
                  <a:pt x="17673" y="19980"/>
                </a:cubicBezTo>
                <a:lnTo>
                  <a:pt x="17673" y="1620"/>
                </a:lnTo>
                <a:cubicBezTo>
                  <a:pt x="17673" y="1322"/>
                  <a:pt x="17893" y="1080"/>
                  <a:pt x="18164" y="1080"/>
                </a:cubicBezTo>
                <a:cubicBezTo>
                  <a:pt x="18434" y="1080"/>
                  <a:pt x="18655" y="1322"/>
                  <a:pt x="18655" y="1620"/>
                </a:cubicBezTo>
                <a:cubicBezTo>
                  <a:pt x="18655" y="1620"/>
                  <a:pt x="18655" y="19980"/>
                  <a:pt x="18655" y="19980"/>
                </a:cubicBezTo>
                <a:close/>
                <a:moveTo>
                  <a:pt x="16691" y="18404"/>
                </a:moveTo>
                <a:lnTo>
                  <a:pt x="2944" y="13512"/>
                </a:lnTo>
                <a:cubicBezTo>
                  <a:pt x="2944" y="13508"/>
                  <a:pt x="2945" y="13504"/>
                  <a:pt x="2945" y="13500"/>
                </a:cubicBezTo>
                <a:lnTo>
                  <a:pt x="2945" y="8100"/>
                </a:lnTo>
                <a:cubicBezTo>
                  <a:pt x="2945" y="8096"/>
                  <a:pt x="2944" y="8093"/>
                  <a:pt x="2944" y="8089"/>
                </a:cubicBezTo>
                <a:lnTo>
                  <a:pt x="16691" y="3197"/>
                </a:lnTo>
                <a:cubicBezTo>
                  <a:pt x="16691" y="3197"/>
                  <a:pt x="16691" y="18404"/>
                  <a:pt x="16691" y="18404"/>
                </a:cubicBezTo>
                <a:close/>
                <a:moveTo>
                  <a:pt x="12480" y="18725"/>
                </a:moveTo>
                <a:cubicBezTo>
                  <a:pt x="12316" y="19294"/>
                  <a:pt x="11764" y="19608"/>
                  <a:pt x="11247" y="19428"/>
                </a:cubicBezTo>
                <a:lnTo>
                  <a:pt x="6102" y="17625"/>
                </a:lnTo>
                <a:cubicBezTo>
                  <a:pt x="5585" y="17444"/>
                  <a:pt x="5299" y="16837"/>
                  <a:pt x="5464" y="16269"/>
                </a:cubicBezTo>
                <a:lnTo>
                  <a:pt x="5654" y="15610"/>
                </a:lnTo>
                <a:lnTo>
                  <a:pt x="12661" y="18104"/>
                </a:lnTo>
                <a:cubicBezTo>
                  <a:pt x="12661" y="18104"/>
                  <a:pt x="12480" y="18725"/>
                  <a:pt x="12480" y="18725"/>
                </a:cubicBezTo>
                <a:close/>
                <a:moveTo>
                  <a:pt x="1964" y="13500"/>
                </a:moveTo>
                <a:lnTo>
                  <a:pt x="982" y="13500"/>
                </a:lnTo>
                <a:lnTo>
                  <a:pt x="982" y="8100"/>
                </a:lnTo>
                <a:lnTo>
                  <a:pt x="1964" y="8100"/>
                </a:lnTo>
                <a:cubicBezTo>
                  <a:pt x="1964" y="8100"/>
                  <a:pt x="1964" y="13500"/>
                  <a:pt x="1964" y="13500"/>
                </a:cubicBezTo>
                <a:close/>
                <a:moveTo>
                  <a:pt x="19636" y="7560"/>
                </a:moveTo>
                <a:lnTo>
                  <a:pt x="19636" y="1620"/>
                </a:lnTo>
                <a:cubicBezTo>
                  <a:pt x="19636" y="725"/>
                  <a:pt x="18977" y="0"/>
                  <a:pt x="18164" y="0"/>
                </a:cubicBezTo>
                <a:cubicBezTo>
                  <a:pt x="17350" y="0"/>
                  <a:pt x="16691" y="725"/>
                  <a:pt x="16691" y="1620"/>
                </a:cubicBezTo>
                <a:lnTo>
                  <a:pt x="16691" y="2062"/>
                </a:lnTo>
                <a:lnTo>
                  <a:pt x="2411" y="7144"/>
                </a:lnTo>
                <a:cubicBezTo>
                  <a:pt x="2276" y="7067"/>
                  <a:pt x="2126" y="7020"/>
                  <a:pt x="1964" y="7020"/>
                </a:cubicBezTo>
                <a:lnTo>
                  <a:pt x="982" y="7020"/>
                </a:lnTo>
                <a:cubicBezTo>
                  <a:pt x="440" y="7020"/>
                  <a:pt x="0" y="7504"/>
                  <a:pt x="0" y="8100"/>
                </a:cubicBezTo>
                <a:lnTo>
                  <a:pt x="0" y="13500"/>
                </a:lnTo>
                <a:cubicBezTo>
                  <a:pt x="0" y="14097"/>
                  <a:pt x="440" y="14580"/>
                  <a:pt x="982" y="14580"/>
                </a:cubicBezTo>
                <a:lnTo>
                  <a:pt x="1964" y="14580"/>
                </a:lnTo>
                <a:cubicBezTo>
                  <a:pt x="2126" y="14580"/>
                  <a:pt x="2276" y="14533"/>
                  <a:pt x="2411" y="14457"/>
                </a:cubicBezTo>
                <a:lnTo>
                  <a:pt x="4720" y="15278"/>
                </a:lnTo>
                <a:lnTo>
                  <a:pt x="4529" y="15941"/>
                </a:lnTo>
                <a:cubicBezTo>
                  <a:pt x="4199" y="17078"/>
                  <a:pt x="4770" y="18292"/>
                  <a:pt x="5803" y="18654"/>
                </a:cubicBezTo>
                <a:lnTo>
                  <a:pt x="10949" y="20456"/>
                </a:lnTo>
                <a:cubicBezTo>
                  <a:pt x="11983" y="20819"/>
                  <a:pt x="13087" y="20190"/>
                  <a:pt x="13416" y="19053"/>
                </a:cubicBezTo>
                <a:lnTo>
                  <a:pt x="13595" y="18437"/>
                </a:lnTo>
                <a:lnTo>
                  <a:pt x="16691" y="19538"/>
                </a:lnTo>
                <a:lnTo>
                  <a:pt x="16691" y="19980"/>
                </a:lnTo>
                <a:cubicBezTo>
                  <a:pt x="16691" y="20875"/>
                  <a:pt x="17350" y="21600"/>
                  <a:pt x="18164" y="21600"/>
                </a:cubicBezTo>
                <a:cubicBezTo>
                  <a:pt x="18977" y="21600"/>
                  <a:pt x="19636" y="20875"/>
                  <a:pt x="19636" y="19980"/>
                </a:cubicBezTo>
                <a:lnTo>
                  <a:pt x="19636" y="14040"/>
                </a:lnTo>
                <a:cubicBezTo>
                  <a:pt x="20721" y="14040"/>
                  <a:pt x="21600" y="13073"/>
                  <a:pt x="21600" y="11880"/>
                </a:cubicBezTo>
                <a:lnTo>
                  <a:pt x="21600" y="9720"/>
                </a:lnTo>
                <a:cubicBezTo>
                  <a:pt x="21600" y="8527"/>
                  <a:pt x="20721" y="7560"/>
                  <a:pt x="19636" y="756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1" name="Shape 2691"/>
          <p:cNvSpPr/>
          <p:nvPr/>
        </p:nvSpPr>
        <p:spPr>
          <a:xfrm>
            <a:off x="16943980" y="3919607"/>
            <a:ext cx="30472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00" y="19924"/>
                </a:moveTo>
                <a:lnTo>
                  <a:pt x="12600" y="12476"/>
                </a:lnTo>
                <a:lnTo>
                  <a:pt x="19427" y="16200"/>
                </a:lnTo>
                <a:cubicBezTo>
                  <a:pt x="19427" y="16200"/>
                  <a:pt x="12600" y="19924"/>
                  <a:pt x="12600" y="19924"/>
                </a:cubicBezTo>
                <a:close/>
                <a:moveTo>
                  <a:pt x="12600" y="1676"/>
                </a:moveTo>
                <a:lnTo>
                  <a:pt x="19427" y="5400"/>
                </a:lnTo>
                <a:lnTo>
                  <a:pt x="12600" y="9124"/>
                </a:lnTo>
                <a:cubicBezTo>
                  <a:pt x="12600" y="9124"/>
                  <a:pt x="12600" y="1676"/>
                  <a:pt x="12600" y="1676"/>
                </a:cubicBezTo>
                <a:close/>
                <a:moveTo>
                  <a:pt x="21352" y="15862"/>
                </a:moveTo>
                <a:lnTo>
                  <a:pt x="21337" y="15854"/>
                </a:lnTo>
                <a:cubicBezTo>
                  <a:pt x="21336" y="15853"/>
                  <a:pt x="21335" y="15853"/>
                  <a:pt x="21335" y="15852"/>
                </a:cubicBezTo>
                <a:lnTo>
                  <a:pt x="12600" y="11088"/>
                </a:lnTo>
                <a:lnTo>
                  <a:pt x="12600" y="10512"/>
                </a:lnTo>
                <a:lnTo>
                  <a:pt x="21335" y="5748"/>
                </a:lnTo>
                <a:lnTo>
                  <a:pt x="21336" y="5747"/>
                </a:lnTo>
                <a:lnTo>
                  <a:pt x="21352" y="5739"/>
                </a:lnTo>
                <a:lnTo>
                  <a:pt x="21349" y="5738"/>
                </a:lnTo>
                <a:cubicBezTo>
                  <a:pt x="21503" y="5649"/>
                  <a:pt x="21600" y="5532"/>
                  <a:pt x="21600" y="5400"/>
                </a:cubicBezTo>
                <a:cubicBezTo>
                  <a:pt x="21600" y="5265"/>
                  <a:pt x="21499" y="5142"/>
                  <a:pt x="21336" y="5053"/>
                </a:cubicBezTo>
                <a:lnTo>
                  <a:pt x="12336" y="144"/>
                </a:lnTo>
                <a:cubicBezTo>
                  <a:pt x="12173" y="55"/>
                  <a:pt x="11948" y="0"/>
                  <a:pt x="11700" y="0"/>
                </a:cubicBezTo>
                <a:cubicBezTo>
                  <a:pt x="11203" y="0"/>
                  <a:pt x="10800" y="220"/>
                  <a:pt x="10800" y="491"/>
                </a:cubicBezTo>
                <a:lnTo>
                  <a:pt x="10800" y="10106"/>
                </a:lnTo>
                <a:lnTo>
                  <a:pt x="1552" y="5062"/>
                </a:lnTo>
                <a:lnTo>
                  <a:pt x="1549" y="5063"/>
                </a:lnTo>
                <a:cubicBezTo>
                  <a:pt x="1385" y="4969"/>
                  <a:pt x="1157" y="4909"/>
                  <a:pt x="900" y="4909"/>
                </a:cubicBezTo>
                <a:cubicBezTo>
                  <a:pt x="403" y="4909"/>
                  <a:pt x="0" y="5129"/>
                  <a:pt x="0" y="5400"/>
                </a:cubicBezTo>
                <a:cubicBezTo>
                  <a:pt x="0" y="5532"/>
                  <a:pt x="97" y="5649"/>
                  <a:pt x="251" y="5738"/>
                </a:cubicBezTo>
                <a:lnTo>
                  <a:pt x="248" y="5739"/>
                </a:lnTo>
                <a:lnTo>
                  <a:pt x="264" y="5747"/>
                </a:lnTo>
                <a:lnTo>
                  <a:pt x="264" y="5748"/>
                </a:lnTo>
                <a:lnTo>
                  <a:pt x="9527" y="10800"/>
                </a:lnTo>
                <a:lnTo>
                  <a:pt x="265" y="15852"/>
                </a:lnTo>
                <a:cubicBezTo>
                  <a:pt x="265" y="15853"/>
                  <a:pt x="264" y="15853"/>
                  <a:pt x="263" y="15854"/>
                </a:cubicBezTo>
                <a:lnTo>
                  <a:pt x="248" y="15862"/>
                </a:lnTo>
                <a:lnTo>
                  <a:pt x="251" y="15863"/>
                </a:lnTo>
                <a:cubicBezTo>
                  <a:pt x="97" y="15951"/>
                  <a:pt x="0" y="16069"/>
                  <a:pt x="0" y="16200"/>
                </a:cubicBezTo>
                <a:cubicBezTo>
                  <a:pt x="0" y="16471"/>
                  <a:pt x="403" y="16691"/>
                  <a:pt x="900" y="16691"/>
                </a:cubicBezTo>
                <a:cubicBezTo>
                  <a:pt x="1157" y="16691"/>
                  <a:pt x="1385" y="16631"/>
                  <a:pt x="1549" y="16537"/>
                </a:cubicBezTo>
                <a:lnTo>
                  <a:pt x="1552" y="16539"/>
                </a:lnTo>
                <a:lnTo>
                  <a:pt x="10800" y="11494"/>
                </a:lnTo>
                <a:lnTo>
                  <a:pt x="10800" y="21109"/>
                </a:lnTo>
                <a:cubicBezTo>
                  <a:pt x="10800" y="21380"/>
                  <a:pt x="11203" y="21600"/>
                  <a:pt x="11700" y="21600"/>
                </a:cubicBezTo>
                <a:cubicBezTo>
                  <a:pt x="11948" y="21600"/>
                  <a:pt x="12173" y="21546"/>
                  <a:pt x="12336" y="21456"/>
                </a:cubicBezTo>
                <a:lnTo>
                  <a:pt x="21336" y="16547"/>
                </a:lnTo>
                <a:cubicBezTo>
                  <a:pt x="21499" y="16458"/>
                  <a:pt x="21600" y="16336"/>
                  <a:pt x="21600" y="16200"/>
                </a:cubicBezTo>
                <a:cubicBezTo>
                  <a:pt x="21600" y="16069"/>
                  <a:pt x="21503" y="15951"/>
                  <a:pt x="21349" y="15863"/>
                </a:cubicBezTo>
                <a:cubicBezTo>
                  <a:pt x="21349" y="15863"/>
                  <a:pt x="21352" y="15862"/>
                  <a:pt x="21352" y="15862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2" name="Shape 2692"/>
          <p:cNvSpPr/>
          <p:nvPr/>
        </p:nvSpPr>
        <p:spPr>
          <a:xfrm>
            <a:off x="17934324" y="391960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00" y="16691"/>
                </a:moveTo>
                <a:lnTo>
                  <a:pt x="15600" y="16691"/>
                </a:lnTo>
                <a:lnTo>
                  <a:pt x="15600" y="14727"/>
                </a:lnTo>
                <a:lnTo>
                  <a:pt x="13200" y="14727"/>
                </a:lnTo>
                <a:cubicBezTo>
                  <a:pt x="13200" y="14727"/>
                  <a:pt x="13200" y="16691"/>
                  <a:pt x="13200" y="16691"/>
                </a:cubicBezTo>
                <a:close/>
                <a:moveTo>
                  <a:pt x="9600" y="10800"/>
                </a:moveTo>
                <a:lnTo>
                  <a:pt x="12000" y="10800"/>
                </a:lnTo>
                <a:lnTo>
                  <a:pt x="12000" y="8836"/>
                </a:lnTo>
                <a:lnTo>
                  <a:pt x="9600" y="8836"/>
                </a:lnTo>
                <a:cubicBezTo>
                  <a:pt x="9600" y="8836"/>
                  <a:pt x="9600" y="10800"/>
                  <a:pt x="9600" y="10800"/>
                </a:cubicBezTo>
                <a:close/>
                <a:moveTo>
                  <a:pt x="13200" y="19636"/>
                </a:moveTo>
                <a:lnTo>
                  <a:pt x="15600" y="19636"/>
                </a:lnTo>
                <a:lnTo>
                  <a:pt x="15600" y="17673"/>
                </a:lnTo>
                <a:lnTo>
                  <a:pt x="13200" y="17673"/>
                </a:lnTo>
                <a:cubicBezTo>
                  <a:pt x="13200" y="17673"/>
                  <a:pt x="13200" y="19636"/>
                  <a:pt x="13200" y="19636"/>
                </a:cubicBezTo>
                <a:close/>
                <a:moveTo>
                  <a:pt x="13200" y="13745"/>
                </a:moveTo>
                <a:lnTo>
                  <a:pt x="15600" y="13745"/>
                </a:lnTo>
                <a:lnTo>
                  <a:pt x="15600" y="11782"/>
                </a:lnTo>
                <a:lnTo>
                  <a:pt x="13200" y="11782"/>
                </a:lnTo>
                <a:cubicBezTo>
                  <a:pt x="13200" y="11782"/>
                  <a:pt x="13200" y="13745"/>
                  <a:pt x="13200" y="13745"/>
                </a:cubicBezTo>
                <a:close/>
                <a:moveTo>
                  <a:pt x="16800" y="10800"/>
                </a:moveTo>
                <a:lnTo>
                  <a:pt x="19200" y="10800"/>
                </a:lnTo>
                <a:lnTo>
                  <a:pt x="19200" y="8836"/>
                </a:lnTo>
                <a:lnTo>
                  <a:pt x="16800" y="8836"/>
                </a:lnTo>
                <a:cubicBezTo>
                  <a:pt x="16800" y="8836"/>
                  <a:pt x="16800" y="10800"/>
                  <a:pt x="16800" y="10800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13200" y="10800"/>
                </a:moveTo>
                <a:lnTo>
                  <a:pt x="15600" y="10800"/>
                </a:lnTo>
                <a:lnTo>
                  <a:pt x="15600" y="8836"/>
                </a:lnTo>
                <a:lnTo>
                  <a:pt x="13200" y="8836"/>
                </a:lnTo>
                <a:cubicBezTo>
                  <a:pt x="13200" y="8836"/>
                  <a:pt x="13200" y="10800"/>
                  <a:pt x="13200" y="10800"/>
                </a:cubicBezTo>
                <a:close/>
                <a:moveTo>
                  <a:pt x="3600" y="2945"/>
                </a:moveTo>
                <a:lnTo>
                  <a:pt x="18000" y="2945"/>
                </a:lnTo>
                <a:lnTo>
                  <a:pt x="18000" y="6873"/>
                </a:lnTo>
                <a:lnTo>
                  <a:pt x="3600" y="6873"/>
                </a:lnTo>
                <a:cubicBezTo>
                  <a:pt x="3600" y="6873"/>
                  <a:pt x="3600" y="2945"/>
                  <a:pt x="3600" y="2945"/>
                </a:cubicBezTo>
                <a:close/>
                <a:moveTo>
                  <a:pt x="2400" y="7855"/>
                </a:moveTo>
                <a:lnTo>
                  <a:pt x="19200" y="7855"/>
                </a:lnTo>
                <a:lnTo>
                  <a:pt x="19200" y="1964"/>
                </a:lnTo>
                <a:lnTo>
                  <a:pt x="2400" y="1964"/>
                </a:lnTo>
                <a:cubicBezTo>
                  <a:pt x="2400" y="1964"/>
                  <a:pt x="2400" y="7855"/>
                  <a:pt x="2400" y="7855"/>
                </a:cubicBezTo>
                <a:close/>
                <a:moveTo>
                  <a:pt x="9600" y="13745"/>
                </a:moveTo>
                <a:lnTo>
                  <a:pt x="12000" y="13745"/>
                </a:lnTo>
                <a:lnTo>
                  <a:pt x="12000" y="11782"/>
                </a:lnTo>
                <a:lnTo>
                  <a:pt x="9600" y="11782"/>
                </a:lnTo>
                <a:cubicBezTo>
                  <a:pt x="9600" y="11782"/>
                  <a:pt x="9600" y="13745"/>
                  <a:pt x="9600" y="13745"/>
                </a:cubicBezTo>
                <a:close/>
                <a:moveTo>
                  <a:pt x="16800" y="19636"/>
                </a:moveTo>
                <a:lnTo>
                  <a:pt x="19200" y="19636"/>
                </a:lnTo>
                <a:lnTo>
                  <a:pt x="19200" y="11782"/>
                </a:lnTo>
                <a:lnTo>
                  <a:pt x="16800" y="11782"/>
                </a:lnTo>
                <a:cubicBezTo>
                  <a:pt x="16800" y="11782"/>
                  <a:pt x="16800" y="19636"/>
                  <a:pt x="16800" y="19636"/>
                </a:cubicBezTo>
                <a:close/>
                <a:moveTo>
                  <a:pt x="2400" y="16691"/>
                </a:moveTo>
                <a:lnTo>
                  <a:pt x="4800" y="16691"/>
                </a:lnTo>
                <a:lnTo>
                  <a:pt x="4800" y="14727"/>
                </a:lnTo>
                <a:lnTo>
                  <a:pt x="2400" y="14727"/>
                </a:lnTo>
                <a:cubicBezTo>
                  <a:pt x="2400" y="14727"/>
                  <a:pt x="2400" y="16691"/>
                  <a:pt x="2400" y="16691"/>
                </a:cubicBezTo>
                <a:close/>
                <a:moveTo>
                  <a:pt x="2400" y="10800"/>
                </a:moveTo>
                <a:lnTo>
                  <a:pt x="4800" y="10800"/>
                </a:lnTo>
                <a:lnTo>
                  <a:pt x="4800" y="8836"/>
                </a:lnTo>
                <a:lnTo>
                  <a:pt x="2400" y="8836"/>
                </a:lnTo>
                <a:cubicBezTo>
                  <a:pt x="2400" y="8836"/>
                  <a:pt x="2400" y="10800"/>
                  <a:pt x="2400" y="10800"/>
                </a:cubicBezTo>
                <a:close/>
                <a:moveTo>
                  <a:pt x="2400" y="19636"/>
                </a:moveTo>
                <a:lnTo>
                  <a:pt x="4800" y="19636"/>
                </a:lnTo>
                <a:lnTo>
                  <a:pt x="4800" y="17673"/>
                </a:lnTo>
                <a:lnTo>
                  <a:pt x="2400" y="17673"/>
                </a:lnTo>
                <a:cubicBezTo>
                  <a:pt x="2400" y="17673"/>
                  <a:pt x="2400" y="19636"/>
                  <a:pt x="2400" y="19636"/>
                </a:cubicBezTo>
                <a:close/>
                <a:moveTo>
                  <a:pt x="2400" y="13745"/>
                </a:moveTo>
                <a:lnTo>
                  <a:pt x="4800" y="13745"/>
                </a:lnTo>
                <a:lnTo>
                  <a:pt x="4800" y="11782"/>
                </a:lnTo>
                <a:lnTo>
                  <a:pt x="2400" y="11782"/>
                </a:lnTo>
                <a:cubicBezTo>
                  <a:pt x="2400" y="11782"/>
                  <a:pt x="2400" y="13745"/>
                  <a:pt x="2400" y="13745"/>
                </a:cubicBezTo>
                <a:close/>
                <a:moveTo>
                  <a:pt x="9600" y="16691"/>
                </a:moveTo>
                <a:lnTo>
                  <a:pt x="12000" y="16691"/>
                </a:lnTo>
                <a:lnTo>
                  <a:pt x="12000" y="14727"/>
                </a:lnTo>
                <a:lnTo>
                  <a:pt x="9600" y="14727"/>
                </a:lnTo>
                <a:cubicBezTo>
                  <a:pt x="9600" y="14727"/>
                  <a:pt x="9600" y="16691"/>
                  <a:pt x="9600" y="16691"/>
                </a:cubicBezTo>
                <a:close/>
                <a:moveTo>
                  <a:pt x="6000" y="19636"/>
                </a:moveTo>
                <a:lnTo>
                  <a:pt x="8400" y="19636"/>
                </a:lnTo>
                <a:lnTo>
                  <a:pt x="8400" y="17673"/>
                </a:lnTo>
                <a:lnTo>
                  <a:pt x="6000" y="17673"/>
                </a:lnTo>
                <a:cubicBezTo>
                  <a:pt x="6000" y="17673"/>
                  <a:pt x="6000" y="19636"/>
                  <a:pt x="6000" y="19636"/>
                </a:cubicBezTo>
                <a:close/>
                <a:moveTo>
                  <a:pt x="9600" y="19636"/>
                </a:moveTo>
                <a:lnTo>
                  <a:pt x="12000" y="19636"/>
                </a:lnTo>
                <a:lnTo>
                  <a:pt x="12000" y="17673"/>
                </a:lnTo>
                <a:lnTo>
                  <a:pt x="9600" y="17673"/>
                </a:lnTo>
                <a:cubicBezTo>
                  <a:pt x="9600" y="17673"/>
                  <a:pt x="9600" y="19636"/>
                  <a:pt x="9600" y="19636"/>
                </a:cubicBezTo>
                <a:close/>
                <a:moveTo>
                  <a:pt x="6000" y="16691"/>
                </a:moveTo>
                <a:lnTo>
                  <a:pt x="8400" y="16691"/>
                </a:lnTo>
                <a:lnTo>
                  <a:pt x="8400" y="14727"/>
                </a:lnTo>
                <a:lnTo>
                  <a:pt x="6000" y="14727"/>
                </a:lnTo>
                <a:cubicBezTo>
                  <a:pt x="6000" y="14727"/>
                  <a:pt x="6000" y="16691"/>
                  <a:pt x="6000" y="16691"/>
                </a:cubicBezTo>
                <a:close/>
                <a:moveTo>
                  <a:pt x="6000" y="13745"/>
                </a:moveTo>
                <a:lnTo>
                  <a:pt x="8400" y="13745"/>
                </a:lnTo>
                <a:lnTo>
                  <a:pt x="8400" y="11782"/>
                </a:lnTo>
                <a:lnTo>
                  <a:pt x="6000" y="11782"/>
                </a:lnTo>
                <a:cubicBezTo>
                  <a:pt x="6000" y="11782"/>
                  <a:pt x="6000" y="13745"/>
                  <a:pt x="6000" y="13745"/>
                </a:cubicBezTo>
                <a:close/>
                <a:moveTo>
                  <a:pt x="6000" y="10800"/>
                </a:moveTo>
                <a:lnTo>
                  <a:pt x="8400" y="10800"/>
                </a:lnTo>
                <a:lnTo>
                  <a:pt x="8400" y="8836"/>
                </a:lnTo>
                <a:lnTo>
                  <a:pt x="6000" y="8836"/>
                </a:lnTo>
                <a:cubicBezTo>
                  <a:pt x="6000" y="8836"/>
                  <a:pt x="6000" y="10800"/>
                  <a:pt x="6000" y="108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3" name="Shape 2693"/>
          <p:cNvSpPr/>
          <p:nvPr/>
        </p:nvSpPr>
        <p:spPr>
          <a:xfrm>
            <a:off x="18950059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82" y="11782"/>
                </a:moveTo>
                <a:lnTo>
                  <a:pt x="9818" y="11782"/>
                </a:lnTo>
                <a:lnTo>
                  <a:pt x="9818" y="13745"/>
                </a:lnTo>
                <a:lnTo>
                  <a:pt x="11782" y="13745"/>
                </a:lnTo>
                <a:cubicBezTo>
                  <a:pt x="11782" y="13745"/>
                  <a:pt x="11782" y="11782"/>
                  <a:pt x="11782" y="11782"/>
                </a:cubicBezTo>
                <a:close/>
                <a:moveTo>
                  <a:pt x="7855" y="17673"/>
                </a:moveTo>
                <a:lnTo>
                  <a:pt x="9818" y="17673"/>
                </a:lnTo>
                <a:lnTo>
                  <a:pt x="9818" y="16691"/>
                </a:lnTo>
                <a:lnTo>
                  <a:pt x="7855" y="16691"/>
                </a:lnTo>
                <a:cubicBezTo>
                  <a:pt x="7855" y="16691"/>
                  <a:pt x="7855" y="17673"/>
                  <a:pt x="7855" y="17673"/>
                </a:cubicBezTo>
                <a:close/>
                <a:moveTo>
                  <a:pt x="11782" y="17673"/>
                </a:moveTo>
                <a:lnTo>
                  <a:pt x="13745" y="17673"/>
                </a:lnTo>
                <a:lnTo>
                  <a:pt x="13745" y="16691"/>
                </a:lnTo>
                <a:lnTo>
                  <a:pt x="11782" y="16691"/>
                </a:lnTo>
                <a:cubicBezTo>
                  <a:pt x="11782" y="16691"/>
                  <a:pt x="11782" y="17673"/>
                  <a:pt x="11782" y="17673"/>
                </a:cubicBezTo>
                <a:close/>
                <a:moveTo>
                  <a:pt x="12764" y="8836"/>
                </a:moveTo>
                <a:cubicBezTo>
                  <a:pt x="12492" y="8836"/>
                  <a:pt x="12273" y="9056"/>
                  <a:pt x="12273" y="9327"/>
                </a:cubicBezTo>
                <a:cubicBezTo>
                  <a:pt x="12273" y="9599"/>
                  <a:pt x="12492" y="9818"/>
                  <a:pt x="12764" y="9818"/>
                </a:cubicBezTo>
                <a:cubicBezTo>
                  <a:pt x="13035" y="9818"/>
                  <a:pt x="13255" y="9599"/>
                  <a:pt x="13255" y="9327"/>
                </a:cubicBezTo>
                <a:cubicBezTo>
                  <a:pt x="13255" y="9056"/>
                  <a:pt x="13035" y="8836"/>
                  <a:pt x="12764" y="8836"/>
                </a:cubicBezTo>
                <a:moveTo>
                  <a:pt x="3927" y="12764"/>
                </a:moveTo>
                <a:cubicBezTo>
                  <a:pt x="3927" y="11679"/>
                  <a:pt x="4806" y="10800"/>
                  <a:pt x="5891" y="10800"/>
                </a:cubicBezTo>
                <a:cubicBezTo>
                  <a:pt x="6975" y="10800"/>
                  <a:pt x="7855" y="11679"/>
                  <a:pt x="7855" y="12764"/>
                </a:cubicBezTo>
                <a:cubicBezTo>
                  <a:pt x="7855" y="13848"/>
                  <a:pt x="6975" y="14727"/>
                  <a:pt x="5891" y="14727"/>
                </a:cubicBezTo>
                <a:cubicBezTo>
                  <a:pt x="4806" y="14727"/>
                  <a:pt x="3927" y="13848"/>
                  <a:pt x="3927" y="12764"/>
                </a:cubicBezTo>
                <a:moveTo>
                  <a:pt x="17673" y="12764"/>
                </a:moveTo>
                <a:cubicBezTo>
                  <a:pt x="17673" y="13848"/>
                  <a:pt x="16794" y="14727"/>
                  <a:pt x="15709" y="14727"/>
                </a:cubicBezTo>
                <a:cubicBezTo>
                  <a:pt x="14625" y="14727"/>
                  <a:pt x="13745" y="13848"/>
                  <a:pt x="13745" y="12764"/>
                </a:cubicBezTo>
                <a:cubicBezTo>
                  <a:pt x="13745" y="11679"/>
                  <a:pt x="14625" y="10800"/>
                  <a:pt x="15709" y="10800"/>
                </a:cubicBezTo>
                <a:cubicBezTo>
                  <a:pt x="16794" y="10800"/>
                  <a:pt x="17673" y="11679"/>
                  <a:pt x="17673" y="12764"/>
                </a:cubicBezTo>
                <a:moveTo>
                  <a:pt x="20618" y="8836"/>
                </a:moveTo>
                <a:lnTo>
                  <a:pt x="19145" y="8836"/>
                </a:lnTo>
                <a:cubicBezTo>
                  <a:pt x="18874" y="8836"/>
                  <a:pt x="18655" y="9056"/>
                  <a:pt x="18655" y="9327"/>
                </a:cubicBezTo>
                <a:cubicBezTo>
                  <a:pt x="18655" y="9599"/>
                  <a:pt x="18874" y="9818"/>
                  <a:pt x="19145" y="9818"/>
                </a:cubicBezTo>
                <a:lnTo>
                  <a:pt x="20618" y="9818"/>
                </a:lnTo>
                <a:lnTo>
                  <a:pt x="20618" y="12273"/>
                </a:lnTo>
                <a:lnTo>
                  <a:pt x="18605" y="12273"/>
                </a:lnTo>
                <a:cubicBezTo>
                  <a:pt x="18370" y="10881"/>
                  <a:pt x="17167" y="9818"/>
                  <a:pt x="15709" y="9818"/>
                </a:cubicBezTo>
                <a:cubicBezTo>
                  <a:pt x="14082" y="9818"/>
                  <a:pt x="12764" y="11137"/>
                  <a:pt x="12764" y="12764"/>
                </a:cubicBezTo>
                <a:cubicBezTo>
                  <a:pt x="12764" y="14390"/>
                  <a:pt x="14082" y="15709"/>
                  <a:pt x="15709" y="15709"/>
                </a:cubicBezTo>
                <a:cubicBezTo>
                  <a:pt x="17167" y="15709"/>
                  <a:pt x="18370" y="14646"/>
                  <a:pt x="18605" y="13255"/>
                </a:cubicBezTo>
                <a:lnTo>
                  <a:pt x="20618" y="13255"/>
                </a:lnTo>
                <a:lnTo>
                  <a:pt x="20618" y="18655"/>
                </a:lnTo>
                <a:lnTo>
                  <a:pt x="982" y="18655"/>
                </a:lnTo>
                <a:lnTo>
                  <a:pt x="982" y="13255"/>
                </a:lnTo>
                <a:lnTo>
                  <a:pt x="2995" y="13255"/>
                </a:lnTo>
                <a:cubicBezTo>
                  <a:pt x="3230" y="14646"/>
                  <a:pt x="4433" y="15709"/>
                  <a:pt x="5891" y="15709"/>
                </a:cubicBezTo>
                <a:cubicBezTo>
                  <a:pt x="7517" y="15709"/>
                  <a:pt x="8836" y="14390"/>
                  <a:pt x="8836" y="12764"/>
                </a:cubicBezTo>
                <a:cubicBezTo>
                  <a:pt x="8836" y="11137"/>
                  <a:pt x="7517" y="9818"/>
                  <a:pt x="5891" y="9818"/>
                </a:cubicBezTo>
                <a:cubicBezTo>
                  <a:pt x="4433" y="9818"/>
                  <a:pt x="3230" y="10881"/>
                  <a:pt x="2995" y="12273"/>
                </a:cubicBezTo>
                <a:lnTo>
                  <a:pt x="982" y="12273"/>
                </a:lnTo>
                <a:lnTo>
                  <a:pt x="982" y="9818"/>
                </a:lnTo>
                <a:lnTo>
                  <a:pt x="2455" y="9818"/>
                </a:lnTo>
                <a:cubicBezTo>
                  <a:pt x="2726" y="9818"/>
                  <a:pt x="2945" y="9599"/>
                  <a:pt x="2945" y="9327"/>
                </a:cubicBezTo>
                <a:cubicBezTo>
                  <a:pt x="2945" y="9056"/>
                  <a:pt x="2726" y="8836"/>
                  <a:pt x="2455" y="8836"/>
                </a:cubicBezTo>
                <a:lnTo>
                  <a:pt x="982" y="8836"/>
                </a:lnTo>
                <a:lnTo>
                  <a:pt x="982" y="7855"/>
                </a:lnTo>
                <a:cubicBezTo>
                  <a:pt x="982" y="7313"/>
                  <a:pt x="1421" y="6873"/>
                  <a:pt x="1964" y="6873"/>
                </a:cubicBezTo>
                <a:lnTo>
                  <a:pt x="19636" y="6873"/>
                </a:lnTo>
                <a:cubicBezTo>
                  <a:pt x="20178" y="6873"/>
                  <a:pt x="20618" y="7313"/>
                  <a:pt x="20618" y="7855"/>
                </a:cubicBezTo>
                <a:cubicBezTo>
                  <a:pt x="20618" y="7855"/>
                  <a:pt x="20618" y="8836"/>
                  <a:pt x="20618" y="8836"/>
                </a:cubicBezTo>
                <a:close/>
                <a:moveTo>
                  <a:pt x="19636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20618" y="19636"/>
                </a:lnTo>
                <a:cubicBezTo>
                  <a:pt x="20618" y="20178"/>
                  <a:pt x="20178" y="20618"/>
                  <a:pt x="19636" y="20618"/>
                </a:cubicBezTo>
                <a:moveTo>
                  <a:pt x="5891" y="4909"/>
                </a:moveTo>
                <a:lnTo>
                  <a:pt x="15709" y="4909"/>
                </a:lnTo>
                <a:lnTo>
                  <a:pt x="15709" y="5891"/>
                </a:lnTo>
                <a:lnTo>
                  <a:pt x="5891" y="5891"/>
                </a:lnTo>
                <a:cubicBezTo>
                  <a:pt x="5891" y="5891"/>
                  <a:pt x="5891" y="4909"/>
                  <a:pt x="5891" y="4909"/>
                </a:cubicBezTo>
                <a:close/>
                <a:moveTo>
                  <a:pt x="19636" y="5891"/>
                </a:moveTo>
                <a:lnTo>
                  <a:pt x="19636" y="2855"/>
                </a:lnTo>
                <a:cubicBezTo>
                  <a:pt x="20207" y="2653"/>
                  <a:pt x="20618" y="2113"/>
                  <a:pt x="20618" y="1473"/>
                </a:cubicBezTo>
                <a:cubicBezTo>
                  <a:pt x="20618" y="659"/>
                  <a:pt x="19959" y="0"/>
                  <a:pt x="19145" y="0"/>
                </a:cubicBezTo>
                <a:cubicBezTo>
                  <a:pt x="18332" y="0"/>
                  <a:pt x="17673" y="659"/>
                  <a:pt x="17673" y="1473"/>
                </a:cubicBezTo>
                <a:cubicBezTo>
                  <a:pt x="17673" y="2113"/>
                  <a:pt x="18084" y="2653"/>
                  <a:pt x="18655" y="2855"/>
                </a:cubicBezTo>
                <a:lnTo>
                  <a:pt x="18655" y="5891"/>
                </a:lnTo>
                <a:lnTo>
                  <a:pt x="16691" y="5891"/>
                </a:lnTo>
                <a:lnTo>
                  <a:pt x="16691" y="4909"/>
                </a:lnTo>
                <a:cubicBezTo>
                  <a:pt x="16691" y="4367"/>
                  <a:pt x="16251" y="3927"/>
                  <a:pt x="15709" y="3927"/>
                </a:cubicBezTo>
                <a:lnTo>
                  <a:pt x="5891" y="3927"/>
                </a:lnTo>
                <a:cubicBezTo>
                  <a:pt x="5348" y="3927"/>
                  <a:pt x="4909" y="4367"/>
                  <a:pt x="4909" y="4909"/>
                </a:cubicBezTo>
                <a:lnTo>
                  <a:pt x="4909" y="5891"/>
                </a:lnTo>
                <a:lnTo>
                  <a:pt x="1964" y="5891"/>
                </a:lnTo>
                <a:cubicBezTo>
                  <a:pt x="879" y="5891"/>
                  <a:pt x="0" y="6770"/>
                  <a:pt x="0" y="7855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7855"/>
                </a:lnTo>
                <a:cubicBezTo>
                  <a:pt x="21600" y="6770"/>
                  <a:pt x="20721" y="5891"/>
                  <a:pt x="19636" y="5891"/>
                </a:cubicBezTo>
                <a:moveTo>
                  <a:pt x="10800" y="9818"/>
                </a:moveTo>
                <a:cubicBezTo>
                  <a:pt x="11071" y="9818"/>
                  <a:pt x="11291" y="9599"/>
                  <a:pt x="11291" y="9327"/>
                </a:cubicBezTo>
                <a:cubicBezTo>
                  <a:pt x="11291" y="9056"/>
                  <a:pt x="11071" y="8836"/>
                  <a:pt x="10800" y="8836"/>
                </a:cubicBezTo>
                <a:cubicBezTo>
                  <a:pt x="10529" y="8836"/>
                  <a:pt x="10309" y="9056"/>
                  <a:pt x="10309" y="9327"/>
                </a:cubicBezTo>
                <a:cubicBezTo>
                  <a:pt x="10309" y="9599"/>
                  <a:pt x="10529" y="9818"/>
                  <a:pt x="10800" y="9818"/>
                </a:cubicBezTo>
                <a:moveTo>
                  <a:pt x="9327" y="9327"/>
                </a:moveTo>
                <a:cubicBezTo>
                  <a:pt x="9327" y="9056"/>
                  <a:pt x="9108" y="8836"/>
                  <a:pt x="8836" y="8836"/>
                </a:cubicBezTo>
                <a:cubicBezTo>
                  <a:pt x="8565" y="8836"/>
                  <a:pt x="8345" y="9056"/>
                  <a:pt x="8345" y="9327"/>
                </a:cubicBezTo>
                <a:cubicBezTo>
                  <a:pt x="8345" y="9599"/>
                  <a:pt x="8565" y="9818"/>
                  <a:pt x="8836" y="9818"/>
                </a:cubicBezTo>
                <a:cubicBezTo>
                  <a:pt x="9108" y="9818"/>
                  <a:pt x="9327" y="9599"/>
                  <a:pt x="9327" y="93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4" name="Shape 2694"/>
          <p:cNvSpPr/>
          <p:nvPr/>
        </p:nvSpPr>
        <p:spPr>
          <a:xfrm>
            <a:off x="20016581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38" y="14727"/>
                </a:moveTo>
                <a:cubicBezTo>
                  <a:pt x="13628" y="14411"/>
                  <a:pt x="13690" y="14083"/>
                  <a:pt x="13721" y="13745"/>
                </a:cubicBezTo>
                <a:lnTo>
                  <a:pt x="2970" y="13745"/>
                </a:lnTo>
                <a:cubicBezTo>
                  <a:pt x="3001" y="14083"/>
                  <a:pt x="3063" y="14411"/>
                  <a:pt x="3153" y="14727"/>
                </a:cubicBezTo>
                <a:cubicBezTo>
                  <a:pt x="3153" y="14727"/>
                  <a:pt x="13538" y="14727"/>
                  <a:pt x="13538" y="14727"/>
                </a:cubicBezTo>
                <a:close/>
                <a:moveTo>
                  <a:pt x="18655" y="12764"/>
                </a:moveTo>
                <a:cubicBezTo>
                  <a:pt x="18383" y="12764"/>
                  <a:pt x="18164" y="12984"/>
                  <a:pt x="18164" y="13255"/>
                </a:cubicBezTo>
                <a:cubicBezTo>
                  <a:pt x="18164" y="13526"/>
                  <a:pt x="18383" y="13745"/>
                  <a:pt x="18655" y="13745"/>
                </a:cubicBezTo>
                <a:cubicBezTo>
                  <a:pt x="18926" y="13745"/>
                  <a:pt x="19145" y="13526"/>
                  <a:pt x="19145" y="13255"/>
                </a:cubicBezTo>
                <a:cubicBezTo>
                  <a:pt x="19145" y="12984"/>
                  <a:pt x="18926" y="12764"/>
                  <a:pt x="18655" y="12764"/>
                </a:cubicBezTo>
                <a:moveTo>
                  <a:pt x="18655" y="8836"/>
                </a:moveTo>
                <a:cubicBezTo>
                  <a:pt x="18112" y="8836"/>
                  <a:pt x="17673" y="9276"/>
                  <a:pt x="17673" y="9818"/>
                </a:cubicBezTo>
                <a:cubicBezTo>
                  <a:pt x="17673" y="10360"/>
                  <a:pt x="18112" y="10800"/>
                  <a:pt x="18655" y="10800"/>
                </a:cubicBezTo>
                <a:cubicBezTo>
                  <a:pt x="19197" y="10800"/>
                  <a:pt x="19636" y="10360"/>
                  <a:pt x="19636" y="9818"/>
                </a:cubicBezTo>
                <a:cubicBezTo>
                  <a:pt x="19636" y="9276"/>
                  <a:pt x="19197" y="8836"/>
                  <a:pt x="18655" y="8836"/>
                </a:cubicBezTo>
                <a:moveTo>
                  <a:pt x="20618" y="19636"/>
                </a:moveTo>
                <a:cubicBezTo>
                  <a:pt x="20618" y="20178"/>
                  <a:pt x="20179" y="20618"/>
                  <a:pt x="19636" y="20618"/>
                </a:cubicBezTo>
                <a:lnTo>
                  <a:pt x="16691" y="20618"/>
                </a:lnTo>
                <a:lnTo>
                  <a:pt x="16691" y="5891"/>
                </a:lnTo>
                <a:lnTo>
                  <a:pt x="19636" y="5891"/>
                </a:lnTo>
                <a:cubicBezTo>
                  <a:pt x="20179" y="5891"/>
                  <a:pt x="20618" y="6331"/>
                  <a:pt x="20618" y="6873"/>
                </a:cubicBezTo>
                <a:cubicBezTo>
                  <a:pt x="20618" y="6873"/>
                  <a:pt x="20618" y="19636"/>
                  <a:pt x="20618" y="19636"/>
                </a:cubicBezTo>
                <a:close/>
                <a:moveTo>
                  <a:pt x="15709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6873"/>
                </a:lnTo>
                <a:cubicBezTo>
                  <a:pt x="982" y="6331"/>
                  <a:pt x="1421" y="5891"/>
                  <a:pt x="1964" y="5891"/>
                </a:cubicBezTo>
                <a:lnTo>
                  <a:pt x="15709" y="5891"/>
                </a:lnTo>
                <a:cubicBezTo>
                  <a:pt x="15709" y="5891"/>
                  <a:pt x="15709" y="20618"/>
                  <a:pt x="15709" y="20618"/>
                </a:cubicBezTo>
                <a:close/>
                <a:moveTo>
                  <a:pt x="19636" y="4909"/>
                </a:moveTo>
                <a:lnTo>
                  <a:pt x="4909" y="4909"/>
                </a:lnTo>
                <a:lnTo>
                  <a:pt x="4909" y="2855"/>
                </a:lnTo>
                <a:cubicBezTo>
                  <a:pt x="5480" y="2653"/>
                  <a:pt x="5891" y="2113"/>
                  <a:pt x="5891" y="1473"/>
                </a:cubicBezTo>
                <a:cubicBezTo>
                  <a:pt x="5891" y="659"/>
                  <a:pt x="5231" y="0"/>
                  <a:pt x="4418" y="0"/>
                </a:cubicBezTo>
                <a:cubicBezTo>
                  <a:pt x="3605" y="0"/>
                  <a:pt x="2945" y="659"/>
                  <a:pt x="2945" y="1473"/>
                </a:cubicBezTo>
                <a:cubicBezTo>
                  <a:pt x="2945" y="2113"/>
                  <a:pt x="3357" y="2653"/>
                  <a:pt x="3927" y="2855"/>
                </a:cubicBezTo>
                <a:lnTo>
                  <a:pt x="3927" y="4909"/>
                </a:lnTo>
                <a:lnTo>
                  <a:pt x="1964" y="4909"/>
                </a:lnTo>
                <a:cubicBezTo>
                  <a:pt x="879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6873"/>
                </a:lnTo>
                <a:cubicBezTo>
                  <a:pt x="21600" y="5788"/>
                  <a:pt x="20721" y="4909"/>
                  <a:pt x="19636" y="4909"/>
                </a:cubicBezTo>
                <a:moveTo>
                  <a:pt x="18655" y="15709"/>
                </a:moveTo>
                <a:cubicBezTo>
                  <a:pt x="18383" y="15709"/>
                  <a:pt x="18164" y="15929"/>
                  <a:pt x="18164" y="16200"/>
                </a:cubicBezTo>
                <a:cubicBezTo>
                  <a:pt x="18164" y="16471"/>
                  <a:pt x="18383" y="16691"/>
                  <a:pt x="18655" y="16691"/>
                </a:cubicBezTo>
                <a:cubicBezTo>
                  <a:pt x="18926" y="16691"/>
                  <a:pt x="19145" y="16471"/>
                  <a:pt x="19145" y="16200"/>
                </a:cubicBezTo>
                <a:cubicBezTo>
                  <a:pt x="19145" y="15929"/>
                  <a:pt x="18926" y="15709"/>
                  <a:pt x="18655" y="15709"/>
                </a:cubicBezTo>
                <a:moveTo>
                  <a:pt x="4199" y="16691"/>
                </a:moveTo>
                <a:lnTo>
                  <a:pt x="12492" y="16691"/>
                </a:lnTo>
                <a:cubicBezTo>
                  <a:pt x="12744" y="16387"/>
                  <a:pt x="12971" y="16064"/>
                  <a:pt x="13152" y="15709"/>
                </a:cubicBezTo>
                <a:lnTo>
                  <a:pt x="3539" y="15709"/>
                </a:lnTo>
                <a:cubicBezTo>
                  <a:pt x="3720" y="16064"/>
                  <a:pt x="3947" y="16387"/>
                  <a:pt x="4199" y="16691"/>
                </a:cubicBezTo>
                <a:moveTo>
                  <a:pt x="8345" y="7855"/>
                </a:moveTo>
                <a:cubicBezTo>
                  <a:pt x="7196" y="7855"/>
                  <a:pt x="6138" y="8224"/>
                  <a:pt x="5263" y="8836"/>
                </a:cubicBezTo>
                <a:lnTo>
                  <a:pt x="11428" y="8836"/>
                </a:lnTo>
                <a:cubicBezTo>
                  <a:pt x="10553" y="8224"/>
                  <a:pt x="9495" y="7855"/>
                  <a:pt x="8345" y="7855"/>
                </a:cubicBezTo>
                <a:moveTo>
                  <a:pt x="8345" y="18655"/>
                </a:moveTo>
                <a:cubicBezTo>
                  <a:pt x="9495" y="18655"/>
                  <a:pt x="10553" y="18285"/>
                  <a:pt x="11428" y="17673"/>
                </a:cubicBezTo>
                <a:lnTo>
                  <a:pt x="5263" y="17673"/>
                </a:lnTo>
                <a:cubicBezTo>
                  <a:pt x="6138" y="18285"/>
                  <a:pt x="7196" y="18655"/>
                  <a:pt x="8345" y="18655"/>
                </a:cubicBezTo>
                <a:moveTo>
                  <a:pt x="12492" y="9818"/>
                </a:moveTo>
                <a:lnTo>
                  <a:pt x="4199" y="9818"/>
                </a:lnTo>
                <a:cubicBezTo>
                  <a:pt x="3947" y="10122"/>
                  <a:pt x="3720" y="10446"/>
                  <a:pt x="3539" y="10800"/>
                </a:cubicBezTo>
                <a:lnTo>
                  <a:pt x="13152" y="10800"/>
                </a:lnTo>
                <a:cubicBezTo>
                  <a:pt x="12971" y="10446"/>
                  <a:pt x="12744" y="10122"/>
                  <a:pt x="12492" y="9818"/>
                </a:cubicBezTo>
                <a:moveTo>
                  <a:pt x="13538" y="11782"/>
                </a:moveTo>
                <a:lnTo>
                  <a:pt x="3153" y="11782"/>
                </a:lnTo>
                <a:cubicBezTo>
                  <a:pt x="3063" y="12098"/>
                  <a:pt x="3001" y="12427"/>
                  <a:pt x="2970" y="12764"/>
                </a:cubicBezTo>
                <a:lnTo>
                  <a:pt x="13721" y="12764"/>
                </a:lnTo>
                <a:cubicBezTo>
                  <a:pt x="13690" y="12427"/>
                  <a:pt x="13628" y="12098"/>
                  <a:pt x="13538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5" name="Shape 2695"/>
          <p:cNvSpPr/>
          <p:nvPr/>
        </p:nvSpPr>
        <p:spPr>
          <a:xfrm>
            <a:off x="21083103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5218"/>
                </a:moveTo>
                <a:cubicBezTo>
                  <a:pt x="14727" y="15490"/>
                  <a:pt x="14947" y="15709"/>
                  <a:pt x="15218" y="15709"/>
                </a:cubicBezTo>
                <a:cubicBezTo>
                  <a:pt x="15490" y="15709"/>
                  <a:pt x="15709" y="15490"/>
                  <a:pt x="15709" y="15218"/>
                </a:cubicBezTo>
                <a:cubicBezTo>
                  <a:pt x="15709" y="14947"/>
                  <a:pt x="15490" y="14727"/>
                  <a:pt x="15218" y="14727"/>
                </a:cubicBezTo>
                <a:cubicBezTo>
                  <a:pt x="14947" y="14727"/>
                  <a:pt x="14727" y="14947"/>
                  <a:pt x="14727" y="15218"/>
                </a:cubicBezTo>
                <a:moveTo>
                  <a:pt x="20618" y="12764"/>
                </a:moveTo>
                <a:lnTo>
                  <a:pt x="17673" y="12764"/>
                </a:lnTo>
                <a:lnTo>
                  <a:pt x="17673" y="3927"/>
                </a:lnTo>
                <a:lnTo>
                  <a:pt x="3927" y="3927"/>
                </a:lnTo>
                <a:lnTo>
                  <a:pt x="3927" y="9510"/>
                </a:lnTo>
                <a:cubicBezTo>
                  <a:pt x="3308" y="10442"/>
                  <a:pt x="2945" y="11560"/>
                  <a:pt x="2945" y="12764"/>
                </a:cubicBezTo>
                <a:lnTo>
                  <a:pt x="982" y="12764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2764"/>
                  <a:pt x="20618" y="12764"/>
                </a:cubicBezTo>
                <a:close/>
                <a:moveTo>
                  <a:pt x="9327" y="12764"/>
                </a:moveTo>
                <a:cubicBezTo>
                  <a:pt x="9327" y="13035"/>
                  <a:pt x="9108" y="13255"/>
                  <a:pt x="8836" y="13255"/>
                </a:cubicBezTo>
                <a:cubicBezTo>
                  <a:pt x="8565" y="13255"/>
                  <a:pt x="8345" y="13035"/>
                  <a:pt x="8345" y="12764"/>
                </a:cubicBezTo>
                <a:cubicBezTo>
                  <a:pt x="8345" y="12493"/>
                  <a:pt x="8565" y="12273"/>
                  <a:pt x="8836" y="12273"/>
                </a:cubicBezTo>
                <a:cubicBezTo>
                  <a:pt x="9108" y="12273"/>
                  <a:pt x="9327" y="12493"/>
                  <a:pt x="9327" y="12764"/>
                </a:cubicBezTo>
                <a:moveTo>
                  <a:pt x="8836" y="7855"/>
                </a:moveTo>
                <a:cubicBezTo>
                  <a:pt x="10295" y="7855"/>
                  <a:pt x="11601" y="8494"/>
                  <a:pt x="12500" y="9504"/>
                </a:cubicBezTo>
                <a:lnTo>
                  <a:pt x="10301" y="12846"/>
                </a:lnTo>
                <a:cubicBezTo>
                  <a:pt x="10302" y="12818"/>
                  <a:pt x="10309" y="12792"/>
                  <a:pt x="10309" y="12764"/>
                </a:cubicBezTo>
                <a:cubicBezTo>
                  <a:pt x="10309" y="11951"/>
                  <a:pt x="9649" y="11291"/>
                  <a:pt x="8836" y="11291"/>
                </a:cubicBezTo>
                <a:cubicBezTo>
                  <a:pt x="8023" y="11291"/>
                  <a:pt x="7364" y="11951"/>
                  <a:pt x="7364" y="12764"/>
                </a:cubicBezTo>
                <a:cubicBezTo>
                  <a:pt x="7364" y="13577"/>
                  <a:pt x="8023" y="14236"/>
                  <a:pt x="8836" y="14236"/>
                </a:cubicBezTo>
                <a:cubicBezTo>
                  <a:pt x="9072" y="14236"/>
                  <a:pt x="9293" y="14175"/>
                  <a:pt x="9491" y="14076"/>
                </a:cubicBezTo>
                <a:lnTo>
                  <a:pt x="8925" y="14938"/>
                </a:lnTo>
                <a:lnTo>
                  <a:pt x="8639" y="14741"/>
                </a:lnTo>
                <a:lnTo>
                  <a:pt x="7962" y="16664"/>
                </a:lnTo>
                <a:lnTo>
                  <a:pt x="8494" y="17043"/>
                </a:lnTo>
                <a:lnTo>
                  <a:pt x="8881" y="16700"/>
                </a:lnTo>
                <a:lnTo>
                  <a:pt x="10064" y="16936"/>
                </a:lnTo>
                <a:lnTo>
                  <a:pt x="9561" y="16099"/>
                </a:lnTo>
                <a:lnTo>
                  <a:pt x="10020" y="15694"/>
                </a:lnTo>
                <a:lnTo>
                  <a:pt x="9423" y="15282"/>
                </a:lnTo>
                <a:lnTo>
                  <a:pt x="9736" y="15491"/>
                </a:lnTo>
                <a:lnTo>
                  <a:pt x="13114" y="10359"/>
                </a:lnTo>
                <a:cubicBezTo>
                  <a:pt x="13514" y="11069"/>
                  <a:pt x="13745" y="11889"/>
                  <a:pt x="13745" y="12764"/>
                </a:cubicBezTo>
                <a:cubicBezTo>
                  <a:pt x="13745" y="15475"/>
                  <a:pt x="11548" y="17673"/>
                  <a:pt x="8836" y="17673"/>
                </a:cubicBezTo>
                <a:cubicBezTo>
                  <a:pt x="6125" y="17673"/>
                  <a:pt x="3927" y="15475"/>
                  <a:pt x="3927" y="12764"/>
                </a:cubicBezTo>
                <a:cubicBezTo>
                  <a:pt x="3927" y="10053"/>
                  <a:pt x="6125" y="7855"/>
                  <a:pt x="8836" y="7855"/>
                </a:cubicBezTo>
                <a:moveTo>
                  <a:pt x="14727" y="5891"/>
                </a:moveTo>
                <a:cubicBezTo>
                  <a:pt x="14186" y="5891"/>
                  <a:pt x="13745" y="6331"/>
                  <a:pt x="13745" y="6873"/>
                </a:cubicBezTo>
                <a:cubicBezTo>
                  <a:pt x="13745" y="7062"/>
                  <a:pt x="13802" y="7237"/>
                  <a:pt x="13894" y="7386"/>
                </a:cubicBezTo>
                <a:lnTo>
                  <a:pt x="13057" y="8659"/>
                </a:lnTo>
                <a:cubicBezTo>
                  <a:pt x="11987" y="7558"/>
                  <a:pt x="10492" y="6873"/>
                  <a:pt x="8836" y="6873"/>
                </a:cubicBezTo>
                <a:cubicBezTo>
                  <a:pt x="7325" y="6873"/>
                  <a:pt x="5952" y="7447"/>
                  <a:pt x="4909" y="8382"/>
                </a:cubicBezTo>
                <a:lnTo>
                  <a:pt x="4909" y="4909"/>
                </a:lnTo>
                <a:lnTo>
                  <a:pt x="16691" y="4909"/>
                </a:lnTo>
                <a:lnTo>
                  <a:pt x="16691" y="16691"/>
                </a:lnTo>
                <a:lnTo>
                  <a:pt x="13219" y="16691"/>
                </a:lnTo>
                <a:cubicBezTo>
                  <a:pt x="14154" y="15648"/>
                  <a:pt x="14727" y="14275"/>
                  <a:pt x="14727" y="12764"/>
                </a:cubicBezTo>
                <a:cubicBezTo>
                  <a:pt x="14727" y="11536"/>
                  <a:pt x="14351" y="10398"/>
                  <a:pt x="13709" y="9453"/>
                </a:cubicBezTo>
                <a:lnTo>
                  <a:pt x="14764" y="7851"/>
                </a:lnTo>
                <a:cubicBezTo>
                  <a:pt x="15288" y="7832"/>
                  <a:pt x="15709" y="7402"/>
                  <a:pt x="15709" y="6873"/>
                </a:cubicBezTo>
                <a:cubicBezTo>
                  <a:pt x="15709" y="6331"/>
                  <a:pt x="15269" y="5891"/>
                  <a:pt x="14727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745"/>
                </a:lnTo>
                <a:lnTo>
                  <a:pt x="3034" y="13745"/>
                </a:lnTo>
                <a:cubicBezTo>
                  <a:pt x="3502" y="16531"/>
                  <a:pt x="5918" y="18655"/>
                  <a:pt x="8836" y="18655"/>
                </a:cubicBezTo>
                <a:cubicBezTo>
                  <a:pt x="10040" y="18655"/>
                  <a:pt x="11158" y="18292"/>
                  <a:pt x="12090" y="17673"/>
                </a:cubicBezTo>
                <a:lnTo>
                  <a:pt x="17673" y="17673"/>
                </a:lnTo>
                <a:lnTo>
                  <a:pt x="17673" y="13745"/>
                </a:lnTo>
                <a:lnTo>
                  <a:pt x="20618" y="13745"/>
                </a:lnTo>
                <a:cubicBezTo>
                  <a:pt x="20618" y="13745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6" name="Shape 2696"/>
          <p:cNvSpPr/>
          <p:nvPr/>
        </p:nvSpPr>
        <p:spPr>
          <a:xfrm>
            <a:off x="22149625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764" y="19636"/>
                </a:moveTo>
                <a:cubicBezTo>
                  <a:pt x="12764" y="20178"/>
                  <a:pt x="12324" y="20618"/>
                  <a:pt x="11782" y="20618"/>
                </a:cubicBezTo>
                <a:lnTo>
                  <a:pt x="9818" y="20618"/>
                </a:lnTo>
                <a:cubicBezTo>
                  <a:pt x="9276" y="20618"/>
                  <a:pt x="8836" y="20178"/>
                  <a:pt x="8836" y="19636"/>
                </a:cubicBezTo>
                <a:lnTo>
                  <a:pt x="8836" y="17673"/>
                </a:lnTo>
                <a:cubicBezTo>
                  <a:pt x="8836" y="17131"/>
                  <a:pt x="9276" y="16691"/>
                  <a:pt x="9818" y="16691"/>
                </a:cubicBezTo>
                <a:lnTo>
                  <a:pt x="11782" y="16691"/>
                </a:lnTo>
                <a:cubicBezTo>
                  <a:pt x="12324" y="16691"/>
                  <a:pt x="12764" y="17131"/>
                  <a:pt x="12764" y="17673"/>
                </a:cubicBezTo>
                <a:cubicBezTo>
                  <a:pt x="12764" y="17673"/>
                  <a:pt x="12764" y="19636"/>
                  <a:pt x="12764" y="19636"/>
                </a:cubicBezTo>
                <a:close/>
                <a:moveTo>
                  <a:pt x="11782" y="15709"/>
                </a:moveTo>
                <a:lnTo>
                  <a:pt x="9818" y="15709"/>
                </a:lnTo>
                <a:cubicBezTo>
                  <a:pt x="8734" y="15709"/>
                  <a:pt x="7855" y="16588"/>
                  <a:pt x="7855" y="17673"/>
                </a:cubicBezTo>
                <a:lnTo>
                  <a:pt x="7855" y="19636"/>
                </a:lnTo>
                <a:cubicBezTo>
                  <a:pt x="7855" y="20721"/>
                  <a:pt x="8734" y="21600"/>
                  <a:pt x="9818" y="21600"/>
                </a:cubicBezTo>
                <a:lnTo>
                  <a:pt x="11782" y="21600"/>
                </a:lnTo>
                <a:cubicBezTo>
                  <a:pt x="12866" y="21600"/>
                  <a:pt x="13745" y="20721"/>
                  <a:pt x="13745" y="19636"/>
                </a:cubicBezTo>
                <a:lnTo>
                  <a:pt x="13745" y="17673"/>
                </a:lnTo>
                <a:cubicBezTo>
                  <a:pt x="13745" y="16588"/>
                  <a:pt x="12866" y="15709"/>
                  <a:pt x="11782" y="157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cubicBezTo>
                  <a:pt x="17131" y="20618"/>
                  <a:pt x="16691" y="20178"/>
                  <a:pt x="16691" y="19636"/>
                </a:cubicBezTo>
                <a:lnTo>
                  <a:pt x="16691" y="17673"/>
                </a:lnTo>
                <a:cubicBezTo>
                  <a:pt x="16691" y="17131"/>
                  <a:pt x="17131" y="16691"/>
                  <a:pt x="17673" y="16691"/>
                </a:cubicBezTo>
                <a:lnTo>
                  <a:pt x="19636" y="16691"/>
                </a:lnTo>
                <a:cubicBezTo>
                  <a:pt x="20178" y="16691"/>
                  <a:pt x="20618" y="17131"/>
                  <a:pt x="20618" y="17673"/>
                </a:cubicBezTo>
                <a:cubicBezTo>
                  <a:pt x="20618" y="17673"/>
                  <a:pt x="20618" y="19636"/>
                  <a:pt x="20618" y="19636"/>
                </a:cubicBezTo>
                <a:close/>
                <a:moveTo>
                  <a:pt x="19636" y="15709"/>
                </a:moveTo>
                <a:lnTo>
                  <a:pt x="17673" y="15709"/>
                </a:lnTo>
                <a:cubicBezTo>
                  <a:pt x="16588" y="15709"/>
                  <a:pt x="15709" y="16588"/>
                  <a:pt x="15709" y="17673"/>
                </a:cubicBezTo>
                <a:lnTo>
                  <a:pt x="15709" y="19636"/>
                </a:lnTo>
                <a:cubicBezTo>
                  <a:pt x="15709" y="20721"/>
                  <a:pt x="16588" y="21600"/>
                  <a:pt x="17673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7673"/>
                </a:lnTo>
                <a:cubicBezTo>
                  <a:pt x="21600" y="16588"/>
                  <a:pt x="20721" y="15709"/>
                  <a:pt x="19636" y="15709"/>
                </a:cubicBezTo>
                <a:moveTo>
                  <a:pt x="4909" y="19636"/>
                </a:moveTo>
                <a:cubicBezTo>
                  <a:pt x="4909" y="20178"/>
                  <a:pt x="4469" y="20618"/>
                  <a:pt x="3927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7673"/>
                </a:lnTo>
                <a:cubicBezTo>
                  <a:pt x="982" y="17131"/>
                  <a:pt x="1422" y="16691"/>
                  <a:pt x="1964" y="16691"/>
                </a:cubicBezTo>
                <a:lnTo>
                  <a:pt x="3927" y="16691"/>
                </a:lnTo>
                <a:cubicBezTo>
                  <a:pt x="4469" y="16691"/>
                  <a:pt x="4909" y="17131"/>
                  <a:pt x="4909" y="17673"/>
                </a:cubicBezTo>
                <a:cubicBezTo>
                  <a:pt x="4909" y="17673"/>
                  <a:pt x="4909" y="19636"/>
                  <a:pt x="4909" y="19636"/>
                </a:cubicBezTo>
                <a:close/>
                <a:moveTo>
                  <a:pt x="3927" y="15709"/>
                </a:moveTo>
                <a:lnTo>
                  <a:pt x="1964" y="15709"/>
                </a:lnTo>
                <a:cubicBezTo>
                  <a:pt x="879" y="15709"/>
                  <a:pt x="0" y="16588"/>
                  <a:pt x="0" y="17673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3927" y="21600"/>
                </a:lnTo>
                <a:cubicBezTo>
                  <a:pt x="5012" y="21600"/>
                  <a:pt x="5891" y="20721"/>
                  <a:pt x="5891" y="19636"/>
                </a:cubicBezTo>
                <a:lnTo>
                  <a:pt x="5891" y="17673"/>
                </a:lnTo>
                <a:cubicBezTo>
                  <a:pt x="5891" y="16588"/>
                  <a:pt x="5012" y="15709"/>
                  <a:pt x="3927" y="15709"/>
                </a:cubicBezTo>
                <a:moveTo>
                  <a:pt x="2945" y="14727"/>
                </a:moveTo>
                <a:cubicBezTo>
                  <a:pt x="3217" y="14727"/>
                  <a:pt x="3436" y="14507"/>
                  <a:pt x="3436" y="14236"/>
                </a:cubicBezTo>
                <a:lnTo>
                  <a:pt x="3436" y="10800"/>
                </a:lnTo>
                <a:lnTo>
                  <a:pt x="10309" y="10800"/>
                </a:lnTo>
                <a:lnTo>
                  <a:pt x="10309" y="14236"/>
                </a:lnTo>
                <a:cubicBezTo>
                  <a:pt x="10309" y="14507"/>
                  <a:pt x="10529" y="14727"/>
                  <a:pt x="10800" y="14727"/>
                </a:cubicBezTo>
                <a:cubicBezTo>
                  <a:pt x="11071" y="14727"/>
                  <a:pt x="11291" y="14507"/>
                  <a:pt x="11291" y="14236"/>
                </a:cubicBezTo>
                <a:lnTo>
                  <a:pt x="11291" y="10800"/>
                </a:lnTo>
                <a:lnTo>
                  <a:pt x="18164" y="10800"/>
                </a:lnTo>
                <a:lnTo>
                  <a:pt x="18164" y="14236"/>
                </a:lnTo>
                <a:cubicBezTo>
                  <a:pt x="18164" y="14507"/>
                  <a:pt x="18384" y="14727"/>
                  <a:pt x="18655" y="14727"/>
                </a:cubicBezTo>
                <a:cubicBezTo>
                  <a:pt x="18926" y="14727"/>
                  <a:pt x="19145" y="14507"/>
                  <a:pt x="19145" y="14236"/>
                </a:cubicBezTo>
                <a:lnTo>
                  <a:pt x="19145" y="10309"/>
                </a:lnTo>
                <a:cubicBezTo>
                  <a:pt x="19145" y="10038"/>
                  <a:pt x="18926" y="9818"/>
                  <a:pt x="18655" y="9818"/>
                </a:cubicBezTo>
                <a:lnTo>
                  <a:pt x="11291" y="9818"/>
                </a:lnTo>
                <a:lnTo>
                  <a:pt x="11291" y="7364"/>
                </a:lnTo>
                <a:cubicBezTo>
                  <a:pt x="11291" y="7093"/>
                  <a:pt x="11071" y="6873"/>
                  <a:pt x="10800" y="6873"/>
                </a:cubicBezTo>
                <a:cubicBezTo>
                  <a:pt x="10529" y="6873"/>
                  <a:pt x="10309" y="7093"/>
                  <a:pt x="10309" y="7364"/>
                </a:cubicBezTo>
                <a:lnTo>
                  <a:pt x="10309" y="9818"/>
                </a:lnTo>
                <a:lnTo>
                  <a:pt x="2945" y="9818"/>
                </a:lnTo>
                <a:cubicBezTo>
                  <a:pt x="2674" y="9818"/>
                  <a:pt x="2455" y="10038"/>
                  <a:pt x="2455" y="10309"/>
                </a:cubicBezTo>
                <a:lnTo>
                  <a:pt x="2455" y="14236"/>
                </a:lnTo>
                <a:cubicBezTo>
                  <a:pt x="2455" y="14507"/>
                  <a:pt x="2674" y="14727"/>
                  <a:pt x="2945" y="14727"/>
                </a:cubicBezTo>
                <a:moveTo>
                  <a:pt x="8836" y="1964"/>
                </a:moveTo>
                <a:cubicBezTo>
                  <a:pt x="8836" y="1422"/>
                  <a:pt x="9276" y="982"/>
                  <a:pt x="9818" y="982"/>
                </a:cubicBezTo>
                <a:lnTo>
                  <a:pt x="11782" y="982"/>
                </a:lnTo>
                <a:cubicBezTo>
                  <a:pt x="12324" y="982"/>
                  <a:pt x="12764" y="1422"/>
                  <a:pt x="12764" y="1964"/>
                </a:cubicBezTo>
                <a:lnTo>
                  <a:pt x="12764" y="3927"/>
                </a:lnTo>
                <a:cubicBezTo>
                  <a:pt x="12764" y="4469"/>
                  <a:pt x="12324" y="4909"/>
                  <a:pt x="11782" y="4909"/>
                </a:cubicBezTo>
                <a:lnTo>
                  <a:pt x="9818" y="4909"/>
                </a:lnTo>
                <a:cubicBezTo>
                  <a:pt x="9276" y="4909"/>
                  <a:pt x="8836" y="4469"/>
                  <a:pt x="8836" y="3927"/>
                </a:cubicBezTo>
                <a:cubicBezTo>
                  <a:pt x="8836" y="3927"/>
                  <a:pt x="8836" y="1964"/>
                  <a:pt x="8836" y="1964"/>
                </a:cubicBezTo>
                <a:close/>
                <a:moveTo>
                  <a:pt x="9818" y="5891"/>
                </a:moveTo>
                <a:lnTo>
                  <a:pt x="11782" y="5891"/>
                </a:lnTo>
                <a:cubicBezTo>
                  <a:pt x="12866" y="5891"/>
                  <a:pt x="13745" y="5012"/>
                  <a:pt x="13745" y="3927"/>
                </a:cubicBezTo>
                <a:lnTo>
                  <a:pt x="13745" y="1964"/>
                </a:lnTo>
                <a:cubicBezTo>
                  <a:pt x="13745" y="879"/>
                  <a:pt x="12866" y="0"/>
                  <a:pt x="11782" y="0"/>
                </a:cubicBezTo>
                <a:lnTo>
                  <a:pt x="9818" y="0"/>
                </a:lnTo>
                <a:cubicBezTo>
                  <a:pt x="8734" y="0"/>
                  <a:pt x="7855" y="879"/>
                  <a:pt x="7855" y="1964"/>
                </a:cubicBezTo>
                <a:lnTo>
                  <a:pt x="7855" y="3927"/>
                </a:lnTo>
                <a:cubicBezTo>
                  <a:pt x="7855" y="5012"/>
                  <a:pt x="8734" y="5891"/>
                  <a:pt x="9818" y="58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7" name="Shape 2697"/>
          <p:cNvSpPr/>
          <p:nvPr/>
        </p:nvSpPr>
        <p:spPr>
          <a:xfrm>
            <a:off x="12576318" y="4986129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020" y="13745"/>
                </a:moveTo>
                <a:lnTo>
                  <a:pt x="4860" y="13745"/>
                </a:lnTo>
                <a:lnTo>
                  <a:pt x="4860" y="15709"/>
                </a:lnTo>
                <a:lnTo>
                  <a:pt x="7020" y="15709"/>
                </a:lnTo>
                <a:cubicBezTo>
                  <a:pt x="7020" y="15709"/>
                  <a:pt x="7020" y="13745"/>
                  <a:pt x="7020" y="13745"/>
                </a:cubicBezTo>
                <a:close/>
                <a:moveTo>
                  <a:pt x="5400" y="10800"/>
                </a:moveTo>
                <a:lnTo>
                  <a:pt x="3240" y="10800"/>
                </a:lnTo>
                <a:lnTo>
                  <a:pt x="3240" y="12764"/>
                </a:lnTo>
                <a:lnTo>
                  <a:pt x="5400" y="12764"/>
                </a:lnTo>
                <a:cubicBezTo>
                  <a:pt x="5400" y="12764"/>
                  <a:pt x="5400" y="10800"/>
                  <a:pt x="5400" y="10800"/>
                </a:cubicBezTo>
                <a:close/>
                <a:moveTo>
                  <a:pt x="5940" y="18655"/>
                </a:moveTo>
                <a:lnTo>
                  <a:pt x="15660" y="18655"/>
                </a:lnTo>
                <a:lnTo>
                  <a:pt x="15660" y="16691"/>
                </a:lnTo>
                <a:lnTo>
                  <a:pt x="5940" y="16691"/>
                </a:lnTo>
                <a:cubicBezTo>
                  <a:pt x="5940" y="16691"/>
                  <a:pt x="5940" y="18655"/>
                  <a:pt x="5940" y="18655"/>
                </a:cubicBezTo>
                <a:close/>
                <a:moveTo>
                  <a:pt x="20520" y="19636"/>
                </a:moveTo>
                <a:cubicBezTo>
                  <a:pt x="20520" y="20179"/>
                  <a:pt x="20036" y="20618"/>
                  <a:pt x="19440" y="20618"/>
                </a:cubicBezTo>
                <a:lnTo>
                  <a:pt x="2160" y="20618"/>
                </a:lnTo>
                <a:cubicBezTo>
                  <a:pt x="1564" y="20618"/>
                  <a:pt x="1080" y="20179"/>
                  <a:pt x="1080" y="19636"/>
                </a:cubicBezTo>
                <a:lnTo>
                  <a:pt x="1080" y="9818"/>
                </a:lnTo>
                <a:cubicBezTo>
                  <a:pt x="1080" y="9276"/>
                  <a:pt x="1564" y="8836"/>
                  <a:pt x="2160" y="8836"/>
                </a:cubicBezTo>
                <a:lnTo>
                  <a:pt x="19440" y="8836"/>
                </a:lnTo>
                <a:cubicBezTo>
                  <a:pt x="20036" y="8836"/>
                  <a:pt x="20520" y="9276"/>
                  <a:pt x="20520" y="9818"/>
                </a:cubicBezTo>
                <a:cubicBezTo>
                  <a:pt x="20520" y="9818"/>
                  <a:pt x="20520" y="19636"/>
                  <a:pt x="20520" y="19636"/>
                </a:cubicBezTo>
                <a:close/>
                <a:moveTo>
                  <a:pt x="19440" y="7855"/>
                </a:moveTo>
                <a:lnTo>
                  <a:pt x="2160" y="7855"/>
                </a:lnTo>
                <a:cubicBezTo>
                  <a:pt x="967" y="7855"/>
                  <a:pt x="0" y="8734"/>
                  <a:pt x="0" y="9818"/>
                </a:cubicBezTo>
                <a:lnTo>
                  <a:pt x="0" y="19636"/>
                </a:lnTo>
                <a:cubicBezTo>
                  <a:pt x="0" y="20721"/>
                  <a:pt x="967" y="21600"/>
                  <a:pt x="2160" y="21600"/>
                </a:cubicBezTo>
                <a:lnTo>
                  <a:pt x="19440" y="21600"/>
                </a:lnTo>
                <a:cubicBezTo>
                  <a:pt x="20633" y="21600"/>
                  <a:pt x="21600" y="20721"/>
                  <a:pt x="21600" y="19636"/>
                </a:cubicBezTo>
                <a:lnTo>
                  <a:pt x="21600" y="9818"/>
                </a:lnTo>
                <a:cubicBezTo>
                  <a:pt x="21600" y="8734"/>
                  <a:pt x="20633" y="7855"/>
                  <a:pt x="19440" y="7855"/>
                </a:cubicBezTo>
                <a:moveTo>
                  <a:pt x="16200" y="12764"/>
                </a:moveTo>
                <a:lnTo>
                  <a:pt x="18360" y="12764"/>
                </a:lnTo>
                <a:lnTo>
                  <a:pt x="18360" y="10800"/>
                </a:lnTo>
                <a:lnTo>
                  <a:pt x="16200" y="10800"/>
                </a:lnTo>
                <a:cubicBezTo>
                  <a:pt x="16200" y="10800"/>
                  <a:pt x="16200" y="12764"/>
                  <a:pt x="16200" y="12764"/>
                </a:cubicBezTo>
                <a:close/>
                <a:moveTo>
                  <a:pt x="14580" y="15709"/>
                </a:moveTo>
                <a:lnTo>
                  <a:pt x="16740" y="15709"/>
                </a:lnTo>
                <a:lnTo>
                  <a:pt x="16740" y="13745"/>
                </a:lnTo>
                <a:lnTo>
                  <a:pt x="14580" y="13745"/>
                </a:lnTo>
                <a:cubicBezTo>
                  <a:pt x="14580" y="13745"/>
                  <a:pt x="14580" y="15709"/>
                  <a:pt x="14580" y="15709"/>
                </a:cubicBezTo>
                <a:close/>
                <a:moveTo>
                  <a:pt x="10800" y="0"/>
                </a:moveTo>
                <a:lnTo>
                  <a:pt x="6480" y="3927"/>
                </a:lnTo>
                <a:lnTo>
                  <a:pt x="15120" y="3927"/>
                </a:lnTo>
                <a:cubicBezTo>
                  <a:pt x="15120" y="3927"/>
                  <a:pt x="10800" y="0"/>
                  <a:pt x="10800" y="0"/>
                </a:cubicBezTo>
                <a:close/>
                <a:moveTo>
                  <a:pt x="8640" y="10800"/>
                </a:moveTo>
                <a:lnTo>
                  <a:pt x="6480" y="10800"/>
                </a:lnTo>
                <a:lnTo>
                  <a:pt x="6480" y="12764"/>
                </a:lnTo>
                <a:lnTo>
                  <a:pt x="8640" y="12764"/>
                </a:lnTo>
                <a:cubicBezTo>
                  <a:pt x="8640" y="12764"/>
                  <a:pt x="8640" y="10800"/>
                  <a:pt x="8640" y="10800"/>
                </a:cubicBezTo>
                <a:close/>
                <a:moveTo>
                  <a:pt x="11340" y="15709"/>
                </a:moveTo>
                <a:lnTo>
                  <a:pt x="13500" y="15709"/>
                </a:lnTo>
                <a:lnTo>
                  <a:pt x="13500" y="13745"/>
                </a:lnTo>
                <a:lnTo>
                  <a:pt x="11340" y="13745"/>
                </a:lnTo>
                <a:cubicBezTo>
                  <a:pt x="11340" y="13745"/>
                  <a:pt x="11340" y="15709"/>
                  <a:pt x="11340" y="15709"/>
                </a:cubicBezTo>
                <a:close/>
                <a:moveTo>
                  <a:pt x="15120" y="10800"/>
                </a:moveTo>
                <a:lnTo>
                  <a:pt x="12960" y="10800"/>
                </a:lnTo>
                <a:lnTo>
                  <a:pt x="12960" y="12764"/>
                </a:lnTo>
                <a:lnTo>
                  <a:pt x="15120" y="12764"/>
                </a:lnTo>
                <a:cubicBezTo>
                  <a:pt x="15120" y="12764"/>
                  <a:pt x="15120" y="10800"/>
                  <a:pt x="15120" y="10800"/>
                </a:cubicBezTo>
                <a:close/>
                <a:moveTo>
                  <a:pt x="11880" y="10800"/>
                </a:moveTo>
                <a:lnTo>
                  <a:pt x="9720" y="10800"/>
                </a:lnTo>
                <a:lnTo>
                  <a:pt x="9720" y="12764"/>
                </a:lnTo>
                <a:lnTo>
                  <a:pt x="11880" y="12764"/>
                </a:lnTo>
                <a:cubicBezTo>
                  <a:pt x="11880" y="12764"/>
                  <a:pt x="11880" y="10800"/>
                  <a:pt x="11880" y="10800"/>
                </a:cubicBezTo>
                <a:close/>
                <a:moveTo>
                  <a:pt x="8100" y="15709"/>
                </a:moveTo>
                <a:lnTo>
                  <a:pt x="10260" y="15709"/>
                </a:lnTo>
                <a:lnTo>
                  <a:pt x="10260" y="13745"/>
                </a:lnTo>
                <a:lnTo>
                  <a:pt x="8100" y="13745"/>
                </a:lnTo>
                <a:cubicBezTo>
                  <a:pt x="8100" y="13745"/>
                  <a:pt x="8100" y="15709"/>
                  <a:pt x="8100" y="15709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8" name="Shape 2698"/>
          <p:cNvSpPr/>
          <p:nvPr/>
        </p:nvSpPr>
        <p:spPr>
          <a:xfrm>
            <a:off x="13642843" y="4986129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940" y="10800"/>
                </a:moveTo>
                <a:lnTo>
                  <a:pt x="15660" y="10800"/>
                </a:lnTo>
                <a:lnTo>
                  <a:pt x="15660" y="8836"/>
                </a:lnTo>
                <a:lnTo>
                  <a:pt x="5940" y="8836"/>
                </a:lnTo>
                <a:cubicBezTo>
                  <a:pt x="5940" y="8836"/>
                  <a:pt x="5940" y="10800"/>
                  <a:pt x="5940" y="10800"/>
                </a:cubicBezTo>
                <a:close/>
                <a:moveTo>
                  <a:pt x="5400" y="2945"/>
                </a:moveTo>
                <a:lnTo>
                  <a:pt x="3240" y="2945"/>
                </a:lnTo>
                <a:lnTo>
                  <a:pt x="3240" y="4909"/>
                </a:lnTo>
                <a:lnTo>
                  <a:pt x="5400" y="4909"/>
                </a:lnTo>
                <a:cubicBezTo>
                  <a:pt x="5400" y="4909"/>
                  <a:pt x="5400" y="2945"/>
                  <a:pt x="5400" y="2945"/>
                </a:cubicBezTo>
                <a:close/>
                <a:moveTo>
                  <a:pt x="7020" y="5891"/>
                </a:moveTo>
                <a:lnTo>
                  <a:pt x="4860" y="5891"/>
                </a:lnTo>
                <a:lnTo>
                  <a:pt x="4860" y="7855"/>
                </a:lnTo>
                <a:lnTo>
                  <a:pt x="7020" y="7855"/>
                </a:lnTo>
                <a:cubicBezTo>
                  <a:pt x="7020" y="7855"/>
                  <a:pt x="7020" y="5891"/>
                  <a:pt x="7020" y="5891"/>
                </a:cubicBezTo>
                <a:close/>
                <a:moveTo>
                  <a:pt x="14580" y="7855"/>
                </a:moveTo>
                <a:lnTo>
                  <a:pt x="16740" y="7855"/>
                </a:lnTo>
                <a:lnTo>
                  <a:pt x="16740" y="5891"/>
                </a:lnTo>
                <a:lnTo>
                  <a:pt x="14580" y="5891"/>
                </a:lnTo>
                <a:cubicBezTo>
                  <a:pt x="14580" y="5891"/>
                  <a:pt x="14580" y="7855"/>
                  <a:pt x="14580" y="7855"/>
                </a:cubicBezTo>
                <a:close/>
                <a:moveTo>
                  <a:pt x="20520" y="11782"/>
                </a:moveTo>
                <a:cubicBezTo>
                  <a:pt x="20520" y="12324"/>
                  <a:pt x="20036" y="12764"/>
                  <a:pt x="19440" y="12764"/>
                </a:cubicBezTo>
                <a:lnTo>
                  <a:pt x="2160" y="12764"/>
                </a:lnTo>
                <a:cubicBezTo>
                  <a:pt x="1564" y="12764"/>
                  <a:pt x="1080" y="12324"/>
                  <a:pt x="1080" y="11782"/>
                </a:cubicBezTo>
                <a:lnTo>
                  <a:pt x="1080" y="1964"/>
                </a:lnTo>
                <a:cubicBezTo>
                  <a:pt x="1080" y="1422"/>
                  <a:pt x="1564" y="982"/>
                  <a:pt x="2160" y="982"/>
                </a:cubicBezTo>
                <a:lnTo>
                  <a:pt x="19440" y="982"/>
                </a:lnTo>
                <a:cubicBezTo>
                  <a:pt x="20036" y="982"/>
                  <a:pt x="20520" y="1422"/>
                  <a:pt x="20520" y="1964"/>
                </a:cubicBezTo>
                <a:cubicBezTo>
                  <a:pt x="20520" y="1964"/>
                  <a:pt x="20520" y="11782"/>
                  <a:pt x="20520" y="11782"/>
                </a:cubicBezTo>
                <a:close/>
                <a:moveTo>
                  <a:pt x="19440" y="0"/>
                </a:moveTo>
                <a:lnTo>
                  <a:pt x="2160" y="0"/>
                </a:lnTo>
                <a:cubicBezTo>
                  <a:pt x="967" y="0"/>
                  <a:pt x="0" y="879"/>
                  <a:pt x="0" y="1964"/>
                </a:cubicBezTo>
                <a:lnTo>
                  <a:pt x="0" y="11782"/>
                </a:lnTo>
                <a:cubicBezTo>
                  <a:pt x="0" y="12866"/>
                  <a:pt x="967" y="13745"/>
                  <a:pt x="2160" y="13745"/>
                </a:cubicBezTo>
                <a:lnTo>
                  <a:pt x="19440" y="13745"/>
                </a:lnTo>
                <a:cubicBezTo>
                  <a:pt x="20633" y="13745"/>
                  <a:pt x="21600" y="12866"/>
                  <a:pt x="21600" y="11782"/>
                </a:cubicBezTo>
                <a:lnTo>
                  <a:pt x="21600" y="1964"/>
                </a:lnTo>
                <a:cubicBezTo>
                  <a:pt x="21600" y="879"/>
                  <a:pt x="20633" y="0"/>
                  <a:pt x="19440" y="0"/>
                </a:cubicBezTo>
                <a:moveTo>
                  <a:pt x="16200" y="4909"/>
                </a:moveTo>
                <a:lnTo>
                  <a:pt x="18360" y="4909"/>
                </a:lnTo>
                <a:lnTo>
                  <a:pt x="18360" y="2945"/>
                </a:lnTo>
                <a:lnTo>
                  <a:pt x="16200" y="2945"/>
                </a:lnTo>
                <a:cubicBezTo>
                  <a:pt x="16200" y="2945"/>
                  <a:pt x="16200" y="4909"/>
                  <a:pt x="16200" y="4909"/>
                </a:cubicBezTo>
                <a:close/>
                <a:moveTo>
                  <a:pt x="8640" y="2945"/>
                </a:moveTo>
                <a:lnTo>
                  <a:pt x="6480" y="2945"/>
                </a:lnTo>
                <a:lnTo>
                  <a:pt x="6480" y="4909"/>
                </a:lnTo>
                <a:lnTo>
                  <a:pt x="8640" y="4909"/>
                </a:lnTo>
                <a:cubicBezTo>
                  <a:pt x="8640" y="4909"/>
                  <a:pt x="8640" y="2945"/>
                  <a:pt x="8640" y="2945"/>
                </a:cubicBezTo>
                <a:close/>
                <a:moveTo>
                  <a:pt x="11340" y="7855"/>
                </a:moveTo>
                <a:lnTo>
                  <a:pt x="13500" y="7855"/>
                </a:lnTo>
                <a:lnTo>
                  <a:pt x="13500" y="5891"/>
                </a:lnTo>
                <a:lnTo>
                  <a:pt x="11340" y="5891"/>
                </a:lnTo>
                <a:cubicBezTo>
                  <a:pt x="11340" y="5891"/>
                  <a:pt x="11340" y="7855"/>
                  <a:pt x="11340" y="7855"/>
                </a:cubicBezTo>
                <a:close/>
                <a:moveTo>
                  <a:pt x="10800" y="21600"/>
                </a:moveTo>
                <a:lnTo>
                  <a:pt x="15120" y="17673"/>
                </a:lnTo>
                <a:lnTo>
                  <a:pt x="6480" y="17673"/>
                </a:lnTo>
                <a:cubicBezTo>
                  <a:pt x="6480" y="17673"/>
                  <a:pt x="10800" y="21600"/>
                  <a:pt x="10800" y="21600"/>
                </a:cubicBezTo>
                <a:close/>
                <a:moveTo>
                  <a:pt x="15120" y="2945"/>
                </a:moveTo>
                <a:lnTo>
                  <a:pt x="12960" y="2945"/>
                </a:lnTo>
                <a:lnTo>
                  <a:pt x="12960" y="4909"/>
                </a:lnTo>
                <a:lnTo>
                  <a:pt x="15120" y="4909"/>
                </a:lnTo>
                <a:cubicBezTo>
                  <a:pt x="15120" y="4909"/>
                  <a:pt x="15120" y="2945"/>
                  <a:pt x="15120" y="2945"/>
                </a:cubicBezTo>
                <a:close/>
                <a:moveTo>
                  <a:pt x="8100" y="7855"/>
                </a:moveTo>
                <a:lnTo>
                  <a:pt x="10260" y="7855"/>
                </a:lnTo>
                <a:lnTo>
                  <a:pt x="10260" y="5891"/>
                </a:lnTo>
                <a:lnTo>
                  <a:pt x="8100" y="5891"/>
                </a:lnTo>
                <a:cubicBezTo>
                  <a:pt x="8100" y="5891"/>
                  <a:pt x="8100" y="7855"/>
                  <a:pt x="8100" y="7855"/>
                </a:cubicBezTo>
                <a:close/>
                <a:moveTo>
                  <a:pt x="11880" y="2945"/>
                </a:moveTo>
                <a:lnTo>
                  <a:pt x="9720" y="2945"/>
                </a:lnTo>
                <a:lnTo>
                  <a:pt x="9720" y="4909"/>
                </a:lnTo>
                <a:lnTo>
                  <a:pt x="11880" y="4909"/>
                </a:lnTo>
                <a:cubicBezTo>
                  <a:pt x="11880" y="4909"/>
                  <a:pt x="11880" y="2945"/>
                  <a:pt x="11880" y="294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99" name="Shape 2699"/>
          <p:cNvSpPr/>
          <p:nvPr/>
        </p:nvSpPr>
        <p:spPr>
          <a:xfrm>
            <a:off x="14683970" y="5036915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976" y="20400"/>
                </a:moveTo>
                <a:lnTo>
                  <a:pt x="10800" y="13522"/>
                </a:lnTo>
                <a:lnTo>
                  <a:pt x="15623" y="20400"/>
                </a:lnTo>
                <a:cubicBezTo>
                  <a:pt x="15623" y="20400"/>
                  <a:pt x="5976" y="20400"/>
                  <a:pt x="5976" y="20400"/>
                </a:cubicBezTo>
                <a:close/>
                <a:moveTo>
                  <a:pt x="17063" y="20610"/>
                </a:moveTo>
                <a:lnTo>
                  <a:pt x="11172" y="12210"/>
                </a:lnTo>
                <a:lnTo>
                  <a:pt x="11168" y="12214"/>
                </a:lnTo>
                <a:cubicBezTo>
                  <a:pt x="11078" y="12086"/>
                  <a:pt x="10949" y="12000"/>
                  <a:pt x="10800" y="12000"/>
                </a:cubicBezTo>
                <a:cubicBezTo>
                  <a:pt x="10651" y="12000"/>
                  <a:pt x="10521" y="12086"/>
                  <a:pt x="10432" y="12214"/>
                </a:cubicBezTo>
                <a:lnTo>
                  <a:pt x="10427" y="12210"/>
                </a:lnTo>
                <a:lnTo>
                  <a:pt x="4536" y="20610"/>
                </a:lnTo>
                <a:lnTo>
                  <a:pt x="4540" y="20614"/>
                </a:lnTo>
                <a:cubicBezTo>
                  <a:pt x="4467" y="20719"/>
                  <a:pt x="4418" y="20851"/>
                  <a:pt x="4418" y="21000"/>
                </a:cubicBezTo>
                <a:cubicBezTo>
                  <a:pt x="4418" y="21332"/>
                  <a:pt x="4638" y="21600"/>
                  <a:pt x="4909" y="21600"/>
                </a:cubicBezTo>
                <a:lnTo>
                  <a:pt x="16691" y="21600"/>
                </a:lnTo>
                <a:cubicBezTo>
                  <a:pt x="16962" y="21600"/>
                  <a:pt x="17182" y="21332"/>
                  <a:pt x="17182" y="21000"/>
                </a:cubicBezTo>
                <a:cubicBezTo>
                  <a:pt x="17182" y="20851"/>
                  <a:pt x="17133" y="20719"/>
                  <a:pt x="17059" y="20614"/>
                </a:cubicBezTo>
                <a:cubicBezTo>
                  <a:pt x="17059" y="20614"/>
                  <a:pt x="17063" y="20610"/>
                  <a:pt x="17063" y="20610"/>
                </a:cubicBezTo>
                <a:close/>
                <a:moveTo>
                  <a:pt x="21109" y="0"/>
                </a:moveTo>
                <a:lnTo>
                  <a:pt x="491" y="0"/>
                </a:lnTo>
                <a:cubicBezTo>
                  <a:pt x="220" y="0"/>
                  <a:pt x="0" y="269"/>
                  <a:pt x="0" y="600"/>
                </a:cubicBezTo>
                <a:lnTo>
                  <a:pt x="0" y="17400"/>
                </a:lnTo>
                <a:cubicBezTo>
                  <a:pt x="0" y="17732"/>
                  <a:pt x="220" y="18000"/>
                  <a:pt x="491" y="18000"/>
                </a:cubicBezTo>
                <a:lnTo>
                  <a:pt x="4418" y="18000"/>
                </a:lnTo>
                <a:cubicBezTo>
                  <a:pt x="4689" y="18000"/>
                  <a:pt x="4909" y="17732"/>
                  <a:pt x="4909" y="17400"/>
                </a:cubicBezTo>
                <a:cubicBezTo>
                  <a:pt x="4909" y="17068"/>
                  <a:pt x="4689" y="16800"/>
                  <a:pt x="4418" y="16800"/>
                </a:cubicBezTo>
                <a:lnTo>
                  <a:pt x="982" y="16800"/>
                </a:lnTo>
                <a:lnTo>
                  <a:pt x="982" y="1200"/>
                </a:lnTo>
                <a:lnTo>
                  <a:pt x="20618" y="1200"/>
                </a:lnTo>
                <a:lnTo>
                  <a:pt x="20618" y="16800"/>
                </a:lnTo>
                <a:lnTo>
                  <a:pt x="17182" y="16800"/>
                </a:lnTo>
                <a:cubicBezTo>
                  <a:pt x="16911" y="16800"/>
                  <a:pt x="16691" y="17068"/>
                  <a:pt x="16691" y="17400"/>
                </a:cubicBezTo>
                <a:cubicBezTo>
                  <a:pt x="16691" y="17732"/>
                  <a:pt x="16911" y="18000"/>
                  <a:pt x="17182" y="18000"/>
                </a:cubicBezTo>
                <a:lnTo>
                  <a:pt x="21109" y="18000"/>
                </a:lnTo>
                <a:cubicBezTo>
                  <a:pt x="21380" y="18000"/>
                  <a:pt x="21600" y="17732"/>
                  <a:pt x="21600" y="174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0" name="Shape 2700"/>
          <p:cNvSpPr/>
          <p:nvPr/>
        </p:nvSpPr>
        <p:spPr>
          <a:xfrm>
            <a:off x="15750492" y="4986129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4" y="20618"/>
                </a:moveTo>
                <a:lnTo>
                  <a:pt x="15069" y="13232"/>
                </a:lnTo>
                <a:lnTo>
                  <a:pt x="15063" y="13228"/>
                </a:lnTo>
                <a:cubicBezTo>
                  <a:pt x="15472" y="12512"/>
                  <a:pt x="15709" y="11684"/>
                  <a:pt x="15709" y="10800"/>
                </a:cubicBezTo>
                <a:cubicBezTo>
                  <a:pt x="15709" y="9192"/>
                  <a:pt x="14932" y="7768"/>
                  <a:pt x="13737" y="6873"/>
                </a:cubicBezTo>
                <a:lnTo>
                  <a:pt x="19796" y="6873"/>
                </a:lnTo>
                <a:cubicBezTo>
                  <a:pt x="20322" y="8076"/>
                  <a:pt x="20618" y="9403"/>
                  <a:pt x="20618" y="10800"/>
                </a:cubicBezTo>
                <a:cubicBezTo>
                  <a:pt x="20618" y="16221"/>
                  <a:pt x="16225" y="20615"/>
                  <a:pt x="10804" y="20618"/>
                </a:cubicBezTo>
                <a:moveTo>
                  <a:pt x="9708" y="20554"/>
                </a:moveTo>
                <a:cubicBezTo>
                  <a:pt x="4800" y="20010"/>
                  <a:pt x="982" y="15853"/>
                  <a:pt x="982" y="10800"/>
                </a:cubicBezTo>
                <a:cubicBezTo>
                  <a:pt x="982" y="9010"/>
                  <a:pt x="1468" y="7337"/>
                  <a:pt x="2305" y="5892"/>
                </a:cubicBezTo>
                <a:lnTo>
                  <a:pt x="6452" y="13076"/>
                </a:lnTo>
                <a:cubicBezTo>
                  <a:pt x="7273" y="14640"/>
                  <a:pt x="8911" y="15709"/>
                  <a:pt x="10800" y="15709"/>
                </a:cubicBezTo>
                <a:cubicBezTo>
                  <a:pt x="11487" y="15709"/>
                  <a:pt x="12141" y="15567"/>
                  <a:pt x="12734" y="15312"/>
                </a:cubicBezTo>
                <a:cubicBezTo>
                  <a:pt x="12734" y="15312"/>
                  <a:pt x="9708" y="20554"/>
                  <a:pt x="9708" y="20554"/>
                </a:cubicBezTo>
                <a:close/>
                <a:moveTo>
                  <a:pt x="7315" y="12607"/>
                </a:moveTo>
                <a:cubicBezTo>
                  <a:pt x="7034" y="12065"/>
                  <a:pt x="6873" y="11452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cubicBezTo>
                  <a:pt x="9318" y="14727"/>
                  <a:pt x="8029" y="13906"/>
                  <a:pt x="7360" y="12694"/>
                </a:cubicBezTo>
                <a:lnTo>
                  <a:pt x="7364" y="12691"/>
                </a:lnTo>
                <a:cubicBezTo>
                  <a:pt x="7364" y="12691"/>
                  <a:pt x="7315" y="12607"/>
                  <a:pt x="7315" y="12607"/>
                </a:cubicBezTo>
                <a:close/>
                <a:moveTo>
                  <a:pt x="10800" y="982"/>
                </a:moveTo>
                <a:cubicBezTo>
                  <a:pt x="14432" y="982"/>
                  <a:pt x="17596" y="2959"/>
                  <a:pt x="19294" y="5891"/>
                </a:cubicBezTo>
                <a:lnTo>
                  <a:pt x="10800" y="5891"/>
                </a:lnTo>
                <a:cubicBezTo>
                  <a:pt x="8290" y="5891"/>
                  <a:pt x="6223" y="7776"/>
                  <a:pt x="5930" y="10207"/>
                </a:cubicBezTo>
                <a:lnTo>
                  <a:pt x="2909" y="4975"/>
                </a:lnTo>
                <a:cubicBezTo>
                  <a:pt x="4697" y="2557"/>
                  <a:pt x="7561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1" name="Shape 2701"/>
          <p:cNvSpPr/>
          <p:nvPr/>
        </p:nvSpPr>
        <p:spPr>
          <a:xfrm>
            <a:off x="16817014" y="5125795"/>
            <a:ext cx="558654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724" y="15100"/>
                </a:moveTo>
                <a:lnTo>
                  <a:pt x="17582" y="15100"/>
                </a:lnTo>
                <a:lnTo>
                  <a:pt x="17582" y="8844"/>
                </a:lnTo>
                <a:lnTo>
                  <a:pt x="16724" y="8844"/>
                </a:lnTo>
                <a:cubicBezTo>
                  <a:pt x="16724" y="8844"/>
                  <a:pt x="16724" y="15100"/>
                  <a:pt x="16724" y="15100"/>
                </a:cubicBezTo>
                <a:close/>
                <a:moveTo>
                  <a:pt x="13336" y="15100"/>
                </a:moveTo>
                <a:lnTo>
                  <a:pt x="14199" y="15100"/>
                </a:lnTo>
                <a:lnTo>
                  <a:pt x="14199" y="11633"/>
                </a:lnTo>
                <a:lnTo>
                  <a:pt x="15565" y="11633"/>
                </a:lnTo>
                <a:lnTo>
                  <a:pt x="15565" y="10047"/>
                </a:lnTo>
                <a:lnTo>
                  <a:pt x="14199" y="10047"/>
                </a:lnTo>
                <a:lnTo>
                  <a:pt x="14199" y="8077"/>
                </a:lnTo>
                <a:lnTo>
                  <a:pt x="15661" y="8077"/>
                </a:lnTo>
                <a:lnTo>
                  <a:pt x="15661" y="6478"/>
                </a:lnTo>
                <a:lnTo>
                  <a:pt x="13336" y="6478"/>
                </a:lnTo>
                <a:cubicBezTo>
                  <a:pt x="13336" y="6478"/>
                  <a:pt x="13336" y="15100"/>
                  <a:pt x="13336" y="15100"/>
                </a:cubicBezTo>
                <a:close/>
                <a:moveTo>
                  <a:pt x="20618" y="12960"/>
                </a:moveTo>
                <a:cubicBezTo>
                  <a:pt x="20618" y="16538"/>
                  <a:pt x="19299" y="19440"/>
                  <a:pt x="17673" y="19440"/>
                </a:cubicBezTo>
                <a:lnTo>
                  <a:pt x="7855" y="19440"/>
                </a:lnTo>
                <a:cubicBezTo>
                  <a:pt x="9481" y="19440"/>
                  <a:pt x="10800" y="16538"/>
                  <a:pt x="10800" y="12960"/>
                </a:cubicBezTo>
                <a:lnTo>
                  <a:pt x="10800" y="8640"/>
                </a:lnTo>
                <a:cubicBezTo>
                  <a:pt x="10800" y="5062"/>
                  <a:pt x="12119" y="2160"/>
                  <a:pt x="13745" y="2160"/>
                </a:cubicBezTo>
                <a:lnTo>
                  <a:pt x="17673" y="2160"/>
                </a:lnTo>
                <a:cubicBezTo>
                  <a:pt x="19299" y="2160"/>
                  <a:pt x="20618" y="5062"/>
                  <a:pt x="20618" y="8640"/>
                </a:cubicBezTo>
                <a:cubicBezTo>
                  <a:pt x="20618" y="8640"/>
                  <a:pt x="20618" y="12960"/>
                  <a:pt x="20618" y="12960"/>
                </a:cubicBezTo>
                <a:close/>
                <a:moveTo>
                  <a:pt x="6607" y="15121"/>
                </a:moveTo>
                <a:lnTo>
                  <a:pt x="5673" y="15121"/>
                </a:lnTo>
                <a:lnTo>
                  <a:pt x="5350" y="11399"/>
                </a:lnTo>
                <a:cubicBezTo>
                  <a:pt x="5276" y="10527"/>
                  <a:pt x="5214" y="9718"/>
                  <a:pt x="5169" y="8730"/>
                </a:cubicBezTo>
                <a:lnTo>
                  <a:pt x="5157" y="8730"/>
                </a:lnTo>
                <a:cubicBezTo>
                  <a:pt x="5090" y="9705"/>
                  <a:pt x="5028" y="10527"/>
                  <a:pt x="4937" y="11399"/>
                </a:cubicBezTo>
                <a:lnTo>
                  <a:pt x="4574" y="15121"/>
                </a:lnTo>
                <a:lnTo>
                  <a:pt x="3629" y="15121"/>
                </a:lnTo>
                <a:lnTo>
                  <a:pt x="2723" y="6471"/>
                </a:lnTo>
                <a:lnTo>
                  <a:pt x="3646" y="6471"/>
                </a:lnTo>
                <a:lnTo>
                  <a:pt x="3935" y="10039"/>
                </a:lnTo>
                <a:cubicBezTo>
                  <a:pt x="4020" y="11066"/>
                  <a:pt x="4099" y="12182"/>
                  <a:pt x="4161" y="13055"/>
                </a:cubicBezTo>
                <a:lnTo>
                  <a:pt x="4172" y="13055"/>
                </a:lnTo>
                <a:cubicBezTo>
                  <a:pt x="4235" y="12118"/>
                  <a:pt x="4325" y="11078"/>
                  <a:pt x="4422" y="10013"/>
                </a:cubicBezTo>
                <a:lnTo>
                  <a:pt x="4744" y="6471"/>
                </a:lnTo>
                <a:lnTo>
                  <a:pt x="5662" y="6471"/>
                </a:lnTo>
                <a:lnTo>
                  <a:pt x="5967" y="10117"/>
                </a:lnTo>
                <a:cubicBezTo>
                  <a:pt x="6052" y="11130"/>
                  <a:pt x="6114" y="12054"/>
                  <a:pt x="6171" y="13017"/>
                </a:cubicBezTo>
                <a:lnTo>
                  <a:pt x="6182" y="13017"/>
                </a:lnTo>
                <a:cubicBezTo>
                  <a:pt x="6239" y="12054"/>
                  <a:pt x="6324" y="11040"/>
                  <a:pt x="6403" y="10013"/>
                </a:cubicBezTo>
                <a:lnTo>
                  <a:pt x="6715" y="6471"/>
                </a:lnTo>
                <a:lnTo>
                  <a:pt x="7592" y="6471"/>
                </a:lnTo>
                <a:cubicBezTo>
                  <a:pt x="7592" y="6471"/>
                  <a:pt x="6607" y="15121"/>
                  <a:pt x="6607" y="15121"/>
                </a:cubicBezTo>
                <a:close/>
                <a:moveTo>
                  <a:pt x="8940" y="15121"/>
                </a:moveTo>
                <a:lnTo>
                  <a:pt x="8080" y="15121"/>
                </a:lnTo>
                <a:lnTo>
                  <a:pt x="8080" y="8845"/>
                </a:lnTo>
                <a:lnTo>
                  <a:pt x="8940" y="8845"/>
                </a:lnTo>
                <a:cubicBezTo>
                  <a:pt x="8940" y="8845"/>
                  <a:pt x="8940" y="15121"/>
                  <a:pt x="8940" y="15121"/>
                </a:cubicBezTo>
                <a:close/>
                <a:moveTo>
                  <a:pt x="8510" y="6111"/>
                </a:moveTo>
                <a:cubicBezTo>
                  <a:pt x="8788" y="6111"/>
                  <a:pt x="8963" y="6535"/>
                  <a:pt x="8969" y="7100"/>
                </a:cubicBezTo>
                <a:cubicBezTo>
                  <a:pt x="8969" y="7638"/>
                  <a:pt x="8788" y="8076"/>
                  <a:pt x="8505" y="8076"/>
                </a:cubicBezTo>
                <a:cubicBezTo>
                  <a:pt x="8233" y="8076"/>
                  <a:pt x="8052" y="7638"/>
                  <a:pt x="8058" y="7100"/>
                </a:cubicBezTo>
                <a:cubicBezTo>
                  <a:pt x="8052" y="6535"/>
                  <a:pt x="8233" y="6111"/>
                  <a:pt x="8510" y="6111"/>
                </a:cubicBezTo>
                <a:moveTo>
                  <a:pt x="17673" y="0"/>
                </a:moveTo>
                <a:lnTo>
                  <a:pt x="3927" y="0"/>
                </a:lnTo>
                <a:cubicBezTo>
                  <a:pt x="1758" y="0"/>
                  <a:pt x="0" y="3869"/>
                  <a:pt x="0" y="8640"/>
                </a:cubicBezTo>
                <a:lnTo>
                  <a:pt x="0" y="12960"/>
                </a:lnTo>
                <a:cubicBezTo>
                  <a:pt x="0" y="17731"/>
                  <a:pt x="1758" y="21600"/>
                  <a:pt x="3927" y="21600"/>
                </a:cubicBezTo>
                <a:lnTo>
                  <a:pt x="17673" y="21600"/>
                </a:lnTo>
                <a:cubicBezTo>
                  <a:pt x="19842" y="21600"/>
                  <a:pt x="21600" y="17731"/>
                  <a:pt x="21600" y="12960"/>
                </a:cubicBezTo>
                <a:lnTo>
                  <a:pt x="21600" y="8640"/>
                </a:lnTo>
                <a:cubicBezTo>
                  <a:pt x="21600" y="3869"/>
                  <a:pt x="19842" y="0"/>
                  <a:pt x="17673" y="0"/>
                </a:cubicBezTo>
                <a:moveTo>
                  <a:pt x="17153" y="6119"/>
                </a:moveTo>
                <a:cubicBezTo>
                  <a:pt x="16876" y="6119"/>
                  <a:pt x="16696" y="6543"/>
                  <a:pt x="16701" y="7104"/>
                </a:cubicBezTo>
                <a:cubicBezTo>
                  <a:pt x="16696" y="7642"/>
                  <a:pt x="16876" y="8077"/>
                  <a:pt x="17147" y="8077"/>
                </a:cubicBezTo>
                <a:cubicBezTo>
                  <a:pt x="17429" y="8077"/>
                  <a:pt x="17610" y="7642"/>
                  <a:pt x="17610" y="7104"/>
                </a:cubicBezTo>
                <a:cubicBezTo>
                  <a:pt x="17604" y="6543"/>
                  <a:pt x="17429" y="6119"/>
                  <a:pt x="17153" y="611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2" name="Shape 2702"/>
          <p:cNvSpPr/>
          <p:nvPr/>
        </p:nvSpPr>
        <p:spPr>
          <a:xfrm>
            <a:off x="17883537" y="5011523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520"/>
                </a:moveTo>
                <a:cubicBezTo>
                  <a:pt x="7396" y="20520"/>
                  <a:pt x="4399" y="18805"/>
                  <a:pt x="2638" y="16200"/>
                </a:cubicBezTo>
                <a:lnTo>
                  <a:pt x="9966" y="16200"/>
                </a:lnTo>
                <a:cubicBezTo>
                  <a:pt x="10478" y="17309"/>
                  <a:pt x="12251" y="18900"/>
                  <a:pt x="13500" y="18900"/>
                </a:cubicBezTo>
                <a:cubicBezTo>
                  <a:pt x="14973" y="18900"/>
                  <a:pt x="16200" y="17820"/>
                  <a:pt x="16200" y="15660"/>
                </a:cubicBezTo>
                <a:cubicBezTo>
                  <a:pt x="16200" y="13500"/>
                  <a:pt x="14973" y="12420"/>
                  <a:pt x="13500" y="12420"/>
                </a:cubicBezTo>
                <a:cubicBezTo>
                  <a:pt x="12241" y="12420"/>
                  <a:pt x="10447" y="13973"/>
                  <a:pt x="9953" y="15120"/>
                </a:cubicBezTo>
                <a:lnTo>
                  <a:pt x="2014" y="15120"/>
                </a:lnTo>
                <a:cubicBezTo>
                  <a:pt x="1359" y="13817"/>
                  <a:pt x="982" y="12354"/>
                  <a:pt x="982" y="10800"/>
                </a:cubicBezTo>
                <a:cubicBezTo>
                  <a:pt x="982" y="9246"/>
                  <a:pt x="1359" y="7783"/>
                  <a:pt x="2014" y="6480"/>
                </a:cubicBezTo>
                <a:lnTo>
                  <a:pt x="9966" y="6480"/>
                </a:lnTo>
                <a:cubicBezTo>
                  <a:pt x="10478" y="7589"/>
                  <a:pt x="12252" y="9180"/>
                  <a:pt x="13500" y="9180"/>
                </a:cubicBezTo>
                <a:cubicBezTo>
                  <a:pt x="14973" y="9180"/>
                  <a:pt x="16200" y="8100"/>
                  <a:pt x="16200" y="5940"/>
                </a:cubicBezTo>
                <a:cubicBezTo>
                  <a:pt x="16200" y="3780"/>
                  <a:pt x="14973" y="2700"/>
                  <a:pt x="13500" y="2700"/>
                </a:cubicBezTo>
                <a:cubicBezTo>
                  <a:pt x="12241" y="2700"/>
                  <a:pt x="10447" y="4253"/>
                  <a:pt x="9953" y="5400"/>
                </a:cubicBezTo>
                <a:lnTo>
                  <a:pt x="2638" y="5400"/>
                </a:lnTo>
                <a:cubicBezTo>
                  <a:pt x="4399" y="2796"/>
                  <a:pt x="7396" y="1080"/>
                  <a:pt x="10800" y="1080"/>
                </a:cubicBezTo>
                <a:cubicBezTo>
                  <a:pt x="16038" y="1080"/>
                  <a:pt x="20306" y="5145"/>
                  <a:pt x="20590" y="10260"/>
                </a:cubicBezTo>
                <a:lnTo>
                  <a:pt x="10652" y="10260"/>
                </a:lnTo>
                <a:cubicBezTo>
                  <a:pt x="10140" y="9151"/>
                  <a:pt x="8367" y="7560"/>
                  <a:pt x="7118" y="7560"/>
                </a:cubicBezTo>
                <a:cubicBezTo>
                  <a:pt x="5645" y="7560"/>
                  <a:pt x="4418" y="8640"/>
                  <a:pt x="4418" y="10800"/>
                </a:cubicBezTo>
                <a:cubicBezTo>
                  <a:pt x="4418" y="12960"/>
                  <a:pt x="5645" y="14040"/>
                  <a:pt x="7118" y="14040"/>
                </a:cubicBezTo>
                <a:cubicBezTo>
                  <a:pt x="8377" y="14040"/>
                  <a:pt x="10171" y="12488"/>
                  <a:pt x="10665" y="11340"/>
                </a:cubicBezTo>
                <a:lnTo>
                  <a:pt x="20590" y="11340"/>
                </a:lnTo>
                <a:cubicBezTo>
                  <a:pt x="20306" y="16456"/>
                  <a:pt x="16038" y="20520"/>
                  <a:pt x="10800" y="20520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3" name="Shape 2703"/>
          <p:cNvSpPr/>
          <p:nvPr/>
        </p:nvSpPr>
        <p:spPr>
          <a:xfrm>
            <a:off x="18975454" y="4986128"/>
            <a:ext cx="507869" cy="5592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60" y="8839"/>
                </a:moveTo>
                <a:cubicBezTo>
                  <a:pt x="15958" y="8839"/>
                  <a:pt x="16200" y="8619"/>
                  <a:pt x="16200" y="8348"/>
                </a:cubicBezTo>
                <a:lnTo>
                  <a:pt x="16200" y="6386"/>
                </a:lnTo>
                <a:cubicBezTo>
                  <a:pt x="16200" y="6115"/>
                  <a:pt x="15958" y="5896"/>
                  <a:pt x="15660" y="5896"/>
                </a:cubicBezTo>
                <a:cubicBezTo>
                  <a:pt x="15362" y="5896"/>
                  <a:pt x="15120" y="6115"/>
                  <a:pt x="15120" y="6386"/>
                </a:cubicBezTo>
                <a:lnTo>
                  <a:pt x="15120" y="8348"/>
                </a:lnTo>
                <a:cubicBezTo>
                  <a:pt x="15120" y="8619"/>
                  <a:pt x="15362" y="8839"/>
                  <a:pt x="15660" y="8839"/>
                </a:cubicBezTo>
                <a:moveTo>
                  <a:pt x="20520" y="17666"/>
                </a:moveTo>
                <a:lnTo>
                  <a:pt x="13048" y="17666"/>
                </a:lnTo>
                <a:cubicBezTo>
                  <a:pt x="12910" y="16942"/>
                  <a:pt x="12848" y="16231"/>
                  <a:pt x="12830" y="15570"/>
                </a:cubicBezTo>
                <a:cubicBezTo>
                  <a:pt x="16149" y="15233"/>
                  <a:pt x="18453" y="14207"/>
                  <a:pt x="18568" y="14155"/>
                </a:cubicBezTo>
                <a:lnTo>
                  <a:pt x="18085" y="13278"/>
                </a:lnTo>
                <a:cubicBezTo>
                  <a:pt x="18059" y="13289"/>
                  <a:pt x="15906" y="14245"/>
                  <a:pt x="12837" y="14581"/>
                </a:cubicBezTo>
                <a:cubicBezTo>
                  <a:pt x="12896" y="13028"/>
                  <a:pt x="13167" y="11927"/>
                  <a:pt x="13173" y="11902"/>
                </a:cubicBezTo>
                <a:lnTo>
                  <a:pt x="13325" y="11301"/>
                </a:lnTo>
                <a:lnTo>
                  <a:pt x="9308" y="11301"/>
                </a:lnTo>
                <a:cubicBezTo>
                  <a:pt x="9741" y="8291"/>
                  <a:pt x="10857" y="5772"/>
                  <a:pt x="11921" y="3934"/>
                </a:cubicBezTo>
                <a:lnTo>
                  <a:pt x="20520" y="3934"/>
                </a:lnTo>
                <a:cubicBezTo>
                  <a:pt x="20520" y="3934"/>
                  <a:pt x="20520" y="17666"/>
                  <a:pt x="20520" y="17666"/>
                </a:cubicBezTo>
                <a:close/>
                <a:moveTo>
                  <a:pt x="10766" y="15678"/>
                </a:moveTo>
                <a:cubicBezTo>
                  <a:pt x="11096" y="15678"/>
                  <a:pt x="11418" y="15668"/>
                  <a:pt x="11734" y="15653"/>
                </a:cubicBezTo>
                <a:cubicBezTo>
                  <a:pt x="11753" y="16291"/>
                  <a:pt x="11808" y="16967"/>
                  <a:pt x="11933" y="17666"/>
                </a:cubicBezTo>
                <a:lnTo>
                  <a:pt x="1080" y="17666"/>
                </a:lnTo>
                <a:lnTo>
                  <a:pt x="1080" y="3934"/>
                </a:lnTo>
                <a:lnTo>
                  <a:pt x="10689" y="3934"/>
                </a:lnTo>
                <a:cubicBezTo>
                  <a:pt x="9598" y="5921"/>
                  <a:pt x="8520" y="8577"/>
                  <a:pt x="8164" y="11742"/>
                </a:cubicBezTo>
                <a:lnTo>
                  <a:pt x="8103" y="12282"/>
                </a:lnTo>
                <a:lnTo>
                  <a:pt x="11993" y="12282"/>
                </a:lnTo>
                <a:cubicBezTo>
                  <a:pt x="11893" y="12823"/>
                  <a:pt x="11771" y="13665"/>
                  <a:pt x="11736" y="14669"/>
                </a:cubicBezTo>
                <a:cubicBezTo>
                  <a:pt x="11418" y="14686"/>
                  <a:pt x="11097" y="14697"/>
                  <a:pt x="10766" y="14697"/>
                </a:cubicBezTo>
                <a:cubicBezTo>
                  <a:pt x="6636" y="14697"/>
                  <a:pt x="3478" y="13292"/>
                  <a:pt x="3447" y="13278"/>
                </a:cubicBezTo>
                <a:lnTo>
                  <a:pt x="2965" y="14155"/>
                </a:lnTo>
                <a:cubicBezTo>
                  <a:pt x="3102" y="14218"/>
                  <a:pt x="6369" y="15678"/>
                  <a:pt x="10766" y="15678"/>
                </a:cubicBezTo>
                <a:moveTo>
                  <a:pt x="20520" y="2954"/>
                </a:moveTo>
                <a:lnTo>
                  <a:pt x="12519" y="2954"/>
                </a:lnTo>
                <a:cubicBezTo>
                  <a:pt x="13470" y="1490"/>
                  <a:pt x="14254" y="661"/>
                  <a:pt x="14273" y="641"/>
                </a:cubicBezTo>
                <a:lnTo>
                  <a:pt x="13456" y="0"/>
                </a:lnTo>
                <a:cubicBezTo>
                  <a:pt x="13366" y="95"/>
                  <a:pt x="12371" y="1151"/>
                  <a:pt x="11260" y="2954"/>
                </a:cubicBezTo>
                <a:lnTo>
                  <a:pt x="1080" y="2954"/>
                </a:lnTo>
                <a:cubicBezTo>
                  <a:pt x="483" y="2954"/>
                  <a:pt x="0" y="3393"/>
                  <a:pt x="0" y="3934"/>
                </a:cubicBezTo>
                <a:lnTo>
                  <a:pt x="0" y="17666"/>
                </a:lnTo>
                <a:cubicBezTo>
                  <a:pt x="0" y="18207"/>
                  <a:pt x="483" y="18646"/>
                  <a:pt x="1080" y="18646"/>
                </a:cubicBezTo>
                <a:lnTo>
                  <a:pt x="12155" y="18646"/>
                </a:lnTo>
                <a:cubicBezTo>
                  <a:pt x="12423" y="19645"/>
                  <a:pt x="12834" y="20653"/>
                  <a:pt x="13465" y="21600"/>
                </a:cubicBezTo>
                <a:lnTo>
                  <a:pt x="14389" y="21092"/>
                </a:lnTo>
                <a:cubicBezTo>
                  <a:pt x="13874" y="20318"/>
                  <a:pt x="13522" y="19485"/>
                  <a:pt x="13281" y="18646"/>
                </a:cubicBezTo>
                <a:lnTo>
                  <a:pt x="20520" y="18646"/>
                </a:lnTo>
                <a:cubicBezTo>
                  <a:pt x="21116" y="18646"/>
                  <a:pt x="21600" y="18207"/>
                  <a:pt x="21600" y="17666"/>
                </a:cubicBezTo>
                <a:lnTo>
                  <a:pt x="21600" y="3934"/>
                </a:lnTo>
                <a:cubicBezTo>
                  <a:pt x="21600" y="3393"/>
                  <a:pt x="21116" y="2954"/>
                  <a:pt x="20520" y="2954"/>
                </a:cubicBezTo>
                <a:moveTo>
                  <a:pt x="5940" y="8839"/>
                </a:moveTo>
                <a:cubicBezTo>
                  <a:pt x="6238" y="8839"/>
                  <a:pt x="6480" y="8619"/>
                  <a:pt x="6480" y="8348"/>
                </a:cubicBezTo>
                <a:lnTo>
                  <a:pt x="6480" y="6386"/>
                </a:lnTo>
                <a:cubicBezTo>
                  <a:pt x="6480" y="6115"/>
                  <a:pt x="6238" y="5896"/>
                  <a:pt x="5940" y="5896"/>
                </a:cubicBezTo>
                <a:cubicBezTo>
                  <a:pt x="5642" y="5896"/>
                  <a:pt x="5400" y="6115"/>
                  <a:pt x="5400" y="6386"/>
                </a:cubicBezTo>
                <a:lnTo>
                  <a:pt x="5400" y="8348"/>
                </a:lnTo>
                <a:cubicBezTo>
                  <a:pt x="5400" y="8619"/>
                  <a:pt x="5642" y="8839"/>
                  <a:pt x="5940" y="883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4" name="Shape 2704"/>
          <p:cNvSpPr/>
          <p:nvPr/>
        </p:nvSpPr>
        <p:spPr>
          <a:xfrm>
            <a:off x="20016581" y="4986130"/>
            <a:ext cx="558654" cy="55864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5628" y="4904"/>
                </a:moveTo>
                <a:lnTo>
                  <a:pt x="14334" y="4904"/>
                </a:lnTo>
                <a:lnTo>
                  <a:pt x="10776" y="9842"/>
                </a:lnTo>
                <a:lnTo>
                  <a:pt x="7337" y="4904"/>
                </a:lnTo>
                <a:lnTo>
                  <a:pt x="5975" y="4904"/>
                </a:lnTo>
                <a:lnTo>
                  <a:pt x="10094" y="10618"/>
                </a:lnTo>
                <a:lnTo>
                  <a:pt x="5736" y="16696"/>
                </a:lnTo>
                <a:lnTo>
                  <a:pt x="7030" y="16696"/>
                </a:lnTo>
                <a:lnTo>
                  <a:pt x="10776" y="11493"/>
                </a:lnTo>
                <a:lnTo>
                  <a:pt x="14470" y="16696"/>
                </a:lnTo>
                <a:lnTo>
                  <a:pt x="15866" y="16696"/>
                </a:lnTo>
                <a:lnTo>
                  <a:pt x="11474" y="10651"/>
                </a:lnTo>
                <a:cubicBezTo>
                  <a:pt x="11474" y="10651"/>
                  <a:pt x="15628" y="4904"/>
                  <a:pt x="15628" y="490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5" name="Shape 2705"/>
          <p:cNvSpPr/>
          <p:nvPr/>
        </p:nvSpPr>
        <p:spPr>
          <a:xfrm>
            <a:off x="21083102" y="4986128"/>
            <a:ext cx="558520" cy="5590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3820"/>
                </a:moveTo>
                <a:lnTo>
                  <a:pt x="7853" y="2877"/>
                </a:lnTo>
                <a:lnTo>
                  <a:pt x="7853" y="8838"/>
                </a:lnTo>
                <a:lnTo>
                  <a:pt x="982" y="8838"/>
                </a:lnTo>
                <a:cubicBezTo>
                  <a:pt x="982" y="8838"/>
                  <a:pt x="982" y="3820"/>
                  <a:pt x="982" y="3820"/>
                </a:cubicBezTo>
                <a:close/>
                <a:moveTo>
                  <a:pt x="0" y="9819"/>
                </a:moveTo>
                <a:lnTo>
                  <a:pt x="8835" y="9819"/>
                </a:lnTo>
                <a:lnTo>
                  <a:pt x="8835" y="1752"/>
                </a:lnTo>
                <a:lnTo>
                  <a:pt x="0" y="2964"/>
                </a:lnTo>
                <a:cubicBezTo>
                  <a:pt x="0" y="2964"/>
                  <a:pt x="0" y="9819"/>
                  <a:pt x="0" y="9819"/>
                </a:cubicBezTo>
                <a:close/>
                <a:moveTo>
                  <a:pt x="20618" y="8838"/>
                </a:moveTo>
                <a:lnTo>
                  <a:pt x="11771" y="8838"/>
                </a:lnTo>
                <a:lnTo>
                  <a:pt x="11771" y="2339"/>
                </a:lnTo>
                <a:lnTo>
                  <a:pt x="20618" y="1125"/>
                </a:lnTo>
                <a:cubicBezTo>
                  <a:pt x="20618" y="1125"/>
                  <a:pt x="20618" y="8838"/>
                  <a:pt x="20618" y="8838"/>
                </a:cubicBezTo>
                <a:close/>
                <a:moveTo>
                  <a:pt x="10789" y="1484"/>
                </a:moveTo>
                <a:lnTo>
                  <a:pt x="10789" y="9819"/>
                </a:lnTo>
                <a:lnTo>
                  <a:pt x="21600" y="9819"/>
                </a:lnTo>
                <a:lnTo>
                  <a:pt x="21600" y="0"/>
                </a:lnTo>
                <a:cubicBezTo>
                  <a:pt x="21600" y="0"/>
                  <a:pt x="10789" y="1484"/>
                  <a:pt x="10789" y="1484"/>
                </a:cubicBezTo>
                <a:close/>
                <a:moveTo>
                  <a:pt x="982" y="12763"/>
                </a:moveTo>
                <a:lnTo>
                  <a:pt x="7853" y="12763"/>
                </a:lnTo>
                <a:lnTo>
                  <a:pt x="7853" y="18722"/>
                </a:lnTo>
                <a:lnTo>
                  <a:pt x="982" y="17780"/>
                </a:lnTo>
                <a:cubicBezTo>
                  <a:pt x="982" y="17780"/>
                  <a:pt x="982" y="12763"/>
                  <a:pt x="982" y="12763"/>
                </a:cubicBezTo>
                <a:close/>
                <a:moveTo>
                  <a:pt x="0" y="18635"/>
                </a:moveTo>
                <a:lnTo>
                  <a:pt x="8835" y="19848"/>
                </a:lnTo>
                <a:lnTo>
                  <a:pt x="8835" y="11782"/>
                </a:lnTo>
                <a:lnTo>
                  <a:pt x="0" y="11782"/>
                </a:lnTo>
                <a:cubicBezTo>
                  <a:pt x="0" y="11782"/>
                  <a:pt x="0" y="18635"/>
                  <a:pt x="0" y="18635"/>
                </a:cubicBezTo>
                <a:close/>
                <a:moveTo>
                  <a:pt x="11771" y="12763"/>
                </a:moveTo>
                <a:lnTo>
                  <a:pt x="20618" y="12763"/>
                </a:lnTo>
                <a:lnTo>
                  <a:pt x="20618" y="20475"/>
                </a:lnTo>
                <a:lnTo>
                  <a:pt x="11771" y="19261"/>
                </a:lnTo>
                <a:cubicBezTo>
                  <a:pt x="11771" y="19261"/>
                  <a:pt x="11771" y="12763"/>
                  <a:pt x="11771" y="12763"/>
                </a:cubicBezTo>
                <a:close/>
                <a:moveTo>
                  <a:pt x="10789" y="20116"/>
                </a:moveTo>
                <a:lnTo>
                  <a:pt x="21600" y="21600"/>
                </a:lnTo>
                <a:lnTo>
                  <a:pt x="21600" y="11782"/>
                </a:lnTo>
                <a:lnTo>
                  <a:pt x="10789" y="11782"/>
                </a:lnTo>
                <a:cubicBezTo>
                  <a:pt x="10789" y="11782"/>
                  <a:pt x="10789" y="20116"/>
                  <a:pt x="10789" y="2011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6" name="Shape 2706"/>
          <p:cNvSpPr/>
          <p:nvPr/>
        </p:nvSpPr>
        <p:spPr>
          <a:xfrm>
            <a:off x="22225806" y="4986129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3745"/>
                </a:moveTo>
                <a:cubicBezTo>
                  <a:pt x="20250" y="14016"/>
                  <a:pt x="19948" y="14236"/>
                  <a:pt x="19575" y="14236"/>
                </a:cubicBezTo>
                <a:cubicBezTo>
                  <a:pt x="19202" y="14236"/>
                  <a:pt x="18900" y="14016"/>
                  <a:pt x="18900" y="13745"/>
                </a:cubicBezTo>
                <a:lnTo>
                  <a:pt x="18900" y="6873"/>
                </a:lnTo>
                <a:cubicBezTo>
                  <a:pt x="18900" y="6602"/>
                  <a:pt x="19202" y="6382"/>
                  <a:pt x="19575" y="6382"/>
                </a:cubicBezTo>
                <a:cubicBezTo>
                  <a:pt x="19948" y="6382"/>
                  <a:pt x="20250" y="6602"/>
                  <a:pt x="20250" y="6873"/>
                </a:cubicBezTo>
                <a:cubicBezTo>
                  <a:pt x="20250" y="6873"/>
                  <a:pt x="20250" y="13745"/>
                  <a:pt x="20250" y="13745"/>
                </a:cubicBezTo>
                <a:close/>
                <a:moveTo>
                  <a:pt x="17550" y="16691"/>
                </a:moveTo>
                <a:lnTo>
                  <a:pt x="4050" y="16691"/>
                </a:lnTo>
                <a:lnTo>
                  <a:pt x="4050" y="6382"/>
                </a:lnTo>
                <a:lnTo>
                  <a:pt x="17550" y="6382"/>
                </a:lnTo>
                <a:cubicBezTo>
                  <a:pt x="17550" y="6382"/>
                  <a:pt x="17550" y="16691"/>
                  <a:pt x="17550" y="16691"/>
                </a:cubicBezTo>
                <a:close/>
                <a:moveTo>
                  <a:pt x="14850" y="20127"/>
                </a:moveTo>
                <a:cubicBezTo>
                  <a:pt x="14850" y="20399"/>
                  <a:pt x="14548" y="20618"/>
                  <a:pt x="14175" y="20618"/>
                </a:cubicBezTo>
                <a:cubicBezTo>
                  <a:pt x="13802" y="20618"/>
                  <a:pt x="13500" y="20399"/>
                  <a:pt x="13500" y="20127"/>
                </a:cubicBezTo>
                <a:lnTo>
                  <a:pt x="13500" y="17673"/>
                </a:lnTo>
                <a:lnTo>
                  <a:pt x="14850" y="17673"/>
                </a:lnTo>
                <a:cubicBezTo>
                  <a:pt x="14850" y="17673"/>
                  <a:pt x="14850" y="20127"/>
                  <a:pt x="14850" y="20127"/>
                </a:cubicBezTo>
                <a:close/>
                <a:moveTo>
                  <a:pt x="8100" y="20127"/>
                </a:moveTo>
                <a:cubicBezTo>
                  <a:pt x="8100" y="20399"/>
                  <a:pt x="7798" y="20618"/>
                  <a:pt x="7425" y="20618"/>
                </a:cubicBezTo>
                <a:cubicBezTo>
                  <a:pt x="7052" y="20618"/>
                  <a:pt x="6750" y="20399"/>
                  <a:pt x="6750" y="20127"/>
                </a:cubicBezTo>
                <a:lnTo>
                  <a:pt x="6750" y="17673"/>
                </a:lnTo>
                <a:lnTo>
                  <a:pt x="8100" y="17673"/>
                </a:lnTo>
                <a:cubicBezTo>
                  <a:pt x="8100" y="17673"/>
                  <a:pt x="8100" y="20127"/>
                  <a:pt x="8100" y="20127"/>
                </a:cubicBezTo>
                <a:close/>
                <a:moveTo>
                  <a:pt x="10800" y="1964"/>
                </a:moveTo>
                <a:cubicBezTo>
                  <a:pt x="14242" y="1964"/>
                  <a:pt x="17075" y="3464"/>
                  <a:pt x="17492" y="5400"/>
                </a:cubicBezTo>
                <a:lnTo>
                  <a:pt x="4108" y="5400"/>
                </a:lnTo>
                <a:cubicBezTo>
                  <a:pt x="4525" y="3464"/>
                  <a:pt x="7358" y="1964"/>
                  <a:pt x="10800" y="1964"/>
                </a:cubicBezTo>
                <a:moveTo>
                  <a:pt x="2700" y="13745"/>
                </a:moveTo>
                <a:cubicBezTo>
                  <a:pt x="2700" y="14016"/>
                  <a:pt x="2398" y="14236"/>
                  <a:pt x="2025" y="14236"/>
                </a:cubicBezTo>
                <a:cubicBezTo>
                  <a:pt x="1652" y="14236"/>
                  <a:pt x="1350" y="14016"/>
                  <a:pt x="1350" y="13745"/>
                </a:cubicBezTo>
                <a:lnTo>
                  <a:pt x="1350" y="6873"/>
                </a:lnTo>
                <a:cubicBezTo>
                  <a:pt x="1350" y="6602"/>
                  <a:pt x="1652" y="6382"/>
                  <a:pt x="2025" y="6382"/>
                </a:cubicBezTo>
                <a:cubicBezTo>
                  <a:pt x="2398" y="6382"/>
                  <a:pt x="2700" y="6602"/>
                  <a:pt x="2700" y="6873"/>
                </a:cubicBezTo>
                <a:cubicBezTo>
                  <a:pt x="2700" y="6873"/>
                  <a:pt x="2700" y="13745"/>
                  <a:pt x="2700" y="13745"/>
                </a:cubicBezTo>
                <a:close/>
                <a:moveTo>
                  <a:pt x="19575" y="5400"/>
                </a:moveTo>
                <a:cubicBezTo>
                  <a:pt x="19336" y="5400"/>
                  <a:pt x="19112" y="5435"/>
                  <a:pt x="18900" y="5491"/>
                </a:cubicBezTo>
                <a:lnTo>
                  <a:pt x="18900" y="5400"/>
                </a:lnTo>
                <a:lnTo>
                  <a:pt x="18847" y="5400"/>
                </a:lnTo>
                <a:cubicBezTo>
                  <a:pt x="18595" y="3873"/>
                  <a:pt x="17191" y="2553"/>
                  <a:pt x="15171" y="1763"/>
                </a:cubicBezTo>
                <a:lnTo>
                  <a:pt x="16087" y="763"/>
                </a:lnTo>
                <a:lnTo>
                  <a:pt x="16076" y="758"/>
                </a:lnTo>
                <a:cubicBezTo>
                  <a:pt x="16148" y="681"/>
                  <a:pt x="16200" y="592"/>
                  <a:pt x="16200" y="491"/>
                </a:cubicBezTo>
                <a:cubicBezTo>
                  <a:pt x="16200" y="220"/>
                  <a:pt x="15898" y="0"/>
                  <a:pt x="15525" y="0"/>
                </a:cubicBezTo>
                <a:cubicBezTo>
                  <a:pt x="15291" y="0"/>
                  <a:pt x="15095" y="93"/>
                  <a:pt x="14974" y="223"/>
                </a:cubicBezTo>
                <a:lnTo>
                  <a:pt x="14963" y="219"/>
                </a:lnTo>
                <a:lnTo>
                  <a:pt x="13915" y="1362"/>
                </a:lnTo>
                <a:cubicBezTo>
                  <a:pt x="12956" y="1119"/>
                  <a:pt x="11905" y="982"/>
                  <a:pt x="10800" y="982"/>
                </a:cubicBezTo>
                <a:cubicBezTo>
                  <a:pt x="9695" y="982"/>
                  <a:pt x="8644" y="1119"/>
                  <a:pt x="7685" y="1362"/>
                </a:cubicBezTo>
                <a:lnTo>
                  <a:pt x="6637" y="219"/>
                </a:lnTo>
                <a:lnTo>
                  <a:pt x="6626" y="223"/>
                </a:lnTo>
                <a:cubicBezTo>
                  <a:pt x="6505" y="93"/>
                  <a:pt x="6309" y="0"/>
                  <a:pt x="6075" y="0"/>
                </a:cubicBezTo>
                <a:cubicBezTo>
                  <a:pt x="5702" y="0"/>
                  <a:pt x="5400" y="220"/>
                  <a:pt x="5400" y="491"/>
                </a:cubicBezTo>
                <a:cubicBezTo>
                  <a:pt x="5400" y="592"/>
                  <a:pt x="5452" y="681"/>
                  <a:pt x="5524" y="758"/>
                </a:cubicBezTo>
                <a:lnTo>
                  <a:pt x="5513" y="763"/>
                </a:lnTo>
                <a:lnTo>
                  <a:pt x="6430" y="1763"/>
                </a:lnTo>
                <a:cubicBezTo>
                  <a:pt x="4409" y="2553"/>
                  <a:pt x="3005" y="3873"/>
                  <a:pt x="2753" y="5400"/>
                </a:cubicBezTo>
                <a:lnTo>
                  <a:pt x="2700" y="5400"/>
                </a:lnTo>
                <a:lnTo>
                  <a:pt x="2700" y="5491"/>
                </a:lnTo>
                <a:cubicBezTo>
                  <a:pt x="2488" y="5435"/>
                  <a:pt x="2263" y="5400"/>
                  <a:pt x="2025" y="5400"/>
                </a:cubicBezTo>
                <a:cubicBezTo>
                  <a:pt x="907" y="5400"/>
                  <a:pt x="0" y="6060"/>
                  <a:pt x="0" y="6873"/>
                </a:cubicBezTo>
                <a:lnTo>
                  <a:pt x="0" y="13745"/>
                </a:lnTo>
                <a:cubicBezTo>
                  <a:pt x="0" y="14559"/>
                  <a:pt x="907" y="15218"/>
                  <a:pt x="2025" y="15218"/>
                </a:cubicBezTo>
                <a:cubicBezTo>
                  <a:pt x="2263" y="15218"/>
                  <a:pt x="2488" y="15183"/>
                  <a:pt x="2700" y="15128"/>
                </a:cubicBezTo>
                <a:lnTo>
                  <a:pt x="2700" y="16691"/>
                </a:lnTo>
                <a:cubicBezTo>
                  <a:pt x="2700" y="17233"/>
                  <a:pt x="3305" y="17673"/>
                  <a:pt x="4050" y="17673"/>
                </a:cubicBezTo>
                <a:lnTo>
                  <a:pt x="5400" y="17673"/>
                </a:lnTo>
                <a:lnTo>
                  <a:pt x="5400" y="20127"/>
                </a:lnTo>
                <a:cubicBezTo>
                  <a:pt x="5400" y="20941"/>
                  <a:pt x="6307" y="21600"/>
                  <a:pt x="7425" y="21600"/>
                </a:cubicBezTo>
                <a:cubicBezTo>
                  <a:pt x="8543" y="21600"/>
                  <a:pt x="9450" y="20941"/>
                  <a:pt x="9450" y="20127"/>
                </a:cubicBezTo>
                <a:lnTo>
                  <a:pt x="9450" y="17673"/>
                </a:lnTo>
                <a:lnTo>
                  <a:pt x="12150" y="17673"/>
                </a:lnTo>
                <a:lnTo>
                  <a:pt x="12150" y="20127"/>
                </a:lnTo>
                <a:cubicBezTo>
                  <a:pt x="12150" y="20941"/>
                  <a:pt x="13056" y="21600"/>
                  <a:pt x="14175" y="21600"/>
                </a:cubicBezTo>
                <a:cubicBezTo>
                  <a:pt x="15294" y="21600"/>
                  <a:pt x="16200" y="20941"/>
                  <a:pt x="16200" y="20127"/>
                </a:cubicBezTo>
                <a:lnTo>
                  <a:pt x="16200" y="17673"/>
                </a:lnTo>
                <a:lnTo>
                  <a:pt x="17550" y="17673"/>
                </a:lnTo>
                <a:cubicBezTo>
                  <a:pt x="18295" y="17673"/>
                  <a:pt x="18900" y="17233"/>
                  <a:pt x="18900" y="16691"/>
                </a:cubicBezTo>
                <a:lnTo>
                  <a:pt x="18900" y="15128"/>
                </a:lnTo>
                <a:cubicBezTo>
                  <a:pt x="19112" y="15183"/>
                  <a:pt x="19336" y="15218"/>
                  <a:pt x="19575" y="15218"/>
                </a:cubicBezTo>
                <a:cubicBezTo>
                  <a:pt x="20694" y="15218"/>
                  <a:pt x="21600" y="14559"/>
                  <a:pt x="21600" y="13745"/>
                </a:cubicBezTo>
                <a:lnTo>
                  <a:pt x="21600" y="6873"/>
                </a:lnTo>
                <a:cubicBezTo>
                  <a:pt x="21600" y="6060"/>
                  <a:pt x="20694" y="5400"/>
                  <a:pt x="19575" y="5400"/>
                </a:cubicBezTo>
                <a:moveTo>
                  <a:pt x="12825" y="3436"/>
                </a:moveTo>
                <a:cubicBezTo>
                  <a:pt x="12452" y="3436"/>
                  <a:pt x="12150" y="3656"/>
                  <a:pt x="12150" y="3927"/>
                </a:cubicBezTo>
                <a:cubicBezTo>
                  <a:pt x="12150" y="4199"/>
                  <a:pt x="12452" y="4418"/>
                  <a:pt x="12825" y="4418"/>
                </a:cubicBezTo>
                <a:cubicBezTo>
                  <a:pt x="13198" y="4418"/>
                  <a:pt x="13500" y="4199"/>
                  <a:pt x="13500" y="3927"/>
                </a:cubicBezTo>
                <a:cubicBezTo>
                  <a:pt x="13500" y="3656"/>
                  <a:pt x="13198" y="3436"/>
                  <a:pt x="12825" y="3436"/>
                </a:cubicBezTo>
                <a:moveTo>
                  <a:pt x="8775" y="3436"/>
                </a:moveTo>
                <a:cubicBezTo>
                  <a:pt x="8402" y="3436"/>
                  <a:pt x="8100" y="3656"/>
                  <a:pt x="8100" y="3927"/>
                </a:cubicBezTo>
                <a:cubicBezTo>
                  <a:pt x="8100" y="4199"/>
                  <a:pt x="8402" y="4418"/>
                  <a:pt x="8775" y="4418"/>
                </a:cubicBezTo>
                <a:cubicBezTo>
                  <a:pt x="9148" y="4418"/>
                  <a:pt x="9450" y="4199"/>
                  <a:pt x="9450" y="3927"/>
                </a:cubicBezTo>
                <a:cubicBezTo>
                  <a:pt x="9450" y="3656"/>
                  <a:pt x="9148" y="3436"/>
                  <a:pt x="8775" y="34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8" name="Shape 2708"/>
          <p:cNvSpPr/>
          <p:nvPr/>
        </p:nvSpPr>
        <p:spPr>
          <a:xfrm>
            <a:off x="1758543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8836" y="13888"/>
                </a:moveTo>
                <a:lnTo>
                  <a:pt x="8836" y="7712"/>
                </a:lnTo>
                <a:lnTo>
                  <a:pt x="14241" y="10800"/>
                </a:lnTo>
                <a:cubicBezTo>
                  <a:pt x="14241" y="10800"/>
                  <a:pt x="8836" y="13888"/>
                  <a:pt x="8836" y="13888"/>
                </a:cubicBezTo>
                <a:close/>
                <a:moveTo>
                  <a:pt x="15520" y="10422"/>
                </a:moveTo>
                <a:lnTo>
                  <a:pt x="15525" y="10416"/>
                </a:lnTo>
                <a:lnTo>
                  <a:pt x="15438" y="10367"/>
                </a:lnTo>
                <a:cubicBezTo>
                  <a:pt x="15425" y="10361"/>
                  <a:pt x="15414" y="10351"/>
                  <a:pt x="15401" y="10346"/>
                </a:cubicBezTo>
                <a:lnTo>
                  <a:pt x="8652" y="6489"/>
                </a:lnTo>
                <a:lnTo>
                  <a:pt x="8647" y="6495"/>
                </a:lnTo>
                <a:cubicBezTo>
                  <a:pt x="8563" y="6428"/>
                  <a:pt x="8461" y="6382"/>
                  <a:pt x="8345" y="6382"/>
                </a:cubicBezTo>
                <a:cubicBezTo>
                  <a:pt x="8075" y="6382"/>
                  <a:pt x="7855" y="6601"/>
                  <a:pt x="7855" y="6873"/>
                </a:cubicBezTo>
                <a:lnTo>
                  <a:pt x="7855" y="14727"/>
                </a:lnTo>
                <a:cubicBezTo>
                  <a:pt x="7855" y="14999"/>
                  <a:pt x="8075" y="15218"/>
                  <a:pt x="8345" y="15218"/>
                </a:cubicBezTo>
                <a:cubicBezTo>
                  <a:pt x="8461" y="15218"/>
                  <a:pt x="8563" y="15172"/>
                  <a:pt x="8647" y="15105"/>
                </a:cubicBezTo>
                <a:lnTo>
                  <a:pt x="8652" y="15111"/>
                </a:lnTo>
                <a:lnTo>
                  <a:pt x="15401" y="11254"/>
                </a:lnTo>
                <a:cubicBezTo>
                  <a:pt x="15414" y="11249"/>
                  <a:pt x="15425" y="11240"/>
                  <a:pt x="15438" y="11233"/>
                </a:cubicBezTo>
                <a:lnTo>
                  <a:pt x="15525" y="11184"/>
                </a:lnTo>
                <a:lnTo>
                  <a:pt x="15520" y="11178"/>
                </a:lnTo>
                <a:cubicBezTo>
                  <a:pt x="15632" y="11088"/>
                  <a:pt x="15709" y="10955"/>
                  <a:pt x="15709" y="10800"/>
                </a:cubicBezTo>
                <a:cubicBezTo>
                  <a:pt x="15709" y="10645"/>
                  <a:pt x="15632" y="10512"/>
                  <a:pt x="15520" y="1042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09" name="Shape 2709"/>
          <p:cNvSpPr/>
          <p:nvPr/>
        </p:nvSpPr>
        <p:spPr>
          <a:xfrm>
            <a:off x="2825064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745" y="13745"/>
                </a:moveTo>
                <a:lnTo>
                  <a:pt x="12764" y="13745"/>
                </a:lnTo>
                <a:lnTo>
                  <a:pt x="12764" y="7855"/>
                </a:lnTo>
                <a:lnTo>
                  <a:pt x="13745" y="7855"/>
                </a:lnTo>
                <a:cubicBezTo>
                  <a:pt x="13745" y="7855"/>
                  <a:pt x="13745" y="13745"/>
                  <a:pt x="13745" y="13745"/>
                </a:cubicBezTo>
                <a:close/>
                <a:moveTo>
                  <a:pt x="14236" y="6873"/>
                </a:moveTo>
                <a:lnTo>
                  <a:pt x="12273" y="6873"/>
                </a:lnTo>
                <a:cubicBezTo>
                  <a:pt x="12002" y="6873"/>
                  <a:pt x="11782" y="7092"/>
                  <a:pt x="11782" y="7364"/>
                </a:cubicBezTo>
                <a:lnTo>
                  <a:pt x="11782" y="14236"/>
                </a:lnTo>
                <a:cubicBezTo>
                  <a:pt x="11782" y="14508"/>
                  <a:pt x="12002" y="14727"/>
                  <a:pt x="12273" y="14727"/>
                </a:cubicBezTo>
                <a:lnTo>
                  <a:pt x="14236" y="14727"/>
                </a:lnTo>
                <a:cubicBezTo>
                  <a:pt x="14507" y="14727"/>
                  <a:pt x="14727" y="14508"/>
                  <a:pt x="14727" y="14236"/>
                </a:cubicBezTo>
                <a:lnTo>
                  <a:pt x="14727" y="7364"/>
                </a:lnTo>
                <a:cubicBezTo>
                  <a:pt x="14727" y="7092"/>
                  <a:pt x="14507" y="6873"/>
                  <a:pt x="14236" y="6873"/>
                </a:cubicBezTo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8836" y="13745"/>
                </a:moveTo>
                <a:lnTo>
                  <a:pt x="7855" y="13745"/>
                </a:lnTo>
                <a:lnTo>
                  <a:pt x="7855" y="7855"/>
                </a:lnTo>
                <a:lnTo>
                  <a:pt x="8836" y="7855"/>
                </a:lnTo>
                <a:cubicBezTo>
                  <a:pt x="8836" y="7855"/>
                  <a:pt x="8836" y="13745"/>
                  <a:pt x="8836" y="13745"/>
                </a:cubicBezTo>
                <a:close/>
                <a:moveTo>
                  <a:pt x="9327" y="6873"/>
                </a:moveTo>
                <a:lnTo>
                  <a:pt x="7364" y="6873"/>
                </a:lnTo>
                <a:cubicBezTo>
                  <a:pt x="7093" y="6873"/>
                  <a:pt x="6873" y="7092"/>
                  <a:pt x="6873" y="7364"/>
                </a:cubicBezTo>
                <a:lnTo>
                  <a:pt x="6873" y="14236"/>
                </a:lnTo>
                <a:cubicBezTo>
                  <a:pt x="6873" y="14508"/>
                  <a:pt x="7093" y="14727"/>
                  <a:pt x="7364" y="14727"/>
                </a:cubicBezTo>
                <a:lnTo>
                  <a:pt x="9327" y="14727"/>
                </a:lnTo>
                <a:cubicBezTo>
                  <a:pt x="9598" y="14727"/>
                  <a:pt x="9818" y="14508"/>
                  <a:pt x="9818" y="14236"/>
                </a:cubicBezTo>
                <a:lnTo>
                  <a:pt x="9818" y="7364"/>
                </a:lnTo>
                <a:cubicBezTo>
                  <a:pt x="9818" y="7092"/>
                  <a:pt x="9598" y="6873"/>
                  <a:pt x="9327" y="68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0" name="Shape 2710"/>
          <p:cNvSpPr/>
          <p:nvPr/>
        </p:nvSpPr>
        <p:spPr>
          <a:xfrm>
            <a:off x="3891587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745" y="13745"/>
                </a:moveTo>
                <a:lnTo>
                  <a:pt x="7855" y="13745"/>
                </a:lnTo>
                <a:lnTo>
                  <a:pt x="7855" y="7855"/>
                </a:lnTo>
                <a:lnTo>
                  <a:pt x="13745" y="7855"/>
                </a:lnTo>
                <a:cubicBezTo>
                  <a:pt x="13745" y="7855"/>
                  <a:pt x="13745" y="13745"/>
                  <a:pt x="13745" y="13745"/>
                </a:cubicBezTo>
                <a:close/>
                <a:moveTo>
                  <a:pt x="14236" y="6873"/>
                </a:moveTo>
                <a:lnTo>
                  <a:pt x="7364" y="6873"/>
                </a:lnTo>
                <a:cubicBezTo>
                  <a:pt x="7093" y="6873"/>
                  <a:pt x="6873" y="7092"/>
                  <a:pt x="6873" y="7364"/>
                </a:cubicBezTo>
                <a:lnTo>
                  <a:pt x="6873" y="14236"/>
                </a:lnTo>
                <a:cubicBezTo>
                  <a:pt x="6873" y="14508"/>
                  <a:pt x="7093" y="14727"/>
                  <a:pt x="7364" y="14727"/>
                </a:cubicBezTo>
                <a:lnTo>
                  <a:pt x="14236" y="14727"/>
                </a:lnTo>
                <a:cubicBezTo>
                  <a:pt x="14507" y="14727"/>
                  <a:pt x="14727" y="14508"/>
                  <a:pt x="14727" y="14236"/>
                </a:cubicBezTo>
                <a:lnTo>
                  <a:pt x="14727" y="7364"/>
                </a:lnTo>
                <a:cubicBezTo>
                  <a:pt x="14727" y="7092"/>
                  <a:pt x="14507" y="6873"/>
                  <a:pt x="14236" y="6873"/>
                </a:cubicBezTo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1" name="Shape 2711"/>
          <p:cNvSpPr/>
          <p:nvPr/>
        </p:nvSpPr>
        <p:spPr>
          <a:xfrm>
            <a:off x="4958109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800" y="13745"/>
                </a:moveTo>
                <a:cubicBezTo>
                  <a:pt x="9173" y="13745"/>
                  <a:pt x="7855" y="12427"/>
                  <a:pt x="7855" y="10800"/>
                </a:cubicBezTo>
                <a:cubicBezTo>
                  <a:pt x="7855" y="9173"/>
                  <a:pt x="9173" y="7855"/>
                  <a:pt x="10800" y="7855"/>
                </a:cubicBezTo>
                <a:cubicBezTo>
                  <a:pt x="12427" y="7855"/>
                  <a:pt x="13745" y="9173"/>
                  <a:pt x="13745" y="10800"/>
                </a:cubicBezTo>
                <a:cubicBezTo>
                  <a:pt x="13745" y="12427"/>
                  <a:pt x="12427" y="13745"/>
                  <a:pt x="10800" y="13745"/>
                </a:cubicBezTo>
                <a:moveTo>
                  <a:pt x="10800" y="6873"/>
                </a:moveTo>
                <a:cubicBezTo>
                  <a:pt x="8631" y="6873"/>
                  <a:pt x="6873" y="8631"/>
                  <a:pt x="6873" y="10800"/>
                </a:cubicBezTo>
                <a:cubicBezTo>
                  <a:pt x="6873" y="12969"/>
                  <a:pt x="8631" y="14727"/>
                  <a:pt x="10800" y="14727"/>
                </a:cubicBezTo>
                <a:cubicBezTo>
                  <a:pt x="12969" y="14727"/>
                  <a:pt x="14727" y="12969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2" name="Shape 2712"/>
          <p:cNvSpPr/>
          <p:nvPr/>
        </p:nvSpPr>
        <p:spPr>
          <a:xfrm>
            <a:off x="6024631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3888"/>
                </a:moveTo>
                <a:lnTo>
                  <a:pt x="10800" y="7712"/>
                </a:lnTo>
                <a:lnTo>
                  <a:pt x="16204" y="10800"/>
                </a:lnTo>
                <a:cubicBezTo>
                  <a:pt x="16204" y="10800"/>
                  <a:pt x="10800" y="13888"/>
                  <a:pt x="10800" y="13888"/>
                </a:cubicBezTo>
                <a:close/>
                <a:moveTo>
                  <a:pt x="17484" y="10422"/>
                </a:moveTo>
                <a:lnTo>
                  <a:pt x="17489" y="10416"/>
                </a:lnTo>
                <a:lnTo>
                  <a:pt x="17402" y="10367"/>
                </a:lnTo>
                <a:cubicBezTo>
                  <a:pt x="17389" y="10361"/>
                  <a:pt x="17378" y="10351"/>
                  <a:pt x="17365" y="10346"/>
                </a:cubicBezTo>
                <a:lnTo>
                  <a:pt x="10616" y="6489"/>
                </a:lnTo>
                <a:lnTo>
                  <a:pt x="10611" y="6495"/>
                </a:lnTo>
                <a:cubicBezTo>
                  <a:pt x="10527" y="6428"/>
                  <a:pt x="10425" y="6382"/>
                  <a:pt x="10309" y="6382"/>
                </a:cubicBezTo>
                <a:cubicBezTo>
                  <a:pt x="10038" y="6382"/>
                  <a:pt x="9818" y="6601"/>
                  <a:pt x="9818" y="6873"/>
                </a:cubicBezTo>
                <a:lnTo>
                  <a:pt x="9818" y="14727"/>
                </a:lnTo>
                <a:cubicBezTo>
                  <a:pt x="9818" y="14999"/>
                  <a:pt x="10038" y="15218"/>
                  <a:pt x="10309" y="15218"/>
                </a:cubicBezTo>
                <a:cubicBezTo>
                  <a:pt x="10425" y="15218"/>
                  <a:pt x="10527" y="15172"/>
                  <a:pt x="10611" y="15105"/>
                </a:cubicBezTo>
                <a:lnTo>
                  <a:pt x="10616" y="15111"/>
                </a:lnTo>
                <a:lnTo>
                  <a:pt x="17365" y="11254"/>
                </a:lnTo>
                <a:cubicBezTo>
                  <a:pt x="17378" y="11249"/>
                  <a:pt x="17388" y="11239"/>
                  <a:pt x="17401" y="11233"/>
                </a:cubicBezTo>
                <a:lnTo>
                  <a:pt x="17489" y="11184"/>
                </a:lnTo>
                <a:lnTo>
                  <a:pt x="17484" y="11178"/>
                </a:lnTo>
                <a:cubicBezTo>
                  <a:pt x="17596" y="11088"/>
                  <a:pt x="17673" y="10955"/>
                  <a:pt x="17673" y="10800"/>
                </a:cubicBezTo>
                <a:cubicBezTo>
                  <a:pt x="17673" y="10645"/>
                  <a:pt x="17596" y="10512"/>
                  <a:pt x="17484" y="10422"/>
                </a:cubicBezTo>
                <a:moveTo>
                  <a:pt x="10800" y="20618"/>
                </a:moveTo>
                <a:cubicBezTo>
                  <a:pt x="5377" y="20618"/>
                  <a:pt x="982" y="16222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6684" y="6495"/>
                </a:moveTo>
                <a:cubicBezTo>
                  <a:pt x="6600" y="6428"/>
                  <a:pt x="6498" y="6382"/>
                  <a:pt x="6382" y="6382"/>
                </a:cubicBezTo>
                <a:cubicBezTo>
                  <a:pt x="6111" y="6382"/>
                  <a:pt x="5891" y="6601"/>
                  <a:pt x="5891" y="6873"/>
                </a:cubicBezTo>
                <a:lnTo>
                  <a:pt x="5891" y="14727"/>
                </a:lnTo>
                <a:cubicBezTo>
                  <a:pt x="5891" y="14999"/>
                  <a:pt x="6111" y="15218"/>
                  <a:pt x="6382" y="15218"/>
                </a:cubicBezTo>
                <a:cubicBezTo>
                  <a:pt x="6498" y="15218"/>
                  <a:pt x="6600" y="15172"/>
                  <a:pt x="6684" y="15105"/>
                </a:cubicBezTo>
                <a:lnTo>
                  <a:pt x="6689" y="15111"/>
                </a:lnTo>
                <a:lnTo>
                  <a:pt x="8836" y="13883"/>
                </a:lnTo>
                <a:lnTo>
                  <a:pt x="8836" y="12766"/>
                </a:lnTo>
                <a:lnTo>
                  <a:pt x="6873" y="13888"/>
                </a:lnTo>
                <a:lnTo>
                  <a:pt x="6873" y="7712"/>
                </a:lnTo>
                <a:lnTo>
                  <a:pt x="8836" y="8834"/>
                </a:lnTo>
                <a:lnTo>
                  <a:pt x="8836" y="7716"/>
                </a:lnTo>
                <a:lnTo>
                  <a:pt x="6689" y="6489"/>
                </a:lnTo>
                <a:cubicBezTo>
                  <a:pt x="6689" y="6489"/>
                  <a:pt x="6684" y="6495"/>
                  <a:pt x="6684" y="649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3" name="Shape 2713"/>
          <p:cNvSpPr/>
          <p:nvPr/>
        </p:nvSpPr>
        <p:spPr>
          <a:xfrm>
            <a:off x="7091154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4236"/>
                </a:moveTo>
                <a:lnTo>
                  <a:pt x="13745" y="14236"/>
                </a:lnTo>
                <a:lnTo>
                  <a:pt x="13745" y="7364"/>
                </a:lnTo>
                <a:lnTo>
                  <a:pt x="14727" y="7364"/>
                </a:lnTo>
                <a:cubicBezTo>
                  <a:pt x="14727" y="7364"/>
                  <a:pt x="14727" y="14236"/>
                  <a:pt x="14727" y="14236"/>
                </a:cubicBezTo>
                <a:close/>
                <a:moveTo>
                  <a:pt x="6873" y="13888"/>
                </a:moveTo>
                <a:lnTo>
                  <a:pt x="6873" y="7712"/>
                </a:lnTo>
                <a:lnTo>
                  <a:pt x="12277" y="10800"/>
                </a:lnTo>
                <a:cubicBezTo>
                  <a:pt x="12277" y="10800"/>
                  <a:pt x="6873" y="13888"/>
                  <a:pt x="6873" y="13888"/>
                </a:cubicBezTo>
                <a:close/>
                <a:moveTo>
                  <a:pt x="15218" y="6382"/>
                </a:moveTo>
                <a:lnTo>
                  <a:pt x="13255" y="6382"/>
                </a:lnTo>
                <a:cubicBezTo>
                  <a:pt x="12983" y="6382"/>
                  <a:pt x="12764" y="6601"/>
                  <a:pt x="12764" y="6873"/>
                </a:cubicBezTo>
                <a:lnTo>
                  <a:pt x="12764" y="9961"/>
                </a:lnTo>
                <a:lnTo>
                  <a:pt x="6689" y="6489"/>
                </a:lnTo>
                <a:lnTo>
                  <a:pt x="6684" y="6495"/>
                </a:lnTo>
                <a:cubicBezTo>
                  <a:pt x="6600" y="6428"/>
                  <a:pt x="6498" y="6382"/>
                  <a:pt x="6382" y="6382"/>
                </a:cubicBezTo>
                <a:cubicBezTo>
                  <a:pt x="6110" y="6382"/>
                  <a:pt x="5891" y="6601"/>
                  <a:pt x="5891" y="6873"/>
                </a:cubicBezTo>
                <a:lnTo>
                  <a:pt x="5891" y="14727"/>
                </a:lnTo>
                <a:cubicBezTo>
                  <a:pt x="5891" y="14999"/>
                  <a:pt x="6110" y="15218"/>
                  <a:pt x="6382" y="15218"/>
                </a:cubicBezTo>
                <a:cubicBezTo>
                  <a:pt x="6498" y="15218"/>
                  <a:pt x="6600" y="15172"/>
                  <a:pt x="6684" y="15105"/>
                </a:cubicBezTo>
                <a:lnTo>
                  <a:pt x="6689" y="15111"/>
                </a:lnTo>
                <a:lnTo>
                  <a:pt x="12764" y="11639"/>
                </a:lnTo>
                <a:lnTo>
                  <a:pt x="12764" y="14727"/>
                </a:lnTo>
                <a:cubicBezTo>
                  <a:pt x="12764" y="14999"/>
                  <a:pt x="12983" y="15218"/>
                  <a:pt x="13255" y="15218"/>
                </a:cubicBezTo>
                <a:lnTo>
                  <a:pt x="15218" y="15218"/>
                </a:lnTo>
                <a:cubicBezTo>
                  <a:pt x="15490" y="15218"/>
                  <a:pt x="15709" y="14999"/>
                  <a:pt x="15709" y="14727"/>
                </a:cubicBezTo>
                <a:lnTo>
                  <a:pt x="15709" y="6873"/>
                </a:lnTo>
                <a:cubicBezTo>
                  <a:pt x="15709" y="6601"/>
                  <a:pt x="15490" y="6382"/>
                  <a:pt x="15218" y="6382"/>
                </a:cubicBezTo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4" name="Shape 2714"/>
          <p:cNvSpPr/>
          <p:nvPr/>
        </p:nvSpPr>
        <p:spPr>
          <a:xfrm>
            <a:off x="8157677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8054" y="9818"/>
                </a:moveTo>
                <a:lnTo>
                  <a:pt x="10800" y="7072"/>
                </a:lnTo>
                <a:lnTo>
                  <a:pt x="13547" y="9818"/>
                </a:lnTo>
                <a:cubicBezTo>
                  <a:pt x="13547" y="9818"/>
                  <a:pt x="8054" y="9818"/>
                  <a:pt x="8054" y="9818"/>
                </a:cubicBezTo>
                <a:close/>
                <a:moveTo>
                  <a:pt x="15111" y="10002"/>
                </a:moveTo>
                <a:lnTo>
                  <a:pt x="15083" y="9975"/>
                </a:lnTo>
                <a:cubicBezTo>
                  <a:pt x="15076" y="9968"/>
                  <a:pt x="15069" y="9960"/>
                  <a:pt x="15061" y="9953"/>
                </a:cubicBezTo>
                <a:lnTo>
                  <a:pt x="11184" y="6075"/>
                </a:lnTo>
                <a:lnTo>
                  <a:pt x="11177" y="6080"/>
                </a:lnTo>
                <a:cubicBezTo>
                  <a:pt x="11088" y="5968"/>
                  <a:pt x="10955" y="5891"/>
                  <a:pt x="10800" y="5891"/>
                </a:cubicBezTo>
                <a:cubicBezTo>
                  <a:pt x="10645" y="5891"/>
                  <a:pt x="10512" y="5968"/>
                  <a:pt x="10422" y="6080"/>
                </a:cubicBezTo>
                <a:lnTo>
                  <a:pt x="10416" y="6075"/>
                </a:lnTo>
                <a:lnTo>
                  <a:pt x="6539" y="9953"/>
                </a:lnTo>
                <a:cubicBezTo>
                  <a:pt x="6531" y="9960"/>
                  <a:pt x="6524" y="9968"/>
                  <a:pt x="6517" y="9975"/>
                </a:cubicBezTo>
                <a:lnTo>
                  <a:pt x="6489" y="10002"/>
                </a:lnTo>
                <a:lnTo>
                  <a:pt x="6495" y="10007"/>
                </a:lnTo>
                <a:cubicBezTo>
                  <a:pt x="6428" y="10091"/>
                  <a:pt x="6382" y="10193"/>
                  <a:pt x="6382" y="10309"/>
                </a:cubicBezTo>
                <a:cubicBezTo>
                  <a:pt x="6382" y="10580"/>
                  <a:pt x="6601" y="10800"/>
                  <a:pt x="6873" y="10800"/>
                </a:cubicBezTo>
                <a:lnTo>
                  <a:pt x="14727" y="10800"/>
                </a:lnTo>
                <a:cubicBezTo>
                  <a:pt x="14999" y="10800"/>
                  <a:pt x="15218" y="10580"/>
                  <a:pt x="15218" y="10309"/>
                </a:cubicBezTo>
                <a:cubicBezTo>
                  <a:pt x="15218" y="10193"/>
                  <a:pt x="15172" y="10091"/>
                  <a:pt x="15105" y="10007"/>
                </a:cubicBezTo>
                <a:cubicBezTo>
                  <a:pt x="15105" y="10007"/>
                  <a:pt x="15111" y="10002"/>
                  <a:pt x="15111" y="10002"/>
                </a:cubicBezTo>
                <a:close/>
                <a:moveTo>
                  <a:pt x="14236" y="13745"/>
                </a:moveTo>
                <a:lnTo>
                  <a:pt x="7364" y="13745"/>
                </a:lnTo>
                <a:lnTo>
                  <a:pt x="7364" y="12764"/>
                </a:lnTo>
                <a:lnTo>
                  <a:pt x="14236" y="12764"/>
                </a:lnTo>
                <a:cubicBezTo>
                  <a:pt x="14236" y="12764"/>
                  <a:pt x="14236" y="13745"/>
                  <a:pt x="14236" y="13745"/>
                </a:cubicBezTo>
                <a:close/>
                <a:moveTo>
                  <a:pt x="14727" y="11782"/>
                </a:moveTo>
                <a:lnTo>
                  <a:pt x="6873" y="11782"/>
                </a:lnTo>
                <a:cubicBezTo>
                  <a:pt x="6601" y="11782"/>
                  <a:pt x="6382" y="12001"/>
                  <a:pt x="6382" y="12273"/>
                </a:cubicBezTo>
                <a:lnTo>
                  <a:pt x="6382" y="14236"/>
                </a:lnTo>
                <a:cubicBezTo>
                  <a:pt x="6382" y="14508"/>
                  <a:pt x="6601" y="14727"/>
                  <a:pt x="6873" y="14727"/>
                </a:cubicBezTo>
                <a:lnTo>
                  <a:pt x="14727" y="14727"/>
                </a:lnTo>
                <a:cubicBezTo>
                  <a:pt x="14999" y="14727"/>
                  <a:pt x="15218" y="14508"/>
                  <a:pt x="15218" y="14236"/>
                </a:cubicBezTo>
                <a:lnTo>
                  <a:pt x="15218" y="12273"/>
                </a:lnTo>
                <a:cubicBezTo>
                  <a:pt x="15218" y="12001"/>
                  <a:pt x="14999" y="11782"/>
                  <a:pt x="14727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5" name="Shape 2715"/>
          <p:cNvSpPr/>
          <p:nvPr/>
        </p:nvSpPr>
        <p:spPr>
          <a:xfrm>
            <a:off x="9224197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21600"/>
                </a:moveTo>
                <a:lnTo>
                  <a:pt x="17673" y="21600"/>
                </a:lnTo>
                <a:lnTo>
                  <a:pt x="17673" y="20618"/>
                </a:lnTo>
                <a:lnTo>
                  <a:pt x="15709" y="20618"/>
                </a:lnTo>
                <a:cubicBezTo>
                  <a:pt x="15709" y="20618"/>
                  <a:pt x="15709" y="21600"/>
                  <a:pt x="15709" y="21600"/>
                </a:cubicBezTo>
                <a:close/>
                <a:moveTo>
                  <a:pt x="11782" y="21600"/>
                </a:moveTo>
                <a:lnTo>
                  <a:pt x="13745" y="21600"/>
                </a:lnTo>
                <a:lnTo>
                  <a:pt x="13745" y="20618"/>
                </a:lnTo>
                <a:lnTo>
                  <a:pt x="11782" y="20618"/>
                </a:lnTo>
                <a:cubicBezTo>
                  <a:pt x="11782" y="20618"/>
                  <a:pt x="11782" y="21600"/>
                  <a:pt x="11782" y="21600"/>
                </a:cubicBezTo>
                <a:close/>
                <a:moveTo>
                  <a:pt x="7855" y="982"/>
                </a:moveTo>
                <a:lnTo>
                  <a:pt x="9818" y="982"/>
                </a:lnTo>
                <a:lnTo>
                  <a:pt x="9818" y="0"/>
                </a:lnTo>
                <a:lnTo>
                  <a:pt x="7855" y="0"/>
                </a:lnTo>
                <a:cubicBezTo>
                  <a:pt x="7855" y="0"/>
                  <a:pt x="7855" y="982"/>
                  <a:pt x="7855" y="982"/>
                </a:cubicBezTo>
                <a:close/>
                <a:moveTo>
                  <a:pt x="11782" y="982"/>
                </a:moveTo>
                <a:lnTo>
                  <a:pt x="13745" y="982"/>
                </a:lnTo>
                <a:lnTo>
                  <a:pt x="13745" y="0"/>
                </a:lnTo>
                <a:lnTo>
                  <a:pt x="11782" y="0"/>
                </a:lnTo>
                <a:cubicBezTo>
                  <a:pt x="11782" y="0"/>
                  <a:pt x="11782" y="982"/>
                  <a:pt x="11782" y="982"/>
                </a:cubicBezTo>
                <a:close/>
                <a:moveTo>
                  <a:pt x="15709" y="982"/>
                </a:moveTo>
                <a:lnTo>
                  <a:pt x="17673" y="982"/>
                </a:lnTo>
                <a:lnTo>
                  <a:pt x="17673" y="0"/>
                </a:lnTo>
                <a:lnTo>
                  <a:pt x="15709" y="0"/>
                </a:lnTo>
                <a:cubicBezTo>
                  <a:pt x="15709" y="0"/>
                  <a:pt x="15709" y="982"/>
                  <a:pt x="15709" y="982"/>
                </a:cubicBezTo>
                <a:close/>
                <a:moveTo>
                  <a:pt x="19636" y="20346"/>
                </a:moveTo>
                <a:lnTo>
                  <a:pt x="19636" y="21420"/>
                </a:lnTo>
                <a:cubicBezTo>
                  <a:pt x="20470" y="21123"/>
                  <a:pt x="21128" y="20467"/>
                  <a:pt x="21426" y="19636"/>
                </a:cubicBezTo>
                <a:lnTo>
                  <a:pt x="20350" y="19636"/>
                </a:lnTo>
                <a:cubicBezTo>
                  <a:pt x="20177" y="19929"/>
                  <a:pt x="19931" y="20174"/>
                  <a:pt x="19636" y="20346"/>
                </a:cubicBezTo>
                <a:moveTo>
                  <a:pt x="20618" y="5891"/>
                </a:moveTo>
                <a:lnTo>
                  <a:pt x="21600" y="5891"/>
                </a:lnTo>
                <a:lnTo>
                  <a:pt x="21600" y="3927"/>
                </a:lnTo>
                <a:lnTo>
                  <a:pt x="20618" y="3927"/>
                </a:lnTo>
                <a:cubicBezTo>
                  <a:pt x="20618" y="3927"/>
                  <a:pt x="20618" y="5891"/>
                  <a:pt x="20618" y="5891"/>
                </a:cubicBezTo>
                <a:close/>
                <a:moveTo>
                  <a:pt x="20618" y="9818"/>
                </a:moveTo>
                <a:lnTo>
                  <a:pt x="21600" y="9818"/>
                </a:lnTo>
                <a:lnTo>
                  <a:pt x="21600" y="7855"/>
                </a:lnTo>
                <a:lnTo>
                  <a:pt x="20618" y="7855"/>
                </a:lnTo>
                <a:cubicBezTo>
                  <a:pt x="20618" y="7855"/>
                  <a:pt x="20618" y="9818"/>
                  <a:pt x="20618" y="9818"/>
                </a:cubicBezTo>
                <a:close/>
                <a:moveTo>
                  <a:pt x="20618" y="13745"/>
                </a:moveTo>
                <a:lnTo>
                  <a:pt x="21600" y="13745"/>
                </a:lnTo>
                <a:lnTo>
                  <a:pt x="21600" y="11782"/>
                </a:lnTo>
                <a:lnTo>
                  <a:pt x="20618" y="11782"/>
                </a:lnTo>
                <a:cubicBezTo>
                  <a:pt x="20618" y="11782"/>
                  <a:pt x="20618" y="13745"/>
                  <a:pt x="20618" y="13745"/>
                </a:cubicBezTo>
                <a:close/>
                <a:moveTo>
                  <a:pt x="20618" y="17673"/>
                </a:moveTo>
                <a:lnTo>
                  <a:pt x="21600" y="17673"/>
                </a:lnTo>
                <a:lnTo>
                  <a:pt x="21600" y="15709"/>
                </a:lnTo>
                <a:lnTo>
                  <a:pt x="20618" y="15709"/>
                </a:ln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1250" y="19636"/>
                </a:moveTo>
                <a:lnTo>
                  <a:pt x="175" y="19636"/>
                </a:lnTo>
                <a:cubicBezTo>
                  <a:pt x="472" y="20467"/>
                  <a:pt x="1130" y="21123"/>
                  <a:pt x="1964" y="21420"/>
                </a:cubicBezTo>
                <a:lnTo>
                  <a:pt x="1964" y="20346"/>
                </a:lnTo>
                <a:cubicBezTo>
                  <a:pt x="1669" y="20174"/>
                  <a:pt x="1423" y="19929"/>
                  <a:pt x="1250" y="19636"/>
                </a:cubicBezTo>
                <a:moveTo>
                  <a:pt x="20350" y="1964"/>
                </a:moveTo>
                <a:lnTo>
                  <a:pt x="21426" y="1964"/>
                </a:lnTo>
                <a:cubicBezTo>
                  <a:pt x="21128" y="1133"/>
                  <a:pt x="20470" y="477"/>
                  <a:pt x="19636" y="180"/>
                </a:cubicBezTo>
                <a:lnTo>
                  <a:pt x="19636" y="1254"/>
                </a:lnTo>
                <a:cubicBezTo>
                  <a:pt x="19931" y="1426"/>
                  <a:pt x="20177" y="1670"/>
                  <a:pt x="20350" y="1964"/>
                </a:cubicBezTo>
                <a:moveTo>
                  <a:pt x="982" y="15709"/>
                </a:moveTo>
                <a:lnTo>
                  <a:pt x="0" y="15709"/>
                </a:lnTo>
                <a:lnTo>
                  <a:pt x="0" y="17673"/>
                </a:lnTo>
                <a:lnTo>
                  <a:pt x="982" y="17673"/>
                </a:lnTo>
                <a:cubicBezTo>
                  <a:pt x="982" y="17673"/>
                  <a:pt x="982" y="15709"/>
                  <a:pt x="982" y="15709"/>
                </a:cubicBezTo>
                <a:close/>
                <a:moveTo>
                  <a:pt x="982" y="7855"/>
                </a:moveTo>
                <a:lnTo>
                  <a:pt x="0" y="7855"/>
                </a:lnTo>
                <a:lnTo>
                  <a:pt x="0" y="9818"/>
                </a:lnTo>
                <a:lnTo>
                  <a:pt x="982" y="9818"/>
                </a:lnTo>
                <a:cubicBezTo>
                  <a:pt x="982" y="9818"/>
                  <a:pt x="982" y="7855"/>
                  <a:pt x="982" y="7855"/>
                </a:cubicBezTo>
                <a:close/>
                <a:moveTo>
                  <a:pt x="982" y="3927"/>
                </a:moveTo>
                <a:lnTo>
                  <a:pt x="0" y="3927"/>
                </a:lnTo>
                <a:lnTo>
                  <a:pt x="0" y="5891"/>
                </a:lnTo>
                <a:lnTo>
                  <a:pt x="982" y="5891"/>
                </a:lnTo>
                <a:cubicBezTo>
                  <a:pt x="982" y="5891"/>
                  <a:pt x="982" y="3927"/>
                  <a:pt x="982" y="3927"/>
                </a:cubicBezTo>
                <a:close/>
                <a:moveTo>
                  <a:pt x="982" y="11782"/>
                </a:moveTo>
                <a:lnTo>
                  <a:pt x="0" y="11782"/>
                </a:lnTo>
                <a:lnTo>
                  <a:pt x="0" y="13745"/>
                </a:lnTo>
                <a:lnTo>
                  <a:pt x="982" y="13745"/>
                </a:lnTo>
                <a:cubicBezTo>
                  <a:pt x="982" y="13745"/>
                  <a:pt x="982" y="11782"/>
                  <a:pt x="982" y="11782"/>
                </a:cubicBezTo>
                <a:close/>
                <a:moveTo>
                  <a:pt x="3927" y="982"/>
                </a:moveTo>
                <a:lnTo>
                  <a:pt x="5891" y="982"/>
                </a:lnTo>
                <a:lnTo>
                  <a:pt x="5891" y="0"/>
                </a:lnTo>
                <a:lnTo>
                  <a:pt x="3927" y="0"/>
                </a:lnTo>
                <a:cubicBezTo>
                  <a:pt x="3927" y="0"/>
                  <a:pt x="3927" y="982"/>
                  <a:pt x="3927" y="982"/>
                </a:cubicBezTo>
                <a:close/>
                <a:moveTo>
                  <a:pt x="7855" y="21600"/>
                </a:moveTo>
                <a:lnTo>
                  <a:pt x="9818" y="21600"/>
                </a:lnTo>
                <a:lnTo>
                  <a:pt x="9818" y="20618"/>
                </a:lnTo>
                <a:lnTo>
                  <a:pt x="7855" y="20618"/>
                </a:lnTo>
                <a:cubicBezTo>
                  <a:pt x="7855" y="20618"/>
                  <a:pt x="7855" y="21600"/>
                  <a:pt x="7855" y="21600"/>
                </a:cubicBezTo>
                <a:close/>
                <a:moveTo>
                  <a:pt x="3927" y="21600"/>
                </a:moveTo>
                <a:lnTo>
                  <a:pt x="5891" y="21600"/>
                </a:lnTo>
                <a:lnTo>
                  <a:pt x="5891" y="20618"/>
                </a:lnTo>
                <a:lnTo>
                  <a:pt x="3927" y="20618"/>
                </a:lnTo>
                <a:cubicBezTo>
                  <a:pt x="3927" y="20618"/>
                  <a:pt x="3927" y="21600"/>
                  <a:pt x="3927" y="21600"/>
                </a:cubicBezTo>
                <a:close/>
                <a:moveTo>
                  <a:pt x="175" y="1964"/>
                </a:moveTo>
                <a:lnTo>
                  <a:pt x="1250" y="1964"/>
                </a:lnTo>
                <a:cubicBezTo>
                  <a:pt x="1423" y="1670"/>
                  <a:pt x="1669" y="1426"/>
                  <a:pt x="1964" y="1254"/>
                </a:cubicBezTo>
                <a:lnTo>
                  <a:pt x="1964" y="180"/>
                </a:lnTo>
                <a:cubicBezTo>
                  <a:pt x="1130" y="477"/>
                  <a:pt x="472" y="1133"/>
                  <a:pt x="175" y="19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6" name="Shape 2716"/>
          <p:cNvSpPr/>
          <p:nvPr/>
        </p:nvSpPr>
        <p:spPr>
          <a:xfrm>
            <a:off x="10290720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745" y="13745"/>
                </a:moveTo>
                <a:lnTo>
                  <a:pt x="7855" y="13745"/>
                </a:lnTo>
                <a:lnTo>
                  <a:pt x="7855" y="7855"/>
                </a:lnTo>
                <a:lnTo>
                  <a:pt x="13745" y="7855"/>
                </a:lnTo>
                <a:cubicBezTo>
                  <a:pt x="13745" y="7855"/>
                  <a:pt x="13745" y="13745"/>
                  <a:pt x="13745" y="13745"/>
                </a:cubicBezTo>
                <a:close/>
                <a:moveTo>
                  <a:pt x="14236" y="6873"/>
                </a:moveTo>
                <a:lnTo>
                  <a:pt x="7364" y="6873"/>
                </a:lnTo>
                <a:cubicBezTo>
                  <a:pt x="7092" y="6873"/>
                  <a:pt x="6873" y="7092"/>
                  <a:pt x="6873" y="7364"/>
                </a:cubicBezTo>
                <a:lnTo>
                  <a:pt x="6873" y="14236"/>
                </a:lnTo>
                <a:cubicBezTo>
                  <a:pt x="6873" y="14508"/>
                  <a:pt x="7092" y="14727"/>
                  <a:pt x="7364" y="14727"/>
                </a:cubicBezTo>
                <a:lnTo>
                  <a:pt x="14236" y="14727"/>
                </a:lnTo>
                <a:cubicBezTo>
                  <a:pt x="14508" y="14727"/>
                  <a:pt x="14727" y="14508"/>
                  <a:pt x="14727" y="14236"/>
                </a:cubicBezTo>
                <a:lnTo>
                  <a:pt x="14727" y="7364"/>
                </a:lnTo>
                <a:cubicBezTo>
                  <a:pt x="14727" y="7092"/>
                  <a:pt x="14508" y="6873"/>
                  <a:pt x="14236" y="6873"/>
                </a:cubicBezTo>
                <a:moveTo>
                  <a:pt x="7855" y="21600"/>
                </a:moveTo>
                <a:lnTo>
                  <a:pt x="9818" y="21600"/>
                </a:lnTo>
                <a:lnTo>
                  <a:pt x="9818" y="20618"/>
                </a:lnTo>
                <a:lnTo>
                  <a:pt x="7855" y="20618"/>
                </a:lnTo>
                <a:cubicBezTo>
                  <a:pt x="7855" y="20618"/>
                  <a:pt x="7855" y="21600"/>
                  <a:pt x="7855" y="21600"/>
                </a:cubicBezTo>
                <a:close/>
                <a:moveTo>
                  <a:pt x="15709" y="21600"/>
                </a:moveTo>
                <a:lnTo>
                  <a:pt x="17673" y="21600"/>
                </a:lnTo>
                <a:lnTo>
                  <a:pt x="17673" y="20618"/>
                </a:lnTo>
                <a:lnTo>
                  <a:pt x="15709" y="20618"/>
                </a:lnTo>
                <a:cubicBezTo>
                  <a:pt x="15709" y="20618"/>
                  <a:pt x="15709" y="21600"/>
                  <a:pt x="15709" y="21600"/>
                </a:cubicBezTo>
                <a:close/>
                <a:moveTo>
                  <a:pt x="11782" y="21600"/>
                </a:moveTo>
                <a:lnTo>
                  <a:pt x="13745" y="21600"/>
                </a:lnTo>
                <a:lnTo>
                  <a:pt x="13745" y="20618"/>
                </a:lnTo>
                <a:lnTo>
                  <a:pt x="11782" y="20618"/>
                </a:lnTo>
                <a:cubicBezTo>
                  <a:pt x="11782" y="20618"/>
                  <a:pt x="11782" y="21600"/>
                  <a:pt x="11782" y="21600"/>
                </a:cubicBezTo>
                <a:close/>
                <a:moveTo>
                  <a:pt x="19636" y="20346"/>
                </a:moveTo>
                <a:lnTo>
                  <a:pt x="19636" y="21420"/>
                </a:lnTo>
                <a:cubicBezTo>
                  <a:pt x="20470" y="21123"/>
                  <a:pt x="21128" y="20467"/>
                  <a:pt x="21426" y="19636"/>
                </a:cubicBezTo>
                <a:lnTo>
                  <a:pt x="20350" y="19636"/>
                </a:lnTo>
                <a:cubicBezTo>
                  <a:pt x="20177" y="19929"/>
                  <a:pt x="19931" y="20174"/>
                  <a:pt x="19636" y="20346"/>
                </a:cubicBezTo>
                <a:moveTo>
                  <a:pt x="20618" y="5891"/>
                </a:moveTo>
                <a:lnTo>
                  <a:pt x="21600" y="5891"/>
                </a:lnTo>
                <a:lnTo>
                  <a:pt x="21600" y="3927"/>
                </a:lnTo>
                <a:lnTo>
                  <a:pt x="20618" y="3927"/>
                </a:lnTo>
                <a:cubicBezTo>
                  <a:pt x="20618" y="3927"/>
                  <a:pt x="20618" y="5891"/>
                  <a:pt x="20618" y="5891"/>
                </a:cubicBezTo>
                <a:close/>
                <a:moveTo>
                  <a:pt x="20618" y="9818"/>
                </a:moveTo>
                <a:lnTo>
                  <a:pt x="21600" y="9818"/>
                </a:lnTo>
                <a:lnTo>
                  <a:pt x="21600" y="7855"/>
                </a:lnTo>
                <a:lnTo>
                  <a:pt x="20618" y="7855"/>
                </a:lnTo>
                <a:cubicBezTo>
                  <a:pt x="20618" y="7855"/>
                  <a:pt x="20618" y="9818"/>
                  <a:pt x="20618" y="9818"/>
                </a:cubicBezTo>
                <a:close/>
                <a:moveTo>
                  <a:pt x="20618" y="17673"/>
                </a:moveTo>
                <a:lnTo>
                  <a:pt x="21600" y="17673"/>
                </a:lnTo>
                <a:lnTo>
                  <a:pt x="21600" y="15709"/>
                </a:lnTo>
                <a:lnTo>
                  <a:pt x="20618" y="15709"/>
                </a:ln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15709" y="982"/>
                </a:moveTo>
                <a:lnTo>
                  <a:pt x="17673" y="982"/>
                </a:lnTo>
                <a:lnTo>
                  <a:pt x="17673" y="0"/>
                </a:lnTo>
                <a:lnTo>
                  <a:pt x="15709" y="0"/>
                </a:lnTo>
                <a:cubicBezTo>
                  <a:pt x="15709" y="0"/>
                  <a:pt x="15709" y="982"/>
                  <a:pt x="15709" y="982"/>
                </a:cubicBezTo>
                <a:close/>
                <a:moveTo>
                  <a:pt x="3927" y="982"/>
                </a:moveTo>
                <a:lnTo>
                  <a:pt x="5891" y="982"/>
                </a:lnTo>
                <a:lnTo>
                  <a:pt x="5891" y="0"/>
                </a:lnTo>
                <a:lnTo>
                  <a:pt x="3927" y="0"/>
                </a:lnTo>
                <a:cubicBezTo>
                  <a:pt x="3927" y="0"/>
                  <a:pt x="3927" y="982"/>
                  <a:pt x="3927" y="982"/>
                </a:cubicBezTo>
                <a:close/>
                <a:moveTo>
                  <a:pt x="20618" y="13745"/>
                </a:moveTo>
                <a:lnTo>
                  <a:pt x="21600" y="13745"/>
                </a:lnTo>
                <a:lnTo>
                  <a:pt x="21600" y="11782"/>
                </a:lnTo>
                <a:lnTo>
                  <a:pt x="20618" y="11782"/>
                </a:lnTo>
                <a:cubicBezTo>
                  <a:pt x="20618" y="11782"/>
                  <a:pt x="20618" y="13745"/>
                  <a:pt x="20618" y="13745"/>
                </a:cubicBezTo>
                <a:close/>
                <a:moveTo>
                  <a:pt x="982" y="7855"/>
                </a:moveTo>
                <a:lnTo>
                  <a:pt x="0" y="7855"/>
                </a:lnTo>
                <a:lnTo>
                  <a:pt x="0" y="9818"/>
                </a:lnTo>
                <a:lnTo>
                  <a:pt x="982" y="9818"/>
                </a:lnTo>
                <a:cubicBezTo>
                  <a:pt x="982" y="9818"/>
                  <a:pt x="982" y="7855"/>
                  <a:pt x="982" y="7855"/>
                </a:cubicBezTo>
                <a:close/>
                <a:moveTo>
                  <a:pt x="9818" y="0"/>
                </a:moveTo>
                <a:lnTo>
                  <a:pt x="7855" y="0"/>
                </a:lnTo>
                <a:lnTo>
                  <a:pt x="7855" y="982"/>
                </a:lnTo>
                <a:lnTo>
                  <a:pt x="9818" y="982"/>
                </a:lnTo>
                <a:cubicBezTo>
                  <a:pt x="9818" y="982"/>
                  <a:pt x="9818" y="0"/>
                  <a:pt x="9818" y="0"/>
                </a:cubicBezTo>
                <a:close/>
                <a:moveTo>
                  <a:pt x="982" y="3927"/>
                </a:moveTo>
                <a:lnTo>
                  <a:pt x="0" y="3927"/>
                </a:lnTo>
                <a:lnTo>
                  <a:pt x="0" y="5891"/>
                </a:lnTo>
                <a:lnTo>
                  <a:pt x="982" y="5891"/>
                </a:lnTo>
                <a:cubicBezTo>
                  <a:pt x="982" y="5891"/>
                  <a:pt x="982" y="3927"/>
                  <a:pt x="982" y="3927"/>
                </a:cubicBezTo>
                <a:close/>
                <a:moveTo>
                  <a:pt x="20350" y="1964"/>
                </a:moveTo>
                <a:lnTo>
                  <a:pt x="21426" y="1964"/>
                </a:lnTo>
                <a:cubicBezTo>
                  <a:pt x="21128" y="1133"/>
                  <a:pt x="20470" y="477"/>
                  <a:pt x="19636" y="180"/>
                </a:cubicBezTo>
                <a:lnTo>
                  <a:pt x="19636" y="1254"/>
                </a:lnTo>
                <a:cubicBezTo>
                  <a:pt x="19931" y="1426"/>
                  <a:pt x="20177" y="1670"/>
                  <a:pt x="20350" y="1964"/>
                </a:cubicBezTo>
                <a:moveTo>
                  <a:pt x="13745" y="0"/>
                </a:moveTo>
                <a:lnTo>
                  <a:pt x="11782" y="0"/>
                </a:lnTo>
                <a:lnTo>
                  <a:pt x="11782" y="982"/>
                </a:lnTo>
                <a:lnTo>
                  <a:pt x="13745" y="982"/>
                </a:lnTo>
                <a:cubicBezTo>
                  <a:pt x="13745" y="982"/>
                  <a:pt x="13745" y="0"/>
                  <a:pt x="13745" y="0"/>
                </a:cubicBezTo>
                <a:close/>
                <a:moveTo>
                  <a:pt x="3927" y="21600"/>
                </a:moveTo>
                <a:lnTo>
                  <a:pt x="5891" y="21600"/>
                </a:lnTo>
                <a:lnTo>
                  <a:pt x="5891" y="20618"/>
                </a:lnTo>
                <a:lnTo>
                  <a:pt x="3927" y="20618"/>
                </a:lnTo>
                <a:cubicBezTo>
                  <a:pt x="3927" y="20618"/>
                  <a:pt x="3927" y="21600"/>
                  <a:pt x="3927" y="21600"/>
                </a:cubicBezTo>
                <a:close/>
                <a:moveTo>
                  <a:pt x="1250" y="19636"/>
                </a:moveTo>
                <a:lnTo>
                  <a:pt x="175" y="19636"/>
                </a:lnTo>
                <a:cubicBezTo>
                  <a:pt x="472" y="20467"/>
                  <a:pt x="1130" y="21123"/>
                  <a:pt x="1964" y="21420"/>
                </a:cubicBezTo>
                <a:lnTo>
                  <a:pt x="1964" y="20346"/>
                </a:lnTo>
                <a:cubicBezTo>
                  <a:pt x="1669" y="20174"/>
                  <a:pt x="1423" y="19929"/>
                  <a:pt x="1250" y="19636"/>
                </a:cubicBezTo>
                <a:moveTo>
                  <a:pt x="175" y="1964"/>
                </a:moveTo>
                <a:lnTo>
                  <a:pt x="1250" y="1964"/>
                </a:lnTo>
                <a:cubicBezTo>
                  <a:pt x="1423" y="1670"/>
                  <a:pt x="1669" y="1426"/>
                  <a:pt x="1964" y="1254"/>
                </a:cubicBezTo>
                <a:lnTo>
                  <a:pt x="1964" y="180"/>
                </a:lnTo>
                <a:cubicBezTo>
                  <a:pt x="1130" y="477"/>
                  <a:pt x="472" y="1133"/>
                  <a:pt x="175" y="1964"/>
                </a:cubicBezTo>
                <a:moveTo>
                  <a:pt x="982" y="15709"/>
                </a:moveTo>
                <a:lnTo>
                  <a:pt x="0" y="15709"/>
                </a:lnTo>
                <a:lnTo>
                  <a:pt x="0" y="17673"/>
                </a:lnTo>
                <a:lnTo>
                  <a:pt x="982" y="17673"/>
                </a:lnTo>
                <a:cubicBezTo>
                  <a:pt x="982" y="17673"/>
                  <a:pt x="982" y="15709"/>
                  <a:pt x="982" y="15709"/>
                </a:cubicBezTo>
                <a:close/>
                <a:moveTo>
                  <a:pt x="982" y="11782"/>
                </a:moveTo>
                <a:lnTo>
                  <a:pt x="0" y="11782"/>
                </a:lnTo>
                <a:lnTo>
                  <a:pt x="0" y="13745"/>
                </a:lnTo>
                <a:lnTo>
                  <a:pt x="982" y="13745"/>
                </a:lnTo>
                <a:cubicBezTo>
                  <a:pt x="982" y="13745"/>
                  <a:pt x="982" y="11782"/>
                  <a:pt x="982" y="11782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7" name="Shape 2717"/>
          <p:cNvSpPr/>
          <p:nvPr/>
        </p:nvSpPr>
        <p:spPr>
          <a:xfrm>
            <a:off x="11357242" y="821192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1782"/>
                </a:moveTo>
                <a:cubicBezTo>
                  <a:pt x="14592" y="11782"/>
                  <a:pt x="14469" y="11837"/>
                  <a:pt x="14380" y="11926"/>
                </a:cubicBezTo>
                <a:lnTo>
                  <a:pt x="11291" y="15015"/>
                </a:ln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15015"/>
                </a:lnTo>
                <a:lnTo>
                  <a:pt x="7220" y="11926"/>
                </a:lnTo>
                <a:cubicBezTo>
                  <a:pt x="7131" y="11837"/>
                  <a:pt x="7008" y="11782"/>
                  <a:pt x="6873" y="11782"/>
                </a:cubicBezTo>
                <a:cubicBezTo>
                  <a:pt x="6601" y="11782"/>
                  <a:pt x="6382" y="12001"/>
                  <a:pt x="6382" y="12273"/>
                </a:cubicBezTo>
                <a:cubicBezTo>
                  <a:pt x="6382" y="12408"/>
                  <a:pt x="6437" y="12531"/>
                  <a:pt x="6526" y="12620"/>
                </a:cubicBezTo>
                <a:lnTo>
                  <a:pt x="10453" y="16547"/>
                </a:lnTo>
                <a:cubicBezTo>
                  <a:pt x="10542" y="16636"/>
                  <a:pt x="10664" y="16691"/>
                  <a:pt x="10800" y="16691"/>
                </a:cubicBezTo>
                <a:cubicBezTo>
                  <a:pt x="10936" y="16691"/>
                  <a:pt x="11058" y="16636"/>
                  <a:pt x="11147" y="16547"/>
                </a:cubicBezTo>
                <a:lnTo>
                  <a:pt x="15074" y="12620"/>
                </a:lnTo>
                <a:cubicBezTo>
                  <a:pt x="15163" y="12531"/>
                  <a:pt x="15218" y="12408"/>
                  <a:pt x="15218" y="12273"/>
                </a:cubicBezTo>
                <a:cubicBezTo>
                  <a:pt x="15218" y="12001"/>
                  <a:pt x="14999" y="11782"/>
                  <a:pt x="14727" y="11782"/>
                </a:cubicBezTo>
                <a:moveTo>
                  <a:pt x="11782" y="21600"/>
                </a:moveTo>
                <a:lnTo>
                  <a:pt x="13745" y="21600"/>
                </a:lnTo>
                <a:lnTo>
                  <a:pt x="13745" y="20618"/>
                </a:lnTo>
                <a:lnTo>
                  <a:pt x="11782" y="20618"/>
                </a:lnTo>
                <a:cubicBezTo>
                  <a:pt x="11782" y="20618"/>
                  <a:pt x="11782" y="21600"/>
                  <a:pt x="11782" y="21600"/>
                </a:cubicBezTo>
                <a:close/>
                <a:moveTo>
                  <a:pt x="7855" y="21600"/>
                </a:moveTo>
                <a:lnTo>
                  <a:pt x="9818" y="21600"/>
                </a:lnTo>
                <a:lnTo>
                  <a:pt x="9818" y="20618"/>
                </a:lnTo>
                <a:lnTo>
                  <a:pt x="7855" y="20618"/>
                </a:lnTo>
                <a:cubicBezTo>
                  <a:pt x="7855" y="20618"/>
                  <a:pt x="7855" y="21600"/>
                  <a:pt x="7855" y="21600"/>
                </a:cubicBezTo>
                <a:close/>
                <a:moveTo>
                  <a:pt x="15709" y="21600"/>
                </a:moveTo>
                <a:lnTo>
                  <a:pt x="17673" y="21600"/>
                </a:lnTo>
                <a:lnTo>
                  <a:pt x="17673" y="20618"/>
                </a:lnTo>
                <a:lnTo>
                  <a:pt x="15709" y="20618"/>
                </a:lnTo>
                <a:cubicBezTo>
                  <a:pt x="15709" y="20618"/>
                  <a:pt x="15709" y="21600"/>
                  <a:pt x="15709" y="21600"/>
                </a:cubicBezTo>
                <a:close/>
                <a:moveTo>
                  <a:pt x="20618" y="9818"/>
                </a:moveTo>
                <a:lnTo>
                  <a:pt x="21600" y="9818"/>
                </a:lnTo>
                <a:lnTo>
                  <a:pt x="21600" y="7855"/>
                </a:lnTo>
                <a:lnTo>
                  <a:pt x="20618" y="7855"/>
                </a:lnTo>
                <a:cubicBezTo>
                  <a:pt x="20618" y="7855"/>
                  <a:pt x="20618" y="9818"/>
                  <a:pt x="20618" y="9818"/>
                </a:cubicBezTo>
                <a:close/>
                <a:moveTo>
                  <a:pt x="3927" y="982"/>
                </a:moveTo>
                <a:lnTo>
                  <a:pt x="5891" y="982"/>
                </a:lnTo>
                <a:lnTo>
                  <a:pt x="5891" y="0"/>
                </a:lnTo>
                <a:lnTo>
                  <a:pt x="3927" y="0"/>
                </a:lnTo>
                <a:cubicBezTo>
                  <a:pt x="3927" y="0"/>
                  <a:pt x="3927" y="982"/>
                  <a:pt x="3927" y="982"/>
                </a:cubicBezTo>
                <a:close/>
                <a:moveTo>
                  <a:pt x="19636" y="20346"/>
                </a:moveTo>
                <a:lnTo>
                  <a:pt x="19636" y="21420"/>
                </a:lnTo>
                <a:cubicBezTo>
                  <a:pt x="20470" y="21123"/>
                  <a:pt x="21128" y="20467"/>
                  <a:pt x="21426" y="19636"/>
                </a:cubicBezTo>
                <a:lnTo>
                  <a:pt x="20350" y="19636"/>
                </a:lnTo>
                <a:cubicBezTo>
                  <a:pt x="20177" y="19929"/>
                  <a:pt x="19931" y="20174"/>
                  <a:pt x="19636" y="20346"/>
                </a:cubicBezTo>
                <a:moveTo>
                  <a:pt x="20618" y="5891"/>
                </a:moveTo>
                <a:lnTo>
                  <a:pt x="21600" y="5891"/>
                </a:lnTo>
                <a:lnTo>
                  <a:pt x="21600" y="3927"/>
                </a:lnTo>
                <a:lnTo>
                  <a:pt x="20618" y="3927"/>
                </a:lnTo>
                <a:cubicBezTo>
                  <a:pt x="20618" y="3927"/>
                  <a:pt x="20618" y="5891"/>
                  <a:pt x="20618" y="5891"/>
                </a:cubicBezTo>
                <a:close/>
                <a:moveTo>
                  <a:pt x="20618" y="17673"/>
                </a:moveTo>
                <a:lnTo>
                  <a:pt x="21600" y="17673"/>
                </a:lnTo>
                <a:lnTo>
                  <a:pt x="21600" y="15709"/>
                </a:lnTo>
                <a:lnTo>
                  <a:pt x="20618" y="15709"/>
                </a:ln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20618" y="13745"/>
                </a:moveTo>
                <a:lnTo>
                  <a:pt x="21600" y="13745"/>
                </a:lnTo>
                <a:lnTo>
                  <a:pt x="21600" y="11782"/>
                </a:lnTo>
                <a:lnTo>
                  <a:pt x="20618" y="11782"/>
                </a:lnTo>
                <a:cubicBezTo>
                  <a:pt x="20618" y="11782"/>
                  <a:pt x="20618" y="13745"/>
                  <a:pt x="20618" y="13745"/>
                </a:cubicBezTo>
                <a:close/>
                <a:moveTo>
                  <a:pt x="15709" y="982"/>
                </a:moveTo>
                <a:lnTo>
                  <a:pt x="17673" y="982"/>
                </a:lnTo>
                <a:lnTo>
                  <a:pt x="17673" y="0"/>
                </a:lnTo>
                <a:lnTo>
                  <a:pt x="15709" y="0"/>
                </a:lnTo>
                <a:cubicBezTo>
                  <a:pt x="15709" y="0"/>
                  <a:pt x="15709" y="982"/>
                  <a:pt x="15709" y="982"/>
                </a:cubicBezTo>
                <a:close/>
                <a:moveTo>
                  <a:pt x="982" y="3927"/>
                </a:moveTo>
                <a:lnTo>
                  <a:pt x="0" y="3927"/>
                </a:lnTo>
                <a:lnTo>
                  <a:pt x="0" y="5891"/>
                </a:lnTo>
                <a:lnTo>
                  <a:pt x="982" y="5891"/>
                </a:lnTo>
                <a:cubicBezTo>
                  <a:pt x="982" y="5891"/>
                  <a:pt x="982" y="3927"/>
                  <a:pt x="982" y="3927"/>
                </a:cubicBezTo>
                <a:close/>
                <a:moveTo>
                  <a:pt x="9818" y="0"/>
                </a:moveTo>
                <a:lnTo>
                  <a:pt x="7855" y="0"/>
                </a:lnTo>
                <a:lnTo>
                  <a:pt x="7855" y="982"/>
                </a:lnTo>
                <a:lnTo>
                  <a:pt x="9818" y="982"/>
                </a:lnTo>
                <a:cubicBezTo>
                  <a:pt x="9818" y="982"/>
                  <a:pt x="9818" y="0"/>
                  <a:pt x="9818" y="0"/>
                </a:cubicBezTo>
                <a:close/>
                <a:moveTo>
                  <a:pt x="20350" y="1964"/>
                </a:moveTo>
                <a:lnTo>
                  <a:pt x="21426" y="1964"/>
                </a:lnTo>
                <a:cubicBezTo>
                  <a:pt x="21128" y="1133"/>
                  <a:pt x="20470" y="477"/>
                  <a:pt x="19636" y="180"/>
                </a:cubicBezTo>
                <a:lnTo>
                  <a:pt x="19636" y="1254"/>
                </a:lnTo>
                <a:cubicBezTo>
                  <a:pt x="19931" y="1426"/>
                  <a:pt x="20177" y="1670"/>
                  <a:pt x="20350" y="1964"/>
                </a:cubicBezTo>
                <a:moveTo>
                  <a:pt x="982" y="7855"/>
                </a:moveTo>
                <a:lnTo>
                  <a:pt x="0" y="7855"/>
                </a:lnTo>
                <a:lnTo>
                  <a:pt x="0" y="9818"/>
                </a:lnTo>
                <a:lnTo>
                  <a:pt x="982" y="9818"/>
                </a:lnTo>
                <a:cubicBezTo>
                  <a:pt x="982" y="9818"/>
                  <a:pt x="982" y="7855"/>
                  <a:pt x="982" y="7855"/>
                </a:cubicBezTo>
                <a:close/>
                <a:moveTo>
                  <a:pt x="13745" y="0"/>
                </a:moveTo>
                <a:lnTo>
                  <a:pt x="11782" y="0"/>
                </a:lnTo>
                <a:lnTo>
                  <a:pt x="11782" y="982"/>
                </a:lnTo>
                <a:lnTo>
                  <a:pt x="13745" y="982"/>
                </a:lnTo>
                <a:cubicBezTo>
                  <a:pt x="13745" y="982"/>
                  <a:pt x="13745" y="0"/>
                  <a:pt x="13745" y="0"/>
                </a:cubicBezTo>
                <a:close/>
                <a:moveTo>
                  <a:pt x="982" y="11782"/>
                </a:moveTo>
                <a:lnTo>
                  <a:pt x="0" y="11782"/>
                </a:lnTo>
                <a:lnTo>
                  <a:pt x="0" y="13745"/>
                </a:lnTo>
                <a:lnTo>
                  <a:pt x="982" y="13745"/>
                </a:lnTo>
                <a:cubicBezTo>
                  <a:pt x="982" y="13745"/>
                  <a:pt x="982" y="11782"/>
                  <a:pt x="982" y="11782"/>
                </a:cubicBezTo>
                <a:close/>
                <a:moveTo>
                  <a:pt x="175" y="1964"/>
                </a:moveTo>
                <a:lnTo>
                  <a:pt x="1250" y="1964"/>
                </a:lnTo>
                <a:cubicBezTo>
                  <a:pt x="1423" y="1670"/>
                  <a:pt x="1669" y="1426"/>
                  <a:pt x="1964" y="1254"/>
                </a:cubicBezTo>
                <a:lnTo>
                  <a:pt x="1964" y="180"/>
                </a:lnTo>
                <a:cubicBezTo>
                  <a:pt x="1130" y="477"/>
                  <a:pt x="472" y="1133"/>
                  <a:pt x="175" y="1964"/>
                </a:cubicBezTo>
                <a:moveTo>
                  <a:pt x="1250" y="19636"/>
                </a:moveTo>
                <a:lnTo>
                  <a:pt x="175" y="19636"/>
                </a:lnTo>
                <a:cubicBezTo>
                  <a:pt x="472" y="20467"/>
                  <a:pt x="1130" y="21123"/>
                  <a:pt x="1964" y="21420"/>
                </a:cubicBezTo>
                <a:lnTo>
                  <a:pt x="1964" y="20346"/>
                </a:lnTo>
                <a:cubicBezTo>
                  <a:pt x="1669" y="20174"/>
                  <a:pt x="1423" y="19929"/>
                  <a:pt x="1250" y="19636"/>
                </a:cubicBezTo>
                <a:moveTo>
                  <a:pt x="3927" y="21600"/>
                </a:moveTo>
                <a:lnTo>
                  <a:pt x="5891" y="21600"/>
                </a:lnTo>
                <a:lnTo>
                  <a:pt x="5891" y="20618"/>
                </a:lnTo>
                <a:lnTo>
                  <a:pt x="3927" y="20618"/>
                </a:lnTo>
                <a:cubicBezTo>
                  <a:pt x="3927" y="20618"/>
                  <a:pt x="3927" y="21600"/>
                  <a:pt x="3927" y="21600"/>
                </a:cubicBezTo>
                <a:close/>
                <a:moveTo>
                  <a:pt x="982" y="15709"/>
                </a:moveTo>
                <a:lnTo>
                  <a:pt x="0" y="15709"/>
                </a:lnTo>
                <a:lnTo>
                  <a:pt x="0" y="17673"/>
                </a:lnTo>
                <a:lnTo>
                  <a:pt x="982" y="17673"/>
                </a:lnTo>
                <a:cubicBezTo>
                  <a:pt x="982" y="17673"/>
                  <a:pt x="982" y="15709"/>
                  <a:pt x="982" y="15709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8" name="Shape 2718"/>
          <p:cNvSpPr/>
          <p:nvPr/>
        </p:nvSpPr>
        <p:spPr>
          <a:xfrm>
            <a:off x="1758543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927" y="982"/>
                </a:moveTo>
                <a:lnTo>
                  <a:pt x="5891" y="982"/>
                </a:lnTo>
                <a:lnTo>
                  <a:pt x="5891" y="0"/>
                </a:lnTo>
                <a:lnTo>
                  <a:pt x="3927" y="0"/>
                </a:lnTo>
                <a:cubicBezTo>
                  <a:pt x="3927" y="0"/>
                  <a:pt x="3927" y="982"/>
                  <a:pt x="3927" y="982"/>
                </a:cubicBezTo>
                <a:close/>
                <a:moveTo>
                  <a:pt x="11782" y="21600"/>
                </a:moveTo>
                <a:lnTo>
                  <a:pt x="13745" y="21600"/>
                </a:lnTo>
                <a:lnTo>
                  <a:pt x="13745" y="20618"/>
                </a:lnTo>
                <a:lnTo>
                  <a:pt x="11782" y="20618"/>
                </a:lnTo>
                <a:cubicBezTo>
                  <a:pt x="11782" y="20618"/>
                  <a:pt x="11782" y="21600"/>
                  <a:pt x="11782" y="21600"/>
                </a:cubicBezTo>
                <a:close/>
                <a:moveTo>
                  <a:pt x="15709" y="21600"/>
                </a:moveTo>
                <a:lnTo>
                  <a:pt x="17673" y="21600"/>
                </a:lnTo>
                <a:lnTo>
                  <a:pt x="17673" y="20618"/>
                </a:lnTo>
                <a:lnTo>
                  <a:pt x="15709" y="20618"/>
                </a:lnTo>
                <a:cubicBezTo>
                  <a:pt x="15709" y="20618"/>
                  <a:pt x="15709" y="21600"/>
                  <a:pt x="15709" y="21600"/>
                </a:cubicBezTo>
                <a:close/>
                <a:moveTo>
                  <a:pt x="20618" y="5891"/>
                </a:moveTo>
                <a:lnTo>
                  <a:pt x="21600" y="5891"/>
                </a:lnTo>
                <a:lnTo>
                  <a:pt x="21600" y="3927"/>
                </a:lnTo>
                <a:lnTo>
                  <a:pt x="20618" y="3927"/>
                </a:lnTo>
                <a:cubicBezTo>
                  <a:pt x="20618" y="3927"/>
                  <a:pt x="20618" y="5891"/>
                  <a:pt x="20618" y="5891"/>
                </a:cubicBezTo>
                <a:close/>
                <a:moveTo>
                  <a:pt x="11147" y="5053"/>
                </a:moveTo>
                <a:cubicBezTo>
                  <a:pt x="11058" y="4964"/>
                  <a:pt x="10935" y="4909"/>
                  <a:pt x="10800" y="4909"/>
                </a:cubicBezTo>
                <a:cubicBezTo>
                  <a:pt x="10665" y="4909"/>
                  <a:pt x="10542" y="4964"/>
                  <a:pt x="10453" y="5053"/>
                </a:cubicBezTo>
                <a:lnTo>
                  <a:pt x="6526" y="8980"/>
                </a:lnTo>
                <a:cubicBezTo>
                  <a:pt x="6437" y="9069"/>
                  <a:pt x="6382" y="9192"/>
                  <a:pt x="6382" y="9327"/>
                </a:cubicBezTo>
                <a:cubicBezTo>
                  <a:pt x="6382" y="9599"/>
                  <a:pt x="6602" y="9818"/>
                  <a:pt x="6873" y="9818"/>
                </a:cubicBezTo>
                <a:cubicBezTo>
                  <a:pt x="7008" y="9818"/>
                  <a:pt x="7131" y="9764"/>
                  <a:pt x="7220" y="9674"/>
                </a:cubicBezTo>
                <a:lnTo>
                  <a:pt x="10309" y="6585"/>
                </a:lnTo>
                <a:lnTo>
                  <a:pt x="10309" y="16200"/>
                </a:lnTo>
                <a:cubicBezTo>
                  <a:pt x="10309" y="16471"/>
                  <a:pt x="10529" y="16691"/>
                  <a:pt x="10800" y="16691"/>
                </a:cubicBezTo>
                <a:cubicBezTo>
                  <a:pt x="11071" y="16691"/>
                  <a:pt x="11291" y="16471"/>
                  <a:pt x="11291" y="16200"/>
                </a:cubicBezTo>
                <a:lnTo>
                  <a:pt x="11291" y="6585"/>
                </a:lnTo>
                <a:lnTo>
                  <a:pt x="14380" y="9674"/>
                </a:lnTo>
                <a:cubicBezTo>
                  <a:pt x="14469" y="9764"/>
                  <a:pt x="14592" y="9818"/>
                  <a:pt x="14727" y="9818"/>
                </a:cubicBezTo>
                <a:cubicBezTo>
                  <a:pt x="14998" y="9818"/>
                  <a:pt x="15218" y="9599"/>
                  <a:pt x="15218" y="9327"/>
                </a:cubicBezTo>
                <a:cubicBezTo>
                  <a:pt x="15218" y="9192"/>
                  <a:pt x="15163" y="9069"/>
                  <a:pt x="15074" y="8980"/>
                </a:cubicBezTo>
                <a:cubicBezTo>
                  <a:pt x="15074" y="8980"/>
                  <a:pt x="11147" y="5053"/>
                  <a:pt x="11147" y="5053"/>
                </a:cubicBezTo>
                <a:close/>
                <a:moveTo>
                  <a:pt x="20618" y="13745"/>
                </a:moveTo>
                <a:lnTo>
                  <a:pt x="21600" y="13745"/>
                </a:lnTo>
                <a:lnTo>
                  <a:pt x="21600" y="11782"/>
                </a:lnTo>
                <a:lnTo>
                  <a:pt x="20618" y="11782"/>
                </a:lnTo>
                <a:cubicBezTo>
                  <a:pt x="20618" y="11782"/>
                  <a:pt x="20618" y="13745"/>
                  <a:pt x="20618" y="13745"/>
                </a:cubicBezTo>
                <a:close/>
                <a:moveTo>
                  <a:pt x="15709" y="982"/>
                </a:moveTo>
                <a:lnTo>
                  <a:pt x="17673" y="982"/>
                </a:lnTo>
                <a:lnTo>
                  <a:pt x="17673" y="0"/>
                </a:lnTo>
                <a:lnTo>
                  <a:pt x="15709" y="0"/>
                </a:lnTo>
                <a:cubicBezTo>
                  <a:pt x="15709" y="0"/>
                  <a:pt x="15709" y="982"/>
                  <a:pt x="15709" y="982"/>
                </a:cubicBezTo>
                <a:close/>
                <a:moveTo>
                  <a:pt x="20618" y="9818"/>
                </a:moveTo>
                <a:lnTo>
                  <a:pt x="21600" y="9818"/>
                </a:lnTo>
                <a:lnTo>
                  <a:pt x="21600" y="7855"/>
                </a:lnTo>
                <a:lnTo>
                  <a:pt x="20618" y="7855"/>
                </a:lnTo>
                <a:cubicBezTo>
                  <a:pt x="20618" y="7855"/>
                  <a:pt x="20618" y="9818"/>
                  <a:pt x="20618" y="9818"/>
                </a:cubicBezTo>
                <a:close/>
                <a:moveTo>
                  <a:pt x="19636" y="20346"/>
                </a:moveTo>
                <a:lnTo>
                  <a:pt x="19636" y="21420"/>
                </a:lnTo>
                <a:cubicBezTo>
                  <a:pt x="20469" y="21123"/>
                  <a:pt x="21129" y="20467"/>
                  <a:pt x="21426" y="19636"/>
                </a:cubicBezTo>
                <a:lnTo>
                  <a:pt x="20350" y="19636"/>
                </a:lnTo>
                <a:cubicBezTo>
                  <a:pt x="20177" y="19929"/>
                  <a:pt x="19931" y="20174"/>
                  <a:pt x="19636" y="20346"/>
                </a:cubicBezTo>
                <a:moveTo>
                  <a:pt x="20618" y="17673"/>
                </a:moveTo>
                <a:lnTo>
                  <a:pt x="21600" y="17673"/>
                </a:lnTo>
                <a:lnTo>
                  <a:pt x="21600" y="15709"/>
                </a:lnTo>
                <a:lnTo>
                  <a:pt x="20618" y="15709"/>
                </a:lnTo>
                <a:cubicBezTo>
                  <a:pt x="20618" y="15709"/>
                  <a:pt x="20618" y="17673"/>
                  <a:pt x="20618" y="17673"/>
                </a:cubicBezTo>
                <a:close/>
                <a:moveTo>
                  <a:pt x="7855" y="21600"/>
                </a:moveTo>
                <a:lnTo>
                  <a:pt x="9818" y="21600"/>
                </a:lnTo>
                <a:lnTo>
                  <a:pt x="9818" y="20618"/>
                </a:lnTo>
                <a:lnTo>
                  <a:pt x="7855" y="20618"/>
                </a:lnTo>
                <a:cubicBezTo>
                  <a:pt x="7855" y="20618"/>
                  <a:pt x="7855" y="21600"/>
                  <a:pt x="7855" y="21600"/>
                </a:cubicBezTo>
                <a:close/>
                <a:moveTo>
                  <a:pt x="9818" y="0"/>
                </a:moveTo>
                <a:lnTo>
                  <a:pt x="7855" y="0"/>
                </a:lnTo>
                <a:lnTo>
                  <a:pt x="7855" y="982"/>
                </a:lnTo>
                <a:lnTo>
                  <a:pt x="9818" y="982"/>
                </a:lnTo>
                <a:cubicBezTo>
                  <a:pt x="9818" y="982"/>
                  <a:pt x="9818" y="0"/>
                  <a:pt x="9818" y="0"/>
                </a:cubicBezTo>
                <a:close/>
                <a:moveTo>
                  <a:pt x="20350" y="1964"/>
                </a:moveTo>
                <a:lnTo>
                  <a:pt x="21426" y="1964"/>
                </a:lnTo>
                <a:cubicBezTo>
                  <a:pt x="21129" y="1133"/>
                  <a:pt x="20469" y="477"/>
                  <a:pt x="19636" y="180"/>
                </a:cubicBezTo>
                <a:lnTo>
                  <a:pt x="19636" y="1254"/>
                </a:lnTo>
                <a:cubicBezTo>
                  <a:pt x="19931" y="1426"/>
                  <a:pt x="20177" y="1670"/>
                  <a:pt x="20350" y="1964"/>
                </a:cubicBezTo>
                <a:moveTo>
                  <a:pt x="982" y="3927"/>
                </a:moveTo>
                <a:lnTo>
                  <a:pt x="0" y="3927"/>
                </a:lnTo>
                <a:lnTo>
                  <a:pt x="0" y="5891"/>
                </a:lnTo>
                <a:lnTo>
                  <a:pt x="982" y="5891"/>
                </a:lnTo>
                <a:cubicBezTo>
                  <a:pt x="982" y="5891"/>
                  <a:pt x="982" y="3927"/>
                  <a:pt x="982" y="3927"/>
                </a:cubicBezTo>
                <a:close/>
                <a:moveTo>
                  <a:pt x="3927" y="21600"/>
                </a:moveTo>
                <a:lnTo>
                  <a:pt x="5891" y="21600"/>
                </a:lnTo>
                <a:lnTo>
                  <a:pt x="5891" y="20618"/>
                </a:lnTo>
                <a:lnTo>
                  <a:pt x="3927" y="20618"/>
                </a:lnTo>
                <a:cubicBezTo>
                  <a:pt x="3927" y="20618"/>
                  <a:pt x="3927" y="21600"/>
                  <a:pt x="3927" y="21600"/>
                </a:cubicBezTo>
                <a:close/>
                <a:moveTo>
                  <a:pt x="13745" y="0"/>
                </a:moveTo>
                <a:lnTo>
                  <a:pt x="11782" y="0"/>
                </a:lnTo>
                <a:lnTo>
                  <a:pt x="11782" y="982"/>
                </a:lnTo>
                <a:lnTo>
                  <a:pt x="13745" y="982"/>
                </a:lnTo>
                <a:cubicBezTo>
                  <a:pt x="13745" y="982"/>
                  <a:pt x="13745" y="0"/>
                  <a:pt x="13745" y="0"/>
                </a:cubicBezTo>
                <a:close/>
                <a:moveTo>
                  <a:pt x="174" y="1964"/>
                </a:moveTo>
                <a:lnTo>
                  <a:pt x="1250" y="1964"/>
                </a:lnTo>
                <a:cubicBezTo>
                  <a:pt x="1423" y="1670"/>
                  <a:pt x="1669" y="1426"/>
                  <a:pt x="1964" y="1254"/>
                </a:cubicBezTo>
                <a:lnTo>
                  <a:pt x="1964" y="180"/>
                </a:lnTo>
                <a:cubicBezTo>
                  <a:pt x="1131" y="477"/>
                  <a:pt x="472" y="1133"/>
                  <a:pt x="174" y="1964"/>
                </a:cubicBezTo>
                <a:moveTo>
                  <a:pt x="1250" y="19636"/>
                </a:moveTo>
                <a:lnTo>
                  <a:pt x="174" y="19636"/>
                </a:lnTo>
                <a:cubicBezTo>
                  <a:pt x="472" y="20467"/>
                  <a:pt x="1131" y="21123"/>
                  <a:pt x="1964" y="21420"/>
                </a:cubicBezTo>
                <a:lnTo>
                  <a:pt x="1964" y="20346"/>
                </a:lnTo>
                <a:cubicBezTo>
                  <a:pt x="1669" y="20174"/>
                  <a:pt x="1423" y="19929"/>
                  <a:pt x="1250" y="19636"/>
                </a:cubicBezTo>
                <a:moveTo>
                  <a:pt x="982" y="11782"/>
                </a:moveTo>
                <a:lnTo>
                  <a:pt x="0" y="11782"/>
                </a:lnTo>
                <a:lnTo>
                  <a:pt x="0" y="13745"/>
                </a:lnTo>
                <a:lnTo>
                  <a:pt x="982" y="13745"/>
                </a:lnTo>
                <a:cubicBezTo>
                  <a:pt x="982" y="13745"/>
                  <a:pt x="982" y="11782"/>
                  <a:pt x="982" y="11782"/>
                </a:cubicBezTo>
                <a:close/>
                <a:moveTo>
                  <a:pt x="982" y="7855"/>
                </a:moveTo>
                <a:lnTo>
                  <a:pt x="0" y="7855"/>
                </a:lnTo>
                <a:lnTo>
                  <a:pt x="0" y="9818"/>
                </a:lnTo>
                <a:lnTo>
                  <a:pt x="982" y="9818"/>
                </a:lnTo>
                <a:cubicBezTo>
                  <a:pt x="982" y="9818"/>
                  <a:pt x="982" y="7855"/>
                  <a:pt x="982" y="7855"/>
                </a:cubicBezTo>
                <a:close/>
                <a:moveTo>
                  <a:pt x="982" y="15709"/>
                </a:moveTo>
                <a:lnTo>
                  <a:pt x="0" y="15709"/>
                </a:lnTo>
                <a:lnTo>
                  <a:pt x="0" y="17673"/>
                </a:lnTo>
                <a:lnTo>
                  <a:pt x="982" y="17673"/>
                </a:lnTo>
                <a:cubicBezTo>
                  <a:pt x="982" y="17673"/>
                  <a:pt x="982" y="15709"/>
                  <a:pt x="982" y="15709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19" name="Shape 2719"/>
          <p:cNvSpPr/>
          <p:nvPr/>
        </p:nvSpPr>
        <p:spPr>
          <a:xfrm>
            <a:off x="2825064" y="9278448"/>
            <a:ext cx="556423" cy="5575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65" y="19991"/>
                </a:moveTo>
                <a:lnTo>
                  <a:pt x="14707" y="20866"/>
                </a:lnTo>
                <a:cubicBezTo>
                  <a:pt x="15328" y="20625"/>
                  <a:pt x="15928" y="20324"/>
                  <a:pt x="16492" y="19973"/>
                </a:cubicBezTo>
                <a:lnTo>
                  <a:pt x="15994" y="19176"/>
                </a:lnTo>
                <a:cubicBezTo>
                  <a:pt x="15479" y="19497"/>
                  <a:pt x="14931" y="19771"/>
                  <a:pt x="14365" y="19991"/>
                </a:cubicBezTo>
                <a:moveTo>
                  <a:pt x="10800" y="20661"/>
                </a:moveTo>
                <a:lnTo>
                  <a:pt x="10801" y="21600"/>
                </a:lnTo>
                <a:cubicBezTo>
                  <a:pt x="11469" y="21598"/>
                  <a:pt x="12137" y="21536"/>
                  <a:pt x="12788" y="21415"/>
                </a:cubicBezTo>
                <a:lnTo>
                  <a:pt x="12614" y="20491"/>
                </a:lnTo>
                <a:cubicBezTo>
                  <a:pt x="12020" y="20603"/>
                  <a:pt x="11409" y="20660"/>
                  <a:pt x="10800" y="20661"/>
                </a:cubicBezTo>
                <a:moveTo>
                  <a:pt x="18660" y="4854"/>
                </a:moveTo>
                <a:lnTo>
                  <a:pt x="19411" y="4287"/>
                </a:lnTo>
                <a:cubicBezTo>
                  <a:pt x="19011" y="3759"/>
                  <a:pt x="18558" y="3264"/>
                  <a:pt x="18065" y="2816"/>
                </a:cubicBezTo>
                <a:lnTo>
                  <a:pt x="17432" y="3510"/>
                </a:lnTo>
                <a:cubicBezTo>
                  <a:pt x="17882" y="3919"/>
                  <a:pt x="18295" y="4371"/>
                  <a:pt x="18660" y="4854"/>
                </a:cubicBezTo>
                <a:moveTo>
                  <a:pt x="16473" y="1615"/>
                </a:moveTo>
                <a:cubicBezTo>
                  <a:pt x="15908" y="1264"/>
                  <a:pt x="15306" y="966"/>
                  <a:pt x="14686" y="726"/>
                </a:cubicBezTo>
                <a:lnTo>
                  <a:pt x="14347" y="1602"/>
                </a:lnTo>
                <a:cubicBezTo>
                  <a:pt x="14912" y="1821"/>
                  <a:pt x="15462" y="2094"/>
                  <a:pt x="15978" y="2413"/>
                </a:cubicBezTo>
                <a:cubicBezTo>
                  <a:pt x="15978" y="2413"/>
                  <a:pt x="16473" y="1615"/>
                  <a:pt x="16473" y="1615"/>
                </a:cubicBezTo>
                <a:close/>
                <a:moveTo>
                  <a:pt x="21553" y="9794"/>
                </a:moveTo>
                <a:lnTo>
                  <a:pt x="20617" y="9880"/>
                </a:lnTo>
                <a:cubicBezTo>
                  <a:pt x="20644" y="10182"/>
                  <a:pt x="20659" y="10492"/>
                  <a:pt x="20659" y="10800"/>
                </a:cubicBezTo>
                <a:cubicBezTo>
                  <a:pt x="20659" y="11099"/>
                  <a:pt x="20645" y="11401"/>
                  <a:pt x="20619" y="11699"/>
                </a:cubicBezTo>
                <a:lnTo>
                  <a:pt x="21556" y="11784"/>
                </a:lnTo>
                <a:cubicBezTo>
                  <a:pt x="21585" y="11458"/>
                  <a:pt x="21600" y="11127"/>
                  <a:pt x="21600" y="10800"/>
                </a:cubicBezTo>
                <a:cubicBezTo>
                  <a:pt x="21600" y="10462"/>
                  <a:pt x="21584" y="10124"/>
                  <a:pt x="21553" y="9794"/>
                </a:cubicBezTo>
                <a:moveTo>
                  <a:pt x="21187" y="7835"/>
                </a:moveTo>
                <a:cubicBezTo>
                  <a:pt x="21005" y="7197"/>
                  <a:pt x="20761" y="6573"/>
                  <a:pt x="20463" y="5978"/>
                </a:cubicBezTo>
                <a:lnTo>
                  <a:pt x="19622" y="6399"/>
                </a:lnTo>
                <a:cubicBezTo>
                  <a:pt x="19893" y="6941"/>
                  <a:pt x="20115" y="7510"/>
                  <a:pt x="20282" y="8094"/>
                </a:cubicBezTo>
                <a:cubicBezTo>
                  <a:pt x="20282" y="8094"/>
                  <a:pt x="21187" y="7835"/>
                  <a:pt x="21187" y="7835"/>
                </a:cubicBezTo>
                <a:close/>
                <a:moveTo>
                  <a:pt x="17446" y="18078"/>
                </a:moveTo>
                <a:lnTo>
                  <a:pt x="18081" y="18771"/>
                </a:lnTo>
                <a:cubicBezTo>
                  <a:pt x="18572" y="18323"/>
                  <a:pt x="19024" y="17827"/>
                  <a:pt x="19424" y="17297"/>
                </a:cubicBezTo>
                <a:lnTo>
                  <a:pt x="18672" y="16732"/>
                </a:lnTo>
                <a:cubicBezTo>
                  <a:pt x="18307" y="17216"/>
                  <a:pt x="17894" y="17669"/>
                  <a:pt x="17446" y="18078"/>
                </a:cubicBezTo>
                <a:moveTo>
                  <a:pt x="19632" y="15184"/>
                </a:moveTo>
                <a:lnTo>
                  <a:pt x="20474" y="15602"/>
                </a:lnTo>
                <a:cubicBezTo>
                  <a:pt x="20770" y="15008"/>
                  <a:pt x="21012" y="14383"/>
                  <a:pt x="21194" y="13743"/>
                </a:cubicBezTo>
                <a:lnTo>
                  <a:pt x="20288" y="13487"/>
                </a:lnTo>
                <a:cubicBezTo>
                  <a:pt x="20123" y="14071"/>
                  <a:pt x="19901" y="14642"/>
                  <a:pt x="19632" y="15184"/>
                </a:cubicBezTo>
                <a:moveTo>
                  <a:pt x="2873" y="4886"/>
                </a:moveTo>
                <a:lnTo>
                  <a:pt x="2120" y="4322"/>
                </a:lnTo>
                <a:cubicBezTo>
                  <a:pt x="1721" y="4854"/>
                  <a:pt x="1369" y="5424"/>
                  <a:pt x="1074" y="6018"/>
                </a:cubicBezTo>
                <a:lnTo>
                  <a:pt x="1917" y="6435"/>
                </a:lnTo>
                <a:cubicBezTo>
                  <a:pt x="2186" y="5892"/>
                  <a:pt x="2508" y="5371"/>
                  <a:pt x="2873" y="4886"/>
                </a:cubicBezTo>
                <a:moveTo>
                  <a:pt x="943" y="11741"/>
                </a:moveTo>
                <a:lnTo>
                  <a:pt x="6" y="11829"/>
                </a:lnTo>
                <a:cubicBezTo>
                  <a:pt x="69" y="12492"/>
                  <a:pt x="194" y="13151"/>
                  <a:pt x="377" y="13786"/>
                </a:cubicBezTo>
                <a:lnTo>
                  <a:pt x="1281" y="13527"/>
                </a:lnTo>
                <a:cubicBezTo>
                  <a:pt x="1114" y="12946"/>
                  <a:pt x="1000" y="12346"/>
                  <a:pt x="943" y="11741"/>
                </a:cubicBezTo>
                <a:moveTo>
                  <a:pt x="1265" y="8133"/>
                </a:moveTo>
                <a:lnTo>
                  <a:pt x="359" y="7879"/>
                </a:lnTo>
                <a:cubicBezTo>
                  <a:pt x="179" y="8516"/>
                  <a:pt x="59" y="9176"/>
                  <a:pt x="0" y="9838"/>
                </a:cubicBezTo>
                <a:lnTo>
                  <a:pt x="938" y="9921"/>
                </a:lnTo>
                <a:cubicBezTo>
                  <a:pt x="991" y="9316"/>
                  <a:pt x="1101" y="8714"/>
                  <a:pt x="1265" y="8133"/>
                </a:cubicBezTo>
                <a:moveTo>
                  <a:pt x="1105" y="15642"/>
                </a:moveTo>
                <a:cubicBezTo>
                  <a:pt x="1403" y="16235"/>
                  <a:pt x="1759" y="16804"/>
                  <a:pt x="2161" y="17332"/>
                </a:cubicBezTo>
                <a:lnTo>
                  <a:pt x="2910" y="16763"/>
                </a:lnTo>
                <a:cubicBezTo>
                  <a:pt x="2542" y="16281"/>
                  <a:pt x="2218" y="15762"/>
                  <a:pt x="1945" y="15220"/>
                </a:cubicBezTo>
                <a:cubicBezTo>
                  <a:pt x="1945" y="15220"/>
                  <a:pt x="1105" y="15642"/>
                  <a:pt x="1105" y="15642"/>
                </a:cubicBezTo>
                <a:close/>
                <a:moveTo>
                  <a:pt x="12765" y="182"/>
                </a:moveTo>
                <a:cubicBezTo>
                  <a:pt x="12115" y="61"/>
                  <a:pt x="11448" y="0"/>
                  <a:pt x="10788" y="0"/>
                </a:cubicBezTo>
                <a:lnTo>
                  <a:pt x="10787" y="0"/>
                </a:lnTo>
                <a:lnTo>
                  <a:pt x="10736" y="0"/>
                </a:lnTo>
                <a:lnTo>
                  <a:pt x="10779" y="940"/>
                </a:lnTo>
                <a:cubicBezTo>
                  <a:pt x="11389" y="940"/>
                  <a:pt x="12000" y="995"/>
                  <a:pt x="12594" y="1105"/>
                </a:cubicBezTo>
                <a:cubicBezTo>
                  <a:pt x="12594" y="1105"/>
                  <a:pt x="12765" y="182"/>
                  <a:pt x="12765" y="182"/>
                </a:cubicBezTo>
                <a:close/>
                <a:moveTo>
                  <a:pt x="6893" y="20882"/>
                </a:moveTo>
                <a:cubicBezTo>
                  <a:pt x="7514" y="21121"/>
                  <a:pt x="8160" y="21302"/>
                  <a:pt x="8814" y="21422"/>
                </a:cubicBezTo>
                <a:lnTo>
                  <a:pt x="8985" y="20499"/>
                </a:lnTo>
                <a:cubicBezTo>
                  <a:pt x="8387" y="20389"/>
                  <a:pt x="7797" y="20223"/>
                  <a:pt x="7231" y="20006"/>
                </a:cubicBezTo>
                <a:cubicBezTo>
                  <a:pt x="7231" y="20006"/>
                  <a:pt x="6893" y="20882"/>
                  <a:pt x="6893" y="20882"/>
                </a:cubicBezTo>
                <a:close/>
                <a:moveTo>
                  <a:pt x="3510" y="18800"/>
                </a:moveTo>
                <a:cubicBezTo>
                  <a:pt x="4003" y="19247"/>
                  <a:pt x="4539" y="19650"/>
                  <a:pt x="5105" y="19997"/>
                </a:cubicBezTo>
                <a:lnTo>
                  <a:pt x="5599" y="19198"/>
                </a:lnTo>
                <a:cubicBezTo>
                  <a:pt x="5083" y="18881"/>
                  <a:pt x="4592" y="18513"/>
                  <a:pt x="4142" y="18105"/>
                </a:cubicBezTo>
                <a:cubicBezTo>
                  <a:pt x="4142" y="18105"/>
                  <a:pt x="3510" y="18800"/>
                  <a:pt x="3510" y="18800"/>
                </a:cubicBezTo>
                <a:close/>
                <a:moveTo>
                  <a:pt x="5546" y="2435"/>
                </a:moveTo>
                <a:lnTo>
                  <a:pt x="5048" y="1639"/>
                </a:lnTo>
                <a:cubicBezTo>
                  <a:pt x="4484" y="1991"/>
                  <a:pt x="3950" y="2397"/>
                  <a:pt x="3460" y="2846"/>
                </a:cubicBezTo>
                <a:lnTo>
                  <a:pt x="4096" y="3538"/>
                </a:lnTo>
                <a:cubicBezTo>
                  <a:pt x="4544" y="3127"/>
                  <a:pt x="5032" y="2756"/>
                  <a:pt x="5546" y="2435"/>
                </a:cubicBezTo>
                <a:moveTo>
                  <a:pt x="8924" y="1113"/>
                </a:moveTo>
                <a:lnTo>
                  <a:pt x="8748" y="190"/>
                </a:lnTo>
                <a:cubicBezTo>
                  <a:pt x="8093" y="315"/>
                  <a:pt x="7448" y="501"/>
                  <a:pt x="6830" y="743"/>
                </a:cubicBezTo>
                <a:lnTo>
                  <a:pt x="7173" y="1617"/>
                </a:lnTo>
                <a:cubicBezTo>
                  <a:pt x="7738" y="1396"/>
                  <a:pt x="8327" y="1226"/>
                  <a:pt x="8924" y="111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0" name="Shape 2720"/>
          <p:cNvSpPr/>
          <p:nvPr/>
        </p:nvSpPr>
        <p:spPr>
          <a:xfrm>
            <a:off x="3891585" y="9278448"/>
            <a:ext cx="556423" cy="5575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65" y="19991"/>
                </a:moveTo>
                <a:lnTo>
                  <a:pt x="14707" y="20866"/>
                </a:lnTo>
                <a:cubicBezTo>
                  <a:pt x="15328" y="20625"/>
                  <a:pt x="15928" y="20324"/>
                  <a:pt x="16492" y="19973"/>
                </a:cubicBezTo>
                <a:lnTo>
                  <a:pt x="15994" y="19176"/>
                </a:lnTo>
                <a:cubicBezTo>
                  <a:pt x="15479" y="19497"/>
                  <a:pt x="14931" y="19771"/>
                  <a:pt x="14365" y="19991"/>
                </a:cubicBezTo>
                <a:moveTo>
                  <a:pt x="10800" y="14735"/>
                </a:moveTo>
                <a:cubicBezTo>
                  <a:pt x="8622" y="14735"/>
                  <a:pt x="6857" y="12973"/>
                  <a:pt x="6857" y="10800"/>
                </a:cubicBezTo>
                <a:cubicBezTo>
                  <a:pt x="6857" y="8627"/>
                  <a:pt x="8622" y="6865"/>
                  <a:pt x="10800" y="6865"/>
                </a:cubicBezTo>
                <a:cubicBezTo>
                  <a:pt x="12978" y="6865"/>
                  <a:pt x="14743" y="8627"/>
                  <a:pt x="14743" y="10800"/>
                </a:cubicBezTo>
                <a:cubicBezTo>
                  <a:pt x="14743" y="12973"/>
                  <a:pt x="12978" y="14735"/>
                  <a:pt x="10800" y="14735"/>
                </a:cubicBezTo>
                <a:moveTo>
                  <a:pt x="10800" y="5881"/>
                </a:moveTo>
                <a:cubicBezTo>
                  <a:pt x="8078" y="5881"/>
                  <a:pt x="5871" y="8083"/>
                  <a:pt x="5871" y="10800"/>
                </a:cubicBezTo>
                <a:cubicBezTo>
                  <a:pt x="5871" y="13517"/>
                  <a:pt x="8078" y="15719"/>
                  <a:pt x="10800" y="15719"/>
                </a:cubicBezTo>
                <a:cubicBezTo>
                  <a:pt x="13522" y="15719"/>
                  <a:pt x="15729" y="13517"/>
                  <a:pt x="15729" y="10800"/>
                </a:cubicBezTo>
                <a:cubicBezTo>
                  <a:pt x="15729" y="8083"/>
                  <a:pt x="13522" y="5881"/>
                  <a:pt x="10800" y="5881"/>
                </a:cubicBezTo>
                <a:moveTo>
                  <a:pt x="10800" y="20661"/>
                </a:moveTo>
                <a:lnTo>
                  <a:pt x="10801" y="21600"/>
                </a:lnTo>
                <a:cubicBezTo>
                  <a:pt x="11469" y="21598"/>
                  <a:pt x="12137" y="21536"/>
                  <a:pt x="12788" y="21415"/>
                </a:cubicBezTo>
                <a:lnTo>
                  <a:pt x="12614" y="20491"/>
                </a:lnTo>
                <a:cubicBezTo>
                  <a:pt x="12020" y="20603"/>
                  <a:pt x="11409" y="20660"/>
                  <a:pt x="10800" y="20661"/>
                </a:cubicBezTo>
                <a:moveTo>
                  <a:pt x="18660" y="4854"/>
                </a:moveTo>
                <a:lnTo>
                  <a:pt x="19411" y="4287"/>
                </a:lnTo>
                <a:cubicBezTo>
                  <a:pt x="19011" y="3759"/>
                  <a:pt x="18558" y="3264"/>
                  <a:pt x="18065" y="2816"/>
                </a:cubicBezTo>
                <a:lnTo>
                  <a:pt x="17432" y="3510"/>
                </a:lnTo>
                <a:cubicBezTo>
                  <a:pt x="17882" y="3919"/>
                  <a:pt x="18295" y="4371"/>
                  <a:pt x="18660" y="4854"/>
                </a:cubicBezTo>
                <a:moveTo>
                  <a:pt x="21187" y="7835"/>
                </a:moveTo>
                <a:cubicBezTo>
                  <a:pt x="21005" y="7197"/>
                  <a:pt x="20761" y="6573"/>
                  <a:pt x="20463" y="5978"/>
                </a:cubicBezTo>
                <a:lnTo>
                  <a:pt x="19622" y="6399"/>
                </a:lnTo>
                <a:cubicBezTo>
                  <a:pt x="19893" y="6941"/>
                  <a:pt x="20115" y="7510"/>
                  <a:pt x="20282" y="8094"/>
                </a:cubicBezTo>
                <a:cubicBezTo>
                  <a:pt x="20282" y="8094"/>
                  <a:pt x="21187" y="7835"/>
                  <a:pt x="21187" y="7835"/>
                </a:cubicBezTo>
                <a:close/>
                <a:moveTo>
                  <a:pt x="21553" y="9794"/>
                </a:moveTo>
                <a:lnTo>
                  <a:pt x="20617" y="9880"/>
                </a:lnTo>
                <a:cubicBezTo>
                  <a:pt x="20644" y="10182"/>
                  <a:pt x="20659" y="10492"/>
                  <a:pt x="20659" y="10800"/>
                </a:cubicBezTo>
                <a:cubicBezTo>
                  <a:pt x="20659" y="11099"/>
                  <a:pt x="20645" y="11401"/>
                  <a:pt x="20619" y="11699"/>
                </a:cubicBezTo>
                <a:lnTo>
                  <a:pt x="21556" y="11784"/>
                </a:lnTo>
                <a:cubicBezTo>
                  <a:pt x="21585" y="11458"/>
                  <a:pt x="21600" y="11127"/>
                  <a:pt x="21600" y="10800"/>
                </a:cubicBezTo>
                <a:cubicBezTo>
                  <a:pt x="21599" y="10462"/>
                  <a:pt x="21584" y="10124"/>
                  <a:pt x="21553" y="9794"/>
                </a:cubicBezTo>
                <a:moveTo>
                  <a:pt x="6893" y="20882"/>
                </a:moveTo>
                <a:cubicBezTo>
                  <a:pt x="7514" y="21121"/>
                  <a:pt x="8160" y="21302"/>
                  <a:pt x="8814" y="21422"/>
                </a:cubicBezTo>
                <a:lnTo>
                  <a:pt x="8985" y="20499"/>
                </a:lnTo>
                <a:cubicBezTo>
                  <a:pt x="8387" y="20389"/>
                  <a:pt x="7797" y="20223"/>
                  <a:pt x="7231" y="20006"/>
                </a:cubicBezTo>
                <a:cubicBezTo>
                  <a:pt x="7231" y="20006"/>
                  <a:pt x="6893" y="20882"/>
                  <a:pt x="6893" y="20882"/>
                </a:cubicBezTo>
                <a:close/>
                <a:moveTo>
                  <a:pt x="19632" y="15184"/>
                </a:moveTo>
                <a:lnTo>
                  <a:pt x="20474" y="15602"/>
                </a:lnTo>
                <a:cubicBezTo>
                  <a:pt x="20770" y="15008"/>
                  <a:pt x="21012" y="14383"/>
                  <a:pt x="21194" y="13743"/>
                </a:cubicBezTo>
                <a:lnTo>
                  <a:pt x="20288" y="13487"/>
                </a:lnTo>
                <a:cubicBezTo>
                  <a:pt x="20123" y="14071"/>
                  <a:pt x="19901" y="14642"/>
                  <a:pt x="19632" y="15184"/>
                </a:cubicBezTo>
                <a:moveTo>
                  <a:pt x="17446" y="18078"/>
                </a:moveTo>
                <a:lnTo>
                  <a:pt x="18081" y="18771"/>
                </a:lnTo>
                <a:cubicBezTo>
                  <a:pt x="18572" y="18323"/>
                  <a:pt x="19024" y="17827"/>
                  <a:pt x="19424" y="17297"/>
                </a:cubicBezTo>
                <a:lnTo>
                  <a:pt x="18672" y="16732"/>
                </a:lnTo>
                <a:cubicBezTo>
                  <a:pt x="18307" y="17216"/>
                  <a:pt x="17894" y="17669"/>
                  <a:pt x="17446" y="18078"/>
                </a:cubicBezTo>
                <a:moveTo>
                  <a:pt x="5546" y="2435"/>
                </a:moveTo>
                <a:lnTo>
                  <a:pt x="5048" y="1639"/>
                </a:lnTo>
                <a:cubicBezTo>
                  <a:pt x="4484" y="1991"/>
                  <a:pt x="3950" y="2397"/>
                  <a:pt x="3460" y="2846"/>
                </a:cubicBezTo>
                <a:lnTo>
                  <a:pt x="4096" y="3538"/>
                </a:lnTo>
                <a:cubicBezTo>
                  <a:pt x="4544" y="3127"/>
                  <a:pt x="5032" y="2756"/>
                  <a:pt x="5546" y="2435"/>
                </a:cubicBezTo>
                <a:moveTo>
                  <a:pt x="8924" y="1113"/>
                </a:moveTo>
                <a:lnTo>
                  <a:pt x="8748" y="190"/>
                </a:lnTo>
                <a:cubicBezTo>
                  <a:pt x="8093" y="315"/>
                  <a:pt x="7448" y="501"/>
                  <a:pt x="6830" y="743"/>
                </a:cubicBezTo>
                <a:lnTo>
                  <a:pt x="7173" y="1617"/>
                </a:lnTo>
                <a:cubicBezTo>
                  <a:pt x="7738" y="1396"/>
                  <a:pt x="8327" y="1226"/>
                  <a:pt x="8924" y="1113"/>
                </a:cubicBezTo>
                <a:moveTo>
                  <a:pt x="16473" y="1615"/>
                </a:moveTo>
                <a:cubicBezTo>
                  <a:pt x="15908" y="1264"/>
                  <a:pt x="15306" y="966"/>
                  <a:pt x="14686" y="726"/>
                </a:cubicBezTo>
                <a:lnTo>
                  <a:pt x="14347" y="1602"/>
                </a:lnTo>
                <a:cubicBezTo>
                  <a:pt x="14912" y="1821"/>
                  <a:pt x="15462" y="2094"/>
                  <a:pt x="15978" y="2413"/>
                </a:cubicBezTo>
                <a:cubicBezTo>
                  <a:pt x="15978" y="2413"/>
                  <a:pt x="16473" y="1615"/>
                  <a:pt x="16473" y="1615"/>
                </a:cubicBezTo>
                <a:close/>
                <a:moveTo>
                  <a:pt x="2873" y="4886"/>
                </a:moveTo>
                <a:lnTo>
                  <a:pt x="2120" y="4322"/>
                </a:lnTo>
                <a:cubicBezTo>
                  <a:pt x="1721" y="4854"/>
                  <a:pt x="1369" y="5424"/>
                  <a:pt x="1074" y="6018"/>
                </a:cubicBezTo>
                <a:lnTo>
                  <a:pt x="1917" y="6435"/>
                </a:lnTo>
                <a:cubicBezTo>
                  <a:pt x="2186" y="5892"/>
                  <a:pt x="2508" y="5371"/>
                  <a:pt x="2873" y="4886"/>
                </a:cubicBezTo>
                <a:moveTo>
                  <a:pt x="3510" y="18800"/>
                </a:moveTo>
                <a:cubicBezTo>
                  <a:pt x="4003" y="19247"/>
                  <a:pt x="4539" y="19650"/>
                  <a:pt x="5105" y="19997"/>
                </a:cubicBezTo>
                <a:lnTo>
                  <a:pt x="5599" y="19198"/>
                </a:lnTo>
                <a:cubicBezTo>
                  <a:pt x="5083" y="18881"/>
                  <a:pt x="4592" y="18513"/>
                  <a:pt x="4142" y="18105"/>
                </a:cubicBezTo>
                <a:cubicBezTo>
                  <a:pt x="4142" y="18105"/>
                  <a:pt x="3510" y="18800"/>
                  <a:pt x="3510" y="18800"/>
                </a:cubicBezTo>
                <a:close/>
                <a:moveTo>
                  <a:pt x="12594" y="1105"/>
                </a:moveTo>
                <a:lnTo>
                  <a:pt x="12765" y="182"/>
                </a:lnTo>
                <a:cubicBezTo>
                  <a:pt x="12115" y="61"/>
                  <a:pt x="11448" y="0"/>
                  <a:pt x="10788" y="0"/>
                </a:cubicBezTo>
                <a:lnTo>
                  <a:pt x="10787" y="0"/>
                </a:lnTo>
                <a:lnTo>
                  <a:pt x="10736" y="0"/>
                </a:lnTo>
                <a:lnTo>
                  <a:pt x="10779" y="940"/>
                </a:lnTo>
                <a:cubicBezTo>
                  <a:pt x="11389" y="940"/>
                  <a:pt x="12000" y="995"/>
                  <a:pt x="12594" y="1105"/>
                </a:cubicBezTo>
                <a:moveTo>
                  <a:pt x="1105" y="15642"/>
                </a:moveTo>
                <a:cubicBezTo>
                  <a:pt x="1403" y="16235"/>
                  <a:pt x="1759" y="16804"/>
                  <a:pt x="2161" y="17332"/>
                </a:cubicBezTo>
                <a:lnTo>
                  <a:pt x="2910" y="16763"/>
                </a:lnTo>
                <a:cubicBezTo>
                  <a:pt x="2542" y="16281"/>
                  <a:pt x="2218" y="15762"/>
                  <a:pt x="1945" y="15220"/>
                </a:cubicBezTo>
                <a:cubicBezTo>
                  <a:pt x="1945" y="15220"/>
                  <a:pt x="1105" y="15642"/>
                  <a:pt x="1105" y="15642"/>
                </a:cubicBezTo>
                <a:close/>
                <a:moveTo>
                  <a:pt x="1265" y="8133"/>
                </a:moveTo>
                <a:lnTo>
                  <a:pt x="359" y="7879"/>
                </a:lnTo>
                <a:cubicBezTo>
                  <a:pt x="179" y="8516"/>
                  <a:pt x="59" y="9176"/>
                  <a:pt x="0" y="9838"/>
                </a:cubicBezTo>
                <a:lnTo>
                  <a:pt x="938" y="9921"/>
                </a:lnTo>
                <a:cubicBezTo>
                  <a:pt x="991" y="9316"/>
                  <a:pt x="1101" y="8714"/>
                  <a:pt x="1265" y="8133"/>
                </a:cubicBezTo>
                <a:moveTo>
                  <a:pt x="943" y="11741"/>
                </a:moveTo>
                <a:lnTo>
                  <a:pt x="6" y="11829"/>
                </a:lnTo>
                <a:cubicBezTo>
                  <a:pt x="69" y="12492"/>
                  <a:pt x="194" y="13151"/>
                  <a:pt x="377" y="13786"/>
                </a:cubicBezTo>
                <a:lnTo>
                  <a:pt x="1281" y="13527"/>
                </a:lnTo>
                <a:cubicBezTo>
                  <a:pt x="1114" y="12946"/>
                  <a:pt x="1000" y="12346"/>
                  <a:pt x="943" y="1174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1" name="Shape 2721"/>
          <p:cNvSpPr/>
          <p:nvPr/>
        </p:nvSpPr>
        <p:spPr>
          <a:xfrm>
            <a:off x="4958110" y="9278448"/>
            <a:ext cx="556423" cy="5575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65" y="19991"/>
                </a:moveTo>
                <a:lnTo>
                  <a:pt x="14707" y="20866"/>
                </a:lnTo>
                <a:cubicBezTo>
                  <a:pt x="15328" y="20625"/>
                  <a:pt x="15928" y="20324"/>
                  <a:pt x="16492" y="19973"/>
                </a:cubicBezTo>
                <a:lnTo>
                  <a:pt x="15994" y="19176"/>
                </a:lnTo>
                <a:cubicBezTo>
                  <a:pt x="15479" y="19497"/>
                  <a:pt x="14931" y="19771"/>
                  <a:pt x="14365" y="19991"/>
                </a:cubicBezTo>
                <a:moveTo>
                  <a:pt x="10800" y="20661"/>
                </a:moveTo>
                <a:lnTo>
                  <a:pt x="10801" y="21600"/>
                </a:lnTo>
                <a:cubicBezTo>
                  <a:pt x="11469" y="21598"/>
                  <a:pt x="12137" y="21536"/>
                  <a:pt x="12788" y="21415"/>
                </a:cubicBezTo>
                <a:lnTo>
                  <a:pt x="12614" y="20491"/>
                </a:lnTo>
                <a:cubicBezTo>
                  <a:pt x="12020" y="20603"/>
                  <a:pt x="11409" y="20660"/>
                  <a:pt x="10800" y="20661"/>
                </a:cubicBezTo>
                <a:moveTo>
                  <a:pt x="11148" y="16559"/>
                </a:moveTo>
                <a:lnTo>
                  <a:pt x="15092" y="12624"/>
                </a:lnTo>
                <a:cubicBezTo>
                  <a:pt x="15181" y="12535"/>
                  <a:pt x="15236" y="12412"/>
                  <a:pt x="15236" y="12276"/>
                </a:cubicBezTo>
                <a:cubicBezTo>
                  <a:pt x="15236" y="12004"/>
                  <a:pt x="15015" y="11784"/>
                  <a:pt x="14743" y="11784"/>
                </a:cubicBezTo>
                <a:cubicBezTo>
                  <a:pt x="14607" y="11784"/>
                  <a:pt x="14483" y="11839"/>
                  <a:pt x="14395" y="11928"/>
                </a:cubicBezTo>
                <a:lnTo>
                  <a:pt x="11293" y="15024"/>
                </a:lnTo>
                <a:lnTo>
                  <a:pt x="11293" y="5389"/>
                </a:lnTo>
                <a:cubicBezTo>
                  <a:pt x="11293" y="5117"/>
                  <a:pt x="11072" y="4897"/>
                  <a:pt x="10800" y="4897"/>
                </a:cubicBezTo>
                <a:cubicBezTo>
                  <a:pt x="10528" y="4897"/>
                  <a:pt x="10307" y="5117"/>
                  <a:pt x="10307" y="5389"/>
                </a:cubicBezTo>
                <a:lnTo>
                  <a:pt x="10307" y="15024"/>
                </a:lnTo>
                <a:lnTo>
                  <a:pt x="7206" y="11928"/>
                </a:lnTo>
                <a:cubicBezTo>
                  <a:pt x="7117" y="11839"/>
                  <a:pt x="6993" y="11784"/>
                  <a:pt x="6857" y="11784"/>
                </a:cubicBezTo>
                <a:cubicBezTo>
                  <a:pt x="6585" y="11784"/>
                  <a:pt x="6364" y="12004"/>
                  <a:pt x="6364" y="12276"/>
                </a:cubicBezTo>
                <a:cubicBezTo>
                  <a:pt x="6364" y="12412"/>
                  <a:pt x="6419" y="12535"/>
                  <a:pt x="6508" y="12624"/>
                </a:cubicBezTo>
                <a:lnTo>
                  <a:pt x="10452" y="16559"/>
                </a:lnTo>
                <a:cubicBezTo>
                  <a:pt x="10541" y="16648"/>
                  <a:pt x="10664" y="16703"/>
                  <a:pt x="10800" y="16703"/>
                </a:cubicBezTo>
                <a:cubicBezTo>
                  <a:pt x="10936" y="16703"/>
                  <a:pt x="11059" y="16648"/>
                  <a:pt x="11148" y="16559"/>
                </a:cubicBezTo>
                <a:moveTo>
                  <a:pt x="18660" y="4854"/>
                </a:moveTo>
                <a:lnTo>
                  <a:pt x="19411" y="4287"/>
                </a:lnTo>
                <a:cubicBezTo>
                  <a:pt x="19011" y="3759"/>
                  <a:pt x="18558" y="3264"/>
                  <a:pt x="18065" y="2816"/>
                </a:cubicBezTo>
                <a:lnTo>
                  <a:pt x="17432" y="3510"/>
                </a:lnTo>
                <a:cubicBezTo>
                  <a:pt x="17882" y="3919"/>
                  <a:pt x="18295" y="4371"/>
                  <a:pt x="18660" y="4854"/>
                </a:cubicBezTo>
                <a:moveTo>
                  <a:pt x="6893" y="20882"/>
                </a:moveTo>
                <a:cubicBezTo>
                  <a:pt x="7514" y="21121"/>
                  <a:pt x="8160" y="21302"/>
                  <a:pt x="8814" y="21422"/>
                </a:cubicBezTo>
                <a:lnTo>
                  <a:pt x="8985" y="20499"/>
                </a:lnTo>
                <a:cubicBezTo>
                  <a:pt x="8387" y="20389"/>
                  <a:pt x="7797" y="20223"/>
                  <a:pt x="7231" y="20006"/>
                </a:cubicBezTo>
                <a:cubicBezTo>
                  <a:pt x="7231" y="20006"/>
                  <a:pt x="6893" y="20882"/>
                  <a:pt x="6893" y="20882"/>
                </a:cubicBezTo>
                <a:close/>
                <a:moveTo>
                  <a:pt x="21553" y="9794"/>
                </a:moveTo>
                <a:lnTo>
                  <a:pt x="20617" y="9880"/>
                </a:lnTo>
                <a:cubicBezTo>
                  <a:pt x="20644" y="10182"/>
                  <a:pt x="20659" y="10492"/>
                  <a:pt x="20659" y="10800"/>
                </a:cubicBezTo>
                <a:cubicBezTo>
                  <a:pt x="20659" y="11099"/>
                  <a:pt x="20645" y="11401"/>
                  <a:pt x="20619" y="11699"/>
                </a:cubicBezTo>
                <a:lnTo>
                  <a:pt x="21556" y="11784"/>
                </a:lnTo>
                <a:cubicBezTo>
                  <a:pt x="21585" y="11458"/>
                  <a:pt x="21600" y="11127"/>
                  <a:pt x="21600" y="10800"/>
                </a:cubicBezTo>
                <a:cubicBezTo>
                  <a:pt x="21599" y="10462"/>
                  <a:pt x="21584" y="10124"/>
                  <a:pt x="21553" y="9794"/>
                </a:cubicBezTo>
                <a:moveTo>
                  <a:pt x="21187" y="7835"/>
                </a:moveTo>
                <a:cubicBezTo>
                  <a:pt x="21005" y="7197"/>
                  <a:pt x="20761" y="6573"/>
                  <a:pt x="20463" y="5978"/>
                </a:cubicBezTo>
                <a:lnTo>
                  <a:pt x="19622" y="6399"/>
                </a:lnTo>
                <a:cubicBezTo>
                  <a:pt x="19893" y="6941"/>
                  <a:pt x="20115" y="7510"/>
                  <a:pt x="20282" y="8094"/>
                </a:cubicBezTo>
                <a:cubicBezTo>
                  <a:pt x="20282" y="8094"/>
                  <a:pt x="21187" y="7835"/>
                  <a:pt x="21187" y="7835"/>
                </a:cubicBezTo>
                <a:close/>
                <a:moveTo>
                  <a:pt x="19632" y="15184"/>
                </a:moveTo>
                <a:lnTo>
                  <a:pt x="20474" y="15602"/>
                </a:lnTo>
                <a:cubicBezTo>
                  <a:pt x="20770" y="15008"/>
                  <a:pt x="21012" y="14383"/>
                  <a:pt x="21194" y="13743"/>
                </a:cubicBezTo>
                <a:lnTo>
                  <a:pt x="20288" y="13487"/>
                </a:lnTo>
                <a:cubicBezTo>
                  <a:pt x="20123" y="14071"/>
                  <a:pt x="19901" y="14642"/>
                  <a:pt x="19632" y="15184"/>
                </a:cubicBezTo>
                <a:moveTo>
                  <a:pt x="17446" y="18078"/>
                </a:moveTo>
                <a:lnTo>
                  <a:pt x="18081" y="18771"/>
                </a:lnTo>
                <a:cubicBezTo>
                  <a:pt x="18572" y="18323"/>
                  <a:pt x="19024" y="17827"/>
                  <a:pt x="19424" y="17297"/>
                </a:cubicBezTo>
                <a:lnTo>
                  <a:pt x="18672" y="16732"/>
                </a:lnTo>
                <a:cubicBezTo>
                  <a:pt x="18307" y="17216"/>
                  <a:pt x="17894" y="17669"/>
                  <a:pt x="17446" y="18078"/>
                </a:cubicBezTo>
                <a:moveTo>
                  <a:pt x="8924" y="1113"/>
                </a:moveTo>
                <a:lnTo>
                  <a:pt x="8748" y="190"/>
                </a:lnTo>
                <a:cubicBezTo>
                  <a:pt x="8093" y="315"/>
                  <a:pt x="7448" y="501"/>
                  <a:pt x="6830" y="743"/>
                </a:cubicBezTo>
                <a:lnTo>
                  <a:pt x="7173" y="1617"/>
                </a:lnTo>
                <a:cubicBezTo>
                  <a:pt x="7738" y="1396"/>
                  <a:pt x="8327" y="1226"/>
                  <a:pt x="8924" y="1113"/>
                </a:cubicBezTo>
                <a:moveTo>
                  <a:pt x="12594" y="1105"/>
                </a:moveTo>
                <a:lnTo>
                  <a:pt x="12765" y="182"/>
                </a:lnTo>
                <a:cubicBezTo>
                  <a:pt x="12115" y="61"/>
                  <a:pt x="11448" y="0"/>
                  <a:pt x="10788" y="0"/>
                </a:cubicBezTo>
                <a:lnTo>
                  <a:pt x="10787" y="0"/>
                </a:lnTo>
                <a:lnTo>
                  <a:pt x="10736" y="0"/>
                </a:lnTo>
                <a:lnTo>
                  <a:pt x="10779" y="940"/>
                </a:lnTo>
                <a:cubicBezTo>
                  <a:pt x="11389" y="940"/>
                  <a:pt x="12000" y="995"/>
                  <a:pt x="12594" y="1105"/>
                </a:cubicBezTo>
                <a:moveTo>
                  <a:pt x="16473" y="1615"/>
                </a:moveTo>
                <a:cubicBezTo>
                  <a:pt x="15908" y="1264"/>
                  <a:pt x="15306" y="966"/>
                  <a:pt x="14686" y="726"/>
                </a:cubicBezTo>
                <a:lnTo>
                  <a:pt x="14347" y="1602"/>
                </a:lnTo>
                <a:cubicBezTo>
                  <a:pt x="14912" y="1821"/>
                  <a:pt x="15462" y="2094"/>
                  <a:pt x="15978" y="2413"/>
                </a:cubicBezTo>
                <a:cubicBezTo>
                  <a:pt x="15978" y="2413"/>
                  <a:pt x="16473" y="1615"/>
                  <a:pt x="16473" y="1615"/>
                </a:cubicBezTo>
                <a:close/>
                <a:moveTo>
                  <a:pt x="3510" y="18800"/>
                </a:moveTo>
                <a:cubicBezTo>
                  <a:pt x="4003" y="19247"/>
                  <a:pt x="4539" y="19650"/>
                  <a:pt x="5105" y="19997"/>
                </a:cubicBezTo>
                <a:lnTo>
                  <a:pt x="5599" y="19198"/>
                </a:lnTo>
                <a:cubicBezTo>
                  <a:pt x="5083" y="18881"/>
                  <a:pt x="4592" y="18513"/>
                  <a:pt x="4142" y="18105"/>
                </a:cubicBezTo>
                <a:cubicBezTo>
                  <a:pt x="4142" y="18105"/>
                  <a:pt x="3510" y="18800"/>
                  <a:pt x="3510" y="18800"/>
                </a:cubicBezTo>
                <a:close/>
                <a:moveTo>
                  <a:pt x="2873" y="4886"/>
                </a:moveTo>
                <a:lnTo>
                  <a:pt x="2120" y="4322"/>
                </a:lnTo>
                <a:cubicBezTo>
                  <a:pt x="1721" y="4854"/>
                  <a:pt x="1369" y="5424"/>
                  <a:pt x="1074" y="6018"/>
                </a:cubicBezTo>
                <a:lnTo>
                  <a:pt x="1917" y="6435"/>
                </a:lnTo>
                <a:cubicBezTo>
                  <a:pt x="2186" y="5892"/>
                  <a:pt x="2508" y="5371"/>
                  <a:pt x="2873" y="4886"/>
                </a:cubicBezTo>
                <a:moveTo>
                  <a:pt x="5546" y="2435"/>
                </a:moveTo>
                <a:lnTo>
                  <a:pt x="5048" y="1639"/>
                </a:lnTo>
                <a:cubicBezTo>
                  <a:pt x="4484" y="1991"/>
                  <a:pt x="3950" y="2397"/>
                  <a:pt x="3460" y="2846"/>
                </a:cubicBezTo>
                <a:lnTo>
                  <a:pt x="4096" y="3538"/>
                </a:lnTo>
                <a:cubicBezTo>
                  <a:pt x="4544" y="3127"/>
                  <a:pt x="5032" y="2756"/>
                  <a:pt x="5546" y="2435"/>
                </a:cubicBezTo>
                <a:moveTo>
                  <a:pt x="1105" y="15642"/>
                </a:moveTo>
                <a:cubicBezTo>
                  <a:pt x="1403" y="16235"/>
                  <a:pt x="1759" y="16804"/>
                  <a:pt x="2161" y="17332"/>
                </a:cubicBezTo>
                <a:lnTo>
                  <a:pt x="2910" y="16763"/>
                </a:lnTo>
                <a:cubicBezTo>
                  <a:pt x="2542" y="16281"/>
                  <a:pt x="2218" y="15762"/>
                  <a:pt x="1945" y="15220"/>
                </a:cubicBezTo>
                <a:cubicBezTo>
                  <a:pt x="1945" y="15220"/>
                  <a:pt x="1105" y="15642"/>
                  <a:pt x="1105" y="15642"/>
                </a:cubicBezTo>
                <a:close/>
                <a:moveTo>
                  <a:pt x="1265" y="8133"/>
                </a:moveTo>
                <a:lnTo>
                  <a:pt x="359" y="7879"/>
                </a:lnTo>
                <a:cubicBezTo>
                  <a:pt x="179" y="8516"/>
                  <a:pt x="59" y="9176"/>
                  <a:pt x="0" y="9838"/>
                </a:cubicBezTo>
                <a:lnTo>
                  <a:pt x="938" y="9921"/>
                </a:lnTo>
                <a:cubicBezTo>
                  <a:pt x="991" y="9316"/>
                  <a:pt x="1101" y="8714"/>
                  <a:pt x="1265" y="8133"/>
                </a:cubicBezTo>
                <a:moveTo>
                  <a:pt x="943" y="11741"/>
                </a:moveTo>
                <a:lnTo>
                  <a:pt x="6" y="11829"/>
                </a:lnTo>
                <a:cubicBezTo>
                  <a:pt x="69" y="12492"/>
                  <a:pt x="194" y="13151"/>
                  <a:pt x="377" y="13786"/>
                </a:cubicBezTo>
                <a:lnTo>
                  <a:pt x="1281" y="13527"/>
                </a:lnTo>
                <a:cubicBezTo>
                  <a:pt x="1114" y="12946"/>
                  <a:pt x="1000" y="12346"/>
                  <a:pt x="943" y="1174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2" name="Shape 2722"/>
          <p:cNvSpPr/>
          <p:nvPr/>
        </p:nvSpPr>
        <p:spPr>
          <a:xfrm>
            <a:off x="6024633" y="9278448"/>
            <a:ext cx="556411" cy="5575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61"/>
                </a:moveTo>
                <a:lnTo>
                  <a:pt x="10802" y="21600"/>
                </a:lnTo>
                <a:cubicBezTo>
                  <a:pt x="11469" y="21598"/>
                  <a:pt x="12137" y="21536"/>
                  <a:pt x="12788" y="21415"/>
                </a:cubicBezTo>
                <a:lnTo>
                  <a:pt x="12615" y="20491"/>
                </a:lnTo>
                <a:cubicBezTo>
                  <a:pt x="12020" y="20603"/>
                  <a:pt x="11409" y="20660"/>
                  <a:pt x="10800" y="20661"/>
                </a:cubicBezTo>
                <a:moveTo>
                  <a:pt x="14365" y="19991"/>
                </a:moveTo>
                <a:lnTo>
                  <a:pt x="14707" y="20866"/>
                </a:lnTo>
                <a:cubicBezTo>
                  <a:pt x="15328" y="20625"/>
                  <a:pt x="15928" y="20324"/>
                  <a:pt x="16492" y="19973"/>
                </a:cubicBezTo>
                <a:lnTo>
                  <a:pt x="15994" y="19176"/>
                </a:lnTo>
                <a:cubicBezTo>
                  <a:pt x="15479" y="19497"/>
                  <a:pt x="14932" y="19771"/>
                  <a:pt x="14365" y="19991"/>
                </a:cubicBezTo>
                <a:moveTo>
                  <a:pt x="11293" y="16211"/>
                </a:moveTo>
                <a:lnTo>
                  <a:pt x="11293" y="6576"/>
                </a:lnTo>
                <a:lnTo>
                  <a:pt x="14395" y="9672"/>
                </a:lnTo>
                <a:cubicBezTo>
                  <a:pt x="14484" y="9761"/>
                  <a:pt x="14607" y="9816"/>
                  <a:pt x="14743" y="9816"/>
                </a:cubicBezTo>
                <a:cubicBezTo>
                  <a:pt x="15016" y="9816"/>
                  <a:pt x="15236" y="9596"/>
                  <a:pt x="15236" y="9324"/>
                </a:cubicBezTo>
                <a:cubicBezTo>
                  <a:pt x="15236" y="9189"/>
                  <a:pt x="15181" y="9065"/>
                  <a:pt x="15092" y="8976"/>
                </a:cubicBezTo>
                <a:lnTo>
                  <a:pt x="11149" y="5041"/>
                </a:lnTo>
                <a:cubicBezTo>
                  <a:pt x="11059" y="4952"/>
                  <a:pt x="10936" y="4897"/>
                  <a:pt x="10800" y="4897"/>
                </a:cubicBezTo>
                <a:cubicBezTo>
                  <a:pt x="10664" y="4897"/>
                  <a:pt x="10541" y="4952"/>
                  <a:pt x="10452" y="5041"/>
                </a:cubicBezTo>
                <a:lnTo>
                  <a:pt x="6509" y="8976"/>
                </a:lnTo>
                <a:cubicBezTo>
                  <a:pt x="6419" y="9065"/>
                  <a:pt x="6364" y="9189"/>
                  <a:pt x="6364" y="9324"/>
                </a:cubicBezTo>
                <a:cubicBezTo>
                  <a:pt x="6364" y="9596"/>
                  <a:pt x="6584" y="9816"/>
                  <a:pt x="6857" y="9816"/>
                </a:cubicBezTo>
                <a:cubicBezTo>
                  <a:pt x="6993" y="9816"/>
                  <a:pt x="7116" y="9761"/>
                  <a:pt x="7206" y="9672"/>
                </a:cubicBezTo>
                <a:lnTo>
                  <a:pt x="10307" y="6576"/>
                </a:lnTo>
                <a:lnTo>
                  <a:pt x="10307" y="16211"/>
                </a:lnTo>
                <a:cubicBezTo>
                  <a:pt x="10307" y="16483"/>
                  <a:pt x="10528" y="16703"/>
                  <a:pt x="10800" y="16703"/>
                </a:cubicBezTo>
                <a:cubicBezTo>
                  <a:pt x="11072" y="16703"/>
                  <a:pt x="11293" y="16483"/>
                  <a:pt x="11293" y="16211"/>
                </a:cubicBezTo>
                <a:moveTo>
                  <a:pt x="17446" y="18078"/>
                </a:moveTo>
                <a:lnTo>
                  <a:pt x="18081" y="18770"/>
                </a:lnTo>
                <a:cubicBezTo>
                  <a:pt x="18572" y="18323"/>
                  <a:pt x="19024" y="17827"/>
                  <a:pt x="19424" y="17297"/>
                </a:cubicBezTo>
                <a:lnTo>
                  <a:pt x="18673" y="16732"/>
                </a:lnTo>
                <a:cubicBezTo>
                  <a:pt x="18307" y="17216"/>
                  <a:pt x="17894" y="17669"/>
                  <a:pt x="17446" y="18078"/>
                </a:cubicBezTo>
                <a:moveTo>
                  <a:pt x="21553" y="9794"/>
                </a:moveTo>
                <a:lnTo>
                  <a:pt x="20617" y="9880"/>
                </a:lnTo>
                <a:cubicBezTo>
                  <a:pt x="20645" y="10182"/>
                  <a:pt x="20659" y="10492"/>
                  <a:pt x="20659" y="10800"/>
                </a:cubicBezTo>
                <a:cubicBezTo>
                  <a:pt x="20659" y="11099"/>
                  <a:pt x="20646" y="11401"/>
                  <a:pt x="20619" y="11699"/>
                </a:cubicBezTo>
                <a:lnTo>
                  <a:pt x="21556" y="11784"/>
                </a:lnTo>
                <a:cubicBezTo>
                  <a:pt x="21586" y="11458"/>
                  <a:pt x="21600" y="11127"/>
                  <a:pt x="21600" y="10800"/>
                </a:cubicBezTo>
                <a:cubicBezTo>
                  <a:pt x="21600" y="10462"/>
                  <a:pt x="21584" y="10124"/>
                  <a:pt x="21553" y="9794"/>
                </a:cubicBezTo>
                <a:moveTo>
                  <a:pt x="18660" y="4853"/>
                </a:moveTo>
                <a:lnTo>
                  <a:pt x="19412" y="4287"/>
                </a:lnTo>
                <a:cubicBezTo>
                  <a:pt x="19011" y="3759"/>
                  <a:pt x="18558" y="3264"/>
                  <a:pt x="18066" y="2816"/>
                </a:cubicBezTo>
                <a:lnTo>
                  <a:pt x="17432" y="3510"/>
                </a:lnTo>
                <a:cubicBezTo>
                  <a:pt x="17882" y="3919"/>
                  <a:pt x="18295" y="4371"/>
                  <a:pt x="18660" y="4853"/>
                </a:cubicBezTo>
                <a:moveTo>
                  <a:pt x="6893" y="20882"/>
                </a:moveTo>
                <a:cubicBezTo>
                  <a:pt x="7513" y="21121"/>
                  <a:pt x="8160" y="21302"/>
                  <a:pt x="8814" y="21422"/>
                </a:cubicBezTo>
                <a:lnTo>
                  <a:pt x="8984" y="20499"/>
                </a:lnTo>
                <a:cubicBezTo>
                  <a:pt x="8387" y="20389"/>
                  <a:pt x="7797" y="20223"/>
                  <a:pt x="7231" y="20006"/>
                </a:cubicBezTo>
                <a:cubicBezTo>
                  <a:pt x="7231" y="20006"/>
                  <a:pt x="6893" y="20882"/>
                  <a:pt x="6893" y="20882"/>
                </a:cubicBezTo>
                <a:close/>
                <a:moveTo>
                  <a:pt x="19632" y="15184"/>
                </a:moveTo>
                <a:lnTo>
                  <a:pt x="20474" y="15602"/>
                </a:lnTo>
                <a:cubicBezTo>
                  <a:pt x="20770" y="15008"/>
                  <a:pt x="21013" y="14383"/>
                  <a:pt x="21194" y="13743"/>
                </a:cubicBezTo>
                <a:lnTo>
                  <a:pt x="20288" y="13487"/>
                </a:lnTo>
                <a:cubicBezTo>
                  <a:pt x="20123" y="14071"/>
                  <a:pt x="19902" y="14642"/>
                  <a:pt x="19632" y="15184"/>
                </a:cubicBezTo>
                <a:moveTo>
                  <a:pt x="21187" y="7835"/>
                </a:moveTo>
                <a:cubicBezTo>
                  <a:pt x="21005" y="7197"/>
                  <a:pt x="20761" y="6573"/>
                  <a:pt x="20464" y="5978"/>
                </a:cubicBezTo>
                <a:lnTo>
                  <a:pt x="19622" y="6399"/>
                </a:lnTo>
                <a:cubicBezTo>
                  <a:pt x="19893" y="6941"/>
                  <a:pt x="20115" y="7510"/>
                  <a:pt x="20282" y="8094"/>
                </a:cubicBezTo>
                <a:cubicBezTo>
                  <a:pt x="20282" y="8094"/>
                  <a:pt x="21187" y="7835"/>
                  <a:pt x="21187" y="7835"/>
                </a:cubicBezTo>
                <a:close/>
                <a:moveTo>
                  <a:pt x="8923" y="1113"/>
                </a:moveTo>
                <a:lnTo>
                  <a:pt x="8747" y="190"/>
                </a:lnTo>
                <a:cubicBezTo>
                  <a:pt x="8093" y="315"/>
                  <a:pt x="7448" y="501"/>
                  <a:pt x="6829" y="743"/>
                </a:cubicBezTo>
                <a:lnTo>
                  <a:pt x="7174" y="1617"/>
                </a:lnTo>
                <a:cubicBezTo>
                  <a:pt x="7737" y="1396"/>
                  <a:pt x="8326" y="1226"/>
                  <a:pt x="8923" y="1113"/>
                </a:cubicBezTo>
                <a:moveTo>
                  <a:pt x="16474" y="1615"/>
                </a:moveTo>
                <a:cubicBezTo>
                  <a:pt x="15907" y="1264"/>
                  <a:pt x="15307" y="966"/>
                  <a:pt x="14687" y="726"/>
                </a:cubicBezTo>
                <a:lnTo>
                  <a:pt x="14346" y="1602"/>
                </a:lnTo>
                <a:cubicBezTo>
                  <a:pt x="14913" y="1821"/>
                  <a:pt x="15462" y="2094"/>
                  <a:pt x="15978" y="2413"/>
                </a:cubicBezTo>
                <a:cubicBezTo>
                  <a:pt x="15978" y="2413"/>
                  <a:pt x="16474" y="1615"/>
                  <a:pt x="16474" y="1615"/>
                </a:cubicBezTo>
                <a:close/>
                <a:moveTo>
                  <a:pt x="2873" y="4886"/>
                </a:moveTo>
                <a:lnTo>
                  <a:pt x="2120" y="4322"/>
                </a:lnTo>
                <a:cubicBezTo>
                  <a:pt x="1720" y="4853"/>
                  <a:pt x="1368" y="5424"/>
                  <a:pt x="1074" y="6018"/>
                </a:cubicBezTo>
                <a:lnTo>
                  <a:pt x="1917" y="6435"/>
                </a:lnTo>
                <a:cubicBezTo>
                  <a:pt x="2186" y="5892"/>
                  <a:pt x="2508" y="5371"/>
                  <a:pt x="2873" y="4886"/>
                </a:cubicBezTo>
                <a:moveTo>
                  <a:pt x="3509" y="18800"/>
                </a:moveTo>
                <a:cubicBezTo>
                  <a:pt x="4003" y="19247"/>
                  <a:pt x="4539" y="19650"/>
                  <a:pt x="5104" y="19997"/>
                </a:cubicBezTo>
                <a:lnTo>
                  <a:pt x="5598" y="19198"/>
                </a:lnTo>
                <a:cubicBezTo>
                  <a:pt x="5082" y="18881"/>
                  <a:pt x="4592" y="18513"/>
                  <a:pt x="4142" y="18105"/>
                </a:cubicBezTo>
                <a:cubicBezTo>
                  <a:pt x="4142" y="18105"/>
                  <a:pt x="3509" y="18800"/>
                  <a:pt x="3509" y="18800"/>
                </a:cubicBezTo>
                <a:close/>
                <a:moveTo>
                  <a:pt x="12594" y="1105"/>
                </a:moveTo>
                <a:lnTo>
                  <a:pt x="12765" y="182"/>
                </a:lnTo>
                <a:cubicBezTo>
                  <a:pt x="12116" y="61"/>
                  <a:pt x="11448" y="0"/>
                  <a:pt x="10788" y="0"/>
                </a:cubicBezTo>
                <a:lnTo>
                  <a:pt x="10787" y="0"/>
                </a:lnTo>
                <a:lnTo>
                  <a:pt x="10736" y="0"/>
                </a:lnTo>
                <a:lnTo>
                  <a:pt x="10779" y="940"/>
                </a:lnTo>
                <a:cubicBezTo>
                  <a:pt x="11389" y="940"/>
                  <a:pt x="12000" y="995"/>
                  <a:pt x="12594" y="1105"/>
                </a:cubicBezTo>
                <a:moveTo>
                  <a:pt x="1104" y="15642"/>
                </a:moveTo>
                <a:cubicBezTo>
                  <a:pt x="1403" y="16235"/>
                  <a:pt x="1758" y="16804"/>
                  <a:pt x="2161" y="17332"/>
                </a:cubicBezTo>
                <a:lnTo>
                  <a:pt x="2910" y="16763"/>
                </a:lnTo>
                <a:cubicBezTo>
                  <a:pt x="2542" y="16281"/>
                  <a:pt x="2218" y="15762"/>
                  <a:pt x="1945" y="15220"/>
                </a:cubicBezTo>
                <a:cubicBezTo>
                  <a:pt x="1945" y="15220"/>
                  <a:pt x="1104" y="15642"/>
                  <a:pt x="1104" y="15642"/>
                </a:cubicBezTo>
                <a:close/>
                <a:moveTo>
                  <a:pt x="5546" y="2435"/>
                </a:moveTo>
                <a:lnTo>
                  <a:pt x="5047" y="1639"/>
                </a:lnTo>
                <a:cubicBezTo>
                  <a:pt x="4484" y="1991"/>
                  <a:pt x="3950" y="2397"/>
                  <a:pt x="3460" y="2846"/>
                </a:cubicBezTo>
                <a:lnTo>
                  <a:pt x="4096" y="3538"/>
                </a:lnTo>
                <a:cubicBezTo>
                  <a:pt x="4544" y="3127"/>
                  <a:pt x="5031" y="2756"/>
                  <a:pt x="5546" y="2435"/>
                </a:cubicBezTo>
                <a:moveTo>
                  <a:pt x="1264" y="8133"/>
                </a:moveTo>
                <a:lnTo>
                  <a:pt x="358" y="7879"/>
                </a:lnTo>
                <a:cubicBezTo>
                  <a:pt x="179" y="8516"/>
                  <a:pt x="59" y="9176"/>
                  <a:pt x="0" y="9838"/>
                </a:cubicBezTo>
                <a:lnTo>
                  <a:pt x="938" y="9921"/>
                </a:lnTo>
                <a:cubicBezTo>
                  <a:pt x="991" y="9317"/>
                  <a:pt x="1101" y="8714"/>
                  <a:pt x="1264" y="8133"/>
                </a:cubicBezTo>
                <a:moveTo>
                  <a:pt x="942" y="11741"/>
                </a:moveTo>
                <a:lnTo>
                  <a:pt x="6" y="11829"/>
                </a:lnTo>
                <a:cubicBezTo>
                  <a:pt x="69" y="12492"/>
                  <a:pt x="194" y="13151"/>
                  <a:pt x="377" y="13786"/>
                </a:cubicBezTo>
                <a:lnTo>
                  <a:pt x="1281" y="13527"/>
                </a:lnTo>
                <a:cubicBezTo>
                  <a:pt x="1114" y="12946"/>
                  <a:pt x="1000" y="12346"/>
                  <a:pt x="942" y="1174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3" name="Shape 2723"/>
          <p:cNvSpPr/>
          <p:nvPr/>
        </p:nvSpPr>
        <p:spPr>
          <a:xfrm>
            <a:off x="7091154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8345" y="10309"/>
                </a:moveTo>
                <a:lnTo>
                  <a:pt x="7899" y="10309"/>
                </a:lnTo>
                <a:cubicBezTo>
                  <a:pt x="7974" y="9863"/>
                  <a:pt x="8153" y="9453"/>
                  <a:pt x="8405" y="9099"/>
                </a:cubicBezTo>
                <a:lnTo>
                  <a:pt x="8717" y="9412"/>
                </a:lnTo>
                <a:cubicBezTo>
                  <a:pt x="8909" y="9604"/>
                  <a:pt x="9220" y="9604"/>
                  <a:pt x="9412" y="9412"/>
                </a:cubicBezTo>
                <a:cubicBezTo>
                  <a:pt x="9603" y="9220"/>
                  <a:pt x="9603" y="8909"/>
                  <a:pt x="9412" y="8717"/>
                </a:cubicBezTo>
                <a:lnTo>
                  <a:pt x="9101" y="8407"/>
                </a:lnTo>
                <a:cubicBezTo>
                  <a:pt x="9454" y="8157"/>
                  <a:pt x="9864" y="7979"/>
                  <a:pt x="10309" y="7904"/>
                </a:cubicBezTo>
                <a:lnTo>
                  <a:pt x="10309" y="8345"/>
                </a:lnTo>
                <a:cubicBezTo>
                  <a:pt x="10309" y="8617"/>
                  <a:pt x="10529" y="8836"/>
                  <a:pt x="10800" y="8836"/>
                </a:cubicBezTo>
                <a:cubicBezTo>
                  <a:pt x="11071" y="8836"/>
                  <a:pt x="11291" y="8617"/>
                  <a:pt x="11291" y="8345"/>
                </a:cubicBezTo>
                <a:lnTo>
                  <a:pt x="11291" y="7904"/>
                </a:lnTo>
                <a:cubicBezTo>
                  <a:pt x="11737" y="7979"/>
                  <a:pt x="12146" y="8157"/>
                  <a:pt x="12499" y="8407"/>
                </a:cubicBezTo>
                <a:lnTo>
                  <a:pt x="12188" y="8717"/>
                </a:lnTo>
                <a:cubicBezTo>
                  <a:pt x="11997" y="8909"/>
                  <a:pt x="11997" y="9220"/>
                  <a:pt x="12188" y="9412"/>
                </a:cubicBezTo>
                <a:cubicBezTo>
                  <a:pt x="12380" y="9604"/>
                  <a:pt x="12691" y="9604"/>
                  <a:pt x="12883" y="9412"/>
                </a:cubicBezTo>
                <a:lnTo>
                  <a:pt x="13195" y="9099"/>
                </a:lnTo>
                <a:cubicBezTo>
                  <a:pt x="13447" y="9453"/>
                  <a:pt x="13626" y="9863"/>
                  <a:pt x="13701" y="10309"/>
                </a:cubicBezTo>
                <a:lnTo>
                  <a:pt x="13255" y="10309"/>
                </a:lnTo>
                <a:cubicBezTo>
                  <a:pt x="12983" y="10309"/>
                  <a:pt x="12764" y="10529"/>
                  <a:pt x="12764" y="10800"/>
                </a:cubicBezTo>
                <a:cubicBezTo>
                  <a:pt x="12764" y="11071"/>
                  <a:pt x="12983" y="11291"/>
                  <a:pt x="13255" y="11291"/>
                </a:cubicBezTo>
                <a:lnTo>
                  <a:pt x="13701" y="11291"/>
                </a:lnTo>
                <a:cubicBezTo>
                  <a:pt x="13626" y="11738"/>
                  <a:pt x="13447" y="12147"/>
                  <a:pt x="13195" y="12501"/>
                </a:cubicBezTo>
                <a:lnTo>
                  <a:pt x="12883" y="12188"/>
                </a:lnTo>
                <a:cubicBezTo>
                  <a:pt x="12691" y="11997"/>
                  <a:pt x="12380" y="11997"/>
                  <a:pt x="12188" y="12188"/>
                </a:cubicBezTo>
                <a:cubicBezTo>
                  <a:pt x="11997" y="12380"/>
                  <a:pt x="11997" y="12691"/>
                  <a:pt x="12188" y="12883"/>
                </a:cubicBezTo>
                <a:lnTo>
                  <a:pt x="12499" y="13193"/>
                </a:lnTo>
                <a:cubicBezTo>
                  <a:pt x="12146" y="13444"/>
                  <a:pt x="11737" y="13621"/>
                  <a:pt x="11291" y="13696"/>
                </a:cubicBezTo>
                <a:lnTo>
                  <a:pt x="11291" y="13255"/>
                </a:lnTo>
                <a:cubicBezTo>
                  <a:pt x="11291" y="12983"/>
                  <a:pt x="11071" y="12764"/>
                  <a:pt x="10800" y="12764"/>
                </a:cubicBezTo>
                <a:cubicBezTo>
                  <a:pt x="10529" y="12764"/>
                  <a:pt x="10309" y="12983"/>
                  <a:pt x="10309" y="13255"/>
                </a:cubicBezTo>
                <a:lnTo>
                  <a:pt x="10309" y="13696"/>
                </a:lnTo>
                <a:cubicBezTo>
                  <a:pt x="9864" y="13621"/>
                  <a:pt x="9454" y="13444"/>
                  <a:pt x="9101" y="13193"/>
                </a:cubicBezTo>
                <a:lnTo>
                  <a:pt x="9412" y="12883"/>
                </a:lnTo>
                <a:cubicBezTo>
                  <a:pt x="9603" y="12691"/>
                  <a:pt x="9603" y="12380"/>
                  <a:pt x="9412" y="12188"/>
                </a:cubicBezTo>
                <a:cubicBezTo>
                  <a:pt x="9220" y="11997"/>
                  <a:pt x="8909" y="11997"/>
                  <a:pt x="8717" y="12188"/>
                </a:cubicBezTo>
                <a:lnTo>
                  <a:pt x="8405" y="12501"/>
                </a:lnTo>
                <a:cubicBezTo>
                  <a:pt x="8153" y="12147"/>
                  <a:pt x="7974" y="11738"/>
                  <a:pt x="7899" y="11291"/>
                </a:cubicBezTo>
                <a:lnTo>
                  <a:pt x="8345" y="11291"/>
                </a:lnTo>
                <a:cubicBezTo>
                  <a:pt x="8617" y="11291"/>
                  <a:pt x="8836" y="11071"/>
                  <a:pt x="8836" y="10800"/>
                </a:cubicBezTo>
                <a:cubicBezTo>
                  <a:pt x="8836" y="10529"/>
                  <a:pt x="8617" y="10309"/>
                  <a:pt x="8345" y="10309"/>
                </a:cubicBezTo>
                <a:moveTo>
                  <a:pt x="8023" y="13577"/>
                </a:moveTo>
                <a:lnTo>
                  <a:pt x="8023" y="13578"/>
                </a:lnTo>
                <a:cubicBezTo>
                  <a:pt x="8734" y="14288"/>
                  <a:pt x="9716" y="14727"/>
                  <a:pt x="10800" y="14727"/>
                </a:cubicBezTo>
                <a:cubicBezTo>
                  <a:pt x="11884" y="14727"/>
                  <a:pt x="12866" y="14288"/>
                  <a:pt x="13577" y="13578"/>
                </a:cubicBezTo>
                <a:lnTo>
                  <a:pt x="13577" y="13577"/>
                </a:lnTo>
                <a:lnTo>
                  <a:pt x="13577" y="13577"/>
                </a:lnTo>
                <a:cubicBezTo>
                  <a:pt x="14288" y="12866"/>
                  <a:pt x="14727" y="11884"/>
                  <a:pt x="14727" y="10800"/>
                </a:cubicBezTo>
                <a:cubicBezTo>
                  <a:pt x="14727" y="8631"/>
                  <a:pt x="12969" y="6873"/>
                  <a:pt x="10800" y="6873"/>
                </a:cubicBezTo>
                <a:cubicBezTo>
                  <a:pt x="8631" y="6873"/>
                  <a:pt x="6873" y="8631"/>
                  <a:pt x="6873" y="10800"/>
                </a:cubicBezTo>
                <a:cubicBezTo>
                  <a:pt x="6873" y="11884"/>
                  <a:pt x="7311" y="12866"/>
                  <a:pt x="8023" y="13577"/>
                </a:cubicBezTo>
                <a:cubicBezTo>
                  <a:pt x="8023" y="13577"/>
                  <a:pt x="8023" y="13577"/>
                  <a:pt x="8023" y="13577"/>
                </a:cubicBezTo>
                <a:close/>
                <a:moveTo>
                  <a:pt x="10800" y="11782"/>
                </a:moveTo>
                <a:cubicBezTo>
                  <a:pt x="11342" y="11782"/>
                  <a:pt x="11782" y="11342"/>
                  <a:pt x="11782" y="10800"/>
                </a:cubicBezTo>
                <a:cubicBezTo>
                  <a:pt x="11782" y="10258"/>
                  <a:pt x="11342" y="9818"/>
                  <a:pt x="10800" y="9818"/>
                </a:cubicBezTo>
                <a:cubicBezTo>
                  <a:pt x="10258" y="9818"/>
                  <a:pt x="9818" y="10258"/>
                  <a:pt x="9818" y="10800"/>
                </a:cubicBezTo>
                <a:cubicBezTo>
                  <a:pt x="9818" y="11342"/>
                  <a:pt x="10258" y="11782"/>
                  <a:pt x="10800" y="11782"/>
                </a:cubicBezTo>
                <a:moveTo>
                  <a:pt x="17673" y="5891"/>
                </a:moveTo>
                <a:cubicBezTo>
                  <a:pt x="17131" y="5891"/>
                  <a:pt x="16691" y="6331"/>
                  <a:pt x="16691" y="6873"/>
                </a:cubicBezTo>
                <a:lnTo>
                  <a:pt x="16691" y="7855"/>
                </a:lnTo>
                <a:cubicBezTo>
                  <a:pt x="16691" y="8396"/>
                  <a:pt x="17131" y="8836"/>
                  <a:pt x="17673" y="8836"/>
                </a:cubicBezTo>
                <a:lnTo>
                  <a:pt x="17673" y="12764"/>
                </a:lnTo>
                <a:cubicBezTo>
                  <a:pt x="17131" y="12764"/>
                  <a:pt x="16691" y="13204"/>
                  <a:pt x="16691" y="13745"/>
                </a:cubicBezTo>
                <a:lnTo>
                  <a:pt x="16691" y="14727"/>
                </a:lnTo>
                <a:cubicBezTo>
                  <a:pt x="16691" y="15270"/>
                  <a:pt x="17131" y="15709"/>
                  <a:pt x="17673" y="15709"/>
                </a:cubicBezTo>
                <a:lnTo>
                  <a:pt x="17673" y="17673"/>
                </a:lnTo>
                <a:lnTo>
                  <a:pt x="3927" y="17673"/>
                </a:lnTo>
                <a:lnTo>
                  <a:pt x="3927" y="3927"/>
                </a:lnTo>
                <a:lnTo>
                  <a:pt x="17673" y="3927"/>
                </a:lnTo>
                <a:cubicBezTo>
                  <a:pt x="17673" y="3927"/>
                  <a:pt x="17673" y="5891"/>
                  <a:pt x="17673" y="5891"/>
                </a:cubicBezTo>
                <a:close/>
                <a:moveTo>
                  <a:pt x="18655" y="5891"/>
                </a:moveTo>
                <a:lnTo>
                  <a:pt x="18655" y="2945"/>
                </a:lnTo>
                <a:lnTo>
                  <a:pt x="2945" y="2945"/>
                </a:lnTo>
                <a:lnTo>
                  <a:pt x="2945" y="18655"/>
                </a:lnTo>
                <a:lnTo>
                  <a:pt x="18655" y="18655"/>
                </a:lnTo>
                <a:lnTo>
                  <a:pt x="18655" y="15709"/>
                </a:lnTo>
                <a:cubicBezTo>
                  <a:pt x="19196" y="15709"/>
                  <a:pt x="19636" y="15270"/>
                  <a:pt x="19636" y="14727"/>
                </a:cubicBezTo>
                <a:lnTo>
                  <a:pt x="19636" y="13745"/>
                </a:lnTo>
                <a:cubicBezTo>
                  <a:pt x="19636" y="13204"/>
                  <a:pt x="19196" y="12764"/>
                  <a:pt x="18655" y="12764"/>
                </a:cubicBezTo>
                <a:lnTo>
                  <a:pt x="18655" y="8836"/>
                </a:lnTo>
                <a:cubicBezTo>
                  <a:pt x="19196" y="8836"/>
                  <a:pt x="19636" y="8396"/>
                  <a:pt x="19636" y="7855"/>
                </a:cubicBezTo>
                <a:lnTo>
                  <a:pt x="19636" y="6873"/>
                </a:lnTo>
                <a:cubicBezTo>
                  <a:pt x="19636" y="6331"/>
                  <a:pt x="19196" y="5891"/>
                  <a:pt x="18655" y="58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4" name="Shape 2724"/>
          <p:cNvSpPr/>
          <p:nvPr/>
        </p:nvSpPr>
        <p:spPr>
          <a:xfrm>
            <a:off x="8157677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5709"/>
                </a:moveTo>
                <a:lnTo>
                  <a:pt x="5891" y="15709"/>
                </a:lnTo>
                <a:lnTo>
                  <a:pt x="5891" y="11782"/>
                </a:lnTo>
                <a:lnTo>
                  <a:pt x="15709" y="11782"/>
                </a:lnTo>
                <a:cubicBezTo>
                  <a:pt x="15709" y="11782"/>
                  <a:pt x="15709" y="15709"/>
                  <a:pt x="15709" y="15709"/>
                </a:cubicBezTo>
                <a:close/>
                <a:moveTo>
                  <a:pt x="16691" y="10800"/>
                </a:moveTo>
                <a:lnTo>
                  <a:pt x="4909" y="10800"/>
                </a:lnTo>
                <a:lnTo>
                  <a:pt x="4909" y="16691"/>
                </a:lnTo>
                <a:lnTo>
                  <a:pt x="16691" y="16691"/>
                </a:lnTo>
                <a:cubicBezTo>
                  <a:pt x="16691" y="16691"/>
                  <a:pt x="16691" y="10800"/>
                  <a:pt x="16691" y="10800"/>
                </a:cubicBezTo>
                <a:close/>
                <a:moveTo>
                  <a:pt x="11782" y="13745"/>
                </a:moveTo>
                <a:lnTo>
                  <a:pt x="9818" y="13745"/>
                </a:lnTo>
                <a:lnTo>
                  <a:pt x="9818" y="14727"/>
                </a:lnTo>
                <a:lnTo>
                  <a:pt x="11782" y="14727"/>
                </a:lnTo>
                <a:cubicBezTo>
                  <a:pt x="11782" y="14727"/>
                  <a:pt x="11782" y="13745"/>
                  <a:pt x="11782" y="13745"/>
                </a:cubicBezTo>
                <a:close/>
                <a:moveTo>
                  <a:pt x="18655" y="17673"/>
                </a:moveTo>
                <a:cubicBezTo>
                  <a:pt x="18655" y="18214"/>
                  <a:pt x="18214" y="18655"/>
                  <a:pt x="17673" y="18655"/>
                </a:cubicBezTo>
                <a:lnTo>
                  <a:pt x="3927" y="18655"/>
                </a:lnTo>
                <a:cubicBezTo>
                  <a:pt x="3385" y="18655"/>
                  <a:pt x="2945" y="18214"/>
                  <a:pt x="2945" y="17673"/>
                </a:cubicBezTo>
                <a:lnTo>
                  <a:pt x="2945" y="982"/>
                </a:lnTo>
                <a:lnTo>
                  <a:pt x="18655" y="982"/>
                </a:lnTo>
                <a:cubicBezTo>
                  <a:pt x="18655" y="982"/>
                  <a:pt x="18655" y="17673"/>
                  <a:pt x="18655" y="17673"/>
                </a:cubicBezTo>
                <a:close/>
                <a:moveTo>
                  <a:pt x="21109" y="0"/>
                </a:moveTo>
                <a:lnTo>
                  <a:pt x="491" y="0"/>
                </a:ln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lnTo>
                  <a:pt x="1964" y="982"/>
                </a:lnTo>
                <a:lnTo>
                  <a:pt x="1964" y="17673"/>
                </a:lnTo>
                <a:cubicBezTo>
                  <a:pt x="1964" y="18757"/>
                  <a:pt x="2843" y="19636"/>
                  <a:pt x="3927" y="19636"/>
                </a:cubicBezTo>
                <a:lnTo>
                  <a:pt x="4909" y="19636"/>
                </a:lnTo>
                <a:lnTo>
                  <a:pt x="4909" y="21109"/>
                </a:lnTo>
                <a:cubicBezTo>
                  <a:pt x="4909" y="21380"/>
                  <a:pt x="5129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9636"/>
                </a:lnTo>
                <a:lnTo>
                  <a:pt x="15709" y="19636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lnTo>
                  <a:pt x="16691" y="19636"/>
                </a:lnTo>
                <a:lnTo>
                  <a:pt x="17673" y="19636"/>
                </a:lnTo>
                <a:cubicBezTo>
                  <a:pt x="18757" y="19636"/>
                  <a:pt x="19636" y="18757"/>
                  <a:pt x="19636" y="17673"/>
                </a:cubicBezTo>
                <a:lnTo>
                  <a:pt x="19636" y="982"/>
                </a:lnTo>
                <a:lnTo>
                  <a:pt x="21109" y="982"/>
                </a:lnTo>
                <a:cubicBezTo>
                  <a:pt x="21380" y="982"/>
                  <a:pt x="21600" y="762"/>
                  <a:pt x="21600" y="491"/>
                </a:cubicBezTo>
                <a:cubicBezTo>
                  <a:pt x="21600" y="220"/>
                  <a:pt x="21380" y="0"/>
                  <a:pt x="21109" y="0"/>
                </a:cubicBezTo>
                <a:moveTo>
                  <a:pt x="11782" y="5891"/>
                </a:moveTo>
                <a:lnTo>
                  <a:pt x="9818" y="5891"/>
                </a:lnTo>
                <a:lnTo>
                  <a:pt x="9818" y="6873"/>
                </a:lnTo>
                <a:lnTo>
                  <a:pt x="11782" y="6873"/>
                </a:lnTo>
                <a:cubicBezTo>
                  <a:pt x="11782" y="6873"/>
                  <a:pt x="11782" y="5891"/>
                  <a:pt x="11782" y="5891"/>
                </a:cubicBezTo>
                <a:close/>
                <a:moveTo>
                  <a:pt x="15709" y="7855"/>
                </a:moveTo>
                <a:lnTo>
                  <a:pt x="5891" y="7855"/>
                </a:lnTo>
                <a:lnTo>
                  <a:pt x="5891" y="3927"/>
                </a:lnTo>
                <a:lnTo>
                  <a:pt x="15709" y="3927"/>
                </a:lnTo>
                <a:cubicBezTo>
                  <a:pt x="15709" y="3927"/>
                  <a:pt x="15709" y="7855"/>
                  <a:pt x="15709" y="7855"/>
                </a:cubicBezTo>
                <a:close/>
                <a:moveTo>
                  <a:pt x="16691" y="2945"/>
                </a:moveTo>
                <a:lnTo>
                  <a:pt x="4909" y="2945"/>
                </a:lnTo>
                <a:lnTo>
                  <a:pt x="4909" y="8836"/>
                </a:lnTo>
                <a:lnTo>
                  <a:pt x="16691" y="8836"/>
                </a:lnTo>
                <a:cubicBezTo>
                  <a:pt x="16691" y="8836"/>
                  <a:pt x="16691" y="2945"/>
                  <a:pt x="16691" y="294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5" name="Shape 2725"/>
          <p:cNvSpPr/>
          <p:nvPr/>
        </p:nvSpPr>
        <p:spPr>
          <a:xfrm>
            <a:off x="9224197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7673"/>
                </a:moveTo>
                <a:cubicBezTo>
                  <a:pt x="18655" y="18214"/>
                  <a:pt x="18214" y="18655"/>
                  <a:pt x="17673" y="18655"/>
                </a:cubicBezTo>
                <a:lnTo>
                  <a:pt x="3927" y="18655"/>
                </a:lnTo>
                <a:cubicBezTo>
                  <a:pt x="3385" y="18655"/>
                  <a:pt x="2945" y="18214"/>
                  <a:pt x="2945" y="17673"/>
                </a:cubicBezTo>
                <a:lnTo>
                  <a:pt x="2945" y="982"/>
                </a:lnTo>
                <a:lnTo>
                  <a:pt x="18655" y="982"/>
                </a:lnTo>
                <a:cubicBezTo>
                  <a:pt x="18655" y="982"/>
                  <a:pt x="18655" y="17673"/>
                  <a:pt x="18655" y="17673"/>
                </a:cubicBezTo>
                <a:close/>
                <a:moveTo>
                  <a:pt x="21109" y="0"/>
                </a:moveTo>
                <a:lnTo>
                  <a:pt x="491" y="0"/>
                </a:ln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lnTo>
                  <a:pt x="1964" y="982"/>
                </a:lnTo>
                <a:lnTo>
                  <a:pt x="1964" y="17673"/>
                </a:lnTo>
                <a:cubicBezTo>
                  <a:pt x="1964" y="18757"/>
                  <a:pt x="2843" y="19636"/>
                  <a:pt x="3927" y="19636"/>
                </a:cubicBezTo>
                <a:lnTo>
                  <a:pt x="4909" y="19636"/>
                </a:lnTo>
                <a:lnTo>
                  <a:pt x="4909" y="21109"/>
                </a:lnTo>
                <a:cubicBezTo>
                  <a:pt x="4909" y="21380"/>
                  <a:pt x="5129" y="21600"/>
                  <a:pt x="5400" y="21600"/>
                </a:cubicBezTo>
                <a:cubicBezTo>
                  <a:pt x="5671" y="21600"/>
                  <a:pt x="5891" y="21380"/>
                  <a:pt x="5891" y="21109"/>
                </a:cubicBezTo>
                <a:lnTo>
                  <a:pt x="5891" y="19636"/>
                </a:lnTo>
                <a:lnTo>
                  <a:pt x="15709" y="19636"/>
                </a:lnTo>
                <a:lnTo>
                  <a:pt x="15709" y="21109"/>
                </a:ln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lnTo>
                  <a:pt x="16691" y="19636"/>
                </a:lnTo>
                <a:lnTo>
                  <a:pt x="17673" y="19636"/>
                </a:lnTo>
                <a:cubicBezTo>
                  <a:pt x="18757" y="19636"/>
                  <a:pt x="19636" y="18757"/>
                  <a:pt x="19636" y="17673"/>
                </a:cubicBezTo>
                <a:lnTo>
                  <a:pt x="19636" y="982"/>
                </a:lnTo>
                <a:lnTo>
                  <a:pt x="21109" y="982"/>
                </a:lnTo>
                <a:cubicBezTo>
                  <a:pt x="21380" y="982"/>
                  <a:pt x="21600" y="762"/>
                  <a:pt x="21600" y="491"/>
                </a:cubicBezTo>
                <a:cubicBezTo>
                  <a:pt x="21600" y="220"/>
                  <a:pt x="21380" y="0"/>
                  <a:pt x="21109" y="0"/>
                </a:cubicBezTo>
                <a:moveTo>
                  <a:pt x="15709" y="10800"/>
                </a:moveTo>
                <a:lnTo>
                  <a:pt x="11782" y="10800"/>
                </a:lnTo>
                <a:lnTo>
                  <a:pt x="11782" y="9818"/>
                </a:lnTo>
                <a:lnTo>
                  <a:pt x="9818" y="9818"/>
                </a:lnTo>
                <a:lnTo>
                  <a:pt x="9818" y="10800"/>
                </a:lnTo>
                <a:lnTo>
                  <a:pt x="5891" y="10800"/>
                </a:lnTo>
                <a:lnTo>
                  <a:pt x="5891" y="8836"/>
                </a:lnTo>
                <a:lnTo>
                  <a:pt x="15709" y="8836"/>
                </a:lnTo>
                <a:cubicBezTo>
                  <a:pt x="15709" y="8836"/>
                  <a:pt x="15709" y="10800"/>
                  <a:pt x="15709" y="10800"/>
                </a:cubicBezTo>
                <a:close/>
                <a:moveTo>
                  <a:pt x="16691" y="7855"/>
                </a:moveTo>
                <a:lnTo>
                  <a:pt x="4909" y="7855"/>
                </a:lnTo>
                <a:lnTo>
                  <a:pt x="4909" y="11782"/>
                </a:lnTo>
                <a:lnTo>
                  <a:pt x="16691" y="11782"/>
                </a:lnTo>
                <a:cubicBezTo>
                  <a:pt x="16691" y="11782"/>
                  <a:pt x="16691" y="7855"/>
                  <a:pt x="16691" y="7855"/>
                </a:cubicBezTo>
                <a:close/>
                <a:moveTo>
                  <a:pt x="15709" y="15709"/>
                </a:moveTo>
                <a:lnTo>
                  <a:pt x="11782" y="15709"/>
                </a:lnTo>
                <a:lnTo>
                  <a:pt x="11782" y="14727"/>
                </a:lnTo>
                <a:lnTo>
                  <a:pt x="9818" y="14727"/>
                </a:lnTo>
                <a:lnTo>
                  <a:pt x="9818" y="15709"/>
                </a:lnTo>
                <a:lnTo>
                  <a:pt x="5891" y="15709"/>
                </a:lnTo>
                <a:lnTo>
                  <a:pt x="5891" y="13745"/>
                </a:lnTo>
                <a:lnTo>
                  <a:pt x="15709" y="13745"/>
                </a:lnTo>
                <a:cubicBezTo>
                  <a:pt x="15709" y="13745"/>
                  <a:pt x="15709" y="15709"/>
                  <a:pt x="15709" y="15709"/>
                </a:cubicBezTo>
                <a:close/>
                <a:moveTo>
                  <a:pt x="16691" y="12764"/>
                </a:moveTo>
                <a:lnTo>
                  <a:pt x="4909" y="12764"/>
                </a:lnTo>
                <a:lnTo>
                  <a:pt x="4909" y="16691"/>
                </a:lnTo>
                <a:lnTo>
                  <a:pt x="16691" y="16691"/>
                </a:lnTo>
                <a:cubicBezTo>
                  <a:pt x="16691" y="16691"/>
                  <a:pt x="16691" y="12764"/>
                  <a:pt x="16691" y="12764"/>
                </a:cubicBezTo>
                <a:close/>
                <a:moveTo>
                  <a:pt x="15709" y="5891"/>
                </a:moveTo>
                <a:lnTo>
                  <a:pt x="11782" y="5891"/>
                </a:lnTo>
                <a:lnTo>
                  <a:pt x="11782" y="4909"/>
                </a:lnTo>
                <a:lnTo>
                  <a:pt x="9818" y="4909"/>
                </a:lnTo>
                <a:lnTo>
                  <a:pt x="9818" y="5891"/>
                </a:lnTo>
                <a:lnTo>
                  <a:pt x="5891" y="5891"/>
                </a:lnTo>
                <a:lnTo>
                  <a:pt x="5891" y="3927"/>
                </a:lnTo>
                <a:lnTo>
                  <a:pt x="15709" y="3927"/>
                </a:lnTo>
                <a:cubicBezTo>
                  <a:pt x="15709" y="3927"/>
                  <a:pt x="15709" y="5891"/>
                  <a:pt x="15709" y="5891"/>
                </a:cubicBezTo>
                <a:close/>
                <a:moveTo>
                  <a:pt x="16691" y="2945"/>
                </a:moveTo>
                <a:lnTo>
                  <a:pt x="4909" y="2945"/>
                </a:lnTo>
                <a:lnTo>
                  <a:pt x="4909" y="6873"/>
                </a:lnTo>
                <a:lnTo>
                  <a:pt x="16691" y="6873"/>
                </a:lnTo>
                <a:cubicBezTo>
                  <a:pt x="16691" y="6873"/>
                  <a:pt x="16691" y="2945"/>
                  <a:pt x="16691" y="294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6" name="Shape 2726"/>
          <p:cNvSpPr/>
          <p:nvPr/>
        </p:nvSpPr>
        <p:spPr>
          <a:xfrm>
            <a:off x="10341508" y="9278448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800" y="13745"/>
                </a:moveTo>
                <a:lnTo>
                  <a:pt x="16800" y="13745"/>
                </a:lnTo>
                <a:lnTo>
                  <a:pt x="16800" y="17673"/>
                </a:lnTo>
                <a:lnTo>
                  <a:pt x="4800" y="17673"/>
                </a:lnTo>
                <a:cubicBezTo>
                  <a:pt x="4800" y="17673"/>
                  <a:pt x="4800" y="13745"/>
                  <a:pt x="4800" y="13745"/>
                </a:cubicBezTo>
                <a:close/>
                <a:moveTo>
                  <a:pt x="4800" y="8836"/>
                </a:moveTo>
                <a:lnTo>
                  <a:pt x="16800" y="8836"/>
                </a:lnTo>
                <a:lnTo>
                  <a:pt x="16800" y="12764"/>
                </a:lnTo>
                <a:lnTo>
                  <a:pt x="4800" y="12764"/>
                </a:lnTo>
                <a:cubicBezTo>
                  <a:pt x="4800" y="12764"/>
                  <a:pt x="4800" y="8836"/>
                  <a:pt x="4800" y="8836"/>
                </a:cubicBezTo>
                <a:close/>
                <a:moveTo>
                  <a:pt x="4800" y="3927"/>
                </a:moveTo>
                <a:lnTo>
                  <a:pt x="16800" y="3927"/>
                </a:lnTo>
                <a:lnTo>
                  <a:pt x="16800" y="7855"/>
                </a:lnTo>
                <a:lnTo>
                  <a:pt x="4800" y="7855"/>
                </a:lnTo>
                <a:cubicBezTo>
                  <a:pt x="4800" y="7855"/>
                  <a:pt x="4800" y="3927"/>
                  <a:pt x="4800" y="3927"/>
                </a:cubicBezTo>
                <a:close/>
                <a:moveTo>
                  <a:pt x="3600" y="18655"/>
                </a:moveTo>
                <a:lnTo>
                  <a:pt x="18000" y="18655"/>
                </a:lnTo>
                <a:lnTo>
                  <a:pt x="18000" y="2945"/>
                </a:lnTo>
                <a:lnTo>
                  <a:pt x="3600" y="2945"/>
                </a:lnTo>
                <a:cubicBezTo>
                  <a:pt x="3600" y="2945"/>
                  <a:pt x="3600" y="18655"/>
                  <a:pt x="3600" y="18655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9600" y="16691"/>
                </a:moveTo>
                <a:lnTo>
                  <a:pt x="12000" y="16691"/>
                </a:lnTo>
                <a:lnTo>
                  <a:pt x="12000" y="15709"/>
                </a:lnTo>
                <a:lnTo>
                  <a:pt x="9600" y="15709"/>
                </a:lnTo>
                <a:cubicBezTo>
                  <a:pt x="9600" y="15709"/>
                  <a:pt x="9600" y="16691"/>
                  <a:pt x="9600" y="16691"/>
                </a:cubicBezTo>
                <a:close/>
                <a:moveTo>
                  <a:pt x="9600" y="6873"/>
                </a:moveTo>
                <a:lnTo>
                  <a:pt x="12000" y="6873"/>
                </a:lnTo>
                <a:lnTo>
                  <a:pt x="12000" y="5891"/>
                </a:lnTo>
                <a:lnTo>
                  <a:pt x="9600" y="5891"/>
                </a:lnTo>
                <a:cubicBezTo>
                  <a:pt x="9600" y="5891"/>
                  <a:pt x="9600" y="6873"/>
                  <a:pt x="9600" y="6873"/>
                </a:cubicBezTo>
                <a:close/>
                <a:moveTo>
                  <a:pt x="9600" y="11782"/>
                </a:moveTo>
                <a:lnTo>
                  <a:pt x="12000" y="11782"/>
                </a:lnTo>
                <a:lnTo>
                  <a:pt x="12000" y="10800"/>
                </a:lnTo>
                <a:lnTo>
                  <a:pt x="9600" y="10800"/>
                </a:lnTo>
                <a:cubicBezTo>
                  <a:pt x="9600" y="10800"/>
                  <a:pt x="9600" y="11782"/>
                  <a:pt x="9600" y="11782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7" name="Shape 2727"/>
          <p:cNvSpPr/>
          <p:nvPr/>
        </p:nvSpPr>
        <p:spPr>
          <a:xfrm>
            <a:off x="11357242" y="9278448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4727" y="7318"/>
                </a:moveTo>
                <a:lnTo>
                  <a:pt x="11782" y="6949"/>
                </a:lnTo>
                <a:lnTo>
                  <a:pt x="11782" y="4956"/>
                </a:lnTo>
                <a:lnTo>
                  <a:pt x="14727" y="5324"/>
                </a:lnTo>
                <a:cubicBezTo>
                  <a:pt x="14727" y="5324"/>
                  <a:pt x="14727" y="7318"/>
                  <a:pt x="14727" y="7318"/>
                </a:cubicBezTo>
                <a:close/>
                <a:moveTo>
                  <a:pt x="9327" y="16691"/>
                </a:moveTo>
                <a:lnTo>
                  <a:pt x="8345" y="16691"/>
                </a:lnTo>
                <a:cubicBezTo>
                  <a:pt x="7532" y="16691"/>
                  <a:pt x="6873" y="16031"/>
                  <a:pt x="6873" y="15218"/>
                </a:cubicBezTo>
                <a:cubicBezTo>
                  <a:pt x="6873" y="14405"/>
                  <a:pt x="7532" y="13745"/>
                  <a:pt x="8345" y="13745"/>
                </a:cubicBezTo>
                <a:lnTo>
                  <a:pt x="9327" y="13745"/>
                </a:lnTo>
                <a:cubicBezTo>
                  <a:pt x="10140" y="13745"/>
                  <a:pt x="10800" y="14405"/>
                  <a:pt x="10800" y="15218"/>
                </a:cubicBezTo>
                <a:cubicBezTo>
                  <a:pt x="10800" y="16031"/>
                  <a:pt x="10140" y="16691"/>
                  <a:pt x="9327" y="16691"/>
                </a:cubicBezTo>
                <a:moveTo>
                  <a:pt x="15218" y="4418"/>
                </a:moveTo>
                <a:cubicBezTo>
                  <a:pt x="15192" y="4418"/>
                  <a:pt x="15170" y="4429"/>
                  <a:pt x="15145" y="4433"/>
                </a:cubicBezTo>
                <a:lnTo>
                  <a:pt x="15143" y="4424"/>
                </a:lnTo>
                <a:lnTo>
                  <a:pt x="11483" y="3967"/>
                </a:lnTo>
                <a:cubicBezTo>
                  <a:pt x="11424" y="3942"/>
                  <a:pt x="11359" y="3927"/>
                  <a:pt x="11291" y="3927"/>
                </a:cubicBezTo>
                <a:cubicBezTo>
                  <a:pt x="11275" y="3927"/>
                  <a:pt x="11261" y="3935"/>
                  <a:pt x="11245" y="3937"/>
                </a:cubicBezTo>
                <a:lnTo>
                  <a:pt x="11216" y="3933"/>
                </a:lnTo>
                <a:lnTo>
                  <a:pt x="11218" y="3942"/>
                </a:lnTo>
                <a:cubicBezTo>
                  <a:pt x="10983" y="3979"/>
                  <a:pt x="10800" y="4173"/>
                  <a:pt x="10800" y="4418"/>
                </a:cubicBezTo>
                <a:lnTo>
                  <a:pt x="10800" y="13266"/>
                </a:lnTo>
                <a:cubicBezTo>
                  <a:pt x="10389" y="12955"/>
                  <a:pt x="9882" y="12764"/>
                  <a:pt x="9327" y="12764"/>
                </a:cubicBezTo>
                <a:lnTo>
                  <a:pt x="8345" y="12764"/>
                </a:lnTo>
                <a:cubicBezTo>
                  <a:pt x="6990" y="12764"/>
                  <a:pt x="5891" y="13862"/>
                  <a:pt x="5891" y="15218"/>
                </a:cubicBezTo>
                <a:cubicBezTo>
                  <a:pt x="5891" y="16574"/>
                  <a:pt x="6990" y="17673"/>
                  <a:pt x="8345" y="17673"/>
                </a:cubicBezTo>
                <a:lnTo>
                  <a:pt x="9327" y="17673"/>
                </a:lnTo>
                <a:cubicBezTo>
                  <a:pt x="10683" y="17673"/>
                  <a:pt x="11782" y="16574"/>
                  <a:pt x="11782" y="15218"/>
                </a:cubicBezTo>
                <a:lnTo>
                  <a:pt x="11782" y="7901"/>
                </a:lnTo>
                <a:lnTo>
                  <a:pt x="15026" y="8306"/>
                </a:lnTo>
                <a:cubicBezTo>
                  <a:pt x="15085" y="8332"/>
                  <a:pt x="15150" y="8345"/>
                  <a:pt x="15218" y="8345"/>
                </a:cubicBezTo>
                <a:cubicBezTo>
                  <a:pt x="15234" y="8345"/>
                  <a:pt x="15248" y="8338"/>
                  <a:pt x="15264" y="8336"/>
                </a:cubicBezTo>
                <a:lnTo>
                  <a:pt x="15293" y="8340"/>
                </a:lnTo>
                <a:lnTo>
                  <a:pt x="15292" y="8331"/>
                </a:lnTo>
                <a:cubicBezTo>
                  <a:pt x="15526" y="8294"/>
                  <a:pt x="15709" y="8100"/>
                  <a:pt x="15709" y="7855"/>
                </a:cubicBezTo>
                <a:lnTo>
                  <a:pt x="15709" y="4909"/>
                </a:lnTo>
                <a:cubicBezTo>
                  <a:pt x="15709" y="4638"/>
                  <a:pt x="15490" y="4418"/>
                  <a:pt x="15218" y="44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8" name="Shape 2728"/>
          <p:cNvSpPr/>
          <p:nvPr/>
        </p:nvSpPr>
        <p:spPr>
          <a:xfrm>
            <a:off x="1758543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7318"/>
                </a:moveTo>
                <a:lnTo>
                  <a:pt x="11782" y="6949"/>
                </a:lnTo>
                <a:lnTo>
                  <a:pt x="11782" y="4956"/>
                </a:lnTo>
                <a:lnTo>
                  <a:pt x="14727" y="5324"/>
                </a:lnTo>
                <a:cubicBezTo>
                  <a:pt x="14727" y="5324"/>
                  <a:pt x="14727" y="7318"/>
                  <a:pt x="14727" y="7318"/>
                </a:cubicBezTo>
                <a:close/>
                <a:moveTo>
                  <a:pt x="9327" y="16691"/>
                </a:moveTo>
                <a:lnTo>
                  <a:pt x="8345" y="16691"/>
                </a:lnTo>
                <a:cubicBezTo>
                  <a:pt x="7532" y="16691"/>
                  <a:pt x="6873" y="16031"/>
                  <a:pt x="6873" y="15218"/>
                </a:cubicBezTo>
                <a:cubicBezTo>
                  <a:pt x="6873" y="14406"/>
                  <a:pt x="7532" y="13745"/>
                  <a:pt x="8345" y="13745"/>
                </a:cubicBezTo>
                <a:lnTo>
                  <a:pt x="9327" y="13745"/>
                </a:lnTo>
                <a:cubicBezTo>
                  <a:pt x="10141" y="13745"/>
                  <a:pt x="10800" y="14406"/>
                  <a:pt x="10800" y="15218"/>
                </a:cubicBezTo>
                <a:cubicBezTo>
                  <a:pt x="10800" y="16031"/>
                  <a:pt x="10141" y="16691"/>
                  <a:pt x="9327" y="16691"/>
                </a:cubicBezTo>
                <a:moveTo>
                  <a:pt x="15218" y="4418"/>
                </a:moveTo>
                <a:cubicBezTo>
                  <a:pt x="15192" y="4418"/>
                  <a:pt x="15170" y="4429"/>
                  <a:pt x="15145" y="4433"/>
                </a:cubicBezTo>
                <a:lnTo>
                  <a:pt x="15144" y="4424"/>
                </a:lnTo>
                <a:lnTo>
                  <a:pt x="11483" y="3967"/>
                </a:lnTo>
                <a:cubicBezTo>
                  <a:pt x="11424" y="3941"/>
                  <a:pt x="11359" y="3927"/>
                  <a:pt x="11291" y="3927"/>
                </a:cubicBezTo>
                <a:cubicBezTo>
                  <a:pt x="11275" y="3927"/>
                  <a:pt x="11261" y="3935"/>
                  <a:pt x="11245" y="3937"/>
                </a:cubicBezTo>
                <a:lnTo>
                  <a:pt x="11216" y="3933"/>
                </a:lnTo>
                <a:lnTo>
                  <a:pt x="11218" y="3942"/>
                </a:lnTo>
                <a:cubicBezTo>
                  <a:pt x="10983" y="3979"/>
                  <a:pt x="10800" y="4173"/>
                  <a:pt x="10800" y="4418"/>
                </a:cubicBezTo>
                <a:lnTo>
                  <a:pt x="10800" y="13266"/>
                </a:lnTo>
                <a:cubicBezTo>
                  <a:pt x="10389" y="12955"/>
                  <a:pt x="9882" y="12764"/>
                  <a:pt x="9327" y="12764"/>
                </a:cubicBezTo>
                <a:lnTo>
                  <a:pt x="8345" y="12764"/>
                </a:lnTo>
                <a:cubicBezTo>
                  <a:pt x="6990" y="12764"/>
                  <a:pt x="5891" y="13862"/>
                  <a:pt x="5891" y="15218"/>
                </a:cubicBezTo>
                <a:cubicBezTo>
                  <a:pt x="5891" y="16574"/>
                  <a:pt x="6990" y="17673"/>
                  <a:pt x="8345" y="17673"/>
                </a:cubicBezTo>
                <a:lnTo>
                  <a:pt x="9327" y="17673"/>
                </a:lnTo>
                <a:cubicBezTo>
                  <a:pt x="10683" y="17673"/>
                  <a:pt x="11782" y="16574"/>
                  <a:pt x="11782" y="15218"/>
                </a:cubicBezTo>
                <a:lnTo>
                  <a:pt x="11782" y="7901"/>
                </a:lnTo>
                <a:lnTo>
                  <a:pt x="15027" y="8307"/>
                </a:lnTo>
                <a:cubicBezTo>
                  <a:pt x="15085" y="8332"/>
                  <a:pt x="15150" y="8345"/>
                  <a:pt x="15218" y="8345"/>
                </a:cubicBezTo>
                <a:cubicBezTo>
                  <a:pt x="15234" y="8345"/>
                  <a:pt x="15248" y="8338"/>
                  <a:pt x="15264" y="8336"/>
                </a:cubicBezTo>
                <a:lnTo>
                  <a:pt x="15293" y="8340"/>
                </a:lnTo>
                <a:lnTo>
                  <a:pt x="15291" y="8331"/>
                </a:lnTo>
                <a:cubicBezTo>
                  <a:pt x="15526" y="8294"/>
                  <a:pt x="15709" y="8100"/>
                  <a:pt x="15709" y="7855"/>
                </a:cubicBezTo>
                <a:lnTo>
                  <a:pt x="15709" y="4909"/>
                </a:lnTo>
                <a:cubicBezTo>
                  <a:pt x="15709" y="4638"/>
                  <a:pt x="15489" y="4418"/>
                  <a:pt x="15218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29" name="Shape 2729"/>
          <p:cNvSpPr/>
          <p:nvPr/>
        </p:nvSpPr>
        <p:spPr>
          <a:xfrm>
            <a:off x="2825064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7318"/>
                </a:moveTo>
                <a:lnTo>
                  <a:pt x="14727" y="6949"/>
                </a:lnTo>
                <a:lnTo>
                  <a:pt x="14727" y="4956"/>
                </a:lnTo>
                <a:lnTo>
                  <a:pt x="17673" y="5324"/>
                </a:lnTo>
                <a:cubicBezTo>
                  <a:pt x="17673" y="5324"/>
                  <a:pt x="17673" y="7318"/>
                  <a:pt x="17673" y="7318"/>
                </a:cubicBezTo>
                <a:close/>
                <a:moveTo>
                  <a:pt x="12273" y="16691"/>
                </a:moveTo>
                <a:lnTo>
                  <a:pt x="11291" y="16691"/>
                </a:lnTo>
                <a:cubicBezTo>
                  <a:pt x="10477" y="16691"/>
                  <a:pt x="9818" y="16031"/>
                  <a:pt x="9818" y="15218"/>
                </a:cubicBezTo>
                <a:cubicBezTo>
                  <a:pt x="9818" y="14406"/>
                  <a:pt x="10477" y="13745"/>
                  <a:pt x="11291" y="13745"/>
                </a:cubicBezTo>
                <a:lnTo>
                  <a:pt x="12273" y="13745"/>
                </a:lnTo>
                <a:cubicBezTo>
                  <a:pt x="13086" y="13745"/>
                  <a:pt x="13745" y="14406"/>
                  <a:pt x="13745" y="15218"/>
                </a:cubicBezTo>
                <a:cubicBezTo>
                  <a:pt x="13745" y="16031"/>
                  <a:pt x="13086" y="16691"/>
                  <a:pt x="12273" y="16691"/>
                </a:cubicBezTo>
                <a:moveTo>
                  <a:pt x="18164" y="4418"/>
                </a:moveTo>
                <a:cubicBezTo>
                  <a:pt x="18138" y="4418"/>
                  <a:pt x="18115" y="4429"/>
                  <a:pt x="18091" y="4433"/>
                </a:cubicBezTo>
                <a:lnTo>
                  <a:pt x="18089" y="4424"/>
                </a:lnTo>
                <a:lnTo>
                  <a:pt x="14428" y="3967"/>
                </a:lnTo>
                <a:cubicBezTo>
                  <a:pt x="14369" y="3941"/>
                  <a:pt x="14305" y="3927"/>
                  <a:pt x="14236" y="3927"/>
                </a:cubicBezTo>
                <a:cubicBezTo>
                  <a:pt x="14220" y="3927"/>
                  <a:pt x="14206" y="3935"/>
                  <a:pt x="14191" y="3937"/>
                </a:cubicBezTo>
                <a:lnTo>
                  <a:pt x="14162" y="3933"/>
                </a:lnTo>
                <a:lnTo>
                  <a:pt x="14163" y="3942"/>
                </a:lnTo>
                <a:cubicBezTo>
                  <a:pt x="13929" y="3979"/>
                  <a:pt x="13745" y="4173"/>
                  <a:pt x="13745" y="4418"/>
                </a:cubicBezTo>
                <a:lnTo>
                  <a:pt x="13745" y="13266"/>
                </a:lnTo>
                <a:cubicBezTo>
                  <a:pt x="13335" y="12955"/>
                  <a:pt x="12828" y="12764"/>
                  <a:pt x="12273" y="12764"/>
                </a:cubicBezTo>
                <a:lnTo>
                  <a:pt x="11291" y="12764"/>
                </a:lnTo>
                <a:cubicBezTo>
                  <a:pt x="9935" y="12764"/>
                  <a:pt x="8836" y="13862"/>
                  <a:pt x="8836" y="15218"/>
                </a:cubicBezTo>
                <a:cubicBezTo>
                  <a:pt x="8836" y="16574"/>
                  <a:pt x="9935" y="17673"/>
                  <a:pt x="11291" y="17673"/>
                </a:cubicBezTo>
                <a:lnTo>
                  <a:pt x="12273" y="17673"/>
                </a:lnTo>
                <a:cubicBezTo>
                  <a:pt x="13629" y="17673"/>
                  <a:pt x="14727" y="16574"/>
                  <a:pt x="14727" y="15218"/>
                </a:cubicBezTo>
                <a:lnTo>
                  <a:pt x="14727" y="7901"/>
                </a:lnTo>
                <a:lnTo>
                  <a:pt x="17972" y="8307"/>
                </a:lnTo>
                <a:cubicBezTo>
                  <a:pt x="18031" y="8332"/>
                  <a:pt x="18095" y="8345"/>
                  <a:pt x="18164" y="8345"/>
                </a:cubicBezTo>
                <a:cubicBezTo>
                  <a:pt x="18180" y="8345"/>
                  <a:pt x="18194" y="8338"/>
                  <a:pt x="18210" y="8336"/>
                </a:cubicBezTo>
                <a:lnTo>
                  <a:pt x="18238" y="8340"/>
                </a:lnTo>
                <a:lnTo>
                  <a:pt x="18237" y="8331"/>
                </a:lnTo>
                <a:cubicBezTo>
                  <a:pt x="18471" y="8294"/>
                  <a:pt x="18655" y="8100"/>
                  <a:pt x="18655" y="7855"/>
                </a:cubicBezTo>
                <a:lnTo>
                  <a:pt x="18655" y="4909"/>
                </a:lnTo>
                <a:cubicBezTo>
                  <a:pt x="18655" y="4638"/>
                  <a:pt x="18434" y="4418"/>
                  <a:pt x="18164" y="4418"/>
                </a:cubicBezTo>
                <a:moveTo>
                  <a:pt x="10800" y="10309"/>
                </a:moveTo>
                <a:cubicBezTo>
                  <a:pt x="10800" y="10038"/>
                  <a:pt x="10580" y="9818"/>
                  <a:pt x="10309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cubicBezTo>
                  <a:pt x="3927" y="10580"/>
                  <a:pt x="4147" y="10800"/>
                  <a:pt x="4418" y="10800"/>
                </a:cubicBezTo>
                <a:lnTo>
                  <a:pt x="10309" y="10800"/>
                </a:lnTo>
                <a:cubicBezTo>
                  <a:pt x="10580" y="10800"/>
                  <a:pt x="10800" y="10580"/>
                  <a:pt x="10800" y="10309"/>
                </a:cubicBezTo>
                <a:moveTo>
                  <a:pt x="4418" y="6873"/>
                </a:moveTo>
                <a:lnTo>
                  <a:pt x="10309" y="6873"/>
                </a:lnTo>
                <a:cubicBezTo>
                  <a:pt x="10580" y="6873"/>
                  <a:pt x="10800" y="6653"/>
                  <a:pt x="10800" y="6382"/>
                </a:cubicBezTo>
                <a:cubicBezTo>
                  <a:pt x="10800" y="6110"/>
                  <a:pt x="10580" y="5891"/>
                  <a:pt x="10309" y="5891"/>
                </a:cubicBezTo>
                <a:lnTo>
                  <a:pt x="4418" y="5891"/>
                </a:lnTo>
                <a:cubicBezTo>
                  <a:pt x="4147" y="5891"/>
                  <a:pt x="3927" y="6110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moveTo>
                  <a:pt x="4418" y="8836"/>
                </a:moveTo>
                <a:lnTo>
                  <a:pt x="10309" y="8836"/>
                </a:lnTo>
                <a:cubicBezTo>
                  <a:pt x="10580" y="8836"/>
                  <a:pt x="10800" y="8617"/>
                  <a:pt x="10800" y="8345"/>
                </a:cubicBezTo>
                <a:cubicBezTo>
                  <a:pt x="10800" y="8074"/>
                  <a:pt x="10580" y="7855"/>
                  <a:pt x="10309" y="7855"/>
                </a:cubicBezTo>
                <a:lnTo>
                  <a:pt x="4418" y="7855"/>
                </a:lnTo>
                <a:cubicBezTo>
                  <a:pt x="4147" y="7855"/>
                  <a:pt x="3927" y="8074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0" name="Shape 2730"/>
          <p:cNvSpPr/>
          <p:nvPr/>
        </p:nvSpPr>
        <p:spPr>
          <a:xfrm>
            <a:off x="3891587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6691" y="5988"/>
                </a:moveTo>
                <a:lnTo>
                  <a:pt x="8836" y="7734"/>
                </a:lnTo>
                <a:lnTo>
                  <a:pt x="8836" y="5794"/>
                </a:lnTo>
                <a:lnTo>
                  <a:pt x="16691" y="4048"/>
                </a:lnTo>
                <a:cubicBezTo>
                  <a:pt x="16691" y="4048"/>
                  <a:pt x="16691" y="5988"/>
                  <a:pt x="16691" y="5988"/>
                </a:cubicBezTo>
                <a:close/>
                <a:moveTo>
                  <a:pt x="15218" y="15709"/>
                </a:moveTo>
                <a:lnTo>
                  <a:pt x="14236" y="15709"/>
                </a:lnTo>
                <a:cubicBezTo>
                  <a:pt x="13423" y="15709"/>
                  <a:pt x="12764" y="15050"/>
                  <a:pt x="12764" y="14236"/>
                </a:cubicBezTo>
                <a:cubicBezTo>
                  <a:pt x="12764" y="13423"/>
                  <a:pt x="13423" y="12764"/>
                  <a:pt x="14236" y="12764"/>
                </a:cubicBezTo>
                <a:lnTo>
                  <a:pt x="15218" y="12764"/>
                </a:lnTo>
                <a:cubicBezTo>
                  <a:pt x="16032" y="12764"/>
                  <a:pt x="16691" y="13423"/>
                  <a:pt x="16691" y="14236"/>
                </a:cubicBezTo>
                <a:cubicBezTo>
                  <a:pt x="16691" y="15050"/>
                  <a:pt x="16032" y="15709"/>
                  <a:pt x="15218" y="15709"/>
                </a:cubicBezTo>
                <a:moveTo>
                  <a:pt x="6382" y="17673"/>
                </a:moveTo>
                <a:lnTo>
                  <a:pt x="5400" y="17673"/>
                </a:lnTo>
                <a:cubicBezTo>
                  <a:pt x="4586" y="17673"/>
                  <a:pt x="3927" y="17014"/>
                  <a:pt x="3927" y="16200"/>
                </a:cubicBezTo>
                <a:cubicBezTo>
                  <a:pt x="3927" y="15387"/>
                  <a:pt x="4586" y="14727"/>
                  <a:pt x="5400" y="14727"/>
                </a:cubicBezTo>
                <a:lnTo>
                  <a:pt x="6382" y="14727"/>
                </a:lnTo>
                <a:cubicBezTo>
                  <a:pt x="7195" y="14727"/>
                  <a:pt x="7855" y="15387"/>
                  <a:pt x="7855" y="16200"/>
                </a:cubicBezTo>
                <a:cubicBezTo>
                  <a:pt x="7855" y="17014"/>
                  <a:pt x="7195" y="17673"/>
                  <a:pt x="6382" y="17673"/>
                </a:cubicBezTo>
                <a:moveTo>
                  <a:pt x="17182" y="2945"/>
                </a:moveTo>
                <a:cubicBezTo>
                  <a:pt x="17148" y="2945"/>
                  <a:pt x="17119" y="2958"/>
                  <a:pt x="17088" y="2965"/>
                </a:cubicBezTo>
                <a:lnTo>
                  <a:pt x="17086" y="2955"/>
                </a:lnTo>
                <a:lnTo>
                  <a:pt x="8249" y="4919"/>
                </a:lnTo>
                <a:lnTo>
                  <a:pt x="8251" y="4928"/>
                </a:lnTo>
                <a:cubicBezTo>
                  <a:pt x="8027" y="4973"/>
                  <a:pt x="7855" y="5162"/>
                  <a:pt x="7855" y="5400"/>
                </a:cubicBezTo>
                <a:lnTo>
                  <a:pt x="7855" y="14248"/>
                </a:lnTo>
                <a:cubicBezTo>
                  <a:pt x="7444" y="13937"/>
                  <a:pt x="6937" y="13745"/>
                  <a:pt x="6382" y="13745"/>
                </a:cubicBezTo>
                <a:lnTo>
                  <a:pt x="5400" y="13745"/>
                </a:lnTo>
                <a:cubicBezTo>
                  <a:pt x="4044" y="13745"/>
                  <a:pt x="2945" y="14844"/>
                  <a:pt x="2945" y="16200"/>
                </a:cubicBezTo>
                <a:cubicBezTo>
                  <a:pt x="2945" y="17556"/>
                  <a:pt x="4044" y="18655"/>
                  <a:pt x="5400" y="18655"/>
                </a:cubicBezTo>
                <a:lnTo>
                  <a:pt x="6382" y="18655"/>
                </a:lnTo>
                <a:cubicBezTo>
                  <a:pt x="7737" y="18655"/>
                  <a:pt x="8836" y="17556"/>
                  <a:pt x="8836" y="16200"/>
                </a:cubicBezTo>
                <a:lnTo>
                  <a:pt x="8836" y="8739"/>
                </a:lnTo>
                <a:lnTo>
                  <a:pt x="16691" y="6994"/>
                </a:lnTo>
                <a:lnTo>
                  <a:pt x="16691" y="12284"/>
                </a:lnTo>
                <a:cubicBezTo>
                  <a:pt x="16280" y="11974"/>
                  <a:pt x="15773" y="11782"/>
                  <a:pt x="15218" y="11782"/>
                </a:cubicBezTo>
                <a:lnTo>
                  <a:pt x="14236" y="11782"/>
                </a:lnTo>
                <a:cubicBezTo>
                  <a:pt x="12881" y="11782"/>
                  <a:pt x="11782" y="12881"/>
                  <a:pt x="11782" y="14236"/>
                </a:cubicBezTo>
                <a:cubicBezTo>
                  <a:pt x="11782" y="15592"/>
                  <a:pt x="12881" y="16691"/>
                  <a:pt x="14236" y="16691"/>
                </a:cubicBezTo>
                <a:lnTo>
                  <a:pt x="15218" y="16691"/>
                </a:lnTo>
                <a:cubicBezTo>
                  <a:pt x="16573" y="16691"/>
                  <a:pt x="17673" y="15592"/>
                  <a:pt x="17673" y="14236"/>
                </a:cubicBezTo>
                <a:lnTo>
                  <a:pt x="17673" y="3436"/>
                </a:lnTo>
                <a:cubicBezTo>
                  <a:pt x="17673" y="3165"/>
                  <a:pt x="17453" y="2945"/>
                  <a:pt x="17182" y="29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1" name="Shape 2731"/>
          <p:cNvSpPr/>
          <p:nvPr/>
        </p:nvSpPr>
        <p:spPr>
          <a:xfrm>
            <a:off x="4958109" y="10370364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74" y="6862"/>
                </a:moveTo>
                <a:lnTo>
                  <a:pt x="18121" y="9450"/>
                </a:lnTo>
                <a:lnTo>
                  <a:pt x="17427" y="8686"/>
                </a:lnTo>
                <a:lnTo>
                  <a:pt x="19780" y="6098"/>
                </a:lnTo>
                <a:cubicBezTo>
                  <a:pt x="19869" y="6000"/>
                  <a:pt x="19992" y="5940"/>
                  <a:pt x="20127" y="5940"/>
                </a:cubicBezTo>
                <a:cubicBezTo>
                  <a:pt x="20398" y="5940"/>
                  <a:pt x="20618" y="6182"/>
                  <a:pt x="20618" y="6480"/>
                </a:cubicBezTo>
                <a:cubicBezTo>
                  <a:pt x="20618" y="6629"/>
                  <a:pt x="20563" y="6764"/>
                  <a:pt x="20474" y="6862"/>
                </a:cubicBezTo>
                <a:moveTo>
                  <a:pt x="21600" y="6480"/>
                </a:moveTo>
                <a:cubicBezTo>
                  <a:pt x="21600" y="5586"/>
                  <a:pt x="20941" y="4860"/>
                  <a:pt x="20127" y="4860"/>
                </a:cubicBezTo>
                <a:cubicBezTo>
                  <a:pt x="19720" y="4860"/>
                  <a:pt x="19352" y="5041"/>
                  <a:pt x="19086" y="5335"/>
                </a:cubicBezTo>
                <a:lnTo>
                  <a:pt x="6813" y="18835"/>
                </a:lnTo>
                <a:cubicBezTo>
                  <a:pt x="6547" y="19128"/>
                  <a:pt x="6382" y="19533"/>
                  <a:pt x="6382" y="19980"/>
                </a:cubicBezTo>
                <a:cubicBezTo>
                  <a:pt x="6382" y="20874"/>
                  <a:pt x="7041" y="21600"/>
                  <a:pt x="7855" y="21600"/>
                </a:cubicBezTo>
                <a:cubicBezTo>
                  <a:pt x="8262" y="21600"/>
                  <a:pt x="8630" y="21419"/>
                  <a:pt x="8896" y="21125"/>
                </a:cubicBezTo>
                <a:lnTo>
                  <a:pt x="21169" y="7625"/>
                </a:lnTo>
                <a:cubicBezTo>
                  <a:pt x="21435" y="7332"/>
                  <a:pt x="21600" y="6927"/>
                  <a:pt x="21600" y="6480"/>
                </a:cubicBezTo>
                <a:moveTo>
                  <a:pt x="20127" y="14040"/>
                </a:moveTo>
                <a:lnTo>
                  <a:pt x="18655" y="14040"/>
                </a:lnTo>
                <a:lnTo>
                  <a:pt x="18655" y="11918"/>
                </a:lnTo>
                <a:lnTo>
                  <a:pt x="15744" y="15120"/>
                </a:lnTo>
                <a:lnTo>
                  <a:pt x="20127" y="15120"/>
                </a:lnTo>
                <a:cubicBezTo>
                  <a:pt x="20398" y="15120"/>
                  <a:pt x="20618" y="15362"/>
                  <a:pt x="20618" y="15660"/>
                </a:cubicBezTo>
                <a:cubicBezTo>
                  <a:pt x="20618" y="15958"/>
                  <a:pt x="20398" y="16200"/>
                  <a:pt x="20127" y="16200"/>
                </a:cubicBezTo>
                <a:lnTo>
                  <a:pt x="14762" y="16200"/>
                </a:lnTo>
                <a:lnTo>
                  <a:pt x="13780" y="17280"/>
                </a:lnTo>
                <a:lnTo>
                  <a:pt x="20127" y="17280"/>
                </a:lnTo>
                <a:cubicBezTo>
                  <a:pt x="20941" y="17280"/>
                  <a:pt x="21600" y="16554"/>
                  <a:pt x="21600" y="15660"/>
                </a:cubicBezTo>
                <a:cubicBezTo>
                  <a:pt x="21600" y="14766"/>
                  <a:pt x="20941" y="14040"/>
                  <a:pt x="20127" y="14040"/>
                </a:cubicBezTo>
                <a:moveTo>
                  <a:pt x="7820" y="16200"/>
                </a:moveTo>
                <a:lnTo>
                  <a:pt x="1473" y="16200"/>
                </a:lnTo>
                <a:cubicBezTo>
                  <a:pt x="1202" y="16200"/>
                  <a:pt x="982" y="15958"/>
                  <a:pt x="982" y="15660"/>
                </a:cubicBezTo>
                <a:cubicBezTo>
                  <a:pt x="982" y="15362"/>
                  <a:pt x="1202" y="15120"/>
                  <a:pt x="1473" y="15120"/>
                </a:cubicBezTo>
                <a:lnTo>
                  <a:pt x="8802" y="15120"/>
                </a:lnTo>
                <a:lnTo>
                  <a:pt x="12729" y="10800"/>
                </a:lnTo>
                <a:lnTo>
                  <a:pt x="3927" y="10800"/>
                </a:lnTo>
                <a:lnTo>
                  <a:pt x="3927" y="1080"/>
                </a:lnTo>
                <a:lnTo>
                  <a:pt x="17673" y="1080"/>
                </a:lnTo>
                <a:lnTo>
                  <a:pt x="17673" y="5362"/>
                </a:lnTo>
                <a:lnTo>
                  <a:pt x="18655" y="4282"/>
                </a:lnTo>
                <a:lnTo>
                  <a:pt x="18655" y="540"/>
                </a:lnTo>
                <a:cubicBezTo>
                  <a:pt x="18655" y="242"/>
                  <a:pt x="18434" y="0"/>
                  <a:pt x="18164" y="0"/>
                </a:cubicBezTo>
                <a:lnTo>
                  <a:pt x="3436" y="0"/>
                </a:lnTo>
                <a:cubicBezTo>
                  <a:pt x="3166" y="0"/>
                  <a:pt x="2945" y="242"/>
                  <a:pt x="2945" y="540"/>
                </a:cubicBezTo>
                <a:lnTo>
                  <a:pt x="2945" y="14040"/>
                </a:lnTo>
                <a:lnTo>
                  <a:pt x="1473" y="14040"/>
                </a:lnTo>
                <a:cubicBezTo>
                  <a:pt x="659" y="14040"/>
                  <a:pt x="0" y="14766"/>
                  <a:pt x="0" y="15660"/>
                </a:cubicBezTo>
                <a:cubicBezTo>
                  <a:pt x="0" y="16554"/>
                  <a:pt x="659" y="17280"/>
                  <a:pt x="1473" y="17280"/>
                </a:cubicBezTo>
                <a:lnTo>
                  <a:pt x="6838" y="17280"/>
                </a:lnTo>
                <a:cubicBezTo>
                  <a:pt x="6838" y="17280"/>
                  <a:pt x="7820" y="16200"/>
                  <a:pt x="7820" y="1620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2" name="Shape 2732"/>
          <p:cNvSpPr/>
          <p:nvPr/>
        </p:nvSpPr>
        <p:spPr>
          <a:xfrm>
            <a:off x="6024631" y="10497331"/>
            <a:ext cx="558654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236" y="19413"/>
                </a:moveTo>
                <a:lnTo>
                  <a:pt x="13945" y="13593"/>
                </a:lnTo>
                <a:cubicBezTo>
                  <a:pt x="14130" y="12747"/>
                  <a:pt x="14236" y="11802"/>
                  <a:pt x="14236" y="10800"/>
                </a:cubicBezTo>
                <a:cubicBezTo>
                  <a:pt x="14236" y="9799"/>
                  <a:pt x="14130" y="8854"/>
                  <a:pt x="13945" y="8007"/>
                </a:cubicBezTo>
                <a:lnTo>
                  <a:pt x="19236" y="2187"/>
                </a:lnTo>
                <a:cubicBezTo>
                  <a:pt x="20007" y="2465"/>
                  <a:pt x="20618" y="6209"/>
                  <a:pt x="20618" y="10800"/>
                </a:cubicBezTo>
                <a:cubicBezTo>
                  <a:pt x="20618" y="15392"/>
                  <a:pt x="20007" y="19136"/>
                  <a:pt x="19236" y="19413"/>
                </a:cubicBezTo>
                <a:moveTo>
                  <a:pt x="11291" y="15120"/>
                </a:moveTo>
                <a:lnTo>
                  <a:pt x="10309" y="15120"/>
                </a:lnTo>
                <a:cubicBezTo>
                  <a:pt x="9225" y="15120"/>
                  <a:pt x="8345" y="13186"/>
                  <a:pt x="8345" y="10800"/>
                </a:cubicBezTo>
                <a:cubicBezTo>
                  <a:pt x="8345" y="8414"/>
                  <a:pt x="9225" y="6480"/>
                  <a:pt x="10309" y="6480"/>
                </a:cubicBezTo>
                <a:lnTo>
                  <a:pt x="11291" y="6480"/>
                </a:lnTo>
                <a:cubicBezTo>
                  <a:pt x="12375" y="6480"/>
                  <a:pt x="13255" y="8414"/>
                  <a:pt x="13255" y="10800"/>
                </a:cubicBezTo>
                <a:cubicBezTo>
                  <a:pt x="13255" y="13186"/>
                  <a:pt x="12375" y="15120"/>
                  <a:pt x="11291" y="15120"/>
                </a:cubicBezTo>
                <a:moveTo>
                  <a:pt x="7654" y="13593"/>
                </a:moveTo>
                <a:lnTo>
                  <a:pt x="2363" y="19413"/>
                </a:lnTo>
                <a:cubicBezTo>
                  <a:pt x="1593" y="19135"/>
                  <a:pt x="982" y="15391"/>
                  <a:pt x="982" y="10800"/>
                </a:cubicBezTo>
                <a:cubicBezTo>
                  <a:pt x="982" y="6209"/>
                  <a:pt x="1593" y="2465"/>
                  <a:pt x="2363" y="2187"/>
                </a:cubicBezTo>
                <a:lnTo>
                  <a:pt x="7654" y="8007"/>
                </a:lnTo>
                <a:cubicBezTo>
                  <a:pt x="7470" y="8854"/>
                  <a:pt x="7364" y="9799"/>
                  <a:pt x="7364" y="10800"/>
                </a:cubicBezTo>
                <a:cubicBezTo>
                  <a:pt x="7364" y="11802"/>
                  <a:pt x="7470" y="12747"/>
                  <a:pt x="7654" y="13593"/>
                </a:cubicBezTo>
                <a:moveTo>
                  <a:pt x="19145" y="0"/>
                </a:moveTo>
                <a:cubicBezTo>
                  <a:pt x="19066" y="0"/>
                  <a:pt x="18994" y="51"/>
                  <a:pt x="18928" y="124"/>
                </a:cubicBezTo>
                <a:lnTo>
                  <a:pt x="18925" y="114"/>
                </a:lnTo>
                <a:lnTo>
                  <a:pt x="13374" y="6221"/>
                </a:lnTo>
                <a:cubicBezTo>
                  <a:pt x="12841" y="5047"/>
                  <a:pt x="12105" y="4320"/>
                  <a:pt x="11291" y="4320"/>
                </a:cubicBezTo>
                <a:lnTo>
                  <a:pt x="10309" y="4320"/>
                </a:lnTo>
                <a:cubicBezTo>
                  <a:pt x="9495" y="4320"/>
                  <a:pt x="8758" y="5047"/>
                  <a:pt x="8225" y="6221"/>
                </a:cubicBezTo>
                <a:lnTo>
                  <a:pt x="2674" y="114"/>
                </a:lnTo>
                <a:lnTo>
                  <a:pt x="2671" y="124"/>
                </a:lnTo>
                <a:cubicBezTo>
                  <a:pt x="2606" y="51"/>
                  <a:pt x="2534" y="0"/>
                  <a:pt x="2455" y="0"/>
                </a:cubicBezTo>
                <a:cubicBezTo>
                  <a:pt x="1099" y="0"/>
                  <a:pt x="0" y="4835"/>
                  <a:pt x="0" y="10800"/>
                </a:cubicBezTo>
                <a:cubicBezTo>
                  <a:pt x="0" y="16765"/>
                  <a:pt x="1099" y="21600"/>
                  <a:pt x="2455" y="21600"/>
                </a:cubicBezTo>
                <a:cubicBezTo>
                  <a:pt x="2534" y="21600"/>
                  <a:pt x="2605" y="21549"/>
                  <a:pt x="2671" y="21477"/>
                </a:cubicBezTo>
                <a:lnTo>
                  <a:pt x="2674" y="21486"/>
                </a:lnTo>
                <a:lnTo>
                  <a:pt x="8225" y="15379"/>
                </a:lnTo>
                <a:cubicBezTo>
                  <a:pt x="8758" y="16554"/>
                  <a:pt x="9495" y="17280"/>
                  <a:pt x="10309" y="17280"/>
                </a:cubicBezTo>
                <a:lnTo>
                  <a:pt x="11291" y="17280"/>
                </a:lnTo>
                <a:cubicBezTo>
                  <a:pt x="12105" y="17280"/>
                  <a:pt x="12842" y="16554"/>
                  <a:pt x="13375" y="15379"/>
                </a:cubicBezTo>
                <a:lnTo>
                  <a:pt x="18940" y="21501"/>
                </a:lnTo>
                <a:lnTo>
                  <a:pt x="18941" y="21496"/>
                </a:lnTo>
                <a:cubicBezTo>
                  <a:pt x="19003" y="21560"/>
                  <a:pt x="19072" y="21600"/>
                  <a:pt x="19145" y="21600"/>
                </a:cubicBezTo>
                <a:cubicBezTo>
                  <a:pt x="20501" y="21600"/>
                  <a:pt x="21600" y="16765"/>
                  <a:pt x="21600" y="10800"/>
                </a:cubicBezTo>
                <a:cubicBezTo>
                  <a:pt x="21600" y="4835"/>
                  <a:pt x="20501" y="0"/>
                  <a:pt x="19145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3" name="Shape 2733"/>
          <p:cNvSpPr/>
          <p:nvPr/>
        </p:nvSpPr>
        <p:spPr>
          <a:xfrm>
            <a:off x="7268906" y="10344971"/>
            <a:ext cx="203148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364"/>
                </a:moveTo>
                <a:lnTo>
                  <a:pt x="2804" y="17041"/>
                </a:lnTo>
                <a:lnTo>
                  <a:pt x="9142" y="5518"/>
                </a:lnTo>
                <a:lnTo>
                  <a:pt x="9803" y="5724"/>
                </a:lnTo>
                <a:cubicBezTo>
                  <a:pt x="9859" y="5747"/>
                  <a:pt x="9925" y="5764"/>
                  <a:pt x="9991" y="5783"/>
                </a:cubicBezTo>
                <a:lnTo>
                  <a:pt x="10130" y="5826"/>
                </a:lnTo>
                <a:lnTo>
                  <a:pt x="10141" y="5820"/>
                </a:lnTo>
                <a:cubicBezTo>
                  <a:pt x="10339" y="5861"/>
                  <a:pt x="10555" y="5891"/>
                  <a:pt x="10800" y="5891"/>
                </a:cubicBezTo>
                <a:cubicBezTo>
                  <a:pt x="11045" y="5891"/>
                  <a:pt x="11261" y="5861"/>
                  <a:pt x="11459" y="5820"/>
                </a:cubicBezTo>
                <a:lnTo>
                  <a:pt x="11470" y="5826"/>
                </a:lnTo>
                <a:lnTo>
                  <a:pt x="11609" y="5783"/>
                </a:lnTo>
                <a:cubicBezTo>
                  <a:pt x="11675" y="5764"/>
                  <a:pt x="11741" y="5747"/>
                  <a:pt x="11797" y="5724"/>
                </a:cubicBezTo>
                <a:lnTo>
                  <a:pt x="12457" y="5518"/>
                </a:lnTo>
                <a:lnTo>
                  <a:pt x="14283" y="8836"/>
                </a:lnTo>
                <a:lnTo>
                  <a:pt x="10800" y="8836"/>
                </a:lnTo>
                <a:cubicBezTo>
                  <a:pt x="10054" y="8836"/>
                  <a:pt x="9450" y="9056"/>
                  <a:pt x="9450" y="9327"/>
                </a:cubicBezTo>
                <a:cubicBezTo>
                  <a:pt x="9450" y="9599"/>
                  <a:pt x="10054" y="9818"/>
                  <a:pt x="10800" y="9818"/>
                </a:cubicBezTo>
                <a:lnTo>
                  <a:pt x="14824" y="9818"/>
                </a:lnTo>
                <a:lnTo>
                  <a:pt x="18796" y="17041"/>
                </a:lnTo>
                <a:cubicBezTo>
                  <a:pt x="18796" y="17041"/>
                  <a:pt x="10800" y="20364"/>
                  <a:pt x="10800" y="20364"/>
                </a:cubicBezTo>
                <a:close/>
                <a:moveTo>
                  <a:pt x="2776" y="2264"/>
                </a:moveTo>
                <a:cubicBezTo>
                  <a:pt x="3291" y="1541"/>
                  <a:pt x="6683" y="982"/>
                  <a:pt x="10800" y="982"/>
                </a:cubicBezTo>
                <a:cubicBezTo>
                  <a:pt x="14917" y="982"/>
                  <a:pt x="18308" y="1541"/>
                  <a:pt x="18825" y="2264"/>
                </a:cubicBezTo>
                <a:lnTo>
                  <a:pt x="10800" y="4765"/>
                </a:lnTo>
                <a:cubicBezTo>
                  <a:pt x="10800" y="4765"/>
                  <a:pt x="2776" y="2264"/>
                  <a:pt x="2776" y="2264"/>
                </a:cubicBezTo>
                <a:close/>
                <a:moveTo>
                  <a:pt x="21551" y="17094"/>
                </a:moveTo>
                <a:lnTo>
                  <a:pt x="21578" y="17093"/>
                </a:lnTo>
                <a:lnTo>
                  <a:pt x="17575" y="9818"/>
                </a:lnTo>
                <a:lnTo>
                  <a:pt x="18900" y="9818"/>
                </a:lnTo>
                <a:cubicBezTo>
                  <a:pt x="19646" y="9818"/>
                  <a:pt x="20250" y="9599"/>
                  <a:pt x="20250" y="9327"/>
                </a:cubicBezTo>
                <a:cubicBezTo>
                  <a:pt x="20250" y="9056"/>
                  <a:pt x="19646" y="8836"/>
                  <a:pt x="18900" y="8836"/>
                </a:cubicBezTo>
                <a:lnTo>
                  <a:pt x="17036" y="8836"/>
                </a:lnTo>
                <a:lnTo>
                  <a:pt x="14828" y="4820"/>
                </a:lnTo>
                <a:lnTo>
                  <a:pt x="14801" y="4822"/>
                </a:lnTo>
                <a:cubicBezTo>
                  <a:pt x="14795" y="4812"/>
                  <a:pt x="14792" y="4803"/>
                  <a:pt x="14785" y="4793"/>
                </a:cubicBezTo>
                <a:lnTo>
                  <a:pt x="20920" y="2881"/>
                </a:lnTo>
                <a:lnTo>
                  <a:pt x="20909" y="2874"/>
                </a:lnTo>
                <a:cubicBezTo>
                  <a:pt x="21315" y="2789"/>
                  <a:pt x="21600" y="2637"/>
                  <a:pt x="21600" y="2455"/>
                </a:cubicBezTo>
                <a:cubicBezTo>
                  <a:pt x="21600" y="1099"/>
                  <a:pt x="16764" y="0"/>
                  <a:pt x="10800" y="0"/>
                </a:cubicBezTo>
                <a:cubicBezTo>
                  <a:pt x="4836" y="0"/>
                  <a:pt x="0" y="1099"/>
                  <a:pt x="0" y="2455"/>
                </a:cubicBezTo>
                <a:cubicBezTo>
                  <a:pt x="0" y="2637"/>
                  <a:pt x="285" y="2789"/>
                  <a:pt x="691" y="2874"/>
                </a:cubicBezTo>
                <a:lnTo>
                  <a:pt x="680" y="2881"/>
                </a:lnTo>
                <a:lnTo>
                  <a:pt x="6815" y="4793"/>
                </a:lnTo>
                <a:cubicBezTo>
                  <a:pt x="6808" y="4802"/>
                  <a:pt x="6805" y="4812"/>
                  <a:pt x="6799" y="4822"/>
                </a:cubicBezTo>
                <a:lnTo>
                  <a:pt x="6772" y="4820"/>
                </a:lnTo>
                <a:lnTo>
                  <a:pt x="22" y="17093"/>
                </a:lnTo>
                <a:lnTo>
                  <a:pt x="49" y="17094"/>
                </a:lnTo>
                <a:cubicBezTo>
                  <a:pt x="34" y="17123"/>
                  <a:pt x="0" y="17151"/>
                  <a:pt x="0" y="17182"/>
                </a:cubicBezTo>
                <a:cubicBezTo>
                  <a:pt x="0" y="17306"/>
                  <a:pt x="137" y="17416"/>
                  <a:pt x="345" y="17502"/>
                </a:cubicBezTo>
                <a:lnTo>
                  <a:pt x="335" y="17505"/>
                </a:lnTo>
                <a:lnTo>
                  <a:pt x="9785" y="21432"/>
                </a:lnTo>
                <a:lnTo>
                  <a:pt x="9795" y="21429"/>
                </a:lnTo>
                <a:cubicBezTo>
                  <a:pt x="10041" y="21532"/>
                  <a:pt x="10394" y="21600"/>
                  <a:pt x="10800" y="21600"/>
                </a:cubicBezTo>
                <a:cubicBezTo>
                  <a:pt x="11206" y="21600"/>
                  <a:pt x="11557" y="21532"/>
                  <a:pt x="11805" y="21429"/>
                </a:cubicBezTo>
                <a:lnTo>
                  <a:pt x="11815" y="21432"/>
                </a:lnTo>
                <a:lnTo>
                  <a:pt x="21265" y="17505"/>
                </a:lnTo>
                <a:lnTo>
                  <a:pt x="21255" y="17502"/>
                </a:lnTo>
                <a:cubicBezTo>
                  <a:pt x="21463" y="17416"/>
                  <a:pt x="21600" y="17306"/>
                  <a:pt x="21600" y="17182"/>
                </a:cubicBezTo>
                <a:cubicBezTo>
                  <a:pt x="21600" y="17151"/>
                  <a:pt x="21566" y="17123"/>
                  <a:pt x="21551" y="1709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4" name="Shape 2734"/>
          <p:cNvSpPr/>
          <p:nvPr/>
        </p:nvSpPr>
        <p:spPr>
          <a:xfrm>
            <a:off x="8157677" y="10421151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9450"/>
                </a:moveTo>
                <a:lnTo>
                  <a:pt x="9140" y="9450"/>
                </a:lnTo>
                <a:lnTo>
                  <a:pt x="8293" y="7123"/>
                </a:lnTo>
                <a:lnTo>
                  <a:pt x="8289" y="7126"/>
                </a:lnTo>
                <a:cubicBezTo>
                  <a:pt x="8208" y="6906"/>
                  <a:pt x="8046" y="6750"/>
                  <a:pt x="7855" y="6750"/>
                </a:cubicBezTo>
                <a:cubicBezTo>
                  <a:pt x="7663" y="6750"/>
                  <a:pt x="7501" y="6906"/>
                  <a:pt x="7420" y="7126"/>
                </a:cubicBezTo>
                <a:lnTo>
                  <a:pt x="7415" y="7123"/>
                </a:lnTo>
                <a:lnTo>
                  <a:pt x="6569" y="9450"/>
                </a:lnTo>
                <a:lnTo>
                  <a:pt x="5400" y="9450"/>
                </a:lnTo>
                <a:cubicBezTo>
                  <a:pt x="5129" y="9450"/>
                  <a:pt x="4909" y="9752"/>
                  <a:pt x="4909" y="10125"/>
                </a:cubicBezTo>
                <a:cubicBezTo>
                  <a:pt x="4909" y="10571"/>
                  <a:pt x="5128" y="10687"/>
                  <a:pt x="5128" y="10687"/>
                </a:cubicBezTo>
                <a:lnTo>
                  <a:pt x="6405" y="11857"/>
                </a:lnTo>
                <a:lnTo>
                  <a:pt x="5914" y="14014"/>
                </a:lnTo>
                <a:cubicBezTo>
                  <a:pt x="5905" y="14067"/>
                  <a:pt x="5891" y="14118"/>
                  <a:pt x="5891" y="14175"/>
                </a:cubicBezTo>
                <a:cubicBezTo>
                  <a:pt x="5891" y="14548"/>
                  <a:pt x="6110" y="14850"/>
                  <a:pt x="6382" y="14850"/>
                </a:cubicBezTo>
                <a:cubicBezTo>
                  <a:pt x="6483" y="14850"/>
                  <a:pt x="6574" y="14801"/>
                  <a:pt x="6650" y="14727"/>
                </a:cubicBezTo>
                <a:lnTo>
                  <a:pt x="7855" y="13636"/>
                </a:lnTo>
                <a:lnTo>
                  <a:pt x="9055" y="14737"/>
                </a:lnTo>
                <a:cubicBezTo>
                  <a:pt x="9055" y="14737"/>
                  <a:pt x="9127" y="14850"/>
                  <a:pt x="9327" y="14850"/>
                </a:cubicBezTo>
                <a:cubicBezTo>
                  <a:pt x="9599" y="14850"/>
                  <a:pt x="9818" y="14548"/>
                  <a:pt x="9818" y="14175"/>
                </a:cubicBezTo>
                <a:cubicBezTo>
                  <a:pt x="9818" y="14117"/>
                  <a:pt x="9798" y="14070"/>
                  <a:pt x="9787" y="14017"/>
                </a:cubicBezTo>
                <a:lnTo>
                  <a:pt x="9304" y="11857"/>
                </a:lnTo>
                <a:lnTo>
                  <a:pt x="10581" y="10687"/>
                </a:lnTo>
                <a:cubicBezTo>
                  <a:pt x="10581" y="10687"/>
                  <a:pt x="10800" y="10571"/>
                  <a:pt x="10800" y="10125"/>
                </a:cubicBezTo>
                <a:cubicBezTo>
                  <a:pt x="10800" y="9752"/>
                  <a:pt x="10580" y="9450"/>
                  <a:pt x="10309" y="9450"/>
                </a:cubicBezTo>
                <a:moveTo>
                  <a:pt x="13255" y="11475"/>
                </a:moveTo>
                <a:lnTo>
                  <a:pt x="15218" y="11475"/>
                </a:lnTo>
                <a:cubicBezTo>
                  <a:pt x="15490" y="11475"/>
                  <a:pt x="15709" y="11173"/>
                  <a:pt x="15709" y="10800"/>
                </a:cubicBezTo>
                <a:cubicBezTo>
                  <a:pt x="15709" y="10427"/>
                  <a:pt x="15490" y="10125"/>
                  <a:pt x="15218" y="10125"/>
                </a:cubicBezTo>
                <a:lnTo>
                  <a:pt x="13255" y="10125"/>
                </a:lnTo>
                <a:cubicBezTo>
                  <a:pt x="12983" y="10125"/>
                  <a:pt x="12764" y="10427"/>
                  <a:pt x="12764" y="10800"/>
                </a:cubicBezTo>
                <a:cubicBezTo>
                  <a:pt x="12764" y="11173"/>
                  <a:pt x="12983" y="11475"/>
                  <a:pt x="13255" y="11475"/>
                </a:cubicBezTo>
                <a:moveTo>
                  <a:pt x="16200" y="12150"/>
                </a:moveTo>
                <a:lnTo>
                  <a:pt x="13255" y="12150"/>
                </a:lnTo>
                <a:cubicBezTo>
                  <a:pt x="12983" y="12150"/>
                  <a:pt x="12764" y="12452"/>
                  <a:pt x="12764" y="12825"/>
                </a:cubicBezTo>
                <a:cubicBezTo>
                  <a:pt x="12764" y="13198"/>
                  <a:pt x="12983" y="13500"/>
                  <a:pt x="13255" y="13500"/>
                </a:cubicBezTo>
                <a:lnTo>
                  <a:pt x="16200" y="13500"/>
                </a:lnTo>
                <a:cubicBezTo>
                  <a:pt x="16471" y="13500"/>
                  <a:pt x="16691" y="13198"/>
                  <a:pt x="16691" y="12825"/>
                </a:cubicBezTo>
                <a:cubicBezTo>
                  <a:pt x="16691" y="12452"/>
                  <a:pt x="16471" y="12150"/>
                  <a:pt x="16200" y="12150"/>
                </a:cubicBezTo>
                <a:moveTo>
                  <a:pt x="20618" y="14768"/>
                </a:moveTo>
                <a:lnTo>
                  <a:pt x="20618" y="17550"/>
                </a:lnTo>
                <a:lnTo>
                  <a:pt x="982" y="17550"/>
                </a:lnTo>
                <a:lnTo>
                  <a:pt x="982" y="14768"/>
                </a:lnTo>
                <a:cubicBezTo>
                  <a:pt x="2102" y="14393"/>
                  <a:pt x="2945" y="12759"/>
                  <a:pt x="2945" y="10800"/>
                </a:cubicBezTo>
                <a:cubicBezTo>
                  <a:pt x="2945" y="8841"/>
                  <a:pt x="2102" y="7207"/>
                  <a:pt x="982" y="6832"/>
                </a:cubicBezTo>
                <a:lnTo>
                  <a:pt x="982" y="4050"/>
                </a:lnTo>
                <a:lnTo>
                  <a:pt x="20618" y="4050"/>
                </a:lnTo>
                <a:lnTo>
                  <a:pt x="20618" y="6832"/>
                </a:lnTo>
                <a:cubicBezTo>
                  <a:pt x="19498" y="7207"/>
                  <a:pt x="18655" y="8841"/>
                  <a:pt x="18655" y="10800"/>
                </a:cubicBezTo>
                <a:cubicBezTo>
                  <a:pt x="18655" y="12759"/>
                  <a:pt x="19498" y="14393"/>
                  <a:pt x="20618" y="14768"/>
                </a:cubicBezTo>
                <a:moveTo>
                  <a:pt x="20618" y="20250"/>
                </a:moveTo>
                <a:lnTo>
                  <a:pt x="18655" y="20250"/>
                </a:lnTo>
                <a:lnTo>
                  <a:pt x="18655" y="18900"/>
                </a:lnTo>
                <a:lnTo>
                  <a:pt x="20618" y="18900"/>
                </a:lnTo>
                <a:cubicBezTo>
                  <a:pt x="20618" y="18900"/>
                  <a:pt x="20618" y="20250"/>
                  <a:pt x="20618" y="20250"/>
                </a:cubicBezTo>
                <a:close/>
                <a:moveTo>
                  <a:pt x="17673" y="20250"/>
                </a:moveTo>
                <a:lnTo>
                  <a:pt x="982" y="20250"/>
                </a:lnTo>
                <a:lnTo>
                  <a:pt x="982" y="18900"/>
                </a:lnTo>
                <a:lnTo>
                  <a:pt x="17673" y="18900"/>
                </a:lnTo>
                <a:cubicBezTo>
                  <a:pt x="17673" y="18900"/>
                  <a:pt x="17673" y="20250"/>
                  <a:pt x="17673" y="20250"/>
                </a:cubicBezTo>
                <a:close/>
                <a:moveTo>
                  <a:pt x="982" y="1350"/>
                </a:moveTo>
                <a:lnTo>
                  <a:pt x="17673" y="1350"/>
                </a:lnTo>
                <a:lnTo>
                  <a:pt x="17673" y="2700"/>
                </a:lnTo>
                <a:lnTo>
                  <a:pt x="982" y="2700"/>
                </a:lnTo>
                <a:cubicBezTo>
                  <a:pt x="982" y="2700"/>
                  <a:pt x="982" y="1350"/>
                  <a:pt x="982" y="1350"/>
                </a:cubicBezTo>
                <a:close/>
                <a:moveTo>
                  <a:pt x="18655" y="1350"/>
                </a:moveTo>
                <a:lnTo>
                  <a:pt x="20618" y="1350"/>
                </a:lnTo>
                <a:lnTo>
                  <a:pt x="20618" y="2700"/>
                </a:lnTo>
                <a:lnTo>
                  <a:pt x="18655" y="2700"/>
                </a:lnTo>
                <a:cubicBezTo>
                  <a:pt x="18655" y="2700"/>
                  <a:pt x="18655" y="1350"/>
                  <a:pt x="18655" y="1350"/>
                </a:cubicBezTo>
                <a:close/>
                <a:moveTo>
                  <a:pt x="21109" y="8100"/>
                </a:moveTo>
                <a:cubicBezTo>
                  <a:pt x="21380" y="8100"/>
                  <a:pt x="21600" y="7798"/>
                  <a:pt x="21600" y="7425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lnTo>
                  <a:pt x="982" y="0"/>
                </a:lnTo>
                <a:cubicBezTo>
                  <a:pt x="439" y="0"/>
                  <a:pt x="0" y="605"/>
                  <a:pt x="0" y="1350"/>
                </a:cubicBezTo>
                <a:lnTo>
                  <a:pt x="0" y="7425"/>
                </a:lnTo>
                <a:cubicBezTo>
                  <a:pt x="0" y="7798"/>
                  <a:pt x="220" y="8100"/>
                  <a:pt x="491" y="8100"/>
                </a:cubicBezTo>
                <a:cubicBezTo>
                  <a:pt x="1304" y="8100"/>
                  <a:pt x="1964" y="9309"/>
                  <a:pt x="1964" y="10800"/>
                </a:cubicBezTo>
                <a:cubicBezTo>
                  <a:pt x="1964" y="12291"/>
                  <a:pt x="1304" y="13500"/>
                  <a:pt x="491" y="13500"/>
                </a:cubicBezTo>
                <a:cubicBezTo>
                  <a:pt x="220" y="13500"/>
                  <a:pt x="0" y="13802"/>
                  <a:pt x="0" y="14175"/>
                </a:cubicBezTo>
                <a:lnTo>
                  <a:pt x="0" y="20250"/>
                </a:lnTo>
                <a:cubicBezTo>
                  <a:pt x="0" y="20995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4175"/>
                </a:lnTo>
                <a:cubicBezTo>
                  <a:pt x="21600" y="13802"/>
                  <a:pt x="21380" y="13500"/>
                  <a:pt x="21109" y="13500"/>
                </a:cubicBezTo>
                <a:cubicBezTo>
                  <a:pt x="20296" y="13500"/>
                  <a:pt x="19636" y="12291"/>
                  <a:pt x="19636" y="10800"/>
                </a:cubicBezTo>
                <a:cubicBezTo>
                  <a:pt x="19636" y="9309"/>
                  <a:pt x="20296" y="8100"/>
                  <a:pt x="21109" y="8100"/>
                </a:cubicBezTo>
                <a:moveTo>
                  <a:pt x="16200" y="8100"/>
                </a:moveTo>
                <a:lnTo>
                  <a:pt x="13255" y="8100"/>
                </a:lnTo>
                <a:cubicBezTo>
                  <a:pt x="12983" y="8100"/>
                  <a:pt x="12764" y="8402"/>
                  <a:pt x="12764" y="8775"/>
                </a:cubicBezTo>
                <a:cubicBezTo>
                  <a:pt x="12764" y="9148"/>
                  <a:pt x="12983" y="9450"/>
                  <a:pt x="13255" y="9450"/>
                </a:cubicBezTo>
                <a:lnTo>
                  <a:pt x="16200" y="9450"/>
                </a:lnTo>
                <a:cubicBezTo>
                  <a:pt x="16471" y="9450"/>
                  <a:pt x="16691" y="9148"/>
                  <a:pt x="16691" y="8775"/>
                </a:cubicBezTo>
                <a:cubicBezTo>
                  <a:pt x="16691" y="8402"/>
                  <a:pt x="16471" y="8100"/>
                  <a:pt x="16200" y="81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5" name="Shape 2735"/>
          <p:cNvSpPr/>
          <p:nvPr/>
        </p:nvSpPr>
        <p:spPr>
          <a:xfrm>
            <a:off x="9224197" y="10395758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2000"/>
                </a:moveTo>
                <a:lnTo>
                  <a:pt x="13255" y="12000"/>
                </a:lnTo>
                <a:cubicBezTo>
                  <a:pt x="13526" y="12000"/>
                  <a:pt x="13745" y="11732"/>
                  <a:pt x="13745" y="11400"/>
                </a:cubicBezTo>
                <a:cubicBezTo>
                  <a:pt x="13745" y="11068"/>
                  <a:pt x="13526" y="10800"/>
                  <a:pt x="13255" y="10800"/>
                </a:cubicBezTo>
                <a:lnTo>
                  <a:pt x="11291" y="10800"/>
                </a:lnTo>
                <a:cubicBezTo>
                  <a:pt x="11020" y="10800"/>
                  <a:pt x="10800" y="11068"/>
                  <a:pt x="10800" y="11400"/>
                </a:cubicBezTo>
                <a:cubicBezTo>
                  <a:pt x="10800" y="11732"/>
                  <a:pt x="11020" y="12000"/>
                  <a:pt x="11291" y="12000"/>
                </a:cubicBezTo>
                <a:moveTo>
                  <a:pt x="11291" y="13800"/>
                </a:moveTo>
                <a:lnTo>
                  <a:pt x="12273" y="13800"/>
                </a:lnTo>
                <a:cubicBezTo>
                  <a:pt x="12544" y="13800"/>
                  <a:pt x="12764" y="13532"/>
                  <a:pt x="12764" y="13200"/>
                </a:cubicBezTo>
                <a:cubicBezTo>
                  <a:pt x="12764" y="12868"/>
                  <a:pt x="12544" y="12600"/>
                  <a:pt x="12273" y="12600"/>
                </a:cubicBezTo>
                <a:lnTo>
                  <a:pt x="11291" y="12600"/>
                </a:lnTo>
                <a:cubicBezTo>
                  <a:pt x="11020" y="12600"/>
                  <a:pt x="10800" y="12868"/>
                  <a:pt x="10800" y="13200"/>
                </a:cubicBezTo>
                <a:cubicBezTo>
                  <a:pt x="10800" y="13532"/>
                  <a:pt x="11020" y="13800"/>
                  <a:pt x="11291" y="13800"/>
                </a:cubicBezTo>
                <a:moveTo>
                  <a:pt x="11291" y="15600"/>
                </a:moveTo>
                <a:lnTo>
                  <a:pt x="13255" y="15600"/>
                </a:lnTo>
                <a:cubicBezTo>
                  <a:pt x="13526" y="15600"/>
                  <a:pt x="13745" y="15332"/>
                  <a:pt x="13745" y="15000"/>
                </a:cubicBezTo>
                <a:cubicBezTo>
                  <a:pt x="13745" y="14668"/>
                  <a:pt x="13526" y="14400"/>
                  <a:pt x="13255" y="14400"/>
                </a:cubicBezTo>
                <a:lnTo>
                  <a:pt x="11291" y="14400"/>
                </a:lnTo>
                <a:cubicBezTo>
                  <a:pt x="11020" y="14400"/>
                  <a:pt x="10800" y="14668"/>
                  <a:pt x="10800" y="15000"/>
                </a:cubicBezTo>
                <a:cubicBezTo>
                  <a:pt x="10800" y="15332"/>
                  <a:pt x="11020" y="15600"/>
                  <a:pt x="11291" y="15600"/>
                </a:cubicBezTo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000"/>
                </a:lnTo>
                <a:cubicBezTo>
                  <a:pt x="2945" y="3332"/>
                  <a:pt x="3165" y="3600"/>
                  <a:pt x="3436" y="3600"/>
                </a:cubicBezTo>
                <a:cubicBezTo>
                  <a:pt x="3708" y="3600"/>
                  <a:pt x="3927" y="3332"/>
                  <a:pt x="3927" y="3000"/>
                </a:cubicBezTo>
                <a:lnTo>
                  <a:pt x="3927" y="1200"/>
                </a:lnTo>
                <a:lnTo>
                  <a:pt x="20618" y="1200"/>
                </a:lnTo>
                <a:lnTo>
                  <a:pt x="20618" y="15600"/>
                </a:lnTo>
                <a:lnTo>
                  <a:pt x="20127" y="15600"/>
                </a:lnTo>
                <a:cubicBezTo>
                  <a:pt x="19856" y="15600"/>
                  <a:pt x="19636" y="15868"/>
                  <a:pt x="19636" y="16200"/>
                </a:cubicBezTo>
                <a:cubicBezTo>
                  <a:pt x="19636" y="16532"/>
                  <a:pt x="19856" y="16800"/>
                  <a:pt x="20127" y="16800"/>
                </a:cubicBezTo>
                <a:lnTo>
                  <a:pt x="20618" y="16800"/>
                </a:lnTo>
                <a:cubicBezTo>
                  <a:pt x="21160" y="16800"/>
                  <a:pt x="21600" y="16263"/>
                  <a:pt x="21600" y="15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091" y="13116"/>
                </a:moveTo>
                <a:lnTo>
                  <a:pt x="6156" y="13983"/>
                </a:lnTo>
                <a:lnTo>
                  <a:pt x="5747" y="15581"/>
                </a:lnTo>
                <a:cubicBezTo>
                  <a:pt x="5738" y="15620"/>
                  <a:pt x="5727" y="15657"/>
                  <a:pt x="5727" y="15700"/>
                </a:cubicBezTo>
                <a:cubicBezTo>
                  <a:pt x="5727" y="15976"/>
                  <a:pt x="5911" y="16200"/>
                  <a:pt x="6136" y="16200"/>
                </a:cubicBezTo>
                <a:cubicBezTo>
                  <a:pt x="6221" y="16200"/>
                  <a:pt x="6296" y="16164"/>
                  <a:pt x="6360" y="16110"/>
                </a:cubicBezTo>
                <a:lnTo>
                  <a:pt x="7364" y="15301"/>
                </a:lnTo>
                <a:lnTo>
                  <a:pt x="8364" y="16116"/>
                </a:lnTo>
                <a:cubicBezTo>
                  <a:pt x="8364" y="16116"/>
                  <a:pt x="8424" y="16200"/>
                  <a:pt x="8591" y="16200"/>
                </a:cubicBezTo>
                <a:cubicBezTo>
                  <a:pt x="8817" y="16200"/>
                  <a:pt x="9000" y="15976"/>
                  <a:pt x="9000" y="15700"/>
                </a:cubicBezTo>
                <a:cubicBezTo>
                  <a:pt x="9000" y="15657"/>
                  <a:pt x="8983" y="15622"/>
                  <a:pt x="8974" y="15583"/>
                </a:cubicBezTo>
                <a:lnTo>
                  <a:pt x="8572" y="13983"/>
                </a:lnTo>
                <a:lnTo>
                  <a:pt x="9636" y="13116"/>
                </a:lnTo>
                <a:cubicBezTo>
                  <a:pt x="9636" y="13116"/>
                  <a:pt x="9818" y="13030"/>
                  <a:pt x="9818" y="12700"/>
                </a:cubicBezTo>
                <a:cubicBezTo>
                  <a:pt x="9818" y="12424"/>
                  <a:pt x="9635" y="12200"/>
                  <a:pt x="9409" y="12200"/>
                </a:cubicBezTo>
                <a:lnTo>
                  <a:pt x="8435" y="12200"/>
                </a:lnTo>
                <a:lnTo>
                  <a:pt x="7730" y="10477"/>
                </a:lnTo>
                <a:lnTo>
                  <a:pt x="7726" y="10479"/>
                </a:lnTo>
                <a:cubicBezTo>
                  <a:pt x="7658" y="10315"/>
                  <a:pt x="7524" y="10200"/>
                  <a:pt x="7364" y="10200"/>
                </a:cubicBezTo>
                <a:cubicBezTo>
                  <a:pt x="7204" y="10200"/>
                  <a:pt x="7069" y="10315"/>
                  <a:pt x="7001" y="10479"/>
                </a:cubicBezTo>
                <a:lnTo>
                  <a:pt x="6998" y="10477"/>
                </a:lnTo>
                <a:lnTo>
                  <a:pt x="6293" y="12200"/>
                </a:lnTo>
                <a:lnTo>
                  <a:pt x="5319" y="12200"/>
                </a:lnTo>
                <a:cubicBezTo>
                  <a:pt x="5092" y="12200"/>
                  <a:pt x="4909" y="12424"/>
                  <a:pt x="4909" y="12700"/>
                </a:cubicBezTo>
                <a:cubicBezTo>
                  <a:pt x="4909" y="13030"/>
                  <a:pt x="5091" y="13116"/>
                  <a:pt x="5091" y="13116"/>
                </a:cubicBezTo>
                <a:moveTo>
                  <a:pt x="17673" y="7200"/>
                </a:moveTo>
                <a:lnTo>
                  <a:pt x="16691" y="7200"/>
                </a:lnTo>
                <a:lnTo>
                  <a:pt x="16691" y="6000"/>
                </a:lnTo>
                <a:lnTo>
                  <a:pt x="17673" y="6000"/>
                </a:lnTo>
                <a:cubicBezTo>
                  <a:pt x="17673" y="6000"/>
                  <a:pt x="17673" y="7200"/>
                  <a:pt x="17673" y="7200"/>
                </a:cubicBezTo>
                <a:close/>
                <a:moveTo>
                  <a:pt x="17673" y="10947"/>
                </a:moveTo>
                <a:cubicBezTo>
                  <a:pt x="17102" y="11278"/>
                  <a:pt x="16691" y="12157"/>
                  <a:pt x="16691" y="13200"/>
                </a:cubicBezTo>
                <a:cubicBezTo>
                  <a:pt x="16691" y="14244"/>
                  <a:pt x="17102" y="15122"/>
                  <a:pt x="17673" y="15453"/>
                </a:cubicBezTo>
                <a:lnTo>
                  <a:pt x="17673" y="18000"/>
                </a:lnTo>
                <a:lnTo>
                  <a:pt x="982" y="18000"/>
                </a:lnTo>
                <a:lnTo>
                  <a:pt x="982" y="15453"/>
                </a:lnTo>
                <a:cubicBezTo>
                  <a:pt x="1552" y="15122"/>
                  <a:pt x="1964" y="14244"/>
                  <a:pt x="1964" y="13200"/>
                </a:cubicBezTo>
                <a:cubicBezTo>
                  <a:pt x="1964" y="12157"/>
                  <a:pt x="1552" y="11278"/>
                  <a:pt x="982" y="10947"/>
                </a:cubicBezTo>
                <a:lnTo>
                  <a:pt x="982" y="8400"/>
                </a:lnTo>
                <a:lnTo>
                  <a:pt x="17673" y="8400"/>
                </a:lnTo>
                <a:cubicBezTo>
                  <a:pt x="17673" y="8400"/>
                  <a:pt x="17673" y="10947"/>
                  <a:pt x="17673" y="10947"/>
                </a:cubicBezTo>
                <a:close/>
                <a:moveTo>
                  <a:pt x="17673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673" y="19200"/>
                </a:lnTo>
                <a:cubicBezTo>
                  <a:pt x="17673" y="19200"/>
                  <a:pt x="17673" y="20400"/>
                  <a:pt x="17673" y="20400"/>
                </a:cubicBezTo>
                <a:close/>
                <a:moveTo>
                  <a:pt x="15709" y="20400"/>
                </a:moveTo>
                <a:lnTo>
                  <a:pt x="982" y="20400"/>
                </a:lnTo>
                <a:lnTo>
                  <a:pt x="982" y="19200"/>
                </a:lnTo>
                <a:lnTo>
                  <a:pt x="15709" y="19200"/>
                </a:lnTo>
                <a:cubicBezTo>
                  <a:pt x="15709" y="19200"/>
                  <a:pt x="15709" y="20400"/>
                  <a:pt x="15709" y="20400"/>
                </a:cubicBezTo>
                <a:close/>
                <a:moveTo>
                  <a:pt x="982" y="6000"/>
                </a:moveTo>
                <a:lnTo>
                  <a:pt x="15709" y="6000"/>
                </a:lnTo>
                <a:lnTo>
                  <a:pt x="15709" y="7200"/>
                </a:lnTo>
                <a:lnTo>
                  <a:pt x="982" y="7200"/>
                </a:lnTo>
                <a:cubicBezTo>
                  <a:pt x="982" y="7200"/>
                  <a:pt x="982" y="6000"/>
                  <a:pt x="982" y="6000"/>
                </a:cubicBezTo>
                <a:close/>
                <a:moveTo>
                  <a:pt x="17673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11400"/>
                </a:lnTo>
                <a:cubicBezTo>
                  <a:pt x="0" y="11732"/>
                  <a:pt x="220" y="12000"/>
                  <a:pt x="491" y="12000"/>
                </a:cubicBezTo>
                <a:cubicBezTo>
                  <a:pt x="762" y="12000"/>
                  <a:pt x="982" y="12538"/>
                  <a:pt x="982" y="13200"/>
                </a:cubicBezTo>
                <a:cubicBezTo>
                  <a:pt x="982" y="13862"/>
                  <a:pt x="762" y="14400"/>
                  <a:pt x="491" y="14400"/>
                </a:cubicBezTo>
                <a:cubicBezTo>
                  <a:pt x="220" y="14400"/>
                  <a:pt x="0" y="14668"/>
                  <a:pt x="0" y="15000"/>
                </a:cubicBezTo>
                <a:lnTo>
                  <a:pt x="0" y="20400"/>
                </a:lnTo>
                <a:cubicBezTo>
                  <a:pt x="0" y="21063"/>
                  <a:pt x="439" y="21600"/>
                  <a:pt x="982" y="21600"/>
                </a:cubicBezTo>
                <a:lnTo>
                  <a:pt x="17673" y="21600"/>
                </a:lnTo>
                <a:cubicBezTo>
                  <a:pt x="18214" y="21600"/>
                  <a:pt x="18655" y="21063"/>
                  <a:pt x="18655" y="20400"/>
                </a:cubicBezTo>
                <a:lnTo>
                  <a:pt x="18655" y="15000"/>
                </a:lnTo>
                <a:cubicBezTo>
                  <a:pt x="18655" y="14668"/>
                  <a:pt x="18435" y="14400"/>
                  <a:pt x="18164" y="14400"/>
                </a:cubicBezTo>
                <a:cubicBezTo>
                  <a:pt x="17892" y="14400"/>
                  <a:pt x="17673" y="13862"/>
                  <a:pt x="17673" y="13200"/>
                </a:cubicBezTo>
                <a:cubicBezTo>
                  <a:pt x="17673" y="12538"/>
                  <a:pt x="17892" y="12000"/>
                  <a:pt x="18164" y="12000"/>
                </a:cubicBezTo>
                <a:cubicBezTo>
                  <a:pt x="18435" y="12000"/>
                  <a:pt x="18655" y="11732"/>
                  <a:pt x="18655" y="11400"/>
                </a:cubicBezTo>
                <a:lnTo>
                  <a:pt x="18655" y="6000"/>
                </a:lnTo>
                <a:cubicBezTo>
                  <a:pt x="18655" y="5338"/>
                  <a:pt x="18214" y="4800"/>
                  <a:pt x="17673" y="4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6" name="Shape 2736"/>
          <p:cNvSpPr/>
          <p:nvPr/>
        </p:nvSpPr>
        <p:spPr>
          <a:xfrm>
            <a:off x="10290720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45" y="2945"/>
                </a:moveTo>
                <a:lnTo>
                  <a:pt x="18655" y="2945"/>
                </a:lnTo>
                <a:lnTo>
                  <a:pt x="18655" y="18655"/>
                </a:lnTo>
                <a:lnTo>
                  <a:pt x="2945" y="18655"/>
                </a:lnTo>
                <a:cubicBezTo>
                  <a:pt x="2945" y="18655"/>
                  <a:pt x="2945" y="2945"/>
                  <a:pt x="2945" y="2945"/>
                </a:cubicBezTo>
                <a:close/>
                <a:moveTo>
                  <a:pt x="1964" y="19636"/>
                </a:moveTo>
                <a:lnTo>
                  <a:pt x="19636" y="19636"/>
                </a:lnTo>
                <a:lnTo>
                  <a:pt x="19636" y="1964"/>
                </a:lnTo>
                <a:lnTo>
                  <a:pt x="1964" y="1964"/>
                </a:lnTo>
                <a:cubicBezTo>
                  <a:pt x="1964" y="1964"/>
                  <a:pt x="1964" y="19636"/>
                  <a:pt x="1964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7" name="Shape 2737"/>
          <p:cNvSpPr/>
          <p:nvPr/>
        </p:nvSpPr>
        <p:spPr>
          <a:xfrm>
            <a:off x="11357242" y="1034497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12273"/>
                  <a:pt x="12273" y="12273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1291" y="11291"/>
                </a:lnTo>
                <a:cubicBezTo>
                  <a:pt x="11291" y="11291"/>
                  <a:pt x="11291" y="19636"/>
                  <a:pt x="11291" y="19636"/>
                </a:cubicBezTo>
                <a:close/>
                <a:moveTo>
                  <a:pt x="12273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12273" y="9327"/>
                </a:lnTo>
                <a:cubicBezTo>
                  <a:pt x="12273" y="9327"/>
                  <a:pt x="12273" y="2945"/>
                  <a:pt x="12273" y="2945"/>
                </a:cubicBezTo>
                <a:close/>
                <a:moveTo>
                  <a:pt x="11291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0309"/>
                  <a:pt x="11291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945" y="2945"/>
                </a:moveTo>
                <a:lnTo>
                  <a:pt x="9327" y="2945"/>
                </a:lnTo>
                <a:lnTo>
                  <a:pt x="9327" y="9327"/>
                </a:lnTo>
                <a:lnTo>
                  <a:pt x="2945" y="9327"/>
                </a:lnTo>
                <a:cubicBezTo>
                  <a:pt x="2945" y="9327"/>
                  <a:pt x="2945" y="2945"/>
                  <a:pt x="2945" y="2945"/>
                </a:cubicBezTo>
                <a:close/>
                <a:moveTo>
                  <a:pt x="1964" y="10309"/>
                </a:moveTo>
                <a:lnTo>
                  <a:pt x="10309" y="10309"/>
                </a:lnTo>
                <a:lnTo>
                  <a:pt x="10309" y="1964"/>
                </a:lnTo>
                <a:lnTo>
                  <a:pt x="1964" y="1964"/>
                </a:lnTo>
                <a:cubicBezTo>
                  <a:pt x="1964" y="1964"/>
                  <a:pt x="1964" y="10309"/>
                  <a:pt x="1964" y="10309"/>
                </a:cubicBezTo>
                <a:close/>
                <a:moveTo>
                  <a:pt x="2945" y="12273"/>
                </a:moveTo>
                <a:lnTo>
                  <a:pt x="9327" y="12273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8" name="Shape 2738"/>
          <p:cNvSpPr/>
          <p:nvPr/>
        </p:nvSpPr>
        <p:spPr>
          <a:xfrm>
            <a:off x="1758543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45" y="2945"/>
                </a:moveTo>
                <a:lnTo>
                  <a:pt x="9327" y="2945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2945"/>
                  <a:pt x="2945" y="2945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964"/>
                </a:lnTo>
                <a:lnTo>
                  <a:pt x="1964" y="1964"/>
                </a:lnTo>
                <a:cubicBezTo>
                  <a:pt x="1964" y="1964"/>
                  <a:pt x="1964" y="19636"/>
                  <a:pt x="1964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273" y="2945"/>
                </a:moveTo>
                <a:lnTo>
                  <a:pt x="18655" y="2945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2945"/>
                  <a:pt x="12273" y="2945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9636"/>
                  <a:pt x="11291" y="1963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39" name="Shape 2739"/>
          <p:cNvSpPr/>
          <p:nvPr/>
        </p:nvSpPr>
        <p:spPr>
          <a:xfrm>
            <a:off x="2825064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45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2945" y="9327"/>
                </a:lnTo>
                <a:cubicBezTo>
                  <a:pt x="2945" y="9327"/>
                  <a:pt x="2945" y="2945"/>
                  <a:pt x="2945" y="2945"/>
                </a:cubicBezTo>
                <a:close/>
                <a:moveTo>
                  <a:pt x="1964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964" y="1964"/>
                </a:lnTo>
                <a:cubicBezTo>
                  <a:pt x="1964" y="1964"/>
                  <a:pt x="1964" y="10309"/>
                  <a:pt x="1964" y="10309"/>
                </a:cubicBezTo>
                <a:close/>
                <a:moveTo>
                  <a:pt x="2945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0" name="Shape 2740"/>
          <p:cNvSpPr/>
          <p:nvPr/>
        </p:nvSpPr>
        <p:spPr>
          <a:xfrm>
            <a:off x="3891587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2945"/>
                </a:moveTo>
                <a:lnTo>
                  <a:pt x="18655" y="2945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2945"/>
                  <a:pt x="12273" y="2945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9636"/>
                  <a:pt x="11291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945" y="2945"/>
                </a:moveTo>
                <a:lnTo>
                  <a:pt x="9327" y="2945"/>
                </a:lnTo>
                <a:lnTo>
                  <a:pt x="9327" y="9327"/>
                </a:lnTo>
                <a:lnTo>
                  <a:pt x="2945" y="9327"/>
                </a:lnTo>
                <a:cubicBezTo>
                  <a:pt x="2945" y="9327"/>
                  <a:pt x="2945" y="2945"/>
                  <a:pt x="2945" y="2945"/>
                </a:cubicBezTo>
                <a:close/>
                <a:moveTo>
                  <a:pt x="1964" y="10309"/>
                </a:moveTo>
                <a:lnTo>
                  <a:pt x="10309" y="10309"/>
                </a:lnTo>
                <a:lnTo>
                  <a:pt x="10309" y="1964"/>
                </a:lnTo>
                <a:lnTo>
                  <a:pt x="1964" y="1964"/>
                </a:lnTo>
                <a:cubicBezTo>
                  <a:pt x="1964" y="1964"/>
                  <a:pt x="1964" y="10309"/>
                  <a:pt x="1964" y="10309"/>
                </a:cubicBezTo>
                <a:close/>
                <a:moveTo>
                  <a:pt x="2945" y="12273"/>
                </a:moveTo>
                <a:lnTo>
                  <a:pt x="9327" y="12273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1" name="Shape 2741"/>
          <p:cNvSpPr/>
          <p:nvPr/>
        </p:nvSpPr>
        <p:spPr>
          <a:xfrm>
            <a:off x="4958109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273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12273" y="9327"/>
                </a:lnTo>
                <a:cubicBezTo>
                  <a:pt x="12273" y="9327"/>
                  <a:pt x="12273" y="2945"/>
                  <a:pt x="12273" y="2945"/>
                </a:cubicBezTo>
                <a:close/>
                <a:moveTo>
                  <a:pt x="11291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0309"/>
                  <a:pt x="11291" y="10309"/>
                </a:cubicBezTo>
                <a:close/>
                <a:moveTo>
                  <a:pt x="2945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  <a:moveTo>
                  <a:pt x="9327" y="9327"/>
                </a:moveTo>
                <a:lnTo>
                  <a:pt x="2945" y="9327"/>
                </a:lnTo>
                <a:lnTo>
                  <a:pt x="2945" y="2945"/>
                </a:lnTo>
                <a:lnTo>
                  <a:pt x="9327" y="2945"/>
                </a:lnTo>
                <a:cubicBezTo>
                  <a:pt x="9327" y="2945"/>
                  <a:pt x="9327" y="9327"/>
                  <a:pt x="9327" y="9327"/>
                </a:cubicBezTo>
                <a:close/>
                <a:moveTo>
                  <a:pt x="10309" y="1964"/>
                </a:moveTo>
                <a:lnTo>
                  <a:pt x="1964" y="1964"/>
                </a:lnTo>
                <a:lnTo>
                  <a:pt x="1964" y="10309"/>
                </a:lnTo>
                <a:lnTo>
                  <a:pt x="10309" y="10309"/>
                </a:lnTo>
                <a:cubicBezTo>
                  <a:pt x="10309" y="10309"/>
                  <a:pt x="10309" y="1964"/>
                  <a:pt x="10309" y="196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2" name="Shape 2742"/>
          <p:cNvSpPr/>
          <p:nvPr/>
        </p:nvSpPr>
        <p:spPr>
          <a:xfrm>
            <a:off x="6024631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12273"/>
                  <a:pt x="12273" y="12273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1291" y="11291"/>
                </a:lnTo>
                <a:cubicBezTo>
                  <a:pt x="11291" y="11291"/>
                  <a:pt x="11291" y="19636"/>
                  <a:pt x="11291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2273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12273" y="9327"/>
                </a:lnTo>
                <a:cubicBezTo>
                  <a:pt x="12273" y="9327"/>
                  <a:pt x="12273" y="2945"/>
                  <a:pt x="12273" y="2945"/>
                </a:cubicBezTo>
                <a:close/>
                <a:moveTo>
                  <a:pt x="11291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1291" y="1964"/>
                </a:lnTo>
                <a:cubicBezTo>
                  <a:pt x="11291" y="1964"/>
                  <a:pt x="11291" y="10309"/>
                  <a:pt x="11291" y="10309"/>
                </a:cubicBezTo>
                <a:close/>
                <a:moveTo>
                  <a:pt x="2945" y="2945"/>
                </a:moveTo>
                <a:lnTo>
                  <a:pt x="9327" y="2945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2945"/>
                  <a:pt x="2945" y="2945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964"/>
                </a:lnTo>
                <a:lnTo>
                  <a:pt x="1964" y="1964"/>
                </a:lnTo>
                <a:cubicBezTo>
                  <a:pt x="1964" y="1964"/>
                  <a:pt x="1964" y="19636"/>
                  <a:pt x="1964" y="1963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3" name="Shape 2743"/>
          <p:cNvSpPr/>
          <p:nvPr/>
        </p:nvSpPr>
        <p:spPr>
          <a:xfrm>
            <a:off x="7091154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73" y="12273"/>
                </a:moveTo>
                <a:lnTo>
                  <a:pt x="18655" y="12273"/>
                </a:lnTo>
                <a:lnTo>
                  <a:pt x="18655" y="18655"/>
                </a:lnTo>
                <a:lnTo>
                  <a:pt x="12273" y="18655"/>
                </a:lnTo>
                <a:cubicBezTo>
                  <a:pt x="12273" y="18655"/>
                  <a:pt x="12273" y="12273"/>
                  <a:pt x="12273" y="12273"/>
                </a:cubicBezTo>
                <a:close/>
                <a:moveTo>
                  <a:pt x="11291" y="19636"/>
                </a:moveTo>
                <a:lnTo>
                  <a:pt x="19636" y="19636"/>
                </a:lnTo>
                <a:lnTo>
                  <a:pt x="19636" y="11291"/>
                </a:lnTo>
                <a:lnTo>
                  <a:pt x="11291" y="11291"/>
                </a:lnTo>
                <a:cubicBezTo>
                  <a:pt x="11291" y="11291"/>
                  <a:pt x="11291" y="19636"/>
                  <a:pt x="11291" y="19636"/>
                </a:cubicBezTo>
                <a:close/>
                <a:moveTo>
                  <a:pt x="2945" y="2945"/>
                </a:moveTo>
                <a:lnTo>
                  <a:pt x="18655" y="2945"/>
                </a:lnTo>
                <a:lnTo>
                  <a:pt x="18655" y="9327"/>
                </a:lnTo>
                <a:lnTo>
                  <a:pt x="2945" y="9327"/>
                </a:lnTo>
                <a:cubicBezTo>
                  <a:pt x="2945" y="9327"/>
                  <a:pt x="2945" y="2945"/>
                  <a:pt x="2945" y="2945"/>
                </a:cubicBezTo>
                <a:close/>
                <a:moveTo>
                  <a:pt x="1964" y="10309"/>
                </a:moveTo>
                <a:lnTo>
                  <a:pt x="19636" y="10309"/>
                </a:lnTo>
                <a:lnTo>
                  <a:pt x="19636" y="1964"/>
                </a:lnTo>
                <a:lnTo>
                  <a:pt x="1964" y="1964"/>
                </a:lnTo>
                <a:cubicBezTo>
                  <a:pt x="1964" y="1964"/>
                  <a:pt x="1964" y="10309"/>
                  <a:pt x="1964" y="10309"/>
                </a:cubicBezTo>
                <a:close/>
                <a:moveTo>
                  <a:pt x="2945" y="12273"/>
                </a:moveTo>
                <a:lnTo>
                  <a:pt x="9327" y="12273"/>
                </a:lnTo>
                <a:lnTo>
                  <a:pt x="9327" y="18655"/>
                </a:lnTo>
                <a:lnTo>
                  <a:pt x="2945" y="18655"/>
                </a:lnTo>
                <a:cubicBezTo>
                  <a:pt x="2945" y="18655"/>
                  <a:pt x="2945" y="12273"/>
                  <a:pt x="2945" y="12273"/>
                </a:cubicBezTo>
                <a:close/>
                <a:moveTo>
                  <a:pt x="1964" y="19636"/>
                </a:moveTo>
                <a:lnTo>
                  <a:pt x="10309" y="19636"/>
                </a:lnTo>
                <a:lnTo>
                  <a:pt x="10309" y="11291"/>
                </a:lnTo>
                <a:lnTo>
                  <a:pt x="1964" y="11291"/>
                </a:lnTo>
                <a:cubicBezTo>
                  <a:pt x="1964" y="11291"/>
                  <a:pt x="1964" y="19636"/>
                  <a:pt x="1964" y="19636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4" name="Shape 2744"/>
          <p:cNvSpPr/>
          <p:nvPr/>
        </p:nvSpPr>
        <p:spPr>
          <a:xfrm>
            <a:off x="8157677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9327"/>
                </a:moveTo>
                <a:lnTo>
                  <a:pt x="12273" y="9327"/>
                </a:lnTo>
                <a:lnTo>
                  <a:pt x="12273" y="12273"/>
                </a:lnTo>
                <a:lnTo>
                  <a:pt x="9327" y="12273"/>
                </a:lnTo>
                <a:cubicBezTo>
                  <a:pt x="9327" y="12273"/>
                  <a:pt x="9327" y="9327"/>
                  <a:pt x="9327" y="9327"/>
                </a:cubicBezTo>
                <a:close/>
                <a:moveTo>
                  <a:pt x="8345" y="13255"/>
                </a:moveTo>
                <a:lnTo>
                  <a:pt x="13255" y="13255"/>
                </a:lnTo>
                <a:lnTo>
                  <a:pt x="13255" y="8345"/>
                </a:lnTo>
                <a:lnTo>
                  <a:pt x="8345" y="8345"/>
                </a:lnTo>
                <a:cubicBezTo>
                  <a:pt x="8345" y="8345"/>
                  <a:pt x="8345" y="13255"/>
                  <a:pt x="8345" y="13255"/>
                </a:cubicBezTo>
                <a:close/>
                <a:moveTo>
                  <a:pt x="9327" y="15709"/>
                </a:moveTo>
                <a:lnTo>
                  <a:pt x="12273" y="15709"/>
                </a:lnTo>
                <a:lnTo>
                  <a:pt x="12273" y="18655"/>
                </a:lnTo>
                <a:lnTo>
                  <a:pt x="9327" y="18655"/>
                </a:lnTo>
                <a:cubicBezTo>
                  <a:pt x="9327" y="18655"/>
                  <a:pt x="9327" y="15709"/>
                  <a:pt x="9327" y="15709"/>
                </a:cubicBezTo>
                <a:close/>
                <a:moveTo>
                  <a:pt x="8345" y="19636"/>
                </a:moveTo>
                <a:lnTo>
                  <a:pt x="13255" y="19636"/>
                </a:lnTo>
                <a:lnTo>
                  <a:pt x="13255" y="14727"/>
                </a:lnTo>
                <a:lnTo>
                  <a:pt x="8345" y="14727"/>
                </a:lnTo>
                <a:cubicBezTo>
                  <a:pt x="8345" y="14727"/>
                  <a:pt x="8345" y="19636"/>
                  <a:pt x="8345" y="19636"/>
                </a:cubicBezTo>
                <a:close/>
                <a:moveTo>
                  <a:pt x="15709" y="2945"/>
                </a:moveTo>
                <a:lnTo>
                  <a:pt x="18655" y="2945"/>
                </a:lnTo>
                <a:lnTo>
                  <a:pt x="18655" y="5891"/>
                </a:lnTo>
                <a:lnTo>
                  <a:pt x="15709" y="5891"/>
                </a:lnTo>
                <a:cubicBezTo>
                  <a:pt x="15709" y="5891"/>
                  <a:pt x="15709" y="2945"/>
                  <a:pt x="15709" y="2945"/>
                </a:cubicBezTo>
                <a:close/>
                <a:moveTo>
                  <a:pt x="14727" y="6873"/>
                </a:moveTo>
                <a:lnTo>
                  <a:pt x="19636" y="6873"/>
                </a:lnTo>
                <a:lnTo>
                  <a:pt x="19636" y="1964"/>
                </a:lnTo>
                <a:lnTo>
                  <a:pt x="14727" y="1964"/>
                </a:lnTo>
                <a:cubicBezTo>
                  <a:pt x="14727" y="1964"/>
                  <a:pt x="14727" y="6873"/>
                  <a:pt x="14727" y="6873"/>
                </a:cubicBezTo>
                <a:close/>
                <a:moveTo>
                  <a:pt x="15709" y="9327"/>
                </a:moveTo>
                <a:lnTo>
                  <a:pt x="18655" y="9327"/>
                </a:lnTo>
                <a:lnTo>
                  <a:pt x="18655" y="12273"/>
                </a:lnTo>
                <a:lnTo>
                  <a:pt x="15709" y="12273"/>
                </a:lnTo>
                <a:cubicBezTo>
                  <a:pt x="15709" y="12273"/>
                  <a:pt x="15709" y="9327"/>
                  <a:pt x="15709" y="9327"/>
                </a:cubicBezTo>
                <a:close/>
                <a:moveTo>
                  <a:pt x="14727" y="13255"/>
                </a:moveTo>
                <a:lnTo>
                  <a:pt x="19636" y="13255"/>
                </a:lnTo>
                <a:lnTo>
                  <a:pt x="19636" y="8345"/>
                </a:lnTo>
                <a:lnTo>
                  <a:pt x="14727" y="8345"/>
                </a:lnTo>
                <a:cubicBezTo>
                  <a:pt x="14727" y="8345"/>
                  <a:pt x="14727" y="13255"/>
                  <a:pt x="14727" y="13255"/>
                </a:cubicBezTo>
                <a:close/>
                <a:moveTo>
                  <a:pt x="9327" y="2945"/>
                </a:moveTo>
                <a:lnTo>
                  <a:pt x="12273" y="2945"/>
                </a:lnTo>
                <a:lnTo>
                  <a:pt x="12273" y="5891"/>
                </a:lnTo>
                <a:lnTo>
                  <a:pt x="9327" y="5891"/>
                </a:lnTo>
                <a:cubicBezTo>
                  <a:pt x="9327" y="5891"/>
                  <a:pt x="9327" y="2945"/>
                  <a:pt x="9327" y="2945"/>
                </a:cubicBezTo>
                <a:close/>
                <a:moveTo>
                  <a:pt x="8345" y="6873"/>
                </a:moveTo>
                <a:lnTo>
                  <a:pt x="13255" y="6873"/>
                </a:lnTo>
                <a:lnTo>
                  <a:pt x="13255" y="1964"/>
                </a:lnTo>
                <a:lnTo>
                  <a:pt x="8345" y="1964"/>
                </a:lnTo>
                <a:cubicBezTo>
                  <a:pt x="8345" y="1964"/>
                  <a:pt x="8345" y="6873"/>
                  <a:pt x="8345" y="6873"/>
                </a:cubicBezTo>
                <a:close/>
                <a:moveTo>
                  <a:pt x="2945" y="9327"/>
                </a:moveTo>
                <a:lnTo>
                  <a:pt x="5891" y="9327"/>
                </a:lnTo>
                <a:lnTo>
                  <a:pt x="5891" y="12273"/>
                </a:lnTo>
                <a:lnTo>
                  <a:pt x="2945" y="12273"/>
                </a:lnTo>
                <a:cubicBezTo>
                  <a:pt x="2945" y="12273"/>
                  <a:pt x="2945" y="9327"/>
                  <a:pt x="2945" y="9327"/>
                </a:cubicBezTo>
                <a:close/>
                <a:moveTo>
                  <a:pt x="1964" y="13255"/>
                </a:moveTo>
                <a:lnTo>
                  <a:pt x="6873" y="13255"/>
                </a:lnTo>
                <a:lnTo>
                  <a:pt x="6873" y="8345"/>
                </a:lnTo>
                <a:lnTo>
                  <a:pt x="1964" y="8345"/>
                </a:lnTo>
                <a:cubicBezTo>
                  <a:pt x="1964" y="8345"/>
                  <a:pt x="1964" y="13255"/>
                  <a:pt x="1964" y="13255"/>
                </a:cubicBezTo>
                <a:close/>
                <a:moveTo>
                  <a:pt x="2945" y="2945"/>
                </a:moveTo>
                <a:lnTo>
                  <a:pt x="5891" y="2945"/>
                </a:lnTo>
                <a:lnTo>
                  <a:pt x="5891" y="5891"/>
                </a:lnTo>
                <a:lnTo>
                  <a:pt x="2945" y="5891"/>
                </a:lnTo>
                <a:cubicBezTo>
                  <a:pt x="2945" y="5891"/>
                  <a:pt x="2945" y="2945"/>
                  <a:pt x="2945" y="2945"/>
                </a:cubicBezTo>
                <a:close/>
                <a:moveTo>
                  <a:pt x="1964" y="6873"/>
                </a:moveTo>
                <a:lnTo>
                  <a:pt x="6873" y="6873"/>
                </a:lnTo>
                <a:lnTo>
                  <a:pt x="6873" y="1964"/>
                </a:lnTo>
                <a:lnTo>
                  <a:pt x="1964" y="1964"/>
                </a:lnTo>
                <a:cubicBezTo>
                  <a:pt x="1964" y="1964"/>
                  <a:pt x="1964" y="6873"/>
                  <a:pt x="1964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945" y="15709"/>
                </a:moveTo>
                <a:lnTo>
                  <a:pt x="5891" y="15709"/>
                </a:lnTo>
                <a:lnTo>
                  <a:pt x="5891" y="18655"/>
                </a:lnTo>
                <a:lnTo>
                  <a:pt x="2945" y="18655"/>
                </a:lnTo>
                <a:cubicBezTo>
                  <a:pt x="2945" y="18655"/>
                  <a:pt x="2945" y="15709"/>
                  <a:pt x="2945" y="15709"/>
                </a:cubicBezTo>
                <a:close/>
                <a:moveTo>
                  <a:pt x="1964" y="19636"/>
                </a:moveTo>
                <a:lnTo>
                  <a:pt x="6873" y="19636"/>
                </a:lnTo>
                <a:lnTo>
                  <a:pt x="6873" y="14727"/>
                </a:lnTo>
                <a:lnTo>
                  <a:pt x="1964" y="14727"/>
                </a:lnTo>
                <a:cubicBezTo>
                  <a:pt x="1964" y="14727"/>
                  <a:pt x="1964" y="19636"/>
                  <a:pt x="1964" y="19636"/>
                </a:cubicBezTo>
                <a:close/>
                <a:moveTo>
                  <a:pt x="15709" y="15709"/>
                </a:moveTo>
                <a:lnTo>
                  <a:pt x="18655" y="15709"/>
                </a:lnTo>
                <a:lnTo>
                  <a:pt x="18655" y="18655"/>
                </a:lnTo>
                <a:lnTo>
                  <a:pt x="15709" y="18655"/>
                </a:lnTo>
                <a:cubicBezTo>
                  <a:pt x="15709" y="18655"/>
                  <a:pt x="15709" y="15709"/>
                  <a:pt x="15709" y="15709"/>
                </a:cubicBezTo>
                <a:close/>
                <a:moveTo>
                  <a:pt x="14727" y="19636"/>
                </a:moveTo>
                <a:lnTo>
                  <a:pt x="19636" y="19636"/>
                </a:lnTo>
                <a:lnTo>
                  <a:pt x="19636" y="14727"/>
                </a:lnTo>
                <a:lnTo>
                  <a:pt x="14727" y="14727"/>
                </a:lnTo>
                <a:cubicBezTo>
                  <a:pt x="14727" y="14727"/>
                  <a:pt x="14727" y="19636"/>
                  <a:pt x="14727" y="1963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5" name="Shape 2745"/>
          <p:cNvSpPr/>
          <p:nvPr/>
        </p:nvSpPr>
        <p:spPr>
          <a:xfrm>
            <a:off x="9224197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3745" y="20618"/>
                </a:lnTo>
                <a:cubicBezTo>
                  <a:pt x="13204" y="20618"/>
                  <a:pt x="12764" y="20178"/>
                  <a:pt x="12764" y="19636"/>
                </a:cubicBezTo>
                <a:lnTo>
                  <a:pt x="12764" y="13745"/>
                </a:lnTo>
                <a:cubicBezTo>
                  <a:pt x="12764" y="13204"/>
                  <a:pt x="13204" y="12764"/>
                  <a:pt x="13745" y="12764"/>
                </a:cubicBezTo>
                <a:lnTo>
                  <a:pt x="19636" y="12764"/>
                </a:lnTo>
                <a:cubicBezTo>
                  <a:pt x="20178" y="12764"/>
                  <a:pt x="20618" y="13204"/>
                  <a:pt x="20618" y="13745"/>
                </a:cubicBezTo>
                <a:cubicBezTo>
                  <a:pt x="20618" y="13745"/>
                  <a:pt x="20618" y="19636"/>
                  <a:pt x="20618" y="19636"/>
                </a:cubicBezTo>
                <a:close/>
                <a:moveTo>
                  <a:pt x="19636" y="11782"/>
                </a:moveTo>
                <a:lnTo>
                  <a:pt x="13745" y="11782"/>
                </a:lnTo>
                <a:cubicBezTo>
                  <a:pt x="12661" y="11782"/>
                  <a:pt x="11782" y="12661"/>
                  <a:pt x="11782" y="13745"/>
                </a:cubicBezTo>
                <a:lnTo>
                  <a:pt x="11782" y="19636"/>
                </a:lnTo>
                <a:cubicBezTo>
                  <a:pt x="11782" y="20721"/>
                  <a:pt x="12661" y="21600"/>
                  <a:pt x="13745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3745"/>
                </a:lnTo>
                <a:cubicBezTo>
                  <a:pt x="21600" y="12661"/>
                  <a:pt x="20721" y="11782"/>
                  <a:pt x="19636" y="11782"/>
                </a:cubicBezTo>
                <a:moveTo>
                  <a:pt x="20618" y="7855"/>
                </a:moveTo>
                <a:cubicBezTo>
                  <a:pt x="20618" y="8396"/>
                  <a:pt x="20178" y="8836"/>
                  <a:pt x="19636" y="8836"/>
                </a:cubicBezTo>
                <a:lnTo>
                  <a:pt x="13745" y="8836"/>
                </a:lnTo>
                <a:cubicBezTo>
                  <a:pt x="13204" y="8836"/>
                  <a:pt x="12764" y="8396"/>
                  <a:pt x="12764" y="7855"/>
                </a:cubicBezTo>
                <a:lnTo>
                  <a:pt x="12764" y="1964"/>
                </a:lnTo>
                <a:cubicBezTo>
                  <a:pt x="12764" y="1422"/>
                  <a:pt x="13204" y="982"/>
                  <a:pt x="13745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7855"/>
                  <a:pt x="20618" y="7855"/>
                </a:cubicBezTo>
                <a:close/>
                <a:moveTo>
                  <a:pt x="19636" y="0"/>
                </a:moveTo>
                <a:lnTo>
                  <a:pt x="13745" y="0"/>
                </a:lnTo>
                <a:cubicBezTo>
                  <a:pt x="12661" y="0"/>
                  <a:pt x="11782" y="879"/>
                  <a:pt x="11782" y="1964"/>
                </a:cubicBezTo>
                <a:lnTo>
                  <a:pt x="11782" y="7855"/>
                </a:lnTo>
                <a:cubicBezTo>
                  <a:pt x="11782" y="8939"/>
                  <a:pt x="12661" y="9818"/>
                  <a:pt x="13745" y="9818"/>
                </a:cubicBezTo>
                <a:lnTo>
                  <a:pt x="19636" y="9818"/>
                </a:lnTo>
                <a:cubicBezTo>
                  <a:pt x="20721" y="9818"/>
                  <a:pt x="21600" y="8939"/>
                  <a:pt x="21600" y="7855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8836" y="7855"/>
                </a:moveTo>
                <a:cubicBezTo>
                  <a:pt x="8836" y="8396"/>
                  <a:pt x="8396" y="8836"/>
                  <a:pt x="7855" y="8836"/>
                </a:cubicBezTo>
                <a:lnTo>
                  <a:pt x="1964" y="8836"/>
                </a:lnTo>
                <a:cubicBezTo>
                  <a:pt x="1421" y="8836"/>
                  <a:pt x="982" y="8396"/>
                  <a:pt x="982" y="7855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7855" y="982"/>
                </a:lnTo>
                <a:cubicBezTo>
                  <a:pt x="8396" y="982"/>
                  <a:pt x="8836" y="1422"/>
                  <a:pt x="8836" y="1964"/>
                </a:cubicBezTo>
                <a:cubicBezTo>
                  <a:pt x="8836" y="1964"/>
                  <a:pt x="8836" y="7855"/>
                  <a:pt x="8836" y="7855"/>
                </a:cubicBezTo>
                <a:close/>
                <a:moveTo>
                  <a:pt x="7855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7855"/>
                </a:lnTo>
                <a:cubicBezTo>
                  <a:pt x="0" y="8939"/>
                  <a:pt x="879" y="9818"/>
                  <a:pt x="1964" y="9818"/>
                </a:cubicBezTo>
                <a:lnTo>
                  <a:pt x="7855" y="9818"/>
                </a:lnTo>
                <a:cubicBezTo>
                  <a:pt x="8939" y="9818"/>
                  <a:pt x="9818" y="8939"/>
                  <a:pt x="9818" y="7855"/>
                </a:cubicBezTo>
                <a:lnTo>
                  <a:pt x="9818" y="1964"/>
                </a:lnTo>
                <a:cubicBezTo>
                  <a:pt x="9818" y="879"/>
                  <a:pt x="8939" y="0"/>
                  <a:pt x="7855" y="0"/>
                </a:cubicBezTo>
                <a:moveTo>
                  <a:pt x="8836" y="19636"/>
                </a:moveTo>
                <a:cubicBezTo>
                  <a:pt x="8836" y="20178"/>
                  <a:pt x="8396" y="20618"/>
                  <a:pt x="7855" y="20618"/>
                </a:cubicBez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3745"/>
                </a:lnTo>
                <a:cubicBezTo>
                  <a:pt x="982" y="13204"/>
                  <a:pt x="1421" y="12764"/>
                  <a:pt x="1964" y="12764"/>
                </a:cubicBezTo>
                <a:lnTo>
                  <a:pt x="7855" y="12764"/>
                </a:lnTo>
                <a:cubicBezTo>
                  <a:pt x="8396" y="12764"/>
                  <a:pt x="8836" y="13204"/>
                  <a:pt x="8836" y="13745"/>
                </a:cubicBezTo>
                <a:cubicBezTo>
                  <a:pt x="8836" y="13745"/>
                  <a:pt x="8836" y="19636"/>
                  <a:pt x="8836" y="19636"/>
                </a:cubicBezTo>
                <a:close/>
                <a:moveTo>
                  <a:pt x="7855" y="11782"/>
                </a:moveTo>
                <a:lnTo>
                  <a:pt x="1964" y="11782"/>
                </a:lnTo>
                <a:cubicBezTo>
                  <a:pt x="879" y="11782"/>
                  <a:pt x="0" y="12661"/>
                  <a:pt x="0" y="13745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7855" y="21600"/>
                </a:lnTo>
                <a:cubicBezTo>
                  <a:pt x="8939" y="21600"/>
                  <a:pt x="9818" y="20721"/>
                  <a:pt x="9818" y="19636"/>
                </a:cubicBezTo>
                <a:lnTo>
                  <a:pt x="9818" y="13745"/>
                </a:lnTo>
                <a:cubicBezTo>
                  <a:pt x="9818" y="12661"/>
                  <a:pt x="8939" y="11782"/>
                  <a:pt x="7855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6" name="Shape 2746"/>
          <p:cNvSpPr/>
          <p:nvPr/>
        </p:nvSpPr>
        <p:spPr>
          <a:xfrm>
            <a:off x="10290720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764"/>
                </a:moveTo>
                <a:lnTo>
                  <a:pt x="16691" y="12764"/>
                </a:lnTo>
                <a:lnTo>
                  <a:pt x="16691" y="8836"/>
                </a:lnTo>
                <a:lnTo>
                  <a:pt x="20618" y="8836"/>
                </a:lnTo>
                <a:cubicBezTo>
                  <a:pt x="20618" y="8836"/>
                  <a:pt x="20618" y="12764"/>
                  <a:pt x="20618" y="12764"/>
                </a:cubicBezTo>
                <a:close/>
                <a:moveTo>
                  <a:pt x="20618" y="7855"/>
                </a:moveTo>
                <a:lnTo>
                  <a:pt x="16691" y="7855"/>
                </a:lnTo>
                <a:cubicBezTo>
                  <a:pt x="16149" y="7855"/>
                  <a:pt x="15709" y="8295"/>
                  <a:pt x="15709" y="8836"/>
                </a:cubicBezTo>
                <a:lnTo>
                  <a:pt x="15709" y="12764"/>
                </a:lnTo>
                <a:cubicBezTo>
                  <a:pt x="15709" y="13305"/>
                  <a:pt x="16149" y="13745"/>
                  <a:pt x="16691" y="13745"/>
                </a:cubicBezTo>
                <a:lnTo>
                  <a:pt x="20618" y="13745"/>
                </a:lnTo>
                <a:cubicBezTo>
                  <a:pt x="21160" y="13745"/>
                  <a:pt x="21600" y="13305"/>
                  <a:pt x="21600" y="12764"/>
                </a:cubicBezTo>
                <a:lnTo>
                  <a:pt x="21600" y="8836"/>
                </a:lnTo>
                <a:cubicBezTo>
                  <a:pt x="21600" y="8295"/>
                  <a:pt x="21160" y="7855"/>
                  <a:pt x="20618" y="7855"/>
                </a:cubicBezTo>
                <a:moveTo>
                  <a:pt x="12764" y="20618"/>
                </a:moveTo>
                <a:lnTo>
                  <a:pt x="8836" y="20618"/>
                </a:lnTo>
                <a:lnTo>
                  <a:pt x="8836" y="16691"/>
                </a:lnTo>
                <a:lnTo>
                  <a:pt x="12764" y="16691"/>
                </a:lnTo>
                <a:cubicBezTo>
                  <a:pt x="12764" y="16691"/>
                  <a:pt x="12764" y="20618"/>
                  <a:pt x="12764" y="20618"/>
                </a:cubicBezTo>
                <a:close/>
                <a:moveTo>
                  <a:pt x="12764" y="15709"/>
                </a:moveTo>
                <a:lnTo>
                  <a:pt x="8836" y="15709"/>
                </a:lnTo>
                <a:cubicBezTo>
                  <a:pt x="8295" y="15709"/>
                  <a:pt x="7855" y="16149"/>
                  <a:pt x="7855" y="16691"/>
                </a:cubicBezTo>
                <a:lnTo>
                  <a:pt x="7855" y="20618"/>
                </a:lnTo>
                <a:cubicBezTo>
                  <a:pt x="7855" y="21160"/>
                  <a:pt x="8295" y="21600"/>
                  <a:pt x="8836" y="21600"/>
                </a:cubicBezTo>
                <a:lnTo>
                  <a:pt x="12764" y="21600"/>
                </a:lnTo>
                <a:cubicBezTo>
                  <a:pt x="13305" y="21600"/>
                  <a:pt x="13745" y="21160"/>
                  <a:pt x="13745" y="20618"/>
                </a:cubicBezTo>
                <a:lnTo>
                  <a:pt x="13745" y="16691"/>
                </a:lnTo>
                <a:cubicBezTo>
                  <a:pt x="13745" y="16149"/>
                  <a:pt x="13305" y="15709"/>
                  <a:pt x="12764" y="15709"/>
                </a:cubicBezTo>
                <a:moveTo>
                  <a:pt x="12764" y="12764"/>
                </a:moveTo>
                <a:lnTo>
                  <a:pt x="8836" y="12764"/>
                </a:lnTo>
                <a:lnTo>
                  <a:pt x="8836" y="8836"/>
                </a:lnTo>
                <a:lnTo>
                  <a:pt x="12764" y="8836"/>
                </a:lnTo>
                <a:cubicBezTo>
                  <a:pt x="12764" y="8836"/>
                  <a:pt x="12764" y="12764"/>
                  <a:pt x="12764" y="12764"/>
                </a:cubicBezTo>
                <a:close/>
                <a:moveTo>
                  <a:pt x="12764" y="7855"/>
                </a:moveTo>
                <a:lnTo>
                  <a:pt x="8836" y="7855"/>
                </a:lnTo>
                <a:cubicBezTo>
                  <a:pt x="8295" y="7855"/>
                  <a:pt x="7855" y="8295"/>
                  <a:pt x="7855" y="8836"/>
                </a:cubicBezTo>
                <a:lnTo>
                  <a:pt x="7855" y="12764"/>
                </a:lnTo>
                <a:cubicBezTo>
                  <a:pt x="7855" y="13305"/>
                  <a:pt x="8295" y="13745"/>
                  <a:pt x="8836" y="13745"/>
                </a:cubicBezTo>
                <a:lnTo>
                  <a:pt x="12764" y="13745"/>
                </a:lnTo>
                <a:cubicBezTo>
                  <a:pt x="13305" y="13745"/>
                  <a:pt x="13745" y="13305"/>
                  <a:pt x="13745" y="12764"/>
                </a:cubicBezTo>
                <a:lnTo>
                  <a:pt x="13745" y="8836"/>
                </a:lnTo>
                <a:cubicBezTo>
                  <a:pt x="13745" y="8295"/>
                  <a:pt x="13305" y="7855"/>
                  <a:pt x="12764" y="7855"/>
                </a:cubicBezTo>
                <a:moveTo>
                  <a:pt x="4909" y="4909"/>
                </a:moveTo>
                <a:lnTo>
                  <a:pt x="982" y="4909"/>
                </a:lnTo>
                <a:lnTo>
                  <a:pt x="982" y="982"/>
                </a:lnTo>
                <a:lnTo>
                  <a:pt x="4909" y="982"/>
                </a:lnTo>
                <a:cubicBezTo>
                  <a:pt x="4909" y="982"/>
                  <a:pt x="4909" y="4909"/>
                  <a:pt x="4909" y="4909"/>
                </a:cubicBezTo>
                <a:close/>
                <a:moveTo>
                  <a:pt x="4909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4909"/>
                </a:lnTo>
                <a:cubicBezTo>
                  <a:pt x="0" y="5451"/>
                  <a:pt x="440" y="5891"/>
                  <a:pt x="982" y="5891"/>
                </a:cubicBezTo>
                <a:lnTo>
                  <a:pt x="4909" y="5891"/>
                </a:lnTo>
                <a:cubicBezTo>
                  <a:pt x="5451" y="5891"/>
                  <a:pt x="5891" y="5451"/>
                  <a:pt x="5891" y="4909"/>
                </a:cubicBezTo>
                <a:lnTo>
                  <a:pt x="5891" y="982"/>
                </a:lnTo>
                <a:cubicBezTo>
                  <a:pt x="5891" y="440"/>
                  <a:pt x="5451" y="0"/>
                  <a:pt x="4909" y="0"/>
                </a:cubicBezTo>
                <a:moveTo>
                  <a:pt x="20618" y="20618"/>
                </a:moveTo>
                <a:lnTo>
                  <a:pt x="16691" y="20618"/>
                </a:lnTo>
                <a:lnTo>
                  <a:pt x="16691" y="16691"/>
                </a:lnTo>
                <a:lnTo>
                  <a:pt x="20618" y="16691"/>
                </a:lnTo>
                <a:cubicBezTo>
                  <a:pt x="20618" y="16691"/>
                  <a:pt x="20618" y="20618"/>
                  <a:pt x="20618" y="20618"/>
                </a:cubicBezTo>
                <a:close/>
                <a:moveTo>
                  <a:pt x="20618" y="15709"/>
                </a:moveTo>
                <a:lnTo>
                  <a:pt x="16691" y="15709"/>
                </a:lnTo>
                <a:cubicBezTo>
                  <a:pt x="16149" y="15709"/>
                  <a:pt x="15709" y="16149"/>
                  <a:pt x="15709" y="16691"/>
                </a:cubicBezTo>
                <a:lnTo>
                  <a:pt x="15709" y="20618"/>
                </a:lnTo>
                <a:cubicBezTo>
                  <a:pt x="15709" y="21160"/>
                  <a:pt x="16149" y="21600"/>
                  <a:pt x="16691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16691"/>
                </a:lnTo>
                <a:cubicBezTo>
                  <a:pt x="21600" y="16149"/>
                  <a:pt x="21160" y="15709"/>
                  <a:pt x="20618" y="15709"/>
                </a:cubicBezTo>
                <a:moveTo>
                  <a:pt x="20618" y="4909"/>
                </a:moveTo>
                <a:lnTo>
                  <a:pt x="16691" y="4909"/>
                </a:lnTo>
                <a:lnTo>
                  <a:pt x="16691" y="982"/>
                </a:lnTo>
                <a:lnTo>
                  <a:pt x="20618" y="982"/>
                </a:lnTo>
                <a:cubicBezTo>
                  <a:pt x="20618" y="982"/>
                  <a:pt x="20618" y="4909"/>
                  <a:pt x="20618" y="4909"/>
                </a:cubicBezTo>
                <a:close/>
                <a:moveTo>
                  <a:pt x="20618" y="0"/>
                </a:moveTo>
                <a:lnTo>
                  <a:pt x="16691" y="0"/>
                </a:lnTo>
                <a:cubicBezTo>
                  <a:pt x="16149" y="0"/>
                  <a:pt x="15709" y="440"/>
                  <a:pt x="15709" y="982"/>
                </a:cubicBezTo>
                <a:lnTo>
                  <a:pt x="15709" y="4909"/>
                </a:lnTo>
                <a:cubicBezTo>
                  <a:pt x="15709" y="5451"/>
                  <a:pt x="16149" y="5891"/>
                  <a:pt x="16691" y="5891"/>
                </a:cubicBezTo>
                <a:lnTo>
                  <a:pt x="20618" y="5891"/>
                </a:lnTo>
                <a:cubicBezTo>
                  <a:pt x="21160" y="5891"/>
                  <a:pt x="21600" y="5451"/>
                  <a:pt x="21600" y="4909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909" y="20618"/>
                </a:moveTo>
                <a:lnTo>
                  <a:pt x="982" y="20618"/>
                </a:lnTo>
                <a:lnTo>
                  <a:pt x="982" y="16691"/>
                </a:lnTo>
                <a:lnTo>
                  <a:pt x="4909" y="16691"/>
                </a:lnTo>
                <a:cubicBezTo>
                  <a:pt x="4909" y="16691"/>
                  <a:pt x="4909" y="20618"/>
                  <a:pt x="4909" y="20618"/>
                </a:cubicBezTo>
                <a:close/>
                <a:moveTo>
                  <a:pt x="4909" y="15709"/>
                </a:moveTo>
                <a:lnTo>
                  <a:pt x="982" y="15709"/>
                </a:lnTo>
                <a:cubicBezTo>
                  <a:pt x="440" y="15709"/>
                  <a:pt x="0" y="16149"/>
                  <a:pt x="0" y="16691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4909" y="21600"/>
                </a:lnTo>
                <a:cubicBezTo>
                  <a:pt x="5451" y="21600"/>
                  <a:pt x="5891" y="21160"/>
                  <a:pt x="5891" y="20618"/>
                </a:cubicBezTo>
                <a:lnTo>
                  <a:pt x="5891" y="16691"/>
                </a:lnTo>
                <a:cubicBezTo>
                  <a:pt x="5891" y="16149"/>
                  <a:pt x="5451" y="15709"/>
                  <a:pt x="4909" y="15709"/>
                </a:cubicBezTo>
                <a:moveTo>
                  <a:pt x="12764" y="4909"/>
                </a:moveTo>
                <a:lnTo>
                  <a:pt x="8836" y="4909"/>
                </a:lnTo>
                <a:lnTo>
                  <a:pt x="8836" y="982"/>
                </a:lnTo>
                <a:lnTo>
                  <a:pt x="12764" y="982"/>
                </a:lnTo>
                <a:cubicBezTo>
                  <a:pt x="12764" y="982"/>
                  <a:pt x="12764" y="4909"/>
                  <a:pt x="12764" y="4909"/>
                </a:cubicBezTo>
                <a:close/>
                <a:moveTo>
                  <a:pt x="12764" y="0"/>
                </a:moveTo>
                <a:lnTo>
                  <a:pt x="8836" y="0"/>
                </a:lnTo>
                <a:cubicBezTo>
                  <a:pt x="8295" y="0"/>
                  <a:pt x="7855" y="440"/>
                  <a:pt x="7855" y="982"/>
                </a:cubicBezTo>
                <a:lnTo>
                  <a:pt x="7855" y="4909"/>
                </a:lnTo>
                <a:cubicBezTo>
                  <a:pt x="7855" y="5451"/>
                  <a:pt x="8295" y="5891"/>
                  <a:pt x="8836" y="5891"/>
                </a:cubicBezTo>
                <a:lnTo>
                  <a:pt x="12764" y="5891"/>
                </a:lnTo>
                <a:cubicBezTo>
                  <a:pt x="13305" y="5891"/>
                  <a:pt x="13745" y="5451"/>
                  <a:pt x="13745" y="4909"/>
                </a:cubicBezTo>
                <a:lnTo>
                  <a:pt x="13745" y="982"/>
                </a:lnTo>
                <a:cubicBezTo>
                  <a:pt x="13745" y="440"/>
                  <a:pt x="13305" y="0"/>
                  <a:pt x="12764" y="0"/>
                </a:cubicBezTo>
                <a:moveTo>
                  <a:pt x="4909" y="12764"/>
                </a:moveTo>
                <a:lnTo>
                  <a:pt x="982" y="12764"/>
                </a:lnTo>
                <a:lnTo>
                  <a:pt x="982" y="8836"/>
                </a:lnTo>
                <a:lnTo>
                  <a:pt x="4909" y="8836"/>
                </a:lnTo>
                <a:cubicBezTo>
                  <a:pt x="4909" y="8836"/>
                  <a:pt x="4909" y="12764"/>
                  <a:pt x="4909" y="12764"/>
                </a:cubicBezTo>
                <a:close/>
                <a:moveTo>
                  <a:pt x="4909" y="7855"/>
                </a:moveTo>
                <a:lnTo>
                  <a:pt x="982" y="7855"/>
                </a:lnTo>
                <a:cubicBezTo>
                  <a:pt x="440" y="7855"/>
                  <a:pt x="0" y="8295"/>
                  <a:pt x="0" y="8836"/>
                </a:cubicBezTo>
                <a:lnTo>
                  <a:pt x="0" y="12764"/>
                </a:lnTo>
                <a:cubicBezTo>
                  <a:pt x="0" y="13305"/>
                  <a:pt x="440" y="13745"/>
                  <a:pt x="982" y="13745"/>
                </a:cubicBezTo>
                <a:lnTo>
                  <a:pt x="4909" y="13745"/>
                </a:lnTo>
                <a:cubicBezTo>
                  <a:pt x="5451" y="13745"/>
                  <a:pt x="5891" y="13305"/>
                  <a:pt x="5891" y="12764"/>
                </a:cubicBezTo>
                <a:lnTo>
                  <a:pt x="5891" y="8836"/>
                </a:lnTo>
                <a:cubicBezTo>
                  <a:pt x="5891" y="8295"/>
                  <a:pt x="5451" y="7855"/>
                  <a:pt x="4909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7" name="Shape 2747"/>
          <p:cNvSpPr/>
          <p:nvPr/>
        </p:nvSpPr>
        <p:spPr>
          <a:xfrm>
            <a:off x="11357242" y="114114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618"/>
                </a:moveTo>
                <a:lnTo>
                  <a:pt x="8836" y="20618"/>
                </a:lnTo>
                <a:lnTo>
                  <a:pt x="8836" y="8836"/>
                </a:lnTo>
                <a:lnTo>
                  <a:pt x="20618" y="8836"/>
                </a:lnTo>
                <a:cubicBezTo>
                  <a:pt x="20618" y="8836"/>
                  <a:pt x="20618" y="20618"/>
                  <a:pt x="20618" y="20618"/>
                </a:cubicBezTo>
                <a:close/>
                <a:moveTo>
                  <a:pt x="20618" y="7855"/>
                </a:moveTo>
                <a:lnTo>
                  <a:pt x="8836" y="7855"/>
                </a:lnTo>
                <a:cubicBezTo>
                  <a:pt x="8295" y="7855"/>
                  <a:pt x="7855" y="8295"/>
                  <a:pt x="7855" y="8836"/>
                </a:cubicBezTo>
                <a:lnTo>
                  <a:pt x="7855" y="20618"/>
                </a:lnTo>
                <a:cubicBezTo>
                  <a:pt x="7855" y="21160"/>
                  <a:pt x="8295" y="21600"/>
                  <a:pt x="8836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8836"/>
                </a:lnTo>
                <a:cubicBezTo>
                  <a:pt x="21600" y="8295"/>
                  <a:pt x="21160" y="7855"/>
                  <a:pt x="20618" y="7855"/>
                </a:cubicBezTo>
                <a:moveTo>
                  <a:pt x="20618" y="4909"/>
                </a:moveTo>
                <a:lnTo>
                  <a:pt x="982" y="49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4909"/>
                  <a:pt x="20618" y="490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4909"/>
                </a:lnTo>
                <a:cubicBezTo>
                  <a:pt x="0" y="5451"/>
                  <a:pt x="440" y="5891"/>
                  <a:pt x="982" y="5891"/>
                </a:cubicBezTo>
                <a:lnTo>
                  <a:pt x="20618" y="5891"/>
                </a:lnTo>
                <a:cubicBezTo>
                  <a:pt x="21160" y="5891"/>
                  <a:pt x="21600" y="5451"/>
                  <a:pt x="21600" y="4909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909" y="20618"/>
                </a:moveTo>
                <a:lnTo>
                  <a:pt x="982" y="20618"/>
                </a:lnTo>
                <a:lnTo>
                  <a:pt x="982" y="8836"/>
                </a:lnTo>
                <a:lnTo>
                  <a:pt x="4909" y="8836"/>
                </a:lnTo>
                <a:cubicBezTo>
                  <a:pt x="4909" y="8836"/>
                  <a:pt x="4909" y="20618"/>
                  <a:pt x="4909" y="20618"/>
                </a:cubicBezTo>
                <a:close/>
                <a:moveTo>
                  <a:pt x="4909" y="7855"/>
                </a:moveTo>
                <a:lnTo>
                  <a:pt x="982" y="7855"/>
                </a:lnTo>
                <a:cubicBezTo>
                  <a:pt x="440" y="7855"/>
                  <a:pt x="0" y="8295"/>
                  <a:pt x="0" y="8836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4909" y="21600"/>
                </a:lnTo>
                <a:cubicBezTo>
                  <a:pt x="5451" y="21600"/>
                  <a:pt x="5891" y="21160"/>
                  <a:pt x="5891" y="20618"/>
                </a:cubicBezTo>
                <a:lnTo>
                  <a:pt x="5891" y="8836"/>
                </a:lnTo>
                <a:cubicBezTo>
                  <a:pt x="5891" y="8295"/>
                  <a:pt x="5451" y="7855"/>
                  <a:pt x="4909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8" name="Shape 2748"/>
          <p:cNvSpPr/>
          <p:nvPr/>
        </p:nvSpPr>
        <p:spPr>
          <a:xfrm>
            <a:off x="12474551" y="8211901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8280" y="18579"/>
                </a:moveTo>
                <a:cubicBezTo>
                  <a:pt x="20323" y="16614"/>
                  <a:pt x="21600" y="13859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ubicBezTo>
                  <a:pt x="4836" y="0"/>
                  <a:pt x="0" y="4835"/>
                  <a:pt x="0" y="10800"/>
                </a:cubicBezTo>
                <a:cubicBezTo>
                  <a:pt x="0" y="13859"/>
                  <a:pt x="1277" y="16614"/>
                  <a:pt x="3320" y="18579"/>
                </a:cubicBezTo>
                <a:lnTo>
                  <a:pt x="2107" y="20762"/>
                </a:lnTo>
                <a:cubicBezTo>
                  <a:pt x="2019" y="20851"/>
                  <a:pt x="1964" y="20974"/>
                  <a:pt x="1964" y="21109"/>
                </a:cubicBezTo>
                <a:cubicBezTo>
                  <a:pt x="1964" y="21380"/>
                  <a:pt x="2184" y="21600"/>
                  <a:pt x="2455" y="21600"/>
                </a:cubicBezTo>
                <a:cubicBezTo>
                  <a:pt x="2590" y="21600"/>
                  <a:pt x="2713" y="21545"/>
                  <a:pt x="2802" y="21456"/>
                </a:cubicBezTo>
                <a:cubicBezTo>
                  <a:pt x="2858" y="21400"/>
                  <a:pt x="2894" y="21327"/>
                  <a:pt x="2917" y="21248"/>
                </a:cubicBezTo>
                <a:lnTo>
                  <a:pt x="4044" y="19219"/>
                </a:lnTo>
                <a:cubicBezTo>
                  <a:pt x="5895" y="20706"/>
                  <a:pt x="8242" y="21600"/>
                  <a:pt x="10800" y="21600"/>
                </a:cubicBezTo>
                <a:cubicBezTo>
                  <a:pt x="13358" y="21600"/>
                  <a:pt x="15705" y="20706"/>
                  <a:pt x="17555" y="19219"/>
                </a:cubicBezTo>
                <a:lnTo>
                  <a:pt x="18683" y="21248"/>
                </a:lnTo>
                <a:cubicBezTo>
                  <a:pt x="18743" y="21450"/>
                  <a:pt x="18923" y="21600"/>
                  <a:pt x="19145" y="21600"/>
                </a:cubicBezTo>
                <a:cubicBezTo>
                  <a:pt x="19416" y="21600"/>
                  <a:pt x="19636" y="21380"/>
                  <a:pt x="19636" y="21109"/>
                </a:cubicBezTo>
                <a:cubicBezTo>
                  <a:pt x="19636" y="20974"/>
                  <a:pt x="19581" y="20851"/>
                  <a:pt x="19493" y="20762"/>
                </a:cubicBezTo>
                <a:cubicBezTo>
                  <a:pt x="19493" y="20762"/>
                  <a:pt x="18280" y="18579"/>
                  <a:pt x="18280" y="18579"/>
                </a:cubicBezTo>
                <a:close/>
                <a:moveTo>
                  <a:pt x="10800" y="16691"/>
                </a:moveTo>
                <a:cubicBezTo>
                  <a:pt x="7547" y="16691"/>
                  <a:pt x="4909" y="14053"/>
                  <a:pt x="4909" y="10800"/>
                </a:cubicBezTo>
                <a:cubicBezTo>
                  <a:pt x="4909" y="7547"/>
                  <a:pt x="7547" y="4909"/>
                  <a:pt x="10800" y="4909"/>
                </a:cubicBezTo>
                <a:cubicBezTo>
                  <a:pt x="14053" y="4909"/>
                  <a:pt x="16691" y="7547"/>
                  <a:pt x="16691" y="10800"/>
                </a:cubicBezTo>
                <a:cubicBezTo>
                  <a:pt x="16691" y="14053"/>
                  <a:pt x="14053" y="16691"/>
                  <a:pt x="10800" y="16691"/>
                </a:cubicBezTo>
                <a:moveTo>
                  <a:pt x="10800" y="3927"/>
                </a:moveTo>
                <a:cubicBezTo>
                  <a:pt x="7004" y="3927"/>
                  <a:pt x="3927" y="7004"/>
                  <a:pt x="3927" y="10800"/>
                </a:cubicBezTo>
                <a:cubicBezTo>
                  <a:pt x="3927" y="14596"/>
                  <a:pt x="7004" y="17673"/>
                  <a:pt x="10800" y="17673"/>
                </a:cubicBezTo>
                <a:cubicBezTo>
                  <a:pt x="14596" y="17673"/>
                  <a:pt x="17673" y="14596"/>
                  <a:pt x="17673" y="10800"/>
                </a:cubicBezTo>
                <a:cubicBezTo>
                  <a:pt x="17673" y="7004"/>
                  <a:pt x="14596" y="3927"/>
                  <a:pt x="10800" y="3927"/>
                </a:cubicBezTo>
                <a:moveTo>
                  <a:pt x="10800" y="12764"/>
                </a:move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moveTo>
                  <a:pt x="10800" y="7855"/>
                </a:moveTo>
                <a:cubicBezTo>
                  <a:pt x="9173" y="7855"/>
                  <a:pt x="7855" y="9173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9173"/>
                  <a:pt x="12427" y="7855"/>
                  <a:pt x="10800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49" name="Shape 2749"/>
          <p:cNvSpPr/>
          <p:nvPr/>
        </p:nvSpPr>
        <p:spPr>
          <a:xfrm>
            <a:off x="13642648" y="8211901"/>
            <a:ext cx="355507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2884"/>
                </a:moveTo>
                <a:cubicBezTo>
                  <a:pt x="19862" y="3005"/>
                  <a:pt x="15661" y="5580"/>
                  <a:pt x="11606" y="4718"/>
                </a:cubicBezTo>
                <a:cubicBezTo>
                  <a:pt x="9681" y="4310"/>
                  <a:pt x="8390" y="3899"/>
                  <a:pt x="7251" y="3535"/>
                </a:cubicBezTo>
                <a:cubicBezTo>
                  <a:pt x="5426" y="2953"/>
                  <a:pt x="4042" y="2513"/>
                  <a:pt x="1543" y="2647"/>
                </a:cubicBezTo>
                <a:lnTo>
                  <a:pt x="1543" y="982"/>
                </a:lnTo>
                <a:lnTo>
                  <a:pt x="20057" y="982"/>
                </a:lnTo>
                <a:cubicBezTo>
                  <a:pt x="20057" y="982"/>
                  <a:pt x="20057" y="2884"/>
                  <a:pt x="20057" y="2884"/>
                </a:cubicBezTo>
                <a:close/>
                <a:moveTo>
                  <a:pt x="20057" y="5891"/>
                </a:moveTo>
                <a:cubicBezTo>
                  <a:pt x="20057" y="9144"/>
                  <a:pt x="15912" y="11782"/>
                  <a:pt x="10800" y="11782"/>
                </a:cubicBezTo>
                <a:cubicBezTo>
                  <a:pt x="5688" y="11782"/>
                  <a:pt x="1543" y="9144"/>
                  <a:pt x="1543" y="5891"/>
                </a:cubicBezTo>
                <a:lnTo>
                  <a:pt x="1543" y="3634"/>
                </a:lnTo>
                <a:cubicBezTo>
                  <a:pt x="3681" y="3500"/>
                  <a:pt x="4767" y="3841"/>
                  <a:pt x="6560" y="4413"/>
                </a:cubicBezTo>
                <a:cubicBezTo>
                  <a:pt x="7686" y="4772"/>
                  <a:pt x="9088" y="5219"/>
                  <a:pt x="11118" y="5650"/>
                </a:cubicBezTo>
                <a:cubicBezTo>
                  <a:pt x="11869" y="5809"/>
                  <a:pt x="12616" y="5877"/>
                  <a:pt x="13343" y="5877"/>
                </a:cubicBezTo>
                <a:cubicBezTo>
                  <a:pt x="16154" y="5877"/>
                  <a:pt x="18675" y="4862"/>
                  <a:pt x="20057" y="4176"/>
                </a:cubicBezTo>
                <a:cubicBezTo>
                  <a:pt x="20057" y="4176"/>
                  <a:pt x="20057" y="5891"/>
                  <a:pt x="20057" y="5891"/>
                </a:cubicBezTo>
                <a:close/>
                <a:moveTo>
                  <a:pt x="20829" y="0"/>
                </a:moveTo>
                <a:lnTo>
                  <a:pt x="771" y="0"/>
                </a:lnTo>
                <a:cubicBezTo>
                  <a:pt x="346" y="0"/>
                  <a:pt x="0" y="220"/>
                  <a:pt x="0" y="491"/>
                </a:cubicBezTo>
                <a:lnTo>
                  <a:pt x="0" y="5891"/>
                </a:lnTo>
                <a:cubicBezTo>
                  <a:pt x="0" y="9521"/>
                  <a:pt x="4426" y="12486"/>
                  <a:pt x="10029" y="12739"/>
                </a:cubicBezTo>
                <a:lnTo>
                  <a:pt x="10029" y="20618"/>
                </a:lnTo>
                <a:lnTo>
                  <a:pt x="3857" y="20618"/>
                </a:lnTo>
                <a:cubicBezTo>
                  <a:pt x="3432" y="20618"/>
                  <a:pt x="3086" y="20838"/>
                  <a:pt x="3086" y="21109"/>
                </a:cubicBezTo>
                <a:cubicBezTo>
                  <a:pt x="3086" y="21380"/>
                  <a:pt x="3432" y="21600"/>
                  <a:pt x="3857" y="21600"/>
                </a:cubicBezTo>
                <a:lnTo>
                  <a:pt x="17743" y="21600"/>
                </a:lnTo>
                <a:cubicBezTo>
                  <a:pt x="18168" y="21600"/>
                  <a:pt x="18514" y="21380"/>
                  <a:pt x="18514" y="21109"/>
                </a:cubicBezTo>
                <a:cubicBezTo>
                  <a:pt x="18514" y="20838"/>
                  <a:pt x="18168" y="20618"/>
                  <a:pt x="17743" y="20618"/>
                </a:cubicBezTo>
                <a:lnTo>
                  <a:pt x="11571" y="20618"/>
                </a:lnTo>
                <a:lnTo>
                  <a:pt x="11571" y="12739"/>
                </a:lnTo>
                <a:cubicBezTo>
                  <a:pt x="17174" y="12486"/>
                  <a:pt x="21600" y="9521"/>
                  <a:pt x="21600" y="5891"/>
                </a:cubicBezTo>
                <a:lnTo>
                  <a:pt x="21600" y="491"/>
                </a:lnTo>
                <a:cubicBezTo>
                  <a:pt x="21600" y="220"/>
                  <a:pt x="21254" y="0"/>
                  <a:pt x="20829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0" name="Shape 2750"/>
          <p:cNvSpPr/>
          <p:nvPr/>
        </p:nvSpPr>
        <p:spPr>
          <a:xfrm>
            <a:off x="14759957" y="8211901"/>
            <a:ext cx="25393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40" y="10800"/>
                </a:moveTo>
                <a:lnTo>
                  <a:pt x="2160" y="10800"/>
                </a:lnTo>
                <a:lnTo>
                  <a:pt x="2160" y="8836"/>
                </a:lnTo>
                <a:cubicBezTo>
                  <a:pt x="2160" y="7752"/>
                  <a:pt x="4094" y="6873"/>
                  <a:pt x="6480" y="6873"/>
                </a:cubicBezTo>
                <a:lnTo>
                  <a:pt x="15120" y="6873"/>
                </a:lnTo>
                <a:cubicBezTo>
                  <a:pt x="17506" y="6873"/>
                  <a:pt x="19440" y="7752"/>
                  <a:pt x="19440" y="8836"/>
                </a:cubicBezTo>
                <a:cubicBezTo>
                  <a:pt x="19440" y="8836"/>
                  <a:pt x="19440" y="10800"/>
                  <a:pt x="19440" y="10800"/>
                </a:cubicBezTo>
                <a:close/>
                <a:moveTo>
                  <a:pt x="19440" y="15709"/>
                </a:moveTo>
                <a:lnTo>
                  <a:pt x="2160" y="15709"/>
                </a:lnTo>
                <a:lnTo>
                  <a:pt x="2160" y="11782"/>
                </a:lnTo>
                <a:lnTo>
                  <a:pt x="19440" y="11782"/>
                </a:lnTo>
                <a:cubicBezTo>
                  <a:pt x="19440" y="11782"/>
                  <a:pt x="19440" y="15709"/>
                  <a:pt x="19440" y="15709"/>
                </a:cubicBezTo>
                <a:close/>
                <a:moveTo>
                  <a:pt x="19440" y="18655"/>
                </a:moveTo>
                <a:cubicBezTo>
                  <a:pt x="19440" y="19739"/>
                  <a:pt x="17506" y="20618"/>
                  <a:pt x="15120" y="20618"/>
                </a:cubicBezTo>
                <a:lnTo>
                  <a:pt x="6480" y="20618"/>
                </a:lnTo>
                <a:cubicBezTo>
                  <a:pt x="4094" y="20618"/>
                  <a:pt x="2160" y="19739"/>
                  <a:pt x="2160" y="18655"/>
                </a:cubicBezTo>
                <a:lnTo>
                  <a:pt x="2160" y="16691"/>
                </a:lnTo>
                <a:lnTo>
                  <a:pt x="19440" y="16691"/>
                </a:lnTo>
                <a:cubicBezTo>
                  <a:pt x="19440" y="16691"/>
                  <a:pt x="19440" y="18655"/>
                  <a:pt x="19440" y="18655"/>
                </a:cubicBezTo>
                <a:close/>
                <a:moveTo>
                  <a:pt x="8640" y="2945"/>
                </a:moveTo>
                <a:lnTo>
                  <a:pt x="12960" y="2945"/>
                </a:lnTo>
                <a:lnTo>
                  <a:pt x="12960" y="5891"/>
                </a:lnTo>
                <a:lnTo>
                  <a:pt x="8640" y="5891"/>
                </a:lnTo>
                <a:cubicBezTo>
                  <a:pt x="8640" y="5891"/>
                  <a:pt x="8640" y="2945"/>
                  <a:pt x="8640" y="2945"/>
                </a:cubicBezTo>
                <a:close/>
                <a:moveTo>
                  <a:pt x="8640" y="982"/>
                </a:moveTo>
                <a:lnTo>
                  <a:pt x="12960" y="982"/>
                </a:lnTo>
                <a:lnTo>
                  <a:pt x="12960" y="1964"/>
                </a:lnTo>
                <a:lnTo>
                  <a:pt x="8640" y="1964"/>
                </a:lnTo>
                <a:cubicBezTo>
                  <a:pt x="8640" y="1964"/>
                  <a:pt x="8640" y="982"/>
                  <a:pt x="8640" y="982"/>
                </a:cubicBezTo>
                <a:close/>
                <a:moveTo>
                  <a:pt x="15120" y="5891"/>
                </a:moveTo>
                <a:lnTo>
                  <a:pt x="15120" y="982"/>
                </a:lnTo>
                <a:cubicBezTo>
                  <a:pt x="15120" y="440"/>
                  <a:pt x="14152" y="0"/>
                  <a:pt x="12960" y="0"/>
                </a:cubicBezTo>
                <a:lnTo>
                  <a:pt x="8640" y="0"/>
                </a:lnTo>
                <a:cubicBezTo>
                  <a:pt x="7448" y="0"/>
                  <a:pt x="6480" y="440"/>
                  <a:pt x="6480" y="982"/>
                </a:cubicBezTo>
                <a:lnTo>
                  <a:pt x="6480" y="5891"/>
                </a:lnTo>
                <a:cubicBezTo>
                  <a:pt x="2901" y="5891"/>
                  <a:pt x="0" y="7209"/>
                  <a:pt x="0" y="8836"/>
                </a:cubicBezTo>
                <a:lnTo>
                  <a:pt x="0" y="18655"/>
                </a:lnTo>
                <a:cubicBezTo>
                  <a:pt x="0" y="20281"/>
                  <a:pt x="2901" y="21600"/>
                  <a:pt x="6480" y="21600"/>
                </a:cubicBezTo>
                <a:lnTo>
                  <a:pt x="15120" y="21600"/>
                </a:lnTo>
                <a:cubicBezTo>
                  <a:pt x="18698" y="21600"/>
                  <a:pt x="21600" y="20281"/>
                  <a:pt x="21600" y="18655"/>
                </a:cubicBezTo>
                <a:lnTo>
                  <a:pt x="21600" y="8836"/>
                </a:lnTo>
                <a:cubicBezTo>
                  <a:pt x="21600" y="7209"/>
                  <a:pt x="18698" y="5891"/>
                  <a:pt x="15120" y="58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1" name="Shape 2751"/>
          <p:cNvSpPr/>
          <p:nvPr/>
        </p:nvSpPr>
        <p:spPr>
          <a:xfrm>
            <a:off x="15775691" y="8211901"/>
            <a:ext cx="355507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114" y="15709"/>
                </a:moveTo>
                <a:cubicBezTo>
                  <a:pt x="12689" y="15709"/>
                  <a:pt x="12343" y="15929"/>
                  <a:pt x="12343" y="16200"/>
                </a:cubicBezTo>
                <a:cubicBezTo>
                  <a:pt x="12343" y="16471"/>
                  <a:pt x="12689" y="16691"/>
                  <a:pt x="13114" y="16691"/>
                </a:cubicBezTo>
                <a:cubicBezTo>
                  <a:pt x="13540" y="16691"/>
                  <a:pt x="13886" y="16471"/>
                  <a:pt x="13886" y="16200"/>
                </a:cubicBezTo>
                <a:cubicBezTo>
                  <a:pt x="13886" y="15929"/>
                  <a:pt x="13540" y="15709"/>
                  <a:pt x="13114" y="15709"/>
                </a:cubicBezTo>
                <a:moveTo>
                  <a:pt x="13886" y="7855"/>
                </a:moveTo>
                <a:cubicBezTo>
                  <a:pt x="13034" y="7855"/>
                  <a:pt x="12343" y="8295"/>
                  <a:pt x="12343" y="8836"/>
                </a:cubicBezTo>
                <a:cubicBezTo>
                  <a:pt x="12343" y="9379"/>
                  <a:pt x="13034" y="9818"/>
                  <a:pt x="13886" y="9818"/>
                </a:cubicBezTo>
                <a:cubicBezTo>
                  <a:pt x="14737" y="9818"/>
                  <a:pt x="15429" y="9379"/>
                  <a:pt x="15429" y="8836"/>
                </a:cubicBezTo>
                <a:cubicBezTo>
                  <a:pt x="15429" y="8295"/>
                  <a:pt x="14737" y="7855"/>
                  <a:pt x="13886" y="7855"/>
                </a:cubicBezTo>
                <a:moveTo>
                  <a:pt x="8486" y="17673"/>
                </a:moveTo>
                <a:cubicBezTo>
                  <a:pt x="8060" y="17673"/>
                  <a:pt x="7714" y="17892"/>
                  <a:pt x="7714" y="18164"/>
                </a:cubicBezTo>
                <a:cubicBezTo>
                  <a:pt x="7714" y="18435"/>
                  <a:pt x="8060" y="18655"/>
                  <a:pt x="8486" y="18655"/>
                </a:cubicBezTo>
                <a:cubicBezTo>
                  <a:pt x="8911" y="18655"/>
                  <a:pt x="9257" y="18435"/>
                  <a:pt x="9257" y="18164"/>
                </a:cubicBezTo>
                <a:cubicBezTo>
                  <a:pt x="9257" y="17892"/>
                  <a:pt x="8911" y="17673"/>
                  <a:pt x="8486" y="17673"/>
                </a:cubicBezTo>
                <a:moveTo>
                  <a:pt x="9257" y="10800"/>
                </a:moveTo>
                <a:cubicBezTo>
                  <a:pt x="9257" y="10258"/>
                  <a:pt x="8566" y="9818"/>
                  <a:pt x="7714" y="9818"/>
                </a:cubicBezTo>
                <a:cubicBezTo>
                  <a:pt x="6863" y="9818"/>
                  <a:pt x="6171" y="10258"/>
                  <a:pt x="6171" y="10800"/>
                </a:cubicBezTo>
                <a:cubicBezTo>
                  <a:pt x="6171" y="11343"/>
                  <a:pt x="6863" y="11782"/>
                  <a:pt x="7714" y="11782"/>
                </a:cubicBezTo>
                <a:cubicBezTo>
                  <a:pt x="8566" y="11782"/>
                  <a:pt x="9257" y="11343"/>
                  <a:pt x="9257" y="10800"/>
                </a:cubicBezTo>
                <a:moveTo>
                  <a:pt x="10029" y="13745"/>
                </a:moveTo>
                <a:cubicBezTo>
                  <a:pt x="9603" y="13745"/>
                  <a:pt x="9257" y="13965"/>
                  <a:pt x="9257" y="14236"/>
                </a:cubicBezTo>
                <a:cubicBezTo>
                  <a:pt x="9257" y="14508"/>
                  <a:pt x="9603" y="14727"/>
                  <a:pt x="10029" y="14727"/>
                </a:cubicBezTo>
                <a:cubicBezTo>
                  <a:pt x="10454" y="14727"/>
                  <a:pt x="10800" y="14508"/>
                  <a:pt x="10800" y="14236"/>
                </a:cubicBezTo>
                <a:cubicBezTo>
                  <a:pt x="10800" y="13965"/>
                  <a:pt x="10454" y="13745"/>
                  <a:pt x="10029" y="13745"/>
                </a:cubicBezTo>
                <a:moveTo>
                  <a:pt x="20057" y="1964"/>
                </a:moveTo>
                <a:lnTo>
                  <a:pt x="1543" y="1964"/>
                </a:lnTo>
                <a:lnTo>
                  <a:pt x="1543" y="982"/>
                </a:lnTo>
                <a:lnTo>
                  <a:pt x="20057" y="982"/>
                </a:lnTo>
                <a:cubicBezTo>
                  <a:pt x="20057" y="982"/>
                  <a:pt x="20057" y="1964"/>
                  <a:pt x="20057" y="1964"/>
                </a:cubicBezTo>
                <a:close/>
                <a:moveTo>
                  <a:pt x="16971" y="4033"/>
                </a:moveTo>
                <a:cubicBezTo>
                  <a:pt x="16079" y="4186"/>
                  <a:pt x="15266" y="4419"/>
                  <a:pt x="14349" y="4691"/>
                </a:cubicBezTo>
                <a:cubicBezTo>
                  <a:pt x="13209" y="5030"/>
                  <a:pt x="11919" y="5413"/>
                  <a:pt x="9994" y="5794"/>
                </a:cubicBezTo>
                <a:cubicBezTo>
                  <a:pt x="8093" y="6170"/>
                  <a:pt x="6167" y="5840"/>
                  <a:pt x="4629" y="5373"/>
                </a:cubicBezTo>
                <a:lnTo>
                  <a:pt x="4629" y="2945"/>
                </a:lnTo>
                <a:lnTo>
                  <a:pt x="16971" y="2945"/>
                </a:lnTo>
                <a:cubicBezTo>
                  <a:pt x="16971" y="2945"/>
                  <a:pt x="16971" y="4033"/>
                  <a:pt x="16971" y="4033"/>
                </a:cubicBezTo>
                <a:close/>
                <a:moveTo>
                  <a:pt x="16971" y="16691"/>
                </a:moveTo>
                <a:cubicBezTo>
                  <a:pt x="16971" y="18860"/>
                  <a:pt x="14208" y="20618"/>
                  <a:pt x="10800" y="20618"/>
                </a:cubicBezTo>
                <a:cubicBezTo>
                  <a:pt x="7391" y="20618"/>
                  <a:pt x="4629" y="18860"/>
                  <a:pt x="4629" y="16691"/>
                </a:cubicBezTo>
                <a:lnTo>
                  <a:pt x="4629" y="6384"/>
                </a:lnTo>
                <a:cubicBezTo>
                  <a:pt x="5722" y="6667"/>
                  <a:pt x="6954" y="6874"/>
                  <a:pt x="8257" y="6874"/>
                </a:cubicBezTo>
                <a:cubicBezTo>
                  <a:pt x="8984" y="6874"/>
                  <a:pt x="9731" y="6811"/>
                  <a:pt x="10481" y="6662"/>
                </a:cubicBezTo>
                <a:cubicBezTo>
                  <a:pt x="12512" y="6261"/>
                  <a:pt x="13914" y="5844"/>
                  <a:pt x="15040" y="5510"/>
                </a:cubicBezTo>
                <a:cubicBezTo>
                  <a:pt x="15760" y="5295"/>
                  <a:pt x="16366" y="5119"/>
                  <a:pt x="16971" y="4989"/>
                </a:cubicBezTo>
                <a:cubicBezTo>
                  <a:pt x="16971" y="4989"/>
                  <a:pt x="16971" y="16691"/>
                  <a:pt x="16971" y="16691"/>
                </a:cubicBezTo>
                <a:close/>
                <a:moveTo>
                  <a:pt x="20057" y="0"/>
                </a:moveTo>
                <a:lnTo>
                  <a:pt x="1543" y="0"/>
                </a:lnTo>
                <a:cubicBezTo>
                  <a:pt x="691" y="0"/>
                  <a:pt x="0" y="440"/>
                  <a:pt x="0" y="982"/>
                </a:cubicBezTo>
                <a:lnTo>
                  <a:pt x="0" y="1964"/>
                </a:lnTo>
                <a:cubicBezTo>
                  <a:pt x="0" y="2506"/>
                  <a:pt x="691" y="2945"/>
                  <a:pt x="1543" y="2945"/>
                </a:cubicBezTo>
                <a:lnTo>
                  <a:pt x="3086" y="2945"/>
                </a:lnTo>
                <a:lnTo>
                  <a:pt x="3086" y="16691"/>
                </a:lnTo>
                <a:cubicBezTo>
                  <a:pt x="3086" y="19402"/>
                  <a:pt x="6539" y="21600"/>
                  <a:pt x="10800" y="21600"/>
                </a:cubicBezTo>
                <a:cubicBezTo>
                  <a:pt x="15061" y="21600"/>
                  <a:pt x="18514" y="19402"/>
                  <a:pt x="18514" y="16691"/>
                </a:cubicBezTo>
                <a:lnTo>
                  <a:pt x="18514" y="2945"/>
                </a:lnTo>
                <a:lnTo>
                  <a:pt x="20057" y="2945"/>
                </a:lnTo>
                <a:cubicBezTo>
                  <a:pt x="20909" y="2945"/>
                  <a:pt x="21600" y="2506"/>
                  <a:pt x="21600" y="1964"/>
                </a:cubicBezTo>
                <a:lnTo>
                  <a:pt x="21600" y="982"/>
                </a:lnTo>
                <a:cubicBezTo>
                  <a:pt x="21600" y="440"/>
                  <a:pt x="20909" y="0"/>
                  <a:pt x="20057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2" name="Shape 2752"/>
          <p:cNvSpPr/>
          <p:nvPr/>
        </p:nvSpPr>
        <p:spPr>
          <a:xfrm>
            <a:off x="16791428" y="8211901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00" y="17673"/>
                </a:moveTo>
                <a:cubicBezTo>
                  <a:pt x="12269" y="17673"/>
                  <a:pt x="12000" y="17892"/>
                  <a:pt x="12000" y="18164"/>
                </a:cubicBezTo>
                <a:cubicBezTo>
                  <a:pt x="12000" y="18435"/>
                  <a:pt x="12269" y="18655"/>
                  <a:pt x="12600" y="18655"/>
                </a:cubicBezTo>
                <a:cubicBezTo>
                  <a:pt x="12931" y="18655"/>
                  <a:pt x="13200" y="18435"/>
                  <a:pt x="13200" y="18164"/>
                </a:cubicBezTo>
                <a:cubicBezTo>
                  <a:pt x="13200" y="17892"/>
                  <a:pt x="12931" y="17673"/>
                  <a:pt x="12600" y="17673"/>
                </a:cubicBezTo>
                <a:moveTo>
                  <a:pt x="10800" y="13745"/>
                </a:moveTo>
                <a:cubicBezTo>
                  <a:pt x="10138" y="13745"/>
                  <a:pt x="9600" y="14186"/>
                  <a:pt x="9600" y="14727"/>
                </a:cubicBezTo>
                <a:cubicBezTo>
                  <a:pt x="9600" y="15269"/>
                  <a:pt x="10138" y="15709"/>
                  <a:pt x="10800" y="15709"/>
                </a:cubicBezTo>
                <a:cubicBezTo>
                  <a:pt x="11462" y="15709"/>
                  <a:pt x="12000" y="15269"/>
                  <a:pt x="12000" y="14727"/>
                </a:cubicBezTo>
                <a:cubicBezTo>
                  <a:pt x="12000" y="14186"/>
                  <a:pt x="11462" y="13745"/>
                  <a:pt x="10800" y="13745"/>
                </a:cubicBezTo>
                <a:moveTo>
                  <a:pt x="12600" y="10800"/>
                </a:moveTo>
                <a:cubicBezTo>
                  <a:pt x="12269" y="10800"/>
                  <a:pt x="12000" y="10580"/>
                  <a:pt x="12000" y="10309"/>
                </a:cubicBezTo>
                <a:cubicBezTo>
                  <a:pt x="12000" y="10038"/>
                  <a:pt x="12269" y="9818"/>
                  <a:pt x="12600" y="9818"/>
                </a:cubicBezTo>
                <a:cubicBezTo>
                  <a:pt x="12931" y="9818"/>
                  <a:pt x="13200" y="10038"/>
                  <a:pt x="13200" y="10309"/>
                </a:cubicBezTo>
                <a:cubicBezTo>
                  <a:pt x="13200" y="10580"/>
                  <a:pt x="12931" y="10800"/>
                  <a:pt x="12600" y="10800"/>
                </a:cubicBezTo>
                <a:moveTo>
                  <a:pt x="12600" y="8836"/>
                </a:moveTo>
                <a:cubicBezTo>
                  <a:pt x="11606" y="8836"/>
                  <a:pt x="10800" y="9496"/>
                  <a:pt x="10800" y="10309"/>
                </a:cubicBezTo>
                <a:cubicBezTo>
                  <a:pt x="10800" y="11123"/>
                  <a:pt x="11606" y="11782"/>
                  <a:pt x="12600" y="11782"/>
                </a:cubicBezTo>
                <a:cubicBezTo>
                  <a:pt x="13594" y="11782"/>
                  <a:pt x="14400" y="11123"/>
                  <a:pt x="14400" y="10309"/>
                </a:cubicBezTo>
                <a:cubicBezTo>
                  <a:pt x="14400" y="9496"/>
                  <a:pt x="13594" y="8836"/>
                  <a:pt x="12600" y="8836"/>
                </a:cubicBezTo>
                <a:moveTo>
                  <a:pt x="17760" y="20618"/>
                </a:moveTo>
                <a:lnTo>
                  <a:pt x="3840" y="20618"/>
                </a:lnTo>
                <a:cubicBezTo>
                  <a:pt x="2134" y="19151"/>
                  <a:pt x="1200" y="17248"/>
                  <a:pt x="1200" y="15218"/>
                </a:cubicBezTo>
                <a:cubicBezTo>
                  <a:pt x="1200" y="12593"/>
                  <a:pt x="2796" y="10152"/>
                  <a:pt x="5468" y="8688"/>
                </a:cubicBezTo>
                <a:cubicBezTo>
                  <a:pt x="5800" y="8506"/>
                  <a:pt x="6000" y="8199"/>
                  <a:pt x="6000" y="7872"/>
                </a:cubicBezTo>
                <a:lnTo>
                  <a:pt x="6000" y="6529"/>
                </a:lnTo>
                <a:cubicBezTo>
                  <a:pt x="6729" y="6758"/>
                  <a:pt x="7567" y="6924"/>
                  <a:pt x="8484" y="6924"/>
                </a:cubicBezTo>
                <a:cubicBezTo>
                  <a:pt x="9499" y="6924"/>
                  <a:pt x="10603" y="6723"/>
                  <a:pt x="11748" y="6188"/>
                </a:cubicBezTo>
                <a:cubicBezTo>
                  <a:pt x="13252" y="5485"/>
                  <a:pt x="14575" y="5306"/>
                  <a:pt x="15600" y="5323"/>
                </a:cubicBezTo>
                <a:lnTo>
                  <a:pt x="15600" y="7872"/>
                </a:lnTo>
                <a:cubicBezTo>
                  <a:pt x="15600" y="8199"/>
                  <a:pt x="15800" y="8506"/>
                  <a:pt x="16132" y="8688"/>
                </a:cubicBezTo>
                <a:cubicBezTo>
                  <a:pt x="18804" y="10152"/>
                  <a:pt x="20400" y="12593"/>
                  <a:pt x="20400" y="15218"/>
                </a:cubicBezTo>
                <a:cubicBezTo>
                  <a:pt x="20400" y="17248"/>
                  <a:pt x="19466" y="19151"/>
                  <a:pt x="17760" y="20618"/>
                </a:cubicBezTo>
                <a:moveTo>
                  <a:pt x="15600" y="2945"/>
                </a:moveTo>
                <a:lnTo>
                  <a:pt x="15600" y="4340"/>
                </a:lnTo>
                <a:cubicBezTo>
                  <a:pt x="14391" y="4322"/>
                  <a:pt x="12860" y="4538"/>
                  <a:pt x="11152" y="5336"/>
                </a:cubicBezTo>
                <a:cubicBezTo>
                  <a:pt x="9163" y="6265"/>
                  <a:pt x="7312" y="5965"/>
                  <a:pt x="6000" y="5473"/>
                </a:cubicBezTo>
                <a:lnTo>
                  <a:pt x="6000" y="2945"/>
                </a:lnTo>
                <a:cubicBezTo>
                  <a:pt x="6000" y="2945"/>
                  <a:pt x="15600" y="2945"/>
                  <a:pt x="15600" y="2945"/>
                </a:cubicBezTo>
                <a:close/>
                <a:moveTo>
                  <a:pt x="36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3600" y="1964"/>
                </a:lnTo>
                <a:cubicBezTo>
                  <a:pt x="3600" y="1964"/>
                  <a:pt x="3600" y="982"/>
                  <a:pt x="3600" y="982"/>
                </a:cubicBezTo>
                <a:close/>
                <a:moveTo>
                  <a:pt x="16800" y="7872"/>
                </a:moveTo>
                <a:lnTo>
                  <a:pt x="16800" y="2945"/>
                </a:lnTo>
                <a:lnTo>
                  <a:pt x="18000" y="2945"/>
                </a:lnTo>
                <a:cubicBezTo>
                  <a:pt x="18662" y="2945"/>
                  <a:pt x="19200" y="2505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3600" y="0"/>
                </a:lnTo>
                <a:cubicBezTo>
                  <a:pt x="2938" y="0"/>
                  <a:pt x="2400" y="440"/>
                  <a:pt x="2400" y="982"/>
                </a:cubicBezTo>
                <a:lnTo>
                  <a:pt x="2400" y="1964"/>
                </a:lnTo>
                <a:cubicBezTo>
                  <a:pt x="2400" y="2505"/>
                  <a:pt x="2938" y="2945"/>
                  <a:pt x="3600" y="2945"/>
                </a:cubicBezTo>
                <a:lnTo>
                  <a:pt x="4800" y="2945"/>
                </a:lnTo>
                <a:lnTo>
                  <a:pt x="4800" y="7872"/>
                </a:lnTo>
                <a:cubicBezTo>
                  <a:pt x="1906" y="9457"/>
                  <a:pt x="0" y="12155"/>
                  <a:pt x="0" y="15218"/>
                </a:cubicBezTo>
                <a:cubicBezTo>
                  <a:pt x="0" y="17730"/>
                  <a:pt x="1286" y="19991"/>
                  <a:pt x="3342" y="21600"/>
                </a:cubicBezTo>
                <a:lnTo>
                  <a:pt x="18258" y="21600"/>
                </a:lnTo>
                <a:cubicBezTo>
                  <a:pt x="20313" y="19991"/>
                  <a:pt x="21600" y="17730"/>
                  <a:pt x="21600" y="15218"/>
                </a:cubicBezTo>
                <a:cubicBezTo>
                  <a:pt x="21600" y="12155"/>
                  <a:pt x="19693" y="9457"/>
                  <a:pt x="16800" y="7872"/>
                </a:cubicBezTo>
                <a:moveTo>
                  <a:pt x="16200" y="15709"/>
                </a:moveTo>
                <a:cubicBezTo>
                  <a:pt x="15869" y="15709"/>
                  <a:pt x="15600" y="15929"/>
                  <a:pt x="15600" y="16200"/>
                </a:cubicBezTo>
                <a:cubicBezTo>
                  <a:pt x="15600" y="16471"/>
                  <a:pt x="15869" y="16691"/>
                  <a:pt x="16200" y="16691"/>
                </a:cubicBezTo>
                <a:cubicBezTo>
                  <a:pt x="16531" y="16691"/>
                  <a:pt x="16800" y="16471"/>
                  <a:pt x="16800" y="16200"/>
                </a:cubicBezTo>
                <a:cubicBezTo>
                  <a:pt x="16800" y="15929"/>
                  <a:pt x="16531" y="15709"/>
                  <a:pt x="16200" y="15709"/>
                </a:cubicBezTo>
                <a:moveTo>
                  <a:pt x="7800" y="11782"/>
                </a:moveTo>
                <a:cubicBezTo>
                  <a:pt x="7469" y="11782"/>
                  <a:pt x="7200" y="12001"/>
                  <a:pt x="7200" y="12273"/>
                </a:cubicBezTo>
                <a:cubicBezTo>
                  <a:pt x="7200" y="12544"/>
                  <a:pt x="7469" y="12764"/>
                  <a:pt x="7800" y="12764"/>
                </a:cubicBezTo>
                <a:cubicBezTo>
                  <a:pt x="8131" y="12764"/>
                  <a:pt x="8400" y="12544"/>
                  <a:pt x="8400" y="12273"/>
                </a:cubicBezTo>
                <a:cubicBezTo>
                  <a:pt x="8400" y="12001"/>
                  <a:pt x="8131" y="11782"/>
                  <a:pt x="7800" y="11782"/>
                </a:cubicBezTo>
                <a:moveTo>
                  <a:pt x="6000" y="15709"/>
                </a:moveTo>
                <a:cubicBezTo>
                  <a:pt x="5338" y="15709"/>
                  <a:pt x="4800" y="16149"/>
                  <a:pt x="4800" y="16691"/>
                </a:cubicBezTo>
                <a:cubicBezTo>
                  <a:pt x="4800" y="17233"/>
                  <a:pt x="5338" y="17673"/>
                  <a:pt x="6000" y="17673"/>
                </a:cubicBezTo>
                <a:cubicBezTo>
                  <a:pt x="6662" y="17673"/>
                  <a:pt x="7200" y="17233"/>
                  <a:pt x="7200" y="16691"/>
                </a:cubicBezTo>
                <a:cubicBezTo>
                  <a:pt x="7200" y="16149"/>
                  <a:pt x="6662" y="15709"/>
                  <a:pt x="6000" y="157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3" name="Shape 2753"/>
          <p:cNvSpPr/>
          <p:nvPr/>
        </p:nvSpPr>
        <p:spPr>
          <a:xfrm>
            <a:off x="17857949" y="8211901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800" y="18655"/>
                </a:moveTo>
                <a:cubicBezTo>
                  <a:pt x="13468" y="18655"/>
                  <a:pt x="13200" y="18874"/>
                  <a:pt x="13200" y="19145"/>
                </a:cubicBezTo>
                <a:cubicBezTo>
                  <a:pt x="13200" y="19417"/>
                  <a:pt x="13468" y="19636"/>
                  <a:pt x="13800" y="19636"/>
                </a:cubicBezTo>
                <a:cubicBezTo>
                  <a:pt x="14132" y="19636"/>
                  <a:pt x="14400" y="19417"/>
                  <a:pt x="14400" y="19145"/>
                </a:cubicBezTo>
                <a:cubicBezTo>
                  <a:pt x="14400" y="18874"/>
                  <a:pt x="14132" y="18655"/>
                  <a:pt x="13800" y="18655"/>
                </a:cubicBezTo>
                <a:moveTo>
                  <a:pt x="10200" y="15709"/>
                </a:moveTo>
                <a:cubicBezTo>
                  <a:pt x="9868" y="15709"/>
                  <a:pt x="9600" y="15490"/>
                  <a:pt x="9600" y="15218"/>
                </a:cubicBezTo>
                <a:cubicBezTo>
                  <a:pt x="9600" y="14947"/>
                  <a:pt x="9868" y="14727"/>
                  <a:pt x="10200" y="14727"/>
                </a:cubicBezTo>
                <a:cubicBezTo>
                  <a:pt x="10532" y="14727"/>
                  <a:pt x="10800" y="14947"/>
                  <a:pt x="10800" y="15218"/>
                </a:cubicBezTo>
                <a:cubicBezTo>
                  <a:pt x="10800" y="15490"/>
                  <a:pt x="10532" y="15709"/>
                  <a:pt x="10200" y="15709"/>
                </a:cubicBezTo>
                <a:moveTo>
                  <a:pt x="10200" y="13745"/>
                </a:moveTo>
                <a:cubicBezTo>
                  <a:pt x="9206" y="13745"/>
                  <a:pt x="8400" y="14405"/>
                  <a:pt x="8400" y="15218"/>
                </a:cubicBezTo>
                <a:cubicBezTo>
                  <a:pt x="8400" y="16031"/>
                  <a:pt x="9206" y="16691"/>
                  <a:pt x="10200" y="16691"/>
                </a:cubicBezTo>
                <a:cubicBezTo>
                  <a:pt x="11194" y="16691"/>
                  <a:pt x="12000" y="16031"/>
                  <a:pt x="12000" y="15218"/>
                </a:cubicBezTo>
                <a:cubicBezTo>
                  <a:pt x="12000" y="14405"/>
                  <a:pt x="11194" y="13745"/>
                  <a:pt x="10200" y="13745"/>
                </a:cubicBezTo>
                <a:moveTo>
                  <a:pt x="15600" y="13745"/>
                </a:moveTo>
                <a:cubicBezTo>
                  <a:pt x="14938" y="13745"/>
                  <a:pt x="14400" y="14186"/>
                  <a:pt x="14400" y="14727"/>
                </a:cubicBezTo>
                <a:cubicBezTo>
                  <a:pt x="14400" y="15269"/>
                  <a:pt x="14938" y="15709"/>
                  <a:pt x="15600" y="15709"/>
                </a:cubicBezTo>
                <a:cubicBezTo>
                  <a:pt x="16262" y="15709"/>
                  <a:pt x="16800" y="15269"/>
                  <a:pt x="16800" y="14727"/>
                </a:cubicBezTo>
                <a:cubicBezTo>
                  <a:pt x="16800" y="14186"/>
                  <a:pt x="16262" y="13745"/>
                  <a:pt x="15600" y="13745"/>
                </a:cubicBezTo>
                <a:moveTo>
                  <a:pt x="14400" y="20618"/>
                </a:moveTo>
                <a:lnTo>
                  <a:pt x="7200" y="20618"/>
                </a:lnTo>
                <a:cubicBezTo>
                  <a:pt x="3892" y="20618"/>
                  <a:pt x="1200" y="18416"/>
                  <a:pt x="1200" y="15709"/>
                </a:cubicBezTo>
                <a:cubicBezTo>
                  <a:pt x="1200" y="13123"/>
                  <a:pt x="2182" y="11620"/>
                  <a:pt x="3320" y="9880"/>
                </a:cubicBezTo>
                <a:cubicBezTo>
                  <a:pt x="3477" y="9639"/>
                  <a:pt x="3636" y="9392"/>
                  <a:pt x="3797" y="9140"/>
                </a:cubicBezTo>
                <a:cubicBezTo>
                  <a:pt x="3905" y="9093"/>
                  <a:pt x="6420" y="8038"/>
                  <a:pt x="9814" y="9625"/>
                </a:cubicBezTo>
                <a:cubicBezTo>
                  <a:pt x="10959" y="10160"/>
                  <a:pt x="12064" y="10360"/>
                  <a:pt x="13079" y="10360"/>
                </a:cubicBezTo>
                <a:cubicBezTo>
                  <a:pt x="15152" y="10360"/>
                  <a:pt x="16846" y="9523"/>
                  <a:pt x="17711" y="8991"/>
                </a:cubicBezTo>
                <a:cubicBezTo>
                  <a:pt x="17902" y="9295"/>
                  <a:pt x="18093" y="9592"/>
                  <a:pt x="18280" y="9880"/>
                </a:cubicBezTo>
                <a:cubicBezTo>
                  <a:pt x="19418" y="11620"/>
                  <a:pt x="20400" y="13123"/>
                  <a:pt x="20400" y="15709"/>
                </a:cubicBezTo>
                <a:cubicBezTo>
                  <a:pt x="20400" y="18416"/>
                  <a:pt x="17708" y="20618"/>
                  <a:pt x="14400" y="20618"/>
                </a:cubicBezTo>
                <a:moveTo>
                  <a:pt x="5967" y="2945"/>
                </a:moveTo>
                <a:lnTo>
                  <a:pt x="15633" y="2945"/>
                </a:lnTo>
                <a:cubicBezTo>
                  <a:pt x="15782" y="5133"/>
                  <a:pt x="16425" y="6735"/>
                  <a:pt x="17180" y="8090"/>
                </a:cubicBezTo>
                <a:cubicBezTo>
                  <a:pt x="16281" y="8690"/>
                  <a:pt x="13509" y="10220"/>
                  <a:pt x="10410" y="8772"/>
                </a:cubicBezTo>
                <a:cubicBezTo>
                  <a:pt x="7921" y="7609"/>
                  <a:pt x="5800" y="7679"/>
                  <a:pt x="4520" y="7912"/>
                </a:cubicBezTo>
                <a:cubicBezTo>
                  <a:pt x="5231" y="6594"/>
                  <a:pt x="5824" y="5037"/>
                  <a:pt x="5967" y="2945"/>
                </a:cubicBezTo>
                <a:moveTo>
                  <a:pt x="36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3600" y="1964"/>
                </a:lnTo>
                <a:cubicBezTo>
                  <a:pt x="3600" y="1964"/>
                  <a:pt x="3600" y="982"/>
                  <a:pt x="3600" y="982"/>
                </a:cubicBezTo>
                <a:close/>
                <a:moveTo>
                  <a:pt x="16843" y="2945"/>
                </a:moveTo>
                <a:lnTo>
                  <a:pt x="18000" y="2945"/>
                </a:lnTo>
                <a:cubicBezTo>
                  <a:pt x="18662" y="2945"/>
                  <a:pt x="19200" y="2505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3600" y="0"/>
                </a:lnTo>
                <a:cubicBezTo>
                  <a:pt x="2938" y="0"/>
                  <a:pt x="2400" y="440"/>
                  <a:pt x="2400" y="982"/>
                </a:cubicBezTo>
                <a:lnTo>
                  <a:pt x="2400" y="1964"/>
                </a:lnTo>
                <a:cubicBezTo>
                  <a:pt x="2400" y="2505"/>
                  <a:pt x="2938" y="2945"/>
                  <a:pt x="3600" y="2945"/>
                </a:cubicBezTo>
                <a:lnTo>
                  <a:pt x="4757" y="2945"/>
                </a:lnTo>
                <a:cubicBezTo>
                  <a:pt x="4322" y="8937"/>
                  <a:pt x="0" y="10114"/>
                  <a:pt x="0" y="15709"/>
                </a:cubicBezTo>
                <a:cubicBezTo>
                  <a:pt x="0" y="18962"/>
                  <a:pt x="3224" y="21600"/>
                  <a:pt x="7200" y="21600"/>
                </a:cubicBezTo>
                <a:lnTo>
                  <a:pt x="14400" y="21600"/>
                </a:lnTo>
                <a:cubicBezTo>
                  <a:pt x="18376" y="21600"/>
                  <a:pt x="21600" y="18962"/>
                  <a:pt x="21600" y="15709"/>
                </a:cubicBezTo>
                <a:cubicBezTo>
                  <a:pt x="21600" y="10114"/>
                  <a:pt x="17278" y="8937"/>
                  <a:pt x="16843" y="2945"/>
                </a:cubicBezTo>
                <a:moveTo>
                  <a:pt x="17400" y="11782"/>
                </a:moveTo>
                <a:cubicBezTo>
                  <a:pt x="17068" y="11782"/>
                  <a:pt x="16800" y="12001"/>
                  <a:pt x="16800" y="12273"/>
                </a:cubicBezTo>
                <a:cubicBezTo>
                  <a:pt x="16800" y="12544"/>
                  <a:pt x="17068" y="12764"/>
                  <a:pt x="17400" y="12764"/>
                </a:cubicBezTo>
                <a:cubicBezTo>
                  <a:pt x="17732" y="12764"/>
                  <a:pt x="18000" y="12544"/>
                  <a:pt x="18000" y="12273"/>
                </a:cubicBezTo>
                <a:cubicBezTo>
                  <a:pt x="18000" y="12001"/>
                  <a:pt x="17732" y="11782"/>
                  <a:pt x="17400" y="11782"/>
                </a:cubicBezTo>
                <a:moveTo>
                  <a:pt x="6000" y="10800"/>
                </a:moveTo>
                <a:cubicBezTo>
                  <a:pt x="5338" y="10800"/>
                  <a:pt x="4800" y="11240"/>
                  <a:pt x="4800" y="11782"/>
                </a:cubicBezTo>
                <a:cubicBezTo>
                  <a:pt x="4800" y="12324"/>
                  <a:pt x="5338" y="12764"/>
                  <a:pt x="6000" y="12764"/>
                </a:cubicBezTo>
                <a:cubicBezTo>
                  <a:pt x="6662" y="12764"/>
                  <a:pt x="7200" y="12324"/>
                  <a:pt x="7200" y="11782"/>
                </a:cubicBezTo>
                <a:cubicBezTo>
                  <a:pt x="7200" y="11240"/>
                  <a:pt x="6662" y="10800"/>
                  <a:pt x="6000" y="10800"/>
                </a:cubicBezTo>
                <a:moveTo>
                  <a:pt x="5400" y="16691"/>
                </a:moveTo>
                <a:cubicBezTo>
                  <a:pt x="5068" y="16691"/>
                  <a:pt x="4800" y="16910"/>
                  <a:pt x="4800" y="17182"/>
                </a:cubicBezTo>
                <a:cubicBezTo>
                  <a:pt x="4800" y="17453"/>
                  <a:pt x="5068" y="17673"/>
                  <a:pt x="5400" y="17673"/>
                </a:cubicBezTo>
                <a:cubicBezTo>
                  <a:pt x="5732" y="17673"/>
                  <a:pt x="6000" y="17453"/>
                  <a:pt x="6000" y="17182"/>
                </a:cubicBezTo>
                <a:cubicBezTo>
                  <a:pt x="6000" y="16910"/>
                  <a:pt x="5732" y="16691"/>
                  <a:pt x="5400" y="166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4" name="Shape 2754"/>
          <p:cNvSpPr/>
          <p:nvPr/>
        </p:nvSpPr>
        <p:spPr>
          <a:xfrm>
            <a:off x="18899079" y="8211901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709"/>
                </a:moveTo>
                <a:cubicBezTo>
                  <a:pt x="10203" y="15709"/>
                  <a:pt x="9720" y="16149"/>
                  <a:pt x="9720" y="16691"/>
                </a:cubicBezTo>
                <a:cubicBezTo>
                  <a:pt x="9720" y="17233"/>
                  <a:pt x="10203" y="17673"/>
                  <a:pt x="10800" y="17673"/>
                </a:cubicBezTo>
                <a:cubicBezTo>
                  <a:pt x="11396" y="17673"/>
                  <a:pt x="11880" y="17233"/>
                  <a:pt x="11880" y="16691"/>
                </a:cubicBezTo>
                <a:cubicBezTo>
                  <a:pt x="11880" y="16149"/>
                  <a:pt x="11396" y="15709"/>
                  <a:pt x="10800" y="15709"/>
                </a:cubicBezTo>
                <a:moveTo>
                  <a:pt x="12960" y="10800"/>
                </a:moveTo>
                <a:cubicBezTo>
                  <a:pt x="12363" y="10800"/>
                  <a:pt x="11880" y="11240"/>
                  <a:pt x="11880" y="11782"/>
                </a:cubicBezTo>
                <a:cubicBezTo>
                  <a:pt x="11880" y="12324"/>
                  <a:pt x="12363" y="12764"/>
                  <a:pt x="12960" y="12764"/>
                </a:cubicBezTo>
                <a:cubicBezTo>
                  <a:pt x="13556" y="12764"/>
                  <a:pt x="14040" y="12324"/>
                  <a:pt x="14040" y="11782"/>
                </a:cubicBezTo>
                <a:cubicBezTo>
                  <a:pt x="14040" y="11240"/>
                  <a:pt x="13556" y="10800"/>
                  <a:pt x="12960" y="10800"/>
                </a:cubicBezTo>
                <a:moveTo>
                  <a:pt x="15660" y="14727"/>
                </a:moveTo>
                <a:cubicBezTo>
                  <a:pt x="15362" y="14727"/>
                  <a:pt x="15120" y="14947"/>
                  <a:pt x="15120" y="15218"/>
                </a:cubicBezTo>
                <a:cubicBezTo>
                  <a:pt x="15120" y="15490"/>
                  <a:pt x="15362" y="15709"/>
                  <a:pt x="15660" y="15709"/>
                </a:cubicBezTo>
                <a:cubicBezTo>
                  <a:pt x="15958" y="15709"/>
                  <a:pt x="16200" y="15490"/>
                  <a:pt x="16200" y="15218"/>
                </a:cubicBezTo>
                <a:cubicBezTo>
                  <a:pt x="16200" y="14947"/>
                  <a:pt x="15958" y="14727"/>
                  <a:pt x="15660" y="14727"/>
                </a:cubicBezTo>
                <a:moveTo>
                  <a:pt x="16740" y="17673"/>
                </a:moveTo>
                <a:cubicBezTo>
                  <a:pt x="16442" y="17673"/>
                  <a:pt x="16200" y="17892"/>
                  <a:pt x="16200" y="18164"/>
                </a:cubicBezTo>
                <a:cubicBezTo>
                  <a:pt x="16200" y="18435"/>
                  <a:pt x="16442" y="18655"/>
                  <a:pt x="16740" y="18655"/>
                </a:cubicBezTo>
                <a:cubicBezTo>
                  <a:pt x="17038" y="18655"/>
                  <a:pt x="17280" y="18435"/>
                  <a:pt x="17280" y="18164"/>
                </a:cubicBezTo>
                <a:cubicBezTo>
                  <a:pt x="17280" y="17892"/>
                  <a:pt x="17038" y="17673"/>
                  <a:pt x="16740" y="17673"/>
                </a:cubicBezTo>
                <a:moveTo>
                  <a:pt x="7020" y="13745"/>
                </a:moveTo>
                <a:cubicBezTo>
                  <a:pt x="6722" y="13745"/>
                  <a:pt x="6480" y="13525"/>
                  <a:pt x="6480" y="13255"/>
                </a:cubicBezTo>
                <a:cubicBezTo>
                  <a:pt x="6480" y="12983"/>
                  <a:pt x="6722" y="12764"/>
                  <a:pt x="7020" y="12764"/>
                </a:cubicBezTo>
                <a:cubicBezTo>
                  <a:pt x="7318" y="12764"/>
                  <a:pt x="7560" y="12983"/>
                  <a:pt x="7560" y="13255"/>
                </a:cubicBezTo>
                <a:cubicBezTo>
                  <a:pt x="7560" y="13525"/>
                  <a:pt x="7318" y="13745"/>
                  <a:pt x="7020" y="13745"/>
                </a:cubicBezTo>
                <a:moveTo>
                  <a:pt x="7020" y="11782"/>
                </a:moveTo>
                <a:cubicBezTo>
                  <a:pt x="6126" y="11782"/>
                  <a:pt x="5400" y="12441"/>
                  <a:pt x="5400" y="13255"/>
                </a:cubicBezTo>
                <a:cubicBezTo>
                  <a:pt x="5400" y="14068"/>
                  <a:pt x="6126" y="14727"/>
                  <a:pt x="7020" y="14727"/>
                </a:cubicBezTo>
                <a:cubicBezTo>
                  <a:pt x="7914" y="14727"/>
                  <a:pt x="8640" y="14068"/>
                  <a:pt x="8640" y="13255"/>
                </a:cubicBezTo>
                <a:cubicBezTo>
                  <a:pt x="8640" y="12441"/>
                  <a:pt x="7914" y="11782"/>
                  <a:pt x="7020" y="11782"/>
                </a:cubicBezTo>
                <a:moveTo>
                  <a:pt x="16200" y="20618"/>
                </a:moveTo>
                <a:lnTo>
                  <a:pt x="5400" y="20618"/>
                </a:lnTo>
                <a:cubicBezTo>
                  <a:pt x="5224" y="20618"/>
                  <a:pt x="1080" y="20574"/>
                  <a:pt x="1080" y="16691"/>
                </a:cubicBezTo>
                <a:cubicBezTo>
                  <a:pt x="1080" y="12965"/>
                  <a:pt x="3149" y="11214"/>
                  <a:pt x="4975" y="9670"/>
                </a:cubicBezTo>
                <a:cubicBezTo>
                  <a:pt x="6031" y="8777"/>
                  <a:pt x="7028" y="7920"/>
                  <a:pt x="7400" y="6808"/>
                </a:cubicBezTo>
                <a:cubicBezTo>
                  <a:pt x="7683" y="6848"/>
                  <a:pt x="7974" y="6878"/>
                  <a:pt x="8279" y="6878"/>
                </a:cubicBezTo>
                <a:cubicBezTo>
                  <a:pt x="9182" y="6878"/>
                  <a:pt x="10166" y="6687"/>
                  <a:pt x="11184" y="6177"/>
                </a:cubicBezTo>
                <a:cubicBezTo>
                  <a:pt x="12256" y="5642"/>
                  <a:pt x="13226" y="5425"/>
                  <a:pt x="14040" y="5367"/>
                </a:cubicBezTo>
                <a:lnTo>
                  <a:pt x="14040" y="5891"/>
                </a:lnTo>
                <a:cubicBezTo>
                  <a:pt x="14040" y="7483"/>
                  <a:pt x="15296" y="8546"/>
                  <a:pt x="16625" y="9670"/>
                </a:cubicBezTo>
                <a:cubicBezTo>
                  <a:pt x="18451" y="11214"/>
                  <a:pt x="20520" y="12965"/>
                  <a:pt x="20520" y="16691"/>
                </a:cubicBezTo>
                <a:cubicBezTo>
                  <a:pt x="20520" y="20474"/>
                  <a:pt x="16637" y="20614"/>
                  <a:pt x="16200" y="20618"/>
                </a:cubicBezTo>
                <a:moveTo>
                  <a:pt x="14040" y="2945"/>
                </a:moveTo>
                <a:lnTo>
                  <a:pt x="14040" y="4432"/>
                </a:lnTo>
                <a:cubicBezTo>
                  <a:pt x="13069" y="4489"/>
                  <a:pt x="11917" y="4734"/>
                  <a:pt x="10654" y="5365"/>
                </a:cubicBezTo>
                <a:cubicBezTo>
                  <a:pt x="9547" y="5920"/>
                  <a:pt x="8485" y="6015"/>
                  <a:pt x="7560" y="5894"/>
                </a:cubicBezTo>
                <a:lnTo>
                  <a:pt x="7560" y="5891"/>
                </a:lnTo>
                <a:lnTo>
                  <a:pt x="7560" y="2945"/>
                </a:lnTo>
                <a:cubicBezTo>
                  <a:pt x="7560" y="2945"/>
                  <a:pt x="14040" y="2945"/>
                  <a:pt x="14040" y="2945"/>
                </a:cubicBezTo>
                <a:close/>
                <a:moveTo>
                  <a:pt x="5400" y="982"/>
                </a:moveTo>
                <a:lnTo>
                  <a:pt x="16200" y="982"/>
                </a:lnTo>
                <a:lnTo>
                  <a:pt x="16200" y="1964"/>
                </a:lnTo>
                <a:lnTo>
                  <a:pt x="5400" y="1964"/>
                </a:lnTo>
                <a:cubicBezTo>
                  <a:pt x="5400" y="1964"/>
                  <a:pt x="5400" y="982"/>
                  <a:pt x="5400" y="982"/>
                </a:cubicBezTo>
                <a:close/>
                <a:moveTo>
                  <a:pt x="15120" y="5891"/>
                </a:moveTo>
                <a:lnTo>
                  <a:pt x="15120" y="2945"/>
                </a:lnTo>
                <a:lnTo>
                  <a:pt x="16200" y="2945"/>
                </a:lnTo>
                <a:cubicBezTo>
                  <a:pt x="16796" y="2945"/>
                  <a:pt x="17280" y="2505"/>
                  <a:pt x="17280" y="1964"/>
                </a:cubicBezTo>
                <a:lnTo>
                  <a:pt x="17280" y="982"/>
                </a:lnTo>
                <a:cubicBezTo>
                  <a:pt x="17280" y="440"/>
                  <a:pt x="16796" y="0"/>
                  <a:pt x="16200" y="0"/>
                </a:cubicBezTo>
                <a:lnTo>
                  <a:pt x="5400" y="0"/>
                </a:lnTo>
                <a:cubicBezTo>
                  <a:pt x="4803" y="0"/>
                  <a:pt x="4320" y="440"/>
                  <a:pt x="4320" y="982"/>
                </a:cubicBezTo>
                <a:lnTo>
                  <a:pt x="4320" y="1964"/>
                </a:lnTo>
                <a:cubicBezTo>
                  <a:pt x="4320" y="2505"/>
                  <a:pt x="4803" y="2945"/>
                  <a:pt x="5400" y="2945"/>
                </a:cubicBezTo>
                <a:lnTo>
                  <a:pt x="6480" y="2945"/>
                </a:lnTo>
                <a:lnTo>
                  <a:pt x="6480" y="5891"/>
                </a:lnTo>
                <a:cubicBezTo>
                  <a:pt x="6480" y="8836"/>
                  <a:pt x="0" y="9818"/>
                  <a:pt x="0" y="16691"/>
                </a:cubicBezTo>
                <a:cubicBezTo>
                  <a:pt x="0" y="21600"/>
                  <a:pt x="5400" y="21600"/>
                  <a:pt x="5400" y="21600"/>
                </a:cubicBezTo>
                <a:lnTo>
                  <a:pt x="16200" y="21600"/>
                </a:lnTo>
                <a:cubicBezTo>
                  <a:pt x="16200" y="21600"/>
                  <a:pt x="21600" y="21600"/>
                  <a:pt x="21600" y="16691"/>
                </a:cubicBezTo>
                <a:cubicBezTo>
                  <a:pt x="21600" y="9818"/>
                  <a:pt x="15120" y="8836"/>
                  <a:pt x="15120" y="5891"/>
                </a:cubicBezTo>
                <a:moveTo>
                  <a:pt x="5940" y="16691"/>
                </a:moveTo>
                <a:cubicBezTo>
                  <a:pt x="5642" y="16691"/>
                  <a:pt x="5400" y="16910"/>
                  <a:pt x="5400" y="17182"/>
                </a:cubicBezTo>
                <a:cubicBezTo>
                  <a:pt x="5400" y="17453"/>
                  <a:pt x="5642" y="17673"/>
                  <a:pt x="5940" y="17673"/>
                </a:cubicBezTo>
                <a:cubicBezTo>
                  <a:pt x="6238" y="17673"/>
                  <a:pt x="6480" y="17453"/>
                  <a:pt x="6480" y="17182"/>
                </a:cubicBezTo>
                <a:cubicBezTo>
                  <a:pt x="6480" y="16910"/>
                  <a:pt x="6238" y="16691"/>
                  <a:pt x="5940" y="166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5" name="Shape 2755"/>
          <p:cNvSpPr/>
          <p:nvPr/>
        </p:nvSpPr>
        <p:spPr>
          <a:xfrm>
            <a:off x="19990992" y="8211901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4909"/>
                </a:moveTo>
                <a:lnTo>
                  <a:pt x="19200" y="4909"/>
                </a:lnTo>
                <a:lnTo>
                  <a:pt x="19200" y="2945"/>
                </a:lnTo>
                <a:cubicBezTo>
                  <a:pt x="19200" y="2674"/>
                  <a:pt x="18932" y="2455"/>
                  <a:pt x="18600" y="2455"/>
                </a:cubicBezTo>
                <a:cubicBezTo>
                  <a:pt x="18268" y="2455"/>
                  <a:pt x="18000" y="2674"/>
                  <a:pt x="18000" y="2945"/>
                </a:cubicBezTo>
                <a:lnTo>
                  <a:pt x="18000" y="4909"/>
                </a:lnTo>
                <a:lnTo>
                  <a:pt x="16800" y="4909"/>
                </a:lnTo>
                <a:lnTo>
                  <a:pt x="16800" y="2945"/>
                </a:lnTo>
                <a:cubicBezTo>
                  <a:pt x="16800" y="2674"/>
                  <a:pt x="16532" y="2455"/>
                  <a:pt x="16200" y="2455"/>
                </a:cubicBezTo>
                <a:cubicBezTo>
                  <a:pt x="15868" y="2455"/>
                  <a:pt x="15600" y="2674"/>
                  <a:pt x="15600" y="2945"/>
                </a:cubicBezTo>
                <a:lnTo>
                  <a:pt x="15600" y="4909"/>
                </a:lnTo>
                <a:lnTo>
                  <a:pt x="14400" y="4909"/>
                </a:lnTo>
                <a:lnTo>
                  <a:pt x="14400" y="2455"/>
                </a:lnTo>
                <a:cubicBezTo>
                  <a:pt x="14400" y="2183"/>
                  <a:pt x="14132" y="1964"/>
                  <a:pt x="13800" y="1964"/>
                </a:cubicBezTo>
                <a:cubicBezTo>
                  <a:pt x="13468" y="1964"/>
                  <a:pt x="13200" y="2183"/>
                  <a:pt x="13200" y="2455"/>
                </a:cubicBezTo>
                <a:lnTo>
                  <a:pt x="13200" y="4909"/>
                </a:lnTo>
                <a:lnTo>
                  <a:pt x="12000" y="4909"/>
                </a:lnTo>
                <a:lnTo>
                  <a:pt x="12000" y="2945"/>
                </a:lnTo>
                <a:cubicBezTo>
                  <a:pt x="12000" y="2674"/>
                  <a:pt x="11732" y="2455"/>
                  <a:pt x="11400" y="2455"/>
                </a:cubicBezTo>
                <a:cubicBezTo>
                  <a:pt x="11068" y="2455"/>
                  <a:pt x="10800" y="2674"/>
                  <a:pt x="10800" y="2945"/>
                </a:cubicBezTo>
                <a:lnTo>
                  <a:pt x="10800" y="4909"/>
                </a:lnTo>
                <a:lnTo>
                  <a:pt x="9600" y="4909"/>
                </a:lnTo>
                <a:lnTo>
                  <a:pt x="9600" y="2455"/>
                </a:lnTo>
                <a:cubicBezTo>
                  <a:pt x="9600" y="2183"/>
                  <a:pt x="9332" y="1964"/>
                  <a:pt x="9000" y="1964"/>
                </a:cubicBezTo>
                <a:cubicBezTo>
                  <a:pt x="8668" y="1964"/>
                  <a:pt x="8400" y="2183"/>
                  <a:pt x="8400" y="2455"/>
                </a:cubicBezTo>
                <a:lnTo>
                  <a:pt x="8400" y="4909"/>
                </a:lnTo>
                <a:lnTo>
                  <a:pt x="6000" y="4909"/>
                </a:lnTo>
                <a:lnTo>
                  <a:pt x="6000" y="2945"/>
                </a:lnTo>
                <a:cubicBezTo>
                  <a:pt x="6000" y="2674"/>
                  <a:pt x="5732" y="2455"/>
                  <a:pt x="5400" y="2455"/>
                </a:cubicBezTo>
                <a:cubicBezTo>
                  <a:pt x="5068" y="2455"/>
                  <a:pt x="4800" y="2674"/>
                  <a:pt x="4800" y="2945"/>
                </a:cubicBezTo>
                <a:lnTo>
                  <a:pt x="4800" y="4909"/>
                </a:lnTo>
                <a:lnTo>
                  <a:pt x="3600" y="4909"/>
                </a:lnTo>
                <a:lnTo>
                  <a:pt x="3600" y="2455"/>
                </a:lnTo>
                <a:cubicBezTo>
                  <a:pt x="3600" y="2183"/>
                  <a:pt x="3332" y="1964"/>
                  <a:pt x="3000" y="1964"/>
                </a:cubicBezTo>
                <a:cubicBezTo>
                  <a:pt x="2668" y="1964"/>
                  <a:pt x="2400" y="2183"/>
                  <a:pt x="2400" y="2455"/>
                </a:cubicBezTo>
                <a:lnTo>
                  <a:pt x="2400" y="4909"/>
                </a:lnTo>
                <a:lnTo>
                  <a:pt x="1200" y="4909"/>
                </a:lnTo>
                <a:lnTo>
                  <a:pt x="1200" y="982"/>
                </a:lnTo>
                <a:lnTo>
                  <a:pt x="20400" y="982"/>
                </a:lnTo>
                <a:cubicBezTo>
                  <a:pt x="20400" y="982"/>
                  <a:pt x="20400" y="4909"/>
                  <a:pt x="20400" y="4909"/>
                </a:cubicBezTo>
                <a:close/>
                <a:moveTo>
                  <a:pt x="20400" y="10309"/>
                </a:moveTo>
                <a:lnTo>
                  <a:pt x="19200" y="10309"/>
                </a:lnTo>
                <a:lnTo>
                  <a:pt x="19200" y="7855"/>
                </a:lnTo>
                <a:cubicBezTo>
                  <a:pt x="19200" y="7583"/>
                  <a:pt x="18932" y="7364"/>
                  <a:pt x="18600" y="7364"/>
                </a:cubicBezTo>
                <a:cubicBezTo>
                  <a:pt x="18268" y="7364"/>
                  <a:pt x="18000" y="7583"/>
                  <a:pt x="18000" y="7855"/>
                </a:cubicBezTo>
                <a:lnTo>
                  <a:pt x="18000" y="10309"/>
                </a:lnTo>
                <a:lnTo>
                  <a:pt x="16800" y="10309"/>
                </a:lnTo>
                <a:lnTo>
                  <a:pt x="16800" y="7364"/>
                </a:lnTo>
                <a:cubicBezTo>
                  <a:pt x="16800" y="7092"/>
                  <a:pt x="16532" y="6873"/>
                  <a:pt x="16200" y="6873"/>
                </a:cubicBezTo>
                <a:cubicBezTo>
                  <a:pt x="15868" y="6873"/>
                  <a:pt x="15600" y="7092"/>
                  <a:pt x="15600" y="7364"/>
                </a:cubicBezTo>
                <a:lnTo>
                  <a:pt x="15600" y="10309"/>
                </a:lnTo>
                <a:lnTo>
                  <a:pt x="14400" y="10309"/>
                </a:lnTo>
                <a:lnTo>
                  <a:pt x="14400" y="7855"/>
                </a:lnTo>
                <a:cubicBezTo>
                  <a:pt x="14400" y="7583"/>
                  <a:pt x="14132" y="7364"/>
                  <a:pt x="13800" y="7364"/>
                </a:cubicBezTo>
                <a:cubicBezTo>
                  <a:pt x="13468" y="7364"/>
                  <a:pt x="13200" y="7583"/>
                  <a:pt x="13200" y="7855"/>
                </a:cubicBezTo>
                <a:lnTo>
                  <a:pt x="13200" y="10309"/>
                </a:lnTo>
                <a:lnTo>
                  <a:pt x="12000" y="10309"/>
                </a:lnTo>
                <a:lnTo>
                  <a:pt x="12000" y="7364"/>
                </a:lnTo>
                <a:cubicBezTo>
                  <a:pt x="12000" y="7092"/>
                  <a:pt x="11732" y="6873"/>
                  <a:pt x="11400" y="6873"/>
                </a:cubicBezTo>
                <a:cubicBezTo>
                  <a:pt x="11068" y="6873"/>
                  <a:pt x="10800" y="7092"/>
                  <a:pt x="10800" y="7364"/>
                </a:cubicBezTo>
                <a:lnTo>
                  <a:pt x="10800" y="10309"/>
                </a:lnTo>
                <a:lnTo>
                  <a:pt x="8400" y="10309"/>
                </a:lnTo>
                <a:lnTo>
                  <a:pt x="8400" y="7855"/>
                </a:lnTo>
                <a:cubicBezTo>
                  <a:pt x="8400" y="7583"/>
                  <a:pt x="8132" y="7364"/>
                  <a:pt x="7800" y="7364"/>
                </a:cubicBezTo>
                <a:cubicBezTo>
                  <a:pt x="7468" y="7364"/>
                  <a:pt x="7200" y="7583"/>
                  <a:pt x="7200" y="7855"/>
                </a:cubicBezTo>
                <a:lnTo>
                  <a:pt x="7200" y="10309"/>
                </a:lnTo>
                <a:lnTo>
                  <a:pt x="6000" y="10309"/>
                </a:lnTo>
                <a:lnTo>
                  <a:pt x="6000" y="7855"/>
                </a:lnTo>
                <a:cubicBezTo>
                  <a:pt x="6000" y="7583"/>
                  <a:pt x="5732" y="7364"/>
                  <a:pt x="5400" y="7364"/>
                </a:cubicBezTo>
                <a:cubicBezTo>
                  <a:pt x="5068" y="7364"/>
                  <a:pt x="4800" y="7583"/>
                  <a:pt x="4800" y="7855"/>
                </a:cubicBezTo>
                <a:lnTo>
                  <a:pt x="4800" y="10309"/>
                </a:lnTo>
                <a:lnTo>
                  <a:pt x="3600" y="10309"/>
                </a:lnTo>
                <a:lnTo>
                  <a:pt x="3600" y="7364"/>
                </a:lnTo>
                <a:cubicBezTo>
                  <a:pt x="3600" y="7092"/>
                  <a:pt x="3332" y="6873"/>
                  <a:pt x="3000" y="6873"/>
                </a:cubicBezTo>
                <a:cubicBezTo>
                  <a:pt x="2668" y="6873"/>
                  <a:pt x="2400" y="7092"/>
                  <a:pt x="2400" y="7364"/>
                </a:cubicBezTo>
                <a:lnTo>
                  <a:pt x="2400" y="10309"/>
                </a:lnTo>
                <a:lnTo>
                  <a:pt x="1200" y="10309"/>
                </a:lnTo>
                <a:lnTo>
                  <a:pt x="1200" y="5891"/>
                </a:lnTo>
                <a:lnTo>
                  <a:pt x="20400" y="5891"/>
                </a:lnTo>
                <a:cubicBezTo>
                  <a:pt x="20400" y="5891"/>
                  <a:pt x="20400" y="10309"/>
                  <a:pt x="20400" y="10309"/>
                </a:cubicBezTo>
                <a:close/>
                <a:moveTo>
                  <a:pt x="20400" y="15709"/>
                </a:moveTo>
                <a:lnTo>
                  <a:pt x="19200" y="15709"/>
                </a:lnTo>
                <a:lnTo>
                  <a:pt x="19200" y="13255"/>
                </a:lnTo>
                <a:cubicBezTo>
                  <a:pt x="19200" y="12983"/>
                  <a:pt x="18932" y="12764"/>
                  <a:pt x="18600" y="12764"/>
                </a:cubicBezTo>
                <a:cubicBezTo>
                  <a:pt x="18268" y="12764"/>
                  <a:pt x="18000" y="12983"/>
                  <a:pt x="18000" y="13255"/>
                </a:cubicBezTo>
                <a:lnTo>
                  <a:pt x="18000" y="15709"/>
                </a:lnTo>
                <a:lnTo>
                  <a:pt x="16800" y="15709"/>
                </a:lnTo>
                <a:lnTo>
                  <a:pt x="16800" y="13255"/>
                </a:lnTo>
                <a:cubicBezTo>
                  <a:pt x="16800" y="12983"/>
                  <a:pt x="16532" y="12764"/>
                  <a:pt x="16200" y="12764"/>
                </a:cubicBezTo>
                <a:cubicBezTo>
                  <a:pt x="15868" y="12764"/>
                  <a:pt x="15600" y="12983"/>
                  <a:pt x="15600" y="13255"/>
                </a:cubicBezTo>
                <a:lnTo>
                  <a:pt x="15600" y="15709"/>
                </a:lnTo>
                <a:lnTo>
                  <a:pt x="13200" y="15709"/>
                </a:lnTo>
                <a:lnTo>
                  <a:pt x="13200" y="13745"/>
                </a:lnTo>
                <a:cubicBezTo>
                  <a:pt x="13200" y="13474"/>
                  <a:pt x="12932" y="13255"/>
                  <a:pt x="12600" y="13255"/>
                </a:cubicBezTo>
                <a:cubicBezTo>
                  <a:pt x="12268" y="13255"/>
                  <a:pt x="12000" y="13474"/>
                  <a:pt x="12000" y="13745"/>
                </a:cubicBezTo>
                <a:lnTo>
                  <a:pt x="12000" y="15709"/>
                </a:lnTo>
                <a:lnTo>
                  <a:pt x="10800" y="15709"/>
                </a:lnTo>
                <a:lnTo>
                  <a:pt x="10800" y="13745"/>
                </a:lnTo>
                <a:cubicBezTo>
                  <a:pt x="10800" y="13474"/>
                  <a:pt x="10532" y="13255"/>
                  <a:pt x="10200" y="13255"/>
                </a:cubicBezTo>
                <a:cubicBezTo>
                  <a:pt x="9868" y="13255"/>
                  <a:pt x="9600" y="13474"/>
                  <a:pt x="9600" y="13745"/>
                </a:cubicBezTo>
                <a:lnTo>
                  <a:pt x="9600" y="15709"/>
                </a:lnTo>
                <a:lnTo>
                  <a:pt x="8400" y="15709"/>
                </a:lnTo>
                <a:lnTo>
                  <a:pt x="8400" y="13255"/>
                </a:lnTo>
                <a:cubicBezTo>
                  <a:pt x="8400" y="12983"/>
                  <a:pt x="8132" y="12764"/>
                  <a:pt x="7800" y="12764"/>
                </a:cubicBezTo>
                <a:cubicBezTo>
                  <a:pt x="7468" y="12764"/>
                  <a:pt x="7200" y="12983"/>
                  <a:pt x="7200" y="13255"/>
                </a:cubicBezTo>
                <a:lnTo>
                  <a:pt x="7200" y="15709"/>
                </a:lnTo>
                <a:lnTo>
                  <a:pt x="6000" y="15709"/>
                </a:lnTo>
                <a:lnTo>
                  <a:pt x="6000" y="13745"/>
                </a:lnTo>
                <a:cubicBezTo>
                  <a:pt x="6000" y="13474"/>
                  <a:pt x="5732" y="13255"/>
                  <a:pt x="5400" y="13255"/>
                </a:cubicBezTo>
                <a:cubicBezTo>
                  <a:pt x="5068" y="13255"/>
                  <a:pt x="4800" y="13474"/>
                  <a:pt x="4800" y="13745"/>
                </a:cubicBezTo>
                <a:lnTo>
                  <a:pt x="4800" y="15709"/>
                </a:lnTo>
                <a:lnTo>
                  <a:pt x="1200" y="15709"/>
                </a:lnTo>
                <a:lnTo>
                  <a:pt x="1200" y="11291"/>
                </a:lnTo>
                <a:lnTo>
                  <a:pt x="20400" y="11291"/>
                </a:lnTo>
                <a:cubicBezTo>
                  <a:pt x="20400" y="11291"/>
                  <a:pt x="20400" y="15709"/>
                  <a:pt x="20400" y="15709"/>
                </a:cubicBezTo>
                <a:close/>
                <a:moveTo>
                  <a:pt x="20400" y="20618"/>
                </a:moveTo>
                <a:lnTo>
                  <a:pt x="19200" y="20618"/>
                </a:lnTo>
                <a:lnTo>
                  <a:pt x="19200" y="18655"/>
                </a:lnTo>
                <a:cubicBezTo>
                  <a:pt x="19200" y="18383"/>
                  <a:pt x="18932" y="18164"/>
                  <a:pt x="18600" y="18164"/>
                </a:cubicBezTo>
                <a:cubicBezTo>
                  <a:pt x="18268" y="18164"/>
                  <a:pt x="18000" y="18383"/>
                  <a:pt x="18000" y="18655"/>
                </a:cubicBezTo>
                <a:lnTo>
                  <a:pt x="18000" y="20618"/>
                </a:lnTo>
                <a:lnTo>
                  <a:pt x="16800" y="20618"/>
                </a:lnTo>
                <a:lnTo>
                  <a:pt x="16800" y="18655"/>
                </a:lnTo>
                <a:cubicBezTo>
                  <a:pt x="16800" y="18383"/>
                  <a:pt x="16532" y="18164"/>
                  <a:pt x="16200" y="18164"/>
                </a:cubicBezTo>
                <a:cubicBezTo>
                  <a:pt x="15868" y="18164"/>
                  <a:pt x="15600" y="18383"/>
                  <a:pt x="15600" y="18655"/>
                </a:cubicBezTo>
                <a:lnTo>
                  <a:pt x="15600" y="20618"/>
                </a:lnTo>
                <a:lnTo>
                  <a:pt x="14400" y="20618"/>
                </a:lnTo>
                <a:lnTo>
                  <a:pt x="14400" y="18164"/>
                </a:lnTo>
                <a:cubicBezTo>
                  <a:pt x="14400" y="17892"/>
                  <a:pt x="14132" y="17673"/>
                  <a:pt x="13800" y="17673"/>
                </a:cubicBezTo>
                <a:cubicBezTo>
                  <a:pt x="13468" y="17673"/>
                  <a:pt x="13200" y="17892"/>
                  <a:pt x="13200" y="18164"/>
                </a:cubicBezTo>
                <a:lnTo>
                  <a:pt x="13200" y="20618"/>
                </a:lnTo>
                <a:lnTo>
                  <a:pt x="10800" y="20618"/>
                </a:lnTo>
                <a:lnTo>
                  <a:pt x="10800" y="18164"/>
                </a:lnTo>
                <a:cubicBezTo>
                  <a:pt x="10800" y="17892"/>
                  <a:pt x="10532" y="17673"/>
                  <a:pt x="10200" y="17673"/>
                </a:cubicBezTo>
                <a:cubicBezTo>
                  <a:pt x="9868" y="17673"/>
                  <a:pt x="9600" y="17892"/>
                  <a:pt x="9600" y="18164"/>
                </a:cubicBezTo>
                <a:lnTo>
                  <a:pt x="9600" y="20618"/>
                </a:lnTo>
                <a:lnTo>
                  <a:pt x="8400" y="20618"/>
                </a:lnTo>
                <a:lnTo>
                  <a:pt x="8400" y="18655"/>
                </a:lnTo>
                <a:cubicBezTo>
                  <a:pt x="8400" y="18383"/>
                  <a:pt x="8132" y="18164"/>
                  <a:pt x="7800" y="18164"/>
                </a:cubicBezTo>
                <a:cubicBezTo>
                  <a:pt x="7468" y="18164"/>
                  <a:pt x="7200" y="18383"/>
                  <a:pt x="7200" y="18655"/>
                </a:cubicBezTo>
                <a:lnTo>
                  <a:pt x="7200" y="20618"/>
                </a:lnTo>
                <a:lnTo>
                  <a:pt x="6000" y="20618"/>
                </a:lnTo>
                <a:lnTo>
                  <a:pt x="6000" y="18164"/>
                </a:lnTo>
                <a:cubicBezTo>
                  <a:pt x="6000" y="17892"/>
                  <a:pt x="5732" y="17673"/>
                  <a:pt x="5400" y="17673"/>
                </a:cubicBezTo>
                <a:cubicBezTo>
                  <a:pt x="5068" y="17673"/>
                  <a:pt x="4800" y="17892"/>
                  <a:pt x="4800" y="18164"/>
                </a:cubicBezTo>
                <a:lnTo>
                  <a:pt x="4800" y="20618"/>
                </a:lnTo>
                <a:lnTo>
                  <a:pt x="3600" y="20618"/>
                </a:lnTo>
                <a:lnTo>
                  <a:pt x="3600" y="18655"/>
                </a:lnTo>
                <a:cubicBezTo>
                  <a:pt x="3600" y="18383"/>
                  <a:pt x="3332" y="18164"/>
                  <a:pt x="3000" y="18164"/>
                </a:cubicBezTo>
                <a:cubicBezTo>
                  <a:pt x="2668" y="18164"/>
                  <a:pt x="2400" y="18383"/>
                  <a:pt x="2400" y="18655"/>
                </a:cubicBezTo>
                <a:lnTo>
                  <a:pt x="2400" y="20618"/>
                </a:lnTo>
                <a:lnTo>
                  <a:pt x="1200" y="20618"/>
                </a:lnTo>
                <a:lnTo>
                  <a:pt x="1200" y="16691"/>
                </a:lnTo>
                <a:lnTo>
                  <a:pt x="20400" y="16691"/>
                </a:lnTo>
                <a:cubicBezTo>
                  <a:pt x="20400" y="16691"/>
                  <a:pt x="20400" y="20618"/>
                  <a:pt x="20400" y="20618"/>
                </a:cubicBezTo>
                <a:close/>
                <a:moveTo>
                  <a:pt x="20400" y="0"/>
                </a:moveTo>
                <a:lnTo>
                  <a:pt x="1200" y="0"/>
                </a:lnTo>
                <a:cubicBezTo>
                  <a:pt x="537" y="0"/>
                  <a:pt x="0" y="440"/>
                  <a:pt x="0" y="982"/>
                </a:cubicBezTo>
                <a:lnTo>
                  <a:pt x="0" y="20618"/>
                </a:lnTo>
                <a:cubicBezTo>
                  <a:pt x="0" y="21160"/>
                  <a:pt x="537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062" y="0"/>
                  <a:pt x="204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6" name="Shape 2756"/>
          <p:cNvSpPr/>
          <p:nvPr/>
        </p:nvSpPr>
        <p:spPr>
          <a:xfrm>
            <a:off x="21006730" y="8364263"/>
            <a:ext cx="558654" cy="2539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0" y="19440"/>
                </a:moveTo>
                <a:cubicBezTo>
                  <a:pt x="17951" y="19440"/>
                  <a:pt x="17182" y="17747"/>
                  <a:pt x="17182" y="15660"/>
                </a:cubicBezTo>
                <a:cubicBezTo>
                  <a:pt x="17182" y="14601"/>
                  <a:pt x="17381" y="13647"/>
                  <a:pt x="17700" y="12960"/>
                </a:cubicBezTo>
                <a:lnTo>
                  <a:pt x="3900" y="12960"/>
                </a:lnTo>
                <a:cubicBezTo>
                  <a:pt x="4219" y="13647"/>
                  <a:pt x="4418" y="14601"/>
                  <a:pt x="4418" y="15660"/>
                </a:cubicBezTo>
                <a:cubicBezTo>
                  <a:pt x="4418" y="17747"/>
                  <a:pt x="3649" y="19440"/>
                  <a:pt x="2700" y="19440"/>
                </a:cubicBezTo>
                <a:cubicBezTo>
                  <a:pt x="1751" y="19440"/>
                  <a:pt x="982" y="17747"/>
                  <a:pt x="982" y="15660"/>
                </a:cubicBezTo>
                <a:cubicBezTo>
                  <a:pt x="982" y="13757"/>
                  <a:pt x="1623" y="12199"/>
                  <a:pt x="2455" y="11935"/>
                </a:cubicBezTo>
                <a:lnTo>
                  <a:pt x="2455" y="11880"/>
                </a:lnTo>
                <a:cubicBezTo>
                  <a:pt x="2726" y="11880"/>
                  <a:pt x="2945" y="11397"/>
                  <a:pt x="2945" y="10800"/>
                </a:cubicBezTo>
                <a:cubicBezTo>
                  <a:pt x="2945" y="10203"/>
                  <a:pt x="2726" y="9720"/>
                  <a:pt x="2455" y="9720"/>
                </a:cubicBezTo>
                <a:lnTo>
                  <a:pt x="2455" y="9665"/>
                </a:lnTo>
                <a:cubicBezTo>
                  <a:pt x="1623" y="9401"/>
                  <a:pt x="982" y="7843"/>
                  <a:pt x="982" y="5940"/>
                </a:cubicBezTo>
                <a:cubicBezTo>
                  <a:pt x="982" y="3852"/>
                  <a:pt x="1751" y="2160"/>
                  <a:pt x="2700" y="2160"/>
                </a:cubicBezTo>
                <a:cubicBezTo>
                  <a:pt x="3649" y="2160"/>
                  <a:pt x="4418" y="3852"/>
                  <a:pt x="4418" y="5940"/>
                </a:cubicBezTo>
                <a:cubicBezTo>
                  <a:pt x="4418" y="6999"/>
                  <a:pt x="4219" y="7954"/>
                  <a:pt x="3900" y="8640"/>
                </a:cubicBezTo>
                <a:lnTo>
                  <a:pt x="17700" y="8640"/>
                </a:lnTo>
                <a:cubicBezTo>
                  <a:pt x="17381" y="7954"/>
                  <a:pt x="17182" y="6999"/>
                  <a:pt x="17182" y="5940"/>
                </a:cubicBezTo>
                <a:cubicBezTo>
                  <a:pt x="17182" y="3852"/>
                  <a:pt x="17951" y="2160"/>
                  <a:pt x="18900" y="2160"/>
                </a:cubicBezTo>
                <a:cubicBezTo>
                  <a:pt x="19849" y="2160"/>
                  <a:pt x="20618" y="3852"/>
                  <a:pt x="20618" y="5940"/>
                </a:cubicBezTo>
                <a:cubicBezTo>
                  <a:pt x="20618" y="7843"/>
                  <a:pt x="19977" y="9401"/>
                  <a:pt x="19145" y="9665"/>
                </a:cubicBezTo>
                <a:lnTo>
                  <a:pt x="19145" y="9720"/>
                </a:lnTo>
                <a:cubicBezTo>
                  <a:pt x="18874" y="9720"/>
                  <a:pt x="18655" y="10203"/>
                  <a:pt x="18655" y="10800"/>
                </a:cubicBezTo>
                <a:cubicBezTo>
                  <a:pt x="18655" y="11397"/>
                  <a:pt x="18874" y="11880"/>
                  <a:pt x="19145" y="11880"/>
                </a:cubicBezTo>
                <a:lnTo>
                  <a:pt x="19145" y="11935"/>
                </a:lnTo>
                <a:cubicBezTo>
                  <a:pt x="19977" y="12199"/>
                  <a:pt x="20618" y="13757"/>
                  <a:pt x="20618" y="15660"/>
                </a:cubicBezTo>
                <a:cubicBezTo>
                  <a:pt x="20618" y="17747"/>
                  <a:pt x="19849" y="19440"/>
                  <a:pt x="18900" y="19440"/>
                </a:cubicBezTo>
                <a:moveTo>
                  <a:pt x="20449" y="10800"/>
                </a:moveTo>
                <a:cubicBezTo>
                  <a:pt x="21145" y="9725"/>
                  <a:pt x="21600" y="7950"/>
                  <a:pt x="21600" y="5940"/>
                </a:cubicBezTo>
                <a:cubicBezTo>
                  <a:pt x="21600" y="2660"/>
                  <a:pt x="20391" y="0"/>
                  <a:pt x="18900" y="0"/>
                </a:cubicBezTo>
                <a:cubicBezTo>
                  <a:pt x="17409" y="0"/>
                  <a:pt x="16200" y="2660"/>
                  <a:pt x="16200" y="5940"/>
                </a:cubicBezTo>
                <a:cubicBezTo>
                  <a:pt x="16200" y="6124"/>
                  <a:pt x="16208" y="6301"/>
                  <a:pt x="16215" y="6480"/>
                </a:cubicBezTo>
                <a:lnTo>
                  <a:pt x="5385" y="6480"/>
                </a:lnTo>
                <a:cubicBezTo>
                  <a:pt x="5392" y="6301"/>
                  <a:pt x="5400" y="6124"/>
                  <a:pt x="5400" y="5940"/>
                </a:cubicBezTo>
                <a:cubicBezTo>
                  <a:pt x="5400" y="2660"/>
                  <a:pt x="4191" y="0"/>
                  <a:pt x="2700" y="0"/>
                </a:cubicBezTo>
                <a:cubicBezTo>
                  <a:pt x="1209" y="0"/>
                  <a:pt x="0" y="2660"/>
                  <a:pt x="0" y="5940"/>
                </a:cubicBezTo>
                <a:cubicBezTo>
                  <a:pt x="0" y="7950"/>
                  <a:pt x="455" y="9725"/>
                  <a:pt x="1151" y="10800"/>
                </a:cubicBezTo>
                <a:cubicBezTo>
                  <a:pt x="455" y="11875"/>
                  <a:pt x="0" y="13649"/>
                  <a:pt x="0" y="15660"/>
                </a:cubicBezTo>
                <a:cubicBezTo>
                  <a:pt x="0" y="18940"/>
                  <a:pt x="1209" y="21600"/>
                  <a:pt x="2700" y="21600"/>
                </a:cubicBezTo>
                <a:cubicBezTo>
                  <a:pt x="4191" y="21600"/>
                  <a:pt x="5400" y="18940"/>
                  <a:pt x="5400" y="15660"/>
                </a:cubicBezTo>
                <a:cubicBezTo>
                  <a:pt x="5400" y="15476"/>
                  <a:pt x="5392" y="15298"/>
                  <a:pt x="5385" y="15120"/>
                </a:cubicBezTo>
                <a:lnTo>
                  <a:pt x="16215" y="15120"/>
                </a:lnTo>
                <a:cubicBezTo>
                  <a:pt x="16208" y="15298"/>
                  <a:pt x="16200" y="15476"/>
                  <a:pt x="16200" y="15660"/>
                </a:cubicBezTo>
                <a:cubicBezTo>
                  <a:pt x="16200" y="18940"/>
                  <a:pt x="17409" y="21600"/>
                  <a:pt x="18900" y="21600"/>
                </a:cubicBezTo>
                <a:cubicBezTo>
                  <a:pt x="20391" y="21600"/>
                  <a:pt x="21600" y="18940"/>
                  <a:pt x="21600" y="15660"/>
                </a:cubicBezTo>
                <a:cubicBezTo>
                  <a:pt x="21600" y="13649"/>
                  <a:pt x="21145" y="11875"/>
                  <a:pt x="20449" y="10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7" name="Shape 2757"/>
          <p:cNvSpPr/>
          <p:nvPr/>
        </p:nvSpPr>
        <p:spPr>
          <a:xfrm>
            <a:off x="22073249" y="8211902"/>
            <a:ext cx="558798" cy="5588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84" h="21085" extrusionOk="0">
                <a:moveTo>
                  <a:pt x="6690" y="19632"/>
                </a:moveTo>
                <a:cubicBezTo>
                  <a:pt x="6035" y="20288"/>
                  <a:pt x="4973" y="20288"/>
                  <a:pt x="4318" y="19632"/>
                </a:cubicBezTo>
                <a:cubicBezTo>
                  <a:pt x="3731" y="19043"/>
                  <a:pt x="3675" y="18127"/>
                  <a:pt x="4141" y="17471"/>
                </a:cubicBezTo>
                <a:lnTo>
                  <a:pt x="4127" y="17458"/>
                </a:lnTo>
                <a:cubicBezTo>
                  <a:pt x="4237" y="17311"/>
                  <a:pt x="4231" y="17106"/>
                  <a:pt x="4096" y="16973"/>
                </a:cubicBezTo>
                <a:cubicBezTo>
                  <a:pt x="3963" y="16842"/>
                  <a:pt x="3758" y="16835"/>
                  <a:pt x="3610" y="16939"/>
                </a:cubicBezTo>
                <a:lnTo>
                  <a:pt x="3601" y="16931"/>
                </a:lnTo>
                <a:cubicBezTo>
                  <a:pt x="2946" y="17395"/>
                  <a:pt x="2036" y="17338"/>
                  <a:pt x="1449" y="16752"/>
                </a:cubicBezTo>
                <a:cubicBezTo>
                  <a:pt x="794" y="16097"/>
                  <a:pt x="794" y="15035"/>
                  <a:pt x="1449" y="14381"/>
                </a:cubicBezTo>
                <a:cubicBezTo>
                  <a:pt x="2104" y="13726"/>
                  <a:pt x="3166" y="13726"/>
                  <a:pt x="3821" y="14381"/>
                </a:cubicBezTo>
                <a:cubicBezTo>
                  <a:pt x="4110" y="14670"/>
                  <a:pt x="4264" y="15040"/>
                  <a:pt x="4297" y="15418"/>
                </a:cubicBezTo>
                <a:lnTo>
                  <a:pt x="9862" y="9852"/>
                </a:lnTo>
                <a:lnTo>
                  <a:pt x="15417" y="4298"/>
                </a:lnTo>
                <a:cubicBezTo>
                  <a:pt x="15038" y="4264"/>
                  <a:pt x="14669" y="4111"/>
                  <a:pt x="14380" y="3821"/>
                </a:cubicBezTo>
                <a:cubicBezTo>
                  <a:pt x="13725" y="3166"/>
                  <a:pt x="13725" y="2105"/>
                  <a:pt x="14380" y="1450"/>
                </a:cubicBezTo>
                <a:cubicBezTo>
                  <a:pt x="15034" y="795"/>
                  <a:pt x="16096" y="795"/>
                  <a:pt x="16751" y="1450"/>
                </a:cubicBezTo>
                <a:cubicBezTo>
                  <a:pt x="17332" y="2031"/>
                  <a:pt x="17394" y="2932"/>
                  <a:pt x="16943" y="3585"/>
                </a:cubicBezTo>
                <a:lnTo>
                  <a:pt x="16949" y="3592"/>
                </a:lnTo>
                <a:cubicBezTo>
                  <a:pt x="16829" y="3738"/>
                  <a:pt x="16832" y="3953"/>
                  <a:pt x="16971" y="4089"/>
                </a:cubicBezTo>
                <a:cubicBezTo>
                  <a:pt x="17109" y="4225"/>
                  <a:pt x="17323" y="4230"/>
                  <a:pt x="17473" y="4114"/>
                </a:cubicBezTo>
                <a:lnTo>
                  <a:pt x="17487" y="4129"/>
                </a:lnTo>
                <a:cubicBezTo>
                  <a:pt x="18142" y="3675"/>
                  <a:pt x="19047" y="3737"/>
                  <a:pt x="19631" y="4319"/>
                </a:cubicBezTo>
                <a:cubicBezTo>
                  <a:pt x="20287" y="4974"/>
                  <a:pt x="20287" y="6036"/>
                  <a:pt x="19631" y="6691"/>
                </a:cubicBezTo>
                <a:cubicBezTo>
                  <a:pt x="18974" y="7346"/>
                  <a:pt x="17909" y="7346"/>
                  <a:pt x="17253" y="6691"/>
                </a:cubicBezTo>
                <a:cubicBezTo>
                  <a:pt x="16962" y="6400"/>
                  <a:pt x="16807" y="6029"/>
                  <a:pt x="16775" y="5650"/>
                </a:cubicBezTo>
                <a:lnTo>
                  <a:pt x="5650" y="16775"/>
                </a:lnTo>
                <a:cubicBezTo>
                  <a:pt x="6029" y="16808"/>
                  <a:pt x="6400" y="16963"/>
                  <a:pt x="6690" y="17254"/>
                </a:cubicBezTo>
                <a:cubicBezTo>
                  <a:pt x="7344" y="17910"/>
                  <a:pt x="7344" y="18975"/>
                  <a:pt x="6690" y="19632"/>
                </a:cubicBezTo>
                <a:moveTo>
                  <a:pt x="7277" y="16503"/>
                </a:moveTo>
                <a:lnTo>
                  <a:pt x="16501" y="7278"/>
                </a:lnTo>
                <a:cubicBezTo>
                  <a:pt x="16528" y="7307"/>
                  <a:pt x="16545" y="7340"/>
                  <a:pt x="16573" y="7368"/>
                </a:cubicBezTo>
                <a:cubicBezTo>
                  <a:pt x="17605" y="8397"/>
                  <a:pt x="19278" y="8397"/>
                  <a:pt x="20310" y="7368"/>
                </a:cubicBezTo>
                <a:cubicBezTo>
                  <a:pt x="21342" y="6339"/>
                  <a:pt x="21342" y="4671"/>
                  <a:pt x="20310" y="3641"/>
                </a:cubicBezTo>
                <a:cubicBezTo>
                  <a:pt x="19726" y="3059"/>
                  <a:pt x="18937" y="2818"/>
                  <a:pt x="18175" y="2895"/>
                </a:cubicBezTo>
                <a:cubicBezTo>
                  <a:pt x="18250" y="2137"/>
                  <a:pt x="18009" y="1353"/>
                  <a:pt x="17428" y="772"/>
                </a:cubicBezTo>
                <a:cubicBezTo>
                  <a:pt x="16399" y="-257"/>
                  <a:pt x="14731" y="-257"/>
                  <a:pt x="13702" y="772"/>
                </a:cubicBezTo>
                <a:cubicBezTo>
                  <a:pt x="12673" y="1802"/>
                  <a:pt x="12673" y="3470"/>
                  <a:pt x="13702" y="4498"/>
                </a:cubicBezTo>
                <a:cubicBezTo>
                  <a:pt x="13729" y="4526"/>
                  <a:pt x="13763" y="4543"/>
                  <a:pt x="13791" y="4569"/>
                </a:cubicBezTo>
                <a:lnTo>
                  <a:pt x="4568" y="13791"/>
                </a:lnTo>
                <a:cubicBezTo>
                  <a:pt x="4542" y="13763"/>
                  <a:pt x="4526" y="13730"/>
                  <a:pt x="4498" y="13703"/>
                </a:cubicBezTo>
                <a:cubicBezTo>
                  <a:pt x="3469" y="12674"/>
                  <a:pt x="1801" y="12674"/>
                  <a:pt x="772" y="13703"/>
                </a:cubicBezTo>
                <a:cubicBezTo>
                  <a:pt x="-258" y="14732"/>
                  <a:pt x="-258" y="16400"/>
                  <a:pt x="772" y="17429"/>
                </a:cubicBezTo>
                <a:cubicBezTo>
                  <a:pt x="1353" y="18010"/>
                  <a:pt x="2136" y="18251"/>
                  <a:pt x="2895" y="18176"/>
                </a:cubicBezTo>
                <a:cubicBezTo>
                  <a:pt x="2818" y="18938"/>
                  <a:pt x="3058" y="19727"/>
                  <a:pt x="3641" y="20311"/>
                </a:cubicBezTo>
                <a:cubicBezTo>
                  <a:pt x="4670" y="21343"/>
                  <a:pt x="6338" y="21343"/>
                  <a:pt x="7367" y="20311"/>
                </a:cubicBezTo>
                <a:cubicBezTo>
                  <a:pt x="8396" y="19279"/>
                  <a:pt x="8396" y="17606"/>
                  <a:pt x="7367" y="16574"/>
                </a:cubicBezTo>
                <a:cubicBezTo>
                  <a:pt x="7339" y="16546"/>
                  <a:pt x="7306" y="16529"/>
                  <a:pt x="7277" y="16503"/>
                </a:cubicBezTo>
                <a:moveTo>
                  <a:pt x="16558" y="13703"/>
                </a:moveTo>
                <a:cubicBezTo>
                  <a:pt x="16530" y="13731"/>
                  <a:pt x="16513" y="13764"/>
                  <a:pt x="16487" y="13793"/>
                </a:cubicBezTo>
                <a:lnTo>
                  <a:pt x="14254" y="11560"/>
                </a:lnTo>
                <a:cubicBezTo>
                  <a:pt x="14067" y="11391"/>
                  <a:pt x="13780" y="11393"/>
                  <a:pt x="13601" y="11573"/>
                </a:cubicBezTo>
                <a:cubicBezTo>
                  <a:pt x="13421" y="11753"/>
                  <a:pt x="13419" y="12039"/>
                  <a:pt x="13588" y="12226"/>
                </a:cubicBezTo>
                <a:lnTo>
                  <a:pt x="13576" y="12237"/>
                </a:lnTo>
                <a:lnTo>
                  <a:pt x="16759" y="15420"/>
                </a:lnTo>
                <a:cubicBezTo>
                  <a:pt x="16792" y="15041"/>
                  <a:pt x="16947" y="14671"/>
                  <a:pt x="17238" y="14381"/>
                </a:cubicBezTo>
                <a:cubicBezTo>
                  <a:pt x="17895" y="13726"/>
                  <a:pt x="18959" y="13726"/>
                  <a:pt x="19615" y="14381"/>
                </a:cubicBezTo>
                <a:cubicBezTo>
                  <a:pt x="20273" y="15035"/>
                  <a:pt x="20273" y="16097"/>
                  <a:pt x="19615" y="16752"/>
                </a:cubicBezTo>
                <a:cubicBezTo>
                  <a:pt x="19027" y="17339"/>
                  <a:pt x="18112" y="17395"/>
                  <a:pt x="17455" y="16929"/>
                </a:cubicBezTo>
                <a:lnTo>
                  <a:pt x="17442" y="16942"/>
                </a:lnTo>
                <a:cubicBezTo>
                  <a:pt x="17295" y="16832"/>
                  <a:pt x="17090" y="16839"/>
                  <a:pt x="16957" y="16974"/>
                </a:cubicBezTo>
                <a:cubicBezTo>
                  <a:pt x="16826" y="17107"/>
                  <a:pt x="16819" y="17312"/>
                  <a:pt x="16923" y="17460"/>
                </a:cubicBezTo>
                <a:lnTo>
                  <a:pt x="16915" y="17469"/>
                </a:lnTo>
                <a:cubicBezTo>
                  <a:pt x="17379" y="18124"/>
                  <a:pt x="17322" y="19034"/>
                  <a:pt x="16736" y="19621"/>
                </a:cubicBezTo>
                <a:cubicBezTo>
                  <a:pt x="16081" y="20276"/>
                  <a:pt x="15019" y="20276"/>
                  <a:pt x="14365" y="19621"/>
                </a:cubicBezTo>
                <a:cubicBezTo>
                  <a:pt x="13710" y="18966"/>
                  <a:pt x="13710" y="17904"/>
                  <a:pt x="14365" y="17250"/>
                </a:cubicBezTo>
                <a:cubicBezTo>
                  <a:pt x="14654" y="16960"/>
                  <a:pt x="15024" y="16807"/>
                  <a:pt x="15402" y="16773"/>
                </a:cubicBezTo>
                <a:lnTo>
                  <a:pt x="12222" y="13592"/>
                </a:lnTo>
                <a:lnTo>
                  <a:pt x="12218" y="13596"/>
                </a:lnTo>
                <a:cubicBezTo>
                  <a:pt x="12031" y="13427"/>
                  <a:pt x="11744" y="13428"/>
                  <a:pt x="11565" y="13609"/>
                </a:cubicBezTo>
                <a:cubicBezTo>
                  <a:pt x="11385" y="13789"/>
                  <a:pt x="11383" y="14075"/>
                  <a:pt x="11552" y="14262"/>
                </a:cubicBezTo>
                <a:lnTo>
                  <a:pt x="13776" y="16501"/>
                </a:lnTo>
                <a:cubicBezTo>
                  <a:pt x="13748" y="16528"/>
                  <a:pt x="13714" y="16544"/>
                  <a:pt x="13687" y="16572"/>
                </a:cubicBezTo>
                <a:cubicBezTo>
                  <a:pt x="12658" y="17601"/>
                  <a:pt x="12658" y="19269"/>
                  <a:pt x="13687" y="20298"/>
                </a:cubicBezTo>
                <a:cubicBezTo>
                  <a:pt x="14716" y="21328"/>
                  <a:pt x="16384" y="21328"/>
                  <a:pt x="17413" y="20298"/>
                </a:cubicBezTo>
                <a:cubicBezTo>
                  <a:pt x="17994" y="19717"/>
                  <a:pt x="18235" y="18934"/>
                  <a:pt x="18160" y="18175"/>
                </a:cubicBezTo>
                <a:cubicBezTo>
                  <a:pt x="18922" y="18252"/>
                  <a:pt x="19711" y="18011"/>
                  <a:pt x="20295" y="17429"/>
                </a:cubicBezTo>
                <a:cubicBezTo>
                  <a:pt x="21327" y="16400"/>
                  <a:pt x="21327" y="14732"/>
                  <a:pt x="20295" y="13703"/>
                </a:cubicBezTo>
                <a:cubicBezTo>
                  <a:pt x="19263" y="12674"/>
                  <a:pt x="17590" y="12674"/>
                  <a:pt x="16558" y="13703"/>
                </a:cubicBezTo>
                <a:moveTo>
                  <a:pt x="4511" y="7368"/>
                </a:moveTo>
                <a:cubicBezTo>
                  <a:pt x="4539" y="7340"/>
                  <a:pt x="4556" y="7306"/>
                  <a:pt x="4582" y="7278"/>
                </a:cubicBezTo>
                <a:lnTo>
                  <a:pt x="6815" y="9511"/>
                </a:lnTo>
                <a:cubicBezTo>
                  <a:pt x="7002" y="9679"/>
                  <a:pt x="7289" y="9678"/>
                  <a:pt x="7468" y="9498"/>
                </a:cubicBezTo>
                <a:cubicBezTo>
                  <a:pt x="7649" y="9318"/>
                  <a:pt x="7650" y="9031"/>
                  <a:pt x="7481" y="8844"/>
                </a:cubicBezTo>
                <a:lnTo>
                  <a:pt x="7493" y="8833"/>
                </a:lnTo>
                <a:lnTo>
                  <a:pt x="4309" y="5650"/>
                </a:lnTo>
                <a:cubicBezTo>
                  <a:pt x="4277" y="6029"/>
                  <a:pt x="4122" y="6400"/>
                  <a:pt x="3831" y="6691"/>
                </a:cubicBezTo>
                <a:cubicBezTo>
                  <a:pt x="3175" y="7346"/>
                  <a:pt x="2110" y="7346"/>
                  <a:pt x="1453" y="6691"/>
                </a:cubicBezTo>
                <a:cubicBezTo>
                  <a:pt x="797" y="6036"/>
                  <a:pt x="797" y="4974"/>
                  <a:pt x="1453" y="4319"/>
                </a:cubicBezTo>
                <a:cubicBezTo>
                  <a:pt x="2042" y="3732"/>
                  <a:pt x="2957" y="3676"/>
                  <a:pt x="3614" y="4142"/>
                </a:cubicBezTo>
                <a:lnTo>
                  <a:pt x="3627" y="4128"/>
                </a:lnTo>
                <a:cubicBezTo>
                  <a:pt x="3774" y="4238"/>
                  <a:pt x="3979" y="4232"/>
                  <a:pt x="4112" y="4097"/>
                </a:cubicBezTo>
                <a:cubicBezTo>
                  <a:pt x="4243" y="3963"/>
                  <a:pt x="4250" y="3759"/>
                  <a:pt x="4146" y="3610"/>
                </a:cubicBezTo>
                <a:lnTo>
                  <a:pt x="4154" y="3602"/>
                </a:lnTo>
                <a:cubicBezTo>
                  <a:pt x="3690" y="2947"/>
                  <a:pt x="3746" y="2036"/>
                  <a:pt x="4333" y="1450"/>
                </a:cubicBezTo>
                <a:cubicBezTo>
                  <a:pt x="4988" y="795"/>
                  <a:pt x="6050" y="795"/>
                  <a:pt x="6705" y="1450"/>
                </a:cubicBezTo>
                <a:cubicBezTo>
                  <a:pt x="7359" y="2105"/>
                  <a:pt x="7359" y="3166"/>
                  <a:pt x="6705" y="3821"/>
                </a:cubicBezTo>
                <a:cubicBezTo>
                  <a:pt x="6415" y="4111"/>
                  <a:pt x="6046" y="4264"/>
                  <a:pt x="5667" y="4298"/>
                </a:cubicBezTo>
                <a:lnTo>
                  <a:pt x="8847" y="7478"/>
                </a:lnTo>
                <a:lnTo>
                  <a:pt x="8851" y="7475"/>
                </a:lnTo>
                <a:cubicBezTo>
                  <a:pt x="9038" y="7644"/>
                  <a:pt x="9325" y="7642"/>
                  <a:pt x="9504" y="7462"/>
                </a:cubicBezTo>
                <a:cubicBezTo>
                  <a:pt x="9684" y="7282"/>
                  <a:pt x="9686" y="6995"/>
                  <a:pt x="9517" y="6808"/>
                </a:cubicBezTo>
                <a:lnTo>
                  <a:pt x="7293" y="4569"/>
                </a:lnTo>
                <a:cubicBezTo>
                  <a:pt x="7321" y="4543"/>
                  <a:pt x="7355" y="4526"/>
                  <a:pt x="7382" y="4498"/>
                </a:cubicBezTo>
                <a:cubicBezTo>
                  <a:pt x="8411" y="3470"/>
                  <a:pt x="8411" y="1802"/>
                  <a:pt x="7382" y="772"/>
                </a:cubicBezTo>
                <a:cubicBezTo>
                  <a:pt x="6353" y="-257"/>
                  <a:pt x="4685" y="-257"/>
                  <a:pt x="3656" y="772"/>
                </a:cubicBezTo>
                <a:cubicBezTo>
                  <a:pt x="3075" y="1353"/>
                  <a:pt x="2834" y="2137"/>
                  <a:pt x="2909" y="2895"/>
                </a:cubicBezTo>
                <a:cubicBezTo>
                  <a:pt x="2147" y="2818"/>
                  <a:pt x="1358" y="3059"/>
                  <a:pt x="774" y="3641"/>
                </a:cubicBezTo>
                <a:cubicBezTo>
                  <a:pt x="-258" y="4671"/>
                  <a:pt x="-258" y="6339"/>
                  <a:pt x="774" y="7368"/>
                </a:cubicBezTo>
                <a:cubicBezTo>
                  <a:pt x="1806" y="8397"/>
                  <a:pt x="3479" y="8397"/>
                  <a:pt x="4511" y="736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8" name="Shape 2758"/>
          <p:cNvSpPr/>
          <p:nvPr/>
        </p:nvSpPr>
        <p:spPr>
          <a:xfrm>
            <a:off x="12474551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982" y="6873"/>
                </a:moveTo>
                <a:lnTo>
                  <a:pt x="14727" y="6873"/>
                </a:lnTo>
                <a:lnTo>
                  <a:pt x="14727" y="8836"/>
                </a:lnTo>
                <a:lnTo>
                  <a:pt x="982" y="8836"/>
                </a:lnTo>
                <a:cubicBezTo>
                  <a:pt x="982" y="8836"/>
                  <a:pt x="982" y="6873"/>
                  <a:pt x="982" y="6873"/>
                </a:cubicBezTo>
                <a:close/>
                <a:moveTo>
                  <a:pt x="982" y="9818"/>
                </a:moveTo>
                <a:lnTo>
                  <a:pt x="14727" y="9818"/>
                </a:lnTo>
                <a:cubicBezTo>
                  <a:pt x="15269" y="9818"/>
                  <a:pt x="15709" y="9378"/>
                  <a:pt x="15709" y="8836"/>
                </a:cubicBezTo>
                <a:lnTo>
                  <a:pt x="15709" y="6873"/>
                </a:lnTo>
                <a:cubicBezTo>
                  <a:pt x="15709" y="6331"/>
                  <a:pt x="15269" y="5891"/>
                  <a:pt x="14727" y="5891"/>
                </a:cubicBez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8"/>
                  <a:pt x="440" y="9818"/>
                  <a:pt x="982" y="9818"/>
                </a:cubicBezTo>
                <a:moveTo>
                  <a:pt x="14727" y="20618"/>
                </a:moveTo>
                <a:lnTo>
                  <a:pt x="982" y="20618"/>
                </a:lnTo>
                <a:lnTo>
                  <a:pt x="982" y="18655"/>
                </a:lnTo>
                <a:lnTo>
                  <a:pt x="14727" y="18655"/>
                </a:lnTo>
                <a:cubicBezTo>
                  <a:pt x="14727" y="18655"/>
                  <a:pt x="14727" y="20618"/>
                  <a:pt x="14727" y="20618"/>
                </a:cubicBezTo>
                <a:close/>
                <a:moveTo>
                  <a:pt x="14727" y="17673"/>
                </a:moveTo>
                <a:lnTo>
                  <a:pt x="982" y="17673"/>
                </a:lnTo>
                <a:cubicBezTo>
                  <a:pt x="440" y="17673"/>
                  <a:pt x="0" y="18113"/>
                  <a:pt x="0" y="18655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14727" y="21600"/>
                </a:lnTo>
                <a:cubicBezTo>
                  <a:pt x="15269" y="21600"/>
                  <a:pt x="15709" y="21160"/>
                  <a:pt x="15709" y="20618"/>
                </a:cubicBezTo>
                <a:lnTo>
                  <a:pt x="15709" y="18655"/>
                </a:lnTo>
                <a:cubicBezTo>
                  <a:pt x="15709" y="18113"/>
                  <a:pt x="15269" y="17673"/>
                  <a:pt x="14727" y="176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59" name="Shape 2759"/>
          <p:cNvSpPr/>
          <p:nvPr/>
        </p:nvSpPr>
        <p:spPr>
          <a:xfrm>
            <a:off x="13541074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3927" y="6873"/>
                </a:moveTo>
                <a:lnTo>
                  <a:pt x="17673" y="6873"/>
                </a:lnTo>
                <a:lnTo>
                  <a:pt x="17673" y="8836"/>
                </a:lnTo>
                <a:lnTo>
                  <a:pt x="3927" y="8836"/>
                </a:lnTo>
                <a:cubicBezTo>
                  <a:pt x="3927" y="8836"/>
                  <a:pt x="3927" y="6873"/>
                  <a:pt x="3927" y="6873"/>
                </a:cubicBezTo>
                <a:close/>
                <a:moveTo>
                  <a:pt x="17673" y="9818"/>
                </a:moveTo>
                <a:cubicBezTo>
                  <a:pt x="18215" y="9818"/>
                  <a:pt x="18655" y="9378"/>
                  <a:pt x="18655" y="8836"/>
                </a:cubicBezTo>
                <a:lnTo>
                  <a:pt x="18655" y="6873"/>
                </a:lnTo>
                <a:cubicBezTo>
                  <a:pt x="18655" y="6331"/>
                  <a:pt x="18215" y="5891"/>
                  <a:pt x="17673" y="5891"/>
                </a:cubicBezTo>
                <a:lnTo>
                  <a:pt x="3927" y="5891"/>
                </a:lnTo>
                <a:cubicBezTo>
                  <a:pt x="3385" y="5891"/>
                  <a:pt x="2945" y="6331"/>
                  <a:pt x="2945" y="6873"/>
                </a:cubicBezTo>
                <a:lnTo>
                  <a:pt x="2945" y="8836"/>
                </a:lnTo>
                <a:cubicBezTo>
                  <a:pt x="2945" y="9378"/>
                  <a:pt x="3385" y="9818"/>
                  <a:pt x="3927" y="9818"/>
                </a:cubicBezTo>
                <a:cubicBezTo>
                  <a:pt x="3927" y="9818"/>
                  <a:pt x="17673" y="9818"/>
                  <a:pt x="17673" y="9818"/>
                </a:cubicBezTo>
                <a:close/>
                <a:moveTo>
                  <a:pt x="17673" y="20618"/>
                </a:moveTo>
                <a:lnTo>
                  <a:pt x="3927" y="20618"/>
                </a:lnTo>
                <a:lnTo>
                  <a:pt x="3927" y="18655"/>
                </a:lnTo>
                <a:lnTo>
                  <a:pt x="17673" y="18655"/>
                </a:lnTo>
                <a:cubicBezTo>
                  <a:pt x="17673" y="18655"/>
                  <a:pt x="17673" y="20618"/>
                  <a:pt x="17673" y="20618"/>
                </a:cubicBezTo>
                <a:close/>
                <a:moveTo>
                  <a:pt x="17673" y="17673"/>
                </a:moveTo>
                <a:lnTo>
                  <a:pt x="3927" y="17673"/>
                </a:lnTo>
                <a:cubicBezTo>
                  <a:pt x="3385" y="17673"/>
                  <a:pt x="2945" y="18113"/>
                  <a:pt x="2945" y="18655"/>
                </a:cubicBezTo>
                <a:lnTo>
                  <a:pt x="2945" y="20618"/>
                </a:lnTo>
                <a:cubicBezTo>
                  <a:pt x="2945" y="21160"/>
                  <a:pt x="3385" y="21600"/>
                  <a:pt x="3927" y="21600"/>
                </a:cubicBezTo>
                <a:lnTo>
                  <a:pt x="17673" y="21600"/>
                </a:lnTo>
                <a:cubicBezTo>
                  <a:pt x="18215" y="21600"/>
                  <a:pt x="18655" y="21160"/>
                  <a:pt x="18655" y="20618"/>
                </a:cubicBezTo>
                <a:lnTo>
                  <a:pt x="18655" y="18655"/>
                </a:lnTo>
                <a:cubicBezTo>
                  <a:pt x="18655" y="18113"/>
                  <a:pt x="18215" y="17673"/>
                  <a:pt x="17673" y="176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0" name="Shape 2760"/>
          <p:cNvSpPr/>
          <p:nvPr/>
        </p:nvSpPr>
        <p:spPr>
          <a:xfrm>
            <a:off x="14607597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20618" y="8836"/>
                </a:moveTo>
                <a:lnTo>
                  <a:pt x="6873" y="8836"/>
                </a:lnTo>
                <a:lnTo>
                  <a:pt x="6873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20618" y="5891"/>
                </a:moveTo>
                <a:lnTo>
                  <a:pt x="6873" y="5891"/>
                </a:lnTo>
                <a:cubicBezTo>
                  <a:pt x="6331" y="5891"/>
                  <a:pt x="5891" y="6331"/>
                  <a:pt x="5891" y="6873"/>
                </a:cubicBezTo>
                <a:lnTo>
                  <a:pt x="5891" y="8836"/>
                </a:lnTo>
                <a:cubicBezTo>
                  <a:pt x="5891" y="9378"/>
                  <a:pt x="6331" y="9818"/>
                  <a:pt x="6873" y="9818"/>
                </a:cubicBezTo>
                <a:lnTo>
                  <a:pt x="20618" y="9818"/>
                </a:lnTo>
                <a:cubicBezTo>
                  <a:pt x="21160" y="9818"/>
                  <a:pt x="21600" y="9378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20618" y="20618"/>
                </a:moveTo>
                <a:lnTo>
                  <a:pt x="6873" y="20618"/>
                </a:lnTo>
                <a:lnTo>
                  <a:pt x="6873" y="18655"/>
                </a:lnTo>
                <a:lnTo>
                  <a:pt x="20618" y="18655"/>
                </a:lnTo>
                <a:cubicBezTo>
                  <a:pt x="20618" y="18655"/>
                  <a:pt x="20618" y="20618"/>
                  <a:pt x="20618" y="20618"/>
                </a:cubicBezTo>
                <a:close/>
                <a:moveTo>
                  <a:pt x="20618" y="17673"/>
                </a:moveTo>
                <a:lnTo>
                  <a:pt x="6873" y="17673"/>
                </a:lnTo>
                <a:cubicBezTo>
                  <a:pt x="6331" y="17673"/>
                  <a:pt x="5891" y="18113"/>
                  <a:pt x="5891" y="18655"/>
                </a:cubicBezTo>
                <a:lnTo>
                  <a:pt x="5891" y="20618"/>
                </a:lnTo>
                <a:cubicBezTo>
                  <a:pt x="5891" y="21160"/>
                  <a:pt x="6331" y="21600"/>
                  <a:pt x="6873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18655"/>
                </a:lnTo>
                <a:cubicBezTo>
                  <a:pt x="21600" y="18113"/>
                  <a:pt x="21160" y="17673"/>
                  <a:pt x="20618" y="176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1" name="Shape 2761"/>
          <p:cNvSpPr/>
          <p:nvPr/>
        </p:nvSpPr>
        <p:spPr>
          <a:xfrm>
            <a:off x="15674117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2764"/>
                </a:lnTo>
                <a:lnTo>
                  <a:pt x="20618" y="12764"/>
                </a:lnTo>
                <a:cubicBezTo>
                  <a:pt x="20618" y="12764"/>
                  <a:pt x="20618" y="14727"/>
                  <a:pt x="20618" y="14727"/>
                </a:cubicBezTo>
                <a:close/>
                <a:moveTo>
                  <a:pt x="20618" y="11782"/>
                </a:moveTo>
                <a:lnTo>
                  <a:pt x="982" y="11782"/>
                </a:lnTo>
                <a:cubicBezTo>
                  <a:pt x="440" y="11782"/>
                  <a:pt x="0" y="12222"/>
                  <a:pt x="0" y="12764"/>
                </a:cubicBez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12764"/>
                </a:lnTo>
                <a:cubicBezTo>
                  <a:pt x="21600" y="12222"/>
                  <a:pt x="21160" y="11782"/>
                  <a:pt x="20618" y="11782"/>
                </a:cubicBezTo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20618" y="5891"/>
                </a:move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8"/>
                  <a:pt x="440" y="9818"/>
                  <a:pt x="982" y="9818"/>
                </a:cubicBezTo>
                <a:lnTo>
                  <a:pt x="20618" y="9818"/>
                </a:lnTo>
                <a:cubicBezTo>
                  <a:pt x="21160" y="9818"/>
                  <a:pt x="21600" y="9378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20618" y="2945"/>
                </a:moveTo>
                <a:lnTo>
                  <a:pt x="982" y="2945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945"/>
                  <a:pt x="20618" y="2945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2945"/>
                </a:lnTo>
                <a:cubicBezTo>
                  <a:pt x="0" y="3487"/>
                  <a:pt x="440" y="3927"/>
                  <a:pt x="982" y="3927"/>
                </a:cubicBezTo>
                <a:lnTo>
                  <a:pt x="20618" y="3927"/>
                </a:lnTo>
                <a:cubicBezTo>
                  <a:pt x="21160" y="3927"/>
                  <a:pt x="21600" y="3487"/>
                  <a:pt x="21600" y="2945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20618" y="20618"/>
                </a:moveTo>
                <a:lnTo>
                  <a:pt x="982" y="20618"/>
                </a:lnTo>
                <a:lnTo>
                  <a:pt x="982" y="18655"/>
                </a:lnTo>
                <a:lnTo>
                  <a:pt x="20618" y="18655"/>
                </a:lnTo>
                <a:cubicBezTo>
                  <a:pt x="20618" y="18655"/>
                  <a:pt x="20618" y="20618"/>
                  <a:pt x="20618" y="20618"/>
                </a:cubicBezTo>
                <a:close/>
                <a:moveTo>
                  <a:pt x="20618" y="17673"/>
                </a:moveTo>
                <a:lnTo>
                  <a:pt x="982" y="17673"/>
                </a:lnTo>
                <a:cubicBezTo>
                  <a:pt x="440" y="17673"/>
                  <a:pt x="0" y="18113"/>
                  <a:pt x="0" y="18655"/>
                </a:cubicBezTo>
                <a:lnTo>
                  <a:pt x="0" y="20618"/>
                </a:lnTo>
                <a:cubicBezTo>
                  <a:pt x="0" y="21160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18655"/>
                </a:lnTo>
                <a:cubicBezTo>
                  <a:pt x="21600" y="18113"/>
                  <a:pt x="21160" y="17673"/>
                  <a:pt x="20618" y="176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2" name="Shape 2762"/>
          <p:cNvSpPr/>
          <p:nvPr/>
        </p:nvSpPr>
        <p:spPr>
          <a:xfrm>
            <a:off x="16740640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982"/>
                </a:moveTo>
                <a:cubicBezTo>
                  <a:pt x="19520" y="982"/>
                  <a:pt x="20618" y="2081"/>
                  <a:pt x="20618" y="3436"/>
                </a:cubicBezTo>
                <a:cubicBezTo>
                  <a:pt x="20618" y="4792"/>
                  <a:pt x="19520" y="5891"/>
                  <a:pt x="18164" y="5891"/>
                </a:cubicBezTo>
                <a:cubicBezTo>
                  <a:pt x="16808" y="5891"/>
                  <a:pt x="15709" y="4792"/>
                  <a:pt x="15709" y="3436"/>
                </a:cubicBezTo>
                <a:cubicBezTo>
                  <a:pt x="15709" y="2081"/>
                  <a:pt x="16808" y="982"/>
                  <a:pt x="18164" y="982"/>
                </a:cubicBezTo>
                <a:moveTo>
                  <a:pt x="18164" y="6873"/>
                </a:moveTo>
                <a:cubicBezTo>
                  <a:pt x="20062" y="6873"/>
                  <a:pt x="21600" y="5334"/>
                  <a:pt x="21600" y="3436"/>
                </a:cubicBezTo>
                <a:cubicBezTo>
                  <a:pt x="21600" y="1538"/>
                  <a:pt x="20062" y="0"/>
                  <a:pt x="18164" y="0"/>
                </a:cubicBezTo>
                <a:cubicBezTo>
                  <a:pt x="16266" y="0"/>
                  <a:pt x="14727" y="1538"/>
                  <a:pt x="14727" y="3436"/>
                </a:cubicBezTo>
                <a:cubicBezTo>
                  <a:pt x="14727" y="5334"/>
                  <a:pt x="16266" y="6873"/>
                  <a:pt x="18164" y="6873"/>
                </a:cubicBezTo>
                <a:moveTo>
                  <a:pt x="18164" y="3927"/>
                </a:moveTo>
                <a:lnTo>
                  <a:pt x="18655" y="3927"/>
                </a:lnTo>
                <a:cubicBezTo>
                  <a:pt x="18925" y="3927"/>
                  <a:pt x="19145" y="3708"/>
                  <a:pt x="19145" y="3436"/>
                </a:cubicBezTo>
                <a:cubicBezTo>
                  <a:pt x="19145" y="3165"/>
                  <a:pt x="18925" y="2945"/>
                  <a:pt x="18655" y="2945"/>
                </a:cubicBezTo>
                <a:lnTo>
                  <a:pt x="18655" y="2455"/>
                </a:lnTo>
                <a:cubicBezTo>
                  <a:pt x="18655" y="2183"/>
                  <a:pt x="18434" y="1964"/>
                  <a:pt x="18164" y="1964"/>
                </a:cubicBezTo>
                <a:cubicBezTo>
                  <a:pt x="17893" y="1964"/>
                  <a:pt x="17673" y="2183"/>
                  <a:pt x="17673" y="2455"/>
                </a:cubicBezTo>
                <a:lnTo>
                  <a:pt x="17673" y="3436"/>
                </a:lnTo>
                <a:cubicBezTo>
                  <a:pt x="17673" y="3708"/>
                  <a:pt x="17893" y="3927"/>
                  <a:pt x="18164" y="3927"/>
                </a:cubicBezTo>
                <a:moveTo>
                  <a:pt x="9818" y="11782"/>
                </a:moveTo>
                <a:lnTo>
                  <a:pt x="4909" y="11782"/>
                </a:lnTo>
                <a:lnTo>
                  <a:pt x="4909" y="8836"/>
                </a:lnTo>
                <a:lnTo>
                  <a:pt x="9818" y="8836"/>
                </a:lnTo>
                <a:cubicBezTo>
                  <a:pt x="9818" y="8836"/>
                  <a:pt x="9818" y="11782"/>
                  <a:pt x="9818" y="11782"/>
                </a:cubicBezTo>
                <a:close/>
                <a:moveTo>
                  <a:pt x="21109" y="12764"/>
                </a:moveTo>
                <a:lnTo>
                  <a:pt x="11291" y="12764"/>
                </a:lnTo>
                <a:cubicBezTo>
                  <a:pt x="11562" y="12764"/>
                  <a:pt x="11782" y="12544"/>
                  <a:pt x="11782" y="12273"/>
                </a:cubicBezTo>
                <a:cubicBezTo>
                  <a:pt x="11782" y="12001"/>
                  <a:pt x="11562" y="11782"/>
                  <a:pt x="11291" y="11782"/>
                </a:cubicBezTo>
                <a:lnTo>
                  <a:pt x="10800" y="11782"/>
                </a:lnTo>
                <a:lnTo>
                  <a:pt x="10800" y="8836"/>
                </a:lnTo>
                <a:cubicBezTo>
                  <a:pt x="10800" y="8295"/>
                  <a:pt x="10360" y="7855"/>
                  <a:pt x="9818" y="7855"/>
                </a:cubicBezTo>
                <a:lnTo>
                  <a:pt x="4909" y="7855"/>
                </a:lnTo>
                <a:cubicBezTo>
                  <a:pt x="4367" y="7855"/>
                  <a:pt x="3927" y="8295"/>
                  <a:pt x="3927" y="8836"/>
                </a:cubicBezTo>
                <a:lnTo>
                  <a:pt x="3927" y="11782"/>
                </a:lnTo>
                <a:lnTo>
                  <a:pt x="3436" y="11782"/>
                </a:lnTo>
                <a:cubicBezTo>
                  <a:pt x="3166" y="11782"/>
                  <a:pt x="2945" y="12001"/>
                  <a:pt x="2945" y="12273"/>
                </a:cubicBezTo>
                <a:cubicBezTo>
                  <a:pt x="2945" y="12544"/>
                  <a:pt x="3166" y="12764"/>
                  <a:pt x="3436" y="12764"/>
                </a:cubicBezTo>
                <a:lnTo>
                  <a:pt x="491" y="12764"/>
                </a:lnTo>
                <a:cubicBezTo>
                  <a:pt x="220" y="12764"/>
                  <a:pt x="0" y="12983"/>
                  <a:pt x="0" y="13255"/>
                </a:cubicBezTo>
                <a:cubicBezTo>
                  <a:pt x="0" y="13526"/>
                  <a:pt x="220" y="13745"/>
                  <a:pt x="491" y="13745"/>
                </a:cubicBezTo>
                <a:lnTo>
                  <a:pt x="2945" y="13745"/>
                </a:lnTo>
                <a:lnTo>
                  <a:pt x="2945" y="21109"/>
                </a:lnTo>
                <a:cubicBezTo>
                  <a:pt x="2945" y="21380"/>
                  <a:pt x="3166" y="21600"/>
                  <a:pt x="3436" y="21600"/>
                </a:cubicBezTo>
                <a:cubicBezTo>
                  <a:pt x="3707" y="21600"/>
                  <a:pt x="3927" y="21380"/>
                  <a:pt x="3927" y="21109"/>
                </a:cubicBezTo>
                <a:lnTo>
                  <a:pt x="3927" y="13745"/>
                </a:lnTo>
                <a:lnTo>
                  <a:pt x="17673" y="13745"/>
                </a:lnTo>
                <a:lnTo>
                  <a:pt x="17673" y="21109"/>
                </a:lnTo>
                <a:cubicBezTo>
                  <a:pt x="17673" y="21380"/>
                  <a:pt x="17893" y="21600"/>
                  <a:pt x="18164" y="21600"/>
                </a:cubicBezTo>
                <a:cubicBezTo>
                  <a:pt x="18434" y="21600"/>
                  <a:pt x="18655" y="21380"/>
                  <a:pt x="18655" y="21109"/>
                </a:cubicBezTo>
                <a:lnTo>
                  <a:pt x="18655" y="13745"/>
                </a:lnTo>
                <a:lnTo>
                  <a:pt x="21109" y="13745"/>
                </a:lnTo>
                <a:cubicBezTo>
                  <a:pt x="21380" y="13745"/>
                  <a:pt x="21600" y="13526"/>
                  <a:pt x="21600" y="13255"/>
                </a:cubicBezTo>
                <a:cubicBezTo>
                  <a:pt x="21600" y="12983"/>
                  <a:pt x="21380" y="12764"/>
                  <a:pt x="21109" y="127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3" name="Shape 2763"/>
          <p:cNvSpPr/>
          <p:nvPr/>
        </p:nvSpPr>
        <p:spPr>
          <a:xfrm>
            <a:off x="17807162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5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585" y="2939"/>
                </a:lnTo>
                <a:lnTo>
                  <a:pt x="8836" y="6873"/>
                </a:lnTo>
                <a:lnTo>
                  <a:pt x="11291" y="9818"/>
                </a:lnTo>
                <a:lnTo>
                  <a:pt x="9327" y="14236"/>
                </a:lnTo>
                <a:lnTo>
                  <a:pt x="10800" y="16691"/>
                </a:lnTo>
                <a:lnTo>
                  <a:pt x="10432" y="14236"/>
                </a:lnTo>
                <a:lnTo>
                  <a:pt x="12365" y="9542"/>
                </a:lnTo>
                <a:lnTo>
                  <a:pt x="10002" y="6781"/>
                </a:lnTo>
                <a:lnTo>
                  <a:pt x="12069" y="2007"/>
                </a:lnTo>
                <a:cubicBezTo>
                  <a:pt x="12984" y="1345"/>
                  <a:pt x="14076" y="982"/>
                  <a:pt x="15218" y="982"/>
                </a:cubicBezTo>
                <a:cubicBezTo>
                  <a:pt x="18196" y="982"/>
                  <a:pt x="20618" y="3405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3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4" name="Shape 2764"/>
          <p:cNvSpPr/>
          <p:nvPr/>
        </p:nvSpPr>
        <p:spPr>
          <a:xfrm>
            <a:off x="18873684" y="9303817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88" y="6611"/>
                </a:moveTo>
                <a:cubicBezTo>
                  <a:pt x="20587" y="6619"/>
                  <a:pt x="20587" y="6627"/>
                  <a:pt x="20586" y="6635"/>
                </a:cubicBezTo>
                <a:cubicBezTo>
                  <a:pt x="20585" y="6640"/>
                  <a:pt x="20582" y="6674"/>
                  <a:pt x="20581" y="6680"/>
                </a:cubicBezTo>
                <a:cubicBezTo>
                  <a:pt x="20107" y="11287"/>
                  <a:pt x="14607" y="17428"/>
                  <a:pt x="12595" y="19086"/>
                </a:cubicBezTo>
                <a:lnTo>
                  <a:pt x="11905" y="15660"/>
                </a:lnTo>
                <a:lnTo>
                  <a:pt x="13960" y="10631"/>
                </a:lnTo>
                <a:lnTo>
                  <a:pt x="11429" y="7425"/>
                </a:lnTo>
                <a:lnTo>
                  <a:pt x="12699" y="2550"/>
                </a:lnTo>
                <a:cubicBezTo>
                  <a:pt x="12708" y="2540"/>
                  <a:pt x="12713" y="2534"/>
                  <a:pt x="12723" y="2524"/>
                </a:cubicBezTo>
                <a:cubicBezTo>
                  <a:pt x="13572" y="1625"/>
                  <a:pt x="14916" y="1080"/>
                  <a:pt x="16088" y="1080"/>
                </a:cubicBezTo>
                <a:cubicBezTo>
                  <a:pt x="18586" y="1080"/>
                  <a:pt x="20618" y="3315"/>
                  <a:pt x="20618" y="6063"/>
                </a:cubicBezTo>
                <a:cubicBezTo>
                  <a:pt x="20618" y="6262"/>
                  <a:pt x="20598" y="6506"/>
                  <a:pt x="20588" y="6611"/>
                </a:cubicBezTo>
                <a:moveTo>
                  <a:pt x="21600" y="6063"/>
                </a:moveTo>
                <a:cubicBezTo>
                  <a:pt x="21600" y="2715"/>
                  <a:pt x="19132" y="0"/>
                  <a:pt x="16088" y="0"/>
                </a:cubicBezTo>
                <a:cubicBezTo>
                  <a:pt x="14607" y="0"/>
                  <a:pt x="12974" y="748"/>
                  <a:pt x="11983" y="1794"/>
                </a:cubicBezTo>
                <a:lnTo>
                  <a:pt x="11985" y="1802"/>
                </a:lnTo>
                <a:cubicBezTo>
                  <a:pt x="11900" y="1871"/>
                  <a:pt x="11839" y="1965"/>
                  <a:pt x="11809" y="2079"/>
                </a:cubicBezTo>
                <a:lnTo>
                  <a:pt x="11797" y="2076"/>
                </a:lnTo>
                <a:lnTo>
                  <a:pt x="10309" y="7560"/>
                </a:lnTo>
                <a:lnTo>
                  <a:pt x="12764" y="10800"/>
                </a:lnTo>
                <a:lnTo>
                  <a:pt x="10800" y="15660"/>
                </a:lnTo>
                <a:lnTo>
                  <a:pt x="11797" y="20098"/>
                </a:lnTo>
                <a:lnTo>
                  <a:pt x="11803" y="20097"/>
                </a:lnTo>
                <a:cubicBezTo>
                  <a:pt x="11853" y="20337"/>
                  <a:pt x="12039" y="20520"/>
                  <a:pt x="12273" y="20520"/>
                </a:cubicBezTo>
                <a:cubicBezTo>
                  <a:pt x="12410" y="20520"/>
                  <a:pt x="12534" y="20457"/>
                  <a:pt x="12623" y="20357"/>
                </a:cubicBezTo>
                <a:cubicBezTo>
                  <a:pt x="14361" y="19225"/>
                  <a:pt x="20995" y="12270"/>
                  <a:pt x="21558" y="6787"/>
                </a:cubicBezTo>
                <a:lnTo>
                  <a:pt x="21558" y="6791"/>
                </a:lnTo>
                <a:cubicBezTo>
                  <a:pt x="21559" y="6791"/>
                  <a:pt x="21600" y="6399"/>
                  <a:pt x="21600" y="6063"/>
                </a:cubicBezTo>
                <a:moveTo>
                  <a:pt x="1019" y="7760"/>
                </a:moveTo>
                <a:cubicBezTo>
                  <a:pt x="1018" y="7754"/>
                  <a:pt x="1015" y="7720"/>
                  <a:pt x="1014" y="7715"/>
                </a:cubicBezTo>
                <a:cubicBezTo>
                  <a:pt x="1013" y="7707"/>
                  <a:pt x="1013" y="7699"/>
                  <a:pt x="1012" y="7691"/>
                </a:cubicBezTo>
                <a:cubicBezTo>
                  <a:pt x="1002" y="7586"/>
                  <a:pt x="982" y="7342"/>
                  <a:pt x="982" y="7143"/>
                </a:cubicBezTo>
                <a:cubicBezTo>
                  <a:pt x="982" y="4395"/>
                  <a:pt x="3014" y="2160"/>
                  <a:pt x="5512" y="2160"/>
                </a:cubicBezTo>
                <a:cubicBezTo>
                  <a:pt x="6634" y="2160"/>
                  <a:pt x="7908" y="2664"/>
                  <a:pt x="8760" y="3495"/>
                </a:cubicBezTo>
                <a:lnTo>
                  <a:pt x="7364" y="8640"/>
                </a:lnTo>
                <a:lnTo>
                  <a:pt x="9818" y="11880"/>
                </a:lnTo>
                <a:lnTo>
                  <a:pt x="7855" y="16740"/>
                </a:lnTo>
                <a:lnTo>
                  <a:pt x="8531" y="19752"/>
                </a:lnTo>
                <a:cubicBezTo>
                  <a:pt x="6242" y="17649"/>
                  <a:pt x="1459" y="12041"/>
                  <a:pt x="1019" y="7760"/>
                </a:cubicBezTo>
                <a:moveTo>
                  <a:pt x="9803" y="20925"/>
                </a:moveTo>
                <a:lnTo>
                  <a:pt x="8959" y="16740"/>
                </a:lnTo>
                <a:lnTo>
                  <a:pt x="11015" y="11711"/>
                </a:lnTo>
                <a:lnTo>
                  <a:pt x="8484" y="8505"/>
                </a:lnTo>
                <a:lnTo>
                  <a:pt x="9799" y="3457"/>
                </a:lnTo>
                <a:lnTo>
                  <a:pt x="9791" y="3454"/>
                </a:lnTo>
                <a:cubicBezTo>
                  <a:pt x="9804" y="3407"/>
                  <a:pt x="9818" y="3360"/>
                  <a:pt x="9818" y="3308"/>
                </a:cubicBezTo>
                <a:cubicBezTo>
                  <a:pt x="9818" y="3130"/>
                  <a:pt x="9736" y="2981"/>
                  <a:pt x="9615" y="2882"/>
                </a:cubicBezTo>
                <a:lnTo>
                  <a:pt x="9617" y="2874"/>
                </a:lnTo>
                <a:cubicBezTo>
                  <a:pt x="8626" y="1827"/>
                  <a:pt x="6993" y="1080"/>
                  <a:pt x="5512" y="1080"/>
                </a:cubicBezTo>
                <a:cubicBezTo>
                  <a:pt x="2468" y="1080"/>
                  <a:pt x="0" y="3795"/>
                  <a:pt x="0" y="7143"/>
                </a:cubicBezTo>
                <a:cubicBezTo>
                  <a:pt x="0" y="7479"/>
                  <a:pt x="41" y="7871"/>
                  <a:pt x="42" y="7871"/>
                </a:cubicBezTo>
                <a:lnTo>
                  <a:pt x="42" y="7867"/>
                </a:lnTo>
                <a:cubicBezTo>
                  <a:pt x="605" y="13350"/>
                  <a:pt x="7239" y="20305"/>
                  <a:pt x="8977" y="21437"/>
                </a:cubicBezTo>
                <a:cubicBezTo>
                  <a:pt x="9066" y="21537"/>
                  <a:pt x="9190" y="21600"/>
                  <a:pt x="9327" y="21600"/>
                </a:cubicBezTo>
                <a:cubicBezTo>
                  <a:pt x="9599" y="21600"/>
                  <a:pt x="9818" y="21358"/>
                  <a:pt x="9818" y="21060"/>
                </a:cubicBezTo>
                <a:cubicBezTo>
                  <a:pt x="9818" y="21013"/>
                  <a:pt x="9804" y="20971"/>
                  <a:pt x="9794" y="20927"/>
                </a:cubicBezTo>
                <a:cubicBezTo>
                  <a:pt x="9794" y="20927"/>
                  <a:pt x="9803" y="20925"/>
                  <a:pt x="9803" y="2092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5" name="Shape 2765"/>
          <p:cNvSpPr/>
          <p:nvPr/>
        </p:nvSpPr>
        <p:spPr>
          <a:xfrm>
            <a:off x="19940207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82" y="12764"/>
                </a:moveTo>
                <a:cubicBezTo>
                  <a:pt x="11510" y="12764"/>
                  <a:pt x="11291" y="12984"/>
                  <a:pt x="11291" y="13255"/>
                </a:cubicBezTo>
                <a:cubicBezTo>
                  <a:pt x="11291" y="13526"/>
                  <a:pt x="11510" y="13745"/>
                  <a:pt x="11782" y="13745"/>
                </a:cubicBezTo>
                <a:cubicBezTo>
                  <a:pt x="12053" y="13745"/>
                  <a:pt x="12273" y="13526"/>
                  <a:pt x="12273" y="13255"/>
                </a:cubicBezTo>
                <a:cubicBezTo>
                  <a:pt x="12273" y="12984"/>
                  <a:pt x="12053" y="12764"/>
                  <a:pt x="11782" y="12764"/>
                </a:cubicBezTo>
                <a:moveTo>
                  <a:pt x="14727" y="10800"/>
                </a:moveTo>
                <a:cubicBezTo>
                  <a:pt x="14999" y="10800"/>
                  <a:pt x="15218" y="10580"/>
                  <a:pt x="15218" y="10309"/>
                </a:cubicBezTo>
                <a:cubicBezTo>
                  <a:pt x="15218" y="10038"/>
                  <a:pt x="14999" y="9818"/>
                  <a:pt x="14727" y="9818"/>
                </a:cubicBezTo>
                <a:cubicBezTo>
                  <a:pt x="14456" y="9818"/>
                  <a:pt x="14236" y="10038"/>
                  <a:pt x="14236" y="10309"/>
                </a:cubicBezTo>
                <a:cubicBezTo>
                  <a:pt x="14236" y="10580"/>
                  <a:pt x="14456" y="10800"/>
                  <a:pt x="14727" y="10800"/>
                </a:cubicBezTo>
                <a:moveTo>
                  <a:pt x="19913" y="7150"/>
                </a:moveTo>
                <a:lnTo>
                  <a:pt x="19959" y="7195"/>
                </a:lnTo>
                <a:lnTo>
                  <a:pt x="19468" y="7686"/>
                </a:lnTo>
                <a:lnTo>
                  <a:pt x="19468" y="7687"/>
                </a:lnTo>
                <a:lnTo>
                  <a:pt x="17606" y="9549"/>
                </a:lnTo>
                <a:lnTo>
                  <a:pt x="12052" y="3994"/>
                </a:lnTo>
                <a:lnTo>
                  <a:pt x="13913" y="2132"/>
                </a:lnTo>
                <a:cubicBezTo>
                  <a:pt x="13914" y="2132"/>
                  <a:pt x="13914" y="2132"/>
                  <a:pt x="13914" y="2132"/>
                </a:cubicBezTo>
                <a:lnTo>
                  <a:pt x="14405" y="1641"/>
                </a:lnTo>
                <a:lnTo>
                  <a:pt x="14450" y="1687"/>
                </a:lnTo>
                <a:cubicBezTo>
                  <a:pt x="15086" y="1244"/>
                  <a:pt x="15857" y="982"/>
                  <a:pt x="16691" y="982"/>
                </a:cubicBezTo>
                <a:cubicBezTo>
                  <a:pt x="18860" y="982"/>
                  <a:pt x="20618" y="2740"/>
                  <a:pt x="20618" y="4909"/>
                </a:cubicBezTo>
                <a:cubicBezTo>
                  <a:pt x="20618" y="5743"/>
                  <a:pt x="20356" y="6514"/>
                  <a:pt x="19913" y="7150"/>
                </a:cubicBezTo>
                <a:moveTo>
                  <a:pt x="10242" y="16912"/>
                </a:moveTo>
                <a:lnTo>
                  <a:pt x="4689" y="11358"/>
                </a:lnTo>
                <a:lnTo>
                  <a:pt x="11358" y="4689"/>
                </a:lnTo>
                <a:lnTo>
                  <a:pt x="16911" y="10243"/>
                </a:lnTo>
                <a:cubicBezTo>
                  <a:pt x="16911" y="10243"/>
                  <a:pt x="10242" y="16912"/>
                  <a:pt x="10242" y="16912"/>
                </a:cubicBezTo>
                <a:close/>
                <a:moveTo>
                  <a:pt x="7686" y="19468"/>
                </a:moveTo>
                <a:cubicBezTo>
                  <a:pt x="6975" y="20179"/>
                  <a:pt x="5994" y="20618"/>
                  <a:pt x="4909" y="20618"/>
                </a:cubicBezTo>
                <a:cubicBezTo>
                  <a:pt x="2740" y="20618"/>
                  <a:pt x="982" y="18860"/>
                  <a:pt x="982" y="16691"/>
                </a:cubicBezTo>
                <a:cubicBezTo>
                  <a:pt x="982" y="15606"/>
                  <a:pt x="1421" y="14625"/>
                  <a:pt x="2132" y="13914"/>
                </a:cubicBezTo>
                <a:lnTo>
                  <a:pt x="3994" y="12052"/>
                </a:lnTo>
                <a:lnTo>
                  <a:pt x="9548" y="17606"/>
                </a:lnTo>
                <a:cubicBezTo>
                  <a:pt x="9548" y="17606"/>
                  <a:pt x="7686" y="19468"/>
                  <a:pt x="7686" y="19468"/>
                </a:cubicBezTo>
                <a:close/>
                <a:moveTo>
                  <a:pt x="21600" y="4909"/>
                </a:moveTo>
                <a:cubicBezTo>
                  <a:pt x="21600" y="2198"/>
                  <a:pt x="19402" y="0"/>
                  <a:pt x="16691" y="0"/>
                </a:cubicBezTo>
                <a:cubicBezTo>
                  <a:pt x="15586" y="0"/>
                  <a:pt x="14570" y="370"/>
                  <a:pt x="13749" y="986"/>
                </a:cubicBezTo>
                <a:lnTo>
                  <a:pt x="13710" y="947"/>
                </a:lnTo>
                <a:lnTo>
                  <a:pt x="13221" y="1437"/>
                </a:lnTo>
                <a:cubicBezTo>
                  <a:pt x="13220" y="1438"/>
                  <a:pt x="13220" y="1438"/>
                  <a:pt x="13219" y="1439"/>
                </a:cubicBezTo>
                <a:lnTo>
                  <a:pt x="1438" y="13220"/>
                </a:lnTo>
                <a:cubicBezTo>
                  <a:pt x="549" y="14108"/>
                  <a:pt x="0" y="15336"/>
                  <a:pt x="0" y="16691"/>
                </a:cubicBezTo>
                <a:cubicBezTo>
                  <a:pt x="0" y="19402"/>
                  <a:pt x="2198" y="21600"/>
                  <a:pt x="4909" y="21600"/>
                </a:cubicBezTo>
                <a:cubicBezTo>
                  <a:pt x="6265" y="21600"/>
                  <a:pt x="7492" y="21051"/>
                  <a:pt x="8380" y="20162"/>
                </a:cubicBezTo>
                <a:lnTo>
                  <a:pt x="20162" y="8381"/>
                </a:lnTo>
                <a:lnTo>
                  <a:pt x="20163" y="8380"/>
                </a:lnTo>
                <a:lnTo>
                  <a:pt x="20653" y="7890"/>
                </a:lnTo>
                <a:lnTo>
                  <a:pt x="20614" y="7851"/>
                </a:lnTo>
                <a:cubicBezTo>
                  <a:pt x="21230" y="7030"/>
                  <a:pt x="21600" y="6015"/>
                  <a:pt x="21600" y="4909"/>
                </a:cubicBezTo>
                <a:moveTo>
                  <a:pt x="10800" y="6873"/>
                </a:moveTo>
                <a:cubicBezTo>
                  <a:pt x="10800" y="7144"/>
                  <a:pt x="11020" y="7364"/>
                  <a:pt x="11291" y="7364"/>
                </a:cubicBezTo>
                <a:cubicBezTo>
                  <a:pt x="11562" y="7364"/>
                  <a:pt x="11782" y="7144"/>
                  <a:pt x="11782" y="6873"/>
                </a:cubicBezTo>
                <a:cubicBezTo>
                  <a:pt x="11782" y="6602"/>
                  <a:pt x="11562" y="6382"/>
                  <a:pt x="11291" y="6382"/>
                </a:cubicBezTo>
                <a:cubicBezTo>
                  <a:pt x="11020" y="6382"/>
                  <a:pt x="10800" y="6602"/>
                  <a:pt x="10800" y="6873"/>
                </a:cubicBezTo>
                <a:moveTo>
                  <a:pt x="13255" y="12273"/>
                </a:moveTo>
                <a:cubicBezTo>
                  <a:pt x="13526" y="12273"/>
                  <a:pt x="13745" y="12053"/>
                  <a:pt x="13745" y="11782"/>
                </a:cubicBezTo>
                <a:cubicBezTo>
                  <a:pt x="13745" y="11511"/>
                  <a:pt x="13526" y="11291"/>
                  <a:pt x="13255" y="11291"/>
                </a:cubicBezTo>
                <a:cubicBezTo>
                  <a:pt x="12983" y="11291"/>
                  <a:pt x="12764" y="11511"/>
                  <a:pt x="12764" y="11782"/>
                </a:cubicBezTo>
                <a:cubicBezTo>
                  <a:pt x="12764" y="12053"/>
                  <a:pt x="12983" y="12273"/>
                  <a:pt x="13255" y="12273"/>
                </a:cubicBezTo>
                <a:moveTo>
                  <a:pt x="12273" y="9818"/>
                </a:moveTo>
                <a:cubicBezTo>
                  <a:pt x="12544" y="9818"/>
                  <a:pt x="12764" y="9599"/>
                  <a:pt x="12764" y="9327"/>
                </a:cubicBezTo>
                <a:cubicBezTo>
                  <a:pt x="12764" y="9056"/>
                  <a:pt x="12544" y="8836"/>
                  <a:pt x="12273" y="8836"/>
                </a:cubicBezTo>
                <a:cubicBezTo>
                  <a:pt x="12001" y="8836"/>
                  <a:pt x="11782" y="9056"/>
                  <a:pt x="11782" y="9327"/>
                </a:cubicBezTo>
                <a:cubicBezTo>
                  <a:pt x="11782" y="9599"/>
                  <a:pt x="12001" y="9818"/>
                  <a:pt x="12273" y="9818"/>
                </a:cubicBezTo>
                <a:moveTo>
                  <a:pt x="10800" y="10309"/>
                </a:moveTo>
                <a:cubicBezTo>
                  <a:pt x="10529" y="10309"/>
                  <a:pt x="10309" y="10529"/>
                  <a:pt x="10309" y="10800"/>
                </a:cubicBezTo>
                <a:cubicBezTo>
                  <a:pt x="10309" y="11071"/>
                  <a:pt x="10529" y="11291"/>
                  <a:pt x="10800" y="11291"/>
                </a:cubicBezTo>
                <a:cubicBezTo>
                  <a:pt x="11071" y="11291"/>
                  <a:pt x="11291" y="11071"/>
                  <a:pt x="11291" y="10800"/>
                </a:cubicBezTo>
                <a:cubicBezTo>
                  <a:pt x="11291" y="10529"/>
                  <a:pt x="11071" y="10309"/>
                  <a:pt x="10800" y="10309"/>
                </a:cubicBezTo>
                <a:moveTo>
                  <a:pt x="10309" y="14236"/>
                </a:moveTo>
                <a:cubicBezTo>
                  <a:pt x="10038" y="14236"/>
                  <a:pt x="9818" y="14456"/>
                  <a:pt x="9818" y="14727"/>
                </a:cubicBezTo>
                <a:cubicBezTo>
                  <a:pt x="9818" y="14999"/>
                  <a:pt x="10038" y="15218"/>
                  <a:pt x="10309" y="15218"/>
                </a:cubicBezTo>
                <a:cubicBezTo>
                  <a:pt x="10580" y="15218"/>
                  <a:pt x="10800" y="14999"/>
                  <a:pt x="10800" y="14727"/>
                </a:cubicBezTo>
                <a:cubicBezTo>
                  <a:pt x="10800" y="14456"/>
                  <a:pt x="10580" y="14236"/>
                  <a:pt x="10309" y="14236"/>
                </a:cubicBezTo>
                <a:moveTo>
                  <a:pt x="9818" y="8836"/>
                </a:moveTo>
                <a:cubicBezTo>
                  <a:pt x="10090" y="8836"/>
                  <a:pt x="10309" y="8617"/>
                  <a:pt x="10309" y="8345"/>
                </a:cubicBezTo>
                <a:cubicBezTo>
                  <a:pt x="10309" y="8075"/>
                  <a:pt x="10090" y="7855"/>
                  <a:pt x="9818" y="7855"/>
                </a:cubicBezTo>
                <a:cubicBezTo>
                  <a:pt x="9547" y="7855"/>
                  <a:pt x="9327" y="8075"/>
                  <a:pt x="9327" y="8345"/>
                </a:cubicBezTo>
                <a:cubicBezTo>
                  <a:pt x="9327" y="8617"/>
                  <a:pt x="9547" y="8836"/>
                  <a:pt x="9818" y="8836"/>
                </a:cubicBezTo>
                <a:moveTo>
                  <a:pt x="6873" y="10800"/>
                </a:moveTo>
                <a:cubicBezTo>
                  <a:pt x="6601" y="10800"/>
                  <a:pt x="6382" y="11020"/>
                  <a:pt x="6382" y="11291"/>
                </a:cubicBezTo>
                <a:cubicBezTo>
                  <a:pt x="6382" y="11562"/>
                  <a:pt x="6601" y="11782"/>
                  <a:pt x="6873" y="11782"/>
                </a:cubicBezTo>
                <a:cubicBezTo>
                  <a:pt x="7144" y="11782"/>
                  <a:pt x="7364" y="11562"/>
                  <a:pt x="7364" y="11291"/>
                </a:cubicBezTo>
                <a:cubicBezTo>
                  <a:pt x="7364" y="11020"/>
                  <a:pt x="7144" y="10800"/>
                  <a:pt x="6873" y="10800"/>
                </a:cubicBezTo>
                <a:moveTo>
                  <a:pt x="8345" y="9327"/>
                </a:moveTo>
                <a:cubicBezTo>
                  <a:pt x="8074" y="9327"/>
                  <a:pt x="7855" y="9547"/>
                  <a:pt x="7855" y="9818"/>
                </a:cubicBezTo>
                <a:cubicBezTo>
                  <a:pt x="7855" y="10090"/>
                  <a:pt x="8074" y="10309"/>
                  <a:pt x="8345" y="10309"/>
                </a:cubicBezTo>
                <a:cubicBezTo>
                  <a:pt x="8617" y="10309"/>
                  <a:pt x="8836" y="10090"/>
                  <a:pt x="8836" y="9818"/>
                </a:cubicBezTo>
                <a:cubicBezTo>
                  <a:pt x="8836" y="9547"/>
                  <a:pt x="8617" y="9327"/>
                  <a:pt x="8345" y="9327"/>
                </a:cubicBezTo>
                <a:moveTo>
                  <a:pt x="9327" y="11782"/>
                </a:moveTo>
                <a:cubicBezTo>
                  <a:pt x="9056" y="11782"/>
                  <a:pt x="8836" y="12001"/>
                  <a:pt x="8836" y="12273"/>
                </a:cubicBezTo>
                <a:cubicBezTo>
                  <a:pt x="8836" y="12544"/>
                  <a:pt x="9056" y="12764"/>
                  <a:pt x="9327" y="12764"/>
                </a:cubicBezTo>
                <a:cubicBezTo>
                  <a:pt x="9599" y="12764"/>
                  <a:pt x="9818" y="12544"/>
                  <a:pt x="9818" y="12273"/>
                </a:cubicBezTo>
                <a:cubicBezTo>
                  <a:pt x="9818" y="12001"/>
                  <a:pt x="9599" y="11782"/>
                  <a:pt x="9327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6" name="Shape 2766"/>
          <p:cNvSpPr/>
          <p:nvPr/>
        </p:nvSpPr>
        <p:spPr>
          <a:xfrm>
            <a:off x="21006730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1782"/>
                </a:moveTo>
                <a:lnTo>
                  <a:pt x="11782" y="11782"/>
                </a:lnTo>
                <a:lnTo>
                  <a:pt x="11782" y="15709"/>
                </a:lnTo>
                <a:lnTo>
                  <a:pt x="9818" y="15709"/>
                </a:lnTo>
                <a:lnTo>
                  <a:pt x="9818" y="11782"/>
                </a:lnTo>
                <a:lnTo>
                  <a:pt x="5891" y="11782"/>
                </a:lnTo>
                <a:lnTo>
                  <a:pt x="5891" y="9818"/>
                </a:lnTo>
                <a:lnTo>
                  <a:pt x="9818" y="9818"/>
                </a:lnTo>
                <a:lnTo>
                  <a:pt x="9818" y="5891"/>
                </a:lnTo>
                <a:lnTo>
                  <a:pt x="11782" y="5891"/>
                </a:lnTo>
                <a:lnTo>
                  <a:pt x="11782" y="9818"/>
                </a:lnTo>
                <a:lnTo>
                  <a:pt x="15709" y="9818"/>
                </a:lnTo>
                <a:cubicBezTo>
                  <a:pt x="15709" y="9818"/>
                  <a:pt x="15709" y="11782"/>
                  <a:pt x="15709" y="11782"/>
                </a:cubicBezTo>
                <a:close/>
                <a:moveTo>
                  <a:pt x="15709" y="8836"/>
                </a:moveTo>
                <a:lnTo>
                  <a:pt x="12764" y="8836"/>
                </a:lnTo>
                <a:lnTo>
                  <a:pt x="12764" y="5891"/>
                </a:lnTo>
                <a:cubicBezTo>
                  <a:pt x="12764" y="5349"/>
                  <a:pt x="12324" y="4909"/>
                  <a:pt x="11782" y="4909"/>
                </a:cubicBezTo>
                <a:lnTo>
                  <a:pt x="9818" y="4909"/>
                </a:lnTo>
                <a:cubicBezTo>
                  <a:pt x="9276" y="4909"/>
                  <a:pt x="8836" y="5349"/>
                  <a:pt x="8836" y="5891"/>
                </a:cubicBezTo>
                <a:lnTo>
                  <a:pt x="8836" y="8836"/>
                </a:lnTo>
                <a:lnTo>
                  <a:pt x="5891" y="8836"/>
                </a:lnTo>
                <a:cubicBezTo>
                  <a:pt x="5349" y="8836"/>
                  <a:pt x="4909" y="9276"/>
                  <a:pt x="4909" y="9818"/>
                </a:cubicBezTo>
                <a:lnTo>
                  <a:pt x="4909" y="11782"/>
                </a:lnTo>
                <a:cubicBezTo>
                  <a:pt x="4909" y="12324"/>
                  <a:pt x="5349" y="12764"/>
                  <a:pt x="5891" y="12764"/>
                </a:cubicBezTo>
                <a:lnTo>
                  <a:pt x="8836" y="12764"/>
                </a:lnTo>
                <a:lnTo>
                  <a:pt x="8836" y="15709"/>
                </a:lnTo>
                <a:cubicBezTo>
                  <a:pt x="8836" y="16251"/>
                  <a:pt x="9276" y="16691"/>
                  <a:pt x="9818" y="16691"/>
                </a:cubicBezTo>
                <a:lnTo>
                  <a:pt x="11782" y="16691"/>
                </a:lnTo>
                <a:cubicBezTo>
                  <a:pt x="12324" y="16691"/>
                  <a:pt x="12764" y="16251"/>
                  <a:pt x="12764" y="15709"/>
                </a:cubicBezTo>
                <a:lnTo>
                  <a:pt x="12764" y="12764"/>
                </a:lnTo>
                <a:lnTo>
                  <a:pt x="15709" y="12764"/>
                </a:lnTo>
                <a:cubicBezTo>
                  <a:pt x="16251" y="12764"/>
                  <a:pt x="16691" y="12324"/>
                  <a:pt x="16691" y="11782"/>
                </a:cubicBezTo>
                <a:lnTo>
                  <a:pt x="16691" y="9818"/>
                </a:lnTo>
                <a:cubicBezTo>
                  <a:pt x="16691" y="9276"/>
                  <a:pt x="16251" y="8836"/>
                  <a:pt x="15709" y="8836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7" name="Shape 2767"/>
          <p:cNvSpPr/>
          <p:nvPr/>
        </p:nvSpPr>
        <p:spPr>
          <a:xfrm>
            <a:off x="22073251" y="927842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1782"/>
                </a:moveTo>
                <a:lnTo>
                  <a:pt x="11782" y="11782"/>
                </a:lnTo>
                <a:lnTo>
                  <a:pt x="11782" y="15709"/>
                </a:lnTo>
                <a:lnTo>
                  <a:pt x="9818" y="15709"/>
                </a:lnTo>
                <a:lnTo>
                  <a:pt x="9818" y="11782"/>
                </a:lnTo>
                <a:lnTo>
                  <a:pt x="5891" y="11782"/>
                </a:lnTo>
                <a:lnTo>
                  <a:pt x="5891" y="9818"/>
                </a:lnTo>
                <a:lnTo>
                  <a:pt x="9818" y="9818"/>
                </a:lnTo>
                <a:lnTo>
                  <a:pt x="9818" y="5891"/>
                </a:lnTo>
                <a:lnTo>
                  <a:pt x="11782" y="5891"/>
                </a:lnTo>
                <a:lnTo>
                  <a:pt x="11782" y="9818"/>
                </a:lnTo>
                <a:lnTo>
                  <a:pt x="15709" y="9818"/>
                </a:lnTo>
                <a:cubicBezTo>
                  <a:pt x="15709" y="9818"/>
                  <a:pt x="15709" y="11782"/>
                  <a:pt x="15709" y="11782"/>
                </a:cubicBezTo>
                <a:close/>
                <a:moveTo>
                  <a:pt x="15709" y="8836"/>
                </a:moveTo>
                <a:lnTo>
                  <a:pt x="12764" y="8836"/>
                </a:lnTo>
                <a:lnTo>
                  <a:pt x="12764" y="5891"/>
                </a:lnTo>
                <a:cubicBezTo>
                  <a:pt x="12764" y="5349"/>
                  <a:pt x="12324" y="4909"/>
                  <a:pt x="11782" y="4909"/>
                </a:cubicBezTo>
                <a:lnTo>
                  <a:pt x="9818" y="4909"/>
                </a:lnTo>
                <a:cubicBezTo>
                  <a:pt x="9276" y="4909"/>
                  <a:pt x="8836" y="5349"/>
                  <a:pt x="8836" y="5891"/>
                </a:cubicBezTo>
                <a:lnTo>
                  <a:pt x="8836" y="8836"/>
                </a:lnTo>
                <a:lnTo>
                  <a:pt x="5891" y="8836"/>
                </a:lnTo>
                <a:cubicBezTo>
                  <a:pt x="5349" y="8836"/>
                  <a:pt x="4909" y="9276"/>
                  <a:pt x="4909" y="9818"/>
                </a:cubicBezTo>
                <a:lnTo>
                  <a:pt x="4909" y="11782"/>
                </a:lnTo>
                <a:cubicBezTo>
                  <a:pt x="4909" y="12324"/>
                  <a:pt x="5349" y="12764"/>
                  <a:pt x="5891" y="12764"/>
                </a:cubicBezTo>
                <a:lnTo>
                  <a:pt x="8836" y="12764"/>
                </a:lnTo>
                <a:lnTo>
                  <a:pt x="8836" y="15709"/>
                </a:lnTo>
                <a:cubicBezTo>
                  <a:pt x="8836" y="16251"/>
                  <a:pt x="9276" y="16691"/>
                  <a:pt x="9818" y="16691"/>
                </a:cubicBezTo>
                <a:lnTo>
                  <a:pt x="11782" y="16691"/>
                </a:lnTo>
                <a:cubicBezTo>
                  <a:pt x="12324" y="16691"/>
                  <a:pt x="12764" y="16251"/>
                  <a:pt x="12764" y="15709"/>
                </a:cubicBezTo>
                <a:lnTo>
                  <a:pt x="12764" y="12764"/>
                </a:lnTo>
                <a:lnTo>
                  <a:pt x="15709" y="12764"/>
                </a:lnTo>
                <a:cubicBezTo>
                  <a:pt x="16251" y="12764"/>
                  <a:pt x="16691" y="12324"/>
                  <a:pt x="16691" y="11782"/>
                </a:cubicBezTo>
                <a:lnTo>
                  <a:pt x="16691" y="9818"/>
                </a:lnTo>
                <a:cubicBezTo>
                  <a:pt x="16691" y="9276"/>
                  <a:pt x="16251" y="8836"/>
                  <a:pt x="15709" y="8836"/>
                </a:cubicBezTo>
                <a:moveTo>
                  <a:pt x="10800" y="20618"/>
                </a:moveTo>
                <a:cubicBezTo>
                  <a:pt x="5377" y="20618"/>
                  <a:pt x="982" y="16222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8" name="Shape 2768"/>
          <p:cNvSpPr/>
          <p:nvPr/>
        </p:nvSpPr>
        <p:spPr>
          <a:xfrm>
            <a:off x="12474551" y="10522698"/>
            <a:ext cx="558654" cy="203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18900"/>
                </a:moveTo>
                <a:lnTo>
                  <a:pt x="11291" y="18900"/>
                </a:lnTo>
                <a:lnTo>
                  <a:pt x="11291" y="2700"/>
                </a:lnTo>
                <a:lnTo>
                  <a:pt x="17673" y="2700"/>
                </a:lnTo>
                <a:cubicBezTo>
                  <a:pt x="19300" y="2700"/>
                  <a:pt x="20618" y="6328"/>
                  <a:pt x="20618" y="10800"/>
                </a:cubicBezTo>
                <a:cubicBezTo>
                  <a:pt x="20618" y="15273"/>
                  <a:pt x="19300" y="18900"/>
                  <a:pt x="17673" y="18900"/>
                </a:cubicBezTo>
                <a:moveTo>
                  <a:pt x="6382" y="13500"/>
                </a:moveTo>
                <a:cubicBezTo>
                  <a:pt x="6111" y="13500"/>
                  <a:pt x="5891" y="12896"/>
                  <a:pt x="5891" y="12150"/>
                </a:cubicBezTo>
                <a:cubicBezTo>
                  <a:pt x="5891" y="11404"/>
                  <a:pt x="6111" y="10800"/>
                  <a:pt x="6382" y="10800"/>
                </a:cubicBezTo>
                <a:cubicBezTo>
                  <a:pt x="6653" y="10800"/>
                  <a:pt x="6873" y="11404"/>
                  <a:pt x="6873" y="12150"/>
                </a:cubicBezTo>
                <a:cubicBezTo>
                  <a:pt x="6873" y="12896"/>
                  <a:pt x="6653" y="13500"/>
                  <a:pt x="6382" y="13500"/>
                </a:cubicBezTo>
                <a:moveTo>
                  <a:pt x="3927" y="10800"/>
                </a:moveTo>
                <a:cubicBezTo>
                  <a:pt x="3385" y="10800"/>
                  <a:pt x="2945" y="9592"/>
                  <a:pt x="2945" y="8100"/>
                </a:cubicBezTo>
                <a:cubicBezTo>
                  <a:pt x="2945" y="6610"/>
                  <a:pt x="3385" y="5400"/>
                  <a:pt x="3927" y="5400"/>
                </a:cubicBezTo>
                <a:cubicBezTo>
                  <a:pt x="4469" y="5400"/>
                  <a:pt x="4909" y="6610"/>
                  <a:pt x="4909" y="8100"/>
                </a:cubicBezTo>
                <a:cubicBezTo>
                  <a:pt x="4909" y="9592"/>
                  <a:pt x="4469" y="10800"/>
                  <a:pt x="3927" y="10800"/>
                </a:cubicBezTo>
                <a:moveTo>
                  <a:pt x="17673" y="0"/>
                </a:moveTo>
                <a:lnTo>
                  <a:pt x="3927" y="0"/>
                </a:lnTo>
                <a:cubicBezTo>
                  <a:pt x="1758" y="0"/>
                  <a:pt x="0" y="4836"/>
                  <a:pt x="0" y="10800"/>
                </a:cubicBezTo>
                <a:cubicBezTo>
                  <a:pt x="0" y="16764"/>
                  <a:pt x="1758" y="21600"/>
                  <a:pt x="3927" y="21600"/>
                </a:cubicBezTo>
                <a:lnTo>
                  <a:pt x="17673" y="21600"/>
                </a:lnTo>
                <a:cubicBezTo>
                  <a:pt x="19842" y="21600"/>
                  <a:pt x="21600" y="16764"/>
                  <a:pt x="21600" y="10800"/>
                </a:cubicBezTo>
                <a:cubicBezTo>
                  <a:pt x="21600" y="4836"/>
                  <a:pt x="19842" y="0"/>
                  <a:pt x="17673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69" name="Shape 2769"/>
          <p:cNvSpPr/>
          <p:nvPr/>
        </p:nvSpPr>
        <p:spPr>
          <a:xfrm>
            <a:off x="13617255" y="10344945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0" y="8836"/>
                </a:moveTo>
                <a:cubicBezTo>
                  <a:pt x="1350" y="7752"/>
                  <a:pt x="2559" y="6873"/>
                  <a:pt x="4050" y="6873"/>
                </a:cubicBezTo>
                <a:lnTo>
                  <a:pt x="17550" y="6873"/>
                </a:lnTo>
                <a:cubicBezTo>
                  <a:pt x="19041" y="6873"/>
                  <a:pt x="20250" y="7752"/>
                  <a:pt x="20250" y="8836"/>
                </a:cubicBezTo>
                <a:cubicBezTo>
                  <a:pt x="20250" y="8836"/>
                  <a:pt x="1350" y="8836"/>
                  <a:pt x="1350" y="8836"/>
                </a:cubicBezTo>
                <a:close/>
                <a:moveTo>
                  <a:pt x="14850" y="12764"/>
                </a:moveTo>
                <a:lnTo>
                  <a:pt x="14850" y="14727"/>
                </a:lnTo>
                <a:lnTo>
                  <a:pt x="12150" y="14727"/>
                </a:lnTo>
                <a:lnTo>
                  <a:pt x="12150" y="16691"/>
                </a:lnTo>
                <a:lnTo>
                  <a:pt x="9450" y="16691"/>
                </a:lnTo>
                <a:lnTo>
                  <a:pt x="9450" y="14727"/>
                </a:lnTo>
                <a:lnTo>
                  <a:pt x="6750" y="14727"/>
                </a:lnTo>
                <a:lnTo>
                  <a:pt x="6750" y="12764"/>
                </a:lnTo>
                <a:lnTo>
                  <a:pt x="9450" y="12764"/>
                </a:lnTo>
                <a:lnTo>
                  <a:pt x="9450" y="10800"/>
                </a:lnTo>
                <a:lnTo>
                  <a:pt x="12150" y="10800"/>
                </a:lnTo>
                <a:lnTo>
                  <a:pt x="12150" y="12764"/>
                </a:lnTo>
                <a:cubicBezTo>
                  <a:pt x="12150" y="12764"/>
                  <a:pt x="14850" y="12764"/>
                  <a:pt x="14850" y="12764"/>
                </a:cubicBezTo>
                <a:close/>
                <a:moveTo>
                  <a:pt x="17550" y="20618"/>
                </a:moveTo>
                <a:lnTo>
                  <a:pt x="4050" y="20618"/>
                </a:lnTo>
                <a:cubicBezTo>
                  <a:pt x="2559" y="20618"/>
                  <a:pt x="1350" y="19739"/>
                  <a:pt x="1350" y="18655"/>
                </a:cubicBezTo>
                <a:lnTo>
                  <a:pt x="20250" y="18655"/>
                </a:lnTo>
                <a:cubicBezTo>
                  <a:pt x="20250" y="19739"/>
                  <a:pt x="19041" y="20618"/>
                  <a:pt x="17550" y="20618"/>
                </a:cubicBezTo>
                <a:moveTo>
                  <a:pt x="6750" y="2945"/>
                </a:moveTo>
                <a:lnTo>
                  <a:pt x="14850" y="2945"/>
                </a:lnTo>
                <a:lnTo>
                  <a:pt x="14850" y="4909"/>
                </a:lnTo>
                <a:lnTo>
                  <a:pt x="6750" y="4909"/>
                </a:lnTo>
                <a:cubicBezTo>
                  <a:pt x="6750" y="4909"/>
                  <a:pt x="6750" y="2945"/>
                  <a:pt x="6750" y="2945"/>
                </a:cubicBezTo>
                <a:close/>
                <a:moveTo>
                  <a:pt x="6750" y="982"/>
                </a:moveTo>
                <a:lnTo>
                  <a:pt x="14850" y="982"/>
                </a:lnTo>
                <a:lnTo>
                  <a:pt x="14850" y="1964"/>
                </a:lnTo>
                <a:lnTo>
                  <a:pt x="6750" y="1964"/>
                </a:lnTo>
                <a:cubicBezTo>
                  <a:pt x="6750" y="1964"/>
                  <a:pt x="6750" y="982"/>
                  <a:pt x="6750" y="982"/>
                </a:cubicBezTo>
                <a:close/>
                <a:moveTo>
                  <a:pt x="17550" y="5891"/>
                </a:moveTo>
                <a:lnTo>
                  <a:pt x="16200" y="5891"/>
                </a:lnTo>
                <a:lnTo>
                  <a:pt x="16200" y="4909"/>
                </a:lnTo>
                <a:lnTo>
                  <a:pt x="16200" y="982"/>
                </a:lnTo>
                <a:cubicBezTo>
                  <a:pt x="16200" y="440"/>
                  <a:pt x="15595" y="0"/>
                  <a:pt x="14850" y="0"/>
                </a:cubicBezTo>
                <a:lnTo>
                  <a:pt x="6750" y="0"/>
                </a:lnTo>
                <a:cubicBezTo>
                  <a:pt x="6005" y="0"/>
                  <a:pt x="5400" y="440"/>
                  <a:pt x="5400" y="982"/>
                </a:cubicBezTo>
                <a:lnTo>
                  <a:pt x="5400" y="4909"/>
                </a:lnTo>
                <a:lnTo>
                  <a:pt x="5400" y="5891"/>
                </a:lnTo>
                <a:lnTo>
                  <a:pt x="4050" y="5891"/>
                </a:lnTo>
                <a:cubicBezTo>
                  <a:pt x="1813" y="5891"/>
                  <a:pt x="0" y="7210"/>
                  <a:pt x="0" y="8836"/>
                </a:cubicBezTo>
                <a:lnTo>
                  <a:pt x="0" y="18655"/>
                </a:lnTo>
                <a:cubicBezTo>
                  <a:pt x="0" y="20282"/>
                  <a:pt x="1813" y="21600"/>
                  <a:pt x="4050" y="21600"/>
                </a:cubicBezTo>
                <a:lnTo>
                  <a:pt x="17550" y="21600"/>
                </a:lnTo>
                <a:cubicBezTo>
                  <a:pt x="19787" y="21600"/>
                  <a:pt x="21600" y="20282"/>
                  <a:pt x="21600" y="18655"/>
                </a:cubicBezTo>
                <a:lnTo>
                  <a:pt x="21600" y="8836"/>
                </a:lnTo>
                <a:cubicBezTo>
                  <a:pt x="21600" y="7210"/>
                  <a:pt x="19787" y="5891"/>
                  <a:pt x="17550" y="58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0" name="Shape 2770"/>
          <p:cNvSpPr/>
          <p:nvPr/>
        </p:nvSpPr>
        <p:spPr>
          <a:xfrm>
            <a:off x="14607597" y="1034494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4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7" y="21545"/>
                  <a:pt x="13610" y="21600"/>
                  <a:pt x="13745" y="21600"/>
                </a:cubicBezTo>
                <a:cubicBezTo>
                  <a:pt x="14016" y="21600"/>
                  <a:pt x="14236" y="21380"/>
                  <a:pt x="14236" y="21109"/>
                </a:cubicBezTo>
                <a:cubicBezTo>
                  <a:pt x="14236" y="20974"/>
                  <a:pt x="14181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1" name="Shape 2771"/>
          <p:cNvSpPr/>
          <p:nvPr/>
        </p:nvSpPr>
        <p:spPr>
          <a:xfrm>
            <a:off x="15674117" y="1034494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8836"/>
                </a:moveTo>
                <a:cubicBezTo>
                  <a:pt x="15812" y="8836"/>
                  <a:pt x="16691" y="9716"/>
                  <a:pt x="16691" y="10800"/>
                </a:cubicBezTo>
                <a:cubicBezTo>
                  <a:pt x="16691" y="11884"/>
                  <a:pt x="15812" y="12764"/>
                  <a:pt x="14727" y="12764"/>
                </a:cubicBezTo>
                <a:cubicBezTo>
                  <a:pt x="13643" y="12764"/>
                  <a:pt x="12764" y="11884"/>
                  <a:pt x="12764" y="10800"/>
                </a:cubicBezTo>
                <a:cubicBezTo>
                  <a:pt x="12764" y="9716"/>
                  <a:pt x="13643" y="8836"/>
                  <a:pt x="14727" y="8836"/>
                </a:cubicBezTo>
                <a:moveTo>
                  <a:pt x="14727" y="13745"/>
                </a:moveTo>
                <a:cubicBezTo>
                  <a:pt x="16354" y="13745"/>
                  <a:pt x="17673" y="12427"/>
                  <a:pt x="17673" y="10800"/>
                </a:cubicBezTo>
                <a:cubicBezTo>
                  <a:pt x="17673" y="9174"/>
                  <a:pt x="16354" y="7855"/>
                  <a:pt x="14727" y="7855"/>
                </a:cubicBezTo>
                <a:cubicBezTo>
                  <a:pt x="13100" y="7855"/>
                  <a:pt x="11782" y="9174"/>
                  <a:pt x="11782" y="10800"/>
                </a:cubicBezTo>
                <a:cubicBezTo>
                  <a:pt x="11782" y="12427"/>
                  <a:pt x="13100" y="13745"/>
                  <a:pt x="14727" y="13745"/>
                </a:cubicBezTo>
                <a:moveTo>
                  <a:pt x="6873" y="7308"/>
                </a:moveTo>
                <a:lnTo>
                  <a:pt x="8442" y="9818"/>
                </a:lnTo>
                <a:lnTo>
                  <a:pt x="5304" y="9818"/>
                </a:lnTo>
                <a:cubicBezTo>
                  <a:pt x="5304" y="9818"/>
                  <a:pt x="6873" y="7308"/>
                  <a:pt x="6873" y="7308"/>
                </a:cubicBezTo>
                <a:close/>
                <a:moveTo>
                  <a:pt x="4418" y="10800"/>
                </a:moveTo>
                <a:lnTo>
                  <a:pt x="9327" y="10800"/>
                </a:lnTo>
                <a:cubicBezTo>
                  <a:pt x="9598" y="10800"/>
                  <a:pt x="9818" y="10580"/>
                  <a:pt x="9818" y="10309"/>
                </a:cubicBezTo>
                <a:cubicBezTo>
                  <a:pt x="9818" y="10208"/>
                  <a:pt x="9780" y="10120"/>
                  <a:pt x="9728" y="10042"/>
                </a:cubicBezTo>
                <a:lnTo>
                  <a:pt x="9736" y="10037"/>
                </a:lnTo>
                <a:lnTo>
                  <a:pt x="7281" y="6110"/>
                </a:lnTo>
                <a:lnTo>
                  <a:pt x="7274" y="6114"/>
                </a:lnTo>
                <a:cubicBezTo>
                  <a:pt x="7186" y="5983"/>
                  <a:pt x="7043" y="5891"/>
                  <a:pt x="6873" y="5891"/>
                </a:cubicBezTo>
                <a:cubicBezTo>
                  <a:pt x="6702" y="5891"/>
                  <a:pt x="6560" y="5983"/>
                  <a:pt x="6472" y="6114"/>
                </a:cubicBezTo>
                <a:lnTo>
                  <a:pt x="6464" y="6110"/>
                </a:lnTo>
                <a:lnTo>
                  <a:pt x="4010" y="10037"/>
                </a:lnTo>
                <a:lnTo>
                  <a:pt x="4018" y="10042"/>
                </a:lnTo>
                <a:cubicBezTo>
                  <a:pt x="3965" y="10120"/>
                  <a:pt x="3927" y="10208"/>
                  <a:pt x="3927" y="10309"/>
                </a:cubicBezTo>
                <a:cubicBezTo>
                  <a:pt x="3927" y="10580"/>
                  <a:pt x="4147" y="10800"/>
                  <a:pt x="4418" y="10800"/>
                </a:cubicBezTo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4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7" y="21545"/>
                  <a:pt x="13610" y="21600"/>
                  <a:pt x="13745" y="21600"/>
                </a:cubicBezTo>
                <a:cubicBezTo>
                  <a:pt x="14016" y="21600"/>
                  <a:pt x="14236" y="21380"/>
                  <a:pt x="14236" y="21109"/>
                </a:cubicBezTo>
                <a:cubicBezTo>
                  <a:pt x="14236" y="20974"/>
                  <a:pt x="14181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2" name="Shape 2772"/>
          <p:cNvSpPr/>
          <p:nvPr/>
        </p:nvSpPr>
        <p:spPr>
          <a:xfrm>
            <a:off x="16740640" y="1034494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4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7" y="21545"/>
                  <a:pt x="13610" y="21600"/>
                  <a:pt x="13745" y="21600"/>
                </a:cubicBezTo>
                <a:cubicBezTo>
                  <a:pt x="14016" y="21600"/>
                  <a:pt x="14236" y="21380"/>
                  <a:pt x="14236" y="21109"/>
                </a:cubicBezTo>
                <a:cubicBezTo>
                  <a:pt x="14236" y="20974"/>
                  <a:pt x="14181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  <a:moveTo>
                  <a:pt x="12273" y="12764"/>
                </a:moveTo>
                <a:lnTo>
                  <a:pt x="17182" y="12764"/>
                </a:lnTo>
                <a:cubicBezTo>
                  <a:pt x="17453" y="12764"/>
                  <a:pt x="17673" y="12544"/>
                  <a:pt x="17673" y="12273"/>
                </a:cubicBezTo>
                <a:cubicBezTo>
                  <a:pt x="17673" y="12002"/>
                  <a:pt x="17453" y="11782"/>
                  <a:pt x="17182" y="11782"/>
                </a:cubicBezTo>
                <a:lnTo>
                  <a:pt x="12273" y="11782"/>
                </a:lnTo>
                <a:cubicBezTo>
                  <a:pt x="12002" y="11782"/>
                  <a:pt x="11782" y="12002"/>
                  <a:pt x="11782" y="12273"/>
                </a:cubicBezTo>
                <a:cubicBezTo>
                  <a:pt x="11782" y="12544"/>
                  <a:pt x="12002" y="12764"/>
                  <a:pt x="12273" y="12764"/>
                </a:cubicBezTo>
                <a:moveTo>
                  <a:pt x="4909" y="6873"/>
                </a:moveTo>
                <a:lnTo>
                  <a:pt x="8836" y="6873"/>
                </a:lnTo>
                <a:lnTo>
                  <a:pt x="8836" y="11782"/>
                </a:lnTo>
                <a:lnTo>
                  <a:pt x="4909" y="11782"/>
                </a:lnTo>
                <a:cubicBezTo>
                  <a:pt x="4909" y="11782"/>
                  <a:pt x="4909" y="6873"/>
                  <a:pt x="4909" y="6873"/>
                </a:cubicBezTo>
                <a:close/>
                <a:moveTo>
                  <a:pt x="4909" y="12764"/>
                </a:moveTo>
                <a:lnTo>
                  <a:pt x="8836" y="12764"/>
                </a:lnTo>
                <a:cubicBezTo>
                  <a:pt x="9378" y="12764"/>
                  <a:pt x="9818" y="12325"/>
                  <a:pt x="9818" y="11782"/>
                </a:cubicBezTo>
                <a:lnTo>
                  <a:pt x="9818" y="6873"/>
                </a:lnTo>
                <a:cubicBezTo>
                  <a:pt x="9818" y="6331"/>
                  <a:pt x="9378" y="5891"/>
                  <a:pt x="8836" y="5891"/>
                </a:cubicBezTo>
                <a:lnTo>
                  <a:pt x="4909" y="5891"/>
                </a:lnTo>
                <a:cubicBezTo>
                  <a:pt x="4367" y="5891"/>
                  <a:pt x="3927" y="6331"/>
                  <a:pt x="3927" y="6873"/>
                </a:cubicBezTo>
                <a:lnTo>
                  <a:pt x="3927" y="11782"/>
                </a:lnTo>
                <a:cubicBezTo>
                  <a:pt x="3927" y="12325"/>
                  <a:pt x="4367" y="12764"/>
                  <a:pt x="4909" y="12764"/>
                </a:cubicBezTo>
                <a:moveTo>
                  <a:pt x="12273" y="10800"/>
                </a:moveTo>
                <a:lnTo>
                  <a:pt x="14236" y="10800"/>
                </a:lnTo>
                <a:cubicBezTo>
                  <a:pt x="14507" y="10800"/>
                  <a:pt x="14727" y="10580"/>
                  <a:pt x="14727" y="10309"/>
                </a:cubicBezTo>
                <a:cubicBezTo>
                  <a:pt x="14727" y="10038"/>
                  <a:pt x="14507" y="9818"/>
                  <a:pt x="14236" y="9818"/>
                </a:cubicBezTo>
                <a:lnTo>
                  <a:pt x="12273" y="9818"/>
                </a:lnTo>
                <a:cubicBezTo>
                  <a:pt x="12002" y="9818"/>
                  <a:pt x="11782" y="10038"/>
                  <a:pt x="11782" y="10309"/>
                </a:cubicBezTo>
                <a:cubicBezTo>
                  <a:pt x="11782" y="10580"/>
                  <a:pt x="12002" y="10800"/>
                  <a:pt x="12273" y="10800"/>
                </a:cubicBezTo>
                <a:moveTo>
                  <a:pt x="12273" y="6873"/>
                </a:move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lnTo>
                  <a:pt x="12273" y="5891"/>
                </a:lnTo>
                <a:cubicBezTo>
                  <a:pt x="12002" y="5891"/>
                  <a:pt x="11782" y="6111"/>
                  <a:pt x="11782" y="6382"/>
                </a:cubicBezTo>
                <a:cubicBezTo>
                  <a:pt x="11782" y="6653"/>
                  <a:pt x="12002" y="6873"/>
                  <a:pt x="12273" y="6873"/>
                </a:cubicBezTo>
                <a:moveTo>
                  <a:pt x="12273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12273" y="7855"/>
                </a:lnTo>
                <a:cubicBezTo>
                  <a:pt x="12002" y="7855"/>
                  <a:pt x="11782" y="8075"/>
                  <a:pt x="11782" y="8345"/>
                </a:cubicBezTo>
                <a:cubicBezTo>
                  <a:pt x="11782" y="8617"/>
                  <a:pt x="12002" y="8836"/>
                  <a:pt x="12273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3" name="Shape 2773"/>
          <p:cNvSpPr/>
          <p:nvPr/>
        </p:nvSpPr>
        <p:spPr>
          <a:xfrm>
            <a:off x="17807162" y="1034494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8" y="20851"/>
                  <a:pt x="7364" y="20974"/>
                  <a:pt x="7364" y="21109"/>
                </a:cubicBezTo>
                <a:cubicBezTo>
                  <a:pt x="7364" y="21380"/>
                  <a:pt x="7583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8" y="21545"/>
                  <a:pt x="13610" y="21600"/>
                  <a:pt x="13745" y="21600"/>
                </a:cubicBezTo>
                <a:cubicBezTo>
                  <a:pt x="14017" y="21600"/>
                  <a:pt x="14236" y="21380"/>
                  <a:pt x="14236" y="21109"/>
                </a:cubicBezTo>
                <a:cubicBezTo>
                  <a:pt x="14236" y="20974"/>
                  <a:pt x="14182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  <a:moveTo>
                  <a:pt x="4909" y="12764"/>
                </a:moveTo>
                <a:cubicBezTo>
                  <a:pt x="5180" y="12764"/>
                  <a:pt x="5400" y="12544"/>
                  <a:pt x="5400" y="12273"/>
                </a:cubicBezTo>
                <a:cubicBezTo>
                  <a:pt x="5400" y="9290"/>
                  <a:pt x="7818" y="6873"/>
                  <a:pt x="10800" y="6873"/>
                </a:cubicBezTo>
                <a:cubicBezTo>
                  <a:pt x="13782" y="6873"/>
                  <a:pt x="16200" y="9290"/>
                  <a:pt x="16200" y="12273"/>
                </a:cubicBezTo>
                <a:cubicBezTo>
                  <a:pt x="16200" y="12544"/>
                  <a:pt x="16420" y="12764"/>
                  <a:pt x="16691" y="12764"/>
                </a:cubicBezTo>
                <a:cubicBezTo>
                  <a:pt x="16962" y="12764"/>
                  <a:pt x="17182" y="12544"/>
                  <a:pt x="17182" y="12273"/>
                </a:cubicBezTo>
                <a:cubicBezTo>
                  <a:pt x="17182" y="8748"/>
                  <a:pt x="14325" y="5891"/>
                  <a:pt x="10800" y="5891"/>
                </a:cubicBezTo>
                <a:cubicBezTo>
                  <a:pt x="7275" y="5891"/>
                  <a:pt x="4418" y="8748"/>
                  <a:pt x="4418" y="12273"/>
                </a:cubicBezTo>
                <a:cubicBezTo>
                  <a:pt x="4418" y="12544"/>
                  <a:pt x="4638" y="12764"/>
                  <a:pt x="4909" y="12764"/>
                </a:cubicBezTo>
                <a:moveTo>
                  <a:pt x="10800" y="11782"/>
                </a:moveTo>
                <a:cubicBezTo>
                  <a:pt x="10529" y="11782"/>
                  <a:pt x="10309" y="12002"/>
                  <a:pt x="10309" y="12273"/>
                </a:cubicBezTo>
                <a:cubicBezTo>
                  <a:pt x="10309" y="12544"/>
                  <a:pt x="10529" y="12764"/>
                  <a:pt x="10800" y="12764"/>
                </a:cubicBezTo>
                <a:cubicBezTo>
                  <a:pt x="11071" y="12764"/>
                  <a:pt x="11291" y="12544"/>
                  <a:pt x="11291" y="12273"/>
                </a:cubicBezTo>
                <a:cubicBezTo>
                  <a:pt x="11291" y="12002"/>
                  <a:pt x="11071" y="11782"/>
                  <a:pt x="10800" y="11782"/>
                </a:cubicBezTo>
                <a:moveTo>
                  <a:pt x="10800" y="8836"/>
                </a:moveTo>
                <a:cubicBezTo>
                  <a:pt x="8903" y="8836"/>
                  <a:pt x="7364" y="10375"/>
                  <a:pt x="7364" y="12273"/>
                </a:cubicBezTo>
                <a:cubicBezTo>
                  <a:pt x="7364" y="12544"/>
                  <a:pt x="7583" y="12764"/>
                  <a:pt x="7855" y="12764"/>
                </a:cubicBezTo>
                <a:cubicBezTo>
                  <a:pt x="8126" y="12764"/>
                  <a:pt x="8345" y="12544"/>
                  <a:pt x="8345" y="12273"/>
                </a:cubicBezTo>
                <a:cubicBezTo>
                  <a:pt x="8345" y="10917"/>
                  <a:pt x="9444" y="9818"/>
                  <a:pt x="10800" y="9818"/>
                </a:cubicBezTo>
                <a:cubicBezTo>
                  <a:pt x="12156" y="9818"/>
                  <a:pt x="13255" y="10917"/>
                  <a:pt x="13255" y="12273"/>
                </a:cubicBezTo>
                <a:cubicBezTo>
                  <a:pt x="13255" y="12544"/>
                  <a:pt x="13474" y="12764"/>
                  <a:pt x="13745" y="12764"/>
                </a:cubicBezTo>
                <a:cubicBezTo>
                  <a:pt x="14017" y="12764"/>
                  <a:pt x="14236" y="12544"/>
                  <a:pt x="14236" y="12273"/>
                </a:cubicBezTo>
                <a:cubicBezTo>
                  <a:pt x="14236" y="10375"/>
                  <a:pt x="12698" y="8836"/>
                  <a:pt x="10800" y="883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4" name="Shape 2774"/>
          <p:cNvSpPr/>
          <p:nvPr/>
        </p:nvSpPr>
        <p:spPr>
          <a:xfrm>
            <a:off x="18873684" y="1034494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7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39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39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1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3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8" y="21545"/>
                  <a:pt x="13610" y="21600"/>
                  <a:pt x="13745" y="21600"/>
                </a:cubicBezTo>
                <a:cubicBezTo>
                  <a:pt x="14017" y="21600"/>
                  <a:pt x="14236" y="21380"/>
                  <a:pt x="14236" y="21109"/>
                </a:cubicBezTo>
                <a:cubicBezTo>
                  <a:pt x="14236" y="20974"/>
                  <a:pt x="14182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  <a:moveTo>
                  <a:pt x="16200" y="5891"/>
                </a:moveTo>
                <a:cubicBezTo>
                  <a:pt x="16471" y="5891"/>
                  <a:pt x="16691" y="6111"/>
                  <a:pt x="16691" y="6382"/>
                </a:cubicBezTo>
                <a:cubicBezTo>
                  <a:pt x="16691" y="6653"/>
                  <a:pt x="16471" y="6873"/>
                  <a:pt x="16200" y="6873"/>
                </a:cubicBezTo>
                <a:cubicBezTo>
                  <a:pt x="15929" y="6873"/>
                  <a:pt x="15709" y="6653"/>
                  <a:pt x="15709" y="6382"/>
                </a:cubicBezTo>
                <a:cubicBezTo>
                  <a:pt x="15709" y="6111"/>
                  <a:pt x="15929" y="5891"/>
                  <a:pt x="16200" y="5891"/>
                </a:cubicBezTo>
                <a:moveTo>
                  <a:pt x="16200" y="7855"/>
                </a:moveTo>
                <a:cubicBezTo>
                  <a:pt x="17013" y="7855"/>
                  <a:pt x="17673" y="7196"/>
                  <a:pt x="17673" y="6382"/>
                </a:cubicBezTo>
                <a:cubicBezTo>
                  <a:pt x="17673" y="5569"/>
                  <a:pt x="17013" y="4909"/>
                  <a:pt x="16200" y="4909"/>
                </a:cubicBezTo>
                <a:cubicBezTo>
                  <a:pt x="15387" y="4909"/>
                  <a:pt x="14727" y="5569"/>
                  <a:pt x="14727" y="6382"/>
                </a:cubicBezTo>
                <a:cubicBezTo>
                  <a:pt x="14727" y="7196"/>
                  <a:pt x="15387" y="7855"/>
                  <a:pt x="16200" y="7855"/>
                </a:cubicBezTo>
                <a:moveTo>
                  <a:pt x="8422" y="8135"/>
                </a:moveTo>
                <a:lnTo>
                  <a:pt x="11926" y="11638"/>
                </a:lnTo>
                <a:cubicBezTo>
                  <a:pt x="12015" y="11727"/>
                  <a:pt x="12138" y="11782"/>
                  <a:pt x="12273" y="11782"/>
                </a:cubicBezTo>
                <a:cubicBezTo>
                  <a:pt x="12408" y="11782"/>
                  <a:pt x="12531" y="11727"/>
                  <a:pt x="12620" y="11638"/>
                </a:cubicBezTo>
                <a:lnTo>
                  <a:pt x="14183" y="10075"/>
                </a:lnTo>
                <a:lnTo>
                  <a:pt x="16200" y="12764"/>
                </a:lnTo>
                <a:lnTo>
                  <a:pt x="5336" y="12764"/>
                </a:lnTo>
                <a:cubicBezTo>
                  <a:pt x="5336" y="12764"/>
                  <a:pt x="8422" y="8135"/>
                  <a:pt x="8422" y="8135"/>
                </a:cubicBezTo>
                <a:close/>
                <a:moveTo>
                  <a:pt x="4418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cubicBezTo>
                  <a:pt x="17673" y="13144"/>
                  <a:pt x="17630" y="13047"/>
                  <a:pt x="17568" y="12965"/>
                </a:cubicBezTo>
                <a:lnTo>
                  <a:pt x="17575" y="12960"/>
                </a:lnTo>
                <a:lnTo>
                  <a:pt x="14629" y="9033"/>
                </a:lnTo>
                <a:lnTo>
                  <a:pt x="14622" y="9038"/>
                </a:lnTo>
                <a:cubicBezTo>
                  <a:pt x="14533" y="8919"/>
                  <a:pt x="14397" y="8836"/>
                  <a:pt x="14236" y="8836"/>
                </a:cubicBezTo>
                <a:cubicBezTo>
                  <a:pt x="14101" y="8836"/>
                  <a:pt x="13978" y="8891"/>
                  <a:pt x="13889" y="8980"/>
                </a:cubicBezTo>
                <a:lnTo>
                  <a:pt x="12273" y="10597"/>
                </a:lnTo>
                <a:lnTo>
                  <a:pt x="8693" y="7017"/>
                </a:lnTo>
                <a:cubicBezTo>
                  <a:pt x="8604" y="6928"/>
                  <a:pt x="8481" y="6873"/>
                  <a:pt x="8345" y="6873"/>
                </a:cubicBezTo>
                <a:cubicBezTo>
                  <a:pt x="8175" y="6873"/>
                  <a:pt x="8033" y="6965"/>
                  <a:pt x="7945" y="7097"/>
                </a:cubicBezTo>
                <a:lnTo>
                  <a:pt x="7937" y="7091"/>
                </a:lnTo>
                <a:lnTo>
                  <a:pt x="4010" y="12982"/>
                </a:lnTo>
                <a:lnTo>
                  <a:pt x="4017" y="12988"/>
                </a:lnTo>
                <a:cubicBezTo>
                  <a:pt x="3965" y="13066"/>
                  <a:pt x="3927" y="13154"/>
                  <a:pt x="3927" y="13255"/>
                </a:cubicBezTo>
                <a:cubicBezTo>
                  <a:pt x="3927" y="13526"/>
                  <a:pt x="4147" y="13745"/>
                  <a:pt x="4418" y="137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5" name="Shape 2775"/>
          <p:cNvSpPr/>
          <p:nvPr/>
        </p:nvSpPr>
        <p:spPr>
          <a:xfrm>
            <a:off x="19940207" y="10433824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755"/>
                </a:moveTo>
                <a:lnTo>
                  <a:pt x="1866" y="6075"/>
                </a:lnTo>
                <a:lnTo>
                  <a:pt x="10800" y="1395"/>
                </a:lnTo>
                <a:lnTo>
                  <a:pt x="19735" y="6075"/>
                </a:lnTo>
                <a:cubicBezTo>
                  <a:pt x="19735" y="6075"/>
                  <a:pt x="10800" y="10755"/>
                  <a:pt x="10800" y="10755"/>
                </a:cubicBezTo>
                <a:close/>
                <a:moveTo>
                  <a:pt x="18031" y="17315"/>
                </a:moveTo>
                <a:lnTo>
                  <a:pt x="14834" y="16216"/>
                </a:lnTo>
                <a:lnTo>
                  <a:pt x="14832" y="16229"/>
                </a:lnTo>
                <a:cubicBezTo>
                  <a:pt x="14797" y="16218"/>
                  <a:pt x="14765" y="16200"/>
                  <a:pt x="14727" y="16200"/>
                </a:cubicBezTo>
                <a:cubicBezTo>
                  <a:pt x="14627" y="16200"/>
                  <a:pt x="14538" y="16251"/>
                  <a:pt x="14460" y="16324"/>
                </a:cubicBezTo>
                <a:lnTo>
                  <a:pt x="14455" y="16313"/>
                </a:lnTo>
                <a:lnTo>
                  <a:pt x="10820" y="20061"/>
                </a:lnTo>
                <a:lnTo>
                  <a:pt x="7658" y="16334"/>
                </a:lnTo>
                <a:lnTo>
                  <a:pt x="7653" y="16344"/>
                </a:lnTo>
                <a:cubicBezTo>
                  <a:pt x="7571" y="16259"/>
                  <a:pt x="7474" y="16200"/>
                  <a:pt x="7364" y="16200"/>
                </a:cubicBezTo>
                <a:cubicBezTo>
                  <a:pt x="7327" y="16200"/>
                  <a:pt x="7294" y="16218"/>
                  <a:pt x="7259" y="16229"/>
                </a:cubicBezTo>
                <a:lnTo>
                  <a:pt x="7257" y="16216"/>
                </a:lnTo>
                <a:lnTo>
                  <a:pt x="4013" y="17331"/>
                </a:lnTo>
                <a:lnTo>
                  <a:pt x="4767" y="9035"/>
                </a:lnTo>
                <a:lnTo>
                  <a:pt x="10589" y="12084"/>
                </a:lnTo>
                <a:lnTo>
                  <a:pt x="10591" y="12080"/>
                </a:lnTo>
                <a:cubicBezTo>
                  <a:pt x="10655" y="12122"/>
                  <a:pt x="10724" y="12150"/>
                  <a:pt x="10800" y="12150"/>
                </a:cubicBezTo>
                <a:cubicBezTo>
                  <a:pt x="10876" y="12150"/>
                  <a:pt x="10946" y="12122"/>
                  <a:pt x="11009" y="12080"/>
                </a:cubicBezTo>
                <a:lnTo>
                  <a:pt x="11011" y="12084"/>
                </a:lnTo>
                <a:lnTo>
                  <a:pt x="16897" y="9001"/>
                </a:lnTo>
                <a:cubicBezTo>
                  <a:pt x="16897" y="9001"/>
                  <a:pt x="18031" y="17315"/>
                  <a:pt x="18031" y="17315"/>
                </a:cubicBezTo>
                <a:close/>
                <a:moveTo>
                  <a:pt x="21600" y="6075"/>
                </a:moveTo>
                <a:cubicBezTo>
                  <a:pt x="21600" y="5806"/>
                  <a:pt x="21484" y="5579"/>
                  <a:pt x="21319" y="5470"/>
                </a:cubicBezTo>
                <a:lnTo>
                  <a:pt x="21320" y="5466"/>
                </a:lnTo>
                <a:lnTo>
                  <a:pt x="21306" y="5458"/>
                </a:lnTo>
                <a:cubicBezTo>
                  <a:pt x="21301" y="5455"/>
                  <a:pt x="21296" y="5453"/>
                  <a:pt x="21292" y="5451"/>
                </a:cubicBezTo>
                <a:lnTo>
                  <a:pt x="11011" y="66"/>
                </a:lnTo>
                <a:lnTo>
                  <a:pt x="11009" y="70"/>
                </a:lnTo>
                <a:cubicBezTo>
                  <a:pt x="10946" y="28"/>
                  <a:pt x="10876" y="0"/>
                  <a:pt x="10800" y="0"/>
                </a:cubicBezTo>
                <a:cubicBezTo>
                  <a:pt x="10724" y="0"/>
                  <a:pt x="10655" y="28"/>
                  <a:pt x="10591" y="70"/>
                </a:cubicBezTo>
                <a:lnTo>
                  <a:pt x="10589" y="66"/>
                </a:lnTo>
                <a:lnTo>
                  <a:pt x="309" y="5451"/>
                </a:lnTo>
                <a:cubicBezTo>
                  <a:pt x="304" y="5453"/>
                  <a:pt x="299" y="5455"/>
                  <a:pt x="295" y="5458"/>
                </a:cubicBezTo>
                <a:lnTo>
                  <a:pt x="280" y="5466"/>
                </a:lnTo>
                <a:lnTo>
                  <a:pt x="281" y="5470"/>
                </a:lnTo>
                <a:cubicBezTo>
                  <a:pt x="116" y="5579"/>
                  <a:pt x="0" y="5806"/>
                  <a:pt x="0" y="6075"/>
                </a:cubicBezTo>
                <a:cubicBezTo>
                  <a:pt x="0" y="6344"/>
                  <a:pt x="116" y="6571"/>
                  <a:pt x="281" y="6680"/>
                </a:cubicBezTo>
                <a:lnTo>
                  <a:pt x="280" y="6684"/>
                </a:lnTo>
                <a:lnTo>
                  <a:pt x="295" y="6692"/>
                </a:lnTo>
                <a:cubicBezTo>
                  <a:pt x="299" y="6695"/>
                  <a:pt x="304" y="6697"/>
                  <a:pt x="309" y="6699"/>
                </a:cubicBezTo>
                <a:lnTo>
                  <a:pt x="1230" y="7182"/>
                </a:lnTo>
                <a:lnTo>
                  <a:pt x="608" y="13603"/>
                </a:lnTo>
                <a:cubicBezTo>
                  <a:pt x="251" y="13805"/>
                  <a:pt x="0" y="14287"/>
                  <a:pt x="0" y="14850"/>
                </a:cubicBezTo>
                <a:cubicBezTo>
                  <a:pt x="0" y="15596"/>
                  <a:pt x="439" y="16200"/>
                  <a:pt x="982" y="16200"/>
                </a:cubicBezTo>
                <a:cubicBezTo>
                  <a:pt x="1524" y="16200"/>
                  <a:pt x="1964" y="15596"/>
                  <a:pt x="1964" y="14850"/>
                </a:cubicBezTo>
                <a:cubicBezTo>
                  <a:pt x="1964" y="14416"/>
                  <a:pt x="1812" y="14034"/>
                  <a:pt x="1580" y="13787"/>
                </a:cubicBezTo>
                <a:lnTo>
                  <a:pt x="2173" y="7676"/>
                </a:lnTo>
                <a:lnTo>
                  <a:pt x="3822" y="8540"/>
                </a:lnTo>
                <a:lnTo>
                  <a:pt x="2950" y="18135"/>
                </a:lnTo>
                <a:lnTo>
                  <a:pt x="2958" y="18138"/>
                </a:lnTo>
                <a:cubicBezTo>
                  <a:pt x="2955" y="18167"/>
                  <a:pt x="2945" y="18193"/>
                  <a:pt x="2945" y="18225"/>
                </a:cubicBezTo>
                <a:cubicBezTo>
                  <a:pt x="2945" y="18598"/>
                  <a:pt x="3165" y="18900"/>
                  <a:pt x="3436" y="18900"/>
                </a:cubicBezTo>
                <a:cubicBezTo>
                  <a:pt x="3474" y="18900"/>
                  <a:pt x="3506" y="18884"/>
                  <a:pt x="3541" y="18873"/>
                </a:cubicBezTo>
                <a:lnTo>
                  <a:pt x="3543" y="18884"/>
                </a:lnTo>
                <a:lnTo>
                  <a:pt x="7238" y="17613"/>
                </a:lnTo>
                <a:lnTo>
                  <a:pt x="10506" y="21465"/>
                </a:lnTo>
                <a:lnTo>
                  <a:pt x="10510" y="21456"/>
                </a:lnTo>
                <a:cubicBezTo>
                  <a:pt x="10593" y="21541"/>
                  <a:pt x="10690" y="21600"/>
                  <a:pt x="10800" y="21600"/>
                </a:cubicBezTo>
                <a:cubicBezTo>
                  <a:pt x="10901" y="21600"/>
                  <a:pt x="10989" y="21548"/>
                  <a:pt x="11068" y="21476"/>
                </a:cubicBezTo>
                <a:lnTo>
                  <a:pt x="11072" y="21487"/>
                </a:lnTo>
                <a:lnTo>
                  <a:pt x="14834" y="17607"/>
                </a:lnTo>
                <a:lnTo>
                  <a:pt x="18548" y="18884"/>
                </a:lnTo>
                <a:lnTo>
                  <a:pt x="18550" y="18871"/>
                </a:lnTo>
                <a:cubicBezTo>
                  <a:pt x="18585" y="18882"/>
                  <a:pt x="18618" y="18900"/>
                  <a:pt x="18655" y="18900"/>
                </a:cubicBezTo>
                <a:cubicBezTo>
                  <a:pt x="18926" y="18900"/>
                  <a:pt x="19145" y="18598"/>
                  <a:pt x="19145" y="18225"/>
                </a:cubicBezTo>
                <a:cubicBezTo>
                  <a:pt x="19145" y="18181"/>
                  <a:pt x="19135" y="18143"/>
                  <a:pt x="19130" y="18102"/>
                </a:cubicBezTo>
                <a:lnTo>
                  <a:pt x="19137" y="18100"/>
                </a:lnTo>
                <a:lnTo>
                  <a:pt x="17830" y="8513"/>
                </a:lnTo>
                <a:lnTo>
                  <a:pt x="21292" y="6699"/>
                </a:lnTo>
                <a:cubicBezTo>
                  <a:pt x="21296" y="6697"/>
                  <a:pt x="21301" y="6695"/>
                  <a:pt x="21306" y="6692"/>
                </a:cubicBezTo>
                <a:lnTo>
                  <a:pt x="21320" y="6684"/>
                </a:lnTo>
                <a:lnTo>
                  <a:pt x="21319" y="6680"/>
                </a:lnTo>
                <a:cubicBezTo>
                  <a:pt x="21484" y="6571"/>
                  <a:pt x="21600" y="6344"/>
                  <a:pt x="21600" y="607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6" name="Shape 2776"/>
          <p:cNvSpPr/>
          <p:nvPr/>
        </p:nvSpPr>
        <p:spPr>
          <a:xfrm>
            <a:off x="21133694" y="10344945"/>
            <a:ext cx="30472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00" y="7855"/>
                </a:moveTo>
                <a:lnTo>
                  <a:pt x="9900" y="7855"/>
                </a:lnTo>
                <a:lnTo>
                  <a:pt x="9900" y="9818"/>
                </a:lnTo>
                <a:cubicBezTo>
                  <a:pt x="9900" y="10090"/>
                  <a:pt x="10303" y="10309"/>
                  <a:pt x="10800" y="10309"/>
                </a:cubicBezTo>
                <a:cubicBezTo>
                  <a:pt x="11297" y="10309"/>
                  <a:pt x="11700" y="10090"/>
                  <a:pt x="11700" y="9818"/>
                </a:cubicBezTo>
                <a:lnTo>
                  <a:pt x="11700" y="7855"/>
                </a:lnTo>
                <a:lnTo>
                  <a:pt x="15300" y="7855"/>
                </a:lnTo>
                <a:cubicBezTo>
                  <a:pt x="15797" y="7855"/>
                  <a:pt x="16200" y="7635"/>
                  <a:pt x="16200" y="7364"/>
                </a:cubicBezTo>
                <a:cubicBezTo>
                  <a:pt x="16200" y="7092"/>
                  <a:pt x="15797" y="6873"/>
                  <a:pt x="15300" y="6873"/>
                </a:cubicBezTo>
                <a:lnTo>
                  <a:pt x="11700" y="6873"/>
                </a:lnTo>
                <a:lnTo>
                  <a:pt x="11700" y="4909"/>
                </a:lnTo>
                <a:cubicBezTo>
                  <a:pt x="11700" y="4638"/>
                  <a:pt x="11297" y="4418"/>
                  <a:pt x="10800" y="4418"/>
                </a:cubicBezTo>
                <a:cubicBezTo>
                  <a:pt x="10303" y="4418"/>
                  <a:pt x="9900" y="4638"/>
                  <a:pt x="9900" y="4909"/>
                </a:cubicBezTo>
                <a:lnTo>
                  <a:pt x="9900" y="6873"/>
                </a:lnTo>
                <a:lnTo>
                  <a:pt x="6300" y="6873"/>
                </a:lnTo>
                <a:cubicBezTo>
                  <a:pt x="5803" y="6873"/>
                  <a:pt x="5400" y="7092"/>
                  <a:pt x="5400" y="7364"/>
                </a:cubicBezTo>
                <a:cubicBezTo>
                  <a:pt x="5400" y="7635"/>
                  <a:pt x="5803" y="7855"/>
                  <a:pt x="6300" y="7855"/>
                </a:cubicBezTo>
                <a:moveTo>
                  <a:pt x="19800" y="19847"/>
                </a:moveTo>
                <a:lnTo>
                  <a:pt x="11464" y="14886"/>
                </a:lnTo>
                <a:lnTo>
                  <a:pt x="11457" y="14889"/>
                </a:lnTo>
                <a:cubicBezTo>
                  <a:pt x="11294" y="14791"/>
                  <a:pt x="11063" y="14727"/>
                  <a:pt x="10800" y="14727"/>
                </a:cubicBezTo>
                <a:cubicBezTo>
                  <a:pt x="10537" y="14727"/>
                  <a:pt x="10306" y="14791"/>
                  <a:pt x="10142" y="14889"/>
                </a:cubicBezTo>
                <a:lnTo>
                  <a:pt x="10136" y="14886"/>
                </a:lnTo>
                <a:lnTo>
                  <a:pt x="1800" y="19847"/>
                </a:lnTo>
                <a:lnTo>
                  <a:pt x="1800" y="982"/>
                </a:lnTo>
                <a:lnTo>
                  <a:pt x="19800" y="982"/>
                </a:lnTo>
                <a:cubicBezTo>
                  <a:pt x="19800" y="982"/>
                  <a:pt x="19800" y="19847"/>
                  <a:pt x="19800" y="19847"/>
                </a:cubicBezTo>
                <a:close/>
                <a:moveTo>
                  <a:pt x="20700" y="0"/>
                </a:moveTo>
                <a:lnTo>
                  <a:pt x="900" y="0"/>
                </a:lnTo>
                <a:cubicBezTo>
                  <a:pt x="403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403" y="21600"/>
                  <a:pt x="900" y="21600"/>
                </a:cubicBezTo>
                <a:cubicBezTo>
                  <a:pt x="1163" y="21600"/>
                  <a:pt x="1394" y="21536"/>
                  <a:pt x="1559" y="21438"/>
                </a:cubicBezTo>
                <a:lnTo>
                  <a:pt x="1564" y="21441"/>
                </a:lnTo>
                <a:lnTo>
                  <a:pt x="10800" y="15945"/>
                </a:lnTo>
                <a:lnTo>
                  <a:pt x="20036" y="21441"/>
                </a:lnTo>
                <a:lnTo>
                  <a:pt x="20041" y="21438"/>
                </a:lnTo>
                <a:cubicBezTo>
                  <a:pt x="20206" y="21536"/>
                  <a:pt x="20437" y="21600"/>
                  <a:pt x="20700" y="21600"/>
                </a:cubicBezTo>
                <a:cubicBezTo>
                  <a:pt x="21197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197" y="0"/>
                  <a:pt x="207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7" name="Shape 2777"/>
          <p:cNvSpPr/>
          <p:nvPr/>
        </p:nvSpPr>
        <p:spPr>
          <a:xfrm>
            <a:off x="22149433" y="10344945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20095"/>
                </a:moveTo>
                <a:lnTo>
                  <a:pt x="11298" y="14886"/>
                </a:lnTo>
                <a:lnTo>
                  <a:pt x="11293" y="14890"/>
                </a:lnTo>
                <a:cubicBezTo>
                  <a:pt x="11170" y="14791"/>
                  <a:pt x="10997" y="14727"/>
                  <a:pt x="10800" y="14727"/>
                </a:cubicBezTo>
                <a:cubicBezTo>
                  <a:pt x="10603" y="14727"/>
                  <a:pt x="10430" y="14791"/>
                  <a:pt x="10306" y="14890"/>
                </a:cubicBezTo>
                <a:lnTo>
                  <a:pt x="10302" y="14886"/>
                </a:lnTo>
                <a:lnTo>
                  <a:pt x="1350" y="20095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20095"/>
                  <a:pt x="20250" y="20095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72" y="21600"/>
                  <a:pt x="1045" y="21537"/>
                  <a:pt x="1169" y="21438"/>
                </a:cubicBezTo>
                <a:lnTo>
                  <a:pt x="1173" y="21441"/>
                </a:lnTo>
                <a:lnTo>
                  <a:pt x="10800" y="15839"/>
                </a:lnTo>
                <a:lnTo>
                  <a:pt x="20427" y="21441"/>
                </a:lnTo>
                <a:lnTo>
                  <a:pt x="20431" y="21438"/>
                </a:lnTo>
                <a:cubicBezTo>
                  <a:pt x="20555" y="21537"/>
                  <a:pt x="2072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7337" y="7850"/>
                </a:moveTo>
                <a:lnTo>
                  <a:pt x="9710" y="7850"/>
                </a:lnTo>
                <a:lnTo>
                  <a:pt x="10039" y="7213"/>
                </a:lnTo>
                <a:lnTo>
                  <a:pt x="10800" y="5738"/>
                </a:lnTo>
                <a:lnTo>
                  <a:pt x="11561" y="7213"/>
                </a:lnTo>
                <a:lnTo>
                  <a:pt x="11890" y="7850"/>
                </a:lnTo>
                <a:lnTo>
                  <a:pt x="14263" y="7850"/>
                </a:lnTo>
                <a:lnTo>
                  <a:pt x="13014" y="8550"/>
                </a:lnTo>
                <a:lnTo>
                  <a:pt x="12253" y="8976"/>
                </a:lnTo>
                <a:lnTo>
                  <a:pt x="12557" y="9638"/>
                </a:lnTo>
                <a:lnTo>
                  <a:pt x="13240" y="11130"/>
                </a:lnTo>
                <a:lnTo>
                  <a:pt x="11598" y="10254"/>
                </a:lnTo>
                <a:lnTo>
                  <a:pt x="10800" y="9828"/>
                </a:lnTo>
                <a:lnTo>
                  <a:pt x="10002" y="10254"/>
                </a:lnTo>
                <a:lnTo>
                  <a:pt x="8360" y="11130"/>
                </a:lnTo>
                <a:lnTo>
                  <a:pt x="9043" y="9638"/>
                </a:lnTo>
                <a:lnTo>
                  <a:pt x="9347" y="8976"/>
                </a:lnTo>
                <a:lnTo>
                  <a:pt x="8586" y="8550"/>
                </a:lnTo>
                <a:cubicBezTo>
                  <a:pt x="8586" y="8550"/>
                  <a:pt x="7337" y="7850"/>
                  <a:pt x="7337" y="7850"/>
                </a:cubicBezTo>
                <a:close/>
                <a:moveTo>
                  <a:pt x="5737" y="13745"/>
                </a:moveTo>
                <a:lnTo>
                  <a:pt x="10800" y="11045"/>
                </a:lnTo>
                <a:lnTo>
                  <a:pt x="15863" y="13745"/>
                </a:lnTo>
                <a:lnTo>
                  <a:pt x="13838" y="9328"/>
                </a:lnTo>
                <a:lnTo>
                  <a:pt x="18225" y="6868"/>
                </a:lnTo>
                <a:lnTo>
                  <a:pt x="12825" y="6868"/>
                </a:lnTo>
                <a:lnTo>
                  <a:pt x="10800" y="2945"/>
                </a:lnTo>
                <a:lnTo>
                  <a:pt x="8775" y="6868"/>
                </a:lnTo>
                <a:lnTo>
                  <a:pt x="3375" y="6868"/>
                </a:lnTo>
                <a:lnTo>
                  <a:pt x="7762" y="9328"/>
                </a:lnTo>
                <a:cubicBezTo>
                  <a:pt x="7762" y="9328"/>
                  <a:pt x="5737" y="13745"/>
                  <a:pt x="5737" y="1374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8" name="Shape 2778"/>
          <p:cNvSpPr/>
          <p:nvPr/>
        </p:nvSpPr>
        <p:spPr>
          <a:xfrm>
            <a:off x="12474551" y="1141146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481" y="12956"/>
                </a:moveTo>
                <a:cubicBezTo>
                  <a:pt x="17070" y="12258"/>
                  <a:pt x="16576" y="11533"/>
                  <a:pt x="16011" y="10795"/>
                </a:cubicBezTo>
                <a:cubicBezTo>
                  <a:pt x="16573" y="10063"/>
                  <a:pt x="17072" y="9339"/>
                  <a:pt x="17481" y="8644"/>
                </a:cubicBezTo>
                <a:cubicBezTo>
                  <a:pt x="19410" y="9181"/>
                  <a:pt x="20618" y="9948"/>
                  <a:pt x="20618" y="10800"/>
                </a:cubicBezTo>
                <a:cubicBezTo>
                  <a:pt x="20618" y="11652"/>
                  <a:pt x="19410" y="12419"/>
                  <a:pt x="17481" y="12956"/>
                </a:cubicBezTo>
                <a:moveTo>
                  <a:pt x="17742" y="17743"/>
                </a:moveTo>
                <a:cubicBezTo>
                  <a:pt x="17140" y="18345"/>
                  <a:pt x="15740" y="18028"/>
                  <a:pt x="13996" y="17045"/>
                </a:cubicBezTo>
                <a:cubicBezTo>
                  <a:pt x="14198" y="16261"/>
                  <a:pt x="14365" y="15406"/>
                  <a:pt x="14487" y="14488"/>
                </a:cubicBezTo>
                <a:cubicBezTo>
                  <a:pt x="15405" y="14366"/>
                  <a:pt x="16261" y="14198"/>
                  <a:pt x="17044" y="13996"/>
                </a:cubicBezTo>
                <a:cubicBezTo>
                  <a:pt x="18028" y="15740"/>
                  <a:pt x="18345" y="17140"/>
                  <a:pt x="17742" y="17743"/>
                </a:cubicBezTo>
                <a:moveTo>
                  <a:pt x="15404" y="11561"/>
                </a:moveTo>
                <a:cubicBezTo>
                  <a:pt x="15837" y="12119"/>
                  <a:pt x="16219" y="12662"/>
                  <a:pt x="16554" y="13185"/>
                </a:cubicBezTo>
                <a:cubicBezTo>
                  <a:pt x="15950" y="13317"/>
                  <a:pt x="15295" y="13429"/>
                  <a:pt x="14597" y="13517"/>
                </a:cubicBezTo>
                <a:cubicBezTo>
                  <a:pt x="14631" y="13155"/>
                  <a:pt x="14655" y="12784"/>
                  <a:pt x="14677" y="12409"/>
                </a:cubicBezTo>
                <a:cubicBezTo>
                  <a:pt x="14930" y="12127"/>
                  <a:pt x="15170" y="11844"/>
                  <a:pt x="15404" y="11561"/>
                </a:cubicBezTo>
                <a:moveTo>
                  <a:pt x="15402" y="10032"/>
                </a:moveTo>
                <a:cubicBezTo>
                  <a:pt x="15170" y="9752"/>
                  <a:pt x="14928" y="9471"/>
                  <a:pt x="14677" y="9191"/>
                </a:cubicBezTo>
                <a:cubicBezTo>
                  <a:pt x="14655" y="8817"/>
                  <a:pt x="14631" y="8445"/>
                  <a:pt x="14597" y="8084"/>
                </a:cubicBezTo>
                <a:cubicBezTo>
                  <a:pt x="15295" y="8171"/>
                  <a:pt x="15950" y="8283"/>
                  <a:pt x="16554" y="8415"/>
                </a:cubicBezTo>
                <a:cubicBezTo>
                  <a:pt x="16221" y="8935"/>
                  <a:pt x="15832" y="9478"/>
                  <a:pt x="15402" y="10032"/>
                </a:cubicBezTo>
                <a:moveTo>
                  <a:pt x="17742" y="3857"/>
                </a:moveTo>
                <a:cubicBezTo>
                  <a:pt x="18345" y="4460"/>
                  <a:pt x="18028" y="5860"/>
                  <a:pt x="17044" y="7604"/>
                </a:cubicBezTo>
                <a:cubicBezTo>
                  <a:pt x="16261" y="7402"/>
                  <a:pt x="15405" y="7234"/>
                  <a:pt x="14487" y="7112"/>
                </a:cubicBezTo>
                <a:cubicBezTo>
                  <a:pt x="14365" y="6194"/>
                  <a:pt x="14198" y="5339"/>
                  <a:pt x="13996" y="4555"/>
                </a:cubicBezTo>
                <a:cubicBezTo>
                  <a:pt x="15740" y="3572"/>
                  <a:pt x="17140" y="3255"/>
                  <a:pt x="17742" y="3857"/>
                </a:cubicBezTo>
                <a:moveTo>
                  <a:pt x="13718" y="12012"/>
                </a:moveTo>
                <a:cubicBezTo>
                  <a:pt x="13448" y="12303"/>
                  <a:pt x="13172" y="12593"/>
                  <a:pt x="12882" y="12883"/>
                </a:cubicBezTo>
                <a:cubicBezTo>
                  <a:pt x="12593" y="13172"/>
                  <a:pt x="12303" y="13449"/>
                  <a:pt x="12012" y="13719"/>
                </a:cubicBezTo>
                <a:cubicBezTo>
                  <a:pt x="11614" y="13733"/>
                  <a:pt x="11212" y="13745"/>
                  <a:pt x="10800" y="13745"/>
                </a:cubicBezTo>
                <a:cubicBezTo>
                  <a:pt x="10387" y="13745"/>
                  <a:pt x="9985" y="13733"/>
                  <a:pt x="9587" y="13719"/>
                </a:cubicBezTo>
                <a:cubicBezTo>
                  <a:pt x="9297" y="13449"/>
                  <a:pt x="9006" y="13172"/>
                  <a:pt x="8717" y="12883"/>
                </a:cubicBezTo>
                <a:cubicBezTo>
                  <a:pt x="8428" y="12593"/>
                  <a:pt x="8152" y="12303"/>
                  <a:pt x="7881" y="12012"/>
                </a:cubicBezTo>
                <a:cubicBezTo>
                  <a:pt x="7866" y="11614"/>
                  <a:pt x="7855" y="11212"/>
                  <a:pt x="7855" y="10800"/>
                </a:cubicBezTo>
                <a:cubicBezTo>
                  <a:pt x="7855" y="10388"/>
                  <a:pt x="7866" y="9986"/>
                  <a:pt x="7881" y="9587"/>
                </a:cubicBezTo>
                <a:cubicBezTo>
                  <a:pt x="8152" y="9297"/>
                  <a:pt x="8428" y="9007"/>
                  <a:pt x="8717" y="8717"/>
                </a:cubicBezTo>
                <a:cubicBezTo>
                  <a:pt x="9006" y="8428"/>
                  <a:pt x="9297" y="8151"/>
                  <a:pt x="9587" y="7881"/>
                </a:cubicBezTo>
                <a:cubicBezTo>
                  <a:pt x="9985" y="7867"/>
                  <a:pt x="10387" y="7855"/>
                  <a:pt x="10800" y="7855"/>
                </a:cubicBezTo>
                <a:cubicBezTo>
                  <a:pt x="11212" y="7855"/>
                  <a:pt x="11614" y="7867"/>
                  <a:pt x="12012" y="7881"/>
                </a:cubicBezTo>
                <a:cubicBezTo>
                  <a:pt x="12303" y="8151"/>
                  <a:pt x="12593" y="8428"/>
                  <a:pt x="12882" y="8717"/>
                </a:cubicBezTo>
                <a:cubicBezTo>
                  <a:pt x="13172" y="9007"/>
                  <a:pt x="13448" y="9297"/>
                  <a:pt x="13718" y="9587"/>
                </a:cubicBezTo>
                <a:cubicBezTo>
                  <a:pt x="13733" y="9986"/>
                  <a:pt x="13745" y="10388"/>
                  <a:pt x="13745" y="10800"/>
                </a:cubicBezTo>
                <a:cubicBezTo>
                  <a:pt x="13745" y="11212"/>
                  <a:pt x="13733" y="11614"/>
                  <a:pt x="13718" y="12012"/>
                </a:cubicBezTo>
                <a:moveTo>
                  <a:pt x="13185" y="16555"/>
                </a:moveTo>
                <a:cubicBezTo>
                  <a:pt x="12662" y="16219"/>
                  <a:pt x="12120" y="15837"/>
                  <a:pt x="11561" y="15404"/>
                </a:cubicBezTo>
                <a:cubicBezTo>
                  <a:pt x="11844" y="15170"/>
                  <a:pt x="12127" y="14931"/>
                  <a:pt x="12409" y="14677"/>
                </a:cubicBezTo>
                <a:cubicBezTo>
                  <a:pt x="12783" y="14655"/>
                  <a:pt x="13155" y="14631"/>
                  <a:pt x="13517" y="14597"/>
                </a:cubicBezTo>
                <a:cubicBezTo>
                  <a:pt x="13429" y="15295"/>
                  <a:pt x="13316" y="15950"/>
                  <a:pt x="13185" y="16555"/>
                </a:cubicBezTo>
                <a:moveTo>
                  <a:pt x="10800" y="20618"/>
                </a:moveTo>
                <a:cubicBezTo>
                  <a:pt x="9948" y="20618"/>
                  <a:pt x="9181" y="19410"/>
                  <a:pt x="8643" y="17481"/>
                </a:cubicBezTo>
                <a:cubicBezTo>
                  <a:pt x="9339" y="17072"/>
                  <a:pt x="10062" y="16573"/>
                  <a:pt x="10795" y="16011"/>
                </a:cubicBezTo>
                <a:cubicBezTo>
                  <a:pt x="11532" y="16576"/>
                  <a:pt x="12258" y="17070"/>
                  <a:pt x="12957" y="17481"/>
                </a:cubicBezTo>
                <a:cubicBezTo>
                  <a:pt x="12419" y="19410"/>
                  <a:pt x="11652" y="20618"/>
                  <a:pt x="10800" y="20618"/>
                </a:cubicBezTo>
                <a:moveTo>
                  <a:pt x="8083" y="14597"/>
                </a:moveTo>
                <a:cubicBezTo>
                  <a:pt x="8445" y="14631"/>
                  <a:pt x="8816" y="14655"/>
                  <a:pt x="9190" y="14677"/>
                </a:cubicBezTo>
                <a:cubicBezTo>
                  <a:pt x="9471" y="14929"/>
                  <a:pt x="9751" y="15170"/>
                  <a:pt x="10032" y="15403"/>
                </a:cubicBezTo>
                <a:cubicBezTo>
                  <a:pt x="9478" y="15832"/>
                  <a:pt x="8935" y="16221"/>
                  <a:pt x="8415" y="16555"/>
                </a:cubicBezTo>
                <a:cubicBezTo>
                  <a:pt x="8283" y="15950"/>
                  <a:pt x="8171" y="15295"/>
                  <a:pt x="8083" y="14597"/>
                </a:cubicBezTo>
                <a:moveTo>
                  <a:pt x="8415" y="5045"/>
                </a:moveTo>
                <a:cubicBezTo>
                  <a:pt x="8938" y="5381"/>
                  <a:pt x="9480" y="5762"/>
                  <a:pt x="10038" y="6196"/>
                </a:cubicBezTo>
                <a:cubicBezTo>
                  <a:pt x="9756" y="6430"/>
                  <a:pt x="9473" y="6670"/>
                  <a:pt x="9190" y="6924"/>
                </a:cubicBezTo>
                <a:cubicBezTo>
                  <a:pt x="8816" y="6945"/>
                  <a:pt x="8445" y="6969"/>
                  <a:pt x="8083" y="7003"/>
                </a:cubicBezTo>
                <a:cubicBezTo>
                  <a:pt x="8171" y="6305"/>
                  <a:pt x="8283" y="5650"/>
                  <a:pt x="8415" y="5045"/>
                </a:cubicBezTo>
                <a:moveTo>
                  <a:pt x="10800" y="982"/>
                </a:moveTo>
                <a:cubicBezTo>
                  <a:pt x="11652" y="982"/>
                  <a:pt x="12419" y="2191"/>
                  <a:pt x="12957" y="4119"/>
                </a:cubicBezTo>
                <a:cubicBezTo>
                  <a:pt x="12261" y="4528"/>
                  <a:pt x="11537" y="5027"/>
                  <a:pt x="10804" y="5589"/>
                </a:cubicBezTo>
                <a:cubicBezTo>
                  <a:pt x="10067" y="5024"/>
                  <a:pt x="9341" y="4530"/>
                  <a:pt x="8643" y="4119"/>
                </a:cubicBezTo>
                <a:cubicBezTo>
                  <a:pt x="9181" y="2191"/>
                  <a:pt x="9948" y="982"/>
                  <a:pt x="10800" y="982"/>
                </a:cubicBezTo>
                <a:moveTo>
                  <a:pt x="13517" y="7003"/>
                </a:moveTo>
                <a:cubicBezTo>
                  <a:pt x="13155" y="6969"/>
                  <a:pt x="12783" y="6945"/>
                  <a:pt x="12409" y="6924"/>
                </a:cubicBezTo>
                <a:cubicBezTo>
                  <a:pt x="12129" y="6671"/>
                  <a:pt x="11848" y="6430"/>
                  <a:pt x="11568" y="6198"/>
                </a:cubicBezTo>
                <a:cubicBezTo>
                  <a:pt x="12122" y="5768"/>
                  <a:pt x="12665" y="5379"/>
                  <a:pt x="13185" y="5045"/>
                </a:cubicBezTo>
                <a:cubicBezTo>
                  <a:pt x="13316" y="5650"/>
                  <a:pt x="13429" y="6305"/>
                  <a:pt x="13517" y="7003"/>
                </a:cubicBezTo>
                <a:moveTo>
                  <a:pt x="7112" y="7112"/>
                </a:moveTo>
                <a:cubicBezTo>
                  <a:pt x="6194" y="7234"/>
                  <a:pt x="5339" y="7402"/>
                  <a:pt x="4555" y="7604"/>
                </a:cubicBezTo>
                <a:cubicBezTo>
                  <a:pt x="3572" y="5860"/>
                  <a:pt x="3255" y="4460"/>
                  <a:pt x="3858" y="3857"/>
                </a:cubicBezTo>
                <a:cubicBezTo>
                  <a:pt x="4460" y="3255"/>
                  <a:pt x="5860" y="3572"/>
                  <a:pt x="7604" y="4555"/>
                </a:cubicBezTo>
                <a:cubicBezTo>
                  <a:pt x="7402" y="5339"/>
                  <a:pt x="7234" y="6194"/>
                  <a:pt x="7112" y="7112"/>
                </a:cubicBezTo>
                <a:moveTo>
                  <a:pt x="3858" y="17743"/>
                </a:moveTo>
                <a:cubicBezTo>
                  <a:pt x="3255" y="17140"/>
                  <a:pt x="3572" y="15740"/>
                  <a:pt x="4555" y="13996"/>
                </a:cubicBezTo>
                <a:cubicBezTo>
                  <a:pt x="5339" y="14198"/>
                  <a:pt x="6194" y="14366"/>
                  <a:pt x="7112" y="14488"/>
                </a:cubicBezTo>
                <a:cubicBezTo>
                  <a:pt x="7234" y="15406"/>
                  <a:pt x="7402" y="16261"/>
                  <a:pt x="7604" y="17045"/>
                </a:cubicBezTo>
                <a:cubicBezTo>
                  <a:pt x="5860" y="18028"/>
                  <a:pt x="4460" y="18345"/>
                  <a:pt x="3858" y="17743"/>
                </a:cubicBezTo>
                <a:moveTo>
                  <a:pt x="7003" y="13517"/>
                </a:moveTo>
                <a:cubicBezTo>
                  <a:pt x="6305" y="13429"/>
                  <a:pt x="5650" y="13317"/>
                  <a:pt x="5045" y="13185"/>
                </a:cubicBezTo>
                <a:cubicBezTo>
                  <a:pt x="5379" y="12665"/>
                  <a:pt x="5768" y="12122"/>
                  <a:pt x="6197" y="11568"/>
                </a:cubicBezTo>
                <a:cubicBezTo>
                  <a:pt x="6429" y="11848"/>
                  <a:pt x="6671" y="12129"/>
                  <a:pt x="6923" y="12409"/>
                </a:cubicBezTo>
                <a:cubicBezTo>
                  <a:pt x="6944" y="12784"/>
                  <a:pt x="6968" y="13155"/>
                  <a:pt x="7003" y="13517"/>
                </a:cubicBezTo>
                <a:moveTo>
                  <a:pt x="6923" y="9191"/>
                </a:moveTo>
                <a:cubicBezTo>
                  <a:pt x="6669" y="9473"/>
                  <a:pt x="6429" y="9756"/>
                  <a:pt x="6196" y="10039"/>
                </a:cubicBezTo>
                <a:cubicBezTo>
                  <a:pt x="5763" y="9481"/>
                  <a:pt x="5381" y="8938"/>
                  <a:pt x="5045" y="8415"/>
                </a:cubicBezTo>
                <a:cubicBezTo>
                  <a:pt x="5650" y="8283"/>
                  <a:pt x="6305" y="8171"/>
                  <a:pt x="7003" y="8084"/>
                </a:cubicBezTo>
                <a:cubicBezTo>
                  <a:pt x="6968" y="8445"/>
                  <a:pt x="6944" y="8816"/>
                  <a:pt x="6923" y="9191"/>
                </a:cubicBezTo>
                <a:moveTo>
                  <a:pt x="982" y="10800"/>
                </a:moveTo>
                <a:cubicBezTo>
                  <a:pt x="982" y="9948"/>
                  <a:pt x="2190" y="9181"/>
                  <a:pt x="4119" y="8644"/>
                </a:cubicBezTo>
                <a:cubicBezTo>
                  <a:pt x="4530" y="9342"/>
                  <a:pt x="5023" y="10067"/>
                  <a:pt x="5588" y="10805"/>
                </a:cubicBezTo>
                <a:cubicBezTo>
                  <a:pt x="5027" y="11537"/>
                  <a:pt x="4528" y="12262"/>
                  <a:pt x="4119" y="12956"/>
                </a:cubicBezTo>
                <a:cubicBezTo>
                  <a:pt x="2190" y="12419"/>
                  <a:pt x="982" y="11652"/>
                  <a:pt x="982" y="10800"/>
                </a:cubicBezTo>
                <a:moveTo>
                  <a:pt x="21600" y="10800"/>
                </a:moveTo>
                <a:cubicBezTo>
                  <a:pt x="21600" y="9624"/>
                  <a:pt x="20173" y="8571"/>
                  <a:pt x="17918" y="7853"/>
                </a:cubicBezTo>
                <a:cubicBezTo>
                  <a:pt x="19002" y="5750"/>
                  <a:pt x="19269" y="3995"/>
                  <a:pt x="18437" y="3163"/>
                </a:cubicBezTo>
                <a:cubicBezTo>
                  <a:pt x="17605" y="2332"/>
                  <a:pt x="15850" y="2598"/>
                  <a:pt x="13748" y="3682"/>
                </a:cubicBezTo>
                <a:cubicBezTo>
                  <a:pt x="13029" y="1427"/>
                  <a:pt x="11976" y="0"/>
                  <a:pt x="10800" y="0"/>
                </a:cubicBezTo>
                <a:cubicBezTo>
                  <a:pt x="9623" y="0"/>
                  <a:pt x="8571" y="1427"/>
                  <a:pt x="7852" y="3682"/>
                </a:cubicBezTo>
                <a:cubicBezTo>
                  <a:pt x="5750" y="2598"/>
                  <a:pt x="3995" y="2332"/>
                  <a:pt x="3163" y="3163"/>
                </a:cubicBezTo>
                <a:cubicBezTo>
                  <a:pt x="2331" y="3995"/>
                  <a:pt x="2598" y="5750"/>
                  <a:pt x="3682" y="7853"/>
                </a:cubicBezTo>
                <a:cubicBezTo>
                  <a:pt x="1426" y="8571"/>
                  <a:pt x="0" y="9624"/>
                  <a:pt x="0" y="10800"/>
                </a:cubicBezTo>
                <a:cubicBezTo>
                  <a:pt x="0" y="11976"/>
                  <a:pt x="1426" y="13029"/>
                  <a:pt x="3682" y="13748"/>
                </a:cubicBezTo>
                <a:cubicBezTo>
                  <a:pt x="2598" y="15851"/>
                  <a:pt x="2331" y="17605"/>
                  <a:pt x="3163" y="18437"/>
                </a:cubicBezTo>
                <a:cubicBezTo>
                  <a:pt x="3995" y="19268"/>
                  <a:pt x="5750" y="19002"/>
                  <a:pt x="7852" y="17918"/>
                </a:cubicBezTo>
                <a:cubicBezTo>
                  <a:pt x="8571" y="20173"/>
                  <a:pt x="9623" y="21600"/>
                  <a:pt x="10800" y="21600"/>
                </a:cubicBezTo>
                <a:cubicBezTo>
                  <a:pt x="11976" y="21600"/>
                  <a:pt x="13029" y="20173"/>
                  <a:pt x="13748" y="17918"/>
                </a:cubicBezTo>
                <a:cubicBezTo>
                  <a:pt x="15850" y="19002"/>
                  <a:pt x="17605" y="19268"/>
                  <a:pt x="18437" y="18437"/>
                </a:cubicBezTo>
                <a:cubicBezTo>
                  <a:pt x="19269" y="17605"/>
                  <a:pt x="19002" y="15851"/>
                  <a:pt x="17918" y="13748"/>
                </a:cubicBezTo>
                <a:cubicBezTo>
                  <a:pt x="20173" y="13029"/>
                  <a:pt x="21600" y="11976"/>
                  <a:pt x="21600" y="10800"/>
                </a:cubicBezTo>
                <a:moveTo>
                  <a:pt x="10800" y="9818"/>
                </a:moveTo>
                <a:cubicBezTo>
                  <a:pt x="10258" y="9818"/>
                  <a:pt x="9818" y="10258"/>
                  <a:pt x="9818" y="10800"/>
                </a:cubicBezTo>
                <a:cubicBezTo>
                  <a:pt x="9818" y="11342"/>
                  <a:pt x="10258" y="11782"/>
                  <a:pt x="10800" y="11782"/>
                </a:cubicBezTo>
                <a:cubicBezTo>
                  <a:pt x="11342" y="11782"/>
                  <a:pt x="11782" y="11342"/>
                  <a:pt x="11782" y="10800"/>
                </a:cubicBezTo>
                <a:cubicBezTo>
                  <a:pt x="11782" y="10258"/>
                  <a:pt x="11342" y="9818"/>
                  <a:pt x="10800" y="98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79" name="Shape 2779"/>
          <p:cNvSpPr/>
          <p:nvPr/>
        </p:nvSpPr>
        <p:spPr>
          <a:xfrm>
            <a:off x="13617255" y="11411467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7" y="16691"/>
                </a:moveTo>
                <a:lnTo>
                  <a:pt x="5303" y="12525"/>
                </a:lnTo>
                <a:lnTo>
                  <a:pt x="5294" y="12521"/>
                </a:lnTo>
                <a:cubicBezTo>
                  <a:pt x="5355" y="12447"/>
                  <a:pt x="5400" y="12365"/>
                  <a:pt x="5400" y="12273"/>
                </a:cubicBezTo>
                <a:cubicBezTo>
                  <a:pt x="5400" y="12001"/>
                  <a:pt x="5098" y="11782"/>
                  <a:pt x="4725" y="11782"/>
                </a:cubicBezTo>
                <a:lnTo>
                  <a:pt x="3375" y="11782"/>
                </a:lnTo>
                <a:lnTo>
                  <a:pt x="6615" y="8640"/>
                </a:lnTo>
                <a:lnTo>
                  <a:pt x="6606" y="8635"/>
                </a:lnTo>
                <a:cubicBezTo>
                  <a:pt x="6691" y="8553"/>
                  <a:pt x="6750" y="8456"/>
                  <a:pt x="6750" y="8345"/>
                </a:cubicBezTo>
                <a:cubicBezTo>
                  <a:pt x="6750" y="8075"/>
                  <a:pt x="6448" y="7855"/>
                  <a:pt x="6075" y="7855"/>
                </a:cubicBezTo>
                <a:lnTo>
                  <a:pt x="4855" y="7855"/>
                </a:lnTo>
                <a:lnTo>
                  <a:pt x="8548" y="4785"/>
                </a:lnTo>
                <a:lnTo>
                  <a:pt x="8544" y="4782"/>
                </a:lnTo>
                <a:cubicBezTo>
                  <a:pt x="8683" y="4691"/>
                  <a:pt x="8775" y="4564"/>
                  <a:pt x="8775" y="4418"/>
                </a:cubicBezTo>
                <a:cubicBezTo>
                  <a:pt x="8775" y="4147"/>
                  <a:pt x="8473" y="3927"/>
                  <a:pt x="8100" y="3927"/>
                </a:cubicBezTo>
                <a:lnTo>
                  <a:pt x="7029" y="3927"/>
                </a:lnTo>
                <a:lnTo>
                  <a:pt x="10800" y="1185"/>
                </a:lnTo>
                <a:lnTo>
                  <a:pt x="14571" y="3927"/>
                </a:lnTo>
                <a:lnTo>
                  <a:pt x="13500" y="3927"/>
                </a:lnTo>
                <a:cubicBezTo>
                  <a:pt x="13128" y="3927"/>
                  <a:pt x="12825" y="4147"/>
                  <a:pt x="12825" y="4418"/>
                </a:cubicBezTo>
                <a:cubicBezTo>
                  <a:pt x="12825" y="4564"/>
                  <a:pt x="12917" y="4691"/>
                  <a:pt x="13056" y="4782"/>
                </a:cubicBezTo>
                <a:lnTo>
                  <a:pt x="13052" y="4785"/>
                </a:lnTo>
                <a:lnTo>
                  <a:pt x="16744" y="7855"/>
                </a:lnTo>
                <a:lnTo>
                  <a:pt x="15525" y="7855"/>
                </a:lnTo>
                <a:cubicBezTo>
                  <a:pt x="15153" y="7855"/>
                  <a:pt x="14850" y="8075"/>
                  <a:pt x="14850" y="8345"/>
                </a:cubicBezTo>
                <a:cubicBezTo>
                  <a:pt x="14850" y="8456"/>
                  <a:pt x="14909" y="8553"/>
                  <a:pt x="14994" y="8635"/>
                </a:cubicBezTo>
                <a:lnTo>
                  <a:pt x="14985" y="8640"/>
                </a:lnTo>
                <a:lnTo>
                  <a:pt x="18225" y="11782"/>
                </a:lnTo>
                <a:lnTo>
                  <a:pt x="16875" y="11782"/>
                </a:lnTo>
                <a:cubicBezTo>
                  <a:pt x="16503" y="11782"/>
                  <a:pt x="16200" y="12001"/>
                  <a:pt x="16200" y="12273"/>
                </a:cubicBezTo>
                <a:cubicBezTo>
                  <a:pt x="16200" y="12365"/>
                  <a:pt x="16244" y="12447"/>
                  <a:pt x="16306" y="12521"/>
                </a:cubicBezTo>
                <a:lnTo>
                  <a:pt x="16296" y="12525"/>
                </a:lnTo>
                <a:lnTo>
                  <a:pt x="19733" y="16691"/>
                </a:lnTo>
                <a:cubicBezTo>
                  <a:pt x="19733" y="16691"/>
                  <a:pt x="1867" y="16691"/>
                  <a:pt x="1867" y="16691"/>
                </a:cubicBezTo>
                <a:close/>
                <a:moveTo>
                  <a:pt x="12150" y="20618"/>
                </a:moveTo>
                <a:lnTo>
                  <a:pt x="9450" y="20618"/>
                </a:lnTo>
                <a:lnTo>
                  <a:pt x="9450" y="17673"/>
                </a:lnTo>
                <a:lnTo>
                  <a:pt x="12150" y="17673"/>
                </a:lnTo>
                <a:cubicBezTo>
                  <a:pt x="12150" y="17673"/>
                  <a:pt x="12150" y="20618"/>
                  <a:pt x="12150" y="20618"/>
                </a:cubicBezTo>
                <a:close/>
                <a:moveTo>
                  <a:pt x="21494" y="16933"/>
                </a:moveTo>
                <a:lnTo>
                  <a:pt x="21503" y="16929"/>
                </a:lnTo>
                <a:lnTo>
                  <a:pt x="18067" y="12764"/>
                </a:lnTo>
                <a:lnTo>
                  <a:pt x="19575" y="12764"/>
                </a:lnTo>
                <a:cubicBezTo>
                  <a:pt x="19948" y="12764"/>
                  <a:pt x="20250" y="12544"/>
                  <a:pt x="20250" y="12273"/>
                </a:cubicBezTo>
                <a:cubicBezTo>
                  <a:pt x="20250" y="12162"/>
                  <a:pt x="20191" y="12066"/>
                  <a:pt x="20106" y="11983"/>
                </a:cubicBezTo>
                <a:lnTo>
                  <a:pt x="20115" y="11978"/>
                </a:lnTo>
                <a:lnTo>
                  <a:pt x="16875" y="8836"/>
                </a:lnTo>
                <a:lnTo>
                  <a:pt x="18225" y="8836"/>
                </a:lnTo>
                <a:cubicBezTo>
                  <a:pt x="18598" y="8836"/>
                  <a:pt x="18900" y="8617"/>
                  <a:pt x="18900" y="8345"/>
                </a:cubicBezTo>
                <a:cubicBezTo>
                  <a:pt x="18900" y="8200"/>
                  <a:pt x="18808" y="8072"/>
                  <a:pt x="18669" y="7982"/>
                </a:cubicBezTo>
                <a:lnTo>
                  <a:pt x="18673" y="7978"/>
                </a:lnTo>
                <a:lnTo>
                  <a:pt x="14980" y="4909"/>
                </a:lnTo>
                <a:lnTo>
                  <a:pt x="16200" y="4909"/>
                </a:lnTo>
                <a:cubicBezTo>
                  <a:pt x="16573" y="4909"/>
                  <a:pt x="16875" y="4690"/>
                  <a:pt x="16875" y="4418"/>
                </a:cubicBezTo>
                <a:cubicBezTo>
                  <a:pt x="16875" y="4283"/>
                  <a:pt x="16800" y="4160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1" y="4160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lnTo>
                  <a:pt x="6619" y="4909"/>
                </a:lnTo>
                <a:lnTo>
                  <a:pt x="2927" y="7978"/>
                </a:lnTo>
                <a:lnTo>
                  <a:pt x="2931" y="7982"/>
                </a:lnTo>
                <a:cubicBezTo>
                  <a:pt x="2792" y="8072"/>
                  <a:pt x="2700" y="8200"/>
                  <a:pt x="2700" y="8345"/>
                </a:cubicBezTo>
                <a:cubicBezTo>
                  <a:pt x="2700" y="8617"/>
                  <a:pt x="3003" y="8836"/>
                  <a:pt x="3375" y="8836"/>
                </a:cubicBezTo>
                <a:lnTo>
                  <a:pt x="4725" y="8836"/>
                </a:lnTo>
                <a:lnTo>
                  <a:pt x="1485" y="11978"/>
                </a:lnTo>
                <a:lnTo>
                  <a:pt x="1494" y="11983"/>
                </a:lnTo>
                <a:cubicBezTo>
                  <a:pt x="1409" y="12066"/>
                  <a:pt x="1350" y="12162"/>
                  <a:pt x="1350" y="12273"/>
                </a:cubicBezTo>
                <a:cubicBezTo>
                  <a:pt x="1350" y="12544"/>
                  <a:pt x="1653" y="12764"/>
                  <a:pt x="2025" y="12764"/>
                </a:cubicBezTo>
                <a:lnTo>
                  <a:pt x="3533" y="12764"/>
                </a:lnTo>
                <a:lnTo>
                  <a:pt x="96" y="16929"/>
                </a:lnTo>
                <a:lnTo>
                  <a:pt x="106" y="16933"/>
                </a:lnTo>
                <a:cubicBezTo>
                  <a:pt x="44" y="17007"/>
                  <a:pt x="0" y="17089"/>
                  <a:pt x="0" y="17182"/>
                </a:cubicBezTo>
                <a:cubicBezTo>
                  <a:pt x="0" y="17453"/>
                  <a:pt x="303" y="17673"/>
                  <a:pt x="675" y="17673"/>
                </a:cubicBezTo>
                <a:lnTo>
                  <a:pt x="8100" y="17673"/>
                </a:lnTo>
                <a:lnTo>
                  <a:pt x="8100" y="21109"/>
                </a:lnTo>
                <a:cubicBezTo>
                  <a:pt x="8100" y="21380"/>
                  <a:pt x="8403" y="21600"/>
                  <a:pt x="8775" y="21600"/>
                </a:cubicBezTo>
                <a:lnTo>
                  <a:pt x="12825" y="21600"/>
                </a:lnTo>
                <a:cubicBezTo>
                  <a:pt x="13198" y="21600"/>
                  <a:pt x="13500" y="21380"/>
                  <a:pt x="13500" y="21109"/>
                </a:cubicBezTo>
                <a:lnTo>
                  <a:pt x="13500" y="17673"/>
                </a:lnTo>
                <a:lnTo>
                  <a:pt x="20925" y="17673"/>
                </a:lnTo>
                <a:cubicBezTo>
                  <a:pt x="21298" y="17673"/>
                  <a:pt x="21600" y="17453"/>
                  <a:pt x="21600" y="17182"/>
                </a:cubicBezTo>
                <a:cubicBezTo>
                  <a:pt x="21600" y="17089"/>
                  <a:pt x="21555" y="17007"/>
                  <a:pt x="21494" y="1693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80" name="Shape 2780"/>
          <p:cNvSpPr/>
          <p:nvPr/>
        </p:nvSpPr>
        <p:spPr>
          <a:xfrm>
            <a:off x="14759957" y="11411467"/>
            <a:ext cx="25393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40" y="14727"/>
                </a:moveTo>
                <a:lnTo>
                  <a:pt x="2160" y="14727"/>
                </a:lnTo>
                <a:lnTo>
                  <a:pt x="2160" y="4909"/>
                </a:lnTo>
                <a:cubicBezTo>
                  <a:pt x="2160" y="2740"/>
                  <a:pt x="6028" y="982"/>
                  <a:pt x="10800" y="982"/>
                </a:cubicBezTo>
                <a:cubicBezTo>
                  <a:pt x="15571" y="982"/>
                  <a:pt x="19440" y="2740"/>
                  <a:pt x="19440" y="4909"/>
                </a:cubicBezTo>
                <a:cubicBezTo>
                  <a:pt x="19440" y="4909"/>
                  <a:pt x="19440" y="14727"/>
                  <a:pt x="19440" y="14727"/>
                </a:cubicBezTo>
                <a:close/>
                <a:moveTo>
                  <a:pt x="10800" y="0"/>
                </a:moveTo>
                <a:cubicBezTo>
                  <a:pt x="4835" y="0"/>
                  <a:pt x="0" y="2198"/>
                  <a:pt x="0" y="4909"/>
                </a:cubicBezTo>
                <a:lnTo>
                  <a:pt x="0" y="14727"/>
                </a:lnTo>
                <a:cubicBezTo>
                  <a:pt x="0" y="15269"/>
                  <a:pt x="968" y="15709"/>
                  <a:pt x="2160" y="15709"/>
                </a:cubicBezTo>
                <a:lnTo>
                  <a:pt x="9720" y="15709"/>
                </a:lnTo>
                <a:lnTo>
                  <a:pt x="9720" y="21109"/>
                </a:lnTo>
                <a:cubicBezTo>
                  <a:pt x="9720" y="21380"/>
                  <a:pt x="10204" y="21600"/>
                  <a:pt x="10800" y="21600"/>
                </a:cubicBezTo>
                <a:cubicBezTo>
                  <a:pt x="11396" y="21600"/>
                  <a:pt x="11880" y="21380"/>
                  <a:pt x="11880" y="21109"/>
                </a:cubicBezTo>
                <a:lnTo>
                  <a:pt x="11880" y="15709"/>
                </a:lnTo>
                <a:lnTo>
                  <a:pt x="19440" y="15709"/>
                </a:lnTo>
                <a:cubicBezTo>
                  <a:pt x="20632" y="15709"/>
                  <a:pt x="21600" y="15269"/>
                  <a:pt x="21600" y="14727"/>
                </a:cubicBezTo>
                <a:lnTo>
                  <a:pt x="21600" y="4909"/>
                </a:lnTo>
                <a:cubicBezTo>
                  <a:pt x="21600" y="2198"/>
                  <a:pt x="16765" y="0"/>
                  <a:pt x="10800" y="0"/>
                </a:cubicBezTo>
                <a:moveTo>
                  <a:pt x="7560" y="4909"/>
                </a:moveTo>
                <a:cubicBezTo>
                  <a:pt x="6964" y="4909"/>
                  <a:pt x="6480" y="5129"/>
                  <a:pt x="6480" y="5400"/>
                </a:cubicBezTo>
                <a:lnTo>
                  <a:pt x="6480" y="12273"/>
                </a:lnTo>
                <a:cubicBezTo>
                  <a:pt x="6480" y="12544"/>
                  <a:pt x="6964" y="12764"/>
                  <a:pt x="7560" y="12764"/>
                </a:cubicBezTo>
                <a:cubicBezTo>
                  <a:pt x="8156" y="12764"/>
                  <a:pt x="8640" y="12544"/>
                  <a:pt x="8640" y="12273"/>
                </a:cubicBezTo>
                <a:lnTo>
                  <a:pt x="8640" y="5400"/>
                </a:lnTo>
                <a:cubicBezTo>
                  <a:pt x="8640" y="5129"/>
                  <a:pt x="8156" y="4909"/>
                  <a:pt x="7560" y="4909"/>
                </a:cubicBezTo>
                <a:moveTo>
                  <a:pt x="14040" y="4909"/>
                </a:moveTo>
                <a:cubicBezTo>
                  <a:pt x="13444" y="4909"/>
                  <a:pt x="12960" y="5129"/>
                  <a:pt x="12960" y="5400"/>
                </a:cubicBezTo>
                <a:lnTo>
                  <a:pt x="12960" y="12273"/>
                </a:lnTo>
                <a:cubicBezTo>
                  <a:pt x="12960" y="12544"/>
                  <a:pt x="13444" y="12764"/>
                  <a:pt x="14040" y="12764"/>
                </a:cubicBezTo>
                <a:cubicBezTo>
                  <a:pt x="14636" y="12764"/>
                  <a:pt x="15120" y="12544"/>
                  <a:pt x="15120" y="12273"/>
                </a:cubicBezTo>
                <a:lnTo>
                  <a:pt x="15120" y="5400"/>
                </a:lnTo>
                <a:cubicBezTo>
                  <a:pt x="15120" y="5129"/>
                  <a:pt x="14636" y="4909"/>
                  <a:pt x="14040" y="49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81" name="Shape 2781"/>
          <p:cNvSpPr/>
          <p:nvPr/>
        </p:nvSpPr>
        <p:spPr>
          <a:xfrm>
            <a:off x="15674117" y="1141146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6873"/>
                </a:moveTo>
                <a:cubicBezTo>
                  <a:pt x="6162" y="6873"/>
                  <a:pt x="6382" y="6653"/>
                  <a:pt x="6382" y="6382"/>
                </a:cubicBezTo>
                <a:lnTo>
                  <a:pt x="6382" y="1473"/>
                </a:lnTo>
                <a:cubicBezTo>
                  <a:pt x="6382" y="1201"/>
                  <a:pt x="6162" y="982"/>
                  <a:pt x="5891" y="982"/>
                </a:cubicBezTo>
                <a:cubicBezTo>
                  <a:pt x="5620" y="982"/>
                  <a:pt x="5400" y="1201"/>
                  <a:pt x="5400" y="1473"/>
                </a:cubicBezTo>
                <a:lnTo>
                  <a:pt x="5400" y="6382"/>
                </a:lnTo>
                <a:cubicBezTo>
                  <a:pt x="5400" y="6653"/>
                  <a:pt x="5620" y="6873"/>
                  <a:pt x="5891" y="6873"/>
                </a:cubicBezTo>
                <a:moveTo>
                  <a:pt x="2945" y="5891"/>
                </a:moveTo>
                <a:cubicBezTo>
                  <a:pt x="3216" y="5891"/>
                  <a:pt x="3436" y="5671"/>
                  <a:pt x="3436" y="5400"/>
                </a:cubicBezTo>
                <a:lnTo>
                  <a:pt x="3436" y="2455"/>
                </a:lnTo>
                <a:cubicBezTo>
                  <a:pt x="3436" y="2183"/>
                  <a:pt x="3216" y="1964"/>
                  <a:pt x="2945" y="1964"/>
                </a:cubicBezTo>
                <a:cubicBezTo>
                  <a:pt x="2675" y="1964"/>
                  <a:pt x="2455" y="2183"/>
                  <a:pt x="2455" y="2455"/>
                </a:cubicBezTo>
                <a:lnTo>
                  <a:pt x="2455" y="5400"/>
                </a:lnTo>
                <a:cubicBezTo>
                  <a:pt x="2455" y="5671"/>
                  <a:pt x="2675" y="5891"/>
                  <a:pt x="2945" y="5891"/>
                </a:cubicBezTo>
                <a:moveTo>
                  <a:pt x="18655" y="15218"/>
                </a:moveTo>
                <a:lnTo>
                  <a:pt x="17648" y="15218"/>
                </a:lnTo>
                <a:cubicBezTo>
                  <a:pt x="17660" y="15056"/>
                  <a:pt x="17673" y="14893"/>
                  <a:pt x="17673" y="14727"/>
                </a:cubicBezTo>
                <a:lnTo>
                  <a:pt x="17673" y="11291"/>
                </a:lnTo>
                <a:lnTo>
                  <a:pt x="18655" y="11291"/>
                </a:lnTo>
                <a:cubicBezTo>
                  <a:pt x="19739" y="11291"/>
                  <a:pt x="20618" y="12170"/>
                  <a:pt x="20618" y="13255"/>
                </a:cubicBezTo>
                <a:cubicBezTo>
                  <a:pt x="20618" y="14339"/>
                  <a:pt x="19739" y="15218"/>
                  <a:pt x="18655" y="15218"/>
                </a:cubicBezTo>
                <a:moveTo>
                  <a:pt x="16691" y="14727"/>
                </a:moveTo>
                <a:cubicBezTo>
                  <a:pt x="16691" y="15802"/>
                  <a:pt x="16399" y="16805"/>
                  <a:pt x="15896" y="17673"/>
                </a:cubicBezTo>
                <a:lnTo>
                  <a:pt x="1777" y="17673"/>
                </a:lnTo>
                <a:cubicBezTo>
                  <a:pt x="1274" y="16805"/>
                  <a:pt x="982" y="15802"/>
                  <a:pt x="982" y="14727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4727"/>
                  <a:pt x="16691" y="14727"/>
                </a:cubicBezTo>
                <a:close/>
                <a:moveTo>
                  <a:pt x="10800" y="20618"/>
                </a:moveTo>
                <a:lnTo>
                  <a:pt x="6873" y="20618"/>
                </a:lnTo>
                <a:cubicBezTo>
                  <a:pt x="5131" y="20618"/>
                  <a:pt x="3569" y="19857"/>
                  <a:pt x="2491" y="18655"/>
                </a:cubicBezTo>
                <a:lnTo>
                  <a:pt x="15182" y="18655"/>
                </a:lnTo>
                <a:cubicBezTo>
                  <a:pt x="14103" y="19857"/>
                  <a:pt x="12542" y="20618"/>
                  <a:pt x="10800" y="20618"/>
                </a:cubicBezTo>
                <a:moveTo>
                  <a:pt x="18655" y="10309"/>
                </a:moveTo>
                <a:lnTo>
                  <a:pt x="17673" y="10309"/>
                </a:lnTo>
                <a:lnTo>
                  <a:pt x="17673" y="8836"/>
                </a:lnTo>
                <a:cubicBezTo>
                  <a:pt x="17673" y="8295"/>
                  <a:pt x="17233" y="7855"/>
                  <a:pt x="16691" y="7855"/>
                </a:cubicBezTo>
                <a:lnTo>
                  <a:pt x="982" y="7855"/>
                </a:lnTo>
                <a:cubicBezTo>
                  <a:pt x="440" y="7855"/>
                  <a:pt x="0" y="8295"/>
                  <a:pt x="0" y="8836"/>
                </a:cubicBezTo>
                <a:lnTo>
                  <a:pt x="0" y="14727"/>
                </a:lnTo>
                <a:cubicBezTo>
                  <a:pt x="0" y="17232"/>
                  <a:pt x="1344" y="19417"/>
                  <a:pt x="3346" y="20618"/>
                </a:cubicBezTo>
                <a:lnTo>
                  <a:pt x="491" y="20618"/>
                </a:lnTo>
                <a:cubicBezTo>
                  <a:pt x="220" y="20618"/>
                  <a:pt x="0" y="20838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0"/>
                  <a:pt x="17673" y="21109"/>
                </a:cubicBezTo>
                <a:cubicBezTo>
                  <a:pt x="17673" y="20838"/>
                  <a:pt x="17453" y="20618"/>
                  <a:pt x="17182" y="20618"/>
                </a:cubicBezTo>
                <a:lnTo>
                  <a:pt x="14330" y="20618"/>
                </a:lnTo>
                <a:cubicBezTo>
                  <a:pt x="15925" y="19659"/>
                  <a:pt x="17101" y="18074"/>
                  <a:pt x="17511" y="16200"/>
                </a:cubicBezTo>
                <a:lnTo>
                  <a:pt x="18655" y="16200"/>
                </a:lnTo>
                <a:cubicBezTo>
                  <a:pt x="20281" y="16200"/>
                  <a:pt x="21600" y="14882"/>
                  <a:pt x="21600" y="13255"/>
                </a:cubicBezTo>
                <a:cubicBezTo>
                  <a:pt x="21600" y="11628"/>
                  <a:pt x="20281" y="10309"/>
                  <a:pt x="18655" y="10309"/>
                </a:cubicBezTo>
                <a:moveTo>
                  <a:pt x="11782" y="5891"/>
                </a:moveTo>
                <a:cubicBezTo>
                  <a:pt x="12053" y="5891"/>
                  <a:pt x="12273" y="5671"/>
                  <a:pt x="12273" y="5400"/>
                </a:cubicBezTo>
                <a:lnTo>
                  <a:pt x="12273" y="2455"/>
                </a:lnTo>
                <a:cubicBezTo>
                  <a:pt x="12273" y="2183"/>
                  <a:pt x="12053" y="1964"/>
                  <a:pt x="11782" y="1964"/>
                </a:cubicBezTo>
                <a:cubicBezTo>
                  <a:pt x="11511" y="1964"/>
                  <a:pt x="11291" y="2183"/>
                  <a:pt x="11291" y="2455"/>
                </a:cubicBezTo>
                <a:lnTo>
                  <a:pt x="11291" y="5400"/>
                </a:lnTo>
                <a:cubicBezTo>
                  <a:pt x="11291" y="5671"/>
                  <a:pt x="11511" y="5891"/>
                  <a:pt x="11782" y="5891"/>
                </a:cubicBezTo>
                <a:moveTo>
                  <a:pt x="14727" y="6873"/>
                </a:moveTo>
                <a:cubicBezTo>
                  <a:pt x="14998" y="6873"/>
                  <a:pt x="15218" y="6653"/>
                  <a:pt x="15218" y="6382"/>
                </a:cubicBezTo>
                <a:lnTo>
                  <a:pt x="15218" y="1473"/>
                </a:lnTo>
                <a:cubicBezTo>
                  <a:pt x="15218" y="1201"/>
                  <a:pt x="14998" y="982"/>
                  <a:pt x="14727" y="982"/>
                </a:cubicBezTo>
                <a:cubicBezTo>
                  <a:pt x="14456" y="982"/>
                  <a:pt x="14236" y="1201"/>
                  <a:pt x="14236" y="1473"/>
                </a:cubicBezTo>
                <a:lnTo>
                  <a:pt x="14236" y="6382"/>
                </a:lnTo>
                <a:cubicBezTo>
                  <a:pt x="14236" y="6653"/>
                  <a:pt x="14456" y="6873"/>
                  <a:pt x="14727" y="6873"/>
                </a:cubicBezTo>
                <a:moveTo>
                  <a:pt x="8836" y="5891"/>
                </a:moveTo>
                <a:cubicBezTo>
                  <a:pt x="9107" y="5891"/>
                  <a:pt x="9327" y="5671"/>
                  <a:pt x="9327" y="5400"/>
                </a:cubicBezTo>
                <a:lnTo>
                  <a:pt x="9327" y="491"/>
                </a:lnTo>
                <a:cubicBezTo>
                  <a:pt x="9327" y="220"/>
                  <a:pt x="9107" y="0"/>
                  <a:pt x="8836" y="0"/>
                </a:cubicBezTo>
                <a:cubicBezTo>
                  <a:pt x="8566" y="0"/>
                  <a:pt x="8345" y="220"/>
                  <a:pt x="8345" y="491"/>
                </a:cubicBezTo>
                <a:lnTo>
                  <a:pt x="8345" y="5400"/>
                </a:lnTo>
                <a:cubicBezTo>
                  <a:pt x="8345" y="5671"/>
                  <a:pt x="8566" y="5891"/>
                  <a:pt x="8836" y="58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82" name="Shape 2782"/>
          <p:cNvSpPr/>
          <p:nvPr/>
        </p:nvSpPr>
        <p:spPr>
          <a:xfrm>
            <a:off x="16740639" y="11449557"/>
            <a:ext cx="559193" cy="482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683" h="20545" extrusionOk="0">
                <a:moveTo>
                  <a:pt x="9621" y="9676"/>
                </a:moveTo>
                <a:cubicBezTo>
                  <a:pt x="9621" y="9676"/>
                  <a:pt x="9621" y="9675"/>
                  <a:pt x="9621" y="9675"/>
                </a:cubicBezTo>
                <a:lnTo>
                  <a:pt x="9620" y="9674"/>
                </a:lnTo>
                <a:cubicBezTo>
                  <a:pt x="9620" y="9674"/>
                  <a:pt x="9621" y="9676"/>
                  <a:pt x="9621" y="9676"/>
                </a:cubicBezTo>
                <a:close/>
                <a:moveTo>
                  <a:pt x="19582" y="1266"/>
                </a:moveTo>
                <a:cubicBezTo>
                  <a:pt x="18115" y="-422"/>
                  <a:pt x="15737" y="-422"/>
                  <a:pt x="14270" y="1266"/>
                </a:cubicBezTo>
                <a:lnTo>
                  <a:pt x="14934" y="2030"/>
                </a:lnTo>
                <a:cubicBezTo>
                  <a:pt x="16034" y="765"/>
                  <a:pt x="17818" y="765"/>
                  <a:pt x="18918" y="2030"/>
                </a:cubicBezTo>
                <a:cubicBezTo>
                  <a:pt x="20019" y="3297"/>
                  <a:pt x="20019" y="5351"/>
                  <a:pt x="18918" y="6618"/>
                </a:cubicBezTo>
                <a:lnTo>
                  <a:pt x="8956" y="17881"/>
                </a:lnTo>
                <a:lnTo>
                  <a:pt x="9621" y="18645"/>
                </a:lnTo>
                <a:lnTo>
                  <a:pt x="19582" y="7382"/>
                </a:lnTo>
                <a:cubicBezTo>
                  <a:pt x="21050" y="5693"/>
                  <a:pt x="21050" y="2955"/>
                  <a:pt x="19582" y="1266"/>
                </a:cubicBezTo>
                <a:moveTo>
                  <a:pt x="2315" y="17881"/>
                </a:moveTo>
                <a:cubicBezTo>
                  <a:pt x="481" y="15770"/>
                  <a:pt x="481" y="12551"/>
                  <a:pt x="2315" y="10439"/>
                </a:cubicBezTo>
                <a:cubicBezTo>
                  <a:pt x="2317" y="10437"/>
                  <a:pt x="2320" y="10434"/>
                  <a:pt x="2323" y="10431"/>
                </a:cubicBezTo>
                <a:lnTo>
                  <a:pt x="2323" y="10431"/>
                </a:lnTo>
                <a:lnTo>
                  <a:pt x="9289" y="2413"/>
                </a:lnTo>
                <a:cubicBezTo>
                  <a:pt x="9472" y="2201"/>
                  <a:pt x="9472" y="1859"/>
                  <a:pt x="9289" y="1648"/>
                </a:cubicBezTo>
                <a:cubicBezTo>
                  <a:pt x="9105" y="1437"/>
                  <a:pt x="8808" y="1437"/>
                  <a:pt x="8624" y="1648"/>
                </a:cubicBezTo>
                <a:lnTo>
                  <a:pt x="1651" y="9675"/>
                </a:lnTo>
                <a:cubicBezTo>
                  <a:pt x="-550" y="12208"/>
                  <a:pt x="-550" y="16112"/>
                  <a:pt x="1651" y="18645"/>
                </a:cubicBezTo>
                <a:cubicBezTo>
                  <a:pt x="3852" y="21178"/>
                  <a:pt x="7420" y="21178"/>
                  <a:pt x="9621" y="18645"/>
                </a:cubicBezTo>
                <a:lnTo>
                  <a:pt x="8948" y="17889"/>
                </a:lnTo>
                <a:cubicBezTo>
                  <a:pt x="7114" y="19991"/>
                  <a:pt x="4147" y="19989"/>
                  <a:pt x="2315" y="17881"/>
                </a:cubicBezTo>
                <a:moveTo>
                  <a:pt x="6300" y="13497"/>
                </a:moveTo>
                <a:cubicBezTo>
                  <a:pt x="7033" y="14341"/>
                  <a:pt x="8223" y="14341"/>
                  <a:pt x="8956" y="13497"/>
                </a:cubicBezTo>
                <a:lnTo>
                  <a:pt x="13937" y="7764"/>
                </a:lnTo>
                <a:cubicBezTo>
                  <a:pt x="14121" y="7553"/>
                  <a:pt x="14121" y="7211"/>
                  <a:pt x="13937" y="7000"/>
                </a:cubicBezTo>
                <a:cubicBezTo>
                  <a:pt x="13754" y="6789"/>
                  <a:pt x="13457" y="6789"/>
                  <a:pt x="13273" y="7000"/>
                </a:cubicBezTo>
                <a:lnTo>
                  <a:pt x="8292" y="12732"/>
                </a:lnTo>
                <a:cubicBezTo>
                  <a:pt x="7926" y="13155"/>
                  <a:pt x="7331" y="13155"/>
                  <a:pt x="6964" y="12732"/>
                </a:cubicBezTo>
                <a:cubicBezTo>
                  <a:pt x="6597" y="12310"/>
                  <a:pt x="6597" y="11626"/>
                  <a:pt x="6964" y="11204"/>
                </a:cubicBezTo>
                <a:lnTo>
                  <a:pt x="8292" y="9675"/>
                </a:lnTo>
                <a:lnTo>
                  <a:pt x="14934" y="2030"/>
                </a:lnTo>
                <a:lnTo>
                  <a:pt x="14270" y="1266"/>
                </a:lnTo>
                <a:lnTo>
                  <a:pt x="6300" y="10439"/>
                </a:lnTo>
                <a:cubicBezTo>
                  <a:pt x="5566" y="11284"/>
                  <a:pt x="5566" y="12653"/>
                  <a:pt x="6300" y="1349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83" name="Shape 2783"/>
          <p:cNvSpPr/>
          <p:nvPr/>
        </p:nvSpPr>
        <p:spPr>
          <a:xfrm>
            <a:off x="17807162" y="11449559"/>
            <a:ext cx="558654" cy="4824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855"/>
                </a:moveTo>
                <a:lnTo>
                  <a:pt x="1633" y="10800"/>
                </a:lnTo>
                <a:lnTo>
                  <a:pt x="4615" y="9156"/>
                </a:lnTo>
                <a:lnTo>
                  <a:pt x="10589" y="12450"/>
                </a:lnTo>
                <a:lnTo>
                  <a:pt x="10591" y="12446"/>
                </a:lnTo>
                <a:cubicBezTo>
                  <a:pt x="10654" y="12482"/>
                  <a:pt x="10724" y="12505"/>
                  <a:pt x="10800" y="12505"/>
                </a:cubicBezTo>
                <a:cubicBezTo>
                  <a:pt x="10876" y="12505"/>
                  <a:pt x="10946" y="12482"/>
                  <a:pt x="11009" y="12446"/>
                </a:cubicBezTo>
                <a:lnTo>
                  <a:pt x="11011" y="12450"/>
                </a:lnTo>
                <a:lnTo>
                  <a:pt x="16985" y="9156"/>
                </a:lnTo>
                <a:lnTo>
                  <a:pt x="19967" y="10800"/>
                </a:lnTo>
                <a:cubicBezTo>
                  <a:pt x="19967" y="10800"/>
                  <a:pt x="10800" y="15855"/>
                  <a:pt x="10800" y="15855"/>
                </a:cubicBezTo>
                <a:close/>
                <a:moveTo>
                  <a:pt x="19967" y="15347"/>
                </a:moveTo>
                <a:lnTo>
                  <a:pt x="10800" y="20402"/>
                </a:lnTo>
                <a:lnTo>
                  <a:pt x="1633" y="15347"/>
                </a:lnTo>
                <a:lnTo>
                  <a:pt x="4615" y="13703"/>
                </a:lnTo>
                <a:lnTo>
                  <a:pt x="10589" y="16997"/>
                </a:lnTo>
                <a:lnTo>
                  <a:pt x="10591" y="16994"/>
                </a:lnTo>
                <a:cubicBezTo>
                  <a:pt x="10654" y="17029"/>
                  <a:pt x="10724" y="17053"/>
                  <a:pt x="10800" y="17053"/>
                </a:cubicBezTo>
                <a:cubicBezTo>
                  <a:pt x="10876" y="17053"/>
                  <a:pt x="10946" y="17029"/>
                  <a:pt x="11009" y="16994"/>
                </a:cubicBezTo>
                <a:lnTo>
                  <a:pt x="11011" y="16997"/>
                </a:lnTo>
                <a:lnTo>
                  <a:pt x="16985" y="13703"/>
                </a:lnTo>
                <a:cubicBezTo>
                  <a:pt x="16985" y="13703"/>
                  <a:pt x="19967" y="15347"/>
                  <a:pt x="19967" y="15347"/>
                </a:cubicBezTo>
                <a:close/>
                <a:moveTo>
                  <a:pt x="1633" y="6253"/>
                </a:moveTo>
                <a:lnTo>
                  <a:pt x="10800" y="1198"/>
                </a:lnTo>
                <a:lnTo>
                  <a:pt x="19967" y="6253"/>
                </a:lnTo>
                <a:lnTo>
                  <a:pt x="10800" y="11307"/>
                </a:lnTo>
                <a:cubicBezTo>
                  <a:pt x="10800" y="11307"/>
                  <a:pt x="1633" y="6253"/>
                  <a:pt x="1633" y="6253"/>
                </a:cubicBezTo>
                <a:close/>
                <a:moveTo>
                  <a:pt x="21600" y="10800"/>
                </a:moveTo>
                <a:cubicBezTo>
                  <a:pt x="21600" y="10574"/>
                  <a:pt x="21484" y="10383"/>
                  <a:pt x="21319" y="10290"/>
                </a:cubicBezTo>
                <a:lnTo>
                  <a:pt x="21320" y="10287"/>
                </a:lnTo>
                <a:lnTo>
                  <a:pt x="18127" y="8526"/>
                </a:lnTo>
                <a:lnTo>
                  <a:pt x="21320" y="6766"/>
                </a:lnTo>
                <a:lnTo>
                  <a:pt x="21319" y="6762"/>
                </a:lnTo>
                <a:cubicBezTo>
                  <a:pt x="21484" y="6671"/>
                  <a:pt x="21600" y="6479"/>
                  <a:pt x="21600" y="6253"/>
                </a:cubicBezTo>
                <a:cubicBezTo>
                  <a:pt x="21600" y="6027"/>
                  <a:pt x="21484" y="5835"/>
                  <a:pt x="21319" y="5743"/>
                </a:cubicBezTo>
                <a:lnTo>
                  <a:pt x="21320" y="5740"/>
                </a:lnTo>
                <a:lnTo>
                  <a:pt x="11011" y="56"/>
                </a:lnTo>
                <a:lnTo>
                  <a:pt x="11009" y="59"/>
                </a:lnTo>
                <a:cubicBezTo>
                  <a:pt x="10946" y="23"/>
                  <a:pt x="10876" y="0"/>
                  <a:pt x="10800" y="0"/>
                </a:cubicBezTo>
                <a:cubicBezTo>
                  <a:pt x="10724" y="0"/>
                  <a:pt x="10654" y="23"/>
                  <a:pt x="10591" y="59"/>
                </a:cubicBezTo>
                <a:lnTo>
                  <a:pt x="10589" y="56"/>
                </a:lnTo>
                <a:lnTo>
                  <a:pt x="280" y="5740"/>
                </a:lnTo>
                <a:lnTo>
                  <a:pt x="281" y="5743"/>
                </a:lnTo>
                <a:cubicBezTo>
                  <a:pt x="116" y="5835"/>
                  <a:pt x="0" y="6027"/>
                  <a:pt x="0" y="6253"/>
                </a:cubicBezTo>
                <a:cubicBezTo>
                  <a:pt x="0" y="6479"/>
                  <a:pt x="116" y="6671"/>
                  <a:pt x="281" y="6762"/>
                </a:cubicBezTo>
                <a:lnTo>
                  <a:pt x="280" y="6766"/>
                </a:lnTo>
                <a:lnTo>
                  <a:pt x="3473" y="8526"/>
                </a:lnTo>
                <a:lnTo>
                  <a:pt x="280" y="10287"/>
                </a:lnTo>
                <a:lnTo>
                  <a:pt x="281" y="10290"/>
                </a:lnTo>
                <a:cubicBezTo>
                  <a:pt x="116" y="10383"/>
                  <a:pt x="0" y="10574"/>
                  <a:pt x="0" y="10800"/>
                </a:cubicBezTo>
                <a:cubicBezTo>
                  <a:pt x="0" y="11026"/>
                  <a:pt x="116" y="11218"/>
                  <a:pt x="281" y="11310"/>
                </a:cubicBezTo>
                <a:lnTo>
                  <a:pt x="280" y="11313"/>
                </a:lnTo>
                <a:lnTo>
                  <a:pt x="3473" y="13074"/>
                </a:lnTo>
                <a:lnTo>
                  <a:pt x="280" y="14834"/>
                </a:lnTo>
                <a:lnTo>
                  <a:pt x="281" y="14838"/>
                </a:lnTo>
                <a:cubicBezTo>
                  <a:pt x="116" y="14930"/>
                  <a:pt x="0" y="15121"/>
                  <a:pt x="0" y="15347"/>
                </a:cubicBezTo>
                <a:cubicBezTo>
                  <a:pt x="0" y="15574"/>
                  <a:pt x="116" y="15765"/>
                  <a:pt x="281" y="15857"/>
                </a:cubicBezTo>
                <a:lnTo>
                  <a:pt x="280" y="15860"/>
                </a:lnTo>
                <a:lnTo>
                  <a:pt x="10589" y="21544"/>
                </a:lnTo>
                <a:lnTo>
                  <a:pt x="10591" y="21541"/>
                </a:lnTo>
                <a:cubicBezTo>
                  <a:pt x="10654" y="21577"/>
                  <a:pt x="10724" y="21600"/>
                  <a:pt x="10800" y="21600"/>
                </a:cubicBezTo>
                <a:cubicBezTo>
                  <a:pt x="10876" y="21600"/>
                  <a:pt x="10946" y="21577"/>
                  <a:pt x="11009" y="21541"/>
                </a:cubicBezTo>
                <a:lnTo>
                  <a:pt x="11011" y="21544"/>
                </a:lnTo>
                <a:lnTo>
                  <a:pt x="21320" y="15860"/>
                </a:lnTo>
                <a:lnTo>
                  <a:pt x="21319" y="15857"/>
                </a:lnTo>
                <a:cubicBezTo>
                  <a:pt x="21484" y="15765"/>
                  <a:pt x="21600" y="15574"/>
                  <a:pt x="21600" y="15347"/>
                </a:cubicBezTo>
                <a:cubicBezTo>
                  <a:pt x="21600" y="15121"/>
                  <a:pt x="21484" y="14930"/>
                  <a:pt x="21319" y="14838"/>
                </a:cubicBezTo>
                <a:lnTo>
                  <a:pt x="21320" y="14834"/>
                </a:lnTo>
                <a:lnTo>
                  <a:pt x="18127" y="13074"/>
                </a:lnTo>
                <a:lnTo>
                  <a:pt x="21320" y="11313"/>
                </a:lnTo>
                <a:lnTo>
                  <a:pt x="21319" y="11310"/>
                </a:lnTo>
                <a:cubicBezTo>
                  <a:pt x="21484" y="11218"/>
                  <a:pt x="21600" y="11026"/>
                  <a:pt x="21600" y="10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84" name="Shape 2784"/>
          <p:cNvSpPr/>
          <p:nvPr/>
        </p:nvSpPr>
        <p:spPr>
          <a:xfrm>
            <a:off x="18873684" y="1141146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353" y="11229"/>
                </a:moveTo>
                <a:lnTo>
                  <a:pt x="20356" y="11234"/>
                </a:lnTo>
                <a:lnTo>
                  <a:pt x="11029" y="16143"/>
                </a:lnTo>
                <a:lnTo>
                  <a:pt x="11026" y="16138"/>
                </a:lnTo>
                <a:cubicBezTo>
                  <a:pt x="10957" y="16174"/>
                  <a:pt x="10883" y="16200"/>
                  <a:pt x="10800" y="16200"/>
                </a:cubicBezTo>
                <a:cubicBezTo>
                  <a:pt x="10717" y="16200"/>
                  <a:pt x="10643" y="16174"/>
                  <a:pt x="10574" y="16138"/>
                </a:cubicBezTo>
                <a:lnTo>
                  <a:pt x="10571" y="16143"/>
                </a:lnTo>
                <a:lnTo>
                  <a:pt x="1244" y="11234"/>
                </a:lnTo>
                <a:lnTo>
                  <a:pt x="1247" y="11229"/>
                </a:lnTo>
                <a:cubicBezTo>
                  <a:pt x="1091" y="11147"/>
                  <a:pt x="982" y="10988"/>
                  <a:pt x="982" y="10800"/>
                </a:cubicBezTo>
                <a:cubicBezTo>
                  <a:pt x="982" y="10612"/>
                  <a:pt x="1091" y="10453"/>
                  <a:pt x="1247" y="10371"/>
                </a:cubicBezTo>
                <a:lnTo>
                  <a:pt x="1244" y="10366"/>
                </a:lnTo>
                <a:lnTo>
                  <a:pt x="3562" y="9146"/>
                </a:lnTo>
                <a:lnTo>
                  <a:pt x="10113" y="12594"/>
                </a:lnTo>
                <a:lnTo>
                  <a:pt x="10117" y="12588"/>
                </a:lnTo>
                <a:cubicBezTo>
                  <a:pt x="10322" y="12697"/>
                  <a:pt x="10552" y="12764"/>
                  <a:pt x="10800" y="12764"/>
                </a:cubicBezTo>
                <a:cubicBezTo>
                  <a:pt x="11048" y="12764"/>
                  <a:pt x="11278" y="12697"/>
                  <a:pt x="11483" y="12588"/>
                </a:cubicBezTo>
                <a:lnTo>
                  <a:pt x="11486" y="12594"/>
                </a:lnTo>
                <a:lnTo>
                  <a:pt x="18038" y="9146"/>
                </a:lnTo>
                <a:lnTo>
                  <a:pt x="20356" y="10366"/>
                </a:lnTo>
                <a:lnTo>
                  <a:pt x="20353" y="10371"/>
                </a:lnTo>
                <a:cubicBezTo>
                  <a:pt x="20509" y="10453"/>
                  <a:pt x="20618" y="10612"/>
                  <a:pt x="20618" y="10800"/>
                </a:cubicBezTo>
                <a:cubicBezTo>
                  <a:pt x="20618" y="10988"/>
                  <a:pt x="20509" y="11147"/>
                  <a:pt x="20353" y="11229"/>
                </a:cubicBezTo>
                <a:moveTo>
                  <a:pt x="20356" y="14784"/>
                </a:moveTo>
                <a:lnTo>
                  <a:pt x="20353" y="14790"/>
                </a:lnTo>
                <a:cubicBezTo>
                  <a:pt x="20509" y="14872"/>
                  <a:pt x="20618" y="15030"/>
                  <a:pt x="20618" y="15218"/>
                </a:cubicBezTo>
                <a:cubicBezTo>
                  <a:pt x="20618" y="15407"/>
                  <a:pt x="20509" y="15565"/>
                  <a:pt x="20353" y="15647"/>
                </a:cubicBezTo>
                <a:lnTo>
                  <a:pt x="20356" y="15653"/>
                </a:lnTo>
                <a:lnTo>
                  <a:pt x="11029" y="20562"/>
                </a:lnTo>
                <a:lnTo>
                  <a:pt x="11026" y="20556"/>
                </a:lnTo>
                <a:cubicBezTo>
                  <a:pt x="10957" y="20592"/>
                  <a:pt x="10883" y="20618"/>
                  <a:pt x="10800" y="20618"/>
                </a:cubicBezTo>
                <a:cubicBezTo>
                  <a:pt x="10717" y="20618"/>
                  <a:pt x="10643" y="20592"/>
                  <a:pt x="10574" y="20556"/>
                </a:cubicBezTo>
                <a:lnTo>
                  <a:pt x="10571" y="20562"/>
                </a:lnTo>
                <a:lnTo>
                  <a:pt x="1244" y="15653"/>
                </a:lnTo>
                <a:lnTo>
                  <a:pt x="1247" y="15647"/>
                </a:lnTo>
                <a:cubicBezTo>
                  <a:pt x="1091" y="15565"/>
                  <a:pt x="982" y="15407"/>
                  <a:pt x="982" y="15218"/>
                </a:cubicBezTo>
                <a:cubicBezTo>
                  <a:pt x="982" y="15030"/>
                  <a:pt x="1091" y="14872"/>
                  <a:pt x="1247" y="14790"/>
                </a:cubicBezTo>
                <a:lnTo>
                  <a:pt x="1244" y="14784"/>
                </a:lnTo>
                <a:lnTo>
                  <a:pt x="3562" y="13564"/>
                </a:lnTo>
                <a:lnTo>
                  <a:pt x="10113" y="17012"/>
                </a:lnTo>
                <a:lnTo>
                  <a:pt x="10117" y="17006"/>
                </a:lnTo>
                <a:cubicBezTo>
                  <a:pt x="10322" y="17115"/>
                  <a:pt x="10552" y="17182"/>
                  <a:pt x="10800" y="17182"/>
                </a:cubicBezTo>
                <a:cubicBezTo>
                  <a:pt x="11048" y="17182"/>
                  <a:pt x="11278" y="17115"/>
                  <a:pt x="11483" y="17006"/>
                </a:cubicBezTo>
                <a:lnTo>
                  <a:pt x="11486" y="17012"/>
                </a:lnTo>
                <a:lnTo>
                  <a:pt x="18038" y="13564"/>
                </a:lnTo>
                <a:cubicBezTo>
                  <a:pt x="18038" y="13564"/>
                  <a:pt x="20356" y="14784"/>
                  <a:pt x="20356" y="14784"/>
                </a:cubicBezTo>
                <a:close/>
                <a:moveTo>
                  <a:pt x="1244" y="6816"/>
                </a:moveTo>
                <a:lnTo>
                  <a:pt x="1247" y="6811"/>
                </a:lnTo>
                <a:cubicBezTo>
                  <a:pt x="1091" y="6728"/>
                  <a:pt x="982" y="6570"/>
                  <a:pt x="982" y="6382"/>
                </a:cubicBezTo>
                <a:cubicBezTo>
                  <a:pt x="982" y="6194"/>
                  <a:pt x="1091" y="6035"/>
                  <a:pt x="1247" y="5953"/>
                </a:cubicBezTo>
                <a:lnTo>
                  <a:pt x="1244" y="5947"/>
                </a:lnTo>
                <a:lnTo>
                  <a:pt x="10571" y="1038"/>
                </a:lnTo>
                <a:lnTo>
                  <a:pt x="10574" y="1044"/>
                </a:lnTo>
                <a:cubicBezTo>
                  <a:pt x="10643" y="1008"/>
                  <a:pt x="10717" y="982"/>
                  <a:pt x="10800" y="982"/>
                </a:cubicBezTo>
                <a:cubicBezTo>
                  <a:pt x="10883" y="982"/>
                  <a:pt x="10957" y="1008"/>
                  <a:pt x="11026" y="1044"/>
                </a:cubicBezTo>
                <a:lnTo>
                  <a:pt x="11029" y="1038"/>
                </a:lnTo>
                <a:lnTo>
                  <a:pt x="20356" y="5947"/>
                </a:lnTo>
                <a:lnTo>
                  <a:pt x="20353" y="5953"/>
                </a:lnTo>
                <a:cubicBezTo>
                  <a:pt x="20509" y="6035"/>
                  <a:pt x="20618" y="6194"/>
                  <a:pt x="20618" y="6382"/>
                </a:cubicBezTo>
                <a:cubicBezTo>
                  <a:pt x="20618" y="6570"/>
                  <a:pt x="20509" y="6728"/>
                  <a:pt x="20353" y="6811"/>
                </a:cubicBezTo>
                <a:lnTo>
                  <a:pt x="20356" y="6816"/>
                </a:lnTo>
                <a:lnTo>
                  <a:pt x="11029" y="11725"/>
                </a:lnTo>
                <a:lnTo>
                  <a:pt x="11026" y="11720"/>
                </a:lnTo>
                <a:cubicBezTo>
                  <a:pt x="10957" y="11756"/>
                  <a:pt x="10883" y="11782"/>
                  <a:pt x="10800" y="11782"/>
                </a:cubicBezTo>
                <a:cubicBezTo>
                  <a:pt x="10717" y="11782"/>
                  <a:pt x="10643" y="11756"/>
                  <a:pt x="10574" y="11720"/>
                </a:cubicBezTo>
                <a:lnTo>
                  <a:pt x="10571" y="11725"/>
                </a:lnTo>
                <a:cubicBezTo>
                  <a:pt x="10571" y="11725"/>
                  <a:pt x="1244" y="6816"/>
                  <a:pt x="1244" y="6816"/>
                </a:cubicBezTo>
                <a:close/>
                <a:moveTo>
                  <a:pt x="21600" y="10800"/>
                </a:moveTo>
                <a:cubicBezTo>
                  <a:pt x="21600" y="10234"/>
                  <a:pt x="21278" y="9749"/>
                  <a:pt x="20810" y="9503"/>
                </a:cubicBezTo>
                <a:lnTo>
                  <a:pt x="20813" y="9497"/>
                </a:lnTo>
                <a:lnTo>
                  <a:pt x="19092" y="8591"/>
                </a:lnTo>
                <a:lnTo>
                  <a:pt x="20813" y="7685"/>
                </a:lnTo>
                <a:lnTo>
                  <a:pt x="20810" y="7679"/>
                </a:lnTo>
                <a:cubicBezTo>
                  <a:pt x="21278" y="7433"/>
                  <a:pt x="21600" y="6948"/>
                  <a:pt x="21600" y="6382"/>
                </a:cubicBezTo>
                <a:cubicBezTo>
                  <a:pt x="21600" y="5816"/>
                  <a:pt x="21278" y="5331"/>
                  <a:pt x="20810" y="5085"/>
                </a:cubicBezTo>
                <a:lnTo>
                  <a:pt x="20813" y="5079"/>
                </a:lnTo>
                <a:lnTo>
                  <a:pt x="11486" y="170"/>
                </a:lnTo>
                <a:lnTo>
                  <a:pt x="11483" y="175"/>
                </a:lnTo>
                <a:cubicBezTo>
                  <a:pt x="11278" y="67"/>
                  <a:pt x="11048" y="0"/>
                  <a:pt x="10800" y="0"/>
                </a:cubicBezTo>
                <a:cubicBezTo>
                  <a:pt x="10552" y="0"/>
                  <a:pt x="10322" y="67"/>
                  <a:pt x="10117" y="175"/>
                </a:cubicBezTo>
                <a:lnTo>
                  <a:pt x="10113" y="170"/>
                </a:lnTo>
                <a:lnTo>
                  <a:pt x="786" y="5079"/>
                </a:lnTo>
                <a:lnTo>
                  <a:pt x="790" y="5085"/>
                </a:lnTo>
                <a:cubicBezTo>
                  <a:pt x="322" y="5331"/>
                  <a:pt x="0" y="5816"/>
                  <a:pt x="0" y="6382"/>
                </a:cubicBezTo>
                <a:cubicBezTo>
                  <a:pt x="0" y="6948"/>
                  <a:pt x="322" y="7433"/>
                  <a:pt x="790" y="7679"/>
                </a:cubicBezTo>
                <a:lnTo>
                  <a:pt x="786" y="7685"/>
                </a:lnTo>
                <a:lnTo>
                  <a:pt x="2508" y="8591"/>
                </a:lnTo>
                <a:lnTo>
                  <a:pt x="786" y="9497"/>
                </a:lnTo>
                <a:lnTo>
                  <a:pt x="790" y="9503"/>
                </a:lnTo>
                <a:cubicBezTo>
                  <a:pt x="322" y="9749"/>
                  <a:pt x="0" y="10234"/>
                  <a:pt x="0" y="10800"/>
                </a:cubicBezTo>
                <a:cubicBezTo>
                  <a:pt x="0" y="11366"/>
                  <a:pt x="322" y="11851"/>
                  <a:pt x="790" y="12097"/>
                </a:cubicBezTo>
                <a:lnTo>
                  <a:pt x="786" y="12103"/>
                </a:lnTo>
                <a:lnTo>
                  <a:pt x="2508" y="13009"/>
                </a:lnTo>
                <a:lnTo>
                  <a:pt x="786" y="13915"/>
                </a:lnTo>
                <a:lnTo>
                  <a:pt x="790" y="13921"/>
                </a:lnTo>
                <a:cubicBezTo>
                  <a:pt x="322" y="14167"/>
                  <a:pt x="0" y="14652"/>
                  <a:pt x="0" y="15218"/>
                </a:cubicBezTo>
                <a:cubicBezTo>
                  <a:pt x="0" y="15784"/>
                  <a:pt x="322" y="16269"/>
                  <a:pt x="790" y="16515"/>
                </a:cubicBezTo>
                <a:lnTo>
                  <a:pt x="786" y="16521"/>
                </a:lnTo>
                <a:lnTo>
                  <a:pt x="10113" y="21430"/>
                </a:lnTo>
                <a:lnTo>
                  <a:pt x="10117" y="21425"/>
                </a:lnTo>
                <a:cubicBezTo>
                  <a:pt x="10322" y="21533"/>
                  <a:pt x="10552" y="21600"/>
                  <a:pt x="10800" y="21600"/>
                </a:cubicBezTo>
                <a:cubicBezTo>
                  <a:pt x="11048" y="21600"/>
                  <a:pt x="11278" y="21533"/>
                  <a:pt x="11483" y="21425"/>
                </a:cubicBezTo>
                <a:lnTo>
                  <a:pt x="11486" y="21430"/>
                </a:lnTo>
                <a:lnTo>
                  <a:pt x="20813" y="16521"/>
                </a:lnTo>
                <a:lnTo>
                  <a:pt x="20810" y="16515"/>
                </a:lnTo>
                <a:cubicBezTo>
                  <a:pt x="21278" y="16269"/>
                  <a:pt x="21600" y="15784"/>
                  <a:pt x="21600" y="15218"/>
                </a:cubicBezTo>
                <a:cubicBezTo>
                  <a:pt x="21600" y="14652"/>
                  <a:pt x="21278" y="14167"/>
                  <a:pt x="20810" y="13921"/>
                </a:cubicBezTo>
                <a:lnTo>
                  <a:pt x="20813" y="13915"/>
                </a:lnTo>
                <a:lnTo>
                  <a:pt x="19092" y="13009"/>
                </a:lnTo>
                <a:lnTo>
                  <a:pt x="20813" y="12103"/>
                </a:lnTo>
                <a:lnTo>
                  <a:pt x="20810" y="12097"/>
                </a:lnTo>
                <a:cubicBezTo>
                  <a:pt x="21278" y="11851"/>
                  <a:pt x="21600" y="11366"/>
                  <a:pt x="21600" y="10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85" name="Shape 2785"/>
          <p:cNvSpPr/>
          <p:nvPr/>
        </p:nvSpPr>
        <p:spPr>
          <a:xfrm>
            <a:off x="19940207" y="11462253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400"/>
                </a:moveTo>
                <a:cubicBezTo>
                  <a:pt x="14522" y="20400"/>
                  <a:pt x="12764" y="18251"/>
                  <a:pt x="12764" y="15600"/>
                </a:cubicBezTo>
                <a:cubicBezTo>
                  <a:pt x="12764" y="12949"/>
                  <a:pt x="14522" y="10800"/>
                  <a:pt x="16691" y="10800"/>
                </a:cubicBezTo>
                <a:cubicBezTo>
                  <a:pt x="18860" y="10800"/>
                  <a:pt x="20618" y="12949"/>
                  <a:pt x="20618" y="15600"/>
                </a:cubicBezTo>
                <a:cubicBezTo>
                  <a:pt x="20618" y="18251"/>
                  <a:pt x="18860" y="20400"/>
                  <a:pt x="16691" y="20400"/>
                </a:cubicBezTo>
                <a:moveTo>
                  <a:pt x="12762" y="3393"/>
                </a:moveTo>
                <a:lnTo>
                  <a:pt x="12781" y="3388"/>
                </a:lnTo>
                <a:cubicBezTo>
                  <a:pt x="12870" y="2164"/>
                  <a:pt x="13702" y="1200"/>
                  <a:pt x="14727" y="1200"/>
                </a:cubicBezTo>
                <a:cubicBezTo>
                  <a:pt x="15521" y="1200"/>
                  <a:pt x="16202" y="1779"/>
                  <a:pt x="16511" y="2609"/>
                </a:cubicBezTo>
                <a:lnTo>
                  <a:pt x="16509" y="2609"/>
                </a:lnTo>
                <a:lnTo>
                  <a:pt x="19162" y="10421"/>
                </a:lnTo>
                <a:cubicBezTo>
                  <a:pt x="18436" y="9902"/>
                  <a:pt x="17593" y="9600"/>
                  <a:pt x="16691" y="9600"/>
                </a:cubicBezTo>
                <a:cubicBezTo>
                  <a:pt x="15082" y="9600"/>
                  <a:pt x="13658" y="10550"/>
                  <a:pt x="12763" y="12012"/>
                </a:cubicBezTo>
                <a:cubicBezTo>
                  <a:pt x="12763" y="12012"/>
                  <a:pt x="12762" y="3393"/>
                  <a:pt x="12762" y="3393"/>
                </a:cubicBezTo>
                <a:close/>
                <a:moveTo>
                  <a:pt x="11782" y="13200"/>
                </a:moveTo>
                <a:lnTo>
                  <a:pt x="9818" y="13200"/>
                </a:lnTo>
                <a:lnTo>
                  <a:pt x="9818" y="4800"/>
                </a:lnTo>
                <a:lnTo>
                  <a:pt x="11782" y="4800"/>
                </a:lnTo>
                <a:cubicBezTo>
                  <a:pt x="11782" y="4800"/>
                  <a:pt x="11782" y="13200"/>
                  <a:pt x="11782" y="13200"/>
                </a:cubicBezTo>
                <a:close/>
                <a:moveTo>
                  <a:pt x="11782" y="15600"/>
                </a:moveTo>
                <a:lnTo>
                  <a:pt x="9818" y="156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15600"/>
                  <a:pt x="11782" y="15600"/>
                </a:cubicBezTo>
                <a:close/>
                <a:moveTo>
                  <a:pt x="8837" y="12012"/>
                </a:moveTo>
                <a:cubicBezTo>
                  <a:pt x="7942" y="10550"/>
                  <a:pt x="6518" y="9600"/>
                  <a:pt x="4909" y="9600"/>
                </a:cubicBezTo>
                <a:cubicBezTo>
                  <a:pt x="4007" y="9600"/>
                  <a:pt x="3164" y="9902"/>
                  <a:pt x="2438" y="10421"/>
                </a:cubicBezTo>
                <a:lnTo>
                  <a:pt x="5091" y="2609"/>
                </a:lnTo>
                <a:lnTo>
                  <a:pt x="5089" y="2609"/>
                </a:lnTo>
                <a:cubicBezTo>
                  <a:pt x="5398" y="1779"/>
                  <a:pt x="6079" y="1200"/>
                  <a:pt x="6873" y="1200"/>
                </a:cubicBezTo>
                <a:cubicBezTo>
                  <a:pt x="7898" y="1200"/>
                  <a:pt x="8730" y="2164"/>
                  <a:pt x="8819" y="3388"/>
                </a:cubicBezTo>
                <a:lnTo>
                  <a:pt x="8838" y="3393"/>
                </a:lnTo>
                <a:cubicBezTo>
                  <a:pt x="8838" y="3393"/>
                  <a:pt x="8837" y="12012"/>
                  <a:pt x="8837" y="12012"/>
                </a:cubicBezTo>
                <a:close/>
                <a:moveTo>
                  <a:pt x="4909" y="20400"/>
                </a:moveTo>
                <a:cubicBezTo>
                  <a:pt x="2740" y="20400"/>
                  <a:pt x="982" y="18251"/>
                  <a:pt x="982" y="15600"/>
                </a:cubicBezTo>
                <a:cubicBezTo>
                  <a:pt x="982" y="12949"/>
                  <a:pt x="2740" y="10800"/>
                  <a:pt x="4909" y="10800"/>
                </a:cubicBezTo>
                <a:cubicBezTo>
                  <a:pt x="7078" y="10800"/>
                  <a:pt x="8836" y="12949"/>
                  <a:pt x="8836" y="15600"/>
                </a:cubicBezTo>
                <a:cubicBezTo>
                  <a:pt x="8836" y="18251"/>
                  <a:pt x="7078" y="20400"/>
                  <a:pt x="4909" y="20400"/>
                </a:cubicBezTo>
                <a:moveTo>
                  <a:pt x="21102" y="12980"/>
                </a:moveTo>
                <a:lnTo>
                  <a:pt x="17504" y="2400"/>
                </a:lnTo>
                <a:lnTo>
                  <a:pt x="17493" y="2402"/>
                </a:lnTo>
                <a:cubicBezTo>
                  <a:pt x="17088" y="1006"/>
                  <a:pt x="16009" y="0"/>
                  <a:pt x="14727" y="0"/>
                </a:cubicBezTo>
                <a:cubicBezTo>
                  <a:pt x="13101" y="0"/>
                  <a:pt x="11782" y="1612"/>
                  <a:pt x="11782" y="3600"/>
                </a:cubicBezTo>
                <a:lnTo>
                  <a:pt x="9818" y="3600"/>
                </a:lnTo>
                <a:cubicBezTo>
                  <a:pt x="9818" y="1612"/>
                  <a:pt x="8499" y="0"/>
                  <a:pt x="6873" y="0"/>
                </a:cubicBezTo>
                <a:cubicBezTo>
                  <a:pt x="5592" y="0"/>
                  <a:pt x="4512" y="1006"/>
                  <a:pt x="4107" y="2402"/>
                </a:cubicBezTo>
                <a:lnTo>
                  <a:pt x="4096" y="2400"/>
                </a:lnTo>
                <a:lnTo>
                  <a:pt x="498" y="12980"/>
                </a:lnTo>
                <a:cubicBezTo>
                  <a:pt x="182" y="13772"/>
                  <a:pt x="0" y="14659"/>
                  <a:pt x="0" y="15600"/>
                </a:cubicBezTo>
                <a:cubicBezTo>
                  <a:pt x="0" y="18914"/>
                  <a:pt x="2198" y="21600"/>
                  <a:pt x="4909" y="21600"/>
                </a:cubicBezTo>
                <a:cubicBezTo>
                  <a:pt x="7284" y="21600"/>
                  <a:pt x="9265" y="19539"/>
                  <a:pt x="9719" y="16800"/>
                </a:cubicBezTo>
                <a:lnTo>
                  <a:pt x="11881" y="16800"/>
                </a:lnTo>
                <a:cubicBezTo>
                  <a:pt x="12335" y="19539"/>
                  <a:pt x="14316" y="21600"/>
                  <a:pt x="16691" y="21600"/>
                </a:cubicBezTo>
                <a:cubicBezTo>
                  <a:pt x="19402" y="21600"/>
                  <a:pt x="21600" y="18914"/>
                  <a:pt x="21600" y="15600"/>
                </a:cubicBezTo>
                <a:cubicBezTo>
                  <a:pt x="21600" y="14659"/>
                  <a:pt x="21418" y="13772"/>
                  <a:pt x="21102" y="12980"/>
                </a:cubicBezTo>
                <a:moveTo>
                  <a:pt x="16691" y="12000"/>
                </a:moveTo>
                <a:cubicBezTo>
                  <a:pt x="15064" y="12000"/>
                  <a:pt x="13745" y="13612"/>
                  <a:pt x="13745" y="15600"/>
                </a:cubicBezTo>
                <a:cubicBezTo>
                  <a:pt x="13745" y="15932"/>
                  <a:pt x="13965" y="16200"/>
                  <a:pt x="14236" y="16200"/>
                </a:cubicBezTo>
                <a:cubicBezTo>
                  <a:pt x="14508" y="16200"/>
                  <a:pt x="14727" y="15932"/>
                  <a:pt x="14727" y="15600"/>
                </a:cubicBezTo>
                <a:cubicBezTo>
                  <a:pt x="14727" y="14275"/>
                  <a:pt x="15606" y="13200"/>
                  <a:pt x="16691" y="13200"/>
                </a:cubicBezTo>
                <a:cubicBezTo>
                  <a:pt x="16962" y="13200"/>
                  <a:pt x="17182" y="12932"/>
                  <a:pt x="17182" y="12600"/>
                </a:cubicBezTo>
                <a:cubicBezTo>
                  <a:pt x="17182" y="12268"/>
                  <a:pt x="16962" y="12000"/>
                  <a:pt x="16691" y="12000"/>
                </a:cubicBezTo>
                <a:moveTo>
                  <a:pt x="4909" y="12000"/>
                </a:moveTo>
                <a:cubicBezTo>
                  <a:pt x="3282" y="12000"/>
                  <a:pt x="1964" y="13612"/>
                  <a:pt x="1964" y="15600"/>
                </a:cubicBezTo>
                <a:cubicBezTo>
                  <a:pt x="1964" y="15932"/>
                  <a:pt x="2183" y="16200"/>
                  <a:pt x="2455" y="16200"/>
                </a:cubicBezTo>
                <a:cubicBezTo>
                  <a:pt x="2726" y="16200"/>
                  <a:pt x="2945" y="15932"/>
                  <a:pt x="2945" y="15600"/>
                </a:cubicBezTo>
                <a:cubicBezTo>
                  <a:pt x="2945" y="14275"/>
                  <a:pt x="3825" y="13200"/>
                  <a:pt x="4909" y="13200"/>
                </a:cubicBezTo>
                <a:cubicBezTo>
                  <a:pt x="5180" y="13200"/>
                  <a:pt x="5400" y="12932"/>
                  <a:pt x="5400" y="12600"/>
                </a:cubicBezTo>
                <a:cubicBezTo>
                  <a:pt x="5400" y="12268"/>
                  <a:pt x="5180" y="12000"/>
                  <a:pt x="4909" y="120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86" name="Shape 2786"/>
          <p:cNvSpPr/>
          <p:nvPr/>
        </p:nvSpPr>
        <p:spPr>
          <a:xfrm>
            <a:off x="21006729" y="11436861"/>
            <a:ext cx="558253" cy="5078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79" h="20458" extrusionOk="0">
                <a:moveTo>
                  <a:pt x="8629" y="9718"/>
                </a:moveTo>
                <a:cubicBezTo>
                  <a:pt x="8364" y="9718"/>
                  <a:pt x="8150" y="9946"/>
                  <a:pt x="8150" y="10229"/>
                </a:cubicBezTo>
                <a:cubicBezTo>
                  <a:pt x="8150" y="10512"/>
                  <a:pt x="8364" y="10740"/>
                  <a:pt x="8629" y="10740"/>
                </a:cubicBezTo>
                <a:cubicBezTo>
                  <a:pt x="8894" y="10740"/>
                  <a:pt x="9109" y="10512"/>
                  <a:pt x="9109" y="10229"/>
                </a:cubicBezTo>
                <a:cubicBezTo>
                  <a:pt x="9109" y="9946"/>
                  <a:pt x="8894" y="9718"/>
                  <a:pt x="8629" y="9718"/>
                </a:cubicBezTo>
                <a:moveTo>
                  <a:pt x="19841" y="17227"/>
                </a:moveTo>
                <a:cubicBezTo>
                  <a:pt x="18962" y="17974"/>
                  <a:pt x="18122" y="17900"/>
                  <a:pt x="18122" y="17900"/>
                </a:cubicBezTo>
                <a:cubicBezTo>
                  <a:pt x="17681" y="17900"/>
                  <a:pt x="16277" y="16919"/>
                  <a:pt x="9448" y="11852"/>
                </a:cubicBezTo>
                <a:lnTo>
                  <a:pt x="10866" y="10844"/>
                </a:lnTo>
                <a:cubicBezTo>
                  <a:pt x="10866" y="10844"/>
                  <a:pt x="19841" y="17227"/>
                  <a:pt x="19841" y="17227"/>
                </a:cubicBezTo>
                <a:close/>
                <a:moveTo>
                  <a:pt x="6661" y="12605"/>
                </a:moveTo>
                <a:cubicBezTo>
                  <a:pt x="6010" y="12349"/>
                  <a:pt x="5264" y="12239"/>
                  <a:pt x="4521" y="12267"/>
                </a:cubicBezTo>
                <a:cubicBezTo>
                  <a:pt x="15686" y="3965"/>
                  <a:pt x="17591" y="2558"/>
                  <a:pt x="18122" y="2558"/>
                </a:cubicBezTo>
                <a:cubicBezTo>
                  <a:pt x="18122" y="2558"/>
                  <a:pt x="18962" y="2484"/>
                  <a:pt x="19841" y="3231"/>
                </a:cubicBezTo>
                <a:cubicBezTo>
                  <a:pt x="19841" y="3231"/>
                  <a:pt x="6661" y="12605"/>
                  <a:pt x="6661" y="12605"/>
                </a:cubicBezTo>
                <a:close/>
                <a:moveTo>
                  <a:pt x="5586" y="19031"/>
                </a:moveTo>
                <a:cubicBezTo>
                  <a:pt x="4111" y="19863"/>
                  <a:pt x="2224" y="19369"/>
                  <a:pt x="1372" y="17927"/>
                </a:cubicBezTo>
                <a:cubicBezTo>
                  <a:pt x="520" y="16485"/>
                  <a:pt x="1026" y="14640"/>
                  <a:pt x="2501" y="13808"/>
                </a:cubicBezTo>
                <a:cubicBezTo>
                  <a:pt x="3977" y="12975"/>
                  <a:pt x="6532" y="13092"/>
                  <a:pt x="7383" y="14534"/>
                </a:cubicBezTo>
                <a:cubicBezTo>
                  <a:pt x="8235" y="15977"/>
                  <a:pt x="7062" y="18198"/>
                  <a:pt x="5586" y="19031"/>
                </a:cubicBezTo>
                <a:moveTo>
                  <a:pt x="4521" y="8191"/>
                </a:moveTo>
                <a:cubicBezTo>
                  <a:pt x="5264" y="8219"/>
                  <a:pt x="6010" y="8109"/>
                  <a:pt x="6661" y="7853"/>
                </a:cubicBezTo>
                <a:lnTo>
                  <a:pt x="7765" y="8638"/>
                </a:lnTo>
                <a:cubicBezTo>
                  <a:pt x="7345" y="8950"/>
                  <a:pt x="6901" y="9281"/>
                  <a:pt x="6443" y="9621"/>
                </a:cubicBezTo>
                <a:cubicBezTo>
                  <a:pt x="5833" y="9167"/>
                  <a:pt x="5200" y="8696"/>
                  <a:pt x="4521" y="8191"/>
                </a:cubicBezTo>
                <a:moveTo>
                  <a:pt x="2501" y="6650"/>
                </a:moveTo>
                <a:cubicBezTo>
                  <a:pt x="1026" y="5818"/>
                  <a:pt x="520" y="3973"/>
                  <a:pt x="1372" y="2531"/>
                </a:cubicBezTo>
                <a:cubicBezTo>
                  <a:pt x="2224" y="1089"/>
                  <a:pt x="4111" y="595"/>
                  <a:pt x="5586" y="1427"/>
                </a:cubicBezTo>
                <a:cubicBezTo>
                  <a:pt x="7062" y="2260"/>
                  <a:pt x="8235" y="4481"/>
                  <a:pt x="7383" y="5924"/>
                </a:cubicBezTo>
                <a:cubicBezTo>
                  <a:pt x="6532" y="7366"/>
                  <a:pt x="3977" y="7483"/>
                  <a:pt x="2501" y="6650"/>
                </a:cubicBezTo>
                <a:moveTo>
                  <a:pt x="21079" y="3580"/>
                </a:moveTo>
                <a:cubicBezTo>
                  <a:pt x="21079" y="2451"/>
                  <a:pt x="19262" y="1535"/>
                  <a:pt x="18203" y="1535"/>
                </a:cubicBezTo>
                <a:lnTo>
                  <a:pt x="18122" y="1535"/>
                </a:lnTo>
                <a:cubicBezTo>
                  <a:pt x="17404" y="1535"/>
                  <a:pt x="17139" y="1673"/>
                  <a:pt x="8610" y="8009"/>
                </a:cubicBezTo>
                <a:lnTo>
                  <a:pt x="7613" y="7300"/>
                </a:lnTo>
                <a:cubicBezTo>
                  <a:pt x="7876" y="7084"/>
                  <a:pt x="8104" y="6833"/>
                  <a:pt x="8275" y="6534"/>
                </a:cubicBezTo>
                <a:cubicBezTo>
                  <a:pt x="9372" y="4611"/>
                  <a:pt x="7861" y="1650"/>
                  <a:pt x="5960" y="539"/>
                </a:cubicBezTo>
                <a:cubicBezTo>
                  <a:pt x="4060" y="-571"/>
                  <a:pt x="1629" y="88"/>
                  <a:pt x="532" y="2011"/>
                </a:cubicBezTo>
                <a:cubicBezTo>
                  <a:pt x="-521" y="3857"/>
                  <a:pt x="41" y="6194"/>
                  <a:pt x="1769" y="7361"/>
                </a:cubicBezTo>
                <a:cubicBezTo>
                  <a:pt x="3185" y="8414"/>
                  <a:pt x="4458" y="9360"/>
                  <a:pt x="5626" y="10229"/>
                </a:cubicBezTo>
                <a:cubicBezTo>
                  <a:pt x="4461" y="11096"/>
                  <a:pt x="3178" y="12049"/>
                  <a:pt x="1769" y="13097"/>
                </a:cubicBezTo>
                <a:cubicBezTo>
                  <a:pt x="40" y="14264"/>
                  <a:pt x="-521" y="16601"/>
                  <a:pt x="532" y="18447"/>
                </a:cubicBezTo>
                <a:cubicBezTo>
                  <a:pt x="1629" y="20371"/>
                  <a:pt x="4060" y="21029"/>
                  <a:pt x="5960" y="19919"/>
                </a:cubicBezTo>
                <a:cubicBezTo>
                  <a:pt x="7861" y="18808"/>
                  <a:pt x="9372" y="15847"/>
                  <a:pt x="8275" y="13924"/>
                </a:cubicBezTo>
                <a:cubicBezTo>
                  <a:pt x="8104" y="13625"/>
                  <a:pt x="7876" y="13374"/>
                  <a:pt x="7613" y="13158"/>
                </a:cubicBezTo>
                <a:lnTo>
                  <a:pt x="8610" y="12449"/>
                </a:lnTo>
                <a:cubicBezTo>
                  <a:pt x="17134" y="18781"/>
                  <a:pt x="17404" y="18923"/>
                  <a:pt x="18122" y="18923"/>
                </a:cubicBezTo>
                <a:lnTo>
                  <a:pt x="18203" y="18923"/>
                </a:lnTo>
                <a:cubicBezTo>
                  <a:pt x="19262" y="18923"/>
                  <a:pt x="21079" y="18007"/>
                  <a:pt x="21079" y="16878"/>
                </a:cubicBezTo>
                <a:lnTo>
                  <a:pt x="11731" y="10229"/>
                </a:lnTo>
                <a:cubicBezTo>
                  <a:pt x="11731" y="10229"/>
                  <a:pt x="21079" y="3580"/>
                  <a:pt x="21079" y="3580"/>
                </a:cubicBezTo>
                <a:close/>
                <a:moveTo>
                  <a:pt x="4639" y="16789"/>
                </a:moveTo>
                <a:cubicBezTo>
                  <a:pt x="4496" y="16859"/>
                  <a:pt x="4332" y="16897"/>
                  <a:pt x="4162" y="16897"/>
                </a:cubicBezTo>
                <a:cubicBezTo>
                  <a:pt x="3846" y="16897"/>
                  <a:pt x="3544" y="16764"/>
                  <a:pt x="3411" y="16567"/>
                </a:cubicBezTo>
                <a:cubicBezTo>
                  <a:pt x="3347" y="16471"/>
                  <a:pt x="3351" y="16406"/>
                  <a:pt x="3362" y="16361"/>
                </a:cubicBezTo>
                <a:cubicBezTo>
                  <a:pt x="3392" y="16240"/>
                  <a:pt x="3511" y="16117"/>
                  <a:pt x="3682" y="16034"/>
                </a:cubicBezTo>
                <a:cubicBezTo>
                  <a:pt x="3891" y="15930"/>
                  <a:pt x="4198" y="15869"/>
                  <a:pt x="4503" y="15869"/>
                </a:cubicBezTo>
                <a:cubicBezTo>
                  <a:pt x="4935" y="15869"/>
                  <a:pt x="5194" y="15988"/>
                  <a:pt x="5273" y="16050"/>
                </a:cubicBezTo>
                <a:cubicBezTo>
                  <a:pt x="5252" y="16207"/>
                  <a:pt x="5019" y="16601"/>
                  <a:pt x="4639" y="16789"/>
                </a:cubicBezTo>
                <a:moveTo>
                  <a:pt x="4503" y="14845"/>
                </a:moveTo>
                <a:cubicBezTo>
                  <a:pt x="4065" y="14845"/>
                  <a:pt x="3621" y="14936"/>
                  <a:pt x="3279" y="15105"/>
                </a:cubicBezTo>
                <a:cubicBezTo>
                  <a:pt x="2435" y="15522"/>
                  <a:pt x="2147" y="16443"/>
                  <a:pt x="2633" y="17165"/>
                </a:cubicBezTo>
                <a:cubicBezTo>
                  <a:pt x="2960" y="17649"/>
                  <a:pt x="3553" y="17919"/>
                  <a:pt x="4162" y="17919"/>
                </a:cubicBezTo>
                <a:cubicBezTo>
                  <a:pt x="4461" y="17919"/>
                  <a:pt x="4764" y="17854"/>
                  <a:pt x="5041" y="17717"/>
                </a:cubicBezTo>
                <a:cubicBezTo>
                  <a:pt x="5885" y="17300"/>
                  <a:pt x="6555" y="16190"/>
                  <a:pt x="6069" y="15469"/>
                </a:cubicBezTo>
                <a:cubicBezTo>
                  <a:pt x="5779" y="15040"/>
                  <a:pt x="5146" y="14845"/>
                  <a:pt x="4503" y="14845"/>
                </a:cubicBezTo>
                <a:moveTo>
                  <a:pt x="4503" y="4590"/>
                </a:moveTo>
                <a:cubicBezTo>
                  <a:pt x="4198" y="4590"/>
                  <a:pt x="3891" y="4528"/>
                  <a:pt x="3682" y="4425"/>
                </a:cubicBezTo>
                <a:cubicBezTo>
                  <a:pt x="3511" y="4341"/>
                  <a:pt x="3392" y="4219"/>
                  <a:pt x="3362" y="4098"/>
                </a:cubicBezTo>
                <a:cubicBezTo>
                  <a:pt x="3351" y="4052"/>
                  <a:pt x="3347" y="3987"/>
                  <a:pt x="3411" y="3891"/>
                </a:cubicBezTo>
                <a:cubicBezTo>
                  <a:pt x="3544" y="3694"/>
                  <a:pt x="3846" y="3561"/>
                  <a:pt x="4162" y="3561"/>
                </a:cubicBezTo>
                <a:cubicBezTo>
                  <a:pt x="4332" y="3561"/>
                  <a:pt x="4496" y="3599"/>
                  <a:pt x="4639" y="3669"/>
                </a:cubicBezTo>
                <a:cubicBezTo>
                  <a:pt x="5019" y="3857"/>
                  <a:pt x="5252" y="4252"/>
                  <a:pt x="5273" y="4408"/>
                </a:cubicBezTo>
                <a:cubicBezTo>
                  <a:pt x="5194" y="4470"/>
                  <a:pt x="4935" y="4590"/>
                  <a:pt x="4503" y="4590"/>
                </a:cubicBezTo>
                <a:moveTo>
                  <a:pt x="5041" y="2741"/>
                </a:moveTo>
                <a:cubicBezTo>
                  <a:pt x="4764" y="2604"/>
                  <a:pt x="4461" y="2539"/>
                  <a:pt x="4162" y="2539"/>
                </a:cubicBezTo>
                <a:cubicBezTo>
                  <a:pt x="3553" y="2539"/>
                  <a:pt x="2960" y="2809"/>
                  <a:pt x="2633" y="3294"/>
                </a:cubicBezTo>
                <a:cubicBezTo>
                  <a:pt x="2147" y="4015"/>
                  <a:pt x="2435" y="4937"/>
                  <a:pt x="3279" y="5353"/>
                </a:cubicBezTo>
                <a:cubicBezTo>
                  <a:pt x="3621" y="5522"/>
                  <a:pt x="4065" y="5613"/>
                  <a:pt x="4503" y="5613"/>
                </a:cubicBezTo>
                <a:cubicBezTo>
                  <a:pt x="5146" y="5613"/>
                  <a:pt x="5779" y="5418"/>
                  <a:pt x="6069" y="4990"/>
                </a:cubicBezTo>
                <a:cubicBezTo>
                  <a:pt x="6555" y="4268"/>
                  <a:pt x="5885" y="3158"/>
                  <a:pt x="5041" y="274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87" name="Shape 2787"/>
          <p:cNvSpPr/>
          <p:nvPr/>
        </p:nvSpPr>
        <p:spPr>
          <a:xfrm>
            <a:off x="22073251" y="11411467"/>
            <a:ext cx="558309" cy="5586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86" h="21600" extrusionOk="0">
                <a:moveTo>
                  <a:pt x="11502" y="10309"/>
                </a:moveTo>
                <a:cubicBezTo>
                  <a:pt x="11767" y="10309"/>
                  <a:pt x="11981" y="10090"/>
                  <a:pt x="11981" y="9818"/>
                </a:cubicBezTo>
                <a:cubicBezTo>
                  <a:pt x="11981" y="9547"/>
                  <a:pt x="11767" y="9327"/>
                  <a:pt x="11502" y="9327"/>
                </a:cubicBezTo>
                <a:cubicBezTo>
                  <a:pt x="11237" y="9327"/>
                  <a:pt x="11022" y="9547"/>
                  <a:pt x="11022" y="9818"/>
                </a:cubicBezTo>
                <a:cubicBezTo>
                  <a:pt x="11022" y="10090"/>
                  <a:pt x="11237" y="10309"/>
                  <a:pt x="11502" y="10309"/>
                </a:cubicBezTo>
                <a:moveTo>
                  <a:pt x="15818" y="4909"/>
                </a:moveTo>
                <a:cubicBezTo>
                  <a:pt x="16083" y="4909"/>
                  <a:pt x="16297" y="5129"/>
                  <a:pt x="16297" y="5400"/>
                </a:cubicBezTo>
                <a:cubicBezTo>
                  <a:pt x="16297" y="5672"/>
                  <a:pt x="16083" y="5891"/>
                  <a:pt x="15818" y="5891"/>
                </a:cubicBezTo>
                <a:cubicBezTo>
                  <a:pt x="15553" y="5891"/>
                  <a:pt x="15338" y="5672"/>
                  <a:pt x="15338" y="5400"/>
                </a:cubicBezTo>
                <a:cubicBezTo>
                  <a:pt x="15338" y="5129"/>
                  <a:pt x="15553" y="4909"/>
                  <a:pt x="15818" y="4909"/>
                </a:cubicBezTo>
                <a:moveTo>
                  <a:pt x="15818" y="6873"/>
                </a:moveTo>
                <a:cubicBezTo>
                  <a:pt x="16612" y="6873"/>
                  <a:pt x="17256" y="6213"/>
                  <a:pt x="17256" y="5400"/>
                </a:cubicBezTo>
                <a:cubicBezTo>
                  <a:pt x="17256" y="4587"/>
                  <a:pt x="16612" y="3928"/>
                  <a:pt x="15818" y="3928"/>
                </a:cubicBezTo>
                <a:cubicBezTo>
                  <a:pt x="15023" y="3928"/>
                  <a:pt x="14379" y="4587"/>
                  <a:pt x="14379" y="5400"/>
                </a:cubicBezTo>
                <a:cubicBezTo>
                  <a:pt x="14379" y="6213"/>
                  <a:pt x="15023" y="6873"/>
                  <a:pt x="15818" y="6873"/>
                </a:cubicBezTo>
                <a:moveTo>
                  <a:pt x="12941" y="11782"/>
                </a:moveTo>
                <a:cubicBezTo>
                  <a:pt x="13206" y="11782"/>
                  <a:pt x="13420" y="11562"/>
                  <a:pt x="13420" y="11291"/>
                </a:cubicBezTo>
                <a:cubicBezTo>
                  <a:pt x="13420" y="11020"/>
                  <a:pt x="13206" y="10800"/>
                  <a:pt x="12941" y="10800"/>
                </a:cubicBezTo>
                <a:cubicBezTo>
                  <a:pt x="12675" y="10800"/>
                  <a:pt x="12461" y="11020"/>
                  <a:pt x="12461" y="11291"/>
                </a:cubicBezTo>
                <a:cubicBezTo>
                  <a:pt x="12461" y="11562"/>
                  <a:pt x="12675" y="11782"/>
                  <a:pt x="12941" y="11782"/>
                </a:cubicBezTo>
                <a:moveTo>
                  <a:pt x="10063" y="7855"/>
                </a:moveTo>
                <a:cubicBezTo>
                  <a:pt x="9798" y="7855"/>
                  <a:pt x="9584" y="8074"/>
                  <a:pt x="9584" y="8346"/>
                </a:cubicBezTo>
                <a:cubicBezTo>
                  <a:pt x="9584" y="8617"/>
                  <a:pt x="9798" y="8836"/>
                  <a:pt x="10063" y="8836"/>
                </a:cubicBezTo>
                <a:cubicBezTo>
                  <a:pt x="10328" y="8836"/>
                  <a:pt x="10543" y="8617"/>
                  <a:pt x="10543" y="8346"/>
                </a:cubicBezTo>
                <a:cubicBezTo>
                  <a:pt x="10543" y="8074"/>
                  <a:pt x="10328" y="7855"/>
                  <a:pt x="10063" y="7855"/>
                </a:cubicBezTo>
                <a:moveTo>
                  <a:pt x="1718" y="19842"/>
                </a:moveTo>
                <a:lnTo>
                  <a:pt x="3451" y="15392"/>
                </a:lnTo>
                <a:cubicBezTo>
                  <a:pt x="3684" y="15834"/>
                  <a:pt x="3973" y="16253"/>
                  <a:pt x="4312" y="16642"/>
                </a:cubicBezTo>
                <a:cubicBezTo>
                  <a:pt x="4824" y="17230"/>
                  <a:pt x="5418" y="17711"/>
                  <a:pt x="6061" y="18068"/>
                </a:cubicBezTo>
                <a:cubicBezTo>
                  <a:pt x="6061" y="18068"/>
                  <a:pt x="1718" y="19842"/>
                  <a:pt x="1718" y="19842"/>
                </a:cubicBezTo>
                <a:close/>
                <a:moveTo>
                  <a:pt x="3717" y="12060"/>
                </a:moveTo>
                <a:lnTo>
                  <a:pt x="0" y="21600"/>
                </a:lnTo>
                <a:lnTo>
                  <a:pt x="9319" y="17795"/>
                </a:lnTo>
                <a:cubicBezTo>
                  <a:pt x="9153" y="17815"/>
                  <a:pt x="8987" y="17824"/>
                  <a:pt x="8822" y="17824"/>
                </a:cubicBezTo>
                <a:cubicBezTo>
                  <a:pt x="5971" y="17824"/>
                  <a:pt x="3389" y="15002"/>
                  <a:pt x="3717" y="12060"/>
                </a:cubicBezTo>
                <a:moveTo>
                  <a:pt x="16115" y="10657"/>
                </a:moveTo>
                <a:cubicBezTo>
                  <a:pt x="15925" y="10851"/>
                  <a:pt x="15627" y="11171"/>
                  <a:pt x="15280" y="11542"/>
                </a:cubicBezTo>
                <a:cubicBezTo>
                  <a:pt x="14662" y="12204"/>
                  <a:pt x="13712" y="13221"/>
                  <a:pt x="13147" y="13753"/>
                </a:cubicBezTo>
                <a:lnTo>
                  <a:pt x="7665" y="8141"/>
                </a:lnTo>
                <a:cubicBezTo>
                  <a:pt x="8185" y="7563"/>
                  <a:pt x="9179" y="6590"/>
                  <a:pt x="9825" y="5958"/>
                </a:cubicBezTo>
                <a:cubicBezTo>
                  <a:pt x="10188" y="5603"/>
                  <a:pt x="10500" y="5298"/>
                  <a:pt x="10690" y="5103"/>
                </a:cubicBezTo>
                <a:cubicBezTo>
                  <a:pt x="13284" y="2447"/>
                  <a:pt x="18271" y="993"/>
                  <a:pt x="20136" y="982"/>
                </a:cubicBezTo>
                <a:cubicBezTo>
                  <a:pt x="20132" y="2572"/>
                  <a:pt x="18824" y="7884"/>
                  <a:pt x="16115" y="10657"/>
                </a:cubicBezTo>
                <a:moveTo>
                  <a:pt x="12477" y="14563"/>
                </a:moveTo>
                <a:cubicBezTo>
                  <a:pt x="12127" y="15873"/>
                  <a:pt x="11665" y="17072"/>
                  <a:pt x="11154" y="18035"/>
                </a:cubicBezTo>
                <a:cubicBezTo>
                  <a:pt x="10943" y="17454"/>
                  <a:pt x="10642" y="16798"/>
                  <a:pt x="10214" y="16110"/>
                </a:cubicBezTo>
                <a:cubicBezTo>
                  <a:pt x="10035" y="15823"/>
                  <a:pt x="9728" y="15656"/>
                  <a:pt x="9405" y="15656"/>
                </a:cubicBezTo>
                <a:cubicBezTo>
                  <a:pt x="9329" y="15656"/>
                  <a:pt x="9252" y="15665"/>
                  <a:pt x="9176" y="15684"/>
                </a:cubicBezTo>
                <a:cubicBezTo>
                  <a:pt x="8990" y="15731"/>
                  <a:pt x="8799" y="15755"/>
                  <a:pt x="8610" y="15755"/>
                </a:cubicBezTo>
                <a:cubicBezTo>
                  <a:pt x="7905" y="15755"/>
                  <a:pt x="7217" y="15432"/>
                  <a:pt x="6621" y="14822"/>
                </a:cubicBezTo>
                <a:cubicBezTo>
                  <a:pt x="5861" y="14044"/>
                  <a:pt x="5561" y="13114"/>
                  <a:pt x="5779" y="12206"/>
                </a:cubicBezTo>
                <a:cubicBezTo>
                  <a:pt x="5877" y="11797"/>
                  <a:pt x="5709" y="11370"/>
                  <a:pt x="5363" y="11144"/>
                </a:cubicBezTo>
                <a:cubicBezTo>
                  <a:pt x="4690" y="10706"/>
                  <a:pt x="4050" y="10398"/>
                  <a:pt x="3482" y="10183"/>
                </a:cubicBezTo>
                <a:cubicBezTo>
                  <a:pt x="4423" y="9658"/>
                  <a:pt x="5594" y="9186"/>
                  <a:pt x="6874" y="8827"/>
                </a:cubicBezTo>
                <a:cubicBezTo>
                  <a:pt x="6900" y="8820"/>
                  <a:pt x="6921" y="8803"/>
                  <a:pt x="6946" y="8793"/>
                </a:cubicBezTo>
                <a:lnTo>
                  <a:pt x="12510" y="14490"/>
                </a:lnTo>
                <a:cubicBezTo>
                  <a:pt x="12501" y="14515"/>
                  <a:pt x="12484" y="14536"/>
                  <a:pt x="12477" y="14563"/>
                </a:cubicBezTo>
                <a:moveTo>
                  <a:pt x="20922" y="167"/>
                </a:moveTo>
                <a:cubicBezTo>
                  <a:pt x="20813" y="55"/>
                  <a:pt x="20545" y="0"/>
                  <a:pt x="20157" y="0"/>
                </a:cubicBezTo>
                <a:cubicBezTo>
                  <a:pt x="18131" y="0"/>
                  <a:pt x="12842" y="1511"/>
                  <a:pt x="10012" y="4409"/>
                </a:cubicBezTo>
                <a:cubicBezTo>
                  <a:pt x="9345" y="5092"/>
                  <a:pt x="7134" y="7175"/>
                  <a:pt x="6621" y="7880"/>
                </a:cubicBezTo>
                <a:cubicBezTo>
                  <a:pt x="4961" y="8346"/>
                  <a:pt x="2544" y="9277"/>
                  <a:pt x="1196" y="10657"/>
                </a:cubicBezTo>
                <a:cubicBezTo>
                  <a:pt x="1196" y="10657"/>
                  <a:pt x="2841" y="10663"/>
                  <a:pt x="4848" y="11972"/>
                </a:cubicBezTo>
                <a:cubicBezTo>
                  <a:pt x="4556" y="13190"/>
                  <a:pt x="4926" y="14475"/>
                  <a:pt x="5943" y="15516"/>
                </a:cubicBezTo>
                <a:cubicBezTo>
                  <a:pt x="6735" y="16327"/>
                  <a:pt x="7672" y="16737"/>
                  <a:pt x="8610" y="16737"/>
                </a:cubicBezTo>
                <a:cubicBezTo>
                  <a:pt x="8876" y="16737"/>
                  <a:pt x="9142" y="16704"/>
                  <a:pt x="9405" y="16637"/>
                </a:cubicBezTo>
                <a:cubicBezTo>
                  <a:pt x="10683" y="18692"/>
                  <a:pt x="10690" y="20376"/>
                  <a:pt x="10690" y="20376"/>
                </a:cubicBezTo>
                <a:cubicBezTo>
                  <a:pt x="12038" y="18996"/>
                  <a:pt x="12948" y="16521"/>
                  <a:pt x="13402" y="14822"/>
                </a:cubicBezTo>
                <a:cubicBezTo>
                  <a:pt x="14091" y="14297"/>
                  <a:pt x="16126" y="12034"/>
                  <a:pt x="16793" y="11351"/>
                </a:cubicBezTo>
                <a:cubicBezTo>
                  <a:pt x="20164" y="7900"/>
                  <a:pt x="21600" y="861"/>
                  <a:pt x="20922" y="16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55" name="Shape 2707"/>
          <p:cNvSpPr/>
          <p:nvPr/>
        </p:nvSpPr>
        <p:spPr>
          <a:xfrm>
            <a:off x="11129953" y="1750431"/>
            <a:ext cx="2174614" cy="6309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8090" tIns="38090" rIns="38090" bIns="38090" anchor="ctr">
            <a:spAutoFit/>
          </a:bodyPr>
          <a:lstStyle>
            <a:lvl1pPr algn="l">
              <a:defRPr sz="3000" b="1" cap="none" spc="-90">
                <a:solidFill>
                  <a:srgbClr val="1C1D21"/>
                </a:solidFill>
                <a:latin typeface="+mj-lt"/>
                <a:ea typeface="+mj-ea"/>
                <a:cs typeface="+mj-cs"/>
                <a:sym typeface="Karla"/>
              </a:defRPr>
            </a:lvl1pPr>
          </a:lstStyle>
          <a:p>
            <a:pPr algn="ctr"/>
            <a:r>
              <a:rPr lang="en-US" sz="3600" b="0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Electronics</a:t>
            </a:r>
          </a:p>
        </p:txBody>
      </p:sp>
      <p:sp>
        <p:nvSpPr>
          <p:cNvPr id="157" name="Shape 2707"/>
          <p:cNvSpPr/>
          <p:nvPr/>
        </p:nvSpPr>
        <p:spPr>
          <a:xfrm>
            <a:off x="10804703" y="7125143"/>
            <a:ext cx="2825112" cy="6309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8090" tIns="38090" rIns="38090" bIns="38090" anchor="ctr">
            <a:spAutoFit/>
          </a:bodyPr>
          <a:lstStyle>
            <a:lvl1pPr algn="l">
              <a:defRPr sz="3000" b="1" cap="none" spc="-90">
                <a:solidFill>
                  <a:srgbClr val="1C1D21"/>
                </a:solidFill>
                <a:latin typeface="+mj-lt"/>
                <a:ea typeface="+mj-ea"/>
                <a:cs typeface="+mj-cs"/>
                <a:sym typeface="Karla"/>
              </a:defRPr>
            </a:lvl1pPr>
          </a:lstStyle>
          <a:p>
            <a:pPr algn="ctr"/>
            <a:r>
              <a:rPr lang="en-US" sz="3600" b="0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Miscellaneous</a:t>
            </a:r>
          </a:p>
        </p:txBody>
      </p:sp>
    </p:spTree>
    <p:extLst>
      <p:ext uri="{BB962C8B-B14F-4D97-AF65-F5344CB8AC3E}">
        <p14:creationId xmlns:p14="http://schemas.microsoft.com/office/powerpoint/2010/main" val="2032894977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0" name="Shape 2790"/>
          <p:cNvSpPr/>
          <p:nvPr/>
        </p:nvSpPr>
        <p:spPr>
          <a:xfrm>
            <a:off x="1758543" y="2929267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17550"/>
                </a:moveTo>
                <a:lnTo>
                  <a:pt x="10309" y="17550"/>
                </a:lnTo>
                <a:cubicBezTo>
                  <a:pt x="10580" y="17550"/>
                  <a:pt x="10800" y="17248"/>
                  <a:pt x="10800" y="16875"/>
                </a:cubicBezTo>
                <a:cubicBezTo>
                  <a:pt x="10800" y="16503"/>
                  <a:pt x="10580" y="16200"/>
                  <a:pt x="10309" y="16200"/>
                </a:cubicBezTo>
                <a:lnTo>
                  <a:pt x="3436" y="16200"/>
                </a:lnTo>
                <a:cubicBezTo>
                  <a:pt x="3166" y="16200"/>
                  <a:pt x="2945" y="16503"/>
                  <a:pt x="2945" y="16875"/>
                </a:cubicBezTo>
                <a:cubicBezTo>
                  <a:pt x="2945" y="17248"/>
                  <a:pt x="3166" y="17550"/>
                  <a:pt x="3436" y="17550"/>
                </a:cubicBezTo>
                <a:moveTo>
                  <a:pt x="3436" y="14850"/>
                </a:moveTo>
                <a:lnTo>
                  <a:pt x="12273" y="14850"/>
                </a:lnTo>
                <a:cubicBezTo>
                  <a:pt x="12544" y="14850"/>
                  <a:pt x="12764" y="14548"/>
                  <a:pt x="12764" y="14175"/>
                </a:cubicBezTo>
                <a:cubicBezTo>
                  <a:pt x="12764" y="13803"/>
                  <a:pt x="12544" y="13500"/>
                  <a:pt x="12273" y="13500"/>
                </a:cubicBezTo>
                <a:lnTo>
                  <a:pt x="3436" y="13500"/>
                </a:lnTo>
                <a:cubicBezTo>
                  <a:pt x="3166" y="13500"/>
                  <a:pt x="2945" y="13803"/>
                  <a:pt x="2945" y="14175"/>
                </a:cubicBezTo>
                <a:cubicBezTo>
                  <a:pt x="2945" y="14548"/>
                  <a:pt x="3166" y="14850"/>
                  <a:pt x="3436" y="14850"/>
                </a:cubicBezTo>
                <a:moveTo>
                  <a:pt x="20618" y="4050"/>
                </a:moveTo>
                <a:lnTo>
                  <a:pt x="982" y="40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4050"/>
                  <a:pt x="20618" y="4050"/>
                </a:cubicBezTo>
                <a:close/>
                <a:moveTo>
                  <a:pt x="20618" y="20250"/>
                </a:moveTo>
                <a:lnTo>
                  <a:pt x="982" y="20250"/>
                </a:lnTo>
                <a:lnTo>
                  <a:pt x="982" y="9450"/>
                </a:lnTo>
                <a:lnTo>
                  <a:pt x="20618" y="9450"/>
                </a:lnTo>
                <a:cubicBezTo>
                  <a:pt x="20618" y="94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16200" y="17550"/>
                </a:moveTo>
                <a:lnTo>
                  <a:pt x="18164" y="17550"/>
                </a:lnTo>
                <a:cubicBezTo>
                  <a:pt x="18434" y="17550"/>
                  <a:pt x="18655" y="17248"/>
                  <a:pt x="18655" y="16875"/>
                </a:cubicBezTo>
                <a:lnTo>
                  <a:pt x="18655" y="14175"/>
                </a:lnTo>
                <a:cubicBezTo>
                  <a:pt x="18655" y="13803"/>
                  <a:pt x="18434" y="13500"/>
                  <a:pt x="18164" y="13500"/>
                </a:cubicBezTo>
                <a:lnTo>
                  <a:pt x="16200" y="13500"/>
                </a:lnTo>
                <a:cubicBezTo>
                  <a:pt x="15929" y="13500"/>
                  <a:pt x="15709" y="13803"/>
                  <a:pt x="15709" y="14175"/>
                </a:cubicBezTo>
                <a:lnTo>
                  <a:pt x="15709" y="16875"/>
                </a:lnTo>
                <a:cubicBezTo>
                  <a:pt x="15709" y="17248"/>
                  <a:pt x="15929" y="17550"/>
                  <a:pt x="16200" y="1755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1" name="Shape 2791"/>
          <p:cNvSpPr/>
          <p:nvPr/>
        </p:nvSpPr>
        <p:spPr>
          <a:xfrm>
            <a:off x="2825064" y="2903872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538"/>
                  <a:pt x="3927" y="1200"/>
                </a:cubicBezTo>
                <a:lnTo>
                  <a:pt x="3927" y="3000"/>
                </a:lnTo>
                <a:cubicBezTo>
                  <a:pt x="3927" y="3332"/>
                  <a:pt x="4147" y="3600"/>
                  <a:pt x="4418" y="3600"/>
                </a:cubicBezTo>
                <a:cubicBezTo>
                  <a:pt x="4689" y="3600"/>
                  <a:pt x="4909" y="3332"/>
                  <a:pt x="4909" y="3000"/>
                </a:cubicBezTo>
                <a:lnTo>
                  <a:pt x="4909" y="1200"/>
                </a:lnTo>
                <a:lnTo>
                  <a:pt x="20618" y="1200"/>
                </a:lnTo>
                <a:lnTo>
                  <a:pt x="20618" y="15600"/>
                </a:lnTo>
                <a:lnTo>
                  <a:pt x="19145" y="15600"/>
                </a:lnTo>
                <a:cubicBezTo>
                  <a:pt x="18875" y="15600"/>
                  <a:pt x="18655" y="15869"/>
                  <a:pt x="18655" y="16200"/>
                </a:cubicBezTo>
                <a:cubicBezTo>
                  <a:pt x="18655" y="16532"/>
                  <a:pt x="18875" y="16800"/>
                  <a:pt x="19145" y="16800"/>
                </a:cubicBezTo>
                <a:lnTo>
                  <a:pt x="20618" y="16800"/>
                </a:lnTo>
                <a:cubicBezTo>
                  <a:pt x="21160" y="16800"/>
                  <a:pt x="21600" y="16262"/>
                  <a:pt x="21600" y="15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6691" y="8400"/>
                </a:moveTo>
                <a:lnTo>
                  <a:pt x="982" y="8400"/>
                </a:lnTo>
                <a:lnTo>
                  <a:pt x="982" y="6000"/>
                </a:lnTo>
                <a:lnTo>
                  <a:pt x="16691" y="6000"/>
                </a:lnTo>
                <a:cubicBezTo>
                  <a:pt x="16691" y="6000"/>
                  <a:pt x="16691" y="8400"/>
                  <a:pt x="16691" y="8400"/>
                </a:cubicBezTo>
                <a:close/>
                <a:moveTo>
                  <a:pt x="16691" y="20400"/>
                </a:moveTo>
                <a:lnTo>
                  <a:pt x="982" y="20400"/>
                </a:lnTo>
                <a:lnTo>
                  <a:pt x="982" y="12000"/>
                </a:lnTo>
                <a:lnTo>
                  <a:pt x="16691" y="12000"/>
                </a:lnTo>
                <a:cubicBezTo>
                  <a:pt x="16691" y="12000"/>
                  <a:pt x="16691" y="20400"/>
                  <a:pt x="16691" y="20400"/>
                </a:cubicBezTo>
                <a:close/>
                <a:moveTo>
                  <a:pt x="16691" y="4800"/>
                </a:moveTo>
                <a:lnTo>
                  <a:pt x="982" y="4800"/>
                </a:lnTo>
                <a:cubicBezTo>
                  <a:pt x="440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062"/>
                  <a:pt x="17673" y="20400"/>
                </a:cubicBezTo>
                <a:lnTo>
                  <a:pt x="17673" y="6000"/>
                </a:lnTo>
                <a:cubicBezTo>
                  <a:pt x="17673" y="5338"/>
                  <a:pt x="17233" y="4800"/>
                  <a:pt x="16691" y="4800"/>
                </a:cubicBezTo>
                <a:moveTo>
                  <a:pt x="3436" y="18000"/>
                </a:moveTo>
                <a:lnTo>
                  <a:pt x="7364" y="18000"/>
                </a:lnTo>
                <a:cubicBezTo>
                  <a:pt x="7634" y="18000"/>
                  <a:pt x="7855" y="17732"/>
                  <a:pt x="7855" y="17400"/>
                </a:cubicBezTo>
                <a:cubicBezTo>
                  <a:pt x="7855" y="17069"/>
                  <a:pt x="7634" y="16800"/>
                  <a:pt x="7364" y="16800"/>
                </a:cubicBezTo>
                <a:lnTo>
                  <a:pt x="3436" y="16800"/>
                </a:lnTo>
                <a:cubicBezTo>
                  <a:pt x="3166" y="16800"/>
                  <a:pt x="2945" y="17069"/>
                  <a:pt x="2945" y="17400"/>
                </a:cubicBezTo>
                <a:cubicBezTo>
                  <a:pt x="2945" y="17732"/>
                  <a:pt x="3166" y="18000"/>
                  <a:pt x="3436" y="18000"/>
                </a:cubicBezTo>
                <a:moveTo>
                  <a:pt x="3436" y="15600"/>
                </a:moveTo>
                <a:lnTo>
                  <a:pt x="9327" y="15600"/>
                </a:lnTo>
                <a:cubicBezTo>
                  <a:pt x="9598" y="15600"/>
                  <a:pt x="9818" y="15332"/>
                  <a:pt x="9818" y="15000"/>
                </a:cubicBezTo>
                <a:cubicBezTo>
                  <a:pt x="9818" y="14668"/>
                  <a:pt x="9598" y="14400"/>
                  <a:pt x="9327" y="14400"/>
                </a:cubicBezTo>
                <a:lnTo>
                  <a:pt x="3436" y="14400"/>
                </a:lnTo>
                <a:cubicBezTo>
                  <a:pt x="3166" y="14400"/>
                  <a:pt x="2945" y="14668"/>
                  <a:pt x="2945" y="15000"/>
                </a:cubicBezTo>
                <a:cubicBezTo>
                  <a:pt x="2945" y="15332"/>
                  <a:pt x="3166" y="15600"/>
                  <a:pt x="3436" y="15600"/>
                </a:cubicBezTo>
                <a:moveTo>
                  <a:pt x="12273" y="18000"/>
                </a:moveTo>
                <a:lnTo>
                  <a:pt x="14236" y="18000"/>
                </a:lnTo>
                <a:cubicBezTo>
                  <a:pt x="14507" y="18000"/>
                  <a:pt x="14727" y="17732"/>
                  <a:pt x="14727" y="17400"/>
                </a:cubicBezTo>
                <a:lnTo>
                  <a:pt x="14727" y="15000"/>
                </a:lnTo>
                <a:cubicBezTo>
                  <a:pt x="14727" y="14668"/>
                  <a:pt x="14507" y="14400"/>
                  <a:pt x="14236" y="14400"/>
                </a:cubicBezTo>
                <a:lnTo>
                  <a:pt x="12273" y="14400"/>
                </a:lnTo>
                <a:cubicBezTo>
                  <a:pt x="12002" y="14400"/>
                  <a:pt x="11782" y="14668"/>
                  <a:pt x="11782" y="15000"/>
                </a:cubicBezTo>
                <a:lnTo>
                  <a:pt x="11782" y="17400"/>
                </a:lnTo>
                <a:cubicBezTo>
                  <a:pt x="11782" y="17732"/>
                  <a:pt x="12002" y="18000"/>
                  <a:pt x="12273" y="180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2" name="Shape 2792"/>
          <p:cNvSpPr/>
          <p:nvPr/>
        </p:nvSpPr>
        <p:spPr>
          <a:xfrm>
            <a:off x="3891587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949" y="13580"/>
                </a:moveTo>
                <a:cubicBezTo>
                  <a:pt x="11701" y="13784"/>
                  <a:pt x="11474" y="13901"/>
                  <a:pt x="11085" y="13931"/>
                </a:cubicBezTo>
                <a:lnTo>
                  <a:pt x="11085" y="11339"/>
                </a:lnTo>
                <a:cubicBezTo>
                  <a:pt x="11251" y="11383"/>
                  <a:pt x="11321" y="11435"/>
                  <a:pt x="11479" y="11494"/>
                </a:cubicBezTo>
                <a:cubicBezTo>
                  <a:pt x="11638" y="11554"/>
                  <a:pt x="11780" y="11632"/>
                  <a:pt x="11906" y="11728"/>
                </a:cubicBezTo>
                <a:cubicBezTo>
                  <a:pt x="12032" y="11824"/>
                  <a:pt x="12133" y="11943"/>
                  <a:pt x="12208" y="12084"/>
                </a:cubicBezTo>
                <a:cubicBezTo>
                  <a:pt x="12284" y="12225"/>
                  <a:pt x="12322" y="12399"/>
                  <a:pt x="12322" y="12607"/>
                </a:cubicBezTo>
                <a:cubicBezTo>
                  <a:pt x="12322" y="13052"/>
                  <a:pt x="12198" y="13376"/>
                  <a:pt x="11949" y="13580"/>
                </a:cubicBezTo>
                <a:moveTo>
                  <a:pt x="10437" y="9837"/>
                </a:moveTo>
                <a:cubicBezTo>
                  <a:pt x="10286" y="9800"/>
                  <a:pt x="10228" y="9753"/>
                  <a:pt x="10081" y="9698"/>
                </a:cubicBezTo>
                <a:cubicBezTo>
                  <a:pt x="9933" y="9642"/>
                  <a:pt x="9803" y="9570"/>
                  <a:pt x="9692" y="9481"/>
                </a:cubicBezTo>
                <a:cubicBezTo>
                  <a:pt x="9581" y="9392"/>
                  <a:pt x="9489" y="9285"/>
                  <a:pt x="9417" y="9159"/>
                </a:cubicBezTo>
                <a:cubicBezTo>
                  <a:pt x="9345" y="9032"/>
                  <a:pt x="9309" y="8880"/>
                  <a:pt x="9309" y="8702"/>
                </a:cubicBezTo>
                <a:cubicBezTo>
                  <a:pt x="9309" y="8309"/>
                  <a:pt x="9415" y="8030"/>
                  <a:pt x="9627" y="7862"/>
                </a:cubicBezTo>
                <a:cubicBezTo>
                  <a:pt x="9839" y="7696"/>
                  <a:pt x="10048" y="7612"/>
                  <a:pt x="10437" y="7612"/>
                </a:cubicBezTo>
                <a:cubicBezTo>
                  <a:pt x="10437" y="7612"/>
                  <a:pt x="10437" y="9837"/>
                  <a:pt x="10437" y="9837"/>
                </a:cubicBezTo>
                <a:close/>
                <a:moveTo>
                  <a:pt x="12765" y="10727"/>
                </a:moveTo>
                <a:cubicBezTo>
                  <a:pt x="12527" y="10542"/>
                  <a:pt x="12253" y="10390"/>
                  <a:pt x="11944" y="10271"/>
                </a:cubicBezTo>
                <a:cubicBezTo>
                  <a:pt x="11634" y="10153"/>
                  <a:pt x="11410" y="10049"/>
                  <a:pt x="11085" y="9959"/>
                </a:cubicBezTo>
                <a:lnTo>
                  <a:pt x="11085" y="7612"/>
                </a:lnTo>
                <a:cubicBezTo>
                  <a:pt x="11474" y="7612"/>
                  <a:pt x="11665" y="7713"/>
                  <a:pt x="11841" y="7913"/>
                </a:cubicBezTo>
                <a:cubicBezTo>
                  <a:pt x="12017" y="8113"/>
                  <a:pt x="12113" y="8402"/>
                  <a:pt x="12127" y="8781"/>
                </a:cubicBezTo>
                <a:lnTo>
                  <a:pt x="13359" y="8781"/>
                </a:lnTo>
                <a:cubicBezTo>
                  <a:pt x="13359" y="8417"/>
                  <a:pt x="13295" y="8098"/>
                  <a:pt x="13170" y="7824"/>
                </a:cubicBezTo>
                <a:cubicBezTo>
                  <a:pt x="13043" y="7550"/>
                  <a:pt x="12875" y="7323"/>
                  <a:pt x="12662" y="7145"/>
                </a:cubicBezTo>
                <a:cubicBezTo>
                  <a:pt x="12449" y="6967"/>
                  <a:pt x="12200" y="6833"/>
                  <a:pt x="11911" y="6744"/>
                </a:cubicBezTo>
                <a:cubicBezTo>
                  <a:pt x="11623" y="6656"/>
                  <a:pt x="11410" y="6611"/>
                  <a:pt x="11085" y="6611"/>
                </a:cubicBezTo>
                <a:lnTo>
                  <a:pt x="11085" y="5881"/>
                </a:lnTo>
                <a:lnTo>
                  <a:pt x="10437" y="5881"/>
                </a:lnTo>
                <a:lnTo>
                  <a:pt x="10437" y="6611"/>
                </a:lnTo>
                <a:cubicBezTo>
                  <a:pt x="10113" y="6611"/>
                  <a:pt x="9895" y="6659"/>
                  <a:pt x="9600" y="6756"/>
                </a:cubicBezTo>
                <a:cubicBezTo>
                  <a:pt x="9305" y="6852"/>
                  <a:pt x="9044" y="6991"/>
                  <a:pt x="8817" y="7173"/>
                </a:cubicBezTo>
                <a:cubicBezTo>
                  <a:pt x="8590" y="7355"/>
                  <a:pt x="8410" y="7581"/>
                  <a:pt x="8277" y="7852"/>
                </a:cubicBezTo>
                <a:cubicBezTo>
                  <a:pt x="8144" y="8122"/>
                  <a:pt x="8077" y="8436"/>
                  <a:pt x="8077" y="8791"/>
                </a:cubicBezTo>
                <a:cubicBezTo>
                  <a:pt x="8077" y="9199"/>
                  <a:pt x="8150" y="9541"/>
                  <a:pt x="8293" y="9815"/>
                </a:cubicBezTo>
                <a:cubicBezTo>
                  <a:pt x="8438" y="10089"/>
                  <a:pt x="8626" y="10317"/>
                  <a:pt x="8860" y="10499"/>
                </a:cubicBezTo>
                <a:cubicBezTo>
                  <a:pt x="9094" y="10681"/>
                  <a:pt x="9357" y="10829"/>
                  <a:pt x="9649" y="10944"/>
                </a:cubicBezTo>
                <a:cubicBezTo>
                  <a:pt x="9940" y="11059"/>
                  <a:pt x="10142" y="11157"/>
                  <a:pt x="10437" y="11239"/>
                </a:cubicBezTo>
                <a:lnTo>
                  <a:pt x="10437" y="13931"/>
                </a:lnTo>
                <a:cubicBezTo>
                  <a:pt x="9940" y="13916"/>
                  <a:pt x="9676" y="13768"/>
                  <a:pt x="9460" y="13486"/>
                </a:cubicBezTo>
                <a:cubicBezTo>
                  <a:pt x="9244" y="13204"/>
                  <a:pt x="9139" y="12818"/>
                  <a:pt x="9147" y="12329"/>
                </a:cubicBezTo>
                <a:lnTo>
                  <a:pt x="7915" y="12329"/>
                </a:lnTo>
                <a:cubicBezTo>
                  <a:pt x="7908" y="12744"/>
                  <a:pt x="7967" y="13111"/>
                  <a:pt x="8094" y="13430"/>
                </a:cubicBezTo>
                <a:cubicBezTo>
                  <a:pt x="8220" y="13749"/>
                  <a:pt x="8397" y="14018"/>
                  <a:pt x="8628" y="14236"/>
                </a:cubicBezTo>
                <a:cubicBezTo>
                  <a:pt x="8858" y="14455"/>
                  <a:pt x="9136" y="14624"/>
                  <a:pt x="9460" y="14743"/>
                </a:cubicBezTo>
                <a:cubicBezTo>
                  <a:pt x="9784" y="14861"/>
                  <a:pt x="10048" y="14924"/>
                  <a:pt x="10437" y="14932"/>
                </a:cubicBezTo>
                <a:lnTo>
                  <a:pt x="10437" y="15692"/>
                </a:lnTo>
                <a:lnTo>
                  <a:pt x="11085" y="15692"/>
                </a:lnTo>
                <a:lnTo>
                  <a:pt x="11085" y="14932"/>
                </a:lnTo>
                <a:cubicBezTo>
                  <a:pt x="11446" y="14917"/>
                  <a:pt x="11688" y="14856"/>
                  <a:pt x="11998" y="14748"/>
                </a:cubicBezTo>
                <a:cubicBezTo>
                  <a:pt x="12307" y="14641"/>
                  <a:pt x="12578" y="14485"/>
                  <a:pt x="12808" y="14281"/>
                </a:cubicBezTo>
                <a:cubicBezTo>
                  <a:pt x="13038" y="14077"/>
                  <a:pt x="13220" y="13821"/>
                  <a:pt x="13353" y="13513"/>
                </a:cubicBezTo>
                <a:cubicBezTo>
                  <a:pt x="13486" y="13206"/>
                  <a:pt x="13553" y="12844"/>
                  <a:pt x="13553" y="12429"/>
                </a:cubicBezTo>
                <a:cubicBezTo>
                  <a:pt x="13553" y="12028"/>
                  <a:pt x="13481" y="11691"/>
                  <a:pt x="13337" y="11417"/>
                </a:cubicBezTo>
                <a:cubicBezTo>
                  <a:pt x="13193" y="11142"/>
                  <a:pt x="13002" y="10912"/>
                  <a:pt x="12765" y="107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3" name="Shape 2793"/>
          <p:cNvSpPr/>
          <p:nvPr/>
        </p:nvSpPr>
        <p:spPr>
          <a:xfrm>
            <a:off x="4958109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86" y="14720"/>
                </a:moveTo>
                <a:cubicBezTo>
                  <a:pt x="9513" y="14863"/>
                  <a:pt x="9355" y="14945"/>
                  <a:pt x="9084" y="14965"/>
                </a:cubicBezTo>
                <a:lnTo>
                  <a:pt x="9084" y="13151"/>
                </a:lnTo>
                <a:cubicBezTo>
                  <a:pt x="9199" y="13182"/>
                  <a:pt x="9248" y="13219"/>
                  <a:pt x="9358" y="13260"/>
                </a:cubicBezTo>
                <a:cubicBezTo>
                  <a:pt x="9469" y="13302"/>
                  <a:pt x="9568" y="13357"/>
                  <a:pt x="9656" y="13424"/>
                </a:cubicBezTo>
                <a:cubicBezTo>
                  <a:pt x="9744" y="13491"/>
                  <a:pt x="9814" y="13575"/>
                  <a:pt x="9867" y="13673"/>
                </a:cubicBezTo>
                <a:cubicBezTo>
                  <a:pt x="9920" y="13772"/>
                  <a:pt x="9946" y="13894"/>
                  <a:pt x="9946" y="14039"/>
                </a:cubicBezTo>
                <a:cubicBezTo>
                  <a:pt x="9946" y="14350"/>
                  <a:pt x="9859" y="14577"/>
                  <a:pt x="9686" y="14720"/>
                </a:cubicBezTo>
                <a:moveTo>
                  <a:pt x="8631" y="12100"/>
                </a:moveTo>
                <a:cubicBezTo>
                  <a:pt x="8526" y="12074"/>
                  <a:pt x="8486" y="12041"/>
                  <a:pt x="8383" y="12003"/>
                </a:cubicBezTo>
                <a:cubicBezTo>
                  <a:pt x="8280" y="11964"/>
                  <a:pt x="8189" y="11913"/>
                  <a:pt x="8112" y="11851"/>
                </a:cubicBezTo>
                <a:cubicBezTo>
                  <a:pt x="8034" y="11789"/>
                  <a:pt x="7969" y="11714"/>
                  <a:pt x="7919" y="11625"/>
                </a:cubicBezTo>
                <a:cubicBezTo>
                  <a:pt x="7869" y="11537"/>
                  <a:pt x="7844" y="11431"/>
                  <a:pt x="7844" y="11306"/>
                </a:cubicBezTo>
                <a:cubicBezTo>
                  <a:pt x="7844" y="11031"/>
                  <a:pt x="7918" y="10835"/>
                  <a:pt x="8067" y="10718"/>
                </a:cubicBezTo>
                <a:cubicBezTo>
                  <a:pt x="8214" y="10601"/>
                  <a:pt x="8360" y="10543"/>
                  <a:pt x="8631" y="10543"/>
                </a:cubicBezTo>
                <a:cubicBezTo>
                  <a:pt x="8631" y="10543"/>
                  <a:pt x="8631" y="12100"/>
                  <a:pt x="8631" y="12100"/>
                </a:cubicBezTo>
                <a:close/>
                <a:moveTo>
                  <a:pt x="10255" y="12723"/>
                </a:moveTo>
                <a:cubicBezTo>
                  <a:pt x="10089" y="12593"/>
                  <a:pt x="9898" y="12487"/>
                  <a:pt x="9683" y="12404"/>
                </a:cubicBezTo>
                <a:cubicBezTo>
                  <a:pt x="9466" y="12321"/>
                  <a:pt x="9310" y="12248"/>
                  <a:pt x="9084" y="12186"/>
                </a:cubicBezTo>
                <a:lnTo>
                  <a:pt x="9084" y="10543"/>
                </a:lnTo>
                <a:cubicBezTo>
                  <a:pt x="9355" y="10543"/>
                  <a:pt x="9488" y="10613"/>
                  <a:pt x="9611" y="10753"/>
                </a:cubicBezTo>
                <a:cubicBezTo>
                  <a:pt x="9734" y="10893"/>
                  <a:pt x="9800" y="11096"/>
                  <a:pt x="9810" y="11361"/>
                </a:cubicBezTo>
                <a:lnTo>
                  <a:pt x="10669" y="11361"/>
                </a:lnTo>
                <a:cubicBezTo>
                  <a:pt x="10669" y="11106"/>
                  <a:pt x="10625" y="10883"/>
                  <a:pt x="10537" y="10690"/>
                </a:cubicBezTo>
                <a:cubicBezTo>
                  <a:pt x="10450" y="10499"/>
                  <a:pt x="10331" y="10340"/>
                  <a:pt x="10183" y="10216"/>
                </a:cubicBezTo>
                <a:cubicBezTo>
                  <a:pt x="10035" y="10091"/>
                  <a:pt x="9860" y="9998"/>
                  <a:pt x="9659" y="9935"/>
                </a:cubicBezTo>
                <a:cubicBezTo>
                  <a:pt x="9459" y="9873"/>
                  <a:pt x="9310" y="9842"/>
                  <a:pt x="9084" y="9842"/>
                </a:cubicBezTo>
                <a:lnTo>
                  <a:pt x="9084" y="9331"/>
                </a:lnTo>
                <a:lnTo>
                  <a:pt x="8631" y="9331"/>
                </a:lnTo>
                <a:lnTo>
                  <a:pt x="8631" y="9842"/>
                </a:lnTo>
                <a:cubicBezTo>
                  <a:pt x="8405" y="9842"/>
                  <a:pt x="8253" y="9876"/>
                  <a:pt x="8048" y="9943"/>
                </a:cubicBezTo>
                <a:cubicBezTo>
                  <a:pt x="7842" y="10011"/>
                  <a:pt x="7660" y="10108"/>
                  <a:pt x="7501" y="10235"/>
                </a:cubicBezTo>
                <a:cubicBezTo>
                  <a:pt x="7343" y="10363"/>
                  <a:pt x="7218" y="10521"/>
                  <a:pt x="7125" y="10710"/>
                </a:cubicBezTo>
                <a:cubicBezTo>
                  <a:pt x="7032" y="10899"/>
                  <a:pt x="6985" y="11119"/>
                  <a:pt x="6985" y="11368"/>
                </a:cubicBezTo>
                <a:cubicBezTo>
                  <a:pt x="6985" y="11654"/>
                  <a:pt x="7035" y="11892"/>
                  <a:pt x="7136" y="12085"/>
                </a:cubicBezTo>
                <a:cubicBezTo>
                  <a:pt x="7237" y="12277"/>
                  <a:pt x="7368" y="12436"/>
                  <a:pt x="7531" y="12563"/>
                </a:cubicBezTo>
                <a:cubicBezTo>
                  <a:pt x="7694" y="12691"/>
                  <a:pt x="7878" y="12794"/>
                  <a:pt x="8081" y="12875"/>
                </a:cubicBezTo>
                <a:cubicBezTo>
                  <a:pt x="8285" y="12956"/>
                  <a:pt x="8426" y="13024"/>
                  <a:pt x="8631" y="13081"/>
                </a:cubicBezTo>
                <a:lnTo>
                  <a:pt x="8631" y="14965"/>
                </a:lnTo>
                <a:cubicBezTo>
                  <a:pt x="8285" y="14955"/>
                  <a:pt x="8100" y="14852"/>
                  <a:pt x="7950" y="14654"/>
                </a:cubicBezTo>
                <a:cubicBezTo>
                  <a:pt x="7799" y="14457"/>
                  <a:pt x="7726" y="14187"/>
                  <a:pt x="7731" y="13844"/>
                </a:cubicBezTo>
                <a:lnTo>
                  <a:pt x="6872" y="13844"/>
                </a:lnTo>
                <a:cubicBezTo>
                  <a:pt x="6867" y="14135"/>
                  <a:pt x="6908" y="14392"/>
                  <a:pt x="6996" y="14615"/>
                </a:cubicBezTo>
                <a:cubicBezTo>
                  <a:pt x="7085" y="14839"/>
                  <a:pt x="7209" y="15027"/>
                  <a:pt x="7369" y="15180"/>
                </a:cubicBezTo>
                <a:cubicBezTo>
                  <a:pt x="7530" y="15333"/>
                  <a:pt x="7723" y="15451"/>
                  <a:pt x="7950" y="15534"/>
                </a:cubicBezTo>
                <a:cubicBezTo>
                  <a:pt x="8176" y="15617"/>
                  <a:pt x="8360" y="15661"/>
                  <a:pt x="8631" y="15667"/>
                </a:cubicBezTo>
                <a:lnTo>
                  <a:pt x="8631" y="16199"/>
                </a:lnTo>
                <a:lnTo>
                  <a:pt x="9084" y="16199"/>
                </a:lnTo>
                <a:lnTo>
                  <a:pt x="9084" y="15667"/>
                </a:lnTo>
                <a:cubicBezTo>
                  <a:pt x="9335" y="15656"/>
                  <a:pt x="9504" y="15613"/>
                  <a:pt x="9720" y="15538"/>
                </a:cubicBezTo>
                <a:cubicBezTo>
                  <a:pt x="9936" y="15463"/>
                  <a:pt x="10124" y="15354"/>
                  <a:pt x="10285" y="15211"/>
                </a:cubicBezTo>
                <a:cubicBezTo>
                  <a:pt x="10445" y="15068"/>
                  <a:pt x="10573" y="14889"/>
                  <a:pt x="10666" y="14673"/>
                </a:cubicBezTo>
                <a:cubicBezTo>
                  <a:pt x="10758" y="14459"/>
                  <a:pt x="10805" y="14205"/>
                  <a:pt x="10805" y="13914"/>
                </a:cubicBezTo>
                <a:cubicBezTo>
                  <a:pt x="10805" y="13634"/>
                  <a:pt x="10755" y="13398"/>
                  <a:pt x="10654" y="13206"/>
                </a:cubicBezTo>
                <a:cubicBezTo>
                  <a:pt x="10554" y="13014"/>
                  <a:pt x="10421" y="12853"/>
                  <a:pt x="10255" y="12723"/>
                </a:cubicBezTo>
                <a:moveTo>
                  <a:pt x="12764" y="0"/>
                </a:moveTo>
                <a:cubicBezTo>
                  <a:pt x="9919" y="0"/>
                  <a:pt x="7396" y="1350"/>
                  <a:pt x="5779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9" y="987"/>
                  <a:pt x="20613" y="4502"/>
                  <a:pt x="20613" y="8836"/>
                </a:cubicBezTo>
                <a:cubicBezTo>
                  <a:pt x="20613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8836" y="20613"/>
                </a:moveTo>
                <a:cubicBezTo>
                  <a:pt x="4501" y="20613"/>
                  <a:pt x="987" y="17098"/>
                  <a:pt x="987" y="12764"/>
                </a:cubicBezTo>
                <a:cubicBezTo>
                  <a:pt x="987" y="8429"/>
                  <a:pt x="4501" y="4915"/>
                  <a:pt x="8836" y="4915"/>
                </a:cubicBezTo>
                <a:cubicBezTo>
                  <a:pt x="13172" y="4915"/>
                  <a:pt x="16685" y="8429"/>
                  <a:pt x="16685" y="12764"/>
                </a:cubicBezTo>
                <a:cubicBezTo>
                  <a:pt x="16685" y="17098"/>
                  <a:pt x="13172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6" y="21600"/>
                  <a:pt x="17673" y="17644"/>
                  <a:pt x="17673" y="12764"/>
                </a:cubicBezTo>
                <a:cubicBezTo>
                  <a:pt x="17673" y="7884"/>
                  <a:pt x="13716" y="3927"/>
                  <a:pt x="8836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4" name="Shape 2794"/>
          <p:cNvSpPr/>
          <p:nvPr/>
        </p:nvSpPr>
        <p:spPr>
          <a:xfrm>
            <a:off x="6024631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535" y="7724"/>
                </a:moveTo>
                <a:cubicBezTo>
                  <a:pt x="12082" y="7724"/>
                  <a:pt x="12586" y="7961"/>
                  <a:pt x="13047" y="8436"/>
                </a:cubicBezTo>
                <a:lnTo>
                  <a:pt x="13544" y="7424"/>
                </a:lnTo>
                <a:cubicBezTo>
                  <a:pt x="12888" y="6964"/>
                  <a:pt x="12248" y="6734"/>
                  <a:pt x="11621" y="6734"/>
                </a:cubicBezTo>
                <a:cubicBezTo>
                  <a:pt x="10757" y="6734"/>
                  <a:pt x="10048" y="7019"/>
                  <a:pt x="9494" y="7590"/>
                </a:cubicBezTo>
                <a:cubicBezTo>
                  <a:pt x="9019" y="8087"/>
                  <a:pt x="8691" y="8762"/>
                  <a:pt x="8510" y="9615"/>
                </a:cubicBezTo>
                <a:lnTo>
                  <a:pt x="7938" y="9615"/>
                </a:lnTo>
                <a:lnTo>
                  <a:pt x="7658" y="10327"/>
                </a:lnTo>
                <a:lnTo>
                  <a:pt x="8435" y="10327"/>
                </a:lnTo>
                <a:cubicBezTo>
                  <a:pt x="8428" y="10409"/>
                  <a:pt x="8423" y="10483"/>
                  <a:pt x="8419" y="10549"/>
                </a:cubicBezTo>
                <a:cubicBezTo>
                  <a:pt x="8415" y="10616"/>
                  <a:pt x="8414" y="10675"/>
                  <a:pt x="8414" y="10727"/>
                </a:cubicBezTo>
                <a:cubicBezTo>
                  <a:pt x="8414" y="10794"/>
                  <a:pt x="8415" y="10857"/>
                  <a:pt x="8419" y="10916"/>
                </a:cubicBezTo>
                <a:cubicBezTo>
                  <a:pt x="8423" y="10976"/>
                  <a:pt x="8428" y="11032"/>
                  <a:pt x="8435" y="11083"/>
                </a:cubicBezTo>
                <a:lnTo>
                  <a:pt x="7949" y="11083"/>
                </a:lnTo>
                <a:lnTo>
                  <a:pt x="7658" y="11784"/>
                </a:lnTo>
                <a:lnTo>
                  <a:pt x="8489" y="11784"/>
                </a:lnTo>
                <a:cubicBezTo>
                  <a:pt x="8604" y="12674"/>
                  <a:pt x="8896" y="13382"/>
                  <a:pt x="9364" y="13908"/>
                </a:cubicBezTo>
                <a:cubicBezTo>
                  <a:pt x="9904" y="14517"/>
                  <a:pt x="10656" y="14821"/>
                  <a:pt x="11621" y="14821"/>
                </a:cubicBezTo>
                <a:cubicBezTo>
                  <a:pt x="12219" y="14821"/>
                  <a:pt x="12762" y="14658"/>
                  <a:pt x="13252" y="14331"/>
                </a:cubicBezTo>
                <a:lnTo>
                  <a:pt x="13252" y="13097"/>
                </a:lnTo>
                <a:cubicBezTo>
                  <a:pt x="12978" y="13356"/>
                  <a:pt x="12733" y="13542"/>
                  <a:pt x="12517" y="13653"/>
                </a:cubicBezTo>
                <a:cubicBezTo>
                  <a:pt x="12280" y="13772"/>
                  <a:pt x="11981" y="13831"/>
                  <a:pt x="11621" y="13831"/>
                </a:cubicBezTo>
                <a:cubicBezTo>
                  <a:pt x="11067" y="13831"/>
                  <a:pt x="10627" y="13620"/>
                  <a:pt x="10304" y="13197"/>
                </a:cubicBezTo>
                <a:cubicBezTo>
                  <a:pt x="10023" y="12855"/>
                  <a:pt x="9839" y="12385"/>
                  <a:pt x="9753" y="11784"/>
                </a:cubicBezTo>
                <a:lnTo>
                  <a:pt x="11924" y="11784"/>
                </a:lnTo>
                <a:lnTo>
                  <a:pt x="12193" y="11083"/>
                </a:lnTo>
                <a:lnTo>
                  <a:pt x="9699" y="11083"/>
                </a:lnTo>
                <a:cubicBezTo>
                  <a:pt x="9692" y="11046"/>
                  <a:pt x="9688" y="10932"/>
                  <a:pt x="9688" y="10739"/>
                </a:cubicBezTo>
                <a:lnTo>
                  <a:pt x="9688" y="10483"/>
                </a:lnTo>
                <a:cubicBezTo>
                  <a:pt x="9688" y="10416"/>
                  <a:pt x="9692" y="10364"/>
                  <a:pt x="9699" y="10327"/>
                </a:cubicBezTo>
                <a:lnTo>
                  <a:pt x="12344" y="10327"/>
                </a:lnTo>
                <a:lnTo>
                  <a:pt x="12626" y="9615"/>
                </a:lnTo>
                <a:lnTo>
                  <a:pt x="9775" y="9615"/>
                </a:lnTo>
                <a:cubicBezTo>
                  <a:pt x="9868" y="9096"/>
                  <a:pt x="10051" y="8662"/>
                  <a:pt x="10325" y="8314"/>
                </a:cubicBezTo>
                <a:cubicBezTo>
                  <a:pt x="10649" y="7920"/>
                  <a:pt x="11052" y="7724"/>
                  <a:pt x="11535" y="772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5" name="Shape 2795"/>
          <p:cNvSpPr/>
          <p:nvPr/>
        </p:nvSpPr>
        <p:spPr>
          <a:xfrm>
            <a:off x="7091154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5" y="1349"/>
                  <a:pt x="5780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2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9292" y="10539"/>
                </a:moveTo>
                <a:cubicBezTo>
                  <a:pt x="9702" y="10539"/>
                  <a:pt x="10080" y="10712"/>
                  <a:pt x="10426" y="11057"/>
                </a:cubicBezTo>
                <a:lnTo>
                  <a:pt x="10798" y="10320"/>
                </a:lnTo>
                <a:cubicBezTo>
                  <a:pt x="10307" y="9985"/>
                  <a:pt x="9826" y="9817"/>
                  <a:pt x="9356" y="9817"/>
                </a:cubicBezTo>
                <a:cubicBezTo>
                  <a:pt x="8708" y="9817"/>
                  <a:pt x="8176" y="10026"/>
                  <a:pt x="7761" y="10441"/>
                </a:cubicBezTo>
                <a:cubicBezTo>
                  <a:pt x="7404" y="10804"/>
                  <a:pt x="7158" y="11296"/>
                  <a:pt x="7023" y="11917"/>
                </a:cubicBezTo>
                <a:lnTo>
                  <a:pt x="6594" y="11917"/>
                </a:lnTo>
                <a:lnTo>
                  <a:pt x="6384" y="12435"/>
                </a:lnTo>
                <a:lnTo>
                  <a:pt x="6967" y="12435"/>
                </a:lnTo>
                <a:cubicBezTo>
                  <a:pt x="6961" y="12495"/>
                  <a:pt x="6957" y="12549"/>
                  <a:pt x="6955" y="12598"/>
                </a:cubicBezTo>
                <a:cubicBezTo>
                  <a:pt x="6952" y="12646"/>
                  <a:pt x="6950" y="12690"/>
                  <a:pt x="6950" y="12727"/>
                </a:cubicBezTo>
                <a:cubicBezTo>
                  <a:pt x="6950" y="12776"/>
                  <a:pt x="6952" y="12822"/>
                  <a:pt x="6955" y="12865"/>
                </a:cubicBezTo>
                <a:cubicBezTo>
                  <a:pt x="6957" y="12908"/>
                  <a:pt x="6961" y="12949"/>
                  <a:pt x="6967" y="12987"/>
                </a:cubicBezTo>
                <a:lnTo>
                  <a:pt x="6602" y="12987"/>
                </a:lnTo>
                <a:lnTo>
                  <a:pt x="6384" y="13497"/>
                </a:lnTo>
                <a:lnTo>
                  <a:pt x="7007" y="13497"/>
                </a:lnTo>
                <a:cubicBezTo>
                  <a:pt x="7093" y="14146"/>
                  <a:pt x="7313" y="14662"/>
                  <a:pt x="7663" y="15045"/>
                </a:cubicBezTo>
                <a:cubicBezTo>
                  <a:pt x="8068" y="15489"/>
                  <a:pt x="8633" y="15710"/>
                  <a:pt x="9356" y="15710"/>
                </a:cubicBezTo>
                <a:cubicBezTo>
                  <a:pt x="9805" y="15710"/>
                  <a:pt x="10212" y="15591"/>
                  <a:pt x="10579" y="15354"/>
                </a:cubicBezTo>
                <a:lnTo>
                  <a:pt x="10579" y="14454"/>
                </a:lnTo>
                <a:cubicBezTo>
                  <a:pt x="10374" y="14643"/>
                  <a:pt x="10191" y="14778"/>
                  <a:pt x="10029" y="14859"/>
                </a:cubicBezTo>
                <a:cubicBezTo>
                  <a:pt x="9850" y="14945"/>
                  <a:pt x="9626" y="14989"/>
                  <a:pt x="9356" y="14989"/>
                </a:cubicBezTo>
                <a:cubicBezTo>
                  <a:pt x="8940" y="14989"/>
                  <a:pt x="8611" y="14834"/>
                  <a:pt x="8368" y="14527"/>
                </a:cubicBezTo>
                <a:cubicBezTo>
                  <a:pt x="8158" y="14279"/>
                  <a:pt x="8020" y="13935"/>
                  <a:pt x="7955" y="13497"/>
                </a:cubicBezTo>
                <a:lnTo>
                  <a:pt x="9583" y="13497"/>
                </a:lnTo>
                <a:lnTo>
                  <a:pt x="9786" y="12987"/>
                </a:lnTo>
                <a:lnTo>
                  <a:pt x="7914" y="12987"/>
                </a:lnTo>
                <a:cubicBezTo>
                  <a:pt x="7909" y="12960"/>
                  <a:pt x="7906" y="12876"/>
                  <a:pt x="7906" y="12735"/>
                </a:cubicBezTo>
                <a:lnTo>
                  <a:pt x="7906" y="12549"/>
                </a:lnTo>
                <a:cubicBezTo>
                  <a:pt x="7906" y="12500"/>
                  <a:pt x="7909" y="12462"/>
                  <a:pt x="7914" y="12435"/>
                </a:cubicBezTo>
                <a:lnTo>
                  <a:pt x="9899" y="12435"/>
                </a:lnTo>
                <a:lnTo>
                  <a:pt x="10110" y="11917"/>
                </a:lnTo>
                <a:lnTo>
                  <a:pt x="7972" y="11917"/>
                </a:lnTo>
                <a:cubicBezTo>
                  <a:pt x="8042" y="11539"/>
                  <a:pt x="8179" y="11222"/>
                  <a:pt x="8384" y="10968"/>
                </a:cubicBezTo>
                <a:cubicBezTo>
                  <a:pt x="8627" y="10682"/>
                  <a:pt x="8929" y="10539"/>
                  <a:pt x="9292" y="1053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6" name="Shape 2796"/>
          <p:cNvSpPr/>
          <p:nvPr/>
        </p:nvSpPr>
        <p:spPr>
          <a:xfrm>
            <a:off x="8157677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7" name="Shape 2797"/>
          <p:cNvSpPr/>
          <p:nvPr/>
        </p:nvSpPr>
        <p:spPr>
          <a:xfrm>
            <a:off x="9224197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52" y="12079"/>
                </a:moveTo>
                <a:cubicBezTo>
                  <a:pt x="9878" y="12752"/>
                  <a:pt x="8799" y="12411"/>
                  <a:pt x="8449" y="12327"/>
                </a:cubicBezTo>
                <a:lnTo>
                  <a:pt x="8758" y="11138"/>
                </a:lnTo>
                <a:cubicBezTo>
                  <a:pt x="9107" y="11222"/>
                  <a:pt x="10234" y="11378"/>
                  <a:pt x="10052" y="12079"/>
                </a:cubicBezTo>
                <a:moveTo>
                  <a:pt x="9860" y="13998"/>
                </a:moveTo>
                <a:cubicBezTo>
                  <a:pt x="9669" y="14737"/>
                  <a:pt x="8373" y="14338"/>
                  <a:pt x="7953" y="14238"/>
                </a:cubicBezTo>
                <a:lnTo>
                  <a:pt x="8293" y="12927"/>
                </a:lnTo>
                <a:cubicBezTo>
                  <a:pt x="8714" y="13027"/>
                  <a:pt x="10060" y="13227"/>
                  <a:pt x="9860" y="13998"/>
                </a:cubicBezTo>
                <a:moveTo>
                  <a:pt x="10034" y="10721"/>
                </a:moveTo>
                <a:lnTo>
                  <a:pt x="10288" y="9743"/>
                </a:lnTo>
                <a:lnTo>
                  <a:pt x="9668" y="9595"/>
                </a:lnTo>
                <a:lnTo>
                  <a:pt x="9421" y="10547"/>
                </a:lnTo>
                <a:cubicBezTo>
                  <a:pt x="9258" y="10508"/>
                  <a:pt x="9090" y="10471"/>
                  <a:pt x="8925" y="10434"/>
                </a:cubicBezTo>
                <a:lnTo>
                  <a:pt x="9173" y="9476"/>
                </a:lnTo>
                <a:lnTo>
                  <a:pt x="8554" y="9328"/>
                </a:lnTo>
                <a:lnTo>
                  <a:pt x="8300" y="10306"/>
                </a:lnTo>
                <a:cubicBezTo>
                  <a:pt x="8165" y="10276"/>
                  <a:pt x="8033" y="10247"/>
                  <a:pt x="7904" y="10216"/>
                </a:cubicBezTo>
                <a:lnTo>
                  <a:pt x="7904" y="10213"/>
                </a:lnTo>
                <a:lnTo>
                  <a:pt x="7050" y="10008"/>
                </a:lnTo>
                <a:lnTo>
                  <a:pt x="6885" y="10644"/>
                </a:lnTo>
                <a:cubicBezTo>
                  <a:pt x="6885" y="10644"/>
                  <a:pt x="7345" y="10745"/>
                  <a:pt x="7335" y="10751"/>
                </a:cubicBezTo>
                <a:cubicBezTo>
                  <a:pt x="7586" y="10812"/>
                  <a:pt x="7632" y="10971"/>
                  <a:pt x="7624" y="11098"/>
                </a:cubicBezTo>
                <a:lnTo>
                  <a:pt x="7335" y="12213"/>
                </a:lnTo>
                <a:cubicBezTo>
                  <a:pt x="7352" y="12216"/>
                  <a:pt x="7375" y="12222"/>
                  <a:pt x="7399" y="12232"/>
                </a:cubicBezTo>
                <a:cubicBezTo>
                  <a:pt x="7379" y="12227"/>
                  <a:pt x="7357" y="12222"/>
                  <a:pt x="7334" y="12216"/>
                </a:cubicBezTo>
                <a:lnTo>
                  <a:pt x="6928" y="13777"/>
                </a:lnTo>
                <a:cubicBezTo>
                  <a:pt x="6898" y="13851"/>
                  <a:pt x="6820" y="13960"/>
                  <a:pt x="6645" y="13919"/>
                </a:cubicBezTo>
                <a:cubicBezTo>
                  <a:pt x="6651" y="13928"/>
                  <a:pt x="6194" y="13811"/>
                  <a:pt x="6194" y="13811"/>
                </a:cubicBezTo>
                <a:lnTo>
                  <a:pt x="5886" y="14492"/>
                </a:lnTo>
                <a:lnTo>
                  <a:pt x="6692" y="14686"/>
                </a:lnTo>
                <a:cubicBezTo>
                  <a:pt x="6843" y="14721"/>
                  <a:pt x="6990" y="14759"/>
                  <a:pt x="7134" y="14795"/>
                </a:cubicBezTo>
                <a:lnTo>
                  <a:pt x="6878" y="15784"/>
                </a:lnTo>
                <a:lnTo>
                  <a:pt x="7497" y="15933"/>
                </a:lnTo>
                <a:lnTo>
                  <a:pt x="7751" y="14954"/>
                </a:lnTo>
                <a:cubicBezTo>
                  <a:pt x="7921" y="14998"/>
                  <a:pt x="8085" y="15039"/>
                  <a:pt x="8245" y="15077"/>
                </a:cubicBezTo>
                <a:lnTo>
                  <a:pt x="7992" y="16051"/>
                </a:lnTo>
                <a:lnTo>
                  <a:pt x="8612" y="16200"/>
                </a:lnTo>
                <a:lnTo>
                  <a:pt x="8868" y="15212"/>
                </a:lnTo>
                <a:cubicBezTo>
                  <a:pt x="9926" y="15404"/>
                  <a:pt x="10720" y="15327"/>
                  <a:pt x="11055" y="14408"/>
                </a:cubicBezTo>
                <a:cubicBezTo>
                  <a:pt x="11324" y="13669"/>
                  <a:pt x="11041" y="13242"/>
                  <a:pt x="10485" y="12965"/>
                </a:cubicBezTo>
                <a:cubicBezTo>
                  <a:pt x="10890" y="12875"/>
                  <a:pt x="11195" y="12619"/>
                  <a:pt x="11277" y="12090"/>
                </a:cubicBezTo>
                <a:cubicBezTo>
                  <a:pt x="11389" y="11368"/>
                  <a:pt x="10816" y="10980"/>
                  <a:pt x="10034" y="10721"/>
                </a:cubicBezTo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8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1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09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8" name="Shape 2798"/>
          <p:cNvSpPr/>
          <p:nvPr/>
        </p:nvSpPr>
        <p:spPr>
          <a:xfrm>
            <a:off x="10290720" y="2980052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02" y="11838"/>
                </a:moveTo>
                <a:cubicBezTo>
                  <a:pt x="11425" y="11731"/>
                  <a:pt x="11338" y="11646"/>
                  <a:pt x="11242" y="11581"/>
                </a:cubicBezTo>
                <a:cubicBezTo>
                  <a:pt x="11144" y="11515"/>
                  <a:pt x="11102" y="11458"/>
                  <a:pt x="11001" y="11410"/>
                </a:cubicBezTo>
                <a:lnTo>
                  <a:pt x="11001" y="14261"/>
                </a:lnTo>
                <a:cubicBezTo>
                  <a:pt x="11238" y="14227"/>
                  <a:pt x="11377" y="14100"/>
                  <a:pt x="11528" y="13875"/>
                </a:cubicBezTo>
                <a:cubicBezTo>
                  <a:pt x="11680" y="13651"/>
                  <a:pt x="11756" y="13293"/>
                  <a:pt x="11756" y="12804"/>
                </a:cubicBezTo>
                <a:cubicBezTo>
                  <a:pt x="11756" y="12576"/>
                  <a:pt x="11733" y="12384"/>
                  <a:pt x="11686" y="12229"/>
                </a:cubicBezTo>
                <a:cubicBezTo>
                  <a:pt x="11640" y="12074"/>
                  <a:pt x="11579" y="11944"/>
                  <a:pt x="11502" y="11838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9" y="16200"/>
                  <a:pt x="15709" y="16602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2"/>
                  <a:pt x="17453" y="16200"/>
                  <a:pt x="17182" y="16200"/>
                </a:cubicBezTo>
                <a:moveTo>
                  <a:pt x="9917" y="8509"/>
                </a:moveTo>
                <a:cubicBezTo>
                  <a:pt x="9917" y="8706"/>
                  <a:pt x="9938" y="8872"/>
                  <a:pt x="9982" y="9011"/>
                </a:cubicBezTo>
                <a:cubicBezTo>
                  <a:pt x="10026" y="9150"/>
                  <a:pt x="10082" y="9268"/>
                  <a:pt x="10150" y="9366"/>
                </a:cubicBezTo>
                <a:cubicBezTo>
                  <a:pt x="10219" y="9464"/>
                  <a:pt x="10298" y="9544"/>
                  <a:pt x="10388" y="9605"/>
                </a:cubicBezTo>
                <a:cubicBezTo>
                  <a:pt x="10478" y="9665"/>
                  <a:pt x="10513" y="9717"/>
                  <a:pt x="10605" y="9757"/>
                </a:cubicBezTo>
                <a:lnTo>
                  <a:pt x="10605" y="7311"/>
                </a:lnTo>
                <a:cubicBezTo>
                  <a:pt x="10368" y="7311"/>
                  <a:pt x="10241" y="7402"/>
                  <a:pt x="10111" y="7585"/>
                </a:cubicBezTo>
                <a:cubicBezTo>
                  <a:pt x="9981" y="7769"/>
                  <a:pt x="9917" y="8077"/>
                  <a:pt x="9917" y="8509"/>
                </a:cubicBezTo>
                <a:moveTo>
                  <a:pt x="20127" y="3600"/>
                </a:moveTo>
                <a:cubicBezTo>
                  <a:pt x="19856" y="3600"/>
                  <a:pt x="19636" y="3197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9" y="1800"/>
                  <a:pt x="20618" y="2203"/>
                  <a:pt x="20618" y="2700"/>
                </a:cubicBezTo>
                <a:cubicBezTo>
                  <a:pt x="20618" y="3197"/>
                  <a:pt x="20399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08"/>
                  <a:pt x="18655" y="18900"/>
                </a:cubicBezTo>
                <a:cubicBezTo>
                  <a:pt x="18655" y="19217"/>
                  <a:pt x="18690" y="19517"/>
                  <a:pt x="18745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8"/>
                  <a:pt x="2286" y="16200"/>
                  <a:pt x="1473" y="16200"/>
                </a:cubicBezTo>
                <a:cubicBezTo>
                  <a:pt x="1300" y="16200"/>
                  <a:pt x="1136" y="16265"/>
                  <a:pt x="982" y="16365"/>
                </a:cubicBezTo>
                <a:lnTo>
                  <a:pt x="982" y="5234"/>
                </a:lnTo>
                <a:cubicBezTo>
                  <a:pt x="1136" y="5335"/>
                  <a:pt x="1300" y="5400"/>
                  <a:pt x="1473" y="5400"/>
                </a:cubicBezTo>
                <a:cubicBezTo>
                  <a:pt x="2286" y="5400"/>
                  <a:pt x="2945" y="4191"/>
                  <a:pt x="2945" y="2700"/>
                </a:cubicBezTo>
                <a:cubicBezTo>
                  <a:pt x="2945" y="2382"/>
                  <a:pt x="2910" y="2083"/>
                  <a:pt x="2855" y="1800"/>
                </a:cubicBezTo>
                <a:lnTo>
                  <a:pt x="18745" y="1800"/>
                </a:lnTo>
                <a:cubicBezTo>
                  <a:pt x="18690" y="2083"/>
                  <a:pt x="18655" y="2382"/>
                  <a:pt x="18655" y="2700"/>
                </a:cubicBezTo>
                <a:cubicBezTo>
                  <a:pt x="18655" y="4191"/>
                  <a:pt x="19314" y="5400"/>
                  <a:pt x="20127" y="5400"/>
                </a:cubicBezTo>
                <a:cubicBezTo>
                  <a:pt x="20300" y="5400"/>
                  <a:pt x="20464" y="5335"/>
                  <a:pt x="20618" y="5234"/>
                </a:cubicBezTo>
                <a:cubicBezTo>
                  <a:pt x="20618" y="5234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9" y="18000"/>
                  <a:pt x="20618" y="18403"/>
                  <a:pt x="20618" y="18900"/>
                </a:cubicBezTo>
                <a:cubicBezTo>
                  <a:pt x="20618" y="19397"/>
                  <a:pt x="20399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7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7"/>
                  <a:pt x="1744" y="3600"/>
                  <a:pt x="1473" y="3600"/>
                </a:cubicBezTo>
                <a:cubicBezTo>
                  <a:pt x="1201" y="3600"/>
                  <a:pt x="982" y="3197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  <a:moveTo>
                  <a:pt x="12385" y="13801"/>
                </a:moveTo>
                <a:cubicBezTo>
                  <a:pt x="12304" y="14141"/>
                  <a:pt x="12193" y="14422"/>
                  <a:pt x="12052" y="14646"/>
                </a:cubicBezTo>
                <a:cubicBezTo>
                  <a:pt x="11912" y="14871"/>
                  <a:pt x="11747" y="15042"/>
                  <a:pt x="11558" y="15160"/>
                </a:cubicBezTo>
                <a:cubicBezTo>
                  <a:pt x="11369" y="15278"/>
                  <a:pt x="11221" y="15345"/>
                  <a:pt x="11001" y="15362"/>
                </a:cubicBezTo>
                <a:lnTo>
                  <a:pt x="11001" y="16198"/>
                </a:lnTo>
                <a:lnTo>
                  <a:pt x="10605" y="16198"/>
                </a:lnTo>
                <a:lnTo>
                  <a:pt x="10605" y="15362"/>
                </a:lnTo>
                <a:cubicBezTo>
                  <a:pt x="10368" y="15353"/>
                  <a:pt x="10206" y="15284"/>
                  <a:pt x="10009" y="15154"/>
                </a:cubicBezTo>
                <a:cubicBezTo>
                  <a:pt x="9811" y="15023"/>
                  <a:pt x="9642" y="14837"/>
                  <a:pt x="9501" y="14596"/>
                </a:cubicBezTo>
                <a:cubicBezTo>
                  <a:pt x="9361" y="14356"/>
                  <a:pt x="9252" y="14061"/>
                  <a:pt x="9175" y="13710"/>
                </a:cubicBezTo>
                <a:cubicBezTo>
                  <a:pt x="9098" y="13359"/>
                  <a:pt x="9062" y="12956"/>
                  <a:pt x="9066" y="12498"/>
                </a:cubicBezTo>
                <a:lnTo>
                  <a:pt x="9818" y="12498"/>
                </a:lnTo>
                <a:cubicBezTo>
                  <a:pt x="9813" y="13036"/>
                  <a:pt x="9877" y="13461"/>
                  <a:pt x="10009" y="13770"/>
                </a:cubicBezTo>
                <a:cubicBezTo>
                  <a:pt x="10140" y="14081"/>
                  <a:pt x="10302" y="14244"/>
                  <a:pt x="10605" y="14261"/>
                </a:cubicBezTo>
                <a:lnTo>
                  <a:pt x="10605" y="11299"/>
                </a:lnTo>
                <a:cubicBezTo>
                  <a:pt x="10425" y="11209"/>
                  <a:pt x="10302" y="11101"/>
                  <a:pt x="10124" y="10974"/>
                </a:cubicBezTo>
                <a:cubicBezTo>
                  <a:pt x="9946" y="10849"/>
                  <a:pt x="9786" y="10686"/>
                  <a:pt x="9643" y="10485"/>
                </a:cubicBezTo>
                <a:cubicBezTo>
                  <a:pt x="9500" y="10285"/>
                  <a:pt x="9385" y="10035"/>
                  <a:pt x="9297" y="9733"/>
                </a:cubicBezTo>
                <a:cubicBezTo>
                  <a:pt x="9209" y="9431"/>
                  <a:pt x="9165" y="9056"/>
                  <a:pt x="9165" y="8607"/>
                </a:cubicBezTo>
                <a:cubicBezTo>
                  <a:pt x="9165" y="8216"/>
                  <a:pt x="9206" y="7871"/>
                  <a:pt x="9287" y="7574"/>
                </a:cubicBezTo>
                <a:cubicBezTo>
                  <a:pt x="9369" y="7276"/>
                  <a:pt x="9478" y="7026"/>
                  <a:pt x="9617" y="6827"/>
                </a:cubicBezTo>
                <a:cubicBezTo>
                  <a:pt x="9755" y="6627"/>
                  <a:pt x="9914" y="6474"/>
                  <a:pt x="10094" y="6368"/>
                </a:cubicBezTo>
                <a:cubicBezTo>
                  <a:pt x="10275" y="6262"/>
                  <a:pt x="10408" y="6209"/>
                  <a:pt x="10605" y="6209"/>
                </a:cubicBezTo>
                <a:lnTo>
                  <a:pt x="10605" y="5406"/>
                </a:lnTo>
                <a:lnTo>
                  <a:pt x="11001" y="5406"/>
                </a:lnTo>
                <a:lnTo>
                  <a:pt x="11001" y="6209"/>
                </a:lnTo>
                <a:cubicBezTo>
                  <a:pt x="11199" y="6209"/>
                  <a:pt x="11329" y="6257"/>
                  <a:pt x="11505" y="6356"/>
                </a:cubicBezTo>
                <a:cubicBezTo>
                  <a:pt x="11681" y="6454"/>
                  <a:pt x="11834" y="6601"/>
                  <a:pt x="11963" y="6796"/>
                </a:cubicBezTo>
                <a:cubicBezTo>
                  <a:pt x="12093" y="6992"/>
                  <a:pt x="12196" y="7241"/>
                  <a:pt x="12273" y="7543"/>
                </a:cubicBezTo>
                <a:cubicBezTo>
                  <a:pt x="12350" y="7845"/>
                  <a:pt x="12389" y="8195"/>
                  <a:pt x="12389" y="8594"/>
                </a:cubicBezTo>
                <a:lnTo>
                  <a:pt x="11637" y="8594"/>
                </a:lnTo>
                <a:cubicBezTo>
                  <a:pt x="11628" y="8179"/>
                  <a:pt x="11570" y="7860"/>
                  <a:pt x="11463" y="7641"/>
                </a:cubicBezTo>
                <a:cubicBezTo>
                  <a:pt x="11355" y="7420"/>
                  <a:pt x="11238" y="7311"/>
                  <a:pt x="11001" y="7311"/>
                </a:cubicBezTo>
                <a:lnTo>
                  <a:pt x="11001" y="9892"/>
                </a:lnTo>
                <a:cubicBezTo>
                  <a:pt x="11199" y="9990"/>
                  <a:pt x="11336" y="10104"/>
                  <a:pt x="11525" y="10235"/>
                </a:cubicBezTo>
                <a:cubicBezTo>
                  <a:pt x="11714" y="10365"/>
                  <a:pt x="11881" y="10532"/>
                  <a:pt x="12026" y="10736"/>
                </a:cubicBezTo>
                <a:cubicBezTo>
                  <a:pt x="12171" y="10940"/>
                  <a:pt x="12287" y="11193"/>
                  <a:pt x="12375" y="11495"/>
                </a:cubicBezTo>
                <a:cubicBezTo>
                  <a:pt x="12463" y="11797"/>
                  <a:pt x="12507" y="12168"/>
                  <a:pt x="12507" y="12608"/>
                </a:cubicBezTo>
                <a:cubicBezTo>
                  <a:pt x="12507" y="13065"/>
                  <a:pt x="12466" y="13463"/>
                  <a:pt x="12385" y="13801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6"/>
                  <a:pt x="8631" y="18000"/>
                  <a:pt x="10800" y="18000"/>
                </a:cubicBezTo>
                <a:cubicBezTo>
                  <a:pt x="12969" y="18000"/>
                  <a:pt x="14727" y="14776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2"/>
                  <a:pt x="3927" y="4500"/>
                </a:cubicBezTo>
                <a:cubicBezTo>
                  <a:pt x="3927" y="4997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7"/>
                  <a:pt x="5891" y="4500"/>
                </a:cubicBezTo>
                <a:cubicBezTo>
                  <a:pt x="5891" y="4002"/>
                  <a:pt x="5671" y="3600"/>
                  <a:pt x="5400" y="36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99" name="Shape 2799"/>
          <p:cNvSpPr/>
          <p:nvPr/>
        </p:nvSpPr>
        <p:spPr>
          <a:xfrm>
            <a:off x="11357242" y="2929267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16" y="11782"/>
                </a:moveTo>
                <a:cubicBezTo>
                  <a:pt x="9916" y="11929"/>
                  <a:pt x="9939" y="12054"/>
                  <a:pt x="9982" y="12159"/>
                </a:cubicBezTo>
                <a:cubicBezTo>
                  <a:pt x="10026" y="12263"/>
                  <a:pt x="10082" y="12351"/>
                  <a:pt x="10151" y="12425"/>
                </a:cubicBezTo>
                <a:cubicBezTo>
                  <a:pt x="10219" y="12498"/>
                  <a:pt x="10298" y="12557"/>
                  <a:pt x="10388" y="12604"/>
                </a:cubicBezTo>
                <a:cubicBezTo>
                  <a:pt x="10478" y="12650"/>
                  <a:pt x="10513" y="12688"/>
                  <a:pt x="10605" y="12719"/>
                </a:cubicBezTo>
                <a:lnTo>
                  <a:pt x="10605" y="10882"/>
                </a:lnTo>
                <a:cubicBezTo>
                  <a:pt x="10368" y="10882"/>
                  <a:pt x="10241" y="10952"/>
                  <a:pt x="10111" y="11090"/>
                </a:cubicBezTo>
                <a:cubicBezTo>
                  <a:pt x="9981" y="11227"/>
                  <a:pt x="9916" y="11458"/>
                  <a:pt x="9916" y="11782"/>
                </a:cubicBezTo>
                <a:moveTo>
                  <a:pt x="11501" y="14278"/>
                </a:moveTo>
                <a:cubicBezTo>
                  <a:pt x="11425" y="14199"/>
                  <a:pt x="11338" y="14135"/>
                  <a:pt x="11242" y="14086"/>
                </a:cubicBezTo>
                <a:cubicBezTo>
                  <a:pt x="11145" y="14037"/>
                  <a:pt x="11102" y="13994"/>
                  <a:pt x="11001" y="13958"/>
                </a:cubicBezTo>
                <a:lnTo>
                  <a:pt x="11001" y="16096"/>
                </a:lnTo>
                <a:cubicBezTo>
                  <a:pt x="11238" y="16071"/>
                  <a:pt x="11377" y="15975"/>
                  <a:pt x="11528" y="15806"/>
                </a:cubicBezTo>
                <a:cubicBezTo>
                  <a:pt x="11680" y="15638"/>
                  <a:pt x="11756" y="15371"/>
                  <a:pt x="11756" y="15004"/>
                </a:cubicBezTo>
                <a:cubicBezTo>
                  <a:pt x="11756" y="14833"/>
                  <a:pt x="11733" y="14689"/>
                  <a:pt x="11686" y="14572"/>
                </a:cubicBezTo>
                <a:cubicBezTo>
                  <a:pt x="11640" y="14456"/>
                  <a:pt x="11579" y="14358"/>
                  <a:pt x="11501" y="14278"/>
                </a:cubicBezTo>
                <a:moveTo>
                  <a:pt x="12385" y="15751"/>
                </a:moveTo>
                <a:cubicBezTo>
                  <a:pt x="12304" y="16006"/>
                  <a:pt x="12193" y="16216"/>
                  <a:pt x="12052" y="16385"/>
                </a:cubicBezTo>
                <a:cubicBezTo>
                  <a:pt x="11911" y="16553"/>
                  <a:pt x="11747" y="16681"/>
                  <a:pt x="11558" y="16770"/>
                </a:cubicBezTo>
                <a:cubicBezTo>
                  <a:pt x="11369" y="16859"/>
                  <a:pt x="11221" y="16910"/>
                  <a:pt x="11001" y="16922"/>
                </a:cubicBezTo>
                <a:lnTo>
                  <a:pt x="11001" y="17549"/>
                </a:lnTo>
                <a:lnTo>
                  <a:pt x="10605" y="17549"/>
                </a:lnTo>
                <a:lnTo>
                  <a:pt x="10605" y="16922"/>
                </a:lnTo>
                <a:cubicBezTo>
                  <a:pt x="10368" y="16915"/>
                  <a:pt x="10206" y="16863"/>
                  <a:pt x="10009" y="16766"/>
                </a:cubicBezTo>
                <a:cubicBezTo>
                  <a:pt x="9811" y="16667"/>
                  <a:pt x="9642" y="16528"/>
                  <a:pt x="9501" y="16348"/>
                </a:cubicBezTo>
                <a:cubicBezTo>
                  <a:pt x="9361" y="16168"/>
                  <a:pt x="9252" y="15946"/>
                  <a:pt x="9175" y="15683"/>
                </a:cubicBezTo>
                <a:cubicBezTo>
                  <a:pt x="9098" y="15420"/>
                  <a:pt x="9062" y="15117"/>
                  <a:pt x="9066" y="14775"/>
                </a:cubicBezTo>
                <a:lnTo>
                  <a:pt x="9818" y="14775"/>
                </a:lnTo>
                <a:cubicBezTo>
                  <a:pt x="9813" y="15178"/>
                  <a:pt x="9877" y="15496"/>
                  <a:pt x="10009" y="15729"/>
                </a:cubicBezTo>
                <a:cubicBezTo>
                  <a:pt x="10140" y="15961"/>
                  <a:pt x="10302" y="16083"/>
                  <a:pt x="10605" y="16096"/>
                </a:cubicBezTo>
                <a:lnTo>
                  <a:pt x="10605" y="13875"/>
                </a:lnTo>
                <a:cubicBezTo>
                  <a:pt x="10425" y="13807"/>
                  <a:pt x="10302" y="13726"/>
                  <a:pt x="10124" y="13631"/>
                </a:cubicBezTo>
                <a:cubicBezTo>
                  <a:pt x="9946" y="13537"/>
                  <a:pt x="9786" y="13414"/>
                  <a:pt x="9643" y="13264"/>
                </a:cubicBezTo>
                <a:cubicBezTo>
                  <a:pt x="9500" y="13115"/>
                  <a:pt x="9385" y="12927"/>
                  <a:pt x="9297" y="12700"/>
                </a:cubicBezTo>
                <a:cubicBezTo>
                  <a:pt x="9209" y="12474"/>
                  <a:pt x="9165" y="12192"/>
                  <a:pt x="9165" y="11855"/>
                </a:cubicBezTo>
                <a:cubicBezTo>
                  <a:pt x="9165" y="11562"/>
                  <a:pt x="9206" y="11304"/>
                  <a:pt x="9287" y="11080"/>
                </a:cubicBezTo>
                <a:cubicBezTo>
                  <a:pt x="9369" y="10857"/>
                  <a:pt x="9478" y="10670"/>
                  <a:pt x="9617" y="10520"/>
                </a:cubicBezTo>
                <a:cubicBezTo>
                  <a:pt x="9755" y="10370"/>
                  <a:pt x="9914" y="10256"/>
                  <a:pt x="10094" y="10176"/>
                </a:cubicBezTo>
                <a:cubicBezTo>
                  <a:pt x="10274" y="10097"/>
                  <a:pt x="10407" y="10057"/>
                  <a:pt x="10605" y="10057"/>
                </a:cubicBezTo>
                <a:lnTo>
                  <a:pt x="10605" y="9455"/>
                </a:lnTo>
                <a:lnTo>
                  <a:pt x="11001" y="9455"/>
                </a:lnTo>
                <a:lnTo>
                  <a:pt x="11001" y="10057"/>
                </a:lnTo>
                <a:cubicBezTo>
                  <a:pt x="11199" y="10057"/>
                  <a:pt x="11329" y="10093"/>
                  <a:pt x="11505" y="10167"/>
                </a:cubicBezTo>
                <a:cubicBezTo>
                  <a:pt x="11681" y="10240"/>
                  <a:pt x="11834" y="10350"/>
                  <a:pt x="11963" y="10498"/>
                </a:cubicBezTo>
                <a:cubicBezTo>
                  <a:pt x="12093" y="10644"/>
                  <a:pt x="12196" y="10831"/>
                  <a:pt x="12273" y="11057"/>
                </a:cubicBezTo>
                <a:cubicBezTo>
                  <a:pt x="12350" y="11284"/>
                  <a:pt x="12388" y="11547"/>
                  <a:pt x="12388" y="11847"/>
                </a:cubicBezTo>
                <a:lnTo>
                  <a:pt x="11637" y="11847"/>
                </a:lnTo>
                <a:cubicBezTo>
                  <a:pt x="11628" y="11534"/>
                  <a:pt x="11570" y="11296"/>
                  <a:pt x="11463" y="11130"/>
                </a:cubicBezTo>
                <a:cubicBezTo>
                  <a:pt x="11355" y="10965"/>
                  <a:pt x="11238" y="10882"/>
                  <a:pt x="11001" y="10882"/>
                </a:cubicBezTo>
                <a:lnTo>
                  <a:pt x="11001" y="12819"/>
                </a:lnTo>
                <a:cubicBezTo>
                  <a:pt x="11199" y="12894"/>
                  <a:pt x="11336" y="12978"/>
                  <a:pt x="11525" y="13076"/>
                </a:cubicBezTo>
                <a:cubicBezTo>
                  <a:pt x="11714" y="13175"/>
                  <a:pt x="11881" y="13300"/>
                  <a:pt x="12026" y="13453"/>
                </a:cubicBezTo>
                <a:cubicBezTo>
                  <a:pt x="12171" y="13605"/>
                  <a:pt x="12287" y="13795"/>
                  <a:pt x="12375" y="14021"/>
                </a:cubicBezTo>
                <a:cubicBezTo>
                  <a:pt x="12463" y="14248"/>
                  <a:pt x="12507" y="14526"/>
                  <a:pt x="12507" y="14857"/>
                </a:cubicBezTo>
                <a:cubicBezTo>
                  <a:pt x="12507" y="15199"/>
                  <a:pt x="12466" y="15497"/>
                  <a:pt x="12385" y="15751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3"/>
                  <a:pt x="8631" y="18900"/>
                  <a:pt x="10800" y="18900"/>
                </a:cubicBezTo>
                <a:cubicBezTo>
                  <a:pt x="12969" y="18900"/>
                  <a:pt x="14727" y="16483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6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6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0" name="Shape 2800"/>
          <p:cNvSpPr/>
          <p:nvPr/>
        </p:nvSpPr>
        <p:spPr>
          <a:xfrm>
            <a:off x="1758543" y="4021180"/>
            <a:ext cx="558654" cy="3555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208" y="15258"/>
                </a:moveTo>
                <a:cubicBezTo>
                  <a:pt x="10138" y="15500"/>
                  <a:pt x="10044" y="15701"/>
                  <a:pt x="9923" y="15861"/>
                </a:cubicBezTo>
                <a:cubicBezTo>
                  <a:pt x="9802" y="16022"/>
                  <a:pt x="9660" y="16144"/>
                  <a:pt x="9499" y="16228"/>
                </a:cubicBezTo>
                <a:cubicBezTo>
                  <a:pt x="9362" y="16300"/>
                  <a:pt x="9243" y="16340"/>
                  <a:pt x="9097" y="16360"/>
                </a:cubicBezTo>
                <a:lnTo>
                  <a:pt x="9097" y="16971"/>
                </a:lnTo>
                <a:lnTo>
                  <a:pt x="8606" y="16971"/>
                </a:lnTo>
                <a:lnTo>
                  <a:pt x="8606" y="16361"/>
                </a:lnTo>
                <a:cubicBezTo>
                  <a:pt x="8446" y="16345"/>
                  <a:pt x="8316" y="16304"/>
                  <a:pt x="8171" y="16224"/>
                </a:cubicBezTo>
                <a:cubicBezTo>
                  <a:pt x="8001" y="16130"/>
                  <a:pt x="7856" y="15998"/>
                  <a:pt x="7736" y="15826"/>
                </a:cubicBezTo>
                <a:cubicBezTo>
                  <a:pt x="7615" y="15655"/>
                  <a:pt x="7522" y="15443"/>
                  <a:pt x="7456" y="15193"/>
                </a:cubicBezTo>
                <a:cubicBezTo>
                  <a:pt x="7390" y="14942"/>
                  <a:pt x="7359" y="14654"/>
                  <a:pt x="7363" y="14327"/>
                </a:cubicBezTo>
                <a:lnTo>
                  <a:pt x="8007" y="14327"/>
                </a:lnTo>
                <a:cubicBezTo>
                  <a:pt x="8003" y="14712"/>
                  <a:pt x="8058" y="15015"/>
                  <a:pt x="8171" y="15236"/>
                </a:cubicBezTo>
                <a:cubicBezTo>
                  <a:pt x="8270" y="15431"/>
                  <a:pt x="8403" y="15530"/>
                  <a:pt x="8606" y="15563"/>
                </a:cubicBezTo>
                <a:lnTo>
                  <a:pt x="8606" y="13432"/>
                </a:lnTo>
                <a:cubicBezTo>
                  <a:pt x="8492" y="13376"/>
                  <a:pt x="8395" y="13313"/>
                  <a:pt x="8270" y="13239"/>
                </a:cubicBezTo>
                <a:cubicBezTo>
                  <a:pt x="8118" y="13149"/>
                  <a:pt x="7980" y="13033"/>
                  <a:pt x="7857" y="12890"/>
                </a:cubicBezTo>
                <a:cubicBezTo>
                  <a:pt x="7735" y="12746"/>
                  <a:pt x="7636" y="12568"/>
                  <a:pt x="7561" y="12352"/>
                </a:cubicBezTo>
                <a:cubicBezTo>
                  <a:pt x="7485" y="12136"/>
                  <a:pt x="7448" y="11868"/>
                  <a:pt x="7448" y="11548"/>
                </a:cubicBezTo>
                <a:cubicBezTo>
                  <a:pt x="7448" y="11268"/>
                  <a:pt x="7483" y="11023"/>
                  <a:pt x="7553" y="10809"/>
                </a:cubicBezTo>
                <a:cubicBezTo>
                  <a:pt x="7622" y="10596"/>
                  <a:pt x="7716" y="10419"/>
                  <a:pt x="7835" y="10276"/>
                </a:cubicBezTo>
                <a:cubicBezTo>
                  <a:pt x="7954" y="10134"/>
                  <a:pt x="8090" y="10024"/>
                  <a:pt x="8244" y="9948"/>
                </a:cubicBezTo>
                <a:cubicBezTo>
                  <a:pt x="8373" y="9885"/>
                  <a:pt x="8479" y="9855"/>
                  <a:pt x="8606" y="9844"/>
                </a:cubicBezTo>
                <a:lnTo>
                  <a:pt x="8606" y="9257"/>
                </a:lnTo>
                <a:lnTo>
                  <a:pt x="9097" y="9257"/>
                </a:lnTo>
                <a:lnTo>
                  <a:pt x="9097" y="9844"/>
                </a:lnTo>
                <a:cubicBezTo>
                  <a:pt x="9224" y="9853"/>
                  <a:pt x="9328" y="9881"/>
                  <a:pt x="9453" y="9939"/>
                </a:cubicBezTo>
                <a:cubicBezTo>
                  <a:pt x="9605" y="10009"/>
                  <a:pt x="9735" y="10114"/>
                  <a:pt x="9847" y="10255"/>
                </a:cubicBezTo>
                <a:cubicBezTo>
                  <a:pt x="9957" y="10394"/>
                  <a:pt x="10046" y="10572"/>
                  <a:pt x="10112" y="10788"/>
                </a:cubicBezTo>
                <a:cubicBezTo>
                  <a:pt x="10178" y="11003"/>
                  <a:pt x="10211" y="11254"/>
                  <a:pt x="10211" y="11540"/>
                </a:cubicBezTo>
                <a:lnTo>
                  <a:pt x="9567" y="11540"/>
                </a:lnTo>
                <a:cubicBezTo>
                  <a:pt x="9559" y="11242"/>
                  <a:pt x="9509" y="11015"/>
                  <a:pt x="9417" y="10857"/>
                </a:cubicBezTo>
                <a:cubicBezTo>
                  <a:pt x="9339" y="10725"/>
                  <a:pt x="9243" y="10661"/>
                  <a:pt x="9097" y="10640"/>
                </a:cubicBezTo>
                <a:lnTo>
                  <a:pt x="9097" y="12504"/>
                </a:lnTo>
                <a:cubicBezTo>
                  <a:pt x="9226" y="12565"/>
                  <a:pt x="9336" y="12633"/>
                  <a:pt x="9471" y="12710"/>
                </a:cubicBezTo>
                <a:cubicBezTo>
                  <a:pt x="9633" y="12804"/>
                  <a:pt x="9776" y="12923"/>
                  <a:pt x="9900" y="13069"/>
                </a:cubicBezTo>
                <a:cubicBezTo>
                  <a:pt x="10024" y="13215"/>
                  <a:pt x="10124" y="13395"/>
                  <a:pt x="10200" y="13610"/>
                </a:cubicBezTo>
                <a:cubicBezTo>
                  <a:pt x="10275" y="13827"/>
                  <a:pt x="10312" y="14091"/>
                  <a:pt x="10312" y="14407"/>
                </a:cubicBezTo>
                <a:cubicBezTo>
                  <a:pt x="10312" y="14732"/>
                  <a:pt x="10278" y="15016"/>
                  <a:pt x="10208" y="152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6"/>
                  <a:pt x="6938" y="18514"/>
                  <a:pt x="8836" y="18514"/>
                </a:cubicBezTo>
                <a:cubicBezTo>
                  <a:pt x="10734" y="18514"/>
                  <a:pt x="12273" y="16096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0"/>
                  <a:pt x="3927" y="1543"/>
                </a:cubicBezTo>
                <a:lnTo>
                  <a:pt x="3927" y="2314"/>
                </a:lnTo>
                <a:cubicBezTo>
                  <a:pt x="3927" y="2740"/>
                  <a:pt x="4147" y="3086"/>
                  <a:pt x="4418" y="3086"/>
                </a:cubicBezTo>
                <a:cubicBezTo>
                  <a:pt x="4689" y="3086"/>
                  <a:pt x="4909" y="2740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0"/>
                  <a:pt x="21600" y="15429"/>
                </a:cubicBezTo>
                <a:lnTo>
                  <a:pt x="21600" y="1543"/>
                </a:lnTo>
                <a:cubicBezTo>
                  <a:pt x="21600" y="690"/>
                  <a:pt x="21160" y="0"/>
                  <a:pt x="20618" y="0"/>
                </a:cubicBezTo>
                <a:moveTo>
                  <a:pt x="9451" y="13856"/>
                </a:moveTo>
                <a:cubicBezTo>
                  <a:pt x="9385" y="13780"/>
                  <a:pt x="9310" y="13718"/>
                  <a:pt x="9228" y="13671"/>
                </a:cubicBezTo>
                <a:cubicBezTo>
                  <a:pt x="9175" y="13642"/>
                  <a:pt x="9137" y="13616"/>
                  <a:pt x="9097" y="13590"/>
                </a:cubicBezTo>
                <a:lnTo>
                  <a:pt x="9097" y="15560"/>
                </a:lnTo>
                <a:cubicBezTo>
                  <a:pt x="9250" y="15523"/>
                  <a:pt x="9363" y="15447"/>
                  <a:pt x="9473" y="15311"/>
                </a:cubicBezTo>
                <a:cubicBezTo>
                  <a:pt x="9604" y="15151"/>
                  <a:pt x="9668" y="14896"/>
                  <a:pt x="9668" y="14545"/>
                </a:cubicBezTo>
                <a:cubicBezTo>
                  <a:pt x="9668" y="14383"/>
                  <a:pt x="9649" y="14246"/>
                  <a:pt x="9609" y="14135"/>
                </a:cubicBezTo>
                <a:cubicBezTo>
                  <a:pt x="9570" y="14024"/>
                  <a:pt x="9517" y="13931"/>
                  <a:pt x="9451" y="13856"/>
                </a:cubicBezTo>
                <a:moveTo>
                  <a:pt x="13255" y="16971"/>
                </a:moveTo>
                <a:cubicBezTo>
                  <a:pt x="12983" y="16971"/>
                  <a:pt x="12764" y="17316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6"/>
                  <a:pt x="13525" y="16971"/>
                  <a:pt x="13255" y="16971"/>
                </a:cubicBezTo>
                <a:moveTo>
                  <a:pt x="16200" y="7714"/>
                </a:moveTo>
                <a:cubicBezTo>
                  <a:pt x="15928" y="7714"/>
                  <a:pt x="15709" y="7369"/>
                  <a:pt x="15709" y="6943"/>
                </a:cubicBezTo>
                <a:cubicBezTo>
                  <a:pt x="15709" y="6516"/>
                  <a:pt x="15928" y="6171"/>
                  <a:pt x="16200" y="6171"/>
                </a:cubicBezTo>
                <a:cubicBezTo>
                  <a:pt x="16471" y="6171"/>
                  <a:pt x="16691" y="6516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7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7"/>
                  <a:pt x="14762" y="19814"/>
                  <a:pt x="14817" y="20057"/>
                </a:cubicBezTo>
                <a:lnTo>
                  <a:pt x="2855" y="20057"/>
                </a:lnTo>
                <a:cubicBezTo>
                  <a:pt x="2910" y="19814"/>
                  <a:pt x="2945" y="19557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7"/>
                  <a:pt x="982" y="17113"/>
                </a:cubicBezTo>
                <a:lnTo>
                  <a:pt x="982" y="9115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1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2" y="6414"/>
                  <a:pt x="14727" y="6671"/>
                  <a:pt x="14727" y="6943"/>
                </a:cubicBezTo>
                <a:cubicBezTo>
                  <a:pt x="14727" y="8221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5"/>
                </a:cubicBezTo>
                <a:cubicBezTo>
                  <a:pt x="16691" y="9115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8" y="20057"/>
                  <a:pt x="15709" y="19712"/>
                  <a:pt x="15709" y="19286"/>
                </a:cubicBezTo>
                <a:cubicBezTo>
                  <a:pt x="15709" y="18859"/>
                  <a:pt x="15928" y="18514"/>
                  <a:pt x="16200" y="18514"/>
                </a:cubicBezTo>
                <a:cubicBezTo>
                  <a:pt x="16471" y="18514"/>
                  <a:pt x="16691" y="18859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59"/>
                  <a:pt x="1201" y="18514"/>
                  <a:pt x="1473" y="18514"/>
                </a:cubicBezTo>
                <a:cubicBezTo>
                  <a:pt x="1744" y="18514"/>
                  <a:pt x="1964" y="18859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6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6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39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39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092" y="11478"/>
                </a:moveTo>
                <a:cubicBezTo>
                  <a:pt x="8092" y="11618"/>
                  <a:pt x="8111" y="11738"/>
                  <a:pt x="8149" y="11836"/>
                </a:cubicBezTo>
                <a:cubicBezTo>
                  <a:pt x="8186" y="11936"/>
                  <a:pt x="8234" y="12020"/>
                  <a:pt x="8293" y="12090"/>
                </a:cubicBezTo>
                <a:cubicBezTo>
                  <a:pt x="8351" y="12160"/>
                  <a:pt x="8419" y="12217"/>
                  <a:pt x="8496" y="12260"/>
                </a:cubicBezTo>
                <a:cubicBezTo>
                  <a:pt x="8542" y="12286"/>
                  <a:pt x="8573" y="12310"/>
                  <a:pt x="8606" y="12330"/>
                </a:cubicBezTo>
                <a:lnTo>
                  <a:pt x="8606" y="10637"/>
                </a:lnTo>
                <a:cubicBezTo>
                  <a:pt x="8457" y="10653"/>
                  <a:pt x="8353" y="10708"/>
                  <a:pt x="8258" y="10818"/>
                </a:cubicBezTo>
                <a:cubicBezTo>
                  <a:pt x="8147" y="10949"/>
                  <a:pt x="8092" y="11170"/>
                  <a:pt x="8092" y="11478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1" name="Shape 2801"/>
          <p:cNvSpPr/>
          <p:nvPr/>
        </p:nvSpPr>
        <p:spPr>
          <a:xfrm>
            <a:off x="2825064" y="4046574"/>
            <a:ext cx="558654" cy="3047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58" y="9506"/>
                </a:moveTo>
                <a:lnTo>
                  <a:pt x="11671" y="10299"/>
                </a:lnTo>
                <a:lnTo>
                  <a:pt x="9907" y="10299"/>
                </a:lnTo>
                <a:cubicBezTo>
                  <a:pt x="9902" y="10340"/>
                  <a:pt x="9900" y="10398"/>
                  <a:pt x="9900" y="10472"/>
                </a:cubicBezTo>
                <a:lnTo>
                  <a:pt x="9900" y="10757"/>
                </a:lnTo>
                <a:cubicBezTo>
                  <a:pt x="9900" y="10972"/>
                  <a:pt x="9902" y="11100"/>
                  <a:pt x="9907" y="11141"/>
                </a:cubicBezTo>
                <a:lnTo>
                  <a:pt x="11570" y="11141"/>
                </a:lnTo>
                <a:lnTo>
                  <a:pt x="11390" y="11921"/>
                </a:lnTo>
                <a:lnTo>
                  <a:pt x="9943" y="11921"/>
                </a:lnTo>
                <a:cubicBezTo>
                  <a:pt x="10001" y="12589"/>
                  <a:pt x="10123" y="13114"/>
                  <a:pt x="10311" y="13494"/>
                </a:cubicBezTo>
                <a:cubicBezTo>
                  <a:pt x="10527" y="13964"/>
                  <a:pt x="10819" y="14199"/>
                  <a:pt x="11189" y="14199"/>
                </a:cubicBezTo>
                <a:cubicBezTo>
                  <a:pt x="11429" y="14199"/>
                  <a:pt x="11628" y="14134"/>
                  <a:pt x="11786" y="14001"/>
                </a:cubicBezTo>
                <a:cubicBezTo>
                  <a:pt x="11930" y="13878"/>
                  <a:pt x="12093" y="13671"/>
                  <a:pt x="12276" y="13382"/>
                </a:cubicBezTo>
                <a:lnTo>
                  <a:pt x="12276" y="14756"/>
                </a:lnTo>
                <a:cubicBezTo>
                  <a:pt x="11949" y="15119"/>
                  <a:pt x="11587" y="15301"/>
                  <a:pt x="11189" y="15301"/>
                </a:cubicBezTo>
                <a:cubicBezTo>
                  <a:pt x="10546" y="15301"/>
                  <a:pt x="10044" y="14963"/>
                  <a:pt x="9683" y="14287"/>
                </a:cubicBezTo>
                <a:cubicBezTo>
                  <a:pt x="9372" y="13700"/>
                  <a:pt x="9177" y="12912"/>
                  <a:pt x="9100" y="11921"/>
                </a:cubicBezTo>
                <a:lnTo>
                  <a:pt x="8546" y="11921"/>
                </a:lnTo>
                <a:lnTo>
                  <a:pt x="8740" y="11141"/>
                </a:lnTo>
                <a:lnTo>
                  <a:pt x="9065" y="11141"/>
                </a:lnTo>
                <a:cubicBezTo>
                  <a:pt x="9060" y="11083"/>
                  <a:pt x="9056" y="11022"/>
                  <a:pt x="9054" y="10955"/>
                </a:cubicBezTo>
                <a:cubicBezTo>
                  <a:pt x="9051" y="10889"/>
                  <a:pt x="9050" y="10819"/>
                  <a:pt x="9050" y="10744"/>
                </a:cubicBezTo>
                <a:cubicBezTo>
                  <a:pt x="9050" y="10687"/>
                  <a:pt x="9051" y="10620"/>
                  <a:pt x="9054" y="10547"/>
                </a:cubicBezTo>
                <a:cubicBezTo>
                  <a:pt x="9056" y="10472"/>
                  <a:pt x="9060" y="10389"/>
                  <a:pt x="9065" y="10299"/>
                </a:cubicBezTo>
                <a:lnTo>
                  <a:pt x="8546" y="10299"/>
                </a:lnTo>
                <a:lnTo>
                  <a:pt x="8734" y="9506"/>
                </a:lnTo>
                <a:lnTo>
                  <a:pt x="9115" y="9506"/>
                </a:lnTo>
                <a:cubicBezTo>
                  <a:pt x="9235" y="8557"/>
                  <a:pt x="9453" y="7806"/>
                  <a:pt x="9770" y="7253"/>
                </a:cubicBezTo>
                <a:cubicBezTo>
                  <a:pt x="10140" y="6617"/>
                  <a:pt x="10612" y="6299"/>
                  <a:pt x="11189" y="6299"/>
                </a:cubicBezTo>
                <a:cubicBezTo>
                  <a:pt x="11606" y="6299"/>
                  <a:pt x="12034" y="6555"/>
                  <a:pt x="12470" y="7066"/>
                </a:cubicBezTo>
                <a:lnTo>
                  <a:pt x="12139" y="8193"/>
                </a:lnTo>
                <a:cubicBezTo>
                  <a:pt x="11832" y="7666"/>
                  <a:pt x="11496" y="7401"/>
                  <a:pt x="11131" y="7401"/>
                </a:cubicBezTo>
                <a:cubicBezTo>
                  <a:pt x="10809" y="7401"/>
                  <a:pt x="10541" y="7620"/>
                  <a:pt x="10325" y="8058"/>
                </a:cubicBezTo>
                <a:cubicBezTo>
                  <a:pt x="10142" y="8445"/>
                  <a:pt x="10020" y="8929"/>
                  <a:pt x="9957" y="9506"/>
                </a:cubicBezTo>
                <a:cubicBezTo>
                  <a:pt x="9957" y="9506"/>
                  <a:pt x="11858" y="9506"/>
                  <a:pt x="11858" y="9506"/>
                </a:cubicBezTo>
                <a:close/>
                <a:moveTo>
                  <a:pt x="10800" y="3601"/>
                </a:moveTo>
                <a:cubicBezTo>
                  <a:pt x="8631" y="3601"/>
                  <a:pt x="6873" y="6824"/>
                  <a:pt x="6873" y="10799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799"/>
                </a:cubicBezTo>
                <a:cubicBezTo>
                  <a:pt x="14727" y="6824"/>
                  <a:pt x="12969" y="3601"/>
                  <a:pt x="10800" y="3601"/>
                </a:cubicBezTo>
                <a:moveTo>
                  <a:pt x="5400" y="3601"/>
                </a:moveTo>
                <a:lnTo>
                  <a:pt x="4418" y="3601"/>
                </a:lnTo>
                <a:cubicBezTo>
                  <a:pt x="4147" y="3601"/>
                  <a:pt x="3927" y="4003"/>
                  <a:pt x="3927" y="4501"/>
                </a:cubicBezTo>
                <a:cubicBezTo>
                  <a:pt x="3927" y="4998"/>
                  <a:pt x="4147" y="5401"/>
                  <a:pt x="4418" y="5401"/>
                </a:cubicBezTo>
                <a:lnTo>
                  <a:pt x="5400" y="5401"/>
                </a:lnTo>
                <a:cubicBezTo>
                  <a:pt x="5671" y="5401"/>
                  <a:pt x="5891" y="4998"/>
                  <a:pt x="5891" y="4501"/>
                </a:cubicBezTo>
                <a:cubicBezTo>
                  <a:pt x="5891" y="4003"/>
                  <a:pt x="5671" y="3601"/>
                  <a:pt x="5400" y="3601"/>
                </a:cubicBezTo>
                <a:moveTo>
                  <a:pt x="17182" y="16199"/>
                </a:moveTo>
                <a:lnTo>
                  <a:pt x="16200" y="16199"/>
                </a:lnTo>
                <a:cubicBezTo>
                  <a:pt x="15929" y="16199"/>
                  <a:pt x="15709" y="16603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3"/>
                  <a:pt x="17453" y="16199"/>
                  <a:pt x="17182" y="16199"/>
                </a:cubicBezTo>
                <a:moveTo>
                  <a:pt x="20127" y="3601"/>
                </a:moveTo>
                <a:cubicBezTo>
                  <a:pt x="19856" y="3601"/>
                  <a:pt x="19636" y="3198"/>
                  <a:pt x="19636" y="2701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1"/>
                </a:cubicBezTo>
                <a:cubicBezTo>
                  <a:pt x="20618" y="3198"/>
                  <a:pt x="20398" y="3601"/>
                  <a:pt x="20127" y="3601"/>
                </a:cubicBezTo>
                <a:moveTo>
                  <a:pt x="20618" y="16365"/>
                </a:moveTo>
                <a:cubicBezTo>
                  <a:pt x="20464" y="16264"/>
                  <a:pt x="20300" y="16199"/>
                  <a:pt x="20127" y="16199"/>
                </a:cubicBezTo>
                <a:cubicBezTo>
                  <a:pt x="19314" y="16199"/>
                  <a:pt x="18655" y="17409"/>
                  <a:pt x="18655" y="18900"/>
                </a:cubicBezTo>
                <a:cubicBezTo>
                  <a:pt x="18655" y="19217"/>
                  <a:pt x="18689" y="19517"/>
                  <a:pt x="18744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9"/>
                  <a:pt x="2286" y="16199"/>
                  <a:pt x="1473" y="16199"/>
                </a:cubicBezTo>
                <a:cubicBezTo>
                  <a:pt x="1299" y="16199"/>
                  <a:pt x="1136" y="16264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1"/>
                  <a:pt x="1473" y="5401"/>
                </a:cubicBezTo>
                <a:cubicBezTo>
                  <a:pt x="2286" y="5401"/>
                  <a:pt x="2945" y="4192"/>
                  <a:pt x="2945" y="2701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89" y="2083"/>
                  <a:pt x="18655" y="2383"/>
                  <a:pt x="18655" y="2701"/>
                </a:cubicBezTo>
                <a:cubicBezTo>
                  <a:pt x="18655" y="4192"/>
                  <a:pt x="19314" y="5401"/>
                  <a:pt x="20127" y="5401"/>
                </a:cubicBezTo>
                <a:cubicBezTo>
                  <a:pt x="20300" y="5401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2"/>
                  <a:pt x="19856" y="18000"/>
                  <a:pt x="20127" y="18000"/>
                </a:cubicBezTo>
                <a:cubicBezTo>
                  <a:pt x="20398" y="18000"/>
                  <a:pt x="20618" y="18402"/>
                  <a:pt x="20618" y="18900"/>
                </a:cubicBezTo>
                <a:cubicBezTo>
                  <a:pt x="20618" y="19397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2" y="19800"/>
                  <a:pt x="982" y="19397"/>
                  <a:pt x="982" y="18900"/>
                </a:cubicBezTo>
                <a:cubicBezTo>
                  <a:pt x="982" y="18402"/>
                  <a:pt x="1202" y="18000"/>
                  <a:pt x="1473" y="18000"/>
                </a:cubicBezTo>
                <a:cubicBezTo>
                  <a:pt x="1744" y="18000"/>
                  <a:pt x="1964" y="18402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1"/>
                </a:cubicBezTo>
                <a:cubicBezTo>
                  <a:pt x="1964" y="3198"/>
                  <a:pt x="1744" y="3601"/>
                  <a:pt x="1473" y="3601"/>
                </a:cubicBezTo>
                <a:cubicBezTo>
                  <a:pt x="1202" y="3601"/>
                  <a:pt x="982" y="3198"/>
                  <a:pt x="982" y="2701"/>
                </a:cubicBezTo>
                <a:cubicBezTo>
                  <a:pt x="982" y="2203"/>
                  <a:pt x="1202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3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2" name="Shape 2802"/>
          <p:cNvSpPr/>
          <p:nvPr/>
        </p:nvSpPr>
        <p:spPr>
          <a:xfrm>
            <a:off x="3891587" y="3995789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  <a:moveTo>
                  <a:pt x="11858" y="12529"/>
                </a:moveTo>
                <a:lnTo>
                  <a:pt x="11671" y="13124"/>
                </a:lnTo>
                <a:lnTo>
                  <a:pt x="9908" y="13124"/>
                </a:lnTo>
                <a:cubicBezTo>
                  <a:pt x="9902" y="13155"/>
                  <a:pt x="9900" y="13198"/>
                  <a:pt x="9900" y="13254"/>
                </a:cubicBezTo>
                <a:lnTo>
                  <a:pt x="9900" y="13468"/>
                </a:lnTo>
                <a:cubicBezTo>
                  <a:pt x="9900" y="13629"/>
                  <a:pt x="9902" y="13725"/>
                  <a:pt x="9908" y="13756"/>
                </a:cubicBezTo>
                <a:lnTo>
                  <a:pt x="11570" y="13756"/>
                </a:lnTo>
                <a:lnTo>
                  <a:pt x="11391" y="14340"/>
                </a:lnTo>
                <a:lnTo>
                  <a:pt x="9943" y="14340"/>
                </a:lnTo>
                <a:cubicBezTo>
                  <a:pt x="10001" y="14842"/>
                  <a:pt x="10124" y="15236"/>
                  <a:pt x="10311" y="15520"/>
                </a:cubicBezTo>
                <a:cubicBezTo>
                  <a:pt x="10527" y="15873"/>
                  <a:pt x="10819" y="16050"/>
                  <a:pt x="11189" y="16050"/>
                </a:cubicBezTo>
                <a:cubicBezTo>
                  <a:pt x="11429" y="16050"/>
                  <a:pt x="11628" y="16000"/>
                  <a:pt x="11787" y="15901"/>
                </a:cubicBezTo>
                <a:cubicBezTo>
                  <a:pt x="11930" y="15808"/>
                  <a:pt x="12093" y="15654"/>
                  <a:pt x="12276" y="15437"/>
                </a:cubicBezTo>
                <a:lnTo>
                  <a:pt x="12276" y="16468"/>
                </a:lnTo>
                <a:cubicBezTo>
                  <a:pt x="11950" y="16741"/>
                  <a:pt x="11587" y="16876"/>
                  <a:pt x="11189" y="16876"/>
                </a:cubicBezTo>
                <a:cubicBezTo>
                  <a:pt x="10546" y="16876"/>
                  <a:pt x="10044" y="16623"/>
                  <a:pt x="9684" y="16114"/>
                </a:cubicBezTo>
                <a:cubicBezTo>
                  <a:pt x="9372" y="15676"/>
                  <a:pt x="9177" y="15084"/>
                  <a:pt x="9101" y="14340"/>
                </a:cubicBezTo>
                <a:lnTo>
                  <a:pt x="8547" y="14340"/>
                </a:lnTo>
                <a:lnTo>
                  <a:pt x="8741" y="13756"/>
                </a:lnTo>
                <a:lnTo>
                  <a:pt x="9065" y="13756"/>
                </a:lnTo>
                <a:cubicBezTo>
                  <a:pt x="9060" y="13712"/>
                  <a:pt x="9056" y="13666"/>
                  <a:pt x="9054" y="13617"/>
                </a:cubicBezTo>
                <a:cubicBezTo>
                  <a:pt x="9051" y="13567"/>
                  <a:pt x="9050" y="13515"/>
                  <a:pt x="9050" y="13458"/>
                </a:cubicBezTo>
                <a:cubicBezTo>
                  <a:pt x="9050" y="13416"/>
                  <a:pt x="9051" y="13366"/>
                  <a:pt x="9054" y="13310"/>
                </a:cubicBezTo>
                <a:cubicBezTo>
                  <a:pt x="9056" y="13254"/>
                  <a:pt x="9060" y="13192"/>
                  <a:pt x="9065" y="13124"/>
                </a:cubicBezTo>
                <a:lnTo>
                  <a:pt x="8547" y="13124"/>
                </a:lnTo>
                <a:lnTo>
                  <a:pt x="8734" y="12529"/>
                </a:lnTo>
                <a:lnTo>
                  <a:pt x="9115" y="12529"/>
                </a:lnTo>
                <a:cubicBezTo>
                  <a:pt x="9235" y="11818"/>
                  <a:pt x="9453" y="11254"/>
                  <a:pt x="9770" y="10840"/>
                </a:cubicBezTo>
                <a:cubicBezTo>
                  <a:pt x="10140" y="10363"/>
                  <a:pt x="10613" y="10124"/>
                  <a:pt x="11189" y="10124"/>
                </a:cubicBezTo>
                <a:cubicBezTo>
                  <a:pt x="11607" y="10124"/>
                  <a:pt x="12034" y="10316"/>
                  <a:pt x="12470" y="10700"/>
                </a:cubicBezTo>
                <a:lnTo>
                  <a:pt x="12139" y="11545"/>
                </a:lnTo>
                <a:cubicBezTo>
                  <a:pt x="11832" y="11150"/>
                  <a:pt x="11496" y="10951"/>
                  <a:pt x="11131" y="10951"/>
                </a:cubicBezTo>
                <a:cubicBezTo>
                  <a:pt x="10809" y="10951"/>
                  <a:pt x="10541" y="11115"/>
                  <a:pt x="10325" y="11443"/>
                </a:cubicBezTo>
                <a:cubicBezTo>
                  <a:pt x="10143" y="11734"/>
                  <a:pt x="10020" y="12097"/>
                  <a:pt x="9958" y="12529"/>
                </a:cubicBezTo>
                <a:cubicBezTo>
                  <a:pt x="9958" y="12529"/>
                  <a:pt x="11858" y="12529"/>
                  <a:pt x="11858" y="12529"/>
                </a:cubicBezTo>
                <a:close/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8" y="6750"/>
                  <a:pt x="20618" y="7052"/>
                  <a:pt x="20618" y="7425"/>
                </a:cubicBezTo>
                <a:cubicBezTo>
                  <a:pt x="20618" y="7798"/>
                  <a:pt x="20398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9"/>
                  <a:pt x="18745" y="20250"/>
                </a:cubicBezTo>
                <a:lnTo>
                  <a:pt x="2855" y="20250"/>
                </a:lnTo>
                <a:cubicBezTo>
                  <a:pt x="2910" y="20039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299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299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8" y="18900"/>
                  <a:pt x="20618" y="19203"/>
                  <a:pt x="20618" y="19575"/>
                </a:cubicBezTo>
                <a:cubicBezTo>
                  <a:pt x="20618" y="19948"/>
                  <a:pt x="20398" y="20250"/>
                  <a:pt x="20127" y="20250"/>
                </a:cubicBezTo>
                <a:moveTo>
                  <a:pt x="1473" y="20250"/>
                </a:moveTo>
                <a:cubicBezTo>
                  <a:pt x="1202" y="20250"/>
                  <a:pt x="982" y="19948"/>
                  <a:pt x="982" y="19575"/>
                </a:cubicBezTo>
                <a:cubicBezTo>
                  <a:pt x="982" y="19203"/>
                  <a:pt x="1202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2" y="8100"/>
                  <a:pt x="982" y="7798"/>
                  <a:pt x="982" y="7425"/>
                </a:cubicBezTo>
                <a:cubicBezTo>
                  <a:pt x="982" y="7052"/>
                  <a:pt x="1202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5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5"/>
                  <a:pt x="21160" y="5400"/>
                  <a:pt x="20618" y="54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6" y="4050"/>
                  <a:pt x="19636" y="3748"/>
                  <a:pt x="19636" y="3375"/>
                </a:cubicBezTo>
                <a:cubicBezTo>
                  <a:pt x="19636" y="3002"/>
                  <a:pt x="19416" y="2700"/>
                  <a:pt x="19145" y="2700"/>
                </a:cubicBezTo>
                <a:lnTo>
                  <a:pt x="2455" y="2700"/>
                </a:lnTo>
                <a:cubicBezTo>
                  <a:pt x="2184" y="2700"/>
                  <a:pt x="1964" y="3002"/>
                  <a:pt x="1964" y="3375"/>
                </a:cubicBezTo>
                <a:cubicBezTo>
                  <a:pt x="1964" y="3748"/>
                  <a:pt x="2184" y="4050"/>
                  <a:pt x="2455" y="405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3" name="Shape 2803"/>
          <p:cNvSpPr/>
          <p:nvPr/>
        </p:nvSpPr>
        <p:spPr>
          <a:xfrm>
            <a:off x="4958109" y="4021180"/>
            <a:ext cx="558654" cy="3555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34" y="12227"/>
                </a:moveTo>
                <a:lnTo>
                  <a:pt x="9494" y="12771"/>
                </a:lnTo>
                <a:lnTo>
                  <a:pt x="8171" y="12771"/>
                </a:lnTo>
                <a:cubicBezTo>
                  <a:pt x="8167" y="12799"/>
                  <a:pt x="8165" y="12839"/>
                  <a:pt x="8165" y="12890"/>
                </a:cubicBezTo>
                <a:lnTo>
                  <a:pt x="8165" y="13085"/>
                </a:lnTo>
                <a:cubicBezTo>
                  <a:pt x="8165" y="13232"/>
                  <a:pt x="8167" y="13320"/>
                  <a:pt x="8171" y="13348"/>
                </a:cubicBezTo>
                <a:lnTo>
                  <a:pt x="9418" y="13348"/>
                </a:lnTo>
                <a:lnTo>
                  <a:pt x="9283" y="13883"/>
                </a:lnTo>
                <a:lnTo>
                  <a:pt x="8198" y="13883"/>
                </a:lnTo>
                <a:cubicBezTo>
                  <a:pt x="8241" y="14342"/>
                  <a:pt x="8333" y="14701"/>
                  <a:pt x="8473" y="14961"/>
                </a:cubicBezTo>
                <a:cubicBezTo>
                  <a:pt x="8635" y="15284"/>
                  <a:pt x="8855" y="15445"/>
                  <a:pt x="9132" y="15445"/>
                </a:cubicBezTo>
                <a:cubicBezTo>
                  <a:pt x="9312" y="15445"/>
                  <a:pt x="9461" y="15401"/>
                  <a:pt x="9580" y="15310"/>
                </a:cubicBezTo>
                <a:cubicBezTo>
                  <a:pt x="9688" y="15225"/>
                  <a:pt x="9810" y="15084"/>
                  <a:pt x="9947" y="14885"/>
                </a:cubicBezTo>
                <a:lnTo>
                  <a:pt x="9947" y="15828"/>
                </a:lnTo>
                <a:cubicBezTo>
                  <a:pt x="9702" y="16076"/>
                  <a:pt x="9430" y="16202"/>
                  <a:pt x="9132" y="16202"/>
                </a:cubicBezTo>
                <a:cubicBezTo>
                  <a:pt x="8649" y="16202"/>
                  <a:pt x="8273" y="15970"/>
                  <a:pt x="8003" y="15505"/>
                </a:cubicBezTo>
                <a:cubicBezTo>
                  <a:pt x="7769" y="15104"/>
                  <a:pt x="7623" y="14562"/>
                  <a:pt x="7566" y="13883"/>
                </a:cubicBezTo>
                <a:lnTo>
                  <a:pt x="7150" y="13883"/>
                </a:lnTo>
                <a:lnTo>
                  <a:pt x="7296" y="13348"/>
                </a:lnTo>
                <a:lnTo>
                  <a:pt x="7539" y="13348"/>
                </a:lnTo>
                <a:cubicBezTo>
                  <a:pt x="7536" y="13309"/>
                  <a:pt x="7532" y="13267"/>
                  <a:pt x="7530" y="13221"/>
                </a:cubicBezTo>
                <a:cubicBezTo>
                  <a:pt x="7529" y="13175"/>
                  <a:pt x="7528" y="13127"/>
                  <a:pt x="7528" y="13077"/>
                </a:cubicBezTo>
                <a:cubicBezTo>
                  <a:pt x="7528" y="13037"/>
                  <a:pt x="7529" y="12991"/>
                  <a:pt x="7530" y="12941"/>
                </a:cubicBezTo>
                <a:cubicBezTo>
                  <a:pt x="7532" y="12890"/>
                  <a:pt x="7536" y="12833"/>
                  <a:pt x="7539" y="12771"/>
                </a:cubicBezTo>
                <a:lnTo>
                  <a:pt x="7150" y="12771"/>
                </a:lnTo>
                <a:lnTo>
                  <a:pt x="7291" y="12227"/>
                </a:lnTo>
                <a:lnTo>
                  <a:pt x="7577" y="12227"/>
                </a:lnTo>
                <a:cubicBezTo>
                  <a:pt x="7667" y="11576"/>
                  <a:pt x="7831" y="11061"/>
                  <a:pt x="8068" y="10682"/>
                </a:cubicBezTo>
                <a:cubicBezTo>
                  <a:pt x="8345" y="10247"/>
                  <a:pt x="8700" y="10028"/>
                  <a:pt x="9132" y="10028"/>
                </a:cubicBezTo>
                <a:cubicBezTo>
                  <a:pt x="9445" y="10028"/>
                  <a:pt x="9766" y="10203"/>
                  <a:pt x="10093" y="10554"/>
                </a:cubicBezTo>
                <a:lnTo>
                  <a:pt x="9845" y="11327"/>
                </a:lnTo>
                <a:cubicBezTo>
                  <a:pt x="9614" y="10965"/>
                  <a:pt x="9362" y="10783"/>
                  <a:pt x="9089" y="10783"/>
                </a:cubicBezTo>
                <a:cubicBezTo>
                  <a:pt x="8847" y="10783"/>
                  <a:pt x="8646" y="10934"/>
                  <a:pt x="8484" y="11234"/>
                </a:cubicBezTo>
                <a:cubicBezTo>
                  <a:pt x="8347" y="11500"/>
                  <a:pt x="8255" y="11831"/>
                  <a:pt x="8209" y="12227"/>
                </a:cubicBezTo>
                <a:cubicBezTo>
                  <a:pt x="8209" y="12227"/>
                  <a:pt x="9634" y="12227"/>
                  <a:pt x="9634" y="12227"/>
                </a:cubicBezTo>
                <a:close/>
                <a:moveTo>
                  <a:pt x="8836" y="7714"/>
                </a:moveTo>
                <a:cubicBezTo>
                  <a:pt x="6938" y="7714"/>
                  <a:pt x="5400" y="10133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3"/>
                  <a:pt x="10734" y="7714"/>
                  <a:pt x="8836" y="7714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8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8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2" y="20057"/>
                  <a:pt x="982" y="19712"/>
                  <a:pt x="982" y="19286"/>
                </a:cubicBezTo>
                <a:cubicBezTo>
                  <a:pt x="982" y="18860"/>
                  <a:pt x="1202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2" y="7714"/>
                  <a:pt x="982" y="7369"/>
                  <a:pt x="982" y="6943"/>
                </a:cubicBezTo>
                <a:cubicBezTo>
                  <a:pt x="982" y="6517"/>
                  <a:pt x="1202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89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5" y="15429"/>
                  <a:pt x="18655" y="15775"/>
                  <a:pt x="18655" y="16200"/>
                </a:cubicBezTo>
                <a:cubicBezTo>
                  <a:pt x="18655" y="16626"/>
                  <a:pt x="18875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3255" y="16971"/>
                </a:moveTo>
                <a:cubicBezTo>
                  <a:pt x="12984" y="16971"/>
                  <a:pt x="12764" y="17317"/>
                  <a:pt x="12764" y="17743"/>
                </a:cubicBezTo>
                <a:cubicBezTo>
                  <a:pt x="12764" y="18169"/>
                  <a:pt x="12984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7"/>
                  <a:pt x="13525" y="16971"/>
                  <a:pt x="13255" y="1697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4" name="Shape 2804"/>
          <p:cNvSpPr/>
          <p:nvPr/>
        </p:nvSpPr>
        <p:spPr>
          <a:xfrm>
            <a:off x="6024631" y="4046574"/>
            <a:ext cx="558654" cy="3047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1057"/>
                </a:moveTo>
                <a:lnTo>
                  <a:pt x="10114" y="13116"/>
                </a:lnTo>
                <a:cubicBezTo>
                  <a:pt x="10458" y="13273"/>
                  <a:pt x="11518" y="13902"/>
                  <a:pt x="11675" y="12740"/>
                </a:cubicBezTo>
                <a:cubicBezTo>
                  <a:pt x="11839" y="11528"/>
                  <a:pt x="10736" y="11215"/>
                  <a:pt x="10393" y="11057"/>
                </a:cubicBezTo>
                <a:moveTo>
                  <a:pt x="10772" y="8246"/>
                </a:moveTo>
                <a:lnTo>
                  <a:pt x="10520" y="10114"/>
                </a:lnTo>
                <a:cubicBezTo>
                  <a:pt x="10806" y="10246"/>
                  <a:pt x="11689" y="10782"/>
                  <a:pt x="11832" y="9726"/>
                </a:cubicBezTo>
                <a:cubicBezTo>
                  <a:pt x="11981" y="8623"/>
                  <a:pt x="11059" y="8378"/>
                  <a:pt x="10772" y="8246"/>
                </a:cubicBezTo>
                <a:moveTo>
                  <a:pt x="12833" y="9742"/>
                </a:moveTo>
                <a:cubicBezTo>
                  <a:pt x="12767" y="10572"/>
                  <a:pt x="12517" y="10974"/>
                  <a:pt x="12186" y="11116"/>
                </a:cubicBezTo>
                <a:cubicBezTo>
                  <a:pt x="12641" y="11552"/>
                  <a:pt x="12872" y="12224"/>
                  <a:pt x="12652" y="13386"/>
                </a:cubicBezTo>
                <a:cubicBezTo>
                  <a:pt x="12378" y="14828"/>
                  <a:pt x="11728" y="14950"/>
                  <a:pt x="10863" y="14648"/>
                </a:cubicBezTo>
                <a:lnTo>
                  <a:pt x="10653" y="16200"/>
                </a:lnTo>
                <a:lnTo>
                  <a:pt x="10146" y="15966"/>
                </a:lnTo>
                <a:lnTo>
                  <a:pt x="10353" y="14435"/>
                </a:lnTo>
                <a:cubicBezTo>
                  <a:pt x="10222" y="14376"/>
                  <a:pt x="10088" y="14311"/>
                  <a:pt x="9949" y="14242"/>
                </a:cubicBezTo>
                <a:lnTo>
                  <a:pt x="9741" y="15780"/>
                </a:lnTo>
                <a:lnTo>
                  <a:pt x="9235" y="15548"/>
                </a:lnTo>
                <a:lnTo>
                  <a:pt x="9444" y="13993"/>
                </a:lnTo>
                <a:cubicBezTo>
                  <a:pt x="9326" y="13936"/>
                  <a:pt x="9206" y="13877"/>
                  <a:pt x="9083" y="13820"/>
                </a:cubicBezTo>
                <a:lnTo>
                  <a:pt x="8423" y="13517"/>
                </a:lnTo>
                <a:lnTo>
                  <a:pt x="8675" y="12446"/>
                </a:lnTo>
                <a:cubicBezTo>
                  <a:pt x="8675" y="12446"/>
                  <a:pt x="9049" y="12629"/>
                  <a:pt x="9043" y="12615"/>
                </a:cubicBezTo>
                <a:cubicBezTo>
                  <a:pt x="9187" y="12681"/>
                  <a:pt x="9251" y="12509"/>
                  <a:pt x="9276" y="12393"/>
                </a:cubicBezTo>
                <a:lnTo>
                  <a:pt x="9607" y="9940"/>
                </a:lnTo>
                <a:cubicBezTo>
                  <a:pt x="9626" y="9949"/>
                  <a:pt x="9644" y="9957"/>
                  <a:pt x="9661" y="9965"/>
                </a:cubicBezTo>
                <a:cubicBezTo>
                  <a:pt x="9641" y="9950"/>
                  <a:pt x="9623" y="9940"/>
                  <a:pt x="9608" y="9933"/>
                </a:cubicBezTo>
                <a:lnTo>
                  <a:pt x="9845" y="8183"/>
                </a:lnTo>
                <a:cubicBezTo>
                  <a:pt x="9851" y="7984"/>
                  <a:pt x="9814" y="7733"/>
                  <a:pt x="9608" y="7639"/>
                </a:cubicBezTo>
                <a:cubicBezTo>
                  <a:pt x="9616" y="7629"/>
                  <a:pt x="9240" y="7469"/>
                  <a:pt x="9240" y="7469"/>
                </a:cubicBezTo>
                <a:lnTo>
                  <a:pt x="9375" y="6471"/>
                </a:lnTo>
                <a:lnTo>
                  <a:pt x="10074" y="6793"/>
                </a:lnTo>
                <a:lnTo>
                  <a:pt x="10074" y="6798"/>
                </a:lnTo>
                <a:cubicBezTo>
                  <a:pt x="10179" y="6845"/>
                  <a:pt x="10288" y="6892"/>
                  <a:pt x="10398" y="6937"/>
                </a:cubicBezTo>
                <a:lnTo>
                  <a:pt x="10606" y="5401"/>
                </a:lnTo>
                <a:lnTo>
                  <a:pt x="11113" y="5634"/>
                </a:lnTo>
                <a:lnTo>
                  <a:pt x="10909" y="7140"/>
                </a:lnTo>
                <a:cubicBezTo>
                  <a:pt x="11045" y="7197"/>
                  <a:pt x="11182" y="7255"/>
                  <a:pt x="11315" y="7317"/>
                </a:cubicBezTo>
                <a:lnTo>
                  <a:pt x="11517" y="5821"/>
                </a:lnTo>
                <a:lnTo>
                  <a:pt x="12025" y="6054"/>
                </a:lnTo>
                <a:lnTo>
                  <a:pt x="11817" y="7590"/>
                </a:lnTo>
                <a:cubicBezTo>
                  <a:pt x="12457" y="7998"/>
                  <a:pt x="12926" y="8607"/>
                  <a:pt x="12833" y="9742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8" y="16200"/>
                  <a:pt x="15709" y="16603"/>
                  <a:pt x="15709" y="17100"/>
                </a:cubicBezTo>
                <a:cubicBezTo>
                  <a:pt x="15709" y="17598"/>
                  <a:pt x="15928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8"/>
                  <a:pt x="17673" y="17100"/>
                </a:cubicBezTo>
                <a:cubicBezTo>
                  <a:pt x="17673" y="16603"/>
                  <a:pt x="17453" y="16200"/>
                  <a:pt x="17182" y="162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3"/>
                  <a:pt x="3927" y="4500"/>
                </a:cubicBezTo>
                <a:cubicBezTo>
                  <a:pt x="3927" y="4998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8"/>
                  <a:pt x="5891" y="4500"/>
                </a:cubicBezTo>
                <a:cubicBezTo>
                  <a:pt x="5891" y="4003"/>
                  <a:pt x="5671" y="3600"/>
                  <a:pt x="5400" y="3600"/>
                </a:cubicBezTo>
                <a:moveTo>
                  <a:pt x="20127" y="3600"/>
                </a:moveTo>
                <a:cubicBezTo>
                  <a:pt x="19856" y="3600"/>
                  <a:pt x="19636" y="3198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0"/>
                </a:cubicBezTo>
                <a:cubicBezTo>
                  <a:pt x="20618" y="3198"/>
                  <a:pt x="20398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10"/>
                  <a:pt x="18655" y="18900"/>
                </a:cubicBezTo>
                <a:cubicBezTo>
                  <a:pt x="18655" y="19217"/>
                  <a:pt x="18690" y="19518"/>
                  <a:pt x="18744" y="19800"/>
                </a:cubicBezTo>
                <a:lnTo>
                  <a:pt x="2855" y="19800"/>
                </a:lnTo>
                <a:cubicBezTo>
                  <a:pt x="2910" y="19518"/>
                  <a:pt x="2945" y="19217"/>
                  <a:pt x="2945" y="18900"/>
                </a:cubicBezTo>
                <a:cubicBezTo>
                  <a:pt x="2945" y="17410"/>
                  <a:pt x="2286" y="16200"/>
                  <a:pt x="1473" y="16200"/>
                </a:cubicBezTo>
                <a:cubicBezTo>
                  <a:pt x="1299" y="16200"/>
                  <a:pt x="1136" y="16265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0"/>
                  <a:pt x="1473" y="5400"/>
                </a:cubicBezTo>
                <a:cubicBezTo>
                  <a:pt x="2286" y="5400"/>
                  <a:pt x="2945" y="4192"/>
                  <a:pt x="2945" y="2700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90" y="2083"/>
                  <a:pt x="18655" y="2383"/>
                  <a:pt x="18655" y="2700"/>
                </a:cubicBezTo>
                <a:cubicBezTo>
                  <a:pt x="18655" y="4192"/>
                  <a:pt x="19314" y="5400"/>
                  <a:pt x="20127" y="5400"/>
                </a:cubicBezTo>
                <a:cubicBezTo>
                  <a:pt x="20300" y="5400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8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8" y="18000"/>
                  <a:pt x="20618" y="18403"/>
                  <a:pt x="20618" y="18900"/>
                </a:cubicBezTo>
                <a:cubicBezTo>
                  <a:pt x="20618" y="19398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8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8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8"/>
                  <a:pt x="1744" y="3600"/>
                  <a:pt x="1473" y="3600"/>
                </a:cubicBezTo>
                <a:cubicBezTo>
                  <a:pt x="1201" y="3600"/>
                  <a:pt x="982" y="3198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5" name="Shape 2805"/>
          <p:cNvSpPr/>
          <p:nvPr/>
        </p:nvSpPr>
        <p:spPr>
          <a:xfrm>
            <a:off x="7091154" y="3995789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3692"/>
                </a:moveTo>
                <a:lnTo>
                  <a:pt x="10114" y="15237"/>
                </a:lnTo>
                <a:cubicBezTo>
                  <a:pt x="10458" y="15355"/>
                  <a:pt x="11518" y="15826"/>
                  <a:pt x="11675" y="14955"/>
                </a:cubicBezTo>
                <a:cubicBezTo>
                  <a:pt x="11839" y="14046"/>
                  <a:pt x="10737" y="13811"/>
                  <a:pt x="10393" y="13692"/>
                </a:cubicBezTo>
                <a:moveTo>
                  <a:pt x="12834" y="12706"/>
                </a:moveTo>
                <a:cubicBezTo>
                  <a:pt x="12767" y="13329"/>
                  <a:pt x="12517" y="13631"/>
                  <a:pt x="12186" y="13737"/>
                </a:cubicBezTo>
                <a:cubicBezTo>
                  <a:pt x="12641" y="14064"/>
                  <a:pt x="12873" y="14567"/>
                  <a:pt x="12652" y="15439"/>
                </a:cubicBezTo>
                <a:cubicBezTo>
                  <a:pt x="12378" y="16521"/>
                  <a:pt x="11728" y="16613"/>
                  <a:pt x="10863" y="16386"/>
                </a:cubicBezTo>
                <a:lnTo>
                  <a:pt x="10653" y="17550"/>
                </a:lnTo>
                <a:lnTo>
                  <a:pt x="10147" y="17375"/>
                </a:lnTo>
                <a:lnTo>
                  <a:pt x="10354" y="16227"/>
                </a:lnTo>
                <a:cubicBezTo>
                  <a:pt x="10222" y="16182"/>
                  <a:pt x="10088" y="16133"/>
                  <a:pt x="9950" y="16081"/>
                </a:cubicBezTo>
                <a:lnTo>
                  <a:pt x="9741" y="17235"/>
                </a:lnTo>
                <a:lnTo>
                  <a:pt x="9235" y="17061"/>
                </a:lnTo>
                <a:lnTo>
                  <a:pt x="9445" y="15894"/>
                </a:lnTo>
                <a:cubicBezTo>
                  <a:pt x="9326" y="15852"/>
                  <a:pt x="9206" y="15808"/>
                  <a:pt x="9083" y="15765"/>
                </a:cubicBezTo>
                <a:lnTo>
                  <a:pt x="8424" y="15538"/>
                </a:lnTo>
                <a:lnTo>
                  <a:pt x="8675" y="14735"/>
                </a:lnTo>
                <a:cubicBezTo>
                  <a:pt x="8675" y="14735"/>
                  <a:pt x="9049" y="14872"/>
                  <a:pt x="9044" y="14862"/>
                </a:cubicBezTo>
                <a:cubicBezTo>
                  <a:pt x="9187" y="14911"/>
                  <a:pt x="9251" y="14781"/>
                  <a:pt x="9276" y="14695"/>
                </a:cubicBezTo>
                <a:lnTo>
                  <a:pt x="9608" y="12855"/>
                </a:lnTo>
                <a:cubicBezTo>
                  <a:pt x="9626" y="12862"/>
                  <a:pt x="9645" y="12868"/>
                  <a:pt x="9661" y="12874"/>
                </a:cubicBezTo>
                <a:cubicBezTo>
                  <a:pt x="9641" y="12862"/>
                  <a:pt x="9623" y="12855"/>
                  <a:pt x="9609" y="12850"/>
                </a:cubicBezTo>
                <a:lnTo>
                  <a:pt x="9845" y="11537"/>
                </a:lnTo>
                <a:cubicBezTo>
                  <a:pt x="9852" y="11388"/>
                  <a:pt x="9814" y="11200"/>
                  <a:pt x="9609" y="11129"/>
                </a:cubicBezTo>
                <a:cubicBezTo>
                  <a:pt x="9617" y="11121"/>
                  <a:pt x="9241" y="11002"/>
                  <a:pt x="9241" y="11002"/>
                </a:cubicBezTo>
                <a:lnTo>
                  <a:pt x="9376" y="10253"/>
                </a:lnTo>
                <a:lnTo>
                  <a:pt x="10075" y="10494"/>
                </a:lnTo>
                <a:lnTo>
                  <a:pt x="10074" y="10498"/>
                </a:lnTo>
                <a:cubicBezTo>
                  <a:pt x="10180" y="10534"/>
                  <a:pt x="10288" y="10569"/>
                  <a:pt x="10398" y="10603"/>
                </a:cubicBezTo>
                <a:lnTo>
                  <a:pt x="10606" y="9451"/>
                </a:lnTo>
                <a:lnTo>
                  <a:pt x="11113" y="9626"/>
                </a:lnTo>
                <a:lnTo>
                  <a:pt x="10909" y="10755"/>
                </a:lnTo>
                <a:cubicBezTo>
                  <a:pt x="11045" y="10798"/>
                  <a:pt x="11182" y="10842"/>
                  <a:pt x="11316" y="10887"/>
                </a:cubicBezTo>
                <a:lnTo>
                  <a:pt x="11518" y="9765"/>
                </a:lnTo>
                <a:lnTo>
                  <a:pt x="12025" y="9940"/>
                </a:lnTo>
                <a:lnTo>
                  <a:pt x="11817" y="11093"/>
                </a:lnTo>
                <a:cubicBezTo>
                  <a:pt x="12457" y="11398"/>
                  <a:pt x="12926" y="11855"/>
                  <a:pt x="12834" y="12706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2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2"/>
                  <a:pt x="5671" y="8100"/>
                  <a:pt x="54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3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3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10773" y="11584"/>
                </a:moveTo>
                <a:lnTo>
                  <a:pt x="10520" y="12985"/>
                </a:lnTo>
                <a:cubicBezTo>
                  <a:pt x="10807" y="13084"/>
                  <a:pt x="11689" y="13487"/>
                  <a:pt x="11832" y="12694"/>
                </a:cubicBezTo>
                <a:cubicBezTo>
                  <a:pt x="11981" y="11867"/>
                  <a:pt x="11059" y="11683"/>
                  <a:pt x="10773" y="11584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5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5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6" name="Shape 2806"/>
          <p:cNvSpPr/>
          <p:nvPr/>
        </p:nvSpPr>
        <p:spPr>
          <a:xfrm>
            <a:off x="8157677" y="4021180"/>
            <a:ext cx="558654" cy="3555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442" y="12358"/>
                </a:moveTo>
                <a:cubicBezTo>
                  <a:pt x="10390" y="12952"/>
                  <a:pt x="10196" y="13240"/>
                  <a:pt x="9938" y="13340"/>
                </a:cubicBezTo>
                <a:cubicBezTo>
                  <a:pt x="10292" y="13653"/>
                  <a:pt x="10472" y="14131"/>
                  <a:pt x="10300" y="14961"/>
                </a:cubicBezTo>
                <a:cubicBezTo>
                  <a:pt x="10088" y="15991"/>
                  <a:pt x="9582" y="16078"/>
                  <a:pt x="8910" y="15863"/>
                </a:cubicBezTo>
                <a:lnTo>
                  <a:pt x="8746" y="16971"/>
                </a:lnTo>
                <a:lnTo>
                  <a:pt x="8352" y="16805"/>
                </a:lnTo>
                <a:lnTo>
                  <a:pt x="8513" y="15711"/>
                </a:lnTo>
                <a:cubicBezTo>
                  <a:pt x="8411" y="15668"/>
                  <a:pt x="8306" y="15622"/>
                  <a:pt x="8199" y="15573"/>
                </a:cubicBezTo>
                <a:lnTo>
                  <a:pt x="8037" y="16672"/>
                </a:lnTo>
                <a:lnTo>
                  <a:pt x="7643" y="16505"/>
                </a:lnTo>
                <a:lnTo>
                  <a:pt x="7806" y="15395"/>
                </a:lnTo>
                <a:cubicBezTo>
                  <a:pt x="7714" y="15355"/>
                  <a:pt x="7621" y="15312"/>
                  <a:pt x="7525" y="15272"/>
                </a:cubicBezTo>
                <a:lnTo>
                  <a:pt x="7012" y="15055"/>
                </a:lnTo>
                <a:lnTo>
                  <a:pt x="7207" y="14290"/>
                </a:lnTo>
                <a:cubicBezTo>
                  <a:pt x="7207" y="14290"/>
                  <a:pt x="7498" y="14421"/>
                  <a:pt x="7495" y="14412"/>
                </a:cubicBezTo>
                <a:cubicBezTo>
                  <a:pt x="7606" y="14459"/>
                  <a:pt x="7656" y="14335"/>
                  <a:pt x="7675" y="14252"/>
                </a:cubicBezTo>
                <a:lnTo>
                  <a:pt x="7933" y="12501"/>
                </a:lnTo>
                <a:cubicBezTo>
                  <a:pt x="7948" y="12506"/>
                  <a:pt x="7961" y="12512"/>
                  <a:pt x="7974" y="12518"/>
                </a:cubicBezTo>
                <a:cubicBezTo>
                  <a:pt x="7959" y="12507"/>
                  <a:pt x="7945" y="12501"/>
                  <a:pt x="7934" y="12495"/>
                </a:cubicBezTo>
                <a:lnTo>
                  <a:pt x="8118" y="11245"/>
                </a:lnTo>
                <a:cubicBezTo>
                  <a:pt x="8122" y="11103"/>
                  <a:pt x="8093" y="10924"/>
                  <a:pt x="7934" y="10856"/>
                </a:cubicBezTo>
                <a:cubicBezTo>
                  <a:pt x="7940" y="10849"/>
                  <a:pt x="7647" y="10735"/>
                  <a:pt x="7647" y="10735"/>
                </a:cubicBezTo>
                <a:lnTo>
                  <a:pt x="7752" y="10022"/>
                </a:lnTo>
                <a:lnTo>
                  <a:pt x="8297" y="10252"/>
                </a:lnTo>
                <a:lnTo>
                  <a:pt x="8296" y="10255"/>
                </a:lnTo>
                <a:cubicBezTo>
                  <a:pt x="8378" y="10289"/>
                  <a:pt x="8462" y="10322"/>
                  <a:pt x="8548" y="10356"/>
                </a:cubicBezTo>
                <a:lnTo>
                  <a:pt x="8709" y="9258"/>
                </a:lnTo>
                <a:lnTo>
                  <a:pt x="9103" y="9424"/>
                </a:lnTo>
                <a:lnTo>
                  <a:pt x="8945" y="10500"/>
                </a:lnTo>
                <a:cubicBezTo>
                  <a:pt x="9051" y="10541"/>
                  <a:pt x="9158" y="10582"/>
                  <a:pt x="9261" y="10627"/>
                </a:cubicBezTo>
                <a:lnTo>
                  <a:pt x="9418" y="9557"/>
                </a:lnTo>
                <a:lnTo>
                  <a:pt x="9813" y="9724"/>
                </a:lnTo>
                <a:lnTo>
                  <a:pt x="9651" y="10822"/>
                </a:lnTo>
                <a:cubicBezTo>
                  <a:pt x="10149" y="11112"/>
                  <a:pt x="10513" y="11548"/>
                  <a:pt x="10442" y="123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13255" y="16971"/>
                </a:moveTo>
                <a:cubicBezTo>
                  <a:pt x="12983" y="16971"/>
                  <a:pt x="12764" y="17318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6" y="18514"/>
                  <a:pt x="13745" y="18169"/>
                  <a:pt x="13745" y="17743"/>
                </a:cubicBezTo>
                <a:cubicBezTo>
                  <a:pt x="13745" y="17318"/>
                  <a:pt x="13526" y="16971"/>
                  <a:pt x="13255" y="16971"/>
                </a:cubicBezTo>
                <a:moveTo>
                  <a:pt x="8839" y="11290"/>
                </a:moveTo>
                <a:lnTo>
                  <a:pt x="8643" y="12624"/>
                </a:lnTo>
                <a:cubicBezTo>
                  <a:pt x="8865" y="12718"/>
                  <a:pt x="9552" y="13102"/>
                  <a:pt x="9663" y="12347"/>
                </a:cubicBezTo>
                <a:cubicBezTo>
                  <a:pt x="9778" y="11559"/>
                  <a:pt x="9062" y="11384"/>
                  <a:pt x="8839" y="11290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90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7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7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300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300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7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60"/>
                  <a:pt x="1201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7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543" y="13297"/>
                </a:moveTo>
                <a:lnTo>
                  <a:pt x="8327" y="14769"/>
                </a:lnTo>
                <a:cubicBezTo>
                  <a:pt x="8595" y="14882"/>
                  <a:pt x="9419" y="15330"/>
                  <a:pt x="9541" y="14500"/>
                </a:cubicBezTo>
                <a:cubicBezTo>
                  <a:pt x="9669" y="13634"/>
                  <a:pt x="8811" y="13410"/>
                  <a:pt x="8543" y="13297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90" y="9257"/>
                  <a:pt x="4909" y="8912"/>
                  <a:pt x="4909" y="8486"/>
                </a:cubicBezTo>
                <a:cubicBezTo>
                  <a:pt x="4909" y="8060"/>
                  <a:pt x="4690" y="7714"/>
                  <a:pt x="4418" y="771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7" name="Shape 2807"/>
          <p:cNvSpPr/>
          <p:nvPr/>
        </p:nvSpPr>
        <p:spPr>
          <a:xfrm>
            <a:off x="9224197" y="3995789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2150"/>
                </a:moveTo>
                <a:lnTo>
                  <a:pt x="17294" y="9450"/>
                </a:lnTo>
                <a:lnTo>
                  <a:pt x="19843" y="9450"/>
                </a:lnTo>
                <a:lnTo>
                  <a:pt x="19406" y="12150"/>
                </a:lnTo>
                <a:cubicBezTo>
                  <a:pt x="19406" y="12150"/>
                  <a:pt x="17075" y="12150"/>
                  <a:pt x="17075" y="12150"/>
                </a:cubicBezTo>
                <a:close/>
                <a:moveTo>
                  <a:pt x="18752" y="16200"/>
                </a:moveTo>
                <a:lnTo>
                  <a:pt x="16748" y="16200"/>
                </a:lnTo>
                <a:lnTo>
                  <a:pt x="16967" y="13500"/>
                </a:lnTo>
                <a:lnTo>
                  <a:pt x="19188" y="13500"/>
                </a:lnTo>
                <a:cubicBezTo>
                  <a:pt x="19188" y="13500"/>
                  <a:pt x="18752" y="16200"/>
                  <a:pt x="18752" y="16200"/>
                </a:cubicBezTo>
                <a:close/>
                <a:moveTo>
                  <a:pt x="17673" y="20250"/>
                </a:moveTo>
                <a:cubicBezTo>
                  <a:pt x="17131" y="20250"/>
                  <a:pt x="16691" y="19645"/>
                  <a:pt x="16691" y="18900"/>
                </a:cubicBezTo>
                <a:cubicBezTo>
                  <a:pt x="16691" y="18155"/>
                  <a:pt x="17131" y="17550"/>
                  <a:pt x="17673" y="17550"/>
                </a:cubicBezTo>
                <a:cubicBezTo>
                  <a:pt x="18215" y="17550"/>
                  <a:pt x="18655" y="18155"/>
                  <a:pt x="18655" y="18900"/>
                </a:cubicBezTo>
                <a:cubicBezTo>
                  <a:pt x="18655" y="19645"/>
                  <a:pt x="18215" y="20250"/>
                  <a:pt x="17673" y="20250"/>
                </a:cubicBezTo>
                <a:moveTo>
                  <a:pt x="16415" y="8100"/>
                </a:moveTo>
                <a:lnTo>
                  <a:pt x="13745" y="8100"/>
                </a:lnTo>
                <a:lnTo>
                  <a:pt x="13745" y="5400"/>
                </a:lnTo>
                <a:lnTo>
                  <a:pt x="16633" y="5400"/>
                </a:lnTo>
                <a:cubicBezTo>
                  <a:pt x="16633" y="5400"/>
                  <a:pt x="16415" y="8100"/>
                  <a:pt x="16415" y="8100"/>
                </a:cubicBezTo>
                <a:close/>
                <a:moveTo>
                  <a:pt x="16088" y="12150"/>
                </a:moveTo>
                <a:lnTo>
                  <a:pt x="13745" y="12150"/>
                </a:lnTo>
                <a:lnTo>
                  <a:pt x="13745" y="9450"/>
                </a:lnTo>
                <a:lnTo>
                  <a:pt x="16306" y="9450"/>
                </a:lnTo>
                <a:cubicBezTo>
                  <a:pt x="16306" y="9450"/>
                  <a:pt x="16088" y="12150"/>
                  <a:pt x="16088" y="12150"/>
                </a:cubicBezTo>
                <a:close/>
                <a:moveTo>
                  <a:pt x="15761" y="16200"/>
                </a:moveTo>
                <a:lnTo>
                  <a:pt x="13745" y="16200"/>
                </a:lnTo>
                <a:lnTo>
                  <a:pt x="13745" y="13500"/>
                </a:lnTo>
                <a:lnTo>
                  <a:pt x="15979" y="13500"/>
                </a:lnTo>
                <a:cubicBezTo>
                  <a:pt x="15979" y="13500"/>
                  <a:pt x="15761" y="16200"/>
                  <a:pt x="15761" y="16200"/>
                </a:cubicBezTo>
                <a:close/>
                <a:moveTo>
                  <a:pt x="12764" y="8100"/>
                </a:moveTo>
                <a:lnTo>
                  <a:pt x="10094" y="8100"/>
                </a:lnTo>
                <a:lnTo>
                  <a:pt x="9876" y="5400"/>
                </a:lnTo>
                <a:lnTo>
                  <a:pt x="12764" y="5400"/>
                </a:lnTo>
                <a:cubicBezTo>
                  <a:pt x="12764" y="5400"/>
                  <a:pt x="12764" y="8100"/>
                  <a:pt x="12764" y="8100"/>
                </a:cubicBezTo>
                <a:close/>
                <a:moveTo>
                  <a:pt x="12764" y="12150"/>
                </a:moveTo>
                <a:lnTo>
                  <a:pt x="10421" y="12150"/>
                </a:lnTo>
                <a:lnTo>
                  <a:pt x="10203" y="9450"/>
                </a:lnTo>
                <a:lnTo>
                  <a:pt x="12764" y="9450"/>
                </a:lnTo>
                <a:cubicBezTo>
                  <a:pt x="12764" y="9450"/>
                  <a:pt x="12764" y="12150"/>
                  <a:pt x="12764" y="12150"/>
                </a:cubicBezTo>
                <a:close/>
                <a:moveTo>
                  <a:pt x="12764" y="16200"/>
                </a:moveTo>
                <a:lnTo>
                  <a:pt x="10748" y="16200"/>
                </a:lnTo>
                <a:lnTo>
                  <a:pt x="10531" y="13500"/>
                </a:lnTo>
                <a:lnTo>
                  <a:pt x="12764" y="13500"/>
                </a:lnTo>
                <a:cubicBezTo>
                  <a:pt x="12764" y="13500"/>
                  <a:pt x="12764" y="16200"/>
                  <a:pt x="12764" y="16200"/>
                </a:cubicBezTo>
                <a:close/>
                <a:moveTo>
                  <a:pt x="8836" y="20250"/>
                </a:moveTo>
                <a:cubicBezTo>
                  <a:pt x="8294" y="20250"/>
                  <a:pt x="7855" y="19645"/>
                  <a:pt x="7855" y="18900"/>
                </a:cubicBezTo>
                <a:cubicBezTo>
                  <a:pt x="7855" y="18155"/>
                  <a:pt x="8294" y="17550"/>
                  <a:pt x="8836" y="17550"/>
                </a:cubicBezTo>
                <a:cubicBezTo>
                  <a:pt x="9379" y="17550"/>
                  <a:pt x="9818" y="18155"/>
                  <a:pt x="9818" y="18900"/>
                </a:cubicBezTo>
                <a:cubicBezTo>
                  <a:pt x="9818" y="19645"/>
                  <a:pt x="9379" y="20250"/>
                  <a:pt x="8836" y="20250"/>
                </a:cubicBezTo>
                <a:moveTo>
                  <a:pt x="7213" y="13500"/>
                </a:moveTo>
                <a:lnTo>
                  <a:pt x="9543" y="13500"/>
                </a:lnTo>
                <a:lnTo>
                  <a:pt x="9761" y="16200"/>
                </a:lnTo>
                <a:lnTo>
                  <a:pt x="7740" y="16200"/>
                </a:lnTo>
                <a:cubicBezTo>
                  <a:pt x="7740" y="16200"/>
                  <a:pt x="7213" y="13500"/>
                  <a:pt x="7213" y="13500"/>
                </a:cubicBezTo>
                <a:close/>
                <a:moveTo>
                  <a:pt x="6950" y="12150"/>
                </a:moveTo>
                <a:lnTo>
                  <a:pt x="6423" y="9450"/>
                </a:lnTo>
                <a:lnTo>
                  <a:pt x="9215" y="9450"/>
                </a:lnTo>
                <a:lnTo>
                  <a:pt x="9434" y="12150"/>
                </a:lnTo>
                <a:cubicBezTo>
                  <a:pt x="9434" y="12150"/>
                  <a:pt x="6950" y="12150"/>
                  <a:pt x="6950" y="12150"/>
                </a:cubicBezTo>
                <a:close/>
                <a:moveTo>
                  <a:pt x="5633" y="5400"/>
                </a:moveTo>
                <a:lnTo>
                  <a:pt x="8888" y="5400"/>
                </a:lnTo>
                <a:lnTo>
                  <a:pt x="9106" y="8100"/>
                </a:lnTo>
                <a:lnTo>
                  <a:pt x="6160" y="8100"/>
                </a:lnTo>
                <a:cubicBezTo>
                  <a:pt x="6160" y="8100"/>
                  <a:pt x="5633" y="5400"/>
                  <a:pt x="5633" y="5400"/>
                </a:cubicBezTo>
                <a:close/>
                <a:moveTo>
                  <a:pt x="17621" y="5400"/>
                </a:moveTo>
                <a:lnTo>
                  <a:pt x="20497" y="5400"/>
                </a:lnTo>
                <a:lnTo>
                  <a:pt x="20061" y="8100"/>
                </a:lnTo>
                <a:lnTo>
                  <a:pt x="17403" y="8100"/>
                </a:lnTo>
                <a:cubicBezTo>
                  <a:pt x="17403" y="8100"/>
                  <a:pt x="17621" y="5400"/>
                  <a:pt x="17621" y="5400"/>
                </a:cubicBezTo>
                <a:close/>
                <a:moveTo>
                  <a:pt x="19619" y="17038"/>
                </a:moveTo>
                <a:lnTo>
                  <a:pt x="19622" y="17038"/>
                </a:lnTo>
                <a:lnTo>
                  <a:pt x="21586" y="4889"/>
                </a:lnTo>
                <a:lnTo>
                  <a:pt x="21577" y="4886"/>
                </a:lnTo>
                <a:cubicBezTo>
                  <a:pt x="21586" y="4833"/>
                  <a:pt x="21600" y="4782"/>
                  <a:pt x="21600" y="4725"/>
                </a:cubicBezTo>
                <a:cubicBezTo>
                  <a:pt x="21600" y="4352"/>
                  <a:pt x="21380" y="4050"/>
                  <a:pt x="21109" y="4050"/>
                </a:cubicBezTo>
                <a:lnTo>
                  <a:pt x="5370" y="4050"/>
                </a:lnTo>
                <a:lnTo>
                  <a:pt x="4674" y="481"/>
                </a:lnTo>
                <a:lnTo>
                  <a:pt x="4667" y="484"/>
                </a:lnTo>
                <a:cubicBezTo>
                  <a:pt x="4605" y="207"/>
                  <a:pt x="4425" y="0"/>
                  <a:pt x="4203" y="0"/>
                </a:cubicBezTo>
                <a:lnTo>
                  <a:pt x="491" y="0"/>
                </a:lnTo>
                <a:cubicBezTo>
                  <a:pt x="220" y="0"/>
                  <a:pt x="0" y="302"/>
                  <a:pt x="0" y="675"/>
                </a:cubicBezTo>
                <a:cubicBezTo>
                  <a:pt x="0" y="1048"/>
                  <a:pt x="220" y="1350"/>
                  <a:pt x="491" y="1350"/>
                </a:cubicBezTo>
                <a:lnTo>
                  <a:pt x="3827" y="1350"/>
                </a:lnTo>
                <a:lnTo>
                  <a:pt x="6893" y="17069"/>
                </a:lnTo>
                <a:lnTo>
                  <a:pt x="6894" y="17069"/>
                </a:lnTo>
                <a:cubicBezTo>
                  <a:pt x="6936" y="17259"/>
                  <a:pt x="7037" y="17414"/>
                  <a:pt x="7168" y="17493"/>
                </a:cubicBezTo>
                <a:cubicBezTo>
                  <a:pt x="6984" y="17903"/>
                  <a:pt x="6873" y="18383"/>
                  <a:pt x="6873" y="18900"/>
                </a:cubicBezTo>
                <a:cubicBezTo>
                  <a:pt x="6873" y="20391"/>
                  <a:pt x="7752" y="21600"/>
                  <a:pt x="8836" y="21600"/>
                </a:cubicBezTo>
                <a:cubicBezTo>
                  <a:pt x="9921" y="21600"/>
                  <a:pt x="10800" y="20391"/>
                  <a:pt x="10800" y="18900"/>
                </a:cubicBezTo>
                <a:cubicBezTo>
                  <a:pt x="10800" y="18406"/>
                  <a:pt x="10696" y="17949"/>
                  <a:pt x="10528" y="17550"/>
                </a:cubicBezTo>
                <a:lnTo>
                  <a:pt x="15981" y="17550"/>
                </a:lnTo>
                <a:cubicBezTo>
                  <a:pt x="15813" y="17949"/>
                  <a:pt x="15709" y="18406"/>
                  <a:pt x="15709" y="18900"/>
                </a:cubicBezTo>
                <a:cubicBezTo>
                  <a:pt x="15709" y="20391"/>
                  <a:pt x="16588" y="21600"/>
                  <a:pt x="17673" y="21600"/>
                </a:cubicBezTo>
                <a:cubicBezTo>
                  <a:pt x="18757" y="21600"/>
                  <a:pt x="19636" y="20391"/>
                  <a:pt x="19636" y="18900"/>
                </a:cubicBezTo>
                <a:cubicBezTo>
                  <a:pt x="19636" y="18383"/>
                  <a:pt x="19525" y="17903"/>
                  <a:pt x="19341" y="17493"/>
                </a:cubicBezTo>
                <a:cubicBezTo>
                  <a:pt x="19479" y="17410"/>
                  <a:pt x="19581" y="17242"/>
                  <a:pt x="19619" y="1703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8" name="Shape 2808"/>
          <p:cNvSpPr/>
          <p:nvPr/>
        </p:nvSpPr>
        <p:spPr>
          <a:xfrm>
            <a:off x="10290720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5" y="14727"/>
                  <a:pt x="17075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6" y="9447"/>
                </a:lnTo>
                <a:lnTo>
                  <a:pt x="21577" y="9444"/>
                </a:lnTo>
                <a:cubicBezTo>
                  <a:pt x="21586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6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1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2907" y="7711"/>
                </a:moveTo>
                <a:cubicBezTo>
                  <a:pt x="12996" y="7800"/>
                  <a:pt x="13119" y="7855"/>
                  <a:pt x="13255" y="7855"/>
                </a:cubicBezTo>
                <a:cubicBezTo>
                  <a:pt x="13390" y="7855"/>
                  <a:pt x="13513" y="7800"/>
                  <a:pt x="13602" y="7711"/>
                </a:cubicBezTo>
                <a:lnTo>
                  <a:pt x="15565" y="5747"/>
                </a:lnTo>
                <a:cubicBezTo>
                  <a:pt x="15654" y="5658"/>
                  <a:pt x="15709" y="5536"/>
                  <a:pt x="15709" y="5400"/>
                </a:cubicBezTo>
                <a:cubicBezTo>
                  <a:pt x="15709" y="5129"/>
                  <a:pt x="15490" y="4910"/>
                  <a:pt x="15218" y="4910"/>
                </a:cubicBezTo>
                <a:cubicBezTo>
                  <a:pt x="15083" y="4910"/>
                  <a:pt x="14960" y="4964"/>
                  <a:pt x="14871" y="5053"/>
                </a:cubicBezTo>
                <a:lnTo>
                  <a:pt x="13745" y="6179"/>
                </a:lnTo>
                <a:lnTo>
                  <a:pt x="13745" y="491"/>
                </a:lnTo>
                <a:lnTo>
                  <a:pt x="13745" y="491"/>
                </a:lnTo>
                <a:cubicBezTo>
                  <a:pt x="13745" y="220"/>
                  <a:pt x="13526" y="0"/>
                  <a:pt x="13255" y="0"/>
                </a:cubicBezTo>
                <a:cubicBezTo>
                  <a:pt x="12983" y="0"/>
                  <a:pt x="12764" y="220"/>
                  <a:pt x="12764" y="491"/>
                </a:cubicBezTo>
                <a:lnTo>
                  <a:pt x="12764" y="6179"/>
                </a:lnTo>
                <a:lnTo>
                  <a:pt x="11638" y="5053"/>
                </a:lnTo>
                <a:cubicBezTo>
                  <a:pt x="11549" y="4964"/>
                  <a:pt x="11427" y="4910"/>
                  <a:pt x="11291" y="4910"/>
                </a:cubicBezTo>
                <a:cubicBezTo>
                  <a:pt x="11020" y="4910"/>
                  <a:pt x="10800" y="5129"/>
                  <a:pt x="10800" y="5400"/>
                </a:cubicBezTo>
                <a:cubicBezTo>
                  <a:pt x="10800" y="5536"/>
                  <a:pt x="10855" y="5658"/>
                  <a:pt x="10944" y="5747"/>
                </a:cubicBezTo>
                <a:cubicBezTo>
                  <a:pt x="10944" y="5747"/>
                  <a:pt x="12907" y="7711"/>
                  <a:pt x="12907" y="7711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09" name="Shape 2809"/>
          <p:cNvSpPr/>
          <p:nvPr/>
        </p:nvSpPr>
        <p:spPr>
          <a:xfrm>
            <a:off x="11357242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6" y="14727"/>
                  <a:pt x="17076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5" y="9447"/>
                </a:lnTo>
                <a:lnTo>
                  <a:pt x="21577" y="9444"/>
                </a:lnTo>
                <a:cubicBezTo>
                  <a:pt x="21587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5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2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1291" y="2945"/>
                </a:moveTo>
                <a:cubicBezTo>
                  <a:pt x="11427" y="2945"/>
                  <a:pt x="11549" y="2891"/>
                  <a:pt x="11638" y="2802"/>
                </a:cubicBezTo>
                <a:lnTo>
                  <a:pt x="12764" y="1676"/>
                </a:lnTo>
                <a:lnTo>
                  <a:pt x="12764" y="7364"/>
                </a:lnTo>
                <a:cubicBezTo>
                  <a:pt x="12764" y="7634"/>
                  <a:pt x="12983" y="7855"/>
                  <a:pt x="13255" y="7855"/>
                </a:cubicBezTo>
                <a:cubicBezTo>
                  <a:pt x="13526" y="7855"/>
                  <a:pt x="13745" y="7634"/>
                  <a:pt x="13745" y="7364"/>
                </a:cubicBezTo>
                <a:lnTo>
                  <a:pt x="13745" y="1676"/>
                </a:lnTo>
                <a:lnTo>
                  <a:pt x="14871" y="2802"/>
                </a:lnTo>
                <a:cubicBezTo>
                  <a:pt x="14959" y="2891"/>
                  <a:pt x="15082" y="2945"/>
                  <a:pt x="15218" y="2945"/>
                </a:cubicBezTo>
                <a:cubicBezTo>
                  <a:pt x="15490" y="2945"/>
                  <a:pt x="15709" y="2726"/>
                  <a:pt x="15709" y="2455"/>
                </a:cubicBezTo>
                <a:cubicBezTo>
                  <a:pt x="15709" y="2319"/>
                  <a:pt x="15654" y="2196"/>
                  <a:pt x="15565" y="2107"/>
                </a:cubicBezTo>
                <a:lnTo>
                  <a:pt x="13602" y="144"/>
                </a:lnTo>
                <a:cubicBezTo>
                  <a:pt x="13513" y="55"/>
                  <a:pt x="13390" y="0"/>
                  <a:pt x="13255" y="0"/>
                </a:cubicBezTo>
                <a:cubicBezTo>
                  <a:pt x="13118" y="0"/>
                  <a:pt x="12996" y="55"/>
                  <a:pt x="12907" y="144"/>
                </a:cubicBezTo>
                <a:lnTo>
                  <a:pt x="10944" y="2107"/>
                </a:lnTo>
                <a:cubicBezTo>
                  <a:pt x="10855" y="2196"/>
                  <a:pt x="10800" y="2319"/>
                  <a:pt x="10800" y="2455"/>
                </a:cubicBezTo>
                <a:cubicBezTo>
                  <a:pt x="10800" y="2726"/>
                  <a:pt x="11020" y="2945"/>
                  <a:pt x="11291" y="29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0" name="Shape 2810"/>
          <p:cNvSpPr/>
          <p:nvPr/>
        </p:nvSpPr>
        <p:spPr>
          <a:xfrm>
            <a:off x="12455060" y="287848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5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9327" y="3240"/>
                </a:moveTo>
                <a:lnTo>
                  <a:pt x="15015" y="3240"/>
                </a:lnTo>
                <a:lnTo>
                  <a:pt x="13889" y="4478"/>
                </a:lnTo>
                <a:cubicBezTo>
                  <a:pt x="13801" y="4577"/>
                  <a:pt x="13745" y="4711"/>
                  <a:pt x="13745" y="4860"/>
                </a:cubicBezTo>
                <a:cubicBezTo>
                  <a:pt x="13745" y="5159"/>
                  <a:pt x="13966" y="5400"/>
                  <a:pt x="14236" y="5400"/>
                </a:cubicBezTo>
                <a:cubicBezTo>
                  <a:pt x="14373" y="5400"/>
                  <a:pt x="14495" y="5340"/>
                  <a:pt x="14583" y="5242"/>
                </a:cubicBezTo>
                <a:lnTo>
                  <a:pt x="16547" y="3082"/>
                </a:lnTo>
                <a:cubicBezTo>
                  <a:pt x="16636" y="2984"/>
                  <a:pt x="16691" y="2849"/>
                  <a:pt x="16691" y="2700"/>
                </a:cubicBezTo>
                <a:cubicBezTo>
                  <a:pt x="16691" y="2552"/>
                  <a:pt x="16636" y="2417"/>
                  <a:pt x="16547" y="2318"/>
                </a:cubicBezTo>
                <a:lnTo>
                  <a:pt x="14583" y="158"/>
                </a:lnTo>
                <a:cubicBezTo>
                  <a:pt x="14495" y="61"/>
                  <a:pt x="14373" y="0"/>
                  <a:pt x="14236" y="0"/>
                </a:cubicBezTo>
                <a:cubicBezTo>
                  <a:pt x="13966" y="0"/>
                  <a:pt x="13745" y="242"/>
                  <a:pt x="13745" y="540"/>
                </a:cubicBezTo>
                <a:cubicBezTo>
                  <a:pt x="13745" y="689"/>
                  <a:pt x="13801" y="824"/>
                  <a:pt x="13889" y="922"/>
                </a:cubicBezTo>
                <a:lnTo>
                  <a:pt x="15015" y="2160"/>
                </a:lnTo>
                <a:lnTo>
                  <a:pt x="9327" y="2160"/>
                </a:lnTo>
                <a:cubicBezTo>
                  <a:pt x="9056" y="2160"/>
                  <a:pt x="8836" y="2402"/>
                  <a:pt x="8836" y="2700"/>
                </a:cubicBezTo>
                <a:cubicBezTo>
                  <a:pt x="8836" y="2999"/>
                  <a:pt x="9056" y="3240"/>
                  <a:pt x="9327" y="324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1" name="Shape 2811"/>
          <p:cNvSpPr/>
          <p:nvPr/>
        </p:nvSpPr>
        <p:spPr>
          <a:xfrm>
            <a:off x="13521583" y="287848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944" y="5242"/>
                </a:moveTo>
                <a:cubicBezTo>
                  <a:pt x="11033" y="5340"/>
                  <a:pt x="11155" y="5400"/>
                  <a:pt x="11291" y="5400"/>
                </a:cubicBezTo>
                <a:cubicBezTo>
                  <a:pt x="11562" y="5400"/>
                  <a:pt x="11782" y="5159"/>
                  <a:pt x="11782" y="4860"/>
                </a:cubicBezTo>
                <a:cubicBezTo>
                  <a:pt x="11782" y="4711"/>
                  <a:pt x="11727" y="4577"/>
                  <a:pt x="11638" y="4478"/>
                </a:cubicBezTo>
                <a:lnTo>
                  <a:pt x="10512" y="3240"/>
                </a:lnTo>
                <a:lnTo>
                  <a:pt x="16200" y="3240"/>
                </a:lnTo>
                <a:cubicBezTo>
                  <a:pt x="16471" y="3240"/>
                  <a:pt x="16691" y="2999"/>
                  <a:pt x="16691" y="2700"/>
                </a:cubicBezTo>
                <a:cubicBezTo>
                  <a:pt x="16691" y="2402"/>
                  <a:pt x="16471" y="2160"/>
                  <a:pt x="16200" y="2160"/>
                </a:cubicBezTo>
                <a:lnTo>
                  <a:pt x="10512" y="2160"/>
                </a:lnTo>
                <a:lnTo>
                  <a:pt x="11638" y="922"/>
                </a:lnTo>
                <a:cubicBezTo>
                  <a:pt x="11727" y="824"/>
                  <a:pt x="11782" y="689"/>
                  <a:pt x="11782" y="540"/>
                </a:cubicBezTo>
                <a:cubicBezTo>
                  <a:pt x="11782" y="242"/>
                  <a:pt x="11562" y="0"/>
                  <a:pt x="11291" y="0"/>
                </a:cubicBezTo>
                <a:cubicBezTo>
                  <a:pt x="11155" y="0"/>
                  <a:pt x="11033" y="61"/>
                  <a:pt x="10944" y="158"/>
                </a:cubicBezTo>
                <a:lnTo>
                  <a:pt x="8980" y="2318"/>
                </a:lnTo>
                <a:cubicBezTo>
                  <a:pt x="8891" y="2417"/>
                  <a:pt x="8836" y="2552"/>
                  <a:pt x="8836" y="2700"/>
                </a:cubicBezTo>
                <a:cubicBezTo>
                  <a:pt x="8836" y="2849"/>
                  <a:pt x="8891" y="2984"/>
                  <a:pt x="8980" y="3082"/>
                </a:cubicBezTo>
                <a:cubicBezTo>
                  <a:pt x="8980" y="3082"/>
                  <a:pt x="10944" y="5242"/>
                  <a:pt x="10944" y="5242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2" name="Shape 2812"/>
          <p:cNvSpPr/>
          <p:nvPr/>
        </p:nvSpPr>
        <p:spPr>
          <a:xfrm>
            <a:off x="14588106" y="287848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5" y="18643"/>
                  <a:pt x="19341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800" y="3780"/>
                </a:moveTo>
                <a:lnTo>
                  <a:pt x="12764" y="3780"/>
                </a:lnTo>
                <a:lnTo>
                  <a:pt x="12764" y="5940"/>
                </a:lnTo>
                <a:cubicBezTo>
                  <a:pt x="12764" y="6239"/>
                  <a:pt x="12984" y="6480"/>
                  <a:pt x="13255" y="6480"/>
                </a:cubicBezTo>
                <a:cubicBezTo>
                  <a:pt x="13526" y="6480"/>
                  <a:pt x="13745" y="6239"/>
                  <a:pt x="13745" y="5940"/>
                </a:cubicBezTo>
                <a:lnTo>
                  <a:pt x="13745" y="3780"/>
                </a:lnTo>
                <a:lnTo>
                  <a:pt x="15709" y="3780"/>
                </a:lnTo>
                <a:cubicBezTo>
                  <a:pt x="15980" y="3780"/>
                  <a:pt x="16200" y="3539"/>
                  <a:pt x="16200" y="3240"/>
                </a:cubicBezTo>
                <a:cubicBezTo>
                  <a:pt x="16200" y="2942"/>
                  <a:pt x="15980" y="2700"/>
                  <a:pt x="15709" y="2700"/>
                </a:cubicBezTo>
                <a:lnTo>
                  <a:pt x="13745" y="2700"/>
                </a:lnTo>
                <a:lnTo>
                  <a:pt x="13745" y="540"/>
                </a:lnTo>
                <a:cubicBezTo>
                  <a:pt x="13745" y="242"/>
                  <a:pt x="13526" y="0"/>
                  <a:pt x="13255" y="0"/>
                </a:cubicBezTo>
                <a:cubicBezTo>
                  <a:pt x="12984" y="0"/>
                  <a:pt x="12764" y="242"/>
                  <a:pt x="12764" y="540"/>
                </a:cubicBezTo>
                <a:lnTo>
                  <a:pt x="12764" y="2700"/>
                </a:lnTo>
                <a:lnTo>
                  <a:pt x="10800" y="2700"/>
                </a:lnTo>
                <a:cubicBezTo>
                  <a:pt x="10529" y="2700"/>
                  <a:pt x="10309" y="2942"/>
                  <a:pt x="10309" y="3240"/>
                </a:cubicBezTo>
                <a:cubicBezTo>
                  <a:pt x="10309" y="3539"/>
                  <a:pt x="10529" y="3780"/>
                  <a:pt x="10800" y="378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3" name="Shape 2813"/>
          <p:cNvSpPr/>
          <p:nvPr/>
        </p:nvSpPr>
        <p:spPr>
          <a:xfrm>
            <a:off x="15654626" y="2916566"/>
            <a:ext cx="558654" cy="4443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2960"/>
                </a:moveTo>
                <a:lnTo>
                  <a:pt x="17294" y="10491"/>
                </a:lnTo>
                <a:lnTo>
                  <a:pt x="19843" y="10491"/>
                </a:lnTo>
                <a:lnTo>
                  <a:pt x="19407" y="12960"/>
                </a:lnTo>
                <a:cubicBezTo>
                  <a:pt x="19407" y="12960"/>
                  <a:pt x="17076" y="12960"/>
                  <a:pt x="17076" y="12960"/>
                </a:cubicBezTo>
                <a:close/>
                <a:moveTo>
                  <a:pt x="18752" y="16663"/>
                </a:moveTo>
                <a:lnTo>
                  <a:pt x="16748" y="16663"/>
                </a:lnTo>
                <a:lnTo>
                  <a:pt x="16967" y="14194"/>
                </a:lnTo>
                <a:lnTo>
                  <a:pt x="19188" y="14194"/>
                </a:lnTo>
                <a:cubicBezTo>
                  <a:pt x="19188" y="14194"/>
                  <a:pt x="18752" y="16663"/>
                  <a:pt x="18752" y="16663"/>
                </a:cubicBezTo>
                <a:close/>
                <a:moveTo>
                  <a:pt x="17673" y="20366"/>
                </a:moveTo>
                <a:cubicBezTo>
                  <a:pt x="17131" y="20366"/>
                  <a:pt x="16691" y="19813"/>
                  <a:pt x="16691" y="19131"/>
                </a:cubicBezTo>
                <a:cubicBezTo>
                  <a:pt x="16691" y="18450"/>
                  <a:pt x="17131" y="17897"/>
                  <a:pt x="17673" y="17897"/>
                </a:cubicBezTo>
                <a:cubicBezTo>
                  <a:pt x="18215" y="17897"/>
                  <a:pt x="18655" y="18450"/>
                  <a:pt x="18655" y="19131"/>
                </a:cubicBezTo>
                <a:cubicBezTo>
                  <a:pt x="18655" y="19813"/>
                  <a:pt x="18215" y="20366"/>
                  <a:pt x="17673" y="20366"/>
                </a:cubicBezTo>
                <a:moveTo>
                  <a:pt x="16415" y="9257"/>
                </a:moveTo>
                <a:lnTo>
                  <a:pt x="13745" y="9257"/>
                </a:lnTo>
                <a:lnTo>
                  <a:pt x="13745" y="6789"/>
                </a:lnTo>
                <a:lnTo>
                  <a:pt x="16634" y="6789"/>
                </a:lnTo>
                <a:cubicBezTo>
                  <a:pt x="16634" y="6789"/>
                  <a:pt x="16415" y="9257"/>
                  <a:pt x="16415" y="9257"/>
                </a:cubicBezTo>
                <a:close/>
                <a:moveTo>
                  <a:pt x="16088" y="12960"/>
                </a:moveTo>
                <a:lnTo>
                  <a:pt x="13745" y="12960"/>
                </a:lnTo>
                <a:lnTo>
                  <a:pt x="13745" y="10491"/>
                </a:lnTo>
                <a:lnTo>
                  <a:pt x="16307" y="10491"/>
                </a:lnTo>
                <a:cubicBezTo>
                  <a:pt x="16307" y="10491"/>
                  <a:pt x="16088" y="12960"/>
                  <a:pt x="16088" y="12960"/>
                </a:cubicBezTo>
                <a:close/>
                <a:moveTo>
                  <a:pt x="15761" y="16663"/>
                </a:moveTo>
                <a:lnTo>
                  <a:pt x="13745" y="16663"/>
                </a:lnTo>
                <a:lnTo>
                  <a:pt x="13745" y="14194"/>
                </a:lnTo>
                <a:lnTo>
                  <a:pt x="15979" y="14194"/>
                </a:lnTo>
                <a:cubicBezTo>
                  <a:pt x="15979" y="14194"/>
                  <a:pt x="15761" y="16663"/>
                  <a:pt x="15761" y="16663"/>
                </a:cubicBezTo>
                <a:close/>
                <a:moveTo>
                  <a:pt x="12764" y="9257"/>
                </a:moveTo>
                <a:lnTo>
                  <a:pt x="10094" y="9257"/>
                </a:lnTo>
                <a:lnTo>
                  <a:pt x="9876" y="6789"/>
                </a:lnTo>
                <a:lnTo>
                  <a:pt x="12764" y="6789"/>
                </a:lnTo>
                <a:cubicBezTo>
                  <a:pt x="12764" y="6789"/>
                  <a:pt x="12764" y="9257"/>
                  <a:pt x="12764" y="9257"/>
                </a:cubicBezTo>
                <a:close/>
                <a:moveTo>
                  <a:pt x="12764" y="12960"/>
                </a:moveTo>
                <a:lnTo>
                  <a:pt x="10422" y="12960"/>
                </a:lnTo>
                <a:lnTo>
                  <a:pt x="10203" y="10491"/>
                </a:lnTo>
                <a:lnTo>
                  <a:pt x="12764" y="10491"/>
                </a:lnTo>
                <a:cubicBezTo>
                  <a:pt x="12764" y="10491"/>
                  <a:pt x="12764" y="12960"/>
                  <a:pt x="12764" y="12960"/>
                </a:cubicBezTo>
                <a:close/>
                <a:moveTo>
                  <a:pt x="12764" y="16663"/>
                </a:moveTo>
                <a:lnTo>
                  <a:pt x="10748" y="16663"/>
                </a:lnTo>
                <a:lnTo>
                  <a:pt x="10531" y="14194"/>
                </a:lnTo>
                <a:lnTo>
                  <a:pt x="12764" y="14194"/>
                </a:lnTo>
                <a:cubicBezTo>
                  <a:pt x="12764" y="14194"/>
                  <a:pt x="12764" y="16663"/>
                  <a:pt x="12764" y="16663"/>
                </a:cubicBezTo>
                <a:close/>
                <a:moveTo>
                  <a:pt x="8836" y="20366"/>
                </a:moveTo>
                <a:cubicBezTo>
                  <a:pt x="8294" y="20366"/>
                  <a:pt x="7855" y="19813"/>
                  <a:pt x="7855" y="19131"/>
                </a:cubicBezTo>
                <a:cubicBezTo>
                  <a:pt x="7855" y="18450"/>
                  <a:pt x="8294" y="17897"/>
                  <a:pt x="8836" y="17897"/>
                </a:cubicBezTo>
                <a:cubicBezTo>
                  <a:pt x="9379" y="17897"/>
                  <a:pt x="9818" y="18450"/>
                  <a:pt x="9818" y="19131"/>
                </a:cubicBezTo>
                <a:cubicBezTo>
                  <a:pt x="9818" y="19813"/>
                  <a:pt x="9379" y="20366"/>
                  <a:pt x="8836" y="20366"/>
                </a:cubicBezTo>
                <a:moveTo>
                  <a:pt x="7214" y="14194"/>
                </a:moveTo>
                <a:lnTo>
                  <a:pt x="9543" y="14194"/>
                </a:lnTo>
                <a:lnTo>
                  <a:pt x="9761" y="16663"/>
                </a:lnTo>
                <a:lnTo>
                  <a:pt x="7740" y="16663"/>
                </a:lnTo>
                <a:cubicBezTo>
                  <a:pt x="7740" y="16663"/>
                  <a:pt x="7214" y="14194"/>
                  <a:pt x="7214" y="14194"/>
                </a:cubicBezTo>
                <a:close/>
                <a:moveTo>
                  <a:pt x="6950" y="12960"/>
                </a:moveTo>
                <a:lnTo>
                  <a:pt x="6424" y="10491"/>
                </a:lnTo>
                <a:lnTo>
                  <a:pt x="9215" y="10491"/>
                </a:lnTo>
                <a:lnTo>
                  <a:pt x="9434" y="12960"/>
                </a:lnTo>
                <a:cubicBezTo>
                  <a:pt x="9434" y="12960"/>
                  <a:pt x="6950" y="12960"/>
                  <a:pt x="6950" y="12960"/>
                </a:cubicBezTo>
                <a:close/>
                <a:moveTo>
                  <a:pt x="5633" y="6789"/>
                </a:moveTo>
                <a:lnTo>
                  <a:pt x="8888" y="6789"/>
                </a:lnTo>
                <a:lnTo>
                  <a:pt x="9107" y="9257"/>
                </a:lnTo>
                <a:lnTo>
                  <a:pt x="6160" y="9257"/>
                </a:lnTo>
                <a:cubicBezTo>
                  <a:pt x="6160" y="9257"/>
                  <a:pt x="5633" y="6789"/>
                  <a:pt x="5633" y="6789"/>
                </a:cubicBezTo>
                <a:close/>
                <a:moveTo>
                  <a:pt x="17621" y="6789"/>
                </a:moveTo>
                <a:lnTo>
                  <a:pt x="20498" y="6789"/>
                </a:lnTo>
                <a:lnTo>
                  <a:pt x="20061" y="9257"/>
                </a:lnTo>
                <a:lnTo>
                  <a:pt x="17403" y="9257"/>
                </a:lnTo>
                <a:cubicBezTo>
                  <a:pt x="17403" y="9257"/>
                  <a:pt x="17621" y="6789"/>
                  <a:pt x="17621" y="6789"/>
                </a:cubicBezTo>
                <a:close/>
                <a:moveTo>
                  <a:pt x="19619" y="17429"/>
                </a:moveTo>
                <a:lnTo>
                  <a:pt x="19622" y="17429"/>
                </a:lnTo>
                <a:lnTo>
                  <a:pt x="21585" y="6321"/>
                </a:lnTo>
                <a:lnTo>
                  <a:pt x="21577" y="6318"/>
                </a:lnTo>
                <a:cubicBezTo>
                  <a:pt x="21586" y="6270"/>
                  <a:pt x="21600" y="6224"/>
                  <a:pt x="21600" y="6171"/>
                </a:cubicBezTo>
                <a:cubicBezTo>
                  <a:pt x="21600" y="5830"/>
                  <a:pt x="21380" y="5554"/>
                  <a:pt x="21109" y="5554"/>
                </a:cubicBezTo>
                <a:lnTo>
                  <a:pt x="5370" y="5554"/>
                </a:lnTo>
                <a:lnTo>
                  <a:pt x="4674" y="2291"/>
                </a:lnTo>
                <a:lnTo>
                  <a:pt x="4667" y="2294"/>
                </a:lnTo>
                <a:cubicBezTo>
                  <a:pt x="4606" y="2040"/>
                  <a:pt x="4426" y="1851"/>
                  <a:pt x="4204" y="1851"/>
                </a:cubicBezTo>
                <a:lnTo>
                  <a:pt x="491" y="1851"/>
                </a:lnTo>
                <a:cubicBezTo>
                  <a:pt x="220" y="1851"/>
                  <a:pt x="0" y="2127"/>
                  <a:pt x="0" y="2469"/>
                </a:cubicBezTo>
                <a:cubicBezTo>
                  <a:pt x="0" y="2810"/>
                  <a:pt x="220" y="3086"/>
                  <a:pt x="491" y="3086"/>
                </a:cubicBezTo>
                <a:lnTo>
                  <a:pt x="3827" y="3086"/>
                </a:lnTo>
                <a:lnTo>
                  <a:pt x="6893" y="17457"/>
                </a:lnTo>
                <a:lnTo>
                  <a:pt x="6894" y="17457"/>
                </a:lnTo>
                <a:cubicBezTo>
                  <a:pt x="6936" y="17631"/>
                  <a:pt x="7037" y="17772"/>
                  <a:pt x="7168" y="17845"/>
                </a:cubicBezTo>
                <a:cubicBezTo>
                  <a:pt x="6984" y="18220"/>
                  <a:pt x="6873" y="18658"/>
                  <a:pt x="6873" y="19131"/>
                </a:cubicBezTo>
                <a:cubicBezTo>
                  <a:pt x="6873" y="20495"/>
                  <a:pt x="7752" y="21600"/>
                  <a:pt x="8836" y="21600"/>
                </a:cubicBezTo>
                <a:cubicBezTo>
                  <a:pt x="9921" y="21600"/>
                  <a:pt x="10800" y="20495"/>
                  <a:pt x="10800" y="19131"/>
                </a:cubicBezTo>
                <a:cubicBezTo>
                  <a:pt x="10800" y="18680"/>
                  <a:pt x="10696" y="18262"/>
                  <a:pt x="10528" y="17897"/>
                </a:cubicBezTo>
                <a:lnTo>
                  <a:pt x="15982" y="17897"/>
                </a:lnTo>
                <a:cubicBezTo>
                  <a:pt x="15813" y="18262"/>
                  <a:pt x="15709" y="18680"/>
                  <a:pt x="15709" y="19131"/>
                </a:cubicBezTo>
                <a:cubicBezTo>
                  <a:pt x="15709" y="20495"/>
                  <a:pt x="16588" y="21600"/>
                  <a:pt x="17673" y="21600"/>
                </a:cubicBezTo>
                <a:cubicBezTo>
                  <a:pt x="18757" y="21600"/>
                  <a:pt x="19636" y="20495"/>
                  <a:pt x="19636" y="19131"/>
                </a:cubicBezTo>
                <a:cubicBezTo>
                  <a:pt x="19636" y="18658"/>
                  <a:pt x="19525" y="18220"/>
                  <a:pt x="19341" y="17845"/>
                </a:cubicBezTo>
                <a:cubicBezTo>
                  <a:pt x="19479" y="17769"/>
                  <a:pt x="19581" y="17615"/>
                  <a:pt x="19619" y="17429"/>
                </a:cubicBezTo>
                <a:moveTo>
                  <a:pt x="10800" y="1234"/>
                </a:moveTo>
                <a:lnTo>
                  <a:pt x="15709" y="1234"/>
                </a:lnTo>
                <a:cubicBezTo>
                  <a:pt x="15980" y="1234"/>
                  <a:pt x="16200" y="959"/>
                  <a:pt x="16200" y="617"/>
                </a:cubicBezTo>
                <a:cubicBezTo>
                  <a:pt x="16200" y="276"/>
                  <a:pt x="15980" y="0"/>
                  <a:pt x="15709" y="0"/>
                </a:cubicBezTo>
                <a:lnTo>
                  <a:pt x="10800" y="0"/>
                </a:lnTo>
                <a:cubicBezTo>
                  <a:pt x="10529" y="0"/>
                  <a:pt x="10309" y="276"/>
                  <a:pt x="10309" y="617"/>
                </a:cubicBezTo>
                <a:cubicBezTo>
                  <a:pt x="10309" y="959"/>
                  <a:pt x="10529" y="1234"/>
                  <a:pt x="10800" y="123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4" name="Shape 2814"/>
          <p:cNvSpPr/>
          <p:nvPr/>
        </p:nvSpPr>
        <p:spPr>
          <a:xfrm>
            <a:off x="16771937" y="2853085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0800"/>
                </a:moveTo>
                <a:lnTo>
                  <a:pt x="13200" y="10800"/>
                </a:lnTo>
                <a:lnTo>
                  <a:pt x="13200" y="11782"/>
                </a:lnTo>
                <a:lnTo>
                  <a:pt x="14400" y="11782"/>
                </a:lnTo>
                <a:cubicBezTo>
                  <a:pt x="14400" y="11782"/>
                  <a:pt x="14400" y="10800"/>
                  <a:pt x="14400" y="10800"/>
                </a:cubicBezTo>
                <a:close/>
                <a:moveTo>
                  <a:pt x="15600" y="11782"/>
                </a:moveTo>
                <a:lnTo>
                  <a:pt x="16800" y="11782"/>
                </a:lnTo>
                <a:lnTo>
                  <a:pt x="16800" y="10800"/>
                </a:lnTo>
                <a:lnTo>
                  <a:pt x="15600" y="10800"/>
                </a:lnTo>
                <a:cubicBezTo>
                  <a:pt x="15600" y="10800"/>
                  <a:pt x="15600" y="11782"/>
                  <a:pt x="15600" y="11782"/>
                </a:cubicBezTo>
                <a:close/>
                <a:moveTo>
                  <a:pt x="15600" y="15709"/>
                </a:moveTo>
                <a:lnTo>
                  <a:pt x="19200" y="15709"/>
                </a:lnTo>
                <a:lnTo>
                  <a:pt x="19200" y="14727"/>
                </a:lnTo>
                <a:lnTo>
                  <a:pt x="15600" y="14727"/>
                </a:lnTo>
                <a:cubicBezTo>
                  <a:pt x="15600" y="14727"/>
                  <a:pt x="15600" y="15709"/>
                  <a:pt x="15600" y="15709"/>
                </a:cubicBezTo>
                <a:close/>
                <a:moveTo>
                  <a:pt x="14400" y="8836"/>
                </a:moveTo>
                <a:lnTo>
                  <a:pt x="13200" y="8836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8836"/>
                  <a:pt x="14400" y="8836"/>
                </a:cubicBezTo>
                <a:close/>
                <a:moveTo>
                  <a:pt x="16800" y="8836"/>
                </a:moveTo>
                <a:lnTo>
                  <a:pt x="15600" y="8836"/>
                </a:lnTo>
                <a:lnTo>
                  <a:pt x="15600" y="9818"/>
                </a:lnTo>
                <a:lnTo>
                  <a:pt x="16800" y="9818"/>
                </a:lnTo>
                <a:cubicBezTo>
                  <a:pt x="16800" y="9818"/>
                  <a:pt x="16800" y="8836"/>
                  <a:pt x="16800" y="8836"/>
                </a:cubicBezTo>
                <a:close/>
                <a:moveTo>
                  <a:pt x="19200" y="6873"/>
                </a:moveTo>
                <a:lnTo>
                  <a:pt x="13200" y="6873"/>
                </a:lnTo>
                <a:lnTo>
                  <a:pt x="13200" y="7855"/>
                </a:lnTo>
                <a:lnTo>
                  <a:pt x="19200" y="7855"/>
                </a:lnTo>
                <a:cubicBezTo>
                  <a:pt x="19200" y="7855"/>
                  <a:pt x="19200" y="6873"/>
                  <a:pt x="19200" y="6873"/>
                </a:cubicBezTo>
                <a:close/>
                <a:moveTo>
                  <a:pt x="18000" y="9818"/>
                </a:moveTo>
                <a:lnTo>
                  <a:pt x="19200" y="9818"/>
                </a:lnTo>
                <a:lnTo>
                  <a:pt x="19200" y="8836"/>
                </a:lnTo>
                <a:lnTo>
                  <a:pt x="18000" y="8836"/>
                </a:lnTo>
                <a:cubicBezTo>
                  <a:pt x="18000" y="8836"/>
                  <a:pt x="18000" y="9818"/>
                  <a:pt x="18000" y="9818"/>
                </a:cubicBezTo>
                <a:close/>
                <a:moveTo>
                  <a:pt x="18000" y="11782"/>
                </a:moveTo>
                <a:lnTo>
                  <a:pt x="19200" y="11782"/>
                </a:lnTo>
                <a:lnTo>
                  <a:pt x="19200" y="10800"/>
                </a:lnTo>
                <a:lnTo>
                  <a:pt x="18000" y="10800"/>
                </a:lnTo>
                <a:cubicBezTo>
                  <a:pt x="18000" y="10800"/>
                  <a:pt x="18000" y="11782"/>
                  <a:pt x="18000" y="11782"/>
                </a:cubicBezTo>
                <a:close/>
                <a:moveTo>
                  <a:pt x="15600" y="13745"/>
                </a:moveTo>
                <a:lnTo>
                  <a:pt x="16800" y="13745"/>
                </a:lnTo>
                <a:lnTo>
                  <a:pt x="16800" y="12764"/>
                </a:lnTo>
                <a:lnTo>
                  <a:pt x="15600" y="12764"/>
                </a:lnTo>
                <a:cubicBezTo>
                  <a:pt x="15600" y="12764"/>
                  <a:pt x="15600" y="13745"/>
                  <a:pt x="15600" y="13745"/>
                </a:cubicBezTo>
                <a:close/>
                <a:moveTo>
                  <a:pt x="18000" y="13745"/>
                </a:moveTo>
                <a:lnTo>
                  <a:pt x="19200" y="13745"/>
                </a:lnTo>
                <a:lnTo>
                  <a:pt x="19200" y="12764"/>
                </a:lnTo>
                <a:lnTo>
                  <a:pt x="18000" y="12764"/>
                </a:lnTo>
                <a:cubicBezTo>
                  <a:pt x="18000" y="12764"/>
                  <a:pt x="18000" y="13745"/>
                  <a:pt x="18000" y="13745"/>
                </a:cubicBezTo>
                <a:close/>
                <a:moveTo>
                  <a:pt x="20400" y="16691"/>
                </a:moveTo>
                <a:lnTo>
                  <a:pt x="1200" y="16691"/>
                </a:lnTo>
                <a:lnTo>
                  <a:pt x="1200" y="5891"/>
                </a:lnTo>
                <a:lnTo>
                  <a:pt x="20400" y="5891"/>
                </a:lnTo>
                <a:cubicBezTo>
                  <a:pt x="20400" y="5891"/>
                  <a:pt x="20400" y="16691"/>
                  <a:pt x="20400" y="166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17673"/>
                </a:lnTo>
                <a:lnTo>
                  <a:pt x="20400" y="17673"/>
                </a:lnTo>
                <a:cubicBezTo>
                  <a:pt x="20400" y="17673"/>
                  <a:pt x="20400" y="20618"/>
                  <a:pt x="20400" y="20618"/>
                </a:cubicBezTo>
                <a:close/>
                <a:moveTo>
                  <a:pt x="15000" y="4909"/>
                </a:moveTo>
                <a:lnTo>
                  <a:pt x="13800" y="4909"/>
                </a:lnTo>
                <a:lnTo>
                  <a:pt x="13800" y="2945"/>
                </a:lnTo>
                <a:lnTo>
                  <a:pt x="15000" y="2945"/>
                </a:lnTo>
                <a:cubicBezTo>
                  <a:pt x="15000" y="2945"/>
                  <a:pt x="15000" y="4909"/>
                  <a:pt x="15000" y="4909"/>
                </a:cubicBezTo>
                <a:close/>
                <a:moveTo>
                  <a:pt x="132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13200" y="1964"/>
                </a:lnTo>
                <a:cubicBezTo>
                  <a:pt x="13200" y="1964"/>
                  <a:pt x="13200" y="982"/>
                  <a:pt x="13200" y="982"/>
                </a:cubicBezTo>
                <a:close/>
                <a:moveTo>
                  <a:pt x="12000" y="1964"/>
                </a:moveTo>
                <a:lnTo>
                  <a:pt x="10800" y="1964"/>
                </a:lnTo>
                <a:lnTo>
                  <a:pt x="10800" y="982"/>
                </a:lnTo>
                <a:lnTo>
                  <a:pt x="12000" y="982"/>
                </a:lnTo>
                <a:cubicBezTo>
                  <a:pt x="12000" y="982"/>
                  <a:pt x="12000" y="1964"/>
                  <a:pt x="12000" y="1964"/>
                </a:cubicBezTo>
                <a:close/>
                <a:moveTo>
                  <a:pt x="20400" y="4909"/>
                </a:moveTo>
                <a:lnTo>
                  <a:pt x="16200" y="4909"/>
                </a:lnTo>
                <a:lnTo>
                  <a:pt x="16200" y="2945"/>
                </a:lnTo>
                <a:lnTo>
                  <a:pt x="18000" y="2945"/>
                </a:lnTo>
                <a:cubicBezTo>
                  <a:pt x="18662" y="2945"/>
                  <a:pt x="19200" y="2506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10800" y="0"/>
                </a:lnTo>
                <a:cubicBezTo>
                  <a:pt x="10138" y="0"/>
                  <a:pt x="9600" y="440"/>
                  <a:pt x="9600" y="982"/>
                </a:cubicBezTo>
                <a:lnTo>
                  <a:pt x="9600" y="1964"/>
                </a:lnTo>
                <a:cubicBezTo>
                  <a:pt x="9600" y="2506"/>
                  <a:pt x="10138" y="2945"/>
                  <a:pt x="10800" y="2945"/>
                </a:cubicBezTo>
                <a:lnTo>
                  <a:pt x="12600" y="2945"/>
                </a:lnTo>
                <a:lnTo>
                  <a:pt x="12600" y="4909"/>
                </a:lnTo>
                <a:lnTo>
                  <a:pt x="1200" y="4909"/>
                </a:lnTo>
                <a:cubicBezTo>
                  <a:pt x="538" y="4909"/>
                  <a:pt x="0" y="5349"/>
                  <a:pt x="0" y="5891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5891"/>
                </a:lnTo>
                <a:cubicBezTo>
                  <a:pt x="21600" y="5349"/>
                  <a:pt x="21062" y="4909"/>
                  <a:pt x="20400" y="4909"/>
                </a:cubicBezTo>
                <a:moveTo>
                  <a:pt x="3600" y="14727"/>
                </a:moveTo>
                <a:lnTo>
                  <a:pt x="2400" y="14727"/>
                </a:lnTo>
                <a:lnTo>
                  <a:pt x="2400" y="15709"/>
                </a:lnTo>
                <a:lnTo>
                  <a:pt x="3600" y="15709"/>
                </a:lnTo>
                <a:cubicBezTo>
                  <a:pt x="3600" y="15709"/>
                  <a:pt x="3600" y="14727"/>
                  <a:pt x="3600" y="14727"/>
                </a:cubicBezTo>
                <a:close/>
                <a:moveTo>
                  <a:pt x="4800" y="15709"/>
                </a:moveTo>
                <a:lnTo>
                  <a:pt x="6000" y="15709"/>
                </a:lnTo>
                <a:lnTo>
                  <a:pt x="6000" y="14727"/>
                </a:lnTo>
                <a:lnTo>
                  <a:pt x="4800" y="14727"/>
                </a:lnTo>
                <a:cubicBezTo>
                  <a:pt x="4800" y="14727"/>
                  <a:pt x="4800" y="15709"/>
                  <a:pt x="4800" y="15709"/>
                </a:cubicBezTo>
                <a:close/>
                <a:moveTo>
                  <a:pt x="9000" y="19636"/>
                </a:moveTo>
                <a:lnTo>
                  <a:pt x="12600" y="19636"/>
                </a:lnTo>
                <a:cubicBezTo>
                  <a:pt x="12931" y="19636"/>
                  <a:pt x="13200" y="19417"/>
                  <a:pt x="13200" y="19145"/>
                </a:cubicBezTo>
                <a:cubicBezTo>
                  <a:pt x="13200" y="18875"/>
                  <a:pt x="12931" y="18655"/>
                  <a:pt x="12600" y="18655"/>
                </a:cubicBezTo>
                <a:lnTo>
                  <a:pt x="9000" y="18655"/>
                </a:lnTo>
                <a:cubicBezTo>
                  <a:pt x="8669" y="18655"/>
                  <a:pt x="8400" y="18875"/>
                  <a:pt x="8400" y="19145"/>
                </a:cubicBezTo>
                <a:cubicBezTo>
                  <a:pt x="8400" y="19417"/>
                  <a:pt x="8669" y="19636"/>
                  <a:pt x="9000" y="19636"/>
                </a:cubicBezTo>
                <a:moveTo>
                  <a:pt x="7200" y="15709"/>
                </a:moveTo>
                <a:lnTo>
                  <a:pt x="8400" y="15709"/>
                </a:lnTo>
                <a:lnTo>
                  <a:pt x="8400" y="14727"/>
                </a:lnTo>
                <a:lnTo>
                  <a:pt x="7200" y="14727"/>
                </a:lnTo>
                <a:cubicBezTo>
                  <a:pt x="7200" y="14727"/>
                  <a:pt x="7200" y="15709"/>
                  <a:pt x="7200" y="15709"/>
                </a:cubicBezTo>
                <a:close/>
                <a:moveTo>
                  <a:pt x="14400" y="12764"/>
                </a:moveTo>
                <a:lnTo>
                  <a:pt x="13200" y="12764"/>
                </a:lnTo>
                <a:lnTo>
                  <a:pt x="13200" y="13745"/>
                </a:lnTo>
                <a:lnTo>
                  <a:pt x="14400" y="13745"/>
                </a:lnTo>
                <a:cubicBezTo>
                  <a:pt x="14400" y="13745"/>
                  <a:pt x="14400" y="12764"/>
                  <a:pt x="14400" y="12764"/>
                </a:cubicBezTo>
                <a:close/>
                <a:moveTo>
                  <a:pt x="10800" y="12764"/>
                </a:moveTo>
                <a:lnTo>
                  <a:pt x="3600" y="12764"/>
                </a:lnTo>
                <a:lnTo>
                  <a:pt x="3600" y="7855"/>
                </a:lnTo>
                <a:lnTo>
                  <a:pt x="10800" y="7855"/>
                </a:lnTo>
                <a:cubicBezTo>
                  <a:pt x="10800" y="7855"/>
                  <a:pt x="10800" y="12764"/>
                  <a:pt x="10800" y="12764"/>
                </a:cubicBezTo>
                <a:close/>
                <a:moveTo>
                  <a:pt x="12000" y="6873"/>
                </a:moveTo>
                <a:lnTo>
                  <a:pt x="2400" y="6873"/>
                </a:lnTo>
                <a:lnTo>
                  <a:pt x="2400" y="13745"/>
                </a:lnTo>
                <a:lnTo>
                  <a:pt x="12000" y="13745"/>
                </a:lnTo>
                <a:cubicBezTo>
                  <a:pt x="12000" y="13745"/>
                  <a:pt x="12000" y="6873"/>
                  <a:pt x="12000" y="6873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5" name="Shape 2815"/>
          <p:cNvSpPr/>
          <p:nvPr/>
        </p:nvSpPr>
        <p:spPr>
          <a:xfrm>
            <a:off x="17813066" y="2853085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7" y="20618"/>
                </a:moveTo>
                <a:lnTo>
                  <a:pt x="1300" y="19636"/>
                </a:lnTo>
                <a:lnTo>
                  <a:pt x="20300" y="19636"/>
                </a:lnTo>
                <a:lnTo>
                  <a:pt x="20443" y="20618"/>
                </a:lnTo>
                <a:cubicBezTo>
                  <a:pt x="20443" y="20618"/>
                  <a:pt x="1157" y="20618"/>
                  <a:pt x="1157" y="20618"/>
                </a:cubicBezTo>
                <a:close/>
                <a:moveTo>
                  <a:pt x="3172" y="6873"/>
                </a:moveTo>
                <a:lnTo>
                  <a:pt x="6480" y="6873"/>
                </a:lnTo>
                <a:lnTo>
                  <a:pt x="6480" y="8973"/>
                </a:lnTo>
                <a:cubicBezTo>
                  <a:pt x="6158" y="9143"/>
                  <a:pt x="5940" y="9456"/>
                  <a:pt x="5940" y="9818"/>
                </a:cubicBezTo>
                <a:cubicBezTo>
                  <a:pt x="5940" y="10360"/>
                  <a:pt x="6424" y="10800"/>
                  <a:pt x="7020" y="10800"/>
                </a:cubicBezTo>
                <a:cubicBezTo>
                  <a:pt x="7616" y="10800"/>
                  <a:pt x="8100" y="10360"/>
                  <a:pt x="8100" y="9818"/>
                </a:cubicBezTo>
                <a:cubicBezTo>
                  <a:pt x="8100" y="9456"/>
                  <a:pt x="7882" y="9143"/>
                  <a:pt x="7560" y="8973"/>
                </a:cubicBezTo>
                <a:lnTo>
                  <a:pt x="7560" y="6873"/>
                </a:lnTo>
                <a:lnTo>
                  <a:pt x="14040" y="6873"/>
                </a:lnTo>
                <a:lnTo>
                  <a:pt x="14040" y="8973"/>
                </a:lnTo>
                <a:cubicBezTo>
                  <a:pt x="13718" y="9143"/>
                  <a:pt x="13500" y="9456"/>
                  <a:pt x="13500" y="9818"/>
                </a:cubicBezTo>
                <a:cubicBezTo>
                  <a:pt x="13500" y="10360"/>
                  <a:pt x="13984" y="10800"/>
                  <a:pt x="14580" y="10800"/>
                </a:cubicBezTo>
                <a:cubicBezTo>
                  <a:pt x="15176" y="10800"/>
                  <a:pt x="15660" y="10360"/>
                  <a:pt x="15660" y="9818"/>
                </a:cubicBezTo>
                <a:cubicBezTo>
                  <a:pt x="15660" y="9456"/>
                  <a:pt x="15442" y="9143"/>
                  <a:pt x="15120" y="8973"/>
                </a:cubicBezTo>
                <a:lnTo>
                  <a:pt x="15120" y="6873"/>
                </a:lnTo>
                <a:lnTo>
                  <a:pt x="18428" y="6873"/>
                </a:lnTo>
                <a:lnTo>
                  <a:pt x="20155" y="18655"/>
                </a:lnTo>
                <a:lnTo>
                  <a:pt x="1445" y="18655"/>
                </a:lnTo>
                <a:cubicBezTo>
                  <a:pt x="1445" y="18655"/>
                  <a:pt x="3172" y="6873"/>
                  <a:pt x="3172" y="6873"/>
                </a:cubicBezTo>
                <a:close/>
                <a:moveTo>
                  <a:pt x="7560" y="3927"/>
                </a:moveTo>
                <a:cubicBezTo>
                  <a:pt x="7560" y="2301"/>
                  <a:pt x="9011" y="982"/>
                  <a:pt x="10800" y="982"/>
                </a:cubicBezTo>
                <a:cubicBezTo>
                  <a:pt x="12590" y="982"/>
                  <a:pt x="14040" y="2301"/>
                  <a:pt x="14040" y="3927"/>
                </a:cubicBezTo>
                <a:lnTo>
                  <a:pt x="14040" y="5891"/>
                </a:lnTo>
                <a:lnTo>
                  <a:pt x="7560" y="5891"/>
                </a:lnTo>
                <a:cubicBezTo>
                  <a:pt x="7560" y="5891"/>
                  <a:pt x="7560" y="3927"/>
                  <a:pt x="7560" y="3927"/>
                </a:cubicBezTo>
                <a:close/>
                <a:moveTo>
                  <a:pt x="21586" y="21045"/>
                </a:moveTo>
                <a:lnTo>
                  <a:pt x="21595" y="21044"/>
                </a:lnTo>
                <a:lnTo>
                  <a:pt x="19435" y="6317"/>
                </a:lnTo>
                <a:lnTo>
                  <a:pt x="19426" y="6318"/>
                </a:lnTo>
                <a:cubicBezTo>
                  <a:pt x="19390" y="6079"/>
                  <a:pt x="19173" y="5891"/>
                  <a:pt x="18900" y="5891"/>
                </a:cubicBezTo>
                <a:lnTo>
                  <a:pt x="15120" y="5891"/>
                </a:lnTo>
                <a:lnTo>
                  <a:pt x="15120" y="3927"/>
                </a:lnTo>
                <a:cubicBezTo>
                  <a:pt x="15120" y="1758"/>
                  <a:pt x="13186" y="0"/>
                  <a:pt x="10800" y="0"/>
                </a:cubicBezTo>
                <a:cubicBezTo>
                  <a:pt x="8414" y="0"/>
                  <a:pt x="6480" y="1758"/>
                  <a:pt x="6480" y="3927"/>
                </a:cubicBezTo>
                <a:lnTo>
                  <a:pt x="6480" y="5891"/>
                </a:lnTo>
                <a:lnTo>
                  <a:pt x="2700" y="5891"/>
                </a:lnTo>
                <a:cubicBezTo>
                  <a:pt x="2427" y="5891"/>
                  <a:pt x="2210" y="6079"/>
                  <a:pt x="2174" y="6318"/>
                </a:cubicBezTo>
                <a:lnTo>
                  <a:pt x="2165" y="6317"/>
                </a:lnTo>
                <a:lnTo>
                  <a:pt x="5" y="21044"/>
                </a:lnTo>
                <a:lnTo>
                  <a:pt x="14" y="21045"/>
                </a:lnTo>
                <a:cubicBezTo>
                  <a:pt x="11" y="21067"/>
                  <a:pt x="0" y="21087"/>
                  <a:pt x="0" y="21109"/>
                </a:cubicBezTo>
                <a:cubicBezTo>
                  <a:pt x="0" y="21381"/>
                  <a:pt x="242" y="21600"/>
                  <a:pt x="540" y="21600"/>
                </a:cubicBezTo>
                <a:lnTo>
                  <a:pt x="21060" y="21600"/>
                </a:lnTo>
                <a:cubicBezTo>
                  <a:pt x="21358" y="21600"/>
                  <a:pt x="21600" y="21381"/>
                  <a:pt x="21600" y="21109"/>
                </a:cubicBezTo>
                <a:cubicBezTo>
                  <a:pt x="21600" y="21087"/>
                  <a:pt x="21589" y="21067"/>
                  <a:pt x="21586" y="2104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6" name="Shape 2816"/>
          <p:cNvSpPr/>
          <p:nvPr/>
        </p:nvSpPr>
        <p:spPr>
          <a:xfrm>
            <a:off x="18841498" y="285308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87" y="18100"/>
                </a:moveTo>
                <a:lnTo>
                  <a:pt x="21596" y="18099"/>
                </a:lnTo>
                <a:lnTo>
                  <a:pt x="20614" y="5335"/>
                </a:lnTo>
                <a:lnTo>
                  <a:pt x="20605" y="5337"/>
                </a:lnTo>
                <a:cubicBezTo>
                  <a:pt x="20573" y="5097"/>
                  <a:pt x="20376" y="4909"/>
                  <a:pt x="20127" y="4909"/>
                </a:cubicBezTo>
                <a:lnTo>
                  <a:pt x="16691" y="4909"/>
                </a:lnTo>
                <a:lnTo>
                  <a:pt x="16691" y="3927"/>
                </a:lnTo>
                <a:cubicBezTo>
                  <a:pt x="16691" y="1758"/>
                  <a:pt x="14932" y="0"/>
                  <a:pt x="12764" y="0"/>
                </a:cubicBezTo>
                <a:cubicBezTo>
                  <a:pt x="11300" y="0"/>
                  <a:pt x="10025" y="803"/>
                  <a:pt x="9350" y="1991"/>
                </a:cubicBezTo>
                <a:cubicBezTo>
                  <a:pt x="9705" y="2027"/>
                  <a:pt x="10048" y="2105"/>
                  <a:pt x="10377" y="2214"/>
                </a:cubicBezTo>
                <a:cubicBezTo>
                  <a:pt x="10911" y="1470"/>
                  <a:pt x="11778" y="982"/>
                  <a:pt x="12764" y="982"/>
                </a:cubicBezTo>
                <a:cubicBezTo>
                  <a:pt x="14390" y="982"/>
                  <a:pt x="15709" y="2301"/>
                  <a:pt x="15709" y="3927"/>
                </a:cubicBezTo>
                <a:lnTo>
                  <a:pt x="15709" y="4909"/>
                </a:lnTo>
                <a:lnTo>
                  <a:pt x="13337" y="4909"/>
                </a:lnTo>
                <a:cubicBezTo>
                  <a:pt x="13474" y="5221"/>
                  <a:pt x="13581" y="5549"/>
                  <a:pt x="13651" y="5891"/>
                </a:cubicBezTo>
                <a:lnTo>
                  <a:pt x="15709" y="5891"/>
                </a:lnTo>
                <a:lnTo>
                  <a:pt x="15709" y="6873"/>
                </a:lnTo>
                <a:lnTo>
                  <a:pt x="16204" y="6873"/>
                </a:lnTo>
                <a:cubicBezTo>
                  <a:pt x="16375" y="6873"/>
                  <a:pt x="16537" y="6905"/>
                  <a:pt x="16691" y="6961"/>
                </a:cubicBezTo>
                <a:lnTo>
                  <a:pt x="16691" y="5891"/>
                </a:lnTo>
                <a:lnTo>
                  <a:pt x="19674" y="5891"/>
                </a:lnTo>
                <a:lnTo>
                  <a:pt x="20429" y="15709"/>
                </a:lnTo>
                <a:lnTo>
                  <a:pt x="18247" y="15709"/>
                </a:lnTo>
                <a:lnTo>
                  <a:pt x="18323" y="16691"/>
                </a:lnTo>
                <a:lnTo>
                  <a:pt x="20504" y="16691"/>
                </a:lnTo>
                <a:lnTo>
                  <a:pt x="20580" y="17673"/>
                </a:lnTo>
                <a:lnTo>
                  <a:pt x="18398" y="17673"/>
                </a:lnTo>
                <a:lnTo>
                  <a:pt x="18474" y="18655"/>
                </a:lnTo>
                <a:lnTo>
                  <a:pt x="21109" y="18655"/>
                </a:lnTo>
                <a:cubicBezTo>
                  <a:pt x="21380" y="18655"/>
                  <a:pt x="21600" y="18435"/>
                  <a:pt x="21600" y="18164"/>
                </a:cubicBezTo>
                <a:cubicBezTo>
                  <a:pt x="21600" y="18141"/>
                  <a:pt x="21590" y="18122"/>
                  <a:pt x="21587" y="18100"/>
                </a:cubicBezTo>
                <a:moveTo>
                  <a:pt x="1020" y="20618"/>
                </a:moveTo>
                <a:lnTo>
                  <a:pt x="1096" y="19636"/>
                </a:lnTo>
                <a:lnTo>
                  <a:pt x="16577" y="19636"/>
                </a:lnTo>
                <a:lnTo>
                  <a:pt x="16653" y="20618"/>
                </a:lnTo>
                <a:cubicBezTo>
                  <a:pt x="16653" y="20618"/>
                  <a:pt x="1020" y="20618"/>
                  <a:pt x="1020" y="20618"/>
                </a:cubicBezTo>
                <a:close/>
                <a:moveTo>
                  <a:pt x="1926" y="8836"/>
                </a:moveTo>
                <a:lnTo>
                  <a:pt x="4909" y="8836"/>
                </a:lnTo>
                <a:lnTo>
                  <a:pt x="4909" y="10936"/>
                </a:lnTo>
                <a:cubicBezTo>
                  <a:pt x="4617" y="11106"/>
                  <a:pt x="4418" y="11420"/>
                  <a:pt x="4418" y="11782"/>
                </a:cubicBezTo>
                <a:cubicBezTo>
                  <a:pt x="4418" y="12324"/>
                  <a:pt x="4858" y="12764"/>
                  <a:pt x="5400" y="12764"/>
                </a:cubicBezTo>
                <a:cubicBezTo>
                  <a:pt x="5942" y="12764"/>
                  <a:pt x="6382" y="12324"/>
                  <a:pt x="6382" y="11782"/>
                </a:cubicBezTo>
                <a:cubicBezTo>
                  <a:pt x="6382" y="11420"/>
                  <a:pt x="6183" y="11106"/>
                  <a:pt x="5891" y="10936"/>
                </a:cubicBezTo>
                <a:lnTo>
                  <a:pt x="5891" y="8836"/>
                </a:lnTo>
                <a:lnTo>
                  <a:pt x="11782" y="8836"/>
                </a:lnTo>
                <a:lnTo>
                  <a:pt x="11782" y="10936"/>
                </a:lnTo>
                <a:cubicBezTo>
                  <a:pt x="11489" y="11106"/>
                  <a:pt x="11291" y="11420"/>
                  <a:pt x="11291" y="11782"/>
                </a:cubicBezTo>
                <a:cubicBezTo>
                  <a:pt x="11291" y="12324"/>
                  <a:pt x="11731" y="12764"/>
                  <a:pt x="12273" y="12764"/>
                </a:cubicBezTo>
                <a:cubicBezTo>
                  <a:pt x="12815" y="12764"/>
                  <a:pt x="13255" y="12324"/>
                  <a:pt x="13255" y="11782"/>
                </a:cubicBezTo>
                <a:cubicBezTo>
                  <a:pt x="13255" y="11420"/>
                  <a:pt x="13056" y="11106"/>
                  <a:pt x="12764" y="10936"/>
                </a:cubicBezTo>
                <a:lnTo>
                  <a:pt x="12764" y="8836"/>
                </a:lnTo>
                <a:lnTo>
                  <a:pt x="15746" y="8836"/>
                </a:lnTo>
                <a:lnTo>
                  <a:pt x="16502" y="18655"/>
                </a:lnTo>
                <a:lnTo>
                  <a:pt x="1172" y="18655"/>
                </a:lnTo>
                <a:cubicBezTo>
                  <a:pt x="1172" y="18655"/>
                  <a:pt x="1926" y="8836"/>
                  <a:pt x="1926" y="8836"/>
                </a:cubicBezTo>
                <a:close/>
                <a:moveTo>
                  <a:pt x="5891" y="6873"/>
                </a:moveTo>
                <a:cubicBezTo>
                  <a:pt x="5891" y="5246"/>
                  <a:pt x="7210" y="3927"/>
                  <a:pt x="8836" y="3927"/>
                </a:cubicBezTo>
                <a:cubicBezTo>
                  <a:pt x="10463" y="3927"/>
                  <a:pt x="11782" y="5246"/>
                  <a:pt x="11782" y="6873"/>
                </a:cubicBezTo>
                <a:lnTo>
                  <a:pt x="11782" y="7855"/>
                </a:lnTo>
                <a:lnTo>
                  <a:pt x="5891" y="7855"/>
                </a:lnTo>
                <a:cubicBezTo>
                  <a:pt x="5891" y="7855"/>
                  <a:pt x="5891" y="6873"/>
                  <a:pt x="5891" y="6873"/>
                </a:cubicBezTo>
                <a:close/>
                <a:moveTo>
                  <a:pt x="17668" y="21044"/>
                </a:moveTo>
                <a:lnTo>
                  <a:pt x="16687" y="8281"/>
                </a:lnTo>
                <a:lnTo>
                  <a:pt x="16678" y="8282"/>
                </a:lnTo>
                <a:cubicBezTo>
                  <a:pt x="16646" y="8043"/>
                  <a:pt x="16448" y="7855"/>
                  <a:pt x="16200" y="7855"/>
                </a:cubicBezTo>
                <a:lnTo>
                  <a:pt x="12764" y="7855"/>
                </a:lnTo>
                <a:lnTo>
                  <a:pt x="12764" y="6873"/>
                </a:lnTo>
                <a:cubicBezTo>
                  <a:pt x="12764" y="4704"/>
                  <a:pt x="11005" y="2945"/>
                  <a:pt x="8836" y="2945"/>
                </a:cubicBezTo>
                <a:cubicBezTo>
                  <a:pt x="6668" y="2945"/>
                  <a:pt x="4909" y="4704"/>
                  <a:pt x="4909" y="6873"/>
                </a:cubicBezTo>
                <a:lnTo>
                  <a:pt x="4909" y="7855"/>
                </a:lnTo>
                <a:lnTo>
                  <a:pt x="1473" y="7855"/>
                </a:lnTo>
                <a:cubicBezTo>
                  <a:pt x="1224" y="7855"/>
                  <a:pt x="1027" y="8043"/>
                  <a:pt x="995" y="8282"/>
                </a:cubicBezTo>
                <a:lnTo>
                  <a:pt x="986" y="8281"/>
                </a:lnTo>
                <a:lnTo>
                  <a:pt x="4" y="21044"/>
                </a:lnTo>
                <a:lnTo>
                  <a:pt x="13" y="21045"/>
                </a:lnTo>
                <a:cubicBezTo>
                  <a:pt x="10" y="21067"/>
                  <a:pt x="0" y="21087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1"/>
                  <a:pt x="17673" y="21109"/>
                </a:cubicBezTo>
                <a:cubicBezTo>
                  <a:pt x="17673" y="21087"/>
                  <a:pt x="17663" y="21067"/>
                  <a:pt x="17660" y="21045"/>
                </a:cubicBezTo>
                <a:cubicBezTo>
                  <a:pt x="17660" y="21045"/>
                  <a:pt x="17668" y="21044"/>
                  <a:pt x="17668" y="2104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7" name="Shape 2817"/>
          <p:cNvSpPr/>
          <p:nvPr/>
        </p:nvSpPr>
        <p:spPr>
          <a:xfrm>
            <a:off x="19920717" y="2903872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982" y="9600"/>
                </a:lnTo>
                <a:lnTo>
                  <a:pt x="982" y="8400"/>
                </a:lnTo>
                <a:lnTo>
                  <a:pt x="20618" y="8400"/>
                </a:lnTo>
                <a:cubicBezTo>
                  <a:pt x="20618" y="8400"/>
                  <a:pt x="20618" y="9600"/>
                  <a:pt x="20618" y="9600"/>
                </a:cubicBezTo>
                <a:close/>
                <a:moveTo>
                  <a:pt x="19006" y="13200"/>
                </a:moveTo>
                <a:lnTo>
                  <a:pt x="15735" y="13200"/>
                </a:lnTo>
                <a:lnTo>
                  <a:pt x="16045" y="10800"/>
                </a:lnTo>
                <a:lnTo>
                  <a:pt x="19419" y="10800"/>
                </a:lnTo>
                <a:cubicBezTo>
                  <a:pt x="19419" y="10800"/>
                  <a:pt x="19006" y="13200"/>
                  <a:pt x="19006" y="13200"/>
                </a:cubicBezTo>
                <a:close/>
                <a:moveTo>
                  <a:pt x="18386" y="16800"/>
                </a:moveTo>
                <a:lnTo>
                  <a:pt x="15270" y="16800"/>
                </a:lnTo>
                <a:lnTo>
                  <a:pt x="15580" y="14400"/>
                </a:lnTo>
                <a:lnTo>
                  <a:pt x="18799" y="14400"/>
                </a:lnTo>
                <a:cubicBezTo>
                  <a:pt x="18799" y="14400"/>
                  <a:pt x="18386" y="16800"/>
                  <a:pt x="18386" y="16800"/>
                </a:cubicBezTo>
                <a:close/>
                <a:moveTo>
                  <a:pt x="17766" y="20400"/>
                </a:moveTo>
                <a:lnTo>
                  <a:pt x="14805" y="20400"/>
                </a:lnTo>
                <a:lnTo>
                  <a:pt x="15115" y="18000"/>
                </a:lnTo>
                <a:lnTo>
                  <a:pt x="18179" y="18000"/>
                </a:lnTo>
                <a:cubicBezTo>
                  <a:pt x="18179" y="18000"/>
                  <a:pt x="17766" y="20400"/>
                  <a:pt x="17766" y="20400"/>
                </a:cubicBezTo>
                <a:close/>
                <a:moveTo>
                  <a:pt x="11291" y="13200"/>
                </a:moveTo>
                <a:lnTo>
                  <a:pt x="11291" y="10800"/>
                </a:lnTo>
                <a:lnTo>
                  <a:pt x="15063" y="10800"/>
                </a:lnTo>
                <a:lnTo>
                  <a:pt x="14753" y="13200"/>
                </a:lnTo>
                <a:cubicBezTo>
                  <a:pt x="14753" y="13200"/>
                  <a:pt x="11291" y="13200"/>
                  <a:pt x="11291" y="13200"/>
                </a:cubicBezTo>
                <a:close/>
                <a:moveTo>
                  <a:pt x="14289" y="16800"/>
                </a:moveTo>
                <a:lnTo>
                  <a:pt x="11291" y="16800"/>
                </a:lnTo>
                <a:lnTo>
                  <a:pt x="11291" y="14400"/>
                </a:lnTo>
                <a:lnTo>
                  <a:pt x="14598" y="14400"/>
                </a:lnTo>
                <a:cubicBezTo>
                  <a:pt x="14598" y="14400"/>
                  <a:pt x="14289" y="16800"/>
                  <a:pt x="14289" y="16800"/>
                </a:cubicBezTo>
                <a:close/>
                <a:moveTo>
                  <a:pt x="13823" y="20400"/>
                </a:moveTo>
                <a:lnTo>
                  <a:pt x="11291" y="20400"/>
                </a:lnTo>
                <a:lnTo>
                  <a:pt x="11291" y="18000"/>
                </a:lnTo>
                <a:lnTo>
                  <a:pt x="14133" y="18000"/>
                </a:lnTo>
                <a:cubicBezTo>
                  <a:pt x="14133" y="18000"/>
                  <a:pt x="13823" y="20400"/>
                  <a:pt x="13823" y="20400"/>
                </a:cubicBezTo>
                <a:close/>
                <a:moveTo>
                  <a:pt x="10309" y="13200"/>
                </a:moveTo>
                <a:lnTo>
                  <a:pt x="6847" y="13200"/>
                </a:lnTo>
                <a:lnTo>
                  <a:pt x="6537" y="10800"/>
                </a:lnTo>
                <a:lnTo>
                  <a:pt x="10309" y="10800"/>
                </a:lnTo>
                <a:cubicBezTo>
                  <a:pt x="10309" y="10800"/>
                  <a:pt x="10309" y="13200"/>
                  <a:pt x="10309" y="13200"/>
                </a:cubicBezTo>
                <a:close/>
                <a:moveTo>
                  <a:pt x="10309" y="16800"/>
                </a:moveTo>
                <a:lnTo>
                  <a:pt x="7311" y="16800"/>
                </a:lnTo>
                <a:lnTo>
                  <a:pt x="7002" y="14400"/>
                </a:lnTo>
                <a:lnTo>
                  <a:pt x="10309" y="14400"/>
                </a:lnTo>
                <a:cubicBezTo>
                  <a:pt x="10309" y="14400"/>
                  <a:pt x="10309" y="16800"/>
                  <a:pt x="10309" y="16800"/>
                </a:cubicBezTo>
                <a:close/>
                <a:moveTo>
                  <a:pt x="10309" y="20400"/>
                </a:moveTo>
                <a:lnTo>
                  <a:pt x="7777" y="20400"/>
                </a:lnTo>
                <a:lnTo>
                  <a:pt x="7467" y="18000"/>
                </a:lnTo>
                <a:lnTo>
                  <a:pt x="10309" y="18000"/>
                </a:lnTo>
                <a:cubicBezTo>
                  <a:pt x="10309" y="18000"/>
                  <a:pt x="10309" y="20400"/>
                  <a:pt x="10309" y="20400"/>
                </a:cubicBezTo>
                <a:close/>
                <a:moveTo>
                  <a:pt x="3834" y="20400"/>
                </a:moveTo>
                <a:lnTo>
                  <a:pt x="3421" y="18000"/>
                </a:lnTo>
                <a:lnTo>
                  <a:pt x="6485" y="18000"/>
                </a:lnTo>
                <a:lnTo>
                  <a:pt x="6795" y="20400"/>
                </a:lnTo>
                <a:cubicBezTo>
                  <a:pt x="6795" y="20400"/>
                  <a:pt x="3834" y="20400"/>
                  <a:pt x="3834" y="20400"/>
                </a:cubicBezTo>
                <a:close/>
                <a:moveTo>
                  <a:pt x="2801" y="14400"/>
                </a:moveTo>
                <a:lnTo>
                  <a:pt x="6020" y="14400"/>
                </a:lnTo>
                <a:lnTo>
                  <a:pt x="6330" y="16800"/>
                </a:lnTo>
                <a:lnTo>
                  <a:pt x="3214" y="16800"/>
                </a:lnTo>
                <a:cubicBezTo>
                  <a:pt x="3214" y="16800"/>
                  <a:pt x="2801" y="14400"/>
                  <a:pt x="2801" y="14400"/>
                </a:cubicBezTo>
                <a:close/>
                <a:moveTo>
                  <a:pt x="2181" y="10800"/>
                </a:moveTo>
                <a:lnTo>
                  <a:pt x="5555" y="10800"/>
                </a:lnTo>
                <a:lnTo>
                  <a:pt x="5865" y="13200"/>
                </a:lnTo>
                <a:lnTo>
                  <a:pt x="2594" y="13200"/>
                </a:lnTo>
                <a:cubicBezTo>
                  <a:pt x="2594" y="13200"/>
                  <a:pt x="2181" y="10800"/>
                  <a:pt x="2181" y="10800"/>
                </a:cubicBezTo>
                <a:close/>
                <a:moveTo>
                  <a:pt x="10800" y="1320"/>
                </a:moveTo>
                <a:lnTo>
                  <a:pt x="17616" y="7200"/>
                </a:lnTo>
                <a:lnTo>
                  <a:pt x="3984" y="7200"/>
                </a:lnTo>
                <a:cubicBezTo>
                  <a:pt x="3984" y="7200"/>
                  <a:pt x="10800" y="1320"/>
                  <a:pt x="10800" y="1320"/>
                </a:cubicBezTo>
                <a:close/>
                <a:moveTo>
                  <a:pt x="20618" y="7200"/>
                </a:moveTo>
                <a:lnTo>
                  <a:pt x="19284" y="7200"/>
                </a:lnTo>
                <a:lnTo>
                  <a:pt x="11157" y="188"/>
                </a:lnTo>
                <a:lnTo>
                  <a:pt x="11155" y="190"/>
                </a:lnTo>
                <a:cubicBezTo>
                  <a:pt x="11066" y="74"/>
                  <a:pt x="10941" y="0"/>
                  <a:pt x="10800" y="0"/>
                </a:cubicBezTo>
                <a:cubicBezTo>
                  <a:pt x="10659" y="0"/>
                  <a:pt x="10534" y="74"/>
                  <a:pt x="10445" y="190"/>
                </a:cubicBezTo>
                <a:lnTo>
                  <a:pt x="10443" y="188"/>
                </a:lnTo>
                <a:lnTo>
                  <a:pt x="2316" y="7200"/>
                </a:lnTo>
                <a:lnTo>
                  <a:pt x="982" y="7200"/>
                </a:lnTo>
                <a:cubicBezTo>
                  <a:pt x="439" y="7200"/>
                  <a:pt x="0" y="7738"/>
                  <a:pt x="0" y="8400"/>
                </a:cubicBezTo>
                <a:lnTo>
                  <a:pt x="0" y="9600"/>
                </a:lnTo>
                <a:cubicBezTo>
                  <a:pt x="0" y="10262"/>
                  <a:pt x="439" y="10800"/>
                  <a:pt x="982" y="10800"/>
                </a:cubicBezTo>
                <a:lnTo>
                  <a:pt x="1178" y="10800"/>
                </a:lnTo>
                <a:lnTo>
                  <a:pt x="2960" y="21145"/>
                </a:lnTo>
                <a:lnTo>
                  <a:pt x="2969" y="21143"/>
                </a:lnTo>
                <a:cubicBezTo>
                  <a:pt x="3023" y="2140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03"/>
                  <a:pt x="18631" y="21143"/>
                </a:cubicBezTo>
                <a:lnTo>
                  <a:pt x="18640" y="21145"/>
                </a:lnTo>
                <a:lnTo>
                  <a:pt x="20422" y="10800"/>
                </a:ln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8400"/>
                </a:lnTo>
                <a:cubicBezTo>
                  <a:pt x="21600" y="7738"/>
                  <a:pt x="21160" y="7200"/>
                  <a:pt x="20618" y="72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8" name="Shape 2818"/>
          <p:cNvSpPr/>
          <p:nvPr/>
        </p:nvSpPr>
        <p:spPr>
          <a:xfrm>
            <a:off x="20987237" y="287848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10453" y="7402"/>
                </a:moveTo>
                <a:cubicBezTo>
                  <a:pt x="10542" y="7500"/>
                  <a:pt x="10665" y="7560"/>
                  <a:pt x="10800" y="7560"/>
                </a:cubicBezTo>
                <a:cubicBezTo>
                  <a:pt x="10936" y="7560"/>
                  <a:pt x="11058" y="7500"/>
                  <a:pt x="11147" y="7402"/>
                </a:cubicBezTo>
                <a:lnTo>
                  <a:pt x="13111" y="5242"/>
                </a:lnTo>
                <a:cubicBezTo>
                  <a:pt x="13200" y="5144"/>
                  <a:pt x="13255" y="5009"/>
                  <a:pt x="13255" y="4860"/>
                </a:cubicBezTo>
                <a:cubicBezTo>
                  <a:pt x="13255" y="4562"/>
                  <a:pt x="13035" y="4320"/>
                  <a:pt x="12764" y="4320"/>
                </a:cubicBezTo>
                <a:cubicBezTo>
                  <a:pt x="12628" y="4320"/>
                  <a:pt x="12506" y="4381"/>
                  <a:pt x="12417" y="4478"/>
                </a:cubicBezTo>
                <a:lnTo>
                  <a:pt x="11291" y="57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5716"/>
                </a:lnTo>
                <a:lnTo>
                  <a:pt x="9183" y="4478"/>
                </a:lnTo>
                <a:cubicBezTo>
                  <a:pt x="9095" y="4381"/>
                  <a:pt x="8972" y="4320"/>
                  <a:pt x="8836" y="4320"/>
                </a:cubicBezTo>
                <a:cubicBezTo>
                  <a:pt x="8565" y="4320"/>
                  <a:pt x="8345" y="4562"/>
                  <a:pt x="8345" y="4860"/>
                </a:cubicBezTo>
                <a:cubicBezTo>
                  <a:pt x="8345" y="5009"/>
                  <a:pt x="8400" y="5144"/>
                  <a:pt x="8489" y="5242"/>
                </a:cubicBezTo>
                <a:cubicBezTo>
                  <a:pt x="8489" y="5242"/>
                  <a:pt x="10453" y="7402"/>
                  <a:pt x="10453" y="7402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19" name="Shape 2819"/>
          <p:cNvSpPr/>
          <p:nvPr/>
        </p:nvSpPr>
        <p:spPr>
          <a:xfrm>
            <a:off x="22053760" y="2878480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836" y="3240"/>
                </a:moveTo>
                <a:cubicBezTo>
                  <a:pt x="8972" y="3240"/>
                  <a:pt x="9095" y="3179"/>
                  <a:pt x="9183" y="3082"/>
                </a:cubicBezTo>
                <a:lnTo>
                  <a:pt x="10309" y="1844"/>
                </a:lnTo>
                <a:lnTo>
                  <a:pt x="10309" y="7020"/>
                </a:lnTo>
                <a:cubicBezTo>
                  <a:pt x="10309" y="7318"/>
                  <a:pt x="10529" y="7560"/>
                  <a:pt x="10800" y="7560"/>
                </a:cubicBezTo>
                <a:cubicBezTo>
                  <a:pt x="11071" y="7560"/>
                  <a:pt x="11291" y="7318"/>
                  <a:pt x="11291" y="7020"/>
                </a:cubicBezTo>
                <a:lnTo>
                  <a:pt x="11291" y="1844"/>
                </a:lnTo>
                <a:lnTo>
                  <a:pt x="12417" y="3082"/>
                </a:lnTo>
                <a:cubicBezTo>
                  <a:pt x="12505" y="3179"/>
                  <a:pt x="12628" y="3240"/>
                  <a:pt x="12764" y="3240"/>
                </a:cubicBezTo>
                <a:cubicBezTo>
                  <a:pt x="13035" y="3240"/>
                  <a:pt x="13255" y="2998"/>
                  <a:pt x="13255" y="2700"/>
                </a:cubicBezTo>
                <a:cubicBezTo>
                  <a:pt x="13255" y="2551"/>
                  <a:pt x="13199" y="2416"/>
                  <a:pt x="13111" y="231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0"/>
                  <a:pt x="10453" y="158"/>
                </a:cubicBezTo>
                <a:lnTo>
                  <a:pt x="8489" y="2318"/>
                </a:lnTo>
                <a:cubicBezTo>
                  <a:pt x="8400" y="2416"/>
                  <a:pt x="8345" y="2551"/>
                  <a:pt x="8345" y="2700"/>
                </a:cubicBezTo>
                <a:cubicBezTo>
                  <a:pt x="8345" y="2998"/>
                  <a:pt x="8565" y="3240"/>
                  <a:pt x="8836" y="324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0" name="Shape 2820"/>
          <p:cNvSpPr/>
          <p:nvPr/>
        </p:nvSpPr>
        <p:spPr>
          <a:xfrm>
            <a:off x="12455060" y="3945002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507" y="3082"/>
                </a:moveTo>
                <a:lnTo>
                  <a:pt x="7507" y="3082"/>
                </a:lnTo>
                <a:lnTo>
                  <a:pt x="9471" y="5242"/>
                </a:lnTo>
                <a:cubicBezTo>
                  <a:pt x="9560" y="5340"/>
                  <a:pt x="9683" y="5400"/>
                  <a:pt x="9818" y="5400"/>
                </a:cubicBezTo>
                <a:cubicBezTo>
                  <a:pt x="10089" y="5400"/>
                  <a:pt x="10309" y="5158"/>
                  <a:pt x="10309" y="4860"/>
                </a:cubicBezTo>
                <a:cubicBezTo>
                  <a:pt x="10309" y="4712"/>
                  <a:pt x="10254" y="4577"/>
                  <a:pt x="10165" y="4478"/>
                </a:cubicBezTo>
                <a:lnTo>
                  <a:pt x="9040" y="3240"/>
                </a:lnTo>
                <a:lnTo>
                  <a:pt x="13745" y="3240"/>
                </a:lnTo>
                <a:lnTo>
                  <a:pt x="13745" y="3240"/>
                </a:lnTo>
                <a:cubicBezTo>
                  <a:pt x="14016" y="3240"/>
                  <a:pt x="14236" y="2998"/>
                  <a:pt x="14236" y="2700"/>
                </a:cubicBezTo>
                <a:cubicBezTo>
                  <a:pt x="14236" y="2402"/>
                  <a:pt x="14016" y="2160"/>
                  <a:pt x="13745" y="2160"/>
                </a:cubicBezTo>
                <a:lnTo>
                  <a:pt x="9040" y="2160"/>
                </a:lnTo>
                <a:lnTo>
                  <a:pt x="10165" y="922"/>
                </a:lnTo>
                <a:cubicBezTo>
                  <a:pt x="10254" y="824"/>
                  <a:pt x="10309" y="689"/>
                  <a:pt x="10309" y="540"/>
                </a:cubicBezTo>
                <a:cubicBezTo>
                  <a:pt x="10309" y="242"/>
                  <a:pt x="10089" y="0"/>
                  <a:pt x="9818" y="0"/>
                </a:cubicBezTo>
                <a:cubicBezTo>
                  <a:pt x="9683" y="0"/>
                  <a:pt x="9560" y="61"/>
                  <a:pt x="9471" y="158"/>
                </a:cubicBezTo>
                <a:lnTo>
                  <a:pt x="7507" y="2318"/>
                </a:lnTo>
                <a:lnTo>
                  <a:pt x="7507" y="2318"/>
                </a:lnTo>
                <a:cubicBezTo>
                  <a:pt x="7419" y="2417"/>
                  <a:pt x="7364" y="2552"/>
                  <a:pt x="7364" y="2700"/>
                </a:cubicBezTo>
                <a:cubicBezTo>
                  <a:pt x="7364" y="2849"/>
                  <a:pt x="7419" y="2984"/>
                  <a:pt x="7507" y="30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1" name="Shape 2821"/>
          <p:cNvSpPr/>
          <p:nvPr/>
        </p:nvSpPr>
        <p:spPr>
          <a:xfrm>
            <a:off x="13521583" y="3945002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855" y="3240"/>
                </a:moveTo>
                <a:lnTo>
                  <a:pt x="7855" y="3240"/>
                </a:lnTo>
                <a:lnTo>
                  <a:pt x="12560" y="3240"/>
                </a:lnTo>
                <a:lnTo>
                  <a:pt x="11435" y="4478"/>
                </a:lnTo>
                <a:cubicBezTo>
                  <a:pt x="11346" y="4577"/>
                  <a:pt x="11291" y="4712"/>
                  <a:pt x="11291" y="4860"/>
                </a:cubicBezTo>
                <a:cubicBezTo>
                  <a:pt x="11291" y="5158"/>
                  <a:pt x="11511" y="5400"/>
                  <a:pt x="11782" y="5400"/>
                </a:cubicBezTo>
                <a:cubicBezTo>
                  <a:pt x="11917" y="5400"/>
                  <a:pt x="12040" y="5340"/>
                  <a:pt x="12129" y="5242"/>
                </a:cubicBezTo>
                <a:lnTo>
                  <a:pt x="14093" y="3082"/>
                </a:lnTo>
                <a:cubicBezTo>
                  <a:pt x="14181" y="2984"/>
                  <a:pt x="14236" y="2849"/>
                  <a:pt x="14236" y="2700"/>
                </a:cubicBezTo>
                <a:cubicBezTo>
                  <a:pt x="14236" y="2552"/>
                  <a:pt x="14181" y="2417"/>
                  <a:pt x="14093" y="2318"/>
                </a:cubicBezTo>
                <a:lnTo>
                  <a:pt x="12129" y="158"/>
                </a:lnTo>
                <a:cubicBezTo>
                  <a:pt x="12040" y="61"/>
                  <a:pt x="11917" y="0"/>
                  <a:pt x="11782" y="0"/>
                </a:cubicBezTo>
                <a:cubicBezTo>
                  <a:pt x="11511" y="0"/>
                  <a:pt x="11291" y="242"/>
                  <a:pt x="11291" y="540"/>
                </a:cubicBezTo>
                <a:cubicBezTo>
                  <a:pt x="11291" y="689"/>
                  <a:pt x="11346" y="824"/>
                  <a:pt x="11435" y="922"/>
                </a:cubicBezTo>
                <a:lnTo>
                  <a:pt x="12560" y="2160"/>
                </a:lnTo>
                <a:lnTo>
                  <a:pt x="7855" y="2160"/>
                </a:lnTo>
                <a:cubicBezTo>
                  <a:pt x="7584" y="2160"/>
                  <a:pt x="7364" y="2402"/>
                  <a:pt x="7364" y="2700"/>
                </a:cubicBezTo>
                <a:cubicBezTo>
                  <a:pt x="7364" y="2998"/>
                  <a:pt x="7584" y="3240"/>
                  <a:pt x="7855" y="324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2" name="Shape 2822"/>
          <p:cNvSpPr/>
          <p:nvPr/>
        </p:nvSpPr>
        <p:spPr>
          <a:xfrm>
            <a:off x="14588106" y="3945002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345" y="3780"/>
                </a:moveTo>
                <a:lnTo>
                  <a:pt x="10309" y="3780"/>
                </a:lnTo>
                <a:lnTo>
                  <a:pt x="10309" y="5940"/>
                </a:lnTo>
                <a:cubicBezTo>
                  <a:pt x="10309" y="6238"/>
                  <a:pt x="10529" y="6480"/>
                  <a:pt x="10800" y="6480"/>
                </a:cubicBezTo>
                <a:cubicBezTo>
                  <a:pt x="11071" y="6480"/>
                  <a:pt x="11291" y="6238"/>
                  <a:pt x="11291" y="5940"/>
                </a:cubicBezTo>
                <a:lnTo>
                  <a:pt x="11291" y="3780"/>
                </a:lnTo>
                <a:lnTo>
                  <a:pt x="13255" y="3780"/>
                </a:lnTo>
                <a:cubicBezTo>
                  <a:pt x="13525" y="3780"/>
                  <a:pt x="13745" y="3538"/>
                  <a:pt x="13745" y="3240"/>
                </a:cubicBezTo>
                <a:cubicBezTo>
                  <a:pt x="13745" y="2942"/>
                  <a:pt x="13525" y="2700"/>
                  <a:pt x="13255" y="2700"/>
                </a:cubicBezTo>
                <a:lnTo>
                  <a:pt x="11291" y="2700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2700"/>
                </a:lnTo>
                <a:lnTo>
                  <a:pt x="8345" y="2700"/>
                </a:lnTo>
                <a:cubicBezTo>
                  <a:pt x="8075" y="2700"/>
                  <a:pt x="7855" y="2942"/>
                  <a:pt x="7855" y="3240"/>
                </a:cubicBezTo>
                <a:cubicBezTo>
                  <a:pt x="7855" y="3538"/>
                  <a:pt x="8075" y="3780"/>
                  <a:pt x="8345" y="378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3" name="Shape 2823"/>
          <p:cNvSpPr/>
          <p:nvPr/>
        </p:nvSpPr>
        <p:spPr>
          <a:xfrm>
            <a:off x="15654626" y="3983089"/>
            <a:ext cx="558654" cy="4443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257"/>
                </a:moveTo>
                <a:lnTo>
                  <a:pt x="982" y="9257"/>
                </a:lnTo>
                <a:lnTo>
                  <a:pt x="982" y="8023"/>
                </a:lnTo>
                <a:lnTo>
                  <a:pt x="20618" y="8023"/>
                </a:lnTo>
                <a:cubicBezTo>
                  <a:pt x="20618" y="8023"/>
                  <a:pt x="20618" y="9257"/>
                  <a:pt x="20618" y="9257"/>
                </a:cubicBezTo>
                <a:close/>
                <a:moveTo>
                  <a:pt x="19006" y="12960"/>
                </a:moveTo>
                <a:lnTo>
                  <a:pt x="15735" y="12960"/>
                </a:lnTo>
                <a:lnTo>
                  <a:pt x="16045" y="10491"/>
                </a:lnTo>
                <a:lnTo>
                  <a:pt x="19419" y="10491"/>
                </a:lnTo>
                <a:cubicBezTo>
                  <a:pt x="19419" y="10491"/>
                  <a:pt x="19006" y="12960"/>
                  <a:pt x="19006" y="12960"/>
                </a:cubicBezTo>
                <a:close/>
                <a:moveTo>
                  <a:pt x="18386" y="16663"/>
                </a:moveTo>
                <a:lnTo>
                  <a:pt x="15270" y="16663"/>
                </a:lnTo>
                <a:lnTo>
                  <a:pt x="15580" y="14194"/>
                </a:lnTo>
                <a:lnTo>
                  <a:pt x="18799" y="14194"/>
                </a:lnTo>
                <a:cubicBezTo>
                  <a:pt x="18799" y="14194"/>
                  <a:pt x="18386" y="16663"/>
                  <a:pt x="18386" y="16663"/>
                </a:cubicBezTo>
                <a:close/>
                <a:moveTo>
                  <a:pt x="17765" y="20366"/>
                </a:moveTo>
                <a:lnTo>
                  <a:pt x="14805" y="20366"/>
                </a:lnTo>
                <a:lnTo>
                  <a:pt x="15115" y="17897"/>
                </a:lnTo>
                <a:lnTo>
                  <a:pt x="18179" y="17897"/>
                </a:lnTo>
                <a:cubicBezTo>
                  <a:pt x="18179" y="17897"/>
                  <a:pt x="17765" y="20366"/>
                  <a:pt x="17765" y="20366"/>
                </a:cubicBezTo>
                <a:close/>
                <a:moveTo>
                  <a:pt x="11291" y="12960"/>
                </a:moveTo>
                <a:lnTo>
                  <a:pt x="11291" y="10491"/>
                </a:lnTo>
                <a:lnTo>
                  <a:pt x="15063" y="10491"/>
                </a:lnTo>
                <a:lnTo>
                  <a:pt x="14753" y="12960"/>
                </a:lnTo>
                <a:cubicBezTo>
                  <a:pt x="14753" y="12960"/>
                  <a:pt x="11291" y="12960"/>
                  <a:pt x="11291" y="12960"/>
                </a:cubicBezTo>
                <a:close/>
                <a:moveTo>
                  <a:pt x="14288" y="16663"/>
                </a:moveTo>
                <a:lnTo>
                  <a:pt x="11291" y="16663"/>
                </a:lnTo>
                <a:lnTo>
                  <a:pt x="11291" y="14194"/>
                </a:lnTo>
                <a:lnTo>
                  <a:pt x="14598" y="14194"/>
                </a:lnTo>
                <a:cubicBezTo>
                  <a:pt x="14598" y="14194"/>
                  <a:pt x="14288" y="16663"/>
                  <a:pt x="14288" y="16663"/>
                </a:cubicBezTo>
                <a:close/>
                <a:moveTo>
                  <a:pt x="13823" y="20366"/>
                </a:moveTo>
                <a:lnTo>
                  <a:pt x="11291" y="20366"/>
                </a:lnTo>
                <a:lnTo>
                  <a:pt x="11291" y="17897"/>
                </a:lnTo>
                <a:lnTo>
                  <a:pt x="14133" y="17897"/>
                </a:lnTo>
                <a:cubicBezTo>
                  <a:pt x="14133" y="17897"/>
                  <a:pt x="13823" y="20366"/>
                  <a:pt x="13823" y="20366"/>
                </a:cubicBezTo>
                <a:close/>
                <a:moveTo>
                  <a:pt x="10309" y="12960"/>
                </a:moveTo>
                <a:lnTo>
                  <a:pt x="6847" y="12960"/>
                </a:lnTo>
                <a:lnTo>
                  <a:pt x="6537" y="10491"/>
                </a:lnTo>
                <a:lnTo>
                  <a:pt x="10309" y="10491"/>
                </a:lnTo>
                <a:cubicBezTo>
                  <a:pt x="10309" y="10491"/>
                  <a:pt x="10309" y="12960"/>
                  <a:pt x="10309" y="12960"/>
                </a:cubicBezTo>
                <a:close/>
                <a:moveTo>
                  <a:pt x="10309" y="16663"/>
                </a:moveTo>
                <a:lnTo>
                  <a:pt x="7312" y="16663"/>
                </a:lnTo>
                <a:lnTo>
                  <a:pt x="7002" y="14194"/>
                </a:lnTo>
                <a:lnTo>
                  <a:pt x="10309" y="14194"/>
                </a:lnTo>
                <a:cubicBezTo>
                  <a:pt x="10309" y="14194"/>
                  <a:pt x="10309" y="16663"/>
                  <a:pt x="10309" y="16663"/>
                </a:cubicBezTo>
                <a:close/>
                <a:moveTo>
                  <a:pt x="10309" y="20366"/>
                </a:moveTo>
                <a:lnTo>
                  <a:pt x="7777" y="20366"/>
                </a:lnTo>
                <a:lnTo>
                  <a:pt x="7467" y="17897"/>
                </a:lnTo>
                <a:lnTo>
                  <a:pt x="10309" y="17897"/>
                </a:lnTo>
                <a:cubicBezTo>
                  <a:pt x="10309" y="17897"/>
                  <a:pt x="10309" y="20366"/>
                  <a:pt x="10309" y="20366"/>
                </a:cubicBezTo>
                <a:close/>
                <a:moveTo>
                  <a:pt x="3834" y="20366"/>
                </a:moveTo>
                <a:lnTo>
                  <a:pt x="3421" y="17897"/>
                </a:lnTo>
                <a:lnTo>
                  <a:pt x="6485" y="17897"/>
                </a:lnTo>
                <a:lnTo>
                  <a:pt x="6795" y="20366"/>
                </a:lnTo>
                <a:cubicBezTo>
                  <a:pt x="6795" y="20366"/>
                  <a:pt x="3834" y="20366"/>
                  <a:pt x="3834" y="20366"/>
                </a:cubicBezTo>
                <a:close/>
                <a:moveTo>
                  <a:pt x="2801" y="14194"/>
                </a:moveTo>
                <a:lnTo>
                  <a:pt x="6020" y="14194"/>
                </a:lnTo>
                <a:lnTo>
                  <a:pt x="6330" y="16663"/>
                </a:lnTo>
                <a:lnTo>
                  <a:pt x="3214" y="16663"/>
                </a:lnTo>
                <a:cubicBezTo>
                  <a:pt x="3214" y="16663"/>
                  <a:pt x="2801" y="14194"/>
                  <a:pt x="2801" y="14194"/>
                </a:cubicBezTo>
                <a:close/>
                <a:moveTo>
                  <a:pt x="2181" y="10491"/>
                </a:moveTo>
                <a:lnTo>
                  <a:pt x="5555" y="10491"/>
                </a:lnTo>
                <a:lnTo>
                  <a:pt x="5865" y="12960"/>
                </a:lnTo>
                <a:lnTo>
                  <a:pt x="2594" y="12960"/>
                </a:lnTo>
                <a:cubicBezTo>
                  <a:pt x="2594" y="12960"/>
                  <a:pt x="2181" y="10491"/>
                  <a:pt x="2181" y="10491"/>
                </a:cubicBezTo>
                <a:close/>
                <a:moveTo>
                  <a:pt x="20618" y="6789"/>
                </a:moveTo>
                <a:lnTo>
                  <a:pt x="982" y="6789"/>
                </a:lnTo>
                <a:cubicBezTo>
                  <a:pt x="440" y="6789"/>
                  <a:pt x="0" y="7342"/>
                  <a:pt x="0" y="8023"/>
                </a:cubicBezTo>
                <a:lnTo>
                  <a:pt x="0" y="9257"/>
                </a:lnTo>
                <a:cubicBezTo>
                  <a:pt x="0" y="9939"/>
                  <a:pt x="440" y="10491"/>
                  <a:pt x="982" y="10491"/>
                </a:cubicBezTo>
                <a:lnTo>
                  <a:pt x="1178" y="10491"/>
                </a:lnTo>
                <a:lnTo>
                  <a:pt x="2960" y="21133"/>
                </a:lnTo>
                <a:lnTo>
                  <a:pt x="2969" y="21130"/>
                </a:lnTo>
                <a:cubicBezTo>
                  <a:pt x="3023" y="21398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398"/>
                  <a:pt x="18631" y="21130"/>
                </a:cubicBezTo>
                <a:lnTo>
                  <a:pt x="18640" y="21133"/>
                </a:lnTo>
                <a:lnTo>
                  <a:pt x="20422" y="10491"/>
                </a:lnTo>
                <a:lnTo>
                  <a:pt x="20618" y="10491"/>
                </a:lnTo>
                <a:cubicBezTo>
                  <a:pt x="21160" y="10491"/>
                  <a:pt x="21600" y="9939"/>
                  <a:pt x="21600" y="9257"/>
                </a:cubicBezTo>
                <a:lnTo>
                  <a:pt x="21600" y="8023"/>
                </a:lnTo>
                <a:cubicBezTo>
                  <a:pt x="21600" y="7342"/>
                  <a:pt x="21160" y="6789"/>
                  <a:pt x="20618" y="6789"/>
                </a:cubicBezTo>
                <a:moveTo>
                  <a:pt x="8345" y="1234"/>
                </a:moveTo>
                <a:lnTo>
                  <a:pt x="13255" y="1234"/>
                </a:lnTo>
                <a:cubicBezTo>
                  <a:pt x="13525" y="1234"/>
                  <a:pt x="13745" y="958"/>
                  <a:pt x="13745" y="617"/>
                </a:cubicBezTo>
                <a:cubicBezTo>
                  <a:pt x="13745" y="276"/>
                  <a:pt x="13525" y="0"/>
                  <a:pt x="13255" y="0"/>
                </a:cubicBezTo>
                <a:lnTo>
                  <a:pt x="8345" y="0"/>
                </a:lnTo>
                <a:cubicBezTo>
                  <a:pt x="8075" y="0"/>
                  <a:pt x="7855" y="276"/>
                  <a:pt x="7855" y="617"/>
                </a:cubicBezTo>
                <a:cubicBezTo>
                  <a:pt x="7855" y="958"/>
                  <a:pt x="8075" y="1234"/>
                  <a:pt x="8345" y="123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4" name="Shape 2824"/>
          <p:cNvSpPr/>
          <p:nvPr/>
        </p:nvSpPr>
        <p:spPr>
          <a:xfrm>
            <a:off x="16721149" y="3919607"/>
            <a:ext cx="558654" cy="558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88" extrusionOk="0">
                <a:moveTo>
                  <a:pt x="10309" y="9720"/>
                </a:moveTo>
                <a:lnTo>
                  <a:pt x="9327" y="9720"/>
                </a:lnTo>
                <a:cubicBezTo>
                  <a:pt x="9056" y="9720"/>
                  <a:pt x="8836" y="9937"/>
                  <a:pt x="8836" y="10206"/>
                </a:cubicBezTo>
                <a:cubicBezTo>
                  <a:pt x="8836" y="10475"/>
                  <a:pt x="9056" y="10692"/>
                  <a:pt x="9327" y="10692"/>
                </a:cubicBezTo>
                <a:lnTo>
                  <a:pt x="10309" y="10692"/>
                </a:lnTo>
                <a:cubicBezTo>
                  <a:pt x="10580" y="10692"/>
                  <a:pt x="10800" y="10475"/>
                  <a:pt x="10800" y="10206"/>
                </a:cubicBezTo>
                <a:cubicBezTo>
                  <a:pt x="10800" y="9937"/>
                  <a:pt x="10580" y="9720"/>
                  <a:pt x="10309" y="9720"/>
                </a:cubicBezTo>
                <a:moveTo>
                  <a:pt x="13255" y="18471"/>
                </a:moveTo>
                <a:lnTo>
                  <a:pt x="12273" y="18471"/>
                </a:lnTo>
                <a:cubicBezTo>
                  <a:pt x="12002" y="18471"/>
                  <a:pt x="11782" y="18689"/>
                  <a:pt x="11782" y="18957"/>
                </a:cubicBezTo>
                <a:cubicBezTo>
                  <a:pt x="11782" y="19226"/>
                  <a:pt x="12002" y="19443"/>
                  <a:pt x="12273" y="19443"/>
                </a:cubicBezTo>
                <a:lnTo>
                  <a:pt x="13255" y="19443"/>
                </a:lnTo>
                <a:cubicBezTo>
                  <a:pt x="13525" y="19443"/>
                  <a:pt x="13745" y="19226"/>
                  <a:pt x="13745" y="18957"/>
                </a:cubicBezTo>
                <a:cubicBezTo>
                  <a:pt x="13745" y="18689"/>
                  <a:pt x="13525" y="18471"/>
                  <a:pt x="13255" y="18471"/>
                </a:cubicBezTo>
                <a:moveTo>
                  <a:pt x="10309" y="18471"/>
                </a:moveTo>
                <a:lnTo>
                  <a:pt x="9327" y="18471"/>
                </a:lnTo>
                <a:cubicBezTo>
                  <a:pt x="9056" y="18471"/>
                  <a:pt x="8836" y="18689"/>
                  <a:pt x="8836" y="18957"/>
                </a:cubicBezTo>
                <a:cubicBezTo>
                  <a:pt x="8836" y="19226"/>
                  <a:pt x="9056" y="19443"/>
                  <a:pt x="9327" y="19443"/>
                </a:cubicBezTo>
                <a:lnTo>
                  <a:pt x="10309" y="19443"/>
                </a:lnTo>
                <a:cubicBezTo>
                  <a:pt x="10580" y="19443"/>
                  <a:pt x="10800" y="19226"/>
                  <a:pt x="10800" y="18957"/>
                </a:cubicBezTo>
                <a:cubicBezTo>
                  <a:pt x="10800" y="18689"/>
                  <a:pt x="10580" y="18471"/>
                  <a:pt x="10309" y="18471"/>
                </a:cubicBezTo>
                <a:moveTo>
                  <a:pt x="20618" y="15554"/>
                </a:moveTo>
                <a:cubicBezTo>
                  <a:pt x="20618" y="16091"/>
                  <a:pt x="20178" y="16526"/>
                  <a:pt x="19636" y="16526"/>
                </a:cubicBezTo>
                <a:lnTo>
                  <a:pt x="16691" y="16526"/>
                </a:lnTo>
                <a:cubicBezTo>
                  <a:pt x="16149" y="16526"/>
                  <a:pt x="15709" y="16091"/>
                  <a:pt x="15709" y="15554"/>
                </a:cubicBezTo>
                <a:lnTo>
                  <a:pt x="15709" y="13609"/>
                </a:lnTo>
                <a:cubicBezTo>
                  <a:pt x="15709" y="13073"/>
                  <a:pt x="16149" y="12637"/>
                  <a:pt x="16691" y="12637"/>
                </a:cubicBezTo>
                <a:lnTo>
                  <a:pt x="19636" y="12637"/>
                </a:lnTo>
                <a:cubicBezTo>
                  <a:pt x="20178" y="12637"/>
                  <a:pt x="20618" y="13073"/>
                  <a:pt x="20618" y="13609"/>
                </a:cubicBezTo>
                <a:cubicBezTo>
                  <a:pt x="20618" y="13609"/>
                  <a:pt x="20618" y="15554"/>
                  <a:pt x="20618" y="15554"/>
                </a:cubicBezTo>
                <a:close/>
                <a:moveTo>
                  <a:pt x="18655" y="19443"/>
                </a:moveTo>
                <a:cubicBezTo>
                  <a:pt x="18655" y="19980"/>
                  <a:pt x="18215" y="20416"/>
                  <a:pt x="17673" y="20416"/>
                </a:cubicBezTo>
                <a:lnTo>
                  <a:pt x="1964" y="20416"/>
                </a:lnTo>
                <a:cubicBezTo>
                  <a:pt x="1422" y="20416"/>
                  <a:pt x="982" y="19980"/>
                  <a:pt x="982" y="19443"/>
                </a:cubicBezTo>
                <a:lnTo>
                  <a:pt x="982" y="9720"/>
                </a:lnTo>
                <a:cubicBezTo>
                  <a:pt x="982" y="9183"/>
                  <a:pt x="1422" y="8747"/>
                  <a:pt x="1964" y="8747"/>
                </a:cubicBezTo>
                <a:lnTo>
                  <a:pt x="17673" y="8747"/>
                </a:lnTo>
                <a:cubicBezTo>
                  <a:pt x="18215" y="8747"/>
                  <a:pt x="18655" y="9183"/>
                  <a:pt x="18655" y="9720"/>
                </a:cubicBezTo>
                <a:lnTo>
                  <a:pt x="18655" y="11664"/>
                </a:lnTo>
                <a:lnTo>
                  <a:pt x="16691" y="11664"/>
                </a:lnTo>
                <a:cubicBezTo>
                  <a:pt x="15606" y="11664"/>
                  <a:pt x="14727" y="12535"/>
                  <a:pt x="14727" y="13609"/>
                </a:cubicBezTo>
                <a:lnTo>
                  <a:pt x="14727" y="15554"/>
                </a:lnTo>
                <a:cubicBezTo>
                  <a:pt x="14727" y="16628"/>
                  <a:pt x="15606" y="17499"/>
                  <a:pt x="16691" y="17499"/>
                </a:cubicBezTo>
                <a:lnTo>
                  <a:pt x="18655" y="17499"/>
                </a:lnTo>
                <a:cubicBezTo>
                  <a:pt x="18655" y="17499"/>
                  <a:pt x="18655" y="19443"/>
                  <a:pt x="18655" y="19443"/>
                </a:cubicBezTo>
                <a:close/>
                <a:moveTo>
                  <a:pt x="982" y="7775"/>
                </a:moveTo>
                <a:cubicBezTo>
                  <a:pt x="982" y="7238"/>
                  <a:pt x="1422" y="6803"/>
                  <a:pt x="1964" y="6803"/>
                </a:cubicBezTo>
                <a:lnTo>
                  <a:pt x="2555" y="6803"/>
                </a:lnTo>
                <a:lnTo>
                  <a:pt x="2817" y="7775"/>
                </a:lnTo>
                <a:lnTo>
                  <a:pt x="1964" y="7775"/>
                </a:lnTo>
                <a:cubicBezTo>
                  <a:pt x="1604" y="7775"/>
                  <a:pt x="1271" y="7878"/>
                  <a:pt x="982" y="8045"/>
                </a:cubicBezTo>
                <a:cubicBezTo>
                  <a:pt x="982" y="8045"/>
                  <a:pt x="982" y="7775"/>
                  <a:pt x="982" y="7775"/>
                </a:cubicBezTo>
                <a:close/>
                <a:moveTo>
                  <a:pt x="3721" y="3600"/>
                </a:moveTo>
                <a:lnTo>
                  <a:pt x="13629" y="1005"/>
                </a:lnTo>
                <a:cubicBezTo>
                  <a:pt x="14152" y="866"/>
                  <a:pt x="14690" y="1174"/>
                  <a:pt x="14831" y="1693"/>
                </a:cubicBezTo>
                <a:lnTo>
                  <a:pt x="15085" y="2631"/>
                </a:lnTo>
                <a:lnTo>
                  <a:pt x="3281" y="5731"/>
                </a:lnTo>
                <a:lnTo>
                  <a:pt x="3026" y="4791"/>
                </a:lnTo>
                <a:cubicBezTo>
                  <a:pt x="2886" y="4272"/>
                  <a:pt x="3197" y="3739"/>
                  <a:pt x="3721" y="3600"/>
                </a:cubicBezTo>
                <a:moveTo>
                  <a:pt x="15847" y="5448"/>
                </a:moveTo>
                <a:lnTo>
                  <a:pt x="16476" y="7775"/>
                </a:lnTo>
                <a:lnTo>
                  <a:pt x="6989" y="7775"/>
                </a:lnTo>
                <a:cubicBezTo>
                  <a:pt x="6989" y="7775"/>
                  <a:pt x="15847" y="5448"/>
                  <a:pt x="15847" y="5448"/>
                </a:cubicBezTo>
                <a:close/>
                <a:moveTo>
                  <a:pt x="17673" y="6803"/>
                </a:moveTo>
                <a:cubicBezTo>
                  <a:pt x="18215" y="6803"/>
                  <a:pt x="18655" y="7238"/>
                  <a:pt x="18655" y="7775"/>
                </a:cubicBezTo>
                <a:lnTo>
                  <a:pt x="18655" y="8045"/>
                </a:lnTo>
                <a:cubicBezTo>
                  <a:pt x="18365" y="7878"/>
                  <a:pt x="18032" y="7775"/>
                  <a:pt x="17673" y="7775"/>
                </a:cubicBezTo>
                <a:lnTo>
                  <a:pt x="17493" y="7775"/>
                </a:lnTo>
                <a:lnTo>
                  <a:pt x="17230" y="6803"/>
                </a:lnTo>
                <a:cubicBezTo>
                  <a:pt x="17230" y="6803"/>
                  <a:pt x="17673" y="6803"/>
                  <a:pt x="17673" y="6803"/>
                </a:cubicBezTo>
                <a:close/>
                <a:moveTo>
                  <a:pt x="19636" y="11664"/>
                </a:moveTo>
                <a:lnTo>
                  <a:pt x="19636" y="7775"/>
                </a:lnTo>
                <a:cubicBezTo>
                  <a:pt x="19636" y="6701"/>
                  <a:pt x="18757" y="5830"/>
                  <a:pt x="17673" y="5830"/>
                </a:cubicBezTo>
                <a:lnTo>
                  <a:pt x="16967" y="5830"/>
                </a:lnTo>
                <a:lnTo>
                  <a:pt x="15779" y="1441"/>
                </a:lnTo>
                <a:cubicBezTo>
                  <a:pt x="15498" y="404"/>
                  <a:pt x="14422" y="-212"/>
                  <a:pt x="13374" y="66"/>
                </a:cubicBezTo>
                <a:lnTo>
                  <a:pt x="3467" y="2660"/>
                </a:lnTo>
                <a:cubicBezTo>
                  <a:pt x="2419" y="2939"/>
                  <a:pt x="1798" y="4005"/>
                  <a:pt x="2078" y="5042"/>
                </a:cubicBezTo>
                <a:lnTo>
                  <a:pt x="2291" y="5830"/>
                </a:lnTo>
                <a:lnTo>
                  <a:pt x="1964" y="5830"/>
                </a:lnTo>
                <a:cubicBezTo>
                  <a:pt x="879" y="5830"/>
                  <a:pt x="0" y="6701"/>
                  <a:pt x="0" y="7775"/>
                </a:cubicBezTo>
                <a:lnTo>
                  <a:pt x="0" y="19443"/>
                </a:lnTo>
                <a:cubicBezTo>
                  <a:pt x="0" y="20517"/>
                  <a:pt x="879" y="21388"/>
                  <a:pt x="1964" y="21388"/>
                </a:cubicBezTo>
                <a:lnTo>
                  <a:pt x="17673" y="21388"/>
                </a:lnTo>
                <a:cubicBezTo>
                  <a:pt x="18757" y="21388"/>
                  <a:pt x="19636" y="20517"/>
                  <a:pt x="19636" y="19443"/>
                </a:cubicBezTo>
                <a:lnTo>
                  <a:pt x="19636" y="17499"/>
                </a:lnTo>
                <a:cubicBezTo>
                  <a:pt x="20721" y="17499"/>
                  <a:pt x="21600" y="16628"/>
                  <a:pt x="21600" y="15554"/>
                </a:cubicBezTo>
                <a:lnTo>
                  <a:pt x="21600" y="13609"/>
                </a:lnTo>
                <a:cubicBezTo>
                  <a:pt x="21600" y="12535"/>
                  <a:pt x="20721" y="11664"/>
                  <a:pt x="19636" y="11664"/>
                </a:cubicBezTo>
                <a:moveTo>
                  <a:pt x="13255" y="9720"/>
                </a:moveTo>
                <a:lnTo>
                  <a:pt x="12273" y="9720"/>
                </a:lnTo>
                <a:cubicBezTo>
                  <a:pt x="12002" y="9720"/>
                  <a:pt x="11782" y="9937"/>
                  <a:pt x="11782" y="10206"/>
                </a:cubicBezTo>
                <a:cubicBezTo>
                  <a:pt x="11782" y="10475"/>
                  <a:pt x="12002" y="10692"/>
                  <a:pt x="12273" y="10692"/>
                </a:cubicBezTo>
                <a:lnTo>
                  <a:pt x="13255" y="10692"/>
                </a:lnTo>
                <a:cubicBezTo>
                  <a:pt x="13525" y="10692"/>
                  <a:pt x="13745" y="10475"/>
                  <a:pt x="13745" y="10206"/>
                </a:cubicBezTo>
                <a:cubicBezTo>
                  <a:pt x="13745" y="9937"/>
                  <a:pt x="13525" y="9720"/>
                  <a:pt x="13255" y="9720"/>
                </a:cubicBezTo>
                <a:moveTo>
                  <a:pt x="7364" y="9720"/>
                </a:moveTo>
                <a:lnTo>
                  <a:pt x="6382" y="9720"/>
                </a:lnTo>
                <a:cubicBezTo>
                  <a:pt x="6111" y="9720"/>
                  <a:pt x="5891" y="9937"/>
                  <a:pt x="5891" y="10206"/>
                </a:cubicBezTo>
                <a:cubicBezTo>
                  <a:pt x="5891" y="10475"/>
                  <a:pt x="6111" y="10692"/>
                  <a:pt x="6382" y="10692"/>
                </a:cubicBezTo>
                <a:lnTo>
                  <a:pt x="7364" y="10692"/>
                </a:lnTo>
                <a:cubicBezTo>
                  <a:pt x="7634" y="10692"/>
                  <a:pt x="7855" y="10475"/>
                  <a:pt x="7855" y="10206"/>
                </a:cubicBezTo>
                <a:cubicBezTo>
                  <a:pt x="7855" y="9937"/>
                  <a:pt x="7634" y="9720"/>
                  <a:pt x="7364" y="9720"/>
                </a:cubicBezTo>
                <a:moveTo>
                  <a:pt x="17182" y="14095"/>
                </a:moveTo>
                <a:cubicBezTo>
                  <a:pt x="16911" y="14095"/>
                  <a:pt x="16691" y="14313"/>
                  <a:pt x="16691" y="14581"/>
                </a:cubicBezTo>
                <a:cubicBezTo>
                  <a:pt x="16691" y="14850"/>
                  <a:pt x="16911" y="15068"/>
                  <a:pt x="17182" y="15068"/>
                </a:cubicBezTo>
                <a:cubicBezTo>
                  <a:pt x="17453" y="15068"/>
                  <a:pt x="17673" y="14850"/>
                  <a:pt x="17673" y="14581"/>
                </a:cubicBezTo>
                <a:cubicBezTo>
                  <a:pt x="17673" y="14313"/>
                  <a:pt x="17453" y="14095"/>
                  <a:pt x="17182" y="14095"/>
                </a:cubicBezTo>
                <a:moveTo>
                  <a:pt x="16200" y="18471"/>
                </a:moveTo>
                <a:lnTo>
                  <a:pt x="15218" y="18471"/>
                </a:lnTo>
                <a:cubicBezTo>
                  <a:pt x="14947" y="18471"/>
                  <a:pt x="14727" y="18689"/>
                  <a:pt x="14727" y="18957"/>
                </a:cubicBezTo>
                <a:cubicBezTo>
                  <a:pt x="14727" y="19226"/>
                  <a:pt x="14947" y="19443"/>
                  <a:pt x="15218" y="19443"/>
                </a:cubicBezTo>
                <a:lnTo>
                  <a:pt x="16200" y="19443"/>
                </a:lnTo>
                <a:cubicBezTo>
                  <a:pt x="16471" y="19443"/>
                  <a:pt x="16691" y="19226"/>
                  <a:pt x="16691" y="18957"/>
                </a:cubicBezTo>
                <a:cubicBezTo>
                  <a:pt x="16691" y="18689"/>
                  <a:pt x="16471" y="18471"/>
                  <a:pt x="16200" y="18471"/>
                </a:cubicBezTo>
                <a:moveTo>
                  <a:pt x="15218" y="10692"/>
                </a:moveTo>
                <a:lnTo>
                  <a:pt x="16200" y="10692"/>
                </a:lnTo>
                <a:cubicBezTo>
                  <a:pt x="16471" y="10692"/>
                  <a:pt x="16691" y="10475"/>
                  <a:pt x="16691" y="10206"/>
                </a:cubicBezTo>
                <a:cubicBezTo>
                  <a:pt x="16691" y="9937"/>
                  <a:pt x="16471" y="9720"/>
                  <a:pt x="16200" y="9720"/>
                </a:cubicBezTo>
                <a:lnTo>
                  <a:pt x="15218" y="9720"/>
                </a:lnTo>
                <a:cubicBezTo>
                  <a:pt x="14947" y="9720"/>
                  <a:pt x="14727" y="9937"/>
                  <a:pt x="14727" y="10206"/>
                </a:cubicBezTo>
                <a:cubicBezTo>
                  <a:pt x="14727" y="10475"/>
                  <a:pt x="14947" y="10692"/>
                  <a:pt x="15218" y="10692"/>
                </a:cubicBezTo>
                <a:moveTo>
                  <a:pt x="4418" y="18471"/>
                </a:moveTo>
                <a:lnTo>
                  <a:pt x="3436" y="18471"/>
                </a:lnTo>
                <a:cubicBezTo>
                  <a:pt x="3166" y="18471"/>
                  <a:pt x="2945" y="18689"/>
                  <a:pt x="2945" y="18957"/>
                </a:cubicBezTo>
                <a:cubicBezTo>
                  <a:pt x="2945" y="19226"/>
                  <a:pt x="3166" y="19443"/>
                  <a:pt x="3436" y="19443"/>
                </a:cubicBezTo>
                <a:lnTo>
                  <a:pt x="4418" y="19443"/>
                </a:lnTo>
                <a:cubicBezTo>
                  <a:pt x="4689" y="19443"/>
                  <a:pt x="4909" y="19226"/>
                  <a:pt x="4909" y="18957"/>
                </a:cubicBezTo>
                <a:cubicBezTo>
                  <a:pt x="4909" y="18689"/>
                  <a:pt x="4689" y="18471"/>
                  <a:pt x="4418" y="18471"/>
                </a:cubicBezTo>
                <a:moveTo>
                  <a:pt x="7364" y="18471"/>
                </a:moveTo>
                <a:lnTo>
                  <a:pt x="6382" y="18471"/>
                </a:lnTo>
                <a:cubicBezTo>
                  <a:pt x="6111" y="18471"/>
                  <a:pt x="5891" y="18689"/>
                  <a:pt x="5891" y="18957"/>
                </a:cubicBezTo>
                <a:cubicBezTo>
                  <a:pt x="5891" y="19226"/>
                  <a:pt x="6111" y="19443"/>
                  <a:pt x="6382" y="19443"/>
                </a:cubicBezTo>
                <a:lnTo>
                  <a:pt x="7364" y="19443"/>
                </a:lnTo>
                <a:cubicBezTo>
                  <a:pt x="7634" y="19443"/>
                  <a:pt x="7855" y="19226"/>
                  <a:pt x="7855" y="18957"/>
                </a:cubicBezTo>
                <a:cubicBezTo>
                  <a:pt x="7855" y="18689"/>
                  <a:pt x="7634" y="18471"/>
                  <a:pt x="7364" y="18471"/>
                </a:cubicBezTo>
                <a:moveTo>
                  <a:pt x="4418" y="9720"/>
                </a:moveTo>
                <a:lnTo>
                  <a:pt x="3436" y="9720"/>
                </a:lnTo>
                <a:cubicBezTo>
                  <a:pt x="3166" y="9720"/>
                  <a:pt x="2945" y="9937"/>
                  <a:pt x="2945" y="10206"/>
                </a:cubicBezTo>
                <a:cubicBezTo>
                  <a:pt x="2945" y="10475"/>
                  <a:pt x="3166" y="10692"/>
                  <a:pt x="3436" y="10692"/>
                </a:cubicBezTo>
                <a:lnTo>
                  <a:pt x="4418" y="10692"/>
                </a:lnTo>
                <a:cubicBezTo>
                  <a:pt x="4689" y="10692"/>
                  <a:pt x="4909" y="10475"/>
                  <a:pt x="4909" y="10206"/>
                </a:cubicBezTo>
                <a:cubicBezTo>
                  <a:pt x="4909" y="9937"/>
                  <a:pt x="4689" y="9720"/>
                  <a:pt x="4418" y="972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5" name="Shape 2825"/>
          <p:cNvSpPr/>
          <p:nvPr/>
        </p:nvSpPr>
        <p:spPr>
          <a:xfrm>
            <a:off x="17787671" y="3995789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17550"/>
                </a:moveTo>
                <a:lnTo>
                  <a:pt x="12273" y="17550"/>
                </a:lnTo>
                <a:cubicBezTo>
                  <a:pt x="12001" y="17550"/>
                  <a:pt x="11782" y="17853"/>
                  <a:pt x="11782" y="18225"/>
                </a:cubicBezTo>
                <a:cubicBezTo>
                  <a:pt x="11782" y="18598"/>
                  <a:pt x="12001" y="18900"/>
                  <a:pt x="12273" y="18900"/>
                </a:cubicBezTo>
                <a:lnTo>
                  <a:pt x="13255" y="18900"/>
                </a:lnTo>
                <a:cubicBezTo>
                  <a:pt x="13526" y="18900"/>
                  <a:pt x="13745" y="18598"/>
                  <a:pt x="13745" y="18225"/>
                </a:cubicBezTo>
                <a:cubicBezTo>
                  <a:pt x="13745" y="17853"/>
                  <a:pt x="13526" y="17550"/>
                  <a:pt x="13255" y="17550"/>
                </a:cubicBezTo>
                <a:moveTo>
                  <a:pt x="10309" y="5400"/>
                </a:moveTo>
                <a:lnTo>
                  <a:pt x="9327" y="5400"/>
                </a:lnTo>
                <a:cubicBezTo>
                  <a:pt x="9056" y="5400"/>
                  <a:pt x="8836" y="5702"/>
                  <a:pt x="8836" y="6075"/>
                </a:cubicBezTo>
                <a:cubicBezTo>
                  <a:pt x="8836" y="6448"/>
                  <a:pt x="9056" y="6750"/>
                  <a:pt x="9327" y="6750"/>
                </a:cubicBezTo>
                <a:lnTo>
                  <a:pt x="10309" y="6750"/>
                </a:lnTo>
                <a:cubicBezTo>
                  <a:pt x="10580" y="6750"/>
                  <a:pt x="10800" y="6448"/>
                  <a:pt x="10800" y="6075"/>
                </a:cubicBezTo>
                <a:cubicBezTo>
                  <a:pt x="10800" y="5702"/>
                  <a:pt x="10580" y="5400"/>
                  <a:pt x="10309" y="5400"/>
                </a:cubicBezTo>
                <a:moveTo>
                  <a:pt x="16200" y="17550"/>
                </a:moveTo>
                <a:lnTo>
                  <a:pt x="15218" y="17550"/>
                </a:lnTo>
                <a:cubicBezTo>
                  <a:pt x="14947" y="17550"/>
                  <a:pt x="14727" y="17853"/>
                  <a:pt x="14727" y="18225"/>
                </a:cubicBezTo>
                <a:cubicBezTo>
                  <a:pt x="14727" y="18598"/>
                  <a:pt x="14947" y="18900"/>
                  <a:pt x="15218" y="18900"/>
                </a:cubicBezTo>
                <a:lnTo>
                  <a:pt x="16200" y="18900"/>
                </a:lnTo>
                <a:cubicBezTo>
                  <a:pt x="16471" y="18900"/>
                  <a:pt x="16691" y="18598"/>
                  <a:pt x="16691" y="18225"/>
                </a:cubicBezTo>
                <a:cubicBezTo>
                  <a:pt x="16691" y="17853"/>
                  <a:pt x="16471" y="17550"/>
                  <a:pt x="16200" y="17550"/>
                </a:cubicBezTo>
                <a:moveTo>
                  <a:pt x="13255" y="5400"/>
                </a:moveTo>
                <a:lnTo>
                  <a:pt x="12273" y="5400"/>
                </a:lnTo>
                <a:cubicBezTo>
                  <a:pt x="12001" y="5400"/>
                  <a:pt x="11782" y="5702"/>
                  <a:pt x="11782" y="6075"/>
                </a:cubicBezTo>
                <a:cubicBezTo>
                  <a:pt x="11782" y="6448"/>
                  <a:pt x="12001" y="6750"/>
                  <a:pt x="12273" y="6750"/>
                </a:cubicBezTo>
                <a:lnTo>
                  <a:pt x="13255" y="6750"/>
                </a:lnTo>
                <a:cubicBezTo>
                  <a:pt x="13526" y="6750"/>
                  <a:pt x="13745" y="6448"/>
                  <a:pt x="13745" y="6075"/>
                </a:cubicBezTo>
                <a:cubicBezTo>
                  <a:pt x="13745" y="5702"/>
                  <a:pt x="13526" y="5400"/>
                  <a:pt x="13255" y="5400"/>
                </a:cubicBezTo>
                <a:moveTo>
                  <a:pt x="10309" y="17550"/>
                </a:moveTo>
                <a:lnTo>
                  <a:pt x="9327" y="17550"/>
                </a:lnTo>
                <a:cubicBezTo>
                  <a:pt x="9056" y="17550"/>
                  <a:pt x="8836" y="17853"/>
                  <a:pt x="8836" y="18225"/>
                </a:cubicBezTo>
                <a:cubicBezTo>
                  <a:pt x="8836" y="18598"/>
                  <a:pt x="9056" y="18900"/>
                  <a:pt x="9327" y="18900"/>
                </a:cubicBezTo>
                <a:lnTo>
                  <a:pt x="10309" y="18900"/>
                </a:lnTo>
                <a:cubicBezTo>
                  <a:pt x="10580" y="18900"/>
                  <a:pt x="10800" y="18598"/>
                  <a:pt x="10800" y="18225"/>
                </a:cubicBezTo>
                <a:cubicBezTo>
                  <a:pt x="10800" y="17853"/>
                  <a:pt x="10580" y="17550"/>
                  <a:pt x="10309" y="17550"/>
                </a:cubicBezTo>
                <a:moveTo>
                  <a:pt x="4418" y="17550"/>
                </a:moveTo>
                <a:lnTo>
                  <a:pt x="3436" y="17550"/>
                </a:lnTo>
                <a:cubicBezTo>
                  <a:pt x="3165" y="17550"/>
                  <a:pt x="2945" y="17853"/>
                  <a:pt x="2945" y="18225"/>
                </a:cubicBezTo>
                <a:cubicBezTo>
                  <a:pt x="2945" y="18598"/>
                  <a:pt x="3165" y="18900"/>
                  <a:pt x="3436" y="18900"/>
                </a:cubicBezTo>
                <a:lnTo>
                  <a:pt x="4418" y="18900"/>
                </a:lnTo>
                <a:cubicBezTo>
                  <a:pt x="4690" y="18900"/>
                  <a:pt x="4909" y="18598"/>
                  <a:pt x="4909" y="18225"/>
                </a:cubicBezTo>
                <a:cubicBezTo>
                  <a:pt x="4909" y="17853"/>
                  <a:pt x="4690" y="17550"/>
                  <a:pt x="4418" y="17550"/>
                </a:cubicBezTo>
                <a:moveTo>
                  <a:pt x="15218" y="6750"/>
                </a:moveTo>
                <a:lnTo>
                  <a:pt x="16200" y="6750"/>
                </a:lnTo>
                <a:cubicBezTo>
                  <a:pt x="16471" y="6750"/>
                  <a:pt x="16691" y="6448"/>
                  <a:pt x="16691" y="6075"/>
                </a:cubicBezTo>
                <a:cubicBezTo>
                  <a:pt x="16691" y="5702"/>
                  <a:pt x="16471" y="5400"/>
                  <a:pt x="16200" y="5400"/>
                </a:cubicBezTo>
                <a:lnTo>
                  <a:pt x="15218" y="5400"/>
                </a:lnTo>
                <a:cubicBezTo>
                  <a:pt x="14947" y="5400"/>
                  <a:pt x="14727" y="5702"/>
                  <a:pt x="14727" y="6075"/>
                </a:cubicBezTo>
                <a:cubicBezTo>
                  <a:pt x="14727" y="6448"/>
                  <a:pt x="14947" y="6750"/>
                  <a:pt x="15218" y="6750"/>
                </a:cubicBezTo>
                <a:moveTo>
                  <a:pt x="20618" y="13500"/>
                </a:moveTo>
                <a:cubicBezTo>
                  <a:pt x="20618" y="14245"/>
                  <a:pt x="20178" y="14850"/>
                  <a:pt x="19636" y="14850"/>
                </a:cubicBezTo>
                <a:lnTo>
                  <a:pt x="16691" y="14850"/>
                </a:lnTo>
                <a:cubicBezTo>
                  <a:pt x="16149" y="14850"/>
                  <a:pt x="15709" y="14245"/>
                  <a:pt x="15709" y="13500"/>
                </a:cubicBezTo>
                <a:lnTo>
                  <a:pt x="15709" y="10800"/>
                </a:lnTo>
                <a:cubicBezTo>
                  <a:pt x="15709" y="10055"/>
                  <a:pt x="16149" y="9450"/>
                  <a:pt x="16691" y="9450"/>
                </a:cubicBezTo>
                <a:lnTo>
                  <a:pt x="19636" y="9450"/>
                </a:lnTo>
                <a:cubicBezTo>
                  <a:pt x="20178" y="9450"/>
                  <a:pt x="20618" y="10055"/>
                  <a:pt x="20618" y="10800"/>
                </a:cubicBezTo>
                <a:cubicBezTo>
                  <a:pt x="20618" y="10800"/>
                  <a:pt x="20618" y="13500"/>
                  <a:pt x="20618" y="13500"/>
                </a:cubicBezTo>
                <a:close/>
                <a:moveTo>
                  <a:pt x="18655" y="18900"/>
                </a:moveTo>
                <a:cubicBezTo>
                  <a:pt x="18655" y="19645"/>
                  <a:pt x="18214" y="20250"/>
                  <a:pt x="17673" y="20250"/>
                </a:cubicBezTo>
                <a:lnTo>
                  <a:pt x="1964" y="20250"/>
                </a:lnTo>
                <a:cubicBezTo>
                  <a:pt x="1422" y="20250"/>
                  <a:pt x="982" y="19645"/>
                  <a:pt x="982" y="18900"/>
                </a:cubicBezTo>
                <a:lnTo>
                  <a:pt x="982" y="5400"/>
                </a:lnTo>
                <a:cubicBezTo>
                  <a:pt x="982" y="4655"/>
                  <a:pt x="1422" y="4050"/>
                  <a:pt x="1964" y="4050"/>
                </a:cubicBezTo>
                <a:lnTo>
                  <a:pt x="17673" y="4050"/>
                </a:lnTo>
                <a:cubicBezTo>
                  <a:pt x="18214" y="4050"/>
                  <a:pt x="18655" y="4655"/>
                  <a:pt x="18655" y="5400"/>
                </a:cubicBezTo>
                <a:lnTo>
                  <a:pt x="18655" y="8100"/>
                </a:lnTo>
                <a:lnTo>
                  <a:pt x="16691" y="8100"/>
                </a:lnTo>
                <a:cubicBezTo>
                  <a:pt x="15606" y="8100"/>
                  <a:pt x="14727" y="9309"/>
                  <a:pt x="14727" y="10800"/>
                </a:cubicBezTo>
                <a:lnTo>
                  <a:pt x="14727" y="13500"/>
                </a:lnTo>
                <a:cubicBezTo>
                  <a:pt x="14727" y="14991"/>
                  <a:pt x="15606" y="16200"/>
                  <a:pt x="16691" y="16200"/>
                </a:cubicBezTo>
                <a:lnTo>
                  <a:pt x="18655" y="16200"/>
                </a:lnTo>
                <a:cubicBezTo>
                  <a:pt x="18655" y="16200"/>
                  <a:pt x="18655" y="18900"/>
                  <a:pt x="18655" y="18900"/>
                </a:cubicBezTo>
                <a:close/>
                <a:moveTo>
                  <a:pt x="982" y="2700"/>
                </a:moveTo>
                <a:cubicBezTo>
                  <a:pt x="982" y="1955"/>
                  <a:pt x="1422" y="1350"/>
                  <a:pt x="1964" y="1350"/>
                </a:cubicBezTo>
                <a:lnTo>
                  <a:pt x="17673" y="1350"/>
                </a:lnTo>
                <a:cubicBezTo>
                  <a:pt x="18214" y="1350"/>
                  <a:pt x="18655" y="1955"/>
                  <a:pt x="18655" y="2700"/>
                </a:cubicBezTo>
                <a:lnTo>
                  <a:pt x="18655" y="3075"/>
                </a:lnTo>
                <a:cubicBezTo>
                  <a:pt x="18365" y="2842"/>
                  <a:pt x="18032" y="2700"/>
                  <a:pt x="17673" y="2700"/>
                </a:cubicBezTo>
                <a:lnTo>
                  <a:pt x="1964" y="2700"/>
                </a:lnTo>
                <a:cubicBezTo>
                  <a:pt x="1604" y="2700"/>
                  <a:pt x="1271" y="2842"/>
                  <a:pt x="982" y="3075"/>
                </a:cubicBezTo>
                <a:cubicBezTo>
                  <a:pt x="982" y="3075"/>
                  <a:pt x="982" y="2700"/>
                  <a:pt x="982" y="2700"/>
                </a:cubicBezTo>
                <a:close/>
                <a:moveTo>
                  <a:pt x="19636" y="8100"/>
                </a:moveTo>
                <a:lnTo>
                  <a:pt x="19636" y="2700"/>
                </a:lnTo>
                <a:cubicBezTo>
                  <a:pt x="19636" y="1209"/>
                  <a:pt x="18757" y="0"/>
                  <a:pt x="17673" y="0"/>
                </a:cubicBez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391"/>
                  <a:pt x="19636" y="18900"/>
                </a:cubicBezTo>
                <a:lnTo>
                  <a:pt x="19636" y="16200"/>
                </a:lnTo>
                <a:cubicBezTo>
                  <a:pt x="20721" y="16200"/>
                  <a:pt x="21600" y="14991"/>
                  <a:pt x="21600" y="13500"/>
                </a:cubicBezTo>
                <a:lnTo>
                  <a:pt x="21600" y="10800"/>
                </a:lnTo>
                <a:cubicBezTo>
                  <a:pt x="21600" y="9309"/>
                  <a:pt x="20721" y="8100"/>
                  <a:pt x="19636" y="8100"/>
                </a:cubicBezTo>
                <a:moveTo>
                  <a:pt x="17182" y="11475"/>
                </a:moveTo>
                <a:cubicBezTo>
                  <a:pt x="16910" y="11475"/>
                  <a:pt x="16691" y="11777"/>
                  <a:pt x="16691" y="12150"/>
                </a:cubicBezTo>
                <a:cubicBezTo>
                  <a:pt x="16691" y="12523"/>
                  <a:pt x="16910" y="12825"/>
                  <a:pt x="17182" y="12825"/>
                </a:cubicBezTo>
                <a:cubicBezTo>
                  <a:pt x="17453" y="12825"/>
                  <a:pt x="17673" y="12523"/>
                  <a:pt x="17673" y="12150"/>
                </a:cubicBezTo>
                <a:cubicBezTo>
                  <a:pt x="17673" y="11777"/>
                  <a:pt x="17453" y="11475"/>
                  <a:pt x="17182" y="11475"/>
                </a:cubicBezTo>
                <a:moveTo>
                  <a:pt x="7364" y="17550"/>
                </a:moveTo>
                <a:lnTo>
                  <a:pt x="6382" y="17550"/>
                </a:lnTo>
                <a:cubicBezTo>
                  <a:pt x="6110" y="17550"/>
                  <a:pt x="5891" y="17853"/>
                  <a:pt x="5891" y="18225"/>
                </a:cubicBezTo>
                <a:cubicBezTo>
                  <a:pt x="5891" y="18598"/>
                  <a:pt x="6110" y="18900"/>
                  <a:pt x="6382" y="18900"/>
                </a:cubicBezTo>
                <a:lnTo>
                  <a:pt x="7364" y="18900"/>
                </a:lnTo>
                <a:cubicBezTo>
                  <a:pt x="7635" y="18900"/>
                  <a:pt x="7855" y="18598"/>
                  <a:pt x="7855" y="18225"/>
                </a:cubicBezTo>
                <a:cubicBezTo>
                  <a:pt x="7855" y="17853"/>
                  <a:pt x="7635" y="17550"/>
                  <a:pt x="7364" y="17550"/>
                </a:cubicBezTo>
                <a:moveTo>
                  <a:pt x="7364" y="5400"/>
                </a:moveTo>
                <a:lnTo>
                  <a:pt x="6382" y="5400"/>
                </a:lnTo>
                <a:cubicBezTo>
                  <a:pt x="6110" y="5400"/>
                  <a:pt x="5891" y="5702"/>
                  <a:pt x="5891" y="6075"/>
                </a:cubicBezTo>
                <a:cubicBezTo>
                  <a:pt x="5891" y="6448"/>
                  <a:pt x="6110" y="6750"/>
                  <a:pt x="6382" y="6750"/>
                </a:cubicBezTo>
                <a:lnTo>
                  <a:pt x="7364" y="6750"/>
                </a:lnTo>
                <a:cubicBezTo>
                  <a:pt x="7635" y="6750"/>
                  <a:pt x="7855" y="6448"/>
                  <a:pt x="7855" y="6075"/>
                </a:cubicBezTo>
                <a:cubicBezTo>
                  <a:pt x="7855" y="5702"/>
                  <a:pt x="7635" y="5400"/>
                  <a:pt x="7364" y="5400"/>
                </a:cubicBezTo>
                <a:moveTo>
                  <a:pt x="4418" y="5400"/>
                </a:moveTo>
                <a:lnTo>
                  <a:pt x="3436" y="5400"/>
                </a:lnTo>
                <a:cubicBezTo>
                  <a:pt x="3165" y="5400"/>
                  <a:pt x="2945" y="5702"/>
                  <a:pt x="2945" y="6075"/>
                </a:cubicBezTo>
                <a:cubicBezTo>
                  <a:pt x="2945" y="6448"/>
                  <a:pt x="3165" y="6750"/>
                  <a:pt x="3436" y="6750"/>
                </a:cubicBezTo>
                <a:lnTo>
                  <a:pt x="4418" y="6750"/>
                </a:lnTo>
                <a:cubicBezTo>
                  <a:pt x="4690" y="6750"/>
                  <a:pt x="4909" y="6448"/>
                  <a:pt x="4909" y="6075"/>
                </a:cubicBezTo>
                <a:cubicBezTo>
                  <a:pt x="4909" y="5702"/>
                  <a:pt x="4690" y="5400"/>
                  <a:pt x="4418" y="54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6" name="Shape 2826"/>
          <p:cNvSpPr/>
          <p:nvPr/>
        </p:nvSpPr>
        <p:spPr>
          <a:xfrm>
            <a:off x="18854194" y="3970392"/>
            <a:ext cx="558654" cy="4575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7214"/>
                </a:moveTo>
                <a:lnTo>
                  <a:pt x="9327" y="7214"/>
                </a:lnTo>
                <a:cubicBezTo>
                  <a:pt x="9056" y="7214"/>
                  <a:pt x="8836" y="7482"/>
                  <a:pt x="8836" y="7813"/>
                </a:cubicBezTo>
                <a:cubicBezTo>
                  <a:pt x="8836" y="8145"/>
                  <a:pt x="9056" y="8413"/>
                  <a:pt x="9327" y="8413"/>
                </a:cubicBezTo>
                <a:lnTo>
                  <a:pt x="10309" y="8413"/>
                </a:lnTo>
                <a:cubicBezTo>
                  <a:pt x="10580" y="8413"/>
                  <a:pt x="10800" y="8145"/>
                  <a:pt x="10800" y="7813"/>
                </a:cubicBezTo>
                <a:cubicBezTo>
                  <a:pt x="10800" y="7482"/>
                  <a:pt x="10580" y="7214"/>
                  <a:pt x="10309" y="7214"/>
                </a:cubicBezTo>
                <a:moveTo>
                  <a:pt x="7364" y="7214"/>
                </a:moveTo>
                <a:lnTo>
                  <a:pt x="6382" y="7214"/>
                </a:lnTo>
                <a:cubicBezTo>
                  <a:pt x="6110" y="7214"/>
                  <a:pt x="5891" y="7482"/>
                  <a:pt x="5891" y="7813"/>
                </a:cubicBezTo>
                <a:cubicBezTo>
                  <a:pt x="5891" y="8145"/>
                  <a:pt x="6110" y="8413"/>
                  <a:pt x="6382" y="8413"/>
                </a:cubicBezTo>
                <a:lnTo>
                  <a:pt x="7364" y="8413"/>
                </a:lnTo>
                <a:cubicBezTo>
                  <a:pt x="7635" y="8413"/>
                  <a:pt x="7855" y="8145"/>
                  <a:pt x="7855" y="7813"/>
                </a:cubicBezTo>
                <a:cubicBezTo>
                  <a:pt x="7855" y="7482"/>
                  <a:pt x="7635" y="7214"/>
                  <a:pt x="7364" y="7214"/>
                </a:cubicBezTo>
                <a:moveTo>
                  <a:pt x="10309" y="18004"/>
                </a:moveTo>
                <a:lnTo>
                  <a:pt x="9327" y="18004"/>
                </a:lnTo>
                <a:cubicBezTo>
                  <a:pt x="9056" y="18004"/>
                  <a:pt x="8836" y="18272"/>
                  <a:pt x="8836" y="18603"/>
                </a:cubicBezTo>
                <a:cubicBezTo>
                  <a:pt x="8836" y="18935"/>
                  <a:pt x="9056" y="19202"/>
                  <a:pt x="9327" y="19202"/>
                </a:cubicBezTo>
                <a:lnTo>
                  <a:pt x="10309" y="19202"/>
                </a:lnTo>
                <a:cubicBezTo>
                  <a:pt x="10580" y="19202"/>
                  <a:pt x="10800" y="18935"/>
                  <a:pt x="10800" y="18603"/>
                </a:cubicBezTo>
                <a:cubicBezTo>
                  <a:pt x="10800" y="18272"/>
                  <a:pt x="10580" y="18004"/>
                  <a:pt x="10309" y="18004"/>
                </a:cubicBezTo>
                <a:moveTo>
                  <a:pt x="13255" y="18004"/>
                </a:moveTo>
                <a:lnTo>
                  <a:pt x="12273" y="18004"/>
                </a:lnTo>
                <a:cubicBezTo>
                  <a:pt x="12001" y="18004"/>
                  <a:pt x="11782" y="18272"/>
                  <a:pt x="11782" y="18603"/>
                </a:cubicBezTo>
                <a:cubicBezTo>
                  <a:pt x="11782" y="18935"/>
                  <a:pt x="12001" y="19202"/>
                  <a:pt x="12273" y="19202"/>
                </a:cubicBezTo>
                <a:lnTo>
                  <a:pt x="13255" y="19202"/>
                </a:lnTo>
                <a:cubicBezTo>
                  <a:pt x="13526" y="19202"/>
                  <a:pt x="13745" y="18935"/>
                  <a:pt x="13745" y="18603"/>
                </a:cubicBezTo>
                <a:cubicBezTo>
                  <a:pt x="13745" y="18272"/>
                  <a:pt x="13526" y="18004"/>
                  <a:pt x="13255" y="18004"/>
                </a:cubicBezTo>
                <a:moveTo>
                  <a:pt x="20618" y="14407"/>
                </a:moveTo>
                <a:cubicBezTo>
                  <a:pt x="20618" y="15069"/>
                  <a:pt x="20178" y="15606"/>
                  <a:pt x="19636" y="15606"/>
                </a:cubicBezTo>
                <a:lnTo>
                  <a:pt x="16691" y="15606"/>
                </a:lnTo>
                <a:cubicBezTo>
                  <a:pt x="16148" y="15606"/>
                  <a:pt x="15709" y="15069"/>
                  <a:pt x="15709" y="14407"/>
                </a:cubicBezTo>
                <a:lnTo>
                  <a:pt x="15709" y="12009"/>
                </a:lnTo>
                <a:cubicBezTo>
                  <a:pt x="15709" y="11348"/>
                  <a:pt x="16148" y="10811"/>
                  <a:pt x="16691" y="10811"/>
                </a:cubicBezTo>
                <a:lnTo>
                  <a:pt x="19636" y="10811"/>
                </a:lnTo>
                <a:cubicBezTo>
                  <a:pt x="20178" y="10811"/>
                  <a:pt x="20618" y="11348"/>
                  <a:pt x="20618" y="12009"/>
                </a:cubicBezTo>
                <a:cubicBezTo>
                  <a:pt x="20618" y="12009"/>
                  <a:pt x="20618" y="14407"/>
                  <a:pt x="20618" y="14407"/>
                </a:cubicBezTo>
                <a:close/>
                <a:moveTo>
                  <a:pt x="18655" y="19202"/>
                </a:moveTo>
                <a:cubicBezTo>
                  <a:pt x="18655" y="19864"/>
                  <a:pt x="18214" y="20401"/>
                  <a:pt x="17673" y="20401"/>
                </a:cubicBezTo>
                <a:lnTo>
                  <a:pt x="1964" y="20401"/>
                </a:lnTo>
                <a:cubicBezTo>
                  <a:pt x="1421" y="20401"/>
                  <a:pt x="982" y="19864"/>
                  <a:pt x="982" y="19202"/>
                </a:cubicBezTo>
                <a:lnTo>
                  <a:pt x="982" y="7214"/>
                </a:lnTo>
                <a:cubicBezTo>
                  <a:pt x="982" y="6553"/>
                  <a:pt x="1421" y="6015"/>
                  <a:pt x="1964" y="6015"/>
                </a:cubicBezTo>
                <a:lnTo>
                  <a:pt x="17673" y="6015"/>
                </a:lnTo>
                <a:cubicBezTo>
                  <a:pt x="18214" y="6015"/>
                  <a:pt x="18655" y="6553"/>
                  <a:pt x="18655" y="7214"/>
                </a:cubicBezTo>
                <a:lnTo>
                  <a:pt x="18655" y="9612"/>
                </a:lnTo>
                <a:lnTo>
                  <a:pt x="16691" y="9612"/>
                </a:lnTo>
                <a:cubicBezTo>
                  <a:pt x="15606" y="9612"/>
                  <a:pt x="14727" y="10685"/>
                  <a:pt x="14727" y="12009"/>
                </a:cubicBezTo>
                <a:lnTo>
                  <a:pt x="14727" y="14407"/>
                </a:lnTo>
                <a:cubicBezTo>
                  <a:pt x="14727" y="15731"/>
                  <a:pt x="15606" y="16805"/>
                  <a:pt x="16691" y="16805"/>
                </a:cubicBezTo>
                <a:lnTo>
                  <a:pt x="18655" y="16805"/>
                </a:lnTo>
                <a:cubicBezTo>
                  <a:pt x="18655" y="16805"/>
                  <a:pt x="18655" y="19202"/>
                  <a:pt x="18655" y="19202"/>
                </a:cubicBezTo>
                <a:close/>
                <a:moveTo>
                  <a:pt x="982" y="4816"/>
                </a:moveTo>
                <a:cubicBezTo>
                  <a:pt x="982" y="4155"/>
                  <a:pt x="1420" y="3618"/>
                  <a:pt x="1963" y="3618"/>
                </a:cubicBezTo>
                <a:lnTo>
                  <a:pt x="1692" y="4850"/>
                </a:lnTo>
                <a:cubicBezTo>
                  <a:pt x="1436" y="4894"/>
                  <a:pt x="1197" y="4996"/>
                  <a:pt x="982" y="5149"/>
                </a:cubicBezTo>
                <a:cubicBezTo>
                  <a:pt x="982" y="5149"/>
                  <a:pt x="982" y="4816"/>
                  <a:pt x="982" y="4816"/>
                </a:cubicBezTo>
                <a:close/>
                <a:moveTo>
                  <a:pt x="3451" y="1468"/>
                </a:moveTo>
                <a:lnTo>
                  <a:pt x="13684" y="4816"/>
                </a:lnTo>
                <a:lnTo>
                  <a:pt x="2716" y="4816"/>
                </a:lnTo>
                <a:cubicBezTo>
                  <a:pt x="2716" y="4816"/>
                  <a:pt x="3451" y="1468"/>
                  <a:pt x="3451" y="1468"/>
                </a:cubicBezTo>
                <a:close/>
                <a:moveTo>
                  <a:pt x="16776" y="2582"/>
                </a:moveTo>
                <a:lnTo>
                  <a:pt x="16982" y="4654"/>
                </a:lnTo>
                <a:lnTo>
                  <a:pt x="12560" y="3208"/>
                </a:lnTo>
                <a:cubicBezTo>
                  <a:pt x="12560" y="3208"/>
                  <a:pt x="16776" y="2582"/>
                  <a:pt x="16776" y="2582"/>
                </a:cubicBezTo>
                <a:close/>
                <a:moveTo>
                  <a:pt x="18655" y="4816"/>
                </a:moveTo>
                <a:lnTo>
                  <a:pt x="18655" y="5149"/>
                </a:lnTo>
                <a:cubicBezTo>
                  <a:pt x="18453" y="5005"/>
                  <a:pt x="18231" y="4904"/>
                  <a:pt x="17992" y="4856"/>
                </a:cubicBezTo>
                <a:lnTo>
                  <a:pt x="17871" y="3642"/>
                </a:lnTo>
                <a:cubicBezTo>
                  <a:pt x="18318" y="3754"/>
                  <a:pt x="18655" y="4237"/>
                  <a:pt x="18655" y="4816"/>
                </a:cubicBezTo>
                <a:moveTo>
                  <a:pt x="19636" y="9612"/>
                </a:moveTo>
                <a:lnTo>
                  <a:pt x="19636" y="4816"/>
                </a:lnTo>
                <a:cubicBezTo>
                  <a:pt x="19636" y="3525"/>
                  <a:pt x="18798" y="2479"/>
                  <a:pt x="17750" y="2428"/>
                </a:cubicBezTo>
                <a:lnTo>
                  <a:pt x="17633" y="1247"/>
                </a:lnTo>
                <a:lnTo>
                  <a:pt x="10020" y="2377"/>
                </a:lnTo>
                <a:lnTo>
                  <a:pt x="2757" y="0"/>
                </a:lnTo>
                <a:lnTo>
                  <a:pt x="2226" y="2419"/>
                </a:lnTo>
                <a:lnTo>
                  <a:pt x="1964" y="2419"/>
                </a:lnTo>
                <a:cubicBezTo>
                  <a:pt x="879" y="2419"/>
                  <a:pt x="0" y="3492"/>
                  <a:pt x="0" y="4816"/>
                </a:cubicBezTo>
                <a:lnTo>
                  <a:pt x="0" y="19202"/>
                </a:lnTo>
                <a:cubicBezTo>
                  <a:pt x="0" y="20526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526"/>
                  <a:pt x="19636" y="19202"/>
                </a:cubicBezTo>
                <a:lnTo>
                  <a:pt x="19636" y="16805"/>
                </a:lnTo>
                <a:cubicBezTo>
                  <a:pt x="20721" y="16805"/>
                  <a:pt x="21600" y="15731"/>
                  <a:pt x="21600" y="14407"/>
                </a:cubicBezTo>
                <a:lnTo>
                  <a:pt x="21600" y="12009"/>
                </a:lnTo>
                <a:cubicBezTo>
                  <a:pt x="21600" y="10685"/>
                  <a:pt x="20721" y="9612"/>
                  <a:pt x="19636" y="9612"/>
                </a:cubicBezTo>
                <a:moveTo>
                  <a:pt x="13255" y="7214"/>
                </a:moveTo>
                <a:lnTo>
                  <a:pt x="12273" y="7214"/>
                </a:lnTo>
                <a:cubicBezTo>
                  <a:pt x="12001" y="7214"/>
                  <a:pt x="11782" y="7482"/>
                  <a:pt x="11782" y="7813"/>
                </a:cubicBezTo>
                <a:cubicBezTo>
                  <a:pt x="11782" y="8145"/>
                  <a:pt x="12001" y="8413"/>
                  <a:pt x="12273" y="8413"/>
                </a:cubicBezTo>
                <a:lnTo>
                  <a:pt x="13255" y="8413"/>
                </a:lnTo>
                <a:cubicBezTo>
                  <a:pt x="13526" y="8413"/>
                  <a:pt x="13745" y="8145"/>
                  <a:pt x="13745" y="7813"/>
                </a:cubicBezTo>
                <a:cubicBezTo>
                  <a:pt x="13745" y="7482"/>
                  <a:pt x="13526" y="7214"/>
                  <a:pt x="13255" y="7214"/>
                </a:cubicBezTo>
                <a:moveTo>
                  <a:pt x="16200" y="18004"/>
                </a:moveTo>
                <a:lnTo>
                  <a:pt x="15218" y="18004"/>
                </a:lnTo>
                <a:cubicBezTo>
                  <a:pt x="14947" y="18004"/>
                  <a:pt x="14727" y="18272"/>
                  <a:pt x="14727" y="18603"/>
                </a:cubicBezTo>
                <a:cubicBezTo>
                  <a:pt x="14727" y="18935"/>
                  <a:pt x="14947" y="19202"/>
                  <a:pt x="15218" y="19202"/>
                </a:cubicBezTo>
                <a:lnTo>
                  <a:pt x="16200" y="19202"/>
                </a:lnTo>
                <a:cubicBezTo>
                  <a:pt x="16471" y="19202"/>
                  <a:pt x="16691" y="18935"/>
                  <a:pt x="16691" y="18603"/>
                </a:cubicBezTo>
                <a:cubicBezTo>
                  <a:pt x="16691" y="18272"/>
                  <a:pt x="16471" y="18004"/>
                  <a:pt x="16200" y="18004"/>
                </a:cubicBezTo>
                <a:moveTo>
                  <a:pt x="17182" y="12609"/>
                </a:moveTo>
                <a:cubicBezTo>
                  <a:pt x="16910" y="12609"/>
                  <a:pt x="16691" y="12877"/>
                  <a:pt x="16691" y="13208"/>
                </a:cubicBezTo>
                <a:cubicBezTo>
                  <a:pt x="16691" y="13540"/>
                  <a:pt x="16910" y="13808"/>
                  <a:pt x="17182" y="13808"/>
                </a:cubicBezTo>
                <a:cubicBezTo>
                  <a:pt x="17453" y="13808"/>
                  <a:pt x="17673" y="13540"/>
                  <a:pt x="17673" y="13208"/>
                </a:cubicBezTo>
                <a:cubicBezTo>
                  <a:pt x="17673" y="12877"/>
                  <a:pt x="17453" y="12609"/>
                  <a:pt x="17182" y="12609"/>
                </a:cubicBezTo>
                <a:moveTo>
                  <a:pt x="4418" y="7214"/>
                </a:moveTo>
                <a:lnTo>
                  <a:pt x="3436" y="7214"/>
                </a:lnTo>
                <a:cubicBezTo>
                  <a:pt x="3165" y="7214"/>
                  <a:pt x="2945" y="7482"/>
                  <a:pt x="2945" y="7813"/>
                </a:cubicBezTo>
                <a:cubicBezTo>
                  <a:pt x="2945" y="8145"/>
                  <a:pt x="3165" y="8413"/>
                  <a:pt x="3436" y="8413"/>
                </a:cubicBezTo>
                <a:lnTo>
                  <a:pt x="4418" y="8413"/>
                </a:lnTo>
                <a:cubicBezTo>
                  <a:pt x="4690" y="8413"/>
                  <a:pt x="4909" y="8145"/>
                  <a:pt x="4909" y="7813"/>
                </a:cubicBezTo>
                <a:cubicBezTo>
                  <a:pt x="4909" y="7482"/>
                  <a:pt x="4690" y="7214"/>
                  <a:pt x="4418" y="7214"/>
                </a:cubicBezTo>
                <a:moveTo>
                  <a:pt x="15218" y="8413"/>
                </a:moveTo>
                <a:lnTo>
                  <a:pt x="16200" y="8413"/>
                </a:lnTo>
                <a:cubicBezTo>
                  <a:pt x="16471" y="8413"/>
                  <a:pt x="16691" y="8145"/>
                  <a:pt x="16691" y="7813"/>
                </a:cubicBezTo>
                <a:cubicBezTo>
                  <a:pt x="16691" y="7482"/>
                  <a:pt x="16471" y="7214"/>
                  <a:pt x="16200" y="7214"/>
                </a:cubicBezTo>
                <a:lnTo>
                  <a:pt x="15218" y="7214"/>
                </a:lnTo>
                <a:cubicBezTo>
                  <a:pt x="14947" y="7214"/>
                  <a:pt x="14727" y="7482"/>
                  <a:pt x="14727" y="7813"/>
                </a:cubicBezTo>
                <a:cubicBezTo>
                  <a:pt x="14727" y="8145"/>
                  <a:pt x="14947" y="8413"/>
                  <a:pt x="15218" y="8413"/>
                </a:cubicBezTo>
                <a:moveTo>
                  <a:pt x="7364" y="18004"/>
                </a:moveTo>
                <a:lnTo>
                  <a:pt x="6382" y="18004"/>
                </a:lnTo>
                <a:cubicBezTo>
                  <a:pt x="6110" y="18004"/>
                  <a:pt x="5891" y="18272"/>
                  <a:pt x="5891" y="18603"/>
                </a:cubicBezTo>
                <a:cubicBezTo>
                  <a:pt x="5891" y="18935"/>
                  <a:pt x="6110" y="19202"/>
                  <a:pt x="6382" y="19202"/>
                </a:cubicBezTo>
                <a:lnTo>
                  <a:pt x="7364" y="19202"/>
                </a:lnTo>
                <a:cubicBezTo>
                  <a:pt x="7635" y="19202"/>
                  <a:pt x="7855" y="18935"/>
                  <a:pt x="7855" y="18603"/>
                </a:cubicBezTo>
                <a:cubicBezTo>
                  <a:pt x="7855" y="18272"/>
                  <a:pt x="7635" y="18004"/>
                  <a:pt x="7364" y="18004"/>
                </a:cubicBezTo>
                <a:moveTo>
                  <a:pt x="4418" y="18004"/>
                </a:moveTo>
                <a:lnTo>
                  <a:pt x="3436" y="18004"/>
                </a:lnTo>
                <a:cubicBezTo>
                  <a:pt x="3165" y="18004"/>
                  <a:pt x="2945" y="18272"/>
                  <a:pt x="2945" y="18603"/>
                </a:cubicBezTo>
                <a:cubicBezTo>
                  <a:pt x="2945" y="18935"/>
                  <a:pt x="3165" y="19202"/>
                  <a:pt x="3436" y="19202"/>
                </a:cubicBezTo>
                <a:lnTo>
                  <a:pt x="4418" y="19202"/>
                </a:lnTo>
                <a:cubicBezTo>
                  <a:pt x="4690" y="19202"/>
                  <a:pt x="4909" y="18935"/>
                  <a:pt x="4909" y="18603"/>
                </a:cubicBezTo>
                <a:cubicBezTo>
                  <a:pt x="4909" y="18272"/>
                  <a:pt x="4690" y="18004"/>
                  <a:pt x="4418" y="1800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7" name="Shape 2827"/>
          <p:cNvSpPr/>
          <p:nvPr/>
        </p:nvSpPr>
        <p:spPr>
          <a:xfrm>
            <a:off x="19996897" y="3919607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00" y="9818"/>
                </a:moveTo>
                <a:lnTo>
                  <a:pt x="2700" y="9818"/>
                </a:lnTo>
                <a:lnTo>
                  <a:pt x="2700" y="10800"/>
                </a:lnTo>
                <a:lnTo>
                  <a:pt x="13500" y="10800"/>
                </a:lnTo>
                <a:cubicBezTo>
                  <a:pt x="13500" y="10800"/>
                  <a:pt x="13500" y="9818"/>
                  <a:pt x="13500" y="9818"/>
                </a:cubicBezTo>
                <a:close/>
                <a:moveTo>
                  <a:pt x="18900" y="11782"/>
                </a:moveTo>
                <a:lnTo>
                  <a:pt x="2700" y="11782"/>
                </a:lnTo>
                <a:lnTo>
                  <a:pt x="2700" y="12764"/>
                </a:lnTo>
                <a:lnTo>
                  <a:pt x="18900" y="12764"/>
                </a:lnTo>
                <a:cubicBezTo>
                  <a:pt x="18900" y="12764"/>
                  <a:pt x="18900" y="11782"/>
                  <a:pt x="18900" y="11782"/>
                </a:cubicBezTo>
                <a:close/>
                <a:moveTo>
                  <a:pt x="4050" y="1964"/>
                </a:moveTo>
                <a:lnTo>
                  <a:pt x="2700" y="1964"/>
                </a:lnTo>
                <a:lnTo>
                  <a:pt x="2700" y="7855"/>
                </a:lnTo>
                <a:lnTo>
                  <a:pt x="4050" y="7855"/>
                </a:lnTo>
                <a:cubicBezTo>
                  <a:pt x="4050" y="7855"/>
                  <a:pt x="4050" y="1964"/>
                  <a:pt x="4050" y="1964"/>
                </a:cubicBezTo>
                <a:close/>
                <a:moveTo>
                  <a:pt x="18900" y="13745"/>
                </a:moveTo>
                <a:lnTo>
                  <a:pt x="2700" y="13745"/>
                </a:lnTo>
                <a:lnTo>
                  <a:pt x="2700" y="14727"/>
                </a:lnTo>
                <a:lnTo>
                  <a:pt x="18900" y="14727"/>
                </a:lnTo>
                <a:cubicBezTo>
                  <a:pt x="18900" y="14727"/>
                  <a:pt x="18900" y="13745"/>
                  <a:pt x="18900" y="13745"/>
                </a:cubicBezTo>
                <a:close/>
                <a:moveTo>
                  <a:pt x="16200" y="15709"/>
                </a:moveTo>
                <a:lnTo>
                  <a:pt x="2700" y="15709"/>
                </a:lnTo>
                <a:lnTo>
                  <a:pt x="2700" y="16691"/>
                </a:lnTo>
                <a:lnTo>
                  <a:pt x="16200" y="16691"/>
                </a:lnTo>
                <a:cubicBezTo>
                  <a:pt x="16200" y="16691"/>
                  <a:pt x="16200" y="15709"/>
                  <a:pt x="16200" y="15709"/>
                </a:cubicBezTo>
                <a:close/>
                <a:moveTo>
                  <a:pt x="20250" y="19924"/>
                </a:moveTo>
                <a:lnTo>
                  <a:pt x="18702" y="18798"/>
                </a:lnTo>
                <a:cubicBezTo>
                  <a:pt x="18580" y="18710"/>
                  <a:pt x="18412" y="18655"/>
                  <a:pt x="18225" y="18655"/>
                </a:cubicBezTo>
                <a:cubicBezTo>
                  <a:pt x="18039" y="18655"/>
                  <a:pt x="17870" y="18710"/>
                  <a:pt x="17748" y="18798"/>
                </a:cubicBezTo>
                <a:lnTo>
                  <a:pt x="15525" y="20415"/>
                </a:lnTo>
                <a:lnTo>
                  <a:pt x="13302" y="18798"/>
                </a:lnTo>
                <a:cubicBezTo>
                  <a:pt x="13180" y="18710"/>
                  <a:pt x="13012" y="18655"/>
                  <a:pt x="12825" y="18655"/>
                </a:cubicBezTo>
                <a:cubicBezTo>
                  <a:pt x="12604" y="18655"/>
                  <a:pt x="12418" y="18737"/>
                  <a:pt x="12294" y="18856"/>
                </a:cubicBezTo>
                <a:lnTo>
                  <a:pt x="12285" y="18851"/>
                </a:lnTo>
                <a:lnTo>
                  <a:pt x="10800" y="20291"/>
                </a:lnTo>
                <a:lnTo>
                  <a:pt x="9315" y="18851"/>
                </a:lnTo>
                <a:lnTo>
                  <a:pt x="9306" y="18856"/>
                </a:lnTo>
                <a:cubicBezTo>
                  <a:pt x="9182" y="18737"/>
                  <a:pt x="8996" y="18655"/>
                  <a:pt x="8775" y="18655"/>
                </a:cubicBezTo>
                <a:cubicBezTo>
                  <a:pt x="8589" y="18655"/>
                  <a:pt x="8420" y="18710"/>
                  <a:pt x="8298" y="18798"/>
                </a:cubicBezTo>
                <a:lnTo>
                  <a:pt x="6075" y="20415"/>
                </a:lnTo>
                <a:lnTo>
                  <a:pt x="3852" y="18798"/>
                </a:lnTo>
                <a:cubicBezTo>
                  <a:pt x="3730" y="18710"/>
                  <a:pt x="3562" y="18655"/>
                  <a:pt x="3375" y="18655"/>
                </a:cubicBezTo>
                <a:cubicBezTo>
                  <a:pt x="3188" y="18655"/>
                  <a:pt x="3020" y="18710"/>
                  <a:pt x="2898" y="18798"/>
                </a:cubicBezTo>
                <a:lnTo>
                  <a:pt x="1350" y="19924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19924"/>
                  <a:pt x="20250" y="19924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62" y="21600"/>
                  <a:pt x="1031" y="21545"/>
                  <a:pt x="1152" y="21456"/>
                </a:cubicBezTo>
                <a:lnTo>
                  <a:pt x="3375" y="19840"/>
                </a:lnTo>
                <a:lnTo>
                  <a:pt x="5598" y="21456"/>
                </a:lnTo>
                <a:cubicBezTo>
                  <a:pt x="5720" y="21545"/>
                  <a:pt x="5888" y="21600"/>
                  <a:pt x="6075" y="21600"/>
                </a:cubicBezTo>
                <a:cubicBezTo>
                  <a:pt x="6262" y="21600"/>
                  <a:pt x="6431" y="21545"/>
                  <a:pt x="6552" y="21456"/>
                </a:cubicBezTo>
                <a:lnTo>
                  <a:pt x="8702" y="19893"/>
                </a:lnTo>
                <a:lnTo>
                  <a:pt x="10260" y="21404"/>
                </a:lnTo>
                <a:lnTo>
                  <a:pt x="10269" y="21399"/>
                </a:lnTo>
                <a:cubicBezTo>
                  <a:pt x="10393" y="21518"/>
                  <a:pt x="10579" y="21600"/>
                  <a:pt x="10800" y="21600"/>
                </a:cubicBezTo>
                <a:cubicBezTo>
                  <a:pt x="11021" y="21600"/>
                  <a:pt x="11207" y="21518"/>
                  <a:pt x="11331" y="21399"/>
                </a:cubicBezTo>
                <a:lnTo>
                  <a:pt x="11340" y="21404"/>
                </a:lnTo>
                <a:lnTo>
                  <a:pt x="12898" y="19893"/>
                </a:lnTo>
                <a:lnTo>
                  <a:pt x="15048" y="21456"/>
                </a:lnTo>
                <a:cubicBezTo>
                  <a:pt x="15170" y="21545"/>
                  <a:pt x="15338" y="21600"/>
                  <a:pt x="15525" y="21600"/>
                </a:cubicBezTo>
                <a:cubicBezTo>
                  <a:pt x="15712" y="21600"/>
                  <a:pt x="15881" y="21545"/>
                  <a:pt x="16002" y="21456"/>
                </a:cubicBezTo>
                <a:lnTo>
                  <a:pt x="18225" y="19840"/>
                </a:lnTo>
                <a:lnTo>
                  <a:pt x="20448" y="21456"/>
                </a:lnTo>
                <a:cubicBezTo>
                  <a:pt x="20570" y="21545"/>
                  <a:pt x="2073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16200" y="1964"/>
                </a:moveTo>
                <a:lnTo>
                  <a:pt x="14850" y="1964"/>
                </a:lnTo>
                <a:lnTo>
                  <a:pt x="14850" y="7855"/>
                </a:lnTo>
                <a:lnTo>
                  <a:pt x="16200" y="7855"/>
                </a:lnTo>
                <a:cubicBezTo>
                  <a:pt x="16200" y="7855"/>
                  <a:pt x="16200" y="1964"/>
                  <a:pt x="16200" y="1964"/>
                </a:cubicBezTo>
                <a:close/>
                <a:moveTo>
                  <a:pt x="18900" y="1964"/>
                </a:moveTo>
                <a:lnTo>
                  <a:pt x="17550" y="1964"/>
                </a:lnTo>
                <a:lnTo>
                  <a:pt x="17550" y="7855"/>
                </a:lnTo>
                <a:lnTo>
                  <a:pt x="18900" y="7855"/>
                </a:lnTo>
                <a:cubicBezTo>
                  <a:pt x="18900" y="7855"/>
                  <a:pt x="18900" y="1964"/>
                  <a:pt x="18900" y="1964"/>
                </a:cubicBezTo>
                <a:close/>
                <a:moveTo>
                  <a:pt x="10800" y="1964"/>
                </a:moveTo>
                <a:lnTo>
                  <a:pt x="9450" y="1964"/>
                </a:lnTo>
                <a:lnTo>
                  <a:pt x="9450" y="7855"/>
                </a:lnTo>
                <a:lnTo>
                  <a:pt x="10800" y="7855"/>
                </a:lnTo>
                <a:cubicBezTo>
                  <a:pt x="10800" y="7855"/>
                  <a:pt x="10800" y="1964"/>
                  <a:pt x="10800" y="1964"/>
                </a:cubicBezTo>
                <a:close/>
                <a:moveTo>
                  <a:pt x="8100" y="1964"/>
                </a:moveTo>
                <a:lnTo>
                  <a:pt x="5400" y="1964"/>
                </a:lnTo>
                <a:lnTo>
                  <a:pt x="5400" y="7855"/>
                </a:lnTo>
                <a:lnTo>
                  <a:pt x="8100" y="7855"/>
                </a:lnTo>
                <a:cubicBezTo>
                  <a:pt x="8100" y="7855"/>
                  <a:pt x="8100" y="1964"/>
                  <a:pt x="8100" y="1964"/>
                </a:cubicBezTo>
                <a:close/>
                <a:moveTo>
                  <a:pt x="13500" y="1964"/>
                </a:moveTo>
                <a:lnTo>
                  <a:pt x="12150" y="1964"/>
                </a:lnTo>
                <a:lnTo>
                  <a:pt x="12150" y="7855"/>
                </a:lnTo>
                <a:lnTo>
                  <a:pt x="13500" y="7855"/>
                </a:lnTo>
                <a:cubicBezTo>
                  <a:pt x="13500" y="7855"/>
                  <a:pt x="13500" y="1964"/>
                  <a:pt x="13500" y="196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8" name="Shape 2828"/>
          <p:cNvSpPr/>
          <p:nvPr/>
        </p:nvSpPr>
        <p:spPr>
          <a:xfrm>
            <a:off x="21038023" y="391960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2400" y="13745"/>
                </a:lnTo>
                <a:lnTo>
                  <a:pt x="2400" y="14727"/>
                </a:lnTo>
                <a:lnTo>
                  <a:pt x="14400" y="14727"/>
                </a:lnTo>
                <a:cubicBezTo>
                  <a:pt x="14400" y="14727"/>
                  <a:pt x="14400" y="13745"/>
                  <a:pt x="14400" y="13745"/>
                </a:cubicBezTo>
                <a:close/>
                <a:moveTo>
                  <a:pt x="15600" y="20092"/>
                </a:moveTo>
                <a:lnTo>
                  <a:pt x="13624" y="18798"/>
                </a:lnTo>
                <a:cubicBezTo>
                  <a:pt x="13515" y="18710"/>
                  <a:pt x="13366" y="18655"/>
                  <a:pt x="13200" y="18655"/>
                </a:cubicBezTo>
                <a:cubicBezTo>
                  <a:pt x="13035" y="18655"/>
                  <a:pt x="12885" y="18710"/>
                  <a:pt x="12776" y="18798"/>
                </a:cubicBezTo>
                <a:lnTo>
                  <a:pt x="10800" y="20415"/>
                </a:lnTo>
                <a:lnTo>
                  <a:pt x="8824" y="18798"/>
                </a:lnTo>
                <a:cubicBezTo>
                  <a:pt x="8716" y="18710"/>
                  <a:pt x="8566" y="18655"/>
                  <a:pt x="8400" y="18655"/>
                </a:cubicBezTo>
                <a:cubicBezTo>
                  <a:pt x="8235" y="18655"/>
                  <a:pt x="8085" y="18710"/>
                  <a:pt x="7976" y="18798"/>
                </a:cubicBezTo>
                <a:lnTo>
                  <a:pt x="6000" y="20415"/>
                </a:lnTo>
                <a:lnTo>
                  <a:pt x="4024" y="18798"/>
                </a:lnTo>
                <a:cubicBezTo>
                  <a:pt x="3915" y="18710"/>
                  <a:pt x="3766" y="18655"/>
                  <a:pt x="3600" y="18655"/>
                </a:cubicBezTo>
                <a:cubicBezTo>
                  <a:pt x="3435" y="18655"/>
                  <a:pt x="3285" y="18710"/>
                  <a:pt x="3176" y="18798"/>
                </a:cubicBezTo>
                <a:lnTo>
                  <a:pt x="1200" y="20092"/>
                </a:lnTo>
                <a:lnTo>
                  <a:pt x="1200" y="3927"/>
                </a:lnTo>
                <a:lnTo>
                  <a:pt x="15600" y="3927"/>
                </a:lnTo>
                <a:cubicBezTo>
                  <a:pt x="15600" y="3927"/>
                  <a:pt x="15600" y="20092"/>
                  <a:pt x="15600" y="20092"/>
                </a:cubicBezTo>
                <a:close/>
                <a:moveTo>
                  <a:pt x="16200" y="2945"/>
                </a:moveTo>
                <a:lnTo>
                  <a:pt x="600" y="2945"/>
                </a:lnTo>
                <a:cubicBezTo>
                  <a:pt x="268" y="2945"/>
                  <a:pt x="0" y="3165"/>
                  <a:pt x="0" y="3436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766" y="21600"/>
                  <a:pt x="916" y="21545"/>
                  <a:pt x="1024" y="21456"/>
                </a:cubicBezTo>
                <a:lnTo>
                  <a:pt x="3553" y="19801"/>
                </a:lnTo>
                <a:lnTo>
                  <a:pt x="5576" y="21456"/>
                </a:lnTo>
                <a:cubicBezTo>
                  <a:pt x="5684" y="21545"/>
                  <a:pt x="5834" y="21600"/>
                  <a:pt x="6000" y="21600"/>
                </a:cubicBezTo>
                <a:cubicBezTo>
                  <a:pt x="6166" y="21600"/>
                  <a:pt x="6316" y="21545"/>
                  <a:pt x="6424" y="21456"/>
                </a:cubicBezTo>
                <a:lnTo>
                  <a:pt x="8400" y="19840"/>
                </a:lnTo>
                <a:lnTo>
                  <a:pt x="10376" y="21456"/>
                </a:lnTo>
                <a:cubicBezTo>
                  <a:pt x="10484" y="21545"/>
                  <a:pt x="10634" y="21600"/>
                  <a:pt x="10800" y="21600"/>
                </a:cubicBezTo>
                <a:cubicBezTo>
                  <a:pt x="10966" y="21600"/>
                  <a:pt x="11116" y="21545"/>
                  <a:pt x="11224" y="21456"/>
                </a:cubicBezTo>
                <a:lnTo>
                  <a:pt x="13247" y="19801"/>
                </a:lnTo>
                <a:lnTo>
                  <a:pt x="15776" y="21456"/>
                </a:lnTo>
                <a:cubicBezTo>
                  <a:pt x="15884" y="21545"/>
                  <a:pt x="16034" y="21600"/>
                  <a:pt x="16200" y="21600"/>
                </a:cubicBezTo>
                <a:cubicBezTo>
                  <a:pt x="16532" y="21600"/>
                  <a:pt x="16800" y="21380"/>
                  <a:pt x="16800" y="21109"/>
                </a:cubicBezTo>
                <a:lnTo>
                  <a:pt x="16800" y="3436"/>
                </a:lnTo>
                <a:cubicBezTo>
                  <a:pt x="16800" y="3165"/>
                  <a:pt x="16532" y="2945"/>
                  <a:pt x="16200" y="2945"/>
                </a:cubicBezTo>
                <a:moveTo>
                  <a:pt x="8400" y="11782"/>
                </a:moveTo>
                <a:lnTo>
                  <a:pt x="2400" y="11782"/>
                </a:lnTo>
                <a:lnTo>
                  <a:pt x="2400" y="12764"/>
                </a:lnTo>
                <a:lnTo>
                  <a:pt x="8400" y="12764"/>
                </a:lnTo>
                <a:cubicBezTo>
                  <a:pt x="8400" y="12764"/>
                  <a:pt x="8400" y="11782"/>
                  <a:pt x="8400" y="11782"/>
                </a:cubicBezTo>
                <a:close/>
                <a:moveTo>
                  <a:pt x="21000" y="0"/>
                </a:moveTo>
                <a:lnTo>
                  <a:pt x="5400" y="0"/>
                </a:lnTo>
                <a:cubicBezTo>
                  <a:pt x="5068" y="0"/>
                  <a:pt x="4800" y="220"/>
                  <a:pt x="4800" y="491"/>
                </a:cubicBezTo>
                <a:lnTo>
                  <a:pt x="4800" y="1964"/>
                </a:lnTo>
                <a:lnTo>
                  <a:pt x="6000" y="1964"/>
                </a:lnTo>
                <a:lnTo>
                  <a:pt x="6000" y="982"/>
                </a:lnTo>
                <a:lnTo>
                  <a:pt x="20400" y="982"/>
                </a:lnTo>
                <a:lnTo>
                  <a:pt x="20400" y="17146"/>
                </a:lnTo>
                <a:lnTo>
                  <a:pt x="18424" y="15853"/>
                </a:lnTo>
                <a:cubicBezTo>
                  <a:pt x="18316" y="15764"/>
                  <a:pt x="18166" y="15709"/>
                  <a:pt x="18000" y="15709"/>
                </a:cubicBezTo>
                <a:lnTo>
                  <a:pt x="18000" y="16894"/>
                </a:lnTo>
                <a:lnTo>
                  <a:pt x="18047" y="16856"/>
                </a:lnTo>
                <a:lnTo>
                  <a:pt x="20576" y="18511"/>
                </a:lnTo>
                <a:cubicBezTo>
                  <a:pt x="20684" y="18599"/>
                  <a:pt x="20834" y="18655"/>
                  <a:pt x="21000" y="18655"/>
                </a:cubicBezTo>
                <a:cubicBezTo>
                  <a:pt x="21332" y="18655"/>
                  <a:pt x="21600" y="18435"/>
                  <a:pt x="21600" y="18164"/>
                </a:cubicBezTo>
                <a:lnTo>
                  <a:pt x="21600" y="491"/>
                </a:lnTo>
                <a:cubicBezTo>
                  <a:pt x="21600" y="220"/>
                  <a:pt x="21332" y="0"/>
                  <a:pt x="21000" y="0"/>
                </a:cubicBezTo>
                <a:moveTo>
                  <a:pt x="10800" y="15709"/>
                </a:moveTo>
                <a:lnTo>
                  <a:pt x="2400" y="15709"/>
                </a:lnTo>
                <a:lnTo>
                  <a:pt x="2400" y="16691"/>
                </a:lnTo>
                <a:lnTo>
                  <a:pt x="10800" y="16691"/>
                </a:lnTo>
                <a:cubicBezTo>
                  <a:pt x="10800" y="16691"/>
                  <a:pt x="10800" y="15709"/>
                  <a:pt x="10800" y="15709"/>
                </a:cubicBezTo>
                <a:close/>
                <a:moveTo>
                  <a:pt x="12000" y="4909"/>
                </a:moveTo>
                <a:lnTo>
                  <a:pt x="10800" y="4909"/>
                </a:lnTo>
                <a:lnTo>
                  <a:pt x="10800" y="9818"/>
                </a:lnTo>
                <a:lnTo>
                  <a:pt x="12000" y="9818"/>
                </a:lnTo>
                <a:cubicBezTo>
                  <a:pt x="12000" y="9818"/>
                  <a:pt x="12000" y="4909"/>
                  <a:pt x="12000" y="4909"/>
                </a:cubicBezTo>
                <a:close/>
                <a:moveTo>
                  <a:pt x="14400" y="4909"/>
                </a:moveTo>
                <a:lnTo>
                  <a:pt x="13200" y="4909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4909"/>
                  <a:pt x="14400" y="4909"/>
                </a:cubicBezTo>
                <a:close/>
                <a:moveTo>
                  <a:pt x="7200" y="4909"/>
                </a:moveTo>
                <a:lnTo>
                  <a:pt x="4800" y="4909"/>
                </a:lnTo>
                <a:lnTo>
                  <a:pt x="4800" y="9818"/>
                </a:lnTo>
                <a:lnTo>
                  <a:pt x="7200" y="9818"/>
                </a:lnTo>
                <a:cubicBezTo>
                  <a:pt x="7200" y="9818"/>
                  <a:pt x="7200" y="4909"/>
                  <a:pt x="7200" y="4909"/>
                </a:cubicBezTo>
                <a:close/>
                <a:moveTo>
                  <a:pt x="3600" y="4909"/>
                </a:moveTo>
                <a:lnTo>
                  <a:pt x="2400" y="4909"/>
                </a:lnTo>
                <a:lnTo>
                  <a:pt x="2400" y="9818"/>
                </a:lnTo>
                <a:lnTo>
                  <a:pt x="3600" y="9818"/>
                </a:lnTo>
                <a:cubicBezTo>
                  <a:pt x="3600" y="9818"/>
                  <a:pt x="3600" y="4909"/>
                  <a:pt x="3600" y="4909"/>
                </a:cubicBezTo>
                <a:close/>
                <a:moveTo>
                  <a:pt x="9600" y="4909"/>
                </a:moveTo>
                <a:lnTo>
                  <a:pt x="8400" y="4909"/>
                </a:lnTo>
                <a:lnTo>
                  <a:pt x="8400" y="9818"/>
                </a:lnTo>
                <a:lnTo>
                  <a:pt x="9600" y="9818"/>
                </a:lnTo>
                <a:cubicBezTo>
                  <a:pt x="9600" y="9818"/>
                  <a:pt x="9600" y="4909"/>
                  <a:pt x="9600" y="4909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29" name="Shape 2829"/>
          <p:cNvSpPr/>
          <p:nvPr/>
        </p:nvSpPr>
        <p:spPr>
          <a:xfrm>
            <a:off x="22053760" y="391960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2764"/>
                </a:moveTo>
                <a:cubicBezTo>
                  <a:pt x="10529" y="12764"/>
                  <a:pt x="10309" y="12544"/>
                  <a:pt x="10309" y="12273"/>
                </a:cubicBezTo>
                <a:cubicBezTo>
                  <a:pt x="10309" y="12001"/>
                  <a:pt x="10529" y="11782"/>
                  <a:pt x="10800" y="11782"/>
                </a:cubicBezTo>
                <a:cubicBezTo>
                  <a:pt x="11071" y="11782"/>
                  <a:pt x="11291" y="12001"/>
                  <a:pt x="11291" y="12273"/>
                </a:cubicBezTo>
                <a:cubicBezTo>
                  <a:pt x="11291" y="12544"/>
                  <a:pt x="11071" y="12764"/>
                  <a:pt x="10800" y="12764"/>
                </a:cubicBezTo>
                <a:moveTo>
                  <a:pt x="10800" y="10800"/>
                </a:moveTo>
                <a:cubicBezTo>
                  <a:pt x="9987" y="10800"/>
                  <a:pt x="9327" y="11460"/>
                  <a:pt x="9327" y="12273"/>
                </a:cubicBezTo>
                <a:cubicBezTo>
                  <a:pt x="9327" y="13086"/>
                  <a:pt x="9987" y="13745"/>
                  <a:pt x="10800" y="13745"/>
                </a:cubicBezTo>
                <a:cubicBezTo>
                  <a:pt x="11613" y="13745"/>
                  <a:pt x="12273" y="13086"/>
                  <a:pt x="12273" y="12273"/>
                </a:cubicBezTo>
                <a:cubicBezTo>
                  <a:pt x="12273" y="11460"/>
                  <a:pt x="11613" y="10800"/>
                  <a:pt x="10800" y="10800"/>
                </a:cubicBezTo>
                <a:moveTo>
                  <a:pt x="20469" y="11563"/>
                </a:moveTo>
                <a:lnTo>
                  <a:pt x="19745" y="13686"/>
                </a:lnTo>
                <a:cubicBezTo>
                  <a:pt x="17492" y="14931"/>
                  <a:pt x="14436" y="15709"/>
                  <a:pt x="11045" y="15709"/>
                </a:cubicBezTo>
                <a:cubicBezTo>
                  <a:pt x="7337" y="15709"/>
                  <a:pt x="4024" y="14783"/>
                  <a:pt x="1732" y="13326"/>
                </a:cubicBezTo>
                <a:lnTo>
                  <a:pt x="1132" y="11568"/>
                </a:lnTo>
                <a:cubicBezTo>
                  <a:pt x="1132" y="11568"/>
                  <a:pt x="982" y="11171"/>
                  <a:pt x="982" y="10800"/>
                </a:cubicBezTo>
                <a:cubicBezTo>
                  <a:pt x="982" y="9718"/>
                  <a:pt x="1863" y="8836"/>
                  <a:pt x="2945" y="8836"/>
                </a:cubicBezTo>
                <a:lnTo>
                  <a:pt x="18655" y="8836"/>
                </a:lnTo>
                <a:cubicBezTo>
                  <a:pt x="19738" y="8836"/>
                  <a:pt x="20618" y="9718"/>
                  <a:pt x="20618" y="10800"/>
                </a:cubicBezTo>
                <a:cubicBezTo>
                  <a:pt x="20618" y="11173"/>
                  <a:pt x="20469" y="11563"/>
                  <a:pt x="20469" y="11563"/>
                </a:cubicBezTo>
                <a:moveTo>
                  <a:pt x="17640" y="19860"/>
                </a:moveTo>
                <a:cubicBezTo>
                  <a:pt x="17636" y="19861"/>
                  <a:pt x="17438" y="20618"/>
                  <a:pt x="16691" y="20618"/>
                </a:cubicBezTo>
                <a:lnTo>
                  <a:pt x="4909" y="20618"/>
                </a:lnTo>
                <a:cubicBezTo>
                  <a:pt x="4169" y="20618"/>
                  <a:pt x="3960" y="19860"/>
                  <a:pt x="3960" y="19860"/>
                </a:cubicBezTo>
                <a:lnTo>
                  <a:pt x="2196" y="14687"/>
                </a:lnTo>
                <a:cubicBezTo>
                  <a:pt x="4567" y="15928"/>
                  <a:pt x="7651" y="16691"/>
                  <a:pt x="11045" y="16691"/>
                </a:cubicBezTo>
                <a:cubicBezTo>
                  <a:pt x="14163" y="16691"/>
                  <a:pt x="17019" y="16046"/>
                  <a:pt x="19304" y="14981"/>
                </a:cubicBezTo>
                <a:cubicBezTo>
                  <a:pt x="19304" y="14981"/>
                  <a:pt x="17640" y="19860"/>
                  <a:pt x="17640" y="19860"/>
                </a:cubicBezTo>
                <a:close/>
                <a:moveTo>
                  <a:pt x="10800" y="982"/>
                </a:moveTo>
                <a:cubicBezTo>
                  <a:pt x="13436" y="982"/>
                  <a:pt x="15657" y="3875"/>
                  <a:pt x="16409" y="7855"/>
                </a:cubicBezTo>
                <a:lnTo>
                  <a:pt x="5191" y="7855"/>
                </a:lnTo>
                <a:cubicBezTo>
                  <a:pt x="5943" y="3875"/>
                  <a:pt x="8164" y="982"/>
                  <a:pt x="10800" y="982"/>
                </a:cubicBezTo>
                <a:moveTo>
                  <a:pt x="18655" y="7855"/>
                </a:moveTo>
                <a:lnTo>
                  <a:pt x="17401" y="7855"/>
                </a:lnTo>
                <a:cubicBezTo>
                  <a:pt x="16584" y="3325"/>
                  <a:pt x="13944" y="0"/>
                  <a:pt x="10800" y="0"/>
                </a:cubicBezTo>
                <a:cubicBezTo>
                  <a:pt x="7656" y="0"/>
                  <a:pt x="5016" y="3325"/>
                  <a:pt x="4200" y="7855"/>
                </a:cubicBezTo>
                <a:lnTo>
                  <a:pt x="2945" y="7855"/>
                </a:lnTo>
                <a:cubicBezTo>
                  <a:pt x="1319" y="7855"/>
                  <a:pt x="0" y="9174"/>
                  <a:pt x="0" y="10800"/>
                </a:cubicBezTo>
                <a:cubicBezTo>
                  <a:pt x="0" y="11348"/>
                  <a:pt x="151" y="11732"/>
                  <a:pt x="151" y="11732"/>
                </a:cubicBezTo>
                <a:lnTo>
                  <a:pt x="3118" y="20435"/>
                </a:lnTo>
                <a:cubicBezTo>
                  <a:pt x="3118" y="20435"/>
                  <a:pt x="3452" y="21600"/>
                  <a:pt x="4909" y="21600"/>
                </a:cubicBezTo>
                <a:lnTo>
                  <a:pt x="16691" y="21600"/>
                </a:lnTo>
                <a:cubicBezTo>
                  <a:pt x="18153" y="21600"/>
                  <a:pt x="18565" y="20194"/>
                  <a:pt x="18570" y="20177"/>
                </a:cubicBezTo>
                <a:lnTo>
                  <a:pt x="21437" y="11727"/>
                </a:lnTo>
                <a:cubicBezTo>
                  <a:pt x="21534" y="11434"/>
                  <a:pt x="21600" y="11126"/>
                  <a:pt x="21600" y="10800"/>
                </a:cubicBezTo>
                <a:cubicBezTo>
                  <a:pt x="21600" y="9174"/>
                  <a:pt x="20281" y="7855"/>
                  <a:pt x="18655" y="785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1" name="Shape 2831"/>
          <p:cNvSpPr/>
          <p:nvPr/>
        </p:nvSpPr>
        <p:spPr>
          <a:xfrm>
            <a:off x="1834724" y="6662093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  <a:moveTo>
                  <a:pt x="5400" y="12764"/>
                </a:moveTo>
                <a:cubicBezTo>
                  <a:pt x="5028" y="12764"/>
                  <a:pt x="4725" y="12983"/>
                  <a:pt x="4725" y="13255"/>
                </a:cubicBezTo>
                <a:cubicBezTo>
                  <a:pt x="4725" y="13390"/>
                  <a:pt x="4800" y="13513"/>
                  <a:pt x="4923" y="13602"/>
                </a:cubicBezTo>
                <a:lnTo>
                  <a:pt x="10323" y="17529"/>
                </a:lnTo>
                <a:cubicBezTo>
                  <a:pt x="10445" y="17618"/>
                  <a:pt x="10614" y="17673"/>
                  <a:pt x="10800" y="17673"/>
                </a:cubicBezTo>
                <a:cubicBezTo>
                  <a:pt x="10986" y="17673"/>
                  <a:pt x="11155" y="17618"/>
                  <a:pt x="11277" y="17529"/>
                </a:cubicBezTo>
                <a:lnTo>
                  <a:pt x="16677" y="13602"/>
                </a:lnTo>
                <a:cubicBezTo>
                  <a:pt x="16800" y="13513"/>
                  <a:pt x="16875" y="13390"/>
                  <a:pt x="16875" y="13255"/>
                </a:cubicBezTo>
                <a:cubicBezTo>
                  <a:pt x="16875" y="12983"/>
                  <a:pt x="16572" y="12764"/>
                  <a:pt x="16200" y="12764"/>
                </a:cubicBezTo>
                <a:cubicBezTo>
                  <a:pt x="16014" y="12764"/>
                  <a:pt x="15845" y="12819"/>
                  <a:pt x="15723" y="12907"/>
                </a:cubicBezTo>
                <a:lnTo>
                  <a:pt x="11475" y="15997"/>
                </a:lnTo>
                <a:lnTo>
                  <a:pt x="11475" y="491"/>
                </a:lnTo>
                <a:cubicBezTo>
                  <a:pt x="11475" y="220"/>
                  <a:pt x="11172" y="0"/>
                  <a:pt x="10800" y="0"/>
                </a:cubicBezTo>
                <a:cubicBezTo>
                  <a:pt x="10428" y="0"/>
                  <a:pt x="10125" y="220"/>
                  <a:pt x="10125" y="491"/>
                </a:cubicBezTo>
                <a:lnTo>
                  <a:pt x="10125" y="15997"/>
                </a:lnTo>
                <a:lnTo>
                  <a:pt x="5877" y="12907"/>
                </a:lnTo>
                <a:cubicBezTo>
                  <a:pt x="5755" y="12819"/>
                  <a:pt x="5586" y="12764"/>
                  <a:pt x="5400" y="127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2" name="Shape 2832"/>
          <p:cNvSpPr/>
          <p:nvPr/>
        </p:nvSpPr>
        <p:spPr>
          <a:xfrm>
            <a:off x="2901247" y="6662093"/>
            <a:ext cx="406295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4909"/>
                </a:moveTo>
                <a:cubicBezTo>
                  <a:pt x="5586" y="4909"/>
                  <a:pt x="5755" y="4855"/>
                  <a:pt x="5877" y="4765"/>
                </a:cubicBezTo>
                <a:lnTo>
                  <a:pt x="10125" y="1676"/>
                </a:lnTo>
                <a:lnTo>
                  <a:pt x="10125" y="17182"/>
                </a:lnTo>
                <a:cubicBezTo>
                  <a:pt x="10125" y="17453"/>
                  <a:pt x="10428" y="17673"/>
                  <a:pt x="10800" y="17673"/>
                </a:cubicBezTo>
                <a:cubicBezTo>
                  <a:pt x="11172" y="17673"/>
                  <a:pt x="11475" y="17453"/>
                  <a:pt x="11475" y="17182"/>
                </a:cubicBezTo>
                <a:lnTo>
                  <a:pt x="11475" y="1676"/>
                </a:lnTo>
                <a:lnTo>
                  <a:pt x="15723" y="4765"/>
                </a:lnTo>
                <a:cubicBezTo>
                  <a:pt x="15845" y="4855"/>
                  <a:pt x="16014" y="4909"/>
                  <a:pt x="16200" y="4909"/>
                </a:cubicBezTo>
                <a:cubicBezTo>
                  <a:pt x="16572" y="4909"/>
                  <a:pt x="16875" y="4690"/>
                  <a:pt x="16875" y="4418"/>
                </a:cubicBezTo>
                <a:cubicBezTo>
                  <a:pt x="16875" y="4283"/>
                  <a:pt x="16800" y="4161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0" y="4161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3" name="Shape 2833"/>
          <p:cNvSpPr/>
          <p:nvPr/>
        </p:nvSpPr>
        <p:spPr>
          <a:xfrm>
            <a:off x="3891587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  <a:moveTo>
                  <a:pt x="7140" y="14181"/>
                </a:moveTo>
                <a:cubicBezTo>
                  <a:pt x="6970" y="13741"/>
                  <a:pt x="6873" y="13264"/>
                  <a:pt x="6873" y="12764"/>
                </a:cubicBezTo>
                <a:cubicBezTo>
                  <a:pt x="6873" y="10595"/>
                  <a:pt x="8631" y="8836"/>
                  <a:pt x="10800" y="8836"/>
                </a:cubicBezTo>
                <a:cubicBezTo>
                  <a:pt x="11300" y="8836"/>
                  <a:pt x="11777" y="8934"/>
                  <a:pt x="12217" y="9104"/>
                </a:cubicBezTo>
                <a:lnTo>
                  <a:pt x="13217" y="8494"/>
                </a:lnTo>
                <a:cubicBezTo>
                  <a:pt x="12503" y="8089"/>
                  <a:pt x="11680" y="7855"/>
                  <a:pt x="10800" y="7855"/>
                </a:cubicBezTo>
                <a:cubicBezTo>
                  <a:pt x="8089" y="7855"/>
                  <a:pt x="5891" y="10053"/>
                  <a:pt x="5891" y="12764"/>
                </a:cubicBezTo>
                <a:cubicBezTo>
                  <a:pt x="5891" y="13643"/>
                  <a:pt x="6125" y="14467"/>
                  <a:pt x="6530" y="15181"/>
                </a:cubicBezTo>
                <a:cubicBezTo>
                  <a:pt x="6530" y="15181"/>
                  <a:pt x="7140" y="14181"/>
                  <a:pt x="7140" y="14181"/>
                </a:cubicBezTo>
                <a:close/>
                <a:moveTo>
                  <a:pt x="14460" y="11347"/>
                </a:moveTo>
                <a:cubicBezTo>
                  <a:pt x="14630" y="11787"/>
                  <a:pt x="14727" y="12263"/>
                  <a:pt x="14727" y="12764"/>
                </a:cubicBezTo>
                <a:cubicBezTo>
                  <a:pt x="14727" y="14932"/>
                  <a:pt x="12969" y="16691"/>
                  <a:pt x="10800" y="16691"/>
                </a:cubicBezTo>
                <a:cubicBezTo>
                  <a:pt x="10300" y="16691"/>
                  <a:pt x="9823" y="16594"/>
                  <a:pt x="9383" y="16423"/>
                </a:cubicBezTo>
                <a:lnTo>
                  <a:pt x="8383" y="17034"/>
                </a:lnTo>
                <a:cubicBezTo>
                  <a:pt x="9097" y="17439"/>
                  <a:pt x="9920" y="17673"/>
                  <a:pt x="10800" y="17673"/>
                </a:cubicBezTo>
                <a:cubicBezTo>
                  <a:pt x="13511" y="17673"/>
                  <a:pt x="15709" y="15475"/>
                  <a:pt x="15709" y="12764"/>
                </a:cubicBezTo>
                <a:cubicBezTo>
                  <a:pt x="15709" y="11884"/>
                  <a:pt x="15475" y="11061"/>
                  <a:pt x="15070" y="10346"/>
                </a:cubicBezTo>
                <a:cubicBezTo>
                  <a:pt x="15070" y="10346"/>
                  <a:pt x="14460" y="11347"/>
                  <a:pt x="14460" y="11347"/>
                </a:cubicBezTo>
                <a:close/>
                <a:moveTo>
                  <a:pt x="10453" y="12417"/>
                </a:moveTo>
                <a:cubicBezTo>
                  <a:pt x="10645" y="12225"/>
                  <a:pt x="10955" y="12225"/>
                  <a:pt x="11147" y="12417"/>
                </a:cubicBezTo>
                <a:cubicBezTo>
                  <a:pt x="11339" y="12609"/>
                  <a:pt x="11339" y="12919"/>
                  <a:pt x="11147" y="13111"/>
                </a:cubicBezTo>
                <a:cubicBezTo>
                  <a:pt x="10955" y="13303"/>
                  <a:pt x="10645" y="13303"/>
                  <a:pt x="10453" y="13111"/>
                </a:cubicBezTo>
                <a:cubicBezTo>
                  <a:pt x="10261" y="12919"/>
                  <a:pt x="10261" y="12609"/>
                  <a:pt x="10453" y="12417"/>
                </a:cubicBezTo>
                <a:moveTo>
                  <a:pt x="6144" y="17420"/>
                </a:moveTo>
                <a:lnTo>
                  <a:pt x="11842" y="13805"/>
                </a:lnTo>
                <a:lnTo>
                  <a:pt x="15456" y="8107"/>
                </a:lnTo>
                <a:lnTo>
                  <a:pt x="9759" y="11722"/>
                </a:lnTo>
                <a:cubicBezTo>
                  <a:pt x="9759" y="11722"/>
                  <a:pt x="6144" y="17420"/>
                  <a:pt x="6144" y="1742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4" name="Shape 2834"/>
          <p:cNvSpPr/>
          <p:nvPr/>
        </p:nvSpPr>
        <p:spPr>
          <a:xfrm>
            <a:off x="4958109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5" name="Shape 2835"/>
          <p:cNvSpPr/>
          <p:nvPr/>
        </p:nvSpPr>
        <p:spPr>
          <a:xfrm>
            <a:off x="6024631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18" y="5891"/>
                </a:moveTo>
                <a:lnTo>
                  <a:pt x="8345" y="5891"/>
                </a:lnTo>
                <a:cubicBezTo>
                  <a:pt x="8075" y="5891"/>
                  <a:pt x="7855" y="6111"/>
                  <a:pt x="7855" y="6382"/>
                </a:cubicBezTo>
                <a:cubicBezTo>
                  <a:pt x="7855" y="6653"/>
                  <a:pt x="8075" y="6873"/>
                  <a:pt x="8345" y="6873"/>
                </a:cubicBez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moveTo>
                  <a:pt x="6382" y="5891"/>
                </a:moveTo>
                <a:cubicBezTo>
                  <a:pt x="6111" y="5891"/>
                  <a:pt x="5891" y="6111"/>
                  <a:pt x="5891" y="6382"/>
                </a:cubicBezTo>
                <a:cubicBezTo>
                  <a:pt x="5891" y="6653"/>
                  <a:pt x="6111" y="6873"/>
                  <a:pt x="6382" y="6873"/>
                </a:cubicBezTo>
                <a:cubicBezTo>
                  <a:pt x="6653" y="6873"/>
                  <a:pt x="6873" y="6653"/>
                  <a:pt x="6873" y="6382"/>
                </a:cubicBezTo>
                <a:cubicBezTo>
                  <a:pt x="6873" y="6111"/>
                  <a:pt x="6653" y="5891"/>
                  <a:pt x="6382" y="5891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0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5891"/>
                </a:moveTo>
                <a:cubicBezTo>
                  <a:pt x="2184" y="5891"/>
                  <a:pt x="1964" y="6111"/>
                  <a:pt x="1964" y="6382"/>
                </a:cubicBezTo>
                <a:cubicBezTo>
                  <a:pt x="1964" y="6653"/>
                  <a:pt x="2184" y="6873"/>
                  <a:pt x="2455" y="6873"/>
                </a:cubicBezTo>
                <a:cubicBezTo>
                  <a:pt x="2725" y="6873"/>
                  <a:pt x="2945" y="6653"/>
                  <a:pt x="2945" y="6382"/>
                </a:cubicBezTo>
                <a:cubicBezTo>
                  <a:pt x="2945" y="6111"/>
                  <a:pt x="2725" y="5891"/>
                  <a:pt x="2455" y="5891"/>
                </a:cubicBezTo>
                <a:moveTo>
                  <a:pt x="4418" y="5891"/>
                </a:moveTo>
                <a:cubicBezTo>
                  <a:pt x="4147" y="5891"/>
                  <a:pt x="3927" y="6111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cubicBezTo>
                  <a:pt x="4689" y="6873"/>
                  <a:pt x="4909" y="6653"/>
                  <a:pt x="4909" y="6382"/>
                </a:cubicBezTo>
                <a:cubicBezTo>
                  <a:pt x="4909" y="6111"/>
                  <a:pt x="4689" y="5891"/>
                  <a:pt x="4418" y="5891"/>
                </a:cubicBezTo>
                <a:moveTo>
                  <a:pt x="16691" y="7855"/>
                </a:moveTo>
                <a:lnTo>
                  <a:pt x="982" y="7855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7855"/>
                  <a:pt x="16691" y="7855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6" name="Shape 2836"/>
          <p:cNvSpPr/>
          <p:nvPr/>
        </p:nvSpPr>
        <p:spPr>
          <a:xfrm>
            <a:off x="7091154" y="6738275"/>
            <a:ext cx="558654" cy="406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7" name="Shape 2837"/>
          <p:cNvSpPr/>
          <p:nvPr/>
        </p:nvSpPr>
        <p:spPr>
          <a:xfrm>
            <a:off x="8157677" y="6725578"/>
            <a:ext cx="558654" cy="4316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8667"/>
                </a:moveTo>
                <a:lnTo>
                  <a:pt x="12576" y="13341"/>
                </a:lnTo>
                <a:lnTo>
                  <a:pt x="16691" y="8016"/>
                </a:lnTo>
                <a:cubicBezTo>
                  <a:pt x="16691" y="8016"/>
                  <a:pt x="16691" y="18667"/>
                  <a:pt x="16691" y="18667"/>
                </a:cubicBezTo>
                <a:close/>
                <a:moveTo>
                  <a:pt x="15709" y="20329"/>
                </a:moveTo>
                <a:lnTo>
                  <a:pt x="1964" y="20329"/>
                </a:lnTo>
                <a:cubicBezTo>
                  <a:pt x="1719" y="20329"/>
                  <a:pt x="1498" y="20210"/>
                  <a:pt x="1326" y="20018"/>
                </a:cubicBezTo>
                <a:lnTo>
                  <a:pt x="5791" y="14240"/>
                </a:lnTo>
                <a:lnTo>
                  <a:pt x="7477" y="16421"/>
                </a:lnTo>
                <a:cubicBezTo>
                  <a:pt x="7853" y="16907"/>
                  <a:pt x="8344" y="17150"/>
                  <a:pt x="8836" y="17150"/>
                </a:cubicBezTo>
                <a:cubicBezTo>
                  <a:pt x="9329" y="17150"/>
                  <a:pt x="9821" y="16907"/>
                  <a:pt x="10195" y="16421"/>
                </a:cubicBezTo>
                <a:lnTo>
                  <a:pt x="11882" y="14240"/>
                </a:lnTo>
                <a:lnTo>
                  <a:pt x="16347" y="20018"/>
                </a:lnTo>
                <a:cubicBezTo>
                  <a:pt x="16175" y="20210"/>
                  <a:pt x="15954" y="20329"/>
                  <a:pt x="15709" y="20329"/>
                </a:cubicBezTo>
                <a:moveTo>
                  <a:pt x="982" y="8016"/>
                </a:moveTo>
                <a:lnTo>
                  <a:pt x="5097" y="13341"/>
                </a:lnTo>
                <a:lnTo>
                  <a:pt x="982" y="18667"/>
                </a:lnTo>
                <a:cubicBezTo>
                  <a:pt x="982" y="18667"/>
                  <a:pt x="982" y="8016"/>
                  <a:pt x="982" y="8016"/>
                </a:cubicBezTo>
                <a:close/>
                <a:moveTo>
                  <a:pt x="1964" y="6353"/>
                </a:moveTo>
                <a:lnTo>
                  <a:pt x="15709" y="6353"/>
                </a:lnTo>
                <a:cubicBezTo>
                  <a:pt x="15954" y="6353"/>
                  <a:pt x="16175" y="6474"/>
                  <a:pt x="16347" y="6665"/>
                </a:cubicBezTo>
                <a:lnTo>
                  <a:pt x="9502" y="15523"/>
                </a:lnTo>
                <a:cubicBezTo>
                  <a:pt x="9324" y="15752"/>
                  <a:pt x="9088" y="15880"/>
                  <a:pt x="8836" y="15880"/>
                </a:cubicBezTo>
                <a:cubicBezTo>
                  <a:pt x="8585" y="15880"/>
                  <a:pt x="8349" y="15752"/>
                  <a:pt x="8170" y="15523"/>
                </a:cubicBezTo>
                <a:lnTo>
                  <a:pt x="1326" y="6664"/>
                </a:lnTo>
                <a:cubicBezTo>
                  <a:pt x="1498" y="6474"/>
                  <a:pt x="1719" y="6353"/>
                  <a:pt x="1964" y="6353"/>
                </a:cubicBezTo>
                <a:moveTo>
                  <a:pt x="15709" y="5082"/>
                </a:moveTo>
                <a:lnTo>
                  <a:pt x="1964" y="5082"/>
                </a:lnTo>
                <a:cubicBezTo>
                  <a:pt x="879" y="5082"/>
                  <a:pt x="0" y="6220"/>
                  <a:pt x="0" y="7624"/>
                </a:cubicBezTo>
                <a:lnTo>
                  <a:pt x="0" y="19059"/>
                </a:lnTo>
                <a:cubicBezTo>
                  <a:pt x="0" y="20462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462"/>
                  <a:pt x="17673" y="19059"/>
                </a:cubicBezTo>
                <a:lnTo>
                  <a:pt x="17673" y="7624"/>
                </a:lnTo>
                <a:cubicBezTo>
                  <a:pt x="17673" y="6220"/>
                  <a:pt x="16794" y="5082"/>
                  <a:pt x="15709" y="5082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1138"/>
                  <a:pt x="3927" y="2541"/>
                </a:cubicBezTo>
                <a:lnTo>
                  <a:pt x="3927" y="3176"/>
                </a:lnTo>
                <a:cubicBezTo>
                  <a:pt x="3927" y="3528"/>
                  <a:pt x="4147" y="3812"/>
                  <a:pt x="4418" y="3812"/>
                </a:cubicBezTo>
                <a:cubicBezTo>
                  <a:pt x="4690" y="3812"/>
                  <a:pt x="4909" y="3528"/>
                  <a:pt x="4909" y="3176"/>
                </a:cubicBezTo>
                <a:lnTo>
                  <a:pt x="4909" y="2541"/>
                </a:lnTo>
                <a:cubicBezTo>
                  <a:pt x="4909" y="1840"/>
                  <a:pt x="5348" y="1271"/>
                  <a:pt x="5891" y="1271"/>
                </a:cubicBezTo>
                <a:lnTo>
                  <a:pt x="19636" y="1271"/>
                </a:lnTo>
                <a:cubicBezTo>
                  <a:pt x="20178" y="1271"/>
                  <a:pt x="20618" y="1840"/>
                  <a:pt x="20618" y="2541"/>
                </a:cubicBezTo>
                <a:lnTo>
                  <a:pt x="20618" y="13976"/>
                </a:lnTo>
                <a:cubicBezTo>
                  <a:pt x="20618" y="14678"/>
                  <a:pt x="20178" y="15247"/>
                  <a:pt x="19636" y="15247"/>
                </a:cubicBezTo>
                <a:lnTo>
                  <a:pt x="19145" y="15247"/>
                </a:lnTo>
                <a:cubicBezTo>
                  <a:pt x="18874" y="15247"/>
                  <a:pt x="18655" y="15532"/>
                  <a:pt x="18655" y="15882"/>
                </a:cubicBezTo>
                <a:cubicBezTo>
                  <a:pt x="18655" y="16234"/>
                  <a:pt x="18874" y="16518"/>
                  <a:pt x="19145" y="16518"/>
                </a:cubicBezTo>
                <a:lnTo>
                  <a:pt x="19636" y="16518"/>
                </a:lnTo>
                <a:cubicBezTo>
                  <a:pt x="20721" y="16518"/>
                  <a:pt x="21600" y="15380"/>
                  <a:pt x="21600" y="13976"/>
                </a:cubicBezTo>
                <a:lnTo>
                  <a:pt x="21600" y="2541"/>
                </a:lnTo>
                <a:cubicBezTo>
                  <a:pt x="21600" y="1138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8" name="Shape 2838"/>
          <p:cNvSpPr/>
          <p:nvPr/>
        </p:nvSpPr>
        <p:spPr>
          <a:xfrm>
            <a:off x="9224197" y="6712880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4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5" y="12000"/>
                  <a:pt x="13745" y="12269"/>
                  <a:pt x="13745" y="12600"/>
                </a:cubicBezTo>
                <a:cubicBezTo>
                  <a:pt x="13745" y="14589"/>
                  <a:pt x="12426" y="16200"/>
                  <a:pt x="10800" y="16200"/>
                </a:cubicBezTo>
                <a:cubicBezTo>
                  <a:pt x="9173" y="16200"/>
                  <a:pt x="7855" y="14589"/>
                  <a:pt x="7855" y="12600"/>
                </a:cubicBezTo>
                <a:cubicBezTo>
                  <a:pt x="7855" y="12269"/>
                  <a:pt x="7635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5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5"/>
                </a:lnTo>
                <a:cubicBezTo>
                  <a:pt x="23" y="12415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5"/>
                  <a:pt x="21543" y="1233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39" name="Shape 2839"/>
          <p:cNvSpPr/>
          <p:nvPr/>
        </p:nvSpPr>
        <p:spPr>
          <a:xfrm>
            <a:off x="10290720" y="6687488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4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3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4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2764" y="2160"/>
                </a:lnTo>
                <a:cubicBezTo>
                  <a:pt x="12492" y="2160"/>
                  <a:pt x="12273" y="2402"/>
                  <a:pt x="12273" y="2700"/>
                </a:cubicBezTo>
                <a:cubicBezTo>
                  <a:pt x="12273" y="2999"/>
                  <a:pt x="12492" y="3240"/>
                  <a:pt x="12764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8836" y="3240"/>
                </a:lnTo>
                <a:cubicBezTo>
                  <a:pt x="9108" y="3240"/>
                  <a:pt x="9327" y="2999"/>
                  <a:pt x="9327" y="2700"/>
                </a:cubicBezTo>
                <a:cubicBezTo>
                  <a:pt x="9327" y="2402"/>
                  <a:pt x="9108" y="2160"/>
                  <a:pt x="8836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3" y="13261"/>
                </a:cubicBezTo>
                <a:moveTo>
                  <a:pt x="7855" y="8640"/>
                </a:moveTo>
                <a:cubicBezTo>
                  <a:pt x="7583" y="8640"/>
                  <a:pt x="7364" y="8882"/>
                  <a:pt x="7364" y="9180"/>
                </a:cubicBezTo>
                <a:cubicBezTo>
                  <a:pt x="7364" y="9329"/>
                  <a:pt x="7418" y="9464"/>
                  <a:pt x="7507" y="9562"/>
                </a:cubicBezTo>
                <a:lnTo>
                  <a:pt x="10453" y="12802"/>
                </a:lnTo>
                <a:cubicBezTo>
                  <a:pt x="10542" y="12900"/>
                  <a:pt x="10665" y="12960"/>
                  <a:pt x="10800" y="12960"/>
                </a:cubicBezTo>
                <a:cubicBezTo>
                  <a:pt x="10936" y="12960"/>
                  <a:pt x="11058" y="12900"/>
                  <a:pt x="11147" y="12802"/>
                </a:cubicBezTo>
                <a:lnTo>
                  <a:pt x="14093" y="9562"/>
                </a:lnTo>
                <a:cubicBezTo>
                  <a:pt x="14182" y="9464"/>
                  <a:pt x="14236" y="9329"/>
                  <a:pt x="14236" y="9180"/>
                </a:cubicBezTo>
                <a:cubicBezTo>
                  <a:pt x="14236" y="8882"/>
                  <a:pt x="14017" y="8640"/>
                  <a:pt x="13745" y="8640"/>
                </a:cubicBezTo>
                <a:cubicBezTo>
                  <a:pt x="13610" y="8640"/>
                  <a:pt x="13487" y="8701"/>
                  <a:pt x="13398" y="8798"/>
                </a:cubicBezTo>
                <a:lnTo>
                  <a:pt x="11291" y="111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11116"/>
                </a:lnTo>
                <a:lnTo>
                  <a:pt x="8202" y="8798"/>
                </a:lnTo>
                <a:cubicBezTo>
                  <a:pt x="8113" y="8701"/>
                  <a:pt x="7990" y="8640"/>
                  <a:pt x="7855" y="864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0" name="Shape 2840"/>
          <p:cNvSpPr/>
          <p:nvPr/>
        </p:nvSpPr>
        <p:spPr>
          <a:xfrm>
            <a:off x="11357242" y="6687488"/>
            <a:ext cx="558654" cy="507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3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4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5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5709" y="2160"/>
                </a:lnTo>
                <a:cubicBezTo>
                  <a:pt x="15438" y="2160"/>
                  <a:pt x="15218" y="2402"/>
                  <a:pt x="15218" y="2700"/>
                </a:cubicBezTo>
                <a:cubicBezTo>
                  <a:pt x="15218" y="2999"/>
                  <a:pt x="15438" y="3240"/>
                  <a:pt x="15709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5891" y="3240"/>
                </a:lnTo>
                <a:cubicBezTo>
                  <a:pt x="6162" y="3240"/>
                  <a:pt x="6382" y="2999"/>
                  <a:pt x="6382" y="2700"/>
                </a:cubicBezTo>
                <a:cubicBezTo>
                  <a:pt x="6382" y="2402"/>
                  <a:pt x="6162" y="2160"/>
                  <a:pt x="5891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4" y="13261"/>
                </a:cubicBezTo>
                <a:moveTo>
                  <a:pt x="7855" y="4320"/>
                </a:moveTo>
                <a:cubicBezTo>
                  <a:pt x="7990" y="4320"/>
                  <a:pt x="8113" y="4260"/>
                  <a:pt x="8202" y="4162"/>
                </a:cubicBezTo>
                <a:lnTo>
                  <a:pt x="10309" y="1844"/>
                </a:lnTo>
                <a:lnTo>
                  <a:pt x="10309" y="12420"/>
                </a:lnTo>
                <a:cubicBezTo>
                  <a:pt x="10309" y="12719"/>
                  <a:pt x="10529" y="12960"/>
                  <a:pt x="10800" y="12960"/>
                </a:cubicBezTo>
                <a:cubicBezTo>
                  <a:pt x="11071" y="12960"/>
                  <a:pt x="11291" y="12719"/>
                  <a:pt x="11291" y="12420"/>
                </a:cubicBezTo>
                <a:lnTo>
                  <a:pt x="11291" y="1844"/>
                </a:lnTo>
                <a:lnTo>
                  <a:pt x="13398" y="4162"/>
                </a:lnTo>
                <a:cubicBezTo>
                  <a:pt x="13487" y="4260"/>
                  <a:pt x="13610" y="4320"/>
                  <a:pt x="13745" y="4320"/>
                </a:cubicBezTo>
                <a:cubicBezTo>
                  <a:pt x="14017" y="4320"/>
                  <a:pt x="14236" y="4079"/>
                  <a:pt x="14236" y="3780"/>
                </a:cubicBezTo>
                <a:cubicBezTo>
                  <a:pt x="14236" y="3631"/>
                  <a:pt x="14181" y="3497"/>
                  <a:pt x="14093" y="339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1"/>
                  <a:pt x="10453" y="158"/>
                </a:cubicBezTo>
                <a:lnTo>
                  <a:pt x="7507" y="3398"/>
                </a:lnTo>
                <a:cubicBezTo>
                  <a:pt x="7419" y="3497"/>
                  <a:pt x="7364" y="3631"/>
                  <a:pt x="7364" y="3780"/>
                </a:cubicBezTo>
                <a:cubicBezTo>
                  <a:pt x="7364" y="4079"/>
                  <a:pt x="7583" y="4320"/>
                  <a:pt x="7855" y="432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1" name="Shape 2841"/>
          <p:cNvSpPr/>
          <p:nvPr/>
        </p:nvSpPr>
        <p:spPr>
          <a:xfrm>
            <a:off x="1758543" y="7779402"/>
            <a:ext cx="558654" cy="4570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3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6" y="12000"/>
                  <a:pt x="13745" y="12269"/>
                  <a:pt x="13745" y="12600"/>
                </a:cubicBezTo>
                <a:cubicBezTo>
                  <a:pt x="13745" y="14588"/>
                  <a:pt x="12427" y="16200"/>
                  <a:pt x="10800" y="16200"/>
                </a:cubicBezTo>
                <a:cubicBezTo>
                  <a:pt x="9173" y="16200"/>
                  <a:pt x="7855" y="14588"/>
                  <a:pt x="7855" y="12600"/>
                </a:cubicBezTo>
                <a:cubicBezTo>
                  <a:pt x="7855" y="12269"/>
                  <a:pt x="7634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4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4"/>
                </a:lnTo>
                <a:cubicBezTo>
                  <a:pt x="23" y="12416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6"/>
                  <a:pt x="21543" y="12334"/>
                </a:cubicBezTo>
                <a:moveTo>
                  <a:pt x="16691" y="9000"/>
                </a:moveTo>
                <a:cubicBezTo>
                  <a:pt x="16691" y="8669"/>
                  <a:pt x="16471" y="8400"/>
                  <a:pt x="16200" y="8400"/>
                </a:cubicBezTo>
                <a:lnTo>
                  <a:pt x="5400" y="8400"/>
                </a:lnTo>
                <a:cubicBezTo>
                  <a:pt x="5129" y="8400"/>
                  <a:pt x="4909" y="8669"/>
                  <a:pt x="4909" y="9000"/>
                </a:cubicBezTo>
                <a:cubicBezTo>
                  <a:pt x="4909" y="9332"/>
                  <a:pt x="5129" y="9600"/>
                  <a:pt x="5400" y="9600"/>
                </a:cubicBez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moveTo>
                  <a:pt x="6382" y="7200"/>
                </a:moveTo>
                <a:lnTo>
                  <a:pt x="15218" y="7200"/>
                </a:lnTo>
                <a:cubicBezTo>
                  <a:pt x="15489" y="7200"/>
                  <a:pt x="15709" y="6932"/>
                  <a:pt x="15709" y="6600"/>
                </a:cubicBezTo>
                <a:cubicBezTo>
                  <a:pt x="15709" y="6269"/>
                  <a:pt x="15489" y="6000"/>
                  <a:pt x="15218" y="6000"/>
                </a:cubicBezTo>
                <a:lnTo>
                  <a:pt x="6382" y="6000"/>
                </a:lnTo>
                <a:cubicBezTo>
                  <a:pt x="6111" y="6000"/>
                  <a:pt x="5891" y="6269"/>
                  <a:pt x="5891" y="6600"/>
                </a:cubicBezTo>
                <a:cubicBezTo>
                  <a:pt x="5891" y="6932"/>
                  <a:pt x="6111" y="7200"/>
                  <a:pt x="6382" y="7200"/>
                </a:cubicBezTo>
                <a:moveTo>
                  <a:pt x="7364" y="4800"/>
                </a:moveTo>
                <a:lnTo>
                  <a:pt x="14236" y="4800"/>
                </a:lnTo>
                <a:cubicBezTo>
                  <a:pt x="14507" y="4800"/>
                  <a:pt x="14727" y="4532"/>
                  <a:pt x="14727" y="4200"/>
                </a:cubicBezTo>
                <a:cubicBezTo>
                  <a:pt x="14727" y="3869"/>
                  <a:pt x="14507" y="3600"/>
                  <a:pt x="14236" y="3600"/>
                </a:cubicBezTo>
                <a:lnTo>
                  <a:pt x="7364" y="3600"/>
                </a:lnTo>
                <a:cubicBezTo>
                  <a:pt x="7093" y="3600"/>
                  <a:pt x="6873" y="3869"/>
                  <a:pt x="6873" y="4200"/>
                </a:cubicBezTo>
                <a:cubicBezTo>
                  <a:pt x="6873" y="4532"/>
                  <a:pt x="7093" y="4800"/>
                  <a:pt x="7364" y="4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2" name="Shape 2842"/>
          <p:cNvSpPr/>
          <p:nvPr/>
        </p:nvSpPr>
        <p:spPr>
          <a:xfrm>
            <a:off x="2825064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6907" y="6873"/>
                </a:lnTo>
                <a:cubicBezTo>
                  <a:pt x="7149" y="8810"/>
                  <a:pt x="8798" y="10309"/>
                  <a:pt x="10800" y="10309"/>
                </a:cubicBezTo>
                <a:cubicBezTo>
                  <a:pt x="12802" y="10309"/>
                  <a:pt x="14451" y="8810"/>
                  <a:pt x="14693" y="6873"/>
                </a:cubicBezTo>
                <a:lnTo>
                  <a:pt x="20618" y="6873"/>
                </a:lnTo>
                <a:cubicBezTo>
                  <a:pt x="20618" y="6873"/>
                  <a:pt x="20618" y="11782"/>
                  <a:pt x="20618" y="11782"/>
                </a:cubicBezTo>
                <a:close/>
                <a:moveTo>
                  <a:pt x="20264" y="14727"/>
                </a:moveTo>
                <a:lnTo>
                  <a:pt x="14236" y="14727"/>
                </a:lnTo>
                <a:cubicBezTo>
                  <a:pt x="13966" y="14727"/>
                  <a:pt x="13745" y="14947"/>
                  <a:pt x="13745" y="15218"/>
                </a:cubicBezTo>
                <a:cubicBezTo>
                  <a:pt x="13745" y="16845"/>
                  <a:pt x="12427" y="18164"/>
                  <a:pt x="10800" y="18164"/>
                </a:cubicBezTo>
                <a:cubicBezTo>
                  <a:pt x="9173" y="18164"/>
                  <a:pt x="7855" y="16845"/>
                  <a:pt x="7855" y="15218"/>
                </a:cubicBezTo>
                <a:cubicBezTo>
                  <a:pt x="7855" y="14947"/>
                  <a:pt x="7634" y="14727"/>
                  <a:pt x="7364" y="14727"/>
                </a:cubicBezTo>
                <a:lnTo>
                  <a:pt x="1336" y="14727"/>
                </a:lnTo>
                <a:lnTo>
                  <a:pt x="2682" y="12764"/>
                </a:lnTo>
                <a:lnTo>
                  <a:pt x="18918" y="12764"/>
                </a:lnTo>
                <a:cubicBezTo>
                  <a:pt x="18918" y="12764"/>
                  <a:pt x="20264" y="14727"/>
                  <a:pt x="20264" y="14727"/>
                </a:cubicBezTo>
                <a:close/>
                <a:moveTo>
                  <a:pt x="20618" y="20618"/>
                </a:moveTo>
                <a:lnTo>
                  <a:pt x="982" y="20618"/>
                </a:lnTo>
                <a:lnTo>
                  <a:pt x="982" y="15709"/>
                </a:lnTo>
                <a:lnTo>
                  <a:pt x="6907" y="15709"/>
                </a:lnTo>
                <a:cubicBezTo>
                  <a:pt x="7149" y="17646"/>
                  <a:pt x="8798" y="19145"/>
                  <a:pt x="10800" y="19145"/>
                </a:cubicBezTo>
                <a:cubicBezTo>
                  <a:pt x="12802" y="19145"/>
                  <a:pt x="14451" y="17646"/>
                  <a:pt x="14693" y="15709"/>
                </a:cubicBezTo>
                <a:lnTo>
                  <a:pt x="20618" y="15709"/>
                </a:lnTo>
                <a:cubicBezTo>
                  <a:pt x="20618" y="15709"/>
                  <a:pt x="20618" y="20618"/>
                  <a:pt x="20618" y="20618"/>
                </a:cubicBezTo>
                <a:close/>
                <a:moveTo>
                  <a:pt x="4702" y="982"/>
                </a:moveTo>
                <a:lnTo>
                  <a:pt x="16898" y="982"/>
                </a:lnTo>
                <a:lnTo>
                  <a:pt x="20264" y="5891"/>
                </a:lnTo>
                <a:lnTo>
                  <a:pt x="14236" y="5891"/>
                </a:lnTo>
                <a:cubicBezTo>
                  <a:pt x="13966" y="5891"/>
                  <a:pt x="13745" y="6111"/>
                  <a:pt x="13745" y="6382"/>
                </a:cubicBezTo>
                <a:cubicBezTo>
                  <a:pt x="13745" y="8009"/>
                  <a:pt x="12427" y="9327"/>
                  <a:pt x="10800" y="9327"/>
                </a:cubicBezTo>
                <a:cubicBezTo>
                  <a:pt x="9173" y="9327"/>
                  <a:pt x="7855" y="8009"/>
                  <a:pt x="7855" y="6382"/>
                </a:cubicBezTo>
                <a:cubicBezTo>
                  <a:pt x="7855" y="6111"/>
                  <a:pt x="7634" y="5891"/>
                  <a:pt x="7364" y="5891"/>
                </a:cubicBezTo>
                <a:lnTo>
                  <a:pt x="1336" y="5891"/>
                </a:lnTo>
                <a:cubicBezTo>
                  <a:pt x="1336" y="5891"/>
                  <a:pt x="4702" y="982"/>
                  <a:pt x="4702" y="982"/>
                </a:cubicBezTo>
                <a:close/>
                <a:moveTo>
                  <a:pt x="21600" y="12273"/>
                </a:moveTo>
                <a:lnTo>
                  <a:pt x="21600" y="6382"/>
                </a:lnTo>
                <a:cubicBezTo>
                  <a:pt x="21600" y="6303"/>
                  <a:pt x="21577" y="6231"/>
                  <a:pt x="21543" y="6165"/>
                </a:cubicBezTo>
                <a:lnTo>
                  <a:pt x="21548" y="6162"/>
                </a:lnTo>
                <a:lnTo>
                  <a:pt x="17621" y="272"/>
                </a:lnTo>
                <a:lnTo>
                  <a:pt x="17616" y="274"/>
                </a:lnTo>
                <a:cubicBezTo>
                  <a:pt x="17536" y="113"/>
                  <a:pt x="17374" y="0"/>
                  <a:pt x="17182" y="0"/>
                </a:cubicBezTo>
                <a:lnTo>
                  <a:pt x="4418" y="0"/>
                </a:lnTo>
                <a:cubicBezTo>
                  <a:pt x="4226" y="0"/>
                  <a:pt x="4064" y="113"/>
                  <a:pt x="3984" y="274"/>
                </a:cubicBezTo>
                <a:lnTo>
                  <a:pt x="3979" y="272"/>
                </a:lnTo>
                <a:lnTo>
                  <a:pt x="52" y="6162"/>
                </a:lnTo>
                <a:lnTo>
                  <a:pt x="57" y="6165"/>
                </a:lnTo>
                <a:cubicBezTo>
                  <a:pt x="23" y="6231"/>
                  <a:pt x="0" y="6303"/>
                  <a:pt x="0" y="6382"/>
                </a:cubicBezTo>
                <a:lnTo>
                  <a:pt x="0" y="12273"/>
                </a:lnTo>
                <a:cubicBezTo>
                  <a:pt x="0" y="12544"/>
                  <a:pt x="220" y="12764"/>
                  <a:pt x="491" y="12764"/>
                </a:cubicBezTo>
                <a:lnTo>
                  <a:pt x="1542" y="12764"/>
                </a:lnTo>
                <a:lnTo>
                  <a:pt x="52" y="14999"/>
                </a:lnTo>
                <a:lnTo>
                  <a:pt x="57" y="15001"/>
                </a:lnTo>
                <a:cubicBezTo>
                  <a:pt x="23" y="15067"/>
                  <a:pt x="0" y="15139"/>
                  <a:pt x="0" y="15218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15218"/>
                </a:lnTo>
                <a:cubicBezTo>
                  <a:pt x="21600" y="15139"/>
                  <a:pt x="21577" y="15067"/>
                  <a:pt x="21543" y="15001"/>
                </a:cubicBezTo>
                <a:lnTo>
                  <a:pt x="21548" y="14999"/>
                </a:lnTo>
                <a:lnTo>
                  <a:pt x="20058" y="12764"/>
                </a:lnTo>
                <a:lnTo>
                  <a:pt x="21109" y="12764"/>
                </a:lnTo>
                <a:cubicBezTo>
                  <a:pt x="21380" y="12764"/>
                  <a:pt x="21600" y="12544"/>
                  <a:pt x="21600" y="122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3" name="Shape 2843"/>
          <p:cNvSpPr/>
          <p:nvPr/>
        </p:nvSpPr>
        <p:spPr>
          <a:xfrm>
            <a:off x="3891587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4" name="Shape 2844"/>
          <p:cNvSpPr/>
          <p:nvPr/>
        </p:nvSpPr>
        <p:spPr>
          <a:xfrm>
            <a:off x="4958109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982"/>
                </a:move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cubicBezTo>
                  <a:pt x="762" y="11291"/>
                  <a:pt x="982" y="11071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7588" y="20618"/>
                  <a:pt x="4740" y="19075"/>
                  <a:pt x="2948" y="16691"/>
                </a:cubicBezTo>
                <a:lnTo>
                  <a:pt x="6873" y="16691"/>
                </a:lnTo>
                <a:cubicBezTo>
                  <a:pt x="7144" y="16691"/>
                  <a:pt x="7364" y="16471"/>
                  <a:pt x="7364" y="16200"/>
                </a:cubicBezTo>
                <a:cubicBezTo>
                  <a:pt x="7364" y="15929"/>
                  <a:pt x="7144" y="15709"/>
                  <a:pt x="6873" y="15709"/>
                </a:cubicBezTo>
                <a:lnTo>
                  <a:pt x="1964" y="15709"/>
                </a:lnTo>
                <a:cubicBezTo>
                  <a:pt x="1693" y="15709"/>
                  <a:pt x="1473" y="15929"/>
                  <a:pt x="1473" y="16200"/>
                </a:cubicBezTo>
                <a:lnTo>
                  <a:pt x="1473" y="21109"/>
                </a:lnTo>
                <a:cubicBezTo>
                  <a:pt x="1473" y="21380"/>
                  <a:pt x="1693" y="21600"/>
                  <a:pt x="1964" y="21600"/>
                </a:cubicBezTo>
                <a:cubicBezTo>
                  <a:pt x="2234" y="21600"/>
                  <a:pt x="2455" y="21380"/>
                  <a:pt x="2455" y="21109"/>
                </a:cubicBezTo>
                <a:lnTo>
                  <a:pt x="2455" y="17639"/>
                </a:lnTo>
                <a:cubicBezTo>
                  <a:pt x="4434" y="20054"/>
                  <a:pt x="7433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5" name="Shape 2845"/>
          <p:cNvSpPr/>
          <p:nvPr/>
        </p:nvSpPr>
        <p:spPr>
          <a:xfrm>
            <a:off x="6075418" y="7728615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00" y="1408"/>
                </a:moveTo>
                <a:lnTo>
                  <a:pt x="17518" y="4418"/>
                </a:lnTo>
                <a:lnTo>
                  <a:pt x="12000" y="7429"/>
                </a:lnTo>
                <a:cubicBezTo>
                  <a:pt x="12000" y="7429"/>
                  <a:pt x="12000" y="1408"/>
                  <a:pt x="12000" y="1408"/>
                </a:cubicBezTo>
                <a:close/>
                <a:moveTo>
                  <a:pt x="21000" y="12273"/>
                </a:moveTo>
                <a:cubicBezTo>
                  <a:pt x="20669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0800" y="8345"/>
                </a:lnTo>
                <a:cubicBezTo>
                  <a:pt x="10800" y="8617"/>
                  <a:pt x="11069" y="8836"/>
                  <a:pt x="11400" y="8836"/>
                </a:cubicBezTo>
                <a:cubicBezTo>
                  <a:pt x="11524" y="8836"/>
                  <a:pt x="11631" y="8799"/>
                  <a:pt x="11726" y="8747"/>
                </a:cubicBezTo>
                <a:lnTo>
                  <a:pt x="11733" y="8754"/>
                </a:lnTo>
                <a:lnTo>
                  <a:pt x="18933" y="4827"/>
                </a:lnTo>
                <a:lnTo>
                  <a:pt x="18926" y="4819"/>
                </a:lnTo>
                <a:cubicBezTo>
                  <a:pt x="19087" y="4731"/>
                  <a:pt x="19200" y="4589"/>
                  <a:pt x="19200" y="4418"/>
                </a:cubicBezTo>
                <a:cubicBezTo>
                  <a:pt x="19200" y="4248"/>
                  <a:pt x="19087" y="4106"/>
                  <a:pt x="18926" y="4017"/>
                </a:cubicBezTo>
                <a:lnTo>
                  <a:pt x="18933" y="4010"/>
                </a:lnTo>
                <a:lnTo>
                  <a:pt x="11733" y="82"/>
                </a:lnTo>
                <a:lnTo>
                  <a:pt x="11726" y="90"/>
                </a:lnTo>
                <a:cubicBezTo>
                  <a:pt x="11631" y="38"/>
                  <a:pt x="11524" y="0"/>
                  <a:pt x="11400" y="0"/>
                </a:cubicBezTo>
                <a:cubicBezTo>
                  <a:pt x="11069" y="0"/>
                  <a:pt x="10800" y="220"/>
                  <a:pt x="10800" y="491"/>
                </a:cubicBezTo>
                <a:lnTo>
                  <a:pt x="10800" y="3927"/>
                </a:lnTo>
                <a:cubicBezTo>
                  <a:pt x="4835" y="3927"/>
                  <a:pt x="0" y="7883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1" y="12273"/>
                  <a:pt x="21000" y="122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6" name="Shape 2846"/>
          <p:cNvSpPr/>
          <p:nvPr/>
        </p:nvSpPr>
        <p:spPr>
          <a:xfrm>
            <a:off x="7141939" y="7728615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00" y="12273"/>
                </a:moveTo>
                <a:cubicBezTo>
                  <a:pt x="20668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4768" y="4909"/>
                </a:lnTo>
                <a:lnTo>
                  <a:pt x="11067" y="7937"/>
                </a:lnTo>
                <a:lnTo>
                  <a:pt x="11073" y="7945"/>
                </a:lnTo>
                <a:cubicBezTo>
                  <a:pt x="10912" y="8033"/>
                  <a:pt x="10800" y="8175"/>
                  <a:pt x="10800" y="8345"/>
                </a:cubicBezTo>
                <a:cubicBezTo>
                  <a:pt x="10800" y="8617"/>
                  <a:pt x="11068" y="8836"/>
                  <a:pt x="11400" y="8836"/>
                </a:cubicBezTo>
                <a:cubicBezTo>
                  <a:pt x="11523" y="8836"/>
                  <a:pt x="11631" y="8798"/>
                  <a:pt x="11727" y="8747"/>
                </a:cubicBezTo>
                <a:lnTo>
                  <a:pt x="11733" y="8754"/>
                </a:lnTo>
                <a:lnTo>
                  <a:pt x="11774" y="8721"/>
                </a:lnTo>
                <a:cubicBezTo>
                  <a:pt x="11805" y="8700"/>
                  <a:pt x="11832" y="8677"/>
                  <a:pt x="11858" y="8651"/>
                </a:cubicBezTo>
                <a:lnTo>
                  <a:pt x="16533" y="4827"/>
                </a:lnTo>
                <a:lnTo>
                  <a:pt x="16527" y="4819"/>
                </a:lnTo>
                <a:cubicBezTo>
                  <a:pt x="16688" y="4731"/>
                  <a:pt x="16800" y="4589"/>
                  <a:pt x="16800" y="4418"/>
                </a:cubicBezTo>
                <a:cubicBezTo>
                  <a:pt x="16800" y="4248"/>
                  <a:pt x="16688" y="4106"/>
                  <a:pt x="16527" y="4018"/>
                </a:cubicBezTo>
                <a:lnTo>
                  <a:pt x="16533" y="4010"/>
                </a:lnTo>
                <a:lnTo>
                  <a:pt x="11858" y="185"/>
                </a:lnTo>
                <a:cubicBezTo>
                  <a:pt x="11832" y="159"/>
                  <a:pt x="11805" y="137"/>
                  <a:pt x="11774" y="116"/>
                </a:cubicBezTo>
                <a:lnTo>
                  <a:pt x="11733" y="82"/>
                </a:lnTo>
                <a:lnTo>
                  <a:pt x="11727" y="90"/>
                </a:lnTo>
                <a:cubicBezTo>
                  <a:pt x="11631" y="38"/>
                  <a:pt x="11523" y="0"/>
                  <a:pt x="11400" y="0"/>
                </a:cubicBezTo>
                <a:cubicBezTo>
                  <a:pt x="11068" y="0"/>
                  <a:pt x="10800" y="220"/>
                  <a:pt x="10800" y="491"/>
                </a:cubicBezTo>
                <a:cubicBezTo>
                  <a:pt x="10800" y="662"/>
                  <a:pt x="10912" y="804"/>
                  <a:pt x="11073" y="892"/>
                </a:cubicBezTo>
                <a:lnTo>
                  <a:pt x="11067" y="899"/>
                </a:lnTo>
                <a:lnTo>
                  <a:pt x="14768" y="3927"/>
                </a:lnTo>
                <a:lnTo>
                  <a:pt x="10800" y="3927"/>
                </a:lnTo>
                <a:cubicBezTo>
                  <a:pt x="4835" y="3927"/>
                  <a:pt x="0" y="7884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2" y="12273"/>
                  <a:pt x="21000" y="122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7" name="Shape 2847"/>
          <p:cNvSpPr/>
          <p:nvPr/>
        </p:nvSpPr>
        <p:spPr>
          <a:xfrm>
            <a:off x="8157677" y="7728616"/>
            <a:ext cx="558654" cy="5586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6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7673"/>
                </a:moveTo>
                <a:cubicBezTo>
                  <a:pt x="13610" y="17673"/>
                  <a:pt x="13488" y="17728"/>
                  <a:pt x="13398" y="17817"/>
                </a:cubicBezTo>
                <a:lnTo>
                  <a:pt x="11291" y="19924"/>
                </a:lnTo>
                <a:lnTo>
                  <a:pt x="11291" y="8346"/>
                </a:lnTo>
                <a:cubicBezTo>
                  <a:pt x="11291" y="8074"/>
                  <a:pt x="11071" y="7855"/>
                  <a:pt x="10800" y="7855"/>
                </a:cubicBezTo>
                <a:cubicBezTo>
                  <a:pt x="10529" y="7855"/>
                  <a:pt x="10309" y="8074"/>
                  <a:pt x="10309" y="8346"/>
                </a:cubicBez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9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4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8" name="Shape 2848"/>
          <p:cNvSpPr/>
          <p:nvPr/>
        </p:nvSpPr>
        <p:spPr>
          <a:xfrm>
            <a:off x="9224197" y="7728616"/>
            <a:ext cx="558654" cy="5586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7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1782"/>
                </a:moveTo>
                <a:cubicBezTo>
                  <a:pt x="14017" y="11782"/>
                  <a:pt x="14236" y="11562"/>
                  <a:pt x="14236" y="11291"/>
                </a:cubicBezTo>
                <a:cubicBezTo>
                  <a:pt x="14236" y="11156"/>
                  <a:pt x="14182" y="11033"/>
                  <a:pt x="14093" y="10944"/>
                </a:cubicBezTo>
                <a:lnTo>
                  <a:pt x="11147" y="7998"/>
                </a:lnTo>
                <a:cubicBezTo>
                  <a:pt x="11058" y="7910"/>
                  <a:pt x="10936" y="7855"/>
                  <a:pt x="10800" y="7855"/>
                </a:cubicBezTo>
                <a:cubicBezTo>
                  <a:pt x="10665" y="7855"/>
                  <a:pt x="10542" y="7910"/>
                  <a:pt x="10453" y="7998"/>
                </a:cubicBezTo>
                <a:lnTo>
                  <a:pt x="7507" y="10944"/>
                </a:lnTo>
                <a:cubicBezTo>
                  <a:pt x="7419" y="11033"/>
                  <a:pt x="7364" y="11156"/>
                  <a:pt x="7364" y="11291"/>
                </a:cubicBezTo>
                <a:cubicBezTo>
                  <a:pt x="7364" y="11562"/>
                  <a:pt x="7583" y="11782"/>
                  <a:pt x="7855" y="11782"/>
                </a:cubicBezTo>
                <a:cubicBezTo>
                  <a:pt x="7990" y="11782"/>
                  <a:pt x="8113" y="11727"/>
                  <a:pt x="8202" y="11638"/>
                </a:cubicBezTo>
                <a:lnTo>
                  <a:pt x="10309" y="9531"/>
                </a:lnTo>
                <a:lnTo>
                  <a:pt x="10309" y="21109"/>
                </a:lnTo>
                <a:cubicBezTo>
                  <a:pt x="10309" y="21380"/>
                  <a:pt x="10529" y="21600"/>
                  <a:pt x="10800" y="21600"/>
                </a:cubicBezTo>
                <a:cubicBezTo>
                  <a:pt x="11071" y="21600"/>
                  <a:pt x="11291" y="21380"/>
                  <a:pt x="11291" y="21109"/>
                </a:cubicBezTo>
                <a:lnTo>
                  <a:pt x="11291" y="9531"/>
                </a:lnTo>
                <a:lnTo>
                  <a:pt x="13398" y="11638"/>
                </a:lnTo>
                <a:cubicBezTo>
                  <a:pt x="13488" y="11727"/>
                  <a:pt x="13610" y="11782"/>
                  <a:pt x="13745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49" name="Shape 2849"/>
          <p:cNvSpPr/>
          <p:nvPr/>
        </p:nvSpPr>
        <p:spPr>
          <a:xfrm>
            <a:off x="10290720" y="7766706"/>
            <a:ext cx="558654" cy="4829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2" extrusionOk="0">
                <a:moveTo>
                  <a:pt x="13421" y="20466"/>
                </a:moveTo>
                <a:lnTo>
                  <a:pt x="12630" y="20221"/>
                </a:lnTo>
                <a:cubicBezTo>
                  <a:pt x="13305" y="19604"/>
                  <a:pt x="13745" y="18664"/>
                  <a:pt x="13745" y="17589"/>
                </a:cubicBezTo>
                <a:cubicBezTo>
                  <a:pt x="13745" y="16189"/>
                  <a:pt x="13013" y="14988"/>
                  <a:pt x="11967" y="14465"/>
                </a:cubicBezTo>
                <a:lnTo>
                  <a:pt x="11702" y="15585"/>
                </a:lnTo>
                <a:cubicBezTo>
                  <a:pt x="12330" y="15964"/>
                  <a:pt x="12764" y="16715"/>
                  <a:pt x="12764" y="17589"/>
                </a:cubicBezTo>
                <a:cubicBezTo>
                  <a:pt x="12764" y="18299"/>
                  <a:pt x="12477" y="18923"/>
                  <a:pt x="12035" y="19336"/>
                </a:cubicBezTo>
                <a:lnTo>
                  <a:pt x="12296" y="18213"/>
                </a:lnTo>
                <a:cubicBezTo>
                  <a:pt x="12327" y="18073"/>
                  <a:pt x="12314" y="17918"/>
                  <a:pt x="12246" y="17782"/>
                </a:cubicBezTo>
                <a:cubicBezTo>
                  <a:pt x="12111" y="17511"/>
                  <a:pt x="11811" y="17418"/>
                  <a:pt x="11576" y="17574"/>
                </a:cubicBezTo>
                <a:cubicBezTo>
                  <a:pt x="11459" y="17653"/>
                  <a:pt x="11380" y="17779"/>
                  <a:pt x="11347" y="17920"/>
                </a:cubicBezTo>
                <a:lnTo>
                  <a:pt x="10808" y="20244"/>
                </a:lnTo>
                <a:cubicBezTo>
                  <a:pt x="10776" y="20384"/>
                  <a:pt x="10789" y="20539"/>
                  <a:pt x="10857" y="20675"/>
                </a:cubicBezTo>
                <a:cubicBezTo>
                  <a:pt x="10920" y="20802"/>
                  <a:pt x="11021" y="20885"/>
                  <a:pt x="11133" y="20927"/>
                </a:cubicBezTo>
                <a:lnTo>
                  <a:pt x="11126" y="20956"/>
                </a:lnTo>
                <a:cubicBezTo>
                  <a:pt x="11142" y="20954"/>
                  <a:pt x="11158" y="20948"/>
                  <a:pt x="11173" y="20945"/>
                </a:cubicBezTo>
                <a:lnTo>
                  <a:pt x="13166" y="21562"/>
                </a:lnTo>
                <a:cubicBezTo>
                  <a:pt x="13288" y="21600"/>
                  <a:pt x="13422" y="21584"/>
                  <a:pt x="13539" y="21506"/>
                </a:cubicBezTo>
                <a:cubicBezTo>
                  <a:pt x="13774" y="21350"/>
                  <a:pt x="13855" y="21002"/>
                  <a:pt x="13719" y="20730"/>
                </a:cubicBezTo>
                <a:cubicBezTo>
                  <a:pt x="13651" y="20595"/>
                  <a:pt x="13542" y="20503"/>
                  <a:pt x="13421" y="20466"/>
                </a:cubicBezTo>
                <a:moveTo>
                  <a:pt x="18634" y="7273"/>
                </a:moveTo>
                <a:cubicBezTo>
                  <a:pt x="18643" y="7119"/>
                  <a:pt x="18655" y="6966"/>
                  <a:pt x="18655" y="6809"/>
                </a:cubicBezTo>
                <a:cubicBezTo>
                  <a:pt x="18655" y="3049"/>
                  <a:pt x="16017" y="0"/>
                  <a:pt x="12764" y="0"/>
                </a:cubicBezTo>
                <a:cubicBezTo>
                  <a:pt x="10499" y="0"/>
                  <a:pt x="8536" y="1479"/>
                  <a:pt x="7550" y="3645"/>
                </a:cubicBezTo>
                <a:cubicBezTo>
                  <a:pt x="7185" y="3492"/>
                  <a:pt x="6793" y="3404"/>
                  <a:pt x="6382" y="3404"/>
                </a:cubicBezTo>
                <a:cubicBezTo>
                  <a:pt x="4484" y="3404"/>
                  <a:pt x="2945" y="5183"/>
                  <a:pt x="2945" y="7376"/>
                </a:cubicBezTo>
                <a:cubicBezTo>
                  <a:pt x="2945" y="7662"/>
                  <a:pt x="2973" y="7940"/>
                  <a:pt x="3022" y="8208"/>
                </a:cubicBezTo>
                <a:cubicBezTo>
                  <a:pt x="1267" y="8884"/>
                  <a:pt x="0" y="10794"/>
                  <a:pt x="0" y="13050"/>
                </a:cubicBezTo>
                <a:cubicBezTo>
                  <a:pt x="0" y="15871"/>
                  <a:pt x="1978" y="18157"/>
                  <a:pt x="4418" y="18157"/>
                </a:cubicBezTo>
                <a:lnTo>
                  <a:pt x="6382" y="18157"/>
                </a:lnTo>
                <a:cubicBezTo>
                  <a:pt x="6653" y="18157"/>
                  <a:pt x="6873" y="17903"/>
                  <a:pt x="6873" y="17589"/>
                </a:cubicBezTo>
                <a:cubicBezTo>
                  <a:pt x="6873" y="17276"/>
                  <a:pt x="6653" y="17022"/>
                  <a:pt x="6382" y="17022"/>
                </a:cubicBezTo>
                <a:lnTo>
                  <a:pt x="4418" y="17022"/>
                </a:lnTo>
                <a:cubicBezTo>
                  <a:pt x="2524" y="17022"/>
                  <a:pt x="982" y="15240"/>
                  <a:pt x="982" y="13050"/>
                </a:cubicBezTo>
                <a:cubicBezTo>
                  <a:pt x="982" y="11339"/>
                  <a:pt x="1926" y="9826"/>
                  <a:pt x="3333" y="9284"/>
                </a:cubicBezTo>
                <a:lnTo>
                  <a:pt x="4165" y="8964"/>
                </a:lnTo>
                <a:lnTo>
                  <a:pt x="3982" y="7971"/>
                </a:lnTo>
                <a:cubicBezTo>
                  <a:pt x="3946" y="7773"/>
                  <a:pt x="3927" y="7572"/>
                  <a:pt x="3927" y="7376"/>
                </a:cubicBezTo>
                <a:cubicBezTo>
                  <a:pt x="3927" y="5812"/>
                  <a:pt x="5028" y="4539"/>
                  <a:pt x="6382" y="4539"/>
                </a:cubicBezTo>
                <a:cubicBezTo>
                  <a:pt x="6661" y="4539"/>
                  <a:pt x="6942" y="4597"/>
                  <a:pt x="7215" y="4712"/>
                </a:cubicBezTo>
                <a:lnTo>
                  <a:pt x="8019" y="5049"/>
                </a:lnTo>
                <a:lnTo>
                  <a:pt x="8418" y="4173"/>
                </a:lnTo>
                <a:cubicBezTo>
                  <a:pt x="9272" y="2299"/>
                  <a:pt x="10937" y="1135"/>
                  <a:pt x="12764" y="1135"/>
                </a:cubicBezTo>
                <a:cubicBezTo>
                  <a:pt x="15470" y="1135"/>
                  <a:pt x="17673" y="3680"/>
                  <a:pt x="17673" y="6809"/>
                </a:cubicBezTo>
                <a:cubicBezTo>
                  <a:pt x="17673" y="6908"/>
                  <a:pt x="17666" y="7005"/>
                  <a:pt x="17660" y="7102"/>
                </a:cubicBezTo>
                <a:lnTo>
                  <a:pt x="17655" y="7199"/>
                </a:lnTo>
                <a:lnTo>
                  <a:pt x="17610" y="7998"/>
                </a:lnTo>
                <a:lnTo>
                  <a:pt x="18245" y="8315"/>
                </a:lnTo>
                <a:cubicBezTo>
                  <a:pt x="19687" y="9034"/>
                  <a:pt x="20618" y="10670"/>
                  <a:pt x="20618" y="12483"/>
                </a:cubicBezTo>
                <a:cubicBezTo>
                  <a:pt x="20618" y="14986"/>
                  <a:pt x="18856" y="17022"/>
                  <a:pt x="16691" y="17022"/>
                </a:cubicBezTo>
                <a:lnTo>
                  <a:pt x="15218" y="17022"/>
                </a:lnTo>
                <a:cubicBezTo>
                  <a:pt x="14947" y="17022"/>
                  <a:pt x="14727" y="17276"/>
                  <a:pt x="14727" y="17589"/>
                </a:cubicBezTo>
                <a:cubicBezTo>
                  <a:pt x="14727" y="17903"/>
                  <a:pt x="14947" y="18157"/>
                  <a:pt x="15218" y="18157"/>
                </a:cubicBezTo>
                <a:lnTo>
                  <a:pt x="16691" y="18157"/>
                </a:lnTo>
                <a:cubicBezTo>
                  <a:pt x="19402" y="18157"/>
                  <a:pt x="21600" y="15617"/>
                  <a:pt x="21600" y="12483"/>
                </a:cubicBezTo>
                <a:cubicBezTo>
                  <a:pt x="21600" y="10147"/>
                  <a:pt x="20378" y="8143"/>
                  <a:pt x="18634" y="7273"/>
                </a:cubicBezTo>
                <a:moveTo>
                  <a:pt x="10773" y="14522"/>
                </a:moveTo>
                <a:cubicBezTo>
                  <a:pt x="10711" y="14398"/>
                  <a:pt x="10613" y="14316"/>
                  <a:pt x="10504" y="14274"/>
                </a:cubicBezTo>
                <a:lnTo>
                  <a:pt x="10517" y="14218"/>
                </a:lnTo>
                <a:cubicBezTo>
                  <a:pt x="10484" y="14221"/>
                  <a:pt x="10451" y="14231"/>
                  <a:pt x="10418" y="14240"/>
                </a:cubicBezTo>
                <a:lnTo>
                  <a:pt x="8463" y="13634"/>
                </a:lnTo>
                <a:lnTo>
                  <a:pt x="8463" y="13635"/>
                </a:lnTo>
                <a:cubicBezTo>
                  <a:pt x="8343" y="13598"/>
                  <a:pt x="8209" y="13613"/>
                  <a:pt x="8091" y="13692"/>
                </a:cubicBezTo>
                <a:cubicBezTo>
                  <a:pt x="7856" y="13848"/>
                  <a:pt x="7776" y="14195"/>
                  <a:pt x="7911" y="14466"/>
                </a:cubicBezTo>
                <a:cubicBezTo>
                  <a:pt x="7979" y="14602"/>
                  <a:pt x="8088" y="14693"/>
                  <a:pt x="8210" y="14731"/>
                </a:cubicBezTo>
                <a:lnTo>
                  <a:pt x="8965" y="14964"/>
                </a:lnTo>
                <a:cubicBezTo>
                  <a:pt x="8292" y="15580"/>
                  <a:pt x="7855" y="16518"/>
                  <a:pt x="7855" y="17589"/>
                </a:cubicBezTo>
                <a:cubicBezTo>
                  <a:pt x="7855" y="19007"/>
                  <a:pt x="8604" y="20220"/>
                  <a:pt x="9671" y="20732"/>
                </a:cubicBezTo>
                <a:lnTo>
                  <a:pt x="9934" y="19617"/>
                </a:lnTo>
                <a:cubicBezTo>
                  <a:pt x="9286" y="19246"/>
                  <a:pt x="8836" y="18482"/>
                  <a:pt x="8836" y="17589"/>
                </a:cubicBezTo>
                <a:cubicBezTo>
                  <a:pt x="8836" y="16857"/>
                  <a:pt x="9142" y="16215"/>
                  <a:pt x="9609" y="15802"/>
                </a:cubicBezTo>
                <a:lnTo>
                  <a:pt x="9335" y="16984"/>
                </a:lnTo>
                <a:cubicBezTo>
                  <a:pt x="9303" y="17124"/>
                  <a:pt x="9317" y="17279"/>
                  <a:pt x="9384" y="17415"/>
                </a:cubicBezTo>
                <a:cubicBezTo>
                  <a:pt x="9520" y="17686"/>
                  <a:pt x="9820" y="17779"/>
                  <a:pt x="10055" y="17623"/>
                </a:cubicBezTo>
                <a:cubicBezTo>
                  <a:pt x="10172" y="17544"/>
                  <a:pt x="10251" y="17418"/>
                  <a:pt x="10283" y="17278"/>
                </a:cubicBezTo>
                <a:lnTo>
                  <a:pt x="10823" y="14952"/>
                </a:lnTo>
                <a:cubicBezTo>
                  <a:pt x="10855" y="14812"/>
                  <a:pt x="10841" y="14658"/>
                  <a:pt x="10773" y="1452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0" name="Shape 2850"/>
          <p:cNvSpPr/>
          <p:nvPr/>
        </p:nvSpPr>
        <p:spPr>
          <a:xfrm>
            <a:off x="11357242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" y="0"/>
                </a:move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cubicBezTo>
                  <a:pt x="11607" y="982"/>
                  <a:pt x="20618" y="9993"/>
                  <a:pt x="20618" y="21109"/>
                </a:cubicBezTo>
                <a:cubicBezTo>
                  <a:pt x="20618" y="21380"/>
                  <a:pt x="20838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9451"/>
                  <a:pt x="12149" y="0"/>
                  <a:pt x="491" y="0"/>
                </a:cubicBezTo>
                <a:moveTo>
                  <a:pt x="491" y="9818"/>
                </a:moveTo>
                <a:cubicBezTo>
                  <a:pt x="220" y="9818"/>
                  <a:pt x="0" y="10038"/>
                  <a:pt x="0" y="10309"/>
                </a:cubicBezTo>
                <a:cubicBezTo>
                  <a:pt x="0" y="10581"/>
                  <a:pt x="220" y="10800"/>
                  <a:pt x="491" y="10800"/>
                </a:cubicBezTo>
                <a:cubicBezTo>
                  <a:pt x="6184" y="10800"/>
                  <a:pt x="10800" y="15416"/>
                  <a:pt x="10800" y="21109"/>
                </a:cubicBezTo>
                <a:cubicBezTo>
                  <a:pt x="10800" y="21380"/>
                  <a:pt x="11020" y="21600"/>
                  <a:pt x="11291" y="21600"/>
                </a:cubicBezTo>
                <a:cubicBezTo>
                  <a:pt x="11562" y="21600"/>
                  <a:pt x="11782" y="21380"/>
                  <a:pt x="11782" y="21109"/>
                </a:cubicBezTo>
                <a:cubicBezTo>
                  <a:pt x="11782" y="14873"/>
                  <a:pt x="6727" y="9818"/>
                  <a:pt x="491" y="9818"/>
                </a:cubicBezTo>
                <a:moveTo>
                  <a:pt x="491" y="4909"/>
                </a:moveTo>
                <a:cubicBezTo>
                  <a:pt x="220" y="4909"/>
                  <a:pt x="0" y="5129"/>
                  <a:pt x="0" y="5400"/>
                </a:cubicBezTo>
                <a:cubicBezTo>
                  <a:pt x="0" y="5672"/>
                  <a:pt x="220" y="5891"/>
                  <a:pt x="491" y="5891"/>
                </a:cubicBezTo>
                <a:cubicBezTo>
                  <a:pt x="8896" y="5891"/>
                  <a:pt x="15709" y="12705"/>
                  <a:pt x="15709" y="21109"/>
                </a:cubicBez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cubicBezTo>
                  <a:pt x="16691" y="12162"/>
                  <a:pt x="9438" y="4909"/>
                  <a:pt x="491" y="4909"/>
                </a:cubicBezTo>
                <a:moveTo>
                  <a:pt x="2945" y="20618"/>
                </a:moveTo>
                <a:cubicBezTo>
                  <a:pt x="1861" y="20618"/>
                  <a:pt x="982" y="19739"/>
                  <a:pt x="982" y="18655"/>
                </a:cubicBezTo>
                <a:cubicBezTo>
                  <a:pt x="982" y="17570"/>
                  <a:pt x="1861" y="16691"/>
                  <a:pt x="2945" y="16691"/>
                </a:cubicBezTo>
                <a:cubicBezTo>
                  <a:pt x="4030" y="16691"/>
                  <a:pt x="4909" y="17570"/>
                  <a:pt x="4909" y="18655"/>
                </a:cubicBezTo>
                <a:cubicBezTo>
                  <a:pt x="4909" y="19739"/>
                  <a:pt x="4030" y="20618"/>
                  <a:pt x="2945" y="20618"/>
                </a:cubicBezTo>
                <a:moveTo>
                  <a:pt x="2945" y="15709"/>
                </a:moveTo>
                <a:cubicBezTo>
                  <a:pt x="1319" y="15709"/>
                  <a:pt x="0" y="17028"/>
                  <a:pt x="0" y="18655"/>
                </a:cubicBezTo>
                <a:cubicBezTo>
                  <a:pt x="0" y="20281"/>
                  <a:pt x="1319" y="21600"/>
                  <a:pt x="2945" y="21600"/>
                </a:cubicBezTo>
                <a:cubicBezTo>
                  <a:pt x="4573" y="21600"/>
                  <a:pt x="5891" y="20281"/>
                  <a:pt x="5891" y="18655"/>
                </a:cubicBezTo>
                <a:cubicBezTo>
                  <a:pt x="5891" y="17028"/>
                  <a:pt x="4573" y="15709"/>
                  <a:pt x="2945" y="157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1" name="Shape 2851"/>
          <p:cNvSpPr/>
          <p:nvPr/>
        </p:nvSpPr>
        <p:spPr>
          <a:xfrm>
            <a:off x="1758543" y="879513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10309"/>
                </a:moveTo>
                <a:lnTo>
                  <a:pt x="4909" y="10309"/>
                </a:lnTo>
                <a:cubicBezTo>
                  <a:pt x="4638" y="10309"/>
                  <a:pt x="4418" y="10529"/>
                  <a:pt x="4418" y="10800"/>
                </a:cubicBezTo>
                <a:cubicBezTo>
                  <a:pt x="4418" y="11071"/>
                  <a:pt x="4638" y="11291"/>
                  <a:pt x="4909" y="11291"/>
                </a:cubicBezTo>
                <a:lnTo>
                  <a:pt x="5891" y="11291"/>
                </a:lnTo>
                <a:cubicBezTo>
                  <a:pt x="8331" y="11291"/>
                  <a:pt x="10309" y="13269"/>
                  <a:pt x="10309" y="15709"/>
                </a:cubicBezTo>
                <a:lnTo>
                  <a:pt x="10309" y="16691"/>
                </a:lnTo>
                <a:cubicBezTo>
                  <a:pt x="10309" y="16962"/>
                  <a:pt x="10529" y="17182"/>
                  <a:pt x="10800" y="17182"/>
                </a:cubicBezTo>
                <a:cubicBezTo>
                  <a:pt x="11071" y="17182"/>
                  <a:pt x="11291" y="16962"/>
                  <a:pt x="11291" y="16691"/>
                </a:cubicBezTo>
                <a:lnTo>
                  <a:pt x="11291" y="15709"/>
                </a:lnTo>
                <a:cubicBezTo>
                  <a:pt x="11291" y="12727"/>
                  <a:pt x="8873" y="10309"/>
                  <a:pt x="5891" y="10309"/>
                </a:cubicBezTo>
                <a:moveTo>
                  <a:pt x="5891" y="7364"/>
                </a:moveTo>
                <a:lnTo>
                  <a:pt x="4909" y="7364"/>
                </a:lnTo>
                <a:cubicBezTo>
                  <a:pt x="4638" y="7364"/>
                  <a:pt x="4418" y="7583"/>
                  <a:pt x="4418" y="7855"/>
                </a:cubicBezTo>
                <a:cubicBezTo>
                  <a:pt x="4418" y="8126"/>
                  <a:pt x="4638" y="8345"/>
                  <a:pt x="4909" y="8345"/>
                </a:cubicBezTo>
                <a:lnTo>
                  <a:pt x="5891" y="8345"/>
                </a:lnTo>
                <a:cubicBezTo>
                  <a:pt x="9958" y="8345"/>
                  <a:pt x="13255" y="11642"/>
                  <a:pt x="13255" y="15709"/>
                </a:cubicBezTo>
                <a:lnTo>
                  <a:pt x="13255" y="16691"/>
                </a:lnTo>
                <a:cubicBezTo>
                  <a:pt x="13255" y="16962"/>
                  <a:pt x="13475" y="17182"/>
                  <a:pt x="13745" y="17182"/>
                </a:cubicBezTo>
                <a:cubicBezTo>
                  <a:pt x="14016" y="17182"/>
                  <a:pt x="14236" y="16962"/>
                  <a:pt x="14236" y="16691"/>
                </a:cubicBezTo>
                <a:lnTo>
                  <a:pt x="14236" y="15709"/>
                </a:lnTo>
                <a:cubicBezTo>
                  <a:pt x="14236" y="11100"/>
                  <a:pt x="10500" y="7364"/>
                  <a:pt x="5891" y="7364"/>
                </a:cubicBezTo>
                <a:moveTo>
                  <a:pt x="6382" y="16200"/>
                </a:moveTo>
                <a:cubicBezTo>
                  <a:pt x="5840" y="16200"/>
                  <a:pt x="5400" y="15761"/>
                  <a:pt x="5400" y="15218"/>
                </a:cubicBezTo>
                <a:cubicBezTo>
                  <a:pt x="5400" y="14676"/>
                  <a:pt x="5840" y="14236"/>
                  <a:pt x="6382" y="14236"/>
                </a:cubicBezTo>
                <a:cubicBezTo>
                  <a:pt x="6924" y="14236"/>
                  <a:pt x="7364" y="14676"/>
                  <a:pt x="7364" y="15218"/>
                </a:cubicBezTo>
                <a:cubicBezTo>
                  <a:pt x="7364" y="15761"/>
                  <a:pt x="6924" y="16200"/>
                  <a:pt x="6382" y="16200"/>
                </a:cubicBezTo>
                <a:moveTo>
                  <a:pt x="6382" y="13255"/>
                </a:moveTo>
                <a:cubicBezTo>
                  <a:pt x="5297" y="13255"/>
                  <a:pt x="4418" y="14134"/>
                  <a:pt x="4418" y="15218"/>
                </a:cubicBezTo>
                <a:cubicBezTo>
                  <a:pt x="4418" y="16303"/>
                  <a:pt x="5297" y="17182"/>
                  <a:pt x="6382" y="17182"/>
                </a:cubicBezTo>
                <a:cubicBezTo>
                  <a:pt x="7466" y="17182"/>
                  <a:pt x="8345" y="16303"/>
                  <a:pt x="8345" y="15218"/>
                </a:cubicBezTo>
                <a:cubicBezTo>
                  <a:pt x="8345" y="14134"/>
                  <a:pt x="7466" y="13255"/>
                  <a:pt x="6382" y="13255"/>
                </a:cubicBezTo>
                <a:moveTo>
                  <a:pt x="5891" y="4418"/>
                </a:moveTo>
                <a:lnTo>
                  <a:pt x="4909" y="4418"/>
                </a:lnTo>
                <a:cubicBezTo>
                  <a:pt x="4638" y="4418"/>
                  <a:pt x="4418" y="4638"/>
                  <a:pt x="4418" y="4909"/>
                </a:cubicBezTo>
                <a:cubicBezTo>
                  <a:pt x="4418" y="5180"/>
                  <a:pt x="4638" y="5400"/>
                  <a:pt x="4909" y="5400"/>
                </a:cubicBezTo>
                <a:lnTo>
                  <a:pt x="5891" y="5400"/>
                </a:lnTo>
                <a:cubicBezTo>
                  <a:pt x="11585" y="5400"/>
                  <a:pt x="16200" y="10016"/>
                  <a:pt x="16200" y="15709"/>
                </a:cubicBezTo>
                <a:lnTo>
                  <a:pt x="16200" y="16691"/>
                </a:lnTo>
                <a:cubicBezTo>
                  <a:pt x="16200" y="16962"/>
                  <a:pt x="16420" y="17182"/>
                  <a:pt x="16691" y="17182"/>
                </a:cubicBezTo>
                <a:cubicBezTo>
                  <a:pt x="16962" y="17182"/>
                  <a:pt x="17182" y="16962"/>
                  <a:pt x="17182" y="16691"/>
                </a:cubicBezTo>
                <a:lnTo>
                  <a:pt x="17182" y="15709"/>
                </a:lnTo>
                <a:cubicBezTo>
                  <a:pt x="17182" y="9473"/>
                  <a:pt x="12127" y="4418"/>
                  <a:pt x="5891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2" name="Shape 2852"/>
          <p:cNvSpPr/>
          <p:nvPr/>
        </p:nvSpPr>
        <p:spPr>
          <a:xfrm>
            <a:off x="2850460" y="8795137"/>
            <a:ext cx="507869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44" y="12617"/>
                </a:moveTo>
                <a:cubicBezTo>
                  <a:pt x="14459" y="12872"/>
                  <a:pt x="14634" y="13163"/>
                  <a:pt x="14771" y="13485"/>
                </a:cubicBezTo>
                <a:cubicBezTo>
                  <a:pt x="16295" y="12407"/>
                  <a:pt x="17280" y="10728"/>
                  <a:pt x="17280" y="8836"/>
                </a:cubicBezTo>
                <a:cubicBezTo>
                  <a:pt x="17280" y="5583"/>
                  <a:pt x="14379" y="2945"/>
                  <a:pt x="10800" y="2945"/>
                </a:cubicBezTo>
                <a:cubicBezTo>
                  <a:pt x="7221" y="2945"/>
                  <a:pt x="4320" y="5583"/>
                  <a:pt x="4320" y="8836"/>
                </a:cubicBezTo>
                <a:cubicBezTo>
                  <a:pt x="4320" y="10714"/>
                  <a:pt x="5289" y="12382"/>
                  <a:pt x="6794" y="13461"/>
                </a:cubicBezTo>
                <a:cubicBezTo>
                  <a:pt x="6928" y="13135"/>
                  <a:pt x="7106" y="12845"/>
                  <a:pt x="7323" y="12590"/>
                </a:cubicBezTo>
                <a:cubicBezTo>
                  <a:pt x="6148" y="11689"/>
                  <a:pt x="5400" y="10343"/>
                  <a:pt x="5400" y="8836"/>
                </a:cubicBezTo>
                <a:cubicBezTo>
                  <a:pt x="5400" y="6125"/>
                  <a:pt x="7818" y="3927"/>
                  <a:pt x="10800" y="3927"/>
                </a:cubicBezTo>
                <a:cubicBezTo>
                  <a:pt x="13782" y="3927"/>
                  <a:pt x="16200" y="6125"/>
                  <a:pt x="16200" y="8836"/>
                </a:cubicBezTo>
                <a:cubicBezTo>
                  <a:pt x="16200" y="10358"/>
                  <a:pt x="15439" y="11717"/>
                  <a:pt x="14244" y="12617"/>
                </a:cubicBezTo>
                <a:moveTo>
                  <a:pt x="10800" y="0"/>
                </a:moveTo>
                <a:cubicBezTo>
                  <a:pt x="4836" y="0"/>
                  <a:pt x="0" y="4396"/>
                  <a:pt x="0" y="9818"/>
                </a:cubicBezTo>
                <a:cubicBezTo>
                  <a:pt x="0" y="14007"/>
                  <a:pt x="2891" y="17573"/>
                  <a:pt x="6953" y="18983"/>
                </a:cubicBezTo>
                <a:cubicBezTo>
                  <a:pt x="6874" y="18609"/>
                  <a:pt x="6803" y="18223"/>
                  <a:pt x="6741" y="17840"/>
                </a:cubicBezTo>
                <a:cubicBezTo>
                  <a:pt x="3402" y="16441"/>
                  <a:pt x="1080" y="13379"/>
                  <a:pt x="1080" y="9818"/>
                </a:cubicBezTo>
                <a:cubicBezTo>
                  <a:pt x="1080" y="4938"/>
                  <a:pt x="5432" y="982"/>
                  <a:pt x="10800" y="982"/>
                </a:cubicBezTo>
                <a:cubicBezTo>
                  <a:pt x="16168" y="982"/>
                  <a:pt x="20520" y="4938"/>
                  <a:pt x="20520" y="9818"/>
                </a:cubicBezTo>
                <a:cubicBezTo>
                  <a:pt x="20520" y="13374"/>
                  <a:pt x="18204" y="16431"/>
                  <a:pt x="14874" y="17833"/>
                </a:cubicBezTo>
                <a:cubicBezTo>
                  <a:pt x="14812" y="18216"/>
                  <a:pt x="14740" y="18603"/>
                  <a:pt x="14660" y="18979"/>
                </a:cubicBezTo>
                <a:cubicBezTo>
                  <a:pt x="18716" y="17565"/>
                  <a:pt x="21600" y="14002"/>
                  <a:pt x="21600" y="9818"/>
                </a:cubicBezTo>
                <a:cubicBezTo>
                  <a:pt x="21600" y="4396"/>
                  <a:pt x="16765" y="0"/>
                  <a:pt x="10800" y="0"/>
                </a:cubicBezTo>
                <a:moveTo>
                  <a:pt x="10800" y="7364"/>
                </a:moveTo>
                <a:cubicBezTo>
                  <a:pt x="11695" y="7364"/>
                  <a:pt x="12420" y="8023"/>
                  <a:pt x="12420" y="8836"/>
                </a:cubicBezTo>
                <a:cubicBezTo>
                  <a:pt x="12420" y="9649"/>
                  <a:pt x="11695" y="10309"/>
                  <a:pt x="10800" y="10309"/>
                </a:cubicBezTo>
                <a:cubicBezTo>
                  <a:pt x="9905" y="10309"/>
                  <a:pt x="9180" y="9649"/>
                  <a:pt x="9180" y="8836"/>
                </a:cubicBezTo>
                <a:cubicBezTo>
                  <a:pt x="9180" y="8023"/>
                  <a:pt x="9905" y="7364"/>
                  <a:pt x="10800" y="7364"/>
                </a:cubicBezTo>
                <a:moveTo>
                  <a:pt x="10800" y="11291"/>
                </a:moveTo>
                <a:cubicBezTo>
                  <a:pt x="12292" y="11291"/>
                  <a:pt x="13500" y="10192"/>
                  <a:pt x="13500" y="8836"/>
                </a:cubicBezTo>
                <a:cubicBezTo>
                  <a:pt x="13500" y="7481"/>
                  <a:pt x="12292" y="6382"/>
                  <a:pt x="10800" y="6382"/>
                </a:cubicBezTo>
                <a:cubicBezTo>
                  <a:pt x="9309" y="6382"/>
                  <a:pt x="8100" y="7481"/>
                  <a:pt x="8100" y="8836"/>
                </a:cubicBezTo>
                <a:cubicBezTo>
                  <a:pt x="8100" y="10192"/>
                  <a:pt x="9309" y="11291"/>
                  <a:pt x="10800" y="11291"/>
                </a:cubicBezTo>
                <a:moveTo>
                  <a:pt x="11994" y="20179"/>
                </a:moveTo>
                <a:cubicBezTo>
                  <a:pt x="11855" y="20433"/>
                  <a:pt x="11737" y="20560"/>
                  <a:pt x="11673" y="20618"/>
                </a:cubicBezTo>
                <a:lnTo>
                  <a:pt x="9927" y="20618"/>
                </a:lnTo>
                <a:cubicBezTo>
                  <a:pt x="9862" y="20560"/>
                  <a:pt x="9745" y="20433"/>
                  <a:pt x="9606" y="20179"/>
                </a:cubicBezTo>
                <a:cubicBezTo>
                  <a:pt x="9182" y="19408"/>
                  <a:pt x="8640" y="16626"/>
                  <a:pt x="8640" y="15218"/>
                </a:cubicBezTo>
                <a:cubicBezTo>
                  <a:pt x="8640" y="13768"/>
                  <a:pt x="9205" y="13255"/>
                  <a:pt x="10800" y="13255"/>
                </a:cubicBezTo>
                <a:cubicBezTo>
                  <a:pt x="12395" y="13255"/>
                  <a:pt x="12960" y="13768"/>
                  <a:pt x="12960" y="15218"/>
                </a:cubicBezTo>
                <a:cubicBezTo>
                  <a:pt x="12960" y="16626"/>
                  <a:pt x="12418" y="19408"/>
                  <a:pt x="11994" y="20179"/>
                </a:cubicBezTo>
                <a:moveTo>
                  <a:pt x="10800" y="12273"/>
                </a:moveTo>
                <a:cubicBezTo>
                  <a:pt x="8100" y="12273"/>
                  <a:pt x="7560" y="13745"/>
                  <a:pt x="7560" y="15218"/>
                </a:cubicBezTo>
                <a:cubicBezTo>
                  <a:pt x="7560" y="16691"/>
                  <a:pt x="8100" y="19636"/>
                  <a:pt x="8640" y="20618"/>
                </a:cubicBezTo>
                <a:cubicBezTo>
                  <a:pt x="9180" y="21600"/>
                  <a:pt x="9720" y="21600"/>
                  <a:pt x="9720" y="21600"/>
                </a:cubicBezTo>
                <a:lnTo>
                  <a:pt x="11880" y="21600"/>
                </a:lnTo>
                <a:cubicBezTo>
                  <a:pt x="11880" y="21600"/>
                  <a:pt x="12420" y="21600"/>
                  <a:pt x="12960" y="20618"/>
                </a:cubicBezTo>
                <a:cubicBezTo>
                  <a:pt x="13500" y="19636"/>
                  <a:pt x="14040" y="16691"/>
                  <a:pt x="14040" y="15218"/>
                </a:cubicBezTo>
                <a:cubicBezTo>
                  <a:pt x="14040" y="13745"/>
                  <a:pt x="13500" y="12273"/>
                  <a:pt x="10800" y="122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3" name="Shape 2853"/>
          <p:cNvSpPr/>
          <p:nvPr/>
        </p:nvSpPr>
        <p:spPr>
          <a:xfrm>
            <a:off x="3942375" y="879513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8836"/>
                </a:moveTo>
                <a:cubicBezTo>
                  <a:pt x="9600" y="8295"/>
                  <a:pt x="10138" y="7855"/>
                  <a:pt x="10800" y="7855"/>
                </a:cubicBezTo>
                <a:cubicBezTo>
                  <a:pt x="11462" y="7855"/>
                  <a:pt x="12000" y="8295"/>
                  <a:pt x="12000" y="8836"/>
                </a:cubicBezTo>
                <a:cubicBezTo>
                  <a:pt x="12000" y="9378"/>
                  <a:pt x="11462" y="9818"/>
                  <a:pt x="10800" y="9818"/>
                </a:cubicBezTo>
                <a:cubicBezTo>
                  <a:pt x="10138" y="9818"/>
                  <a:pt x="9600" y="9378"/>
                  <a:pt x="9600" y="8836"/>
                </a:cubicBezTo>
                <a:moveTo>
                  <a:pt x="13200" y="8836"/>
                </a:moveTo>
                <a:cubicBezTo>
                  <a:pt x="13200" y="7752"/>
                  <a:pt x="12125" y="6873"/>
                  <a:pt x="10800" y="6873"/>
                </a:cubicBezTo>
                <a:cubicBezTo>
                  <a:pt x="9475" y="6873"/>
                  <a:pt x="8400" y="7752"/>
                  <a:pt x="8400" y="8836"/>
                </a:cubicBezTo>
                <a:cubicBezTo>
                  <a:pt x="8400" y="9921"/>
                  <a:pt x="9475" y="10800"/>
                  <a:pt x="10800" y="10800"/>
                </a:cubicBezTo>
                <a:cubicBezTo>
                  <a:pt x="12125" y="10800"/>
                  <a:pt x="13200" y="9921"/>
                  <a:pt x="13200" y="8836"/>
                </a:cubicBezTo>
                <a:moveTo>
                  <a:pt x="17400" y="8836"/>
                </a:moveTo>
                <a:cubicBezTo>
                  <a:pt x="17400" y="5854"/>
                  <a:pt x="14445" y="3436"/>
                  <a:pt x="10800" y="3436"/>
                </a:cubicBezTo>
                <a:cubicBezTo>
                  <a:pt x="7155" y="3436"/>
                  <a:pt x="4200" y="5854"/>
                  <a:pt x="4200" y="8836"/>
                </a:cubicBezTo>
                <a:cubicBezTo>
                  <a:pt x="4200" y="10437"/>
                  <a:pt x="5056" y="11870"/>
                  <a:pt x="6408" y="12860"/>
                </a:cubicBezTo>
                <a:cubicBezTo>
                  <a:pt x="6570" y="12537"/>
                  <a:pt x="6778" y="12249"/>
                  <a:pt x="7035" y="12000"/>
                </a:cubicBezTo>
                <a:cubicBezTo>
                  <a:pt x="6028" y="11198"/>
                  <a:pt x="5400" y="10078"/>
                  <a:pt x="5400" y="8836"/>
                </a:cubicBezTo>
                <a:cubicBezTo>
                  <a:pt x="5400" y="6396"/>
                  <a:pt x="7818" y="4418"/>
                  <a:pt x="10800" y="4418"/>
                </a:cubicBezTo>
                <a:cubicBezTo>
                  <a:pt x="13783" y="4418"/>
                  <a:pt x="16200" y="6396"/>
                  <a:pt x="16200" y="8836"/>
                </a:cubicBezTo>
                <a:cubicBezTo>
                  <a:pt x="16200" y="10094"/>
                  <a:pt x="15555" y="11226"/>
                  <a:pt x="14524" y="12030"/>
                </a:cubicBezTo>
                <a:cubicBezTo>
                  <a:pt x="14780" y="12280"/>
                  <a:pt x="14989" y="12568"/>
                  <a:pt x="15154" y="12887"/>
                </a:cubicBezTo>
                <a:cubicBezTo>
                  <a:pt x="16528" y="11898"/>
                  <a:pt x="17400" y="10452"/>
                  <a:pt x="17400" y="8836"/>
                </a:cubicBezTo>
                <a:moveTo>
                  <a:pt x="10800" y="0"/>
                </a:moveTo>
                <a:cubicBezTo>
                  <a:pt x="4835" y="0"/>
                  <a:pt x="0" y="3957"/>
                  <a:pt x="0" y="8836"/>
                </a:cubicBezTo>
                <a:cubicBezTo>
                  <a:pt x="0" y="12363"/>
                  <a:pt x="2531" y="15397"/>
                  <a:pt x="6181" y="16815"/>
                </a:cubicBezTo>
                <a:cubicBezTo>
                  <a:pt x="6125" y="16401"/>
                  <a:pt x="6080" y="16009"/>
                  <a:pt x="6049" y="15656"/>
                </a:cubicBezTo>
                <a:cubicBezTo>
                  <a:pt x="3155" y="14303"/>
                  <a:pt x="1200" y="11759"/>
                  <a:pt x="1200" y="8836"/>
                </a:cubicBezTo>
                <a:cubicBezTo>
                  <a:pt x="1200" y="4499"/>
                  <a:pt x="5498" y="982"/>
                  <a:pt x="10800" y="982"/>
                </a:cubicBezTo>
                <a:cubicBezTo>
                  <a:pt x="16102" y="982"/>
                  <a:pt x="20400" y="4499"/>
                  <a:pt x="20400" y="8836"/>
                </a:cubicBezTo>
                <a:cubicBezTo>
                  <a:pt x="20400" y="11756"/>
                  <a:pt x="18449" y="14298"/>
                  <a:pt x="15560" y="15652"/>
                </a:cubicBezTo>
                <a:cubicBezTo>
                  <a:pt x="15532" y="16000"/>
                  <a:pt x="15490" y="16392"/>
                  <a:pt x="15433" y="16809"/>
                </a:cubicBezTo>
                <a:cubicBezTo>
                  <a:pt x="19076" y="15390"/>
                  <a:pt x="21600" y="12358"/>
                  <a:pt x="21600" y="8836"/>
                </a:cubicBezTo>
                <a:cubicBezTo>
                  <a:pt x="21600" y="3957"/>
                  <a:pt x="16765" y="0"/>
                  <a:pt x="10800" y="0"/>
                </a:cubicBezTo>
                <a:moveTo>
                  <a:pt x="12127" y="20179"/>
                </a:moveTo>
                <a:cubicBezTo>
                  <a:pt x="11972" y="20432"/>
                  <a:pt x="11842" y="20560"/>
                  <a:pt x="11770" y="20618"/>
                </a:cubicBezTo>
                <a:lnTo>
                  <a:pt x="9830" y="20618"/>
                </a:lnTo>
                <a:cubicBezTo>
                  <a:pt x="9758" y="20560"/>
                  <a:pt x="9628" y="20432"/>
                  <a:pt x="9473" y="20179"/>
                </a:cubicBezTo>
                <a:cubicBezTo>
                  <a:pt x="9032" y="19457"/>
                  <a:pt x="8400" y="16247"/>
                  <a:pt x="8400" y="14727"/>
                </a:cubicBezTo>
                <a:cubicBezTo>
                  <a:pt x="8400" y="13278"/>
                  <a:pt x="9028" y="12764"/>
                  <a:pt x="10800" y="12764"/>
                </a:cubicBezTo>
                <a:cubicBezTo>
                  <a:pt x="12572" y="12764"/>
                  <a:pt x="13200" y="13278"/>
                  <a:pt x="13200" y="14727"/>
                </a:cubicBezTo>
                <a:cubicBezTo>
                  <a:pt x="13200" y="16247"/>
                  <a:pt x="12568" y="19457"/>
                  <a:pt x="12127" y="20179"/>
                </a:cubicBezTo>
                <a:moveTo>
                  <a:pt x="10800" y="11782"/>
                </a:moveTo>
                <a:cubicBezTo>
                  <a:pt x="7800" y="11782"/>
                  <a:pt x="7200" y="13255"/>
                  <a:pt x="7200" y="14727"/>
                </a:cubicBezTo>
                <a:cubicBezTo>
                  <a:pt x="7200" y="16200"/>
                  <a:pt x="7800" y="19636"/>
                  <a:pt x="8400" y="20618"/>
                </a:cubicBezTo>
                <a:cubicBezTo>
                  <a:pt x="9000" y="21600"/>
                  <a:pt x="9600" y="21600"/>
                  <a:pt x="9600" y="21600"/>
                </a:cubicBezTo>
                <a:lnTo>
                  <a:pt x="12000" y="21600"/>
                </a:lnTo>
                <a:cubicBezTo>
                  <a:pt x="12000" y="21600"/>
                  <a:pt x="12600" y="21600"/>
                  <a:pt x="13200" y="20618"/>
                </a:cubicBezTo>
                <a:cubicBezTo>
                  <a:pt x="13800" y="19636"/>
                  <a:pt x="14400" y="16200"/>
                  <a:pt x="14400" y="14727"/>
                </a:cubicBezTo>
                <a:cubicBezTo>
                  <a:pt x="14400" y="13255"/>
                  <a:pt x="13800" y="11782"/>
                  <a:pt x="10800" y="117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4" name="Shape 2854"/>
          <p:cNvSpPr/>
          <p:nvPr/>
        </p:nvSpPr>
        <p:spPr>
          <a:xfrm>
            <a:off x="4958109" y="8795137"/>
            <a:ext cx="558525" cy="5585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52" y="3921"/>
                </a:moveTo>
                <a:cubicBezTo>
                  <a:pt x="18338" y="3921"/>
                  <a:pt x="17679" y="3262"/>
                  <a:pt x="17679" y="2448"/>
                </a:cubicBezTo>
                <a:cubicBezTo>
                  <a:pt x="17679" y="1634"/>
                  <a:pt x="18338" y="975"/>
                  <a:pt x="19152" y="975"/>
                </a:cubicBezTo>
                <a:cubicBezTo>
                  <a:pt x="19966" y="975"/>
                  <a:pt x="20625" y="1634"/>
                  <a:pt x="20625" y="2448"/>
                </a:cubicBezTo>
                <a:cubicBezTo>
                  <a:pt x="20625" y="3262"/>
                  <a:pt x="19966" y="3921"/>
                  <a:pt x="19152" y="3921"/>
                </a:cubicBezTo>
                <a:moveTo>
                  <a:pt x="10804" y="12269"/>
                </a:moveTo>
                <a:cubicBezTo>
                  <a:pt x="9991" y="12269"/>
                  <a:pt x="9331" y="11609"/>
                  <a:pt x="9331" y="10795"/>
                </a:cubicBezTo>
                <a:cubicBezTo>
                  <a:pt x="9331" y="9981"/>
                  <a:pt x="9991" y="9322"/>
                  <a:pt x="10804" y="9322"/>
                </a:cubicBezTo>
                <a:cubicBezTo>
                  <a:pt x="11618" y="9322"/>
                  <a:pt x="12278" y="9981"/>
                  <a:pt x="12278" y="10795"/>
                </a:cubicBezTo>
                <a:cubicBezTo>
                  <a:pt x="12278" y="11609"/>
                  <a:pt x="11618" y="12269"/>
                  <a:pt x="10804" y="12269"/>
                </a:cubicBezTo>
                <a:moveTo>
                  <a:pt x="3930" y="19143"/>
                </a:moveTo>
                <a:cubicBezTo>
                  <a:pt x="3930" y="19956"/>
                  <a:pt x="3271" y="20616"/>
                  <a:pt x="2457" y="20616"/>
                </a:cubicBezTo>
                <a:cubicBezTo>
                  <a:pt x="1643" y="20616"/>
                  <a:pt x="984" y="19956"/>
                  <a:pt x="984" y="19143"/>
                </a:cubicBezTo>
                <a:cubicBezTo>
                  <a:pt x="984" y="18329"/>
                  <a:pt x="1643" y="17669"/>
                  <a:pt x="2457" y="17669"/>
                </a:cubicBezTo>
                <a:cubicBezTo>
                  <a:pt x="3271" y="17669"/>
                  <a:pt x="3930" y="18329"/>
                  <a:pt x="3930" y="19143"/>
                </a:cubicBezTo>
                <a:moveTo>
                  <a:pt x="19148" y="0"/>
                </a:moveTo>
                <a:cubicBezTo>
                  <a:pt x="17793" y="0"/>
                  <a:pt x="16695" y="1098"/>
                  <a:pt x="16695" y="2452"/>
                </a:cubicBezTo>
                <a:cubicBezTo>
                  <a:pt x="16695" y="3640"/>
                  <a:pt x="17539" y="4630"/>
                  <a:pt x="18660" y="4856"/>
                </a:cubicBezTo>
                <a:lnTo>
                  <a:pt x="18660" y="10306"/>
                </a:lnTo>
                <a:lnTo>
                  <a:pt x="13203" y="10306"/>
                </a:lnTo>
                <a:cubicBezTo>
                  <a:pt x="12974" y="9187"/>
                  <a:pt x="11985" y="8347"/>
                  <a:pt x="10800" y="8347"/>
                </a:cubicBezTo>
                <a:cubicBezTo>
                  <a:pt x="9615" y="8347"/>
                  <a:pt x="8626" y="9187"/>
                  <a:pt x="8398" y="10306"/>
                </a:cubicBezTo>
                <a:lnTo>
                  <a:pt x="2456" y="10306"/>
                </a:lnTo>
                <a:cubicBezTo>
                  <a:pt x="2184" y="10306"/>
                  <a:pt x="1965" y="10525"/>
                  <a:pt x="1965" y="10796"/>
                </a:cubicBezTo>
                <a:lnTo>
                  <a:pt x="1965" y="16744"/>
                </a:lnTo>
                <a:cubicBezTo>
                  <a:pt x="844" y="16970"/>
                  <a:pt x="0" y="17960"/>
                  <a:pt x="0" y="19147"/>
                </a:cubicBezTo>
                <a:cubicBezTo>
                  <a:pt x="0" y="20502"/>
                  <a:pt x="1098" y="21600"/>
                  <a:pt x="2453" y="21600"/>
                </a:cubicBezTo>
                <a:cubicBezTo>
                  <a:pt x="3807" y="21600"/>
                  <a:pt x="4905" y="20502"/>
                  <a:pt x="4905" y="19147"/>
                </a:cubicBezTo>
                <a:cubicBezTo>
                  <a:pt x="4905" y="17961"/>
                  <a:pt x="4065" y="16973"/>
                  <a:pt x="2947" y="16744"/>
                </a:cubicBezTo>
                <a:lnTo>
                  <a:pt x="2947" y="11287"/>
                </a:lnTo>
                <a:lnTo>
                  <a:pt x="8397" y="11287"/>
                </a:lnTo>
                <a:cubicBezTo>
                  <a:pt x="8623" y="12408"/>
                  <a:pt x="9613" y="13253"/>
                  <a:pt x="10800" y="13253"/>
                </a:cubicBezTo>
                <a:cubicBezTo>
                  <a:pt x="11988" y="13253"/>
                  <a:pt x="12978" y="12408"/>
                  <a:pt x="13203" y="11287"/>
                </a:cubicBezTo>
                <a:lnTo>
                  <a:pt x="19151" y="11287"/>
                </a:lnTo>
                <a:cubicBezTo>
                  <a:pt x="19422" y="11287"/>
                  <a:pt x="19642" y="11068"/>
                  <a:pt x="19642" y="10796"/>
                </a:cubicBezTo>
                <a:lnTo>
                  <a:pt x="19642" y="4855"/>
                </a:lnTo>
                <a:cubicBezTo>
                  <a:pt x="20759" y="4626"/>
                  <a:pt x="21600" y="3638"/>
                  <a:pt x="21600" y="2452"/>
                </a:cubicBezTo>
                <a:cubicBezTo>
                  <a:pt x="21600" y="1098"/>
                  <a:pt x="20502" y="0"/>
                  <a:pt x="19148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5" name="Shape 2855"/>
          <p:cNvSpPr/>
          <p:nvPr/>
        </p:nvSpPr>
        <p:spPr>
          <a:xfrm>
            <a:off x="6050025" y="8795137"/>
            <a:ext cx="507738" cy="5585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7" y="20616"/>
                </a:moveTo>
                <a:cubicBezTo>
                  <a:pt x="18012" y="20616"/>
                  <a:pt x="17287" y="19956"/>
                  <a:pt x="17287" y="19143"/>
                </a:cubicBezTo>
                <a:cubicBezTo>
                  <a:pt x="17287" y="18329"/>
                  <a:pt x="18012" y="17669"/>
                  <a:pt x="18907" y="17669"/>
                </a:cubicBezTo>
                <a:cubicBezTo>
                  <a:pt x="19802" y="17669"/>
                  <a:pt x="20527" y="18329"/>
                  <a:pt x="20527" y="19143"/>
                </a:cubicBezTo>
                <a:cubicBezTo>
                  <a:pt x="20527" y="19956"/>
                  <a:pt x="19802" y="20616"/>
                  <a:pt x="18907" y="20616"/>
                </a:cubicBezTo>
                <a:moveTo>
                  <a:pt x="2703" y="12269"/>
                </a:moveTo>
                <a:cubicBezTo>
                  <a:pt x="1808" y="12269"/>
                  <a:pt x="1082" y="11609"/>
                  <a:pt x="1082" y="10795"/>
                </a:cubicBezTo>
                <a:cubicBezTo>
                  <a:pt x="1082" y="9981"/>
                  <a:pt x="1808" y="9322"/>
                  <a:pt x="2703" y="9322"/>
                </a:cubicBezTo>
                <a:cubicBezTo>
                  <a:pt x="3598" y="9322"/>
                  <a:pt x="4323" y="9981"/>
                  <a:pt x="4323" y="10795"/>
                </a:cubicBezTo>
                <a:cubicBezTo>
                  <a:pt x="4323" y="11609"/>
                  <a:pt x="3598" y="12269"/>
                  <a:pt x="2703" y="12269"/>
                </a:cubicBezTo>
                <a:moveTo>
                  <a:pt x="18907" y="975"/>
                </a:moveTo>
                <a:cubicBezTo>
                  <a:pt x="19802" y="975"/>
                  <a:pt x="20527" y="1634"/>
                  <a:pt x="20527" y="2448"/>
                </a:cubicBezTo>
                <a:cubicBezTo>
                  <a:pt x="20527" y="3262"/>
                  <a:pt x="19802" y="3921"/>
                  <a:pt x="18907" y="3921"/>
                </a:cubicBezTo>
                <a:cubicBezTo>
                  <a:pt x="18012" y="3921"/>
                  <a:pt x="17287" y="3262"/>
                  <a:pt x="17287" y="2448"/>
                </a:cubicBezTo>
                <a:cubicBezTo>
                  <a:pt x="17287" y="1634"/>
                  <a:pt x="18012" y="975"/>
                  <a:pt x="18907" y="975"/>
                </a:cubicBezTo>
                <a:moveTo>
                  <a:pt x="18902" y="16695"/>
                </a:moveTo>
                <a:cubicBezTo>
                  <a:pt x="18092" y="16695"/>
                  <a:pt x="17374" y="17026"/>
                  <a:pt x="16879" y="17540"/>
                </a:cubicBezTo>
                <a:lnTo>
                  <a:pt x="5253" y="11551"/>
                </a:lnTo>
                <a:cubicBezTo>
                  <a:pt x="5338" y="11314"/>
                  <a:pt x="5396" y="11064"/>
                  <a:pt x="5396" y="10800"/>
                </a:cubicBezTo>
                <a:cubicBezTo>
                  <a:pt x="5396" y="10536"/>
                  <a:pt x="5338" y="10286"/>
                  <a:pt x="5253" y="10048"/>
                </a:cubicBezTo>
                <a:lnTo>
                  <a:pt x="16879" y="4059"/>
                </a:lnTo>
                <a:cubicBezTo>
                  <a:pt x="17373" y="4574"/>
                  <a:pt x="18092" y="4905"/>
                  <a:pt x="18902" y="4905"/>
                </a:cubicBezTo>
                <a:cubicBezTo>
                  <a:pt x="20392" y="4905"/>
                  <a:pt x="21600" y="3807"/>
                  <a:pt x="21600" y="2452"/>
                </a:cubicBezTo>
                <a:cubicBezTo>
                  <a:pt x="21600" y="1098"/>
                  <a:pt x="20392" y="0"/>
                  <a:pt x="18902" y="0"/>
                </a:cubicBezTo>
                <a:cubicBezTo>
                  <a:pt x="17412" y="0"/>
                  <a:pt x="16204" y="1098"/>
                  <a:pt x="16204" y="2452"/>
                </a:cubicBezTo>
                <a:cubicBezTo>
                  <a:pt x="16204" y="2716"/>
                  <a:pt x="16262" y="2966"/>
                  <a:pt x="16347" y="3204"/>
                </a:cubicBezTo>
                <a:lnTo>
                  <a:pt x="4722" y="9193"/>
                </a:lnTo>
                <a:cubicBezTo>
                  <a:pt x="4227" y="8679"/>
                  <a:pt x="3509" y="8347"/>
                  <a:pt x="2698" y="8347"/>
                </a:cubicBezTo>
                <a:cubicBezTo>
                  <a:pt x="1208" y="8347"/>
                  <a:pt x="0" y="9445"/>
                  <a:pt x="0" y="10800"/>
                </a:cubicBezTo>
                <a:cubicBezTo>
                  <a:pt x="0" y="12155"/>
                  <a:pt x="1208" y="13253"/>
                  <a:pt x="2698" y="13253"/>
                </a:cubicBezTo>
                <a:cubicBezTo>
                  <a:pt x="3509" y="13253"/>
                  <a:pt x="4227" y="12921"/>
                  <a:pt x="4722" y="12406"/>
                </a:cubicBezTo>
                <a:lnTo>
                  <a:pt x="16347" y="18395"/>
                </a:lnTo>
                <a:cubicBezTo>
                  <a:pt x="16262" y="18633"/>
                  <a:pt x="16204" y="18883"/>
                  <a:pt x="16204" y="19147"/>
                </a:cubicBezTo>
                <a:cubicBezTo>
                  <a:pt x="16204" y="20502"/>
                  <a:pt x="17412" y="21600"/>
                  <a:pt x="18902" y="21600"/>
                </a:cubicBezTo>
                <a:cubicBezTo>
                  <a:pt x="20392" y="21600"/>
                  <a:pt x="21600" y="20502"/>
                  <a:pt x="21600" y="19147"/>
                </a:cubicBezTo>
                <a:cubicBezTo>
                  <a:pt x="21600" y="17792"/>
                  <a:pt x="20392" y="16695"/>
                  <a:pt x="18902" y="16695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6" name="Shape 2856"/>
          <p:cNvSpPr/>
          <p:nvPr/>
        </p:nvSpPr>
        <p:spPr>
          <a:xfrm>
            <a:off x="7091152" y="8795138"/>
            <a:ext cx="558928" cy="5587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75" y="14735"/>
                </a:moveTo>
                <a:cubicBezTo>
                  <a:pt x="12008" y="15178"/>
                  <a:pt x="11621" y="15531"/>
                  <a:pt x="11226" y="15783"/>
                </a:cubicBezTo>
                <a:cubicBezTo>
                  <a:pt x="10834" y="16035"/>
                  <a:pt x="10421" y="16209"/>
                  <a:pt x="10002" y="16302"/>
                </a:cubicBezTo>
                <a:cubicBezTo>
                  <a:pt x="9027" y="16517"/>
                  <a:pt x="8105" y="16493"/>
                  <a:pt x="7342" y="16179"/>
                </a:cubicBezTo>
                <a:cubicBezTo>
                  <a:pt x="6912" y="16003"/>
                  <a:pt x="6537" y="15755"/>
                  <a:pt x="6227" y="15442"/>
                </a:cubicBezTo>
                <a:cubicBezTo>
                  <a:pt x="5915" y="15129"/>
                  <a:pt x="5669" y="14758"/>
                  <a:pt x="5493" y="14340"/>
                </a:cubicBezTo>
                <a:cubicBezTo>
                  <a:pt x="5317" y="13924"/>
                  <a:pt x="5228" y="13459"/>
                  <a:pt x="5228" y="12958"/>
                </a:cubicBezTo>
                <a:cubicBezTo>
                  <a:pt x="5228" y="12161"/>
                  <a:pt x="5386" y="11302"/>
                  <a:pt x="5698" y="10406"/>
                </a:cubicBezTo>
                <a:cubicBezTo>
                  <a:pt x="6010" y="9509"/>
                  <a:pt x="6454" y="8665"/>
                  <a:pt x="7018" y="7900"/>
                </a:cubicBezTo>
                <a:cubicBezTo>
                  <a:pt x="7579" y="7140"/>
                  <a:pt x="8265" y="6498"/>
                  <a:pt x="9058" y="5993"/>
                </a:cubicBezTo>
                <a:cubicBezTo>
                  <a:pt x="9839" y="5496"/>
                  <a:pt x="10706" y="5245"/>
                  <a:pt x="11636" y="5245"/>
                </a:cubicBezTo>
                <a:cubicBezTo>
                  <a:pt x="12014" y="5245"/>
                  <a:pt x="12413" y="5288"/>
                  <a:pt x="12821" y="5373"/>
                </a:cubicBezTo>
                <a:cubicBezTo>
                  <a:pt x="13224" y="5457"/>
                  <a:pt x="13613" y="5599"/>
                  <a:pt x="13978" y="5795"/>
                </a:cubicBezTo>
                <a:cubicBezTo>
                  <a:pt x="14337" y="5989"/>
                  <a:pt x="14658" y="6246"/>
                  <a:pt x="14931" y="6561"/>
                </a:cubicBezTo>
                <a:cubicBezTo>
                  <a:pt x="15189" y="6858"/>
                  <a:pt x="15389" y="7238"/>
                  <a:pt x="15526" y="7692"/>
                </a:cubicBezTo>
                <a:lnTo>
                  <a:pt x="13353" y="13035"/>
                </a:lnTo>
                <a:cubicBezTo>
                  <a:pt x="13072" y="13720"/>
                  <a:pt x="12743" y="14292"/>
                  <a:pt x="12375" y="14735"/>
                </a:cubicBezTo>
                <a:moveTo>
                  <a:pt x="20215" y="16108"/>
                </a:moveTo>
                <a:cubicBezTo>
                  <a:pt x="19749" y="16741"/>
                  <a:pt x="19196" y="17344"/>
                  <a:pt x="18569" y="17900"/>
                </a:cubicBezTo>
                <a:cubicBezTo>
                  <a:pt x="17943" y="18456"/>
                  <a:pt x="17242" y="18946"/>
                  <a:pt x="16484" y="19359"/>
                </a:cubicBezTo>
                <a:cubicBezTo>
                  <a:pt x="15729" y="19770"/>
                  <a:pt x="14914" y="20096"/>
                  <a:pt x="14064" y="20327"/>
                </a:cubicBezTo>
                <a:cubicBezTo>
                  <a:pt x="13217" y="20556"/>
                  <a:pt x="12316" y="20673"/>
                  <a:pt x="11388" y="20673"/>
                </a:cubicBezTo>
                <a:cubicBezTo>
                  <a:pt x="9991" y="20673"/>
                  <a:pt x="8647" y="20458"/>
                  <a:pt x="7393" y="20036"/>
                </a:cubicBezTo>
                <a:cubicBezTo>
                  <a:pt x="6143" y="19615"/>
                  <a:pt x="5029" y="18981"/>
                  <a:pt x="4083" y="18149"/>
                </a:cubicBezTo>
                <a:cubicBezTo>
                  <a:pt x="3138" y="17320"/>
                  <a:pt x="2378" y="16274"/>
                  <a:pt x="1823" y="15041"/>
                </a:cubicBezTo>
                <a:cubicBezTo>
                  <a:pt x="1269" y="13809"/>
                  <a:pt x="989" y="12357"/>
                  <a:pt x="989" y="10727"/>
                </a:cubicBezTo>
                <a:cubicBezTo>
                  <a:pt x="989" y="9370"/>
                  <a:pt x="1254" y="8086"/>
                  <a:pt x="1777" y="6911"/>
                </a:cubicBezTo>
                <a:cubicBezTo>
                  <a:pt x="2301" y="5736"/>
                  <a:pt x="3037" y="4693"/>
                  <a:pt x="3964" y="3814"/>
                </a:cubicBezTo>
                <a:cubicBezTo>
                  <a:pt x="4892" y="2933"/>
                  <a:pt x="6002" y="2230"/>
                  <a:pt x="7264" y="1722"/>
                </a:cubicBezTo>
                <a:cubicBezTo>
                  <a:pt x="8526" y="1215"/>
                  <a:pt x="9914" y="958"/>
                  <a:pt x="11388" y="958"/>
                </a:cubicBezTo>
                <a:cubicBezTo>
                  <a:pt x="12700" y="958"/>
                  <a:pt x="13940" y="1156"/>
                  <a:pt x="15072" y="1549"/>
                </a:cubicBezTo>
                <a:cubicBezTo>
                  <a:pt x="16200" y="1942"/>
                  <a:pt x="17185" y="2497"/>
                  <a:pt x="17998" y="3203"/>
                </a:cubicBezTo>
                <a:cubicBezTo>
                  <a:pt x="18809" y="3906"/>
                  <a:pt x="19455" y="4765"/>
                  <a:pt x="19917" y="5754"/>
                </a:cubicBezTo>
                <a:cubicBezTo>
                  <a:pt x="20377" y="6743"/>
                  <a:pt x="20611" y="7843"/>
                  <a:pt x="20611" y="9023"/>
                </a:cubicBezTo>
                <a:cubicBezTo>
                  <a:pt x="20611" y="10070"/>
                  <a:pt x="20418" y="11059"/>
                  <a:pt x="20038" y="11962"/>
                </a:cubicBezTo>
                <a:cubicBezTo>
                  <a:pt x="19656" y="12869"/>
                  <a:pt x="19171" y="13663"/>
                  <a:pt x="18598" y="14320"/>
                </a:cubicBezTo>
                <a:cubicBezTo>
                  <a:pt x="18028" y="14976"/>
                  <a:pt x="17393" y="15502"/>
                  <a:pt x="16714" y="15880"/>
                </a:cubicBezTo>
                <a:cubicBezTo>
                  <a:pt x="16044" y="16255"/>
                  <a:pt x="15398" y="16444"/>
                  <a:pt x="14792" y="16444"/>
                </a:cubicBezTo>
                <a:cubicBezTo>
                  <a:pt x="14424" y="16444"/>
                  <a:pt x="14151" y="16374"/>
                  <a:pt x="13980" y="16235"/>
                </a:cubicBezTo>
                <a:cubicBezTo>
                  <a:pt x="13810" y="16098"/>
                  <a:pt x="13710" y="15916"/>
                  <a:pt x="13675" y="15677"/>
                </a:cubicBezTo>
                <a:cubicBezTo>
                  <a:pt x="13638" y="15420"/>
                  <a:pt x="13667" y="15109"/>
                  <a:pt x="13764" y="14754"/>
                </a:cubicBezTo>
                <a:cubicBezTo>
                  <a:pt x="13864" y="14385"/>
                  <a:pt x="14007" y="13983"/>
                  <a:pt x="14190" y="13556"/>
                </a:cubicBezTo>
                <a:lnTo>
                  <a:pt x="17729" y="4845"/>
                </a:lnTo>
                <a:lnTo>
                  <a:pt x="16677" y="4845"/>
                </a:lnTo>
                <a:lnTo>
                  <a:pt x="16026" y="6544"/>
                </a:lnTo>
                <a:cubicBezTo>
                  <a:pt x="15715" y="5890"/>
                  <a:pt x="15207" y="5363"/>
                  <a:pt x="14512" y="4972"/>
                </a:cubicBezTo>
                <a:cubicBezTo>
                  <a:pt x="13703" y="4517"/>
                  <a:pt x="12777" y="4287"/>
                  <a:pt x="11759" y="4287"/>
                </a:cubicBezTo>
                <a:cubicBezTo>
                  <a:pt x="10637" y="4287"/>
                  <a:pt x="9596" y="4568"/>
                  <a:pt x="8663" y="5121"/>
                </a:cubicBezTo>
                <a:cubicBezTo>
                  <a:pt x="7739" y="5669"/>
                  <a:pt x="6940" y="6381"/>
                  <a:pt x="6289" y="7238"/>
                </a:cubicBezTo>
                <a:cubicBezTo>
                  <a:pt x="5641" y="8091"/>
                  <a:pt x="5132" y="9032"/>
                  <a:pt x="4777" y="10034"/>
                </a:cubicBezTo>
                <a:cubicBezTo>
                  <a:pt x="4420" y="11037"/>
                  <a:pt x="4240" y="12021"/>
                  <a:pt x="4240" y="12958"/>
                </a:cubicBezTo>
                <a:cubicBezTo>
                  <a:pt x="4240" y="13568"/>
                  <a:pt x="4354" y="14151"/>
                  <a:pt x="4579" y="14689"/>
                </a:cubicBezTo>
                <a:cubicBezTo>
                  <a:pt x="4804" y="15227"/>
                  <a:pt x="5113" y="15701"/>
                  <a:pt x="5499" y="16097"/>
                </a:cubicBezTo>
                <a:cubicBezTo>
                  <a:pt x="5887" y="16495"/>
                  <a:pt x="6354" y="16815"/>
                  <a:pt x="6889" y="17048"/>
                </a:cubicBezTo>
                <a:cubicBezTo>
                  <a:pt x="8063" y="17561"/>
                  <a:pt x="9489" y="17484"/>
                  <a:pt x="10904" y="17025"/>
                </a:cubicBezTo>
                <a:cubicBezTo>
                  <a:pt x="11562" y="16811"/>
                  <a:pt x="12160" y="16412"/>
                  <a:pt x="12689" y="15835"/>
                </a:cubicBezTo>
                <a:cubicBezTo>
                  <a:pt x="12715" y="16226"/>
                  <a:pt x="12874" y="16561"/>
                  <a:pt x="13164" y="16837"/>
                </a:cubicBezTo>
                <a:cubicBezTo>
                  <a:pt x="13559" y="17211"/>
                  <a:pt x="14086" y="17402"/>
                  <a:pt x="14731" y="17402"/>
                </a:cubicBezTo>
                <a:cubicBezTo>
                  <a:pt x="15501" y="17402"/>
                  <a:pt x="16307" y="17176"/>
                  <a:pt x="17124" y="16733"/>
                </a:cubicBezTo>
                <a:cubicBezTo>
                  <a:pt x="17934" y="16294"/>
                  <a:pt x="18680" y="15687"/>
                  <a:pt x="19342" y="14930"/>
                </a:cubicBezTo>
                <a:cubicBezTo>
                  <a:pt x="20001" y="14176"/>
                  <a:pt x="20548" y="13284"/>
                  <a:pt x="20967" y="12281"/>
                </a:cubicBezTo>
                <a:cubicBezTo>
                  <a:pt x="21387" y="11274"/>
                  <a:pt x="21600" y="10178"/>
                  <a:pt x="21600" y="9023"/>
                </a:cubicBezTo>
                <a:cubicBezTo>
                  <a:pt x="21600" y="7651"/>
                  <a:pt x="21328" y="6389"/>
                  <a:pt x="20793" y="5274"/>
                </a:cubicBezTo>
                <a:cubicBezTo>
                  <a:pt x="20258" y="4158"/>
                  <a:pt x="19518" y="3199"/>
                  <a:pt x="18594" y="2422"/>
                </a:cubicBezTo>
                <a:cubicBezTo>
                  <a:pt x="17672" y="1647"/>
                  <a:pt x="16579" y="1043"/>
                  <a:pt x="15346" y="627"/>
                </a:cubicBezTo>
                <a:cubicBezTo>
                  <a:pt x="14116" y="211"/>
                  <a:pt x="12784" y="0"/>
                  <a:pt x="11388" y="0"/>
                </a:cubicBezTo>
                <a:cubicBezTo>
                  <a:pt x="9845" y="0"/>
                  <a:pt x="8365" y="271"/>
                  <a:pt x="6989" y="805"/>
                </a:cubicBezTo>
                <a:cubicBezTo>
                  <a:pt x="5612" y="1340"/>
                  <a:pt x="4389" y="2093"/>
                  <a:pt x="3356" y="3045"/>
                </a:cubicBezTo>
                <a:cubicBezTo>
                  <a:pt x="2321" y="3996"/>
                  <a:pt x="1495" y="5137"/>
                  <a:pt x="899" y="6436"/>
                </a:cubicBezTo>
                <a:cubicBezTo>
                  <a:pt x="302" y="7737"/>
                  <a:pt x="0" y="9181"/>
                  <a:pt x="0" y="10727"/>
                </a:cubicBezTo>
                <a:cubicBezTo>
                  <a:pt x="0" y="12605"/>
                  <a:pt x="334" y="14252"/>
                  <a:pt x="993" y="15622"/>
                </a:cubicBezTo>
                <a:cubicBezTo>
                  <a:pt x="1652" y="16992"/>
                  <a:pt x="2528" y="18134"/>
                  <a:pt x="3595" y="19018"/>
                </a:cubicBezTo>
                <a:cubicBezTo>
                  <a:pt x="4661" y="19900"/>
                  <a:pt x="5890" y="20559"/>
                  <a:pt x="7249" y="20975"/>
                </a:cubicBezTo>
                <a:cubicBezTo>
                  <a:pt x="8601" y="21390"/>
                  <a:pt x="9994" y="21600"/>
                  <a:pt x="11388" y="21600"/>
                </a:cubicBezTo>
                <a:cubicBezTo>
                  <a:pt x="12348" y="21600"/>
                  <a:pt x="13317" y="21474"/>
                  <a:pt x="14267" y="21228"/>
                </a:cubicBezTo>
                <a:cubicBezTo>
                  <a:pt x="15214" y="20981"/>
                  <a:pt x="16128" y="20624"/>
                  <a:pt x="16983" y="20169"/>
                </a:cubicBezTo>
                <a:cubicBezTo>
                  <a:pt x="17839" y="19713"/>
                  <a:pt x="18642" y="19152"/>
                  <a:pt x="19372" y="18499"/>
                </a:cubicBezTo>
                <a:cubicBezTo>
                  <a:pt x="20104" y="17845"/>
                  <a:pt x="20729" y="17110"/>
                  <a:pt x="21232" y="16316"/>
                </a:cubicBezTo>
                <a:lnTo>
                  <a:pt x="21411" y="16033"/>
                </a:lnTo>
                <a:lnTo>
                  <a:pt x="20270" y="16033"/>
                </a:lnTo>
                <a:cubicBezTo>
                  <a:pt x="20270" y="16033"/>
                  <a:pt x="20215" y="16108"/>
                  <a:pt x="20215" y="16108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7" name="Shape 2857"/>
          <p:cNvSpPr/>
          <p:nvPr/>
        </p:nvSpPr>
        <p:spPr>
          <a:xfrm>
            <a:off x="8157677" y="879513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7"/>
                  <a:pt x="17673" y="7364"/>
                </a:cubicBezTo>
                <a:cubicBezTo>
                  <a:pt x="17673" y="6787"/>
                  <a:pt x="17339" y="6294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89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5"/>
                  <a:pt x="10556" y="16200"/>
                  <a:pt x="10800" y="16200"/>
                </a:cubicBezTo>
                <a:cubicBezTo>
                  <a:pt x="11273" y="16200"/>
                  <a:pt x="11689" y="15973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2"/>
                </a:moveTo>
                <a:cubicBezTo>
                  <a:pt x="3476" y="16840"/>
                  <a:pt x="3436" y="16279"/>
                  <a:pt x="3436" y="15709"/>
                </a:cubicBezTo>
                <a:cubicBezTo>
                  <a:pt x="3436" y="14763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6"/>
                </a:cubicBezTo>
                <a:cubicBezTo>
                  <a:pt x="9431" y="15253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6"/>
                </a:cubicBezTo>
                <a:cubicBezTo>
                  <a:pt x="3608" y="17469"/>
                  <a:pt x="3573" y="17430"/>
                  <a:pt x="3539" y="17392"/>
                </a:cubicBezTo>
                <a:moveTo>
                  <a:pt x="3075" y="11369"/>
                </a:moveTo>
                <a:cubicBezTo>
                  <a:pt x="2361" y="10869"/>
                  <a:pt x="1683" y="10321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6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3"/>
                  <a:pt x="3936" y="11937"/>
                </a:cubicBezTo>
                <a:cubicBezTo>
                  <a:pt x="4379" y="10266"/>
                  <a:pt x="5100" y="8708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4"/>
                  <a:pt x="7855" y="5891"/>
                </a:cubicBezTo>
                <a:cubicBezTo>
                  <a:pt x="7855" y="5688"/>
                  <a:pt x="7813" y="5493"/>
                  <a:pt x="7739" y="5317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0"/>
                  <a:pt x="11005" y="1707"/>
                  <a:pt x="10354" y="2081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5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7"/>
                  <a:pt x="15149" y="8393"/>
                </a:cubicBezTo>
                <a:cubicBezTo>
                  <a:pt x="14827" y="9199"/>
                  <a:pt x="14443" y="9973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3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8" name="Shape 2858"/>
          <p:cNvSpPr/>
          <p:nvPr/>
        </p:nvSpPr>
        <p:spPr>
          <a:xfrm>
            <a:off x="9274983" y="879513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98" y="4909"/>
                  <a:pt x="1200" y="4030"/>
                  <a:pt x="1200" y="2945"/>
                </a:cubicBezTo>
                <a:cubicBezTo>
                  <a:pt x="1200" y="1861"/>
                  <a:pt x="5498" y="982"/>
                  <a:pt x="10800" y="982"/>
                </a:cubicBezTo>
                <a:cubicBezTo>
                  <a:pt x="16102" y="982"/>
                  <a:pt x="20400" y="1861"/>
                  <a:pt x="20400" y="2945"/>
                </a:cubicBezTo>
                <a:cubicBezTo>
                  <a:pt x="20400" y="4030"/>
                  <a:pt x="16102" y="4909"/>
                  <a:pt x="10800" y="4909"/>
                </a:cubicBezTo>
                <a:moveTo>
                  <a:pt x="20400" y="6873"/>
                </a:moveTo>
                <a:cubicBezTo>
                  <a:pt x="20400" y="7957"/>
                  <a:pt x="16102" y="8836"/>
                  <a:pt x="10800" y="8836"/>
                </a:cubicBezTo>
                <a:cubicBezTo>
                  <a:pt x="5498" y="8836"/>
                  <a:pt x="1200" y="7957"/>
                  <a:pt x="1200" y="6873"/>
                </a:cubicBezTo>
                <a:lnTo>
                  <a:pt x="1200" y="4291"/>
                </a:lnTo>
                <a:cubicBezTo>
                  <a:pt x="2993" y="5240"/>
                  <a:pt x="6615" y="5891"/>
                  <a:pt x="10800" y="5891"/>
                </a:cubicBezTo>
                <a:cubicBezTo>
                  <a:pt x="14986" y="5891"/>
                  <a:pt x="18607" y="5240"/>
                  <a:pt x="20400" y="4291"/>
                </a:cubicBezTo>
                <a:cubicBezTo>
                  <a:pt x="20400" y="4291"/>
                  <a:pt x="20400" y="6873"/>
                  <a:pt x="20400" y="6873"/>
                </a:cubicBezTo>
                <a:close/>
                <a:moveTo>
                  <a:pt x="10800" y="10800"/>
                </a:moveTo>
                <a:cubicBezTo>
                  <a:pt x="5498" y="10800"/>
                  <a:pt x="1200" y="9921"/>
                  <a:pt x="1200" y="8836"/>
                </a:cubicBezTo>
                <a:cubicBezTo>
                  <a:pt x="1200" y="8672"/>
                  <a:pt x="1309" y="8514"/>
                  <a:pt x="1494" y="8362"/>
                </a:cubicBezTo>
                <a:cubicBezTo>
                  <a:pt x="3370" y="9232"/>
                  <a:pt x="6830" y="9818"/>
                  <a:pt x="10800" y="9818"/>
                </a:cubicBezTo>
                <a:cubicBezTo>
                  <a:pt x="14770" y="9818"/>
                  <a:pt x="18230" y="9232"/>
                  <a:pt x="20106" y="8362"/>
                </a:cubicBezTo>
                <a:cubicBezTo>
                  <a:pt x="20291" y="8514"/>
                  <a:pt x="20400" y="8672"/>
                  <a:pt x="20400" y="8836"/>
                </a:cubicBezTo>
                <a:cubicBezTo>
                  <a:pt x="20400" y="9921"/>
                  <a:pt x="16102" y="10800"/>
                  <a:pt x="10800" y="10800"/>
                </a:cubicBezTo>
                <a:moveTo>
                  <a:pt x="20400" y="12764"/>
                </a:moveTo>
                <a:cubicBezTo>
                  <a:pt x="20400" y="13848"/>
                  <a:pt x="16102" y="14727"/>
                  <a:pt x="10800" y="14727"/>
                </a:cubicBezTo>
                <a:cubicBezTo>
                  <a:pt x="5498" y="14727"/>
                  <a:pt x="1200" y="13848"/>
                  <a:pt x="1200" y="12764"/>
                </a:cubicBezTo>
                <a:lnTo>
                  <a:pt x="1200" y="10182"/>
                </a:lnTo>
                <a:cubicBezTo>
                  <a:pt x="2993" y="11131"/>
                  <a:pt x="6615" y="11782"/>
                  <a:pt x="10800" y="11782"/>
                </a:cubicBezTo>
                <a:cubicBezTo>
                  <a:pt x="14986" y="11782"/>
                  <a:pt x="18607" y="11131"/>
                  <a:pt x="20400" y="10182"/>
                </a:cubicBezTo>
                <a:cubicBezTo>
                  <a:pt x="20400" y="10182"/>
                  <a:pt x="20400" y="12764"/>
                  <a:pt x="20400" y="12764"/>
                </a:cubicBezTo>
                <a:close/>
                <a:moveTo>
                  <a:pt x="10800" y="16691"/>
                </a:moveTo>
                <a:cubicBezTo>
                  <a:pt x="5498" y="16691"/>
                  <a:pt x="1200" y="15812"/>
                  <a:pt x="1200" y="14727"/>
                </a:cubicBezTo>
                <a:cubicBezTo>
                  <a:pt x="1200" y="14563"/>
                  <a:pt x="1309" y="14405"/>
                  <a:pt x="1494" y="14253"/>
                </a:cubicBezTo>
                <a:cubicBezTo>
                  <a:pt x="3370" y="15123"/>
                  <a:pt x="6830" y="15709"/>
                  <a:pt x="10800" y="15709"/>
                </a:cubicBezTo>
                <a:cubicBezTo>
                  <a:pt x="14770" y="15709"/>
                  <a:pt x="18230" y="15123"/>
                  <a:pt x="20106" y="14253"/>
                </a:cubicBezTo>
                <a:cubicBezTo>
                  <a:pt x="20291" y="14405"/>
                  <a:pt x="20400" y="14563"/>
                  <a:pt x="20400" y="14727"/>
                </a:cubicBezTo>
                <a:cubicBezTo>
                  <a:pt x="20400" y="15812"/>
                  <a:pt x="16102" y="16691"/>
                  <a:pt x="10800" y="16691"/>
                </a:cubicBezTo>
                <a:moveTo>
                  <a:pt x="20400" y="18655"/>
                </a:moveTo>
                <a:cubicBezTo>
                  <a:pt x="20400" y="19739"/>
                  <a:pt x="16102" y="20618"/>
                  <a:pt x="10800" y="20618"/>
                </a:cubicBezTo>
                <a:cubicBezTo>
                  <a:pt x="5498" y="20618"/>
                  <a:pt x="1200" y="19739"/>
                  <a:pt x="1200" y="18655"/>
                </a:cubicBezTo>
                <a:lnTo>
                  <a:pt x="1200" y="16073"/>
                </a:lnTo>
                <a:cubicBezTo>
                  <a:pt x="2993" y="17022"/>
                  <a:pt x="6615" y="17673"/>
                  <a:pt x="10800" y="17673"/>
                </a:cubicBezTo>
                <a:cubicBezTo>
                  <a:pt x="14986" y="17673"/>
                  <a:pt x="18607" y="17022"/>
                  <a:pt x="20400" y="16073"/>
                </a:cubicBezTo>
                <a:cubicBezTo>
                  <a:pt x="20400" y="16073"/>
                  <a:pt x="20400" y="18655"/>
                  <a:pt x="20400" y="18655"/>
                </a:cubicBezTo>
                <a:close/>
                <a:moveTo>
                  <a:pt x="21600" y="2945"/>
                </a:moveTo>
                <a:cubicBezTo>
                  <a:pt x="21600" y="1319"/>
                  <a:pt x="16765" y="0"/>
                  <a:pt x="10800" y="0"/>
                </a:cubicBezTo>
                <a:cubicBezTo>
                  <a:pt x="4835" y="0"/>
                  <a:pt x="0" y="1319"/>
                  <a:pt x="0" y="2945"/>
                </a:cubicBezTo>
                <a:lnTo>
                  <a:pt x="0" y="6873"/>
                </a:lnTo>
                <a:cubicBezTo>
                  <a:pt x="0" y="7218"/>
                  <a:pt x="229" y="7547"/>
                  <a:pt x="628" y="7855"/>
                </a:cubicBezTo>
                <a:cubicBezTo>
                  <a:pt x="229" y="8162"/>
                  <a:pt x="0" y="8492"/>
                  <a:pt x="0" y="8836"/>
                </a:cubicBezTo>
                <a:lnTo>
                  <a:pt x="0" y="12764"/>
                </a:lnTo>
                <a:cubicBezTo>
                  <a:pt x="0" y="13109"/>
                  <a:pt x="229" y="13438"/>
                  <a:pt x="628" y="13745"/>
                </a:cubicBezTo>
                <a:cubicBezTo>
                  <a:pt x="229" y="14053"/>
                  <a:pt x="0" y="14383"/>
                  <a:pt x="0" y="14727"/>
                </a:cubicBezTo>
                <a:lnTo>
                  <a:pt x="0" y="18655"/>
                </a:lnTo>
                <a:cubicBezTo>
                  <a:pt x="0" y="20281"/>
                  <a:pt x="4835" y="21600"/>
                  <a:pt x="10800" y="21600"/>
                </a:cubicBezTo>
                <a:cubicBezTo>
                  <a:pt x="16765" y="21600"/>
                  <a:pt x="21600" y="20281"/>
                  <a:pt x="21600" y="18655"/>
                </a:cubicBezTo>
                <a:lnTo>
                  <a:pt x="21600" y="14727"/>
                </a:lnTo>
                <a:cubicBezTo>
                  <a:pt x="21600" y="14383"/>
                  <a:pt x="21371" y="14053"/>
                  <a:pt x="20972" y="13745"/>
                </a:cubicBezTo>
                <a:cubicBezTo>
                  <a:pt x="21371" y="13438"/>
                  <a:pt x="21600" y="13109"/>
                  <a:pt x="21600" y="12764"/>
                </a:cubicBezTo>
                <a:lnTo>
                  <a:pt x="21600" y="8836"/>
                </a:lnTo>
                <a:cubicBezTo>
                  <a:pt x="21600" y="8492"/>
                  <a:pt x="21371" y="8162"/>
                  <a:pt x="20972" y="7855"/>
                </a:cubicBezTo>
                <a:cubicBezTo>
                  <a:pt x="21371" y="7547"/>
                  <a:pt x="21600" y="7218"/>
                  <a:pt x="21600" y="6873"/>
                </a:cubicBezTo>
                <a:cubicBezTo>
                  <a:pt x="21600" y="6873"/>
                  <a:pt x="21600" y="2945"/>
                  <a:pt x="21600" y="294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59" name="Shape 2859"/>
          <p:cNvSpPr/>
          <p:nvPr/>
        </p:nvSpPr>
        <p:spPr>
          <a:xfrm>
            <a:off x="10290720" y="879513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79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5" y="7236"/>
                </a:cubicBezTo>
                <a:cubicBezTo>
                  <a:pt x="6892" y="7530"/>
                  <a:pt x="6793" y="7869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6" y="9635"/>
                </a:cubicBezTo>
                <a:cubicBezTo>
                  <a:pt x="6776" y="9644"/>
                  <a:pt x="6776" y="9651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5" y="11661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40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5" y="14727"/>
                  <a:pt x="15201" y="11706"/>
                  <a:pt x="15201" y="9086"/>
                </a:cubicBezTo>
                <a:cubicBezTo>
                  <a:pt x="15201" y="9000"/>
                  <a:pt x="15199" y="8915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0" name="Shape 2860"/>
          <p:cNvSpPr/>
          <p:nvPr/>
        </p:nvSpPr>
        <p:spPr>
          <a:xfrm>
            <a:off x="11357242" y="879513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4" y="7858"/>
                </a:lnTo>
                <a:lnTo>
                  <a:pt x="13244" y="6381"/>
                </a:lnTo>
                <a:lnTo>
                  <a:pt x="11938" y="6381"/>
                </a:lnTo>
                <a:cubicBezTo>
                  <a:pt x="10369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1" name="Shape 2861"/>
          <p:cNvSpPr/>
          <p:nvPr/>
        </p:nvSpPr>
        <p:spPr>
          <a:xfrm>
            <a:off x="12499946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19" y="12090"/>
                  <a:pt x="14019" y="12428"/>
                  <a:pt x="14019" y="12428"/>
                </a:cubicBezTo>
                <a:lnTo>
                  <a:pt x="14019" y="12863"/>
                </a:lnTo>
                <a:lnTo>
                  <a:pt x="14628" y="12863"/>
                </a:lnTo>
                <a:lnTo>
                  <a:pt x="14628" y="12428"/>
                </a:lnTo>
                <a:cubicBezTo>
                  <a:pt x="14628" y="12428"/>
                  <a:pt x="14628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19" y="13348"/>
                </a:lnTo>
                <a:lnTo>
                  <a:pt x="14019" y="14072"/>
                </a:lnTo>
                <a:cubicBezTo>
                  <a:pt x="14019" y="14072"/>
                  <a:pt x="14019" y="14411"/>
                  <a:pt x="14324" y="14411"/>
                </a:cubicBezTo>
                <a:cubicBezTo>
                  <a:pt x="14628" y="14411"/>
                  <a:pt x="14628" y="14072"/>
                  <a:pt x="14628" y="14072"/>
                </a:cubicBezTo>
                <a:lnTo>
                  <a:pt x="14628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1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8" y="11782"/>
                  <a:pt x="12036" y="11558"/>
                  <a:pt x="12347" y="11558"/>
                </a:cubicBezTo>
                <a:cubicBezTo>
                  <a:pt x="12752" y="11558"/>
                  <a:pt x="12904" y="11896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3" y="11074"/>
                </a:lnTo>
                <a:lnTo>
                  <a:pt x="6363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0" y="9334"/>
                  <a:pt x="7074" y="9430"/>
                  <a:pt x="7074" y="9430"/>
                </a:cubicBezTo>
                <a:cubicBezTo>
                  <a:pt x="6233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5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0"/>
                  <a:pt x="14527" y="943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0"/>
                </a:moveTo>
                <a:cubicBezTo>
                  <a:pt x="11860" y="12090"/>
                  <a:pt x="11757" y="12168"/>
                  <a:pt x="11687" y="12243"/>
                </a:cubicBezTo>
                <a:lnTo>
                  <a:pt x="11687" y="14276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0"/>
                  <a:pt x="11992" y="1209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1"/>
                </a:moveTo>
                <a:cubicBezTo>
                  <a:pt x="12802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49" y="8348"/>
                  <a:pt x="12549" y="8196"/>
                  <a:pt x="12549" y="8196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1"/>
                  <a:pt x="12397" y="8801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2" name="Shape 2862"/>
          <p:cNvSpPr/>
          <p:nvPr/>
        </p:nvSpPr>
        <p:spPr>
          <a:xfrm>
            <a:off x="13566466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672" y="6382"/>
                </a:moveTo>
                <a:cubicBezTo>
                  <a:pt x="10464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9" y="11643"/>
                </a:cubicBezTo>
                <a:cubicBezTo>
                  <a:pt x="8462" y="11568"/>
                  <a:pt x="8536" y="11425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7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7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7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2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7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1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3" name="Shape 2863"/>
          <p:cNvSpPr/>
          <p:nvPr/>
        </p:nvSpPr>
        <p:spPr>
          <a:xfrm>
            <a:off x="14632989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5" y="8897"/>
                  <a:pt x="11997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4" y="9937"/>
                  <a:pt x="12643" y="10393"/>
                  <a:pt x="12232" y="10991"/>
                </a:cubicBezTo>
                <a:cubicBezTo>
                  <a:pt x="11821" y="11589"/>
                  <a:pt x="11513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5"/>
                  <a:pt x="8774" y="6973"/>
                </a:cubicBezTo>
                <a:cubicBezTo>
                  <a:pt x="8450" y="7000"/>
                  <a:pt x="7966" y="7272"/>
                  <a:pt x="7320" y="7789"/>
                </a:cubicBezTo>
                <a:cubicBezTo>
                  <a:pt x="6849" y="8183"/>
                  <a:pt x="6372" y="8577"/>
                  <a:pt x="5888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2"/>
                </a:cubicBezTo>
                <a:cubicBezTo>
                  <a:pt x="8333" y="11460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2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8"/>
                  <a:pt x="14281" y="687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4" name="Shape 2864"/>
          <p:cNvSpPr/>
          <p:nvPr/>
        </p:nvSpPr>
        <p:spPr>
          <a:xfrm>
            <a:off x="15699511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5" y="7359"/>
                </a:moveTo>
                <a:lnTo>
                  <a:pt x="13743" y="7359"/>
                </a:lnTo>
                <a:lnTo>
                  <a:pt x="13743" y="8833"/>
                </a:lnTo>
                <a:lnTo>
                  <a:pt x="12265" y="8833"/>
                </a:lnTo>
                <a:lnTo>
                  <a:pt x="12265" y="9816"/>
                </a:lnTo>
                <a:lnTo>
                  <a:pt x="13743" y="9816"/>
                </a:lnTo>
                <a:lnTo>
                  <a:pt x="13743" y="11283"/>
                </a:lnTo>
                <a:lnTo>
                  <a:pt x="14725" y="11283"/>
                </a:lnTo>
                <a:lnTo>
                  <a:pt x="14725" y="9816"/>
                </a:lnTo>
                <a:lnTo>
                  <a:pt x="16205" y="9816"/>
                </a:lnTo>
                <a:lnTo>
                  <a:pt x="16205" y="8833"/>
                </a:lnTo>
                <a:lnTo>
                  <a:pt x="14725" y="8833"/>
                </a:lnTo>
                <a:cubicBezTo>
                  <a:pt x="14725" y="8833"/>
                  <a:pt x="14725" y="7359"/>
                  <a:pt x="14725" y="7359"/>
                </a:cubicBezTo>
                <a:close/>
                <a:moveTo>
                  <a:pt x="9321" y="13946"/>
                </a:moveTo>
                <a:cubicBezTo>
                  <a:pt x="8620" y="13946"/>
                  <a:pt x="8071" y="13495"/>
                  <a:pt x="8071" y="12919"/>
                </a:cubicBezTo>
                <a:cubicBezTo>
                  <a:pt x="8071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47" y="11723"/>
                </a:lnTo>
                <a:lnTo>
                  <a:pt x="9465" y="11929"/>
                </a:lnTo>
                <a:cubicBezTo>
                  <a:pt x="9624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40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5" y="8362"/>
                  <a:pt x="8574" y="8014"/>
                  <a:pt x="8754" y="7806"/>
                </a:cubicBezTo>
                <a:cubicBezTo>
                  <a:pt x="8864" y="7680"/>
                  <a:pt x="9006" y="7613"/>
                  <a:pt x="9164" y="7613"/>
                </a:cubicBez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5" y="9596"/>
                  <a:pt x="9970" y="9809"/>
                </a:cubicBezTo>
                <a:cubicBezTo>
                  <a:pt x="9860" y="9935"/>
                  <a:pt x="9722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6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6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5"/>
                  <a:pt x="11386" y="8784"/>
                </a:cubicBezTo>
                <a:cubicBezTo>
                  <a:pt x="11386" y="8342"/>
                  <a:pt x="11262" y="7947"/>
                  <a:pt x="11050" y="7659"/>
                </a:cubicBezTo>
                <a:lnTo>
                  <a:pt x="11238" y="7659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5" y="6873"/>
                  <a:pt x="7345" y="7759"/>
                  <a:pt x="7345" y="8769"/>
                </a:cubicBezTo>
                <a:cubicBezTo>
                  <a:pt x="7345" y="9812"/>
                  <a:pt x="8109" y="10605"/>
                  <a:pt x="9137" y="10648"/>
                </a:cubicBezTo>
                <a:cubicBezTo>
                  <a:pt x="9121" y="10722"/>
                  <a:pt x="9113" y="10795"/>
                  <a:pt x="9113" y="10868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3" y="11309"/>
                  <a:pt x="6870" y="12161"/>
                  <a:pt x="6870" y="13167"/>
                </a:cubicBezTo>
                <a:cubicBezTo>
                  <a:pt x="6870" y="14071"/>
                  <a:pt x="7903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5" name="Shape 2865"/>
          <p:cNvSpPr/>
          <p:nvPr/>
        </p:nvSpPr>
        <p:spPr>
          <a:xfrm>
            <a:off x="16766033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3430" y="9320"/>
                </a:moveTo>
                <a:cubicBezTo>
                  <a:pt x="11975" y="9320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0"/>
                  <a:pt x="13430" y="9320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0"/>
                </a:lnTo>
                <a:lnTo>
                  <a:pt x="6873" y="9320"/>
                </a:lnTo>
                <a:cubicBezTo>
                  <a:pt x="6873" y="9320"/>
                  <a:pt x="6873" y="14727"/>
                  <a:pt x="6873" y="14727"/>
                </a:cubicBezTo>
                <a:close/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6" name="Shape 2866"/>
          <p:cNvSpPr/>
          <p:nvPr/>
        </p:nvSpPr>
        <p:spPr>
          <a:xfrm>
            <a:off x="17832556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591" y="13291"/>
                </a:moveTo>
                <a:cubicBezTo>
                  <a:pt x="11452" y="13214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9" y="13478"/>
                  <a:pt x="9448" y="13667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20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6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1" y="132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7" name="Shape 2867"/>
          <p:cNvSpPr/>
          <p:nvPr/>
        </p:nvSpPr>
        <p:spPr>
          <a:xfrm>
            <a:off x="18899079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2"/>
                </a:lnTo>
                <a:cubicBezTo>
                  <a:pt x="13281" y="13032"/>
                  <a:pt x="13386" y="13050"/>
                  <a:pt x="13473" y="13085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7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8" y="14187"/>
                  <a:pt x="12550" y="14335"/>
                  <a:pt x="12631" y="14459"/>
                </a:cubicBezTo>
                <a:cubicBezTo>
                  <a:pt x="12706" y="14574"/>
                  <a:pt x="12831" y="14661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6"/>
                  <a:pt x="13722" y="13990"/>
                  <a:pt x="13643" y="13857"/>
                </a:cubicBezTo>
                <a:cubicBezTo>
                  <a:pt x="13567" y="13732"/>
                  <a:pt x="13439" y="13644"/>
                  <a:pt x="13280" y="13606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98" y="6884"/>
                </a:moveTo>
                <a:lnTo>
                  <a:pt x="12930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2" y="6884"/>
                </a:lnTo>
                <a:lnTo>
                  <a:pt x="9988" y="10156"/>
                </a:lnTo>
                <a:lnTo>
                  <a:pt x="8067" y="6873"/>
                </a:lnTo>
                <a:lnTo>
                  <a:pt x="8000" y="6891"/>
                </a:lnTo>
                <a:cubicBezTo>
                  <a:pt x="7739" y="6962"/>
                  <a:pt x="7347" y="6960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6"/>
                  <a:pt x="10190" y="14646"/>
                  <a:pt x="10449" y="14719"/>
                </a:cubicBezTo>
                <a:lnTo>
                  <a:pt x="10573" y="14722"/>
                </a:lnTo>
                <a:lnTo>
                  <a:pt x="10512" y="11391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5" y="7029"/>
                </a:cubicBezTo>
                <a:cubicBezTo>
                  <a:pt x="13015" y="7029"/>
                  <a:pt x="13098" y="6884"/>
                  <a:pt x="13098" y="688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8" name="Shape 2868"/>
          <p:cNvSpPr/>
          <p:nvPr/>
        </p:nvSpPr>
        <p:spPr>
          <a:xfrm>
            <a:off x="19965600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2965" y="14699"/>
                </a:moveTo>
                <a:lnTo>
                  <a:pt x="12958" y="14707"/>
                </a:lnTo>
                <a:lnTo>
                  <a:pt x="10801" y="13100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0" y="14627"/>
                </a:lnTo>
                <a:lnTo>
                  <a:pt x="14000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2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75" y="13002"/>
                </a:lnTo>
                <a:lnTo>
                  <a:pt x="8631" y="13516"/>
                </a:lnTo>
                <a:lnTo>
                  <a:pt x="10063" y="12429"/>
                </a:lnTo>
                <a:lnTo>
                  <a:pt x="10780" y="11880"/>
                </a:lnTo>
                <a:lnTo>
                  <a:pt x="10782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5" y="11880"/>
                </a:lnTo>
                <a:lnTo>
                  <a:pt x="12509" y="13148"/>
                </a:lnTo>
                <a:lnTo>
                  <a:pt x="13007" y="13515"/>
                </a:lnTo>
                <a:lnTo>
                  <a:pt x="16198" y="11575"/>
                </a:lnTo>
                <a:lnTo>
                  <a:pt x="13925" y="9727"/>
                </a:lnTo>
                <a:lnTo>
                  <a:pt x="10788" y="11715"/>
                </a:lnTo>
                <a:cubicBezTo>
                  <a:pt x="10788" y="11715"/>
                  <a:pt x="7642" y="9766"/>
                  <a:pt x="7642" y="9766"/>
                </a:cubicBezTo>
                <a:close/>
                <a:moveTo>
                  <a:pt x="13925" y="9727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7"/>
                  <a:pt x="13925" y="9727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69" name="Shape 2869"/>
          <p:cNvSpPr/>
          <p:nvPr/>
        </p:nvSpPr>
        <p:spPr>
          <a:xfrm>
            <a:off x="21032122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7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7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6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0" name="Shape 2870"/>
          <p:cNvSpPr/>
          <p:nvPr/>
        </p:nvSpPr>
        <p:spPr>
          <a:xfrm>
            <a:off x="22098644" y="6662093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7"/>
                </a:lnTo>
                <a:cubicBezTo>
                  <a:pt x="15118" y="9995"/>
                  <a:pt x="15213" y="9425"/>
                  <a:pt x="15213" y="8919"/>
                </a:cubicBezTo>
                <a:cubicBezTo>
                  <a:pt x="15213" y="8812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7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1" y="8413"/>
                </a:cubicBezTo>
                <a:cubicBezTo>
                  <a:pt x="9351" y="8413"/>
                  <a:pt x="9605" y="8444"/>
                  <a:pt x="9874" y="8460"/>
                </a:cubicBezTo>
                <a:lnTo>
                  <a:pt x="10651" y="10590"/>
                </a:lnTo>
                <a:lnTo>
                  <a:pt x="9559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1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5" y="8063"/>
                  <a:pt x="6726" y="8060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90" y="12162"/>
                </a:cubicBezTo>
                <a:lnTo>
                  <a:pt x="13291" y="13825"/>
                </a:lnTo>
                <a:cubicBezTo>
                  <a:pt x="13291" y="13825"/>
                  <a:pt x="11487" y="8460"/>
                  <a:pt x="11487" y="8460"/>
                </a:cubicBezTo>
                <a:close/>
                <a:moveTo>
                  <a:pt x="10800" y="15709"/>
                </a:moveTo>
                <a:cubicBezTo>
                  <a:pt x="10320" y="15709"/>
                  <a:pt x="9857" y="15637"/>
                  <a:pt x="9417" y="15508"/>
                </a:cubicBezTo>
                <a:lnTo>
                  <a:pt x="10887" y="11237"/>
                </a:lnTo>
                <a:cubicBezTo>
                  <a:pt x="10887" y="11237"/>
                  <a:pt x="12211" y="14864"/>
                  <a:pt x="12426" y="15428"/>
                </a:cubicBezTo>
                <a:cubicBezTo>
                  <a:pt x="11916" y="15607"/>
                  <a:pt x="11370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8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4" y="16691"/>
                  <a:pt x="16691" y="14054"/>
                  <a:pt x="16691" y="10800"/>
                </a:cubicBezTo>
                <a:cubicBezTo>
                  <a:pt x="16691" y="7547"/>
                  <a:pt x="14054" y="4909"/>
                  <a:pt x="10800" y="49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1" name="Shape 2871"/>
          <p:cNvSpPr/>
          <p:nvPr/>
        </p:nvSpPr>
        <p:spPr>
          <a:xfrm>
            <a:off x="12499946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36" y="10309"/>
                </a:moveTo>
                <a:cubicBezTo>
                  <a:pt x="13552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9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9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1" y="10800"/>
                  <a:pt x="9313" y="10470"/>
                  <a:pt x="10852" y="9873"/>
                </a:cubicBezTo>
                <a:cubicBezTo>
                  <a:pt x="11016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9"/>
                  <a:pt x="10353" y="9000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3"/>
                  <a:pt x="7547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2" name="Shape 2872"/>
          <p:cNvSpPr/>
          <p:nvPr/>
        </p:nvSpPr>
        <p:spPr>
          <a:xfrm>
            <a:off x="13566466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40" y="7246"/>
                  <a:pt x="15108" y="7411"/>
                  <a:pt x="14650" y="7499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6" y="7236"/>
                </a:cubicBezTo>
                <a:cubicBezTo>
                  <a:pt x="6892" y="7529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1"/>
                  <a:pt x="7483" y="11638"/>
                </a:cubicBezTo>
                <a:cubicBezTo>
                  <a:pt x="7739" y="12426"/>
                  <a:pt x="8482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3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29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0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3" name="Shape 2873"/>
          <p:cNvSpPr/>
          <p:nvPr/>
        </p:nvSpPr>
        <p:spPr>
          <a:xfrm>
            <a:off x="14632989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8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4" name="Shape 2874"/>
          <p:cNvSpPr/>
          <p:nvPr/>
        </p:nvSpPr>
        <p:spPr>
          <a:xfrm>
            <a:off x="15699511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20" y="12090"/>
                  <a:pt x="14020" y="12429"/>
                  <a:pt x="14020" y="12429"/>
                </a:cubicBezTo>
                <a:lnTo>
                  <a:pt x="14020" y="12863"/>
                </a:lnTo>
                <a:lnTo>
                  <a:pt x="14629" y="12863"/>
                </a:lnTo>
                <a:lnTo>
                  <a:pt x="14629" y="12429"/>
                </a:lnTo>
                <a:cubicBezTo>
                  <a:pt x="14629" y="12429"/>
                  <a:pt x="14629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20" y="13348"/>
                </a:lnTo>
                <a:lnTo>
                  <a:pt x="14020" y="14072"/>
                </a:lnTo>
                <a:cubicBezTo>
                  <a:pt x="14020" y="14072"/>
                  <a:pt x="14020" y="14411"/>
                  <a:pt x="14324" y="14411"/>
                </a:cubicBezTo>
                <a:cubicBezTo>
                  <a:pt x="14629" y="14411"/>
                  <a:pt x="14629" y="14072"/>
                  <a:pt x="14629" y="14072"/>
                </a:cubicBezTo>
                <a:lnTo>
                  <a:pt x="14629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2" y="14266"/>
                  <a:pt x="13412" y="14266"/>
                </a:cubicBezTo>
                <a:lnTo>
                  <a:pt x="13412" y="12380"/>
                </a:lnTo>
                <a:cubicBezTo>
                  <a:pt x="13412" y="12380"/>
                  <a:pt x="13412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5" y="14169"/>
                </a:moveTo>
                <a:cubicBezTo>
                  <a:pt x="12905" y="14169"/>
                  <a:pt x="12905" y="14943"/>
                  <a:pt x="12347" y="14943"/>
                </a:cubicBezTo>
                <a:cubicBezTo>
                  <a:pt x="12005" y="14943"/>
                  <a:pt x="11798" y="14762"/>
                  <a:pt x="11688" y="14621"/>
                </a:cubicBezTo>
                <a:lnTo>
                  <a:pt x="11688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8" y="10446"/>
                </a:lnTo>
                <a:lnTo>
                  <a:pt x="11688" y="11888"/>
                </a:lnTo>
                <a:cubicBezTo>
                  <a:pt x="11788" y="11782"/>
                  <a:pt x="12037" y="11558"/>
                  <a:pt x="12347" y="11558"/>
                </a:cubicBezTo>
                <a:cubicBezTo>
                  <a:pt x="12752" y="11558"/>
                  <a:pt x="12905" y="11896"/>
                  <a:pt x="12905" y="12332"/>
                </a:cubicBezTo>
                <a:cubicBezTo>
                  <a:pt x="12905" y="12332"/>
                  <a:pt x="12905" y="14169"/>
                  <a:pt x="12905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4" y="11074"/>
                </a:lnTo>
                <a:lnTo>
                  <a:pt x="6364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1" y="9334"/>
                  <a:pt x="7074" y="9430"/>
                  <a:pt x="7074" y="9430"/>
                </a:cubicBezTo>
                <a:cubicBezTo>
                  <a:pt x="6234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4" y="16104"/>
                  <a:pt x="7074" y="16104"/>
                </a:cubicBezTo>
                <a:cubicBezTo>
                  <a:pt x="7074" y="16104"/>
                  <a:pt x="8905" y="16200"/>
                  <a:pt x="10800" y="16200"/>
                </a:cubicBezTo>
                <a:cubicBezTo>
                  <a:pt x="12631" y="16200"/>
                  <a:pt x="14527" y="16104"/>
                  <a:pt x="14527" y="16104"/>
                </a:cubicBezTo>
                <a:cubicBezTo>
                  <a:pt x="15367" y="16104"/>
                  <a:pt x="16049" y="15454"/>
                  <a:pt x="16049" y="14652"/>
                </a:cubicBezTo>
                <a:cubicBezTo>
                  <a:pt x="16049" y="14652"/>
                  <a:pt x="16200" y="13700"/>
                  <a:pt x="16200" y="12767"/>
                </a:cubicBezTo>
                <a:cubicBezTo>
                  <a:pt x="16200" y="11814"/>
                  <a:pt x="16049" y="10881"/>
                  <a:pt x="16049" y="10881"/>
                </a:cubicBezTo>
                <a:cubicBezTo>
                  <a:pt x="16049" y="10080"/>
                  <a:pt x="15367" y="9430"/>
                  <a:pt x="14527" y="9430"/>
                </a:cubicBezTo>
                <a:moveTo>
                  <a:pt x="11992" y="12090"/>
                </a:moveTo>
                <a:cubicBezTo>
                  <a:pt x="11860" y="12090"/>
                  <a:pt x="11757" y="12167"/>
                  <a:pt x="11688" y="12243"/>
                </a:cubicBezTo>
                <a:lnTo>
                  <a:pt x="11688" y="14276"/>
                </a:lnTo>
                <a:cubicBezTo>
                  <a:pt x="11751" y="14345"/>
                  <a:pt x="11848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9"/>
                </a:lnTo>
                <a:cubicBezTo>
                  <a:pt x="12296" y="12429"/>
                  <a:pt x="12245" y="12090"/>
                  <a:pt x="11992" y="12090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0166" y="6634"/>
                </a:moveTo>
                <a:cubicBezTo>
                  <a:pt x="10166" y="6467"/>
                  <a:pt x="10303" y="6332"/>
                  <a:pt x="10471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1" y="8348"/>
                </a:cubicBezTo>
                <a:cubicBezTo>
                  <a:pt x="10303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7"/>
                  <a:pt x="10572" y="5877"/>
                </a:cubicBezTo>
                <a:lnTo>
                  <a:pt x="10369" y="5877"/>
                </a:lnTo>
                <a:cubicBezTo>
                  <a:pt x="9921" y="5877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  <a:moveTo>
                  <a:pt x="12398" y="8801"/>
                </a:moveTo>
                <a:cubicBezTo>
                  <a:pt x="12803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7" y="8751"/>
                </a:lnTo>
                <a:lnTo>
                  <a:pt x="13767" y="5877"/>
                </a:lnTo>
                <a:lnTo>
                  <a:pt x="13158" y="5877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50" y="8348"/>
                  <a:pt x="12550" y="8197"/>
                  <a:pt x="12550" y="8197"/>
                </a:cubicBezTo>
                <a:lnTo>
                  <a:pt x="12550" y="5877"/>
                </a:lnTo>
                <a:lnTo>
                  <a:pt x="11941" y="5877"/>
                </a:lnTo>
                <a:lnTo>
                  <a:pt x="11941" y="8398"/>
                </a:lnTo>
                <a:cubicBezTo>
                  <a:pt x="11941" y="8398"/>
                  <a:pt x="11992" y="8801"/>
                  <a:pt x="12398" y="880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5" name="Shape 2875"/>
          <p:cNvSpPr/>
          <p:nvPr/>
        </p:nvSpPr>
        <p:spPr>
          <a:xfrm>
            <a:off x="16766033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672" y="6382"/>
                </a:moveTo>
                <a:cubicBezTo>
                  <a:pt x="10463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8" y="11643"/>
                </a:cubicBezTo>
                <a:cubicBezTo>
                  <a:pt x="8462" y="11568"/>
                  <a:pt x="8536" y="11424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6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6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8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1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8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2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6" name="Shape 2876"/>
          <p:cNvSpPr/>
          <p:nvPr/>
        </p:nvSpPr>
        <p:spPr>
          <a:xfrm>
            <a:off x="17832556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4" y="8897"/>
                  <a:pt x="11998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3" y="9937"/>
                  <a:pt x="12643" y="10393"/>
                  <a:pt x="12232" y="10991"/>
                </a:cubicBezTo>
                <a:cubicBezTo>
                  <a:pt x="11821" y="11589"/>
                  <a:pt x="11512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4"/>
                  <a:pt x="8773" y="6972"/>
                </a:cubicBezTo>
                <a:cubicBezTo>
                  <a:pt x="8450" y="7000"/>
                  <a:pt x="7966" y="7272"/>
                  <a:pt x="7320" y="7788"/>
                </a:cubicBezTo>
                <a:cubicBezTo>
                  <a:pt x="6849" y="8183"/>
                  <a:pt x="6372" y="8577"/>
                  <a:pt x="5887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3"/>
                </a:cubicBezTo>
                <a:cubicBezTo>
                  <a:pt x="8333" y="11461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1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9"/>
                  <a:pt x="14281" y="6871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7" name="Shape 2877"/>
          <p:cNvSpPr/>
          <p:nvPr/>
        </p:nvSpPr>
        <p:spPr>
          <a:xfrm>
            <a:off x="18899079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4" y="7360"/>
                </a:moveTo>
                <a:lnTo>
                  <a:pt x="13742" y="7360"/>
                </a:lnTo>
                <a:lnTo>
                  <a:pt x="13742" y="8833"/>
                </a:lnTo>
                <a:lnTo>
                  <a:pt x="12265" y="8833"/>
                </a:lnTo>
                <a:lnTo>
                  <a:pt x="12265" y="9815"/>
                </a:lnTo>
                <a:lnTo>
                  <a:pt x="13742" y="9815"/>
                </a:lnTo>
                <a:lnTo>
                  <a:pt x="13742" y="11283"/>
                </a:lnTo>
                <a:lnTo>
                  <a:pt x="14724" y="11283"/>
                </a:lnTo>
                <a:lnTo>
                  <a:pt x="14724" y="9815"/>
                </a:lnTo>
                <a:lnTo>
                  <a:pt x="16204" y="9815"/>
                </a:lnTo>
                <a:lnTo>
                  <a:pt x="16204" y="8833"/>
                </a:lnTo>
                <a:lnTo>
                  <a:pt x="14724" y="8833"/>
                </a:lnTo>
                <a:cubicBezTo>
                  <a:pt x="14724" y="8833"/>
                  <a:pt x="14724" y="7360"/>
                  <a:pt x="14724" y="7360"/>
                </a:cubicBezTo>
                <a:close/>
                <a:moveTo>
                  <a:pt x="9321" y="13946"/>
                </a:moveTo>
                <a:cubicBezTo>
                  <a:pt x="8620" y="13946"/>
                  <a:pt x="8070" y="13495"/>
                  <a:pt x="8070" y="12919"/>
                </a:cubicBezTo>
                <a:cubicBezTo>
                  <a:pt x="8070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65" y="11929"/>
                </a:lnTo>
                <a:cubicBezTo>
                  <a:pt x="9623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39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4" y="8362"/>
                  <a:pt x="8574" y="8014"/>
                  <a:pt x="8754" y="7806"/>
                </a:cubicBezTo>
                <a:cubicBezTo>
                  <a:pt x="8864" y="7680"/>
                  <a:pt x="9006" y="7612"/>
                  <a:pt x="9163" y="7612"/>
                </a:cubicBezTo>
                <a:lnTo>
                  <a:pt x="9163" y="7409"/>
                </a:ln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4" y="9595"/>
                  <a:pt x="9969" y="9809"/>
                </a:cubicBezTo>
                <a:cubicBezTo>
                  <a:pt x="9860" y="9935"/>
                  <a:pt x="9721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5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7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6"/>
                  <a:pt x="11386" y="8784"/>
                </a:cubicBezTo>
                <a:cubicBezTo>
                  <a:pt x="11386" y="8342"/>
                  <a:pt x="11262" y="7947"/>
                  <a:pt x="11049" y="7660"/>
                </a:cubicBezTo>
                <a:lnTo>
                  <a:pt x="11238" y="7660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4" y="6873"/>
                  <a:pt x="7345" y="7760"/>
                  <a:pt x="7345" y="8769"/>
                </a:cubicBezTo>
                <a:cubicBezTo>
                  <a:pt x="7345" y="9812"/>
                  <a:pt x="8109" y="10605"/>
                  <a:pt x="9136" y="10648"/>
                </a:cubicBezTo>
                <a:cubicBezTo>
                  <a:pt x="9121" y="10722"/>
                  <a:pt x="9113" y="10795"/>
                  <a:pt x="9113" y="10867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2" y="11309"/>
                  <a:pt x="6869" y="12161"/>
                  <a:pt x="6869" y="13167"/>
                </a:cubicBezTo>
                <a:cubicBezTo>
                  <a:pt x="6869" y="14071"/>
                  <a:pt x="7902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8" name="Shape 2878"/>
          <p:cNvSpPr/>
          <p:nvPr/>
        </p:nvSpPr>
        <p:spPr>
          <a:xfrm>
            <a:off x="19965600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430" y="9321"/>
                </a:moveTo>
                <a:cubicBezTo>
                  <a:pt x="11975" y="9321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1"/>
                  <a:pt x="13430" y="9321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1"/>
                </a:lnTo>
                <a:lnTo>
                  <a:pt x="6873" y="9321"/>
                </a:lnTo>
                <a:cubicBezTo>
                  <a:pt x="6873" y="9321"/>
                  <a:pt x="6873" y="14727"/>
                  <a:pt x="6873" y="14727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79" name="Shape 2879"/>
          <p:cNvSpPr/>
          <p:nvPr/>
        </p:nvSpPr>
        <p:spPr>
          <a:xfrm>
            <a:off x="21032122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1592" y="13291"/>
                </a:moveTo>
                <a:cubicBezTo>
                  <a:pt x="11452" y="13213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8" y="13478"/>
                  <a:pt x="9448" y="13666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19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5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2" y="132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0" name="Shape 2880"/>
          <p:cNvSpPr/>
          <p:nvPr/>
        </p:nvSpPr>
        <p:spPr>
          <a:xfrm>
            <a:off x="22098644" y="7728615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1"/>
                </a:lnTo>
                <a:cubicBezTo>
                  <a:pt x="13281" y="13031"/>
                  <a:pt x="13386" y="13050"/>
                  <a:pt x="13473" y="13084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6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9" y="14187"/>
                  <a:pt x="12549" y="14335"/>
                  <a:pt x="12630" y="14459"/>
                </a:cubicBezTo>
                <a:cubicBezTo>
                  <a:pt x="12706" y="14574"/>
                  <a:pt x="12831" y="14660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5"/>
                  <a:pt x="13722" y="13989"/>
                  <a:pt x="13642" y="13858"/>
                </a:cubicBezTo>
                <a:cubicBezTo>
                  <a:pt x="13567" y="13733"/>
                  <a:pt x="13439" y="13643"/>
                  <a:pt x="13280" y="13606"/>
                </a:cubicBezTo>
                <a:moveTo>
                  <a:pt x="13014" y="7028"/>
                </a:moveTo>
                <a:lnTo>
                  <a:pt x="13098" y="6884"/>
                </a:lnTo>
                <a:lnTo>
                  <a:pt x="12931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1" y="6884"/>
                </a:lnTo>
                <a:lnTo>
                  <a:pt x="9988" y="10156"/>
                </a:lnTo>
                <a:lnTo>
                  <a:pt x="8067" y="6872"/>
                </a:lnTo>
                <a:lnTo>
                  <a:pt x="8000" y="6890"/>
                </a:lnTo>
                <a:cubicBezTo>
                  <a:pt x="7739" y="6962"/>
                  <a:pt x="7347" y="6961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5"/>
                  <a:pt x="10190" y="14645"/>
                  <a:pt x="10449" y="14719"/>
                </a:cubicBezTo>
                <a:lnTo>
                  <a:pt x="10573" y="14722"/>
                </a:lnTo>
                <a:lnTo>
                  <a:pt x="10512" y="11390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4" y="702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1" name="Shape 2881"/>
          <p:cNvSpPr/>
          <p:nvPr/>
        </p:nvSpPr>
        <p:spPr>
          <a:xfrm>
            <a:off x="12499946" y="879513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3925" y="9726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6"/>
                  <a:pt x="13925" y="9726"/>
                </a:cubicBezTo>
                <a:close/>
                <a:moveTo>
                  <a:pt x="12965" y="14699"/>
                </a:moveTo>
                <a:lnTo>
                  <a:pt x="12959" y="14707"/>
                </a:lnTo>
                <a:lnTo>
                  <a:pt x="10801" y="13101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1" y="14627"/>
                </a:lnTo>
                <a:lnTo>
                  <a:pt x="14001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1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42" y="12982"/>
                </a:lnTo>
                <a:lnTo>
                  <a:pt x="8631" y="13516"/>
                </a:lnTo>
                <a:lnTo>
                  <a:pt x="10060" y="12431"/>
                </a:lnTo>
                <a:lnTo>
                  <a:pt x="10780" y="11879"/>
                </a:lnTo>
                <a:lnTo>
                  <a:pt x="10783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4" y="11879"/>
                </a:lnTo>
                <a:lnTo>
                  <a:pt x="12515" y="13153"/>
                </a:lnTo>
                <a:lnTo>
                  <a:pt x="13007" y="13515"/>
                </a:lnTo>
                <a:lnTo>
                  <a:pt x="16199" y="11575"/>
                </a:lnTo>
                <a:lnTo>
                  <a:pt x="13925" y="9726"/>
                </a:lnTo>
                <a:lnTo>
                  <a:pt x="10787" y="11715"/>
                </a:lnTo>
                <a:cubicBezTo>
                  <a:pt x="10787" y="11715"/>
                  <a:pt x="7641" y="9766"/>
                  <a:pt x="7641" y="976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2" name="Shape 2882"/>
          <p:cNvSpPr/>
          <p:nvPr/>
        </p:nvSpPr>
        <p:spPr>
          <a:xfrm>
            <a:off x="13566466" y="879513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3" name="Shape 2883"/>
          <p:cNvSpPr/>
          <p:nvPr/>
        </p:nvSpPr>
        <p:spPr>
          <a:xfrm>
            <a:off x="14632989" y="879513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6"/>
                </a:lnTo>
                <a:cubicBezTo>
                  <a:pt x="15118" y="9994"/>
                  <a:pt x="15213" y="9425"/>
                  <a:pt x="15213" y="8918"/>
                </a:cubicBezTo>
                <a:cubicBezTo>
                  <a:pt x="15213" y="8811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8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0" y="8413"/>
                </a:cubicBezTo>
                <a:cubicBezTo>
                  <a:pt x="9350" y="8413"/>
                  <a:pt x="9605" y="8444"/>
                  <a:pt x="9874" y="8460"/>
                </a:cubicBezTo>
                <a:lnTo>
                  <a:pt x="10652" y="10591"/>
                </a:lnTo>
                <a:lnTo>
                  <a:pt x="9560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2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4" y="8063"/>
                  <a:pt x="6727" y="8061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89" y="12162"/>
                </a:cubicBezTo>
                <a:lnTo>
                  <a:pt x="13291" y="13825"/>
                </a:lnTo>
                <a:cubicBezTo>
                  <a:pt x="13291" y="13825"/>
                  <a:pt x="11488" y="8460"/>
                  <a:pt x="11488" y="8460"/>
                </a:cubicBezTo>
                <a:close/>
                <a:moveTo>
                  <a:pt x="10800" y="15709"/>
                </a:moveTo>
                <a:cubicBezTo>
                  <a:pt x="10319" y="15709"/>
                  <a:pt x="9857" y="15637"/>
                  <a:pt x="9418" y="15508"/>
                </a:cubicBezTo>
                <a:lnTo>
                  <a:pt x="10887" y="11236"/>
                </a:lnTo>
                <a:cubicBezTo>
                  <a:pt x="10887" y="11236"/>
                  <a:pt x="12211" y="14865"/>
                  <a:pt x="12425" y="15428"/>
                </a:cubicBezTo>
                <a:cubicBezTo>
                  <a:pt x="11916" y="15607"/>
                  <a:pt x="11371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9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4" name="Shape 2884"/>
          <p:cNvSpPr/>
          <p:nvPr/>
        </p:nvSpPr>
        <p:spPr>
          <a:xfrm>
            <a:off x="15699511" y="8795137"/>
            <a:ext cx="558654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36" y="10309"/>
                </a:moveTo>
                <a:cubicBezTo>
                  <a:pt x="13551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8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8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0" y="10800"/>
                  <a:pt x="9312" y="10469"/>
                  <a:pt x="10852" y="9873"/>
                </a:cubicBezTo>
                <a:cubicBezTo>
                  <a:pt x="11015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8"/>
                  <a:pt x="10353" y="9001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5" name="Shape 2885"/>
          <p:cNvSpPr/>
          <p:nvPr/>
        </p:nvSpPr>
        <p:spPr>
          <a:xfrm>
            <a:off x="16816820" y="879513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00" y="13698"/>
                </a:moveTo>
                <a:cubicBezTo>
                  <a:pt x="15500" y="14629"/>
                  <a:pt x="14906" y="15067"/>
                  <a:pt x="13996" y="15061"/>
                </a:cubicBezTo>
                <a:cubicBezTo>
                  <a:pt x="13870" y="15061"/>
                  <a:pt x="13731" y="15061"/>
                  <a:pt x="13646" y="15044"/>
                </a:cubicBezTo>
                <a:lnTo>
                  <a:pt x="13646" y="12497"/>
                </a:lnTo>
                <a:cubicBezTo>
                  <a:pt x="13731" y="12480"/>
                  <a:pt x="13877" y="12463"/>
                  <a:pt x="14101" y="12463"/>
                </a:cubicBezTo>
                <a:cubicBezTo>
                  <a:pt x="14966" y="12463"/>
                  <a:pt x="15507" y="12890"/>
                  <a:pt x="15500" y="13698"/>
                </a:cubicBezTo>
                <a:moveTo>
                  <a:pt x="12636" y="11868"/>
                </a:moveTo>
                <a:lnTo>
                  <a:pt x="12636" y="15691"/>
                </a:lnTo>
                <a:cubicBezTo>
                  <a:pt x="12886" y="15720"/>
                  <a:pt x="13256" y="15748"/>
                  <a:pt x="13778" y="15748"/>
                </a:cubicBezTo>
                <a:cubicBezTo>
                  <a:pt x="14649" y="15748"/>
                  <a:pt x="15362" y="15587"/>
                  <a:pt x="15830" y="15246"/>
                </a:cubicBezTo>
                <a:cubicBezTo>
                  <a:pt x="16260" y="14929"/>
                  <a:pt x="16570" y="14415"/>
                  <a:pt x="16570" y="13670"/>
                </a:cubicBezTo>
                <a:cubicBezTo>
                  <a:pt x="16570" y="12982"/>
                  <a:pt x="16279" y="12503"/>
                  <a:pt x="15817" y="12203"/>
                </a:cubicBezTo>
                <a:cubicBezTo>
                  <a:pt x="15388" y="11919"/>
                  <a:pt x="14840" y="11787"/>
                  <a:pt x="13996" y="11787"/>
                </a:cubicBezTo>
                <a:cubicBezTo>
                  <a:pt x="13487" y="11787"/>
                  <a:pt x="13005" y="11815"/>
                  <a:pt x="12636" y="11868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5"/>
                </a:moveTo>
                <a:cubicBezTo>
                  <a:pt x="20400" y="20178"/>
                  <a:pt x="19863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5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5"/>
                  <a:pt x="20400" y="19635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8"/>
                  <a:pt x="0" y="1964"/>
                </a:cubicBezTo>
                <a:lnTo>
                  <a:pt x="0" y="19635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5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769" y="13658"/>
                </a:moveTo>
                <a:cubicBezTo>
                  <a:pt x="6624" y="13658"/>
                  <a:pt x="6519" y="13652"/>
                  <a:pt x="6433" y="13635"/>
                </a:cubicBezTo>
                <a:lnTo>
                  <a:pt x="6433" y="12486"/>
                </a:lnTo>
                <a:cubicBezTo>
                  <a:pt x="6505" y="12468"/>
                  <a:pt x="6644" y="12451"/>
                  <a:pt x="6848" y="12451"/>
                </a:cubicBezTo>
                <a:cubicBezTo>
                  <a:pt x="7350" y="12451"/>
                  <a:pt x="7634" y="12665"/>
                  <a:pt x="7634" y="13023"/>
                </a:cubicBezTo>
                <a:cubicBezTo>
                  <a:pt x="7634" y="13421"/>
                  <a:pt x="7304" y="13658"/>
                  <a:pt x="6769" y="13658"/>
                </a:cubicBezTo>
                <a:moveTo>
                  <a:pt x="6796" y="11787"/>
                </a:moveTo>
                <a:cubicBezTo>
                  <a:pt x="6182" y="11787"/>
                  <a:pt x="5746" y="11821"/>
                  <a:pt x="5436" y="11868"/>
                </a:cubicBezTo>
                <a:lnTo>
                  <a:pt x="5436" y="15708"/>
                </a:lnTo>
                <a:lnTo>
                  <a:pt x="6433" y="15708"/>
                </a:lnTo>
                <a:lnTo>
                  <a:pt x="6433" y="14316"/>
                </a:lnTo>
                <a:cubicBezTo>
                  <a:pt x="6524" y="14328"/>
                  <a:pt x="6644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5" y="13704"/>
                  <a:pt x="8630" y="13381"/>
                  <a:pt x="8630" y="13000"/>
                </a:cubicBezTo>
                <a:cubicBezTo>
                  <a:pt x="8630" y="12618"/>
                  <a:pt x="8439" y="12296"/>
                  <a:pt x="8155" y="12099"/>
                </a:cubicBezTo>
                <a:cubicBezTo>
                  <a:pt x="7858" y="11891"/>
                  <a:pt x="7416" y="11787"/>
                  <a:pt x="6796" y="11787"/>
                </a:cubicBezTo>
                <a:moveTo>
                  <a:pt x="10765" y="13398"/>
                </a:moveTo>
                <a:cubicBezTo>
                  <a:pt x="10191" y="13208"/>
                  <a:pt x="9940" y="13098"/>
                  <a:pt x="9940" y="12850"/>
                </a:cubicBezTo>
                <a:cubicBezTo>
                  <a:pt x="9940" y="12648"/>
                  <a:pt x="10151" y="12474"/>
                  <a:pt x="10587" y="12474"/>
                </a:cubicBezTo>
                <a:cubicBezTo>
                  <a:pt x="11023" y="12474"/>
                  <a:pt x="11339" y="12583"/>
                  <a:pt x="11517" y="12659"/>
                </a:cubicBezTo>
                <a:lnTo>
                  <a:pt x="11742" y="11949"/>
                </a:lnTo>
                <a:cubicBezTo>
                  <a:pt x="11478" y="11845"/>
                  <a:pt x="11108" y="11752"/>
                  <a:pt x="10607" y="11752"/>
                </a:cubicBezTo>
                <a:cubicBezTo>
                  <a:pt x="9558" y="11752"/>
                  <a:pt x="8924" y="12260"/>
                  <a:pt x="8924" y="12924"/>
                </a:cubicBezTo>
                <a:cubicBezTo>
                  <a:pt x="8924" y="13490"/>
                  <a:pt x="9405" y="13849"/>
                  <a:pt x="10145" y="14074"/>
                </a:cubicBezTo>
                <a:cubicBezTo>
                  <a:pt x="10679" y="14241"/>
                  <a:pt x="10891" y="14380"/>
                  <a:pt x="10891" y="14623"/>
                </a:cubicBezTo>
                <a:cubicBezTo>
                  <a:pt x="10891" y="14877"/>
                  <a:pt x="10646" y="15044"/>
                  <a:pt x="10184" y="15044"/>
                </a:cubicBezTo>
                <a:cubicBezTo>
                  <a:pt x="9755" y="15044"/>
                  <a:pt x="9339" y="14923"/>
                  <a:pt x="9069" y="14802"/>
                </a:cubicBezTo>
                <a:lnTo>
                  <a:pt x="8864" y="15529"/>
                </a:lnTo>
                <a:cubicBezTo>
                  <a:pt x="9115" y="15651"/>
                  <a:pt x="9616" y="15766"/>
                  <a:pt x="10124" y="15766"/>
                </a:cubicBezTo>
                <a:cubicBezTo>
                  <a:pt x="11346" y="15766"/>
                  <a:pt x="11920" y="15211"/>
                  <a:pt x="11920" y="14559"/>
                </a:cubicBezTo>
                <a:cubicBezTo>
                  <a:pt x="11920" y="14010"/>
                  <a:pt x="11551" y="13652"/>
                  <a:pt x="10765" y="1339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6" name="Shape 2886"/>
          <p:cNvSpPr/>
          <p:nvPr/>
        </p:nvSpPr>
        <p:spPr>
          <a:xfrm>
            <a:off x="17883341" y="879513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36" y="15709"/>
                </a:moveTo>
                <a:lnTo>
                  <a:pt x="13646" y="15709"/>
                </a:lnTo>
                <a:lnTo>
                  <a:pt x="13646" y="11816"/>
                </a:lnTo>
                <a:lnTo>
                  <a:pt x="12636" y="11816"/>
                </a:lnTo>
                <a:cubicBezTo>
                  <a:pt x="12636" y="11816"/>
                  <a:pt x="12636" y="15709"/>
                  <a:pt x="126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9618" y="14051"/>
                </a:moveTo>
                <a:lnTo>
                  <a:pt x="9881" y="13225"/>
                </a:lnTo>
                <a:cubicBezTo>
                  <a:pt x="9954" y="13000"/>
                  <a:pt x="10020" y="12706"/>
                  <a:pt x="10086" y="12475"/>
                </a:cubicBezTo>
                <a:lnTo>
                  <a:pt x="10099" y="12475"/>
                </a:lnTo>
                <a:cubicBezTo>
                  <a:pt x="10165" y="12706"/>
                  <a:pt x="10245" y="12994"/>
                  <a:pt x="10324" y="13225"/>
                </a:cubicBezTo>
                <a:lnTo>
                  <a:pt x="10601" y="14051"/>
                </a:lnTo>
                <a:cubicBezTo>
                  <a:pt x="10601" y="14051"/>
                  <a:pt x="9618" y="14051"/>
                  <a:pt x="9618" y="14051"/>
                </a:cubicBezTo>
                <a:close/>
                <a:moveTo>
                  <a:pt x="9472" y="11816"/>
                </a:moveTo>
                <a:lnTo>
                  <a:pt x="8113" y="15709"/>
                </a:lnTo>
                <a:lnTo>
                  <a:pt x="9155" y="15709"/>
                </a:lnTo>
                <a:lnTo>
                  <a:pt x="9472" y="14710"/>
                </a:lnTo>
                <a:lnTo>
                  <a:pt x="10746" y="14710"/>
                </a:lnTo>
                <a:lnTo>
                  <a:pt x="11089" y="15709"/>
                </a:lnTo>
                <a:lnTo>
                  <a:pt x="12172" y="15709"/>
                </a:lnTo>
                <a:lnTo>
                  <a:pt x="10792" y="11816"/>
                </a:lnTo>
                <a:cubicBezTo>
                  <a:pt x="10792" y="11816"/>
                  <a:pt x="9472" y="11816"/>
                  <a:pt x="9472" y="11816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7" name="Shape 2887"/>
          <p:cNvSpPr/>
          <p:nvPr/>
        </p:nvSpPr>
        <p:spPr>
          <a:xfrm>
            <a:off x="18949863" y="879513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836" y="15709"/>
                </a:moveTo>
                <a:lnTo>
                  <a:pt x="14845" y="15709"/>
                </a:lnTo>
                <a:lnTo>
                  <a:pt x="14845" y="14144"/>
                </a:lnTo>
                <a:lnTo>
                  <a:pt x="16443" y="14144"/>
                </a:lnTo>
                <a:lnTo>
                  <a:pt x="16443" y="13428"/>
                </a:lnTo>
                <a:lnTo>
                  <a:pt x="14845" y="13428"/>
                </a:lnTo>
                <a:lnTo>
                  <a:pt x="14845" y="12538"/>
                </a:lnTo>
                <a:lnTo>
                  <a:pt x="16555" y="12538"/>
                </a:lnTo>
                <a:lnTo>
                  <a:pt x="16555" y="11816"/>
                </a:lnTo>
                <a:lnTo>
                  <a:pt x="13836" y="11816"/>
                </a:lnTo>
                <a:cubicBezTo>
                  <a:pt x="13836" y="11816"/>
                  <a:pt x="13836" y="15709"/>
                  <a:pt x="138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0396" y="15062"/>
                </a:moveTo>
                <a:cubicBezTo>
                  <a:pt x="10270" y="15062"/>
                  <a:pt x="10131" y="15062"/>
                  <a:pt x="10045" y="15045"/>
                </a:cubicBezTo>
                <a:lnTo>
                  <a:pt x="10045" y="12498"/>
                </a:lnTo>
                <a:cubicBezTo>
                  <a:pt x="10131" y="12480"/>
                  <a:pt x="10277" y="12463"/>
                  <a:pt x="10501" y="12463"/>
                </a:cubicBezTo>
                <a:cubicBezTo>
                  <a:pt x="11366" y="12463"/>
                  <a:pt x="11907" y="12891"/>
                  <a:pt x="11900" y="13699"/>
                </a:cubicBezTo>
                <a:cubicBezTo>
                  <a:pt x="11900" y="14629"/>
                  <a:pt x="11306" y="15068"/>
                  <a:pt x="10396" y="15062"/>
                </a:cubicBezTo>
                <a:moveTo>
                  <a:pt x="10396" y="11787"/>
                </a:moveTo>
                <a:cubicBezTo>
                  <a:pt x="9887" y="11787"/>
                  <a:pt x="9405" y="11816"/>
                  <a:pt x="9036" y="11868"/>
                </a:cubicBezTo>
                <a:lnTo>
                  <a:pt x="9036" y="15691"/>
                </a:lnTo>
                <a:cubicBezTo>
                  <a:pt x="9287" y="15720"/>
                  <a:pt x="9656" y="15749"/>
                  <a:pt x="10178" y="15749"/>
                </a:cubicBezTo>
                <a:cubicBezTo>
                  <a:pt x="11048" y="15749"/>
                  <a:pt x="11762" y="15587"/>
                  <a:pt x="12231" y="15246"/>
                </a:cubicBezTo>
                <a:cubicBezTo>
                  <a:pt x="12660" y="14929"/>
                  <a:pt x="12970" y="14415"/>
                  <a:pt x="12970" y="13670"/>
                </a:cubicBezTo>
                <a:cubicBezTo>
                  <a:pt x="12970" y="12983"/>
                  <a:pt x="12680" y="12503"/>
                  <a:pt x="12217" y="12203"/>
                </a:cubicBezTo>
                <a:cubicBezTo>
                  <a:pt x="11788" y="11920"/>
                  <a:pt x="11241" y="11787"/>
                  <a:pt x="10396" y="11787"/>
                </a:cubicBezTo>
                <a:moveTo>
                  <a:pt x="6769" y="13659"/>
                </a:moveTo>
                <a:cubicBezTo>
                  <a:pt x="6623" y="13659"/>
                  <a:pt x="6518" y="13653"/>
                  <a:pt x="6432" y="13636"/>
                </a:cubicBezTo>
                <a:lnTo>
                  <a:pt x="6432" y="12486"/>
                </a:lnTo>
                <a:cubicBezTo>
                  <a:pt x="6505" y="12469"/>
                  <a:pt x="6643" y="12452"/>
                  <a:pt x="6848" y="12452"/>
                </a:cubicBezTo>
                <a:cubicBezTo>
                  <a:pt x="7350" y="12452"/>
                  <a:pt x="7634" y="12665"/>
                  <a:pt x="7634" y="13023"/>
                </a:cubicBezTo>
                <a:cubicBezTo>
                  <a:pt x="7634" y="13422"/>
                  <a:pt x="7304" y="13659"/>
                  <a:pt x="6769" y="13659"/>
                </a:cubicBezTo>
                <a:moveTo>
                  <a:pt x="6796" y="11787"/>
                </a:moveTo>
                <a:cubicBezTo>
                  <a:pt x="6182" y="11787"/>
                  <a:pt x="5746" y="11822"/>
                  <a:pt x="5436" y="11868"/>
                </a:cubicBezTo>
                <a:lnTo>
                  <a:pt x="5436" y="15709"/>
                </a:lnTo>
                <a:lnTo>
                  <a:pt x="6432" y="15709"/>
                </a:lnTo>
                <a:lnTo>
                  <a:pt x="6432" y="14317"/>
                </a:lnTo>
                <a:cubicBezTo>
                  <a:pt x="6525" y="14328"/>
                  <a:pt x="6643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6" y="13705"/>
                  <a:pt x="8631" y="13381"/>
                  <a:pt x="8631" y="13000"/>
                </a:cubicBezTo>
                <a:cubicBezTo>
                  <a:pt x="8631" y="12619"/>
                  <a:pt x="8439" y="12296"/>
                  <a:pt x="8155" y="12099"/>
                </a:cubicBezTo>
                <a:cubicBezTo>
                  <a:pt x="7859" y="11892"/>
                  <a:pt x="7416" y="11787"/>
                  <a:pt x="6796" y="11787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8" name="Shape 2888"/>
          <p:cNvSpPr/>
          <p:nvPr/>
        </p:nvSpPr>
        <p:spPr>
          <a:xfrm>
            <a:off x="20016388" y="879513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36" y="15709"/>
                </a:moveTo>
                <a:lnTo>
                  <a:pt x="13945" y="15709"/>
                </a:lnTo>
                <a:lnTo>
                  <a:pt x="13945" y="14144"/>
                </a:lnTo>
                <a:lnTo>
                  <a:pt x="15543" y="14144"/>
                </a:lnTo>
                <a:lnTo>
                  <a:pt x="15543" y="13428"/>
                </a:lnTo>
                <a:lnTo>
                  <a:pt x="13945" y="13428"/>
                </a:lnTo>
                <a:lnTo>
                  <a:pt x="13945" y="12538"/>
                </a:lnTo>
                <a:lnTo>
                  <a:pt x="15655" y="12538"/>
                </a:lnTo>
                <a:lnTo>
                  <a:pt x="15655" y="11816"/>
                </a:lnTo>
                <a:lnTo>
                  <a:pt x="12936" y="11816"/>
                </a:lnTo>
                <a:cubicBezTo>
                  <a:pt x="12936" y="11816"/>
                  <a:pt x="12936" y="15709"/>
                  <a:pt x="129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1136" y="15709"/>
                </a:moveTo>
                <a:lnTo>
                  <a:pt x="12145" y="15709"/>
                </a:lnTo>
                <a:lnTo>
                  <a:pt x="12145" y="11816"/>
                </a:lnTo>
                <a:lnTo>
                  <a:pt x="11136" y="11816"/>
                </a:lnTo>
                <a:cubicBezTo>
                  <a:pt x="11136" y="11816"/>
                  <a:pt x="11136" y="15709"/>
                  <a:pt x="11136" y="15709"/>
                </a:cubicBezTo>
                <a:close/>
                <a:moveTo>
                  <a:pt x="8395" y="14167"/>
                </a:moveTo>
                <a:lnTo>
                  <a:pt x="9082" y="14167"/>
                </a:lnTo>
                <a:lnTo>
                  <a:pt x="9082" y="14981"/>
                </a:lnTo>
                <a:cubicBezTo>
                  <a:pt x="9002" y="15015"/>
                  <a:pt x="8818" y="15039"/>
                  <a:pt x="8586" y="15039"/>
                </a:cubicBezTo>
                <a:cubicBezTo>
                  <a:pt x="7761" y="15039"/>
                  <a:pt x="7187" y="14565"/>
                  <a:pt x="7187" y="13762"/>
                </a:cubicBezTo>
                <a:cubicBezTo>
                  <a:pt x="7187" y="12919"/>
                  <a:pt x="7821" y="12503"/>
                  <a:pt x="8659" y="12503"/>
                </a:cubicBezTo>
                <a:cubicBezTo>
                  <a:pt x="9148" y="12503"/>
                  <a:pt x="9451" y="12579"/>
                  <a:pt x="9696" y="12672"/>
                </a:cubicBezTo>
                <a:lnTo>
                  <a:pt x="9907" y="11966"/>
                </a:lnTo>
                <a:cubicBezTo>
                  <a:pt x="9689" y="11874"/>
                  <a:pt x="9247" y="11776"/>
                  <a:pt x="8672" y="11776"/>
                </a:cubicBezTo>
                <a:cubicBezTo>
                  <a:pt x="7213" y="11776"/>
                  <a:pt x="6138" y="12515"/>
                  <a:pt x="6131" y="13809"/>
                </a:cubicBezTo>
                <a:cubicBezTo>
                  <a:pt x="6124" y="14381"/>
                  <a:pt x="6349" y="14888"/>
                  <a:pt x="6758" y="15223"/>
                </a:cubicBezTo>
                <a:cubicBezTo>
                  <a:pt x="7167" y="15570"/>
                  <a:pt x="7755" y="15749"/>
                  <a:pt x="8566" y="15749"/>
                </a:cubicBezTo>
                <a:cubicBezTo>
                  <a:pt x="9155" y="15749"/>
                  <a:pt x="9742" y="15622"/>
                  <a:pt x="10052" y="15530"/>
                </a:cubicBezTo>
                <a:lnTo>
                  <a:pt x="10052" y="13479"/>
                </a:lnTo>
                <a:lnTo>
                  <a:pt x="8395" y="13479"/>
                </a:lnTo>
                <a:cubicBezTo>
                  <a:pt x="8395" y="13479"/>
                  <a:pt x="8395" y="14167"/>
                  <a:pt x="8395" y="14167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89" name="Shape 2889"/>
          <p:cNvSpPr/>
          <p:nvPr/>
        </p:nvSpPr>
        <p:spPr>
          <a:xfrm>
            <a:off x="21082909" y="879513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69" y="13659"/>
                </a:moveTo>
                <a:cubicBezTo>
                  <a:pt x="9923" y="13659"/>
                  <a:pt x="9818" y="13653"/>
                  <a:pt x="9732" y="13636"/>
                </a:cubicBezTo>
                <a:lnTo>
                  <a:pt x="9732" y="12486"/>
                </a:lnTo>
                <a:cubicBezTo>
                  <a:pt x="9805" y="12469"/>
                  <a:pt x="9943" y="12452"/>
                  <a:pt x="10148" y="12452"/>
                </a:cubicBezTo>
                <a:cubicBezTo>
                  <a:pt x="10650" y="12452"/>
                  <a:pt x="10934" y="12665"/>
                  <a:pt x="10934" y="13023"/>
                </a:cubicBezTo>
                <a:cubicBezTo>
                  <a:pt x="10934" y="13422"/>
                  <a:pt x="10604" y="13659"/>
                  <a:pt x="10069" y="13659"/>
                </a:cubicBezTo>
                <a:moveTo>
                  <a:pt x="10096" y="11787"/>
                </a:moveTo>
                <a:cubicBezTo>
                  <a:pt x="9481" y="11787"/>
                  <a:pt x="9046" y="11822"/>
                  <a:pt x="8736" y="11869"/>
                </a:cubicBezTo>
                <a:lnTo>
                  <a:pt x="8736" y="15709"/>
                </a:lnTo>
                <a:lnTo>
                  <a:pt x="9732" y="15709"/>
                </a:lnTo>
                <a:lnTo>
                  <a:pt x="9732" y="14317"/>
                </a:lnTo>
                <a:cubicBezTo>
                  <a:pt x="9825" y="14328"/>
                  <a:pt x="9943" y="14334"/>
                  <a:pt x="10076" y="14334"/>
                </a:cubicBezTo>
                <a:cubicBezTo>
                  <a:pt x="10670" y="14334"/>
                  <a:pt x="11178" y="14207"/>
                  <a:pt x="11521" y="13924"/>
                </a:cubicBezTo>
                <a:cubicBezTo>
                  <a:pt x="11786" y="13705"/>
                  <a:pt x="11931" y="13382"/>
                  <a:pt x="11931" y="13000"/>
                </a:cubicBezTo>
                <a:cubicBezTo>
                  <a:pt x="11931" y="12619"/>
                  <a:pt x="11739" y="12296"/>
                  <a:pt x="11455" y="12099"/>
                </a:cubicBezTo>
                <a:cubicBezTo>
                  <a:pt x="11159" y="11891"/>
                  <a:pt x="10716" y="11787"/>
                  <a:pt x="10096" y="11787"/>
                </a:cubicBezTo>
                <a:moveTo>
                  <a:pt x="12131" y="13809"/>
                </a:moveTo>
                <a:cubicBezTo>
                  <a:pt x="12124" y="14381"/>
                  <a:pt x="12349" y="14888"/>
                  <a:pt x="12758" y="15224"/>
                </a:cubicBezTo>
                <a:cubicBezTo>
                  <a:pt x="13167" y="15571"/>
                  <a:pt x="13755" y="15749"/>
                  <a:pt x="14566" y="15749"/>
                </a:cubicBezTo>
                <a:cubicBezTo>
                  <a:pt x="15155" y="15749"/>
                  <a:pt x="15742" y="15622"/>
                  <a:pt x="16052" y="15530"/>
                </a:cubicBezTo>
                <a:lnTo>
                  <a:pt x="16052" y="13479"/>
                </a:lnTo>
                <a:lnTo>
                  <a:pt x="14395" y="13479"/>
                </a:lnTo>
                <a:lnTo>
                  <a:pt x="14395" y="14167"/>
                </a:lnTo>
                <a:lnTo>
                  <a:pt x="15081" y="14167"/>
                </a:lnTo>
                <a:lnTo>
                  <a:pt x="15081" y="14981"/>
                </a:lnTo>
                <a:cubicBezTo>
                  <a:pt x="15002" y="15015"/>
                  <a:pt x="14818" y="15039"/>
                  <a:pt x="14586" y="15039"/>
                </a:cubicBezTo>
                <a:cubicBezTo>
                  <a:pt x="13761" y="15039"/>
                  <a:pt x="13187" y="14566"/>
                  <a:pt x="13187" y="13762"/>
                </a:cubicBezTo>
                <a:cubicBezTo>
                  <a:pt x="13187" y="12919"/>
                  <a:pt x="13821" y="12503"/>
                  <a:pt x="14659" y="12503"/>
                </a:cubicBezTo>
                <a:cubicBezTo>
                  <a:pt x="15148" y="12503"/>
                  <a:pt x="15451" y="12579"/>
                  <a:pt x="15696" y="12671"/>
                </a:cubicBezTo>
                <a:lnTo>
                  <a:pt x="15906" y="11966"/>
                </a:lnTo>
                <a:cubicBezTo>
                  <a:pt x="15689" y="11874"/>
                  <a:pt x="15247" y="11776"/>
                  <a:pt x="14672" y="11776"/>
                </a:cubicBezTo>
                <a:cubicBezTo>
                  <a:pt x="13213" y="11776"/>
                  <a:pt x="12138" y="12515"/>
                  <a:pt x="12131" y="13809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606" y="14265"/>
                </a:moveTo>
                <a:cubicBezTo>
                  <a:pt x="6606" y="14872"/>
                  <a:pt x="6343" y="15039"/>
                  <a:pt x="5920" y="15039"/>
                </a:cubicBezTo>
                <a:cubicBezTo>
                  <a:pt x="5722" y="15039"/>
                  <a:pt x="5544" y="15010"/>
                  <a:pt x="5406" y="14969"/>
                </a:cubicBezTo>
                <a:lnTo>
                  <a:pt x="5293" y="15680"/>
                </a:lnTo>
                <a:cubicBezTo>
                  <a:pt x="5491" y="15738"/>
                  <a:pt x="5795" y="15773"/>
                  <a:pt x="6026" y="15773"/>
                </a:cubicBezTo>
                <a:cubicBezTo>
                  <a:pt x="7003" y="15773"/>
                  <a:pt x="7610" y="15385"/>
                  <a:pt x="7610" y="14276"/>
                </a:cubicBezTo>
                <a:lnTo>
                  <a:pt x="7610" y="11816"/>
                </a:lnTo>
                <a:lnTo>
                  <a:pt x="6606" y="11816"/>
                </a:lnTo>
                <a:cubicBezTo>
                  <a:pt x="6606" y="11816"/>
                  <a:pt x="6606" y="14265"/>
                  <a:pt x="6606" y="14265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890" name="Shape 2890"/>
          <p:cNvSpPr/>
          <p:nvPr/>
        </p:nvSpPr>
        <p:spPr>
          <a:xfrm>
            <a:off x="22149431" y="8795137"/>
            <a:ext cx="457082" cy="5586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3031" y="13809"/>
                </a:moveTo>
                <a:cubicBezTo>
                  <a:pt x="13024" y="14381"/>
                  <a:pt x="13249" y="14888"/>
                  <a:pt x="13658" y="15223"/>
                </a:cubicBezTo>
                <a:cubicBezTo>
                  <a:pt x="14067" y="15570"/>
                  <a:pt x="14655" y="15749"/>
                  <a:pt x="15467" y="15749"/>
                </a:cubicBezTo>
                <a:cubicBezTo>
                  <a:pt x="16054" y="15749"/>
                  <a:pt x="16642" y="15622"/>
                  <a:pt x="16952" y="15530"/>
                </a:cubicBezTo>
                <a:lnTo>
                  <a:pt x="16952" y="13479"/>
                </a:lnTo>
                <a:lnTo>
                  <a:pt x="15295" y="13479"/>
                </a:lnTo>
                <a:lnTo>
                  <a:pt x="15295" y="14167"/>
                </a:lnTo>
                <a:lnTo>
                  <a:pt x="15981" y="14167"/>
                </a:lnTo>
                <a:lnTo>
                  <a:pt x="15981" y="14981"/>
                </a:lnTo>
                <a:cubicBezTo>
                  <a:pt x="15902" y="15015"/>
                  <a:pt x="15718" y="15039"/>
                  <a:pt x="15486" y="15039"/>
                </a:cubicBezTo>
                <a:cubicBezTo>
                  <a:pt x="14661" y="15039"/>
                  <a:pt x="14087" y="14565"/>
                  <a:pt x="14087" y="13762"/>
                </a:cubicBezTo>
                <a:cubicBezTo>
                  <a:pt x="14087" y="12919"/>
                  <a:pt x="14721" y="12503"/>
                  <a:pt x="15559" y="12503"/>
                </a:cubicBezTo>
                <a:cubicBezTo>
                  <a:pt x="16048" y="12503"/>
                  <a:pt x="16351" y="12579"/>
                  <a:pt x="16596" y="12671"/>
                </a:cubicBezTo>
                <a:lnTo>
                  <a:pt x="16807" y="11966"/>
                </a:lnTo>
                <a:cubicBezTo>
                  <a:pt x="16589" y="11874"/>
                  <a:pt x="16147" y="11776"/>
                  <a:pt x="15572" y="11776"/>
                </a:cubicBezTo>
                <a:cubicBezTo>
                  <a:pt x="14113" y="11776"/>
                  <a:pt x="13037" y="12515"/>
                  <a:pt x="13031" y="13809"/>
                </a:cubicBezTo>
                <a:moveTo>
                  <a:pt x="6169" y="13659"/>
                </a:moveTo>
                <a:cubicBezTo>
                  <a:pt x="6023" y="13659"/>
                  <a:pt x="5918" y="13653"/>
                  <a:pt x="5832" y="13636"/>
                </a:cubicBezTo>
                <a:lnTo>
                  <a:pt x="5832" y="12486"/>
                </a:lnTo>
                <a:cubicBezTo>
                  <a:pt x="5905" y="12469"/>
                  <a:pt x="6043" y="12452"/>
                  <a:pt x="6248" y="12452"/>
                </a:cubicBezTo>
                <a:cubicBezTo>
                  <a:pt x="6750" y="12452"/>
                  <a:pt x="7034" y="12665"/>
                  <a:pt x="7034" y="13023"/>
                </a:cubicBezTo>
                <a:cubicBezTo>
                  <a:pt x="7034" y="13422"/>
                  <a:pt x="6704" y="13659"/>
                  <a:pt x="6169" y="13659"/>
                </a:cubicBezTo>
                <a:moveTo>
                  <a:pt x="6196" y="11787"/>
                </a:moveTo>
                <a:cubicBezTo>
                  <a:pt x="5582" y="11787"/>
                  <a:pt x="5146" y="11822"/>
                  <a:pt x="4836" y="11868"/>
                </a:cubicBezTo>
                <a:lnTo>
                  <a:pt x="4836" y="15709"/>
                </a:lnTo>
                <a:lnTo>
                  <a:pt x="5832" y="15709"/>
                </a:lnTo>
                <a:lnTo>
                  <a:pt x="5832" y="14317"/>
                </a:lnTo>
                <a:cubicBezTo>
                  <a:pt x="5925" y="14328"/>
                  <a:pt x="6043" y="14334"/>
                  <a:pt x="6176" y="14334"/>
                </a:cubicBezTo>
                <a:cubicBezTo>
                  <a:pt x="6770" y="14334"/>
                  <a:pt x="7278" y="14207"/>
                  <a:pt x="7621" y="13924"/>
                </a:cubicBezTo>
                <a:cubicBezTo>
                  <a:pt x="7886" y="13705"/>
                  <a:pt x="8031" y="13381"/>
                  <a:pt x="8031" y="13000"/>
                </a:cubicBezTo>
                <a:cubicBezTo>
                  <a:pt x="8031" y="12619"/>
                  <a:pt x="7839" y="12296"/>
                  <a:pt x="7555" y="12099"/>
                </a:cubicBezTo>
                <a:cubicBezTo>
                  <a:pt x="7259" y="11892"/>
                  <a:pt x="6816" y="11787"/>
                  <a:pt x="6196" y="11787"/>
                </a:cubicBezTo>
                <a:moveTo>
                  <a:pt x="11195" y="12954"/>
                </a:moveTo>
                <a:cubicBezTo>
                  <a:pt x="11195" y="13537"/>
                  <a:pt x="11215" y="14063"/>
                  <a:pt x="11280" y="14577"/>
                </a:cubicBezTo>
                <a:lnTo>
                  <a:pt x="11261" y="14577"/>
                </a:lnTo>
                <a:cubicBezTo>
                  <a:pt x="11062" y="14138"/>
                  <a:pt x="10799" y="13653"/>
                  <a:pt x="10535" y="13243"/>
                </a:cubicBezTo>
                <a:lnTo>
                  <a:pt x="9611" y="11816"/>
                </a:lnTo>
                <a:lnTo>
                  <a:pt x="8436" y="11816"/>
                </a:lnTo>
                <a:lnTo>
                  <a:pt x="8436" y="15709"/>
                </a:lnTo>
                <a:lnTo>
                  <a:pt x="9360" y="15709"/>
                </a:lnTo>
                <a:lnTo>
                  <a:pt x="9360" y="14536"/>
                </a:lnTo>
                <a:cubicBezTo>
                  <a:pt x="9360" y="13901"/>
                  <a:pt x="9347" y="13352"/>
                  <a:pt x="9320" y="12838"/>
                </a:cubicBezTo>
                <a:lnTo>
                  <a:pt x="9340" y="12833"/>
                </a:lnTo>
                <a:cubicBezTo>
                  <a:pt x="9558" y="13289"/>
                  <a:pt x="9848" y="13791"/>
                  <a:pt x="10112" y="14207"/>
                </a:cubicBezTo>
                <a:lnTo>
                  <a:pt x="11062" y="15709"/>
                </a:lnTo>
                <a:lnTo>
                  <a:pt x="12119" y="15709"/>
                </a:lnTo>
                <a:lnTo>
                  <a:pt x="12119" y="11816"/>
                </a:lnTo>
                <a:lnTo>
                  <a:pt x="11195" y="11816"/>
                </a:lnTo>
                <a:cubicBezTo>
                  <a:pt x="11195" y="11816"/>
                  <a:pt x="11195" y="12954"/>
                  <a:pt x="11195" y="1295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79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04" name="Shape 2707"/>
          <p:cNvSpPr/>
          <p:nvPr/>
        </p:nvSpPr>
        <p:spPr>
          <a:xfrm>
            <a:off x="10933155" y="1571207"/>
            <a:ext cx="2553243" cy="6309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8090" tIns="38090" rIns="38090" bIns="38090" anchor="ctr">
            <a:spAutoFit/>
          </a:bodyPr>
          <a:lstStyle>
            <a:lvl1pPr algn="l">
              <a:defRPr sz="3000" b="1" cap="none" spc="-90">
                <a:solidFill>
                  <a:srgbClr val="1C1D21"/>
                </a:solidFill>
                <a:latin typeface="+mj-lt"/>
                <a:ea typeface="+mj-ea"/>
                <a:cs typeface="+mj-cs"/>
                <a:sym typeface="Karla"/>
              </a:defRPr>
            </a:lvl1pPr>
          </a:lstStyle>
          <a:p>
            <a:pPr algn="ctr"/>
            <a:r>
              <a:rPr lang="en-US" sz="3600" b="0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E-commerce</a:t>
            </a:r>
          </a:p>
        </p:txBody>
      </p:sp>
      <p:sp>
        <p:nvSpPr>
          <p:cNvPr id="105" name="Shape 2707"/>
          <p:cNvSpPr/>
          <p:nvPr/>
        </p:nvSpPr>
        <p:spPr>
          <a:xfrm>
            <a:off x="11705480" y="5447768"/>
            <a:ext cx="1008589" cy="6309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8090" tIns="38090" rIns="38090" bIns="38090" anchor="ctr">
            <a:spAutoFit/>
          </a:bodyPr>
          <a:lstStyle>
            <a:lvl1pPr algn="l">
              <a:defRPr sz="3000" b="1" cap="none" spc="-90">
                <a:solidFill>
                  <a:srgbClr val="1C1D21"/>
                </a:solidFill>
                <a:latin typeface="+mj-lt"/>
                <a:ea typeface="+mj-ea"/>
                <a:cs typeface="+mj-cs"/>
                <a:sym typeface="Karla"/>
              </a:defRPr>
            </a:lvl1pPr>
          </a:lstStyle>
          <a:p>
            <a:pPr algn="ctr"/>
            <a:r>
              <a:rPr lang="en-US" sz="3600" b="0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Web</a:t>
            </a:r>
          </a:p>
        </p:txBody>
      </p:sp>
    </p:spTree>
    <p:extLst>
      <p:ext uri="{BB962C8B-B14F-4D97-AF65-F5344CB8AC3E}">
        <p14:creationId xmlns:p14="http://schemas.microsoft.com/office/powerpoint/2010/main" val="2626926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T"/>
  <p:tag name="EE4P_MAPWIZARD_HEADINGS" val="Admin 0"/>
  <p:tag name="EE4P_MAPWIZARD" val="Austri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661c3a-80f8-4511-8d02-cd0338ea08cd"/>
  <p:tag name="MIO_EK" val="4214"/>
  <p:tag name="MIO_UPDATE" val="True"/>
  <p:tag name="MIO_VERSION" val="23.12.2016 13:44:10"/>
  <p:tag name="MIO_DBID" val="03A15726-3EEC-4C78-B02E-FB2A32054B2D"/>
  <p:tag name="MIO_LASTDOWNLOADED" val="11.05.2017 17:10:07"/>
  <p:tag name="MIO_OBJECTNAME" val="Entwicklun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14.10.2016 16:46:58"/>
  <p:tag name="MIO_OBJECTNAME" val="Footnote"/>
  <p:tag name="MIO_LASTEDITORNAME" val="(Anja Mucha)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9145fd8-175b-4028-9039-809cc8868714"/>
  <p:tag name="MIO_EK" val="4228"/>
  <p:tag name="MIO_UPDATE" val="True"/>
  <p:tag name="MIO_VERSION" val="23.12.2016 13:45:19"/>
  <p:tag name="MIO_DBID" val="03A15726-3EEC-4C78-B02E-FB2A32054B2D"/>
  <p:tag name="MIO_LASTDOWNLOADED" val="11.05.2017 17:10:34"/>
  <p:tag name="MIO_OBJECTNAME" val="Phasen 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E"/>
  <p:tag name="EE4P_MAPWIZARD_HEADINGS" val="Admin 0"/>
  <p:tag name="EE4P_MAPWIZARD" val="Belgium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08.12.2016 18:13:55"/>
  <p:tag name="MIO_OBJECTNAME" val="Footnote"/>
  <p:tag name="MIO_LASTEDITORNAME" val="(Anja Mucha)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32ea711-035b-436b-80b5-3caa8008150d"/>
  <p:tag name="MIO_EK" val="4215"/>
  <p:tag name="MIO_UPDATE" val="True"/>
  <p:tag name="MIO_VERSION" val="23.12.2016 13:44:15"/>
  <p:tag name="MIO_DBID" val="03A15726-3EEC-4C78-B02E-FB2A32054B2D"/>
  <p:tag name="MIO_LASTDOWNLOADED" val="11.05.2017 17:10:11"/>
  <p:tag name="MIO_OBJECTNAME" val="Stufe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08.12.2016 18:13:55"/>
  <p:tag name="MIO_OBJECTNAME" val="Footnote"/>
  <p:tag name="MIO_LASTEDITORNAME" val="(Anja Mucha)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b7be12f-fe7f-4ae4-a1b1-90723559c527"/>
  <p:tag name="MIO_EK" val="4216"/>
  <p:tag name="MIO_UPDATE" val="True"/>
  <p:tag name="MIO_VERSION" val="23.12.2016 13:44:20"/>
  <p:tag name="MIO_DBID" val="03A15726-3EEC-4C78-B02E-FB2A32054B2D"/>
  <p:tag name="MIO_LASTDOWNLOADED" val="11.05.2017 17:10:12"/>
  <p:tag name="MIO_OBJECTNAME" val="Steckbrief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08.12.2016 18:13:55"/>
  <p:tag name="MIO_OBJECTNAME" val="Footnote"/>
  <p:tag name="MIO_LASTEDITORNAME" val="(Anja Mucha)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G"/>
  <p:tag name="EE4P_MAPWIZARD_HEADINGS" val="Admin 0"/>
  <p:tag name="EE4P_MAPWIZARD" val="Bulgari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7eb915f-c155-428c-9e0e-1e8e8402c4c5"/>
  <p:tag name="MIO_EK" val="3105"/>
  <p:tag name="MIO_UPDATE" val="True"/>
  <p:tag name="MIO_VERSION" val="18.07.2016 15:08:01"/>
  <p:tag name="MIO_DBID" val="03A15726-3EEC-4C78-B02E-FB2A32054B2D"/>
  <p:tag name="MIO_LASTDOWNLOADED" val="22.12.2016 15:51:21"/>
  <p:tag name="MIO_OBJECTNAME" val="Check_blue"/>
  <p:tag name="MIO_LASTEDITORNAME" val="Anja Much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a519725-bb95-437e-a114-9aca2eb9c15d"/>
  <p:tag name="MIO_EK" val="3427"/>
  <p:tag name="MIO_UPDATE" val="True"/>
  <p:tag name="MIO_VERSION" val="20.07.2016 15:03:28"/>
  <p:tag name="MIO_DBID" val="03A15726-3EEC-4C78-B02E-FB2A32054B2D"/>
  <p:tag name="MIO_LASTDOWNLOADED" val="20.07.2016 15:03:28"/>
  <p:tag name="MIO_OBJECTNAME" val="Radar_blue"/>
  <p:tag name="MIO_LASTEDITORNAME" val="Anja Much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2bfced7-d31d-4eb7-b9c9-592f043c6872"/>
  <p:tag name="MIO_EK" val="3379"/>
  <p:tag name="MIO_UPDATE" val="True"/>
  <p:tag name="MIO_VERSION" val="20.07.2016 13:36:03"/>
  <p:tag name="MIO_DBID" val="03A15726-3EEC-4C78-B02E-FB2A32054B2D"/>
  <p:tag name="MIO_LASTDOWNLOADED" val="20.07.2016 13:36:03"/>
  <p:tag name="MIO_OBJECTNAME" val="Person mit Schlips_With tie_blue"/>
  <p:tag name="MIO_LASTEDITORNAME" val="Anja Much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4cd4680-a562-4d53-9261-eeedda5a033a"/>
  <p:tag name="MIO_EK" val="3042"/>
  <p:tag name="MIO_UPDATE" val="True"/>
  <p:tag name="MIO_VERSION" val="18.07.2016 14:30:19"/>
  <p:tag name="MIO_DBID" val="03A15726-3EEC-4C78-B02E-FB2A32054B2D"/>
  <p:tag name="MIO_LASTDOWNLOADED" val="18.07.2016 14:30:19"/>
  <p:tag name="MIO_OBJECTNAME" val="Ausrufezeichen_Exclamationmark_blue"/>
  <p:tag name="MIO_LASTEDITORNAME" val="Anja Much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fa6a6ca-9ff9-48e0-bc24-41b2f24e2ef0"/>
  <p:tag name="MIO_EK" val="3045"/>
  <p:tag name="MIO_UPDATE" val="True"/>
  <p:tag name="MIO_VERSION" val="18.07.2016 14:32:29"/>
  <p:tag name="MIO_DBID" val="03A15726-3EEC-4C78-B02E-FB2A32054B2D"/>
  <p:tag name="MIO_LASTDOWNLOADED" val="18.07.2016 14:32:29"/>
  <p:tag name="MIO_OBJECTNAME" val="Balkendiagramm mit Kurve_Bar graph with curve_blue"/>
  <p:tag name="MIO_LASTEDITORNAME" val="Anja Much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4b3f96-a747-4cf5-abb4-3834295f7dc0"/>
  <p:tag name="MIO_EK" val="3470"/>
  <p:tag name="MIO_UPDATE" val="True"/>
  <p:tag name="MIO_VERSION" val="21.07.2016 12:14:21"/>
  <p:tag name="MIO_DBID" val="03A15726-3EEC-4C78-B02E-FB2A32054B2D"/>
  <p:tag name="MIO_LASTDOWNLOADED" val="22.12.2016 16:49:58"/>
  <p:tag name="MIO_OBJECTNAME" val="Taschenrechner_Calculator_blue"/>
  <p:tag name="MIO_LASTEDITORNAME" val="Anja Much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59d3000-dd9e-460d-ab89-c21c3ce51d0c"/>
  <p:tag name="MIO_EK" val="3285"/>
  <p:tag name="MIO_UPDATE" val="True"/>
  <p:tag name="MIO_VERSION" val="20.07.2016 09:55:28"/>
  <p:tag name="MIO_DBID" val="03A15726-3EEC-4C78-B02E-FB2A32054B2D"/>
  <p:tag name="MIO_LASTDOWNLOADED" val="22.12.2016 16:51:43"/>
  <p:tag name="MIO_OBJECTNAME" val="Kalender_Calender_blue"/>
  <p:tag name="MIO_LASTEDITORNAME" val="Anja Much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7a54cf3-7ea0-4dcb-b2b8-70f3de8d258f"/>
  <p:tag name="MIO_EK" val="3389"/>
  <p:tag name="MIO_UPDATE" val="True"/>
  <p:tag name="MIO_VERSION" val="20.07.2016 13:46:06"/>
  <p:tag name="MIO_DBID" val="03A15726-3EEC-4C78-B02E-FB2A32054B2D"/>
  <p:tag name="MIO_LASTDOWNLOADED" val="20.07.2016 13:46:06"/>
  <p:tag name="MIO_OBJECTNAME" val="Personengruppe_Group of persons_blue"/>
  <p:tag name="MIO_LASTEDITORNAME" val="Anja Much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d7f32b1-70a2-4438-bf2c-713be7a3b992"/>
  <p:tag name="MIO_EK" val="3355"/>
  <p:tag name="MIO_UPDATE" val="True"/>
  <p:tag name="MIO_VERSION" val="20.07.2016 13:35:27"/>
  <p:tag name="MIO_DBID" val="03A15726-3EEC-4C78-B02E-FB2A32054B2D"/>
  <p:tag name="MIO_LASTDOWNLOADED" val="20.07.2016 13:35:26"/>
  <p:tag name="MIO_OBJECTNAME" val="Notizblock mit Stift_Note pad with pencil_blue"/>
  <p:tag name="MIO_LASTEDITORNAME" val="Anja Much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c5a661a-8f94-4001-bc46-6d6103be98f2"/>
  <p:tag name="MIO_EK" val="4217"/>
  <p:tag name="MIO_UPDATE" val="True"/>
  <p:tag name="MIO_VERSION" val="23.12.2016 13:44:25"/>
  <p:tag name="MIO_DBID" val="03A15726-3EEC-4C78-B02E-FB2A32054B2D"/>
  <p:tag name="MIO_LASTDOWNLOADED" val="11.05.2017 17:10:14"/>
  <p:tag name="MIO_OBJECTNAME" val="Übersich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A"/>
  <p:tag name="EE4P_MAPWIZARD_HEADINGS" val="Admin 0"/>
  <p:tag name="EE4P_MAPWIZARD" val="Bosnia and Herzegovin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08.12.2016 18:13:55"/>
  <p:tag name="MIO_OBJECTNAME" val="Footnote"/>
  <p:tag name="MIO_LASTEDITORNAME" val="(Anja Mucha)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a519725-bb95-437e-a114-9aca2eb9c15d"/>
  <p:tag name="MIO_EK" val="3427"/>
  <p:tag name="MIO_UPDATE" val="True"/>
  <p:tag name="MIO_VERSION" val="20.07.2016 15:03:28"/>
  <p:tag name="MIO_DBID" val="03A15726-3EEC-4C78-B02E-FB2A32054B2D"/>
  <p:tag name="MIO_LASTDOWNLOADED" val="20.07.2016 15:03:28"/>
  <p:tag name="MIO_OBJECTNAME" val="Radar_blue"/>
  <p:tag name="MIO_LASTEDITORNAME" val="Anja Much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4060ae-8589-4b46-bb32-dbac1938397d"/>
  <p:tag name="MIO_EK" val="3288"/>
  <p:tag name="MIO_UPDATE" val="True"/>
  <p:tag name="MIO_VERSION" val="20.07.2016 09:55:31"/>
  <p:tag name="MIO_DBID" val="03A15726-3EEC-4C78-B02E-FB2A32054B2D"/>
  <p:tag name="MIO_LASTDOWNLOADED" val="22.12.2016 16:54:02"/>
  <p:tag name="MIO_OBJECTNAME" val="Kalender Uhr_Calender clock_blue"/>
  <p:tag name="MIO_LASTEDITORNAME" val="Anja Much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fa6a6ca-9ff9-48e0-bc24-41b2f24e2ef0"/>
  <p:tag name="MIO_EK" val="3045"/>
  <p:tag name="MIO_UPDATE" val="True"/>
  <p:tag name="MIO_VERSION" val="18.07.2016 14:32:29"/>
  <p:tag name="MIO_DBID" val="03A15726-3EEC-4C78-B02E-FB2A32054B2D"/>
  <p:tag name="MIO_LASTDOWNLOADED" val="18.07.2016 14:32:29"/>
  <p:tag name="MIO_OBJECTNAME" val="Balkendiagramm mit Kurve_Bar graph with curve_blue"/>
  <p:tag name="MIO_LASTEDITORNAME" val="Anja Much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d7f32b1-70a2-4438-bf2c-713be7a3b992"/>
  <p:tag name="MIO_EK" val="3355"/>
  <p:tag name="MIO_UPDATE" val="True"/>
  <p:tag name="MIO_VERSION" val="20.07.2016 13:35:27"/>
  <p:tag name="MIO_DBID" val="03A15726-3EEC-4C78-B02E-FB2A32054B2D"/>
  <p:tag name="MIO_LASTDOWNLOADED" val="20.07.2016 13:35:26"/>
  <p:tag name="MIO_OBJECTNAME" val="Notizblock mit Stift_Note pad with pencil_blue"/>
  <p:tag name="MIO_LASTEDITORNAME" val="Anja Much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bd6c362-9005-4604-b031-c5bd322b5a23"/>
  <p:tag name="MIO_EK" val="4218"/>
  <p:tag name="MIO_UPDATE" val="True"/>
  <p:tag name="MIO_VERSION" val="23.12.2016 13:44:30"/>
  <p:tag name="MIO_DBID" val="03A15726-3EEC-4C78-B02E-FB2A32054B2D"/>
  <p:tag name="MIO_LASTDOWNLOADED" val="11.05.2017 17:10:16"/>
  <p:tag name="MIO_OBJECTNAME" val="Struktu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Y"/>
  <p:tag name="EE4P_MAPWIZARD_HEADINGS" val="Admin 0"/>
  <p:tag name="EE4P_MAPWIZARD" val="Belarus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08.12.2016 18:13:55"/>
  <p:tag name="MIO_OBJECTNAME" val="Footnote"/>
  <p:tag name="MIO_LASTEDITORNAME" val="(Anja Mucha)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81155ad-de49-4275-bb64-e3ca54a92845"/>
  <p:tag name="MIO_EK" val="4219"/>
  <p:tag name="MIO_UPDATE" val="True"/>
  <p:tag name="MIO_VERSION" val="23.12.2016 13:44:35"/>
  <p:tag name="MIO_DBID" val="03A15726-3EEC-4C78-B02E-FB2A32054B2D"/>
  <p:tag name="MIO_LASTDOWNLOADED" val="11.05.2017 17:10:20"/>
  <p:tag name="MIO_OBJECTNAME" val="Haus mit zwei Säule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08.12.2016 18:13:55"/>
  <p:tag name="MIO_OBJECTNAME" val="Footnote"/>
  <p:tag name="MIO_LASTEDITORNAME" val="(Anja Mucha)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fa6a6ca-9ff9-48e0-bc24-41b2f24e2ef0"/>
  <p:tag name="MIO_EK" val="3045"/>
  <p:tag name="MIO_UPDATE" val="True"/>
  <p:tag name="MIO_VERSION" val="18.07.2016 14:32:29"/>
  <p:tag name="MIO_DBID" val="03A15726-3EEC-4C78-B02E-FB2A32054B2D"/>
  <p:tag name="MIO_LASTDOWNLOADED" val="18.07.2016 14:32:29"/>
  <p:tag name="MIO_OBJECTNAME" val="Balkendiagramm mit Kurve_Bar graph with curve_blue"/>
  <p:tag name="MIO_LASTEDITORNAME" val="Anja Much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8b8f340-916f-4e10-961b-b5488ae6f813"/>
  <p:tag name="MIO_EK" val="3096"/>
  <p:tag name="MIO_UPDATE" val="True"/>
  <p:tag name="MIO_VERSION" val="18.07.2016 15:03:50"/>
  <p:tag name="MIO_DBID" val="03A15726-3EEC-4C78-B02E-FB2A32054B2D"/>
  <p:tag name="MIO_LASTDOWNLOADED" val="18.07.2016 15:03:50"/>
  <p:tag name="MIO_OBJECTNAME" val="Coaching_blue"/>
  <p:tag name="MIO_LASTEDITORNAME" val="Anja Much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220c9cb-1a8e-429c-866e-b9141eaad42d"/>
  <p:tag name="MIO_EK" val="4220"/>
  <p:tag name="MIO_UPDATE" val="True"/>
  <p:tag name="MIO_VERSION" val="23.12.2016 13:44:40"/>
  <p:tag name="MIO_DBID" val="03A15726-3EEC-4C78-B02E-FB2A32054B2D"/>
  <p:tag name="MIO_LASTDOWNLOADED" val="11.05.2017 17:10:21"/>
  <p:tag name="MIO_OBJECTNAME" val="Struktur 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H"/>
  <p:tag name="EE4P_MAPWIZARD_HEADINGS" val="Admin 0"/>
  <p:tag name="EE4P_MAPWIZARD" val="Switzerlan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08.12.2016 18:13:55"/>
  <p:tag name="MIO_OBJECTNAME" val="Footnote"/>
  <p:tag name="MIO_LASTEDITORNAME" val="(Anja Mucha)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98b7585-9daf-480c-afa8-a1c71f6cb0ad"/>
  <p:tag name="MIO_EK" val="4221"/>
  <p:tag name="MIO_UPDATE" val="True"/>
  <p:tag name="MIO_VERSION" val="23.12.2016 13:44:45"/>
  <p:tag name="MIO_DBID" val="03A15726-3EEC-4C78-B02E-FB2A32054B2D"/>
  <p:tag name="MIO_LASTDOWNLOADED" val="11.05.2017 17:10:23"/>
  <p:tag name="MIO_OBJECTNAME" val="Diagramm mit Datentabel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08.12.2016 18:13:55"/>
  <p:tag name="MIO_OBJECTNAME" val="Footnote"/>
  <p:tag name="MIO_LASTEDITORNAME" val="(Anja Mucha)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RT_TEMPLATE_TYPE" val="D2EF9A34-22BD-4E94-B644-A8849194BE2A"/>
  <p:tag name="CF234B33-EF7B-4165-802B-286E7B8332A2 - 1390788E-A41E-4ED5-87AC-C44B92C0E066 - COLUMN" val="1"/>
  <p:tag name="CF234B33-EF7B-4165-802B-286E7B8332A2 - B5398979-2EBA-454E-BA29-880F1452BA71 - COLUMN" val="2"/>
  <p:tag name="CF234B33-EF7B-4165-802B-286E7B8332A2 - 9DB373E6-2701-497F-8398-EEE20C455313 - COLUMN" val="3"/>
  <p:tag name="CF234B33-EF7B-4165-802B-286E7B8332A2 - 68C7CFFD-E9F2-4159-8FAD-B6E7A988D8E6 - COLUMN" val="4"/>
  <p:tag name="CF234B33-EF7B-4165-802B-286E7B8332A2 - F76CCAA8-B4A4-4919-B84F-D20815ADC4F3 - COLUMN" val="5"/>
  <p:tag name="30EB0359-2070-4B1A-81A9-0AD31BE54E1B - 565714CB-58E0-4923-85F3-EDD87711B178 - VALUE" val="174"/>
  <p:tag name="30EB0359-2070-4B1A-81A9-0AD31BE54E1B - CA7B5E03-A3AA-4E85-B6C0-C5ECA86BB9D0 - VALUE" val="174"/>
  <p:tag name="30EB0359-2070-4B1A-81A9-0AD31BE54E1B - B2F8EFCC-DA56-4DD6-A5EB-A372CE381CE8 - VALUE" val="174"/>
  <p:tag name="30EB0359-2070-4B1A-81A9-0AD31BE54E1B - 3FB139B5-237E-42B1-945A-3C5D550FEC86 - VALUE" val="174"/>
  <p:tag name="30EB0359-2070-4B1A-81A9-0AD31BE54E1B - 7B7DCCC6-1FE2-40AA-94CB-F8EA90E3E25F - VALUE" val="174"/>
  <p:tag name="30EB0359-2070-4B1A-81A9-0AD31BE54E1B - 6571EF1D-2F4D-4F6E-837B-03BF491FFE90 - VALUE" val="174"/>
  <p:tag name="30EB0359-2070-4B1A-81A9-0AD31BE54E1B - A050FD5F-DBB4-4C22-9BA0-F412821F7F05 - VALUE" val="174"/>
  <p:tag name="30EB0359-2070-4B1A-81A9-0AD31BE54E1B - 4A34CE32-2B0B-4F85-8D34-544355B8F51A - VALUE" val="174"/>
  <p:tag name="30EB0359-2070-4B1A-81A9-0AD31BE54E1B - B398BD0B-8D0F-4D9E-93E1-00BDC8995D5E - VALUE" val="174"/>
  <p:tag name="COLUMNSUMS - VISIBLE" val="False"/>
  <p:tag name="30EB0359-2070-4B1A-81A9-0AD31BE54E1B - 8D33F4A2-2E75-46E2-80BF-B2616D8737BC - VALUE" val="174"/>
  <p:tag name="30EB0359-2070-4B1A-81A9-0AD31BE54E1B - CD5B881D-398D-4F44-B702-6E07B9388DDA - VALUE" val="174"/>
  <p:tag name="30EB0359-2070-4B1A-81A9-0AD31BE54E1B - AE8A4FBE-7058-44A6-86D5-DEC927D127FD - VALUE" val="174"/>
  <p:tag name="30EB0359-2070-4B1A-81A9-0AD31BE54E1B - 8EA0B743-F1F1-482F-992A-823A794929A7 - VALUE" val="174"/>
  <p:tag name="30EB0359-2070-4B1A-81A9-0AD31BE54E1B - C1841899-C499-4D45-ACDD-C33CAA0C273E - VALUE" val="174"/>
  <p:tag name="30EB0359-2070-4B1A-81A9-0AD31BE54E1B - 7892F1B3-2B01-4FBB-98F6-9E5FF2415667 - VALUE" val="174"/>
  <p:tag name="30EB0359-2070-4B1A-81A9-0AD31BE54E1B - F34B4B2C-1E3A-4A2E-A17A-1836C84EFE76 - VALUE" val="174"/>
  <p:tag name="30EB0359-2070-4B1A-81A9-0AD31BE54E1B - 57A99997-4149-4E09-A6A0-B53D5CA3B2AC - VALUE" val="174"/>
  <p:tag name="30EB0359-2070-4B1A-81A9-0AD31BE54E1B - 5463536B-1401-4805-81B0-5FA86AA124B4 - VALUE" val="174"/>
  <p:tag name="30EB0359-2070-4B1A-81A9-0AD31BE54E1B - 1651591A-64DF-4EB1-B34D-5FD318BF58B0 - VALUE" val="174"/>
  <p:tag name="30EB0359-2070-4B1A-81A9-0AD31BE54E1B - 71AC5B93-268B-416C-BE1D-0662FD7F8F0A - VALUE" val="174"/>
  <p:tag name="30EB0359-2070-4B1A-81A9-0AD31BE54E1B - 10394EEC-E297-4139-B9BA-3A3C8EA7AACB - VALUE" val="174"/>
  <p:tag name="30EB0359-2070-4B1A-81A9-0AD31BE54E1B - 96526097-085B-4A32-B38E-17A2E57532D9 - VALUE" val="174"/>
  <p:tag name="30EB0359-2070-4B1A-81A9-0AD31BE54E1B - BD5A7AFB-4FAF-405C-B7B3-7FBFD9D57EAE - VALUE" val="174"/>
  <p:tag name="30EB0359-2070-4B1A-81A9-0AD31BE54E1B - E5F5FC0C-6A8F-4F05-BF96-73C28CCEB739 - VALUE" val="174"/>
  <p:tag name="30EB0359-2070-4B1A-81A9-0AD31BE54E1B - A6AC3BAA-75E7-478F-8969-AFB857B70434 - VALUE" val="174"/>
  <p:tag name="30EB0359-2070-4B1A-81A9-0AD31BE54E1B - C279E591-1960-427D-9DD7-19AE57073E4B - VALUE" val="174"/>
  <p:tag name="30EB0359-2070-4B1A-81A9-0AD31BE54E1B - 854C78F5-521A-4899-9B64-CAE67306EA3D - VALUE" val="174"/>
  <p:tag name="30EB0359-2070-4B1A-81A9-0AD31BE54E1B - 1865F138-BA86-472A-A640-81D97D282806 - VALUE" val="174"/>
  <p:tag name="30EB0359-2070-4B1A-81A9-0AD31BE54E1B - B010DE1A-B999-4ED8-89DF-5DEA945C5F50 - VALUE" val="174"/>
  <p:tag name="30EB0359-2070-4B1A-81A9-0AD31BE54E1B - 512A1FF1-C1BA-46B4-A21B-E72C26BAC0D7 - VALUE" val="174"/>
  <p:tag name="30EB0359-2070-4B1A-81A9-0AD31BE54E1B - 6BA08F0B-9A7A-4498-8361-9F375EB5222F - VALUE" val="174"/>
  <p:tag name="30EB0359-2070-4B1A-81A9-0AD31BE54E1B - CF045083-78F2-40B5-A299-CE002775DBA0 - VALUE" val="174"/>
  <p:tag name="30EB0359-2070-4B1A-81A9-0AD31BE54E1B - 6C7B26E3-9391-49D6-B227-F3ED0EDF0DEE - VALUE" val="174"/>
  <p:tag name="30EB0359-2070-4B1A-81A9-0AD31BE54E1B - 2AE7D251-3E3A-4DFE-8664-3ED8A74222FD - VALUE" val="174"/>
  <p:tag name="30EB0359-2070-4B1A-81A9-0AD31BE54E1B - EB54ACB0-91FF-4A9E-8BE3-55F6569D0FCE - VALUE" val="174"/>
  <p:tag name="30EB0359-2070-4B1A-81A9-0AD31BE54E1B - 46DC6B45-EBE2-4FF2-B4A9-EF3511A27CAF - VALUE" val="174"/>
  <p:tag name="30EB0359-2070-4B1A-81A9-0AD31BE54E1B - 306D7CEA-8930-4D68-8AC3-C21A6C63BFF7 - VALUE" val="174"/>
  <p:tag name="30EB0359-2070-4B1A-81A9-0AD31BE54E1B - BC3F276E-E16C-4178-8A4E-F7AA160A4CAD - VALUE" val="174"/>
  <p:tag name="30EB0359-2070-4B1A-81A9-0AD31BE54E1B - 85A30CC6-7534-4A57-9C39-A64B981BA446 - VALUE" val="174"/>
  <p:tag name="30EB0359-2070-4B1A-81A9-0AD31BE54E1B - 37B21814-48E5-494A-996E-7DBE6CD0BA58 - VALUE" val="174"/>
  <p:tag name="30EB0359-2070-4B1A-81A9-0AD31BE54E1B - 1AE5FEA3-28B9-43B2-A36D-8BC8B2D4A1FC - VALUE" val="174"/>
  <p:tag name="30EB0359-2070-4B1A-81A9-0AD31BE54E1B - 46295830-1B95-4A4C-8F5B-6629CE32ADBC - VALUE" val="174"/>
  <p:tag name="30EB0359-2070-4B1A-81A9-0AD31BE54E1B - 31B17BBB-9C9E-4BBD-B216-FC5C9BF13B35 - VALUE" val="174"/>
  <p:tag name="30EB0359-2070-4B1A-81A9-0AD31BE54E1B - C9FB1F80-EEFE-40D0-A55C-D7C0ADFAF37C - VALUE" val="174"/>
  <p:tag name="30EB0359-2070-4B1A-81A9-0AD31BE54E1B - 179F3533-536A-4249-BF96-B36BD620E0DD - VALUE" val="174"/>
  <p:tag name="30EB0359-2070-4B1A-81A9-0AD31BE54E1B - F202F093-6406-45F2-A7ED-D78FD9839A7C - VALUE" val="174"/>
  <p:tag name="30EB0359-2070-4B1A-81A9-0AD31BE54E1B - 3E0117F8-072E-4BB6-A7C5-6C8231072024 - VALUE" val="174"/>
  <p:tag name="30EB0359-2070-4B1A-81A9-0AD31BE54E1B - 3E23359B-71F9-447A-BA0C-93664FDAD137 - VALUE" val="174"/>
  <p:tag name="30EB0359-2070-4B1A-81A9-0AD31BE54E1B - 4B5BCE14-EBBD-4630-9F77-6B795DD3DFD9 - VALUE" val="174"/>
  <p:tag name="30EB0359-2070-4B1A-81A9-0AD31BE54E1B - 75E6740E-59EC-40ED-96D4-463000ABD5D8 - VALUE" val="174"/>
  <p:tag name="30EB0359-2070-4B1A-81A9-0AD31BE54E1B - D81CF0AB-5603-48FA-B6B7-EB8C0BEA953A - VALUE" val="174"/>
  <p:tag name="30EB0359-2070-4B1A-81A9-0AD31BE54E1B - D81CF0AB-5603-48FA-B6B7-EB8C0BEA953A - NAME" val="Wert"/>
  <p:tag name="30EB0359-2070-4B1A-81A9-0AD31BE54E1B - D8C15645-1ADC-4375-97FE-48FDB0706AE3 - VALUE" val="174"/>
  <p:tag name="30EB0359-2070-4B1A-81A9-0AD31BE54E1B - D8C15645-1ADC-4375-97FE-48FDB0706AE3 - NAME" val="Wert"/>
  <p:tag name="30EB0359-2070-4B1A-81A9-0AD31BE54E1B - 4EC2C527-F828-4D31-9D51-0014E6CD2B35 - VALUE" val="174"/>
  <p:tag name="30EB0359-2070-4B1A-81A9-0AD31BE54E1B - 4EC2C527-F828-4D31-9D51-0014E6CD2B35 - NAME" val="Wert"/>
  <p:tag name="30EB0359-2070-4B1A-81A9-0AD31BE54E1B - B51F4BAC-B1C3-4B51-B663-149D1E24E146 - VALUE" val="174"/>
  <p:tag name="30EB0359-2070-4B1A-81A9-0AD31BE54E1B - B51F4BAC-B1C3-4B51-B663-149D1E24E146 - NAME" val="Wert"/>
  <p:tag name="30EB0359-2070-4B1A-81A9-0AD31BE54E1B - BA6CD7D0-4A14-47A5-881C-017619D9CA37 - VALUE" val="174"/>
  <p:tag name="30EB0359-2070-4B1A-81A9-0AD31BE54E1B - BA6CD7D0-4A14-47A5-881C-017619D9CA37 - NAME" val="Wert"/>
  <p:tag name="30EB0359-2070-4B1A-81A9-0AD31BE54E1B - ACC5B7B5-D496-4D6C-8952-F003C543C769 - VALUE" val="174"/>
  <p:tag name="30EB0359-2070-4B1A-81A9-0AD31BE54E1B - ACC5B7B5-D496-4D6C-8952-F003C543C769 - NAME" val="Value"/>
  <p:tag name="30EB0359-2070-4B1A-81A9-0AD31BE54E1B - BA383A11-56B2-478E-87B3-9D0B9A6FDC0E - VALUE" val="174"/>
  <p:tag name="30EB0359-2070-4B1A-81A9-0AD31BE54E1B - BA383A11-56B2-478E-87B3-9D0B9A6FDC0E - NAME" val="Value"/>
  <p:tag name="30EB0359-2070-4B1A-81A9-0AD31BE54E1B - 409F3664-1337-4F73-8C68-9DC9A6686C1C - VALUE" val="174"/>
  <p:tag name="30EB0359-2070-4B1A-81A9-0AD31BE54E1B - 409F3664-1337-4F73-8C68-9DC9A6686C1C - NAME" val="Value"/>
  <p:tag name="DATALABELS - BACKGROUND" val="True"/>
  <p:tag name="30EB0359-2070-4B1A-81A9-0AD31BE54E1B - E0023078-514C-4A6B-AAD1-AA6176768B48 - VALUE" val="174"/>
  <p:tag name="30EB0359-2070-4B1A-81A9-0AD31BE54E1B - E0023078-514C-4A6B-AAD1-AA6176768B48 - NAME" val="Value"/>
  <p:tag name="30EB0359-2070-4B1A-81A9-0AD31BE54E1B - F973AB65-2160-4E61-A06C-BF76817CC217 - VALUE" val="174"/>
  <p:tag name="30EB0359-2070-4B1A-81A9-0AD31BE54E1B - F973AB65-2160-4E61-A06C-BF76817CC217 - NAME" val="Value"/>
  <p:tag name="30EB0359-2070-4B1A-81A9-0AD31BE54E1B - D112B0A3-F7EA-47A2-95B0-4CD683CE8C38 - VALUE" val="174"/>
  <p:tag name="30EB0359-2070-4B1A-81A9-0AD31BE54E1B - D112B0A3-F7EA-47A2-95B0-4CD683CE8C38 - NAME" val="Value"/>
  <p:tag name="30EB0359-2070-4B1A-81A9-0AD31BE54E1B - EEA8466B-F9BF-4ADD-B484-FFCF956D97C0 - VALUE" val="174"/>
  <p:tag name="30EB0359-2070-4B1A-81A9-0AD31BE54E1B - EEA8466B-F9BF-4ADD-B484-FFCF956D97C0 - NAME" val="Value"/>
  <p:tag name="30EB0359-2070-4B1A-81A9-0AD31BE54E1B - 74D2675F-630F-4162-8E70-1BE9DCEDA2CF - VALUE" val="174"/>
  <p:tag name="30EB0359-2070-4B1A-81A9-0AD31BE54E1B - 74D2675F-630F-4162-8E70-1BE9DCEDA2CF - NAME" val="Wert"/>
  <p:tag name="DATALABELS - VALUE" val="True"/>
  <p:tag name="30EB0359-2070-4B1A-81A9-0AD31BE54E1B - 49763727-3E03-4804-B21E-FB5F03AEECDD - VALUE" val="174"/>
  <p:tag name="30EB0359-2070-4B1A-81A9-0AD31BE54E1B - 49763727-3E03-4804-B21E-FB5F03AEECDD - NAME" val="Value"/>
  <p:tag name="30EB0359-2070-4B1A-81A9-0AD31BE54E1B - DB987C40-BF64-46AE-976E-903C17ADE9FE - VALUE" val="174"/>
  <p:tag name="30EB0359-2070-4B1A-81A9-0AD31BE54E1B - DB987C40-BF64-46AE-976E-903C17ADE9FE - NAME" val="Value"/>
  <p:tag name="30EB0359-2070-4B1A-81A9-0AD31BE54E1B - 440B3AC5-442C-46A2-8FFA-E8C394E6F35F - VALUE" val="174"/>
  <p:tag name="30EB0359-2070-4B1A-81A9-0AD31BE54E1B - 440B3AC5-442C-46A2-8FFA-E8C394E6F35F - NAME" val="Value"/>
  <p:tag name="30EB0359-2070-4B1A-81A9-0AD31BE54E1B - D075D4C6-C49D-4B50-9272-AAAF492012F0 - VALUE" val="174"/>
  <p:tag name="30EB0359-2070-4B1A-81A9-0AD31BE54E1B - D075D4C6-C49D-4B50-9272-AAAF492012F0 - NAME" val="Value"/>
  <p:tag name="30EB0359-2070-4B1A-81A9-0AD31BE54E1B - 6D9D39D1-C20D-47ED-93AB-8F2CE1D57658 - VALUE" val="174"/>
  <p:tag name="30EB0359-2070-4B1A-81A9-0AD31BE54E1B - 6D9D39D1-C20D-47ED-93AB-8F2CE1D57658 - NAME" val="Value"/>
  <p:tag name="30EB0359-2070-4B1A-81A9-0AD31BE54E1B - FF4E86C4-09AB-4ED6-BD6E-C235C5C4D6C6 - VALUE" val="174"/>
  <p:tag name="30EB0359-2070-4B1A-81A9-0AD31BE54E1B - FF4E86C4-09AB-4ED6-BD6E-C235C5C4D6C6 - NAME" val="Value"/>
  <p:tag name="30EB0359-2070-4B1A-81A9-0AD31BE54E1B - 902C71F6-BB1C-444B-A5BC-844D09EA8A7B - VALUE" val="174"/>
  <p:tag name="30EB0359-2070-4B1A-81A9-0AD31BE54E1B - 902C71F6-BB1C-444B-A5BC-844D09EA8A7B - NAME" val="Value"/>
  <p:tag name="30EB0359-2070-4B1A-81A9-0AD31BE54E1B - EF38984F-6984-4E06-9724-F1949F40AE63 - VALUE" val="174"/>
  <p:tag name="30EB0359-2070-4B1A-81A9-0AD31BE54E1B - EF38984F-6984-4E06-9724-F1949F40AE63 - NAME" val="Value"/>
  <p:tag name="30EB0359-2070-4B1A-81A9-0AD31BE54E1B - 186820AD-7DB4-4DCD-988A-17208B419BD8 - VALUE" val="174"/>
  <p:tag name="30EB0359-2070-4B1A-81A9-0AD31BE54E1B - 186820AD-7DB4-4DCD-988A-17208B419BD8 - NAME" val="Value"/>
  <p:tag name="30EB0359-2070-4B1A-81A9-0AD31BE54E1B - 83FFC1E0-0EFC-4E19-90E8-B7691683DBCA - VALUE" val="174"/>
  <p:tag name="30EB0359-2070-4B1A-81A9-0AD31BE54E1B - 83FFC1E0-0EFC-4E19-90E8-B7691683DBCA - NAME" val="Value"/>
  <p:tag name="30EB0359-2070-4B1A-81A9-0AD31BE54E1B - 3A43B790-FEF7-41CD-9673-0B8C3ED6EACB - VALUE" val="174"/>
  <p:tag name="30EB0359-2070-4B1A-81A9-0AD31BE54E1B - 3A43B790-FEF7-41CD-9673-0B8C3ED6EACB - NAME" val="Value"/>
  <p:tag name="30EB0359-2070-4B1A-81A9-0AD31BE54E1B - 69415720-CC41-4045-9BA2-45AB292FC1A9 - VALUE" val="174"/>
  <p:tag name="30EB0359-2070-4B1A-81A9-0AD31BE54E1B - 69415720-CC41-4045-9BA2-45AB292FC1A9 - NAME" val="Value"/>
  <p:tag name="30EB0359-2070-4B1A-81A9-0AD31BE54E1B - 0D118183-A949-431E-A08E-71F45C9525D1 - VALUE" val="174"/>
  <p:tag name="30EB0359-2070-4B1A-81A9-0AD31BE54E1B - 0D118183-A949-431E-A08E-71F45C9525D1 - NAME" val="Value"/>
  <p:tag name="30EB0359-2070-4B1A-81A9-0AD31BE54E1B - DCFCC566-7038-48DD-9B11-8E02F99A171F - VALUE" val="174"/>
  <p:tag name="30EB0359-2070-4B1A-81A9-0AD31BE54E1B - DCFCC566-7038-48DD-9B11-8E02F99A171F - NAME" val="Value"/>
  <p:tag name="30EB0359-2070-4B1A-81A9-0AD31BE54E1B - ACEEBD65-B69D-469F-851E-1C4DD4EA388A - VALUE" val="174"/>
  <p:tag name="30EB0359-2070-4B1A-81A9-0AD31BE54E1B - ACEEBD65-B69D-469F-851E-1C4DD4EA388A - NAME" val="Value"/>
  <p:tag name="30EB0359-2070-4B1A-81A9-0AD31BE54E1B - 222ABE38-983C-4856-A99B-5EC1CC98B8F2 - VALUE" val="174"/>
  <p:tag name="30EB0359-2070-4B1A-81A9-0AD31BE54E1B - 222ABE38-983C-4856-A99B-5EC1CC98B8F2 - NAME" val="Value"/>
  <p:tag name="30EB0359-2070-4B1A-81A9-0AD31BE54E1B - FD28B011-053D-47C8-AA48-E7A2876826A7 - VALUE" val="174"/>
  <p:tag name="30EB0359-2070-4B1A-81A9-0AD31BE54E1B - FD28B011-053D-47C8-AA48-E7A2876826A7 - NAME" val="Value"/>
  <p:tag name="30EB0359-2070-4B1A-81A9-0AD31BE54E1B - 2B9D68F9-97B3-49E4-A36E-126B1CF3ED84 - VALUE" val="174"/>
  <p:tag name="30EB0359-2070-4B1A-81A9-0AD31BE54E1B - 2B9D68F9-97B3-49E4-A36E-126B1CF3ED84 - NAME" val="Value"/>
  <p:tag name="30EB0359-2070-4B1A-81A9-0AD31BE54E1B - D12E4833-8B13-4D1C-9194-F44E16D46CFA - VALUE" val="174"/>
  <p:tag name="30EB0359-2070-4B1A-81A9-0AD31BE54E1B - D12E4833-8B13-4D1C-9194-F44E16D46CFA - NAME" val="Wert"/>
  <p:tag name="30EB0359-2070-4B1A-81A9-0AD31BE54E1B - CEC11DBA-45B3-4F4E-9C35-6A941D6251D3 - VALUE" val="174"/>
  <p:tag name="30EB0359-2070-4B1A-81A9-0AD31BE54E1B - CEC11DBA-45B3-4F4E-9C35-6A941D6251D3 - NAME" val="Wert"/>
  <p:tag name="30EB0359-2070-4B1A-81A9-0AD31BE54E1B - 4CABC1A0-67F3-450D-9F25-701BBE3D587C - VALUE" val="174"/>
  <p:tag name="30EB0359-2070-4B1A-81A9-0AD31BE54E1B - 4CABC1A0-67F3-450D-9F25-701BBE3D587C - NAME" val="Wert"/>
  <p:tag name="30EB0359-2070-4B1A-81A9-0AD31BE54E1B - B7FBF370-1D8E-4464-9434-774CF0A6CF01 - VALUE" val="174"/>
  <p:tag name="30EB0359-2070-4B1A-81A9-0AD31BE54E1B - B7FBF370-1D8E-4464-9434-774CF0A6CF01 - NAME" val="Wert"/>
  <p:tag name="30EB0359-2070-4B1A-81A9-0AD31BE54E1B - 8B1A9E68-CD19-4589-B8AF-DB33B370345A - VALUE" val="174"/>
  <p:tag name="30EB0359-2070-4B1A-81A9-0AD31BE54E1B - 8B1A9E68-CD19-4589-B8AF-DB33B370345A - NAME" val="Wert"/>
  <p:tag name="30EB0359-2070-4B1A-81A9-0AD31BE54E1B - 239F8859-64B8-46AD-B692-1EEAB63CD198 - VALUE" val="174"/>
  <p:tag name="30EB0359-2070-4B1A-81A9-0AD31BE54E1B - 239F8859-64B8-46AD-B692-1EEAB63CD198 - NAME" val="Wert"/>
  <p:tag name="30EB0359-2070-4B1A-81A9-0AD31BE54E1B - B687022E-BA54-4B21-809E-EE03765E3797 - VALUE" val="174"/>
  <p:tag name="30EB0359-2070-4B1A-81A9-0AD31BE54E1B - B687022E-BA54-4B21-809E-EE03765E3797 - NAME" val="Wert"/>
  <p:tag name="30EB0359-2070-4B1A-81A9-0AD31BE54E1B - 01F6E9FC-8B72-4F08-A4FD-12B9BC5E29FA - VALUE" val="174"/>
  <p:tag name="30EB0359-2070-4B1A-81A9-0AD31BE54E1B - 01F6E9FC-8B72-4F08-A4FD-12B9BC5E29FA - NAME" val="Wert"/>
  <p:tag name="30EB0359-2070-4B1A-81A9-0AD31BE54E1B - 5382C0FE-925F-4BD4-B5A7-EA47420235E0 - VALUE" val="174"/>
  <p:tag name="30EB0359-2070-4B1A-81A9-0AD31BE54E1B - 5382C0FE-925F-4BD4-B5A7-EA47420235E0 - NAME" val="Wert"/>
  <p:tag name="30EB0359-2070-4B1A-81A9-0AD31BE54E1B - 3AF0809A-5E19-4F9C-BF7D-858759D17298 - VALUE" val="174"/>
  <p:tag name="30EB0359-2070-4B1A-81A9-0AD31BE54E1B - 3AF0809A-5E19-4F9C-BF7D-858759D17298 - NAME" val="Wert"/>
  <p:tag name="30EB0359-2070-4B1A-81A9-0AD31BE54E1B - 0E7539CC-F3B6-40FE-8EF8-2747D250C6E7 - VALUE" val="174"/>
  <p:tag name="30EB0359-2070-4B1A-81A9-0AD31BE54E1B - 0E7539CC-F3B6-40FE-8EF8-2747D250C6E7 - NAME" val="Wert"/>
  <p:tag name="30EB0359-2070-4B1A-81A9-0AD31BE54E1B - BFF8B17A-96DD-44FF-A231-9B6C55790F11 - VALUE" val="174"/>
  <p:tag name="30EB0359-2070-4B1A-81A9-0AD31BE54E1B - BFF8B17A-96DD-44FF-A231-9B6C55790F11 - NAME" val="Wert"/>
  <p:tag name="30EB0359-2070-4B1A-81A9-0AD31BE54E1B - CCCBD333-4A3B-490A-80E0-7F3484825896 - VALUE" val="174"/>
  <p:tag name="30EB0359-2070-4B1A-81A9-0AD31BE54E1B - CCCBD333-4A3B-490A-80E0-7F3484825896 - NAME" val="Wert"/>
  <p:tag name="30EB0359-2070-4B1A-81A9-0AD31BE54E1B - 14E2CB11-62C3-4866-82AC-E18A52CA8F8B - VALUE" val="174"/>
  <p:tag name="30EB0359-2070-4B1A-81A9-0AD31BE54E1B - 14E2CB11-62C3-4866-82AC-E18A52CA8F8B - NAME" val="Wert"/>
  <p:tag name="30EB0359-2070-4B1A-81A9-0AD31BE54E1B - CBA5F794-142A-4E8D-B03D-FBF32DCCF797 - VALUE" val="174"/>
  <p:tag name="30EB0359-2070-4B1A-81A9-0AD31BE54E1B - CBA5F794-142A-4E8D-B03D-FBF32DCCF797 - NAME" val="Wert"/>
  <p:tag name="30EB0359-2070-4B1A-81A9-0AD31BE54E1B - 15B762C5-D0FA-4FCA-ADF3-0C4BD799D73C - VALUE" val="174"/>
  <p:tag name="30EB0359-2070-4B1A-81A9-0AD31BE54E1B - 15B762C5-D0FA-4FCA-ADF3-0C4BD799D73C - NAME" val="Wert"/>
  <p:tag name="UNIQUEID" val="3325ad51-ea77-4cd9-b008-ebf811773b43"/>
  <p:tag name="30EB0359-2070-4B1A-81A9-0AD31BE54E1B - 70C3D42D-9195-48C4-AB43-CB0C97457196 - VALUE" val="174"/>
  <p:tag name="30EB0359-2070-4B1A-81A9-0AD31BE54E1B - 70C3D42D-9195-48C4-AB43-CB0C97457196 - NAME" val="Value"/>
  <p:tag name="30EB0359-2070-4B1A-81A9-0AD31BE54E1B - FE755DE2-0187-40F4-86C0-2EAA74BF9B02 - VALUE" val="174"/>
  <p:tag name="30EB0359-2070-4B1A-81A9-0AD31BE54E1B - FE755DE2-0187-40F4-86C0-2EAA74BF9B02 - NAME" val="Value"/>
  <p:tag name="30EB0359-2070-4B1A-81A9-0AD31BE54E1B - 027B02E7-C08A-4154-BD1E-2677535B0740 - VALUE" val="174"/>
  <p:tag name="30EB0359-2070-4B1A-81A9-0AD31BE54E1B - 027B02E7-C08A-4154-BD1E-2677535B0740 - NAME" val="Value"/>
  <p:tag name="METADATA - SERIESMANUALLYSET" val="False"/>
  <p:tag name="METADATA - DATAVAULT" val="&lt;?xml version=&quot;1.0&quot; encoding=&quot;utf-8&quot;?&gt;&#10;&lt;DataVault xmlns:i=&quot;http://www.w3.org/2001/XMLSchema-instance&quot; z:Id=&quot;1&quot; xmlns:z=&quot;http://schemas.microsoft.com/2003/10/Serialization/&quot; xmlns=&quot;http://schemas.datacontract.org/2004/07/empower.Charts.PowerPointAddin.Model.Charts.Breaks&quot;&gt;&#10;  &lt;_items z:Id=&quot;2&quot; z:Size=&quot;24&quot;&gt;&#10;    &lt;DataItem z:Id=&quot;3&quot;&gt;&#10;      &lt;Point&gt;1&lt;/Point&gt;&#10;      &lt;Series&gt;0&lt;/Series&gt;&#10;      &lt;Value&gt;100&lt;/Value&gt;&#10;    &lt;/DataItem&gt;&#10;    &lt;DataItem z:Id=&quot;4&quot;&gt;&#10;      &lt;Point&gt;2&lt;/Point&gt;&#10;      &lt;Series&gt;0&lt;/Series&gt;&#10;      &lt;Value&gt;200&lt;/Value&gt;&#10;    &lt;/DataItem&gt;&#10;    &lt;DataItem z:Id=&quot;5&quot;&gt;&#10;      &lt;Point&gt;3&lt;/Point&gt;&#10;      &lt;Series&gt;0&lt;/Series&gt;&#10;      &lt;Value&gt;150&lt;/Value&gt;&#10;    &lt;/DataItem&gt;&#10;    &lt;DataItem z:Id=&quot;6&quot;&gt;&#10;      &lt;Point&gt;4&lt;/Point&gt;&#10;      &lt;Series&gt;0&lt;/Series&gt;&#10;      &lt;Value&gt;200&lt;/Value&gt;&#10;    &lt;/DataItem&gt;&#10;    &lt;DataItem z:Id=&quot;7&quot;&gt;&#10;      &lt;Point&gt;5&lt;/Point&gt;&#10;      &lt;Series&gt;0&lt;/Series&gt;&#10;      &lt;Value&gt;220&lt;/Value&gt;&#10;    &lt;/DataItem&gt;&#10;    &lt;DataItem z:Id=&quot;8&quot;&gt;&#10;      &lt;Point&gt;6&lt;/Point&gt;&#10;      &lt;Series&gt;0&lt;/Series&gt;&#10;      &lt;Value&gt;180&lt;/Value&gt;&#10;    &lt;/DataItem&gt;&#10;    &lt;DataItem z:Id=&quot;9&quot;&gt;&#10;      &lt;Point&gt;7&lt;/Point&gt;&#10;      &lt;Series&gt;0&lt;/Series&gt;&#10;      &lt;Value&gt;190&lt;/Value&gt;&#10;    &lt;/DataItem&gt;&#10;    &lt;DataItem z:Id=&quot;10&quot;&gt;&#10;      &lt;Point&gt;8&lt;/Point&gt;&#10;      &lt;Series&gt;0&lt;/Series&gt;&#10;      &lt;Value&gt;222&lt;/Value&gt;&#10;    &lt;/DataItem&gt;&#10;    &lt;DataItem z:Id=&quot;11&quot;&gt;&#10;      &lt;Point&gt;9&lt;/Point&gt;&#10;      &lt;Series&gt;0&lt;/Series&gt;&#10;      &lt;Value&gt;189&lt;/Value&gt;&#10;    &lt;/DataItem&gt;&#10;    &lt;DataItem z:Id=&quot;12&quot;&gt;&#10;      &lt;Point&gt;10&lt;/Point&gt;&#10;      &lt;Series&gt;0&lt;/Series&gt;&#10;      &lt;Value&gt;189&lt;/Value&gt;&#10;    &lt;/DataItem&gt;&#10;    &lt;DataItem z:Id=&quot;13&quot;&gt;&#10;      &lt;Point&gt;11&lt;/Point&gt;&#10;      &lt;Series&gt;0&lt;/Series&gt;&#10;      &lt;Value&gt;200&lt;/Value&gt;&#10;    &lt;/DataItem&gt;&#10;    &lt;DataItem z:Id=&quot;14&quot;&gt;&#10;      &lt;Point&gt;12&lt;/Point&gt;&#10;      &lt;Series&gt;0&lt;/Series&gt;&#10;      &lt;Value&gt;0&lt;/Value&gt;&#10;    &lt;/DataItem&gt;&#10;    &lt;DataItem z:Id=&quot;15&quot;&gt;&#10;      &lt;Point&gt;1&lt;/Point&gt;&#10;      &lt;Series&gt;1&lt;/Series&gt;&#10;      &lt;Value&gt;0&lt;/Value&gt;&#10;    &lt;/DataItem&gt;&#10;    &lt;DataItem z:Id=&quot;16&quot;&gt;&#10;      &lt;Point&gt;2&lt;/Point&gt;&#10;      &lt;Series&gt;1&lt;/Series&gt;&#10;      &lt;Value&gt;0&lt;/Value&gt;&#10;    &lt;/DataItem&gt;&#10;    &lt;DataItem z:Id=&quot;17&quot;&gt;&#10;      &lt;Point&gt;3&lt;/Point&gt;&#10;      &lt;Series&gt;1&lt;/Series&gt;&#10;      &lt;Value&gt;0&lt;/Value&gt;&#10;    &lt;/DataItem&gt;&#10;    &lt;DataItem z:Id=&quot;18&quot;&gt;&#10;      &lt;Point&gt;4&lt;/Point&gt;&#10;      &lt;Series&gt;1&lt;/Series&gt;&#10;      &lt;Value&gt;0&lt;/Value&gt;&#10;    &lt;/DataItem&gt;&#10;    &lt;DataItem z:Id=&quot;19&quot;&gt;&#10;      &lt;Point&gt;5&lt;/Point&gt;&#10;      &lt;Series&gt;1&lt;/Series&gt;&#10;      &lt;Value&gt;0&lt;/Value&gt;&#10;    &lt;/DataItem&gt;&#10;    &lt;DataItem z:Id=&quot;20&quot;&gt;&#10;      &lt;Point&gt;6&lt;/Point&gt;&#10;      &lt;Series&gt;1&lt;/Series&gt;&#10;      &lt;Value&gt;0&lt;/Value&gt;&#10;    &lt;/DataItem&gt;&#10;    &lt;DataItem z:Id=&quot;21&quot;&gt;&#10;      &lt;Point&gt;7&lt;/Point&gt;&#10;      &lt;Series&gt;1&lt;/Series&gt;&#10;      &lt;Value&gt;0&lt;/Value&gt;&#10;    &lt;/DataItem&gt;&#10;    &lt;DataItem z:Id=&quot;22&quot;&gt;&#10;      &lt;Point&gt;8&lt;/Point&gt;&#10;      &lt;Series&gt;1&lt;/Series&gt;&#10;      &lt;Value&gt;0&lt;/Value&gt;&#10;    &lt;/DataItem&gt;&#10;    &lt;DataItem z:Id=&quot;23&quot;&gt;&#10;      &lt;Point&gt;9&lt;/Point&gt;&#10;      &lt;Series&gt;1&lt;/Series&gt;&#10;      &lt;Value&gt;0&lt;/Value&gt;&#10;    &lt;/DataItem&gt;&#10;    &lt;DataItem z:Id=&quot;24&quot;&gt;&#10;      &lt;Point&gt;10&lt;/Point&gt;&#10;      &lt;Series&gt;1&lt;/Series&gt;&#10;      &lt;Value&gt;0&lt;/Value&gt;&#10;    &lt;/DataItem&gt;&#10;    &lt;DataItem z:Id=&quot;25&quot;&gt;&#10;      &lt;Point&gt;11&lt;/Point&gt;&#10;      &lt;Series&gt;1&lt;/Series&gt;&#10;      &lt;Value&gt;0&lt;/Value&gt;&#10;    &lt;/DataItem&gt;&#10;    &lt;DataItem z:Id=&quot;26&quot;&gt;&#10;      &lt;Point&gt;12&lt;/Point&gt;&#10;      &lt;Series&gt;1&lt;/Series&gt;&#10;      &lt;Value&gt;0&lt;/Value&gt;&#10;    &lt;/DataItem&gt;&#10;  &lt;/_items&gt;&#10;&lt;/DataVault&gt;"/>
  <p:tag name="30EB0359-2070-4B1A-81A9-0AD31BE54E1B - 683BEC4B-A2E5-4F6F-A6B1-3F9180D032DC - VALUE" val="185.45"/>
  <p:tag name="30EB0359-2070-4B1A-81A9-0AD31BE54E1B - 683BEC4B-A2E5-4F6F-A6B1-3F9180D032DC - NAME" val="Value"/>
  <p:tag name="30EB0359-2070-4B1A-81A9-0AD31BE54E1B - 3B541DB6-9497-4C1C-865D-AE4324452429 - VALUE" val="185.45"/>
  <p:tag name="30EB0359-2070-4B1A-81A9-0AD31BE54E1B - 3B541DB6-9497-4C1C-865D-AE4324452429 - NAME" val="Value"/>
  <p:tag name="30EB0359-2070-4B1A-81A9-0AD31BE54E1B - FFC2FE90-CA1C-41A4-B610-045375F7F8BE - VALUE" val="185.45"/>
  <p:tag name="30EB0359-2070-4B1A-81A9-0AD31BE54E1B - FFC2FE90-CA1C-41A4-B610-045375F7F8BE - NAME" val="Value"/>
  <p:tag name="30EB0359-2070-4B1A-81A9-0AD31BE54E1B - 850446F9-CDB4-4476-85E1-E06175051301 - VALUE" val="185.45"/>
  <p:tag name="30EB0359-2070-4B1A-81A9-0AD31BE54E1B - 850446F9-CDB4-4476-85E1-E06175051301 - NAME" val="Value"/>
  <p:tag name="30EB0359-2070-4B1A-81A9-0AD31BE54E1B - 03A2A9C2-A222-4C1D-A794-526EE72483A6 - VALUE" val="185.45"/>
  <p:tag name="30EB0359-2070-4B1A-81A9-0AD31BE54E1B - 03A2A9C2-A222-4C1D-A794-526EE72483A6 - NAME" val="Value"/>
  <p:tag name="30EB0359-2070-4B1A-81A9-0AD31BE54E1B - FA544045-CF0E-4684-8BD9-34AD1998CB37 - VALUE" val="185.45"/>
  <p:tag name="30EB0359-2070-4B1A-81A9-0AD31BE54E1B - FA544045-CF0E-4684-8BD9-34AD1998CB37 - NAME" val="Value"/>
  <p:tag name="30EB0359-2070-4B1A-81A9-0AD31BE54E1B - 61102AC0-627D-4679-A245-72D2062C2441 - VALUE" val="185.45"/>
  <p:tag name="30EB0359-2070-4B1A-81A9-0AD31BE54E1B - 61102AC0-627D-4679-A245-72D2062C2441 - NAME" val="Value"/>
  <p:tag name="30EB0359-2070-4B1A-81A9-0AD31BE54E1B - 2737B837-4A93-4C59-8934-FB9B3E15B9EC - VALUE" val="185.45"/>
  <p:tag name="30EB0359-2070-4B1A-81A9-0AD31BE54E1B - 2737B837-4A93-4C59-8934-FB9B3E15B9EC - NAME" val="Value"/>
  <p:tag name="30EB0359-2070-4B1A-81A9-0AD31BE54E1B - 3EE33650-55C5-4D24-988E-C0061EE19015 - VALUE" val="185.45"/>
  <p:tag name="30EB0359-2070-4B1A-81A9-0AD31BE54E1B - 3EE33650-55C5-4D24-988E-C0061EE19015 - NAME" val="Value"/>
  <p:tag name="CUSTOMNUMBERFORMATS - MIO_CUSTOM_NUMBER_FORMAT_ARITHMETIC_OPERATION_ID" val="9e81e441-5750-4bfc-be6a-11e24187721f"/>
  <p:tag name="CUSTOMNUMBERFORMATS - MIO_CUSTOM_NUMBER_FORMAT_ID" val="00000000-0000-0000-0000-000000000000"/>
  <p:tag name=" - AUTOMATICLAYOUT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421d06c-5ace-418e-a7cd-aa405ce00ede"/>
  <p:tag name="MIO_EK" val="4222"/>
  <p:tag name="MIO_UPDATE" val="True"/>
  <p:tag name="MIO_VERSION" val="23.12.2016 13:44:50"/>
  <p:tag name="MIO_DBID" val="03A15726-3EEC-4C78-B02E-FB2A32054B2D"/>
  <p:tag name="MIO_LASTDOWNLOADED" val="11.05.2017 17:10:24"/>
  <p:tag name="MIO_OBJECTNAME" val="Matrix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Z"/>
  <p:tag name="EE4P_MAPWIZARD_HEADINGS" val="Admin 0"/>
  <p:tag name="EE4P_MAPWIZARD" val="Czech Republic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08.12.2016 18:13:55"/>
  <p:tag name="MIO_OBJECTNAME" val="Footnote"/>
  <p:tag name="MIO_LASTEDITORNAME" val="(Anja Mucha)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c6b5ad5-c51b-428c-9633-1a46b907b0e2"/>
  <p:tag name="MIO_EK" val="4223"/>
  <p:tag name="MIO_UPDATE" val="True"/>
  <p:tag name="MIO_VERSION" val="23.12.2016 13:44:55"/>
  <p:tag name="MIO_DBID" val="03A15726-3EEC-4C78-B02E-FB2A32054B2D"/>
  <p:tag name="MIO_LASTDOWNLOADED" val="11.05.2017 17:10:26"/>
  <p:tag name="MIO_OBJECTNAME" val="Matrix 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08.12.2016 18:13:55"/>
  <p:tag name="MIO_OBJECTNAME" val="Footnote"/>
  <p:tag name="MIO_LASTEDITORNAME" val="(Anja Mucha)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0"/>
  <p:tag name="EE4P_MAPWIZARD" val="Germany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9934cea-620b-4cec-a859-a6dcebe02ed9"/>
  <p:tag name="MIO_EK" val="4224"/>
  <p:tag name="MIO_UPDATE" val="True"/>
  <p:tag name="MIO_VERSION" val="23.12.2016 13:45:00"/>
  <p:tag name="MIO_DBID" val="03A15726-3EEC-4C78-B02E-FB2A32054B2D"/>
  <p:tag name="MIO_LASTDOWNLOADED" val="11.05.2017 17:10:27"/>
  <p:tag name="MIO_OBJECTNAME" val="Matrix 3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08.12.2016 18:13:55"/>
  <p:tag name="MIO_OBJECTNAME" val="Footnote"/>
  <p:tag name="MIO_LASTEDITORNAME" val="(Anja Mucha)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b017d4a-f1c9-4402-a4ff-eb65c1ddd735"/>
  <p:tag name="MIO_EK" val="4225"/>
  <p:tag name="MIO_UPDATE" val="True"/>
  <p:tag name="MIO_VERSION" val="23.12.2016 13:45:04"/>
  <p:tag name="MIO_DBID" val="03A15726-3EEC-4C78-B02E-FB2A32054B2D"/>
  <p:tag name="MIO_LASTDOWNLOADED" val="11.05.2017 17:10:29"/>
  <p:tag name="MIO_OBJECTNAME" val="Struktur 3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"/>
  <p:tag name="EE4P_MAPWIZARD" val="Denmark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08.12.2016 18:13:55"/>
  <p:tag name="MIO_OBJECTNAME" val="Footnote"/>
  <p:tag name="MIO_LASTEDITORNAME" val="(Anja Mucha)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db5c52-be94-46b7-82ca-add8ae115c6a"/>
  <p:tag name="MIO_EK" val="4226"/>
  <p:tag name="MIO_UPDATE" val="True"/>
  <p:tag name="MIO_VERSION" val="23.12.2016 13:45:09"/>
  <p:tag name="MIO_DBID" val="03A15726-3EEC-4C78-B02E-FB2A32054B2D"/>
  <p:tag name="MIO_LASTDOWNLOADED" val="11.05.2017 17:10:31"/>
  <p:tag name="MIO_OBJECTNAME" val="Status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08.12.2016 18:13:55"/>
  <p:tag name="MIO_OBJECTNAME" val="Footnote"/>
  <p:tag name="MIO_LASTEDITORNAME" val="(Anja Mucha)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8b2738f-ae46-4ee9-9d5d-2bf85862cb61"/>
  <p:tag name="MIO_EK" val="4227"/>
  <p:tag name="MIO_UPDATE" val="True"/>
  <p:tag name="MIO_VERSION" val="23.12.2016 13:45:14"/>
  <p:tag name="MIO_DBID" val="03A15726-3EEC-4C78-B02E-FB2A32054B2D"/>
  <p:tag name="MIO_LASTDOWNLOADED" val="11.05.2017 17:10:33"/>
  <p:tag name="MIO_OBJECTNAME" val="Matrix Kreislauf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08.12.2016 18:13:55"/>
  <p:tag name="MIO_OBJECTNAME" val="Footnote"/>
  <p:tag name="MIO_LASTEDITORNAME" val="(Anja Mucha)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9965231-2069-45ea-b691-85a8d817987c"/>
  <p:tag name="MIO_EK" val="4229"/>
  <p:tag name="MIO_UPDATE" val="True"/>
  <p:tag name="MIO_VERSION" val="23.12.2016 13:45:24"/>
  <p:tag name="MIO_DBID" val="03A15726-3EEC-4C78-B02E-FB2A32054B2D"/>
  <p:tag name="MIO_LASTDOWNLOADED" val="11.05.2017 17:10:36"/>
  <p:tag name="MIO_OBJECTNAME" val="Transf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"/>
  <p:tag name="EE4P_MAPWIZARD" val="Denmark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08.12.2016 18:13:55"/>
  <p:tag name="MIO_OBJECTNAME" val="Footnote"/>
  <p:tag name="MIO_LASTEDITORNAME" val="(Anja Mucha)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5a458a-3cde-4846-985c-2f921aa7d116"/>
  <p:tag name="MIO_EK_DESIGN" val="1698"/>
  <p:tag name="MIO_VERSION_DESIGN" val="11.11.2015 15:06:08"/>
  <p:tag name="MIO_DBID_DESIGN" val="DA956698-03D7-4184-9B56-54A283825BF7"/>
  <p:tag name="MIO_EK" val="3153"/>
  <p:tag name="MIO_UPDATE" val="True"/>
  <p:tag name="MIO_VERSION" val="18.07.2016 16:17:09"/>
  <p:tag name="MIO_DBID" val="03A15726-3EEC-4C78-B02E-FB2A32054B2D"/>
  <p:tag name="MIO_LASTDOWNLOADED" val="11.05.2017 17:10:50"/>
  <p:tag name="MIO_OBJECTNAME" val="Pie chart"/>
  <p:tag name="MIO_LASTEDITORNAME" val="(Anja Mucha)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KZWPUFFEmct_Om25pFT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ZKpvf3RUiDUGYAyAoAK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HWG7KnRky.vvxDe0gn5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Ihz_ut.UKUf27siWCpU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Zqx2T2YEOe9G.0apOJp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RIFi85yE6tSwpVCrCtc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xXRObZZU2ZXx.ygnZt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0"/>
  <p:tag name="EE4P_MAPWIZARD" val="Cypru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"/>
  <p:tag name="EE4P_MAPWIZARD" val="Spai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CAHC8QNEuIdtXamxN8s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S5lpKMPE6ZuHEZHXlW9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TN8K2O1UeH8fxoPROEg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Cmf8bGikCMvfFV7Xy6P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ZskWGIPUCM.UbMvr_Ey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v5kzxzJU.Ay4VZFqBey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.fDMO1hkWepa81.k7ie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Zh2fOwNEiEe_K_lAKpj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Lb7_xKO0aC2hZi46YY.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9brJt27UOvrrdAwhwU9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"/>
  <p:tag name="EE4P_MAPWIZARD" val="Spain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qWE4h7NkGMWw2yMKfpV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KzS651n06JGUpULN9Lh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dd3lna7ES2ptwNw1HKV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_7N5WEdE.QkAltGyw60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hdZeBBZUit7S5t3pjO7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zJbLTeTEaL19d5IaTC5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NzUzO5GUOypI3t6JRTV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LDL775EKW6O9jbLmAw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cDV4LH7Eu8s2UAHWwTz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BcsM53GU6Ub1DWdYQY6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E"/>
  <p:tag name="EE4P_MAPWIZARD_HEADINGS" val="Admin 0"/>
  <p:tag name="EE4P_MAPWIZARD" val="Estoni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2C6jLk0W_IH_FDafzB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_5WHHOl0C63PTSFpBRD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f425eb-0e4b-436f-b96b-1552dee068ec"/>
  <p:tag name="MIO_EK" val="1327"/>
  <p:tag name="MIO_UPDATE" val="True"/>
  <p:tag name="MIO_VERSION" val="03.06.2014 12:32:08"/>
  <p:tag name="MIO_DBID" val="DA956698-03D7-4184-9B56-54A283825BF7"/>
  <p:tag name="MIO_LASTDOWNLOADED" val="03.06.2014 18:10:39"/>
  <p:tag name="MIO_OBJECTNAME" val="Footnote"/>
  <p:tag name="MIO_LASTEDITORNAME" val="(empower enterprise)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7c0df2d-be0b-47f1-a9d6-ea2531128149"/>
  <p:tag name="MIO_EK_DESIGN" val="1698"/>
  <p:tag name="MIO_VERSION_DESIGN" val="11.11.2015 15:06:08"/>
  <p:tag name="MIO_DBID_DESIGN" val="DA956698-03D7-4184-9B56-54A283825BF7"/>
  <p:tag name="MIO_EK" val="3154"/>
  <p:tag name="MIO_UPDATE" val="True"/>
  <p:tag name="MIO_VERSION" val="18.07.2016 16:21:34"/>
  <p:tag name="MIO_DBID" val="03A15726-3EEC-4C78-B02E-FB2A32054B2D"/>
  <p:tag name="MIO_LASTDOWNLOADED" val="11.05.2017 17:10:52"/>
  <p:tag name="MIO_OBJECTNAME" val="Gantt"/>
  <p:tag name="MIO_LASTEDITORNAME" val="Anja Much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wdv0S.Tk6ROP9bpNmz1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tff.HbW0W1cXP92P9a4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YkZL57UUKI8Ttu8AZRY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9PObnCj0mv7_jNMXYCW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OvvXPt5UGiAz60jbp6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0"/>
  <p:tag name="EE4P_MAPWIZARD" val="Finland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ZMofdMPU6jZp_BEf8dP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dqXS_Z.0C4ebx_UQ5aU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Ezf.x5iUWea3AC_ru5C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ZKiB0hmU6oAQmZuk_ay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ewoUrg8EuD8CZb_Vthr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FBzGnMhE2SQY620dNqJ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NGMJFciEKxtTMI.UPi9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oJUncW4k.tVjtQX21.m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pkt4Ea6UeoHD9oU9EYL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OrrnFaTkiLU7yKHrrXm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"/>
  <p:tag name="EE4P_MAPWIZARD" val="Franc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ADhe_IGk.UxEnlSoYvT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sW3TL8JEm9Y5U52w4.g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NPrjnt0EWi2idU1ZWw8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XMLhwDZEis2xuIT0njH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7pqPcQlUuYz9H10tTnn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bsQwK_TkyUnRB6FyIDx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ZHFKlUO0y7LHJlEZItE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dplunagUivWjHysu1Vm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zOwZfezEWMySxV5vi36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fEvslRukOiowkyvWn.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B"/>
  <p:tag name="EE4P_MAPWIZARD_HEADINGS" val="Admin 0"/>
  <p:tag name="EE4P_MAPWIZARD" val="United Kingdom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MkO6s0WUZHrK8ah_i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CPKgwaWkebRvBKqCwsn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mdttathUC2bGbKgrUS5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B.mqMReE.crmtKR.3vJ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j0mXX6Rk64o_iJAJxoU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FhNJwYXEqDpaiDeoCQ3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cCspWdDU.iw0B6YAQD_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qx_9lOLUWpUTG6M1EIr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PFJ_bxV0aCIMCjyyFw9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yrsbPBlE.kP4BaO74y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R"/>
  <p:tag name="EE4P_MAPWIZARD_HEADINGS" val="Admin 0"/>
  <p:tag name="EE4P_MAPWIZARD" val="Greec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_ttUpPyUuKOtEktlBEc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EHMrLZy02WYn4SbuxK4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2hAgc6HUamZU62aMGfl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8uoV3mKkKR1iHh5lKu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L5_6DhPU25tRxgR9xua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YLse_eekWJdz7aX4vJX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09Qw28o0y4d_ujdpkbQ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f425eb-0e4b-436f-b96b-1552dee068ec"/>
  <p:tag name="MIO_EK" val="1327"/>
  <p:tag name="MIO_UPDATE" val="True"/>
  <p:tag name="MIO_VERSION" val="03.06.2014 12:32:08"/>
  <p:tag name="MIO_DBID" val="DA956698-03D7-4184-9B56-54A283825BF7"/>
  <p:tag name="MIO_LASTDOWNLOADED" val="03.06.2014 18:10:03"/>
  <p:tag name="MIO_OBJECTNAME" val="Footnote"/>
  <p:tag name="MIO_LASTEDITORNAME" val="(empower enterprise)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c27ca09-5035-4c7c-9deb-22e04b8752a8"/>
  <p:tag name="MIO_EK_DESIGN" val="1698"/>
  <p:tag name="MIO_VERSION_DESIGN" val="11.11.2015 15:06:08"/>
  <p:tag name="MIO_DBID_DESIGN" val="DA956698-03D7-4184-9B56-54A283825BF7"/>
  <p:tag name="MIO_EK" val="3155"/>
  <p:tag name="MIO_UPDATE" val="True"/>
  <p:tag name="MIO_VERSION" val="18.07.2016 16:22:00"/>
  <p:tag name="MIO_DBID" val="03A15726-3EEC-4C78-B02E-FB2A32054B2D"/>
  <p:tag name="MIO_LASTDOWNLOADED" val="11.05.2017 17:10:56"/>
  <p:tag name="MIO_OBJECTNAME" val="Mixed type"/>
  <p:tag name="MIO_LASTEDITORNAME" val="Anja Much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R"/>
  <p:tag name="EE4P_MAPWIZARD_HEADINGS" val="Admin 0"/>
  <p:tag name="EE4P_MAPWIZARD" val="Croati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S3lq2sJEWvRpDozJxE9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yhiuYMEku1AcWMFOWcC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8n6blKfUuxouUK6A9j8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XprXxJukKZJKFuTV_wA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3C75agbEWk_herntK1K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ayJ1rESUqGkfazCshBf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tjdm6ehkKbOpL6e4IbR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tZILyBGE.GTnMrmTtPo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UN.JDY3kCMRJw7vTj8Y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nGC7FdH0y3RjUlbeK5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U"/>
  <p:tag name="EE4P_MAPWIZARD_HEADINGS" val="Admin 0"/>
  <p:tag name="EE4P_MAPWIZARD" val="Hungary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NS.6Fng0C_BZ5jKpvEe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EFc8nPOEOGgjg9HtgG4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BkXfqXLE27G6s6FX_Gd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SG2yOKNkKN11gFhqY85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9LxjS1CESD_PLwsaYud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Qt.8wUJEGyANpQ03BeV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y3r3GX60C55LfqEfQaI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nSVHQzDEObSdcXzDvzu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tPZvVAW0aqcBPWqetdJ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wjdYB.7EqAi_IoVnsp5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E"/>
  <p:tag name="EE4P_MAPWIZARD_HEADINGS" val="Admin 0"/>
  <p:tag name="EE4P_MAPWIZARD" val="Ireland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qtKUyTeUeRZtIOCLXKy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jFlKKQAUSOBZ2fhyajR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nfNRpriUOkQwd43RDBU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iBLT2Q7EybN9hjlgkNw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TpPaxjt0q9Fy25AnRdu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aqiDsLEU26zJfWKSxND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vH1IDLZEufvJoLAGtBp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XZaHktYE6fTQWf3Iui0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r4qGqnmEqMVv0a7mBTR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u2r6O3ykm5Nz7jXkJJ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E"/>
  <p:tag name="EE4P_MAPWIZARD_HEADINGS" val="Admin 0"/>
  <p:tag name="EE4P_MAPWIZARD" val="Georg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S"/>
  <p:tag name="EE4P_MAPWIZARD_HEADINGS" val="Admin 0"/>
  <p:tag name="EE4P_MAPWIZARD" val="Iceland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Ks9znEzECIAyWKXtzWk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DZwhNOjE6TweJQK5R.r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GB7q_8c0uGJXLXVSjK_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f425eb-0e4b-436f-b96b-1552dee068ec"/>
  <p:tag name="MIO_EK" val="1327"/>
  <p:tag name="MIO_UPDATE" val="True"/>
  <p:tag name="MIO_VERSION" val="03.06.2014 12:32:08"/>
  <p:tag name="MIO_DBID" val="DA956698-03D7-4184-9B56-54A283825BF7"/>
  <p:tag name="MIO_LASTDOWNLOADED" val="03.06.2014 18:13:10"/>
  <p:tag name="MIO_OBJECTNAME" val="Footnote"/>
  <p:tag name="MIO_LASTEDITORNAME" val="(empower enterprise)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a9ea93-ad06-4002-babb-0efd9ee81fd4"/>
  <p:tag name="MIO_EK_DESIGN" val="1698"/>
  <p:tag name="MIO_VERSION_DESIGN" val="11.11.2015 15:06:08"/>
  <p:tag name="MIO_DBID_DESIGN" val="DA956698-03D7-4184-9B56-54A283825BF7"/>
  <p:tag name="MIO_EK" val="3156"/>
  <p:tag name="MIO_UPDATE" val="True"/>
  <p:tag name="MIO_VERSION" val="18.07.2016 16:22:17"/>
  <p:tag name="MIO_DBID" val="03A15726-3EEC-4C78-B02E-FB2A32054B2D"/>
  <p:tag name="MIO_LASTDOWNLOADED" val="11.05.2017 17:10:59"/>
  <p:tag name="MIO_OBJECTNAME" val="Combination"/>
  <p:tag name="MIO_LASTEDITORNAME" val="Anja Much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c3a888106parJK3KfAc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K5mXd9kUeR27y_bYjZJ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.63tUXw0Kih8z78kaYi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o9EZJDkUGOacfAhkUvQ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"/>
  <p:tag name="EE4P_MAPWIZARD" val="Italy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FI88AJx0udY8PF5CBS2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94IBdn2Eeejd321FbAY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oDdfyKTU6ovmCJ9fAyK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OqdLwwhkClTACHcd913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g8o.Lb7UKfXPGuaJY5X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9RDUt7AUmP8XowJpo8f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7bxXIkKkmr2IB7iXRL6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6pUWT5LEqvWADMZnOh1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RE0ihLSE6MM_g9AzaIg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x_0FEqb0K83_izifjr2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M"/>
  <p:tag name="EE4P_MAPWIZARD_HEADINGS" val="Admin 0"/>
  <p:tag name="EE4P_MAPWIZARD" val="San Marino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f425eb-0e4b-436f-b96b-1552dee068ec"/>
  <p:tag name="MIO_EK" val="1327"/>
  <p:tag name="MIO_UPDATE" val="True"/>
  <p:tag name="MIO_VERSION" val="03.06.2014 12:32:08"/>
  <p:tag name="MIO_DBID" val="DA956698-03D7-4184-9B56-54A283825BF7"/>
  <p:tag name="MIO_LASTDOWNLOADED" val="03.06.2014 18:12:32"/>
  <p:tag name="MIO_OBJECTNAME" val="Footnote"/>
  <p:tag name="MIO_LASTEDITORNAME" val="(empower enterprise)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2cd93e4-f748-4740-b758-a3ba42226e23"/>
  <p:tag name="MIO_EK_DESIGN" val="1698"/>
  <p:tag name="MIO_VERSION_DESIGN" val="11.11.2015 15:06:08"/>
  <p:tag name="MIO_DBID_DESIGN" val="DA956698-03D7-4184-9B56-54A283825BF7"/>
  <p:tag name="MIO_EK" val="3157"/>
  <p:tag name="MIO_UPDATE" val="True"/>
  <p:tag name="MIO_VERSION" val="18.07.2016 16:22:31"/>
  <p:tag name="MIO_DBID" val="03A15726-3EEC-4C78-B02E-FB2A32054B2D"/>
  <p:tag name="MIO_LASTDOWNLOADED" val="11.05.2017 17:11:01"/>
  <p:tag name="MIO_OBJECTNAME" val="Bubble"/>
  <p:tag name="MIO_LASTEDITORNAME" val="Anja Much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mojHpC4kWOoA8.6tZeb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PwoVypDUy69TSp7sIEM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J4Z4Phwke7ekGs9AxwJ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iODnJFQaSBOY2QUQPEu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wLN94xTEu9TkjTCcWXy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nilyoNQXOF1YJcIKge7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g9b.oNStyJxuO9omlBB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K"/>
  <p:tag name="EE4P_MAPWIZARD_HEADINGS" val="Admin 0"/>
  <p:tag name="EE4P_MAPWIZARD" val="Kosovo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o_o3BeQOG_moRd_JE1c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_gBQFwRva41Y.bqK8Rs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mOKet.RVO7pmWTSZxXt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QYO6.9iU6rjEQ0GEq.U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4QQiZKc0y0jqSJU7dCP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EKFh6PUU6BKQ8r7GkYa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U5gI8YmkqeucxFMnNwD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.IWgiyoE6ivM9GVR9qx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xq9AbtJ06Efj6JqP8iC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d1Z99A6EuGfabt3_0g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I"/>
  <p:tag name="EE4P_MAPWIZARD_HEADINGS" val="Admin 0"/>
  <p:tag name="EE4P_MAPWIZARD" val="Liechtenstein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kQQAeK2UOjz9PHnRVBC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Fjq7kE2EiorOQ0am2Ca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hYyfVk80GUC3NQw6Fxn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7wxeorRJuIFtqL0Q2tZ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8sWN1Et02bOii9ovMsx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P_fkfbzkembXlv7Q1Dw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Wds51CJkazp4HyPE9fq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qp6OaXbkiCCteKymRhQ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6lqos0KU._HVSLRtSo0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5t_EXVlUytE7Af7Rci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T"/>
  <p:tag name="EE4P_MAPWIZARD_HEADINGS" val="Admin 0"/>
  <p:tag name="EE4P_MAPWIZARD" val="Lithuani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phqTOATEKpoOfM35UNg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HGElbxPkWqX97iqW5xt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_IjIl4v0a1BEPZyJQC2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7dSo4Do0SYq9oThmmPX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JsRTGKKUGOe441.Ax0f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nSePhIhkOIV0FkHxZHH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O682CBEE.sRqWBl5u1D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GDYnyZU0Sm3Hhdcy7pA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Xq4MK9UaNmHdhUPpni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fp5kueM0OuY3EhzlL7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U"/>
  <p:tag name="EE4P_MAPWIZARD_HEADINGS" val="Admin 0"/>
  <p:tag name="EE4P_MAPWIZARD" val="Luxembour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GQwEtyrkqRxSm6GoIG1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NPpzM900G4iV.s9FKnI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gryb.s06RhUOkT0vFm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f425eb-0e4b-436f-b96b-1552dee068ec"/>
  <p:tag name="MIO_EK" val="1327"/>
  <p:tag name="MIO_UPDATE" val="True"/>
  <p:tag name="MIO_VERSION" val="03.06.2014 12:32:08"/>
  <p:tag name="MIO_DBID" val="DA956698-03D7-4184-9B56-54A283825BF7"/>
  <p:tag name="MIO_LASTDOWNLOADED" val="03.06.2014 18:11:43"/>
  <p:tag name="MIO_OBJECTNAME" val="Footnote"/>
  <p:tag name="MIO_LASTEDITORNAME" val="(empower enterprise)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31988c-532c-4e13-9294-ca09abb10749"/>
  <p:tag name="MIO_EK_DESIGN" val="1698"/>
  <p:tag name="MIO_VERSION_DESIGN" val="11.11.2015 15:06:08"/>
  <p:tag name="MIO_DBID_DESIGN" val="DA956698-03D7-4184-9B56-54A283825BF7"/>
  <p:tag name="MIO_EK" val="3158"/>
  <p:tag name="MIO_UPDATE" val="True"/>
  <p:tag name="MIO_VERSION" val="18.07.2016 16:23:42"/>
  <p:tag name="MIO_DBID" val="03A15726-3EEC-4C78-B02E-FB2A32054B2D"/>
  <p:tag name="MIO_LASTDOWNLOADED" val="11.05.2017 17:11:03"/>
  <p:tag name="MIO_OBJECTNAME" val="Line"/>
  <p:tag name="MIO_LASTEDITORNAME" val="Anja Much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6vf_Hw_0GAPO52kH5oe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IRpIQ3D0.fhx8RNgB4Y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3zXPieTRir__2umbMQu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05Yb1vT1OEaaSwR7Gej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V"/>
  <p:tag name="EE4P_MAPWIZARD_HEADINGS" val="Admin 0"/>
  <p:tag name="EE4P_MAPWIZARD" val="Latvi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Aw8fiJQ8aV7EUyYcuSi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Hrg_.OTOCJ_4Mg_6EAk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_aZC24RuCox3loP.ZMs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.TxDh3QSywQfUOeujRk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S.XmtDQ5CJ14cbnZx1f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2m8Z9uSvihDjT5XGzPl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LG1IqFRSuQyEhXiSkn0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ytecPkRRannLaoLEkkg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6ld7ZRTzur.pURHDWrg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ICLhUwSg6HhVc.7LzhP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C"/>
  <p:tag name="EE4P_MAPWIZARD_HEADINGS" val="Admin 0"/>
  <p:tag name="EE4P_MAPWIZARD" val="Monaco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qFdKBjSSyhBsAHxGibJ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IQB.ccS8qvgFAynUKUB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fHyRWuR9COkbcvzgqXV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OvGyLqSEy.jGGQstR4X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y7xXQ8lkeINqXjBaoAs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4GDrpAq0SMR90llB2c2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OCszCyl0GXIWY3JFqN9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nmEpwdH0yUigLCMgazB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QHn71DM0ysZ4lGBPKI8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oXZAIl90ut7G2FS_vcp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D"/>
  <p:tag name="EE4P_MAPWIZARD_HEADINGS" val="Admin 0"/>
  <p:tag name="EE4P_MAPWIZARD" val="Moldov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FHC0tYrkaqcsESGoEGT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jB5SonPEu8xaBi60bRV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GWhEZW10CXo402hh5ZE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Ca9rmfYUaimhLkF5FlG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IN3VF4NkGGLyYaMQy6.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Zr_3Rv30aCpR6Qs_Myq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TYWOSYmkaCzvomiIoXR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sCVdaHJEGxAaenSyQrF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U8QRw4yEmDpCMu7KZAU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lSqukN_EiAGuzYX_2D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Q"/>
  <p:tag name="EE4P_MAPWIZARD_HEADINGS" val="Admin 0"/>
  <p:tag name="EE4P_MAPWIZARD" val="Ir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K"/>
  <p:tag name="EE4P_MAPWIZARD_HEADINGS" val="Admin 0"/>
  <p:tag name="EE4P_MAPWIZARD" val="Macedoni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f425eb-0e4b-436f-b96b-1552dee068ec"/>
  <p:tag name="MIO_EK" val="1327"/>
  <p:tag name="MIO_UPDATE" val="True"/>
  <p:tag name="MIO_VERSION" val="03.06.2014 12:32:08"/>
  <p:tag name="MIO_DBID" val="DA956698-03D7-4184-9B56-54A283825BF7"/>
  <p:tag name="MIO_LASTDOWNLOADED" val="03.06.2014 18:07:01"/>
  <p:tag name="MIO_OBJECTNAME" val="Footnote"/>
  <p:tag name="MIO_LASTEDITORNAME" val="(empower enterprise)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2379268-1aea-4b1b-8070-c5f1403b8313"/>
  <p:tag name="MIO_EK_DESIGN" val="1698"/>
  <p:tag name="MIO_VERSION_DESIGN" val="11.11.2015 15:06:08"/>
  <p:tag name="MIO_DBID_DESIGN" val="DA956698-03D7-4184-9B56-54A283825BF7"/>
  <p:tag name="MIO_EK" val="3159"/>
  <p:tag name="MIO_UPDATE" val="True"/>
  <p:tag name="MIO_VERSION" val="18.07.2016 16:24:28"/>
  <p:tag name="MIO_DBID" val="03A15726-3EEC-4C78-B02E-FB2A32054B2D"/>
  <p:tag name="MIO_LASTDOWNLOADED" val="11.05.2017 17:11:06"/>
  <p:tag name="MIO_OBJECTNAME" val="Colums stucked 100%"/>
  <p:tag name="MIO_LASTEDITORNAME" val="Anja Much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0G2oEIvk24BnEn3Gd60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.kf78FCk6zmo5aG5QcO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jvoT2RmEyRDlT3HpnyN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HNr8azsUaitkNzaKk9T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qUA68P8EqcJJUuHDquC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.XLliXqUeZAMlp48Q55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LX.YaSxkeDq_QU6Te.S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0"/>
  <p:tag name="EE4P_MAPWIZARD" val="Malt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kgPvN9HE6cKPlVm83ny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wTTTDTBkmL1v0lkIXJt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TH6RvOqUqkbhBO91zWy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BcoTUuikyGzCxYzfjDa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JAoi14UkGj1U0cAzOzc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P_FHzHrECPXbY5oq3H3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v3Rx.wU0OFQdLXsdKeS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f425eb-0e4b-436f-b96b-1552dee068ec"/>
  <p:tag name="MIO_EK" val="1327"/>
  <p:tag name="MIO_UPDATE" val="True"/>
  <p:tag name="MIO_VERSION" val="03.06.2014 12:32:08"/>
  <p:tag name="MIO_DBID" val="DA956698-03D7-4184-9B56-54A283825BF7"/>
  <p:tag name="MIO_LASTDOWNLOADED" val="03.06.2014 18:06:41"/>
  <p:tag name="MIO_OBJECTNAME" val="Footnote"/>
  <p:tag name="MIO_LASTEDITORNAME" val="(empower enterprise)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62ab1f1-ea0e-4712-81af-7f2884d09df7"/>
  <p:tag name="MIO_EK_DESIGN" val="1698"/>
  <p:tag name="MIO_VERSION_DESIGN" val="11.11.2015 15:06:08"/>
  <p:tag name="MIO_DBID_DESIGN" val="DA956698-03D7-4184-9B56-54A283825BF7"/>
  <p:tag name="MIO_EK" val="3160"/>
  <p:tag name="MIO_UPDATE" val="True"/>
  <p:tag name="MIO_VERSION" val="18.07.2016 16:24:44"/>
  <p:tag name="MIO_DBID" val="03A15726-3EEC-4C78-B02E-FB2A32054B2D"/>
  <p:tag name="MIO_LASTDOWNLOADED" val="11.05.2017 17:11:16"/>
  <p:tag name="MIO_OBJECTNAME" val="Colums stucked"/>
  <p:tag name="MIO_LASTEDITORNAME" val="Anja Much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0"/>
  <p:tag name="EE4P_MAPWIZARD" val="Malt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FABKuD7ESl8SmhJkhPR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tYJk8wyE.bKr8PThuRx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xIT_lIwE6ffoG9QSqXn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znA7EBCEuZFU5_lwh4y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9h4Pu4IkKQ.pmDXjOJw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bwqs2rkeojJHEU8QX5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RwxvU850eQO0DFluHYV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muVBLXcUWDlLSvnSrV8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6z.KJhcEehLrOVswjAu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BOKHirNkOb8iqdmpCEA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E"/>
  <p:tag name="EE4P_MAPWIZARD_HEADINGS" val="Admin 0"/>
  <p:tag name="EE4P_MAPWIZARD" val="Montenegro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I1Q1NNL02k4kBQ83uQV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.VdbQagEyBZ4SauSyPw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yfqNeGxEKHVNITh74Wu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KMkIPaJECO_hh.2.cQ8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f425eb-0e4b-436f-b96b-1552dee068ec"/>
  <p:tag name="MIO_EK" val="1327"/>
  <p:tag name="MIO_UPDATE" val="True"/>
  <p:tag name="MIO_VERSION" val="03.06.2014 12:32:08"/>
  <p:tag name="MIO_DBID" val="DA956698-03D7-4184-9B56-54A283825BF7"/>
  <p:tag name="MIO_LASTDOWNLOADED" val="03.06.2014 18:03:54"/>
  <p:tag name="MIO_OBJECTNAME" val="Footnote"/>
  <p:tag name="MIO_LASTEDITORNAME" val="(empower enterprise)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41d07ad-84e6-41f4-81e9-b1df6d21fa5e"/>
  <p:tag name="MIO_EK_DESIGN" val="1698"/>
  <p:tag name="MIO_VERSION_DESIGN" val="11.11.2015 15:06:08"/>
  <p:tag name="MIO_DBID_DESIGN" val="DA956698-03D7-4184-9B56-54A283825BF7"/>
  <p:tag name="MIO_EK" val="3161"/>
  <p:tag name="MIO_UPDATE" val="True"/>
  <p:tag name="MIO_VERSION" val="18.07.2016 16:24:56"/>
  <p:tag name="MIO_DBID" val="03A15726-3EEC-4C78-B02E-FB2A32054B2D"/>
  <p:tag name="MIO_LASTDOWNLOADED" val="11.05.2017 17:11:19"/>
  <p:tag name="MIO_OBJECTNAME" val="Areas"/>
  <p:tag name="MIO_LASTEDITORNAME" val="Anja Much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D0jt8Dt0iJLZ2Gxn3W4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YpWRgndEW1qUFUf1HZs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dVcmvsQdyHxFdHedJix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L"/>
  <p:tag name="EE4P_MAPWIZARD_HEADINGS" val="Admin 0"/>
  <p:tag name="EE4P_MAPWIZARD" val="Netherlands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.7F_IWRVuciMf8J5n9w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kLNaMeTHGF5LHNDywpA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H.NWhUQQqB_HYjgyZQy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kNXmZlQ26ITzQH1i4uk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3E.dXuQ6OUG9ytO_7Eb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fg3bXfQYu132uCu3ZFh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koWb4aS7K07sH4nCtd9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peSUU0QhWzNQpGOnybS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09zOOKQrG9ETfsoQuj8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kAbDKhSgy4ee3r93g0P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0"/>
  <p:tag name="EE4P_MAPWIZARD" val="Norway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BC2pL3S6.0i3CKWE83j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d3K9vsQkS6UHHYMioby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7kuH4AW0e_Sy.v9dvhw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GQWAw0D0SMicu7Afr9U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g.aOiF7k2GBLmcUOqDX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dyFnKj6kmQk2xQHGhhr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cEgLVnB0OZNzZuXmNGu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uuBEU.UESlvcs5n2Rxi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_4yeB3sku.G5Y3m3r8z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c3w2ruy0G7xAdr8FROF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L"/>
  <p:tag name="EE4P_MAPWIZARD_HEADINGS" val="Admin 0"/>
  <p:tag name="EE4P_MAPWIZARD" val="Poland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lMOd4rOE.ReLW8rBzj4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0mn22OE0GnohTBghrTY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aPxPVGekSbOz9y0Duut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kZ0dvgTUaR2Sumbmj0N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b5QvxdUU6F9u3Vw3jmd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9nOK7enkm8LegMPLuu_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920GiCwkyRsvj0Y5fI_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z_KbJmg0mxL9xRLI6Se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f425eb-0e4b-436f-b96b-1552dee068ec"/>
  <p:tag name="MIO_EK" val="1327"/>
  <p:tag name="MIO_UPDATE" val="True"/>
  <p:tag name="MIO_VERSION" val="03.06.2014 12:32:08"/>
  <p:tag name="MIO_DBID" val="DA956698-03D7-4184-9B56-54A283825BF7"/>
  <p:tag name="MIO_LASTDOWNLOADED" val="03.06.2014 18:09:27"/>
  <p:tag name="MIO_OBJECTNAME" val="Footnote"/>
  <p:tag name="MIO_LASTEDITORNAME" val="(empower enterprise)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76b51d-7a1e-485a-b1ce-f8a7916678a8"/>
  <p:tag name="MIO_EK_DESIGN" val="1698"/>
  <p:tag name="MIO_VERSION_DESIGN" val="11.11.2015 15:06:08"/>
  <p:tag name="MIO_DBID_DESIGN" val="DA956698-03D7-4184-9B56-54A283825BF7"/>
  <p:tag name="MIO_EK" val="3162"/>
  <p:tag name="MIO_UPDATE" val="True"/>
  <p:tag name="MIO_VERSION" val="18.07.2016 16:26:18"/>
  <p:tag name="MIO_DBID" val="03A15726-3EEC-4C78-B02E-FB2A32054B2D"/>
  <p:tag name="MIO_LASTDOWNLOADED" val="11.05.2017 17:11:21"/>
  <p:tag name="MIO_OBJECTNAME" val="Mekko"/>
  <p:tag name="MIO_LASTEDITORNAME" val="Anja Muc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T"/>
  <p:tag name="EE4P_MAPWIZARD_HEADINGS" val="Admin 0"/>
  <p:tag name="EE4P_MAPWIZARD" val="Portugal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LpGenP_k64rijg1Q6aj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VGqAcK.E2QGHrugBV2N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460rvUCmZxqXW5aXh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RzGjOKTk..0ad6LNiXv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q_mW0ZNU.237gLfjXOe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cTg5xeqkmjPnU3bdEZT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2zqrmsx02bVeuUXnEjt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qRWmb3hUierzeEVUqoU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OXjLvfOU.gIhyxppBdx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O"/>
  <p:tag name="EE4P_MAPWIZARD_HEADINGS" val="Admin 0"/>
  <p:tag name="EE4P_MAPWIZARD" val="Romani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eCoCscc0ibV8gv1wVGB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g2RxFhYEaIZVSHmOGXK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NySXx8kCn_OoH2stXh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OzM_9ErkatEcBbmO8aF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RBc5V3WEaqVefw_zrDK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IM1rXCrkW8OWvxOxJqU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BroSLxME.HfVrcI3Ce2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gMQGAy4Eu.VKdC7m81V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BzbmZiLEOLrJenrDyaH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vVe0x9HEmUOJydQCzZZ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"/>
  <p:tag name="EE4P_MAPWIZARD" val="Italy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b9pT1hq0mxn89mBNBEn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jyQX8Ar0yNbc0F5ZCHj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9St.e86U.yCSZ4cHDAo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ipHAQelkOOleZtE7In8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DfvACd0E6LGgk1nLcJng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4wyNdEkaGibcLU.m96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utUezb4E.jsF531slZE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N3FFCYDUGVC1d5rAqy9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cqp9w2cEqpOFRlX0ybW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Lpv0mxhUOJgeexZ.w3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0"/>
  <p:tag name="EE4P_MAPWIZARD" val="Syri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S"/>
  <p:tag name="EE4P_MAPWIZARD_HEADINGS" val="Admin 0"/>
  <p:tag name="EE4P_MAPWIZARD" val="Republic of Serbi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wtG06OxEGqX8IE9ok2F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e8LY0p0E6_7OrtoYIuC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geI4mCyUSLH3fwgN6fy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f425eb-0e4b-436f-b96b-1552dee068ec"/>
  <p:tag name="MIO_EK" val="1327"/>
  <p:tag name="MIO_UPDATE" val="True"/>
  <p:tag name="MIO_VERSION" val="03.06.2014 12:32:08"/>
  <p:tag name="MIO_DBID" val="DA956698-03D7-4184-9B56-54A283825BF7"/>
  <p:tag name="MIO_LASTDOWNLOADED" val="03.06.2014 18:08:46"/>
  <p:tag name="MIO_OBJECTNAME" val="Footnote"/>
  <p:tag name="MIO_LASTEDITORNAME" val="(empower enterprise)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d670e6e-be76-455a-accf-b845adc19c1f"/>
  <p:tag name="MIO_EK_DESIGN" val="1698"/>
  <p:tag name="MIO_VERSION_DESIGN" val="11.11.2015 15:06:08"/>
  <p:tag name="MIO_DBID_DESIGN" val="DA956698-03D7-4184-9B56-54A283825BF7"/>
  <p:tag name="MIO_EK" val="3163"/>
  <p:tag name="MIO_UPDATE" val="True"/>
  <p:tag name="MIO_VERSION" val="18.07.2016 16:26:32"/>
  <p:tag name="MIO_DBID" val="03A15726-3EEC-4C78-B02E-FB2A32054B2D"/>
  <p:tag name="MIO_LASTDOWNLOADED" val="11.05.2017 17:11:23"/>
  <p:tag name="MIO_OBJECTNAME" val="Waterfall"/>
  <p:tag name="MIO_LASTEDITORNAME" val="Anja Much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CZKd1ZJ0G1.FAe209oI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QHH5wpZEupX.8Xa1Abc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OZAa2SwEqCbHC0umxTv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.0TwI8J0SGfMlpRQTFg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K"/>
  <p:tag name="EE4P_MAPWIZARD_HEADINGS" val="Admin 0"/>
  <p:tag name="EE4P_MAPWIZARD" val="Slovaki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n8ajQ.3kCjhlDb32WOr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Dw9tuRVkWRj_ie97UUs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EnPFWrxUuhy.HF3HhaM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u7rIwYoUqbtGRzNhlir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wGMnQ_sk._Pn2ijlvPB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SnzhWhXEeO94hFP7Ocx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f425eb-0e4b-436f-b96b-1552dee068ec"/>
  <p:tag name="MIO_EK" val="1327"/>
  <p:tag name="MIO_UPDATE" val="True"/>
  <p:tag name="MIO_VERSION" val="03.06.2014 12:32:08"/>
  <p:tag name="MIO_DBID" val="DA956698-03D7-4184-9B56-54A283825BF7"/>
  <p:tag name="MIO_LASTDOWNLOADED" val="03.06.2014 18:08:02"/>
  <p:tag name="MIO_OBJECTNAME" val="Footnote"/>
  <p:tag name="MIO_LASTEDITORNAME" val="(empower enterprise)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pB_9000k6_YnXOQNRXF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biGrVGlk.bBfrVKq3gn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FmOYVlxUm1I42kj4lZO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I"/>
  <p:tag name="EE4P_MAPWIZARD_HEADINGS" val="Admin 0"/>
  <p:tag name="EE4P_MAPWIZARD" val="Sloveni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TrvIvIeEeKk3yLcIF36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pjq83U0kWu21NEN9MuS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93liadykW61BBit1jMg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7d8e09-0ccd-462e-9bb9-965cea1715a0"/>
  <p:tag name="MIO_EK" val="4242"/>
  <p:tag name="MIO_UPDATE" val="True"/>
  <p:tag name="MIO_VERSION" val="09.01.2017 15:13:20"/>
  <p:tag name="MIO_DBID" val="03A15726-3EEC-4C78-B02E-FB2A32054B2D"/>
  <p:tag name="MIO_LASTDOWNLOADED" val="11.05.2017 16:50:23"/>
  <p:tag name="MIO_OBJECTNAME" val="Yen_blue"/>
  <p:tag name="MIO_LASTEDITORNAME" val="Anja Much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e7bb946-3d35-4844-8d90-6082d952b9c7"/>
  <p:tag name="MIO_EK" val="4245"/>
  <p:tag name="MIO_UPDATE" val="True"/>
  <p:tag name="MIO_VERSION" val="09.01.2017 15:14:07"/>
  <p:tag name="MIO_DBID" val="03A15726-3EEC-4C78-B02E-FB2A32054B2D"/>
  <p:tag name="MIO_LASTDOWNLOADED" val="11.05.2017 16:50:26"/>
  <p:tag name="MIO_OBJECTNAME" val="Pound_blue"/>
  <p:tag name="MIO_LASTEDITORNAME" val="Anja Much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0c47d7e-d835-4550-a907-2881480df574"/>
  <p:tag name="MIO_EK" val="4248"/>
  <p:tag name="MIO_UPDATE" val="True"/>
  <p:tag name="MIO_VERSION" val="09.01.2017 15:14:37"/>
  <p:tag name="MIO_DBID" val="03A15726-3EEC-4C78-B02E-FB2A32054B2D"/>
  <p:tag name="MIO_LASTDOWNLOADED" val="11.05.2017 16:50:30"/>
  <p:tag name="MIO_OBJECTNAME" val="Dollar_blue"/>
  <p:tag name="MIO_LASTEDITORNAME" val="Anja Much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ea4b8d-6892-425e-83ee-e57a31c54026"/>
  <p:tag name="MIO_EK" val="4260"/>
  <p:tag name="MIO_UPDATE" val="True"/>
  <p:tag name="MIO_VERSION" val="09.01.2017 15:22:38"/>
  <p:tag name="MIO_DBID" val="03A15726-3EEC-4C78-B02E-FB2A32054B2D"/>
  <p:tag name="MIO_LASTDOWNLOADED" val="11.05.2017 16:50:38"/>
  <p:tag name="MIO_OBJECTNAME" val="Paragraph_blue "/>
  <p:tag name="MIO_LASTEDITORNAME" val="Anja Much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fe7f272-c16e-4aec-be4c-e9d408fe232e"/>
  <p:tag name="MIO_EK" val="4261"/>
  <p:tag name="MIO_UPDATE" val="True"/>
  <p:tag name="MIO_VERSION" val="09.01.2017 15:22:41"/>
  <p:tag name="MIO_DBID" val="03A15726-3EEC-4C78-B02E-FB2A32054B2D"/>
  <p:tag name="MIO_LASTDOWNLOADED" val="11.05.2017 16:50:40"/>
  <p:tag name="MIO_OBJECTNAME" val="Paragraph_grey"/>
  <p:tag name="MIO_LASTEDITORNAME" val="Anja Much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48c0c5-1562-4161-ac02-696cb67556c8"/>
  <p:tag name="MIO_EK" val="4243"/>
  <p:tag name="MIO_UPDATE" val="True"/>
  <p:tag name="MIO_VERSION" val="09.01.2017 15:13:22"/>
  <p:tag name="MIO_DBID" val="03A15726-3EEC-4C78-B02E-FB2A32054B2D"/>
  <p:tag name="MIO_LASTDOWNLOADED" val="11.05.2017 16:50:48"/>
  <p:tag name="MIO_OBJECTNAME" val="Yen_grey"/>
  <p:tag name="MIO_LASTEDITORNAME" val="Anja Much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9579354-b39c-473c-a787-a31931528b69"/>
  <p:tag name="MIO_EK" val="4246"/>
  <p:tag name="MIO_UPDATE" val="True"/>
  <p:tag name="MIO_VERSION" val="09.01.2017 15:14:09"/>
  <p:tag name="MIO_DBID" val="03A15726-3EEC-4C78-B02E-FB2A32054B2D"/>
  <p:tag name="MIO_LASTDOWNLOADED" val="11.05.2017 16:50:52"/>
  <p:tag name="MIO_OBJECTNAME" val="Pound_grey"/>
  <p:tag name="MIO_LASTEDITORNAME" val="Anja Muc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E"/>
  <p:tag name="EE4P_MAPWIZARD_HEADINGS" val="Admin 0"/>
  <p:tag name="EE4P_MAPWIZARD" val="Sweden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3bbabc2-2927-4275-b810-64a4832b58f6"/>
  <p:tag name="MIO_EK" val="4249"/>
  <p:tag name="MIO_UPDATE" val="True"/>
  <p:tag name="MIO_VERSION" val="09.01.2017 15:14:39"/>
  <p:tag name="MIO_DBID" val="03A15726-3EEC-4C78-B02E-FB2A32054B2D"/>
  <p:tag name="MIO_LASTDOWNLOADED" val="11.05.2017 16:50:56"/>
  <p:tag name="MIO_OBJECTNAME" val="Dollar_grey"/>
  <p:tag name="MIO_LASTEDITORNAME" val="Anja Much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ba301d6-fa9a-403b-8d53-7f4a0da8573d"/>
  <p:tag name="MIO_EK" val="4244"/>
  <p:tag name="MIO_UPDATE" val="True"/>
  <p:tag name="MIO_VERSION" val="09.01.2017 15:13:24"/>
  <p:tag name="MIO_DBID" val="03A15726-3EEC-4C78-B02E-FB2A32054B2D"/>
  <p:tag name="MIO_LASTDOWNLOADED" val="11.05.2017 16:50:59"/>
  <p:tag name="MIO_OBJECTNAME" val="Yen_green"/>
  <p:tag name="MIO_LASTEDITORNAME" val="Anja Much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7d7e5d2-4ba0-4944-9554-4e8326a049d9"/>
  <p:tag name="MIO_EK" val="4247"/>
  <p:tag name="MIO_UPDATE" val="True"/>
  <p:tag name="MIO_VERSION" val="09.01.2017 15:14:11"/>
  <p:tag name="MIO_DBID" val="03A15726-3EEC-4C78-B02E-FB2A32054B2D"/>
  <p:tag name="MIO_LASTDOWNLOADED" val="11.05.2017 16:51:03"/>
  <p:tag name="MIO_OBJECTNAME" val="Pound_green"/>
  <p:tag name="MIO_LASTEDITORNAME" val="Anja Much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fdc7f54-929e-4120-9160-20ebdc59f8c0"/>
  <p:tag name="MIO_EK" val="4250"/>
  <p:tag name="MIO_UPDATE" val="True"/>
  <p:tag name="MIO_VERSION" val="09.01.2017 15:14:41"/>
  <p:tag name="MIO_DBID" val="03A15726-3EEC-4C78-B02E-FB2A32054B2D"/>
  <p:tag name="MIO_LASTDOWNLOADED" val="11.05.2017 16:51:05"/>
  <p:tag name="MIO_OBJECTNAME" val="Dollar_green"/>
  <p:tag name="MIO_LASTEDITORNAME" val="Anja Much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2bd4966-d22d-45bf-abb3-25a570b9a4cc"/>
  <p:tag name="MIO_EK" val="4262"/>
  <p:tag name="MIO_UPDATE" val="True"/>
  <p:tag name="MIO_VERSION" val="09.01.2017 15:22:42"/>
  <p:tag name="MIO_DBID" val="03A15726-3EEC-4C78-B02E-FB2A32054B2D"/>
  <p:tag name="MIO_LASTDOWNLOADED" val="11.05.2017 16:51:12"/>
  <p:tag name="MIO_OBJECTNAME" val="Paragraph_green"/>
  <p:tag name="MIO_LASTEDITORNAME" val="Anja Much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16a1a55-865c-461e-bca7-eefd2911f4c9"/>
  <p:tag name="MIO_EK" val="3204"/>
  <p:tag name="MIO_UPDATE" val="True"/>
  <p:tag name="MIO_VERSION" val="19.07.2016 16:48:45"/>
  <p:tag name="MIO_DBID" val="03A15726-3EEC-4C78-B02E-FB2A32054B2D"/>
  <p:tag name="MIO_LASTDOWNLOADED" val="11.05.2017 16:51:23"/>
  <p:tag name="MIO_OBJECTNAME" val="Geldsack_Money bag_blue"/>
  <p:tag name="MIO_LASTEDITORNAME" val="Anja Much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cd5c0f3-af4a-4d0a-9149-3f75c29c9dc9"/>
  <p:tag name="MIO_EK" val="3205"/>
  <p:tag name="MIO_UPDATE" val="True"/>
  <p:tag name="MIO_VERSION" val="19.07.2016 16:49:05"/>
  <p:tag name="MIO_DBID" val="03A15726-3EEC-4C78-B02E-FB2A32054B2D"/>
  <p:tag name="MIO_LASTDOWNLOADED" val="11.05.2017 16:51:25"/>
  <p:tag name="MIO_OBJECTNAME" val="Geldsack_Money bag_grey"/>
  <p:tag name="MIO_LASTEDITORNAME" val="Anja Much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a89f17d-b359-419d-b8f3-be1cd5f2bfb6"/>
  <p:tag name="MIO_EK" val="3206"/>
  <p:tag name="MIO_UPDATE" val="True"/>
  <p:tag name="MIO_VERSION" val="19.07.2016 16:49:36"/>
  <p:tag name="MIO_DBID" val="03A15726-3EEC-4C78-B02E-FB2A32054B2D"/>
  <p:tag name="MIO_LASTDOWNLOADED" val="11.05.2017 16:51:26"/>
  <p:tag name="MIO_OBJECTNAME" val="Geldsack_Money bag_green"/>
  <p:tag name="MIO_LASTEDITORNAME" val="Anja Much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f3f774b-dc29-4d8e-a178-ecdfc11bdf5c"/>
  <p:tag name="MIO_EK" val="3530"/>
  <p:tag name="MIO_UPDATE" val="True"/>
  <p:tag name="MIO_VERSION" val="21.07.2016 14:13:13"/>
  <p:tag name="MIO_DBID" val="03A15726-3EEC-4C78-B02E-FB2A32054B2D"/>
  <p:tag name="MIO_LASTDOWNLOADED" val="11.05.2017 16:51:32"/>
  <p:tag name="MIO_OBJECTNAME" val="Volksbank_blue"/>
  <p:tag name="MIO_LASTEDITORNAME" val="Anja Much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683d6b0-1fef-4826-9efa-75caddf2d997"/>
  <p:tag name="MIO_EK" val="3531"/>
  <p:tag name="MIO_UPDATE" val="True"/>
  <p:tag name="MIO_VERSION" val="21.07.2016 14:13:16"/>
  <p:tag name="MIO_DBID" val="03A15726-3EEC-4C78-B02E-FB2A32054B2D"/>
  <p:tag name="MIO_LASTDOWNLOADED" val="11.05.2017 16:51:33"/>
  <p:tag name="MIO_OBJECTNAME" val="Volksbank_grey"/>
  <p:tag name="MIO_LASTEDITORNAME" val="Anja Much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A"/>
  <p:tag name="EE4P_MAPWIZARD_HEADINGS" val="Admin 0"/>
  <p:tag name="EE4P_MAPWIZARD" val="Ukrain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0cb95c-2b1f-4ff8-afd0-28bc461b2f64"/>
  <p:tag name="MIO_EK" val="3532"/>
  <p:tag name="MIO_UPDATE" val="True"/>
  <p:tag name="MIO_VERSION" val="21.07.2016 14:13:19"/>
  <p:tag name="MIO_DBID" val="03A15726-3EEC-4C78-B02E-FB2A32054B2D"/>
  <p:tag name="MIO_LASTDOWNLOADED" val="11.05.2017 16:51:34"/>
  <p:tag name="MIO_OBJECTNAME" val="Volksbank_green"/>
  <p:tag name="MIO_LASTEDITORNAME" val="Anja Much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9a3638f-dcc7-4ec2-bfaa-c82bcd37a7bd"/>
  <p:tag name="MIO_EK" val="3201"/>
  <p:tag name="MIO_UPDATE" val="True"/>
  <p:tag name="MIO_VERSION" val="19.07.2016 14:20:48"/>
  <p:tag name="MIO_DBID" val="03A15726-3EEC-4C78-B02E-FB2A32054B2D"/>
  <p:tag name="MIO_LASTDOWNLOADED" val="11.05.2017 16:51:38"/>
  <p:tag name="MIO_OBJECTNAME" val="Euro_blue"/>
  <p:tag name="MIO_LASTEDITORNAME" val="Anja Much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5e37c4e-fc45-43de-9e46-69b7da1fc947"/>
  <p:tag name="MIO_EK" val="3202"/>
  <p:tag name="MIO_UPDATE" val="True"/>
  <p:tag name="MIO_VERSION" val="19.07.2016 14:21:06"/>
  <p:tag name="MIO_DBID" val="03A15726-3EEC-4C78-B02E-FB2A32054B2D"/>
  <p:tag name="MIO_LASTDOWNLOADED" val="11.05.2017 16:51:39"/>
  <p:tag name="MIO_OBJECTNAME" val="Euro_grey"/>
  <p:tag name="MIO_LASTEDITORNAME" val="Anja Much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8fa435-ca88-40f1-98f6-8ab4e15c78bb"/>
  <p:tag name="MIO_EK" val="3203"/>
  <p:tag name="MIO_UPDATE" val="True"/>
  <p:tag name="MIO_VERSION" val="19.07.2016 14:21:27"/>
  <p:tag name="MIO_DBID" val="03A15726-3EEC-4C78-B02E-FB2A32054B2D"/>
  <p:tag name="MIO_LASTDOWNLOADED" val="11.05.2017 16:51:41"/>
  <p:tag name="MIO_OBJECTNAME" val="Euro_green"/>
  <p:tag name="MIO_LASTEDITORNAME" val="Anja Much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c53d748-d291-4a72-919c-54dc2a94d52c"/>
  <p:tag name="MIO_EK" val="4254"/>
  <p:tag name="MIO_UPDATE" val="True"/>
  <p:tag name="MIO_VERSION" val="09.01.2017 15:20:15"/>
  <p:tag name="MIO_DBID" val="03A15726-3EEC-4C78-B02E-FB2A32054B2D"/>
  <p:tag name="MIO_LASTDOWNLOADED" val="11.05.2017 16:51:59"/>
  <p:tag name="MIO_OBJECTNAME" val="Sparkasse_blue"/>
  <p:tag name="MIO_LASTEDITORNAME" val="Anja Much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2a6b2b9-543a-4b65-b9e6-047499b4cd00"/>
  <p:tag name="MIO_EK" val="4255"/>
  <p:tag name="MIO_UPDATE" val="True"/>
  <p:tag name="MIO_VERSION" val="09.01.2017 15:20:17"/>
  <p:tag name="MIO_DBID" val="03A15726-3EEC-4C78-B02E-FB2A32054B2D"/>
  <p:tag name="MIO_LASTDOWNLOADED" val="11.05.2017 16:52:04"/>
  <p:tag name="MIO_OBJECTNAME" val="Sparkasse_grey"/>
  <p:tag name="MIO_LASTEDITORNAME" val="Anja Much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811d5cb-7a07-4619-92a7-ea3f91abc72b"/>
  <p:tag name="MIO_EK" val="4256"/>
  <p:tag name="MIO_UPDATE" val="True"/>
  <p:tag name="MIO_VERSION" val="09.01.2017 15:20:19"/>
  <p:tag name="MIO_DBID" val="03A15726-3EEC-4C78-B02E-FB2A32054B2D"/>
  <p:tag name="MIO_LASTDOWNLOADED" val="11.05.2017 16:52:08"/>
  <p:tag name="MIO_OBJECTNAME" val="Sparkasse_green"/>
  <p:tag name="MIO_LASTEDITORNAME" val="Anja Much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03d3d8d-3503-4781-8ca2-e543c1bc17b9"/>
  <p:tag name="MIO_EK" val="4257"/>
  <p:tag name="MIO_UPDATE" val="True"/>
  <p:tag name="MIO_VERSION" val="09.01.2017 15:21:21"/>
  <p:tag name="MIO_DBID" val="03A15726-3EEC-4C78-B02E-FB2A32054B2D"/>
  <p:tag name="MIO_LASTDOWNLOADED" val="11.05.2017 16:52:27"/>
  <p:tag name="MIO_OBJECTNAME" val="Money stack_blue"/>
  <p:tag name="MIO_LASTEDITORNAME" val="Anja Much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9317919-6cbd-44d4-b571-b78696efbc3a"/>
  <p:tag name="MIO_EK" val="4258"/>
  <p:tag name="MIO_UPDATE" val="True"/>
  <p:tag name="MIO_VERSION" val="09.01.2017 15:21:23"/>
  <p:tag name="MIO_DBID" val="03A15726-3EEC-4C78-B02E-FB2A32054B2D"/>
  <p:tag name="MIO_LASTDOWNLOADED" val="11.05.2017 16:52:28"/>
  <p:tag name="MIO_OBJECTNAME" val="Money stack_grey"/>
  <p:tag name="MIO_LASTEDITORNAME" val="Anja Much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9b641e5-1024-4e46-925d-beaec8c00ff3"/>
  <p:tag name="MIO_EK" val="4259"/>
  <p:tag name="MIO_UPDATE" val="True"/>
  <p:tag name="MIO_VERSION" val="09.01.2017 15:21:24"/>
  <p:tag name="MIO_DBID" val="03A15726-3EEC-4C78-B02E-FB2A32054B2D"/>
  <p:tag name="MIO_LASTDOWNLOADED" val="11.05.2017 16:52:29"/>
  <p:tag name="MIO_OBJECTNAME" val="Money stack_green"/>
  <p:tag name="MIO_LASTEDITORNAME" val="Anja Muc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A"/>
  <p:tag name="EE4P_MAPWIZARD_HEADINGS" val="Admin 0"/>
  <p:tag name="EE4P_MAPWIZARD" val="Vatican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77c8174-e82f-47b8-a285-545f70afcc89"/>
  <p:tag name="MIO_EK" val="4272"/>
  <p:tag name="MIO_UPDATE" val="True"/>
  <p:tag name="MIO_VERSION" val="09.01.2017 15:43:45"/>
  <p:tag name="MIO_DBID" val="03A15726-3EEC-4C78-B02E-FB2A32054B2D"/>
  <p:tag name="MIO_LASTDOWNLOADED" val="11.05.2017 16:53:21"/>
  <p:tag name="MIO_OBJECTNAME" val="Calender_blue"/>
  <p:tag name="MIO_LASTEDITORNAME" val="Anja Much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8a622c5-11bd-4498-a14a-cc47cedf7ba3"/>
  <p:tag name="MIO_EK" val="4273"/>
  <p:tag name="MIO_UPDATE" val="True"/>
  <p:tag name="MIO_VERSION" val="09.01.2017 15:43:47"/>
  <p:tag name="MIO_DBID" val="03A15726-3EEC-4C78-B02E-FB2A32054B2D"/>
  <p:tag name="MIO_LASTDOWNLOADED" val="11.05.2017 16:53:26"/>
  <p:tag name="MIO_OBJECTNAME" val="Calender_grey"/>
  <p:tag name="MIO_LASTEDITORNAME" val="Anja Much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3cb67c9-86bf-4b36-87f0-fcd7755d09d4"/>
  <p:tag name="MIO_EK" val="4274"/>
  <p:tag name="MIO_UPDATE" val="True"/>
  <p:tag name="MIO_VERSION" val="09.01.2017 15:43:49"/>
  <p:tag name="MIO_DBID" val="03A15726-3EEC-4C78-B02E-FB2A32054B2D"/>
  <p:tag name="MIO_LASTDOWNLOADED" val="11.05.2017 16:53:32"/>
  <p:tag name="MIO_OBJECTNAME" val="Calender_green"/>
  <p:tag name="MIO_LASTEDITORNAME" val="Anja Much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20081a8-7df6-450c-a449-e10e7507b7bd"/>
  <p:tag name="MIO_EK" val="3036"/>
  <p:tag name="MIO_UPDATE" val="True"/>
  <p:tag name="MIO_VERSION" val="18.07.2016 14:24:25"/>
  <p:tag name="MIO_DBID" val="03A15726-3EEC-4C78-B02E-FB2A32054B2D"/>
  <p:tag name="MIO_LASTDOWNLOADED" val="11.05.2017 16:53:36"/>
  <p:tag name="MIO_OBJECTNAME" val="Aktentasche_Briefcase_blue"/>
  <p:tag name="MIO_LASTEDITORNAME" val="Anja Much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a36b18e-d825-4fcc-bef1-14c77ad18340"/>
  <p:tag name="MIO_EK" val="3037"/>
  <p:tag name="MIO_UPDATE" val="True"/>
  <p:tag name="MIO_VERSION" val="18.07.2016 14:25:02"/>
  <p:tag name="MIO_DBID" val="03A15726-3EEC-4C78-B02E-FB2A32054B2D"/>
  <p:tag name="MIO_LASTDOWNLOADED" val="11.05.2017 16:53:41"/>
  <p:tag name="MIO_OBJECTNAME" val="Aktentasche_Briefcase_grey"/>
  <p:tag name="MIO_LASTEDITORNAME" val="Anja Much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a686c93-f126-4950-9acf-6984cf547e3d"/>
  <p:tag name="MIO_EK" val="3038"/>
  <p:tag name="MIO_UPDATE" val="True"/>
  <p:tag name="MIO_VERSION" val="18.07.2016 14:25:18"/>
  <p:tag name="MIO_DBID" val="03A15726-3EEC-4C78-B02E-FB2A32054B2D"/>
  <p:tag name="MIO_LASTDOWNLOADED" val="11.05.2017 16:53:50"/>
  <p:tag name="MIO_OBJECTNAME" val="Aktentasche_Briefcase_green"/>
  <p:tag name="MIO_LASTEDITORNAME" val="Anja Much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fa6a6ca-9ff9-48e0-bc24-41b2f24e2ef0"/>
  <p:tag name="MIO_EK" val="3045"/>
  <p:tag name="MIO_UPDATE" val="True"/>
  <p:tag name="MIO_VERSION" val="18.07.2016 14:32:29"/>
  <p:tag name="MIO_DBID" val="03A15726-3EEC-4C78-B02E-FB2A32054B2D"/>
  <p:tag name="MIO_LASTDOWNLOADED" val="11.05.2017 16:54:01"/>
  <p:tag name="MIO_OBJECTNAME" val="Balkendiagramm mit Kurve_Bar graph with curve_blue"/>
  <p:tag name="MIO_LASTEDITORNAME" val="Anja Mucha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87ca9e6-a3fb-443d-acbd-7b9899c4b67d"/>
  <p:tag name="MIO_EK" val="3046"/>
  <p:tag name="MIO_UPDATE" val="True"/>
  <p:tag name="MIO_VERSION" val="18.07.2016 14:32:49"/>
  <p:tag name="MIO_DBID" val="03A15726-3EEC-4C78-B02E-FB2A32054B2D"/>
  <p:tag name="MIO_LASTDOWNLOADED" val="11.05.2017 16:54:04"/>
  <p:tag name="MIO_OBJECTNAME" val="Balkendiagramm mit Kurve_Bar graph with curve_grey"/>
  <p:tag name="MIO_LASTEDITORNAME" val="Anja Much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314ac8f-049c-4175-ba07-f431b659bc9c"/>
  <p:tag name="MIO_EK" val="3047"/>
  <p:tag name="MIO_UPDATE" val="True"/>
  <p:tag name="MIO_VERSION" val="18.07.2016 14:33:13"/>
  <p:tag name="MIO_DBID" val="03A15726-3EEC-4C78-B02E-FB2A32054B2D"/>
  <p:tag name="MIO_LASTDOWNLOADED" val="11.05.2017 16:54:10"/>
  <p:tag name="MIO_OBJECTNAME" val="Balkendiagramm mit Kurve_Bar graph with curve_gree"/>
  <p:tag name="MIO_LASTEDITORNAME" val="Anja Much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4c8cd8a-f44e-4351-8356-02d8c35b289b"/>
  <p:tag name="MIO_EK" val="3048"/>
  <p:tag name="MIO_UPDATE" val="True"/>
  <p:tag name="MIO_VERSION" val="18.07.2016 14:34:09"/>
  <p:tag name="MIO_DBID" val="03A15726-3EEC-4C78-B02E-FB2A32054B2D"/>
  <p:tag name="MIO_LASTDOWNLOADED" val="11.05.2017 16:54:17"/>
  <p:tag name="MIO_OBJECTNAME" val="Balkendiagramm_Bar graph_blue"/>
  <p:tag name="MIO_LASTEDITORNAME" val="Anja Muc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eeea7d7-410e-4446-9461-fbfc1a7fc0c4"/>
  <p:tag name="MIO_EK" val="3143"/>
  <p:tag name="MIO_UPDATE" val="True"/>
  <p:tag name="MIO_VERSION" val="18.07.2016 15:59:43"/>
  <p:tag name="MIO_DBID" val="03A15726-3EEC-4C78-B02E-FB2A32054B2D"/>
  <p:tag name="MIO_LASTDOWNLOADED" val="11.05.2017 16:46:37"/>
  <p:tag name="MIO_OBJECTNAME" val="Zusammenfassung_Conclusion"/>
  <p:tag name="MIO_LASTEDITORNAME" val="Anja Much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eb1843c-6f49-4c04-8651-4fab15f35b27"/>
  <p:tag name="MIO_EK" val="3049"/>
  <p:tag name="MIO_UPDATE" val="True"/>
  <p:tag name="MIO_VERSION" val="18.07.2016 14:34:28"/>
  <p:tag name="MIO_DBID" val="03A15726-3EEC-4C78-B02E-FB2A32054B2D"/>
  <p:tag name="MIO_LASTDOWNLOADED" val="11.05.2017 16:54:21"/>
  <p:tag name="MIO_OBJECTNAME" val="Balkendiagramm_Bar graph_grey"/>
  <p:tag name="MIO_LASTEDITORNAME" val="Anja Much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6ce071-e298-4726-803e-26fe868fc804"/>
  <p:tag name="MIO_EK" val="3050"/>
  <p:tag name="MIO_UPDATE" val="True"/>
  <p:tag name="MIO_VERSION" val="18.07.2016 14:34:46"/>
  <p:tag name="MIO_DBID" val="03A15726-3EEC-4C78-B02E-FB2A32054B2D"/>
  <p:tag name="MIO_LASTDOWNLOADED" val="11.05.2017 16:54:26"/>
  <p:tag name="MIO_OBJECTNAME" val="Balkendiagramm_Bar graph_green"/>
  <p:tag name="MIO_LASTEDITORNAME" val="Anja Much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cfa4e4f-5a6d-473a-aae2-949779c0a20e"/>
  <p:tag name="MIO_EK" val="4281"/>
  <p:tag name="MIO_UPDATE" val="True"/>
  <p:tag name="MIO_VERSION" val="09.01.2017 16:08:31"/>
  <p:tag name="MIO_DBID" val="03A15726-3EEC-4C78-B02E-FB2A32054B2D"/>
  <p:tag name="MIO_LASTDOWNLOADED" val="11.05.2017 16:54:34"/>
  <p:tag name="MIO_OBJECTNAME" val="Note pad with check_blue"/>
  <p:tag name="MIO_LASTEDITORNAME" val="Anja Much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01cb19-8e30-473f-a08b-a8ca910dc05c"/>
  <p:tag name="MIO_EK" val="4282"/>
  <p:tag name="MIO_UPDATE" val="True"/>
  <p:tag name="MIO_VERSION" val="09.01.2017 16:08:33"/>
  <p:tag name="MIO_DBID" val="03A15726-3EEC-4C78-B02E-FB2A32054B2D"/>
  <p:tag name="MIO_LASTDOWNLOADED" val="11.05.2017 16:54:38"/>
  <p:tag name="MIO_OBJECTNAME" val="Note pad with check_grey"/>
  <p:tag name="MIO_LASTEDITORNAME" val="Anja Much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4166f2d-bcec-4303-be4d-6751c3ba112c"/>
  <p:tag name="MIO_EK" val="4283"/>
  <p:tag name="MIO_UPDATE" val="True"/>
  <p:tag name="MIO_VERSION" val="09.01.2017 16:08:35"/>
  <p:tag name="MIO_DBID" val="03A15726-3EEC-4C78-B02E-FB2A32054B2D"/>
  <p:tag name="MIO_LASTDOWNLOADED" val="11.05.2017 16:54:41"/>
  <p:tag name="MIO_OBJECTNAME" val="Note pad with check_green"/>
  <p:tag name="MIO_LASTEDITORNAME" val="Anja Much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c75c3a7-9a2b-4c59-9b77-b166290aa981"/>
  <p:tag name="MIO_EK" val="3210"/>
  <p:tag name="MIO_UPDATE" val="True"/>
  <p:tag name="MIO_VERSION" val="19.07.2016 16:54:44"/>
  <p:tag name="MIO_DBID" val="03A15726-3EEC-4C78-B02E-FB2A32054B2D"/>
  <p:tag name="MIO_LASTDOWNLOADED" val="11.05.2017 16:54:55"/>
  <p:tag name="MIO_OBJECTNAME" val="Gantt chart_blue"/>
  <p:tag name="MIO_LASTEDITORNAME" val="Anja Much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cccc475-343c-4901-8475-cf097d428473"/>
  <p:tag name="MIO_EK" val="3211"/>
  <p:tag name="MIO_UPDATE" val="True"/>
  <p:tag name="MIO_VERSION" val="19.07.2016 17:03:47"/>
  <p:tag name="MIO_DBID" val="03A15726-3EEC-4C78-B02E-FB2A32054B2D"/>
  <p:tag name="MIO_LASTDOWNLOADED" val="11.05.2017 16:54:58"/>
  <p:tag name="MIO_OBJECTNAME" val="Gantt chart_grey"/>
  <p:tag name="MIO_LASTEDITORNAME" val="Anja Much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99affb0-045f-47ea-aae3-5d5701a86349"/>
  <p:tag name="MIO_EK" val="3212"/>
  <p:tag name="MIO_UPDATE" val="True"/>
  <p:tag name="MIO_VERSION" val="19.07.2016 17:04:05"/>
  <p:tag name="MIO_DBID" val="03A15726-3EEC-4C78-B02E-FB2A32054B2D"/>
  <p:tag name="MIO_LASTDOWNLOADED" val="11.05.2017 16:55:02"/>
  <p:tag name="MIO_OBJECTNAME" val="Gantt chart_green"/>
  <p:tag name="MIO_LASTEDITORNAME" val="Anja Much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d1abfa-208a-459e-9821-a89daf956f97"/>
  <p:tag name="MIO_EK" val="3244"/>
  <p:tag name="MIO_UPDATE" val="True"/>
  <p:tag name="MIO_VERSION" val="19.07.2016 17:49:19"/>
  <p:tag name="MIO_DBID" val="03A15726-3EEC-4C78-B02E-FB2A32054B2D"/>
  <p:tag name="MIO_LASTDOWNLOADED" val="11.05.2017 16:55:13"/>
  <p:tag name="MIO_OBJECTNAME" val="Händedruck_Handshake_blue"/>
  <p:tag name="MIO_LASTEDITORNAME" val="Anja Much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fce1365-1388-4feb-829c-6debe31ef598"/>
  <p:tag name="MIO_EK" val="3245"/>
  <p:tag name="MIO_UPDATE" val="True"/>
  <p:tag name="MIO_VERSION" val="19.07.2016 17:49:22"/>
  <p:tag name="MIO_DBID" val="03A15726-3EEC-4C78-B02E-FB2A32054B2D"/>
  <p:tag name="MIO_LASTDOWNLOADED" val="11.05.2017 16:55:16"/>
  <p:tag name="MIO_OBJECTNAME" val="Händedruck_Handshake_grey"/>
  <p:tag name="MIO_LASTEDITORNAME" val="Anja Much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4c95adb-66db-471f-8d56-4ffd67f9338e"/>
  <p:tag name="MIO_EK" val="3246"/>
  <p:tag name="MIO_UPDATE" val="True"/>
  <p:tag name="MIO_VERSION" val="19.07.2016 17:49:25"/>
  <p:tag name="MIO_DBID" val="03A15726-3EEC-4C78-B02E-FB2A32054B2D"/>
  <p:tag name="MIO_LASTDOWNLOADED" val="11.05.2017 16:55:23"/>
  <p:tag name="MIO_OBJECTNAME" val="Händedruck_Handshake_green"/>
  <p:tag name="MIO_LASTEDITORNAME" val="Anja Much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28a7337-4e5f-4bdc-a1c1-4d04e157799d"/>
  <p:tag name="MIO_EK" val="3254"/>
  <p:tag name="MIO_UPDATE" val="True"/>
  <p:tag name="MIO_VERSION" val="19.07.2016 17:49:52"/>
  <p:tag name="MIO_DBID" val="03A15726-3EEC-4C78-B02E-FB2A32054B2D"/>
  <p:tag name="MIO_LASTDOWNLOADED" val="11.05.2017 16:55:40"/>
  <p:tag name="MIO_OBJECTNAME" val="Industrieproduktion_Industrial production_blue"/>
  <p:tag name="MIO_LASTEDITORNAME" val="Anja Much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f01e907-bfcf-4f36-bc8c-bc00cc8b275c"/>
  <p:tag name="MIO_EK" val="3255"/>
  <p:tag name="MIO_UPDATE" val="True"/>
  <p:tag name="MIO_VERSION" val="19.07.2016 17:49:55"/>
  <p:tag name="MIO_DBID" val="03A15726-3EEC-4C78-B02E-FB2A32054B2D"/>
  <p:tag name="MIO_LASTDOWNLOADED" val="11.05.2017 16:55:44"/>
  <p:tag name="MIO_OBJECTNAME" val="Industrieproduktion_Industrial production_grey"/>
  <p:tag name="MIO_LASTEDITORNAME" val="Anja Much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d9f29f8-5ae1-4e7d-bb09-6870d3e5c2c9"/>
  <p:tag name="MIO_EK" val="3256"/>
  <p:tag name="MIO_UPDATE" val="True"/>
  <p:tag name="MIO_VERSION" val="19.07.2016 17:49:58"/>
  <p:tag name="MIO_DBID" val="03A15726-3EEC-4C78-B02E-FB2A32054B2D"/>
  <p:tag name="MIO_LASTDOWNLOADED" val="11.05.2017 16:55:47"/>
  <p:tag name="MIO_OBJECTNAME" val="Industrieproduktion_Industrial production_green"/>
  <p:tag name="MIO_LASTEDITORNAME" val="Anja Much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59d3000-dd9e-460d-ab89-c21c3ce51d0c"/>
  <p:tag name="MIO_EK" val="3285"/>
  <p:tag name="MIO_UPDATE" val="True"/>
  <p:tag name="MIO_VERSION" val="20.07.2016 09:55:28"/>
  <p:tag name="MIO_DBID" val="03A15726-3EEC-4C78-B02E-FB2A32054B2D"/>
  <p:tag name="MIO_LASTDOWNLOADED" val="11.05.2017 16:56:00"/>
  <p:tag name="MIO_OBJECTNAME" val="Kalender_Calender_blue"/>
  <p:tag name="MIO_LASTEDITORNAME" val="Anja Much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82533e-5e39-4653-83df-b23d671ee841"/>
  <p:tag name="MIO_EK" val="3286"/>
  <p:tag name="MIO_UPDATE" val="True"/>
  <p:tag name="MIO_VERSION" val="20.07.2016 09:55:29"/>
  <p:tag name="MIO_DBID" val="03A15726-3EEC-4C78-B02E-FB2A32054B2D"/>
  <p:tag name="MIO_LASTDOWNLOADED" val="11.05.2017 16:56:01"/>
  <p:tag name="MIO_OBJECTNAME" val="Kalender_Calender_grey"/>
  <p:tag name="MIO_LASTEDITORNAME" val="Anja Much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13f650-f5d7-43bd-b772-c3fbba7aa6ef"/>
  <p:tag name="MIO_EK" val="3287"/>
  <p:tag name="MIO_UPDATE" val="True"/>
  <p:tag name="MIO_VERSION" val="20.07.2016 09:55:30"/>
  <p:tag name="MIO_DBID" val="03A15726-3EEC-4C78-B02E-FB2A32054B2D"/>
  <p:tag name="MIO_LASTDOWNLOADED" val="11.05.2017 16:56:08"/>
  <p:tag name="MIO_OBJECTNAME" val="Kalender_Calender_green"/>
  <p:tag name="MIO_LASTEDITORNAME" val="Anja Much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2667250-de4c-4ea4-b647-f2e5d8a430d8"/>
  <p:tag name="MIO_EK" val="3559"/>
  <p:tag name="MIO_UPDATE" val="True"/>
  <p:tag name="MIO_VERSION" val="21.07.2016 16:15:37"/>
  <p:tag name="MIO_DBID" val="03A15726-3EEC-4C78-B02E-FB2A32054B2D"/>
  <p:tag name="MIO_LASTDOWNLOADED" val="11.05.2017 17:08:18"/>
  <p:tag name="MIO_OBJECTNAME" val="Zielflagge_Finishing flag_blue"/>
  <p:tag name="MIO_LASTEDITORNAME" val="Anja Much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fcfe01-2f85-4eb6-81ce-a5fa8409b009"/>
  <p:tag name="MIO_EK" val="3560"/>
  <p:tag name="MIO_UPDATE" val="True"/>
  <p:tag name="MIO_VERSION" val="21.07.2016 16:15:41"/>
  <p:tag name="MIO_DBID" val="03A15726-3EEC-4C78-B02E-FB2A32054B2D"/>
  <p:tag name="MIO_LASTDOWNLOADED" val="11.05.2017 17:08:19"/>
  <p:tag name="MIO_OBJECTNAME" val="Zielflagge_Finishing flag_grey"/>
  <p:tag name="MIO_LASTEDITORNAME" val="Anja Much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22c01b3-9249-46c2-ab62-d00fdad63b4c"/>
  <p:tag name="MIO_EK" val="3561"/>
  <p:tag name="MIO_UPDATE" val="True"/>
  <p:tag name="MIO_VERSION" val="21.07.2016 16:15:44"/>
  <p:tag name="MIO_DBID" val="03A15726-3EEC-4C78-B02E-FB2A32054B2D"/>
  <p:tag name="MIO_LASTDOWNLOADED" val="11.05.2017 17:08:20"/>
  <p:tag name="MIO_OBJECTNAME" val="Zielflagge_Finishing flag_green"/>
  <p:tag name="MIO_LASTEDITORNAME" val="Anja Much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zNc_oUS7KZi_gJZNFCBg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3dba5b9-55b1-4bea-84f6-3de0fd8c9669"/>
  <p:tag name="MIO_EK" val="4446"/>
  <p:tag name="MIO_UPDATE" val="True"/>
  <p:tag name="MIO_VERSION" val="08.02.2017 12:07:46"/>
  <p:tag name="MIO_DBID" val="03A15726-3EEC-4C78-B02E-FB2A32054B2D"/>
  <p:tag name="MIO_LASTDOWNLOADED" val="11.05.2017 17:08:41"/>
  <p:tag name="MIO_OBJECTNAME" val="Target_blue"/>
  <p:tag name="MIO_LASTEDITORNAME" val="Anja Much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93df54a-5743-4af1-8315-124ca3ea990d"/>
  <p:tag name="MIO_EK" val="4447"/>
  <p:tag name="MIO_UPDATE" val="True"/>
  <p:tag name="MIO_VERSION" val="08.02.2017 12:07:47"/>
  <p:tag name="MIO_DBID" val="03A15726-3EEC-4C78-B02E-FB2A32054B2D"/>
  <p:tag name="MIO_LASTDOWNLOADED" val="11.05.2017 17:08:42"/>
  <p:tag name="MIO_OBJECTNAME" val="Target_grey"/>
  <p:tag name="MIO_LASTEDITORNAME" val="Anja Much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7ee0725-27c0-4f77-b9ea-cecb459f321c"/>
  <p:tag name="MIO_EK" val="4448"/>
  <p:tag name="MIO_UPDATE" val="True"/>
  <p:tag name="MIO_VERSION" val="08.02.2017 12:07:49"/>
  <p:tag name="MIO_DBID" val="03A15726-3EEC-4C78-B02E-FB2A32054B2D"/>
  <p:tag name="MIO_LASTDOWNLOADED" val="11.05.2017 17:08:43"/>
  <p:tag name="MIO_OBJECTNAME" val="Target_green"/>
  <p:tag name="MIO_LASTEDITORNAME" val="Anja Much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54b2c7a-2db5-446f-9931-4d7c2c6b0172"/>
  <p:tag name="MIO_EK" val="3412"/>
  <p:tag name="MIO_UPDATE" val="True"/>
  <p:tag name="MIO_VERSION" val="20.07.2016 15:03:01"/>
  <p:tag name="MIO_DBID" val="03A15726-3EEC-4C78-B02E-FB2A32054B2D"/>
  <p:tag name="MIO_LASTDOWNLOADED" val="11.05.2017 17:01:32"/>
  <p:tag name="MIO_OBJECTNAME" val="Präsentation_Presentation_2_blue"/>
  <p:tag name="MIO_LASTEDITORNAME" val="Anja Much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ef7b8a-019e-4471-859a-c012b4c0f053"/>
  <p:tag name="MIO_EK" val="3413"/>
  <p:tag name="MIO_UPDATE" val="True"/>
  <p:tag name="MIO_VERSION" val="20.07.2016 15:03:02"/>
  <p:tag name="MIO_DBID" val="03A15726-3EEC-4C78-B02E-FB2A32054B2D"/>
  <p:tag name="MIO_LASTDOWNLOADED" val="11.05.2017 17:01:33"/>
  <p:tag name="MIO_OBJECTNAME" val="Präsentation_Presentation_2_grey"/>
  <p:tag name="MIO_LASTEDITORNAME" val="Anja Much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b87103b-6582-4721-937a-00276b1e8445"/>
  <p:tag name="MIO_EK" val="3414"/>
  <p:tag name="MIO_UPDATE" val="True"/>
  <p:tag name="MIO_VERSION" val="20.07.2016 15:03:05"/>
  <p:tag name="MIO_DBID" val="03A15726-3EEC-4C78-B02E-FB2A32054B2D"/>
  <p:tag name="MIO_LASTDOWNLOADED" val="11.05.2017 17:01:34"/>
  <p:tag name="MIO_OBJECTNAME" val="Präsentation_Presentation_2_green"/>
  <p:tag name="MIO_LASTEDITORNAME" val="Anja Much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101407-d4ea-42ea-84f8-76e1e612c0bc"/>
  <p:tag name="MIO_EK" val="4305"/>
  <p:tag name="MIO_UPDATE" val="True"/>
  <p:tag name="MIO_VERSION" val="09.01.2017 16:20:58"/>
  <p:tag name="MIO_DBID" val="03A15726-3EEC-4C78-B02E-FB2A32054B2D"/>
  <p:tag name="MIO_LASTDOWNLOADED" val="11.05.2017 16:56:29"/>
  <p:tag name="MIO_OBJECTNAME" val="Protective shield_blue"/>
  <p:tag name="MIO_LASTEDITORNAME" val="Anja Much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b0e14f4-f4ba-4b2d-9359-462894ccc819"/>
  <p:tag name="MIO_EK" val="4306"/>
  <p:tag name="MIO_UPDATE" val="True"/>
  <p:tag name="MIO_VERSION" val="09.01.2017 16:21:01"/>
  <p:tag name="MIO_DBID" val="03A15726-3EEC-4C78-B02E-FB2A32054B2D"/>
  <p:tag name="MIO_LASTDOWNLOADED" val="11.05.2017 16:56:30"/>
  <p:tag name="MIO_OBJECTNAME" val="Protective shield_grey"/>
  <p:tag name="MIO_LASTEDITORNAME" val="Anja Much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89d9c15-3043-414c-a26d-ec1ef01c5b98"/>
  <p:tag name="MIO_EK" val="4307"/>
  <p:tag name="MIO_UPDATE" val="True"/>
  <p:tag name="MIO_VERSION" val="09.01.2017 16:21:03"/>
  <p:tag name="MIO_DBID" val="03A15726-3EEC-4C78-B02E-FB2A32054B2D"/>
  <p:tag name="MIO_LASTDOWNLOADED" val="11.05.2017 16:56:31"/>
  <p:tag name="MIO_OBJECTNAME" val="Protective shield_green"/>
  <p:tag name="MIO_LASTEDITORNAME" val="Anja Much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95a8f36-f0cd-4aaf-8c33-a536d5658ec1"/>
  <p:tag name="MIO_EK" val="4317"/>
  <p:tag name="MIO_UPDATE" val="True"/>
  <p:tag name="MIO_VERSION" val="09.01.2017 16:43:57"/>
  <p:tag name="MIO_DBID" val="03A15726-3EEC-4C78-B02E-FB2A32054B2D"/>
  <p:tag name="MIO_LASTDOWNLOADED" val="11.05.2017 16:56:44"/>
  <p:tag name="MIO_OBJECTNAME" val="LinkedIn_blue"/>
  <p:tag name="MIO_LASTEDITORNAME" val="Anja Muc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2667250-de4c-4ea4-b647-f2e5d8a430d8"/>
  <p:tag name="MIO_EK" val="3559"/>
  <p:tag name="MIO_UPDATE" val="True"/>
  <p:tag name="MIO_VERSION" val="21.07.2016 16:15:37"/>
  <p:tag name="MIO_DBID" val="03A15726-3EEC-4C78-B02E-FB2A32054B2D"/>
  <p:tag name="MIO_LASTDOWNLOADED" val="11.05.2017 17:08:18"/>
  <p:tag name="MIO_OBJECTNAME" val="Zielflagge_Finishing flag_blue"/>
  <p:tag name="MIO_LASTEDITORNAME" val="Anja Much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84e070-3af3-4be4-9c40-ae061706b4ec"/>
  <p:tag name="MIO_EK" val="4318"/>
  <p:tag name="MIO_UPDATE" val="True"/>
  <p:tag name="MIO_VERSION" val="09.01.2017 16:44:01"/>
  <p:tag name="MIO_DBID" val="03A15726-3EEC-4C78-B02E-FB2A32054B2D"/>
  <p:tag name="MIO_LASTDOWNLOADED" val="11.05.2017 16:56:45"/>
  <p:tag name="MIO_OBJECTNAME" val="LinkedIn_grey"/>
  <p:tag name="MIO_LASTEDITORNAME" val="Anja Much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0a36233-6293-4a59-98e7-47fef9b2e1d7"/>
  <p:tag name="MIO_EK" val="4319"/>
  <p:tag name="MIO_UPDATE" val="True"/>
  <p:tag name="MIO_VERSION" val="09.01.2017 16:44:04"/>
  <p:tag name="MIO_DBID" val="03A15726-3EEC-4C78-B02E-FB2A32054B2D"/>
  <p:tag name="MIO_LASTDOWNLOADED" val="11.05.2017 16:56:46"/>
  <p:tag name="MIO_OBJECTNAME" val="LinkedIn_green"/>
  <p:tag name="MIO_LASTEDITORNAME" val="Anja Much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78a7d43-6733-4f6e-9757-a4b1161073e9"/>
  <p:tag name="MIO_EK" val="3039"/>
  <p:tag name="MIO_UPDATE" val="True"/>
  <p:tag name="MIO_VERSION" val="18.07.2016 14:26:03"/>
  <p:tag name="MIO_DBID" val="03A15726-3EEC-4C78-B02E-FB2A32054B2D"/>
  <p:tag name="MIO_LASTDOWNLOADED" val="11.05.2017 16:56:56"/>
  <p:tag name="MIO_OBJECTNAME" val="Auto_WLAN_Car_blue"/>
  <p:tag name="MIO_LASTEDITORNAME" val="Anja Much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16bf931-7ad0-4db8-99a7-eb20148a7822"/>
  <p:tag name="MIO_EK" val="3040"/>
  <p:tag name="MIO_UPDATE" val="True"/>
  <p:tag name="MIO_VERSION" val="18.07.2016 14:26:29"/>
  <p:tag name="MIO_DBID" val="03A15726-3EEC-4C78-B02E-FB2A32054B2D"/>
  <p:tag name="MIO_LASTDOWNLOADED" val="11.05.2017 16:56:57"/>
  <p:tag name="MIO_OBJECTNAME" val="Auto_WLAN_Car_grey"/>
  <p:tag name="MIO_LASTEDITORNAME" val="Anja Much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116fd85-37f9-4d6e-b1b2-cc78a6be73d9"/>
  <p:tag name="MIO_EK" val="3041"/>
  <p:tag name="MIO_UPDATE" val="True"/>
  <p:tag name="MIO_VERSION" val="18.07.2016 14:29:23"/>
  <p:tag name="MIO_DBID" val="03A15726-3EEC-4C78-B02E-FB2A32054B2D"/>
  <p:tag name="MIO_LASTDOWNLOADED" val="11.05.2017 16:56:57"/>
  <p:tag name="MIO_OBJECTNAME" val="Auto_WLAN_Car_green"/>
  <p:tag name="MIO_LASTEDITORNAME" val="Anja Much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3bd6a9f-584b-4675-9f94-12bbb04eb329"/>
  <p:tag name="MIO_EK" val="4323"/>
  <p:tag name="MIO_UPDATE" val="True"/>
  <p:tag name="MIO_VERSION" val="09.01.2017 16:46:46"/>
  <p:tag name="MIO_DBID" val="03A15726-3EEC-4C78-B02E-FB2A32054B2D"/>
  <p:tag name="MIO_LASTDOWNLOADED" val="11.05.2017 16:57:01"/>
  <p:tag name="MIO_OBJECTNAME" val="Lock open 2_blue"/>
  <p:tag name="MIO_LASTEDITORNAME" val="Anja Much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bc30df4-df78-4504-bc0a-08aec67a8431"/>
  <p:tag name="MIO_EK" val="4324"/>
  <p:tag name="MIO_UPDATE" val="True"/>
  <p:tag name="MIO_VERSION" val="09.01.2017 16:46:49"/>
  <p:tag name="MIO_DBID" val="03A15726-3EEC-4C78-B02E-FB2A32054B2D"/>
  <p:tag name="MIO_LASTDOWNLOADED" val="11.05.2017 16:57:02"/>
  <p:tag name="MIO_OBJECTNAME" val="Lock open 2_grey"/>
  <p:tag name="MIO_LASTEDITORNAME" val="Anja Much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789e85b-1504-41e1-8535-3dcff67d4af7"/>
  <p:tag name="MIO_EK" val="4325"/>
  <p:tag name="MIO_UPDATE" val="True"/>
  <p:tag name="MIO_VERSION" val="09.01.2017 16:46:52"/>
  <p:tag name="MIO_DBID" val="03A15726-3EEC-4C78-B02E-FB2A32054B2D"/>
  <p:tag name="MIO_LASTDOWNLOADED" val="11.05.2017 16:57:03"/>
  <p:tag name="MIO_OBJECTNAME" val="Lock open 2_green"/>
  <p:tag name="MIO_LASTEDITORNAME" val="Anja Much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43ebe5-48dd-4353-b80d-854e55586742"/>
  <p:tag name="MIO_EK" val="3081"/>
  <p:tag name="MIO_UPDATE" val="True"/>
  <p:tag name="MIO_VERSION" val="18.07.2016 14:53:54"/>
  <p:tag name="MIO_DBID" val="03A15726-3EEC-4C78-B02E-FB2A32054B2D"/>
  <p:tag name="MIO_LASTDOWNLOADED" val="11.05.2017 16:57:05"/>
  <p:tag name="MIO_OBJECTNAME" val="Binärcode_Binary code_blue"/>
  <p:tag name="MIO_LASTEDITORNAME" val="Anja Much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0c0e716-a239-48cc-b259-3cb28e77a8e1"/>
  <p:tag name="MIO_EK" val="3082"/>
  <p:tag name="MIO_UPDATE" val="True"/>
  <p:tag name="MIO_VERSION" val="18.07.2016 14:54:12"/>
  <p:tag name="MIO_DBID" val="03A15726-3EEC-4C78-B02E-FB2A32054B2D"/>
  <p:tag name="MIO_LASTDOWNLOADED" val="11.05.2017 16:57:06"/>
  <p:tag name="MIO_OBJECTNAME" val="Binärcode_Binary code_grey"/>
  <p:tag name="MIO_LASTEDITORNAME" val="Anja Muc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R"/>
  <p:tag name="EE4P_MAPWIZARD_HEADINGS" val="Admin 0"/>
  <p:tag name="EE4P_MAPWIZARD" val="Turkey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cc0438f-ed37-44a9-afce-d000b1834f9e"/>
  <p:tag name="MIO_EK" val="3145"/>
  <p:tag name="MIO_UPDATE" val="True"/>
  <p:tag name="MIO_VERSION" val="18.07.2016 16:09:40"/>
  <p:tag name="MIO_DBID" val="03A15726-3EEC-4C78-B02E-FB2A32054B2D"/>
  <p:tag name="MIO_LASTDOWNLOADED" val="11.05.2017 17:09:21"/>
  <p:tag name="MIO_OBJECTNAME" val="Lessons learned"/>
  <p:tag name="MIO_LASTEDITORNAME" val="Anja Mucha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8ea2ec2-065f-4f24-b93c-919db186da1b"/>
  <p:tag name="MIO_EK" val="3083"/>
  <p:tag name="MIO_UPDATE" val="True"/>
  <p:tag name="MIO_VERSION" val="18.07.2016 14:54:31"/>
  <p:tag name="MIO_DBID" val="03A15726-3EEC-4C78-B02E-FB2A32054B2D"/>
  <p:tag name="MIO_LASTDOWNLOADED" val="11.05.2017 16:57:07"/>
  <p:tag name="MIO_OBJECTNAME" val="Binärcode_Binary code_green"/>
  <p:tag name="MIO_LASTEDITORNAME" val="Anja Much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a4dc552-f77a-4e0a-8587-d07a91fd8e15"/>
  <p:tag name="MIO_EK" val="4326"/>
  <p:tag name="MIO_UPDATE" val="True"/>
  <p:tag name="MIO_VERSION" val="09.01.2017 16:50:41"/>
  <p:tag name="MIO_DBID" val="03A15726-3EEC-4C78-B02E-FB2A32054B2D"/>
  <p:tag name="MIO_LASTDOWNLOADED" val="11.05.2017 16:57:09"/>
  <p:tag name="MIO_OBJECTNAME" val="Mouse_blue"/>
  <p:tag name="MIO_LASTEDITORNAME" val="Anja Much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954ab77-d7a9-4495-b6d5-0230e21d03a0"/>
  <p:tag name="MIO_EK" val="4327"/>
  <p:tag name="MIO_UPDATE" val="True"/>
  <p:tag name="MIO_VERSION" val="09.01.2017 16:50:45"/>
  <p:tag name="MIO_DBID" val="03A15726-3EEC-4C78-B02E-FB2A32054B2D"/>
  <p:tag name="MIO_LASTDOWNLOADED" val="11.05.2017 16:57:09"/>
  <p:tag name="MIO_OBJECTNAME" val="Mouse_grey"/>
  <p:tag name="MIO_LASTEDITORNAME" val="Anja Much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f15893-3ba2-42b2-9c79-249e71abfd89"/>
  <p:tag name="MIO_EK" val="4328"/>
  <p:tag name="MIO_UPDATE" val="True"/>
  <p:tag name="MIO_VERSION" val="09.01.2017 16:50:48"/>
  <p:tag name="MIO_DBID" val="03A15726-3EEC-4C78-B02E-FB2A32054B2D"/>
  <p:tag name="MIO_LASTDOWNLOADED" val="11.05.2017 16:57:10"/>
  <p:tag name="MIO_OBJECTNAME" val="Mouse_green"/>
  <p:tag name="MIO_LASTEDITORNAME" val="Anja Much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2159a57-77fd-4023-922b-022f8ecec0f6"/>
  <p:tag name="MIO_EK" val="3090"/>
  <p:tag name="MIO_UPDATE" val="True"/>
  <p:tag name="MIO_VERSION" val="18.07.2016 14:59:02"/>
  <p:tag name="MIO_DBID" val="03A15726-3EEC-4C78-B02E-FB2A32054B2D"/>
  <p:tag name="MIO_LASTDOWNLOADED" val="11.05.2017 16:57:15"/>
  <p:tag name="MIO_OBJECTNAME" val="Computer_Combination_blue"/>
  <p:tag name="MIO_LASTEDITORNAME" val="Anja Much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0790db1-7c62-4a6a-ba79-6106a4ce924c"/>
  <p:tag name="MIO_EK" val="3091"/>
  <p:tag name="MIO_UPDATE" val="True"/>
  <p:tag name="MIO_VERSION" val="18.07.2016 14:59:50"/>
  <p:tag name="MIO_DBID" val="03A15726-3EEC-4C78-B02E-FB2A32054B2D"/>
  <p:tag name="MIO_LASTDOWNLOADED" val="11.05.2017 16:57:16"/>
  <p:tag name="MIO_OBJECTNAME" val="Computer_Combination_grey"/>
  <p:tag name="MIO_LASTEDITORNAME" val="Anja Mucha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52574ca-38ff-4bba-9482-6b503305be34"/>
  <p:tag name="MIO_EK" val="3092"/>
  <p:tag name="MIO_UPDATE" val="True"/>
  <p:tag name="MIO_VERSION" val="18.07.2016 15:00:42"/>
  <p:tag name="MIO_DBID" val="03A15726-3EEC-4C78-B02E-FB2A32054B2D"/>
  <p:tag name="MIO_LASTDOWNLOADED" val="11.05.2017 16:57:17"/>
  <p:tag name="MIO_OBJECTNAME" val="Computer_Combination_green"/>
  <p:tag name="MIO_LASTEDITORNAME" val="Anja Much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272d91e-2459-40a3-9ba6-a9bfba73a968"/>
  <p:tag name="MIO_EK" val="3102"/>
  <p:tag name="MIO_UPDATE" val="True"/>
  <p:tag name="MIO_VERSION" val="18.07.2016 15:06:46"/>
  <p:tag name="MIO_DBID" val="03A15726-3EEC-4C78-B02E-FB2A32054B2D"/>
  <p:tag name="MIO_LASTDOWNLOADED" val="11.05.2017 16:57:20"/>
  <p:tag name="MIO_OBJECTNAME" val="Chip_blue"/>
  <p:tag name="MIO_LASTEDITORNAME" val="Anja Much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3f09e62-a284-4da6-9302-d88e19e121b9"/>
  <p:tag name="MIO_EK" val="3103"/>
  <p:tag name="MIO_UPDATE" val="True"/>
  <p:tag name="MIO_VERSION" val="18.07.2016 15:07:09"/>
  <p:tag name="MIO_DBID" val="03A15726-3EEC-4C78-B02E-FB2A32054B2D"/>
  <p:tag name="MIO_LASTDOWNLOADED" val="11.05.2017 16:57:20"/>
  <p:tag name="MIO_OBJECTNAME" val="Chip_grey"/>
  <p:tag name="MIO_LASTEDITORNAME" val="Anja Much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ad162e7-9971-4daa-b736-8b383baab802"/>
  <p:tag name="MIO_EK" val="3104"/>
  <p:tag name="MIO_UPDATE" val="True"/>
  <p:tag name="MIO_VERSION" val="18.07.2016 15:07:32"/>
  <p:tag name="MIO_DBID" val="03A15726-3EEC-4C78-B02E-FB2A32054B2D"/>
  <p:tag name="MIO_LASTDOWNLOADED" val="11.05.2017 16:57:22"/>
  <p:tag name="MIO_OBJECTNAME" val="Chip_green"/>
  <p:tag name="MIO_LASTEDITORNAME" val="Anja Much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c848a40-3eeb-4542-9a5d-12bb55d521b2"/>
  <p:tag name="MIO_EK" val="3148"/>
  <p:tag name="MIO_UPDATE" val="True"/>
  <p:tag name="MIO_VERSION" val="18.07.2016 16:11:41"/>
  <p:tag name="MIO_DBID" val="03A15726-3EEC-4C78-B02E-FB2A32054B2D"/>
  <p:tag name="MIO_LASTDOWNLOADED" val="11.05.2017 17:09:23"/>
  <p:tag name="MIO_OBJECTNAME" val="Wechselseitige Beziehung"/>
  <p:tag name="MIO_LASTEDITORNAME" val="Anja Much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33dc059-b5f7-418d-bdf3-b468b74a6f9a"/>
  <p:tag name="MIO_EK" val="3117"/>
  <p:tag name="MIO_UPDATE" val="True"/>
  <p:tag name="MIO_VERSION" val="18.07.2016 15:21:32"/>
  <p:tag name="MIO_DBID" val="03A15726-3EEC-4C78-B02E-FB2A32054B2D"/>
  <p:tag name="MIO_LASTDOWNLOADED" val="11.05.2017 16:57:30"/>
  <p:tag name="MIO_OBJECTNAME" val="E-Mail-Kontakt_Contact_blue"/>
  <p:tag name="MIO_LASTEDITORNAME" val="Anja Much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84b65c2-652c-4e64-972d-68c44c2bd944"/>
  <p:tag name="MIO_EK" val="3118"/>
  <p:tag name="MIO_UPDATE" val="True"/>
  <p:tag name="MIO_VERSION" val="18.07.2016 15:21:50"/>
  <p:tag name="MIO_DBID" val="03A15726-3EEC-4C78-B02E-FB2A32054B2D"/>
  <p:tag name="MIO_LASTDOWNLOADED" val="11.05.2017 16:57:31"/>
  <p:tag name="MIO_OBJECTNAME" val="E-Mail-Kontakt_Contact_grey"/>
  <p:tag name="MIO_LASTEDITORNAME" val="Anja Mucha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696e163-ae7c-46f7-bde2-bb8aba01848e"/>
  <p:tag name="MIO_EK" val="3119"/>
  <p:tag name="MIO_UPDATE" val="True"/>
  <p:tag name="MIO_VERSION" val="18.07.2016 15:22:10"/>
  <p:tag name="MIO_DBID" val="03A15726-3EEC-4C78-B02E-FB2A32054B2D"/>
  <p:tag name="MIO_LASTDOWNLOADED" val="11.05.2017 16:57:32"/>
  <p:tag name="MIO_OBJECTNAME" val="E-Mail-Kontakt_Contact_green"/>
  <p:tag name="MIO_LASTEDITORNAME" val="Anja Mucha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8f1e006-b2a5-4f2a-a5da-61330fb56015"/>
  <p:tag name="MIO_EK" val="4335"/>
  <p:tag name="MIO_UPDATE" val="True"/>
  <p:tag name="MIO_VERSION" val="09.01.2017 16:54:00"/>
  <p:tag name="MIO_DBID" val="03A15726-3EEC-4C78-B02E-FB2A32054B2D"/>
  <p:tag name="MIO_LASTDOWNLOADED" val="11.05.2017 16:57:41"/>
  <p:tag name="MIO_OBJECTNAME" val="XING_blue"/>
  <p:tag name="MIO_LASTEDITORNAME" val="Anja Much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f155d69-c89e-4a26-869d-37fe0576ad6e"/>
  <p:tag name="MIO_EK" val="4336"/>
  <p:tag name="MIO_UPDATE" val="True"/>
  <p:tag name="MIO_VERSION" val="09.01.2017 16:54:04"/>
  <p:tag name="MIO_DBID" val="03A15726-3EEC-4C78-B02E-FB2A32054B2D"/>
  <p:tag name="MIO_LASTDOWNLOADED" val="11.05.2017 16:57:42"/>
  <p:tag name="MIO_OBJECTNAME" val="XING_grey"/>
  <p:tag name="MIO_LASTEDITORNAME" val="Anja Much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1c65ef1-bc09-4db0-b071-7dc2415cf97b"/>
  <p:tag name="MIO_EK" val="4337"/>
  <p:tag name="MIO_UPDATE" val="True"/>
  <p:tag name="MIO_VERSION" val="09.01.2017 16:54:07"/>
  <p:tag name="MIO_DBID" val="03A15726-3EEC-4C78-B02E-FB2A32054B2D"/>
  <p:tag name="MIO_LASTDOWNLOADED" val="11.05.2017 16:57:43"/>
  <p:tag name="MIO_OBJECTNAME" val="XING_green"/>
  <p:tag name="MIO_LASTEDITORNAME" val="Anja Much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b265562-65aa-4eff-bd86-d8f5c02a97b2"/>
  <p:tag name="MIO_EK" val="4341"/>
  <p:tag name="MIO_UPDATE" val="True"/>
  <p:tag name="MIO_VERSION" val="09.01.2017 16:55:51"/>
  <p:tag name="MIO_DBID" val="03A15726-3EEC-4C78-B02E-FB2A32054B2D"/>
  <p:tag name="MIO_LASTDOWNLOADED" val="11.05.2017 16:57:54"/>
  <p:tag name="MIO_OBJECTNAME" val="Snapchat_blue"/>
  <p:tag name="MIO_LASTEDITORNAME" val="Anja Much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6763d56-15dd-4e3a-9131-a76b05f9395d"/>
  <p:tag name="MIO_EK" val="4342"/>
  <p:tag name="MIO_UPDATE" val="True"/>
  <p:tag name="MIO_VERSION" val="09.01.2017 16:55:54"/>
  <p:tag name="MIO_DBID" val="03A15726-3EEC-4C78-B02E-FB2A32054B2D"/>
  <p:tag name="MIO_LASTDOWNLOADED" val="11.05.2017 16:57:55"/>
  <p:tag name="MIO_OBJECTNAME" val="Snapchat_grey"/>
  <p:tag name="MIO_LASTEDITORNAME" val="Anja Much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01246ef-2b71-45d8-8f6f-bf5282070956"/>
  <p:tag name="MIO_EK" val="4343"/>
  <p:tag name="MIO_UPDATE" val="True"/>
  <p:tag name="MIO_VERSION" val="09.01.2017 16:55:57"/>
  <p:tag name="MIO_DBID" val="03A15726-3EEC-4C78-B02E-FB2A32054B2D"/>
  <p:tag name="MIO_LASTDOWNLOADED" val="11.05.2017 16:57:56"/>
  <p:tag name="MIO_OBJECTNAME" val="Snapchat_green"/>
  <p:tag name="MIO_LASTEDITORNAME" val="Anja Much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3d89b41-2721-4c22-aaa1-37df3ff28996"/>
  <p:tag name="MIO_EK" val="3180"/>
  <p:tag name="MIO_UPDATE" val="True"/>
  <p:tag name="MIO_VERSION" val="19.07.2016 11:57:36"/>
  <p:tag name="MIO_DBID" val="03A15726-3EEC-4C78-B02E-FB2A32054B2D"/>
  <p:tag name="MIO_LASTDOWNLOADED" val="11.05.2017 16:57:59"/>
  <p:tag name="MIO_OBJECTNAME" val="Facebook_blue"/>
  <p:tag name="MIO_LASTEDITORNAME" val="Anja Much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1e83720-ba11-4128-be4b-1b95ef1eb1cc"/>
  <p:tag name="MIO_EK" val="3149"/>
  <p:tag name="MIO_UPDATE" val="True"/>
  <p:tag name="MIO_VERSION" val="18.07.2016 16:12:56"/>
  <p:tag name="MIO_DBID" val="03A15726-3EEC-4C78-B02E-FB2A32054B2D"/>
  <p:tag name="MIO_LASTDOWNLOADED" val="11.05.2017 17:09:24"/>
  <p:tag name="MIO_OBJECTNAME" val="Kausalzusammenhang"/>
  <p:tag name="MIO_LASTEDITORNAME" val="Anja Mucha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b4495b6-933f-451a-98ff-21da95bc20ca"/>
  <p:tag name="MIO_EK" val="3181"/>
  <p:tag name="MIO_UPDATE" val="True"/>
  <p:tag name="MIO_VERSION" val="19.07.2016 11:58:28"/>
  <p:tag name="MIO_DBID" val="03A15726-3EEC-4C78-B02E-FB2A32054B2D"/>
  <p:tag name="MIO_LASTDOWNLOADED" val="11.05.2017 16:57:59"/>
  <p:tag name="MIO_OBJECTNAME" val="Facebook_grey"/>
  <p:tag name="MIO_LASTEDITORNAME" val="Anja Much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ef6abb5-fe01-45b0-a5c2-8c10b6cfd694"/>
  <p:tag name="MIO_EK" val="3182"/>
  <p:tag name="MIO_UPDATE" val="True"/>
  <p:tag name="MIO_VERSION" val="19.07.2016 11:58:50"/>
  <p:tag name="MIO_DBID" val="03A15726-3EEC-4C78-B02E-FB2A32054B2D"/>
  <p:tag name="MIO_LASTDOWNLOADED" val="11.05.2017 16:58:00"/>
  <p:tag name="MIO_OBJECTNAME" val="Facebook_green"/>
  <p:tag name="MIO_LASTEDITORNAME" val="Anja Much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c917ba8-9d02-48f6-828e-dcc97fc91cce"/>
  <p:tag name="MIO_EK" val="3192"/>
  <p:tag name="MIO_UPDATE" val="True"/>
  <p:tag name="MIO_VERSION" val="19.07.2016 14:00:26"/>
  <p:tag name="MIO_DBID" val="03A15726-3EEC-4C78-B02E-FB2A32054B2D"/>
  <p:tag name="MIO_LASTDOWNLOADED" val="11.05.2017 16:58:11"/>
  <p:tag name="MIO_OBJECTNAME" val="Computer mit Bildschirm_With Screen_blue"/>
  <p:tag name="MIO_LASTEDITORNAME" val="Anja Much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fbf0466-b6b1-4491-a9ec-5180d74538d9"/>
  <p:tag name="MIO_EK" val="3193"/>
  <p:tag name="MIO_UPDATE" val="True"/>
  <p:tag name="MIO_VERSION" val="19.07.2016 14:00:44"/>
  <p:tag name="MIO_DBID" val="03A15726-3EEC-4C78-B02E-FB2A32054B2D"/>
  <p:tag name="MIO_LASTDOWNLOADED" val="11.05.2017 16:58:12"/>
  <p:tag name="MIO_OBJECTNAME" val="Computer mit Bildschirm_With Screen_grey"/>
  <p:tag name="MIO_LASTEDITORNAME" val="Anja Much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14147d4-7a2e-43bb-b348-a2b5fcc7bc31"/>
  <p:tag name="MIO_EK" val="3194"/>
  <p:tag name="MIO_UPDATE" val="True"/>
  <p:tag name="MIO_VERSION" val="19.07.2016 14:02:43"/>
  <p:tag name="MIO_DBID" val="03A15726-3EEC-4C78-B02E-FB2A32054B2D"/>
  <p:tag name="MIO_LASTDOWNLOADED" val="11.05.2017 16:58:13"/>
  <p:tag name="MIO_OBJECTNAME" val="Computer mit Bildschirm_With Screen_green"/>
  <p:tag name="MIO_LASTEDITORNAME" val="Anja Mucha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ed37b64-889c-4c24-ab86-aa3c9503a52c"/>
  <p:tag name="MIO_EK" val="3220"/>
  <p:tag name="MIO_UPDATE" val="True"/>
  <p:tag name="MIO_VERSION" val="19.07.2016 17:20:35"/>
  <p:tag name="MIO_DBID" val="03A15726-3EEC-4C78-B02E-FB2A32054B2D"/>
  <p:tag name="MIO_LASTDOWNLOADED" val="11.05.2017 16:58:27"/>
  <p:tag name="MIO_OBJECTNAME" val="Handy_Mobile phone_blue"/>
  <p:tag name="MIO_LASTEDITORNAME" val="Anja Much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3113760-e537-46c4-99e0-d23bd1bfcc66"/>
  <p:tag name="MIO_EK" val="3221"/>
  <p:tag name="MIO_UPDATE" val="True"/>
  <p:tag name="MIO_VERSION" val="19.07.2016 17:20:55"/>
  <p:tag name="MIO_DBID" val="03A15726-3EEC-4C78-B02E-FB2A32054B2D"/>
  <p:tag name="MIO_LASTDOWNLOADED" val="11.05.2017 16:58:27"/>
  <p:tag name="MIO_OBJECTNAME" val="Handy_Mobile phone_grey"/>
  <p:tag name="MIO_LASTEDITORNAME" val="Anja Much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bf7f173-91d3-4eae-98ce-384f998bfe62"/>
  <p:tag name="MIO_EK" val="3222"/>
  <p:tag name="MIO_UPDATE" val="True"/>
  <p:tag name="MIO_VERSION" val="19.07.2016 17:21:15"/>
  <p:tag name="MIO_DBID" val="03A15726-3EEC-4C78-B02E-FB2A32054B2D"/>
  <p:tag name="MIO_LASTDOWNLOADED" val="11.05.2017 16:58:28"/>
  <p:tag name="MIO_OBJECTNAME" val="Handy_Mobile phone_green"/>
  <p:tag name="MIO_LASTEDITORNAME" val="Anja Much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eed10c2-f5dd-426f-90b2-fbbf2c59a8ea"/>
  <p:tag name="MIO_EK" val="3223"/>
  <p:tag name="MIO_UPDATE" val="True"/>
  <p:tag name="MIO_VERSION" val="19.07.2016 17:34:57"/>
  <p:tag name="MIO_DBID" val="03A15726-3EEC-4C78-B02E-FB2A32054B2D"/>
  <p:tag name="MIO_LASTDOWNLOADED" val="11.05.2017 16:58:35"/>
  <p:tag name="MIO_OBJECTNAME" val="Handy_Mobile pay_blue"/>
  <p:tag name="MIO_LASTEDITORNAME" val="Anja Much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647c6b3-20a6-4e00-b43d-270b98f34f46"/>
  <p:tag name="MIO_EK" val="3224"/>
  <p:tag name="MIO_UPDATE" val="True"/>
  <p:tag name="MIO_VERSION" val="19.07.2016 17:35:00"/>
  <p:tag name="MIO_DBID" val="03A15726-3EEC-4C78-B02E-FB2A32054B2D"/>
  <p:tag name="MIO_LASTDOWNLOADED" val="11.05.2017 16:58:36"/>
  <p:tag name="MIO_OBJECTNAME" val="Handy_Mobile pay_grey"/>
  <p:tag name="MIO_LASTEDITORNAME" val="Anja Muc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233ed68-7b0a-4930-adbb-7b3f8b8792b4"/>
  <p:tag name="MIO_EK_DESIGN" val="1698"/>
  <p:tag name="MIO_VERSION_DESIGN" val="11.11.2015 15:06:08"/>
  <p:tag name="MIO_DBID_DESIGN" val="DA956698-03D7-4184-9B56-54A283825BF7"/>
  <p:tag name="MIO_EK" val="3588"/>
  <p:tag name="MIO_UPDATE" val="True"/>
  <p:tag name="MIO_VERSION" val="26.07.2016 15:14:23"/>
  <p:tag name="MIO_DBID" val="03A15726-3EEC-4C78-B02E-FB2A32054B2D"/>
  <p:tag name="MIO_LASTDOWNLOADED" val="11.05.2017 17:09:34"/>
  <p:tag name="MIO_OBJECTNAME" val="Project characteristics_EN"/>
  <p:tag name="MIO_LASTEDITORNAME" val="Anja Mucha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96ba84f-a088-4fe5-a012-92852e0cdd3b"/>
  <p:tag name="MIO_EK" val="3225"/>
  <p:tag name="MIO_UPDATE" val="True"/>
  <p:tag name="MIO_VERSION" val="19.07.2016 17:35:02"/>
  <p:tag name="MIO_DBID" val="03A15726-3EEC-4C78-B02E-FB2A32054B2D"/>
  <p:tag name="MIO_LASTDOWNLOADED" val="11.05.2017 16:58:37"/>
  <p:tag name="MIO_OBJECTNAME" val="Handy_Mobile pay_green"/>
  <p:tag name="MIO_LASTEDITORNAME" val="Anja Mucha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5973ea9-ae8a-4600-aa90-497ea45f77ba"/>
  <p:tag name="MIO_EK" val="3260"/>
  <p:tag name="MIO_UPDATE" val="True"/>
  <p:tag name="MIO_VERSION" val="19.07.2016 17:50:12"/>
  <p:tag name="MIO_DBID" val="03A15726-3EEC-4C78-B02E-FB2A32054B2D"/>
  <p:tag name="MIO_LASTDOWNLOADED" val="11.05.2017 16:58:46"/>
  <p:tag name="MIO_OBJECTNAME" val="Internet Einkaufen_Online shopping_blue"/>
  <p:tag name="MIO_LASTEDITORNAME" val="Anja Much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8e518ab-eca4-4c5d-9a87-a3526750ba98"/>
  <p:tag name="MIO_EK" val="3261"/>
  <p:tag name="MIO_UPDATE" val="True"/>
  <p:tag name="MIO_VERSION" val="19.07.2016 17:50:15"/>
  <p:tag name="MIO_DBID" val="03A15726-3EEC-4C78-B02E-FB2A32054B2D"/>
  <p:tag name="MIO_LASTDOWNLOADED" val="11.05.2017 16:58:48"/>
  <p:tag name="MIO_OBJECTNAME" val="Internet Einkaufen_Online shopping_grey"/>
  <p:tag name="MIO_LASTEDITORNAME" val="Anja Much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9bdf33a-ce92-4292-b89f-59bedd0698c6"/>
  <p:tag name="MIO_EK" val="3250"/>
  <p:tag name="MIO_UPDATE" val="True"/>
  <p:tag name="MIO_VERSION" val="19.07.2016 17:49:39"/>
  <p:tag name="MIO_DBID" val="03A15726-3EEC-4C78-B02E-FB2A32054B2D"/>
  <p:tag name="MIO_LASTDOWNLOADED" val="11.05.2017 16:58:49"/>
  <p:tag name="MIO_OBJECTNAME" val="Internet Einkaufen_Online shopping_green"/>
  <p:tag name="MIO_LASTEDITORNAME" val="Anja Much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c869972-46c2-48f7-b959-703bc2917e4c"/>
  <p:tag name="MIO_EK" val="3270"/>
  <p:tag name="MIO_UPDATE" val="True"/>
  <p:tag name="MIO_VERSION" val="19.07.2016 18:18:19"/>
  <p:tag name="MIO_DBID" val="03A15726-3EEC-4C78-B02E-FB2A32054B2D"/>
  <p:tag name="MIO_LASTDOWNLOADED" val="11.05.2017 16:59:08"/>
  <p:tag name="MIO_OBJECTNAME" val="Internet_Web_blue"/>
  <p:tag name="MIO_LASTEDITORNAME" val="Anja Much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8ecde4e-2c50-4c78-a419-14c9bc304567"/>
  <p:tag name="MIO_EK" val="3271"/>
  <p:tag name="MIO_UPDATE" val="True"/>
  <p:tag name="MIO_VERSION" val="19.07.2016 18:18:22"/>
  <p:tag name="MIO_DBID" val="03A15726-3EEC-4C78-B02E-FB2A32054B2D"/>
  <p:tag name="MIO_LASTDOWNLOADED" val="11.05.2017 16:59:09"/>
  <p:tag name="MIO_OBJECTNAME" val="Internet_Web_grey"/>
  <p:tag name="MIO_LASTEDITORNAME" val="Anja Much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f091d0-e516-4503-8005-70f9317183ea"/>
  <p:tag name="MIO_EK" val="3272"/>
  <p:tag name="MIO_UPDATE" val="True"/>
  <p:tag name="MIO_VERSION" val="19.07.2016 18:18:26"/>
  <p:tag name="MIO_DBID" val="03A15726-3EEC-4C78-B02E-FB2A32054B2D"/>
  <p:tag name="MIO_LASTDOWNLOADED" val="11.05.2017 16:59:10"/>
  <p:tag name="MIO_OBJECTNAME" val="Internet_Web_green"/>
  <p:tag name="MIO_LASTEDITORNAME" val="Anja Much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bb4160a-e896-49cb-93d4-62787c3b105d"/>
  <p:tag name="MIO_EK" val="3458"/>
  <p:tag name="MIO_UPDATE" val="True"/>
  <p:tag name="MIO_VERSION" val="20.07.2016 15:29:10"/>
  <p:tag name="MIO_DBID" val="03A15726-3EEC-4C78-B02E-FB2A32054B2D"/>
  <p:tag name="MIO_LASTDOWNLOADED" val="11.05.2017 16:59:22"/>
  <p:tag name="MIO_OBJECTNAME" val="Twitter_blue"/>
  <p:tag name="MIO_LASTEDITORNAME" val="Anja Much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7d9d65f-27a1-4b76-85c4-8c7323f46c75"/>
  <p:tag name="MIO_EK" val="3459"/>
  <p:tag name="MIO_UPDATE" val="True"/>
  <p:tag name="MIO_VERSION" val="20.07.2016 15:29:12"/>
  <p:tag name="MIO_DBID" val="03A15726-3EEC-4C78-B02E-FB2A32054B2D"/>
  <p:tag name="MIO_LASTDOWNLOADED" val="11.05.2017 16:59:23"/>
  <p:tag name="MIO_OBJECTNAME" val="Twitter_grey"/>
  <p:tag name="MIO_LASTEDITORNAME" val="Anja Much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8920820-f7aa-4e99-ad1a-512e9b7fc9e2"/>
  <p:tag name="MIO_EK" val="3460"/>
  <p:tag name="MIO_UPDATE" val="True"/>
  <p:tag name="MIO_VERSION" val="20.07.2016 15:29:14"/>
  <p:tag name="MIO_DBID" val="03A15726-3EEC-4C78-B02E-FB2A32054B2D"/>
  <p:tag name="MIO_LASTDOWNLOADED" val="11.05.2017 16:59:24"/>
  <p:tag name="MIO_OBJECTNAME" val="Twitter_green"/>
  <p:tag name="MIO_LASTEDITORNAME" val="Anja Muc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4cd4680-a562-4d53-9261-eeedda5a033a"/>
  <p:tag name="MIO_EK" val="3042"/>
  <p:tag name="MIO_UPDATE" val="True"/>
  <p:tag name="MIO_VERSION" val="18.07.2016 14:30:19"/>
  <p:tag name="MIO_DBID" val="03A15726-3EEC-4C78-B02E-FB2A32054B2D"/>
  <p:tag name="MIO_LASTDOWNLOADED" val="11.05.2017 17:04:38"/>
  <p:tag name="MIO_OBJECTNAME" val="Ausrufezeichen_Exclamationmark_blue"/>
  <p:tag name="MIO_LASTEDITORNAME" val="Anja Much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fe4a469-bdae-449c-b0a9-75c189b66a14"/>
  <p:tag name="MIO_EK" val="3043"/>
  <p:tag name="MIO_UPDATE" val="True"/>
  <p:tag name="MIO_VERSION" val="18.07.2016 14:30:59"/>
  <p:tag name="MIO_DBID" val="03A15726-3EEC-4C78-B02E-FB2A32054B2D"/>
  <p:tag name="MIO_LASTDOWNLOADED" val="11.05.2017 17:04:39"/>
  <p:tag name="MIO_OBJECTNAME" val="Ausrufezeichen_Exclamation mark_grey"/>
  <p:tag name="MIO_LASTEDITORNAME" val="Anja Mucha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bb6a9ff-59b2-41f6-ab60-d4f57aa4052d"/>
  <p:tag name="MIO_EK" val="3044"/>
  <p:tag name="MIO_UPDATE" val="True"/>
  <p:tag name="MIO_VERSION" val="18.07.2016 14:31:17"/>
  <p:tag name="MIO_DBID" val="03A15726-3EEC-4C78-B02E-FB2A32054B2D"/>
  <p:tag name="MIO_LASTDOWNLOADED" val="11.05.2017 17:04:40"/>
  <p:tag name="MIO_OBJECTNAME" val="Ausrufezeichen_Exclamation mark_green"/>
  <p:tag name="MIO_LASTEDITORNAME" val="Anja Much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8874184-b21f-490e-87e8-2302eca2d123"/>
  <p:tag name="MIO_EK" val="3099"/>
  <p:tag name="MIO_UPDATE" val="True"/>
  <p:tag name="MIO_VERSION" val="18.07.2016 15:05:27"/>
  <p:tag name="MIO_DBID" val="03A15726-3EEC-4C78-B02E-FB2A32054B2D"/>
  <p:tag name="MIO_LASTDOWNLOADED" val="11.05.2017 17:04:44"/>
  <p:tag name="MIO_OBJECTNAME" val="Buch_Book_blue"/>
  <p:tag name="MIO_LASTEDITORNAME" val="Anja Much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118f997-7c6a-46bc-ab11-85e8e66863d2"/>
  <p:tag name="MIO_EK" val="3100"/>
  <p:tag name="MIO_UPDATE" val="True"/>
  <p:tag name="MIO_VERSION" val="18.07.2016 15:05:53"/>
  <p:tag name="MIO_DBID" val="03A15726-3EEC-4C78-B02E-FB2A32054B2D"/>
  <p:tag name="MIO_LASTDOWNLOADED" val="11.05.2017 17:04:45"/>
  <p:tag name="MIO_OBJECTNAME" val="Buch_Book_grey"/>
  <p:tag name="MIO_LASTEDITORNAME" val="Anja Much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08f3d22-3093-4d3a-aff8-f83e8975c279"/>
  <p:tag name="MIO_EK" val="3101"/>
  <p:tag name="MIO_UPDATE" val="True"/>
  <p:tag name="MIO_VERSION" val="18.07.2016 15:06:11"/>
  <p:tag name="MIO_DBID" val="03A15726-3EEC-4C78-B02E-FB2A32054B2D"/>
  <p:tag name="MIO_LASTDOWNLOADED" val="11.05.2017 17:04:46"/>
  <p:tag name="MIO_OBJECTNAME" val="Buch_Book_green"/>
  <p:tag name="MIO_LASTEDITORNAME" val="Anja Mucha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67d35a-3e9c-4cba-b557-a2baa5657243"/>
  <p:tag name="MIO_EK" val="3084"/>
  <p:tag name="MIO_UPDATE" val="True"/>
  <p:tag name="MIO_VERSION" val="18.07.2016 14:55:21"/>
  <p:tag name="MIO_DBID" val="03A15726-3EEC-4C78-B02E-FB2A32054B2D"/>
  <p:tag name="MIO_LASTDOWNLOADED" val="11.05.2017 17:04:49"/>
  <p:tag name="MIO_OBJECTNAME" val="Baustelle_Site_blue"/>
  <p:tag name="MIO_LASTEDITORNAME" val="Anja Much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b2a7e7-c9fa-45cd-b5bc-c356850c53cc"/>
  <p:tag name="MIO_EK" val="3085"/>
  <p:tag name="MIO_UPDATE" val="True"/>
  <p:tag name="MIO_VERSION" val="18.07.2016 14:55:45"/>
  <p:tag name="MIO_DBID" val="03A15726-3EEC-4C78-B02E-FB2A32054B2D"/>
  <p:tag name="MIO_LASTDOWNLOADED" val="11.05.2017 17:04:49"/>
  <p:tag name="MIO_OBJECTNAME" val="Baustelle_Site_grey"/>
  <p:tag name="MIO_LASTEDITORNAME" val="Anja Much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2ead4b-b7a6-4d44-9b70-d39cc632d2cf"/>
  <p:tag name="MIO_EK" val="3086"/>
  <p:tag name="MIO_UPDATE" val="True"/>
  <p:tag name="MIO_VERSION" val="18.07.2016 14:56:07"/>
  <p:tag name="MIO_DBID" val="03A15726-3EEC-4C78-B02E-FB2A32054B2D"/>
  <p:tag name="MIO_LASTDOWNLOADED" val="11.05.2017 17:04:50"/>
  <p:tag name="MIO_OBJECTNAME" val="Baustelle_Site_green"/>
  <p:tag name="MIO_LASTEDITORNAME" val="Anja Much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7eb915f-c155-428c-9e0e-1e8e8402c4c5"/>
  <p:tag name="MIO_EK" val="3105"/>
  <p:tag name="MIO_UPDATE" val="True"/>
  <p:tag name="MIO_VERSION" val="18.07.2016 15:08:01"/>
  <p:tag name="MIO_DBID" val="03A15726-3EEC-4C78-B02E-FB2A32054B2D"/>
  <p:tag name="MIO_LASTDOWNLOADED" val="11.05.2017 17:04:59"/>
  <p:tag name="MIO_OBJECTNAME" val="Check_blue"/>
  <p:tag name="MIO_LASTEDITORNAME" val="Anja Much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04ec980-fe78-45ed-9aea-0dee97fc5e1e"/>
  <p:tag name="MIO_EK" val="3147"/>
  <p:tag name="MIO_UPDATE" val="True"/>
  <p:tag name="MIO_VERSION" val="18.07.2016 16:10:50"/>
  <p:tag name="MIO_DBID" val="03A15726-3EEC-4C78-B02E-FB2A32054B2D"/>
  <p:tag name="MIO_LASTDOWNLOADED" val="11.05.2017 17:09:43"/>
  <p:tag name="MIO_OBJECTNAME" val="Textboxen_gestrichelte Linie"/>
  <p:tag name="MIO_LASTEDITORNAME" val="Anja Mucha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9cb2fe1-cd22-4b26-99f7-d0052036d5ab"/>
  <p:tag name="MIO_EK" val="3106"/>
  <p:tag name="MIO_UPDATE" val="True"/>
  <p:tag name="MIO_VERSION" val="18.07.2016 15:08:22"/>
  <p:tag name="MIO_DBID" val="03A15726-3EEC-4C78-B02E-FB2A32054B2D"/>
  <p:tag name="MIO_LASTDOWNLOADED" val="11.05.2017 17:05:00"/>
  <p:tag name="MIO_OBJECTNAME" val="Check_grey"/>
  <p:tag name="MIO_LASTEDITORNAME" val="Anja Much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5aba591-7931-4e26-bb3a-fc9185adcfc2"/>
  <p:tag name="MIO_EK" val="3107"/>
  <p:tag name="MIO_UPDATE" val="True"/>
  <p:tag name="MIO_VERSION" val="18.07.2016 15:08:47"/>
  <p:tag name="MIO_DBID" val="03A15726-3EEC-4C78-B02E-FB2A32054B2D"/>
  <p:tag name="MIO_LASTDOWNLOADED" val="11.05.2017 17:05:01"/>
  <p:tag name="MIO_OBJECTNAME" val="Check_green"/>
  <p:tag name="MIO_LASTEDITORNAME" val="Anja Much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4951709-1cf3-43a8-81b8-69a67707fca1"/>
  <p:tag name="MIO_EK" val="3111"/>
  <p:tag name="MIO_UPDATE" val="True"/>
  <p:tag name="MIO_VERSION" val="18.07.2016 15:17:16"/>
  <p:tag name="MIO_DBID" val="03A15726-3EEC-4C78-B02E-FB2A32054B2D"/>
  <p:tag name="MIO_LASTDOWNLOADED" val="11.05.2017 17:05:02"/>
  <p:tag name="MIO_OBJECTNAME" val="Brief_Letter_blue"/>
  <p:tag name="MIO_LASTEDITORNAME" val="Anja Mucha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ba2b068-267d-4799-9603-b6e9c9a31d82"/>
  <p:tag name="MIO_EK" val="3112"/>
  <p:tag name="MIO_UPDATE" val="True"/>
  <p:tag name="MIO_VERSION" val="18.07.2016 15:17:32"/>
  <p:tag name="MIO_DBID" val="03A15726-3EEC-4C78-B02E-FB2A32054B2D"/>
  <p:tag name="MIO_LASTDOWNLOADED" val="11.05.2017 17:05:04"/>
  <p:tag name="MIO_OBJECTNAME" val="Brief_Letter_grey"/>
  <p:tag name="MIO_LASTEDITORNAME" val="Anja Much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91e2412-641d-406d-8425-6db11cc20301"/>
  <p:tag name="MIO_EK" val="3113"/>
  <p:tag name="MIO_UPDATE" val="True"/>
  <p:tag name="MIO_VERSION" val="18.07.2016 15:17:48"/>
  <p:tag name="MIO_DBID" val="03A15726-3EEC-4C78-B02E-FB2A32054B2D"/>
  <p:tag name="MIO_LASTDOWNLOADED" val="11.05.2017 17:05:04"/>
  <p:tag name="MIO_OBJECTNAME" val="Brief_Letter_green"/>
  <p:tag name="MIO_LASTEDITORNAME" val="Anja Much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412fbf-e21b-42c5-b136-fc03282d968c"/>
  <p:tag name="MIO_EK" val="3114"/>
  <p:tag name="MIO_UPDATE" val="True"/>
  <p:tag name="MIO_VERSION" val="18.07.2016 15:18:44"/>
  <p:tag name="MIO_DBID" val="03A15726-3EEC-4C78-B02E-FB2A32054B2D"/>
  <p:tag name="MIO_LASTDOWNLOADED" val="11.05.2017 17:05:07"/>
  <p:tag name="MIO_OBJECTNAME" val="Blitz_Lightning_blue"/>
  <p:tag name="MIO_LASTEDITORNAME" val="Anja Mucha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170ea0e-0c20-468e-ab55-989fdf6f3bc7"/>
  <p:tag name="MIO_EK" val="3115"/>
  <p:tag name="MIO_UPDATE" val="True"/>
  <p:tag name="MIO_VERSION" val="18.07.2016 15:19:01"/>
  <p:tag name="MIO_DBID" val="03A15726-3EEC-4C78-B02E-FB2A32054B2D"/>
  <p:tag name="MIO_LASTDOWNLOADED" val="11.05.2017 17:05:07"/>
  <p:tag name="MIO_OBJECTNAME" val="Blitz_Lightning_grey"/>
  <p:tag name="MIO_LASTEDITORNAME" val="Anja Much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a7498f-b88f-4c0f-acd2-7c74bdd82d91"/>
  <p:tag name="MIO_EK" val="3116"/>
  <p:tag name="MIO_UPDATE" val="True"/>
  <p:tag name="MIO_VERSION" val="18.07.2016 15:20:39"/>
  <p:tag name="MIO_DBID" val="03A15726-3EEC-4C78-B02E-FB2A32054B2D"/>
  <p:tag name="MIO_LASTDOWNLOADED" val="11.05.2017 17:05:08"/>
  <p:tag name="MIO_OBJECTNAME" val="Blitz_Lightning_green"/>
  <p:tag name="MIO_LASTEDITORNAME" val="Anja Much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3e4ec13-7e51-4393-8a94-0aaaafd4d883"/>
  <p:tag name="MIO_EK" val="3129"/>
  <p:tag name="MIO_UPDATE" val="True"/>
  <p:tag name="MIO_VERSION" val="18.07.2016 15:27:41"/>
  <p:tag name="MIO_DBID" val="03A15726-3EEC-4C78-B02E-FB2A32054B2D"/>
  <p:tag name="MIO_LASTDOWNLOADED" val="11.05.2017 17:05:13"/>
  <p:tag name="MIO_OBJECTNAME" val="DNA_Genom_Genome_blue"/>
  <p:tag name="MIO_LASTEDITORNAME" val="Anja Much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ff6119-d0ea-4347-b6b7-68bd0ddcdd34"/>
  <p:tag name="MIO_EK" val="3130"/>
  <p:tag name="MIO_UPDATE" val="True"/>
  <p:tag name="MIO_VERSION" val="18.07.2016 15:28:00"/>
  <p:tag name="MIO_DBID" val="03A15726-3EEC-4C78-B02E-FB2A32054B2D"/>
  <p:tag name="MIO_LASTDOWNLOADED" val="11.05.2017 17:05:14"/>
  <p:tag name="MIO_OBJECTNAME" val="DNA_Genom_Genome_grey"/>
  <p:tag name="MIO_LASTEDITORNAME" val="Anja Much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5e53ea3-e608-4a8d-9d67-db86e19dbd71"/>
  <p:tag name="MIO_EK" val="3151"/>
  <p:tag name="MIO_UPDATE" val="True"/>
  <p:tag name="MIO_VERSION" val="18.07.2016 16:15:25"/>
  <p:tag name="MIO_DBID" val="03A15726-3EEC-4C78-B02E-FB2A32054B2D"/>
  <p:tag name="MIO_LASTDOWNLOADED" val="11.05.2017 17:09:54"/>
  <p:tag name="MIO_OBJECTNAME" val="Diagramme_Charts_with CAGR"/>
  <p:tag name="MIO_LASTEDITORNAME" val="Anja Much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8c1d60-2fe8-4065-b229-b54fc550b36c"/>
  <p:tag name="MIO_EK" val="3131"/>
  <p:tag name="MIO_UPDATE" val="True"/>
  <p:tag name="MIO_VERSION" val="18.07.2016 15:28:18"/>
  <p:tag name="MIO_DBID" val="03A15726-3EEC-4C78-B02E-FB2A32054B2D"/>
  <p:tag name="MIO_LASTDOWNLOADED" val="11.05.2017 17:05:15"/>
  <p:tag name="MIO_OBJECTNAME" val="DNA_Genom_Genome_green"/>
  <p:tag name="MIO_LASTEDITORNAME" val="Anja Much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50448a9-0074-44ea-ae43-c843c3044c41"/>
  <p:tag name="MIO_EK" val="3135"/>
  <p:tag name="MIO_UPDATE" val="True"/>
  <p:tag name="MIO_VERSION" val="18.07.2016 15:30:07"/>
  <p:tag name="MIO_DBID" val="03A15726-3EEC-4C78-B02E-FB2A32054B2D"/>
  <p:tag name="MIO_LASTDOWNLOADED" val="11.05.2017 17:05:18"/>
  <p:tag name="MIO_OBJECTNAME" val="Deutschlandkarte_Map of Germany_blue"/>
  <p:tag name="MIO_LASTEDITORNAME" val="Anja Much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2efedf0-0eaa-458d-87a6-05ad8c9d2a50"/>
  <p:tag name="MIO_EK" val="3136"/>
  <p:tag name="MIO_UPDATE" val="True"/>
  <p:tag name="MIO_VERSION" val="18.07.2016 15:30:28"/>
  <p:tag name="MIO_DBID" val="03A15726-3EEC-4C78-B02E-FB2A32054B2D"/>
  <p:tag name="MIO_LASTDOWNLOADED" val="11.05.2017 17:05:19"/>
  <p:tag name="MIO_OBJECTNAME" val="Deutschlandkarte_Map of Germany_grey"/>
  <p:tag name="MIO_LASTEDITORNAME" val="Anja Mucha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f99074c-7819-4c66-b69e-e37628a91fb2"/>
  <p:tag name="MIO_EK" val="3137"/>
  <p:tag name="MIO_UPDATE" val="True"/>
  <p:tag name="MIO_VERSION" val="18.07.2016 15:30:46"/>
  <p:tag name="MIO_DBID" val="03A15726-3EEC-4C78-B02E-FB2A32054B2D"/>
  <p:tag name="MIO_LASTDOWNLOADED" val="11.05.2017 17:05:19"/>
  <p:tag name="MIO_OBJECTNAME" val="Deutschlandkarte_Map of Germany_green"/>
  <p:tag name="MIO_LASTEDITORNAME" val="Anja Much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8caf30a-5a52-4772-b221-e33d82a8545d"/>
  <p:tag name="MIO_EK" val="3138"/>
  <p:tag name="MIO_UPDATE" val="True"/>
  <p:tag name="MIO_VERSION" val="18.07.2016 15:31:21"/>
  <p:tag name="MIO_DBID" val="03A15726-3EEC-4C78-B02E-FB2A32054B2D"/>
  <p:tag name="MIO_LASTDOWNLOADED" val="11.05.2017 17:05:21"/>
  <p:tag name="MIO_OBJECTNAME" val="Daumen_Thumbs up_blue"/>
  <p:tag name="MIO_LASTEDITORNAME" val="Anja Much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03fd3c6-e553-4fbf-8f5b-3a91a36511cb"/>
  <p:tag name="MIO_EK" val="3139"/>
  <p:tag name="MIO_UPDATE" val="True"/>
  <p:tag name="MIO_VERSION" val="18.07.2016 15:31:40"/>
  <p:tag name="MIO_DBID" val="03A15726-3EEC-4C78-B02E-FB2A32054B2D"/>
  <p:tag name="MIO_LASTDOWNLOADED" val="11.05.2017 17:05:22"/>
  <p:tag name="MIO_OBJECTNAME" val="Daumen_Thumbs up_grey"/>
  <p:tag name="MIO_LASTEDITORNAME" val="Anja Mucha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c29498b-f6bd-4686-af57-3bbd2531cc28"/>
  <p:tag name="MIO_EK" val="3140"/>
  <p:tag name="MIO_UPDATE" val="True"/>
  <p:tag name="MIO_VERSION" val="18.07.2016 15:32:01"/>
  <p:tag name="MIO_DBID" val="03A15726-3EEC-4C78-B02E-FB2A32054B2D"/>
  <p:tag name="MIO_LASTDOWNLOADED" val="11.05.2017 17:05:23"/>
  <p:tag name="MIO_OBJECTNAME" val="Daumen_Thumbs up_green"/>
  <p:tag name="MIO_LASTEDITORNAME" val="Anja Much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7ae935-a785-4245-96a6-7a958f5e66fb"/>
  <p:tag name="MIO_EK" val="3177"/>
  <p:tag name="MIO_UPDATE" val="True"/>
  <p:tag name="MIO_VERSION" val="19.07.2016 11:56:37"/>
  <p:tag name="MIO_DBID" val="03A15726-3EEC-4C78-B02E-FB2A32054B2D"/>
  <p:tag name="MIO_LASTDOWNLOADED" val="11.05.2017 17:05:24"/>
  <p:tag name="MIO_OBJECTNAME" val="FAQ_blue"/>
  <p:tag name="MIO_LASTEDITORNAME" val="Anja Much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c41a0ef-3b42-4ef8-b0a2-e07f9775bb3a"/>
  <p:tag name="MIO_EK" val="3178"/>
  <p:tag name="MIO_UPDATE" val="True"/>
  <p:tag name="MIO_VERSION" val="19.07.2016 11:56:55"/>
  <p:tag name="MIO_DBID" val="03A15726-3EEC-4C78-B02E-FB2A32054B2D"/>
  <p:tag name="MIO_LASTDOWNLOADED" val="11.05.2017 17:05:25"/>
  <p:tag name="MIO_OBJECTNAME" val="FAQ_grey"/>
  <p:tag name="MIO_LASTEDITORNAME" val="Anja Much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d92fea-ebed-4305-b4a1-bda6fc70672f"/>
  <p:tag name="MIO_EK" val="3179"/>
  <p:tag name="MIO_UPDATE" val="True"/>
  <p:tag name="MIO_VERSION" val="19.07.2016 11:57:17"/>
  <p:tag name="MIO_DBID" val="03A15726-3EEC-4C78-B02E-FB2A32054B2D"/>
  <p:tag name="MIO_LASTDOWNLOADED" val="11.05.2017 17:05:27"/>
  <p:tag name="MIO_OBJECTNAME" val="FAQ_green"/>
  <p:tag name="MIO_LASTEDITORNAME" val="Anja Much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671e6c1-438b-41c0-9aca-51b062f9c713"/>
  <p:tag name="MIO_EK" val="3186"/>
  <p:tag name="MIO_UPDATE" val="True"/>
  <p:tag name="MIO_VERSION" val="19.07.2016 13:49:40"/>
  <p:tag name="MIO_DBID" val="03A15726-3EEC-4C78-B02E-FB2A32054B2D"/>
  <p:tag name="MIO_LASTDOWNLOADED" val="11.05.2017 17:05:29"/>
  <p:tag name="MIO_OBJECTNAME" val="Fernrohr_Telescope_blue"/>
  <p:tag name="MIO_LASTEDITORNAME" val="Anja Much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dd760ab-b4c4-42fb-8da7-eee9d0d7a3a1"/>
  <p:tag name="MIO_EK" val="3187"/>
  <p:tag name="MIO_UPDATE" val="True"/>
  <p:tag name="MIO_VERSION" val="19.07.2016 13:51:08"/>
  <p:tag name="MIO_DBID" val="03A15726-3EEC-4C78-B02E-FB2A32054B2D"/>
  <p:tag name="MIO_LASTDOWNLOADED" val="11.05.2017 17:05:30"/>
  <p:tag name="MIO_OBJECTNAME" val="Fernrohr_Telescope_grey"/>
  <p:tag name="MIO_LASTEDITORNAME" val="Anja Much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24e35a0-3a7d-4434-986b-0b69ae21fd40"/>
  <p:tag name="MIO_EK" val="3188"/>
  <p:tag name="MIO_UPDATE" val="True"/>
  <p:tag name="MIO_VERSION" val="19.07.2016 13:51:34"/>
  <p:tag name="MIO_DBID" val="03A15726-3EEC-4C78-B02E-FB2A32054B2D"/>
  <p:tag name="MIO_LASTDOWNLOADED" val="11.05.2017 17:05:31"/>
  <p:tag name="MIO_OBJECTNAME" val="Fernrohr_Telescope_green"/>
  <p:tag name="MIO_LASTEDITORNAME" val="Anja Mucha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3ee802a-9a9c-4209-b790-633559c3142c"/>
  <p:tag name="MIO_EK" val="3198"/>
  <p:tag name="MIO_UPDATE" val="True"/>
  <p:tag name="MIO_VERSION" val="19.07.2016 14:19:34"/>
  <p:tag name="MIO_DBID" val="03A15726-3EEC-4C78-B02E-FB2A32054B2D"/>
  <p:tag name="MIO_LASTDOWNLOADED" val="11.05.2017 17:05:37"/>
  <p:tag name="MIO_OBJECTNAME" val="Glühbirne_Bulb_blue"/>
  <p:tag name="MIO_LASTEDITORNAME" val="Anja Much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9c7f077-6e19-41a8-876c-bc5adc2865f2"/>
  <p:tag name="MIO_EK" val="3199"/>
  <p:tag name="MIO_UPDATE" val="True"/>
  <p:tag name="MIO_VERSION" val="19.07.2016 14:19:55"/>
  <p:tag name="MIO_DBID" val="03A15726-3EEC-4C78-B02E-FB2A32054B2D"/>
  <p:tag name="MIO_LASTDOWNLOADED" val="11.05.2017 17:05:37"/>
  <p:tag name="MIO_OBJECTNAME" val="Glühbirne_Bulb_grey"/>
  <p:tag name="MIO_LASTEDITORNAME" val="Anja Much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22576f7-0b96-4e7c-a62e-4d26f4e3c7cf"/>
  <p:tag name="MIO_EK" val="3200"/>
  <p:tag name="MIO_UPDATE" val="True"/>
  <p:tag name="MIO_VERSION" val="19.07.2016 14:20:11"/>
  <p:tag name="MIO_DBID" val="03A15726-3EEC-4C78-B02E-FB2A32054B2D"/>
  <p:tag name="MIO_LASTDOWNLOADED" val="11.05.2017 17:05:38"/>
  <p:tag name="MIO_OBJECTNAME" val="Glühbirne_Bulb_green"/>
  <p:tag name="MIO_LASTEDITORNAME" val="Anja Mucha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fc0eca4-86c8-4cd9-9630-ae809d5b1fdb"/>
  <p:tag name="MIO_EK" val="3214"/>
  <p:tag name="MIO_UPDATE" val="True"/>
  <p:tag name="MIO_VERSION" val="19.07.2016 17:16:36"/>
  <p:tag name="MIO_DBID" val="03A15726-3EEC-4C78-B02E-FB2A32054B2D"/>
  <p:tag name="MIO_LASTDOWNLOADED" val="11.05.2017 17:05:45"/>
  <p:tag name="MIO_OBJECTNAME" val="Fragezeichen_Question mark_blue"/>
  <p:tag name="MIO_LASTEDITORNAME" val="Anja Much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183a553-1db4-41c5-a755-2321e03741ad"/>
  <p:tag name="MIO_EK" val="3215"/>
  <p:tag name="MIO_UPDATE" val="True"/>
  <p:tag name="MIO_VERSION" val="19.07.2016 17:16:57"/>
  <p:tag name="MIO_DBID" val="03A15726-3EEC-4C78-B02E-FB2A32054B2D"/>
  <p:tag name="MIO_LASTDOWNLOADED" val="11.05.2017 17:05:46"/>
  <p:tag name="MIO_OBJECTNAME" val="Fragezeichen_Question mark_grey"/>
  <p:tag name="MIO_LASTEDITORNAME" val="Anja Much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d82398-7f95-41da-a2c8-a72f804f6bbd"/>
  <p:tag name="MIO_EK" val="3216"/>
  <p:tag name="MIO_UPDATE" val="True"/>
  <p:tag name="MIO_VERSION" val="19.07.2016 17:17:13"/>
  <p:tag name="MIO_DBID" val="03A15726-3EEC-4C78-B02E-FB2A32054B2D"/>
  <p:tag name="MIO_LASTDOWNLOADED" val="11.05.2017 17:05:46"/>
  <p:tag name="MIO_OBJECTNAME" val="Fragezeichen_Question mark_green"/>
  <p:tag name="MIO_LASTEDITORNAME" val="Anja Mucha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4fd0804-0efb-417e-892e-280d2e9ccc46"/>
  <p:tag name="MIO_EK" val="3232"/>
  <p:tag name="MIO_UPDATE" val="True"/>
  <p:tag name="MIO_VERSION" val="19.07.2016 17:48:33"/>
  <p:tag name="MIO_DBID" val="03A15726-3EEC-4C78-B02E-FB2A32054B2D"/>
  <p:tag name="MIO_LASTDOWNLOADED" val="11.05.2017 17:05:54"/>
  <p:tag name="MIO_OBJECTNAME" val="Gründung_Founding_blue"/>
  <p:tag name="MIO_LASTEDITORNAME" val="Anja Much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U0mS7hQnKqVK3Xxo6DPg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399a6b-7a9c-4047-b7dd-e4ad0202cbdc"/>
  <p:tag name="MIO_EK" val="3233"/>
  <p:tag name="MIO_UPDATE" val="True"/>
  <p:tag name="MIO_VERSION" val="19.07.2016 17:48:36"/>
  <p:tag name="MIO_DBID" val="03A15726-3EEC-4C78-B02E-FB2A32054B2D"/>
  <p:tag name="MIO_LASTDOWNLOADED" val="11.05.2017 17:05:55"/>
  <p:tag name="MIO_OBJECTNAME" val="Gründung_Founding_grey"/>
  <p:tag name="MIO_LASTEDITORNAME" val="Anja Much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5967b2b-dec3-41e2-bcc3-778f4bb38def"/>
  <p:tag name="MIO_EK" val="3234"/>
  <p:tag name="MIO_UPDATE" val="True"/>
  <p:tag name="MIO_VERSION" val="19.07.2016 17:48:40"/>
  <p:tag name="MIO_DBID" val="03A15726-3EEC-4C78-B02E-FB2A32054B2D"/>
  <p:tag name="MIO_LASTDOWNLOADED" val="11.05.2017 17:05:56"/>
  <p:tag name="MIO_OBJECTNAME" val="Gründung_Founding_green"/>
  <p:tag name="MIO_LASTEDITORNAME" val="Anja Much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51df65-8b00-4fa3-a20e-02639454eba2"/>
  <p:tag name="MIO_EK" val="3257"/>
  <p:tag name="MIO_UPDATE" val="True"/>
  <p:tag name="MIO_VERSION" val="19.07.2016 17:50:00"/>
  <p:tag name="MIO_DBID" val="03A15726-3EEC-4C78-B02E-FB2A32054B2D"/>
  <p:tag name="MIO_LASTDOWNLOADED" val="11.05.2017 17:06:07"/>
  <p:tag name="MIO_OBJECTNAME" val="Informationen_blue"/>
  <p:tag name="MIO_LASTEDITORNAME" val="Anja Much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03b303f-af81-4b3e-8e88-48e02127acdb"/>
  <p:tag name="MIO_EK" val="3258"/>
  <p:tag name="MIO_UPDATE" val="True"/>
  <p:tag name="MIO_VERSION" val="19.07.2016 17:50:03"/>
  <p:tag name="MIO_DBID" val="03A15726-3EEC-4C78-B02E-FB2A32054B2D"/>
  <p:tag name="MIO_LASTDOWNLOADED" val="11.05.2017 17:06:08"/>
  <p:tag name="MIO_OBJECTNAME" val="Informationen_grey"/>
  <p:tag name="MIO_LASTEDITORNAME" val="Anja Much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d852cb-9802-40a3-97e7-ab1637d6a4a0"/>
  <p:tag name="MIO_EK" val="3259"/>
  <p:tag name="MIO_UPDATE" val="True"/>
  <p:tag name="MIO_VERSION" val="19.07.2016 17:50:06"/>
  <p:tag name="MIO_DBID" val="03A15726-3EEC-4C78-B02E-FB2A32054B2D"/>
  <p:tag name="MIO_LASTDOWNLOADED" val="11.05.2017 17:06:09"/>
  <p:tag name="MIO_OBJECTNAME" val="Informationen_green"/>
  <p:tag name="MIO_LASTEDITORNAME" val="Anja Much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4422fd9-1d2e-4f54-9951-7ff483181b47"/>
  <p:tag name="MIO_EK" val="3306"/>
  <p:tag name="MIO_UPDATE" val="True"/>
  <p:tag name="MIO_VERSION" val="20.07.2016 09:55:47"/>
  <p:tag name="MIO_DBID" val="03A15726-3EEC-4C78-B02E-FB2A32054B2D"/>
  <p:tag name="MIO_LASTDOWNLOADED" val="11.05.2017 17:06:19"/>
  <p:tag name="MIO_OBJECTNAME" val="Lupe_Magnifying glass_blue"/>
  <p:tag name="MIO_LASTEDITORNAME" val="Anja Much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968f6dd-fc71-4cf6-b076-e1b3e9da10d9"/>
  <p:tag name="MIO_EK" val="3307"/>
  <p:tag name="MIO_UPDATE" val="True"/>
  <p:tag name="MIO_VERSION" val="20.07.2016 09:55:48"/>
  <p:tag name="MIO_DBID" val="03A15726-3EEC-4C78-B02E-FB2A32054B2D"/>
  <p:tag name="MIO_LASTDOWNLOADED" val="11.05.2017 17:06:20"/>
  <p:tag name="MIO_OBJECTNAME" val="Lupe_Magnifying glass_grey"/>
  <p:tag name="MIO_LASTEDITORNAME" val="Anja Much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4d19cf-9821-4cbf-9294-52090ae4da11"/>
  <p:tag name="MIO_EK" val="3308"/>
  <p:tag name="MIO_UPDATE" val="True"/>
  <p:tag name="MIO_VERSION" val="20.07.2016 09:55:48"/>
  <p:tag name="MIO_DBID" val="03A15726-3EEC-4C78-B02E-FB2A32054B2D"/>
  <p:tag name="MIO_LASTDOWNLOADED" val="11.05.2017 17:06:21"/>
  <p:tag name="MIO_OBJECTNAME" val="Lupe_Magnifying glass_green"/>
  <p:tag name="MIO_LASTEDITORNAME" val="Anja Mucha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bc2d86c-6fe0-4166-8bf1-25496eda673c"/>
  <p:tag name="MIO_EK" val="3315"/>
  <p:tag name="MIO_UPDATE" val="True"/>
  <p:tag name="MIO_VERSION" val="20.07.2016 09:55:54"/>
  <p:tag name="MIO_DBID" val="03A15726-3EEC-4C78-B02E-FB2A32054B2D"/>
  <p:tag name="MIO_LASTDOWNLOADED" val="11.05.2017 17:06:30"/>
  <p:tag name="MIO_OBJECTNAME" val="Minus_blue"/>
  <p:tag name="MIO_LASTEDITORNAME" val="Anja Much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a6e21c8-9dfb-4b1f-a8f8-51ec2afae2dc"/>
  <p:tag name="MIO_EK" val="3316"/>
  <p:tag name="MIO_UPDATE" val="True"/>
  <p:tag name="MIO_VERSION" val="20.07.2016 09:55:55"/>
  <p:tag name="MIO_DBID" val="03A15726-3EEC-4C78-B02E-FB2A32054B2D"/>
  <p:tag name="MIO_LASTDOWNLOADED" val="11.05.2017 17:06:31"/>
  <p:tag name="MIO_OBJECTNAME" val="Minus_grey"/>
  <p:tag name="MIO_LASTEDITORNAME" val="Anja Much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AtrsvDQf6dCEpKsz5sIw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ab8e076-c3da-4d33-be28-31bb6b45d905"/>
  <p:tag name="MIO_EK" val="3317"/>
  <p:tag name="MIO_UPDATE" val="True"/>
  <p:tag name="MIO_VERSION" val="20.07.2016 09:55:56"/>
  <p:tag name="MIO_DBID" val="03A15726-3EEC-4C78-B02E-FB2A32054B2D"/>
  <p:tag name="MIO_LASTDOWNLOADED" val="11.05.2017 17:06:32"/>
  <p:tag name="MIO_OBJECTNAME" val="Minus_green"/>
  <p:tag name="MIO_LASTEDITORNAME" val="Anja Much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66489cc-c036-46c1-8f18-209d0a667400"/>
  <p:tag name="MIO_EK" val="3401"/>
  <p:tag name="MIO_UPDATE" val="True"/>
  <p:tag name="MIO_VERSION" val="20.07.2016 13:46:25"/>
  <p:tag name="MIO_DBID" val="03A15726-3EEC-4C78-B02E-FB2A32054B2D"/>
  <p:tag name="MIO_LASTDOWNLOADED" val="11.05.2017 17:06:58"/>
  <p:tag name="MIO_OBJECTNAME" val="Plus_blue"/>
  <p:tag name="MIO_LASTEDITORNAME" val="Anja Mucha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3d24122-a45a-42a8-be4a-93788360ea7e"/>
  <p:tag name="MIO_EK" val="3402"/>
  <p:tag name="MIO_UPDATE" val="True"/>
  <p:tag name="MIO_VERSION" val="20.07.2016 13:46:27"/>
  <p:tag name="MIO_DBID" val="03A15726-3EEC-4C78-B02E-FB2A32054B2D"/>
  <p:tag name="MIO_LASTDOWNLOADED" val="11.05.2017 17:06:59"/>
  <p:tag name="MIO_OBJECTNAME" val="Plus_grey"/>
  <p:tag name="MIO_LASTEDITORNAME" val="Anja Much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cb4a8f2-529a-4444-b072-6692be3ae8cd"/>
  <p:tag name="MIO_EK" val="3403"/>
  <p:tag name="MIO_UPDATE" val="True"/>
  <p:tag name="MIO_VERSION" val="20.07.2016 13:46:29"/>
  <p:tag name="MIO_DBID" val="03A15726-3EEC-4C78-B02E-FB2A32054B2D"/>
  <p:tag name="MIO_LASTDOWNLOADED" val="11.05.2017 17:06:59"/>
  <p:tag name="MIO_OBJECTNAME" val="Plus_green"/>
  <p:tag name="MIO_LASTEDITORNAME" val="Anja Much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05c07d1-f6bd-4279-b1cd-9d4e4f1dcc17"/>
  <p:tag name="MIO_EK" val="3492"/>
  <p:tag name="MIO_UPDATE" val="True"/>
  <p:tag name="MIO_VERSION" val="21.07.2016 13:45:39"/>
  <p:tag name="MIO_DBID" val="03A15726-3EEC-4C78-B02E-FB2A32054B2D"/>
  <p:tag name="MIO_LASTDOWNLOADED" val="11.05.2017 17:07:37"/>
  <p:tag name="MIO_OBJECTNAME" val="Europakarte_Map of Europe_grey"/>
  <p:tag name="MIO_LASTEDITORNAME" val="Anja Much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bc60b63-2043-4f0f-9f57-5132c1c55e25"/>
  <p:tag name="MIO_EK" val="3491"/>
  <p:tag name="MIO_UPDATE" val="True"/>
  <p:tag name="MIO_VERSION" val="21.07.2016 13:45:36"/>
  <p:tag name="MIO_DBID" val="03A15726-3EEC-4C78-B02E-FB2A32054B2D"/>
  <p:tag name="MIO_LASTDOWNLOADED" val="11.05.2017 17:07:39"/>
  <p:tag name="MIO_OBJECTNAME" val="Europakarte_Map of Europe_blue"/>
  <p:tag name="MIO_LASTEDITORNAME" val="Anja Much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99c30a8-712d-40f2-aa09-134b92f28974"/>
  <p:tag name="MIO_EK" val="3493"/>
  <p:tag name="MIO_UPDATE" val="True"/>
  <p:tag name="MIO_VERSION" val="21.07.2016 13:45:42"/>
  <p:tag name="MIO_DBID" val="03A15726-3EEC-4C78-B02E-FB2A32054B2D"/>
  <p:tag name="MIO_LASTDOWNLOADED" val="11.05.2017 17:07:40"/>
  <p:tag name="MIO_OBJECTNAME" val="Europakarte_Map of Europe_green"/>
  <p:tag name="MIO_LASTEDITORNAME" val="Anja Much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441cfa-773d-4a1e-95ac-8cea3fbe9dd1"/>
  <p:tag name="MIO_EK" val="3494"/>
  <p:tag name="MIO_UPDATE" val="True"/>
  <p:tag name="MIO_VERSION" val="21.07.2016 13:45:45"/>
  <p:tag name="MIO_DBID" val="03A15726-3EEC-4C78-B02E-FB2A32054B2D"/>
  <p:tag name="MIO_LASTDOWNLOADED" val="11.05.2017 17:07:55"/>
  <p:tag name="MIO_OBJECTNAME" val="Zahnräder_Gear Wheels_green"/>
  <p:tag name="MIO_LASTEDITORNAME" val="Anja Much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c02ad3e-2b43-4263-af2a-3b54a5551aa4"/>
  <p:tag name="MIO_EK" val="3513"/>
  <p:tag name="MIO_UPDATE" val="True"/>
  <p:tag name="MIO_VERSION" val="21.07.2016 13:46:35"/>
  <p:tag name="MIO_DBID" val="03A15726-3EEC-4C78-B02E-FB2A32054B2D"/>
  <p:tag name="MIO_LASTDOWNLOADED" val="11.05.2017 17:07:55"/>
  <p:tag name="MIO_OBJECTNAME" val="Zahnräder_Gear Wheels_blue"/>
  <p:tag name="MIO_LASTEDITORNAME" val="Anja Much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6a0a0a2-1fab-4a72-b561-96fa191a0dfe"/>
  <p:tag name="MIO_EK" val="3514"/>
  <p:tag name="MIO_UPDATE" val="True"/>
  <p:tag name="MIO_VERSION" val="21.07.2016 13:46:38"/>
  <p:tag name="MIO_DBID" val="03A15726-3EEC-4C78-B02E-FB2A32054B2D"/>
  <p:tag name="MIO_LASTDOWNLOADED" val="11.05.2017 17:07:56"/>
  <p:tag name="MIO_OBJECTNAME" val="Zahnräder_Gear Wheels_grey"/>
  <p:tag name="MIO_LASTEDITORNAME" val="Anja Muc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U"/>
  <p:tag name="EE4P_MAPWIZARD_HEADINGS" val="Admin 0"/>
  <p:tag name="EE4P_MAPWIZARD" val="Russi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nWspC9Qt.OzcWIjrRJh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120b80-2eff-4f30-b3c6-02e5a80adc93"/>
  <p:tag name="MIO_EK" val="3536"/>
  <p:tag name="MIO_UPDATE" val="True"/>
  <p:tag name="MIO_VERSION" val="21.07.2016 14:13:31"/>
  <p:tag name="MIO_DBID" val="03A15726-3EEC-4C78-B02E-FB2A32054B2D"/>
  <p:tag name="MIO_LASTDOWNLOADED" val="11.05.2017 17:08:05"/>
  <p:tag name="MIO_OBJECTNAME" val="Wegweise_Guide_blue"/>
  <p:tag name="MIO_LASTEDITORNAME" val="Anja Much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fbd6781-0bf8-42fc-a2f6-010ef89fbd99"/>
  <p:tag name="MIO_EK" val="3537"/>
  <p:tag name="MIO_UPDATE" val="True"/>
  <p:tag name="MIO_VERSION" val="21.07.2016 14:13:33"/>
  <p:tag name="MIO_DBID" val="03A15726-3EEC-4C78-B02E-FB2A32054B2D"/>
  <p:tag name="MIO_LASTDOWNLOADED" val="11.05.2017 17:08:06"/>
  <p:tag name="MIO_OBJECTNAME" val="Wegweise_Guide_grey"/>
  <p:tag name="MIO_LASTEDITORNAME" val="Anja Much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9121107-2a33-4f37-adda-d5e98d17d9e8"/>
  <p:tag name="MIO_EK" val="3538"/>
  <p:tag name="MIO_UPDATE" val="True"/>
  <p:tag name="MIO_VERSION" val="21.07.2016 14:13:36"/>
  <p:tag name="MIO_DBID" val="03A15726-3EEC-4C78-B02E-FB2A32054B2D"/>
  <p:tag name="MIO_LASTDOWNLOADED" val="11.05.2017 17:08:07"/>
  <p:tag name="MIO_OBJECTNAME" val="Wegweise_Guide_green"/>
  <p:tag name="MIO_LASTEDITORNAME" val="Anja Much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z7P00p9k6QdsVoMoXfV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bGJSO.UUqWwnsjVS7M9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b_HQY60qB8uoKWV7Cw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Z9YfaunU.OKQ_1YJr_z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FNLZ1do0CoUR2tBGmI2A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riejmyw0yqe7k5iLvXG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9HJ_SeJUCnUsoLwF5ld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JUlWDdTnWp5RkNnfpS3Q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hctEGovUiEQEMXrXlvAg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R99BcOJUa_gfxKqyL15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tkCy43I0uQ4Ysi8B7Umw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mmppU1Uaji.Lk6jclAA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3AtOBmlUqFj_FsJx7mJg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YxtiDn70ir3qEEhjEJdg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W1n302.0mbHNEDAcZWq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7LYJoX30.XMS7jbARCd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3DE2znwE.7fEfhHRnpf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.qMHLkz0mPKrK2BW.jD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CyE62.Q3i6CE9e_e0OQ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8A4HtT.EuwtJ.o4SSGJ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h.7bjwL0GSHbhTJWF9y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u18jubRkaaLI6.ybLwW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oBvKyCIkepGmNC2htFq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41bzQdm0._8FLZNUgqRw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hctEGovUiEQEMXrXlvA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hctEGovUiEQEMXrXlvA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RyE8lI4keq6wPrsYCAMw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8xWZB6AUyKaHjoYFhA6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dQjhHN4ked4.OREYMLo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rxc49RRFC7NwvXvkf3.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t8dibyYUi6WlJcagBvlg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nPMWCMhEetJYbHL.UlRg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sfs1vwsEiomPntzIs3TQ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TtWb.UKkm16TJ9J3xKz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l_rzFIyUWY7MvZnlV10Q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Z9IjqBCkuHaRf4khARc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8xWZB6AUyKaHjoYFhA6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l_rzFIyUWY7MvZnlV10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I_s8TSbg0Oo1GVhr9pw_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fP0R35r50GvfmAOI9VZu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4Wg0F8RZK6n.KIg4r23g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1KYH2ceXkSXNiCzwYjDMQ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tO1oGillUaKnR8Yg8DMf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YDlB10K5UWJEcxXYT6v.Q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2YR3avka0uTaVNVlzvHGA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MKEROXg10W1prPD_Kc1_Q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kXQWh22TEONvUUo91c7n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1VLpGrU50KEjxYhsxWuc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64nJiQf40um6zuVS0tKvQ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A6_K6Oki4XMKSlnTmo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VBoHxnEU23xK2BUdDOG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12rMyBSVuOYscNF.5flw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gMW4XBglU268am2IvBt8w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2ftL6NY0uTK4N6wvzV7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WNNYvR6j0O9vyWuzsPeLw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wGbbD4k70S3N1lnKyh1Gg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9t9FHT0OamqECtABXDw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Wga6ab3H0.0gTs8vAg6DA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y_SnmTUS_XqfK0WRbKw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cj2ghAF9EGbbEwTI.2h_Q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3HTDplbP0Ok6pOWCbcp2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3HTDplbP0Ok6pOWCbcp2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JNFjduROeSzzleaYYGo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3HTDplbP0Ok6pOWCbcp2A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3HTDplbP0Ok6pOWCbcp2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3HTDplbP0Ok6pOWCbcp2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3HTDplbP0Ok6pOWCbcp2A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D380WGplUySpJwp7St2hQ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PAgwS.akqDLW.rfdpBp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7yk1X3UEWgwaDSVifcbg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H8ttnZ8Eeso18lW4ll5Q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Hq1dXSPkixcny1i2b3Xw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_lMt3XjEalCszS3s4_U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.tTStTSniuq.ex6FCQWQ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qFzYtt10uqft5wTpkwQA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lkCAtr.qkyd5DtNlTgwiQ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5TR5poAXkKTBSgV8Uz6KQ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BWWjo4jekSYq4zkM_HKuA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Qa4nFnNkS1fdwLzjGqvg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leeMz9fxEOtTMB_CMYJj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BjEky2hkijNteJs6l8w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mr_xLKqL02MyLg0hZtZO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BHjk11m0a2pO9Epnb3cQ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fuYSZhKkC.cpzT4pOTX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c6a.d8Se2wIY.qxwBI0w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rvrncNnU.Q9dTbDr9g4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orAfZIO0mzlpZCq7xKxw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zM_du.qUGP0rRGOH6_3A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zbgJx1HUG8BpdnHzKjTA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uTnheaJEC8zW3jCsuj5Q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HMI5iDckOlS.YWNNq4bQ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P8tLaDDk2AvhejLwDbnA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E9f3h4dUGr_Cjd1qSwA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pHJLZKAUO3RDP4LYqSsg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KxkEyJk06OpSIVRvbQQ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vLB_aRRQGUasfWAFX6m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BnFf7sK0m8ysTxyKcdi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wyvKb7E0eu8GwnCuOhm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CxM.wfEUyHAM4y3fDVWw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MKEKZMJ0iQ6LJZik.Rv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bM.k8XQE2xYmueXAV4Bw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YeZ6uSG06Evf8kMFq03w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HyovEk0Uaor0Hxmsc5Tg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FHE69SikyRX9njRXEN7Q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XFLVzqPUa2cbzBO_vatg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8EXBVTFkO60Cg1SFkF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L"/>
  <p:tag name="EE4P_MAPWIZARD_HEADINGS" val="Admin 0"/>
  <p:tag name="EE4P_MAPWIZARD" val="Albani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fNwRXDS2uiu_p5QoYJbA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O7dyvyI0Gh2K7FWUaS9A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pIMFBYvUeb_2DLyk7SLA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.GhTdga0yNRl8dOLaXzA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F0P0552kWHUlriEpa1xg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89Ljnj80S.0E0phu.IiQ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cJXKVGjkachNK9eaEqrw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fh13FUm0CYdS908v46HA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D90s3DWkWboLJF6xNlEg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nJZB_.Ok.G9tKVfaVmmQ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.598InPUqRwhYGet43f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KBd04VT3mt225aclsIm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3P8mHw6EGUkxuS.WzJjw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ltTlhF0UG5bPNVOiSnkg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bRD5DLb0CP5kNWsMxCFg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hRVDbvW02qttvaIwTO1A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cv2dWMoU2Cxf8DJgbn5g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q3gt7xPk6XMilFJX3BIw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3P8mHw6EGUkxuS.WzJjw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ltTlhF0UG5bPNVOiSnkg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bRD5DLb0CP5kNWsMxCFg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hRVDbvW02qttvaIwTO1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RZINd0Sw.6RZS.BIzCUg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xF8bbNRkOebT7Q2L4gbw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elCjgf.E2PrbzNp9cw5g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YCN6NuDkyi3cXY2sG5CA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UG5GKgiEUirJ2rcY2aGrQ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0KiSoNKEEyBa_82Ox31fg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hhLPZ3BQk665UkhSb5Ee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l5eRxolEEG12lK7JCkTIA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hhLPZ3BQk665UkhSb5EeQ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l5eRxolEEG12lK7JCkTIA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t2oOcWQ0WGcy1LdKHA5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iRo3UVTo6XgiVKTC2DLA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hhLPZ3BQk665UkhSb5Ee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l5eRxolEEG12lK7JCkTIA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hhLPZ3BQk665UkhSb5EeQ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l5eRxolEEG12lK7JCkTI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UG5GKgiEUirJ2rcY2aGr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0KiSoNKEEyBa_82Ox31f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vT0rzY0yqZPS4SpM4kQ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hhLPZ3BQk665UkhSb5EeQ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l5eRxolEEG12lK7JCkTIA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hhLPZ3BQk665UkhSb5Ee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MC2AvRPyWBk7gTPfixg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l5eRxolEEG12lK7JCkTIA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UG5GKgiEUirJ2rcY2aGrQ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0KiSoNKEEyBa_82Ox31fg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xF8bbNRkOebT7Q2L4gbw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k6S2dQ0EEukJupSIVYxDw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j3QOVrej06JolXIzrWI8g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zXONMC1UedeZbzQnmqAQ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xlf6BCxUy18z1Gj2I_fg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54v8R8m0SjHy.Sov_lww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U7c45u30uk6LGMtPYOM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aYKvoEQpKDeasRG6ujOg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3bk0zVVEenaDcb4elf3w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aWr0JacEyXrh7NzlJSl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pu9UBCnEK6jYjcBYUWJw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YSw8uOg0ewwsOXETRxUA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MvdFqG6UyFyy1CgD0EuQ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ip0w.EzkKAJ32muZnGi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4osmjWIU6.SckvJxg5s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.XEng8706l2HCwY8KLeQ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vNNWT4zke0cwnR.cl79w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6goouMi0aVT3_wfDjs5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isOzBRzCWx2h3aWsOn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hfGsOuaUuqn2t6oL4FNg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ctv5zszkKRGDoC0yHI_w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U2utG.kUK5tqg9uzjV7g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MZ15CaWk.w2FqJZDlK6A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Dgh1y99UeHn2Cng3j51g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9B8GIbiEe5vNNipT9N4w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rAMIk6qEOmiO2654UcTA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vs16S6Vk6wOZ7QL3b9Yg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tpnBNejUmaEqcefdS0iw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50hSdPgEKmyRobKg4Re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9645QTQweKyfPM8hScug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N8wfYnI0ScOlGl6NZvqw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3_gKVqb0yddHphbtl87g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_Icqo80y.2dJzf8e_tA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ZuNYyqo0umESZMrhWiwQ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tRt70oBkCfv.cbJCdwOA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H5QBUus0mVdglRe1hvZg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rYCAvfqEuR6M9fHYmjTg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qb6BpYB0OsBYS6K5ezK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h9nhEEpUeLqFu5vSOJ3w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lKEKrl4kun3c4t1nz8S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2vtZ2YSIaigZCAQNuCxQ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ShZEJFNUq683U6_z.acA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VGExcikm48HCaL9Z32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e3gIcGPy0Kivq0eG3M_xg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VGExcikm48HCaL9Z32A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hSbpqQ60uSaLhNshSbCA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5OzWuCXEKY9x4eK3KhYA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8Lu0Czm0iPW7i_sRqO4w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KlbrR_yEOMsTfUxnRirw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KlbrR_yEOMsTfUxnRirw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e91ueLfUiMqgwSPkbYt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QMJynDRgG8UkSNcqVARQ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0AnWO8fUCcH2H4ke52mQ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AlVwxKYUyb00M5ZcIm9w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aGj6UVGEmL2nVIliwqMA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eX6f1UBEWt_vPGBm4DjQ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KlbrR_yEOMsTfUxnRirw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k6S2dQ0EEukJupSIVYxDw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j3QOVrej06JolXIzrWI8g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SBIf9USke.YLbcprmH3w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xH4rpPkGUD1Rh7Yooag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fUgOFfPkiBe6zlPXjQ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D"/>
  <p:tag name="EE4P_MAPWIZARD_HEADINGS" val="Admin 0"/>
  <p:tag name="EE4P_MAPWIZARD" val="Andorr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WPYQO6Q4CqK6Ux3V7jhA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jVuYEe1U.oRu3ZCGSBAg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EFmyVfgkSp4ML2uiMyHg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dBNsfeOEi6Sxl1btbbIw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M7A5D7K06mZwnU69SMZg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kattdN20O1NAW1Kb5Hfg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sNPXaER02ErVk5Cz2GOg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SbbEDiyk.ca5A1u506Cg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V2drj_sU6KTPUW2ggd7A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cIkRZmvkWVXXwVXnE2fQ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2NjWNT1U2L8q00tmzRO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rIJnt1QTSeD6MieYQO2w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p1PVRTA02oMQQrlbEs3w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Xmyv.kU0qlH8hVDtAQ_Q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Vzr3A2jU6YdmM05E9U_A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amAFLNfU2_Gd3w07cyuQ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d3DOHov0izv20679AQzw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J5cKpabU.fTJwrFnvMug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_IpJYfmEqm6heCJEAAFg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4Jl42cXEezWgVLo868Zg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gcnzi6WkSUmn2dunMjng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lNQuSKdUiPrGJrKr8tl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RzcXXET_OCeU9q3eId2w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8BLUV27UKIfgaFavdiiw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.tQxzYQkeCbxjcKUXZLQ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9vaHt9xUuiEAJHwq7Re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qrTAACCEitpYGjRPbrOQ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o6ghlS3ECI15UqgKVmq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mtYLm_I0W4r1TmUZk2Nw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TuirjNdEiw3QYx9iQycQ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RK2bMCgEyMRHYmmCiZ7g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RiOAf4yUe3N9m2LJgb7A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4iIsXe7029_96D32tqK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d44a990-c174-4ad0-beaa-d16795fcd693"/>
  <p:tag name="MIO_EK" val="4213"/>
  <p:tag name="MIO_UPDATE" val="True"/>
  <p:tag name="MIO_VERSION" val="23.12.2016 13:44:04"/>
  <p:tag name="MIO_DBID" val="03A15726-3EEC-4C78-B02E-FB2A32054B2D"/>
  <p:tag name="MIO_LASTDOWNLOADED" val="11.05.2017 17:10:06"/>
  <p:tag name="MIO_OBJECTNAME" val="Phasen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VVs7.y8EON3bbD3BfWww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.rsewrAk63_QvHkqojSg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hfuMzuO0mIlMdUzflztA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2RNL2Slk6vRc5GHil.Mw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MayYFTPEmvTknXycYPkA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eQ3eMwuESWyl9wt7u3Wg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sxwiQgzkW8QiSHoTubhw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CqrEzIxk24Qo8nqgdooQ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koYaVqO0mhSrLlSxJ0EQ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OhR2RdkkyD5auk1do59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GHNP3UZEKHv.BgsaDX9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fyl6aipU2GNaL3nRZT3g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1NKEfh1Ea0.GWT3Qiseg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Xx65hK_EyrbK_gQbQ8bA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d6E.9VlEaorlV_28YM1g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U4CtpH5UyMACvfRJAM4Q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.sbmKiUKv55ouWj.Cog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6fcnm90Uu61UhoojbCQw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yZrHsbW0.xluWkE87MQg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CbsNNpS0GSyodyF8CnV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in0SgwEqXv5T2IPhngw"/>
  <p:tag name="MIO_GUID" val="d6f425eb-0e4b-436f-b96b-1552dee068ec"/>
  <p:tag name="MIO_EK" val="1327"/>
  <p:tag name="MIO_UPDATE" val="True"/>
  <p:tag name="MIO_VERSION" val="12.07.2016 08:50:04"/>
  <p:tag name="MIO_DBID" val="03A15726-3EEC-4C78-B02E-FB2A32054B2D"/>
  <p:tag name="MIO_LASTDOWNLOADED" val="14.10.2016 16:46:58"/>
  <p:tag name="MIO_OBJECTNAME" val="Footnote"/>
  <p:tag name="MIO_LASTEDITORNAME" val="(Anja Mucha)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jsz0M1VkCx_EhPerK90A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JOhERUAkWVLcdAVEGYtQ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.Z9vYOBku4TOZwnSTxDw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HtNh2wfEG3g1K7RSz5K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heme/theme1.xml><?xml version="1.0" encoding="utf-8"?>
<a:theme xmlns:a="http://schemas.openxmlformats.org/drawingml/2006/main" name="Office Theme">
  <a:themeElements>
    <a:clrScheme name="Benutzerdefiniert 1">
      <a:dk1>
        <a:srgbClr val="696969"/>
      </a:dk1>
      <a:lt1>
        <a:srgbClr val="FFFFFF"/>
      </a:lt1>
      <a:dk2>
        <a:srgbClr val="494949"/>
      </a:dk2>
      <a:lt2>
        <a:srgbClr val="FFFFFF"/>
      </a:lt2>
      <a:accent1>
        <a:srgbClr val="1D6FB8"/>
      </a:accent1>
      <a:accent2>
        <a:srgbClr val="65A9E6"/>
      </a:accent2>
      <a:accent3>
        <a:srgbClr val="CBE2F6"/>
      </a:accent3>
      <a:accent4>
        <a:srgbClr val="21B2AD"/>
      </a:accent4>
      <a:accent5>
        <a:srgbClr val="167773"/>
      </a:accent5>
      <a:accent6>
        <a:srgbClr val="67E2DE"/>
      </a:accent6>
      <a:hlink>
        <a:srgbClr val="1D6FB8"/>
      </a:hlink>
      <a:folHlink>
        <a:srgbClr val="419FD8"/>
      </a:folHlink>
    </a:clrScheme>
    <a:fontScheme name="UMCC">
      <a:majorFont>
        <a:latin typeface="Avenir medium"/>
        <a:ea typeface=""/>
        <a:cs typeface=""/>
      </a:majorFont>
      <a:minorFont>
        <a:latin typeface="Avenir 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6727</Words>
  <Application>Microsoft Office PowerPoint</Application>
  <PresentationFormat>Benutzerdefiniert</PresentationFormat>
  <Paragraphs>1958</Paragraphs>
  <Slides>165</Slides>
  <Notes>4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4</vt:i4>
      </vt:variant>
      <vt:variant>
        <vt:lpstr>Folientitel</vt:lpstr>
      </vt:variant>
      <vt:variant>
        <vt:i4>165</vt:i4>
      </vt:variant>
    </vt:vector>
  </HeadingPairs>
  <TitlesOfParts>
    <vt:vector size="193" baseType="lpstr">
      <vt:lpstr>MS PGothic</vt:lpstr>
      <vt:lpstr>.AppleSystemUIFont</vt:lpstr>
      <vt:lpstr>Arial</vt:lpstr>
      <vt:lpstr>Avenir Book</vt:lpstr>
      <vt:lpstr>Avenir Heavy</vt:lpstr>
      <vt:lpstr>Avenir medium</vt:lpstr>
      <vt:lpstr>Avenir medium</vt:lpstr>
      <vt:lpstr>Avenir Roman</vt:lpstr>
      <vt:lpstr>Bebas Neue</vt:lpstr>
      <vt:lpstr>Calibri</vt:lpstr>
      <vt:lpstr>Calibri Light</vt:lpstr>
      <vt:lpstr>Courier New</vt:lpstr>
      <vt:lpstr>FranklinITCBQBook</vt:lpstr>
      <vt:lpstr>Gill Sans</vt:lpstr>
      <vt:lpstr>Helvetica</vt:lpstr>
      <vt:lpstr>Helvetica Neue Light</vt:lpstr>
      <vt:lpstr>Helvetica Neue UltraLight</vt:lpstr>
      <vt:lpstr>Karla</vt:lpstr>
      <vt:lpstr>Lato Light</vt:lpstr>
      <vt:lpstr>Source Sans Pro Regular</vt:lpstr>
      <vt:lpstr>Times New Roman</vt:lpstr>
      <vt:lpstr>Wingdings</vt:lpstr>
      <vt:lpstr>Wingdings 2</vt:lpstr>
      <vt:lpstr>Office Theme</vt:lpstr>
      <vt:lpstr>think-cell Folie</vt:lpstr>
      <vt:lpstr>Chart</vt:lpstr>
      <vt:lpstr>Diagramm</vt:lpstr>
      <vt:lpstr>Microsoft Excel-Arbeitsblat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Agenda</vt:lpstr>
      <vt:lpstr>PowerPoint-Präsentation</vt:lpstr>
      <vt:lpstr>PowerPoint-Präsentation</vt:lpstr>
      <vt:lpstr>PowerPoint-Präsentation</vt:lpstr>
      <vt:lpstr>PowerPoint-Präsentation</vt:lpstr>
      <vt:lpstr>Management Summary</vt:lpstr>
      <vt:lpstr>How you can start on Monday Morning</vt:lpstr>
      <vt:lpstr>Plan The Bridge Strategy Precisely For Future Success</vt:lpstr>
      <vt:lpstr>PowerPoint-Präsentation</vt:lpstr>
      <vt:lpstr>PowerPoint-Präsentation</vt:lpstr>
      <vt:lpstr>PowerPoint-Präsentation</vt:lpstr>
      <vt:lpstr>Expand into other countries with Inheritance Consulting</vt:lpstr>
      <vt:lpstr>How will OTP‘s competitors react?</vt:lpstr>
      <vt:lpstr>Key Numbers Blank</vt:lpstr>
      <vt:lpstr>Perceptual Map: Creating a New Dimension</vt:lpstr>
      <vt:lpstr>Key Issues to be Considered</vt:lpstr>
      <vt:lpstr>Square Cluster</vt:lpstr>
      <vt:lpstr>Four Alternatives Are Considered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Relative Bars</vt:lpstr>
      <vt:lpstr>Blank Table</vt:lpstr>
      <vt:lpstr>Timetable</vt:lpstr>
      <vt:lpstr>Fact Portfolio</vt:lpstr>
      <vt:lpstr>The Outcome</vt:lpstr>
      <vt:lpstr>PowerPoint-Präsentation</vt:lpstr>
      <vt:lpstr>Alternatives</vt:lpstr>
      <vt:lpstr>Alternatives</vt:lpstr>
      <vt:lpstr>Key Numbers Circle</vt:lpstr>
      <vt:lpstr>Core Values/Target</vt:lpstr>
      <vt:lpstr>Strategy/Gear</vt:lpstr>
      <vt:lpstr>Revenue growth/Circles</vt:lpstr>
      <vt:lpstr>Suppy Chain/Circles</vt:lpstr>
      <vt:lpstr>Solution Triangle</vt:lpstr>
      <vt:lpstr>Text with Triangle</vt:lpstr>
      <vt:lpstr>Hexagon Cluster</vt:lpstr>
      <vt:lpstr>Steps Alphabetic </vt:lpstr>
      <vt:lpstr>Steps Numeric</vt:lpstr>
      <vt:lpstr>Hexagon Process</vt:lpstr>
      <vt:lpstr>Colorful Hexagon</vt:lpstr>
      <vt:lpstr>Hierarchy/Company structure</vt:lpstr>
      <vt:lpstr>Decision Tree</vt:lpstr>
      <vt:lpstr>Customer Groups</vt:lpstr>
      <vt:lpstr>Circles</vt:lpstr>
      <vt:lpstr>Additional tools</vt:lpstr>
      <vt:lpstr>Mountains</vt:lpstr>
      <vt:lpstr>Bars</vt:lpstr>
      <vt:lpstr>Alternatives</vt:lpstr>
      <vt:lpstr>Alternative Selection</vt:lpstr>
      <vt:lpstr>Alternative Selection</vt:lpstr>
      <vt:lpstr>Alternative Table</vt:lpstr>
      <vt:lpstr>Table</vt:lpstr>
      <vt:lpstr>Blank Table</vt:lpstr>
      <vt:lpstr>Process</vt:lpstr>
      <vt:lpstr>Key Numbers Progress</vt:lpstr>
      <vt:lpstr>Bar Chart</vt:lpstr>
      <vt:lpstr>Hill Chart</vt:lpstr>
      <vt:lpstr>PowerPoint-Präsentation</vt:lpstr>
      <vt:lpstr>World Map</vt:lpstr>
      <vt:lpstr>Europe Map</vt:lpstr>
      <vt:lpstr>United States Map</vt:lpstr>
      <vt:lpstr>United States East Coast Map</vt:lpstr>
      <vt:lpstr>Germany Map</vt:lpstr>
      <vt:lpstr>Canada Map</vt:lpstr>
      <vt:lpstr>France Map</vt:lpstr>
      <vt:lpstr>Scandinavia Map</vt:lpstr>
      <vt:lpstr>Norway Map</vt:lpstr>
      <vt:lpstr>Great Britain Map</vt:lpstr>
      <vt:lpstr>Australia Map</vt:lpstr>
      <vt:lpstr>Brazil Map</vt:lpstr>
      <vt:lpstr>PowerPoint-Präsentation</vt:lpstr>
      <vt:lpstr>Icon List Large</vt:lpstr>
      <vt:lpstr>Icon List Small</vt:lpstr>
      <vt:lpstr>Quotes and Persons</vt:lpstr>
      <vt:lpstr>Text with iPad</vt:lpstr>
      <vt:lpstr>Text with iMac</vt:lpstr>
      <vt:lpstr>Text with MacBook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Corporate Identity</vt:lpstr>
      <vt:lpstr>PowerPoint-Präsentation</vt:lpstr>
      <vt:lpstr>Aufbau Folie für Zusammenfassung/Fazit</vt:lpstr>
      <vt:lpstr>Lessons Learned</vt:lpstr>
      <vt:lpstr>Felder mit vollfarbiger Fläche im Hintergrund</vt:lpstr>
      <vt:lpstr>Kausalzusammenhang</vt:lpstr>
      <vt:lpstr>Project profile: …</vt:lpstr>
      <vt:lpstr>Gestrichelte Kästen</vt:lpstr>
      <vt:lpstr>Beispiel Diagramme – mit CAGR</vt:lpstr>
      <vt:lpstr>PowerPoint-Präsentation</vt:lpstr>
      <vt:lpstr>PowerPoint-Präsentation</vt:lpstr>
      <vt:lpstr>PowerPoint-Präsentation</vt:lpstr>
      <vt:lpstr>PowerPoint-Präsentation</vt:lpstr>
      <vt:lpstr>Steckbrief:Produktions- und Servicematrix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Tortendiagramm</vt:lpstr>
      <vt:lpstr>Gantt-Chart</vt:lpstr>
      <vt:lpstr>Diagramm detailliert</vt:lpstr>
      <vt:lpstr>Säulen und Linie kombiniert</vt:lpstr>
      <vt:lpstr>PowerPoint-Präsentation</vt:lpstr>
      <vt:lpstr>Liniendiagramm</vt:lpstr>
      <vt:lpstr>Gestapelte Säulen 100%</vt:lpstr>
      <vt:lpstr>Gestapelte Säulen </vt:lpstr>
      <vt:lpstr>Flächendiagramm </vt:lpstr>
      <vt:lpstr>Mekko-Diagramm </vt:lpstr>
      <vt:lpstr>Wasserfall-Diagramm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Zusammenhang</vt:lpstr>
      <vt:lpstr>Zusammenhang</vt:lpstr>
      <vt:lpstr>PowerPoint-Präsentation</vt:lpstr>
      <vt:lpstr>PowerPoint-Präsentation</vt:lpstr>
      <vt:lpstr>Ablauf</vt:lpstr>
      <vt:lpstr>PowerPoint-Präsentation</vt:lpstr>
      <vt:lpstr>PowerPoint-Präsentation</vt:lpstr>
      <vt:lpstr>Entscheidungen</vt:lpstr>
      <vt:lpstr>Fazit</vt:lpstr>
      <vt:lpstr>Filter</vt:lpstr>
      <vt:lpstr>Konsequenzen</vt:lpstr>
      <vt:lpstr>Matrix/Perspektiven</vt:lpstr>
      <vt:lpstr>Prozess</vt:lpstr>
      <vt:lpstr>Fortschritt</vt:lpstr>
      <vt:lpstr>Strategische Ziele</vt:lpstr>
      <vt:lpstr>Textblöcke</vt:lpstr>
      <vt:lpstr>Vision</vt:lpstr>
      <vt:lpstr>Vor-/Nachteile</vt:lpstr>
      <vt:lpstr>Vor-/Nachteile</vt:lpstr>
      <vt:lpstr>Zahlen, Symbole, Status, Sticker</vt:lpstr>
      <vt:lpstr>Planung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ative Presentations</dc:title>
  <dc:subject/>
  <dc:creator>Rocketo Graphics</dc:creator>
  <cp:keywords/>
  <dc:description/>
  <cp:lastModifiedBy>Fabian Placzek</cp:lastModifiedBy>
  <cp:revision>4592</cp:revision>
  <dcterms:created xsi:type="dcterms:W3CDTF">2014-11-12T21:47:38Z</dcterms:created>
  <dcterms:modified xsi:type="dcterms:W3CDTF">2018-09-16T16:03:46Z</dcterms:modified>
  <cp:category/>
</cp:coreProperties>
</file>